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3" r:id="rId5"/>
  </p:sldMasterIdLst>
  <p:notesMasterIdLst>
    <p:notesMasterId r:id="rId43"/>
  </p:notesMasterIdLst>
  <p:handoutMasterIdLst>
    <p:handoutMasterId r:id="rId44"/>
  </p:handoutMasterIdLst>
  <p:sldIdLst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9" r:id="rId17"/>
    <p:sldId id="270" r:id="rId18"/>
    <p:sldId id="271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</p:sldIdLst>
  <p:sldSz cx="9144000" cy="6858000" type="screen4x3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">
          <p15:clr>
            <a:srgbClr val="A4A3A4"/>
          </p15:clr>
        </p15:guide>
        <p15:guide id="4" orient="horz" pos="1692">
          <p15:clr>
            <a:srgbClr val="A4A3A4"/>
          </p15:clr>
        </p15:guide>
        <p15:guide id="5" orient="horz" pos="1225">
          <p15:clr>
            <a:srgbClr val="A4A3A4"/>
          </p15:clr>
        </p15:guide>
        <p15:guide id="13" orient="horz" pos="2249">
          <p15:clr>
            <a:srgbClr val="A4A3A4"/>
          </p15:clr>
        </p15:guide>
        <p15:guide id="15" pos="340" userDrawn="1">
          <p15:clr>
            <a:srgbClr val="A4A3A4"/>
          </p15:clr>
        </p15:guide>
        <p15:guide id="22" pos="2966">
          <p15:clr>
            <a:srgbClr val="A4A3A4"/>
          </p15:clr>
        </p15:guide>
        <p15:guide id="23" pos="2792">
          <p15:clr>
            <a:srgbClr val="A4A3A4"/>
          </p15:clr>
        </p15:guide>
        <p15:guide id="24" orient="horz" pos="4034">
          <p15:clr>
            <a:srgbClr val="A4A3A4"/>
          </p15:clr>
        </p15:guide>
        <p15:guide id="27" orient="horz" pos="2261">
          <p15:clr>
            <a:srgbClr val="A4A3A4"/>
          </p15:clr>
        </p15:guide>
        <p15:guide id="28" pos="341">
          <p15:clr>
            <a:srgbClr val="A4A3A4"/>
          </p15:clr>
        </p15:guide>
        <p15:guide id="29" pos="5420">
          <p15:clr>
            <a:srgbClr val="A4A3A4"/>
          </p15:clr>
        </p15:guide>
        <p15:guide id="34" pos="4254">
          <p15:clr>
            <a:srgbClr val="A4A3A4"/>
          </p15:clr>
        </p15:guide>
        <p15:guide id="35" pos="4114">
          <p15:clr>
            <a:srgbClr val="A4A3A4"/>
          </p15:clr>
        </p15:guide>
        <p15:guide id="36" pos="3822">
          <p15:clr>
            <a:srgbClr val="A4A3A4"/>
          </p15:clr>
        </p15:guide>
        <p15:guide id="37" pos="3678">
          <p15:clr>
            <a:srgbClr val="A4A3A4"/>
          </p15:clr>
        </p15:guide>
        <p15:guide id="38" pos="2082">
          <p15:clr>
            <a:srgbClr val="A4A3A4"/>
          </p15:clr>
        </p15:guide>
        <p15:guide id="39" pos="1938">
          <p15:clr>
            <a:srgbClr val="A4A3A4"/>
          </p15:clr>
        </p15:guide>
        <p15:guide id="40" orient="horz" pos="1774">
          <p15:clr>
            <a:srgbClr val="A4A3A4"/>
          </p15:clr>
        </p15:guide>
        <p15:guide id="41" orient="horz" pos="2188">
          <p15:clr>
            <a:srgbClr val="A4A3A4"/>
          </p15:clr>
        </p15:guide>
        <p15:guide id="42" pos="3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585A"/>
    <a:srgbClr val="FFFFFF"/>
    <a:srgbClr val="0093B2"/>
    <a:srgbClr val="E4002B"/>
    <a:srgbClr val="9BD3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D7B3C3-B2ED-4463-890D-64D01FA4583A}" v="1" dt="2023-06-29T12:15:13.2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49" autoAdjust="0"/>
    <p:restoredTop sz="94490" autoAdjust="0"/>
  </p:normalViewPr>
  <p:slideViewPr>
    <p:cSldViewPr snapToGrid="0" snapToObjects="1">
      <p:cViewPr varScale="1">
        <p:scale>
          <a:sx n="93" d="100"/>
          <a:sy n="93" d="100"/>
        </p:scale>
        <p:origin x="1627" y="82"/>
      </p:cViewPr>
      <p:guideLst>
        <p:guide orient="horz" pos="290"/>
        <p:guide orient="horz" pos="1692"/>
        <p:guide orient="horz" pos="1225"/>
        <p:guide orient="horz" pos="2249"/>
        <p:guide pos="340"/>
        <p:guide pos="2966"/>
        <p:guide pos="2792"/>
        <p:guide orient="horz" pos="4034"/>
        <p:guide orient="horz" pos="2261"/>
        <p:guide pos="341"/>
        <p:guide pos="5420"/>
        <p:guide pos="4254"/>
        <p:guide pos="4114"/>
        <p:guide pos="3822"/>
        <p:guide pos="3678"/>
        <p:guide pos="2082"/>
        <p:guide pos="1938"/>
        <p:guide orient="horz" pos="1774"/>
        <p:guide orient="horz" pos="2188"/>
        <p:guide pos="342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CB3034-439F-44CA-AF66-057681AD17F6}" type="datetimeFigureOut">
              <a:rPr lang="en-US" smtClean="0"/>
              <a:t>1/1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ED14CB-1BF6-4D3E-A96E-64C2E7A1A6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7654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D170DF-F783-43D0-86D2-53ED95F4D34C}" type="datetimeFigureOut">
              <a:rPr lang="en-NZ" smtClean="0"/>
              <a:pPr/>
              <a:t>18/01/2024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ED31A-A7B2-4871-81A2-E17B93B33CFF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012645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ED31A-A7B2-4871-81A2-E17B93B33CFF}" type="slidenum">
              <a:rPr lang="en-NZ" smtClean="0"/>
              <a:pPr/>
              <a:t>1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669935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ED31A-A7B2-4871-81A2-E17B93B33CFF}" type="slidenum">
              <a:rPr lang="en-NZ" smtClean="0"/>
              <a:pPr/>
              <a:t>2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29941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ED31A-A7B2-4871-81A2-E17B93B33CFF}" type="slidenum">
              <a:rPr lang="en-NZ" smtClean="0"/>
              <a:pPr/>
              <a:t>4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027355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ED31A-A7B2-4871-81A2-E17B93B33CFF}" type="slidenum">
              <a:rPr lang="en-NZ" smtClean="0"/>
              <a:pPr/>
              <a:t>8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97560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ED31A-A7B2-4871-81A2-E17B93B33CFF}" type="slidenum">
              <a:rPr lang="en-NZ" smtClean="0"/>
              <a:pPr/>
              <a:t>14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599608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 -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 - 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 - 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09942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 - 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7935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ly-28-2017-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087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gust-22-2017-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52839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gust-22-2017-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37858394"/>
              </p:ext>
            </p:extLst>
          </p:nvPr>
        </p:nvGraphicFramePr>
        <p:xfrm>
          <a:off x="198302" y="187288"/>
          <a:ext cx="8780444" cy="6470367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ti Static Gloves</a:t>
                      </a: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pron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log</a:t>
                      </a: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1)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log</a:t>
                      </a: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2)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ogle+</a:t>
                      </a: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1)</a:t>
                      </a:r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ogle+ (2)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book (2)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nkedIn (2)</a:t>
                      </a:r>
                    </a:p>
                  </a:txBody>
                  <a:tcPr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2)</a:t>
                      </a:r>
                      <a:endParaRPr lang="en-US" sz="16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count Team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tion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tive</a:t>
                      </a: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d to Calendar</a:t>
                      </a: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gency Leasing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r Cargo Hub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rplane</a:t>
                      </a: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sle Must Be Kept Clear</a:t>
                      </a:r>
                    </a:p>
                  </a:txBody>
                  <a:tcPr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ll Cylinders Must Be Chained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alysis 2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ti Corrosive Gloves</a:t>
                      </a:r>
                    </a:p>
                  </a:txBody>
                  <a:tcPr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214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-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 -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 -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-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 -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 - 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483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39750" y="377129"/>
            <a:ext cx="7209790" cy="4001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NZ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539751" y="1944689"/>
            <a:ext cx="8064500" cy="167422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80010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804" r:id="rId14"/>
    <p:sldLayoutId id="2147483805" r:id="rId15"/>
    <p:sldLayoutId id="2147483806" r:id="rId16"/>
  </p:sldLayoutIdLst>
  <p:hf hdr="0" ftr="0" dt="0"/>
  <p:txStyles>
    <p:titleStyle>
      <a:lvl1pPr algn="l" defTabSz="914392" rtl="0" eaLnBrk="1" latinLnBrk="0" hangingPunct="1">
        <a:spcBef>
          <a:spcPct val="0"/>
        </a:spcBef>
        <a:buNone/>
        <a:defRPr lang="en-NZ" sz="2600" kern="1200" dirty="0">
          <a:solidFill>
            <a:schemeClr val="accent4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None/>
        <a:defRPr sz="18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266698" indent="-266698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1333" indent="-274636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808031" indent="-266698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92" rtl="0" eaLnBrk="1" latinLnBrk="0" hangingPunct="1">
        <a:spcBef>
          <a:spcPts val="0"/>
        </a:spcBef>
        <a:spcAft>
          <a:spcPts val="800"/>
        </a:spcAft>
        <a:buFont typeface="Arial" pitchFamily="34" charset="0"/>
        <a:buNone/>
        <a:defRPr lang="en-NZ" sz="1800" kern="1200" dirty="0">
          <a:solidFill>
            <a:schemeClr val="bg2"/>
          </a:solidFill>
          <a:latin typeface="+mn-lt"/>
          <a:ea typeface="+mn-ea"/>
          <a:cs typeface="+mn-cs"/>
        </a:defRPr>
      </a:lvl6pPr>
      <a:lvl7pPr marL="2971774" indent="-228598" algn="l" defTabSz="914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0" indent="-228598" algn="l" defTabSz="914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6" indent="-228598" algn="l" defTabSz="914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2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8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4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0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6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2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8" algn="l" defTabSz="914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4.emf"/><Relationship Id="rId7" Type="http://schemas.openxmlformats.org/officeDocument/2006/relationships/image" Target="../media/image8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6" name="Table 225">
            <a:extLst>
              <a:ext uri="{FF2B5EF4-FFF2-40B4-BE49-F238E27FC236}">
                <a16:creationId xmlns:a16="http://schemas.microsoft.com/office/drawing/2014/main" id="{D71277A5-7857-4D1E-B178-ED6773619C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675764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#location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Activ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Add</a:t>
                      </a:r>
                      <a:r>
                        <a:rPr lang="en-US" sz="1200" baseline="0" dirty="0">
                          <a:solidFill>
                            <a:schemeClr val="tx2"/>
                          </a:solidFill>
                        </a:rPr>
                        <a:t> to Calendar</a:t>
                      </a:r>
                      <a:endParaRPr lang="en-US" sz="12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Agency Leasing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rplan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nounce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pp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rrow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t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Symbol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nkrup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icyc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a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o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ttom Lin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x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ea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efcas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lculato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48132" name="Group 4"/>
          <p:cNvGrpSpPr>
            <a:grpSpLocks noChangeAspect="1"/>
          </p:cNvGrpSpPr>
          <p:nvPr/>
        </p:nvGrpSpPr>
        <p:grpSpPr bwMode="auto">
          <a:xfrm>
            <a:off x="341314" y="227017"/>
            <a:ext cx="841376" cy="844552"/>
            <a:chOff x="215" y="143"/>
            <a:chExt cx="530" cy="532"/>
          </a:xfrm>
        </p:grpSpPr>
        <p:sp>
          <p:nvSpPr>
            <p:cNvPr id="48133" name="Oval 5"/>
            <p:cNvSpPr>
              <a:spLocks noChangeArrowheads="1"/>
            </p:cNvSpPr>
            <p:nvPr/>
          </p:nvSpPr>
          <p:spPr bwMode="auto">
            <a:xfrm>
              <a:off x="215" y="143"/>
              <a:ext cx="530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34" name="Freeform 6"/>
            <p:cNvSpPr>
              <a:spLocks noEditPoints="1"/>
            </p:cNvSpPr>
            <p:nvPr/>
          </p:nvSpPr>
          <p:spPr bwMode="auto">
            <a:xfrm>
              <a:off x="232" y="163"/>
              <a:ext cx="496" cy="495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35" name="Freeform 7"/>
            <p:cNvSpPr>
              <a:spLocks noEditPoints="1"/>
            </p:cNvSpPr>
            <p:nvPr/>
          </p:nvSpPr>
          <p:spPr bwMode="auto">
            <a:xfrm>
              <a:off x="366" y="261"/>
              <a:ext cx="237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9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4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4"/>
                </a:cxn>
              </a:cxnLst>
              <a:rect l="0" t="0" r="r" b="b"/>
              <a:pathLst>
                <a:path w="99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8"/>
                    <a:pt x="0" y="74"/>
                    <a:pt x="0" y="50"/>
                  </a:cubicBezTo>
                  <a:cubicBezTo>
                    <a:pt x="0" y="23"/>
                    <a:pt x="22" y="0"/>
                    <a:pt x="49" y="0"/>
                  </a:cubicBezTo>
                  <a:cubicBezTo>
                    <a:pt x="76" y="0"/>
                    <a:pt x="99" y="23"/>
                    <a:pt x="99" y="50"/>
                  </a:cubicBezTo>
                  <a:cubicBezTo>
                    <a:pt x="99" y="74"/>
                    <a:pt x="58" y="118"/>
                    <a:pt x="50" y="126"/>
                  </a:cubicBezTo>
                  <a:lnTo>
                    <a:pt x="49" y="127"/>
                  </a:lnTo>
                  <a:close/>
                  <a:moveTo>
                    <a:pt x="49" y="4"/>
                  </a:moveTo>
                  <a:cubicBezTo>
                    <a:pt x="24" y="4"/>
                    <a:pt x="3" y="25"/>
                    <a:pt x="3" y="50"/>
                  </a:cubicBezTo>
                  <a:cubicBezTo>
                    <a:pt x="3" y="72"/>
                    <a:pt x="40" y="113"/>
                    <a:pt x="49" y="122"/>
                  </a:cubicBezTo>
                  <a:cubicBezTo>
                    <a:pt x="58" y="113"/>
                    <a:pt x="95" y="72"/>
                    <a:pt x="95" y="50"/>
                  </a:cubicBezTo>
                  <a:cubicBezTo>
                    <a:pt x="95" y="25"/>
                    <a:pt x="74" y="4"/>
                    <a:pt x="49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36" name="Freeform 8"/>
            <p:cNvSpPr>
              <a:spLocks noEditPoints="1"/>
            </p:cNvSpPr>
            <p:nvPr/>
          </p:nvSpPr>
          <p:spPr bwMode="auto">
            <a:xfrm>
              <a:off x="426" y="311"/>
              <a:ext cx="98" cy="129"/>
            </a:xfrm>
            <a:custGeom>
              <a:avLst/>
              <a:gdLst/>
              <a:ahLst/>
              <a:cxnLst>
                <a:cxn ang="0">
                  <a:pos x="77" y="100"/>
                </a:cxn>
                <a:cxn ang="0">
                  <a:pos x="77" y="129"/>
                </a:cxn>
                <a:cxn ang="0">
                  <a:pos x="65" y="129"/>
                </a:cxn>
                <a:cxn ang="0">
                  <a:pos x="65" y="100"/>
                </a:cxn>
                <a:cxn ang="0">
                  <a:pos x="0" y="100"/>
                </a:cxn>
                <a:cxn ang="0">
                  <a:pos x="0" y="91"/>
                </a:cxn>
                <a:cxn ang="0">
                  <a:pos x="62" y="0"/>
                </a:cxn>
                <a:cxn ang="0">
                  <a:pos x="77" y="0"/>
                </a:cxn>
                <a:cxn ang="0">
                  <a:pos x="77" y="88"/>
                </a:cxn>
                <a:cxn ang="0">
                  <a:pos x="98" y="88"/>
                </a:cxn>
                <a:cxn ang="0">
                  <a:pos x="98" y="100"/>
                </a:cxn>
                <a:cxn ang="0">
                  <a:pos x="77" y="100"/>
                </a:cxn>
                <a:cxn ang="0">
                  <a:pos x="65" y="14"/>
                </a:cxn>
                <a:cxn ang="0">
                  <a:pos x="14" y="88"/>
                </a:cxn>
                <a:cxn ang="0">
                  <a:pos x="65" y="88"/>
                </a:cxn>
                <a:cxn ang="0">
                  <a:pos x="65" y="14"/>
                </a:cxn>
              </a:cxnLst>
              <a:rect l="0" t="0" r="r" b="b"/>
              <a:pathLst>
                <a:path w="98" h="129">
                  <a:moveTo>
                    <a:pt x="77" y="100"/>
                  </a:moveTo>
                  <a:lnTo>
                    <a:pt x="77" y="129"/>
                  </a:lnTo>
                  <a:lnTo>
                    <a:pt x="65" y="129"/>
                  </a:lnTo>
                  <a:lnTo>
                    <a:pt x="65" y="100"/>
                  </a:lnTo>
                  <a:lnTo>
                    <a:pt x="0" y="100"/>
                  </a:lnTo>
                  <a:lnTo>
                    <a:pt x="0" y="91"/>
                  </a:lnTo>
                  <a:lnTo>
                    <a:pt x="62" y="0"/>
                  </a:lnTo>
                  <a:lnTo>
                    <a:pt x="77" y="0"/>
                  </a:lnTo>
                  <a:lnTo>
                    <a:pt x="77" y="88"/>
                  </a:lnTo>
                  <a:lnTo>
                    <a:pt x="98" y="88"/>
                  </a:lnTo>
                  <a:lnTo>
                    <a:pt x="98" y="100"/>
                  </a:lnTo>
                  <a:lnTo>
                    <a:pt x="77" y="100"/>
                  </a:lnTo>
                  <a:close/>
                  <a:moveTo>
                    <a:pt x="65" y="14"/>
                  </a:moveTo>
                  <a:lnTo>
                    <a:pt x="14" y="88"/>
                  </a:lnTo>
                  <a:lnTo>
                    <a:pt x="65" y="88"/>
                  </a:lnTo>
                  <a:lnTo>
                    <a:pt x="65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8139" name="Group 11"/>
          <p:cNvGrpSpPr>
            <a:grpSpLocks noChangeAspect="1"/>
          </p:cNvGrpSpPr>
          <p:nvPr/>
        </p:nvGrpSpPr>
        <p:grpSpPr bwMode="auto">
          <a:xfrm>
            <a:off x="1464470" y="257175"/>
            <a:ext cx="785814" cy="792163"/>
            <a:chOff x="930" y="162"/>
            <a:chExt cx="495" cy="499"/>
          </a:xfrm>
        </p:grpSpPr>
        <p:sp>
          <p:nvSpPr>
            <p:cNvPr id="48140" name="Freeform 12"/>
            <p:cNvSpPr>
              <a:spLocks noEditPoints="1"/>
            </p:cNvSpPr>
            <p:nvPr/>
          </p:nvSpPr>
          <p:spPr bwMode="auto">
            <a:xfrm>
              <a:off x="930" y="162"/>
              <a:ext cx="495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41" name="Freeform 13"/>
            <p:cNvSpPr>
              <a:spLocks noEditPoints="1"/>
            </p:cNvSpPr>
            <p:nvPr/>
          </p:nvSpPr>
          <p:spPr bwMode="auto">
            <a:xfrm>
              <a:off x="1064" y="263"/>
              <a:ext cx="235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5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5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5"/>
                    <a:pt x="48" y="125"/>
                    <a:pt x="48" y="125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5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2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42" name="Freeform 14"/>
            <p:cNvSpPr>
              <a:spLocks noEditPoints="1"/>
            </p:cNvSpPr>
            <p:nvPr/>
          </p:nvSpPr>
          <p:spPr bwMode="auto">
            <a:xfrm>
              <a:off x="1124" y="313"/>
              <a:ext cx="98" cy="130"/>
            </a:xfrm>
            <a:custGeom>
              <a:avLst/>
              <a:gdLst/>
              <a:ahLst/>
              <a:cxnLst>
                <a:cxn ang="0">
                  <a:pos x="76" y="98"/>
                </a:cxn>
                <a:cxn ang="0">
                  <a:pos x="76" y="130"/>
                </a:cxn>
                <a:cxn ang="0">
                  <a:pos x="64" y="130"/>
                </a:cxn>
                <a:cxn ang="0">
                  <a:pos x="64" y="98"/>
                </a:cxn>
                <a:cxn ang="0">
                  <a:pos x="0" y="98"/>
                </a:cxn>
                <a:cxn ang="0">
                  <a:pos x="0" y="89"/>
                </a:cxn>
                <a:cxn ang="0">
                  <a:pos x="62" y="0"/>
                </a:cxn>
                <a:cxn ang="0">
                  <a:pos x="76" y="0"/>
                </a:cxn>
                <a:cxn ang="0">
                  <a:pos x="76" y="89"/>
                </a:cxn>
                <a:cxn ang="0">
                  <a:pos x="98" y="89"/>
                </a:cxn>
                <a:cxn ang="0">
                  <a:pos x="98" y="98"/>
                </a:cxn>
                <a:cxn ang="0">
                  <a:pos x="76" y="98"/>
                </a:cxn>
                <a:cxn ang="0">
                  <a:pos x="64" y="15"/>
                </a:cxn>
                <a:cxn ang="0">
                  <a:pos x="12" y="89"/>
                </a:cxn>
                <a:cxn ang="0">
                  <a:pos x="64" y="89"/>
                </a:cxn>
                <a:cxn ang="0">
                  <a:pos x="64" y="15"/>
                </a:cxn>
              </a:cxnLst>
              <a:rect l="0" t="0" r="r" b="b"/>
              <a:pathLst>
                <a:path w="98" h="130">
                  <a:moveTo>
                    <a:pt x="76" y="98"/>
                  </a:moveTo>
                  <a:lnTo>
                    <a:pt x="76" y="130"/>
                  </a:lnTo>
                  <a:lnTo>
                    <a:pt x="64" y="130"/>
                  </a:lnTo>
                  <a:lnTo>
                    <a:pt x="64" y="98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62" y="0"/>
                  </a:lnTo>
                  <a:lnTo>
                    <a:pt x="76" y="0"/>
                  </a:lnTo>
                  <a:lnTo>
                    <a:pt x="76" y="89"/>
                  </a:lnTo>
                  <a:lnTo>
                    <a:pt x="98" y="89"/>
                  </a:lnTo>
                  <a:lnTo>
                    <a:pt x="98" y="98"/>
                  </a:lnTo>
                  <a:lnTo>
                    <a:pt x="76" y="98"/>
                  </a:lnTo>
                  <a:close/>
                  <a:moveTo>
                    <a:pt x="64" y="15"/>
                  </a:moveTo>
                  <a:lnTo>
                    <a:pt x="12" y="89"/>
                  </a:lnTo>
                  <a:lnTo>
                    <a:pt x="64" y="89"/>
                  </a:lnTo>
                  <a:lnTo>
                    <a:pt x="64" y="1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146" name="Oval 18"/>
          <p:cNvSpPr>
            <a:spLocks noChangeArrowheads="1"/>
          </p:cNvSpPr>
          <p:nvPr/>
        </p:nvSpPr>
        <p:spPr bwMode="auto">
          <a:xfrm>
            <a:off x="2541587" y="239713"/>
            <a:ext cx="827088" cy="827088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147" name="Freeform 19"/>
          <p:cNvSpPr>
            <a:spLocks noEditPoints="1"/>
          </p:cNvSpPr>
          <p:nvPr/>
        </p:nvSpPr>
        <p:spPr bwMode="auto">
          <a:xfrm>
            <a:off x="2571750" y="269876"/>
            <a:ext cx="766763" cy="766763"/>
          </a:xfrm>
          <a:custGeom>
            <a:avLst/>
            <a:gdLst/>
            <a:ahLst/>
            <a:cxnLst>
              <a:cxn ang="0">
                <a:pos x="101" y="0"/>
              </a:cxn>
              <a:cxn ang="0">
                <a:pos x="0" y="101"/>
              </a:cxn>
              <a:cxn ang="0">
                <a:pos x="101" y="202"/>
              </a:cxn>
              <a:cxn ang="0">
                <a:pos x="202" y="101"/>
              </a:cxn>
              <a:cxn ang="0">
                <a:pos x="101" y="0"/>
              </a:cxn>
              <a:cxn ang="0">
                <a:pos x="169" y="169"/>
              </a:cxn>
              <a:cxn ang="0">
                <a:pos x="101" y="197"/>
              </a:cxn>
              <a:cxn ang="0">
                <a:pos x="33" y="169"/>
              </a:cxn>
              <a:cxn ang="0">
                <a:pos x="5" y="101"/>
              </a:cxn>
              <a:cxn ang="0">
                <a:pos x="33" y="33"/>
              </a:cxn>
              <a:cxn ang="0">
                <a:pos x="101" y="5"/>
              </a:cxn>
              <a:cxn ang="0">
                <a:pos x="169" y="33"/>
              </a:cxn>
              <a:cxn ang="0">
                <a:pos x="197" y="101"/>
              </a:cxn>
              <a:cxn ang="0">
                <a:pos x="169" y="169"/>
              </a:cxn>
            </a:cxnLst>
            <a:rect l="0" t="0" r="r" b="b"/>
            <a:pathLst>
              <a:path w="202" h="202">
                <a:moveTo>
                  <a:pt x="101" y="0"/>
                </a:moveTo>
                <a:cubicBezTo>
                  <a:pt x="45" y="0"/>
                  <a:pt x="0" y="45"/>
                  <a:pt x="0" y="101"/>
                </a:cubicBezTo>
                <a:cubicBezTo>
                  <a:pt x="0" y="157"/>
                  <a:pt x="45" y="202"/>
                  <a:pt x="101" y="202"/>
                </a:cubicBezTo>
                <a:cubicBezTo>
                  <a:pt x="157" y="202"/>
                  <a:pt x="202" y="157"/>
                  <a:pt x="202" y="101"/>
                </a:cubicBezTo>
                <a:cubicBezTo>
                  <a:pt x="202" y="45"/>
                  <a:pt x="157" y="0"/>
                  <a:pt x="101" y="0"/>
                </a:cubicBezTo>
                <a:close/>
                <a:moveTo>
                  <a:pt x="169" y="169"/>
                </a:moveTo>
                <a:cubicBezTo>
                  <a:pt x="151" y="187"/>
                  <a:pt x="127" y="197"/>
                  <a:pt x="101" y="197"/>
                </a:cubicBezTo>
                <a:cubicBezTo>
                  <a:pt x="75" y="197"/>
                  <a:pt x="51" y="187"/>
                  <a:pt x="33" y="169"/>
                </a:cubicBezTo>
                <a:cubicBezTo>
                  <a:pt x="15" y="151"/>
                  <a:pt x="5" y="127"/>
                  <a:pt x="5" y="101"/>
                </a:cubicBezTo>
                <a:cubicBezTo>
                  <a:pt x="5" y="75"/>
                  <a:pt x="15" y="51"/>
                  <a:pt x="33" y="33"/>
                </a:cubicBezTo>
                <a:cubicBezTo>
                  <a:pt x="51" y="15"/>
                  <a:pt x="75" y="5"/>
                  <a:pt x="101" y="5"/>
                </a:cubicBezTo>
                <a:cubicBezTo>
                  <a:pt x="127" y="5"/>
                  <a:pt x="151" y="15"/>
                  <a:pt x="169" y="33"/>
                </a:cubicBezTo>
                <a:cubicBezTo>
                  <a:pt x="187" y="51"/>
                  <a:pt x="197" y="75"/>
                  <a:pt x="197" y="101"/>
                </a:cubicBezTo>
                <a:cubicBezTo>
                  <a:pt x="197" y="127"/>
                  <a:pt x="187" y="151"/>
                  <a:pt x="169" y="16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48" name="Freeform 20"/>
          <p:cNvSpPr>
            <a:spLocks noEditPoints="1"/>
          </p:cNvSpPr>
          <p:nvPr/>
        </p:nvSpPr>
        <p:spPr bwMode="auto">
          <a:xfrm>
            <a:off x="2738437" y="417513"/>
            <a:ext cx="269875" cy="273050"/>
          </a:xfrm>
          <a:custGeom>
            <a:avLst/>
            <a:gdLst/>
            <a:ahLst/>
            <a:cxnLst>
              <a:cxn ang="0">
                <a:pos x="31" y="49"/>
              </a:cxn>
              <a:cxn ang="0">
                <a:pos x="37" y="51"/>
              </a:cxn>
              <a:cxn ang="0">
                <a:pos x="45" y="38"/>
              </a:cxn>
              <a:cxn ang="0">
                <a:pos x="53" y="49"/>
              </a:cxn>
              <a:cxn ang="0">
                <a:pos x="60" y="38"/>
              </a:cxn>
              <a:cxn ang="0">
                <a:pos x="71" y="0"/>
              </a:cxn>
              <a:cxn ang="0">
                <a:pos x="36" y="0"/>
              </a:cxn>
              <a:cxn ang="0">
                <a:pos x="0" y="34"/>
              </a:cxn>
              <a:cxn ang="0">
                <a:pos x="0" y="72"/>
              </a:cxn>
              <a:cxn ang="0">
                <a:pos x="37" y="55"/>
              </a:cxn>
              <a:cxn ang="0">
                <a:pos x="31" y="57"/>
              </a:cxn>
              <a:cxn ang="0">
                <a:pos x="26" y="53"/>
              </a:cxn>
              <a:cxn ang="0">
                <a:pos x="68" y="4"/>
              </a:cxn>
              <a:cxn ang="0">
                <a:pos x="55" y="34"/>
              </a:cxn>
              <a:cxn ang="0">
                <a:pos x="57" y="39"/>
              </a:cxn>
              <a:cxn ang="0">
                <a:pos x="53" y="45"/>
              </a:cxn>
              <a:cxn ang="0">
                <a:pos x="49" y="39"/>
              </a:cxn>
              <a:cxn ang="0">
                <a:pos x="50" y="34"/>
              </a:cxn>
              <a:cxn ang="0">
                <a:pos x="37" y="26"/>
              </a:cxn>
              <a:cxn ang="0">
                <a:pos x="48" y="19"/>
              </a:cxn>
              <a:cxn ang="0">
                <a:pos x="37" y="12"/>
              </a:cxn>
              <a:cxn ang="0">
                <a:pos x="68" y="4"/>
              </a:cxn>
              <a:cxn ang="0">
                <a:pos x="34" y="4"/>
              </a:cxn>
              <a:cxn ang="0">
                <a:pos x="36" y="16"/>
              </a:cxn>
              <a:cxn ang="0">
                <a:pos x="42" y="15"/>
              </a:cxn>
              <a:cxn ang="0">
                <a:pos x="42" y="23"/>
              </a:cxn>
              <a:cxn ang="0">
                <a:pos x="36" y="21"/>
              </a:cxn>
              <a:cxn ang="0">
                <a:pos x="34" y="34"/>
              </a:cxn>
              <a:cxn ang="0">
                <a:pos x="26" y="28"/>
              </a:cxn>
              <a:cxn ang="0">
                <a:pos x="11" y="28"/>
              </a:cxn>
              <a:cxn ang="0">
                <a:pos x="3" y="34"/>
              </a:cxn>
              <a:cxn ang="0">
                <a:pos x="30" y="61"/>
              </a:cxn>
              <a:cxn ang="0">
                <a:pos x="34" y="68"/>
              </a:cxn>
              <a:cxn ang="0">
                <a:pos x="3" y="38"/>
              </a:cxn>
              <a:cxn ang="0">
                <a:pos x="16" y="36"/>
              </a:cxn>
              <a:cxn ang="0">
                <a:pos x="14" y="29"/>
              </a:cxn>
              <a:cxn ang="0">
                <a:pos x="23" y="29"/>
              </a:cxn>
              <a:cxn ang="0">
                <a:pos x="21" y="36"/>
              </a:cxn>
              <a:cxn ang="0">
                <a:pos x="34" y="38"/>
              </a:cxn>
              <a:cxn ang="0">
                <a:pos x="30" y="45"/>
              </a:cxn>
              <a:cxn ang="0">
                <a:pos x="30" y="61"/>
              </a:cxn>
            </a:cxnLst>
            <a:rect l="0" t="0" r="r" b="b"/>
            <a:pathLst>
              <a:path w="71" h="72">
                <a:moveTo>
                  <a:pt x="30" y="49"/>
                </a:moveTo>
                <a:cubicBezTo>
                  <a:pt x="30" y="49"/>
                  <a:pt x="31" y="49"/>
                  <a:pt x="31" y="49"/>
                </a:cubicBezTo>
                <a:cubicBezTo>
                  <a:pt x="32" y="50"/>
                  <a:pt x="34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7" y="38"/>
                  <a:pt x="37" y="38"/>
                  <a:pt x="37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4" y="39"/>
                  <a:pt x="44" y="42"/>
                  <a:pt x="45" y="44"/>
                </a:cubicBezTo>
                <a:cubicBezTo>
                  <a:pt x="46" y="47"/>
                  <a:pt x="49" y="49"/>
                  <a:pt x="53" y="49"/>
                </a:cubicBezTo>
                <a:cubicBezTo>
                  <a:pt x="56" y="49"/>
                  <a:pt x="59" y="47"/>
                  <a:pt x="60" y="44"/>
                </a:cubicBezTo>
                <a:cubicBezTo>
                  <a:pt x="61" y="42"/>
                  <a:pt x="61" y="39"/>
                  <a:pt x="60" y="38"/>
                </a:cubicBezTo>
                <a:cubicBezTo>
                  <a:pt x="71" y="38"/>
                  <a:pt x="71" y="38"/>
                  <a:pt x="71" y="38"/>
                </a:cubicBezTo>
                <a:cubicBezTo>
                  <a:pt x="71" y="0"/>
                  <a:pt x="71" y="0"/>
                  <a:pt x="71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72"/>
                  <a:pt x="0" y="72"/>
                  <a:pt x="0" y="72"/>
                </a:cubicBezTo>
                <a:cubicBezTo>
                  <a:pt x="37" y="72"/>
                  <a:pt x="37" y="72"/>
                  <a:pt x="37" y="72"/>
                </a:cubicBezTo>
                <a:cubicBezTo>
                  <a:pt x="37" y="55"/>
                  <a:pt x="37" y="55"/>
                  <a:pt x="37" y="55"/>
                </a:cubicBezTo>
                <a:cubicBezTo>
                  <a:pt x="35" y="55"/>
                  <a:pt x="35" y="55"/>
                  <a:pt x="35" y="55"/>
                </a:cubicBezTo>
                <a:cubicBezTo>
                  <a:pt x="34" y="55"/>
                  <a:pt x="32" y="56"/>
                  <a:pt x="31" y="57"/>
                </a:cubicBezTo>
                <a:cubicBezTo>
                  <a:pt x="31" y="57"/>
                  <a:pt x="30" y="57"/>
                  <a:pt x="30" y="57"/>
                </a:cubicBezTo>
                <a:cubicBezTo>
                  <a:pt x="28" y="57"/>
                  <a:pt x="26" y="57"/>
                  <a:pt x="26" y="53"/>
                </a:cubicBezTo>
                <a:cubicBezTo>
                  <a:pt x="26" y="49"/>
                  <a:pt x="28" y="49"/>
                  <a:pt x="30" y="49"/>
                </a:cubicBezTo>
                <a:close/>
                <a:moveTo>
                  <a:pt x="68" y="4"/>
                </a:moveTo>
                <a:cubicBezTo>
                  <a:pt x="68" y="34"/>
                  <a:pt x="68" y="34"/>
                  <a:pt x="68" y="34"/>
                </a:cubicBezTo>
                <a:cubicBezTo>
                  <a:pt x="55" y="34"/>
                  <a:pt x="55" y="34"/>
                  <a:pt x="55" y="34"/>
                </a:cubicBezTo>
                <a:cubicBezTo>
                  <a:pt x="55" y="36"/>
                  <a:pt x="55" y="36"/>
                  <a:pt x="55" y="36"/>
                </a:cubicBezTo>
                <a:cubicBezTo>
                  <a:pt x="55" y="37"/>
                  <a:pt x="56" y="39"/>
                  <a:pt x="57" y="39"/>
                </a:cubicBezTo>
                <a:cubicBezTo>
                  <a:pt x="57" y="40"/>
                  <a:pt x="57" y="41"/>
                  <a:pt x="57" y="42"/>
                </a:cubicBezTo>
                <a:cubicBezTo>
                  <a:pt x="56" y="43"/>
                  <a:pt x="55" y="45"/>
                  <a:pt x="53" y="45"/>
                </a:cubicBezTo>
                <a:cubicBezTo>
                  <a:pt x="50" y="45"/>
                  <a:pt x="49" y="43"/>
                  <a:pt x="48" y="42"/>
                </a:cubicBezTo>
                <a:cubicBezTo>
                  <a:pt x="48" y="41"/>
                  <a:pt x="48" y="40"/>
                  <a:pt x="49" y="39"/>
                </a:cubicBezTo>
                <a:cubicBezTo>
                  <a:pt x="50" y="39"/>
                  <a:pt x="50" y="37"/>
                  <a:pt x="50" y="36"/>
                </a:cubicBezTo>
                <a:cubicBezTo>
                  <a:pt x="50" y="34"/>
                  <a:pt x="50" y="34"/>
                  <a:pt x="50" y="34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26"/>
                  <a:pt x="37" y="26"/>
                  <a:pt x="37" y="26"/>
                </a:cubicBezTo>
                <a:cubicBezTo>
                  <a:pt x="39" y="27"/>
                  <a:pt x="41" y="27"/>
                  <a:pt x="43" y="26"/>
                </a:cubicBezTo>
                <a:cubicBezTo>
                  <a:pt x="46" y="25"/>
                  <a:pt x="48" y="22"/>
                  <a:pt x="48" y="19"/>
                </a:cubicBezTo>
                <a:cubicBezTo>
                  <a:pt x="48" y="15"/>
                  <a:pt x="46" y="12"/>
                  <a:pt x="43" y="11"/>
                </a:cubicBezTo>
                <a:cubicBezTo>
                  <a:pt x="41" y="10"/>
                  <a:pt x="39" y="11"/>
                  <a:pt x="37" y="12"/>
                </a:cubicBezTo>
                <a:cubicBezTo>
                  <a:pt x="37" y="4"/>
                  <a:pt x="37" y="4"/>
                  <a:pt x="37" y="4"/>
                </a:cubicBezTo>
                <a:lnTo>
                  <a:pt x="68" y="4"/>
                </a:lnTo>
                <a:close/>
                <a:moveTo>
                  <a:pt x="3" y="4"/>
                </a:moveTo>
                <a:cubicBezTo>
                  <a:pt x="34" y="4"/>
                  <a:pt x="34" y="4"/>
                  <a:pt x="34" y="4"/>
                </a:cubicBezTo>
                <a:cubicBezTo>
                  <a:pt x="34" y="17"/>
                  <a:pt x="34" y="17"/>
                  <a:pt x="34" y="17"/>
                </a:cubicBezTo>
                <a:cubicBezTo>
                  <a:pt x="36" y="16"/>
                  <a:pt x="36" y="16"/>
                  <a:pt x="36" y="16"/>
                </a:cubicBezTo>
                <a:cubicBezTo>
                  <a:pt x="37" y="16"/>
                  <a:pt x="38" y="16"/>
                  <a:pt x="39" y="15"/>
                </a:cubicBezTo>
                <a:cubicBezTo>
                  <a:pt x="40" y="14"/>
                  <a:pt x="41" y="14"/>
                  <a:pt x="42" y="15"/>
                </a:cubicBezTo>
                <a:cubicBezTo>
                  <a:pt x="43" y="15"/>
                  <a:pt x="45" y="16"/>
                  <a:pt x="45" y="19"/>
                </a:cubicBezTo>
                <a:cubicBezTo>
                  <a:pt x="45" y="22"/>
                  <a:pt x="43" y="23"/>
                  <a:pt x="42" y="23"/>
                </a:cubicBezTo>
                <a:cubicBezTo>
                  <a:pt x="41" y="24"/>
                  <a:pt x="40" y="23"/>
                  <a:pt x="39" y="23"/>
                </a:cubicBezTo>
                <a:cubicBezTo>
                  <a:pt x="38" y="22"/>
                  <a:pt x="37" y="21"/>
                  <a:pt x="36" y="21"/>
                </a:cubicBezTo>
                <a:cubicBezTo>
                  <a:pt x="34" y="21"/>
                  <a:pt x="34" y="21"/>
                  <a:pt x="34" y="21"/>
                </a:cubicBezTo>
                <a:cubicBezTo>
                  <a:pt x="34" y="34"/>
                  <a:pt x="34" y="34"/>
                  <a:pt x="34" y="34"/>
                </a:cubicBezTo>
                <a:cubicBezTo>
                  <a:pt x="26" y="34"/>
                  <a:pt x="26" y="34"/>
                  <a:pt x="26" y="34"/>
                </a:cubicBezTo>
                <a:cubicBezTo>
                  <a:pt x="27" y="33"/>
                  <a:pt x="27" y="30"/>
                  <a:pt x="26" y="28"/>
                </a:cubicBezTo>
                <a:cubicBezTo>
                  <a:pt x="25" y="25"/>
                  <a:pt x="22" y="23"/>
                  <a:pt x="18" y="23"/>
                </a:cubicBezTo>
                <a:cubicBezTo>
                  <a:pt x="15" y="23"/>
                  <a:pt x="12" y="25"/>
                  <a:pt x="11" y="28"/>
                </a:cubicBezTo>
                <a:cubicBezTo>
                  <a:pt x="10" y="30"/>
                  <a:pt x="10" y="33"/>
                  <a:pt x="11" y="34"/>
                </a:cubicBezTo>
                <a:cubicBezTo>
                  <a:pt x="3" y="34"/>
                  <a:pt x="3" y="34"/>
                  <a:pt x="3" y="34"/>
                </a:cubicBezTo>
                <a:lnTo>
                  <a:pt x="3" y="4"/>
                </a:lnTo>
                <a:close/>
                <a:moveTo>
                  <a:pt x="30" y="61"/>
                </a:moveTo>
                <a:cubicBezTo>
                  <a:pt x="31" y="61"/>
                  <a:pt x="33" y="61"/>
                  <a:pt x="34" y="60"/>
                </a:cubicBezTo>
                <a:cubicBezTo>
                  <a:pt x="34" y="68"/>
                  <a:pt x="34" y="68"/>
                  <a:pt x="34" y="68"/>
                </a:cubicBezTo>
                <a:cubicBezTo>
                  <a:pt x="3" y="68"/>
                  <a:pt x="3" y="68"/>
                  <a:pt x="3" y="68"/>
                </a:cubicBezTo>
                <a:cubicBezTo>
                  <a:pt x="3" y="38"/>
                  <a:pt x="3" y="38"/>
                  <a:pt x="3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6"/>
                  <a:pt x="16" y="36"/>
                  <a:pt x="16" y="36"/>
                </a:cubicBezTo>
                <a:cubicBezTo>
                  <a:pt x="16" y="34"/>
                  <a:pt x="15" y="33"/>
                  <a:pt x="15" y="32"/>
                </a:cubicBezTo>
                <a:cubicBezTo>
                  <a:pt x="14" y="32"/>
                  <a:pt x="14" y="31"/>
                  <a:pt x="14" y="29"/>
                </a:cubicBezTo>
                <a:cubicBezTo>
                  <a:pt x="15" y="28"/>
                  <a:pt x="16" y="27"/>
                  <a:pt x="18" y="27"/>
                </a:cubicBezTo>
                <a:cubicBezTo>
                  <a:pt x="21" y="27"/>
                  <a:pt x="22" y="28"/>
                  <a:pt x="23" y="29"/>
                </a:cubicBezTo>
                <a:cubicBezTo>
                  <a:pt x="23" y="31"/>
                  <a:pt x="23" y="32"/>
                  <a:pt x="22" y="32"/>
                </a:cubicBezTo>
                <a:cubicBezTo>
                  <a:pt x="22" y="33"/>
                  <a:pt x="21" y="34"/>
                  <a:pt x="21" y="36"/>
                </a:cubicBezTo>
                <a:cubicBezTo>
                  <a:pt x="21" y="38"/>
                  <a:pt x="21" y="38"/>
                  <a:pt x="21" y="38"/>
                </a:cubicBezTo>
                <a:cubicBezTo>
                  <a:pt x="34" y="38"/>
                  <a:pt x="34" y="38"/>
                  <a:pt x="34" y="38"/>
                </a:cubicBezTo>
                <a:cubicBezTo>
                  <a:pt x="34" y="46"/>
                  <a:pt x="34" y="46"/>
                  <a:pt x="34" y="46"/>
                </a:cubicBezTo>
                <a:cubicBezTo>
                  <a:pt x="33" y="45"/>
                  <a:pt x="31" y="45"/>
                  <a:pt x="30" y="45"/>
                </a:cubicBezTo>
                <a:cubicBezTo>
                  <a:pt x="26" y="45"/>
                  <a:pt x="22" y="48"/>
                  <a:pt x="22" y="53"/>
                </a:cubicBezTo>
                <a:cubicBezTo>
                  <a:pt x="22" y="58"/>
                  <a:pt x="26" y="61"/>
                  <a:pt x="30" y="6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149" name="Freeform 21"/>
          <p:cNvSpPr>
            <a:spLocks noEditPoints="1"/>
          </p:cNvSpPr>
          <p:nvPr/>
        </p:nvSpPr>
        <p:spPr bwMode="auto">
          <a:xfrm>
            <a:off x="2890837" y="477838"/>
            <a:ext cx="273050" cy="441325"/>
          </a:xfrm>
          <a:custGeom>
            <a:avLst/>
            <a:gdLst/>
            <a:ahLst/>
            <a:cxnLst>
              <a:cxn ang="0">
                <a:pos x="57" y="19"/>
              </a:cxn>
              <a:cxn ang="0">
                <a:pos x="51" y="0"/>
              </a:cxn>
              <a:cxn ang="0">
                <a:pos x="46" y="19"/>
              </a:cxn>
              <a:cxn ang="0">
                <a:pos x="31" y="39"/>
              </a:cxn>
              <a:cxn ang="0">
                <a:pos x="15" y="44"/>
              </a:cxn>
              <a:cxn ang="0">
                <a:pos x="2" y="45"/>
              </a:cxn>
              <a:cxn ang="0">
                <a:pos x="8" y="57"/>
              </a:cxn>
              <a:cxn ang="0">
                <a:pos x="37" y="84"/>
              </a:cxn>
              <a:cxn ang="0">
                <a:pos x="38" y="108"/>
              </a:cxn>
              <a:cxn ang="0">
                <a:pos x="51" y="111"/>
              </a:cxn>
              <a:cxn ang="0">
                <a:pos x="64" y="109"/>
              </a:cxn>
              <a:cxn ang="0">
                <a:pos x="66" y="68"/>
              </a:cxn>
              <a:cxn ang="0">
                <a:pos x="71" y="32"/>
              </a:cxn>
              <a:cxn ang="0">
                <a:pos x="58" y="10"/>
              </a:cxn>
              <a:cxn ang="0">
                <a:pos x="45" y="10"/>
              </a:cxn>
              <a:cxn ang="0">
                <a:pos x="35" y="79"/>
              </a:cxn>
              <a:cxn ang="0">
                <a:pos x="14" y="54"/>
              </a:cxn>
              <a:cxn ang="0">
                <a:pos x="8" y="53"/>
              </a:cxn>
              <a:cxn ang="0">
                <a:pos x="5" y="47"/>
              </a:cxn>
              <a:cxn ang="0">
                <a:pos x="12" y="46"/>
              </a:cxn>
              <a:cxn ang="0">
                <a:pos x="16" y="50"/>
              </a:cxn>
              <a:cxn ang="0">
                <a:pos x="31" y="43"/>
              </a:cxn>
              <a:cxn ang="0">
                <a:pos x="30" y="62"/>
              </a:cxn>
              <a:cxn ang="0">
                <a:pos x="42" y="62"/>
              </a:cxn>
              <a:cxn ang="0">
                <a:pos x="49" y="52"/>
              </a:cxn>
              <a:cxn ang="0">
                <a:pos x="66" y="64"/>
              </a:cxn>
              <a:cxn ang="0">
                <a:pos x="64" y="38"/>
              </a:cxn>
              <a:cxn ang="0">
                <a:pos x="61" y="61"/>
              </a:cxn>
              <a:cxn ang="0">
                <a:pos x="57" y="112"/>
              </a:cxn>
              <a:cxn ang="0">
                <a:pos x="53" y="71"/>
              </a:cxn>
              <a:cxn ang="0">
                <a:pos x="48" y="108"/>
              </a:cxn>
              <a:cxn ang="0">
                <a:pos x="45" y="112"/>
              </a:cxn>
              <a:cxn ang="0">
                <a:pos x="42" y="74"/>
              </a:cxn>
              <a:cxn ang="0">
                <a:pos x="42" y="44"/>
              </a:cxn>
              <a:cxn ang="0">
                <a:pos x="39" y="38"/>
              </a:cxn>
              <a:cxn ang="0">
                <a:pos x="36" y="64"/>
              </a:cxn>
              <a:cxn ang="0">
                <a:pos x="33" y="61"/>
              </a:cxn>
              <a:cxn ang="0">
                <a:pos x="35" y="32"/>
              </a:cxn>
              <a:cxn ang="0">
                <a:pos x="67" y="33"/>
              </a:cxn>
              <a:cxn ang="0">
                <a:pos x="66" y="64"/>
              </a:cxn>
            </a:cxnLst>
            <a:rect l="0" t="0" r="r" b="b"/>
            <a:pathLst>
              <a:path w="72" h="116">
                <a:moveTo>
                  <a:pt x="71" y="32"/>
                </a:moveTo>
                <a:cubicBezTo>
                  <a:pt x="71" y="32"/>
                  <a:pt x="69" y="21"/>
                  <a:pt x="57" y="19"/>
                </a:cubicBezTo>
                <a:cubicBezTo>
                  <a:pt x="59" y="17"/>
                  <a:pt x="61" y="14"/>
                  <a:pt x="61" y="10"/>
                </a:cubicBezTo>
                <a:cubicBezTo>
                  <a:pt x="61" y="5"/>
                  <a:pt x="57" y="0"/>
                  <a:pt x="51" y="0"/>
                </a:cubicBezTo>
                <a:cubicBezTo>
                  <a:pt x="46" y="0"/>
                  <a:pt x="41" y="5"/>
                  <a:pt x="41" y="10"/>
                </a:cubicBezTo>
                <a:cubicBezTo>
                  <a:pt x="41" y="14"/>
                  <a:pt x="43" y="17"/>
                  <a:pt x="46" y="19"/>
                </a:cubicBezTo>
                <a:cubicBezTo>
                  <a:pt x="34" y="21"/>
                  <a:pt x="31" y="30"/>
                  <a:pt x="31" y="32"/>
                </a:cubicBezTo>
                <a:cubicBezTo>
                  <a:pt x="31" y="39"/>
                  <a:pt x="31" y="39"/>
                  <a:pt x="31" y="39"/>
                </a:cubicBezTo>
                <a:cubicBezTo>
                  <a:pt x="20" y="33"/>
                  <a:pt x="20" y="33"/>
                  <a:pt x="20" y="33"/>
                </a:cubicBezTo>
                <a:cubicBezTo>
                  <a:pt x="15" y="44"/>
                  <a:pt x="15" y="44"/>
                  <a:pt x="15" y="44"/>
                </a:cubicBezTo>
                <a:cubicBezTo>
                  <a:pt x="14" y="42"/>
                  <a:pt x="12" y="41"/>
                  <a:pt x="9" y="41"/>
                </a:cubicBezTo>
                <a:cubicBezTo>
                  <a:pt x="6" y="41"/>
                  <a:pt x="3" y="42"/>
                  <a:pt x="2" y="45"/>
                </a:cubicBezTo>
                <a:cubicBezTo>
                  <a:pt x="0" y="49"/>
                  <a:pt x="0" y="52"/>
                  <a:pt x="2" y="54"/>
                </a:cubicBezTo>
                <a:cubicBezTo>
                  <a:pt x="4" y="56"/>
                  <a:pt x="6" y="57"/>
                  <a:pt x="8" y="57"/>
                </a:cubicBezTo>
                <a:cubicBezTo>
                  <a:pt x="3" y="67"/>
                  <a:pt x="3" y="67"/>
                  <a:pt x="3" y="67"/>
                </a:cubicBezTo>
                <a:cubicBezTo>
                  <a:pt x="37" y="84"/>
                  <a:pt x="37" y="84"/>
                  <a:pt x="37" y="84"/>
                </a:cubicBezTo>
                <a:cubicBezTo>
                  <a:pt x="38" y="81"/>
                  <a:pt x="38" y="81"/>
                  <a:pt x="38" y="81"/>
                </a:cubicBezTo>
                <a:cubicBezTo>
                  <a:pt x="38" y="92"/>
                  <a:pt x="38" y="103"/>
                  <a:pt x="38" y="108"/>
                </a:cubicBezTo>
                <a:cubicBezTo>
                  <a:pt x="38" y="112"/>
                  <a:pt x="41" y="116"/>
                  <a:pt x="45" y="116"/>
                </a:cubicBezTo>
                <a:cubicBezTo>
                  <a:pt x="48" y="116"/>
                  <a:pt x="50" y="114"/>
                  <a:pt x="51" y="111"/>
                </a:cubicBezTo>
                <a:cubicBezTo>
                  <a:pt x="52" y="114"/>
                  <a:pt x="55" y="116"/>
                  <a:pt x="57" y="116"/>
                </a:cubicBezTo>
                <a:cubicBezTo>
                  <a:pt x="61" y="116"/>
                  <a:pt x="64" y="112"/>
                  <a:pt x="64" y="109"/>
                </a:cubicBezTo>
                <a:cubicBezTo>
                  <a:pt x="64" y="67"/>
                  <a:pt x="64" y="67"/>
                  <a:pt x="64" y="67"/>
                </a:cubicBezTo>
                <a:cubicBezTo>
                  <a:pt x="65" y="68"/>
                  <a:pt x="66" y="68"/>
                  <a:pt x="66" y="68"/>
                </a:cubicBezTo>
                <a:cubicBezTo>
                  <a:pt x="70" y="68"/>
                  <a:pt x="72" y="65"/>
                  <a:pt x="72" y="62"/>
                </a:cubicBezTo>
                <a:cubicBezTo>
                  <a:pt x="71" y="32"/>
                  <a:pt x="71" y="32"/>
                  <a:pt x="71" y="32"/>
                </a:cubicBezTo>
                <a:close/>
                <a:moveTo>
                  <a:pt x="51" y="4"/>
                </a:moveTo>
                <a:cubicBezTo>
                  <a:pt x="55" y="4"/>
                  <a:pt x="58" y="7"/>
                  <a:pt x="58" y="10"/>
                </a:cubicBezTo>
                <a:cubicBezTo>
                  <a:pt x="58" y="14"/>
                  <a:pt x="55" y="17"/>
                  <a:pt x="51" y="17"/>
                </a:cubicBezTo>
                <a:cubicBezTo>
                  <a:pt x="48" y="17"/>
                  <a:pt x="45" y="14"/>
                  <a:pt x="45" y="10"/>
                </a:cubicBezTo>
                <a:cubicBezTo>
                  <a:pt x="45" y="7"/>
                  <a:pt x="48" y="4"/>
                  <a:pt x="51" y="4"/>
                </a:cubicBezTo>
                <a:close/>
                <a:moveTo>
                  <a:pt x="35" y="79"/>
                </a:moveTo>
                <a:cubicBezTo>
                  <a:pt x="8" y="66"/>
                  <a:pt x="8" y="66"/>
                  <a:pt x="8" y="66"/>
                </a:cubicBezTo>
                <a:cubicBezTo>
                  <a:pt x="14" y="54"/>
                  <a:pt x="14" y="54"/>
                  <a:pt x="14" y="54"/>
                </a:cubicBezTo>
                <a:cubicBezTo>
                  <a:pt x="12" y="53"/>
                  <a:pt x="12" y="53"/>
                  <a:pt x="12" y="53"/>
                </a:cubicBezTo>
                <a:cubicBezTo>
                  <a:pt x="10" y="53"/>
                  <a:pt x="9" y="53"/>
                  <a:pt x="8" y="53"/>
                </a:cubicBezTo>
                <a:cubicBezTo>
                  <a:pt x="7" y="53"/>
                  <a:pt x="6" y="53"/>
                  <a:pt x="5" y="52"/>
                </a:cubicBezTo>
                <a:cubicBezTo>
                  <a:pt x="5" y="51"/>
                  <a:pt x="4" y="50"/>
                  <a:pt x="5" y="47"/>
                </a:cubicBezTo>
                <a:cubicBezTo>
                  <a:pt x="6" y="45"/>
                  <a:pt x="8" y="44"/>
                  <a:pt x="9" y="44"/>
                </a:cubicBezTo>
                <a:cubicBezTo>
                  <a:pt x="10" y="45"/>
                  <a:pt x="11" y="45"/>
                  <a:pt x="12" y="46"/>
                </a:cubicBezTo>
                <a:cubicBezTo>
                  <a:pt x="12" y="47"/>
                  <a:pt x="13" y="48"/>
                  <a:pt x="14" y="49"/>
                </a:cubicBezTo>
                <a:cubicBezTo>
                  <a:pt x="16" y="50"/>
                  <a:pt x="16" y="50"/>
                  <a:pt x="16" y="50"/>
                </a:cubicBezTo>
                <a:cubicBezTo>
                  <a:pt x="21" y="38"/>
                  <a:pt x="21" y="38"/>
                  <a:pt x="21" y="38"/>
                </a:cubicBezTo>
                <a:cubicBezTo>
                  <a:pt x="31" y="43"/>
                  <a:pt x="31" y="43"/>
                  <a:pt x="31" y="43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62"/>
                  <a:pt x="30" y="62"/>
                  <a:pt x="30" y="62"/>
                </a:cubicBezTo>
                <a:cubicBezTo>
                  <a:pt x="30" y="65"/>
                  <a:pt x="33" y="68"/>
                  <a:pt x="36" y="68"/>
                </a:cubicBezTo>
                <a:cubicBezTo>
                  <a:pt x="39" y="68"/>
                  <a:pt x="41" y="65"/>
                  <a:pt x="42" y="62"/>
                </a:cubicBezTo>
                <a:cubicBezTo>
                  <a:pt x="42" y="48"/>
                  <a:pt x="42" y="48"/>
                  <a:pt x="42" y="48"/>
                </a:cubicBezTo>
                <a:cubicBezTo>
                  <a:pt x="49" y="52"/>
                  <a:pt x="49" y="52"/>
                  <a:pt x="49" y="52"/>
                </a:cubicBezTo>
                <a:lnTo>
                  <a:pt x="35" y="79"/>
                </a:lnTo>
                <a:close/>
                <a:moveTo>
                  <a:pt x="66" y="64"/>
                </a:moveTo>
                <a:cubicBezTo>
                  <a:pt x="65" y="64"/>
                  <a:pt x="64" y="63"/>
                  <a:pt x="64" y="62"/>
                </a:cubicBezTo>
                <a:cubicBezTo>
                  <a:pt x="64" y="38"/>
                  <a:pt x="64" y="38"/>
                  <a:pt x="64" y="38"/>
                </a:cubicBezTo>
                <a:cubicBezTo>
                  <a:pt x="60" y="38"/>
                  <a:pt x="60" y="38"/>
                  <a:pt x="60" y="38"/>
                </a:cubicBezTo>
                <a:cubicBezTo>
                  <a:pt x="61" y="61"/>
                  <a:pt x="61" y="61"/>
                  <a:pt x="61" y="61"/>
                </a:cubicBezTo>
                <a:cubicBezTo>
                  <a:pt x="61" y="109"/>
                  <a:pt x="61" y="109"/>
                  <a:pt x="61" y="109"/>
                </a:cubicBezTo>
                <a:cubicBezTo>
                  <a:pt x="61" y="110"/>
                  <a:pt x="59" y="112"/>
                  <a:pt x="57" y="112"/>
                </a:cubicBezTo>
                <a:cubicBezTo>
                  <a:pt x="56" y="112"/>
                  <a:pt x="54" y="110"/>
                  <a:pt x="54" y="109"/>
                </a:cubicBezTo>
                <a:cubicBezTo>
                  <a:pt x="53" y="71"/>
                  <a:pt x="53" y="71"/>
                  <a:pt x="53" y="71"/>
                </a:cubicBezTo>
                <a:cubicBezTo>
                  <a:pt x="49" y="71"/>
                  <a:pt x="49" y="71"/>
                  <a:pt x="49" y="71"/>
                </a:cubicBezTo>
                <a:cubicBezTo>
                  <a:pt x="48" y="108"/>
                  <a:pt x="48" y="108"/>
                  <a:pt x="48" y="108"/>
                </a:cubicBezTo>
                <a:cubicBezTo>
                  <a:pt x="48" y="109"/>
                  <a:pt x="48" y="109"/>
                  <a:pt x="48" y="109"/>
                </a:cubicBezTo>
                <a:cubicBezTo>
                  <a:pt x="48" y="110"/>
                  <a:pt x="47" y="112"/>
                  <a:pt x="45" y="112"/>
                </a:cubicBezTo>
                <a:cubicBezTo>
                  <a:pt x="43" y="112"/>
                  <a:pt x="42" y="110"/>
                  <a:pt x="42" y="108"/>
                </a:cubicBezTo>
                <a:cubicBezTo>
                  <a:pt x="42" y="101"/>
                  <a:pt x="42" y="87"/>
                  <a:pt x="42" y="74"/>
                </a:cubicBezTo>
                <a:cubicBezTo>
                  <a:pt x="54" y="51"/>
                  <a:pt x="54" y="51"/>
                  <a:pt x="54" y="51"/>
                </a:cubicBezTo>
                <a:cubicBezTo>
                  <a:pt x="42" y="44"/>
                  <a:pt x="42" y="44"/>
                  <a:pt x="42" y="44"/>
                </a:cubicBezTo>
                <a:cubicBezTo>
                  <a:pt x="42" y="38"/>
                  <a:pt x="42" y="38"/>
                  <a:pt x="42" y="38"/>
                </a:cubicBezTo>
                <a:cubicBezTo>
                  <a:pt x="39" y="38"/>
                  <a:pt x="39" y="38"/>
                  <a:pt x="39" y="38"/>
                </a:cubicBezTo>
                <a:cubicBezTo>
                  <a:pt x="38" y="62"/>
                  <a:pt x="38" y="62"/>
                  <a:pt x="38" y="62"/>
                </a:cubicBezTo>
                <a:cubicBezTo>
                  <a:pt x="38" y="64"/>
                  <a:pt x="37" y="64"/>
                  <a:pt x="36" y="64"/>
                </a:cubicBezTo>
                <a:cubicBezTo>
                  <a:pt x="35" y="64"/>
                  <a:pt x="33" y="63"/>
                  <a:pt x="33" y="62"/>
                </a:cubicBezTo>
                <a:cubicBezTo>
                  <a:pt x="33" y="61"/>
                  <a:pt x="33" y="61"/>
                  <a:pt x="33" y="61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2"/>
                  <a:pt x="36" y="22"/>
                  <a:pt x="51" y="22"/>
                </a:cubicBezTo>
                <a:cubicBezTo>
                  <a:pt x="65" y="22"/>
                  <a:pt x="67" y="32"/>
                  <a:pt x="67" y="33"/>
                </a:cubicBezTo>
                <a:cubicBezTo>
                  <a:pt x="68" y="62"/>
                  <a:pt x="68" y="62"/>
                  <a:pt x="68" y="62"/>
                </a:cubicBezTo>
                <a:cubicBezTo>
                  <a:pt x="68" y="63"/>
                  <a:pt x="68" y="64"/>
                  <a:pt x="66" y="6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152" name="Group 24"/>
          <p:cNvGrpSpPr>
            <a:grpSpLocks noChangeAspect="1"/>
          </p:cNvGrpSpPr>
          <p:nvPr/>
        </p:nvGrpSpPr>
        <p:grpSpPr bwMode="auto">
          <a:xfrm>
            <a:off x="3668710" y="268288"/>
            <a:ext cx="768350" cy="768350"/>
            <a:chOff x="2319" y="169"/>
            <a:chExt cx="484" cy="484"/>
          </a:xfrm>
          <a:solidFill>
            <a:schemeClr val="bg2"/>
          </a:solidFill>
        </p:grpSpPr>
        <p:sp>
          <p:nvSpPr>
            <p:cNvPr id="48153" name="Freeform 25"/>
            <p:cNvSpPr>
              <a:spLocks noEditPoints="1"/>
            </p:cNvSpPr>
            <p:nvPr/>
          </p:nvSpPr>
          <p:spPr bwMode="auto">
            <a:xfrm>
              <a:off x="2319" y="1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54" name="Freeform 26"/>
            <p:cNvSpPr>
              <a:spLocks noEditPoints="1"/>
            </p:cNvSpPr>
            <p:nvPr/>
          </p:nvSpPr>
          <p:spPr bwMode="auto">
            <a:xfrm>
              <a:off x="2425" y="263"/>
              <a:ext cx="170" cy="172"/>
            </a:xfrm>
            <a:custGeom>
              <a:avLst/>
              <a:gdLst/>
              <a:ahLst/>
              <a:cxnLst>
                <a:cxn ang="0">
                  <a:pos x="31" y="49"/>
                </a:cxn>
                <a:cxn ang="0">
                  <a:pos x="37" y="51"/>
                </a:cxn>
                <a:cxn ang="0">
                  <a:pos x="45" y="38"/>
                </a:cxn>
                <a:cxn ang="0">
                  <a:pos x="53" y="49"/>
                </a:cxn>
                <a:cxn ang="0">
                  <a:pos x="60" y="38"/>
                </a:cxn>
                <a:cxn ang="0">
                  <a:pos x="71" y="0"/>
                </a:cxn>
                <a:cxn ang="0">
                  <a:pos x="36" y="0"/>
                </a:cxn>
                <a:cxn ang="0">
                  <a:pos x="0" y="34"/>
                </a:cxn>
                <a:cxn ang="0">
                  <a:pos x="0" y="72"/>
                </a:cxn>
                <a:cxn ang="0">
                  <a:pos x="37" y="55"/>
                </a:cxn>
                <a:cxn ang="0">
                  <a:pos x="31" y="57"/>
                </a:cxn>
                <a:cxn ang="0">
                  <a:pos x="26" y="53"/>
                </a:cxn>
                <a:cxn ang="0">
                  <a:pos x="68" y="4"/>
                </a:cxn>
                <a:cxn ang="0">
                  <a:pos x="55" y="34"/>
                </a:cxn>
                <a:cxn ang="0">
                  <a:pos x="57" y="39"/>
                </a:cxn>
                <a:cxn ang="0">
                  <a:pos x="53" y="45"/>
                </a:cxn>
                <a:cxn ang="0">
                  <a:pos x="49" y="39"/>
                </a:cxn>
                <a:cxn ang="0">
                  <a:pos x="50" y="34"/>
                </a:cxn>
                <a:cxn ang="0">
                  <a:pos x="37" y="26"/>
                </a:cxn>
                <a:cxn ang="0">
                  <a:pos x="48" y="19"/>
                </a:cxn>
                <a:cxn ang="0">
                  <a:pos x="37" y="12"/>
                </a:cxn>
                <a:cxn ang="0">
                  <a:pos x="68" y="4"/>
                </a:cxn>
                <a:cxn ang="0">
                  <a:pos x="34" y="4"/>
                </a:cxn>
                <a:cxn ang="0">
                  <a:pos x="36" y="16"/>
                </a:cxn>
                <a:cxn ang="0">
                  <a:pos x="42" y="15"/>
                </a:cxn>
                <a:cxn ang="0">
                  <a:pos x="42" y="23"/>
                </a:cxn>
                <a:cxn ang="0">
                  <a:pos x="36" y="21"/>
                </a:cxn>
                <a:cxn ang="0">
                  <a:pos x="34" y="34"/>
                </a:cxn>
                <a:cxn ang="0">
                  <a:pos x="26" y="28"/>
                </a:cxn>
                <a:cxn ang="0">
                  <a:pos x="11" y="28"/>
                </a:cxn>
                <a:cxn ang="0">
                  <a:pos x="3" y="34"/>
                </a:cxn>
                <a:cxn ang="0">
                  <a:pos x="30" y="61"/>
                </a:cxn>
                <a:cxn ang="0">
                  <a:pos x="34" y="68"/>
                </a:cxn>
                <a:cxn ang="0">
                  <a:pos x="3" y="38"/>
                </a:cxn>
                <a:cxn ang="0">
                  <a:pos x="16" y="36"/>
                </a:cxn>
                <a:cxn ang="0">
                  <a:pos x="14" y="29"/>
                </a:cxn>
                <a:cxn ang="0">
                  <a:pos x="23" y="29"/>
                </a:cxn>
                <a:cxn ang="0">
                  <a:pos x="21" y="36"/>
                </a:cxn>
                <a:cxn ang="0">
                  <a:pos x="34" y="38"/>
                </a:cxn>
                <a:cxn ang="0">
                  <a:pos x="30" y="45"/>
                </a:cxn>
                <a:cxn ang="0">
                  <a:pos x="30" y="61"/>
                </a:cxn>
              </a:cxnLst>
              <a:rect l="0" t="0" r="r" b="b"/>
              <a:pathLst>
                <a:path w="71" h="72">
                  <a:moveTo>
                    <a:pt x="30" y="49"/>
                  </a:moveTo>
                  <a:cubicBezTo>
                    <a:pt x="30" y="49"/>
                    <a:pt x="31" y="49"/>
                    <a:pt x="31" y="49"/>
                  </a:cubicBezTo>
                  <a:cubicBezTo>
                    <a:pt x="32" y="50"/>
                    <a:pt x="34" y="51"/>
                    <a:pt x="35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4" y="39"/>
                    <a:pt x="44" y="42"/>
                    <a:pt x="45" y="44"/>
                  </a:cubicBezTo>
                  <a:cubicBezTo>
                    <a:pt x="46" y="47"/>
                    <a:pt x="49" y="49"/>
                    <a:pt x="53" y="49"/>
                  </a:cubicBezTo>
                  <a:cubicBezTo>
                    <a:pt x="56" y="49"/>
                    <a:pt x="59" y="47"/>
                    <a:pt x="60" y="44"/>
                  </a:cubicBezTo>
                  <a:cubicBezTo>
                    <a:pt x="61" y="42"/>
                    <a:pt x="61" y="39"/>
                    <a:pt x="60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7" y="72"/>
                    <a:pt x="37" y="72"/>
                    <a:pt x="37" y="72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4" y="55"/>
                    <a:pt x="32" y="56"/>
                    <a:pt x="31" y="57"/>
                  </a:cubicBezTo>
                  <a:cubicBezTo>
                    <a:pt x="31" y="57"/>
                    <a:pt x="30" y="57"/>
                    <a:pt x="30" y="57"/>
                  </a:cubicBezTo>
                  <a:cubicBezTo>
                    <a:pt x="28" y="57"/>
                    <a:pt x="26" y="57"/>
                    <a:pt x="26" y="53"/>
                  </a:cubicBezTo>
                  <a:cubicBezTo>
                    <a:pt x="26" y="49"/>
                    <a:pt x="28" y="49"/>
                    <a:pt x="30" y="49"/>
                  </a:cubicBezTo>
                  <a:close/>
                  <a:moveTo>
                    <a:pt x="68" y="4"/>
                  </a:moveTo>
                  <a:cubicBezTo>
                    <a:pt x="68" y="34"/>
                    <a:pt x="68" y="34"/>
                    <a:pt x="68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7"/>
                    <a:pt x="56" y="39"/>
                    <a:pt x="57" y="39"/>
                  </a:cubicBezTo>
                  <a:cubicBezTo>
                    <a:pt x="57" y="40"/>
                    <a:pt x="57" y="41"/>
                    <a:pt x="57" y="42"/>
                  </a:cubicBezTo>
                  <a:cubicBezTo>
                    <a:pt x="56" y="43"/>
                    <a:pt x="55" y="45"/>
                    <a:pt x="53" y="45"/>
                  </a:cubicBezTo>
                  <a:cubicBezTo>
                    <a:pt x="50" y="45"/>
                    <a:pt x="49" y="43"/>
                    <a:pt x="48" y="42"/>
                  </a:cubicBezTo>
                  <a:cubicBezTo>
                    <a:pt x="48" y="41"/>
                    <a:pt x="48" y="40"/>
                    <a:pt x="49" y="39"/>
                  </a:cubicBezTo>
                  <a:cubicBezTo>
                    <a:pt x="50" y="39"/>
                    <a:pt x="50" y="37"/>
                    <a:pt x="50" y="36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9" y="27"/>
                    <a:pt x="41" y="27"/>
                    <a:pt x="43" y="26"/>
                  </a:cubicBezTo>
                  <a:cubicBezTo>
                    <a:pt x="46" y="25"/>
                    <a:pt x="48" y="22"/>
                    <a:pt x="48" y="19"/>
                  </a:cubicBezTo>
                  <a:cubicBezTo>
                    <a:pt x="48" y="15"/>
                    <a:pt x="46" y="12"/>
                    <a:pt x="43" y="11"/>
                  </a:cubicBezTo>
                  <a:cubicBezTo>
                    <a:pt x="41" y="10"/>
                    <a:pt x="39" y="11"/>
                    <a:pt x="37" y="12"/>
                  </a:cubicBezTo>
                  <a:cubicBezTo>
                    <a:pt x="37" y="4"/>
                    <a:pt x="37" y="4"/>
                    <a:pt x="37" y="4"/>
                  </a:cubicBezTo>
                  <a:lnTo>
                    <a:pt x="68" y="4"/>
                  </a:lnTo>
                  <a:close/>
                  <a:moveTo>
                    <a:pt x="3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6"/>
                    <a:pt x="38" y="16"/>
                    <a:pt x="39" y="15"/>
                  </a:cubicBezTo>
                  <a:cubicBezTo>
                    <a:pt x="40" y="14"/>
                    <a:pt x="41" y="14"/>
                    <a:pt x="42" y="15"/>
                  </a:cubicBezTo>
                  <a:cubicBezTo>
                    <a:pt x="43" y="15"/>
                    <a:pt x="45" y="16"/>
                    <a:pt x="45" y="19"/>
                  </a:cubicBezTo>
                  <a:cubicBezTo>
                    <a:pt x="45" y="22"/>
                    <a:pt x="43" y="23"/>
                    <a:pt x="42" y="23"/>
                  </a:cubicBezTo>
                  <a:cubicBezTo>
                    <a:pt x="41" y="24"/>
                    <a:pt x="40" y="23"/>
                    <a:pt x="39" y="23"/>
                  </a:cubicBezTo>
                  <a:cubicBezTo>
                    <a:pt x="38" y="22"/>
                    <a:pt x="37" y="21"/>
                    <a:pt x="36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3"/>
                    <a:pt x="27" y="30"/>
                    <a:pt x="26" y="28"/>
                  </a:cubicBezTo>
                  <a:cubicBezTo>
                    <a:pt x="25" y="25"/>
                    <a:pt x="22" y="23"/>
                    <a:pt x="18" y="23"/>
                  </a:cubicBezTo>
                  <a:cubicBezTo>
                    <a:pt x="15" y="23"/>
                    <a:pt x="12" y="25"/>
                    <a:pt x="11" y="28"/>
                  </a:cubicBezTo>
                  <a:cubicBezTo>
                    <a:pt x="10" y="30"/>
                    <a:pt x="10" y="33"/>
                    <a:pt x="11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3" y="4"/>
                  </a:lnTo>
                  <a:close/>
                  <a:moveTo>
                    <a:pt x="30" y="61"/>
                  </a:moveTo>
                  <a:cubicBezTo>
                    <a:pt x="31" y="61"/>
                    <a:pt x="33" y="61"/>
                    <a:pt x="34" y="60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4"/>
                    <a:pt x="15" y="33"/>
                    <a:pt x="15" y="32"/>
                  </a:cubicBezTo>
                  <a:cubicBezTo>
                    <a:pt x="14" y="32"/>
                    <a:pt x="14" y="31"/>
                    <a:pt x="14" y="29"/>
                  </a:cubicBezTo>
                  <a:cubicBezTo>
                    <a:pt x="15" y="28"/>
                    <a:pt x="16" y="27"/>
                    <a:pt x="18" y="27"/>
                  </a:cubicBezTo>
                  <a:cubicBezTo>
                    <a:pt x="21" y="27"/>
                    <a:pt x="22" y="28"/>
                    <a:pt x="23" y="29"/>
                  </a:cubicBezTo>
                  <a:cubicBezTo>
                    <a:pt x="23" y="31"/>
                    <a:pt x="23" y="32"/>
                    <a:pt x="22" y="32"/>
                  </a:cubicBezTo>
                  <a:cubicBezTo>
                    <a:pt x="22" y="33"/>
                    <a:pt x="21" y="34"/>
                    <a:pt x="21" y="36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3" y="45"/>
                    <a:pt x="31" y="45"/>
                    <a:pt x="30" y="45"/>
                  </a:cubicBezTo>
                  <a:cubicBezTo>
                    <a:pt x="26" y="45"/>
                    <a:pt x="22" y="48"/>
                    <a:pt x="22" y="53"/>
                  </a:cubicBezTo>
                  <a:cubicBezTo>
                    <a:pt x="22" y="58"/>
                    <a:pt x="26" y="61"/>
                    <a:pt x="30" y="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55" name="Freeform 27"/>
            <p:cNvSpPr>
              <a:spLocks noEditPoints="1"/>
            </p:cNvSpPr>
            <p:nvPr/>
          </p:nvSpPr>
          <p:spPr bwMode="auto">
            <a:xfrm>
              <a:off x="2521" y="301"/>
              <a:ext cx="172" cy="278"/>
            </a:xfrm>
            <a:custGeom>
              <a:avLst/>
              <a:gdLst/>
              <a:ahLst/>
              <a:cxnLst>
                <a:cxn ang="0">
                  <a:pos x="57" y="19"/>
                </a:cxn>
                <a:cxn ang="0">
                  <a:pos x="51" y="0"/>
                </a:cxn>
                <a:cxn ang="0">
                  <a:pos x="46" y="19"/>
                </a:cxn>
                <a:cxn ang="0">
                  <a:pos x="31" y="39"/>
                </a:cxn>
                <a:cxn ang="0">
                  <a:pos x="15" y="44"/>
                </a:cxn>
                <a:cxn ang="0">
                  <a:pos x="2" y="45"/>
                </a:cxn>
                <a:cxn ang="0">
                  <a:pos x="8" y="57"/>
                </a:cxn>
                <a:cxn ang="0">
                  <a:pos x="37" y="84"/>
                </a:cxn>
                <a:cxn ang="0">
                  <a:pos x="38" y="108"/>
                </a:cxn>
                <a:cxn ang="0">
                  <a:pos x="51" y="111"/>
                </a:cxn>
                <a:cxn ang="0">
                  <a:pos x="64" y="109"/>
                </a:cxn>
                <a:cxn ang="0">
                  <a:pos x="66" y="68"/>
                </a:cxn>
                <a:cxn ang="0">
                  <a:pos x="71" y="32"/>
                </a:cxn>
                <a:cxn ang="0">
                  <a:pos x="58" y="10"/>
                </a:cxn>
                <a:cxn ang="0">
                  <a:pos x="45" y="10"/>
                </a:cxn>
                <a:cxn ang="0">
                  <a:pos x="35" y="79"/>
                </a:cxn>
                <a:cxn ang="0">
                  <a:pos x="14" y="54"/>
                </a:cxn>
                <a:cxn ang="0">
                  <a:pos x="8" y="53"/>
                </a:cxn>
                <a:cxn ang="0">
                  <a:pos x="5" y="47"/>
                </a:cxn>
                <a:cxn ang="0">
                  <a:pos x="12" y="46"/>
                </a:cxn>
                <a:cxn ang="0">
                  <a:pos x="16" y="50"/>
                </a:cxn>
                <a:cxn ang="0">
                  <a:pos x="31" y="43"/>
                </a:cxn>
                <a:cxn ang="0">
                  <a:pos x="30" y="62"/>
                </a:cxn>
                <a:cxn ang="0">
                  <a:pos x="42" y="62"/>
                </a:cxn>
                <a:cxn ang="0">
                  <a:pos x="49" y="52"/>
                </a:cxn>
                <a:cxn ang="0">
                  <a:pos x="66" y="64"/>
                </a:cxn>
                <a:cxn ang="0">
                  <a:pos x="64" y="38"/>
                </a:cxn>
                <a:cxn ang="0">
                  <a:pos x="61" y="61"/>
                </a:cxn>
                <a:cxn ang="0">
                  <a:pos x="57" y="112"/>
                </a:cxn>
                <a:cxn ang="0">
                  <a:pos x="53" y="71"/>
                </a:cxn>
                <a:cxn ang="0">
                  <a:pos x="48" y="108"/>
                </a:cxn>
                <a:cxn ang="0">
                  <a:pos x="45" y="112"/>
                </a:cxn>
                <a:cxn ang="0">
                  <a:pos x="42" y="74"/>
                </a:cxn>
                <a:cxn ang="0">
                  <a:pos x="42" y="44"/>
                </a:cxn>
                <a:cxn ang="0">
                  <a:pos x="39" y="38"/>
                </a:cxn>
                <a:cxn ang="0">
                  <a:pos x="36" y="64"/>
                </a:cxn>
                <a:cxn ang="0">
                  <a:pos x="33" y="61"/>
                </a:cxn>
                <a:cxn ang="0">
                  <a:pos x="35" y="32"/>
                </a:cxn>
                <a:cxn ang="0">
                  <a:pos x="67" y="33"/>
                </a:cxn>
                <a:cxn ang="0">
                  <a:pos x="66" y="64"/>
                </a:cxn>
              </a:cxnLst>
              <a:rect l="0" t="0" r="r" b="b"/>
              <a:pathLst>
                <a:path w="72" h="116">
                  <a:moveTo>
                    <a:pt x="71" y="32"/>
                  </a:moveTo>
                  <a:cubicBezTo>
                    <a:pt x="71" y="32"/>
                    <a:pt x="69" y="21"/>
                    <a:pt x="57" y="19"/>
                  </a:cubicBezTo>
                  <a:cubicBezTo>
                    <a:pt x="59" y="17"/>
                    <a:pt x="61" y="14"/>
                    <a:pt x="61" y="10"/>
                  </a:cubicBezTo>
                  <a:cubicBezTo>
                    <a:pt x="61" y="5"/>
                    <a:pt x="57" y="0"/>
                    <a:pt x="51" y="0"/>
                  </a:cubicBezTo>
                  <a:cubicBezTo>
                    <a:pt x="46" y="0"/>
                    <a:pt x="41" y="5"/>
                    <a:pt x="41" y="10"/>
                  </a:cubicBezTo>
                  <a:cubicBezTo>
                    <a:pt x="41" y="14"/>
                    <a:pt x="43" y="17"/>
                    <a:pt x="46" y="19"/>
                  </a:cubicBezTo>
                  <a:cubicBezTo>
                    <a:pt x="34" y="21"/>
                    <a:pt x="31" y="30"/>
                    <a:pt x="31" y="32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2"/>
                    <a:pt x="12" y="41"/>
                    <a:pt x="9" y="41"/>
                  </a:cubicBezTo>
                  <a:cubicBezTo>
                    <a:pt x="6" y="41"/>
                    <a:pt x="3" y="42"/>
                    <a:pt x="2" y="45"/>
                  </a:cubicBezTo>
                  <a:cubicBezTo>
                    <a:pt x="0" y="49"/>
                    <a:pt x="0" y="52"/>
                    <a:pt x="2" y="54"/>
                  </a:cubicBezTo>
                  <a:cubicBezTo>
                    <a:pt x="4" y="56"/>
                    <a:pt x="6" y="57"/>
                    <a:pt x="8" y="5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92"/>
                    <a:pt x="38" y="103"/>
                    <a:pt x="38" y="108"/>
                  </a:cubicBezTo>
                  <a:cubicBezTo>
                    <a:pt x="38" y="112"/>
                    <a:pt x="41" y="116"/>
                    <a:pt x="45" y="116"/>
                  </a:cubicBezTo>
                  <a:cubicBezTo>
                    <a:pt x="48" y="116"/>
                    <a:pt x="50" y="114"/>
                    <a:pt x="51" y="111"/>
                  </a:cubicBezTo>
                  <a:cubicBezTo>
                    <a:pt x="52" y="114"/>
                    <a:pt x="55" y="116"/>
                    <a:pt x="57" y="116"/>
                  </a:cubicBezTo>
                  <a:cubicBezTo>
                    <a:pt x="61" y="116"/>
                    <a:pt x="64" y="112"/>
                    <a:pt x="64" y="109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5" y="68"/>
                    <a:pt x="66" y="68"/>
                    <a:pt x="66" y="68"/>
                  </a:cubicBezTo>
                  <a:cubicBezTo>
                    <a:pt x="70" y="68"/>
                    <a:pt x="72" y="65"/>
                    <a:pt x="72" y="62"/>
                  </a:cubicBezTo>
                  <a:cubicBezTo>
                    <a:pt x="71" y="32"/>
                    <a:pt x="71" y="32"/>
                    <a:pt x="71" y="32"/>
                  </a:cubicBezTo>
                  <a:close/>
                  <a:moveTo>
                    <a:pt x="51" y="4"/>
                  </a:moveTo>
                  <a:cubicBezTo>
                    <a:pt x="55" y="4"/>
                    <a:pt x="58" y="7"/>
                    <a:pt x="58" y="10"/>
                  </a:cubicBezTo>
                  <a:cubicBezTo>
                    <a:pt x="58" y="14"/>
                    <a:pt x="55" y="17"/>
                    <a:pt x="51" y="17"/>
                  </a:cubicBezTo>
                  <a:cubicBezTo>
                    <a:pt x="48" y="17"/>
                    <a:pt x="45" y="14"/>
                    <a:pt x="45" y="10"/>
                  </a:cubicBezTo>
                  <a:cubicBezTo>
                    <a:pt x="45" y="7"/>
                    <a:pt x="48" y="4"/>
                    <a:pt x="51" y="4"/>
                  </a:cubicBezTo>
                  <a:close/>
                  <a:moveTo>
                    <a:pt x="35" y="79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0" y="53"/>
                    <a:pt x="9" y="53"/>
                    <a:pt x="8" y="53"/>
                  </a:cubicBezTo>
                  <a:cubicBezTo>
                    <a:pt x="7" y="53"/>
                    <a:pt x="6" y="53"/>
                    <a:pt x="5" y="52"/>
                  </a:cubicBezTo>
                  <a:cubicBezTo>
                    <a:pt x="5" y="51"/>
                    <a:pt x="4" y="50"/>
                    <a:pt x="5" y="47"/>
                  </a:cubicBezTo>
                  <a:cubicBezTo>
                    <a:pt x="6" y="45"/>
                    <a:pt x="8" y="44"/>
                    <a:pt x="9" y="44"/>
                  </a:cubicBezTo>
                  <a:cubicBezTo>
                    <a:pt x="10" y="45"/>
                    <a:pt x="11" y="45"/>
                    <a:pt x="12" y="46"/>
                  </a:cubicBezTo>
                  <a:cubicBezTo>
                    <a:pt x="12" y="47"/>
                    <a:pt x="13" y="48"/>
                    <a:pt x="14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5"/>
                    <a:pt x="33" y="68"/>
                    <a:pt x="36" y="68"/>
                  </a:cubicBezTo>
                  <a:cubicBezTo>
                    <a:pt x="39" y="68"/>
                    <a:pt x="41" y="65"/>
                    <a:pt x="42" y="62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9" y="52"/>
                    <a:pt x="49" y="52"/>
                    <a:pt x="49" y="52"/>
                  </a:cubicBezTo>
                  <a:lnTo>
                    <a:pt x="35" y="79"/>
                  </a:lnTo>
                  <a:close/>
                  <a:moveTo>
                    <a:pt x="66" y="64"/>
                  </a:moveTo>
                  <a:cubicBezTo>
                    <a:pt x="65" y="64"/>
                    <a:pt x="64" y="63"/>
                    <a:pt x="64" y="62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110"/>
                    <a:pt x="59" y="112"/>
                    <a:pt x="57" y="112"/>
                  </a:cubicBezTo>
                  <a:cubicBezTo>
                    <a:pt x="56" y="112"/>
                    <a:pt x="54" y="110"/>
                    <a:pt x="54" y="109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10"/>
                    <a:pt x="47" y="112"/>
                    <a:pt x="45" y="112"/>
                  </a:cubicBezTo>
                  <a:cubicBezTo>
                    <a:pt x="43" y="112"/>
                    <a:pt x="42" y="110"/>
                    <a:pt x="42" y="108"/>
                  </a:cubicBezTo>
                  <a:cubicBezTo>
                    <a:pt x="42" y="101"/>
                    <a:pt x="42" y="87"/>
                    <a:pt x="42" y="74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4"/>
                    <a:pt x="37" y="64"/>
                    <a:pt x="36" y="64"/>
                  </a:cubicBezTo>
                  <a:cubicBezTo>
                    <a:pt x="35" y="64"/>
                    <a:pt x="33" y="63"/>
                    <a:pt x="33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6" y="22"/>
                    <a:pt x="51" y="22"/>
                  </a:cubicBezTo>
                  <a:cubicBezTo>
                    <a:pt x="65" y="22"/>
                    <a:pt x="67" y="32"/>
                    <a:pt x="67" y="33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3"/>
                    <a:pt x="68" y="64"/>
                    <a:pt x="66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288"/>
          <p:cNvGrpSpPr/>
          <p:nvPr/>
        </p:nvGrpSpPr>
        <p:grpSpPr>
          <a:xfrm>
            <a:off x="4740275" y="239713"/>
            <a:ext cx="827088" cy="827088"/>
            <a:chOff x="4740275" y="239713"/>
            <a:chExt cx="827088" cy="827088"/>
          </a:xfrm>
        </p:grpSpPr>
        <p:sp>
          <p:nvSpPr>
            <p:cNvPr id="48159" name="Oval 31"/>
            <p:cNvSpPr>
              <a:spLocks noChangeArrowheads="1"/>
            </p:cNvSpPr>
            <p:nvPr/>
          </p:nvSpPr>
          <p:spPr bwMode="auto">
            <a:xfrm>
              <a:off x="4740275" y="239713"/>
              <a:ext cx="827088" cy="82708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60" name="Rectangle 32"/>
            <p:cNvSpPr>
              <a:spLocks noChangeArrowheads="1"/>
            </p:cNvSpPr>
            <p:nvPr/>
          </p:nvSpPr>
          <p:spPr bwMode="auto">
            <a:xfrm>
              <a:off x="5013325" y="681038"/>
              <a:ext cx="185738" cy="182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Whitney Semibold" pitchFamily="50" charset="0"/>
                  <a:cs typeface="Arial" pitchFamily="34" charset="0"/>
                </a:rPr>
                <a:t>15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161" name="Freeform 33"/>
            <p:cNvSpPr>
              <a:spLocks noEditPoints="1"/>
            </p:cNvSpPr>
            <p:nvPr/>
          </p:nvSpPr>
          <p:spPr bwMode="auto">
            <a:xfrm>
              <a:off x="4770438" y="269876"/>
              <a:ext cx="766763" cy="76676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62" name="Freeform 34"/>
            <p:cNvSpPr>
              <a:spLocks noEditPoints="1"/>
            </p:cNvSpPr>
            <p:nvPr/>
          </p:nvSpPr>
          <p:spPr bwMode="auto">
            <a:xfrm>
              <a:off x="4953000" y="676276"/>
              <a:ext cx="234950" cy="155575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148" y="98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98"/>
                </a:cxn>
                <a:cxn ang="0">
                  <a:pos x="7" y="9"/>
                </a:cxn>
                <a:cxn ang="0">
                  <a:pos x="138" y="9"/>
                </a:cxn>
                <a:cxn ang="0">
                  <a:pos x="138" y="88"/>
                </a:cxn>
                <a:cxn ang="0">
                  <a:pos x="7" y="88"/>
                </a:cxn>
                <a:cxn ang="0">
                  <a:pos x="7" y="9"/>
                </a:cxn>
              </a:cxnLst>
              <a:rect l="0" t="0" r="r" b="b"/>
              <a:pathLst>
                <a:path w="148" h="98">
                  <a:moveTo>
                    <a:pt x="0" y="98"/>
                  </a:moveTo>
                  <a:lnTo>
                    <a:pt x="148" y="98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98"/>
                  </a:lnTo>
                  <a:close/>
                  <a:moveTo>
                    <a:pt x="7" y="9"/>
                  </a:moveTo>
                  <a:lnTo>
                    <a:pt x="138" y="9"/>
                  </a:lnTo>
                  <a:lnTo>
                    <a:pt x="138" y="88"/>
                  </a:lnTo>
                  <a:lnTo>
                    <a:pt x="7" y="88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63" name="Freeform 35"/>
            <p:cNvSpPr>
              <a:spLocks noEditPoints="1"/>
            </p:cNvSpPr>
            <p:nvPr/>
          </p:nvSpPr>
          <p:spPr bwMode="auto">
            <a:xfrm>
              <a:off x="4922838" y="600076"/>
              <a:ext cx="295275" cy="261938"/>
            </a:xfrm>
            <a:custGeom>
              <a:avLst/>
              <a:gdLst/>
              <a:ahLst/>
              <a:cxnLst>
                <a:cxn ang="0">
                  <a:pos x="155" y="0"/>
                </a:cxn>
                <a:cxn ang="0">
                  <a:pos x="148" y="0"/>
                </a:cxn>
                <a:cxn ang="0">
                  <a:pos x="148" y="7"/>
                </a:cxn>
                <a:cxn ang="0">
                  <a:pos x="35" y="7"/>
                </a:cxn>
                <a:cxn ang="0">
                  <a:pos x="35" y="0"/>
                </a:cxn>
                <a:cxn ang="0">
                  <a:pos x="26" y="0"/>
                </a:cxn>
                <a:cxn ang="0">
                  <a:pos x="26" y="7"/>
                </a:cxn>
                <a:cxn ang="0">
                  <a:pos x="0" y="7"/>
                </a:cxn>
                <a:cxn ang="0">
                  <a:pos x="0" y="165"/>
                </a:cxn>
                <a:cxn ang="0">
                  <a:pos x="186" y="165"/>
                </a:cxn>
                <a:cxn ang="0">
                  <a:pos x="186" y="7"/>
                </a:cxn>
                <a:cxn ang="0">
                  <a:pos x="155" y="7"/>
                </a:cxn>
                <a:cxn ang="0">
                  <a:pos x="155" y="0"/>
                </a:cxn>
                <a:cxn ang="0">
                  <a:pos x="177" y="17"/>
                </a:cxn>
                <a:cxn ang="0">
                  <a:pos x="177" y="156"/>
                </a:cxn>
                <a:cxn ang="0">
                  <a:pos x="9" y="156"/>
                </a:cxn>
                <a:cxn ang="0">
                  <a:pos x="9" y="17"/>
                </a:cxn>
                <a:cxn ang="0">
                  <a:pos x="26" y="17"/>
                </a:cxn>
                <a:cxn ang="0">
                  <a:pos x="26" y="29"/>
                </a:cxn>
                <a:cxn ang="0">
                  <a:pos x="35" y="29"/>
                </a:cxn>
                <a:cxn ang="0">
                  <a:pos x="35" y="17"/>
                </a:cxn>
                <a:cxn ang="0">
                  <a:pos x="148" y="17"/>
                </a:cxn>
                <a:cxn ang="0">
                  <a:pos x="148" y="29"/>
                </a:cxn>
                <a:cxn ang="0">
                  <a:pos x="155" y="29"/>
                </a:cxn>
                <a:cxn ang="0">
                  <a:pos x="155" y="17"/>
                </a:cxn>
                <a:cxn ang="0">
                  <a:pos x="177" y="17"/>
                </a:cxn>
              </a:cxnLst>
              <a:rect l="0" t="0" r="r" b="b"/>
              <a:pathLst>
                <a:path w="186" h="165">
                  <a:moveTo>
                    <a:pt x="155" y="0"/>
                  </a:moveTo>
                  <a:lnTo>
                    <a:pt x="148" y="0"/>
                  </a:lnTo>
                  <a:lnTo>
                    <a:pt x="148" y="7"/>
                  </a:lnTo>
                  <a:lnTo>
                    <a:pt x="35" y="7"/>
                  </a:lnTo>
                  <a:lnTo>
                    <a:pt x="35" y="0"/>
                  </a:lnTo>
                  <a:lnTo>
                    <a:pt x="26" y="0"/>
                  </a:lnTo>
                  <a:lnTo>
                    <a:pt x="26" y="7"/>
                  </a:lnTo>
                  <a:lnTo>
                    <a:pt x="0" y="7"/>
                  </a:lnTo>
                  <a:lnTo>
                    <a:pt x="0" y="165"/>
                  </a:lnTo>
                  <a:lnTo>
                    <a:pt x="186" y="165"/>
                  </a:lnTo>
                  <a:lnTo>
                    <a:pt x="186" y="7"/>
                  </a:lnTo>
                  <a:lnTo>
                    <a:pt x="155" y="7"/>
                  </a:lnTo>
                  <a:lnTo>
                    <a:pt x="155" y="0"/>
                  </a:lnTo>
                  <a:close/>
                  <a:moveTo>
                    <a:pt x="177" y="17"/>
                  </a:moveTo>
                  <a:lnTo>
                    <a:pt x="177" y="156"/>
                  </a:lnTo>
                  <a:lnTo>
                    <a:pt x="9" y="156"/>
                  </a:lnTo>
                  <a:lnTo>
                    <a:pt x="9" y="17"/>
                  </a:lnTo>
                  <a:lnTo>
                    <a:pt x="26" y="17"/>
                  </a:lnTo>
                  <a:lnTo>
                    <a:pt x="26" y="29"/>
                  </a:lnTo>
                  <a:lnTo>
                    <a:pt x="35" y="29"/>
                  </a:lnTo>
                  <a:lnTo>
                    <a:pt x="35" y="17"/>
                  </a:lnTo>
                  <a:lnTo>
                    <a:pt x="148" y="17"/>
                  </a:lnTo>
                  <a:lnTo>
                    <a:pt x="148" y="29"/>
                  </a:lnTo>
                  <a:lnTo>
                    <a:pt x="155" y="29"/>
                  </a:lnTo>
                  <a:lnTo>
                    <a:pt x="155" y="17"/>
                  </a:lnTo>
                  <a:lnTo>
                    <a:pt x="177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64" name="Freeform 36"/>
            <p:cNvSpPr>
              <a:spLocks/>
            </p:cNvSpPr>
            <p:nvPr/>
          </p:nvSpPr>
          <p:spPr bwMode="auto">
            <a:xfrm>
              <a:off x="5199063" y="509588"/>
              <a:ext cx="122238" cy="117475"/>
            </a:xfrm>
            <a:custGeom>
              <a:avLst/>
              <a:gdLst/>
              <a:ahLst/>
              <a:cxnLst>
                <a:cxn ang="0">
                  <a:pos x="43" y="74"/>
                </a:cxn>
                <a:cxn ang="0">
                  <a:pos x="43" y="40"/>
                </a:cxn>
                <a:cxn ang="0">
                  <a:pos x="77" y="40"/>
                </a:cxn>
                <a:cxn ang="0">
                  <a:pos x="77" y="33"/>
                </a:cxn>
                <a:cxn ang="0">
                  <a:pos x="43" y="33"/>
                </a:cxn>
                <a:cxn ang="0">
                  <a:pos x="43" y="0"/>
                </a:cxn>
                <a:cxn ang="0">
                  <a:pos x="34" y="0"/>
                </a:cxn>
                <a:cxn ang="0">
                  <a:pos x="34" y="33"/>
                </a:cxn>
                <a:cxn ang="0">
                  <a:pos x="0" y="33"/>
                </a:cxn>
                <a:cxn ang="0">
                  <a:pos x="0" y="40"/>
                </a:cxn>
                <a:cxn ang="0">
                  <a:pos x="34" y="40"/>
                </a:cxn>
                <a:cxn ang="0">
                  <a:pos x="34" y="74"/>
                </a:cxn>
                <a:cxn ang="0">
                  <a:pos x="43" y="74"/>
                </a:cxn>
              </a:cxnLst>
              <a:rect l="0" t="0" r="r" b="b"/>
              <a:pathLst>
                <a:path w="77" h="74">
                  <a:moveTo>
                    <a:pt x="43" y="74"/>
                  </a:moveTo>
                  <a:lnTo>
                    <a:pt x="43" y="40"/>
                  </a:lnTo>
                  <a:lnTo>
                    <a:pt x="77" y="40"/>
                  </a:lnTo>
                  <a:lnTo>
                    <a:pt x="77" y="33"/>
                  </a:lnTo>
                  <a:lnTo>
                    <a:pt x="43" y="33"/>
                  </a:lnTo>
                  <a:lnTo>
                    <a:pt x="43" y="0"/>
                  </a:lnTo>
                  <a:lnTo>
                    <a:pt x="34" y="0"/>
                  </a:lnTo>
                  <a:lnTo>
                    <a:pt x="34" y="33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34" y="40"/>
                  </a:lnTo>
                  <a:lnTo>
                    <a:pt x="34" y="74"/>
                  </a:lnTo>
                  <a:lnTo>
                    <a:pt x="43" y="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65" name="Freeform 37"/>
            <p:cNvSpPr>
              <a:spLocks/>
            </p:cNvSpPr>
            <p:nvPr/>
          </p:nvSpPr>
          <p:spPr bwMode="auto">
            <a:xfrm>
              <a:off x="5122863" y="436563"/>
              <a:ext cx="269875" cy="269875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36"/>
                </a:cxn>
                <a:cxn ang="0">
                  <a:pos x="3" y="36"/>
                </a:cxn>
                <a:cxn ang="0">
                  <a:pos x="35" y="4"/>
                </a:cxn>
                <a:cxn ang="0">
                  <a:pos x="67" y="36"/>
                </a:cxn>
                <a:cxn ang="0">
                  <a:pos x="35" y="68"/>
                </a:cxn>
                <a:cxn ang="0">
                  <a:pos x="35" y="71"/>
                </a:cxn>
                <a:cxn ang="0">
                  <a:pos x="71" y="36"/>
                </a:cxn>
                <a:cxn ang="0">
                  <a:pos x="35" y="0"/>
                </a:cxn>
              </a:cxnLst>
              <a:rect l="0" t="0" r="r" b="b"/>
              <a:pathLst>
                <a:path w="71" h="71">
                  <a:moveTo>
                    <a:pt x="35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18"/>
                    <a:pt x="18" y="4"/>
                    <a:pt x="35" y="4"/>
                  </a:cubicBezTo>
                  <a:cubicBezTo>
                    <a:pt x="53" y="4"/>
                    <a:pt x="67" y="18"/>
                    <a:pt x="67" y="36"/>
                  </a:cubicBezTo>
                  <a:cubicBezTo>
                    <a:pt x="67" y="53"/>
                    <a:pt x="53" y="68"/>
                    <a:pt x="35" y="68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55" y="71"/>
                    <a:pt x="71" y="55"/>
                    <a:pt x="71" y="36"/>
                  </a:cubicBezTo>
                  <a:cubicBezTo>
                    <a:pt x="71" y="16"/>
                    <a:pt x="55" y="0"/>
                    <a:pt x="35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168" name="Group 40"/>
          <p:cNvGrpSpPr>
            <a:grpSpLocks noChangeAspect="1"/>
          </p:cNvGrpSpPr>
          <p:nvPr/>
        </p:nvGrpSpPr>
        <p:grpSpPr bwMode="auto">
          <a:xfrm>
            <a:off x="5857871" y="268288"/>
            <a:ext cx="768351" cy="768350"/>
            <a:chOff x="3696" y="169"/>
            <a:chExt cx="484" cy="484"/>
          </a:xfrm>
        </p:grpSpPr>
        <p:sp>
          <p:nvSpPr>
            <p:cNvPr id="48169" name="Rectangle 41"/>
            <p:cNvSpPr>
              <a:spLocks noChangeArrowheads="1"/>
            </p:cNvSpPr>
            <p:nvPr/>
          </p:nvSpPr>
          <p:spPr bwMode="auto">
            <a:xfrm>
              <a:off x="3850" y="429"/>
              <a:ext cx="117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normalizeH="0" baseline="0">
                  <a:ln>
                    <a:noFill/>
                  </a:ln>
                  <a:solidFill>
                    <a:srgbClr val="0091B3"/>
                  </a:solidFill>
                  <a:effectLst/>
                  <a:latin typeface="Whitney Semibold" pitchFamily="50" charset="0"/>
                  <a:cs typeface="Arial" pitchFamily="34" charset="0"/>
                </a:rPr>
                <a:t>15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170" name="Freeform 42"/>
            <p:cNvSpPr>
              <a:spLocks noEditPoints="1"/>
            </p:cNvSpPr>
            <p:nvPr/>
          </p:nvSpPr>
          <p:spPr bwMode="auto">
            <a:xfrm>
              <a:off x="3696" y="1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71" name="Freeform 43"/>
            <p:cNvSpPr>
              <a:spLocks noEditPoints="1"/>
            </p:cNvSpPr>
            <p:nvPr/>
          </p:nvSpPr>
          <p:spPr bwMode="auto">
            <a:xfrm>
              <a:off x="3811" y="426"/>
              <a:ext cx="149" cy="98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149" y="98"/>
                </a:cxn>
                <a:cxn ang="0">
                  <a:pos x="149" y="0"/>
                </a:cxn>
                <a:cxn ang="0">
                  <a:pos x="0" y="0"/>
                </a:cxn>
                <a:cxn ang="0">
                  <a:pos x="0" y="98"/>
                </a:cxn>
                <a:cxn ang="0">
                  <a:pos x="8" y="9"/>
                </a:cxn>
                <a:cxn ang="0">
                  <a:pos x="139" y="9"/>
                </a:cxn>
                <a:cxn ang="0">
                  <a:pos x="139" y="88"/>
                </a:cxn>
                <a:cxn ang="0">
                  <a:pos x="8" y="88"/>
                </a:cxn>
                <a:cxn ang="0">
                  <a:pos x="8" y="9"/>
                </a:cxn>
              </a:cxnLst>
              <a:rect l="0" t="0" r="r" b="b"/>
              <a:pathLst>
                <a:path w="149" h="98">
                  <a:moveTo>
                    <a:pt x="0" y="98"/>
                  </a:moveTo>
                  <a:lnTo>
                    <a:pt x="149" y="98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98"/>
                  </a:lnTo>
                  <a:close/>
                  <a:moveTo>
                    <a:pt x="8" y="9"/>
                  </a:moveTo>
                  <a:lnTo>
                    <a:pt x="139" y="9"/>
                  </a:lnTo>
                  <a:lnTo>
                    <a:pt x="139" y="88"/>
                  </a:lnTo>
                  <a:lnTo>
                    <a:pt x="8" y="88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72" name="Freeform 44"/>
            <p:cNvSpPr>
              <a:spLocks noEditPoints="1"/>
            </p:cNvSpPr>
            <p:nvPr/>
          </p:nvSpPr>
          <p:spPr bwMode="auto">
            <a:xfrm>
              <a:off x="3792" y="378"/>
              <a:ext cx="187" cy="165"/>
            </a:xfrm>
            <a:custGeom>
              <a:avLst/>
              <a:gdLst/>
              <a:ahLst/>
              <a:cxnLst>
                <a:cxn ang="0">
                  <a:pos x="156" y="0"/>
                </a:cxn>
                <a:cxn ang="0">
                  <a:pos x="149" y="0"/>
                </a:cxn>
                <a:cxn ang="0">
                  <a:pos x="149" y="7"/>
                </a:cxn>
                <a:cxn ang="0">
                  <a:pos x="36" y="7"/>
                </a:cxn>
                <a:cxn ang="0">
                  <a:pos x="36" y="0"/>
                </a:cxn>
                <a:cxn ang="0">
                  <a:pos x="27" y="0"/>
                </a:cxn>
                <a:cxn ang="0">
                  <a:pos x="27" y="7"/>
                </a:cxn>
                <a:cxn ang="0">
                  <a:pos x="0" y="7"/>
                </a:cxn>
                <a:cxn ang="0">
                  <a:pos x="0" y="165"/>
                </a:cxn>
                <a:cxn ang="0">
                  <a:pos x="187" y="165"/>
                </a:cxn>
                <a:cxn ang="0">
                  <a:pos x="187" y="7"/>
                </a:cxn>
                <a:cxn ang="0">
                  <a:pos x="156" y="7"/>
                </a:cxn>
                <a:cxn ang="0">
                  <a:pos x="156" y="0"/>
                </a:cxn>
                <a:cxn ang="0">
                  <a:pos x="178" y="17"/>
                </a:cxn>
                <a:cxn ang="0">
                  <a:pos x="178" y="156"/>
                </a:cxn>
                <a:cxn ang="0">
                  <a:pos x="10" y="156"/>
                </a:cxn>
                <a:cxn ang="0">
                  <a:pos x="10" y="17"/>
                </a:cxn>
                <a:cxn ang="0">
                  <a:pos x="27" y="17"/>
                </a:cxn>
                <a:cxn ang="0">
                  <a:pos x="27" y="29"/>
                </a:cxn>
                <a:cxn ang="0">
                  <a:pos x="36" y="29"/>
                </a:cxn>
                <a:cxn ang="0">
                  <a:pos x="36" y="17"/>
                </a:cxn>
                <a:cxn ang="0">
                  <a:pos x="149" y="17"/>
                </a:cxn>
                <a:cxn ang="0">
                  <a:pos x="149" y="29"/>
                </a:cxn>
                <a:cxn ang="0">
                  <a:pos x="156" y="29"/>
                </a:cxn>
                <a:cxn ang="0">
                  <a:pos x="156" y="17"/>
                </a:cxn>
                <a:cxn ang="0">
                  <a:pos x="178" y="17"/>
                </a:cxn>
              </a:cxnLst>
              <a:rect l="0" t="0" r="r" b="b"/>
              <a:pathLst>
                <a:path w="187" h="165">
                  <a:moveTo>
                    <a:pt x="156" y="0"/>
                  </a:moveTo>
                  <a:lnTo>
                    <a:pt x="149" y="0"/>
                  </a:lnTo>
                  <a:lnTo>
                    <a:pt x="149" y="7"/>
                  </a:lnTo>
                  <a:lnTo>
                    <a:pt x="36" y="7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27" y="7"/>
                  </a:lnTo>
                  <a:lnTo>
                    <a:pt x="0" y="7"/>
                  </a:lnTo>
                  <a:lnTo>
                    <a:pt x="0" y="165"/>
                  </a:lnTo>
                  <a:lnTo>
                    <a:pt x="187" y="165"/>
                  </a:lnTo>
                  <a:lnTo>
                    <a:pt x="187" y="7"/>
                  </a:lnTo>
                  <a:lnTo>
                    <a:pt x="156" y="7"/>
                  </a:lnTo>
                  <a:lnTo>
                    <a:pt x="156" y="0"/>
                  </a:lnTo>
                  <a:close/>
                  <a:moveTo>
                    <a:pt x="178" y="17"/>
                  </a:moveTo>
                  <a:lnTo>
                    <a:pt x="178" y="156"/>
                  </a:lnTo>
                  <a:lnTo>
                    <a:pt x="10" y="156"/>
                  </a:lnTo>
                  <a:lnTo>
                    <a:pt x="10" y="17"/>
                  </a:lnTo>
                  <a:lnTo>
                    <a:pt x="27" y="17"/>
                  </a:lnTo>
                  <a:lnTo>
                    <a:pt x="27" y="29"/>
                  </a:lnTo>
                  <a:lnTo>
                    <a:pt x="36" y="29"/>
                  </a:lnTo>
                  <a:lnTo>
                    <a:pt x="36" y="17"/>
                  </a:lnTo>
                  <a:lnTo>
                    <a:pt x="149" y="17"/>
                  </a:lnTo>
                  <a:lnTo>
                    <a:pt x="149" y="29"/>
                  </a:lnTo>
                  <a:lnTo>
                    <a:pt x="156" y="29"/>
                  </a:lnTo>
                  <a:lnTo>
                    <a:pt x="156" y="17"/>
                  </a:lnTo>
                  <a:lnTo>
                    <a:pt x="178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73" name="Freeform 45"/>
            <p:cNvSpPr>
              <a:spLocks/>
            </p:cNvSpPr>
            <p:nvPr/>
          </p:nvSpPr>
          <p:spPr bwMode="auto">
            <a:xfrm>
              <a:off x="3967" y="320"/>
              <a:ext cx="77" cy="75"/>
            </a:xfrm>
            <a:custGeom>
              <a:avLst/>
              <a:gdLst/>
              <a:ahLst/>
              <a:cxnLst>
                <a:cxn ang="0">
                  <a:pos x="43" y="75"/>
                </a:cxn>
                <a:cxn ang="0">
                  <a:pos x="43" y="41"/>
                </a:cxn>
                <a:cxn ang="0">
                  <a:pos x="77" y="41"/>
                </a:cxn>
                <a:cxn ang="0">
                  <a:pos x="77" y="34"/>
                </a:cxn>
                <a:cxn ang="0">
                  <a:pos x="43" y="34"/>
                </a:cxn>
                <a:cxn ang="0">
                  <a:pos x="43" y="0"/>
                </a:cxn>
                <a:cxn ang="0">
                  <a:pos x="34" y="0"/>
                </a:cxn>
                <a:cxn ang="0">
                  <a:pos x="34" y="34"/>
                </a:cxn>
                <a:cxn ang="0">
                  <a:pos x="0" y="34"/>
                </a:cxn>
                <a:cxn ang="0">
                  <a:pos x="0" y="41"/>
                </a:cxn>
                <a:cxn ang="0">
                  <a:pos x="34" y="41"/>
                </a:cxn>
                <a:cxn ang="0">
                  <a:pos x="34" y="75"/>
                </a:cxn>
                <a:cxn ang="0">
                  <a:pos x="43" y="75"/>
                </a:cxn>
              </a:cxnLst>
              <a:rect l="0" t="0" r="r" b="b"/>
              <a:pathLst>
                <a:path w="77" h="75">
                  <a:moveTo>
                    <a:pt x="43" y="75"/>
                  </a:moveTo>
                  <a:lnTo>
                    <a:pt x="43" y="41"/>
                  </a:lnTo>
                  <a:lnTo>
                    <a:pt x="77" y="41"/>
                  </a:lnTo>
                  <a:lnTo>
                    <a:pt x="77" y="34"/>
                  </a:lnTo>
                  <a:lnTo>
                    <a:pt x="43" y="34"/>
                  </a:lnTo>
                  <a:lnTo>
                    <a:pt x="43" y="0"/>
                  </a:lnTo>
                  <a:lnTo>
                    <a:pt x="34" y="0"/>
                  </a:lnTo>
                  <a:lnTo>
                    <a:pt x="34" y="34"/>
                  </a:lnTo>
                  <a:lnTo>
                    <a:pt x="0" y="34"/>
                  </a:lnTo>
                  <a:lnTo>
                    <a:pt x="0" y="41"/>
                  </a:lnTo>
                  <a:lnTo>
                    <a:pt x="34" y="41"/>
                  </a:lnTo>
                  <a:lnTo>
                    <a:pt x="34" y="75"/>
                  </a:lnTo>
                  <a:lnTo>
                    <a:pt x="43" y="7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74" name="Freeform 46"/>
            <p:cNvSpPr>
              <a:spLocks/>
            </p:cNvSpPr>
            <p:nvPr/>
          </p:nvSpPr>
          <p:spPr bwMode="auto">
            <a:xfrm>
              <a:off x="3919" y="275"/>
              <a:ext cx="170" cy="17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36"/>
                </a:cxn>
                <a:cxn ang="0">
                  <a:pos x="3" y="36"/>
                </a:cxn>
                <a:cxn ang="0">
                  <a:pos x="35" y="4"/>
                </a:cxn>
                <a:cxn ang="0">
                  <a:pos x="67" y="36"/>
                </a:cxn>
                <a:cxn ang="0">
                  <a:pos x="35" y="68"/>
                </a:cxn>
                <a:cxn ang="0">
                  <a:pos x="35" y="71"/>
                </a:cxn>
                <a:cxn ang="0">
                  <a:pos x="71" y="36"/>
                </a:cxn>
                <a:cxn ang="0">
                  <a:pos x="35" y="0"/>
                </a:cxn>
              </a:cxnLst>
              <a:rect l="0" t="0" r="r" b="b"/>
              <a:pathLst>
                <a:path w="71" h="71">
                  <a:moveTo>
                    <a:pt x="35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18"/>
                    <a:pt x="18" y="4"/>
                    <a:pt x="35" y="4"/>
                  </a:cubicBezTo>
                  <a:cubicBezTo>
                    <a:pt x="53" y="4"/>
                    <a:pt x="67" y="18"/>
                    <a:pt x="67" y="36"/>
                  </a:cubicBezTo>
                  <a:cubicBezTo>
                    <a:pt x="67" y="53"/>
                    <a:pt x="53" y="68"/>
                    <a:pt x="35" y="68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55" y="71"/>
                    <a:pt x="71" y="55"/>
                    <a:pt x="71" y="36"/>
                  </a:cubicBezTo>
                  <a:cubicBezTo>
                    <a:pt x="71" y="16"/>
                    <a:pt x="55" y="0"/>
                    <a:pt x="35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178" name="Oval 50"/>
          <p:cNvSpPr>
            <a:spLocks noChangeArrowheads="1"/>
          </p:cNvSpPr>
          <p:nvPr/>
        </p:nvSpPr>
        <p:spPr bwMode="auto">
          <a:xfrm>
            <a:off x="6915943" y="239703"/>
            <a:ext cx="827088" cy="827051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8" name="Group 287"/>
          <p:cNvGrpSpPr/>
          <p:nvPr/>
        </p:nvGrpSpPr>
        <p:grpSpPr>
          <a:xfrm>
            <a:off x="6946106" y="269864"/>
            <a:ext cx="766763" cy="766729"/>
            <a:chOff x="6946106" y="269864"/>
            <a:chExt cx="766763" cy="766729"/>
          </a:xfrm>
        </p:grpSpPr>
        <p:sp>
          <p:nvSpPr>
            <p:cNvPr id="48179" name="Freeform 51"/>
            <p:cNvSpPr>
              <a:spLocks noEditPoints="1"/>
            </p:cNvSpPr>
            <p:nvPr/>
          </p:nvSpPr>
          <p:spPr bwMode="auto">
            <a:xfrm>
              <a:off x="6946106" y="269864"/>
              <a:ext cx="766763" cy="766729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80" name="Freeform 52"/>
            <p:cNvSpPr>
              <a:spLocks noEditPoints="1"/>
            </p:cNvSpPr>
            <p:nvPr/>
          </p:nvSpPr>
          <p:spPr bwMode="auto">
            <a:xfrm>
              <a:off x="7093743" y="428607"/>
              <a:ext cx="463550" cy="395270"/>
            </a:xfrm>
            <a:custGeom>
              <a:avLst/>
              <a:gdLst/>
              <a:ahLst/>
              <a:cxnLst>
                <a:cxn ang="0">
                  <a:pos x="216" y="43"/>
                </a:cxn>
                <a:cxn ang="0">
                  <a:pos x="216" y="10"/>
                </a:cxn>
                <a:cxn ang="0">
                  <a:pos x="216" y="0"/>
                </a:cxn>
                <a:cxn ang="0">
                  <a:pos x="208" y="0"/>
                </a:cxn>
                <a:cxn ang="0">
                  <a:pos x="86" y="0"/>
                </a:cxn>
                <a:cxn ang="0">
                  <a:pos x="77" y="0"/>
                </a:cxn>
                <a:cxn ang="0">
                  <a:pos x="77" y="10"/>
                </a:cxn>
                <a:cxn ang="0">
                  <a:pos x="77" y="43"/>
                </a:cxn>
                <a:cxn ang="0">
                  <a:pos x="10" y="43"/>
                </a:cxn>
                <a:cxn ang="0">
                  <a:pos x="0" y="43"/>
                </a:cxn>
                <a:cxn ang="0">
                  <a:pos x="0" y="53"/>
                </a:cxn>
                <a:cxn ang="0">
                  <a:pos x="0" y="240"/>
                </a:cxn>
                <a:cxn ang="0">
                  <a:pos x="0" y="249"/>
                </a:cxn>
                <a:cxn ang="0">
                  <a:pos x="10" y="249"/>
                </a:cxn>
                <a:cxn ang="0">
                  <a:pos x="285" y="249"/>
                </a:cxn>
                <a:cxn ang="0">
                  <a:pos x="292" y="249"/>
                </a:cxn>
                <a:cxn ang="0">
                  <a:pos x="292" y="240"/>
                </a:cxn>
                <a:cxn ang="0">
                  <a:pos x="292" y="53"/>
                </a:cxn>
                <a:cxn ang="0">
                  <a:pos x="292" y="43"/>
                </a:cxn>
                <a:cxn ang="0">
                  <a:pos x="285" y="43"/>
                </a:cxn>
                <a:cxn ang="0">
                  <a:pos x="216" y="43"/>
                </a:cxn>
                <a:cxn ang="0">
                  <a:pos x="285" y="240"/>
                </a:cxn>
                <a:cxn ang="0">
                  <a:pos x="10" y="240"/>
                </a:cxn>
                <a:cxn ang="0">
                  <a:pos x="10" y="53"/>
                </a:cxn>
                <a:cxn ang="0">
                  <a:pos x="86" y="53"/>
                </a:cxn>
                <a:cxn ang="0">
                  <a:pos x="86" y="10"/>
                </a:cxn>
                <a:cxn ang="0">
                  <a:pos x="208" y="10"/>
                </a:cxn>
                <a:cxn ang="0">
                  <a:pos x="208" y="53"/>
                </a:cxn>
                <a:cxn ang="0">
                  <a:pos x="285" y="53"/>
                </a:cxn>
                <a:cxn ang="0">
                  <a:pos x="285" y="240"/>
                </a:cxn>
              </a:cxnLst>
              <a:rect l="0" t="0" r="r" b="b"/>
              <a:pathLst>
                <a:path w="292" h="249">
                  <a:moveTo>
                    <a:pt x="216" y="43"/>
                  </a:moveTo>
                  <a:lnTo>
                    <a:pt x="216" y="10"/>
                  </a:lnTo>
                  <a:lnTo>
                    <a:pt x="216" y="0"/>
                  </a:lnTo>
                  <a:lnTo>
                    <a:pt x="208" y="0"/>
                  </a:lnTo>
                  <a:lnTo>
                    <a:pt x="86" y="0"/>
                  </a:lnTo>
                  <a:lnTo>
                    <a:pt x="77" y="0"/>
                  </a:lnTo>
                  <a:lnTo>
                    <a:pt x="77" y="10"/>
                  </a:lnTo>
                  <a:lnTo>
                    <a:pt x="77" y="43"/>
                  </a:lnTo>
                  <a:lnTo>
                    <a:pt x="10" y="43"/>
                  </a:lnTo>
                  <a:lnTo>
                    <a:pt x="0" y="43"/>
                  </a:lnTo>
                  <a:lnTo>
                    <a:pt x="0" y="53"/>
                  </a:lnTo>
                  <a:lnTo>
                    <a:pt x="0" y="240"/>
                  </a:lnTo>
                  <a:lnTo>
                    <a:pt x="0" y="249"/>
                  </a:lnTo>
                  <a:lnTo>
                    <a:pt x="10" y="249"/>
                  </a:lnTo>
                  <a:lnTo>
                    <a:pt x="285" y="249"/>
                  </a:lnTo>
                  <a:lnTo>
                    <a:pt x="292" y="249"/>
                  </a:lnTo>
                  <a:lnTo>
                    <a:pt x="292" y="240"/>
                  </a:lnTo>
                  <a:lnTo>
                    <a:pt x="292" y="53"/>
                  </a:lnTo>
                  <a:lnTo>
                    <a:pt x="292" y="43"/>
                  </a:lnTo>
                  <a:lnTo>
                    <a:pt x="285" y="43"/>
                  </a:lnTo>
                  <a:lnTo>
                    <a:pt x="216" y="43"/>
                  </a:lnTo>
                  <a:close/>
                  <a:moveTo>
                    <a:pt x="285" y="240"/>
                  </a:moveTo>
                  <a:lnTo>
                    <a:pt x="10" y="240"/>
                  </a:lnTo>
                  <a:lnTo>
                    <a:pt x="10" y="53"/>
                  </a:lnTo>
                  <a:lnTo>
                    <a:pt x="86" y="53"/>
                  </a:lnTo>
                  <a:lnTo>
                    <a:pt x="86" y="10"/>
                  </a:lnTo>
                  <a:lnTo>
                    <a:pt x="208" y="10"/>
                  </a:lnTo>
                  <a:lnTo>
                    <a:pt x="208" y="53"/>
                  </a:lnTo>
                  <a:lnTo>
                    <a:pt x="285" y="53"/>
                  </a:lnTo>
                  <a:lnTo>
                    <a:pt x="285" y="2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81" name="Freeform 53"/>
            <p:cNvSpPr>
              <a:spLocks noEditPoints="1"/>
            </p:cNvSpPr>
            <p:nvPr/>
          </p:nvSpPr>
          <p:spPr bwMode="auto">
            <a:xfrm>
              <a:off x="7284243" y="565126"/>
              <a:ext cx="87313" cy="187317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11" y="0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0" y="49"/>
                </a:cxn>
                <a:cxn ang="0">
                  <a:pos x="23" y="49"/>
                </a:cxn>
                <a:cxn ang="0">
                  <a:pos x="19" y="18"/>
                </a:cxn>
                <a:cxn ang="0">
                  <a:pos x="22" y="11"/>
                </a:cxn>
                <a:cxn ang="0">
                  <a:pos x="19" y="45"/>
                </a:cxn>
                <a:cxn ang="0">
                  <a:pos x="4" y="45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5" y="11"/>
                </a:cxn>
                <a:cxn ang="0">
                  <a:pos x="11" y="4"/>
                </a:cxn>
                <a:cxn ang="0">
                  <a:pos x="18" y="11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9" y="45"/>
                </a:cxn>
              </a:cxnLst>
              <a:rect l="0" t="0" r="r" b="b"/>
              <a:pathLst>
                <a:path w="23" h="49">
                  <a:moveTo>
                    <a:pt x="22" y="11"/>
                  </a:moveTo>
                  <a:cubicBezTo>
                    <a:pt x="22" y="5"/>
                    <a:pt x="17" y="0"/>
                    <a:pt x="11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1" y="13"/>
                    <a:pt x="2" y="16"/>
                    <a:pt x="4" y="1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6"/>
                    <a:pt x="22" y="13"/>
                    <a:pt x="22" y="11"/>
                  </a:cubicBezTo>
                  <a:close/>
                  <a:moveTo>
                    <a:pt x="19" y="45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5" y="15"/>
                    <a:pt x="5" y="13"/>
                    <a:pt x="5" y="11"/>
                  </a:cubicBezTo>
                  <a:cubicBezTo>
                    <a:pt x="5" y="7"/>
                    <a:pt x="8" y="4"/>
                    <a:pt x="11" y="4"/>
                  </a:cubicBezTo>
                  <a:cubicBezTo>
                    <a:pt x="15" y="4"/>
                    <a:pt x="18" y="7"/>
                    <a:pt x="18" y="11"/>
                  </a:cubicBezTo>
                  <a:cubicBezTo>
                    <a:pt x="18" y="13"/>
                    <a:pt x="17" y="15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lnTo>
                    <a:pt x="19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82" name="Rectangle 54"/>
            <p:cNvSpPr>
              <a:spLocks noChangeArrowheads="1"/>
            </p:cNvSpPr>
            <p:nvPr/>
          </p:nvSpPr>
          <p:spPr bwMode="auto">
            <a:xfrm>
              <a:off x="7260431" y="474643"/>
              <a:ext cx="133350" cy="111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9" name="Group 278"/>
          <p:cNvGrpSpPr/>
          <p:nvPr/>
        </p:nvGrpSpPr>
        <p:grpSpPr>
          <a:xfrm>
            <a:off x="8053399" y="268277"/>
            <a:ext cx="768350" cy="768316"/>
            <a:chOff x="8053399" y="268277"/>
            <a:chExt cx="768350" cy="768316"/>
          </a:xfrm>
          <a:solidFill>
            <a:schemeClr val="bg2"/>
          </a:solidFill>
        </p:grpSpPr>
        <p:sp>
          <p:nvSpPr>
            <p:cNvPr id="48186" name="Freeform 58"/>
            <p:cNvSpPr>
              <a:spLocks noEditPoints="1"/>
            </p:cNvSpPr>
            <p:nvPr/>
          </p:nvSpPr>
          <p:spPr bwMode="auto">
            <a:xfrm>
              <a:off x="8053399" y="268277"/>
              <a:ext cx="768350" cy="76831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87" name="Freeform 59"/>
            <p:cNvSpPr>
              <a:spLocks noEditPoints="1"/>
            </p:cNvSpPr>
            <p:nvPr/>
          </p:nvSpPr>
          <p:spPr bwMode="auto">
            <a:xfrm>
              <a:off x="8202624" y="428607"/>
              <a:ext cx="463550" cy="395270"/>
            </a:xfrm>
            <a:custGeom>
              <a:avLst/>
              <a:gdLst/>
              <a:ahLst/>
              <a:cxnLst>
                <a:cxn ang="0">
                  <a:pos x="216" y="43"/>
                </a:cxn>
                <a:cxn ang="0">
                  <a:pos x="216" y="10"/>
                </a:cxn>
                <a:cxn ang="0">
                  <a:pos x="216" y="0"/>
                </a:cxn>
                <a:cxn ang="0">
                  <a:pos x="208" y="0"/>
                </a:cxn>
                <a:cxn ang="0">
                  <a:pos x="86" y="0"/>
                </a:cxn>
                <a:cxn ang="0">
                  <a:pos x="76" y="0"/>
                </a:cxn>
                <a:cxn ang="0">
                  <a:pos x="76" y="10"/>
                </a:cxn>
                <a:cxn ang="0">
                  <a:pos x="76" y="43"/>
                </a:cxn>
                <a:cxn ang="0">
                  <a:pos x="9" y="43"/>
                </a:cxn>
                <a:cxn ang="0">
                  <a:pos x="0" y="43"/>
                </a:cxn>
                <a:cxn ang="0">
                  <a:pos x="0" y="53"/>
                </a:cxn>
                <a:cxn ang="0">
                  <a:pos x="0" y="240"/>
                </a:cxn>
                <a:cxn ang="0">
                  <a:pos x="0" y="249"/>
                </a:cxn>
                <a:cxn ang="0">
                  <a:pos x="9" y="249"/>
                </a:cxn>
                <a:cxn ang="0">
                  <a:pos x="285" y="249"/>
                </a:cxn>
                <a:cxn ang="0">
                  <a:pos x="292" y="249"/>
                </a:cxn>
                <a:cxn ang="0">
                  <a:pos x="292" y="240"/>
                </a:cxn>
                <a:cxn ang="0">
                  <a:pos x="292" y="53"/>
                </a:cxn>
                <a:cxn ang="0">
                  <a:pos x="292" y="43"/>
                </a:cxn>
                <a:cxn ang="0">
                  <a:pos x="285" y="43"/>
                </a:cxn>
                <a:cxn ang="0">
                  <a:pos x="216" y="43"/>
                </a:cxn>
                <a:cxn ang="0">
                  <a:pos x="285" y="240"/>
                </a:cxn>
                <a:cxn ang="0">
                  <a:pos x="9" y="240"/>
                </a:cxn>
                <a:cxn ang="0">
                  <a:pos x="9" y="53"/>
                </a:cxn>
                <a:cxn ang="0">
                  <a:pos x="86" y="53"/>
                </a:cxn>
                <a:cxn ang="0">
                  <a:pos x="86" y="10"/>
                </a:cxn>
                <a:cxn ang="0">
                  <a:pos x="208" y="10"/>
                </a:cxn>
                <a:cxn ang="0">
                  <a:pos x="208" y="53"/>
                </a:cxn>
                <a:cxn ang="0">
                  <a:pos x="285" y="53"/>
                </a:cxn>
                <a:cxn ang="0">
                  <a:pos x="285" y="240"/>
                </a:cxn>
              </a:cxnLst>
              <a:rect l="0" t="0" r="r" b="b"/>
              <a:pathLst>
                <a:path w="292" h="249">
                  <a:moveTo>
                    <a:pt x="216" y="43"/>
                  </a:moveTo>
                  <a:lnTo>
                    <a:pt x="216" y="10"/>
                  </a:lnTo>
                  <a:lnTo>
                    <a:pt x="216" y="0"/>
                  </a:lnTo>
                  <a:lnTo>
                    <a:pt x="208" y="0"/>
                  </a:lnTo>
                  <a:lnTo>
                    <a:pt x="86" y="0"/>
                  </a:lnTo>
                  <a:lnTo>
                    <a:pt x="76" y="0"/>
                  </a:lnTo>
                  <a:lnTo>
                    <a:pt x="76" y="10"/>
                  </a:lnTo>
                  <a:lnTo>
                    <a:pt x="76" y="43"/>
                  </a:lnTo>
                  <a:lnTo>
                    <a:pt x="9" y="43"/>
                  </a:lnTo>
                  <a:lnTo>
                    <a:pt x="0" y="43"/>
                  </a:lnTo>
                  <a:lnTo>
                    <a:pt x="0" y="53"/>
                  </a:lnTo>
                  <a:lnTo>
                    <a:pt x="0" y="240"/>
                  </a:lnTo>
                  <a:lnTo>
                    <a:pt x="0" y="249"/>
                  </a:lnTo>
                  <a:lnTo>
                    <a:pt x="9" y="249"/>
                  </a:lnTo>
                  <a:lnTo>
                    <a:pt x="285" y="249"/>
                  </a:lnTo>
                  <a:lnTo>
                    <a:pt x="292" y="249"/>
                  </a:lnTo>
                  <a:lnTo>
                    <a:pt x="292" y="240"/>
                  </a:lnTo>
                  <a:lnTo>
                    <a:pt x="292" y="53"/>
                  </a:lnTo>
                  <a:lnTo>
                    <a:pt x="292" y="43"/>
                  </a:lnTo>
                  <a:lnTo>
                    <a:pt x="285" y="43"/>
                  </a:lnTo>
                  <a:lnTo>
                    <a:pt x="216" y="43"/>
                  </a:lnTo>
                  <a:close/>
                  <a:moveTo>
                    <a:pt x="285" y="240"/>
                  </a:moveTo>
                  <a:lnTo>
                    <a:pt x="9" y="240"/>
                  </a:lnTo>
                  <a:lnTo>
                    <a:pt x="9" y="53"/>
                  </a:lnTo>
                  <a:lnTo>
                    <a:pt x="86" y="53"/>
                  </a:lnTo>
                  <a:lnTo>
                    <a:pt x="86" y="10"/>
                  </a:lnTo>
                  <a:lnTo>
                    <a:pt x="208" y="10"/>
                  </a:lnTo>
                  <a:lnTo>
                    <a:pt x="208" y="53"/>
                  </a:lnTo>
                  <a:lnTo>
                    <a:pt x="285" y="53"/>
                  </a:lnTo>
                  <a:lnTo>
                    <a:pt x="285" y="240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88" name="Freeform 60"/>
            <p:cNvSpPr>
              <a:spLocks noEditPoints="1"/>
            </p:cNvSpPr>
            <p:nvPr/>
          </p:nvSpPr>
          <p:spPr bwMode="auto">
            <a:xfrm>
              <a:off x="8393124" y="565126"/>
              <a:ext cx="87313" cy="187317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11" y="0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0" y="49"/>
                </a:cxn>
                <a:cxn ang="0">
                  <a:pos x="23" y="49"/>
                </a:cxn>
                <a:cxn ang="0">
                  <a:pos x="19" y="18"/>
                </a:cxn>
                <a:cxn ang="0">
                  <a:pos x="22" y="11"/>
                </a:cxn>
                <a:cxn ang="0">
                  <a:pos x="19" y="45"/>
                </a:cxn>
                <a:cxn ang="0">
                  <a:pos x="4" y="45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5" y="11"/>
                </a:cxn>
                <a:cxn ang="0">
                  <a:pos x="11" y="4"/>
                </a:cxn>
                <a:cxn ang="0">
                  <a:pos x="18" y="11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9" y="45"/>
                </a:cxn>
              </a:cxnLst>
              <a:rect l="0" t="0" r="r" b="b"/>
              <a:pathLst>
                <a:path w="23" h="49">
                  <a:moveTo>
                    <a:pt x="22" y="11"/>
                  </a:moveTo>
                  <a:cubicBezTo>
                    <a:pt x="22" y="5"/>
                    <a:pt x="17" y="0"/>
                    <a:pt x="11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1" y="13"/>
                    <a:pt x="2" y="16"/>
                    <a:pt x="4" y="1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6"/>
                    <a:pt x="22" y="13"/>
                    <a:pt x="22" y="11"/>
                  </a:cubicBezTo>
                  <a:close/>
                  <a:moveTo>
                    <a:pt x="19" y="45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5" y="15"/>
                    <a:pt x="5" y="13"/>
                    <a:pt x="5" y="11"/>
                  </a:cubicBezTo>
                  <a:cubicBezTo>
                    <a:pt x="5" y="7"/>
                    <a:pt x="8" y="4"/>
                    <a:pt x="11" y="4"/>
                  </a:cubicBezTo>
                  <a:cubicBezTo>
                    <a:pt x="15" y="4"/>
                    <a:pt x="18" y="7"/>
                    <a:pt x="18" y="11"/>
                  </a:cubicBezTo>
                  <a:cubicBezTo>
                    <a:pt x="18" y="13"/>
                    <a:pt x="17" y="15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lnTo>
                    <a:pt x="19" y="45"/>
                  </a:ln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89" name="Rectangle 61"/>
            <p:cNvSpPr>
              <a:spLocks noChangeArrowheads="1"/>
            </p:cNvSpPr>
            <p:nvPr/>
          </p:nvSpPr>
          <p:spPr bwMode="auto">
            <a:xfrm>
              <a:off x="8369312" y="474643"/>
              <a:ext cx="133350" cy="11112"/>
            </a:xfrm>
            <a:prstGeom prst="rect">
              <a:avLst/>
            </a:prstGeom>
            <a:grpFill/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192" name="Group 64"/>
          <p:cNvGrpSpPr>
            <a:grpSpLocks noChangeAspect="1"/>
          </p:cNvGrpSpPr>
          <p:nvPr/>
        </p:nvGrpSpPr>
        <p:grpSpPr bwMode="auto">
          <a:xfrm>
            <a:off x="338139" y="1537715"/>
            <a:ext cx="844551" cy="842963"/>
            <a:chOff x="213" y="938"/>
            <a:chExt cx="532" cy="531"/>
          </a:xfrm>
        </p:grpSpPr>
        <p:sp>
          <p:nvSpPr>
            <p:cNvPr id="48193" name="Oval 65"/>
            <p:cNvSpPr>
              <a:spLocks noChangeArrowheads="1"/>
            </p:cNvSpPr>
            <p:nvPr/>
          </p:nvSpPr>
          <p:spPr bwMode="auto">
            <a:xfrm>
              <a:off x="213" y="938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94" name="Freeform 66"/>
            <p:cNvSpPr>
              <a:spLocks noEditPoints="1"/>
            </p:cNvSpPr>
            <p:nvPr/>
          </p:nvSpPr>
          <p:spPr bwMode="auto">
            <a:xfrm>
              <a:off x="232" y="957"/>
              <a:ext cx="496" cy="495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7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2" y="103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2"/>
                    <a:pt x="103" y="202"/>
                  </a:cubicBezTo>
                  <a:cubicBezTo>
                    <a:pt x="158" y="202"/>
                    <a:pt x="202" y="157"/>
                    <a:pt x="202" y="103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95" name="Freeform 67"/>
            <p:cNvSpPr>
              <a:spLocks noEditPoints="1"/>
            </p:cNvSpPr>
            <p:nvPr/>
          </p:nvSpPr>
          <p:spPr bwMode="auto">
            <a:xfrm>
              <a:off x="337" y="1081"/>
              <a:ext cx="297" cy="280"/>
            </a:xfrm>
            <a:custGeom>
              <a:avLst/>
              <a:gdLst/>
              <a:ahLst/>
              <a:cxnLst>
                <a:cxn ang="0">
                  <a:pos x="33" y="117"/>
                </a:cxn>
                <a:cxn ang="0">
                  <a:pos x="32" y="116"/>
                </a:cxn>
                <a:cxn ang="0">
                  <a:pos x="26" y="108"/>
                </a:cxn>
                <a:cxn ang="0">
                  <a:pos x="25" y="107"/>
                </a:cxn>
                <a:cxn ang="0">
                  <a:pos x="27" y="40"/>
                </a:cxn>
                <a:cxn ang="0">
                  <a:pos x="4" y="4"/>
                </a:cxn>
                <a:cxn ang="0">
                  <a:pos x="10" y="0"/>
                </a:cxn>
                <a:cxn ang="0">
                  <a:pos x="45" y="21"/>
                </a:cxn>
                <a:cxn ang="0">
                  <a:pos x="110" y="12"/>
                </a:cxn>
                <a:cxn ang="0">
                  <a:pos x="111" y="12"/>
                </a:cxn>
                <a:cxn ang="0">
                  <a:pos x="123" y="19"/>
                </a:cxn>
                <a:cxn ang="0">
                  <a:pos x="123" y="21"/>
                </a:cxn>
                <a:cxn ang="0">
                  <a:pos x="122" y="22"/>
                </a:cxn>
                <a:cxn ang="0">
                  <a:pos x="65" y="42"/>
                </a:cxn>
                <a:cxn ang="0">
                  <a:pos x="94" y="73"/>
                </a:cxn>
                <a:cxn ang="0">
                  <a:pos x="116" y="73"/>
                </a:cxn>
                <a:cxn ang="0">
                  <a:pos x="117" y="73"/>
                </a:cxn>
                <a:cxn ang="0">
                  <a:pos x="121" y="76"/>
                </a:cxn>
                <a:cxn ang="0">
                  <a:pos x="121" y="77"/>
                </a:cxn>
                <a:cxn ang="0">
                  <a:pos x="121" y="79"/>
                </a:cxn>
                <a:cxn ang="0">
                  <a:pos x="103" y="91"/>
                </a:cxn>
                <a:cxn ang="0">
                  <a:pos x="92" y="110"/>
                </a:cxn>
                <a:cxn ang="0">
                  <a:pos x="91" y="111"/>
                </a:cxn>
                <a:cxn ang="0">
                  <a:pos x="90" y="110"/>
                </a:cxn>
                <a:cxn ang="0">
                  <a:pos x="86" y="107"/>
                </a:cxn>
                <a:cxn ang="0">
                  <a:pos x="85" y="106"/>
                </a:cxn>
                <a:cxn ang="0">
                  <a:pos x="84" y="83"/>
                </a:cxn>
                <a:cxn ang="0">
                  <a:pos x="50" y="59"/>
                </a:cxn>
                <a:cxn ang="0">
                  <a:pos x="35" y="115"/>
                </a:cxn>
                <a:cxn ang="0">
                  <a:pos x="34" y="117"/>
                </a:cxn>
                <a:cxn ang="0">
                  <a:pos x="33" y="117"/>
                </a:cxn>
                <a:cxn ang="0">
                  <a:pos x="29" y="106"/>
                </a:cxn>
                <a:cxn ang="0">
                  <a:pos x="32" y="111"/>
                </a:cxn>
                <a:cxn ang="0">
                  <a:pos x="47" y="56"/>
                </a:cxn>
                <a:cxn ang="0">
                  <a:pos x="48" y="54"/>
                </a:cxn>
                <a:cxn ang="0">
                  <a:pos x="50" y="55"/>
                </a:cxn>
                <a:cxn ang="0">
                  <a:pos x="87" y="80"/>
                </a:cxn>
                <a:cxn ang="0">
                  <a:pos x="88" y="82"/>
                </a:cxn>
                <a:cxn ang="0">
                  <a:pos x="89" y="105"/>
                </a:cxn>
                <a:cxn ang="0">
                  <a:pos x="90" y="106"/>
                </a:cxn>
                <a:cxn ang="0">
                  <a:pos x="100" y="89"/>
                </a:cxn>
                <a:cxn ang="0">
                  <a:pos x="100" y="88"/>
                </a:cxn>
                <a:cxn ang="0">
                  <a:pos x="116" y="77"/>
                </a:cxn>
                <a:cxn ang="0">
                  <a:pos x="115" y="76"/>
                </a:cxn>
                <a:cxn ang="0">
                  <a:pos x="93" y="76"/>
                </a:cxn>
                <a:cxn ang="0">
                  <a:pos x="91" y="76"/>
                </a:cxn>
                <a:cxn ang="0">
                  <a:pos x="60" y="42"/>
                </a:cxn>
                <a:cxn ang="0">
                  <a:pos x="60" y="40"/>
                </a:cxn>
                <a:cxn ang="0">
                  <a:pos x="61" y="39"/>
                </a:cxn>
                <a:cxn ang="0">
                  <a:pos x="117" y="20"/>
                </a:cxn>
                <a:cxn ang="0">
                  <a:pos x="110" y="15"/>
                </a:cxn>
                <a:cxn ang="0">
                  <a:pos x="45" y="25"/>
                </a:cxn>
                <a:cxn ang="0">
                  <a:pos x="43" y="25"/>
                </a:cxn>
                <a:cxn ang="0">
                  <a:pos x="10" y="4"/>
                </a:cxn>
                <a:cxn ang="0">
                  <a:pos x="7" y="5"/>
                </a:cxn>
                <a:cxn ang="0">
                  <a:pos x="31" y="37"/>
                </a:cxn>
                <a:cxn ang="0">
                  <a:pos x="31" y="39"/>
                </a:cxn>
                <a:cxn ang="0">
                  <a:pos x="29" y="106"/>
                </a:cxn>
              </a:cxnLst>
              <a:rect l="0" t="0" r="r" b="b"/>
              <a:pathLst>
                <a:path w="124" h="117">
                  <a:moveTo>
                    <a:pt x="33" y="117"/>
                  </a:moveTo>
                  <a:cubicBezTo>
                    <a:pt x="33" y="117"/>
                    <a:pt x="32" y="116"/>
                    <a:pt x="32" y="116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5" y="108"/>
                    <a:pt x="25" y="107"/>
                    <a:pt x="25" y="107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3" y="35"/>
                    <a:pt x="0" y="15"/>
                    <a:pt x="4" y="4"/>
                  </a:cubicBezTo>
                  <a:cubicBezTo>
                    <a:pt x="4" y="3"/>
                    <a:pt x="6" y="0"/>
                    <a:pt x="10" y="0"/>
                  </a:cubicBezTo>
                  <a:cubicBezTo>
                    <a:pt x="18" y="0"/>
                    <a:pt x="29" y="7"/>
                    <a:pt x="45" y="2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10" y="12"/>
                    <a:pt x="111" y="12"/>
                    <a:pt x="111" y="12"/>
                  </a:cubicBezTo>
                  <a:cubicBezTo>
                    <a:pt x="123" y="19"/>
                    <a:pt x="123" y="19"/>
                    <a:pt x="123" y="19"/>
                  </a:cubicBezTo>
                  <a:cubicBezTo>
                    <a:pt x="123" y="19"/>
                    <a:pt x="124" y="20"/>
                    <a:pt x="123" y="21"/>
                  </a:cubicBezTo>
                  <a:cubicBezTo>
                    <a:pt x="123" y="22"/>
                    <a:pt x="123" y="22"/>
                    <a:pt x="122" y="2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71" y="48"/>
                    <a:pt x="89" y="67"/>
                    <a:pt x="94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73"/>
                    <a:pt x="116" y="73"/>
                    <a:pt x="117" y="73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7"/>
                    <a:pt x="121" y="77"/>
                  </a:cubicBezTo>
                  <a:cubicBezTo>
                    <a:pt x="121" y="78"/>
                    <a:pt x="121" y="78"/>
                    <a:pt x="121" y="79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2" y="110"/>
                    <a:pt x="92" y="111"/>
                    <a:pt x="91" y="111"/>
                  </a:cubicBezTo>
                  <a:cubicBezTo>
                    <a:pt x="91" y="111"/>
                    <a:pt x="90" y="111"/>
                    <a:pt x="90" y="110"/>
                  </a:cubicBezTo>
                  <a:cubicBezTo>
                    <a:pt x="86" y="107"/>
                    <a:pt x="86" y="107"/>
                    <a:pt x="86" y="107"/>
                  </a:cubicBezTo>
                  <a:cubicBezTo>
                    <a:pt x="86" y="107"/>
                    <a:pt x="85" y="107"/>
                    <a:pt x="85" y="106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80" y="80"/>
                    <a:pt x="62" y="68"/>
                    <a:pt x="50" y="59"/>
                  </a:cubicBezTo>
                  <a:cubicBezTo>
                    <a:pt x="35" y="115"/>
                    <a:pt x="35" y="115"/>
                    <a:pt x="35" y="115"/>
                  </a:cubicBezTo>
                  <a:cubicBezTo>
                    <a:pt x="35" y="116"/>
                    <a:pt x="34" y="117"/>
                    <a:pt x="34" y="117"/>
                  </a:cubicBezTo>
                  <a:cubicBezTo>
                    <a:pt x="33" y="117"/>
                    <a:pt x="33" y="117"/>
                    <a:pt x="33" y="117"/>
                  </a:cubicBezTo>
                  <a:close/>
                  <a:moveTo>
                    <a:pt x="29" y="106"/>
                  </a:moveTo>
                  <a:cubicBezTo>
                    <a:pt x="32" y="111"/>
                    <a:pt x="32" y="111"/>
                    <a:pt x="32" y="111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8" y="55"/>
                    <a:pt x="48" y="54"/>
                  </a:cubicBezTo>
                  <a:cubicBezTo>
                    <a:pt x="49" y="54"/>
                    <a:pt x="49" y="54"/>
                    <a:pt x="50" y="55"/>
                  </a:cubicBezTo>
                  <a:cubicBezTo>
                    <a:pt x="63" y="65"/>
                    <a:pt x="87" y="80"/>
                    <a:pt x="87" y="80"/>
                  </a:cubicBezTo>
                  <a:cubicBezTo>
                    <a:pt x="87" y="81"/>
                    <a:pt x="88" y="81"/>
                    <a:pt x="88" y="82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2" y="76"/>
                    <a:pt x="92" y="76"/>
                    <a:pt x="91" y="76"/>
                  </a:cubicBezTo>
                  <a:cubicBezTo>
                    <a:pt x="88" y="71"/>
                    <a:pt x="60" y="42"/>
                    <a:pt x="60" y="42"/>
                  </a:cubicBezTo>
                  <a:cubicBezTo>
                    <a:pt x="60" y="42"/>
                    <a:pt x="60" y="41"/>
                    <a:pt x="60" y="40"/>
                  </a:cubicBezTo>
                  <a:cubicBezTo>
                    <a:pt x="60" y="40"/>
                    <a:pt x="60" y="39"/>
                    <a:pt x="61" y="39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23" y="7"/>
                    <a:pt x="14" y="4"/>
                    <a:pt x="10" y="4"/>
                  </a:cubicBezTo>
                  <a:cubicBezTo>
                    <a:pt x="8" y="4"/>
                    <a:pt x="7" y="5"/>
                    <a:pt x="7" y="5"/>
                  </a:cubicBezTo>
                  <a:cubicBezTo>
                    <a:pt x="5" y="13"/>
                    <a:pt x="20" y="29"/>
                    <a:pt x="31" y="37"/>
                  </a:cubicBezTo>
                  <a:cubicBezTo>
                    <a:pt x="31" y="38"/>
                    <a:pt x="31" y="38"/>
                    <a:pt x="31" y="39"/>
                  </a:cubicBezTo>
                  <a:lnTo>
                    <a:pt x="29" y="1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204" name="Oval 76"/>
          <p:cNvSpPr>
            <a:spLocks noChangeArrowheads="1"/>
          </p:cNvSpPr>
          <p:nvPr/>
        </p:nvSpPr>
        <p:spPr bwMode="auto">
          <a:xfrm>
            <a:off x="2540609" y="1540890"/>
            <a:ext cx="827088" cy="827087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205" name="Rectangle 77"/>
          <p:cNvSpPr>
            <a:spLocks noChangeArrowheads="1"/>
          </p:cNvSpPr>
          <p:nvPr/>
        </p:nvSpPr>
        <p:spPr bwMode="auto">
          <a:xfrm>
            <a:off x="2843822" y="1718690"/>
            <a:ext cx="79375" cy="111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06" name="Freeform 78"/>
          <p:cNvSpPr>
            <a:spLocks/>
          </p:cNvSpPr>
          <p:nvPr/>
        </p:nvSpPr>
        <p:spPr bwMode="auto">
          <a:xfrm>
            <a:off x="2764447" y="1947290"/>
            <a:ext cx="68263" cy="57150"/>
          </a:xfrm>
          <a:custGeom>
            <a:avLst/>
            <a:gdLst/>
            <a:ahLst/>
            <a:cxnLst>
              <a:cxn ang="0">
                <a:pos x="17" y="26"/>
              </a:cxn>
              <a:cxn ang="0">
                <a:pos x="7" y="16"/>
              </a:cxn>
              <a:cxn ang="0">
                <a:pos x="0" y="21"/>
              </a:cxn>
              <a:cxn ang="0">
                <a:pos x="14" y="36"/>
              </a:cxn>
              <a:cxn ang="0">
                <a:pos x="19" y="36"/>
              </a:cxn>
              <a:cxn ang="0">
                <a:pos x="43" y="5"/>
              </a:cxn>
              <a:cxn ang="0">
                <a:pos x="36" y="0"/>
              </a:cxn>
              <a:cxn ang="0">
                <a:pos x="17" y="26"/>
              </a:cxn>
            </a:cxnLst>
            <a:rect l="0" t="0" r="r" b="b"/>
            <a:pathLst>
              <a:path w="43" h="36">
                <a:moveTo>
                  <a:pt x="17" y="26"/>
                </a:moveTo>
                <a:lnTo>
                  <a:pt x="7" y="16"/>
                </a:lnTo>
                <a:lnTo>
                  <a:pt x="0" y="21"/>
                </a:lnTo>
                <a:lnTo>
                  <a:pt x="14" y="36"/>
                </a:lnTo>
                <a:lnTo>
                  <a:pt x="19" y="36"/>
                </a:lnTo>
                <a:lnTo>
                  <a:pt x="43" y="5"/>
                </a:lnTo>
                <a:lnTo>
                  <a:pt x="36" y="0"/>
                </a:lnTo>
                <a:lnTo>
                  <a:pt x="17" y="2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07" name="Rectangle 79"/>
          <p:cNvSpPr>
            <a:spLocks noChangeArrowheads="1"/>
          </p:cNvSpPr>
          <p:nvPr/>
        </p:nvSpPr>
        <p:spPr bwMode="auto">
          <a:xfrm>
            <a:off x="2840647" y="1985390"/>
            <a:ext cx="95250" cy="142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08" name="Freeform 80"/>
          <p:cNvSpPr>
            <a:spLocks/>
          </p:cNvSpPr>
          <p:nvPr/>
        </p:nvSpPr>
        <p:spPr bwMode="auto">
          <a:xfrm>
            <a:off x="2764447" y="2018727"/>
            <a:ext cx="68263" cy="57150"/>
          </a:xfrm>
          <a:custGeom>
            <a:avLst/>
            <a:gdLst/>
            <a:ahLst/>
            <a:cxnLst>
              <a:cxn ang="0">
                <a:pos x="17" y="27"/>
              </a:cxn>
              <a:cxn ang="0">
                <a:pos x="7" y="17"/>
              </a:cxn>
              <a:cxn ang="0">
                <a:pos x="0" y="22"/>
              </a:cxn>
              <a:cxn ang="0">
                <a:pos x="14" y="36"/>
              </a:cxn>
              <a:cxn ang="0">
                <a:pos x="19" y="36"/>
              </a:cxn>
              <a:cxn ang="0">
                <a:pos x="43" y="5"/>
              </a:cxn>
              <a:cxn ang="0">
                <a:pos x="36" y="0"/>
              </a:cxn>
              <a:cxn ang="0">
                <a:pos x="17" y="27"/>
              </a:cxn>
            </a:cxnLst>
            <a:rect l="0" t="0" r="r" b="b"/>
            <a:pathLst>
              <a:path w="43" h="36">
                <a:moveTo>
                  <a:pt x="17" y="27"/>
                </a:moveTo>
                <a:lnTo>
                  <a:pt x="7" y="17"/>
                </a:lnTo>
                <a:lnTo>
                  <a:pt x="0" y="22"/>
                </a:lnTo>
                <a:lnTo>
                  <a:pt x="14" y="36"/>
                </a:lnTo>
                <a:lnTo>
                  <a:pt x="19" y="36"/>
                </a:lnTo>
                <a:lnTo>
                  <a:pt x="43" y="5"/>
                </a:lnTo>
                <a:lnTo>
                  <a:pt x="36" y="0"/>
                </a:lnTo>
                <a:lnTo>
                  <a:pt x="17" y="2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09" name="Rectangle 81"/>
          <p:cNvSpPr>
            <a:spLocks noChangeArrowheads="1"/>
          </p:cNvSpPr>
          <p:nvPr/>
        </p:nvSpPr>
        <p:spPr bwMode="auto">
          <a:xfrm>
            <a:off x="2840647" y="2056827"/>
            <a:ext cx="87313" cy="158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0" name="Freeform 82"/>
          <p:cNvSpPr>
            <a:spLocks/>
          </p:cNvSpPr>
          <p:nvPr/>
        </p:nvSpPr>
        <p:spPr bwMode="auto">
          <a:xfrm>
            <a:off x="2764447" y="1874265"/>
            <a:ext cx="68263" cy="57150"/>
          </a:xfrm>
          <a:custGeom>
            <a:avLst/>
            <a:gdLst/>
            <a:ahLst/>
            <a:cxnLst>
              <a:cxn ang="0">
                <a:pos x="17" y="27"/>
              </a:cxn>
              <a:cxn ang="0">
                <a:pos x="7" y="17"/>
              </a:cxn>
              <a:cxn ang="0">
                <a:pos x="0" y="22"/>
              </a:cxn>
              <a:cxn ang="0">
                <a:pos x="14" y="36"/>
              </a:cxn>
              <a:cxn ang="0">
                <a:pos x="19" y="36"/>
              </a:cxn>
              <a:cxn ang="0">
                <a:pos x="43" y="5"/>
              </a:cxn>
              <a:cxn ang="0">
                <a:pos x="36" y="0"/>
              </a:cxn>
              <a:cxn ang="0">
                <a:pos x="17" y="27"/>
              </a:cxn>
            </a:cxnLst>
            <a:rect l="0" t="0" r="r" b="b"/>
            <a:pathLst>
              <a:path w="43" h="36">
                <a:moveTo>
                  <a:pt x="17" y="27"/>
                </a:moveTo>
                <a:lnTo>
                  <a:pt x="7" y="17"/>
                </a:lnTo>
                <a:lnTo>
                  <a:pt x="0" y="22"/>
                </a:lnTo>
                <a:lnTo>
                  <a:pt x="14" y="36"/>
                </a:lnTo>
                <a:lnTo>
                  <a:pt x="19" y="36"/>
                </a:lnTo>
                <a:lnTo>
                  <a:pt x="43" y="5"/>
                </a:lnTo>
                <a:lnTo>
                  <a:pt x="36" y="0"/>
                </a:lnTo>
                <a:lnTo>
                  <a:pt x="17" y="2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1" name="Rectangle 83"/>
          <p:cNvSpPr>
            <a:spLocks noChangeArrowheads="1"/>
          </p:cNvSpPr>
          <p:nvPr/>
        </p:nvSpPr>
        <p:spPr bwMode="auto">
          <a:xfrm>
            <a:off x="2840647" y="1912365"/>
            <a:ext cx="158750" cy="158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2" name="Freeform 84"/>
          <p:cNvSpPr>
            <a:spLocks/>
          </p:cNvSpPr>
          <p:nvPr/>
        </p:nvSpPr>
        <p:spPr bwMode="auto">
          <a:xfrm>
            <a:off x="2764447" y="1802827"/>
            <a:ext cx="68263" cy="57150"/>
          </a:xfrm>
          <a:custGeom>
            <a:avLst/>
            <a:gdLst/>
            <a:ahLst/>
            <a:cxnLst>
              <a:cxn ang="0">
                <a:pos x="17" y="26"/>
              </a:cxn>
              <a:cxn ang="0">
                <a:pos x="7" y="14"/>
              </a:cxn>
              <a:cxn ang="0">
                <a:pos x="0" y="21"/>
              </a:cxn>
              <a:cxn ang="0">
                <a:pos x="14" y="36"/>
              </a:cxn>
              <a:cxn ang="0">
                <a:pos x="19" y="36"/>
              </a:cxn>
              <a:cxn ang="0">
                <a:pos x="43" y="5"/>
              </a:cxn>
              <a:cxn ang="0">
                <a:pos x="36" y="0"/>
              </a:cxn>
              <a:cxn ang="0">
                <a:pos x="17" y="26"/>
              </a:cxn>
            </a:cxnLst>
            <a:rect l="0" t="0" r="r" b="b"/>
            <a:pathLst>
              <a:path w="43" h="36">
                <a:moveTo>
                  <a:pt x="17" y="26"/>
                </a:moveTo>
                <a:lnTo>
                  <a:pt x="7" y="14"/>
                </a:lnTo>
                <a:lnTo>
                  <a:pt x="0" y="21"/>
                </a:lnTo>
                <a:lnTo>
                  <a:pt x="14" y="36"/>
                </a:lnTo>
                <a:lnTo>
                  <a:pt x="19" y="36"/>
                </a:lnTo>
                <a:lnTo>
                  <a:pt x="43" y="5"/>
                </a:lnTo>
                <a:lnTo>
                  <a:pt x="36" y="0"/>
                </a:lnTo>
                <a:lnTo>
                  <a:pt x="17" y="2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3" name="Rectangle 85"/>
          <p:cNvSpPr>
            <a:spLocks noChangeArrowheads="1"/>
          </p:cNvSpPr>
          <p:nvPr/>
        </p:nvSpPr>
        <p:spPr bwMode="auto">
          <a:xfrm>
            <a:off x="2840647" y="1840927"/>
            <a:ext cx="158750" cy="111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4" name="Freeform 86"/>
          <p:cNvSpPr>
            <a:spLocks noEditPoints="1"/>
          </p:cNvSpPr>
          <p:nvPr/>
        </p:nvSpPr>
        <p:spPr bwMode="auto">
          <a:xfrm>
            <a:off x="2980347" y="2010790"/>
            <a:ext cx="103188" cy="87312"/>
          </a:xfrm>
          <a:custGeom>
            <a:avLst/>
            <a:gdLst/>
            <a:ahLst/>
            <a:cxnLst>
              <a:cxn ang="0">
                <a:pos x="27" y="27"/>
              </a:cxn>
              <a:cxn ang="0">
                <a:pos x="19" y="17"/>
              </a:cxn>
              <a:cxn ang="0">
                <a:pos x="0" y="34"/>
              </a:cxn>
              <a:cxn ang="0">
                <a:pos x="19" y="55"/>
              </a:cxn>
              <a:cxn ang="0">
                <a:pos x="34" y="55"/>
              </a:cxn>
              <a:cxn ang="0">
                <a:pos x="65" y="15"/>
              </a:cxn>
              <a:cxn ang="0">
                <a:pos x="46" y="0"/>
              </a:cxn>
              <a:cxn ang="0">
                <a:pos x="27" y="27"/>
              </a:cxn>
              <a:cxn ang="0">
                <a:pos x="53" y="15"/>
              </a:cxn>
              <a:cxn ang="0">
                <a:pos x="31" y="46"/>
              </a:cxn>
              <a:cxn ang="0">
                <a:pos x="24" y="46"/>
              </a:cxn>
              <a:cxn ang="0">
                <a:pos x="12" y="34"/>
              </a:cxn>
              <a:cxn ang="0">
                <a:pos x="17" y="29"/>
              </a:cxn>
              <a:cxn ang="0">
                <a:pos x="27" y="41"/>
              </a:cxn>
              <a:cxn ang="0">
                <a:pos x="48" y="12"/>
              </a:cxn>
              <a:cxn ang="0">
                <a:pos x="53" y="15"/>
              </a:cxn>
            </a:cxnLst>
            <a:rect l="0" t="0" r="r" b="b"/>
            <a:pathLst>
              <a:path w="65" h="55">
                <a:moveTo>
                  <a:pt x="27" y="27"/>
                </a:moveTo>
                <a:lnTo>
                  <a:pt x="19" y="17"/>
                </a:lnTo>
                <a:lnTo>
                  <a:pt x="0" y="34"/>
                </a:lnTo>
                <a:lnTo>
                  <a:pt x="19" y="55"/>
                </a:lnTo>
                <a:lnTo>
                  <a:pt x="34" y="55"/>
                </a:lnTo>
                <a:lnTo>
                  <a:pt x="65" y="15"/>
                </a:lnTo>
                <a:lnTo>
                  <a:pt x="46" y="0"/>
                </a:lnTo>
                <a:lnTo>
                  <a:pt x="27" y="27"/>
                </a:lnTo>
                <a:close/>
                <a:moveTo>
                  <a:pt x="53" y="15"/>
                </a:moveTo>
                <a:lnTo>
                  <a:pt x="31" y="46"/>
                </a:lnTo>
                <a:lnTo>
                  <a:pt x="24" y="46"/>
                </a:lnTo>
                <a:lnTo>
                  <a:pt x="12" y="34"/>
                </a:lnTo>
                <a:lnTo>
                  <a:pt x="17" y="29"/>
                </a:lnTo>
                <a:lnTo>
                  <a:pt x="27" y="41"/>
                </a:lnTo>
                <a:lnTo>
                  <a:pt x="48" y="12"/>
                </a:lnTo>
                <a:lnTo>
                  <a:pt x="53" y="15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5" name="Freeform 87"/>
          <p:cNvSpPr>
            <a:spLocks noEditPoints="1"/>
          </p:cNvSpPr>
          <p:nvPr/>
        </p:nvSpPr>
        <p:spPr bwMode="auto">
          <a:xfrm>
            <a:off x="2723172" y="1685352"/>
            <a:ext cx="469900" cy="538162"/>
          </a:xfrm>
          <a:custGeom>
            <a:avLst/>
            <a:gdLst/>
            <a:ahLst/>
            <a:cxnLst>
              <a:cxn ang="0">
                <a:pos x="104" y="113"/>
              </a:cxn>
              <a:cxn ang="0">
                <a:pos x="104" y="113"/>
              </a:cxn>
              <a:cxn ang="0">
                <a:pos x="101" y="109"/>
              </a:cxn>
              <a:cxn ang="0">
                <a:pos x="86" y="76"/>
              </a:cxn>
              <a:cxn ang="0">
                <a:pos x="86" y="11"/>
              </a:cxn>
              <a:cxn ang="0">
                <a:pos x="62" y="11"/>
              </a:cxn>
              <a:cxn ang="0">
                <a:pos x="23" y="0"/>
              </a:cxn>
              <a:cxn ang="0">
                <a:pos x="4" y="11"/>
              </a:cxn>
              <a:cxn ang="0">
                <a:pos x="0" y="15"/>
              </a:cxn>
              <a:cxn ang="0">
                <a:pos x="0" y="116"/>
              </a:cxn>
              <a:cxn ang="0">
                <a:pos x="68" y="116"/>
              </a:cxn>
              <a:cxn ang="0">
                <a:pos x="92" y="117"/>
              </a:cxn>
              <a:cxn ang="0">
                <a:pos x="95" y="120"/>
              </a:cxn>
              <a:cxn ang="0">
                <a:pos x="98" y="123"/>
              </a:cxn>
              <a:cxn ang="0">
                <a:pos x="114" y="139"/>
              </a:cxn>
              <a:cxn ang="0">
                <a:pos x="119" y="140"/>
              </a:cxn>
              <a:cxn ang="0">
                <a:pos x="124" y="134"/>
              </a:cxn>
              <a:cxn ang="0">
                <a:pos x="106" y="115"/>
              </a:cxn>
              <a:cxn ang="0">
                <a:pos x="4" y="23"/>
              </a:cxn>
              <a:cxn ang="0">
                <a:pos x="82" y="20"/>
              </a:cxn>
              <a:cxn ang="0">
                <a:pos x="4" y="15"/>
              </a:cxn>
              <a:cxn ang="0">
                <a:pos x="23" y="15"/>
              </a:cxn>
              <a:cxn ang="0">
                <a:pos x="27" y="4"/>
              </a:cxn>
              <a:cxn ang="0">
                <a:pos x="59" y="15"/>
              </a:cxn>
              <a:cxn ang="0">
                <a:pos x="62" y="15"/>
              </a:cxn>
              <a:cxn ang="0">
                <a:pos x="82" y="75"/>
              </a:cxn>
              <a:cxn ang="0">
                <a:pos x="59" y="98"/>
              </a:cxn>
              <a:cxn ang="0">
                <a:pos x="4" y="112"/>
              </a:cxn>
              <a:cxn ang="0">
                <a:pos x="82" y="116"/>
              </a:cxn>
              <a:cxn ang="0">
                <a:pos x="82" y="79"/>
              </a:cxn>
              <a:cxn ang="0">
                <a:pos x="96" y="110"/>
              </a:cxn>
              <a:cxn ang="0">
                <a:pos x="98" y="118"/>
              </a:cxn>
              <a:cxn ang="0">
                <a:pos x="96" y="115"/>
              </a:cxn>
              <a:cxn ang="0">
                <a:pos x="98" y="112"/>
              </a:cxn>
              <a:cxn ang="0">
                <a:pos x="98" y="118"/>
              </a:cxn>
              <a:cxn ang="0">
                <a:pos x="101" y="121"/>
              </a:cxn>
              <a:cxn ang="0">
                <a:pos x="103" y="118"/>
              </a:cxn>
              <a:cxn ang="0">
                <a:pos x="104" y="118"/>
              </a:cxn>
              <a:cxn ang="0">
                <a:pos x="116" y="137"/>
              </a:cxn>
            </a:cxnLst>
            <a:rect l="0" t="0" r="r" b="b"/>
            <a:pathLst>
              <a:path w="124" h="142">
                <a:moveTo>
                  <a:pt x="106" y="115"/>
                </a:moveTo>
                <a:cubicBezTo>
                  <a:pt x="104" y="113"/>
                  <a:pt x="104" y="113"/>
                  <a:pt x="104" y="113"/>
                </a:cubicBezTo>
                <a:cubicBezTo>
                  <a:pt x="104" y="113"/>
                  <a:pt x="104" y="113"/>
                  <a:pt x="104" y="113"/>
                </a:cubicBezTo>
                <a:cubicBezTo>
                  <a:pt x="104" y="113"/>
                  <a:pt x="104" y="113"/>
                  <a:pt x="104" y="113"/>
                </a:cubicBezTo>
                <a:cubicBezTo>
                  <a:pt x="101" y="110"/>
                  <a:pt x="101" y="110"/>
                  <a:pt x="101" y="110"/>
                </a:cubicBezTo>
                <a:cubicBezTo>
                  <a:pt x="101" y="109"/>
                  <a:pt x="101" y="109"/>
                  <a:pt x="101" y="109"/>
                </a:cubicBezTo>
                <a:cubicBezTo>
                  <a:pt x="103" y="106"/>
                  <a:pt x="104" y="102"/>
                  <a:pt x="104" y="98"/>
                </a:cubicBezTo>
                <a:cubicBezTo>
                  <a:pt x="104" y="87"/>
                  <a:pt x="96" y="78"/>
                  <a:pt x="86" y="76"/>
                </a:cubicBezTo>
                <a:cubicBezTo>
                  <a:pt x="86" y="15"/>
                  <a:pt x="86" y="15"/>
                  <a:pt x="86" y="15"/>
                </a:cubicBezTo>
                <a:cubicBezTo>
                  <a:pt x="86" y="11"/>
                  <a:pt x="86" y="11"/>
                  <a:pt x="86" y="11"/>
                </a:cubicBezTo>
                <a:cubicBezTo>
                  <a:pt x="82" y="11"/>
                  <a:pt x="82" y="11"/>
                  <a:pt x="82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62" y="0"/>
                  <a:pt x="62" y="0"/>
                  <a:pt x="62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11"/>
                  <a:pt x="23" y="11"/>
                  <a:pt x="23" y="11"/>
                </a:cubicBezTo>
                <a:cubicBezTo>
                  <a:pt x="4" y="11"/>
                  <a:pt x="4" y="11"/>
                  <a:pt x="4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6"/>
                  <a:pt x="0" y="116"/>
                  <a:pt x="0" y="116"/>
                </a:cubicBezTo>
                <a:cubicBezTo>
                  <a:pt x="4" y="116"/>
                  <a:pt x="4" y="116"/>
                  <a:pt x="4" y="116"/>
                </a:cubicBezTo>
                <a:cubicBezTo>
                  <a:pt x="68" y="116"/>
                  <a:pt x="68" y="116"/>
                  <a:pt x="68" y="116"/>
                </a:cubicBezTo>
                <a:cubicBezTo>
                  <a:pt x="72" y="118"/>
                  <a:pt x="77" y="120"/>
                  <a:pt x="82" y="120"/>
                </a:cubicBezTo>
                <a:cubicBezTo>
                  <a:pt x="85" y="120"/>
                  <a:pt x="89" y="119"/>
                  <a:pt x="92" y="117"/>
                </a:cubicBezTo>
                <a:cubicBezTo>
                  <a:pt x="93" y="118"/>
                  <a:pt x="93" y="118"/>
                  <a:pt x="93" y="118"/>
                </a:cubicBezTo>
                <a:cubicBezTo>
                  <a:pt x="95" y="120"/>
                  <a:pt x="95" y="120"/>
                  <a:pt x="95" y="120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114" y="139"/>
                  <a:pt x="114" y="139"/>
                  <a:pt x="114" y="139"/>
                </a:cubicBezTo>
                <a:cubicBezTo>
                  <a:pt x="116" y="142"/>
                  <a:pt x="116" y="142"/>
                  <a:pt x="116" y="142"/>
                </a:cubicBezTo>
                <a:cubicBezTo>
                  <a:pt x="119" y="140"/>
                  <a:pt x="119" y="140"/>
                  <a:pt x="119" y="140"/>
                </a:cubicBezTo>
                <a:cubicBezTo>
                  <a:pt x="122" y="137"/>
                  <a:pt x="122" y="137"/>
                  <a:pt x="122" y="137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2" y="132"/>
                  <a:pt x="122" y="132"/>
                  <a:pt x="122" y="132"/>
                </a:cubicBezTo>
                <a:lnTo>
                  <a:pt x="106" y="115"/>
                </a:lnTo>
                <a:close/>
                <a:moveTo>
                  <a:pt x="4" y="112"/>
                </a:moveTo>
                <a:cubicBezTo>
                  <a:pt x="4" y="23"/>
                  <a:pt x="4" y="23"/>
                  <a:pt x="4" y="23"/>
                </a:cubicBezTo>
                <a:cubicBezTo>
                  <a:pt x="82" y="23"/>
                  <a:pt x="82" y="23"/>
                  <a:pt x="82" y="23"/>
                </a:cubicBezTo>
                <a:cubicBezTo>
                  <a:pt x="82" y="20"/>
                  <a:pt x="82" y="20"/>
                  <a:pt x="82" y="20"/>
                </a:cubicBezTo>
                <a:cubicBezTo>
                  <a:pt x="4" y="20"/>
                  <a:pt x="4" y="20"/>
                  <a:pt x="4" y="20"/>
                </a:cubicBezTo>
                <a:cubicBezTo>
                  <a:pt x="4" y="15"/>
                  <a:pt x="4" y="15"/>
                  <a:pt x="4" y="15"/>
                </a:cubicBezTo>
                <a:cubicBezTo>
                  <a:pt x="23" y="15"/>
                  <a:pt x="23" y="15"/>
                  <a:pt x="23" y="15"/>
                </a:cubicBezTo>
                <a:cubicBezTo>
                  <a:pt x="23" y="15"/>
                  <a:pt x="23" y="15"/>
                  <a:pt x="23" y="15"/>
                </a:cubicBezTo>
                <a:cubicBezTo>
                  <a:pt x="27" y="15"/>
                  <a:pt x="27" y="15"/>
                  <a:pt x="27" y="15"/>
                </a:cubicBezTo>
                <a:cubicBezTo>
                  <a:pt x="27" y="4"/>
                  <a:pt x="27" y="4"/>
                  <a:pt x="27" y="4"/>
                </a:cubicBezTo>
                <a:cubicBezTo>
                  <a:pt x="59" y="4"/>
                  <a:pt x="59" y="4"/>
                  <a:pt x="59" y="4"/>
                </a:cubicBezTo>
                <a:cubicBezTo>
                  <a:pt x="59" y="15"/>
                  <a:pt x="59" y="15"/>
                  <a:pt x="59" y="15"/>
                </a:cubicBezTo>
                <a:cubicBezTo>
                  <a:pt x="62" y="15"/>
                  <a:pt x="62" y="15"/>
                  <a:pt x="62" y="15"/>
                </a:cubicBezTo>
                <a:cubicBezTo>
                  <a:pt x="62" y="15"/>
                  <a:pt x="62" y="15"/>
                  <a:pt x="62" y="15"/>
                </a:cubicBezTo>
                <a:cubicBezTo>
                  <a:pt x="82" y="15"/>
                  <a:pt x="82" y="15"/>
                  <a:pt x="82" y="15"/>
                </a:cubicBezTo>
                <a:cubicBezTo>
                  <a:pt x="82" y="75"/>
                  <a:pt x="82" y="75"/>
                  <a:pt x="82" y="75"/>
                </a:cubicBezTo>
                <a:cubicBezTo>
                  <a:pt x="82" y="75"/>
                  <a:pt x="82" y="75"/>
                  <a:pt x="82" y="75"/>
                </a:cubicBezTo>
                <a:cubicBezTo>
                  <a:pt x="69" y="75"/>
                  <a:pt x="59" y="85"/>
                  <a:pt x="59" y="98"/>
                </a:cubicBezTo>
                <a:cubicBezTo>
                  <a:pt x="59" y="103"/>
                  <a:pt x="61" y="108"/>
                  <a:pt x="64" y="112"/>
                </a:cubicBezTo>
                <a:lnTo>
                  <a:pt x="4" y="112"/>
                </a:lnTo>
                <a:close/>
                <a:moveTo>
                  <a:pt x="93" y="112"/>
                </a:moveTo>
                <a:cubicBezTo>
                  <a:pt x="90" y="115"/>
                  <a:pt x="86" y="116"/>
                  <a:pt x="82" y="116"/>
                </a:cubicBezTo>
                <a:cubicBezTo>
                  <a:pt x="71" y="116"/>
                  <a:pt x="63" y="108"/>
                  <a:pt x="63" y="98"/>
                </a:cubicBezTo>
                <a:cubicBezTo>
                  <a:pt x="63" y="87"/>
                  <a:pt x="71" y="79"/>
                  <a:pt x="82" y="79"/>
                </a:cubicBezTo>
                <a:cubicBezTo>
                  <a:pt x="92" y="79"/>
                  <a:pt x="100" y="87"/>
                  <a:pt x="100" y="98"/>
                </a:cubicBezTo>
                <a:cubicBezTo>
                  <a:pt x="100" y="102"/>
                  <a:pt x="99" y="107"/>
                  <a:pt x="96" y="110"/>
                </a:cubicBezTo>
                <a:lnTo>
                  <a:pt x="93" y="112"/>
                </a:lnTo>
                <a:close/>
                <a:moveTo>
                  <a:pt x="98" y="118"/>
                </a:moveTo>
                <a:cubicBezTo>
                  <a:pt x="95" y="115"/>
                  <a:pt x="95" y="115"/>
                  <a:pt x="95" y="115"/>
                </a:cubicBezTo>
                <a:cubicBezTo>
                  <a:pt x="96" y="115"/>
                  <a:pt x="96" y="115"/>
                  <a:pt x="96" y="115"/>
                </a:cubicBezTo>
                <a:cubicBezTo>
                  <a:pt x="96" y="114"/>
                  <a:pt x="97" y="113"/>
                  <a:pt x="98" y="113"/>
                </a:cubicBezTo>
                <a:cubicBezTo>
                  <a:pt x="98" y="112"/>
                  <a:pt x="98" y="112"/>
                  <a:pt x="98" y="112"/>
                </a:cubicBezTo>
                <a:cubicBezTo>
                  <a:pt x="101" y="115"/>
                  <a:pt x="101" y="115"/>
                  <a:pt x="101" y="115"/>
                </a:cubicBezTo>
                <a:lnTo>
                  <a:pt x="98" y="118"/>
                </a:lnTo>
                <a:close/>
                <a:moveTo>
                  <a:pt x="116" y="137"/>
                </a:moveTo>
                <a:cubicBezTo>
                  <a:pt x="101" y="121"/>
                  <a:pt x="101" y="121"/>
                  <a:pt x="101" y="121"/>
                </a:cubicBezTo>
                <a:cubicBezTo>
                  <a:pt x="101" y="120"/>
                  <a:pt x="101" y="120"/>
                  <a:pt x="101" y="120"/>
                </a:cubicBezTo>
                <a:cubicBezTo>
                  <a:pt x="103" y="118"/>
                  <a:pt x="103" y="118"/>
                  <a:pt x="103" y="118"/>
                </a:cubicBezTo>
                <a:cubicBezTo>
                  <a:pt x="103" y="118"/>
                  <a:pt x="103" y="118"/>
                  <a:pt x="103" y="118"/>
                </a:cubicBezTo>
                <a:cubicBezTo>
                  <a:pt x="104" y="118"/>
                  <a:pt x="104" y="118"/>
                  <a:pt x="104" y="118"/>
                </a:cubicBezTo>
                <a:cubicBezTo>
                  <a:pt x="119" y="134"/>
                  <a:pt x="119" y="134"/>
                  <a:pt x="119" y="134"/>
                </a:cubicBezTo>
                <a:lnTo>
                  <a:pt x="116" y="13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16" name="Freeform 88"/>
          <p:cNvSpPr>
            <a:spLocks noEditPoints="1"/>
          </p:cNvSpPr>
          <p:nvPr/>
        </p:nvSpPr>
        <p:spPr bwMode="auto">
          <a:xfrm>
            <a:off x="2570772" y="1571052"/>
            <a:ext cx="766763" cy="766762"/>
          </a:xfrm>
          <a:custGeom>
            <a:avLst/>
            <a:gdLst/>
            <a:ahLst/>
            <a:cxnLst>
              <a:cxn ang="0">
                <a:pos x="101" y="0"/>
              </a:cxn>
              <a:cxn ang="0">
                <a:pos x="0" y="101"/>
              </a:cxn>
              <a:cxn ang="0">
                <a:pos x="101" y="202"/>
              </a:cxn>
              <a:cxn ang="0">
                <a:pos x="202" y="101"/>
              </a:cxn>
              <a:cxn ang="0">
                <a:pos x="101" y="0"/>
              </a:cxn>
              <a:cxn ang="0">
                <a:pos x="169" y="169"/>
              </a:cxn>
              <a:cxn ang="0">
                <a:pos x="101" y="197"/>
              </a:cxn>
              <a:cxn ang="0">
                <a:pos x="33" y="169"/>
              </a:cxn>
              <a:cxn ang="0">
                <a:pos x="5" y="101"/>
              </a:cxn>
              <a:cxn ang="0">
                <a:pos x="33" y="33"/>
              </a:cxn>
              <a:cxn ang="0">
                <a:pos x="101" y="5"/>
              </a:cxn>
              <a:cxn ang="0">
                <a:pos x="169" y="33"/>
              </a:cxn>
              <a:cxn ang="0">
                <a:pos x="197" y="101"/>
              </a:cxn>
              <a:cxn ang="0">
                <a:pos x="169" y="169"/>
              </a:cxn>
            </a:cxnLst>
            <a:rect l="0" t="0" r="r" b="b"/>
            <a:pathLst>
              <a:path w="202" h="202">
                <a:moveTo>
                  <a:pt x="101" y="0"/>
                </a:moveTo>
                <a:cubicBezTo>
                  <a:pt x="45" y="0"/>
                  <a:pt x="0" y="45"/>
                  <a:pt x="0" y="101"/>
                </a:cubicBezTo>
                <a:cubicBezTo>
                  <a:pt x="0" y="157"/>
                  <a:pt x="45" y="202"/>
                  <a:pt x="101" y="202"/>
                </a:cubicBezTo>
                <a:cubicBezTo>
                  <a:pt x="157" y="202"/>
                  <a:pt x="202" y="157"/>
                  <a:pt x="202" y="101"/>
                </a:cubicBezTo>
                <a:cubicBezTo>
                  <a:pt x="202" y="45"/>
                  <a:pt x="157" y="0"/>
                  <a:pt x="101" y="0"/>
                </a:cubicBezTo>
                <a:close/>
                <a:moveTo>
                  <a:pt x="169" y="169"/>
                </a:moveTo>
                <a:cubicBezTo>
                  <a:pt x="151" y="187"/>
                  <a:pt x="127" y="197"/>
                  <a:pt x="101" y="197"/>
                </a:cubicBezTo>
                <a:cubicBezTo>
                  <a:pt x="75" y="197"/>
                  <a:pt x="51" y="187"/>
                  <a:pt x="33" y="169"/>
                </a:cubicBezTo>
                <a:cubicBezTo>
                  <a:pt x="15" y="151"/>
                  <a:pt x="5" y="127"/>
                  <a:pt x="5" y="101"/>
                </a:cubicBezTo>
                <a:cubicBezTo>
                  <a:pt x="5" y="75"/>
                  <a:pt x="15" y="51"/>
                  <a:pt x="33" y="33"/>
                </a:cubicBezTo>
                <a:cubicBezTo>
                  <a:pt x="51" y="15"/>
                  <a:pt x="75" y="5"/>
                  <a:pt x="101" y="5"/>
                </a:cubicBezTo>
                <a:cubicBezTo>
                  <a:pt x="127" y="5"/>
                  <a:pt x="151" y="15"/>
                  <a:pt x="169" y="33"/>
                </a:cubicBezTo>
                <a:cubicBezTo>
                  <a:pt x="187" y="51"/>
                  <a:pt x="197" y="75"/>
                  <a:pt x="197" y="101"/>
                </a:cubicBezTo>
                <a:cubicBezTo>
                  <a:pt x="197" y="127"/>
                  <a:pt x="187" y="151"/>
                  <a:pt x="169" y="16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219" name="Group 91"/>
          <p:cNvGrpSpPr>
            <a:grpSpLocks noChangeAspect="1"/>
          </p:cNvGrpSpPr>
          <p:nvPr/>
        </p:nvGrpSpPr>
        <p:grpSpPr bwMode="auto">
          <a:xfrm>
            <a:off x="3668710" y="1577404"/>
            <a:ext cx="768350" cy="768350"/>
            <a:chOff x="2306" y="963"/>
            <a:chExt cx="484" cy="484"/>
          </a:xfrm>
        </p:grpSpPr>
        <p:sp>
          <p:nvSpPr>
            <p:cNvPr id="48220" name="Rectangle 92"/>
            <p:cNvSpPr>
              <a:spLocks noChangeArrowheads="1"/>
            </p:cNvSpPr>
            <p:nvPr/>
          </p:nvSpPr>
          <p:spPr bwMode="auto">
            <a:xfrm>
              <a:off x="2479" y="1057"/>
              <a:ext cx="5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1" name="Freeform 93"/>
            <p:cNvSpPr>
              <a:spLocks/>
            </p:cNvSpPr>
            <p:nvPr/>
          </p:nvSpPr>
          <p:spPr bwMode="auto">
            <a:xfrm>
              <a:off x="2429" y="1201"/>
              <a:ext cx="43" cy="36"/>
            </a:xfrm>
            <a:custGeom>
              <a:avLst/>
              <a:gdLst/>
              <a:ahLst/>
              <a:cxnLst>
                <a:cxn ang="0">
                  <a:pos x="16" y="26"/>
                </a:cxn>
                <a:cxn ang="0">
                  <a:pos x="7" y="16"/>
                </a:cxn>
                <a:cxn ang="0">
                  <a:pos x="0" y="21"/>
                </a:cxn>
                <a:cxn ang="0">
                  <a:pos x="14" y="36"/>
                </a:cxn>
                <a:cxn ang="0">
                  <a:pos x="19" y="36"/>
                </a:cxn>
                <a:cxn ang="0">
                  <a:pos x="43" y="4"/>
                </a:cxn>
                <a:cxn ang="0">
                  <a:pos x="35" y="0"/>
                </a:cxn>
                <a:cxn ang="0">
                  <a:pos x="16" y="26"/>
                </a:cxn>
              </a:cxnLst>
              <a:rect l="0" t="0" r="r" b="b"/>
              <a:pathLst>
                <a:path w="43" h="36">
                  <a:moveTo>
                    <a:pt x="16" y="26"/>
                  </a:moveTo>
                  <a:lnTo>
                    <a:pt x="7" y="16"/>
                  </a:lnTo>
                  <a:lnTo>
                    <a:pt x="0" y="21"/>
                  </a:lnTo>
                  <a:lnTo>
                    <a:pt x="14" y="36"/>
                  </a:lnTo>
                  <a:lnTo>
                    <a:pt x="19" y="36"/>
                  </a:lnTo>
                  <a:lnTo>
                    <a:pt x="43" y="4"/>
                  </a:lnTo>
                  <a:lnTo>
                    <a:pt x="35" y="0"/>
                  </a:lnTo>
                  <a:lnTo>
                    <a:pt x="16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2" name="Rectangle 94"/>
            <p:cNvSpPr>
              <a:spLocks noChangeArrowheads="1"/>
            </p:cNvSpPr>
            <p:nvPr/>
          </p:nvSpPr>
          <p:spPr bwMode="auto">
            <a:xfrm>
              <a:off x="2476" y="1225"/>
              <a:ext cx="6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3" name="Freeform 95"/>
            <p:cNvSpPr>
              <a:spLocks/>
            </p:cNvSpPr>
            <p:nvPr/>
          </p:nvSpPr>
          <p:spPr bwMode="auto">
            <a:xfrm>
              <a:off x="2429" y="1246"/>
              <a:ext cx="43" cy="36"/>
            </a:xfrm>
            <a:custGeom>
              <a:avLst/>
              <a:gdLst/>
              <a:ahLst/>
              <a:cxnLst>
                <a:cxn ang="0">
                  <a:pos x="16" y="27"/>
                </a:cxn>
                <a:cxn ang="0">
                  <a:pos x="7" y="17"/>
                </a:cxn>
                <a:cxn ang="0">
                  <a:pos x="0" y="22"/>
                </a:cxn>
                <a:cxn ang="0">
                  <a:pos x="14" y="36"/>
                </a:cxn>
                <a:cxn ang="0">
                  <a:pos x="19" y="36"/>
                </a:cxn>
                <a:cxn ang="0">
                  <a:pos x="43" y="5"/>
                </a:cxn>
                <a:cxn ang="0">
                  <a:pos x="35" y="0"/>
                </a:cxn>
                <a:cxn ang="0">
                  <a:pos x="16" y="27"/>
                </a:cxn>
              </a:cxnLst>
              <a:rect l="0" t="0" r="r" b="b"/>
              <a:pathLst>
                <a:path w="43" h="36">
                  <a:moveTo>
                    <a:pt x="16" y="27"/>
                  </a:moveTo>
                  <a:lnTo>
                    <a:pt x="7" y="17"/>
                  </a:lnTo>
                  <a:lnTo>
                    <a:pt x="0" y="22"/>
                  </a:lnTo>
                  <a:lnTo>
                    <a:pt x="14" y="36"/>
                  </a:lnTo>
                  <a:lnTo>
                    <a:pt x="19" y="36"/>
                  </a:lnTo>
                  <a:lnTo>
                    <a:pt x="43" y="5"/>
                  </a:lnTo>
                  <a:lnTo>
                    <a:pt x="35" y="0"/>
                  </a:lnTo>
                  <a:lnTo>
                    <a:pt x="16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4" name="Rectangle 96"/>
            <p:cNvSpPr>
              <a:spLocks noChangeArrowheads="1"/>
            </p:cNvSpPr>
            <p:nvPr/>
          </p:nvSpPr>
          <p:spPr bwMode="auto">
            <a:xfrm>
              <a:off x="2476" y="1270"/>
              <a:ext cx="5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5" name="Freeform 97"/>
            <p:cNvSpPr>
              <a:spLocks/>
            </p:cNvSpPr>
            <p:nvPr/>
          </p:nvSpPr>
          <p:spPr bwMode="auto">
            <a:xfrm>
              <a:off x="2429" y="1155"/>
              <a:ext cx="43" cy="36"/>
            </a:xfrm>
            <a:custGeom>
              <a:avLst/>
              <a:gdLst/>
              <a:ahLst/>
              <a:cxnLst>
                <a:cxn ang="0">
                  <a:pos x="16" y="26"/>
                </a:cxn>
                <a:cxn ang="0">
                  <a:pos x="7" y="17"/>
                </a:cxn>
                <a:cxn ang="0">
                  <a:pos x="0" y="22"/>
                </a:cxn>
                <a:cxn ang="0">
                  <a:pos x="14" y="36"/>
                </a:cxn>
                <a:cxn ang="0">
                  <a:pos x="19" y="36"/>
                </a:cxn>
                <a:cxn ang="0">
                  <a:pos x="43" y="5"/>
                </a:cxn>
                <a:cxn ang="0">
                  <a:pos x="35" y="0"/>
                </a:cxn>
                <a:cxn ang="0">
                  <a:pos x="16" y="26"/>
                </a:cxn>
              </a:cxnLst>
              <a:rect l="0" t="0" r="r" b="b"/>
              <a:pathLst>
                <a:path w="43" h="36">
                  <a:moveTo>
                    <a:pt x="16" y="26"/>
                  </a:moveTo>
                  <a:lnTo>
                    <a:pt x="7" y="17"/>
                  </a:lnTo>
                  <a:lnTo>
                    <a:pt x="0" y="22"/>
                  </a:lnTo>
                  <a:lnTo>
                    <a:pt x="14" y="36"/>
                  </a:lnTo>
                  <a:lnTo>
                    <a:pt x="19" y="36"/>
                  </a:lnTo>
                  <a:lnTo>
                    <a:pt x="43" y="5"/>
                  </a:lnTo>
                  <a:lnTo>
                    <a:pt x="35" y="0"/>
                  </a:lnTo>
                  <a:lnTo>
                    <a:pt x="16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6" name="Rectangle 98"/>
            <p:cNvSpPr>
              <a:spLocks noChangeArrowheads="1"/>
            </p:cNvSpPr>
            <p:nvPr/>
          </p:nvSpPr>
          <p:spPr bwMode="auto">
            <a:xfrm>
              <a:off x="2476" y="1179"/>
              <a:ext cx="101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7" name="Freeform 99"/>
            <p:cNvSpPr>
              <a:spLocks/>
            </p:cNvSpPr>
            <p:nvPr/>
          </p:nvSpPr>
          <p:spPr bwMode="auto">
            <a:xfrm>
              <a:off x="2429" y="1110"/>
              <a:ext cx="43" cy="35"/>
            </a:xfrm>
            <a:custGeom>
              <a:avLst/>
              <a:gdLst/>
              <a:ahLst/>
              <a:cxnLst>
                <a:cxn ang="0">
                  <a:pos x="16" y="26"/>
                </a:cxn>
                <a:cxn ang="0">
                  <a:pos x="7" y="14"/>
                </a:cxn>
                <a:cxn ang="0">
                  <a:pos x="0" y="21"/>
                </a:cxn>
                <a:cxn ang="0">
                  <a:pos x="14" y="35"/>
                </a:cxn>
                <a:cxn ang="0">
                  <a:pos x="19" y="35"/>
                </a:cxn>
                <a:cxn ang="0">
                  <a:pos x="43" y="4"/>
                </a:cxn>
                <a:cxn ang="0">
                  <a:pos x="35" y="0"/>
                </a:cxn>
                <a:cxn ang="0">
                  <a:pos x="16" y="26"/>
                </a:cxn>
              </a:cxnLst>
              <a:rect l="0" t="0" r="r" b="b"/>
              <a:pathLst>
                <a:path w="43" h="35">
                  <a:moveTo>
                    <a:pt x="16" y="26"/>
                  </a:moveTo>
                  <a:lnTo>
                    <a:pt x="7" y="14"/>
                  </a:lnTo>
                  <a:lnTo>
                    <a:pt x="0" y="21"/>
                  </a:lnTo>
                  <a:lnTo>
                    <a:pt x="14" y="35"/>
                  </a:lnTo>
                  <a:lnTo>
                    <a:pt x="19" y="35"/>
                  </a:lnTo>
                  <a:lnTo>
                    <a:pt x="43" y="4"/>
                  </a:lnTo>
                  <a:lnTo>
                    <a:pt x="35" y="0"/>
                  </a:lnTo>
                  <a:lnTo>
                    <a:pt x="16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28" name="Rectangle 100"/>
            <p:cNvSpPr>
              <a:spLocks noChangeArrowheads="1"/>
            </p:cNvSpPr>
            <p:nvPr/>
          </p:nvSpPr>
          <p:spPr bwMode="auto">
            <a:xfrm>
              <a:off x="2476" y="1133"/>
              <a:ext cx="101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29" name="Freeform 101"/>
            <p:cNvSpPr>
              <a:spLocks noEditPoints="1"/>
            </p:cNvSpPr>
            <p:nvPr/>
          </p:nvSpPr>
          <p:spPr bwMode="auto">
            <a:xfrm>
              <a:off x="2565" y="1241"/>
              <a:ext cx="65" cy="55"/>
            </a:xfrm>
            <a:custGeom>
              <a:avLst/>
              <a:gdLst/>
              <a:ahLst/>
              <a:cxnLst>
                <a:cxn ang="0">
                  <a:pos x="27" y="27"/>
                </a:cxn>
                <a:cxn ang="0">
                  <a:pos x="19" y="17"/>
                </a:cxn>
                <a:cxn ang="0">
                  <a:pos x="0" y="34"/>
                </a:cxn>
                <a:cxn ang="0">
                  <a:pos x="19" y="55"/>
                </a:cxn>
                <a:cxn ang="0">
                  <a:pos x="34" y="55"/>
                </a:cxn>
                <a:cxn ang="0">
                  <a:pos x="65" y="15"/>
                </a:cxn>
                <a:cxn ang="0">
                  <a:pos x="46" y="0"/>
                </a:cxn>
                <a:cxn ang="0">
                  <a:pos x="27" y="27"/>
                </a:cxn>
                <a:cxn ang="0">
                  <a:pos x="53" y="15"/>
                </a:cxn>
                <a:cxn ang="0">
                  <a:pos x="31" y="46"/>
                </a:cxn>
                <a:cxn ang="0">
                  <a:pos x="24" y="46"/>
                </a:cxn>
                <a:cxn ang="0">
                  <a:pos x="12" y="34"/>
                </a:cxn>
                <a:cxn ang="0">
                  <a:pos x="17" y="29"/>
                </a:cxn>
                <a:cxn ang="0">
                  <a:pos x="27" y="41"/>
                </a:cxn>
                <a:cxn ang="0">
                  <a:pos x="48" y="12"/>
                </a:cxn>
                <a:cxn ang="0">
                  <a:pos x="53" y="15"/>
                </a:cxn>
              </a:cxnLst>
              <a:rect l="0" t="0" r="r" b="b"/>
              <a:pathLst>
                <a:path w="65" h="55">
                  <a:moveTo>
                    <a:pt x="27" y="27"/>
                  </a:moveTo>
                  <a:lnTo>
                    <a:pt x="19" y="17"/>
                  </a:lnTo>
                  <a:lnTo>
                    <a:pt x="0" y="34"/>
                  </a:lnTo>
                  <a:lnTo>
                    <a:pt x="19" y="55"/>
                  </a:lnTo>
                  <a:lnTo>
                    <a:pt x="34" y="55"/>
                  </a:lnTo>
                  <a:lnTo>
                    <a:pt x="65" y="15"/>
                  </a:lnTo>
                  <a:lnTo>
                    <a:pt x="46" y="0"/>
                  </a:lnTo>
                  <a:lnTo>
                    <a:pt x="27" y="27"/>
                  </a:lnTo>
                  <a:close/>
                  <a:moveTo>
                    <a:pt x="53" y="15"/>
                  </a:moveTo>
                  <a:lnTo>
                    <a:pt x="31" y="46"/>
                  </a:lnTo>
                  <a:lnTo>
                    <a:pt x="24" y="46"/>
                  </a:lnTo>
                  <a:lnTo>
                    <a:pt x="12" y="34"/>
                  </a:lnTo>
                  <a:lnTo>
                    <a:pt x="17" y="29"/>
                  </a:lnTo>
                  <a:lnTo>
                    <a:pt x="27" y="41"/>
                  </a:lnTo>
                  <a:lnTo>
                    <a:pt x="48" y="12"/>
                  </a:lnTo>
                  <a:lnTo>
                    <a:pt x="53" y="1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30" name="Freeform 102"/>
            <p:cNvSpPr>
              <a:spLocks noEditPoints="1"/>
            </p:cNvSpPr>
            <p:nvPr/>
          </p:nvSpPr>
          <p:spPr bwMode="auto">
            <a:xfrm>
              <a:off x="2402" y="1035"/>
              <a:ext cx="297" cy="341"/>
            </a:xfrm>
            <a:custGeom>
              <a:avLst/>
              <a:gdLst/>
              <a:ahLst/>
              <a:cxnLst>
                <a:cxn ang="0">
                  <a:pos x="104" y="113"/>
                </a:cxn>
                <a:cxn ang="0">
                  <a:pos x="104" y="113"/>
                </a:cxn>
                <a:cxn ang="0">
                  <a:pos x="101" y="109"/>
                </a:cxn>
                <a:cxn ang="0">
                  <a:pos x="86" y="76"/>
                </a:cxn>
                <a:cxn ang="0">
                  <a:pos x="86" y="11"/>
                </a:cxn>
                <a:cxn ang="0">
                  <a:pos x="62" y="11"/>
                </a:cxn>
                <a:cxn ang="0">
                  <a:pos x="23" y="0"/>
                </a:cxn>
                <a:cxn ang="0">
                  <a:pos x="4" y="11"/>
                </a:cxn>
                <a:cxn ang="0">
                  <a:pos x="0" y="15"/>
                </a:cxn>
                <a:cxn ang="0">
                  <a:pos x="0" y="116"/>
                </a:cxn>
                <a:cxn ang="0">
                  <a:pos x="68" y="116"/>
                </a:cxn>
                <a:cxn ang="0">
                  <a:pos x="92" y="117"/>
                </a:cxn>
                <a:cxn ang="0">
                  <a:pos x="95" y="120"/>
                </a:cxn>
                <a:cxn ang="0">
                  <a:pos x="98" y="123"/>
                </a:cxn>
                <a:cxn ang="0">
                  <a:pos x="114" y="139"/>
                </a:cxn>
                <a:cxn ang="0">
                  <a:pos x="119" y="140"/>
                </a:cxn>
                <a:cxn ang="0">
                  <a:pos x="124" y="134"/>
                </a:cxn>
                <a:cxn ang="0">
                  <a:pos x="106" y="115"/>
                </a:cxn>
                <a:cxn ang="0">
                  <a:pos x="4" y="23"/>
                </a:cxn>
                <a:cxn ang="0">
                  <a:pos x="82" y="20"/>
                </a:cxn>
                <a:cxn ang="0">
                  <a:pos x="4" y="15"/>
                </a:cxn>
                <a:cxn ang="0">
                  <a:pos x="23" y="15"/>
                </a:cxn>
                <a:cxn ang="0">
                  <a:pos x="27" y="4"/>
                </a:cxn>
                <a:cxn ang="0">
                  <a:pos x="59" y="15"/>
                </a:cxn>
                <a:cxn ang="0">
                  <a:pos x="62" y="15"/>
                </a:cxn>
                <a:cxn ang="0">
                  <a:pos x="82" y="75"/>
                </a:cxn>
                <a:cxn ang="0">
                  <a:pos x="59" y="98"/>
                </a:cxn>
                <a:cxn ang="0">
                  <a:pos x="4" y="112"/>
                </a:cxn>
                <a:cxn ang="0">
                  <a:pos x="82" y="116"/>
                </a:cxn>
                <a:cxn ang="0">
                  <a:pos x="82" y="79"/>
                </a:cxn>
                <a:cxn ang="0">
                  <a:pos x="96" y="110"/>
                </a:cxn>
                <a:cxn ang="0">
                  <a:pos x="98" y="118"/>
                </a:cxn>
                <a:cxn ang="0">
                  <a:pos x="96" y="115"/>
                </a:cxn>
                <a:cxn ang="0">
                  <a:pos x="98" y="112"/>
                </a:cxn>
                <a:cxn ang="0">
                  <a:pos x="98" y="118"/>
                </a:cxn>
                <a:cxn ang="0">
                  <a:pos x="101" y="121"/>
                </a:cxn>
                <a:cxn ang="0">
                  <a:pos x="103" y="118"/>
                </a:cxn>
                <a:cxn ang="0">
                  <a:pos x="104" y="118"/>
                </a:cxn>
                <a:cxn ang="0">
                  <a:pos x="116" y="137"/>
                </a:cxn>
              </a:cxnLst>
              <a:rect l="0" t="0" r="r" b="b"/>
              <a:pathLst>
                <a:path w="124" h="142">
                  <a:moveTo>
                    <a:pt x="106" y="115"/>
                  </a:moveTo>
                  <a:cubicBezTo>
                    <a:pt x="104" y="113"/>
                    <a:pt x="104" y="113"/>
                    <a:pt x="104" y="113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1" y="110"/>
                    <a:pt x="101" y="110"/>
                    <a:pt x="101" y="110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3" y="106"/>
                    <a:pt x="104" y="102"/>
                    <a:pt x="104" y="98"/>
                  </a:cubicBezTo>
                  <a:cubicBezTo>
                    <a:pt x="104" y="87"/>
                    <a:pt x="96" y="78"/>
                    <a:pt x="86" y="76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72" y="118"/>
                    <a:pt x="77" y="120"/>
                    <a:pt x="82" y="120"/>
                  </a:cubicBezTo>
                  <a:cubicBezTo>
                    <a:pt x="85" y="120"/>
                    <a:pt x="89" y="119"/>
                    <a:pt x="92" y="117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6" y="142"/>
                    <a:pt x="116" y="142"/>
                    <a:pt x="116" y="142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22" y="137"/>
                    <a:pt x="122" y="137"/>
                    <a:pt x="122" y="137"/>
                  </a:cubicBezTo>
                  <a:cubicBezTo>
                    <a:pt x="124" y="134"/>
                    <a:pt x="124" y="134"/>
                    <a:pt x="124" y="134"/>
                  </a:cubicBezTo>
                  <a:cubicBezTo>
                    <a:pt x="122" y="132"/>
                    <a:pt x="122" y="132"/>
                    <a:pt x="122" y="132"/>
                  </a:cubicBezTo>
                  <a:lnTo>
                    <a:pt x="106" y="115"/>
                  </a:lnTo>
                  <a:close/>
                  <a:moveTo>
                    <a:pt x="4" y="112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69" y="75"/>
                    <a:pt x="59" y="85"/>
                    <a:pt x="59" y="98"/>
                  </a:cubicBezTo>
                  <a:cubicBezTo>
                    <a:pt x="59" y="103"/>
                    <a:pt x="61" y="108"/>
                    <a:pt x="64" y="112"/>
                  </a:cubicBezTo>
                  <a:lnTo>
                    <a:pt x="4" y="112"/>
                  </a:lnTo>
                  <a:close/>
                  <a:moveTo>
                    <a:pt x="93" y="112"/>
                  </a:moveTo>
                  <a:cubicBezTo>
                    <a:pt x="90" y="115"/>
                    <a:pt x="86" y="116"/>
                    <a:pt x="82" y="116"/>
                  </a:cubicBezTo>
                  <a:cubicBezTo>
                    <a:pt x="71" y="116"/>
                    <a:pt x="63" y="108"/>
                    <a:pt x="63" y="98"/>
                  </a:cubicBezTo>
                  <a:cubicBezTo>
                    <a:pt x="63" y="87"/>
                    <a:pt x="71" y="79"/>
                    <a:pt x="82" y="79"/>
                  </a:cubicBezTo>
                  <a:cubicBezTo>
                    <a:pt x="92" y="79"/>
                    <a:pt x="100" y="87"/>
                    <a:pt x="100" y="98"/>
                  </a:cubicBezTo>
                  <a:cubicBezTo>
                    <a:pt x="100" y="102"/>
                    <a:pt x="99" y="107"/>
                    <a:pt x="96" y="110"/>
                  </a:cubicBezTo>
                  <a:lnTo>
                    <a:pt x="93" y="112"/>
                  </a:lnTo>
                  <a:close/>
                  <a:moveTo>
                    <a:pt x="98" y="118"/>
                  </a:moveTo>
                  <a:cubicBezTo>
                    <a:pt x="95" y="115"/>
                    <a:pt x="95" y="115"/>
                    <a:pt x="95" y="115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96" y="114"/>
                    <a:pt x="97" y="113"/>
                    <a:pt x="98" y="113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101" y="115"/>
                    <a:pt x="101" y="115"/>
                    <a:pt x="101" y="115"/>
                  </a:cubicBezTo>
                  <a:lnTo>
                    <a:pt x="98" y="118"/>
                  </a:lnTo>
                  <a:close/>
                  <a:moveTo>
                    <a:pt x="116" y="137"/>
                  </a:moveTo>
                  <a:cubicBezTo>
                    <a:pt x="101" y="121"/>
                    <a:pt x="101" y="121"/>
                    <a:pt x="101" y="121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4" y="118"/>
                    <a:pt x="104" y="118"/>
                    <a:pt x="104" y="118"/>
                  </a:cubicBezTo>
                  <a:cubicBezTo>
                    <a:pt x="119" y="134"/>
                    <a:pt x="119" y="134"/>
                    <a:pt x="119" y="134"/>
                  </a:cubicBezTo>
                  <a:lnTo>
                    <a:pt x="116" y="13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31" name="Freeform 103"/>
            <p:cNvSpPr>
              <a:spLocks noEditPoints="1"/>
            </p:cNvSpPr>
            <p:nvPr/>
          </p:nvSpPr>
          <p:spPr bwMode="auto">
            <a:xfrm>
              <a:off x="2306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89"/>
          <p:cNvGrpSpPr/>
          <p:nvPr/>
        </p:nvGrpSpPr>
        <p:grpSpPr>
          <a:xfrm>
            <a:off x="4743451" y="1552003"/>
            <a:ext cx="820737" cy="820737"/>
            <a:chOff x="4743451" y="1552003"/>
            <a:chExt cx="820737" cy="820737"/>
          </a:xfrm>
        </p:grpSpPr>
        <p:sp>
          <p:nvSpPr>
            <p:cNvPr id="48235" name="Oval 107"/>
            <p:cNvSpPr>
              <a:spLocks noChangeArrowheads="1"/>
            </p:cNvSpPr>
            <p:nvPr/>
          </p:nvSpPr>
          <p:spPr bwMode="auto">
            <a:xfrm>
              <a:off x="4743451" y="1552003"/>
              <a:ext cx="820737" cy="8207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36" name="Freeform 108"/>
            <p:cNvSpPr>
              <a:spLocks noEditPoints="1"/>
            </p:cNvSpPr>
            <p:nvPr/>
          </p:nvSpPr>
          <p:spPr bwMode="auto">
            <a:xfrm>
              <a:off x="4770438" y="1578990"/>
              <a:ext cx="766762" cy="766762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37" name="Freeform 109"/>
            <p:cNvSpPr>
              <a:spLocks noEditPoints="1"/>
            </p:cNvSpPr>
            <p:nvPr/>
          </p:nvSpPr>
          <p:spPr bwMode="auto">
            <a:xfrm>
              <a:off x="5108576" y="1863153"/>
              <a:ext cx="277812" cy="288925"/>
            </a:xfrm>
            <a:custGeom>
              <a:avLst/>
              <a:gdLst/>
              <a:ahLst/>
              <a:cxnLst>
                <a:cxn ang="0">
                  <a:pos x="49" y="39"/>
                </a:cxn>
                <a:cxn ang="0">
                  <a:pos x="58" y="21"/>
                </a:cxn>
                <a:cxn ang="0">
                  <a:pos x="37" y="0"/>
                </a:cxn>
                <a:cxn ang="0">
                  <a:pos x="15" y="21"/>
                </a:cxn>
                <a:cxn ang="0">
                  <a:pos x="25" y="39"/>
                </a:cxn>
                <a:cxn ang="0">
                  <a:pos x="0" y="67"/>
                </a:cxn>
                <a:cxn ang="0">
                  <a:pos x="0" y="76"/>
                </a:cxn>
                <a:cxn ang="0">
                  <a:pos x="73" y="76"/>
                </a:cxn>
                <a:cxn ang="0">
                  <a:pos x="73" y="67"/>
                </a:cxn>
                <a:cxn ang="0">
                  <a:pos x="49" y="39"/>
                </a:cxn>
                <a:cxn ang="0">
                  <a:pos x="19" y="21"/>
                </a:cxn>
                <a:cxn ang="0">
                  <a:pos x="37" y="3"/>
                </a:cxn>
                <a:cxn ang="0">
                  <a:pos x="55" y="21"/>
                </a:cxn>
                <a:cxn ang="0">
                  <a:pos x="37" y="39"/>
                </a:cxn>
                <a:cxn ang="0">
                  <a:pos x="19" y="21"/>
                </a:cxn>
                <a:cxn ang="0">
                  <a:pos x="70" y="73"/>
                </a:cxn>
                <a:cxn ang="0">
                  <a:pos x="3" y="73"/>
                </a:cxn>
                <a:cxn ang="0">
                  <a:pos x="3" y="67"/>
                </a:cxn>
                <a:cxn ang="0">
                  <a:pos x="25" y="43"/>
                </a:cxn>
                <a:cxn ang="0">
                  <a:pos x="48" y="43"/>
                </a:cxn>
                <a:cxn ang="0">
                  <a:pos x="70" y="67"/>
                </a:cxn>
                <a:cxn ang="0">
                  <a:pos x="70" y="73"/>
                </a:cxn>
              </a:cxnLst>
              <a:rect l="0" t="0" r="r" b="b"/>
              <a:pathLst>
                <a:path w="73" h="76">
                  <a:moveTo>
                    <a:pt x="49" y="39"/>
                  </a:moveTo>
                  <a:cubicBezTo>
                    <a:pt x="54" y="35"/>
                    <a:pt x="58" y="29"/>
                    <a:pt x="58" y="21"/>
                  </a:cubicBezTo>
                  <a:cubicBezTo>
                    <a:pt x="58" y="9"/>
                    <a:pt x="49" y="0"/>
                    <a:pt x="37" y="0"/>
                  </a:cubicBezTo>
                  <a:cubicBezTo>
                    <a:pt x="25" y="0"/>
                    <a:pt x="15" y="9"/>
                    <a:pt x="15" y="21"/>
                  </a:cubicBezTo>
                  <a:cubicBezTo>
                    <a:pt x="15" y="29"/>
                    <a:pt x="19" y="35"/>
                    <a:pt x="25" y="39"/>
                  </a:cubicBezTo>
                  <a:cubicBezTo>
                    <a:pt x="11" y="40"/>
                    <a:pt x="0" y="52"/>
                    <a:pt x="0" y="6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52"/>
                    <a:pt x="62" y="40"/>
                    <a:pt x="49" y="39"/>
                  </a:cubicBezTo>
                  <a:close/>
                  <a:moveTo>
                    <a:pt x="19" y="21"/>
                  </a:moveTo>
                  <a:cubicBezTo>
                    <a:pt x="19" y="11"/>
                    <a:pt x="27" y="3"/>
                    <a:pt x="37" y="3"/>
                  </a:cubicBezTo>
                  <a:cubicBezTo>
                    <a:pt x="47" y="3"/>
                    <a:pt x="55" y="11"/>
                    <a:pt x="55" y="21"/>
                  </a:cubicBezTo>
                  <a:cubicBezTo>
                    <a:pt x="55" y="31"/>
                    <a:pt x="47" y="39"/>
                    <a:pt x="37" y="39"/>
                  </a:cubicBezTo>
                  <a:cubicBezTo>
                    <a:pt x="27" y="39"/>
                    <a:pt x="19" y="31"/>
                    <a:pt x="19" y="21"/>
                  </a:cubicBezTo>
                  <a:close/>
                  <a:moveTo>
                    <a:pt x="70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54"/>
                    <a:pt x="13" y="43"/>
                    <a:pt x="25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60" y="43"/>
                    <a:pt x="70" y="54"/>
                    <a:pt x="70" y="67"/>
                  </a:cubicBezTo>
                  <a:lnTo>
                    <a:pt x="70" y="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38" name="Freeform 110"/>
            <p:cNvSpPr>
              <a:spLocks noEditPoints="1"/>
            </p:cNvSpPr>
            <p:nvPr/>
          </p:nvSpPr>
          <p:spPr bwMode="auto">
            <a:xfrm>
              <a:off x="4914901" y="1772665"/>
              <a:ext cx="231775" cy="220662"/>
            </a:xfrm>
            <a:custGeom>
              <a:avLst/>
              <a:gdLst/>
              <a:ahLst/>
              <a:cxnLst>
                <a:cxn ang="0">
                  <a:pos x="127" y="139"/>
                </a:cxn>
                <a:cxn ang="0">
                  <a:pos x="131" y="139"/>
                </a:cxn>
                <a:cxn ang="0">
                  <a:pos x="136" y="139"/>
                </a:cxn>
                <a:cxn ang="0">
                  <a:pos x="146" y="139"/>
                </a:cxn>
                <a:cxn ang="0">
                  <a:pos x="146" y="129"/>
                </a:cxn>
                <a:cxn ang="0">
                  <a:pos x="146" y="9"/>
                </a:cxn>
                <a:cxn ang="0">
                  <a:pos x="146" y="0"/>
                </a:cxn>
                <a:cxn ang="0">
                  <a:pos x="136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98"/>
                </a:cxn>
                <a:cxn ang="0">
                  <a:pos x="0" y="105"/>
                </a:cxn>
                <a:cxn ang="0">
                  <a:pos x="9" y="105"/>
                </a:cxn>
                <a:cxn ang="0">
                  <a:pos x="107" y="105"/>
                </a:cxn>
                <a:cxn ang="0">
                  <a:pos x="122" y="134"/>
                </a:cxn>
                <a:cxn ang="0">
                  <a:pos x="127" y="139"/>
                </a:cxn>
                <a:cxn ang="0">
                  <a:pos x="9" y="98"/>
                </a:cxn>
                <a:cxn ang="0">
                  <a:pos x="9" y="9"/>
                </a:cxn>
                <a:cxn ang="0">
                  <a:pos x="136" y="9"/>
                </a:cxn>
                <a:cxn ang="0">
                  <a:pos x="136" y="129"/>
                </a:cxn>
                <a:cxn ang="0">
                  <a:pos x="131" y="129"/>
                </a:cxn>
                <a:cxn ang="0">
                  <a:pos x="112" y="98"/>
                </a:cxn>
                <a:cxn ang="0">
                  <a:pos x="9" y="98"/>
                </a:cxn>
              </a:cxnLst>
              <a:rect l="0" t="0" r="r" b="b"/>
              <a:pathLst>
                <a:path w="146" h="139">
                  <a:moveTo>
                    <a:pt x="127" y="139"/>
                  </a:moveTo>
                  <a:lnTo>
                    <a:pt x="131" y="139"/>
                  </a:lnTo>
                  <a:lnTo>
                    <a:pt x="136" y="139"/>
                  </a:lnTo>
                  <a:lnTo>
                    <a:pt x="146" y="139"/>
                  </a:lnTo>
                  <a:lnTo>
                    <a:pt x="146" y="129"/>
                  </a:lnTo>
                  <a:lnTo>
                    <a:pt x="146" y="9"/>
                  </a:lnTo>
                  <a:lnTo>
                    <a:pt x="146" y="0"/>
                  </a:lnTo>
                  <a:lnTo>
                    <a:pt x="136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8"/>
                  </a:lnTo>
                  <a:lnTo>
                    <a:pt x="0" y="105"/>
                  </a:lnTo>
                  <a:lnTo>
                    <a:pt x="9" y="105"/>
                  </a:lnTo>
                  <a:lnTo>
                    <a:pt x="107" y="105"/>
                  </a:lnTo>
                  <a:lnTo>
                    <a:pt x="122" y="134"/>
                  </a:lnTo>
                  <a:lnTo>
                    <a:pt x="127" y="139"/>
                  </a:lnTo>
                  <a:close/>
                  <a:moveTo>
                    <a:pt x="9" y="98"/>
                  </a:moveTo>
                  <a:lnTo>
                    <a:pt x="9" y="9"/>
                  </a:lnTo>
                  <a:lnTo>
                    <a:pt x="136" y="9"/>
                  </a:lnTo>
                  <a:lnTo>
                    <a:pt x="136" y="129"/>
                  </a:lnTo>
                  <a:lnTo>
                    <a:pt x="131" y="129"/>
                  </a:lnTo>
                  <a:lnTo>
                    <a:pt x="112" y="98"/>
                  </a:lnTo>
                  <a:lnTo>
                    <a:pt x="9" y="9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8241" name="Group 113"/>
          <p:cNvGrpSpPr>
            <a:grpSpLocks noChangeAspect="1"/>
          </p:cNvGrpSpPr>
          <p:nvPr/>
        </p:nvGrpSpPr>
        <p:grpSpPr bwMode="auto">
          <a:xfrm>
            <a:off x="5857871" y="1577404"/>
            <a:ext cx="768350" cy="768350"/>
            <a:chOff x="3676" y="963"/>
            <a:chExt cx="484" cy="484"/>
          </a:xfrm>
        </p:grpSpPr>
        <p:sp>
          <p:nvSpPr>
            <p:cNvPr id="48242" name="Freeform 114"/>
            <p:cNvSpPr>
              <a:spLocks noEditPoints="1"/>
            </p:cNvSpPr>
            <p:nvPr/>
          </p:nvSpPr>
          <p:spPr bwMode="auto">
            <a:xfrm>
              <a:off x="3676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43" name="Freeform 115"/>
            <p:cNvSpPr>
              <a:spLocks noEditPoints="1"/>
            </p:cNvSpPr>
            <p:nvPr/>
          </p:nvSpPr>
          <p:spPr bwMode="auto">
            <a:xfrm>
              <a:off x="3890" y="1143"/>
              <a:ext cx="175" cy="182"/>
            </a:xfrm>
            <a:custGeom>
              <a:avLst/>
              <a:gdLst/>
              <a:ahLst/>
              <a:cxnLst>
                <a:cxn ang="0">
                  <a:pos x="49" y="39"/>
                </a:cxn>
                <a:cxn ang="0">
                  <a:pos x="58" y="21"/>
                </a:cxn>
                <a:cxn ang="0">
                  <a:pos x="37" y="0"/>
                </a:cxn>
                <a:cxn ang="0">
                  <a:pos x="15" y="21"/>
                </a:cxn>
                <a:cxn ang="0">
                  <a:pos x="25" y="39"/>
                </a:cxn>
                <a:cxn ang="0">
                  <a:pos x="0" y="67"/>
                </a:cxn>
                <a:cxn ang="0">
                  <a:pos x="0" y="76"/>
                </a:cxn>
                <a:cxn ang="0">
                  <a:pos x="73" y="76"/>
                </a:cxn>
                <a:cxn ang="0">
                  <a:pos x="73" y="67"/>
                </a:cxn>
                <a:cxn ang="0">
                  <a:pos x="49" y="39"/>
                </a:cxn>
                <a:cxn ang="0">
                  <a:pos x="19" y="21"/>
                </a:cxn>
                <a:cxn ang="0">
                  <a:pos x="37" y="3"/>
                </a:cxn>
                <a:cxn ang="0">
                  <a:pos x="55" y="21"/>
                </a:cxn>
                <a:cxn ang="0">
                  <a:pos x="37" y="39"/>
                </a:cxn>
                <a:cxn ang="0">
                  <a:pos x="19" y="21"/>
                </a:cxn>
                <a:cxn ang="0">
                  <a:pos x="70" y="73"/>
                </a:cxn>
                <a:cxn ang="0">
                  <a:pos x="3" y="73"/>
                </a:cxn>
                <a:cxn ang="0">
                  <a:pos x="3" y="67"/>
                </a:cxn>
                <a:cxn ang="0">
                  <a:pos x="25" y="43"/>
                </a:cxn>
                <a:cxn ang="0">
                  <a:pos x="48" y="43"/>
                </a:cxn>
                <a:cxn ang="0">
                  <a:pos x="70" y="67"/>
                </a:cxn>
                <a:cxn ang="0">
                  <a:pos x="70" y="73"/>
                </a:cxn>
              </a:cxnLst>
              <a:rect l="0" t="0" r="r" b="b"/>
              <a:pathLst>
                <a:path w="73" h="76">
                  <a:moveTo>
                    <a:pt x="49" y="39"/>
                  </a:moveTo>
                  <a:cubicBezTo>
                    <a:pt x="54" y="35"/>
                    <a:pt x="58" y="29"/>
                    <a:pt x="58" y="21"/>
                  </a:cubicBezTo>
                  <a:cubicBezTo>
                    <a:pt x="58" y="9"/>
                    <a:pt x="49" y="0"/>
                    <a:pt x="37" y="0"/>
                  </a:cubicBezTo>
                  <a:cubicBezTo>
                    <a:pt x="25" y="0"/>
                    <a:pt x="15" y="9"/>
                    <a:pt x="15" y="21"/>
                  </a:cubicBezTo>
                  <a:cubicBezTo>
                    <a:pt x="15" y="29"/>
                    <a:pt x="19" y="35"/>
                    <a:pt x="25" y="39"/>
                  </a:cubicBezTo>
                  <a:cubicBezTo>
                    <a:pt x="11" y="40"/>
                    <a:pt x="0" y="52"/>
                    <a:pt x="0" y="6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52"/>
                    <a:pt x="62" y="40"/>
                    <a:pt x="49" y="39"/>
                  </a:cubicBezTo>
                  <a:close/>
                  <a:moveTo>
                    <a:pt x="19" y="21"/>
                  </a:moveTo>
                  <a:cubicBezTo>
                    <a:pt x="19" y="11"/>
                    <a:pt x="27" y="3"/>
                    <a:pt x="37" y="3"/>
                  </a:cubicBezTo>
                  <a:cubicBezTo>
                    <a:pt x="47" y="3"/>
                    <a:pt x="55" y="11"/>
                    <a:pt x="55" y="21"/>
                  </a:cubicBezTo>
                  <a:cubicBezTo>
                    <a:pt x="55" y="31"/>
                    <a:pt x="47" y="39"/>
                    <a:pt x="37" y="39"/>
                  </a:cubicBezTo>
                  <a:cubicBezTo>
                    <a:pt x="27" y="39"/>
                    <a:pt x="19" y="31"/>
                    <a:pt x="19" y="21"/>
                  </a:cubicBezTo>
                  <a:close/>
                  <a:moveTo>
                    <a:pt x="70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54"/>
                    <a:pt x="13" y="43"/>
                    <a:pt x="25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60" y="43"/>
                    <a:pt x="70" y="54"/>
                    <a:pt x="70" y="67"/>
                  </a:cubicBezTo>
                  <a:lnTo>
                    <a:pt x="70" y="7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44" name="Freeform 116"/>
            <p:cNvSpPr>
              <a:spLocks noEditPoints="1"/>
            </p:cNvSpPr>
            <p:nvPr/>
          </p:nvSpPr>
          <p:spPr bwMode="auto">
            <a:xfrm>
              <a:off x="3767" y="1086"/>
              <a:ext cx="147" cy="139"/>
            </a:xfrm>
            <a:custGeom>
              <a:avLst/>
              <a:gdLst/>
              <a:ahLst/>
              <a:cxnLst>
                <a:cxn ang="0">
                  <a:pos x="127" y="139"/>
                </a:cxn>
                <a:cxn ang="0">
                  <a:pos x="132" y="139"/>
                </a:cxn>
                <a:cxn ang="0">
                  <a:pos x="137" y="139"/>
                </a:cxn>
                <a:cxn ang="0">
                  <a:pos x="147" y="139"/>
                </a:cxn>
                <a:cxn ang="0">
                  <a:pos x="147" y="129"/>
                </a:cxn>
                <a:cxn ang="0">
                  <a:pos x="147" y="9"/>
                </a:cxn>
                <a:cxn ang="0">
                  <a:pos x="147" y="0"/>
                </a:cxn>
                <a:cxn ang="0">
                  <a:pos x="137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98"/>
                </a:cxn>
                <a:cxn ang="0">
                  <a:pos x="0" y="105"/>
                </a:cxn>
                <a:cxn ang="0">
                  <a:pos x="10" y="105"/>
                </a:cxn>
                <a:cxn ang="0">
                  <a:pos x="108" y="105"/>
                </a:cxn>
                <a:cxn ang="0">
                  <a:pos x="123" y="134"/>
                </a:cxn>
                <a:cxn ang="0">
                  <a:pos x="127" y="139"/>
                </a:cxn>
                <a:cxn ang="0">
                  <a:pos x="10" y="98"/>
                </a:cxn>
                <a:cxn ang="0">
                  <a:pos x="10" y="9"/>
                </a:cxn>
                <a:cxn ang="0">
                  <a:pos x="137" y="9"/>
                </a:cxn>
                <a:cxn ang="0">
                  <a:pos x="137" y="129"/>
                </a:cxn>
                <a:cxn ang="0">
                  <a:pos x="132" y="129"/>
                </a:cxn>
                <a:cxn ang="0">
                  <a:pos x="113" y="98"/>
                </a:cxn>
                <a:cxn ang="0">
                  <a:pos x="10" y="98"/>
                </a:cxn>
              </a:cxnLst>
              <a:rect l="0" t="0" r="r" b="b"/>
              <a:pathLst>
                <a:path w="147" h="139">
                  <a:moveTo>
                    <a:pt x="127" y="139"/>
                  </a:moveTo>
                  <a:lnTo>
                    <a:pt x="132" y="139"/>
                  </a:lnTo>
                  <a:lnTo>
                    <a:pt x="137" y="139"/>
                  </a:lnTo>
                  <a:lnTo>
                    <a:pt x="147" y="139"/>
                  </a:lnTo>
                  <a:lnTo>
                    <a:pt x="147" y="129"/>
                  </a:lnTo>
                  <a:lnTo>
                    <a:pt x="147" y="9"/>
                  </a:lnTo>
                  <a:lnTo>
                    <a:pt x="147" y="0"/>
                  </a:lnTo>
                  <a:lnTo>
                    <a:pt x="137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8"/>
                  </a:lnTo>
                  <a:lnTo>
                    <a:pt x="0" y="105"/>
                  </a:lnTo>
                  <a:lnTo>
                    <a:pt x="10" y="105"/>
                  </a:lnTo>
                  <a:lnTo>
                    <a:pt x="108" y="105"/>
                  </a:lnTo>
                  <a:lnTo>
                    <a:pt x="123" y="134"/>
                  </a:lnTo>
                  <a:lnTo>
                    <a:pt x="127" y="139"/>
                  </a:lnTo>
                  <a:close/>
                  <a:moveTo>
                    <a:pt x="10" y="98"/>
                  </a:moveTo>
                  <a:lnTo>
                    <a:pt x="10" y="9"/>
                  </a:lnTo>
                  <a:lnTo>
                    <a:pt x="137" y="9"/>
                  </a:lnTo>
                  <a:lnTo>
                    <a:pt x="137" y="129"/>
                  </a:lnTo>
                  <a:lnTo>
                    <a:pt x="132" y="129"/>
                  </a:lnTo>
                  <a:lnTo>
                    <a:pt x="113" y="98"/>
                  </a:lnTo>
                  <a:lnTo>
                    <a:pt x="10" y="9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248" name="Oval 120"/>
          <p:cNvSpPr>
            <a:spLocks noChangeArrowheads="1"/>
          </p:cNvSpPr>
          <p:nvPr/>
        </p:nvSpPr>
        <p:spPr bwMode="auto">
          <a:xfrm>
            <a:off x="6904037" y="1540890"/>
            <a:ext cx="847725" cy="846138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87" name="Group 286"/>
          <p:cNvGrpSpPr/>
          <p:nvPr/>
        </p:nvGrpSpPr>
        <p:grpSpPr>
          <a:xfrm>
            <a:off x="6929437" y="1567878"/>
            <a:ext cx="795338" cy="793750"/>
            <a:chOff x="6929437" y="1567878"/>
            <a:chExt cx="795338" cy="793750"/>
          </a:xfrm>
        </p:grpSpPr>
        <p:sp>
          <p:nvSpPr>
            <p:cNvPr id="48249" name="Freeform 121"/>
            <p:cNvSpPr>
              <a:spLocks noEditPoints="1"/>
            </p:cNvSpPr>
            <p:nvPr/>
          </p:nvSpPr>
          <p:spPr bwMode="auto">
            <a:xfrm>
              <a:off x="7092950" y="1696465"/>
              <a:ext cx="468313" cy="520700"/>
            </a:xfrm>
            <a:custGeom>
              <a:avLst/>
              <a:gdLst/>
              <a:ahLst/>
              <a:cxnLst>
                <a:cxn ang="0">
                  <a:pos x="113" y="33"/>
                </a:cxn>
                <a:cxn ang="0">
                  <a:pos x="89" y="20"/>
                </a:cxn>
                <a:cxn ang="0">
                  <a:pos x="76" y="22"/>
                </a:cxn>
                <a:cxn ang="0">
                  <a:pos x="81" y="10"/>
                </a:cxn>
                <a:cxn ang="0">
                  <a:pos x="81" y="8"/>
                </a:cxn>
                <a:cxn ang="0">
                  <a:pos x="79" y="8"/>
                </a:cxn>
                <a:cxn ang="0">
                  <a:pos x="78" y="8"/>
                </a:cxn>
                <a:cxn ang="0">
                  <a:pos x="62" y="17"/>
                </a:cxn>
                <a:cxn ang="0">
                  <a:pos x="70" y="3"/>
                </a:cxn>
                <a:cxn ang="0">
                  <a:pos x="72" y="1"/>
                </a:cxn>
                <a:cxn ang="0">
                  <a:pos x="69" y="0"/>
                </a:cxn>
                <a:cxn ang="0">
                  <a:pos x="59" y="26"/>
                </a:cxn>
                <a:cxn ang="0">
                  <a:pos x="35" y="20"/>
                </a:cxn>
                <a:cxn ang="0">
                  <a:pos x="10" y="33"/>
                </a:cxn>
                <a:cxn ang="0">
                  <a:pos x="2" y="57"/>
                </a:cxn>
                <a:cxn ang="0">
                  <a:pos x="20" y="125"/>
                </a:cxn>
                <a:cxn ang="0">
                  <a:pos x="43" y="137"/>
                </a:cxn>
                <a:cxn ang="0">
                  <a:pos x="62" y="132"/>
                </a:cxn>
                <a:cxn ang="0">
                  <a:pos x="80" y="137"/>
                </a:cxn>
                <a:cxn ang="0">
                  <a:pos x="103" y="125"/>
                </a:cxn>
                <a:cxn ang="0">
                  <a:pos x="121" y="57"/>
                </a:cxn>
                <a:cxn ang="0">
                  <a:pos x="113" y="33"/>
                </a:cxn>
                <a:cxn ang="0">
                  <a:pos x="77" y="11"/>
                </a:cxn>
                <a:cxn ang="0">
                  <a:pos x="64" y="25"/>
                </a:cxn>
                <a:cxn ang="0">
                  <a:pos x="77" y="11"/>
                </a:cxn>
                <a:cxn ang="0">
                  <a:pos x="100" y="123"/>
                </a:cxn>
                <a:cxn ang="0">
                  <a:pos x="80" y="133"/>
                </a:cxn>
                <a:cxn ang="0">
                  <a:pos x="63" y="128"/>
                </a:cxn>
                <a:cxn ang="0">
                  <a:pos x="62" y="128"/>
                </a:cxn>
                <a:cxn ang="0">
                  <a:pos x="61" y="128"/>
                </a:cxn>
                <a:cxn ang="0">
                  <a:pos x="43" y="133"/>
                </a:cxn>
                <a:cxn ang="0">
                  <a:pos x="23" y="123"/>
                </a:cxn>
                <a:cxn ang="0">
                  <a:pos x="6" y="58"/>
                </a:cxn>
                <a:cxn ang="0">
                  <a:pos x="13" y="36"/>
                </a:cxn>
                <a:cxn ang="0">
                  <a:pos x="13" y="35"/>
                </a:cxn>
                <a:cxn ang="0">
                  <a:pos x="35" y="23"/>
                </a:cxn>
                <a:cxn ang="0">
                  <a:pos x="61" y="31"/>
                </a:cxn>
                <a:cxn ang="0">
                  <a:pos x="61" y="31"/>
                </a:cxn>
                <a:cxn ang="0">
                  <a:pos x="61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3" y="31"/>
                </a:cxn>
                <a:cxn ang="0">
                  <a:pos x="63" y="31"/>
                </a:cxn>
                <a:cxn ang="0">
                  <a:pos x="89" y="23"/>
                </a:cxn>
                <a:cxn ang="0">
                  <a:pos x="110" y="35"/>
                </a:cxn>
                <a:cxn ang="0">
                  <a:pos x="110" y="36"/>
                </a:cxn>
                <a:cxn ang="0">
                  <a:pos x="118" y="58"/>
                </a:cxn>
                <a:cxn ang="0">
                  <a:pos x="100" y="123"/>
                </a:cxn>
              </a:cxnLst>
              <a:rect l="0" t="0" r="r" b="b"/>
              <a:pathLst>
                <a:path w="123" h="137">
                  <a:moveTo>
                    <a:pt x="113" y="33"/>
                  </a:moveTo>
                  <a:cubicBezTo>
                    <a:pt x="108" y="24"/>
                    <a:pt x="100" y="20"/>
                    <a:pt x="89" y="20"/>
                  </a:cubicBezTo>
                  <a:cubicBezTo>
                    <a:pt x="84" y="20"/>
                    <a:pt x="80" y="21"/>
                    <a:pt x="76" y="22"/>
                  </a:cubicBezTo>
                  <a:cubicBezTo>
                    <a:pt x="78" y="19"/>
                    <a:pt x="80" y="15"/>
                    <a:pt x="81" y="10"/>
                  </a:cubicBezTo>
                  <a:cubicBezTo>
                    <a:pt x="81" y="9"/>
                    <a:pt x="81" y="9"/>
                    <a:pt x="81" y="8"/>
                  </a:cubicBezTo>
                  <a:cubicBezTo>
                    <a:pt x="80" y="8"/>
                    <a:pt x="80" y="8"/>
                    <a:pt x="79" y="8"/>
                  </a:cubicBezTo>
                  <a:cubicBezTo>
                    <a:pt x="79" y="8"/>
                    <a:pt x="79" y="8"/>
                    <a:pt x="78" y="8"/>
                  </a:cubicBezTo>
                  <a:cubicBezTo>
                    <a:pt x="76" y="8"/>
                    <a:pt x="67" y="8"/>
                    <a:pt x="62" y="17"/>
                  </a:cubicBezTo>
                  <a:cubicBezTo>
                    <a:pt x="63" y="6"/>
                    <a:pt x="70" y="4"/>
                    <a:pt x="70" y="3"/>
                  </a:cubicBezTo>
                  <a:cubicBezTo>
                    <a:pt x="71" y="3"/>
                    <a:pt x="72" y="2"/>
                    <a:pt x="72" y="1"/>
                  </a:cubicBezTo>
                  <a:cubicBezTo>
                    <a:pt x="71" y="0"/>
                    <a:pt x="70" y="0"/>
                    <a:pt x="69" y="0"/>
                  </a:cubicBezTo>
                  <a:cubicBezTo>
                    <a:pt x="69" y="0"/>
                    <a:pt x="56" y="5"/>
                    <a:pt x="59" y="26"/>
                  </a:cubicBezTo>
                  <a:cubicBezTo>
                    <a:pt x="54" y="23"/>
                    <a:pt x="45" y="20"/>
                    <a:pt x="35" y="20"/>
                  </a:cubicBezTo>
                  <a:cubicBezTo>
                    <a:pt x="24" y="20"/>
                    <a:pt x="16" y="24"/>
                    <a:pt x="10" y="33"/>
                  </a:cubicBezTo>
                  <a:cubicBezTo>
                    <a:pt x="9" y="35"/>
                    <a:pt x="4" y="43"/>
                    <a:pt x="2" y="57"/>
                  </a:cubicBezTo>
                  <a:cubicBezTo>
                    <a:pt x="0" y="71"/>
                    <a:pt x="2" y="94"/>
                    <a:pt x="20" y="125"/>
                  </a:cubicBezTo>
                  <a:cubicBezTo>
                    <a:pt x="20" y="125"/>
                    <a:pt x="28" y="137"/>
                    <a:pt x="43" y="137"/>
                  </a:cubicBezTo>
                  <a:cubicBezTo>
                    <a:pt x="49" y="137"/>
                    <a:pt x="55" y="135"/>
                    <a:pt x="62" y="132"/>
                  </a:cubicBezTo>
                  <a:cubicBezTo>
                    <a:pt x="68" y="135"/>
                    <a:pt x="74" y="137"/>
                    <a:pt x="80" y="137"/>
                  </a:cubicBezTo>
                  <a:cubicBezTo>
                    <a:pt x="96" y="137"/>
                    <a:pt x="103" y="125"/>
                    <a:pt x="103" y="125"/>
                  </a:cubicBezTo>
                  <a:cubicBezTo>
                    <a:pt x="121" y="94"/>
                    <a:pt x="123" y="71"/>
                    <a:pt x="121" y="57"/>
                  </a:cubicBezTo>
                  <a:cubicBezTo>
                    <a:pt x="120" y="43"/>
                    <a:pt x="114" y="35"/>
                    <a:pt x="113" y="33"/>
                  </a:cubicBezTo>
                  <a:close/>
                  <a:moveTo>
                    <a:pt x="77" y="11"/>
                  </a:moveTo>
                  <a:cubicBezTo>
                    <a:pt x="75" y="21"/>
                    <a:pt x="68" y="24"/>
                    <a:pt x="64" y="25"/>
                  </a:cubicBezTo>
                  <a:cubicBezTo>
                    <a:pt x="65" y="14"/>
                    <a:pt x="73" y="12"/>
                    <a:pt x="77" y="11"/>
                  </a:cubicBezTo>
                  <a:close/>
                  <a:moveTo>
                    <a:pt x="100" y="123"/>
                  </a:moveTo>
                  <a:cubicBezTo>
                    <a:pt x="100" y="123"/>
                    <a:pt x="94" y="133"/>
                    <a:pt x="80" y="133"/>
                  </a:cubicBezTo>
                  <a:cubicBezTo>
                    <a:pt x="75" y="133"/>
                    <a:pt x="69" y="132"/>
                    <a:pt x="63" y="128"/>
                  </a:cubicBezTo>
                  <a:cubicBezTo>
                    <a:pt x="62" y="128"/>
                    <a:pt x="62" y="128"/>
                    <a:pt x="62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55" y="132"/>
                    <a:pt x="49" y="133"/>
                    <a:pt x="43" y="133"/>
                  </a:cubicBezTo>
                  <a:cubicBezTo>
                    <a:pt x="30" y="133"/>
                    <a:pt x="23" y="124"/>
                    <a:pt x="23" y="123"/>
                  </a:cubicBezTo>
                  <a:cubicBezTo>
                    <a:pt x="6" y="93"/>
                    <a:pt x="4" y="71"/>
                    <a:pt x="6" y="58"/>
                  </a:cubicBezTo>
                  <a:cubicBezTo>
                    <a:pt x="7" y="44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8" y="27"/>
                    <a:pt x="25" y="23"/>
                    <a:pt x="35" y="23"/>
                  </a:cubicBezTo>
                  <a:cubicBezTo>
                    <a:pt x="47" y="23"/>
                    <a:pt x="59" y="30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5" y="30"/>
                    <a:pt x="77" y="23"/>
                    <a:pt x="89" y="23"/>
                  </a:cubicBezTo>
                  <a:cubicBezTo>
                    <a:pt x="98" y="23"/>
                    <a:pt x="105" y="27"/>
                    <a:pt x="110" y="35"/>
                  </a:cubicBezTo>
                  <a:cubicBezTo>
                    <a:pt x="110" y="35"/>
                    <a:pt x="110" y="36"/>
                    <a:pt x="110" y="36"/>
                  </a:cubicBezTo>
                  <a:cubicBezTo>
                    <a:pt x="111" y="36"/>
                    <a:pt x="116" y="44"/>
                    <a:pt x="118" y="58"/>
                  </a:cubicBezTo>
                  <a:cubicBezTo>
                    <a:pt x="119" y="71"/>
                    <a:pt x="118" y="93"/>
                    <a:pt x="100" y="12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50" name="Freeform 122"/>
            <p:cNvSpPr>
              <a:spLocks noEditPoints="1"/>
            </p:cNvSpPr>
            <p:nvPr/>
          </p:nvSpPr>
          <p:spPr bwMode="auto">
            <a:xfrm>
              <a:off x="6929437" y="1567878"/>
              <a:ext cx="795338" cy="793750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0" y="105"/>
                </a:cxn>
                <a:cxn ang="0">
                  <a:pos x="105" y="209"/>
                </a:cxn>
                <a:cxn ang="0">
                  <a:pos x="209" y="105"/>
                </a:cxn>
                <a:cxn ang="0">
                  <a:pos x="105" y="0"/>
                </a:cxn>
                <a:cxn ang="0">
                  <a:pos x="105" y="204"/>
                </a:cxn>
                <a:cxn ang="0">
                  <a:pos x="5" y="105"/>
                </a:cxn>
                <a:cxn ang="0">
                  <a:pos x="105" y="5"/>
                </a:cxn>
                <a:cxn ang="0">
                  <a:pos x="204" y="105"/>
                </a:cxn>
                <a:cxn ang="0">
                  <a:pos x="105" y="204"/>
                </a:cxn>
              </a:cxnLst>
              <a:rect l="0" t="0" r="r" b="b"/>
              <a:pathLst>
                <a:path w="209" h="209">
                  <a:moveTo>
                    <a:pt x="105" y="0"/>
                  </a:moveTo>
                  <a:cubicBezTo>
                    <a:pt x="47" y="0"/>
                    <a:pt x="0" y="47"/>
                    <a:pt x="0" y="105"/>
                  </a:cubicBezTo>
                  <a:cubicBezTo>
                    <a:pt x="0" y="162"/>
                    <a:pt x="47" y="209"/>
                    <a:pt x="105" y="209"/>
                  </a:cubicBezTo>
                  <a:cubicBezTo>
                    <a:pt x="162" y="209"/>
                    <a:pt x="209" y="162"/>
                    <a:pt x="209" y="105"/>
                  </a:cubicBezTo>
                  <a:cubicBezTo>
                    <a:pt x="209" y="47"/>
                    <a:pt x="162" y="0"/>
                    <a:pt x="105" y="0"/>
                  </a:cubicBezTo>
                  <a:close/>
                  <a:moveTo>
                    <a:pt x="105" y="204"/>
                  </a:moveTo>
                  <a:cubicBezTo>
                    <a:pt x="50" y="204"/>
                    <a:pt x="5" y="159"/>
                    <a:pt x="5" y="105"/>
                  </a:cubicBezTo>
                  <a:cubicBezTo>
                    <a:pt x="5" y="50"/>
                    <a:pt x="50" y="5"/>
                    <a:pt x="105" y="5"/>
                  </a:cubicBezTo>
                  <a:cubicBezTo>
                    <a:pt x="159" y="5"/>
                    <a:pt x="204" y="50"/>
                    <a:pt x="204" y="105"/>
                  </a:cubicBezTo>
                  <a:cubicBezTo>
                    <a:pt x="204" y="159"/>
                    <a:pt x="159" y="204"/>
                    <a:pt x="105" y="20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Group 279"/>
          <p:cNvGrpSpPr/>
          <p:nvPr/>
        </p:nvGrpSpPr>
        <p:grpSpPr>
          <a:xfrm>
            <a:off x="8027988" y="1566290"/>
            <a:ext cx="793750" cy="795338"/>
            <a:chOff x="8027988" y="1566290"/>
            <a:chExt cx="793750" cy="795338"/>
          </a:xfrm>
        </p:grpSpPr>
        <p:sp>
          <p:nvSpPr>
            <p:cNvPr id="48254" name="Freeform 126"/>
            <p:cNvSpPr>
              <a:spLocks noEditPoints="1"/>
            </p:cNvSpPr>
            <p:nvPr/>
          </p:nvSpPr>
          <p:spPr bwMode="auto">
            <a:xfrm>
              <a:off x="8191500" y="1696465"/>
              <a:ext cx="468312" cy="520700"/>
            </a:xfrm>
            <a:custGeom>
              <a:avLst/>
              <a:gdLst/>
              <a:ahLst/>
              <a:cxnLst>
                <a:cxn ang="0">
                  <a:pos x="113" y="33"/>
                </a:cxn>
                <a:cxn ang="0">
                  <a:pos x="89" y="20"/>
                </a:cxn>
                <a:cxn ang="0">
                  <a:pos x="76" y="22"/>
                </a:cxn>
                <a:cxn ang="0">
                  <a:pos x="81" y="10"/>
                </a:cxn>
                <a:cxn ang="0">
                  <a:pos x="81" y="8"/>
                </a:cxn>
                <a:cxn ang="0">
                  <a:pos x="79" y="8"/>
                </a:cxn>
                <a:cxn ang="0">
                  <a:pos x="78" y="8"/>
                </a:cxn>
                <a:cxn ang="0">
                  <a:pos x="62" y="17"/>
                </a:cxn>
                <a:cxn ang="0">
                  <a:pos x="70" y="3"/>
                </a:cxn>
                <a:cxn ang="0">
                  <a:pos x="72" y="1"/>
                </a:cxn>
                <a:cxn ang="0">
                  <a:pos x="69" y="0"/>
                </a:cxn>
                <a:cxn ang="0">
                  <a:pos x="59" y="26"/>
                </a:cxn>
                <a:cxn ang="0">
                  <a:pos x="35" y="20"/>
                </a:cxn>
                <a:cxn ang="0">
                  <a:pos x="10" y="33"/>
                </a:cxn>
                <a:cxn ang="0">
                  <a:pos x="2" y="57"/>
                </a:cxn>
                <a:cxn ang="0">
                  <a:pos x="20" y="125"/>
                </a:cxn>
                <a:cxn ang="0">
                  <a:pos x="43" y="137"/>
                </a:cxn>
                <a:cxn ang="0">
                  <a:pos x="62" y="132"/>
                </a:cxn>
                <a:cxn ang="0">
                  <a:pos x="80" y="137"/>
                </a:cxn>
                <a:cxn ang="0">
                  <a:pos x="103" y="125"/>
                </a:cxn>
                <a:cxn ang="0">
                  <a:pos x="121" y="57"/>
                </a:cxn>
                <a:cxn ang="0">
                  <a:pos x="113" y="33"/>
                </a:cxn>
                <a:cxn ang="0">
                  <a:pos x="77" y="11"/>
                </a:cxn>
                <a:cxn ang="0">
                  <a:pos x="64" y="25"/>
                </a:cxn>
                <a:cxn ang="0">
                  <a:pos x="77" y="11"/>
                </a:cxn>
                <a:cxn ang="0">
                  <a:pos x="100" y="123"/>
                </a:cxn>
                <a:cxn ang="0">
                  <a:pos x="80" y="133"/>
                </a:cxn>
                <a:cxn ang="0">
                  <a:pos x="63" y="128"/>
                </a:cxn>
                <a:cxn ang="0">
                  <a:pos x="62" y="128"/>
                </a:cxn>
                <a:cxn ang="0">
                  <a:pos x="61" y="128"/>
                </a:cxn>
                <a:cxn ang="0">
                  <a:pos x="43" y="133"/>
                </a:cxn>
                <a:cxn ang="0">
                  <a:pos x="23" y="123"/>
                </a:cxn>
                <a:cxn ang="0">
                  <a:pos x="6" y="58"/>
                </a:cxn>
                <a:cxn ang="0">
                  <a:pos x="13" y="36"/>
                </a:cxn>
                <a:cxn ang="0">
                  <a:pos x="13" y="35"/>
                </a:cxn>
                <a:cxn ang="0">
                  <a:pos x="35" y="23"/>
                </a:cxn>
                <a:cxn ang="0">
                  <a:pos x="61" y="31"/>
                </a:cxn>
                <a:cxn ang="0">
                  <a:pos x="61" y="31"/>
                </a:cxn>
                <a:cxn ang="0">
                  <a:pos x="61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2" y="31"/>
                </a:cxn>
                <a:cxn ang="0">
                  <a:pos x="63" y="31"/>
                </a:cxn>
                <a:cxn ang="0">
                  <a:pos x="63" y="31"/>
                </a:cxn>
                <a:cxn ang="0">
                  <a:pos x="89" y="23"/>
                </a:cxn>
                <a:cxn ang="0">
                  <a:pos x="110" y="35"/>
                </a:cxn>
                <a:cxn ang="0">
                  <a:pos x="110" y="36"/>
                </a:cxn>
                <a:cxn ang="0">
                  <a:pos x="118" y="58"/>
                </a:cxn>
                <a:cxn ang="0">
                  <a:pos x="100" y="123"/>
                </a:cxn>
              </a:cxnLst>
              <a:rect l="0" t="0" r="r" b="b"/>
              <a:pathLst>
                <a:path w="123" h="137">
                  <a:moveTo>
                    <a:pt x="113" y="33"/>
                  </a:moveTo>
                  <a:cubicBezTo>
                    <a:pt x="108" y="24"/>
                    <a:pt x="100" y="20"/>
                    <a:pt x="89" y="20"/>
                  </a:cubicBezTo>
                  <a:cubicBezTo>
                    <a:pt x="84" y="20"/>
                    <a:pt x="80" y="21"/>
                    <a:pt x="76" y="22"/>
                  </a:cubicBezTo>
                  <a:cubicBezTo>
                    <a:pt x="78" y="19"/>
                    <a:pt x="80" y="15"/>
                    <a:pt x="81" y="10"/>
                  </a:cubicBezTo>
                  <a:cubicBezTo>
                    <a:pt x="81" y="9"/>
                    <a:pt x="81" y="9"/>
                    <a:pt x="81" y="8"/>
                  </a:cubicBezTo>
                  <a:cubicBezTo>
                    <a:pt x="80" y="8"/>
                    <a:pt x="80" y="8"/>
                    <a:pt x="79" y="8"/>
                  </a:cubicBezTo>
                  <a:cubicBezTo>
                    <a:pt x="79" y="8"/>
                    <a:pt x="79" y="8"/>
                    <a:pt x="78" y="8"/>
                  </a:cubicBezTo>
                  <a:cubicBezTo>
                    <a:pt x="76" y="8"/>
                    <a:pt x="67" y="8"/>
                    <a:pt x="62" y="17"/>
                  </a:cubicBezTo>
                  <a:cubicBezTo>
                    <a:pt x="63" y="6"/>
                    <a:pt x="70" y="4"/>
                    <a:pt x="70" y="3"/>
                  </a:cubicBezTo>
                  <a:cubicBezTo>
                    <a:pt x="71" y="3"/>
                    <a:pt x="72" y="2"/>
                    <a:pt x="72" y="1"/>
                  </a:cubicBezTo>
                  <a:cubicBezTo>
                    <a:pt x="71" y="0"/>
                    <a:pt x="70" y="0"/>
                    <a:pt x="69" y="0"/>
                  </a:cubicBezTo>
                  <a:cubicBezTo>
                    <a:pt x="69" y="0"/>
                    <a:pt x="56" y="5"/>
                    <a:pt x="59" y="26"/>
                  </a:cubicBezTo>
                  <a:cubicBezTo>
                    <a:pt x="54" y="23"/>
                    <a:pt x="45" y="20"/>
                    <a:pt x="35" y="20"/>
                  </a:cubicBezTo>
                  <a:cubicBezTo>
                    <a:pt x="24" y="20"/>
                    <a:pt x="16" y="24"/>
                    <a:pt x="10" y="33"/>
                  </a:cubicBezTo>
                  <a:cubicBezTo>
                    <a:pt x="9" y="35"/>
                    <a:pt x="4" y="43"/>
                    <a:pt x="2" y="57"/>
                  </a:cubicBezTo>
                  <a:cubicBezTo>
                    <a:pt x="0" y="71"/>
                    <a:pt x="2" y="94"/>
                    <a:pt x="20" y="125"/>
                  </a:cubicBezTo>
                  <a:cubicBezTo>
                    <a:pt x="20" y="125"/>
                    <a:pt x="28" y="137"/>
                    <a:pt x="43" y="137"/>
                  </a:cubicBezTo>
                  <a:cubicBezTo>
                    <a:pt x="49" y="137"/>
                    <a:pt x="55" y="135"/>
                    <a:pt x="62" y="132"/>
                  </a:cubicBezTo>
                  <a:cubicBezTo>
                    <a:pt x="68" y="135"/>
                    <a:pt x="74" y="137"/>
                    <a:pt x="80" y="137"/>
                  </a:cubicBezTo>
                  <a:cubicBezTo>
                    <a:pt x="96" y="137"/>
                    <a:pt x="103" y="125"/>
                    <a:pt x="103" y="125"/>
                  </a:cubicBezTo>
                  <a:cubicBezTo>
                    <a:pt x="121" y="94"/>
                    <a:pt x="123" y="71"/>
                    <a:pt x="121" y="57"/>
                  </a:cubicBezTo>
                  <a:cubicBezTo>
                    <a:pt x="120" y="43"/>
                    <a:pt x="114" y="35"/>
                    <a:pt x="113" y="33"/>
                  </a:cubicBezTo>
                  <a:close/>
                  <a:moveTo>
                    <a:pt x="77" y="11"/>
                  </a:moveTo>
                  <a:cubicBezTo>
                    <a:pt x="75" y="21"/>
                    <a:pt x="68" y="24"/>
                    <a:pt x="64" y="25"/>
                  </a:cubicBezTo>
                  <a:cubicBezTo>
                    <a:pt x="65" y="14"/>
                    <a:pt x="73" y="12"/>
                    <a:pt x="77" y="11"/>
                  </a:cubicBezTo>
                  <a:close/>
                  <a:moveTo>
                    <a:pt x="100" y="123"/>
                  </a:moveTo>
                  <a:cubicBezTo>
                    <a:pt x="100" y="123"/>
                    <a:pt x="94" y="133"/>
                    <a:pt x="80" y="133"/>
                  </a:cubicBezTo>
                  <a:cubicBezTo>
                    <a:pt x="75" y="133"/>
                    <a:pt x="69" y="132"/>
                    <a:pt x="63" y="128"/>
                  </a:cubicBezTo>
                  <a:cubicBezTo>
                    <a:pt x="62" y="128"/>
                    <a:pt x="62" y="128"/>
                    <a:pt x="62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55" y="132"/>
                    <a:pt x="49" y="133"/>
                    <a:pt x="43" y="133"/>
                  </a:cubicBezTo>
                  <a:cubicBezTo>
                    <a:pt x="30" y="133"/>
                    <a:pt x="23" y="124"/>
                    <a:pt x="23" y="123"/>
                  </a:cubicBezTo>
                  <a:cubicBezTo>
                    <a:pt x="6" y="93"/>
                    <a:pt x="4" y="71"/>
                    <a:pt x="6" y="58"/>
                  </a:cubicBezTo>
                  <a:cubicBezTo>
                    <a:pt x="7" y="44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8" y="27"/>
                    <a:pt x="25" y="23"/>
                    <a:pt x="35" y="23"/>
                  </a:cubicBezTo>
                  <a:cubicBezTo>
                    <a:pt x="47" y="23"/>
                    <a:pt x="59" y="30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5" y="30"/>
                    <a:pt x="77" y="23"/>
                    <a:pt x="89" y="23"/>
                  </a:cubicBezTo>
                  <a:cubicBezTo>
                    <a:pt x="98" y="23"/>
                    <a:pt x="105" y="27"/>
                    <a:pt x="110" y="35"/>
                  </a:cubicBezTo>
                  <a:cubicBezTo>
                    <a:pt x="110" y="35"/>
                    <a:pt x="110" y="36"/>
                    <a:pt x="110" y="36"/>
                  </a:cubicBezTo>
                  <a:cubicBezTo>
                    <a:pt x="111" y="36"/>
                    <a:pt x="116" y="44"/>
                    <a:pt x="118" y="58"/>
                  </a:cubicBezTo>
                  <a:cubicBezTo>
                    <a:pt x="119" y="71"/>
                    <a:pt x="118" y="93"/>
                    <a:pt x="100" y="12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55" name="Freeform 127"/>
            <p:cNvSpPr>
              <a:spLocks noEditPoints="1"/>
            </p:cNvSpPr>
            <p:nvPr/>
          </p:nvSpPr>
          <p:spPr bwMode="auto">
            <a:xfrm>
              <a:off x="8027988" y="1566290"/>
              <a:ext cx="793750" cy="795338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0" y="105"/>
                </a:cxn>
                <a:cxn ang="0">
                  <a:pos x="105" y="209"/>
                </a:cxn>
                <a:cxn ang="0">
                  <a:pos x="209" y="105"/>
                </a:cxn>
                <a:cxn ang="0">
                  <a:pos x="105" y="0"/>
                </a:cxn>
                <a:cxn ang="0">
                  <a:pos x="105" y="204"/>
                </a:cxn>
                <a:cxn ang="0">
                  <a:pos x="5" y="105"/>
                </a:cxn>
                <a:cxn ang="0">
                  <a:pos x="105" y="5"/>
                </a:cxn>
                <a:cxn ang="0">
                  <a:pos x="204" y="105"/>
                </a:cxn>
                <a:cxn ang="0">
                  <a:pos x="105" y="204"/>
                </a:cxn>
              </a:cxnLst>
              <a:rect l="0" t="0" r="r" b="b"/>
              <a:pathLst>
                <a:path w="209" h="209">
                  <a:moveTo>
                    <a:pt x="105" y="0"/>
                  </a:moveTo>
                  <a:cubicBezTo>
                    <a:pt x="47" y="0"/>
                    <a:pt x="0" y="47"/>
                    <a:pt x="0" y="105"/>
                  </a:cubicBezTo>
                  <a:cubicBezTo>
                    <a:pt x="0" y="162"/>
                    <a:pt x="47" y="209"/>
                    <a:pt x="105" y="209"/>
                  </a:cubicBezTo>
                  <a:cubicBezTo>
                    <a:pt x="162" y="209"/>
                    <a:pt x="209" y="162"/>
                    <a:pt x="209" y="105"/>
                  </a:cubicBezTo>
                  <a:cubicBezTo>
                    <a:pt x="209" y="47"/>
                    <a:pt x="162" y="0"/>
                    <a:pt x="105" y="0"/>
                  </a:cubicBezTo>
                  <a:close/>
                  <a:moveTo>
                    <a:pt x="105" y="204"/>
                  </a:moveTo>
                  <a:cubicBezTo>
                    <a:pt x="50" y="204"/>
                    <a:pt x="5" y="159"/>
                    <a:pt x="5" y="105"/>
                  </a:cubicBezTo>
                  <a:cubicBezTo>
                    <a:pt x="5" y="50"/>
                    <a:pt x="50" y="5"/>
                    <a:pt x="105" y="5"/>
                  </a:cubicBezTo>
                  <a:cubicBezTo>
                    <a:pt x="159" y="5"/>
                    <a:pt x="204" y="50"/>
                    <a:pt x="204" y="105"/>
                  </a:cubicBezTo>
                  <a:cubicBezTo>
                    <a:pt x="204" y="159"/>
                    <a:pt x="159" y="204"/>
                    <a:pt x="105" y="20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258" name="Group 130"/>
          <p:cNvGrpSpPr>
            <a:grpSpLocks noChangeAspect="1"/>
          </p:cNvGrpSpPr>
          <p:nvPr/>
        </p:nvGrpSpPr>
        <p:grpSpPr bwMode="auto">
          <a:xfrm>
            <a:off x="350046" y="2757491"/>
            <a:ext cx="827086" cy="827088"/>
            <a:chOff x="213" y="1737"/>
            <a:chExt cx="521" cy="521"/>
          </a:xfrm>
        </p:grpSpPr>
        <p:sp>
          <p:nvSpPr>
            <p:cNvPr id="48259" name="Oval 131"/>
            <p:cNvSpPr>
              <a:spLocks noChangeArrowheads="1"/>
            </p:cNvSpPr>
            <p:nvPr/>
          </p:nvSpPr>
          <p:spPr bwMode="auto">
            <a:xfrm>
              <a:off x="213" y="1737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60" name="Freeform 132"/>
            <p:cNvSpPr>
              <a:spLocks noEditPoints="1"/>
            </p:cNvSpPr>
            <p:nvPr/>
          </p:nvSpPr>
          <p:spPr bwMode="auto">
            <a:xfrm>
              <a:off x="232" y="1756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61" name="Freeform 133"/>
            <p:cNvSpPr>
              <a:spLocks noEditPoints="1"/>
            </p:cNvSpPr>
            <p:nvPr/>
          </p:nvSpPr>
          <p:spPr bwMode="auto">
            <a:xfrm>
              <a:off x="411" y="1859"/>
              <a:ext cx="173" cy="280"/>
            </a:xfrm>
            <a:custGeom>
              <a:avLst/>
              <a:gdLst/>
              <a:ahLst/>
              <a:cxnLst>
                <a:cxn ang="0">
                  <a:pos x="15" y="16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0" y="234"/>
                </a:cxn>
                <a:cxn ang="0">
                  <a:pos x="0" y="253"/>
                </a:cxn>
                <a:cxn ang="0">
                  <a:pos x="15" y="241"/>
                </a:cxn>
                <a:cxn ang="0">
                  <a:pos x="63" y="206"/>
                </a:cxn>
                <a:cxn ang="0">
                  <a:pos x="89" y="273"/>
                </a:cxn>
                <a:cxn ang="0">
                  <a:pos x="94" y="280"/>
                </a:cxn>
                <a:cxn ang="0">
                  <a:pos x="101" y="277"/>
                </a:cxn>
                <a:cxn ang="0">
                  <a:pos x="118" y="270"/>
                </a:cxn>
                <a:cxn ang="0">
                  <a:pos x="127" y="268"/>
                </a:cxn>
                <a:cxn ang="0">
                  <a:pos x="122" y="258"/>
                </a:cxn>
                <a:cxn ang="0">
                  <a:pos x="96" y="194"/>
                </a:cxn>
                <a:cxn ang="0">
                  <a:pos x="156" y="186"/>
                </a:cxn>
                <a:cxn ang="0">
                  <a:pos x="173" y="184"/>
                </a:cxn>
                <a:cxn ang="0">
                  <a:pos x="161" y="170"/>
                </a:cxn>
                <a:cxn ang="0">
                  <a:pos x="15" y="16"/>
                </a:cxn>
                <a:cxn ang="0">
                  <a:pos x="84" y="186"/>
                </a:cxn>
                <a:cxn ang="0">
                  <a:pos x="115" y="263"/>
                </a:cxn>
                <a:cxn ang="0">
                  <a:pos x="98" y="270"/>
                </a:cxn>
                <a:cxn ang="0">
                  <a:pos x="67" y="194"/>
                </a:cxn>
                <a:cxn ang="0">
                  <a:pos x="7" y="234"/>
                </a:cxn>
                <a:cxn ang="0">
                  <a:pos x="7" y="24"/>
                </a:cxn>
                <a:cxn ang="0">
                  <a:pos x="156" y="177"/>
                </a:cxn>
                <a:cxn ang="0">
                  <a:pos x="84" y="186"/>
                </a:cxn>
              </a:cxnLst>
              <a:rect l="0" t="0" r="r" b="b"/>
              <a:pathLst>
                <a:path w="173" h="280">
                  <a:moveTo>
                    <a:pt x="15" y="16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0" y="234"/>
                  </a:lnTo>
                  <a:lnTo>
                    <a:pt x="0" y="253"/>
                  </a:lnTo>
                  <a:lnTo>
                    <a:pt x="15" y="241"/>
                  </a:lnTo>
                  <a:lnTo>
                    <a:pt x="63" y="206"/>
                  </a:lnTo>
                  <a:lnTo>
                    <a:pt x="89" y="273"/>
                  </a:lnTo>
                  <a:lnTo>
                    <a:pt x="94" y="280"/>
                  </a:lnTo>
                  <a:lnTo>
                    <a:pt x="101" y="277"/>
                  </a:lnTo>
                  <a:lnTo>
                    <a:pt x="118" y="270"/>
                  </a:lnTo>
                  <a:lnTo>
                    <a:pt x="127" y="268"/>
                  </a:lnTo>
                  <a:lnTo>
                    <a:pt x="122" y="258"/>
                  </a:lnTo>
                  <a:lnTo>
                    <a:pt x="96" y="194"/>
                  </a:lnTo>
                  <a:lnTo>
                    <a:pt x="156" y="186"/>
                  </a:lnTo>
                  <a:lnTo>
                    <a:pt x="173" y="184"/>
                  </a:lnTo>
                  <a:lnTo>
                    <a:pt x="161" y="170"/>
                  </a:lnTo>
                  <a:lnTo>
                    <a:pt x="15" y="16"/>
                  </a:lnTo>
                  <a:close/>
                  <a:moveTo>
                    <a:pt x="84" y="186"/>
                  </a:moveTo>
                  <a:lnTo>
                    <a:pt x="115" y="263"/>
                  </a:lnTo>
                  <a:lnTo>
                    <a:pt x="98" y="270"/>
                  </a:lnTo>
                  <a:lnTo>
                    <a:pt x="67" y="194"/>
                  </a:lnTo>
                  <a:lnTo>
                    <a:pt x="7" y="234"/>
                  </a:lnTo>
                  <a:lnTo>
                    <a:pt x="7" y="24"/>
                  </a:lnTo>
                  <a:lnTo>
                    <a:pt x="156" y="177"/>
                  </a:lnTo>
                  <a:lnTo>
                    <a:pt x="84" y="1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8264" name="Group 136"/>
          <p:cNvGrpSpPr>
            <a:grpSpLocks noChangeAspect="1"/>
          </p:cNvGrpSpPr>
          <p:nvPr/>
        </p:nvGrpSpPr>
        <p:grpSpPr bwMode="auto">
          <a:xfrm>
            <a:off x="1474792" y="2786065"/>
            <a:ext cx="768350" cy="768350"/>
            <a:chOff x="917" y="1755"/>
            <a:chExt cx="484" cy="484"/>
          </a:xfrm>
        </p:grpSpPr>
        <p:sp>
          <p:nvSpPr>
            <p:cNvPr id="48265" name="Freeform 137"/>
            <p:cNvSpPr>
              <a:spLocks noEditPoints="1"/>
            </p:cNvSpPr>
            <p:nvPr/>
          </p:nvSpPr>
          <p:spPr bwMode="auto">
            <a:xfrm>
              <a:off x="917" y="175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66" name="Freeform 138"/>
            <p:cNvSpPr>
              <a:spLocks noEditPoints="1"/>
            </p:cNvSpPr>
            <p:nvPr/>
          </p:nvSpPr>
          <p:spPr bwMode="auto">
            <a:xfrm>
              <a:off x="1097" y="1858"/>
              <a:ext cx="173" cy="281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0" y="235"/>
                </a:cxn>
                <a:cxn ang="0">
                  <a:pos x="0" y="254"/>
                </a:cxn>
                <a:cxn ang="0">
                  <a:pos x="14" y="242"/>
                </a:cxn>
                <a:cxn ang="0">
                  <a:pos x="62" y="207"/>
                </a:cxn>
                <a:cxn ang="0">
                  <a:pos x="89" y="274"/>
                </a:cxn>
                <a:cxn ang="0">
                  <a:pos x="94" y="281"/>
                </a:cxn>
                <a:cxn ang="0">
                  <a:pos x="101" y="278"/>
                </a:cxn>
                <a:cxn ang="0">
                  <a:pos x="118" y="271"/>
                </a:cxn>
                <a:cxn ang="0">
                  <a:pos x="127" y="269"/>
                </a:cxn>
                <a:cxn ang="0">
                  <a:pos x="122" y="259"/>
                </a:cxn>
                <a:cxn ang="0">
                  <a:pos x="96" y="195"/>
                </a:cxn>
                <a:cxn ang="0">
                  <a:pos x="156" y="187"/>
                </a:cxn>
                <a:cxn ang="0">
                  <a:pos x="173" y="185"/>
                </a:cxn>
                <a:cxn ang="0">
                  <a:pos x="161" y="171"/>
                </a:cxn>
                <a:cxn ang="0">
                  <a:pos x="14" y="17"/>
                </a:cxn>
                <a:cxn ang="0">
                  <a:pos x="84" y="187"/>
                </a:cxn>
                <a:cxn ang="0">
                  <a:pos x="115" y="264"/>
                </a:cxn>
                <a:cxn ang="0">
                  <a:pos x="98" y="271"/>
                </a:cxn>
                <a:cxn ang="0">
                  <a:pos x="67" y="195"/>
                </a:cxn>
                <a:cxn ang="0">
                  <a:pos x="7" y="235"/>
                </a:cxn>
                <a:cxn ang="0">
                  <a:pos x="7" y="24"/>
                </a:cxn>
                <a:cxn ang="0">
                  <a:pos x="156" y="178"/>
                </a:cxn>
                <a:cxn ang="0">
                  <a:pos x="84" y="187"/>
                </a:cxn>
              </a:cxnLst>
              <a:rect l="0" t="0" r="r" b="b"/>
              <a:pathLst>
                <a:path w="173" h="281">
                  <a:moveTo>
                    <a:pt x="14" y="17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0" y="235"/>
                  </a:lnTo>
                  <a:lnTo>
                    <a:pt x="0" y="254"/>
                  </a:lnTo>
                  <a:lnTo>
                    <a:pt x="14" y="242"/>
                  </a:lnTo>
                  <a:lnTo>
                    <a:pt x="62" y="207"/>
                  </a:lnTo>
                  <a:lnTo>
                    <a:pt x="89" y="274"/>
                  </a:lnTo>
                  <a:lnTo>
                    <a:pt x="94" y="281"/>
                  </a:lnTo>
                  <a:lnTo>
                    <a:pt x="101" y="278"/>
                  </a:lnTo>
                  <a:lnTo>
                    <a:pt x="118" y="271"/>
                  </a:lnTo>
                  <a:lnTo>
                    <a:pt x="127" y="269"/>
                  </a:lnTo>
                  <a:lnTo>
                    <a:pt x="122" y="259"/>
                  </a:lnTo>
                  <a:lnTo>
                    <a:pt x="96" y="195"/>
                  </a:lnTo>
                  <a:lnTo>
                    <a:pt x="156" y="187"/>
                  </a:lnTo>
                  <a:lnTo>
                    <a:pt x="173" y="185"/>
                  </a:lnTo>
                  <a:lnTo>
                    <a:pt x="161" y="171"/>
                  </a:lnTo>
                  <a:lnTo>
                    <a:pt x="14" y="17"/>
                  </a:lnTo>
                  <a:close/>
                  <a:moveTo>
                    <a:pt x="84" y="187"/>
                  </a:moveTo>
                  <a:lnTo>
                    <a:pt x="115" y="264"/>
                  </a:lnTo>
                  <a:lnTo>
                    <a:pt x="98" y="271"/>
                  </a:lnTo>
                  <a:lnTo>
                    <a:pt x="67" y="195"/>
                  </a:lnTo>
                  <a:lnTo>
                    <a:pt x="7" y="235"/>
                  </a:lnTo>
                  <a:lnTo>
                    <a:pt x="7" y="24"/>
                  </a:lnTo>
                  <a:lnTo>
                    <a:pt x="156" y="178"/>
                  </a:lnTo>
                  <a:lnTo>
                    <a:pt x="84" y="18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270" name="Oval 142"/>
          <p:cNvSpPr>
            <a:spLocks noChangeArrowheads="1"/>
          </p:cNvSpPr>
          <p:nvPr/>
        </p:nvSpPr>
        <p:spPr bwMode="auto">
          <a:xfrm>
            <a:off x="2529681" y="2749550"/>
            <a:ext cx="847725" cy="847725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71" name="Freeform 143"/>
          <p:cNvSpPr>
            <a:spLocks noEditPoints="1"/>
          </p:cNvSpPr>
          <p:nvPr/>
        </p:nvSpPr>
        <p:spPr bwMode="auto">
          <a:xfrm>
            <a:off x="2563019" y="2779713"/>
            <a:ext cx="784225" cy="784225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0" y="103"/>
              </a:cxn>
              <a:cxn ang="0">
                <a:pos x="103" y="206"/>
              </a:cxn>
              <a:cxn ang="0">
                <a:pos x="206" y="103"/>
              </a:cxn>
              <a:cxn ang="0">
                <a:pos x="103" y="0"/>
              </a:cxn>
              <a:cxn ang="0">
                <a:pos x="103" y="201"/>
              </a:cxn>
              <a:cxn ang="0">
                <a:pos x="5" y="103"/>
              </a:cxn>
              <a:cxn ang="0">
                <a:pos x="103" y="5"/>
              </a:cxn>
              <a:cxn ang="0">
                <a:pos x="201" y="103"/>
              </a:cxn>
              <a:cxn ang="0">
                <a:pos x="103" y="201"/>
              </a:cxn>
            </a:cxnLst>
            <a:rect l="0" t="0" r="r" b="b"/>
            <a:pathLst>
              <a:path w="206" h="206">
                <a:moveTo>
                  <a:pt x="103" y="0"/>
                </a:moveTo>
                <a:cubicBezTo>
                  <a:pt x="46" y="0"/>
                  <a:pt x="0" y="46"/>
                  <a:pt x="0" y="103"/>
                </a:cubicBezTo>
                <a:cubicBezTo>
                  <a:pt x="0" y="160"/>
                  <a:pt x="46" y="206"/>
                  <a:pt x="103" y="206"/>
                </a:cubicBezTo>
                <a:cubicBezTo>
                  <a:pt x="160" y="206"/>
                  <a:pt x="206" y="160"/>
                  <a:pt x="206" y="103"/>
                </a:cubicBezTo>
                <a:cubicBezTo>
                  <a:pt x="206" y="46"/>
                  <a:pt x="160" y="0"/>
                  <a:pt x="103" y="0"/>
                </a:cubicBezTo>
                <a:close/>
                <a:moveTo>
                  <a:pt x="103" y="201"/>
                </a:moveTo>
                <a:cubicBezTo>
                  <a:pt x="49" y="201"/>
                  <a:pt x="5" y="157"/>
                  <a:pt x="5" y="103"/>
                </a:cubicBezTo>
                <a:cubicBezTo>
                  <a:pt x="5" y="49"/>
                  <a:pt x="49" y="5"/>
                  <a:pt x="103" y="5"/>
                </a:cubicBezTo>
                <a:cubicBezTo>
                  <a:pt x="157" y="5"/>
                  <a:pt x="201" y="49"/>
                  <a:pt x="201" y="103"/>
                </a:cubicBezTo>
                <a:cubicBezTo>
                  <a:pt x="201" y="157"/>
                  <a:pt x="157" y="201"/>
                  <a:pt x="103" y="20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72" name="Freeform 144"/>
          <p:cNvSpPr>
            <a:spLocks noEditPoints="1"/>
          </p:cNvSpPr>
          <p:nvPr/>
        </p:nvSpPr>
        <p:spPr bwMode="auto">
          <a:xfrm>
            <a:off x="2688431" y="2921000"/>
            <a:ext cx="487363" cy="493713"/>
          </a:xfrm>
          <a:custGeom>
            <a:avLst/>
            <a:gdLst/>
            <a:ahLst/>
            <a:cxnLst>
              <a:cxn ang="0">
                <a:pos x="113" y="16"/>
              </a:cxn>
              <a:cxn ang="0">
                <a:pos x="67" y="2"/>
              </a:cxn>
              <a:cxn ang="0">
                <a:pos x="22" y="22"/>
              </a:cxn>
              <a:cxn ang="0">
                <a:pos x="10" y="42"/>
              </a:cxn>
              <a:cxn ang="0">
                <a:pos x="14" y="101"/>
              </a:cxn>
              <a:cxn ang="0">
                <a:pos x="33" y="120"/>
              </a:cxn>
              <a:cxn ang="0">
                <a:pos x="69" y="130"/>
              </a:cxn>
              <a:cxn ang="0">
                <a:pos x="97" y="125"/>
              </a:cxn>
              <a:cxn ang="0">
                <a:pos x="124" y="109"/>
              </a:cxn>
              <a:cxn ang="0">
                <a:pos x="122" y="107"/>
              </a:cxn>
              <a:cxn ang="0">
                <a:pos x="95" y="121"/>
              </a:cxn>
              <a:cxn ang="0">
                <a:pos x="35" y="117"/>
              </a:cxn>
              <a:cxn ang="0">
                <a:pos x="17" y="99"/>
              </a:cxn>
              <a:cxn ang="0">
                <a:pos x="13" y="43"/>
              </a:cxn>
              <a:cxn ang="0">
                <a:pos x="13" y="43"/>
              </a:cxn>
              <a:cxn ang="0">
                <a:pos x="24" y="25"/>
              </a:cxn>
              <a:cxn ang="0">
                <a:pos x="67" y="5"/>
              </a:cxn>
              <a:cxn ang="0">
                <a:pos x="110" y="19"/>
              </a:cxn>
              <a:cxn ang="0">
                <a:pos x="124" y="52"/>
              </a:cxn>
              <a:cxn ang="0">
                <a:pos x="99" y="92"/>
              </a:cxn>
              <a:cxn ang="0">
                <a:pos x="99" y="92"/>
              </a:cxn>
              <a:cxn ang="0">
                <a:pos x="87" y="94"/>
              </a:cxn>
              <a:cxn ang="0">
                <a:pos x="84" y="90"/>
              </a:cxn>
              <a:cxn ang="0">
                <a:pos x="95" y="33"/>
              </a:cxn>
              <a:cxn ang="0">
                <a:pos x="91" y="32"/>
              </a:cxn>
              <a:cxn ang="0">
                <a:pos x="89" y="46"/>
              </a:cxn>
              <a:cxn ang="0">
                <a:pos x="66" y="31"/>
              </a:cxn>
              <a:cxn ang="0">
                <a:pos x="45" y="39"/>
              </a:cxn>
              <a:cxn ang="0">
                <a:pos x="34" y="71"/>
              </a:cxn>
              <a:cxn ang="0">
                <a:pos x="52" y="97"/>
              </a:cxn>
              <a:cxn ang="0">
                <a:pos x="59" y="98"/>
              </a:cxn>
              <a:cxn ang="0">
                <a:pos x="80" y="90"/>
              </a:cxn>
              <a:cxn ang="0">
                <a:pos x="80" y="90"/>
              </a:cxn>
              <a:cxn ang="0">
                <a:pos x="80" y="91"/>
              </a:cxn>
              <a:cxn ang="0">
                <a:pos x="85" y="97"/>
              </a:cxn>
              <a:cxn ang="0">
                <a:pos x="101" y="96"/>
              </a:cxn>
              <a:cxn ang="0">
                <a:pos x="124" y="69"/>
              </a:cxn>
              <a:cxn ang="0">
                <a:pos x="128" y="52"/>
              </a:cxn>
              <a:cxn ang="0">
                <a:pos x="113" y="16"/>
              </a:cxn>
              <a:cxn ang="0">
                <a:pos x="53" y="94"/>
              </a:cxn>
              <a:cxn ang="0">
                <a:pos x="53" y="94"/>
              </a:cxn>
              <a:cxn ang="0">
                <a:pos x="37" y="71"/>
              </a:cxn>
              <a:cxn ang="0">
                <a:pos x="48" y="41"/>
              </a:cxn>
              <a:cxn ang="0">
                <a:pos x="65" y="34"/>
              </a:cxn>
              <a:cxn ang="0">
                <a:pos x="65" y="34"/>
              </a:cxn>
              <a:cxn ang="0">
                <a:pos x="88" y="51"/>
              </a:cxn>
              <a:cxn ang="0">
                <a:pos x="81" y="83"/>
              </a:cxn>
              <a:cxn ang="0">
                <a:pos x="53" y="94"/>
              </a:cxn>
            </a:cxnLst>
            <a:rect l="0" t="0" r="r" b="b"/>
            <a:pathLst>
              <a:path w="128" h="130">
                <a:moveTo>
                  <a:pt x="113" y="16"/>
                </a:moveTo>
                <a:cubicBezTo>
                  <a:pt x="95" y="0"/>
                  <a:pt x="68" y="1"/>
                  <a:pt x="67" y="2"/>
                </a:cubicBezTo>
                <a:cubicBezTo>
                  <a:pt x="44" y="2"/>
                  <a:pt x="30" y="13"/>
                  <a:pt x="22" y="22"/>
                </a:cubicBezTo>
                <a:cubicBezTo>
                  <a:pt x="13" y="32"/>
                  <a:pt x="10" y="41"/>
                  <a:pt x="10" y="42"/>
                </a:cubicBezTo>
                <a:cubicBezTo>
                  <a:pt x="0" y="69"/>
                  <a:pt x="6" y="89"/>
                  <a:pt x="14" y="101"/>
                </a:cubicBezTo>
                <a:cubicBezTo>
                  <a:pt x="22" y="114"/>
                  <a:pt x="33" y="120"/>
                  <a:pt x="33" y="120"/>
                </a:cubicBezTo>
                <a:cubicBezTo>
                  <a:pt x="46" y="127"/>
                  <a:pt x="58" y="130"/>
                  <a:pt x="69" y="130"/>
                </a:cubicBezTo>
                <a:cubicBezTo>
                  <a:pt x="80" y="130"/>
                  <a:pt x="89" y="127"/>
                  <a:pt x="97" y="125"/>
                </a:cubicBezTo>
                <a:cubicBezTo>
                  <a:pt x="113" y="119"/>
                  <a:pt x="124" y="110"/>
                  <a:pt x="124" y="109"/>
                </a:cubicBezTo>
                <a:cubicBezTo>
                  <a:pt x="122" y="107"/>
                  <a:pt x="122" y="107"/>
                  <a:pt x="122" y="107"/>
                </a:cubicBezTo>
                <a:cubicBezTo>
                  <a:pt x="122" y="107"/>
                  <a:pt x="111" y="116"/>
                  <a:pt x="95" y="121"/>
                </a:cubicBezTo>
                <a:cubicBezTo>
                  <a:pt x="74" y="129"/>
                  <a:pt x="54" y="127"/>
                  <a:pt x="35" y="117"/>
                </a:cubicBezTo>
                <a:cubicBezTo>
                  <a:pt x="35" y="117"/>
                  <a:pt x="25" y="111"/>
                  <a:pt x="17" y="99"/>
                </a:cubicBezTo>
                <a:cubicBezTo>
                  <a:pt x="7" y="83"/>
                  <a:pt x="5" y="64"/>
                  <a:pt x="13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3"/>
                  <a:pt x="16" y="34"/>
                  <a:pt x="24" y="25"/>
                </a:cubicBezTo>
                <a:cubicBezTo>
                  <a:pt x="35" y="12"/>
                  <a:pt x="49" y="6"/>
                  <a:pt x="67" y="5"/>
                </a:cubicBezTo>
                <a:cubicBezTo>
                  <a:pt x="67" y="5"/>
                  <a:pt x="93" y="4"/>
                  <a:pt x="110" y="19"/>
                </a:cubicBezTo>
                <a:cubicBezTo>
                  <a:pt x="119" y="27"/>
                  <a:pt x="124" y="38"/>
                  <a:pt x="124" y="52"/>
                </a:cubicBezTo>
                <a:cubicBezTo>
                  <a:pt x="124" y="53"/>
                  <a:pt x="124" y="82"/>
                  <a:pt x="99" y="92"/>
                </a:cubicBezTo>
                <a:cubicBezTo>
                  <a:pt x="99" y="92"/>
                  <a:pt x="99" y="92"/>
                  <a:pt x="99" y="92"/>
                </a:cubicBezTo>
                <a:cubicBezTo>
                  <a:pt x="97" y="93"/>
                  <a:pt x="91" y="96"/>
                  <a:pt x="87" y="94"/>
                </a:cubicBezTo>
                <a:cubicBezTo>
                  <a:pt x="85" y="93"/>
                  <a:pt x="84" y="92"/>
                  <a:pt x="84" y="90"/>
                </a:cubicBezTo>
                <a:cubicBezTo>
                  <a:pt x="95" y="33"/>
                  <a:pt x="95" y="33"/>
                  <a:pt x="95" y="33"/>
                </a:cubicBezTo>
                <a:cubicBezTo>
                  <a:pt x="91" y="32"/>
                  <a:pt x="91" y="32"/>
                  <a:pt x="91" y="32"/>
                </a:cubicBezTo>
                <a:cubicBezTo>
                  <a:pt x="89" y="46"/>
                  <a:pt x="89" y="46"/>
                  <a:pt x="89" y="46"/>
                </a:cubicBezTo>
                <a:cubicBezTo>
                  <a:pt x="85" y="40"/>
                  <a:pt x="78" y="31"/>
                  <a:pt x="66" y="31"/>
                </a:cubicBezTo>
                <a:cubicBezTo>
                  <a:pt x="65" y="31"/>
                  <a:pt x="54" y="30"/>
                  <a:pt x="45" y="39"/>
                </a:cubicBezTo>
                <a:cubicBezTo>
                  <a:pt x="38" y="46"/>
                  <a:pt x="34" y="57"/>
                  <a:pt x="34" y="71"/>
                </a:cubicBezTo>
                <a:cubicBezTo>
                  <a:pt x="34" y="71"/>
                  <a:pt x="33" y="94"/>
                  <a:pt x="52" y="97"/>
                </a:cubicBezTo>
                <a:cubicBezTo>
                  <a:pt x="53" y="98"/>
                  <a:pt x="56" y="98"/>
                  <a:pt x="59" y="98"/>
                </a:cubicBezTo>
                <a:cubicBezTo>
                  <a:pt x="65" y="98"/>
                  <a:pt x="73" y="97"/>
                  <a:pt x="80" y="90"/>
                </a:cubicBezTo>
                <a:cubicBezTo>
                  <a:pt x="80" y="90"/>
                  <a:pt x="80" y="90"/>
                  <a:pt x="80" y="90"/>
                </a:cubicBezTo>
                <a:cubicBezTo>
                  <a:pt x="80" y="91"/>
                  <a:pt x="80" y="91"/>
                  <a:pt x="80" y="91"/>
                </a:cubicBezTo>
                <a:cubicBezTo>
                  <a:pt x="81" y="94"/>
                  <a:pt x="83" y="96"/>
                  <a:pt x="85" y="97"/>
                </a:cubicBezTo>
                <a:cubicBezTo>
                  <a:pt x="91" y="100"/>
                  <a:pt x="100" y="96"/>
                  <a:pt x="101" y="96"/>
                </a:cubicBezTo>
                <a:cubicBezTo>
                  <a:pt x="112" y="91"/>
                  <a:pt x="120" y="82"/>
                  <a:pt x="124" y="69"/>
                </a:cubicBezTo>
                <a:cubicBezTo>
                  <a:pt x="128" y="60"/>
                  <a:pt x="128" y="53"/>
                  <a:pt x="128" y="52"/>
                </a:cubicBezTo>
                <a:cubicBezTo>
                  <a:pt x="127" y="37"/>
                  <a:pt x="122" y="25"/>
                  <a:pt x="113" y="16"/>
                </a:cubicBezTo>
                <a:close/>
                <a:moveTo>
                  <a:pt x="53" y="94"/>
                </a:moveTo>
                <a:cubicBezTo>
                  <a:pt x="53" y="94"/>
                  <a:pt x="53" y="94"/>
                  <a:pt x="53" y="94"/>
                </a:cubicBezTo>
                <a:cubicBezTo>
                  <a:pt x="37" y="91"/>
                  <a:pt x="37" y="72"/>
                  <a:pt x="37" y="71"/>
                </a:cubicBezTo>
                <a:cubicBezTo>
                  <a:pt x="38" y="58"/>
                  <a:pt x="41" y="48"/>
                  <a:pt x="48" y="41"/>
                </a:cubicBezTo>
                <a:cubicBezTo>
                  <a:pt x="56" y="34"/>
                  <a:pt x="65" y="34"/>
                  <a:pt x="65" y="34"/>
                </a:cubicBezTo>
                <a:cubicBezTo>
                  <a:pt x="65" y="34"/>
                  <a:pt x="65" y="34"/>
                  <a:pt x="65" y="34"/>
                </a:cubicBezTo>
                <a:cubicBezTo>
                  <a:pt x="79" y="34"/>
                  <a:pt x="86" y="49"/>
                  <a:pt x="88" y="51"/>
                </a:cubicBezTo>
                <a:cubicBezTo>
                  <a:pt x="81" y="83"/>
                  <a:pt x="81" y="83"/>
                  <a:pt x="81" y="83"/>
                </a:cubicBezTo>
                <a:cubicBezTo>
                  <a:pt x="69" y="99"/>
                  <a:pt x="54" y="94"/>
                  <a:pt x="53" y="9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8275" name="Group 147"/>
          <p:cNvGrpSpPr>
            <a:grpSpLocks noChangeAspect="1"/>
          </p:cNvGrpSpPr>
          <p:nvPr/>
        </p:nvGrpSpPr>
        <p:grpSpPr bwMode="auto">
          <a:xfrm>
            <a:off x="3660777" y="2778124"/>
            <a:ext cx="784226" cy="784224"/>
            <a:chOff x="2297" y="1750"/>
            <a:chExt cx="494" cy="494"/>
          </a:xfrm>
        </p:grpSpPr>
        <p:sp>
          <p:nvSpPr>
            <p:cNvPr id="48276" name="Freeform 148"/>
            <p:cNvSpPr>
              <a:spLocks noEditPoints="1"/>
            </p:cNvSpPr>
            <p:nvPr/>
          </p:nvSpPr>
          <p:spPr bwMode="auto">
            <a:xfrm>
              <a:off x="2297" y="1750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77" name="Freeform 149"/>
            <p:cNvSpPr>
              <a:spLocks noEditPoints="1"/>
            </p:cNvSpPr>
            <p:nvPr/>
          </p:nvSpPr>
          <p:spPr bwMode="auto">
            <a:xfrm>
              <a:off x="2377" y="1839"/>
              <a:ext cx="306" cy="312"/>
            </a:xfrm>
            <a:custGeom>
              <a:avLst/>
              <a:gdLst/>
              <a:ahLst/>
              <a:cxnLst>
                <a:cxn ang="0">
                  <a:pos x="113" y="16"/>
                </a:cxn>
                <a:cxn ang="0">
                  <a:pos x="67" y="2"/>
                </a:cxn>
                <a:cxn ang="0">
                  <a:pos x="22" y="22"/>
                </a:cxn>
                <a:cxn ang="0">
                  <a:pos x="10" y="42"/>
                </a:cxn>
                <a:cxn ang="0">
                  <a:pos x="14" y="101"/>
                </a:cxn>
                <a:cxn ang="0">
                  <a:pos x="33" y="120"/>
                </a:cxn>
                <a:cxn ang="0">
                  <a:pos x="69" y="130"/>
                </a:cxn>
                <a:cxn ang="0">
                  <a:pos x="97" y="125"/>
                </a:cxn>
                <a:cxn ang="0">
                  <a:pos x="124" y="109"/>
                </a:cxn>
                <a:cxn ang="0">
                  <a:pos x="122" y="107"/>
                </a:cxn>
                <a:cxn ang="0">
                  <a:pos x="95" y="121"/>
                </a:cxn>
                <a:cxn ang="0">
                  <a:pos x="35" y="117"/>
                </a:cxn>
                <a:cxn ang="0">
                  <a:pos x="17" y="99"/>
                </a:cxn>
                <a:cxn ang="0">
                  <a:pos x="13" y="43"/>
                </a:cxn>
                <a:cxn ang="0">
                  <a:pos x="13" y="43"/>
                </a:cxn>
                <a:cxn ang="0">
                  <a:pos x="24" y="25"/>
                </a:cxn>
                <a:cxn ang="0">
                  <a:pos x="67" y="5"/>
                </a:cxn>
                <a:cxn ang="0">
                  <a:pos x="110" y="19"/>
                </a:cxn>
                <a:cxn ang="0">
                  <a:pos x="124" y="52"/>
                </a:cxn>
                <a:cxn ang="0">
                  <a:pos x="99" y="92"/>
                </a:cxn>
                <a:cxn ang="0">
                  <a:pos x="99" y="92"/>
                </a:cxn>
                <a:cxn ang="0">
                  <a:pos x="87" y="94"/>
                </a:cxn>
                <a:cxn ang="0">
                  <a:pos x="84" y="90"/>
                </a:cxn>
                <a:cxn ang="0">
                  <a:pos x="95" y="33"/>
                </a:cxn>
                <a:cxn ang="0">
                  <a:pos x="91" y="32"/>
                </a:cxn>
                <a:cxn ang="0">
                  <a:pos x="89" y="46"/>
                </a:cxn>
                <a:cxn ang="0">
                  <a:pos x="66" y="31"/>
                </a:cxn>
                <a:cxn ang="0">
                  <a:pos x="45" y="39"/>
                </a:cxn>
                <a:cxn ang="0">
                  <a:pos x="34" y="71"/>
                </a:cxn>
                <a:cxn ang="0">
                  <a:pos x="52" y="97"/>
                </a:cxn>
                <a:cxn ang="0">
                  <a:pos x="59" y="98"/>
                </a:cxn>
                <a:cxn ang="0">
                  <a:pos x="80" y="90"/>
                </a:cxn>
                <a:cxn ang="0">
                  <a:pos x="80" y="90"/>
                </a:cxn>
                <a:cxn ang="0">
                  <a:pos x="80" y="91"/>
                </a:cxn>
                <a:cxn ang="0">
                  <a:pos x="85" y="97"/>
                </a:cxn>
                <a:cxn ang="0">
                  <a:pos x="101" y="96"/>
                </a:cxn>
                <a:cxn ang="0">
                  <a:pos x="124" y="69"/>
                </a:cxn>
                <a:cxn ang="0">
                  <a:pos x="128" y="52"/>
                </a:cxn>
                <a:cxn ang="0">
                  <a:pos x="113" y="16"/>
                </a:cxn>
                <a:cxn ang="0">
                  <a:pos x="53" y="94"/>
                </a:cxn>
                <a:cxn ang="0">
                  <a:pos x="53" y="94"/>
                </a:cxn>
                <a:cxn ang="0">
                  <a:pos x="37" y="71"/>
                </a:cxn>
                <a:cxn ang="0">
                  <a:pos x="48" y="41"/>
                </a:cxn>
                <a:cxn ang="0">
                  <a:pos x="65" y="34"/>
                </a:cxn>
                <a:cxn ang="0">
                  <a:pos x="65" y="34"/>
                </a:cxn>
                <a:cxn ang="0">
                  <a:pos x="88" y="51"/>
                </a:cxn>
                <a:cxn ang="0">
                  <a:pos x="81" y="83"/>
                </a:cxn>
                <a:cxn ang="0">
                  <a:pos x="53" y="94"/>
                </a:cxn>
              </a:cxnLst>
              <a:rect l="0" t="0" r="r" b="b"/>
              <a:pathLst>
                <a:path w="128" h="130">
                  <a:moveTo>
                    <a:pt x="113" y="16"/>
                  </a:moveTo>
                  <a:cubicBezTo>
                    <a:pt x="95" y="0"/>
                    <a:pt x="68" y="1"/>
                    <a:pt x="67" y="2"/>
                  </a:cubicBezTo>
                  <a:cubicBezTo>
                    <a:pt x="44" y="2"/>
                    <a:pt x="30" y="13"/>
                    <a:pt x="22" y="22"/>
                  </a:cubicBezTo>
                  <a:cubicBezTo>
                    <a:pt x="13" y="32"/>
                    <a:pt x="10" y="41"/>
                    <a:pt x="10" y="42"/>
                  </a:cubicBezTo>
                  <a:cubicBezTo>
                    <a:pt x="0" y="69"/>
                    <a:pt x="6" y="89"/>
                    <a:pt x="14" y="101"/>
                  </a:cubicBezTo>
                  <a:cubicBezTo>
                    <a:pt x="22" y="114"/>
                    <a:pt x="33" y="120"/>
                    <a:pt x="33" y="120"/>
                  </a:cubicBezTo>
                  <a:cubicBezTo>
                    <a:pt x="46" y="127"/>
                    <a:pt x="58" y="130"/>
                    <a:pt x="69" y="130"/>
                  </a:cubicBezTo>
                  <a:cubicBezTo>
                    <a:pt x="80" y="130"/>
                    <a:pt x="89" y="127"/>
                    <a:pt x="97" y="125"/>
                  </a:cubicBezTo>
                  <a:cubicBezTo>
                    <a:pt x="113" y="119"/>
                    <a:pt x="124" y="110"/>
                    <a:pt x="124" y="109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22" y="107"/>
                    <a:pt x="111" y="116"/>
                    <a:pt x="95" y="121"/>
                  </a:cubicBezTo>
                  <a:cubicBezTo>
                    <a:pt x="74" y="129"/>
                    <a:pt x="54" y="127"/>
                    <a:pt x="35" y="117"/>
                  </a:cubicBezTo>
                  <a:cubicBezTo>
                    <a:pt x="35" y="117"/>
                    <a:pt x="25" y="111"/>
                    <a:pt x="17" y="99"/>
                  </a:cubicBezTo>
                  <a:cubicBezTo>
                    <a:pt x="7" y="83"/>
                    <a:pt x="5" y="64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6" y="34"/>
                    <a:pt x="24" y="25"/>
                  </a:cubicBezTo>
                  <a:cubicBezTo>
                    <a:pt x="35" y="12"/>
                    <a:pt x="49" y="6"/>
                    <a:pt x="67" y="5"/>
                  </a:cubicBezTo>
                  <a:cubicBezTo>
                    <a:pt x="67" y="5"/>
                    <a:pt x="93" y="4"/>
                    <a:pt x="110" y="19"/>
                  </a:cubicBezTo>
                  <a:cubicBezTo>
                    <a:pt x="119" y="27"/>
                    <a:pt x="124" y="38"/>
                    <a:pt x="124" y="52"/>
                  </a:cubicBezTo>
                  <a:cubicBezTo>
                    <a:pt x="124" y="53"/>
                    <a:pt x="124" y="8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7" y="93"/>
                    <a:pt x="91" y="96"/>
                    <a:pt x="87" y="94"/>
                  </a:cubicBezTo>
                  <a:cubicBezTo>
                    <a:pt x="85" y="93"/>
                    <a:pt x="84" y="92"/>
                    <a:pt x="84" y="90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5" y="40"/>
                    <a:pt x="78" y="31"/>
                    <a:pt x="66" y="31"/>
                  </a:cubicBezTo>
                  <a:cubicBezTo>
                    <a:pt x="65" y="31"/>
                    <a:pt x="54" y="30"/>
                    <a:pt x="45" y="39"/>
                  </a:cubicBezTo>
                  <a:cubicBezTo>
                    <a:pt x="38" y="46"/>
                    <a:pt x="34" y="57"/>
                    <a:pt x="34" y="71"/>
                  </a:cubicBezTo>
                  <a:cubicBezTo>
                    <a:pt x="34" y="71"/>
                    <a:pt x="33" y="94"/>
                    <a:pt x="52" y="97"/>
                  </a:cubicBezTo>
                  <a:cubicBezTo>
                    <a:pt x="53" y="98"/>
                    <a:pt x="56" y="98"/>
                    <a:pt x="59" y="98"/>
                  </a:cubicBezTo>
                  <a:cubicBezTo>
                    <a:pt x="65" y="98"/>
                    <a:pt x="73" y="97"/>
                    <a:pt x="80" y="90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1" y="94"/>
                    <a:pt x="83" y="96"/>
                    <a:pt x="85" y="97"/>
                  </a:cubicBezTo>
                  <a:cubicBezTo>
                    <a:pt x="91" y="100"/>
                    <a:pt x="100" y="96"/>
                    <a:pt x="101" y="96"/>
                  </a:cubicBezTo>
                  <a:cubicBezTo>
                    <a:pt x="112" y="91"/>
                    <a:pt x="120" y="82"/>
                    <a:pt x="124" y="69"/>
                  </a:cubicBezTo>
                  <a:cubicBezTo>
                    <a:pt x="128" y="60"/>
                    <a:pt x="128" y="53"/>
                    <a:pt x="128" y="52"/>
                  </a:cubicBezTo>
                  <a:cubicBezTo>
                    <a:pt x="127" y="37"/>
                    <a:pt x="122" y="25"/>
                    <a:pt x="113" y="16"/>
                  </a:cubicBezTo>
                  <a:close/>
                  <a:moveTo>
                    <a:pt x="53" y="94"/>
                  </a:moveTo>
                  <a:cubicBezTo>
                    <a:pt x="53" y="94"/>
                    <a:pt x="53" y="94"/>
                    <a:pt x="53" y="94"/>
                  </a:cubicBezTo>
                  <a:cubicBezTo>
                    <a:pt x="37" y="91"/>
                    <a:pt x="37" y="72"/>
                    <a:pt x="37" y="71"/>
                  </a:cubicBezTo>
                  <a:cubicBezTo>
                    <a:pt x="38" y="58"/>
                    <a:pt x="41" y="48"/>
                    <a:pt x="48" y="41"/>
                  </a:cubicBezTo>
                  <a:cubicBezTo>
                    <a:pt x="56" y="34"/>
                    <a:pt x="65" y="34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79" y="34"/>
                    <a:pt x="86" y="49"/>
                    <a:pt x="88" y="51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69" y="99"/>
                    <a:pt x="54" y="94"/>
                    <a:pt x="53" y="9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281" name="Oval 153"/>
          <p:cNvSpPr>
            <a:spLocks noChangeArrowheads="1"/>
          </p:cNvSpPr>
          <p:nvPr/>
        </p:nvSpPr>
        <p:spPr bwMode="auto">
          <a:xfrm>
            <a:off x="4726782" y="2744788"/>
            <a:ext cx="850900" cy="850900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282" name="Freeform 154"/>
          <p:cNvSpPr>
            <a:spLocks noEditPoints="1"/>
          </p:cNvSpPr>
          <p:nvPr/>
        </p:nvSpPr>
        <p:spPr bwMode="auto">
          <a:xfrm>
            <a:off x="4756945" y="2774951"/>
            <a:ext cx="790575" cy="788988"/>
          </a:xfrm>
          <a:custGeom>
            <a:avLst/>
            <a:gdLst/>
            <a:ahLst/>
            <a:cxnLst>
              <a:cxn ang="0">
                <a:pos x="104" y="208"/>
              </a:cxn>
              <a:cxn ang="0">
                <a:pos x="0" y="104"/>
              </a:cxn>
              <a:cxn ang="0">
                <a:pos x="104" y="0"/>
              </a:cxn>
              <a:cxn ang="0">
                <a:pos x="208" y="104"/>
              </a:cxn>
              <a:cxn ang="0">
                <a:pos x="104" y="208"/>
              </a:cxn>
              <a:cxn ang="0">
                <a:pos x="104" y="5"/>
              </a:cxn>
              <a:cxn ang="0">
                <a:pos x="5" y="104"/>
              </a:cxn>
              <a:cxn ang="0">
                <a:pos x="104" y="203"/>
              </a:cxn>
              <a:cxn ang="0">
                <a:pos x="203" y="104"/>
              </a:cxn>
              <a:cxn ang="0">
                <a:pos x="104" y="5"/>
              </a:cxn>
            </a:cxnLst>
            <a:rect l="0" t="0" r="r" b="b"/>
            <a:pathLst>
              <a:path w="208" h="208">
                <a:moveTo>
                  <a:pt x="104" y="208"/>
                </a:moveTo>
                <a:cubicBezTo>
                  <a:pt x="47" y="208"/>
                  <a:pt x="0" y="162"/>
                  <a:pt x="0" y="104"/>
                </a:cubicBezTo>
                <a:cubicBezTo>
                  <a:pt x="0" y="47"/>
                  <a:pt x="47" y="0"/>
                  <a:pt x="104" y="0"/>
                </a:cubicBezTo>
                <a:cubicBezTo>
                  <a:pt x="161" y="0"/>
                  <a:pt x="208" y="47"/>
                  <a:pt x="208" y="104"/>
                </a:cubicBezTo>
                <a:cubicBezTo>
                  <a:pt x="208" y="162"/>
                  <a:pt x="161" y="208"/>
                  <a:pt x="104" y="208"/>
                </a:cubicBezTo>
                <a:close/>
                <a:moveTo>
                  <a:pt x="104" y="5"/>
                </a:moveTo>
                <a:cubicBezTo>
                  <a:pt x="49" y="5"/>
                  <a:pt x="5" y="50"/>
                  <a:pt x="5" y="104"/>
                </a:cubicBezTo>
                <a:cubicBezTo>
                  <a:pt x="5" y="159"/>
                  <a:pt x="49" y="203"/>
                  <a:pt x="104" y="203"/>
                </a:cubicBezTo>
                <a:cubicBezTo>
                  <a:pt x="158" y="203"/>
                  <a:pt x="203" y="159"/>
                  <a:pt x="203" y="104"/>
                </a:cubicBezTo>
                <a:cubicBezTo>
                  <a:pt x="203" y="50"/>
                  <a:pt x="158" y="5"/>
                  <a:pt x="104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83" name="Freeform 155"/>
          <p:cNvSpPr>
            <a:spLocks noEditPoints="1"/>
          </p:cNvSpPr>
          <p:nvPr/>
        </p:nvSpPr>
        <p:spPr bwMode="auto">
          <a:xfrm>
            <a:off x="4985545" y="3151188"/>
            <a:ext cx="330200" cy="287338"/>
          </a:xfrm>
          <a:custGeom>
            <a:avLst/>
            <a:gdLst/>
            <a:ahLst/>
            <a:cxnLst>
              <a:cxn ang="0">
                <a:pos x="55" y="76"/>
              </a:cxn>
              <a:cxn ang="0">
                <a:pos x="30" y="76"/>
              </a:cxn>
              <a:cxn ang="0">
                <a:pos x="29" y="74"/>
              </a:cxn>
              <a:cxn ang="0">
                <a:pos x="29" y="61"/>
              </a:cxn>
              <a:cxn ang="0">
                <a:pos x="1" y="52"/>
              </a:cxn>
              <a:cxn ang="0">
                <a:pos x="1" y="50"/>
              </a:cxn>
              <a:cxn ang="0">
                <a:pos x="8" y="22"/>
              </a:cxn>
              <a:cxn ang="0">
                <a:pos x="9" y="21"/>
              </a:cxn>
              <a:cxn ang="0">
                <a:pos x="11" y="21"/>
              </a:cxn>
              <a:cxn ang="0">
                <a:pos x="38" y="31"/>
              </a:cxn>
              <a:cxn ang="0">
                <a:pos x="47" y="29"/>
              </a:cxn>
              <a:cxn ang="0">
                <a:pos x="49" y="26"/>
              </a:cxn>
              <a:cxn ang="0">
                <a:pos x="39" y="19"/>
              </a:cxn>
              <a:cxn ang="0">
                <a:pos x="38" y="17"/>
              </a:cxn>
              <a:cxn ang="0">
                <a:pos x="40" y="16"/>
              </a:cxn>
              <a:cxn ang="0">
                <a:pos x="56" y="15"/>
              </a:cxn>
              <a:cxn ang="0">
                <a:pos x="59" y="2"/>
              </a:cxn>
              <a:cxn ang="0">
                <a:pos x="60" y="0"/>
              </a:cxn>
              <a:cxn ang="0">
                <a:pos x="62" y="1"/>
              </a:cxn>
              <a:cxn ang="0">
                <a:pos x="72" y="9"/>
              </a:cxn>
              <a:cxn ang="0">
                <a:pos x="79" y="9"/>
              </a:cxn>
              <a:cxn ang="0">
                <a:pos x="80" y="10"/>
              </a:cxn>
              <a:cxn ang="0">
                <a:pos x="85" y="16"/>
              </a:cxn>
              <a:cxn ang="0">
                <a:pos x="86" y="17"/>
              </a:cxn>
              <a:cxn ang="0">
                <a:pos x="81" y="44"/>
              </a:cxn>
              <a:cxn ang="0">
                <a:pos x="57" y="59"/>
              </a:cxn>
              <a:cxn ang="0">
                <a:pos x="57" y="74"/>
              </a:cxn>
              <a:cxn ang="0">
                <a:pos x="55" y="76"/>
              </a:cxn>
              <a:cxn ang="0">
                <a:pos x="32" y="72"/>
              </a:cxn>
              <a:cxn ang="0">
                <a:pos x="53" y="72"/>
              </a:cxn>
              <a:cxn ang="0">
                <a:pos x="53" y="57"/>
              </a:cxn>
              <a:cxn ang="0">
                <a:pos x="54" y="55"/>
              </a:cxn>
              <a:cxn ang="0">
                <a:pos x="77" y="42"/>
              </a:cxn>
              <a:cxn ang="0">
                <a:pos x="78" y="41"/>
              </a:cxn>
              <a:cxn ang="0">
                <a:pos x="82" y="17"/>
              </a:cxn>
              <a:cxn ang="0">
                <a:pos x="78" y="13"/>
              </a:cxn>
              <a:cxn ang="0">
                <a:pos x="72" y="13"/>
              </a:cxn>
              <a:cxn ang="0">
                <a:pos x="70" y="12"/>
              </a:cxn>
              <a:cxn ang="0">
                <a:pos x="62" y="5"/>
              </a:cxn>
              <a:cxn ang="0">
                <a:pos x="59" y="17"/>
              </a:cxn>
              <a:cxn ang="0">
                <a:pos x="57" y="19"/>
              </a:cxn>
              <a:cxn ang="0">
                <a:pos x="47" y="19"/>
              </a:cxn>
              <a:cxn ang="0">
                <a:pos x="52" y="25"/>
              </a:cxn>
              <a:cxn ang="0">
                <a:pos x="50" y="32"/>
              </a:cxn>
              <a:cxn ang="0">
                <a:pos x="49" y="32"/>
              </a:cxn>
              <a:cxn ang="0">
                <a:pos x="38" y="35"/>
              </a:cxn>
              <a:cxn ang="0">
                <a:pos x="11" y="26"/>
              </a:cxn>
              <a:cxn ang="0">
                <a:pos x="5" y="50"/>
              </a:cxn>
              <a:cxn ang="0">
                <a:pos x="31" y="58"/>
              </a:cxn>
              <a:cxn ang="0">
                <a:pos x="32" y="60"/>
              </a:cxn>
              <a:cxn ang="0">
                <a:pos x="32" y="72"/>
              </a:cxn>
            </a:cxnLst>
            <a:rect l="0" t="0" r="r" b="b"/>
            <a:pathLst>
              <a:path w="87" h="76">
                <a:moveTo>
                  <a:pt x="55" y="76"/>
                </a:moveTo>
                <a:cubicBezTo>
                  <a:pt x="30" y="76"/>
                  <a:pt x="30" y="76"/>
                  <a:pt x="30" y="76"/>
                </a:cubicBezTo>
                <a:cubicBezTo>
                  <a:pt x="29" y="76"/>
                  <a:pt x="29" y="75"/>
                  <a:pt x="29" y="74"/>
                </a:cubicBezTo>
                <a:cubicBezTo>
                  <a:pt x="29" y="61"/>
                  <a:pt x="29" y="61"/>
                  <a:pt x="29" y="61"/>
                </a:cubicBezTo>
                <a:cubicBezTo>
                  <a:pt x="9" y="58"/>
                  <a:pt x="2" y="52"/>
                  <a:pt x="1" y="52"/>
                </a:cubicBezTo>
                <a:cubicBezTo>
                  <a:pt x="1" y="51"/>
                  <a:pt x="0" y="51"/>
                  <a:pt x="1" y="50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22"/>
                  <a:pt x="8" y="21"/>
                  <a:pt x="9" y="21"/>
                </a:cubicBezTo>
                <a:cubicBezTo>
                  <a:pt x="10" y="21"/>
                  <a:pt x="10" y="21"/>
                  <a:pt x="11" y="21"/>
                </a:cubicBezTo>
                <a:cubicBezTo>
                  <a:pt x="23" y="29"/>
                  <a:pt x="32" y="31"/>
                  <a:pt x="38" y="31"/>
                </a:cubicBezTo>
                <a:cubicBezTo>
                  <a:pt x="43" y="31"/>
                  <a:pt x="47" y="29"/>
                  <a:pt x="47" y="29"/>
                </a:cubicBezTo>
                <a:cubicBezTo>
                  <a:pt x="49" y="27"/>
                  <a:pt x="49" y="26"/>
                  <a:pt x="49" y="26"/>
                </a:cubicBezTo>
                <a:cubicBezTo>
                  <a:pt x="48" y="23"/>
                  <a:pt x="43" y="20"/>
                  <a:pt x="39" y="19"/>
                </a:cubicBezTo>
                <a:cubicBezTo>
                  <a:pt x="39" y="19"/>
                  <a:pt x="38" y="18"/>
                  <a:pt x="38" y="17"/>
                </a:cubicBezTo>
                <a:cubicBezTo>
                  <a:pt x="38" y="16"/>
                  <a:pt x="39" y="16"/>
                  <a:pt x="40" y="16"/>
                </a:cubicBezTo>
                <a:cubicBezTo>
                  <a:pt x="56" y="15"/>
                  <a:pt x="56" y="15"/>
                  <a:pt x="56" y="15"/>
                </a:cubicBezTo>
                <a:cubicBezTo>
                  <a:pt x="59" y="2"/>
                  <a:pt x="59" y="2"/>
                  <a:pt x="59" y="2"/>
                </a:cubicBezTo>
                <a:cubicBezTo>
                  <a:pt x="59" y="1"/>
                  <a:pt x="60" y="1"/>
                  <a:pt x="60" y="0"/>
                </a:cubicBezTo>
                <a:cubicBezTo>
                  <a:pt x="61" y="0"/>
                  <a:pt x="61" y="0"/>
                  <a:pt x="62" y="1"/>
                </a:cubicBezTo>
                <a:cubicBezTo>
                  <a:pt x="72" y="9"/>
                  <a:pt x="72" y="9"/>
                  <a:pt x="72" y="9"/>
                </a:cubicBezTo>
                <a:cubicBezTo>
                  <a:pt x="79" y="9"/>
                  <a:pt x="79" y="9"/>
                  <a:pt x="79" y="9"/>
                </a:cubicBezTo>
                <a:cubicBezTo>
                  <a:pt x="79" y="9"/>
                  <a:pt x="80" y="9"/>
                  <a:pt x="80" y="10"/>
                </a:cubicBezTo>
                <a:cubicBezTo>
                  <a:pt x="85" y="16"/>
                  <a:pt x="85" y="16"/>
                  <a:pt x="85" y="16"/>
                </a:cubicBezTo>
                <a:cubicBezTo>
                  <a:pt x="85" y="16"/>
                  <a:pt x="86" y="16"/>
                  <a:pt x="86" y="17"/>
                </a:cubicBezTo>
                <a:cubicBezTo>
                  <a:pt x="87" y="34"/>
                  <a:pt x="81" y="42"/>
                  <a:pt x="81" y="44"/>
                </a:cubicBezTo>
                <a:cubicBezTo>
                  <a:pt x="74" y="54"/>
                  <a:pt x="61" y="58"/>
                  <a:pt x="57" y="59"/>
                </a:cubicBezTo>
                <a:cubicBezTo>
                  <a:pt x="57" y="74"/>
                  <a:pt x="57" y="74"/>
                  <a:pt x="57" y="74"/>
                </a:cubicBezTo>
                <a:cubicBezTo>
                  <a:pt x="57" y="75"/>
                  <a:pt x="56" y="76"/>
                  <a:pt x="55" y="76"/>
                </a:cubicBezTo>
                <a:close/>
                <a:moveTo>
                  <a:pt x="32" y="72"/>
                </a:moveTo>
                <a:cubicBezTo>
                  <a:pt x="53" y="72"/>
                  <a:pt x="53" y="72"/>
                  <a:pt x="53" y="72"/>
                </a:cubicBezTo>
                <a:cubicBezTo>
                  <a:pt x="53" y="57"/>
                  <a:pt x="53" y="57"/>
                  <a:pt x="53" y="57"/>
                </a:cubicBezTo>
                <a:cubicBezTo>
                  <a:pt x="53" y="56"/>
                  <a:pt x="54" y="56"/>
                  <a:pt x="54" y="55"/>
                </a:cubicBezTo>
                <a:cubicBezTo>
                  <a:pt x="55" y="55"/>
                  <a:pt x="71" y="53"/>
                  <a:pt x="77" y="42"/>
                </a:cubicBezTo>
                <a:cubicBezTo>
                  <a:pt x="77" y="41"/>
                  <a:pt x="78" y="41"/>
                  <a:pt x="78" y="41"/>
                </a:cubicBezTo>
                <a:cubicBezTo>
                  <a:pt x="78" y="41"/>
                  <a:pt x="83" y="34"/>
                  <a:pt x="82" y="17"/>
                </a:cubicBezTo>
                <a:cubicBezTo>
                  <a:pt x="78" y="13"/>
                  <a:pt x="78" y="13"/>
                  <a:pt x="78" y="13"/>
                </a:cubicBezTo>
                <a:cubicBezTo>
                  <a:pt x="72" y="13"/>
                  <a:pt x="72" y="13"/>
                  <a:pt x="72" y="13"/>
                </a:cubicBezTo>
                <a:cubicBezTo>
                  <a:pt x="71" y="13"/>
                  <a:pt x="71" y="12"/>
                  <a:pt x="70" y="12"/>
                </a:cubicBezTo>
                <a:cubicBezTo>
                  <a:pt x="62" y="5"/>
                  <a:pt x="62" y="5"/>
                  <a:pt x="62" y="5"/>
                </a:cubicBezTo>
                <a:cubicBezTo>
                  <a:pt x="59" y="17"/>
                  <a:pt x="59" y="17"/>
                  <a:pt x="59" y="17"/>
                </a:cubicBezTo>
                <a:cubicBezTo>
                  <a:pt x="59" y="18"/>
                  <a:pt x="58" y="19"/>
                  <a:pt x="57" y="19"/>
                </a:cubicBezTo>
                <a:cubicBezTo>
                  <a:pt x="47" y="19"/>
                  <a:pt x="47" y="19"/>
                  <a:pt x="47" y="19"/>
                </a:cubicBezTo>
                <a:cubicBezTo>
                  <a:pt x="50" y="20"/>
                  <a:pt x="52" y="22"/>
                  <a:pt x="52" y="25"/>
                </a:cubicBezTo>
                <a:cubicBezTo>
                  <a:pt x="53" y="26"/>
                  <a:pt x="53" y="29"/>
                  <a:pt x="50" y="32"/>
                </a:cubicBezTo>
                <a:cubicBezTo>
                  <a:pt x="50" y="32"/>
                  <a:pt x="50" y="32"/>
                  <a:pt x="49" y="32"/>
                </a:cubicBezTo>
                <a:cubicBezTo>
                  <a:pt x="49" y="32"/>
                  <a:pt x="45" y="35"/>
                  <a:pt x="38" y="35"/>
                </a:cubicBezTo>
                <a:cubicBezTo>
                  <a:pt x="30" y="35"/>
                  <a:pt x="21" y="32"/>
                  <a:pt x="11" y="26"/>
                </a:cubicBezTo>
                <a:cubicBezTo>
                  <a:pt x="5" y="50"/>
                  <a:pt x="5" y="50"/>
                  <a:pt x="5" y="50"/>
                </a:cubicBezTo>
                <a:cubicBezTo>
                  <a:pt x="7" y="51"/>
                  <a:pt x="15" y="56"/>
                  <a:pt x="31" y="58"/>
                </a:cubicBezTo>
                <a:cubicBezTo>
                  <a:pt x="32" y="58"/>
                  <a:pt x="32" y="59"/>
                  <a:pt x="32" y="60"/>
                </a:cubicBezTo>
                <a:lnTo>
                  <a:pt x="32" y="7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84" name="Freeform 156"/>
          <p:cNvSpPr>
            <a:spLocks noEditPoints="1"/>
          </p:cNvSpPr>
          <p:nvPr/>
        </p:nvSpPr>
        <p:spPr bwMode="auto">
          <a:xfrm>
            <a:off x="4977607" y="2892426"/>
            <a:ext cx="322263" cy="266700"/>
          </a:xfrm>
          <a:custGeom>
            <a:avLst/>
            <a:gdLst/>
            <a:ahLst/>
            <a:cxnLst>
              <a:cxn ang="0">
                <a:pos x="23" y="70"/>
              </a:cxn>
              <a:cxn ang="0">
                <a:pos x="23" y="70"/>
              </a:cxn>
              <a:cxn ang="0">
                <a:pos x="9" y="66"/>
              </a:cxn>
              <a:cxn ang="0">
                <a:pos x="8" y="65"/>
              </a:cxn>
              <a:cxn ang="0">
                <a:pos x="10" y="32"/>
              </a:cxn>
              <a:cxn ang="0">
                <a:pos x="32" y="16"/>
              </a:cxn>
              <a:cxn ang="0">
                <a:pos x="32" y="2"/>
              </a:cxn>
              <a:cxn ang="0">
                <a:pos x="34" y="0"/>
              </a:cxn>
              <a:cxn ang="0">
                <a:pos x="59" y="0"/>
              </a:cxn>
              <a:cxn ang="0">
                <a:pos x="60" y="2"/>
              </a:cxn>
              <a:cxn ang="0">
                <a:pos x="60" y="14"/>
              </a:cxn>
              <a:cxn ang="0">
                <a:pos x="84" y="22"/>
              </a:cxn>
              <a:cxn ang="0">
                <a:pos x="84" y="24"/>
              </a:cxn>
              <a:cxn ang="0">
                <a:pos x="78" y="51"/>
              </a:cxn>
              <a:cxn ang="0">
                <a:pos x="76" y="52"/>
              </a:cxn>
              <a:cxn ang="0">
                <a:pos x="75" y="52"/>
              </a:cxn>
              <a:cxn ang="0">
                <a:pos x="49" y="44"/>
              </a:cxn>
              <a:cxn ang="0">
                <a:pos x="48" y="44"/>
              </a:cxn>
              <a:cxn ang="0">
                <a:pos x="48" y="44"/>
              </a:cxn>
              <a:cxn ang="0">
                <a:pos x="48" y="44"/>
              </a:cxn>
              <a:cxn ang="0">
                <a:pos x="41" y="47"/>
              </a:cxn>
              <a:cxn ang="0">
                <a:pos x="41" y="47"/>
              </a:cxn>
              <a:cxn ang="0">
                <a:pos x="43" y="49"/>
              </a:cxn>
              <a:cxn ang="0">
                <a:pos x="44" y="51"/>
              </a:cxn>
              <a:cxn ang="0">
                <a:pos x="41" y="65"/>
              </a:cxn>
              <a:cxn ang="0">
                <a:pos x="40" y="67"/>
              </a:cxn>
              <a:cxn ang="0">
                <a:pos x="38" y="66"/>
              </a:cxn>
              <a:cxn ang="0">
                <a:pos x="27" y="59"/>
              </a:cxn>
              <a:cxn ang="0">
                <a:pos x="25" y="69"/>
              </a:cxn>
              <a:cxn ang="0">
                <a:pos x="24" y="70"/>
              </a:cxn>
              <a:cxn ang="0">
                <a:pos x="23" y="70"/>
              </a:cxn>
              <a:cxn ang="0">
                <a:pos x="11" y="63"/>
              </a:cxn>
              <a:cxn ang="0">
                <a:pos x="22" y="66"/>
              </a:cxn>
              <a:cxn ang="0">
                <a:pos x="24" y="56"/>
              </a:cxn>
              <a:cxn ang="0">
                <a:pos x="25" y="55"/>
              </a:cxn>
              <a:cxn ang="0">
                <a:pos x="27" y="55"/>
              </a:cxn>
              <a:cxn ang="0">
                <a:pos x="38" y="62"/>
              </a:cxn>
              <a:cxn ang="0">
                <a:pos x="40" y="52"/>
              </a:cxn>
              <a:cxn ang="0">
                <a:pos x="38" y="46"/>
              </a:cxn>
              <a:cxn ang="0">
                <a:pos x="48" y="40"/>
              </a:cxn>
              <a:cxn ang="0">
                <a:pos x="48" y="40"/>
              </a:cxn>
              <a:cxn ang="0">
                <a:pos x="49" y="40"/>
              </a:cxn>
              <a:cxn ang="0">
                <a:pos x="75" y="48"/>
              </a:cxn>
              <a:cxn ang="0">
                <a:pos x="80" y="25"/>
              </a:cxn>
              <a:cxn ang="0">
                <a:pos x="59" y="18"/>
              </a:cxn>
              <a:cxn ang="0">
                <a:pos x="57" y="16"/>
              </a:cxn>
              <a:cxn ang="0">
                <a:pos x="57" y="4"/>
              </a:cxn>
              <a:cxn ang="0">
                <a:pos x="36" y="4"/>
              </a:cxn>
              <a:cxn ang="0">
                <a:pos x="36" y="17"/>
              </a:cxn>
              <a:cxn ang="0">
                <a:pos x="34" y="19"/>
              </a:cxn>
              <a:cxn ang="0">
                <a:pos x="13" y="34"/>
              </a:cxn>
              <a:cxn ang="0">
                <a:pos x="13" y="34"/>
              </a:cxn>
              <a:cxn ang="0">
                <a:pos x="11" y="63"/>
              </a:cxn>
            </a:cxnLst>
            <a:rect l="0" t="0" r="r" b="b"/>
            <a:pathLst>
              <a:path w="85" h="70">
                <a:moveTo>
                  <a:pt x="23" y="70"/>
                </a:moveTo>
                <a:cubicBezTo>
                  <a:pt x="23" y="70"/>
                  <a:pt x="23" y="70"/>
                  <a:pt x="23" y="70"/>
                </a:cubicBezTo>
                <a:cubicBezTo>
                  <a:pt x="9" y="66"/>
                  <a:pt x="9" y="66"/>
                  <a:pt x="9" y="66"/>
                </a:cubicBezTo>
                <a:cubicBezTo>
                  <a:pt x="8" y="66"/>
                  <a:pt x="8" y="66"/>
                  <a:pt x="8" y="65"/>
                </a:cubicBezTo>
                <a:cubicBezTo>
                  <a:pt x="0" y="48"/>
                  <a:pt x="9" y="33"/>
                  <a:pt x="10" y="32"/>
                </a:cubicBezTo>
                <a:cubicBezTo>
                  <a:pt x="15" y="23"/>
                  <a:pt x="28" y="18"/>
                  <a:pt x="32" y="16"/>
                </a:cubicBezTo>
                <a:cubicBezTo>
                  <a:pt x="32" y="2"/>
                  <a:pt x="32" y="2"/>
                  <a:pt x="32" y="2"/>
                </a:cubicBezTo>
                <a:cubicBezTo>
                  <a:pt x="32" y="1"/>
                  <a:pt x="33" y="0"/>
                  <a:pt x="34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60" y="0"/>
                  <a:pt x="60" y="1"/>
                  <a:pt x="60" y="2"/>
                </a:cubicBezTo>
                <a:cubicBezTo>
                  <a:pt x="60" y="14"/>
                  <a:pt x="60" y="14"/>
                  <a:pt x="60" y="14"/>
                </a:cubicBezTo>
                <a:cubicBezTo>
                  <a:pt x="73" y="15"/>
                  <a:pt x="83" y="22"/>
                  <a:pt x="84" y="22"/>
                </a:cubicBezTo>
                <a:cubicBezTo>
                  <a:pt x="84" y="23"/>
                  <a:pt x="85" y="24"/>
                  <a:pt x="84" y="24"/>
                </a:cubicBezTo>
                <a:cubicBezTo>
                  <a:pt x="78" y="51"/>
                  <a:pt x="78" y="51"/>
                  <a:pt x="78" y="51"/>
                </a:cubicBezTo>
                <a:cubicBezTo>
                  <a:pt x="77" y="52"/>
                  <a:pt x="77" y="52"/>
                  <a:pt x="76" y="52"/>
                </a:cubicBezTo>
                <a:cubicBezTo>
                  <a:pt x="76" y="53"/>
                  <a:pt x="75" y="53"/>
                  <a:pt x="75" y="52"/>
                </a:cubicBezTo>
                <a:cubicBezTo>
                  <a:pt x="62" y="44"/>
                  <a:pt x="51" y="44"/>
                  <a:pt x="49" y="44"/>
                </a:cubicBezTo>
                <a:cubicBezTo>
                  <a:pt x="48" y="44"/>
                  <a:pt x="48" y="44"/>
                  <a:pt x="48" y="44"/>
                </a:cubicBezTo>
                <a:cubicBezTo>
                  <a:pt x="48" y="44"/>
                  <a:pt x="48" y="44"/>
                  <a:pt x="48" y="44"/>
                </a:cubicBezTo>
                <a:cubicBezTo>
                  <a:pt x="48" y="44"/>
                  <a:pt x="48" y="44"/>
                  <a:pt x="48" y="44"/>
                </a:cubicBezTo>
                <a:cubicBezTo>
                  <a:pt x="42" y="44"/>
                  <a:pt x="41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8"/>
                  <a:pt x="43" y="49"/>
                  <a:pt x="43" y="49"/>
                </a:cubicBezTo>
                <a:cubicBezTo>
                  <a:pt x="44" y="50"/>
                  <a:pt x="44" y="51"/>
                  <a:pt x="44" y="51"/>
                </a:cubicBezTo>
                <a:cubicBezTo>
                  <a:pt x="41" y="65"/>
                  <a:pt x="41" y="65"/>
                  <a:pt x="41" y="65"/>
                </a:cubicBezTo>
                <a:cubicBezTo>
                  <a:pt x="41" y="66"/>
                  <a:pt x="41" y="66"/>
                  <a:pt x="40" y="67"/>
                </a:cubicBezTo>
                <a:cubicBezTo>
                  <a:pt x="39" y="67"/>
                  <a:pt x="39" y="67"/>
                  <a:pt x="38" y="66"/>
                </a:cubicBezTo>
                <a:cubicBezTo>
                  <a:pt x="27" y="59"/>
                  <a:pt x="27" y="59"/>
                  <a:pt x="27" y="59"/>
                </a:cubicBezTo>
                <a:cubicBezTo>
                  <a:pt x="25" y="69"/>
                  <a:pt x="25" y="69"/>
                  <a:pt x="25" y="69"/>
                </a:cubicBezTo>
                <a:cubicBezTo>
                  <a:pt x="25" y="69"/>
                  <a:pt x="24" y="70"/>
                  <a:pt x="24" y="70"/>
                </a:cubicBezTo>
                <a:cubicBezTo>
                  <a:pt x="24" y="70"/>
                  <a:pt x="23" y="70"/>
                  <a:pt x="23" y="70"/>
                </a:cubicBezTo>
                <a:close/>
                <a:moveTo>
                  <a:pt x="11" y="63"/>
                </a:moveTo>
                <a:cubicBezTo>
                  <a:pt x="22" y="66"/>
                  <a:pt x="22" y="66"/>
                  <a:pt x="22" y="66"/>
                </a:cubicBezTo>
                <a:cubicBezTo>
                  <a:pt x="24" y="56"/>
                  <a:pt x="24" y="56"/>
                  <a:pt x="24" y="56"/>
                </a:cubicBezTo>
                <a:cubicBezTo>
                  <a:pt x="24" y="55"/>
                  <a:pt x="24" y="55"/>
                  <a:pt x="25" y="55"/>
                </a:cubicBezTo>
                <a:cubicBezTo>
                  <a:pt x="25" y="54"/>
                  <a:pt x="26" y="55"/>
                  <a:pt x="27" y="55"/>
                </a:cubicBezTo>
                <a:cubicBezTo>
                  <a:pt x="38" y="62"/>
                  <a:pt x="38" y="62"/>
                  <a:pt x="38" y="6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1"/>
                  <a:pt x="37" y="49"/>
                  <a:pt x="38" y="46"/>
                </a:cubicBezTo>
                <a:cubicBezTo>
                  <a:pt x="38" y="45"/>
                  <a:pt x="39" y="40"/>
                  <a:pt x="48" y="40"/>
                </a:cubicBezTo>
                <a:cubicBezTo>
                  <a:pt x="48" y="40"/>
                  <a:pt x="48" y="40"/>
                  <a:pt x="48" y="40"/>
                </a:cubicBezTo>
                <a:cubicBezTo>
                  <a:pt x="48" y="40"/>
                  <a:pt x="48" y="40"/>
                  <a:pt x="49" y="40"/>
                </a:cubicBezTo>
                <a:cubicBezTo>
                  <a:pt x="52" y="40"/>
                  <a:pt x="62" y="41"/>
                  <a:pt x="75" y="48"/>
                </a:cubicBezTo>
                <a:cubicBezTo>
                  <a:pt x="80" y="25"/>
                  <a:pt x="80" y="25"/>
                  <a:pt x="80" y="25"/>
                </a:cubicBezTo>
                <a:cubicBezTo>
                  <a:pt x="78" y="23"/>
                  <a:pt x="69" y="18"/>
                  <a:pt x="59" y="18"/>
                </a:cubicBezTo>
                <a:cubicBezTo>
                  <a:pt x="58" y="18"/>
                  <a:pt x="57" y="17"/>
                  <a:pt x="57" y="16"/>
                </a:cubicBezTo>
                <a:cubicBezTo>
                  <a:pt x="57" y="4"/>
                  <a:pt x="57" y="4"/>
                  <a:pt x="57" y="4"/>
                </a:cubicBezTo>
                <a:cubicBezTo>
                  <a:pt x="36" y="4"/>
                  <a:pt x="36" y="4"/>
                  <a:pt x="36" y="4"/>
                </a:cubicBezTo>
                <a:cubicBezTo>
                  <a:pt x="36" y="17"/>
                  <a:pt x="36" y="17"/>
                  <a:pt x="36" y="17"/>
                </a:cubicBezTo>
                <a:cubicBezTo>
                  <a:pt x="36" y="18"/>
                  <a:pt x="35" y="19"/>
                  <a:pt x="34" y="19"/>
                </a:cubicBezTo>
                <a:cubicBezTo>
                  <a:pt x="34" y="19"/>
                  <a:pt x="19" y="24"/>
                  <a:pt x="13" y="34"/>
                </a:cubicBezTo>
                <a:cubicBezTo>
                  <a:pt x="13" y="34"/>
                  <a:pt x="13" y="34"/>
                  <a:pt x="13" y="34"/>
                </a:cubicBezTo>
                <a:cubicBezTo>
                  <a:pt x="12" y="34"/>
                  <a:pt x="4" y="47"/>
                  <a:pt x="11" y="6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287" name="Group 159"/>
          <p:cNvGrpSpPr>
            <a:grpSpLocks noChangeAspect="1"/>
          </p:cNvGrpSpPr>
          <p:nvPr/>
        </p:nvGrpSpPr>
        <p:grpSpPr bwMode="auto">
          <a:xfrm>
            <a:off x="5845969" y="2773364"/>
            <a:ext cx="790575" cy="792163"/>
            <a:chOff x="3691" y="1747"/>
            <a:chExt cx="498" cy="499"/>
          </a:xfrm>
        </p:grpSpPr>
        <p:sp>
          <p:nvSpPr>
            <p:cNvPr id="48288" name="Freeform 160"/>
            <p:cNvSpPr>
              <a:spLocks noEditPoints="1"/>
            </p:cNvSpPr>
            <p:nvPr/>
          </p:nvSpPr>
          <p:spPr bwMode="auto">
            <a:xfrm>
              <a:off x="3691" y="1747"/>
              <a:ext cx="498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2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2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89" name="Freeform 161"/>
            <p:cNvSpPr>
              <a:spLocks noEditPoints="1"/>
            </p:cNvSpPr>
            <p:nvPr/>
          </p:nvSpPr>
          <p:spPr bwMode="auto">
            <a:xfrm>
              <a:off x="3834" y="1985"/>
              <a:ext cx="209" cy="182"/>
            </a:xfrm>
            <a:custGeom>
              <a:avLst/>
              <a:gdLst/>
              <a:ahLst/>
              <a:cxnLst>
                <a:cxn ang="0">
                  <a:pos x="55" y="76"/>
                </a:cxn>
                <a:cxn ang="0">
                  <a:pos x="30" y="76"/>
                </a:cxn>
                <a:cxn ang="0">
                  <a:pos x="29" y="74"/>
                </a:cxn>
                <a:cxn ang="0">
                  <a:pos x="29" y="61"/>
                </a:cxn>
                <a:cxn ang="0">
                  <a:pos x="1" y="52"/>
                </a:cxn>
                <a:cxn ang="0">
                  <a:pos x="1" y="50"/>
                </a:cxn>
                <a:cxn ang="0">
                  <a:pos x="8" y="22"/>
                </a:cxn>
                <a:cxn ang="0">
                  <a:pos x="9" y="21"/>
                </a:cxn>
                <a:cxn ang="0">
                  <a:pos x="11" y="21"/>
                </a:cxn>
                <a:cxn ang="0">
                  <a:pos x="38" y="31"/>
                </a:cxn>
                <a:cxn ang="0">
                  <a:pos x="47" y="29"/>
                </a:cxn>
                <a:cxn ang="0">
                  <a:pos x="49" y="26"/>
                </a:cxn>
                <a:cxn ang="0">
                  <a:pos x="39" y="19"/>
                </a:cxn>
                <a:cxn ang="0">
                  <a:pos x="38" y="17"/>
                </a:cxn>
                <a:cxn ang="0">
                  <a:pos x="40" y="16"/>
                </a:cxn>
                <a:cxn ang="0">
                  <a:pos x="56" y="15"/>
                </a:cxn>
                <a:cxn ang="0">
                  <a:pos x="59" y="2"/>
                </a:cxn>
                <a:cxn ang="0">
                  <a:pos x="60" y="0"/>
                </a:cxn>
                <a:cxn ang="0">
                  <a:pos x="62" y="1"/>
                </a:cxn>
                <a:cxn ang="0">
                  <a:pos x="72" y="9"/>
                </a:cxn>
                <a:cxn ang="0">
                  <a:pos x="79" y="9"/>
                </a:cxn>
                <a:cxn ang="0">
                  <a:pos x="80" y="10"/>
                </a:cxn>
                <a:cxn ang="0">
                  <a:pos x="85" y="16"/>
                </a:cxn>
                <a:cxn ang="0">
                  <a:pos x="86" y="17"/>
                </a:cxn>
                <a:cxn ang="0">
                  <a:pos x="81" y="44"/>
                </a:cxn>
                <a:cxn ang="0">
                  <a:pos x="57" y="59"/>
                </a:cxn>
                <a:cxn ang="0">
                  <a:pos x="57" y="74"/>
                </a:cxn>
                <a:cxn ang="0">
                  <a:pos x="55" y="76"/>
                </a:cxn>
                <a:cxn ang="0">
                  <a:pos x="32" y="72"/>
                </a:cxn>
                <a:cxn ang="0">
                  <a:pos x="53" y="72"/>
                </a:cxn>
                <a:cxn ang="0">
                  <a:pos x="53" y="57"/>
                </a:cxn>
                <a:cxn ang="0">
                  <a:pos x="54" y="55"/>
                </a:cxn>
                <a:cxn ang="0">
                  <a:pos x="77" y="42"/>
                </a:cxn>
                <a:cxn ang="0">
                  <a:pos x="78" y="41"/>
                </a:cxn>
                <a:cxn ang="0">
                  <a:pos x="82" y="17"/>
                </a:cxn>
                <a:cxn ang="0">
                  <a:pos x="78" y="13"/>
                </a:cxn>
                <a:cxn ang="0">
                  <a:pos x="72" y="13"/>
                </a:cxn>
                <a:cxn ang="0">
                  <a:pos x="70" y="12"/>
                </a:cxn>
                <a:cxn ang="0">
                  <a:pos x="62" y="5"/>
                </a:cxn>
                <a:cxn ang="0">
                  <a:pos x="59" y="17"/>
                </a:cxn>
                <a:cxn ang="0">
                  <a:pos x="57" y="19"/>
                </a:cxn>
                <a:cxn ang="0">
                  <a:pos x="47" y="19"/>
                </a:cxn>
                <a:cxn ang="0">
                  <a:pos x="52" y="25"/>
                </a:cxn>
                <a:cxn ang="0">
                  <a:pos x="50" y="32"/>
                </a:cxn>
                <a:cxn ang="0">
                  <a:pos x="49" y="32"/>
                </a:cxn>
                <a:cxn ang="0">
                  <a:pos x="38" y="35"/>
                </a:cxn>
                <a:cxn ang="0">
                  <a:pos x="11" y="26"/>
                </a:cxn>
                <a:cxn ang="0">
                  <a:pos x="5" y="50"/>
                </a:cxn>
                <a:cxn ang="0">
                  <a:pos x="31" y="58"/>
                </a:cxn>
                <a:cxn ang="0">
                  <a:pos x="32" y="60"/>
                </a:cxn>
                <a:cxn ang="0">
                  <a:pos x="32" y="72"/>
                </a:cxn>
              </a:cxnLst>
              <a:rect l="0" t="0" r="r" b="b"/>
              <a:pathLst>
                <a:path w="87" h="76">
                  <a:moveTo>
                    <a:pt x="55" y="76"/>
                  </a:move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5"/>
                    <a:pt x="29" y="74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9" y="58"/>
                    <a:pt x="2" y="52"/>
                    <a:pt x="1" y="52"/>
                  </a:cubicBezTo>
                  <a:cubicBezTo>
                    <a:pt x="1" y="51"/>
                    <a:pt x="0" y="51"/>
                    <a:pt x="1" y="5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1"/>
                    <a:pt x="9" y="21"/>
                  </a:cubicBezTo>
                  <a:cubicBezTo>
                    <a:pt x="10" y="21"/>
                    <a:pt x="10" y="21"/>
                    <a:pt x="11" y="21"/>
                  </a:cubicBezTo>
                  <a:cubicBezTo>
                    <a:pt x="23" y="29"/>
                    <a:pt x="32" y="31"/>
                    <a:pt x="38" y="31"/>
                  </a:cubicBezTo>
                  <a:cubicBezTo>
                    <a:pt x="43" y="31"/>
                    <a:pt x="47" y="29"/>
                    <a:pt x="47" y="29"/>
                  </a:cubicBezTo>
                  <a:cubicBezTo>
                    <a:pt x="49" y="27"/>
                    <a:pt x="49" y="26"/>
                    <a:pt x="49" y="26"/>
                  </a:cubicBezTo>
                  <a:cubicBezTo>
                    <a:pt x="48" y="23"/>
                    <a:pt x="43" y="20"/>
                    <a:pt x="39" y="19"/>
                  </a:cubicBezTo>
                  <a:cubicBezTo>
                    <a:pt x="39" y="19"/>
                    <a:pt x="38" y="18"/>
                    <a:pt x="38" y="17"/>
                  </a:cubicBezTo>
                  <a:cubicBezTo>
                    <a:pt x="38" y="16"/>
                    <a:pt x="39" y="16"/>
                    <a:pt x="40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60" y="1"/>
                    <a:pt x="60" y="0"/>
                  </a:cubicBezTo>
                  <a:cubicBezTo>
                    <a:pt x="61" y="0"/>
                    <a:pt x="61" y="0"/>
                    <a:pt x="62" y="1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80" y="9"/>
                    <a:pt x="80" y="10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6" y="16"/>
                    <a:pt x="86" y="17"/>
                  </a:cubicBezTo>
                  <a:cubicBezTo>
                    <a:pt x="87" y="34"/>
                    <a:pt x="81" y="42"/>
                    <a:pt x="81" y="44"/>
                  </a:cubicBezTo>
                  <a:cubicBezTo>
                    <a:pt x="74" y="54"/>
                    <a:pt x="61" y="58"/>
                    <a:pt x="57" y="59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5"/>
                    <a:pt x="56" y="76"/>
                    <a:pt x="55" y="76"/>
                  </a:cubicBezTo>
                  <a:close/>
                  <a:moveTo>
                    <a:pt x="32" y="72"/>
                  </a:moveTo>
                  <a:cubicBezTo>
                    <a:pt x="53" y="72"/>
                    <a:pt x="53" y="72"/>
                    <a:pt x="53" y="72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6"/>
                    <a:pt x="54" y="56"/>
                    <a:pt x="54" y="55"/>
                  </a:cubicBezTo>
                  <a:cubicBezTo>
                    <a:pt x="55" y="55"/>
                    <a:pt x="71" y="53"/>
                    <a:pt x="77" y="42"/>
                  </a:cubicBezTo>
                  <a:cubicBezTo>
                    <a:pt x="77" y="41"/>
                    <a:pt x="78" y="41"/>
                    <a:pt x="78" y="41"/>
                  </a:cubicBezTo>
                  <a:cubicBezTo>
                    <a:pt x="78" y="41"/>
                    <a:pt x="83" y="34"/>
                    <a:pt x="82" y="17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1" y="13"/>
                    <a:pt x="71" y="12"/>
                    <a:pt x="70" y="12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8"/>
                    <a:pt x="58" y="19"/>
                    <a:pt x="5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50" y="20"/>
                    <a:pt x="52" y="22"/>
                    <a:pt x="52" y="25"/>
                  </a:cubicBezTo>
                  <a:cubicBezTo>
                    <a:pt x="53" y="26"/>
                    <a:pt x="53" y="29"/>
                    <a:pt x="50" y="32"/>
                  </a:cubicBezTo>
                  <a:cubicBezTo>
                    <a:pt x="50" y="32"/>
                    <a:pt x="50" y="32"/>
                    <a:pt x="49" y="32"/>
                  </a:cubicBezTo>
                  <a:cubicBezTo>
                    <a:pt x="49" y="32"/>
                    <a:pt x="45" y="35"/>
                    <a:pt x="38" y="35"/>
                  </a:cubicBezTo>
                  <a:cubicBezTo>
                    <a:pt x="30" y="35"/>
                    <a:pt x="21" y="32"/>
                    <a:pt x="11" y="26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7" y="51"/>
                    <a:pt x="15" y="56"/>
                    <a:pt x="31" y="58"/>
                  </a:cubicBezTo>
                  <a:cubicBezTo>
                    <a:pt x="32" y="58"/>
                    <a:pt x="32" y="59"/>
                    <a:pt x="32" y="60"/>
                  </a:cubicBezTo>
                  <a:lnTo>
                    <a:pt x="32" y="7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90" name="Freeform 162"/>
            <p:cNvSpPr>
              <a:spLocks noEditPoints="1"/>
            </p:cNvSpPr>
            <p:nvPr/>
          </p:nvSpPr>
          <p:spPr bwMode="auto">
            <a:xfrm>
              <a:off x="3830" y="1822"/>
              <a:ext cx="203" cy="167"/>
            </a:xfrm>
            <a:custGeom>
              <a:avLst/>
              <a:gdLst/>
              <a:ahLst/>
              <a:cxnLst>
                <a:cxn ang="0">
                  <a:pos x="23" y="70"/>
                </a:cxn>
                <a:cxn ang="0">
                  <a:pos x="23" y="70"/>
                </a:cxn>
                <a:cxn ang="0">
                  <a:pos x="9" y="66"/>
                </a:cxn>
                <a:cxn ang="0">
                  <a:pos x="8" y="65"/>
                </a:cxn>
                <a:cxn ang="0">
                  <a:pos x="10" y="32"/>
                </a:cxn>
                <a:cxn ang="0">
                  <a:pos x="32" y="16"/>
                </a:cxn>
                <a:cxn ang="0">
                  <a:pos x="32" y="2"/>
                </a:cxn>
                <a:cxn ang="0">
                  <a:pos x="34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14"/>
                </a:cxn>
                <a:cxn ang="0">
                  <a:pos x="84" y="22"/>
                </a:cxn>
                <a:cxn ang="0">
                  <a:pos x="84" y="24"/>
                </a:cxn>
                <a:cxn ang="0">
                  <a:pos x="78" y="51"/>
                </a:cxn>
                <a:cxn ang="0">
                  <a:pos x="76" y="52"/>
                </a:cxn>
                <a:cxn ang="0">
                  <a:pos x="75" y="52"/>
                </a:cxn>
                <a:cxn ang="0">
                  <a:pos x="49" y="44"/>
                </a:cxn>
                <a:cxn ang="0">
                  <a:pos x="48" y="44"/>
                </a:cxn>
                <a:cxn ang="0">
                  <a:pos x="48" y="44"/>
                </a:cxn>
                <a:cxn ang="0">
                  <a:pos x="48" y="44"/>
                </a:cxn>
                <a:cxn ang="0">
                  <a:pos x="41" y="47"/>
                </a:cxn>
                <a:cxn ang="0">
                  <a:pos x="41" y="47"/>
                </a:cxn>
                <a:cxn ang="0">
                  <a:pos x="43" y="49"/>
                </a:cxn>
                <a:cxn ang="0">
                  <a:pos x="44" y="51"/>
                </a:cxn>
                <a:cxn ang="0">
                  <a:pos x="41" y="65"/>
                </a:cxn>
                <a:cxn ang="0">
                  <a:pos x="40" y="67"/>
                </a:cxn>
                <a:cxn ang="0">
                  <a:pos x="38" y="66"/>
                </a:cxn>
                <a:cxn ang="0">
                  <a:pos x="27" y="59"/>
                </a:cxn>
                <a:cxn ang="0">
                  <a:pos x="25" y="69"/>
                </a:cxn>
                <a:cxn ang="0">
                  <a:pos x="24" y="70"/>
                </a:cxn>
                <a:cxn ang="0">
                  <a:pos x="23" y="70"/>
                </a:cxn>
                <a:cxn ang="0">
                  <a:pos x="11" y="63"/>
                </a:cxn>
                <a:cxn ang="0">
                  <a:pos x="22" y="66"/>
                </a:cxn>
                <a:cxn ang="0">
                  <a:pos x="24" y="56"/>
                </a:cxn>
                <a:cxn ang="0">
                  <a:pos x="25" y="55"/>
                </a:cxn>
                <a:cxn ang="0">
                  <a:pos x="27" y="55"/>
                </a:cxn>
                <a:cxn ang="0">
                  <a:pos x="38" y="62"/>
                </a:cxn>
                <a:cxn ang="0">
                  <a:pos x="40" y="52"/>
                </a:cxn>
                <a:cxn ang="0">
                  <a:pos x="38" y="4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9" y="40"/>
                </a:cxn>
                <a:cxn ang="0">
                  <a:pos x="75" y="48"/>
                </a:cxn>
                <a:cxn ang="0">
                  <a:pos x="80" y="25"/>
                </a:cxn>
                <a:cxn ang="0">
                  <a:pos x="59" y="18"/>
                </a:cxn>
                <a:cxn ang="0">
                  <a:pos x="57" y="16"/>
                </a:cxn>
                <a:cxn ang="0">
                  <a:pos x="57" y="4"/>
                </a:cxn>
                <a:cxn ang="0">
                  <a:pos x="36" y="4"/>
                </a:cxn>
                <a:cxn ang="0">
                  <a:pos x="36" y="17"/>
                </a:cxn>
                <a:cxn ang="0">
                  <a:pos x="34" y="19"/>
                </a:cxn>
                <a:cxn ang="0">
                  <a:pos x="13" y="34"/>
                </a:cxn>
                <a:cxn ang="0">
                  <a:pos x="13" y="34"/>
                </a:cxn>
                <a:cxn ang="0">
                  <a:pos x="11" y="63"/>
                </a:cxn>
              </a:cxnLst>
              <a:rect l="0" t="0" r="r" b="b"/>
              <a:pathLst>
                <a:path w="85" h="70">
                  <a:moveTo>
                    <a:pt x="23" y="70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8" y="66"/>
                    <a:pt x="8" y="66"/>
                    <a:pt x="8" y="65"/>
                  </a:cubicBezTo>
                  <a:cubicBezTo>
                    <a:pt x="0" y="48"/>
                    <a:pt x="9" y="33"/>
                    <a:pt x="10" y="32"/>
                  </a:cubicBezTo>
                  <a:cubicBezTo>
                    <a:pt x="15" y="23"/>
                    <a:pt x="28" y="18"/>
                    <a:pt x="32" y="1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3" y="0"/>
                    <a:pt x="34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0" y="1"/>
                    <a:pt x="60" y="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73" y="15"/>
                    <a:pt x="83" y="22"/>
                    <a:pt x="84" y="22"/>
                  </a:cubicBezTo>
                  <a:cubicBezTo>
                    <a:pt x="84" y="23"/>
                    <a:pt x="85" y="24"/>
                    <a:pt x="84" y="24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7" y="52"/>
                    <a:pt x="77" y="52"/>
                    <a:pt x="76" y="52"/>
                  </a:cubicBezTo>
                  <a:cubicBezTo>
                    <a:pt x="76" y="53"/>
                    <a:pt x="75" y="53"/>
                    <a:pt x="75" y="52"/>
                  </a:cubicBezTo>
                  <a:cubicBezTo>
                    <a:pt x="62" y="44"/>
                    <a:pt x="51" y="44"/>
                    <a:pt x="49" y="44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2" y="44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8"/>
                    <a:pt x="43" y="49"/>
                    <a:pt x="43" y="49"/>
                  </a:cubicBezTo>
                  <a:cubicBezTo>
                    <a:pt x="44" y="50"/>
                    <a:pt x="44" y="51"/>
                    <a:pt x="44" y="51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6"/>
                    <a:pt x="41" y="66"/>
                    <a:pt x="40" y="67"/>
                  </a:cubicBezTo>
                  <a:cubicBezTo>
                    <a:pt x="39" y="67"/>
                    <a:pt x="39" y="67"/>
                    <a:pt x="38" y="66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4" y="70"/>
                    <a:pt x="24" y="70"/>
                  </a:cubicBezTo>
                  <a:cubicBezTo>
                    <a:pt x="24" y="70"/>
                    <a:pt x="23" y="70"/>
                    <a:pt x="23" y="70"/>
                  </a:cubicBezTo>
                  <a:close/>
                  <a:moveTo>
                    <a:pt x="11" y="63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5"/>
                    <a:pt x="24" y="55"/>
                    <a:pt x="25" y="55"/>
                  </a:cubicBezTo>
                  <a:cubicBezTo>
                    <a:pt x="25" y="54"/>
                    <a:pt x="26" y="55"/>
                    <a:pt x="27" y="55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39" y="51"/>
                    <a:pt x="37" y="49"/>
                    <a:pt x="38" y="46"/>
                  </a:cubicBezTo>
                  <a:cubicBezTo>
                    <a:pt x="38" y="45"/>
                    <a:pt x="39" y="40"/>
                    <a:pt x="48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9" y="40"/>
                  </a:cubicBezTo>
                  <a:cubicBezTo>
                    <a:pt x="52" y="40"/>
                    <a:pt x="62" y="41"/>
                    <a:pt x="75" y="48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78" y="23"/>
                    <a:pt x="69" y="18"/>
                    <a:pt x="59" y="18"/>
                  </a:cubicBezTo>
                  <a:cubicBezTo>
                    <a:pt x="58" y="18"/>
                    <a:pt x="57" y="17"/>
                    <a:pt x="57" y="16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5" y="19"/>
                    <a:pt x="34" y="19"/>
                  </a:cubicBezTo>
                  <a:cubicBezTo>
                    <a:pt x="34" y="19"/>
                    <a:pt x="19" y="24"/>
                    <a:pt x="13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2" y="34"/>
                    <a:pt x="4" y="47"/>
                    <a:pt x="11" y="6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6" name="Group 285"/>
          <p:cNvGrpSpPr/>
          <p:nvPr/>
        </p:nvGrpSpPr>
        <p:grpSpPr>
          <a:xfrm>
            <a:off x="6915943" y="2757488"/>
            <a:ext cx="827088" cy="827087"/>
            <a:chOff x="6915943" y="2757488"/>
            <a:chExt cx="827088" cy="827087"/>
          </a:xfrm>
        </p:grpSpPr>
        <p:sp>
          <p:nvSpPr>
            <p:cNvPr id="48294" name="Oval 166"/>
            <p:cNvSpPr>
              <a:spLocks noChangeArrowheads="1"/>
            </p:cNvSpPr>
            <p:nvPr/>
          </p:nvSpPr>
          <p:spPr bwMode="auto">
            <a:xfrm>
              <a:off x="6915943" y="2757488"/>
              <a:ext cx="827088" cy="82708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95" name="Freeform 167"/>
            <p:cNvSpPr>
              <a:spLocks noEditPoints="1"/>
            </p:cNvSpPr>
            <p:nvPr/>
          </p:nvSpPr>
          <p:spPr bwMode="auto">
            <a:xfrm>
              <a:off x="6946106" y="2787650"/>
              <a:ext cx="766763" cy="766762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96" name="Freeform 168"/>
            <p:cNvSpPr>
              <a:spLocks noEditPoints="1"/>
            </p:cNvSpPr>
            <p:nvPr/>
          </p:nvSpPr>
          <p:spPr bwMode="auto">
            <a:xfrm>
              <a:off x="7154068" y="2943225"/>
              <a:ext cx="346075" cy="441325"/>
            </a:xfrm>
            <a:custGeom>
              <a:avLst/>
              <a:gdLst/>
              <a:ahLst/>
              <a:cxnLst>
                <a:cxn ang="0">
                  <a:pos x="173" y="45"/>
                </a:cxn>
                <a:cxn ang="0">
                  <a:pos x="173" y="9"/>
                </a:cxn>
                <a:cxn ang="0">
                  <a:pos x="173" y="0"/>
                </a:cxn>
                <a:cxn ang="0">
                  <a:pos x="163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209" y="278"/>
                </a:cxn>
                <a:cxn ang="0">
                  <a:pos x="218" y="278"/>
                </a:cxn>
                <a:cxn ang="0">
                  <a:pos x="218" y="268"/>
                </a:cxn>
                <a:cxn ang="0">
                  <a:pos x="218" y="55"/>
                </a:cxn>
                <a:cxn ang="0">
                  <a:pos x="218" y="45"/>
                </a:cxn>
                <a:cxn ang="0">
                  <a:pos x="209" y="45"/>
                </a:cxn>
                <a:cxn ang="0">
                  <a:pos x="173" y="45"/>
                </a:cxn>
                <a:cxn ang="0">
                  <a:pos x="209" y="268"/>
                </a:cxn>
                <a:cxn ang="0">
                  <a:pos x="10" y="268"/>
                </a:cxn>
                <a:cxn ang="0">
                  <a:pos x="10" y="9"/>
                </a:cxn>
                <a:cxn ang="0">
                  <a:pos x="163" y="9"/>
                </a:cxn>
                <a:cxn ang="0">
                  <a:pos x="163" y="55"/>
                </a:cxn>
                <a:cxn ang="0">
                  <a:pos x="209" y="55"/>
                </a:cxn>
                <a:cxn ang="0">
                  <a:pos x="209" y="268"/>
                </a:cxn>
              </a:cxnLst>
              <a:rect l="0" t="0" r="r" b="b"/>
              <a:pathLst>
                <a:path w="218" h="278">
                  <a:moveTo>
                    <a:pt x="173" y="45"/>
                  </a:moveTo>
                  <a:lnTo>
                    <a:pt x="173" y="9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209" y="278"/>
                  </a:lnTo>
                  <a:lnTo>
                    <a:pt x="218" y="278"/>
                  </a:lnTo>
                  <a:lnTo>
                    <a:pt x="218" y="268"/>
                  </a:lnTo>
                  <a:lnTo>
                    <a:pt x="218" y="55"/>
                  </a:lnTo>
                  <a:lnTo>
                    <a:pt x="218" y="45"/>
                  </a:lnTo>
                  <a:lnTo>
                    <a:pt x="209" y="45"/>
                  </a:lnTo>
                  <a:lnTo>
                    <a:pt x="173" y="45"/>
                  </a:lnTo>
                  <a:close/>
                  <a:moveTo>
                    <a:pt x="209" y="268"/>
                  </a:moveTo>
                  <a:lnTo>
                    <a:pt x="10" y="268"/>
                  </a:lnTo>
                  <a:lnTo>
                    <a:pt x="10" y="9"/>
                  </a:lnTo>
                  <a:lnTo>
                    <a:pt x="163" y="9"/>
                  </a:lnTo>
                  <a:lnTo>
                    <a:pt x="163" y="55"/>
                  </a:lnTo>
                  <a:lnTo>
                    <a:pt x="209" y="55"/>
                  </a:lnTo>
                  <a:lnTo>
                    <a:pt x="209" y="26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97" name="Freeform 169"/>
            <p:cNvSpPr>
              <a:spLocks/>
            </p:cNvSpPr>
            <p:nvPr/>
          </p:nvSpPr>
          <p:spPr bwMode="auto">
            <a:xfrm>
              <a:off x="7200106" y="3246438"/>
              <a:ext cx="73025" cy="61912"/>
            </a:xfrm>
            <a:custGeom>
              <a:avLst/>
              <a:gdLst/>
              <a:ahLst/>
              <a:cxnLst>
                <a:cxn ang="0">
                  <a:pos x="17" y="27"/>
                </a:cxn>
                <a:cxn ang="0">
                  <a:pos x="7" y="17"/>
                </a:cxn>
                <a:cxn ang="0">
                  <a:pos x="0" y="22"/>
                </a:cxn>
                <a:cxn ang="0">
                  <a:pos x="15" y="39"/>
                </a:cxn>
                <a:cxn ang="0">
                  <a:pos x="22" y="36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27"/>
                </a:cxn>
              </a:cxnLst>
              <a:rect l="0" t="0" r="r" b="b"/>
              <a:pathLst>
                <a:path w="46" h="39">
                  <a:moveTo>
                    <a:pt x="17" y="27"/>
                  </a:moveTo>
                  <a:lnTo>
                    <a:pt x="7" y="17"/>
                  </a:lnTo>
                  <a:lnTo>
                    <a:pt x="0" y="22"/>
                  </a:lnTo>
                  <a:lnTo>
                    <a:pt x="15" y="39"/>
                  </a:lnTo>
                  <a:lnTo>
                    <a:pt x="22" y="36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98" name="Rectangle 170"/>
            <p:cNvSpPr>
              <a:spLocks noChangeArrowheads="1"/>
            </p:cNvSpPr>
            <p:nvPr/>
          </p:nvSpPr>
          <p:spPr bwMode="auto">
            <a:xfrm>
              <a:off x="7279481" y="3284538"/>
              <a:ext cx="171450" cy="1587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99" name="Freeform 171"/>
            <p:cNvSpPr>
              <a:spLocks/>
            </p:cNvSpPr>
            <p:nvPr/>
          </p:nvSpPr>
          <p:spPr bwMode="auto">
            <a:xfrm>
              <a:off x="7200106" y="3140075"/>
              <a:ext cx="73025" cy="61912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5" y="39"/>
                </a:cxn>
                <a:cxn ang="0">
                  <a:pos x="22" y="39"/>
                </a:cxn>
                <a:cxn ang="0">
                  <a:pos x="46" y="8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6" h="39">
                  <a:moveTo>
                    <a:pt x="17" y="29"/>
                  </a:moveTo>
                  <a:lnTo>
                    <a:pt x="7" y="17"/>
                  </a:lnTo>
                  <a:lnTo>
                    <a:pt x="0" y="24"/>
                  </a:lnTo>
                  <a:lnTo>
                    <a:pt x="15" y="39"/>
                  </a:lnTo>
                  <a:lnTo>
                    <a:pt x="22" y="39"/>
                  </a:lnTo>
                  <a:lnTo>
                    <a:pt x="46" y="8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0" name="Rectangle 172"/>
            <p:cNvSpPr>
              <a:spLocks noChangeArrowheads="1"/>
            </p:cNvSpPr>
            <p:nvPr/>
          </p:nvSpPr>
          <p:spPr bwMode="auto">
            <a:xfrm>
              <a:off x="7279481" y="3182938"/>
              <a:ext cx="171450" cy="1428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1" name="Freeform 173"/>
            <p:cNvSpPr>
              <a:spLocks/>
            </p:cNvSpPr>
            <p:nvPr/>
          </p:nvSpPr>
          <p:spPr bwMode="auto">
            <a:xfrm>
              <a:off x="7200106" y="3041650"/>
              <a:ext cx="73025" cy="60325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2"/>
                </a:cxn>
                <a:cxn ang="0">
                  <a:pos x="15" y="38"/>
                </a:cxn>
                <a:cxn ang="0">
                  <a:pos x="22" y="38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6" h="38">
                  <a:moveTo>
                    <a:pt x="17" y="29"/>
                  </a:moveTo>
                  <a:lnTo>
                    <a:pt x="7" y="17"/>
                  </a:lnTo>
                  <a:lnTo>
                    <a:pt x="0" y="22"/>
                  </a:lnTo>
                  <a:lnTo>
                    <a:pt x="15" y="38"/>
                  </a:lnTo>
                  <a:lnTo>
                    <a:pt x="22" y="38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2" name="Rectangle 174"/>
            <p:cNvSpPr>
              <a:spLocks noChangeArrowheads="1"/>
            </p:cNvSpPr>
            <p:nvPr/>
          </p:nvSpPr>
          <p:spPr bwMode="auto">
            <a:xfrm>
              <a:off x="7279481" y="3082925"/>
              <a:ext cx="171450" cy="127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1" name="Group 280"/>
          <p:cNvGrpSpPr/>
          <p:nvPr/>
        </p:nvGrpSpPr>
        <p:grpSpPr>
          <a:xfrm>
            <a:off x="8053388" y="2786063"/>
            <a:ext cx="768350" cy="768350"/>
            <a:chOff x="8053388" y="2786063"/>
            <a:chExt cx="768350" cy="768350"/>
          </a:xfrm>
        </p:grpSpPr>
        <p:sp>
          <p:nvSpPr>
            <p:cNvPr id="48306" name="Freeform 178"/>
            <p:cNvSpPr>
              <a:spLocks noEditPoints="1"/>
            </p:cNvSpPr>
            <p:nvPr/>
          </p:nvSpPr>
          <p:spPr bwMode="auto">
            <a:xfrm>
              <a:off x="8053388" y="2786063"/>
              <a:ext cx="768350" cy="768350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7" name="Freeform 179"/>
            <p:cNvSpPr>
              <a:spLocks noEditPoints="1"/>
            </p:cNvSpPr>
            <p:nvPr/>
          </p:nvSpPr>
          <p:spPr bwMode="auto">
            <a:xfrm>
              <a:off x="8262938" y="2943225"/>
              <a:ext cx="346075" cy="441325"/>
            </a:xfrm>
            <a:custGeom>
              <a:avLst/>
              <a:gdLst/>
              <a:ahLst/>
              <a:cxnLst>
                <a:cxn ang="0">
                  <a:pos x="173" y="45"/>
                </a:cxn>
                <a:cxn ang="0">
                  <a:pos x="173" y="9"/>
                </a:cxn>
                <a:cxn ang="0">
                  <a:pos x="173" y="0"/>
                </a:cxn>
                <a:cxn ang="0">
                  <a:pos x="163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209" y="278"/>
                </a:cxn>
                <a:cxn ang="0">
                  <a:pos x="218" y="278"/>
                </a:cxn>
                <a:cxn ang="0">
                  <a:pos x="218" y="268"/>
                </a:cxn>
                <a:cxn ang="0">
                  <a:pos x="218" y="55"/>
                </a:cxn>
                <a:cxn ang="0">
                  <a:pos x="218" y="45"/>
                </a:cxn>
                <a:cxn ang="0">
                  <a:pos x="209" y="45"/>
                </a:cxn>
                <a:cxn ang="0">
                  <a:pos x="173" y="45"/>
                </a:cxn>
                <a:cxn ang="0">
                  <a:pos x="209" y="268"/>
                </a:cxn>
                <a:cxn ang="0">
                  <a:pos x="10" y="268"/>
                </a:cxn>
                <a:cxn ang="0">
                  <a:pos x="10" y="9"/>
                </a:cxn>
                <a:cxn ang="0">
                  <a:pos x="163" y="9"/>
                </a:cxn>
                <a:cxn ang="0">
                  <a:pos x="163" y="55"/>
                </a:cxn>
                <a:cxn ang="0">
                  <a:pos x="209" y="55"/>
                </a:cxn>
                <a:cxn ang="0">
                  <a:pos x="209" y="268"/>
                </a:cxn>
              </a:cxnLst>
              <a:rect l="0" t="0" r="r" b="b"/>
              <a:pathLst>
                <a:path w="218" h="278">
                  <a:moveTo>
                    <a:pt x="173" y="45"/>
                  </a:moveTo>
                  <a:lnTo>
                    <a:pt x="173" y="9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209" y="278"/>
                  </a:lnTo>
                  <a:lnTo>
                    <a:pt x="218" y="278"/>
                  </a:lnTo>
                  <a:lnTo>
                    <a:pt x="218" y="268"/>
                  </a:lnTo>
                  <a:lnTo>
                    <a:pt x="218" y="55"/>
                  </a:lnTo>
                  <a:lnTo>
                    <a:pt x="218" y="45"/>
                  </a:lnTo>
                  <a:lnTo>
                    <a:pt x="209" y="45"/>
                  </a:lnTo>
                  <a:lnTo>
                    <a:pt x="173" y="45"/>
                  </a:lnTo>
                  <a:close/>
                  <a:moveTo>
                    <a:pt x="209" y="268"/>
                  </a:moveTo>
                  <a:lnTo>
                    <a:pt x="10" y="268"/>
                  </a:lnTo>
                  <a:lnTo>
                    <a:pt x="10" y="9"/>
                  </a:lnTo>
                  <a:lnTo>
                    <a:pt x="163" y="9"/>
                  </a:lnTo>
                  <a:lnTo>
                    <a:pt x="163" y="55"/>
                  </a:lnTo>
                  <a:lnTo>
                    <a:pt x="209" y="55"/>
                  </a:lnTo>
                  <a:lnTo>
                    <a:pt x="209" y="26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8" name="Freeform 180"/>
            <p:cNvSpPr>
              <a:spLocks/>
            </p:cNvSpPr>
            <p:nvPr/>
          </p:nvSpPr>
          <p:spPr bwMode="auto">
            <a:xfrm>
              <a:off x="8308975" y="3246438"/>
              <a:ext cx="71437" cy="61912"/>
            </a:xfrm>
            <a:custGeom>
              <a:avLst/>
              <a:gdLst/>
              <a:ahLst/>
              <a:cxnLst>
                <a:cxn ang="0">
                  <a:pos x="17" y="27"/>
                </a:cxn>
                <a:cxn ang="0">
                  <a:pos x="7" y="17"/>
                </a:cxn>
                <a:cxn ang="0">
                  <a:pos x="0" y="22"/>
                </a:cxn>
                <a:cxn ang="0">
                  <a:pos x="14" y="39"/>
                </a:cxn>
                <a:cxn ang="0">
                  <a:pos x="21" y="36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27"/>
                </a:cxn>
              </a:cxnLst>
              <a:rect l="0" t="0" r="r" b="b"/>
              <a:pathLst>
                <a:path w="45" h="39">
                  <a:moveTo>
                    <a:pt x="17" y="27"/>
                  </a:moveTo>
                  <a:lnTo>
                    <a:pt x="7" y="17"/>
                  </a:lnTo>
                  <a:lnTo>
                    <a:pt x="0" y="22"/>
                  </a:lnTo>
                  <a:lnTo>
                    <a:pt x="14" y="39"/>
                  </a:lnTo>
                  <a:lnTo>
                    <a:pt x="21" y="36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17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09" name="Rectangle 181"/>
            <p:cNvSpPr>
              <a:spLocks noChangeArrowheads="1"/>
            </p:cNvSpPr>
            <p:nvPr/>
          </p:nvSpPr>
          <p:spPr bwMode="auto">
            <a:xfrm>
              <a:off x="8388350" y="3284538"/>
              <a:ext cx="171450" cy="15875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10" name="Freeform 182"/>
            <p:cNvSpPr>
              <a:spLocks/>
            </p:cNvSpPr>
            <p:nvPr/>
          </p:nvSpPr>
          <p:spPr bwMode="auto">
            <a:xfrm>
              <a:off x="8308975" y="3140075"/>
              <a:ext cx="71437" cy="61912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4" y="39"/>
                </a:cxn>
                <a:cxn ang="0">
                  <a:pos x="21" y="39"/>
                </a:cxn>
                <a:cxn ang="0">
                  <a:pos x="45" y="7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5" h="39">
                  <a:moveTo>
                    <a:pt x="17" y="29"/>
                  </a:moveTo>
                  <a:lnTo>
                    <a:pt x="7" y="17"/>
                  </a:lnTo>
                  <a:lnTo>
                    <a:pt x="0" y="24"/>
                  </a:lnTo>
                  <a:lnTo>
                    <a:pt x="14" y="39"/>
                  </a:lnTo>
                  <a:lnTo>
                    <a:pt x="21" y="39"/>
                  </a:lnTo>
                  <a:lnTo>
                    <a:pt x="45" y="7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11" name="Rectangle 183"/>
            <p:cNvSpPr>
              <a:spLocks noChangeArrowheads="1"/>
            </p:cNvSpPr>
            <p:nvPr/>
          </p:nvSpPr>
          <p:spPr bwMode="auto">
            <a:xfrm>
              <a:off x="8388350" y="3182938"/>
              <a:ext cx="171450" cy="1428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12" name="Freeform 184"/>
            <p:cNvSpPr>
              <a:spLocks/>
            </p:cNvSpPr>
            <p:nvPr/>
          </p:nvSpPr>
          <p:spPr bwMode="auto">
            <a:xfrm>
              <a:off x="8308975" y="3041650"/>
              <a:ext cx="71437" cy="60325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1"/>
                </a:cxn>
                <a:cxn ang="0">
                  <a:pos x="14" y="38"/>
                </a:cxn>
                <a:cxn ang="0">
                  <a:pos x="21" y="38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5" h="38">
                  <a:moveTo>
                    <a:pt x="17" y="29"/>
                  </a:moveTo>
                  <a:lnTo>
                    <a:pt x="7" y="17"/>
                  </a:lnTo>
                  <a:lnTo>
                    <a:pt x="0" y="21"/>
                  </a:lnTo>
                  <a:lnTo>
                    <a:pt x="14" y="38"/>
                  </a:lnTo>
                  <a:lnTo>
                    <a:pt x="21" y="38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13" name="Rectangle 185"/>
            <p:cNvSpPr>
              <a:spLocks noChangeArrowheads="1"/>
            </p:cNvSpPr>
            <p:nvPr/>
          </p:nvSpPr>
          <p:spPr bwMode="auto">
            <a:xfrm>
              <a:off x="8388350" y="3082925"/>
              <a:ext cx="171450" cy="111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316" name="Group 188"/>
          <p:cNvGrpSpPr>
            <a:grpSpLocks noChangeAspect="1"/>
          </p:cNvGrpSpPr>
          <p:nvPr/>
        </p:nvGrpSpPr>
        <p:grpSpPr bwMode="auto">
          <a:xfrm>
            <a:off x="338140" y="4051301"/>
            <a:ext cx="844551" cy="842963"/>
            <a:chOff x="213" y="2552"/>
            <a:chExt cx="532" cy="531"/>
          </a:xfrm>
        </p:grpSpPr>
        <p:sp>
          <p:nvSpPr>
            <p:cNvPr id="48317" name="Oval 189"/>
            <p:cNvSpPr>
              <a:spLocks noChangeArrowheads="1"/>
            </p:cNvSpPr>
            <p:nvPr/>
          </p:nvSpPr>
          <p:spPr bwMode="auto">
            <a:xfrm>
              <a:off x="213" y="2552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18" name="Freeform 190"/>
            <p:cNvSpPr>
              <a:spLocks noEditPoints="1"/>
            </p:cNvSpPr>
            <p:nvPr/>
          </p:nvSpPr>
          <p:spPr bwMode="auto">
            <a:xfrm>
              <a:off x="232" y="2568"/>
              <a:ext cx="493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6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50"/>
                    <a:pt x="49" y="6"/>
                    <a:pt x="103" y="6"/>
                  </a:cubicBezTo>
                  <a:cubicBezTo>
                    <a:pt x="157" y="6"/>
                    <a:pt x="201" y="50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19" name="Freeform 191"/>
            <p:cNvSpPr>
              <a:spLocks noEditPoints="1"/>
            </p:cNvSpPr>
            <p:nvPr/>
          </p:nvSpPr>
          <p:spPr bwMode="auto">
            <a:xfrm>
              <a:off x="325" y="2724"/>
              <a:ext cx="307" cy="182"/>
            </a:xfrm>
            <a:custGeom>
              <a:avLst/>
              <a:gdLst/>
              <a:ahLst/>
              <a:cxnLst>
                <a:cxn ang="0">
                  <a:pos x="97" y="26"/>
                </a:cxn>
                <a:cxn ang="0">
                  <a:pos x="91" y="0"/>
                </a:cxn>
                <a:cxn ang="0">
                  <a:pos x="77" y="2"/>
                </a:cxn>
                <a:cxn ang="0">
                  <a:pos x="89" y="4"/>
                </a:cxn>
                <a:cxn ang="0">
                  <a:pos x="44" y="15"/>
                </a:cxn>
                <a:cxn ang="0">
                  <a:pos x="47" y="9"/>
                </a:cxn>
                <a:cxn ang="0">
                  <a:pos x="47" y="5"/>
                </a:cxn>
                <a:cxn ang="0">
                  <a:pos x="25" y="7"/>
                </a:cxn>
                <a:cxn ang="0">
                  <a:pos x="37" y="9"/>
                </a:cxn>
                <a:cxn ang="0">
                  <a:pos x="35" y="28"/>
                </a:cxn>
                <a:cxn ang="0">
                  <a:pos x="0" y="51"/>
                </a:cxn>
                <a:cxn ang="0">
                  <a:pos x="50" y="53"/>
                </a:cxn>
                <a:cxn ang="0">
                  <a:pos x="62" y="53"/>
                </a:cxn>
                <a:cxn ang="0">
                  <a:pos x="92" y="20"/>
                </a:cxn>
                <a:cxn ang="0">
                  <a:pos x="77" y="51"/>
                </a:cxn>
                <a:cxn ang="0">
                  <a:pos x="128" y="51"/>
                </a:cxn>
                <a:cxn ang="0">
                  <a:pos x="25" y="73"/>
                </a:cxn>
                <a:cxn ang="0">
                  <a:pos x="25" y="29"/>
                </a:cxn>
                <a:cxn ang="0">
                  <a:pos x="25" y="47"/>
                </a:cxn>
                <a:cxn ang="0">
                  <a:pos x="21" y="51"/>
                </a:cxn>
                <a:cxn ang="0">
                  <a:pos x="29" y="53"/>
                </a:cxn>
                <a:cxn ang="0">
                  <a:pos x="25" y="73"/>
                </a:cxn>
                <a:cxn ang="0">
                  <a:pos x="29" y="48"/>
                </a:cxn>
                <a:cxn ang="0">
                  <a:pos x="47" y="49"/>
                </a:cxn>
                <a:cxn ang="0">
                  <a:pos x="50" y="49"/>
                </a:cxn>
                <a:cxn ang="0">
                  <a:pos x="43" y="21"/>
                </a:cxn>
                <a:cxn ang="0">
                  <a:pos x="50" y="49"/>
                </a:cxn>
                <a:cxn ang="0">
                  <a:pos x="46" y="19"/>
                </a:cxn>
                <a:cxn ang="0">
                  <a:pos x="62" y="48"/>
                </a:cxn>
                <a:cxn ang="0">
                  <a:pos x="81" y="51"/>
                </a:cxn>
                <a:cxn ang="0">
                  <a:pos x="100" y="48"/>
                </a:cxn>
                <a:cxn ang="0">
                  <a:pos x="103" y="56"/>
                </a:cxn>
                <a:cxn ang="0">
                  <a:pos x="103" y="47"/>
                </a:cxn>
                <a:cxn ang="0">
                  <a:pos x="103" y="29"/>
                </a:cxn>
                <a:cxn ang="0">
                  <a:pos x="103" y="73"/>
                </a:cxn>
              </a:cxnLst>
              <a:rect l="0" t="0" r="r" b="b"/>
              <a:pathLst>
                <a:path w="128" h="76">
                  <a:moveTo>
                    <a:pt x="103" y="26"/>
                  </a:moveTo>
                  <a:cubicBezTo>
                    <a:pt x="101" y="26"/>
                    <a:pt x="99" y="26"/>
                    <a:pt x="97" y="26"/>
                  </a:cubicBezTo>
                  <a:cubicBezTo>
                    <a:pt x="95" y="18"/>
                    <a:pt x="93" y="8"/>
                    <a:pt x="93" y="2"/>
                  </a:cubicBezTo>
                  <a:cubicBezTo>
                    <a:pt x="93" y="1"/>
                    <a:pt x="92" y="0"/>
                    <a:pt x="91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7" y="1"/>
                    <a:pt x="77" y="2"/>
                  </a:cubicBezTo>
                  <a:cubicBezTo>
                    <a:pt x="77" y="3"/>
                    <a:pt x="78" y="4"/>
                    <a:pt x="79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89" y="7"/>
                    <a:pt x="90" y="11"/>
                    <a:pt x="91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9"/>
                    <a:pt x="49" y="8"/>
                    <a:pt x="49" y="7"/>
                  </a:cubicBezTo>
                  <a:cubicBezTo>
                    <a:pt x="49" y="6"/>
                    <a:pt x="48" y="5"/>
                    <a:pt x="4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5" y="6"/>
                    <a:pt x="25" y="7"/>
                  </a:cubicBezTo>
                  <a:cubicBezTo>
                    <a:pt x="25" y="8"/>
                    <a:pt x="25" y="9"/>
                    <a:pt x="26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2" y="26"/>
                    <a:pt x="29" y="26"/>
                    <a:pt x="25" y="26"/>
                  </a:cubicBezTo>
                  <a:cubicBezTo>
                    <a:pt x="11" y="26"/>
                    <a:pt x="0" y="37"/>
                    <a:pt x="0" y="51"/>
                  </a:cubicBezTo>
                  <a:cubicBezTo>
                    <a:pt x="0" y="65"/>
                    <a:pt x="11" y="76"/>
                    <a:pt x="25" y="76"/>
                  </a:cubicBezTo>
                  <a:cubicBezTo>
                    <a:pt x="39" y="76"/>
                    <a:pt x="49" y="66"/>
                    <a:pt x="50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3" y="53"/>
                    <a:pt x="63" y="52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3"/>
                    <a:pt x="93" y="25"/>
                    <a:pt x="94" y="27"/>
                  </a:cubicBezTo>
                  <a:cubicBezTo>
                    <a:pt x="84" y="31"/>
                    <a:pt x="77" y="40"/>
                    <a:pt x="77" y="51"/>
                  </a:cubicBezTo>
                  <a:cubicBezTo>
                    <a:pt x="77" y="65"/>
                    <a:pt x="89" y="76"/>
                    <a:pt x="103" y="76"/>
                  </a:cubicBezTo>
                  <a:cubicBezTo>
                    <a:pt x="117" y="76"/>
                    <a:pt x="128" y="65"/>
                    <a:pt x="128" y="51"/>
                  </a:cubicBezTo>
                  <a:cubicBezTo>
                    <a:pt x="128" y="37"/>
                    <a:pt x="117" y="26"/>
                    <a:pt x="103" y="26"/>
                  </a:cubicBezTo>
                  <a:close/>
                  <a:moveTo>
                    <a:pt x="25" y="73"/>
                  </a:moveTo>
                  <a:cubicBezTo>
                    <a:pt x="13" y="73"/>
                    <a:pt x="3" y="63"/>
                    <a:pt x="3" y="51"/>
                  </a:cubicBezTo>
                  <a:cubicBezTo>
                    <a:pt x="3" y="39"/>
                    <a:pt x="13" y="29"/>
                    <a:pt x="25" y="29"/>
                  </a:cubicBezTo>
                  <a:cubicBezTo>
                    <a:pt x="28" y="29"/>
                    <a:pt x="31" y="30"/>
                    <a:pt x="34" y="31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3" y="47"/>
                    <a:pt x="21" y="49"/>
                    <a:pt x="21" y="51"/>
                  </a:cubicBezTo>
                  <a:cubicBezTo>
                    <a:pt x="21" y="54"/>
                    <a:pt x="23" y="56"/>
                    <a:pt x="25" y="56"/>
                  </a:cubicBezTo>
                  <a:cubicBezTo>
                    <a:pt x="27" y="56"/>
                    <a:pt x="29" y="54"/>
                    <a:pt x="29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6" y="64"/>
                    <a:pt x="37" y="73"/>
                    <a:pt x="25" y="73"/>
                  </a:cubicBezTo>
                  <a:close/>
                  <a:moveTo>
                    <a:pt x="29" y="49"/>
                  </a:moveTo>
                  <a:cubicBezTo>
                    <a:pt x="29" y="49"/>
                    <a:pt x="29" y="49"/>
                    <a:pt x="29" y="48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42" y="36"/>
                    <a:pt x="46" y="42"/>
                    <a:pt x="47" y="49"/>
                  </a:cubicBezTo>
                  <a:lnTo>
                    <a:pt x="29" y="49"/>
                  </a:lnTo>
                  <a:close/>
                  <a:moveTo>
                    <a:pt x="50" y="49"/>
                  </a:moveTo>
                  <a:cubicBezTo>
                    <a:pt x="50" y="41"/>
                    <a:pt x="45" y="34"/>
                    <a:pt x="38" y="30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9" y="49"/>
                    <a:pt x="59" y="49"/>
                    <a:pt x="59" y="49"/>
                  </a:cubicBezTo>
                  <a:lnTo>
                    <a:pt x="50" y="49"/>
                  </a:lnTo>
                  <a:close/>
                  <a:moveTo>
                    <a:pt x="62" y="48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88" y="19"/>
                    <a:pt x="88" y="19"/>
                    <a:pt x="88" y="19"/>
                  </a:cubicBezTo>
                  <a:lnTo>
                    <a:pt x="62" y="48"/>
                  </a:lnTo>
                  <a:close/>
                  <a:moveTo>
                    <a:pt x="103" y="73"/>
                  </a:moveTo>
                  <a:cubicBezTo>
                    <a:pt x="91" y="73"/>
                    <a:pt x="81" y="63"/>
                    <a:pt x="81" y="51"/>
                  </a:cubicBezTo>
                  <a:cubicBezTo>
                    <a:pt x="81" y="42"/>
                    <a:pt x="87" y="34"/>
                    <a:pt x="95" y="31"/>
                  </a:cubicBezTo>
                  <a:cubicBezTo>
                    <a:pt x="96" y="38"/>
                    <a:pt x="98" y="44"/>
                    <a:pt x="100" y="48"/>
                  </a:cubicBezTo>
                  <a:cubicBezTo>
                    <a:pt x="99" y="49"/>
                    <a:pt x="98" y="50"/>
                    <a:pt x="98" y="51"/>
                  </a:cubicBezTo>
                  <a:cubicBezTo>
                    <a:pt x="98" y="54"/>
                    <a:pt x="100" y="56"/>
                    <a:pt x="103" y="56"/>
                  </a:cubicBezTo>
                  <a:cubicBezTo>
                    <a:pt x="105" y="56"/>
                    <a:pt x="107" y="54"/>
                    <a:pt x="107" y="51"/>
                  </a:cubicBezTo>
                  <a:cubicBezTo>
                    <a:pt x="107" y="49"/>
                    <a:pt x="105" y="47"/>
                    <a:pt x="103" y="47"/>
                  </a:cubicBezTo>
                  <a:cubicBezTo>
                    <a:pt x="102" y="43"/>
                    <a:pt x="100" y="37"/>
                    <a:pt x="98" y="30"/>
                  </a:cubicBezTo>
                  <a:cubicBezTo>
                    <a:pt x="100" y="30"/>
                    <a:pt x="101" y="29"/>
                    <a:pt x="103" y="29"/>
                  </a:cubicBezTo>
                  <a:cubicBezTo>
                    <a:pt x="115" y="29"/>
                    <a:pt x="124" y="39"/>
                    <a:pt x="124" y="51"/>
                  </a:cubicBezTo>
                  <a:cubicBezTo>
                    <a:pt x="124" y="63"/>
                    <a:pt x="115" y="73"/>
                    <a:pt x="103" y="7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322" name="Group 194"/>
          <p:cNvGrpSpPr>
            <a:grpSpLocks noChangeAspect="1"/>
          </p:cNvGrpSpPr>
          <p:nvPr/>
        </p:nvGrpSpPr>
        <p:grpSpPr bwMode="auto">
          <a:xfrm>
            <a:off x="1462885" y="4081463"/>
            <a:ext cx="785813" cy="787400"/>
            <a:chOff x="926" y="2571"/>
            <a:chExt cx="495" cy="496"/>
          </a:xfrm>
        </p:grpSpPr>
        <p:sp>
          <p:nvSpPr>
            <p:cNvPr id="48323" name="Freeform 195"/>
            <p:cNvSpPr>
              <a:spLocks noEditPoints="1"/>
            </p:cNvSpPr>
            <p:nvPr/>
          </p:nvSpPr>
          <p:spPr bwMode="auto">
            <a:xfrm>
              <a:off x="926" y="2571"/>
              <a:ext cx="495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7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6"/>
                </a:cxn>
                <a:cxn ang="0">
                  <a:pos x="202" y="104"/>
                </a:cxn>
                <a:cxn ang="0">
                  <a:pos x="103" y="202"/>
                </a:cxn>
              </a:cxnLst>
              <a:rect l="0" t="0" r="r" b="b"/>
              <a:pathLst>
                <a:path w="207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7" y="161"/>
                    <a:pt x="207" y="104"/>
                  </a:cubicBezTo>
                  <a:cubicBezTo>
                    <a:pt x="207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50"/>
                    <a:pt x="49" y="6"/>
                    <a:pt x="103" y="6"/>
                  </a:cubicBezTo>
                  <a:cubicBezTo>
                    <a:pt x="158" y="6"/>
                    <a:pt x="202" y="50"/>
                    <a:pt x="202" y="104"/>
                  </a:cubicBezTo>
                  <a:cubicBezTo>
                    <a:pt x="202" y="158"/>
                    <a:pt x="158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24" name="Freeform 196"/>
            <p:cNvSpPr>
              <a:spLocks noEditPoints="1"/>
            </p:cNvSpPr>
            <p:nvPr/>
          </p:nvSpPr>
          <p:spPr bwMode="auto">
            <a:xfrm>
              <a:off x="1019" y="2727"/>
              <a:ext cx="307" cy="182"/>
            </a:xfrm>
            <a:custGeom>
              <a:avLst/>
              <a:gdLst/>
              <a:ahLst/>
              <a:cxnLst>
                <a:cxn ang="0">
                  <a:pos x="97" y="26"/>
                </a:cxn>
                <a:cxn ang="0">
                  <a:pos x="91" y="0"/>
                </a:cxn>
                <a:cxn ang="0">
                  <a:pos x="78" y="2"/>
                </a:cxn>
                <a:cxn ang="0">
                  <a:pos x="89" y="4"/>
                </a:cxn>
                <a:cxn ang="0">
                  <a:pos x="44" y="15"/>
                </a:cxn>
                <a:cxn ang="0">
                  <a:pos x="47" y="9"/>
                </a:cxn>
                <a:cxn ang="0">
                  <a:pos x="47" y="5"/>
                </a:cxn>
                <a:cxn ang="0">
                  <a:pos x="25" y="7"/>
                </a:cxn>
                <a:cxn ang="0">
                  <a:pos x="37" y="9"/>
                </a:cxn>
                <a:cxn ang="0">
                  <a:pos x="35" y="28"/>
                </a:cxn>
                <a:cxn ang="0">
                  <a:pos x="0" y="51"/>
                </a:cxn>
                <a:cxn ang="0">
                  <a:pos x="51" y="53"/>
                </a:cxn>
                <a:cxn ang="0">
                  <a:pos x="62" y="53"/>
                </a:cxn>
                <a:cxn ang="0">
                  <a:pos x="92" y="20"/>
                </a:cxn>
                <a:cxn ang="0">
                  <a:pos x="78" y="51"/>
                </a:cxn>
                <a:cxn ang="0">
                  <a:pos x="128" y="51"/>
                </a:cxn>
                <a:cxn ang="0">
                  <a:pos x="25" y="73"/>
                </a:cxn>
                <a:cxn ang="0">
                  <a:pos x="25" y="29"/>
                </a:cxn>
                <a:cxn ang="0">
                  <a:pos x="26" y="47"/>
                </a:cxn>
                <a:cxn ang="0">
                  <a:pos x="21" y="51"/>
                </a:cxn>
                <a:cxn ang="0">
                  <a:pos x="29" y="53"/>
                </a:cxn>
                <a:cxn ang="0">
                  <a:pos x="25" y="73"/>
                </a:cxn>
                <a:cxn ang="0">
                  <a:pos x="29" y="48"/>
                </a:cxn>
                <a:cxn ang="0">
                  <a:pos x="47" y="49"/>
                </a:cxn>
                <a:cxn ang="0">
                  <a:pos x="51" y="49"/>
                </a:cxn>
                <a:cxn ang="0">
                  <a:pos x="43" y="21"/>
                </a:cxn>
                <a:cxn ang="0">
                  <a:pos x="51" y="49"/>
                </a:cxn>
                <a:cxn ang="0">
                  <a:pos x="46" y="19"/>
                </a:cxn>
                <a:cxn ang="0">
                  <a:pos x="62" y="48"/>
                </a:cxn>
                <a:cxn ang="0">
                  <a:pos x="81" y="51"/>
                </a:cxn>
                <a:cxn ang="0">
                  <a:pos x="100" y="48"/>
                </a:cxn>
                <a:cxn ang="0">
                  <a:pos x="103" y="56"/>
                </a:cxn>
                <a:cxn ang="0">
                  <a:pos x="103" y="47"/>
                </a:cxn>
                <a:cxn ang="0">
                  <a:pos x="103" y="29"/>
                </a:cxn>
                <a:cxn ang="0">
                  <a:pos x="103" y="73"/>
                </a:cxn>
              </a:cxnLst>
              <a:rect l="0" t="0" r="r" b="b"/>
              <a:pathLst>
                <a:path w="128" h="76">
                  <a:moveTo>
                    <a:pt x="103" y="26"/>
                  </a:moveTo>
                  <a:cubicBezTo>
                    <a:pt x="101" y="26"/>
                    <a:pt x="99" y="26"/>
                    <a:pt x="97" y="26"/>
                  </a:cubicBezTo>
                  <a:cubicBezTo>
                    <a:pt x="95" y="18"/>
                    <a:pt x="93" y="8"/>
                    <a:pt x="93" y="2"/>
                  </a:cubicBezTo>
                  <a:cubicBezTo>
                    <a:pt x="93" y="1"/>
                    <a:pt x="92" y="0"/>
                    <a:pt x="91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8" y="1"/>
                    <a:pt x="78" y="2"/>
                  </a:cubicBezTo>
                  <a:cubicBezTo>
                    <a:pt x="78" y="3"/>
                    <a:pt x="78" y="4"/>
                    <a:pt x="79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0" y="7"/>
                    <a:pt x="90" y="11"/>
                    <a:pt x="91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9"/>
                    <a:pt x="49" y="8"/>
                    <a:pt x="49" y="7"/>
                  </a:cubicBezTo>
                  <a:cubicBezTo>
                    <a:pt x="49" y="6"/>
                    <a:pt x="48" y="5"/>
                    <a:pt x="4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6" y="5"/>
                    <a:pt x="25" y="6"/>
                    <a:pt x="25" y="7"/>
                  </a:cubicBezTo>
                  <a:cubicBezTo>
                    <a:pt x="25" y="8"/>
                    <a:pt x="26" y="9"/>
                    <a:pt x="2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2" y="26"/>
                    <a:pt x="29" y="26"/>
                    <a:pt x="25" y="26"/>
                  </a:cubicBezTo>
                  <a:cubicBezTo>
                    <a:pt x="11" y="26"/>
                    <a:pt x="0" y="37"/>
                    <a:pt x="0" y="51"/>
                  </a:cubicBezTo>
                  <a:cubicBezTo>
                    <a:pt x="0" y="65"/>
                    <a:pt x="11" y="76"/>
                    <a:pt x="25" y="76"/>
                  </a:cubicBezTo>
                  <a:cubicBezTo>
                    <a:pt x="39" y="76"/>
                    <a:pt x="50" y="66"/>
                    <a:pt x="51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3" y="53"/>
                    <a:pt x="63" y="52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3" y="23"/>
                    <a:pt x="93" y="25"/>
                    <a:pt x="94" y="27"/>
                  </a:cubicBezTo>
                  <a:cubicBezTo>
                    <a:pt x="84" y="31"/>
                    <a:pt x="78" y="40"/>
                    <a:pt x="78" y="51"/>
                  </a:cubicBezTo>
                  <a:cubicBezTo>
                    <a:pt x="78" y="65"/>
                    <a:pt x="89" y="76"/>
                    <a:pt x="103" y="76"/>
                  </a:cubicBezTo>
                  <a:cubicBezTo>
                    <a:pt x="117" y="76"/>
                    <a:pt x="128" y="65"/>
                    <a:pt x="128" y="51"/>
                  </a:cubicBezTo>
                  <a:cubicBezTo>
                    <a:pt x="128" y="37"/>
                    <a:pt x="117" y="26"/>
                    <a:pt x="103" y="26"/>
                  </a:cubicBezTo>
                  <a:close/>
                  <a:moveTo>
                    <a:pt x="25" y="73"/>
                  </a:moveTo>
                  <a:cubicBezTo>
                    <a:pt x="13" y="73"/>
                    <a:pt x="4" y="63"/>
                    <a:pt x="4" y="51"/>
                  </a:cubicBezTo>
                  <a:cubicBezTo>
                    <a:pt x="4" y="39"/>
                    <a:pt x="13" y="29"/>
                    <a:pt x="25" y="29"/>
                  </a:cubicBezTo>
                  <a:cubicBezTo>
                    <a:pt x="28" y="29"/>
                    <a:pt x="31" y="30"/>
                    <a:pt x="34" y="31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5" y="47"/>
                    <a:pt x="25" y="47"/>
                  </a:cubicBezTo>
                  <a:cubicBezTo>
                    <a:pt x="23" y="47"/>
                    <a:pt x="21" y="49"/>
                    <a:pt x="21" y="51"/>
                  </a:cubicBezTo>
                  <a:cubicBezTo>
                    <a:pt x="21" y="54"/>
                    <a:pt x="23" y="56"/>
                    <a:pt x="25" y="56"/>
                  </a:cubicBezTo>
                  <a:cubicBezTo>
                    <a:pt x="27" y="56"/>
                    <a:pt x="29" y="54"/>
                    <a:pt x="29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6" y="64"/>
                    <a:pt x="37" y="73"/>
                    <a:pt x="25" y="73"/>
                  </a:cubicBezTo>
                  <a:close/>
                  <a:moveTo>
                    <a:pt x="29" y="49"/>
                  </a:moveTo>
                  <a:cubicBezTo>
                    <a:pt x="29" y="49"/>
                    <a:pt x="29" y="49"/>
                    <a:pt x="29" y="48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43" y="36"/>
                    <a:pt x="46" y="42"/>
                    <a:pt x="47" y="49"/>
                  </a:cubicBezTo>
                  <a:lnTo>
                    <a:pt x="29" y="49"/>
                  </a:lnTo>
                  <a:close/>
                  <a:moveTo>
                    <a:pt x="51" y="49"/>
                  </a:moveTo>
                  <a:cubicBezTo>
                    <a:pt x="50" y="41"/>
                    <a:pt x="45" y="34"/>
                    <a:pt x="39" y="30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59" y="49"/>
                    <a:pt x="59" y="49"/>
                    <a:pt x="59" y="49"/>
                  </a:cubicBezTo>
                  <a:lnTo>
                    <a:pt x="51" y="49"/>
                  </a:lnTo>
                  <a:close/>
                  <a:moveTo>
                    <a:pt x="62" y="48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88" y="19"/>
                    <a:pt x="88" y="19"/>
                    <a:pt x="88" y="19"/>
                  </a:cubicBezTo>
                  <a:lnTo>
                    <a:pt x="62" y="48"/>
                  </a:lnTo>
                  <a:close/>
                  <a:moveTo>
                    <a:pt x="103" y="73"/>
                  </a:moveTo>
                  <a:cubicBezTo>
                    <a:pt x="91" y="73"/>
                    <a:pt x="81" y="63"/>
                    <a:pt x="81" y="51"/>
                  </a:cubicBezTo>
                  <a:cubicBezTo>
                    <a:pt x="81" y="42"/>
                    <a:pt x="87" y="34"/>
                    <a:pt x="95" y="31"/>
                  </a:cubicBezTo>
                  <a:cubicBezTo>
                    <a:pt x="97" y="38"/>
                    <a:pt x="99" y="44"/>
                    <a:pt x="100" y="48"/>
                  </a:cubicBezTo>
                  <a:cubicBezTo>
                    <a:pt x="99" y="49"/>
                    <a:pt x="98" y="50"/>
                    <a:pt x="98" y="51"/>
                  </a:cubicBezTo>
                  <a:cubicBezTo>
                    <a:pt x="98" y="54"/>
                    <a:pt x="100" y="56"/>
                    <a:pt x="103" y="56"/>
                  </a:cubicBezTo>
                  <a:cubicBezTo>
                    <a:pt x="105" y="56"/>
                    <a:pt x="107" y="54"/>
                    <a:pt x="107" y="51"/>
                  </a:cubicBezTo>
                  <a:cubicBezTo>
                    <a:pt x="107" y="49"/>
                    <a:pt x="106" y="47"/>
                    <a:pt x="103" y="47"/>
                  </a:cubicBezTo>
                  <a:cubicBezTo>
                    <a:pt x="102" y="43"/>
                    <a:pt x="100" y="37"/>
                    <a:pt x="98" y="30"/>
                  </a:cubicBezTo>
                  <a:cubicBezTo>
                    <a:pt x="100" y="30"/>
                    <a:pt x="101" y="29"/>
                    <a:pt x="103" y="29"/>
                  </a:cubicBezTo>
                  <a:cubicBezTo>
                    <a:pt x="115" y="29"/>
                    <a:pt x="125" y="39"/>
                    <a:pt x="125" y="51"/>
                  </a:cubicBezTo>
                  <a:cubicBezTo>
                    <a:pt x="125" y="63"/>
                    <a:pt x="115" y="73"/>
                    <a:pt x="103" y="7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328" name="Oval 200"/>
          <p:cNvSpPr>
            <a:spLocks noChangeArrowheads="1"/>
          </p:cNvSpPr>
          <p:nvPr/>
        </p:nvSpPr>
        <p:spPr bwMode="auto">
          <a:xfrm>
            <a:off x="2533650" y="4057650"/>
            <a:ext cx="839788" cy="836613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329" name="Freeform 201"/>
          <p:cNvSpPr>
            <a:spLocks noEditPoints="1"/>
          </p:cNvSpPr>
          <p:nvPr/>
        </p:nvSpPr>
        <p:spPr bwMode="auto">
          <a:xfrm>
            <a:off x="2563813" y="4084638"/>
            <a:ext cx="777875" cy="782638"/>
          </a:xfrm>
          <a:custGeom>
            <a:avLst/>
            <a:gdLst/>
            <a:ahLst/>
            <a:cxnLst>
              <a:cxn ang="0">
                <a:pos x="103" y="206"/>
              </a:cxn>
              <a:cxn ang="0">
                <a:pos x="0" y="103"/>
              </a:cxn>
              <a:cxn ang="0">
                <a:pos x="103" y="0"/>
              </a:cxn>
              <a:cxn ang="0">
                <a:pos x="205" y="103"/>
              </a:cxn>
              <a:cxn ang="0">
                <a:pos x="103" y="206"/>
              </a:cxn>
              <a:cxn ang="0">
                <a:pos x="103" y="5"/>
              </a:cxn>
              <a:cxn ang="0">
                <a:pos x="5" y="103"/>
              </a:cxn>
              <a:cxn ang="0">
                <a:pos x="103" y="201"/>
              </a:cxn>
              <a:cxn ang="0">
                <a:pos x="200" y="103"/>
              </a:cxn>
              <a:cxn ang="0">
                <a:pos x="103" y="5"/>
              </a:cxn>
            </a:cxnLst>
            <a:rect l="0" t="0" r="r" b="b"/>
            <a:pathLst>
              <a:path w="205" h="206">
                <a:moveTo>
                  <a:pt x="103" y="206"/>
                </a:moveTo>
                <a:cubicBezTo>
                  <a:pt x="46" y="206"/>
                  <a:pt x="0" y="160"/>
                  <a:pt x="0" y="103"/>
                </a:cubicBezTo>
                <a:cubicBezTo>
                  <a:pt x="0" y="46"/>
                  <a:pt x="46" y="0"/>
                  <a:pt x="103" y="0"/>
                </a:cubicBezTo>
                <a:cubicBezTo>
                  <a:pt x="159" y="0"/>
                  <a:pt x="205" y="46"/>
                  <a:pt x="205" y="103"/>
                </a:cubicBezTo>
                <a:cubicBezTo>
                  <a:pt x="205" y="160"/>
                  <a:pt x="159" y="206"/>
                  <a:pt x="103" y="206"/>
                </a:cubicBezTo>
                <a:close/>
                <a:moveTo>
                  <a:pt x="103" y="5"/>
                </a:moveTo>
                <a:cubicBezTo>
                  <a:pt x="49" y="5"/>
                  <a:pt x="5" y="49"/>
                  <a:pt x="5" y="103"/>
                </a:cubicBezTo>
                <a:cubicBezTo>
                  <a:pt x="5" y="157"/>
                  <a:pt x="49" y="201"/>
                  <a:pt x="103" y="201"/>
                </a:cubicBezTo>
                <a:cubicBezTo>
                  <a:pt x="156" y="201"/>
                  <a:pt x="200" y="157"/>
                  <a:pt x="200" y="103"/>
                </a:cubicBezTo>
                <a:cubicBezTo>
                  <a:pt x="200" y="49"/>
                  <a:pt x="156" y="5"/>
                  <a:pt x="103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0" name="Freeform 202"/>
          <p:cNvSpPr>
            <a:spLocks noEditPoints="1"/>
          </p:cNvSpPr>
          <p:nvPr/>
        </p:nvSpPr>
        <p:spPr bwMode="auto">
          <a:xfrm>
            <a:off x="2697163" y="4457700"/>
            <a:ext cx="546100" cy="166688"/>
          </a:xfrm>
          <a:custGeom>
            <a:avLst/>
            <a:gdLst/>
            <a:ahLst/>
            <a:cxnLst>
              <a:cxn ang="0">
                <a:pos x="126" y="44"/>
              </a:cxn>
              <a:cxn ang="0">
                <a:pos x="11" y="44"/>
              </a:cxn>
              <a:cxn ang="0">
                <a:pos x="9" y="43"/>
              </a:cxn>
              <a:cxn ang="0">
                <a:pos x="9" y="41"/>
              </a:cxn>
              <a:cxn ang="0">
                <a:pos x="11" y="35"/>
              </a:cxn>
              <a:cxn ang="0">
                <a:pos x="1" y="8"/>
              </a:cxn>
              <a:cxn ang="0">
                <a:pos x="2" y="6"/>
              </a:cxn>
              <a:cxn ang="0">
                <a:pos x="80" y="6"/>
              </a:cxn>
              <a:cxn ang="0">
                <a:pos x="80" y="1"/>
              </a:cxn>
              <a:cxn ang="0">
                <a:pos x="81" y="0"/>
              </a:cxn>
              <a:cxn ang="0">
                <a:pos x="142" y="0"/>
              </a:cxn>
              <a:cxn ang="0">
                <a:pos x="144" y="1"/>
              </a:cxn>
              <a:cxn ang="0">
                <a:pos x="142" y="3"/>
              </a:cxn>
              <a:cxn ang="0">
                <a:pos x="133" y="27"/>
              </a:cxn>
              <a:cxn ang="0">
                <a:pos x="133" y="27"/>
              </a:cxn>
              <a:cxn ang="0">
                <a:pos x="128" y="43"/>
              </a:cxn>
              <a:cxn ang="0">
                <a:pos x="126" y="44"/>
              </a:cxn>
              <a:cxn ang="0">
                <a:pos x="13" y="40"/>
              </a:cxn>
              <a:cxn ang="0">
                <a:pos x="125" y="40"/>
              </a:cxn>
              <a:cxn ang="0">
                <a:pos x="130" y="27"/>
              </a:cxn>
              <a:cxn ang="0">
                <a:pos x="135" y="3"/>
              </a:cxn>
              <a:cxn ang="0">
                <a:pos x="83" y="3"/>
              </a:cxn>
              <a:cxn ang="0">
                <a:pos x="83" y="8"/>
              </a:cxn>
              <a:cxn ang="0">
                <a:pos x="81" y="10"/>
              </a:cxn>
              <a:cxn ang="0">
                <a:pos x="4" y="10"/>
              </a:cxn>
              <a:cxn ang="0">
                <a:pos x="14" y="34"/>
              </a:cxn>
              <a:cxn ang="0">
                <a:pos x="15" y="35"/>
              </a:cxn>
              <a:cxn ang="0">
                <a:pos x="13" y="40"/>
              </a:cxn>
            </a:cxnLst>
            <a:rect l="0" t="0" r="r" b="b"/>
            <a:pathLst>
              <a:path w="144" h="44">
                <a:moveTo>
                  <a:pt x="126" y="44"/>
                </a:moveTo>
                <a:cubicBezTo>
                  <a:pt x="11" y="44"/>
                  <a:pt x="11" y="44"/>
                  <a:pt x="11" y="44"/>
                </a:cubicBezTo>
                <a:cubicBezTo>
                  <a:pt x="10" y="44"/>
                  <a:pt x="10" y="43"/>
                  <a:pt x="9" y="43"/>
                </a:cubicBezTo>
                <a:cubicBezTo>
                  <a:pt x="9" y="42"/>
                  <a:pt x="9" y="42"/>
                  <a:pt x="9" y="41"/>
                </a:cubicBezTo>
                <a:cubicBezTo>
                  <a:pt x="11" y="35"/>
                  <a:pt x="11" y="35"/>
                  <a:pt x="11" y="35"/>
                </a:cubicBezTo>
                <a:cubicBezTo>
                  <a:pt x="0" y="25"/>
                  <a:pt x="1" y="9"/>
                  <a:pt x="1" y="8"/>
                </a:cubicBezTo>
                <a:cubicBezTo>
                  <a:pt x="1" y="7"/>
                  <a:pt x="1" y="6"/>
                  <a:pt x="2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0"/>
                  <a:pt x="80" y="0"/>
                  <a:pt x="81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43" y="0"/>
                  <a:pt x="143" y="0"/>
                  <a:pt x="144" y="1"/>
                </a:cubicBezTo>
                <a:cubicBezTo>
                  <a:pt x="144" y="2"/>
                  <a:pt x="143" y="3"/>
                  <a:pt x="142" y="3"/>
                </a:cubicBezTo>
                <a:cubicBezTo>
                  <a:pt x="131" y="7"/>
                  <a:pt x="133" y="26"/>
                  <a:pt x="133" y="27"/>
                </a:cubicBezTo>
                <a:cubicBezTo>
                  <a:pt x="133" y="27"/>
                  <a:pt x="133" y="27"/>
                  <a:pt x="133" y="27"/>
                </a:cubicBezTo>
                <a:cubicBezTo>
                  <a:pt x="133" y="38"/>
                  <a:pt x="128" y="43"/>
                  <a:pt x="128" y="43"/>
                </a:cubicBezTo>
                <a:cubicBezTo>
                  <a:pt x="127" y="43"/>
                  <a:pt x="127" y="44"/>
                  <a:pt x="126" y="44"/>
                </a:cubicBezTo>
                <a:close/>
                <a:moveTo>
                  <a:pt x="13" y="40"/>
                </a:moveTo>
                <a:cubicBezTo>
                  <a:pt x="125" y="40"/>
                  <a:pt x="125" y="40"/>
                  <a:pt x="125" y="40"/>
                </a:cubicBezTo>
                <a:cubicBezTo>
                  <a:pt x="127" y="39"/>
                  <a:pt x="129" y="34"/>
                  <a:pt x="130" y="27"/>
                </a:cubicBezTo>
                <a:cubicBezTo>
                  <a:pt x="129" y="25"/>
                  <a:pt x="128" y="11"/>
                  <a:pt x="135" y="3"/>
                </a:cubicBezTo>
                <a:cubicBezTo>
                  <a:pt x="83" y="3"/>
                  <a:pt x="83" y="3"/>
                  <a:pt x="83" y="3"/>
                </a:cubicBezTo>
                <a:cubicBezTo>
                  <a:pt x="83" y="8"/>
                  <a:pt x="83" y="8"/>
                  <a:pt x="83" y="8"/>
                </a:cubicBezTo>
                <a:cubicBezTo>
                  <a:pt x="83" y="9"/>
                  <a:pt x="82" y="10"/>
                  <a:pt x="81" y="10"/>
                </a:cubicBezTo>
                <a:cubicBezTo>
                  <a:pt x="4" y="10"/>
                  <a:pt x="4" y="10"/>
                  <a:pt x="4" y="10"/>
                </a:cubicBezTo>
                <a:cubicBezTo>
                  <a:pt x="5" y="14"/>
                  <a:pt x="6" y="26"/>
                  <a:pt x="14" y="34"/>
                </a:cubicBezTo>
                <a:cubicBezTo>
                  <a:pt x="15" y="34"/>
                  <a:pt x="15" y="35"/>
                  <a:pt x="15" y="35"/>
                </a:cubicBezTo>
                <a:lnTo>
                  <a:pt x="13" y="4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1" name="Freeform 203"/>
          <p:cNvSpPr>
            <a:spLocks noEditPoints="1"/>
          </p:cNvSpPr>
          <p:nvPr/>
        </p:nvSpPr>
        <p:spPr bwMode="auto">
          <a:xfrm>
            <a:off x="3005138" y="4392613"/>
            <a:ext cx="93663" cy="60325"/>
          </a:xfrm>
          <a:custGeom>
            <a:avLst/>
            <a:gdLst/>
            <a:ahLst/>
            <a:cxnLst>
              <a:cxn ang="0">
                <a:pos x="23" y="16"/>
              </a:cxn>
              <a:cxn ang="0">
                <a:pos x="1" y="16"/>
              </a:cxn>
              <a:cxn ang="0">
                <a:pos x="0" y="14"/>
              </a:cxn>
              <a:cxn ang="0">
                <a:pos x="0" y="1"/>
              </a:cxn>
              <a:cxn ang="0">
                <a:pos x="1" y="0"/>
              </a:cxn>
              <a:cxn ang="0">
                <a:pos x="23" y="0"/>
              </a:cxn>
              <a:cxn ang="0">
                <a:pos x="25" y="1"/>
              </a:cxn>
              <a:cxn ang="0">
                <a:pos x="25" y="14"/>
              </a:cxn>
              <a:cxn ang="0">
                <a:pos x="23" y="16"/>
              </a:cxn>
              <a:cxn ang="0">
                <a:pos x="3" y="12"/>
              </a:cxn>
              <a:cxn ang="0">
                <a:pos x="21" y="12"/>
              </a:cxn>
              <a:cxn ang="0">
                <a:pos x="21" y="3"/>
              </a:cxn>
              <a:cxn ang="0">
                <a:pos x="3" y="3"/>
              </a:cxn>
              <a:cxn ang="0">
                <a:pos x="3" y="12"/>
              </a:cxn>
            </a:cxnLst>
            <a:rect l="0" t="0" r="r" b="b"/>
            <a:pathLst>
              <a:path w="25" h="16">
                <a:moveTo>
                  <a:pt x="23" y="16"/>
                </a:moveTo>
                <a:cubicBezTo>
                  <a:pt x="1" y="16"/>
                  <a:pt x="1" y="16"/>
                  <a:pt x="1" y="16"/>
                </a:cubicBezTo>
                <a:cubicBezTo>
                  <a:pt x="0" y="16"/>
                  <a:pt x="0" y="15"/>
                  <a:pt x="0" y="14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4" y="0"/>
                  <a:pt x="25" y="0"/>
                  <a:pt x="25" y="1"/>
                </a:cubicBezTo>
                <a:cubicBezTo>
                  <a:pt x="25" y="14"/>
                  <a:pt x="25" y="14"/>
                  <a:pt x="25" y="14"/>
                </a:cubicBezTo>
                <a:cubicBezTo>
                  <a:pt x="25" y="15"/>
                  <a:pt x="24" y="16"/>
                  <a:pt x="23" y="16"/>
                </a:cubicBezTo>
                <a:close/>
                <a:moveTo>
                  <a:pt x="3" y="12"/>
                </a:moveTo>
                <a:cubicBezTo>
                  <a:pt x="21" y="12"/>
                  <a:pt x="21" y="12"/>
                  <a:pt x="21" y="12"/>
                </a:cubicBezTo>
                <a:cubicBezTo>
                  <a:pt x="21" y="3"/>
                  <a:pt x="21" y="3"/>
                  <a:pt x="21" y="3"/>
                </a:cubicBezTo>
                <a:cubicBezTo>
                  <a:pt x="3" y="3"/>
                  <a:pt x="3" y="3"/>
                  <a:pt x="3" y="3"/>
                </a:cubicBezTo>
                <a:lnTo>
                  <a:pt x="3" y="1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2" name="Freeform 204"/>
          <p:cNvSpPr>
            <a:spLocks noEditPoints="1"/>
          </p:cNvSpPr>
          <p:nvPr/>
        </p:nvSpPr>
        <p:spPr bwMode="auto">
          <a:xfrm>
            <a:off x="2935288" y="4414838"/>
            <a:ext cx="61913" cy="60325"/>
          </a:xfrm>
          <a:custGeom>
            <a:avLst/>
            <a:gdLst/>
            <a:ahLst/>
            <a:cxnLst>
              <a:cxn ang="0">
                <a:pos x="14" y="16"/>
              </a:cxn>
              <a:cxn ang="0">
                <a:pos x="2" y="16"/>
              </a:cxn>
              <a:cxn ang="0">
                <a:pos x="0" y="15"/>
              </a:cxn>
              <a:cxn ang="0">
                <a:pos x="0" y="2"/>
              </a:cxn>
              <a:cxn ang="0">
                <a:pos x="2" y="0"/>
              </a:cxn>
              <a:cxn ang="0">
                <a:pos x="14" y="0"/>
              </a:cxn>
              <a:cxn ang="0">
                <a:pos x="16" y="2"/>
              </a:cxn>
              <a:cxn ang="0">
                <a:pos x="16" y="15"/>
              </a:cxn>
              <a:cxn ang="0">
                <a:pos x="14" y="16"/>
              </a:cxn>
              <a:cxn ang="0">
                <a:pos x="3" y="13"/>
              </a:cxn>
              <a:cxn ang="0">
                <a:pos x="12" y="13"/>
              </a:cxn>
              <a:cxn ang="0">
                <a:pos x="12" y="4"/>
              </a:cxn>
              <a:cxn ang="0">
                <a:pos x="3" y="4"/>
              </a:cxn>
              <a:cxn ang="0">
                <a:pos x="3" y="13"/>
              </a:cxn>
            </a:cxnLst>
            <a:rect l="0" t="0" r="r" b="b"/>
            <a:pathLst>
              <a:path w="16" h="16">
                <a:moveTo>
                  <a:pt x="14" y="16"/>
                </a:moveTo>
                <a:cubicBezTo>
                  <a:pt x="2" y="16"/>
                  <a:pt x="2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5"/>
                  <a:pt x="16" y="15"/>
                  <a:pt x="16" y="15"/>
                </a:cubicBezTo>
                <a:cubicBezTo>
                  <a:pt x="16" y="16"/>
                  <a:pt x="15" y="16"/>
                  <a:pt x="14" y="16"/>
                </a:cubicBezTo>
                <a:close/>
                <a:moveTo>
                  <a:pt x="3" y="13"/>
                </a:moveTo>
                <a:cubicBezTo>
                  <a:pt x="12" y="13"/>
                  <a:pt x="12" y="13"/>
                  <a:pt x="12" y="13"/>
                </a:cubicBezTo>
                <a:cubicBezTo>
                  <a:pt x="12" y="4"/>
                  <a:pt x="12" y="4"/>
                  <a:pt x="12" y="4"/>
                </a:cubicBezTo>
                <a:cubicBezTo>
                  <a:pt x="3" y="4"/>
                  <a:pt x="3" y="4"/>
                  <a:pt x="3" y="4"/>
                </a:cubicBezTo>
                <a:lnTo>
                  <a:pt x="3" y="13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3" name="Freeform 205"/>
          <p:cNvSpPr>
            <a:spLocks noEditPoints="1"/>
          </p:cNvSpPr>
          <p:nvPr/>
        </p:nvSpPr>
        <p:spPr bwMode="auto">
          <a:xfrm>
            <a:off x="2871788" y="4362450"/>
            <a:ext cx="60325" cy="112713"/>
          </a:xfrm>
          <a:custGeom>
            <a:avLst/>
            <a:gdLst/>
            <a:ahLst/>
            <a:cxnLst>
              <a:cxn ang="0">
                <a:pos x="14" y="30"/>
              </a:cxn>
              <a:cxn ang="0">
                <a:pos x="2" y="30"/>
              </a:cxn>
              <a:cxn ang="0">
                <a:pos x="0" y="29"/>
              </a:cxn>
              <a:cxn ang="0">
                <a:pos x="0" y="2"/>
              </a:cxn>
              <a:cxn ang="0">
                <a:pos x="2" y="0"/>
              </a:cxn>
              <a:cxn ang="0">
                <a:pos x="14" y="0"/>
              </a:cxn>
              <a:cxn ang="0">
                <a:pos x="16" y="2"/>
              </a:cxn>
              <a:cxn ang="0">
                <a:pos x="16" y="29"/>
              </a:cxn>
              <a:cxn ang="0">
                <a:pos x="14" y="30"/>
              </a:cxn>
              <a:cxn ang="0">
                <a:pos x="4" y="27"/>
              </a:cxn>
              <a:cxn ang="0">
                <a:pos x="13" y="27"/>
              </a:cxn>
              <a:cxn ang="0">
                <a:pos x="13" y="3"/>
              </a:cxn>
              <a:cxn ang="0">
                <a:pos x="4" y="3"/>
              </a:cxn>
              <a:cxn ang="0">
                <a:pos x="4" y="27"/>
              </a:cxn>
            </a:cxnLst>
            <a:rect l="0" t="0" r="r" b="b"/>
            <a:pathLst>
              <a:path w="16" h="30">
                <a:moveTo>
                  <a:pt x="14" y="30"/>
                </a:moveTo>
                <a:cubicBezTo>
                  <a:pt x="2" y="30"/>
                  <a:pt x="2" y="30"/>
                  <a:pt x="2" y="30"/>
                </a:cubicBezTo>
                <a:cubicBezTo>
                  <a:pt x="1" y="30"/>
                  <a:pt x="0" y="30"/>
                  <a:pt x="0" y="29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30"/>
                  <a:pt x="15" y="30"/>
                  <a:pt x="14" y="30"/>
                </a:cubicBezTo>
                <a:close/>
                <a:moveTo>
                  <a:pt x="4" y="27"/>
                </a:moveTo>
                <a:cubicBezTo>
                  <a:pt x="13" y="27"/>
                  <a:pt x="13" y="27"/>
                  <a:pt x="13" y="27"/>
                </a:cubicBezTo>
                <a:cubicBezTo>
                  <a:pt x="13" y="3"/>
                  <a:pt x="13" y="3"/>
                  <a:pt x="13" y="3"/>
                </a:cubicBezTo>
                <a:cubicBezTo>
                  <a:pt x="4" y="3"/>
                  <a:pt x="4" y="3"/>
                  <a:pt x="4" y="3"/>
                </a:cubicBezTo>
                <a:lnTo>
                  <a:pt x="4" y="2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4" name="Freeform 206"/>
          <p:cNvSpPr>
            <a:spLocks noEditPoints="1"/>
          </p:cNvSpPr>
          <p:nvPr/>
        </p:nvSpPr>
        <p:spPr bwMode="auto">
          <a:xfrm>
            <a:off x="2935288" y="4346575"/>
            <a:ext cx="61913" cy="65088"/>
          </a:xfrm>
          <a:custGeom>
            <a:avLst/>
            <a:gdLst/>
            <a:ahLst/>
            <a:cxnLst>
              <a:cxn ang="0">
                <a:pos x="14" y="17"/>
              </a:cxn>
              <a:cxn ang="0">
                <a:pos x="2" y="17"/>
              </a:cxn>
              <a:cxn ang="0">
                <a:pos x="0" y="15"/>
              </a:cxn>
              <a:cxn ang="0">
                <a:pos x="0" y="2"/>
              </a:cxn>
              <a:cxn ang="0">
                <a:pos x="2" y="0"/>
              </a:cxn>
              <a:cxn ang="0">
                <a:pos x="14" y="0"/>
              </a:cxn>
              <a:cxn ang="0">
                <a:pos x="16" y="2"/>
              </a:cxn>
              <a:cxn ang="0">
                <a:pos x="16" y="15"/>
              </a:cxn>
              <a:cxn ang="0">
                <a:pos x="14" y="17"/>
              </a:cxn>
              <a:cxn ang="0">
                <a:pos x="3" y="13"/>
              </a:cxn>
              <a:cxn ang="0">
                <a:pos x="12" y="13"/>
              </a:cxn>
              <a:cxn ang="0">
                <a:pos x="12" y="4"/>
              </a:cxn>
              <a:cxn ang="0">
                <a:pos x="3" y="4"/>
              </a:cxn>
              <a:cxn ang="0">
                <a:pos x="3" y="13"/>
              </a:cxn>
            </a:cxnLst>
            <a:rect l="0" t="0" r="r" b="b"/>
            <a:pathLst>
              <a:path w="16" h="17">
                <a:moveTo>
                  <a:pt x="14" y="17"/>
                </a:moveTo>
                <a:cubicBezTo>
                  <a:pt x="2" y="17"/>
                  <a:pt x="2" y="17"/>
                  <a:pt x="2" y="17"/>
                </a:cubicBezTo>
                <a:cubicBezTo>
                  <a:pt x="1" y="17"/>
                  <a:pt x="0" y="16"/>
                  <a:pt x="0" y="15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5"/>
                  <a:pt x="16" y="15"/>
                  <a:pt x="16" y="15"/>
                </a:cubicBezTo>
                <a:cubicBezTo>
                  <a:pt x="16" y="16"/>
                  <a:pt x="15" y="17"/>
                  <a:pt x="14" y="17"/>
                </a:cubicBezTo>
                <a:close/>
                <a:moveTo>
                  <a:pt x="3" y="13"/>
                </a:moveTo>
                <a:cubicBezTo>
                  <a:pt x="12" y="13"/>
                  <a:pt x="12" y="13"/>
                  <a:pt x="12" y="13"/>
                </a:cubicBezTo>
                <a:cubicBezTo>
                  <a:pt x="12" y="4"/>
                  <a:pt x="12" y="4"/>
                  <a:pt x="12" y="4"/>
                </a:cubicBezTo>
                <a:cubicBezTo>
                  <a:pt x="3" y="4"/>
                  <a:pt x="3" y="4"/>
                  <a:pt x="3" y="4"/>
                </a:cubicBezTo>
                <a:lnTo>
                  <a:pt x="3" y="13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5" name="Freeform 207"/>
          <p:cNvSpPr>
            <a:spLocks noEditPoints="1"/>
          </p:cNvSpPr>
          <p:nvPr/>
        </p:nvSpPr>
        <p:spPr bwMode="auto">
          <a:xfrm>
            <a:off x="2700338" y="4365625"/>
            <a:ext cx="141288" cy="109538"/>
          </a:xfrm>
          <a:custGeom>
            <a:avLst/>
            <a:gdLst/>
            <a:ahLst/>
            <a:cxnLst>
              <a:cxn ang="0">
                <a:pos x="35" y="29"/>
              </a:cxn>
              <a:cxn ang="0">
                <a:pos x="1" y="29"/>
              </a:cxn>
              <a:cxn ang="0">
                <a:pos x="0" y="28"/>
              </a:cxn>
              <a:cxn ang="0">
                <a:pos x="0" y="1"/>
              </a:cxn>
              <a:cxn ang="0">
                <a:pos x="1" y="0"/>
              </a:cxn>
              <a:cxn ang="0">
                <a:pos x="35" y="0"/>
              </a:cxn>
              <a:cxn ang="0">
                <a:pos x="37" y="1"/>
              </a:cxn>
              <a:cxn ang="0">
                <a:pos x="37" y="28"/>
              </a:cxn>
              <a:cxn ang="0">
                <a:pos x="35" y="29"/>
              </a:cxn>
              <a:cxn ang="0">
                <a:pos x="3" y="26"/>
              </a:cxn>
              <a:cxn ang="0">
                <a:pos x="33" y="26"/>
              </a:cxn>
              <a:cxn ang="0">
                <a:pos x="33" y="3"/>
              </a:cxn>
              <a:cxn ang="0">
                <a:pos x="3" y="3"/>
              </a:cxn>
              <a:cxn ang="0">
                <a:pos x="3" y="26"/>
              </a:cxn>
            </a:cxnLst>
            <a:rect l="0" t="0" r="r" b="b"/>
            <a:pathLst>
              <a:path w="37" h="29">
                <a:moveTo>
                  <a:pt x="35" y="29"/>
                </a:moveTo>
                <a:cubicBezTo>
                  <a:pt x="1" y="29"/>
                  <a:pt x="1" y="29"/>
                  <a:pt x="1" y="29"/>
                </a:cubicBezTo>
                <a:cubicBezTo>
                  <a:pt x="0" y="29"/>
                  <a:pt x="0" y="29"/>
                  <a:pt x="0" y="28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6" y="0"/>
                  <a:pt x="37" y="0"/>
                  <a:pt x="37" y="1"/>
                </a:cubicBezTo>
                <a:cubicBezTo>
                  <a:pt x="37" y="28"/>
                  <a:pt x="37" y="28"/>
                  <a:pt x="37" y="28"/>
                </a:cubicBezTo>
                <a:cubicBezTo>
                  <a:pt x="37" y="29"/>
                  <a:pt x="36" y="29"/>
                  <a:pt x="35" y="29"/>
                </a:cubicBezTo>
                <a:close/>
                <a:moveTo>
                  <a:pt x="3" y="26"/>
                </a:moveTo>
                <a:cubicBezTo>
                  <a:pt x="33" y="26"/>
                  <a:pt x="33" y="26"/>
                  <a:pt x="33" y="26"/>
                </a:cubicBezTo>
                <a:cubicBezTo>
                  <a:pt x="33" y="3"/>
                  <a:pt x="33" y="3"/>
                  <a:pt x="33" y="3"/>
                </a:cubicBezTo>
                <a:cubicBezTo>
                  <a:pt x="3" y="3"/>
                  <a:pt x="3" y="3"/>
                  <a:pt x="3" y="3"/>
                </a:cubicBezTo>
                <a:lnTo>
                  <a:pt x="3" y="2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6" name="Freeform 208"/>
          <p:cNvSpPr>
            <a:spLocks noEditPoints="1"/>
          </p:cNvSpPr>
          <p:nvPr/>
        </p:nvSpPr>
        <p:spPr bwMode="auto">
          <a:xfrm>
            <a:off x="2754313" y="4381500"/>
            <a:ext cx="68263" cy="60325"/>
          </a:xfrm>
          <a:custGeom>
            <a:avLst/>
            <a:gdLst/>
            <a:ahLst/>
            <a:cxnLst>
              <a:cxn ang="0">
                <a:pos x="16" y="16"/>
              </a:cxn>
              <a:cxn ang="0">
                <a:pos x="2" y="16"/>
              </a:cxn>
              <a:cxn ang="0">
                <a:pos x="0" y="15"/>
              </a:cxn>
              <a:cxn ang="0">
                <a:pos x="0" y="2"/>
              </a:cxn>
              <a:cxn ang="0">
                <a:pos x="2" y="0"/>
              </a:cxn>
              <a:cxn ang="0">
                <a:pos x="16" y="0"/>
              </a:cxn>
              <a:cxn ang="0">
                <a:pos x="18" y="2"/>
              </a:cxn>
              <a:cxn ang="0">
                <a:pos x="18" y="15"/>
              </a:cxn>
              <a:cxn ang="0">
                <a:pos x="16" y="16"/>
              </a:cxn>
              <a:cxn ang="0">
                <a:pos x="4" y="13"/>
              </a:cxn>
              <a:cxn ang="0">
                <a:pos x="14" y="13"/>
              </a:cxn>
              <a:cxn ang="0">
                <a:pos x="14" y="4"/>
              </a:cxn>
              <a:cxn ang="0">
                <a:pos x="4" y="4"/>
              </a:cxn>
              <a:cxn ang="0">
                <a:pos x="4" y="13"/>
              </a:cxn>
            </a:cxnLst>
            <a:rect l="0" t="0" r="r" b="b"/>
            <a:pathLst>
              <a:path w="18" h="16">
                <a:moveTo>
                  <a:pt x="16" y="16"/>
                </a:moveTo>
                <a:cubicBezTo>
                  <a:pt x="2" y="16"/>
                  <a:pt x="2" y="16"/>
                  <a:pt x="2" y="16"/>
                </a:cubicBezTo>
                <a:cubicBezTo>
                  <a:pt x="1" y="16"/>
                  <a:pt x="0" y="16"/>
                  <a:pt x="0" y="15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7" y="0"/>
                  <a:pt x="18" y="1"/>
                  <a:pt x="18" y="2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16"/>
                  <a:pt x="17" y="16"/>
                  <a:pt x="16" y="16"/>
                </a:cubicBezTo>
                <a:close/>
                <a:moveTo>
                  <a:pt x="4" y="13"/>
                </a:moveTo>
                <a:cubicBezTo>
                  <a:pt x="14" y="13"/>
                  <a:pt x="14" y="13"/>
                  <a:pt x="14" y="13"/>
                </a:cubicBezTo>
                <a:cubicBezTo>
                  <a:pt x="14" y="4"/>
                  <a:pt x="14" y="4"/>
                  <a:pt x="14" y="4"/>
                </a:cubicBezTo>
                <a:cubicBezTo>
                  <a:pt x="4" y="4"/>
                  <a:pt x="4" y="4"/>
                  <a:pt x="4" y="4"/>
                </a:cubicBezTo>
                <a:lnTo>
                  <a:pt x="4" y="13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7" name="Freeform 209"/>
          <p:cNvSpPr>
            <a:spLocks/>
          </p:cNvSpPr>
          <p:nvPr/>
        </p:nvSpPr>
        <p:spPr bwMode="auto">
          <a:xfrm>
            <a:off x="2730500" y="4289425"/>
            <a:ext cx="11113" cy="84138"/>
          </a:xfrm>
          <a:custGeom>
            <a:avLst/>
            <a:gdLst/>
            <a:ahLst/>
            <a:cxnLst>
              <a:cxn ang="0">
                <a:pos x="1" y="22"/>
              </a:cxn>
              <a:cxn ang="0">
                <a:pos x="0" y="21"/>
              </a:cxn>
              <a:cxn ang="0">
                <a:pos x="0" y="1"/>
              </a:cxn>
              <a:cxn ang="0">
                <a:pos x="1" y="0"/>
              </a:cxn>
              <a:cxn ang="0">
                <a:pos x="3" y="1"/>
              </a:cxn>
              <a:cxn ang="0">
                <a:pos x="3" y="21"/>
              </a:cxn>
              <a:cxn ang="0">
                <a:pos x="1" y="22"/>
              </a:cxn>
            </a:cxnLst>
            <a:rect l="0" t="0" r="r" b="b"/>
            <a:pathLst>
              <a:path w="3" h="22">
                <a:moveTo>
                  <a:pt x="1" y="22"/>
                </a:moveTo>
                <a:cubicBezTo>
                  <a:pt x="0" y="22"/>
                  <a:pt x="0" y="22"/>
                  <a:pt x="0" y="2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ubicBezTo>
                  <a:pt x="2" y="0"/>
                  <a:pt x="3" y="0"/>
                  <a:pt x="3" y="1"/>
                </a:cubicBezTo>
                <a:cubicBezTo>
                  <a:pt x="3" y="21"/>
                  <a:pt x="3" y="21"/>
                  <a:pt x="3" y="21"/>
                </a:cubicBezTo>
                <a:cubicBezTo>
                  <a:pt x="3" y="22"/>
                  <a:pt x="2" y="22"/>
                  <a:pt x="1" y="2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38" name="Freeform 210"/>
          <p:cNvSpPr>
            <a:spLocks/>
          </p:cNvSpPr>
          <p:nvPr/>
        </p:nvSpPr>
        <p:spPr bwMode="auto">
          <a:xfrm>
            <a:off x="2705100" y="4332288"/>
            <a:ext cx="63500" cy="14288"/>
          </a:xfrm>
          <a:custGeom>
            <a:avLst/>
            <a:gdLst/>
            <a:ahLst/>
            <a:cxnLst>
              <a:cxn ang="0">
                <a:pos x="15" y="4"/>
              </a:cxn>
              <a:cxn ang="0">
                <a:pos x="2" y="4"/>
              </a:cxn>
              <a:cxn ang="0">
                <a:pos x="0" y="2"/>
              </a:cxn>
              <a:cxn ang="0">
                <a:pos x="2" y="0"/>
              </a:cxn>
              <a:cxn ang="0">
                <a:pos x="15" y="0"/>
              </a:cxn>
              <a:cxn ang="0">
                <a:pos x="17" y="2"/>
              </a:cxn>
              <a:cxn ang="0">
                <a:pos x="15" y="4"/>
              </a:cxn>
            </a:cxnLst>
            <a:rect l="0" t="0" r="r" b="b"/>
            <a:pathLst>
              <a:path w="17" h="4">
                <a:moveTo>
                  <a:pt x="15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6" y="0"/>
                  <a:pt x="17" y="1"/>
                  <a:pt x="17" y="2"/>
                </a:cubicBezTo>
                <a:cubicBezTo>
                  <a:pt x="17" y="3"/>
                  <a:pt x="16" y="4"/>
                  <a:pt x="15" y="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341" name="Group 213"/>
          <p:cNvGrpSpPr>
            <a:grpSpLocks noChangeAspect="1"/>
          </p:cNvGrpSpPr>
          <p:nvPr/>
        </p:nvGrpSpPr>
        <p:grpSpPr bwMode="auto">
          <a:xfrm>
            <a:off x="3662363" y="4083048"/>
            <a:ext cx="779462" cy="784224"/>
            <a:chOff x="2317" y="2572"/>
            <a:chExt cx="491" cy="494"/>
          </a:xfrm>
        </p:grpSpPr>
        <p:sp>
          <p:nvSpPr>
            <p:cNvPr id="48342" name="Freeform 214"/>
            <p:cNvSpPr>
              <a:spLocks noEditPoints="1"/>
            </p:cNvSpPr>
            <p:nvPr/>
          </p:nvSpPr>
          <p:spPr bwMode="auto">
            <a:xfrm>
              <a:off x="2317" y="2572"/>
              <a:ext cx="491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5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0" y="103"/>
                </a:cxn>
                <a:cxn ang="0">
                  <a:pos x="103" y="201"/>
                </a:cxn>
              </a:cxnLst>
              <a:rect l="0" t="0" r="r" b="b"/>
              <a:pathLst>
                <a:path w="205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59" y="206"/>
                    <a:pt x="205" y="160"/>
                    <a:pt x="205" y="103"/>
                  </a:cubicBezTo>
                  <a:cubicBezTo>
                    <a:pt x="205" y="46"/>
                    <a:pt x="159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6" y="5"/>
                    <a:pt x="200" y="49"/>
                    <a:pt x="200" y="103"/>
                  </a:cubicBezTo>
                  <a:cubicBezTo>
                    <a:pt x="200" y="157"/>
                    <a:pt x="156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3" name="Freeform 215"/>
            <p:cNvSpPr>
              <a:spLocks noEditPoints="1"/>
            </p:cNvSpPr>
            <p:nvPr/>
          </p:nvSpPr>
          <p:spPr bwMode="auto">
            <a:xfrm>
              <a:off x="2401" y="2807"/>
              <a:ext cx="345" cy="106"/>
            </a:xfrm>
            <a:custGeom>
              <a:avLst/>
              <a:gdLst/>
              <a:ahLst/>
              <a:cxnLst>
                <a:cxn ang="0">
                  <a:pos x="144" y="1"/>
                </a:cxn>
                <a:cxn ang="0">
                  <a:pos x="142" y="0"/>
                </a:cxn>
                <a:cxn ang="0">
                  <a:pos x="81" y="0"/>
                </a:cxn>
                <a:cxn ang="0">
                  <a:pos x="80" y="1"/>
                </a:cxn>
                <a:cxn ang="0">
                  <a:pos x="80" y="6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11" y="35"/>
                </a:cxn>
                <a:cxn ang="0">
                  <a:pos x="9" y="41"/>
                </a:cxn>
                <a:cxn ang="0">
                  <a:pos x="9" y="43"/>
                </a:cxn>
                <a:cxn ang="0">
                  <a:pos x="11" y="44"/>
                </a:cxn>
                <a:cxn ang="0">
                  <a:pos x="126" y="44"/>
                </a:cxn>
                <a:cxn ang="0">
                  <a:pos x="128" y="43"/>
                </a:cxn>
                <a:cxn ang="0">
                  <a:pos x="133" y="27"/>
                </a:cxn>
                <a:cxn ang="0">
                  <a:pos x="133" y="27"/>
                </a:cxn>
                <a:cxn ang="0">
                  <a:pos x="142" y="3"/>
                </a:cxn>
                <a:cxn ang="0">
                  <a:pos x="144" y="1"/>
                </a:cxn>
                <a:cxn ang="0">
                  <a:pos x="130" y="27"/>
                </a:cxn>
                <a:cxn ang="0">
                  <a:pos x="125" y="40"/>
                </a:cxn>
                <a:cxn ang="0">
                  <a:pos x="13" y="40"/>
                </a:cxn>
                <a:cxn ang="0">
                  <a:pos x="15" y="35"/>
                </a:cxn>
                <a:cxn ang="0">
                  <a:pos x="14" y="34"/>
                </a:cxn>
                <a:cxn ang="0">
                  <a:pos x="4" y="10"/>
                </a:cxn>
                <a:cxn ang="0">
                  <a:pos x="81" y="10"/>
                </a:cxn>
                <a:cxn ang="0">
                  <a:pos x="83" y="8"/>
                </a:cxn>
                <a:cxn ang="0">
                  <a:pos x="83" y="3"/>
                </a:cxn>
                <a:cxn ang="0">
                  <a:pos x="135" y="3"/>
                </a:cxn>
                <a:cxn ang="0">
                  <a:pos x="130" y="27"/>
                </a:cxn>
              </a:cxnLst>
              <a:rect l="0" t="0" r="r" b="b"/>
              <a:pathLst>
                <a:path w="144" h="44">
                  <a:moveTo>
                    <a:pt x="144" y="1"/>
                  </a:moveTo>
                  <a:cubicBezTo>
                    <a:pt x="143" y="0"/>
                    <a:pt x="143" y="0"/>
                    <a:pt x="142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0" y="0"/>
                    <a:pt x="80" y="0"/>
                    <a:pt x="80" y="1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9"/>
                    <a:pt x="0" y="25"/>
                    <a:pt x="11" y="35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2"/>
                    <a:pt x="9" y="42"/>
                    <a:pt x="9" y="43"/>
                  </a:cubicBezTo>
                  <a:cubicBezTo>
                    <a:pt x="10" y="43"/>
                    <a:pt x="10" y="44"/>
                    <a:pt x="11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7" y="44"/>
                    <a:pt x="127" y="43"/>
                    <a:pt x="128" y="43"/>
                  </a:cubicBezTo>
                  <a:cubicBezTo>
                    <a:pt x="128" y="43"/>
                    <a:pt x="133" y="38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3" y="26"/>
                    <a:pt x="131" y="7"/>
                    <a:pt x="142" y="3"/>
                  </a:cubicBezTo>
                  <a:cubicBezTo>
                    <a:pt x="143" y="3"/>
                    <a:pt x="144" y="2"/>
                    <a:pt x="144" y="1"/>
                  </a:cubicBezTo>
                  <a:close/>
                  <a:moveTo>
                    <a:pt x="130" y="27"/>
                  </a:moveTo>
                  <a:cubicBezTo>
                    <a:pt x="129" y="34"/>
                    <a:pt x="127" y="39"/>
                    <a:pt x="125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4"/>
                    <a:pt x="14" y="34"/>
                  </a:cubicBezTo>
                  <a:cubicBezTo>
                    <a:pt x="6" y="26"/>
                    <a:pt x="5" y="14"/>
                    <a:pt x="4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2" y="10"/>
                    <a:pt x="83" y="9"/>
                    <a:pt x="83" y="8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28" y="11"/>
                    <a:pt x="129" y="25"/>
                    <a:pt x="130" y="2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4" name="Freeform 216"/>
            <p:cNvSpPr>
              <a:spLocks noEditPoints="1"/>
            </p:cNvSpPr>
            <p:nvPr/>
          </p:nvSpPr>
          <p:spPr bwMode="auto">
            <a:xfrm>
              <a:off x="2597" y="2764"/>
              <a:ext cx="60" cy="39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23" y="16"/>
                </a:cxn>
                <a:cxn ang="0">
                  <a:pos x="25" y="15"/>
                </a:cxn>
                <a:cxn ang="0">
                  <a:pos x="25" y="2"/>
                </a:cxn>
                <a:cxn ang="0">
                  <a:pos x="2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5"/>
                </a:cxn>
                <a:cxn ang="0">
                  <a:pos x="2" y="16"/>
                </a:cxn>
                <a:cxn ang="0">
                  <a:pos x="3" y="4"/>
                </a:cxn>
                <a:cxn ang="0">
                  <a:pos x="21" y="4"/>
                </a:cxn>
                <a:cxn ang="0">
                  <a:pos x="21" y="13"/>
                </a:cxn>
                <a:cxn ang="0">
                  <a:pos x="3" y="13"/>
                </a:cxn>
                <a:cxn ang="0">
                  <a:pos x="3" y="4"/>
                </a:cxn>
              </a:cxnLst>
              <a:rect l="0" t="0" r="r" b="b"/>
              <a:pathLst>
                <a:path w="25" h="16">
                  <a:moveTo>
                    <a:pt x="2" y="16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4" y="16"/>
                    <a:pt x="25" y="16"/>
                    <a:pt x="25" y="15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6"/>
                    <a:pt x="2" y="16"/>
                  </a:cubicBezTo>
                  <a:close/>
                  <a:moveTo>
                    <a:pt x="3" y="4"/>
                  </a:moveTo>
                  <a:cubicBezTo>
                    <a:pt x="21" y="4"/>
                    <a:pt x="21" y="4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5" name="Freeform 217"/>
            <p:cNvSpPr>
              <a:spLocks noEditPoints="1"/>
            </p:cNvSpPr>
            <p:nvPr/>
          </p:nvSpPr>
          <p:spPr bwMode="auto">
            <a:xfrm>
              <a:off x="2552" y="2781"/>
              <a:ext cx="38" cy="38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14" y="16"/>
                </a:cxn>
                <a:cxn ang="0">
                  <a:pos x="16" y="15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5"/>
                </a:cxn>
                <a:cxn ang="0">
                  <a:pos x="2" y="16"/>
                </a:cxn>
                <a:cxn ang="0">
                  <a:pos x="3" y="4"/>
                </a:cxn>
                <a:cxn ang="0">
                  <a:pos x="12" y="4"/>
                </a:cxn>
                <a:cxn ang="0">
                  <a:pos x="12" y="13"/>
                </a:cxn>
                <a:cxn ang="0">
                  <a:pos x="3" y="13"/>
                </a:cxn>
                <a:cxn ang="0">
                  <a:pos x="3" y="4"/>
                </a:cxn>
              </a:cxnLst>
              <a:rect l="0" t="0" r="r" b="b"/>
              <a:pathLst>
                <a:path w="16" h="16">
                  <a:moveTo>
                    <a:pt x="2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6"/>
                    <a:pt x="16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6"/>
                    <a:pt x="2" y="16"/>
                  </a:cubicBezTo>
                  <a:close/>
                  <a:moveTo>
                    <a:pt x="3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6" name="Freeform 218"/>
            <p:cNvSpPr>
              <a:spLocks noEditPoints="1"/>
            </p:cNvSpPr>
            <p:nvPr/>
          </p:nvSpPr>
          <p:spPr bwMode="auto">
            <a:xfrm>
              <a:off x="2506" y="2747"/>
              <a:ext cx="38" cy="72"/>
            </a:xfrm>
            <a:custGeom>
              <a:avLst/>
              <a:gdLst/>
              <a:ahLst/>
              <a:cxnLst>
                <a:cxn ang="0">
                  <a:pos x="2" y="30"/>
                </a:cxn>
                <a:cxn ang="0">
                  <a:pos x="15" y="30"/>
                </a:cxn>
                <a:cxn ang="0">
                  <a:pos x="16" y="29"/>
                </a:cxn>
                <a:cxn ang="0">
                  <a:pos x="16" y="2"/>
                </a:cxn>
                <a:cxn ang="0">
                  <a:pos x="15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9"/>
                </a:cxn>
                <a:cxn ang="0">
                  <a:pos x="2" y="30"/>
                </a:cxn>
                <a:cxn ang="0">
                  <a:pos x="4" y="3"/>
                </a:cxn>
                <a:cxn ang="0">
                  <a:pos x="13" y="3"/>
                </a:cxn>
                <a:cxn ang="0">
                  <a:pos x="13" y="27"/>
                </a:cxn>
                <a:cxn ang="0">
                  <a:pos x="4" y="27"/>
                </a:cxn>
                <a:cxn ang="0">
                  <a:pos x="4" y="3"/>
                </a:cxn>
              </a:cxnLst>
              <a:rect l="0" t="0" r="r" b="b"/>
              <a:pathLst>
                <a:path w="16" h="30">
                  <a:moveTo>
                    <a:pt x="2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16" y="30"/>
                    <a:pt x="16" y="30"/>
                    <a:pt x="16" y="2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0"/>
                    <a:pt x="1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1" y="30"/>
                    <a:pt x="2" y="30"/>
                  </a:cubicBezTo>
                  <a:close/>
                  <a:moveTo>
                    <a:pt x="4" y="3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4" y="27"/>
                    <a:pt x="4" y="27"/>
                    <a:pt x="4" y="27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47" name="Freeform 219"/>
            <p:cNvSpPr>
              <a:spLocks noEditPoints="1"/>
            </p:cNvSpPr>
            <p:nvPr/>
          </p:nvSpPr>
          <p:spPr bwMode="auto">
            <a:xfrm>
              <a:off x="2552" y="2738"/>
              <a:ext cx="38" cy="41"/>
            </a:xfrm>
            <a:custGeom>
              <a:avLst/>
              <a:gdLst/>
              <a:ahLst/>
              <a:cxnLst>
                <a:cxn ang="0">
                  <a:pos x="2" y="17"/>
                </a:cxn>
                <a:cxn ang="0">
                  <a:pos x="14" y="17"/>
                </a:cxn>
                <a:cxn ang="0">
                  <a:pos x="16" y="15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5"/>
                </a:cxn>
                <a:cxn ang="0">
                  <a:pos x="2" y="17"/>
                </a:cxn>
                <a:cxn ang="0">
                  <a:pos x="3" y="4"/>
                </a:cxn>
                <a:cxn ang="0">
                  <a:pos x="12" y="4"/>
                </a:cxn>
                <a:cxn ang="0">
                  <a:pos x="12" y="13"/>
                </a:cxn>
                <a:cxn ang="0">
                  <a:pos x="3" y="13"/>
                </a:cxn>
                <a:cxn ang="0">
                  <a:pos x="3" y="4"/>
                </a:cxn>
              </a:cxnLst>
              <a:rect l="0" t="0" r="r" b="b"/>
              <a:pathLst>
                <a:path w="16" h="17">
                  <a:moveTo>
                    <a:pt x="2" y="17"/>
                  </a:move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6" y="16"/>
                    <a:pt x="16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lose/>
                  <a:moveTo>
                    <a:pt x="3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8" name="Freeform 220"/>
            <p:cNvSpPr>
              <a:spLocks noEditPoints="1"/>
            </p:cNvSpPr>
            <p:nvPr/>
          </p:nvSpPr>
          <p:spPr bwMode="auto">
            <a:xfrm>
              <a:off x="2403" y="2702"/>
              <a:ext cx="89" cy="117"/>
            </a:xfrm>
            <a:custGeom>
              <a:avLst/>
              <a:gdLst/>
              <a:ahLst/>
              <a:cxnLst>
                <a:cxn ang="0">
                  <a:pos x="1" y="49"/>
                </a:cxn>
                <a:cxn ang="0">
                  <a:pos x="35" y="49"/>
                </a:cxn>
                <a:cxn ang="0">
                  <a:pos x="37" y="48"/>
                </a:cxn>
                <a:cxn ang="0">
                  <a:pos x="37" y="21"/>
                </a:cxn>
                <a:cxn ang="0">
                  <a:pos x="35" y="20"/>
                </a:cxn>
                <a:cxn ang="0">
                  <a:pos x="11" y="20"/>
                </a:cxn>
                <a:cxn ang="0">
                  <a:pos x="11" y="15"/>
                </a:cxn>
                <a:cxn ang="0">
                  <a:pos x="16" y="15"/>
                </a:cxn>
                <a:cxn ang="0">
                  <a:pos x="18" y="13"/>
                </a:cxn>
                <a:cxn ang="0">
                  <a:pos x="16" y="11"/>
                </a:cxn>
                <a:cxn ang="0">
                  <a:pos x="11" y="11"/>
                </a:cxn>
                <a:cxn ang="0">
                  <a:pos x="11" y="1"/>
                </a:cxn>
                <a:cxn ang="0">
                  <a:pos x="9" y="0"/>
                </a:cxn>
                <a:cxn ang="0">
                  <a:pos x="8" y="1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1" y="13"/>
                </a:cxn>
                <a:cxn ang="0">
                  <a:pos x="3" y="15"/>
                </a:cxn>
                <a:cxn ang="0">
                  <a:pos x="8" y="15"/>
                </a:cxn>
                <a:cxn ang="0">
                  <a:pos x="8" y="20"/>
                </a:cxn>
                <a:cxn ang="0">
                  <a:pos x="1" y="20"/>
                </a:cxn>
                <a:cxn ang="0">
                  <a:pos x="0" y="21"/>
                </a:cxn>
                <a:cxn ang="0">
                  <a:pos x="0" y="48"/>
                </a:cxn>
                <a:cxn ang="0">
                  <a:pos x="1" y="49"/>
                </a:cxn>
                <a:cxn ang="0">
                  <a:pos x="3" y="23"/>
                </a:cxn>
                <a:cxn ang="0">
                  <a:pos x="33" y="23"/>
                </a:cxn>
                <a:cxn ang="0">
                  <a:pos x="33" y="46"/>
                </a:cxn>
                <a:cxn ang="0">
                  <a:pos x="3" y="46"/>
                </a:cxn>
                <a:cxn ang="0">
                  <a:pos x="3" y="23"/>
                </a:cxn>
              </a:cxnLst>
              <a:rect l="0" t="0" r="r" b="b"/>
              <a:pathLst>
                <a:path w="37" h="49">
                  <a:moveTo>
                    <a:pt x="1" y="49"/>
                  </a:moveTo>
                  <a:cubicBezTo>
                    <a:pt x="35" y="49"/>
                    <a:pt x="35" y="49"/>
                    <a:pt x="35" y="49"/>
                  </a:cubicBezTo>
                  <a:cubicBezTo>
                    <a:pt x="36" y="49"/>
                    <a:pt x="37" y="49"/>
                    <a:pt x="37" y="48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6" y="20"/>
                    <a:pt x="35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8" y="14"/>
                    <a:pt x="18" y="13"/>
                  </a:cubicBezTo>
                  <a:cubicBezTo>
                    <a:pt x="18" y="12"/>
                    <a:pt x="17" y="11"/>
                    <a:pt x="16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2"/>
                    <a:pt x="1" y="13"/>
                  </a:cubicBezTo>
                  <a:cubicBezTo>
                    <a:pt x="1" y="14"/>
                    <a:pt x="2" y="15"/>
                    <a:pt x="3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1" y="49"/>
                  </a:cubicBezTo>
                  <a:close/>
                  <a:moveTo>
                    <a:pt x="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" y="46"/>
                    <a:pt x="3" y="46"/>
                    <a:pt x="3" y="46"/>
                  </a:cubicBezTo>
                  <a:lnTo>
                    <a:pt x="3" y="2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49" name="Freeform 221"/>
            <p:cNvSpPr>
              <a:spLocks noEditPoints="1"/>
            </p:cNvSpPr>
            <p:nvPr/>
          </p:nvSpPr>
          <p:spPr bwMode="auto">
            <a:xfrm>
              <a:off x="2437" y="2759"/>
              <a:ext cx="43" cy="3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5"/>
                </a:cxn>
                <a:cxn ang="0">
                  <a:pos x="2" y="16"/>
                </a:cxn>
                <a:cxn ang="0">
                  <a:pos x="16" y="16"/>
                </a:cxn>
                <a:cxn ang="0">
                  <a:pos x="18" y="15"/>
                </a:cxn>
                <a:cxn ang="0">
                  <a:pos x="18" y="2"/>
                </a:cxn>
                <a:cxn ang="0">
                  <a:pos x="16" y="0"/>
                </a:cxn>
                <a:cxn ang="0">
                  <a:pos x="14" y="13"/>
                </a:cxn>
                <a:cxn ang="0">
                  <a:pos x="4" y="13"/>
                </a:cxn>
                <a:cxn ang="0">
                  <a:pos x="4" y="4"/>
                </a:cxn>
                <a:cxn ang="0">
                  <a:pos x="14" y="4"/>
                </a:cxn>
                <a:cxn ang="0">
                  <a:pos x="14" y="13"/>
                </a:cxn>
              </a:cxnLst>
              <a:rect l="0" t="0" r="r" b="b"/>
              <a:pathLst>
                <a:path w="18" h="1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6"/>
                    <a:pt x="2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8" y="16"/>
                    <a:pt x="18" y="15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  <a:moveTo>
                    <a:pt x="14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14" y="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353" name="Oval 225"/>
          <p:cNvSpPr>
            <a:spLocks noChangeArrowheads="1"/>
          </p:cNvSpPr>
          <p:nvPr/>
        </p:nvSpPr>
        <p:spPr bwMode="auto">
          <a:xfrm>
            <a:off x="4734719" y="4062413"/>
            <a:ext cx="838200" cy="833437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354" name="Freeform 226"/>
          <p:cNvSpPr>
            <a:spLocks noEditPoints="1"/>
          </p:cNvSpPr>
          <p:nvPr/>
        </p:nvSpPr>
        <p:spPr bwMode="auto">
          <a:xfrm>
            <a:off x="4761707" y="4089400"/>
            <a:ext cx="784225" cy="7810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0" y="103"/>
              </a:cxn>
              <a:cxn ang="0">
                <a:pos x="103" y="205"/>
              </a:cxn>
              <a:cxn ang="0">
                <a:pos x="206" y="103"/>
              </a:cxn>
              <a:cxn ang="0">
                <a:pos x="103" y="0"/>
              </a:cxn>
              <a:cxn ang="0">
                <a:pos x="103" y="200"/>
              </a:cxn>
              <a:cxn ang="0">
                <a:pos x="5" y="103"/>
              </a:cxn>
              <a:cxn ang="0">
                <a:pos x="103" y="5"/>
              </a:cxn>
              <a:cxn ang="0">
                <a:pos x="201" y="103"/>
              </a:cxn>
              <a:cxn ang="0">
                <a:pos x="103" y="200"/>
              </a:cxn>
            </a:cxnLst>
            <a:rect l="0" t="0" r="r" b="b"/>
            <a:pathLst>
              <a:path w="206" h="205">
                <a:moveTo>
                  <a:pt x="103" y="0"/>
                </a:moveTo>
                <a:cubicBezTo>
                  <a:pt x="46" y="0"/>
                  <a:pt x="0" y="46"/>
                  <a:pt x="0" y="103"/>
                </a:cubicBezTo>
                <a:cubicBezTo>
                  <a:pt x="0" y="159"/>
                  <a:pt x="46" y="205"/>
                  <a:pt x="103" y="205"/>
                </a:cubicBezTo>
                <a:cubicBezTo>
                  <a:pt x="160" y="205"/>
                  <a:pt x="206" y="159"/>
                  <a:pt x="206" y="103"/>
                </a:cubicBezTo>
                <a:cubicBezTo>
                  <a:pt x="206" y="46"/>
                  <a:pt x="160" y="0"/>
                  <a:pt x="103" y="0"/>
                </a:cubicBezTo>
                <a:close/>
                <a:moveTo>
                  <a:pt x="103" y="200"/>
                </a:moveTo>
                <a:cubicBezTo>
                  <a:pt x="49" y="200"/>
                  <a:pt x="5" y="156"/>
                  <a:pt x="5" y="103"/>
                </a:cubicBezTo>
                <a:cubicBezTo>
                  <a:pt x="5" y="49"/>
                  <a:pt x="49" y="5"/>
                  <a:pt x="103" y="5"/>
                </a:cubicBezTo>
                <a:cubicBezTo>
                  <a:pt x="157" y="5"/>
                  <a:pt x="201" y="49"/>
                  <a:pt x="201" y="103"/>
                </a:cubicBezTo>
                <a:cubicBezTo>
                  <a:pt x="201" y="156"/>
                  <a:pt x="157" y="200"/>
                  <a:pt x="103" y="20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55" name="Freeform 227"/>
          <p:cNvSpPr>
            <a:spLocks noEditPoints="1"/>
          </p:cNvSpPr>
          <p:nvPr/>
        </p:nvSpPr>
        <p:spPr bwMode="auto">
          <a:xfrm>
            <a:off x="4933157" y="4287838"/>
            <a:ext cx="438150" cy="376237"/>
          </a:xfrm>
          <a:custGeom>
            <a:avLst/>
            <a:gdLst/>
            <a:ahLst/>
            <a:cxnLst>
              <a:cxn ang="0">
                <a:pos x="113" y="6"/>
              </a:cxn>
              <a:cxn ang="0">
                <a:pos x="107" y="6"/>
              </a:cxn>
              <a:cxn ang="0">
                <a:pos x="107" y="3"/>
              </a:cxn>
              <a:cxn ang="0">
                <a:pos x="105" y="1"/>
              </a:cxn>
              <a:cxn ang="0">
                <a:pos x="89" y="0"/>
              </a:cxn>
              <a:cxn ang="0">
                <a:pos x="58" y="9"/>
              </a:cxn>
              <a:cxn ang="0">
                <a:pos x="26" y="0"/>
              </a:cxn>
              <a:cxn ang="0">
                <a:pos x="10" y="1"/>
              </a:cxn>
              <a:cxn ang="0">
                <a:pos x="8" y="3"/>
              </a:cxn>
              <a:cxn ang="0">
                <a:pos x="8" y="6"/>
              </a:cxn>
              <a:cxn ang="0">
                <a:pos x="3" y="6"/>
              </a:cxn>
              <a:cxn ang="0">
                <a:pos x="0" y="8"/>
              </a:cxn>
              <a:cxn ang="0">
                <a:pos x="0" y="97"/>
              </a:cxn>
              <a:cxn ang="0">
                <a:pos x="3" y="99"/>
              </a:cxn>
              <a:cxn ang="0">
                <a:pos x="113" y="99"/>
              </a:cxn>
              <a:cxn ang="0">
                <a:pos x="115" y="97"/>
              </a:cxn>
              <a:cxn ang="0">
                <a:pos x="115" y="8"/>
              </a:cxn>
              <a:cxn ang="0">
                <a:pos x="113" y="6"/>
              </a:cxn>
              <a:cxn ang="0">
                <a:pos x="60" y="14"/>
              </a:cxn>
              <a:cxn ang="0">
                <a:pos x="89" y="4"/>
              </a:cxn>
              <a:cxn ang="0">
                <a:pos x="103" y="5"/>
              </a:cxn>
              <a:cxn ang="0">
                <a:pos x="103" y="89"/>
              </a:cxn>
              <a:cxn ang="0">
                <a:pos x="84" y="87"/>
              </a:cxn>
              <a:cxn ang="0">
                <a:pos x="60" y="89"/>
              </a:cxn>
              <a:cxn ang="0">
                <a:pos x="60" y="14"/>
              </a:cxn>
              <a:cxn ang="0">
                <a:pos x="13" y="5"/>
              </a:cxn>
              <a:cxn ang="0">
                <a:pos x="26" y="4"/>
              </a:cxn>
              <a:cxn ang="0">
                <a:pos x="56" y="14"/>
              </a:cxn>
              <a:cxn ang="0">
                <a:pos x="56" y="89"/>
              </a:cxn>
              <a:cxn ang="0">
                <a:pos x="28" y="87"/>
              </a:cxn>
              <a:cxn ang="0">
                <a:pos x="13" y="88"/>
              </a:cxn>
              <a:cxn ang="0">
                <a:pos x="13" y="5"/>
              </a:cxn>
              <a:cxn ang="0">
                <a:pos x="110" y="94"/>
              </a:cxn>
              <a:cxn ang="0">
                <a:pos x="5" y="94"/>
              </a:cxn>
              <a:cxn ang="0">
                <a:pos x="5" y="10"/>
              </a:cxn>
              <a:cxn ang="0">
                <a:pos x="8" y="10"/>
              </a:cxn>
              <a:cxn ang="0">
                <a:pos x="8" y="91"/>
              </a:cxn>
              <a:cxn ang="0">
                <a:pos x="9" y="92"/>
              </a:cxn>
              <a:cxn ang="0">
                <a:pos x="11" y="93"/>
              </a:cxn>
              <a:cxn ang="0">
                <a:pos x="28" y="91"/>
              </a:cxn>
              <a:cxn ang="0">
                <a:pos x="57" y="94"/>
              </a:cxn>
              <a:cxn ang="0">
                <a:pos x="58" y="94"/>
              </a:cxn>
              <a:cxn ang="0">
                <a:pos x="58" y="94"/>
              </a:cxn>
              <a:cxn ang="0">
                <a:pos x="58" y="94"/>
              </a:cxn>
              <a:cxn ang="0">
                <a:pos x="58" y="94"/>
              </a:cxn>
              <a:cxn ang="0">
                <a:pos x="58" y="94"/>
              </a:cxn>
              <a:cxn ang="0">
                <a:pos x="84" y="92"/>
              </a:cxn>
              <a:cxn ang="0">
                <a:pos x="105" y="94"/>
              </a:cxn>
              <a:cxn ang="0">
                <a:pos x="105" y="94"/>
              </a:cxn>
              <a:cxn ang="0">
                <a:pos x="106" y="93"/>
              </a:cxn>
              <a:cxn ang="0">
                <a:pos x="107" y="92"/>
              </a:cxn>
              <a:cxn ang="0">
                <a:pos x="107" y="10"/>
              </a:cxn>
              <a:cxn ang="0">
                <a:pos x="110" y="10"/>
              </a:cxn>
              <a:cxn ang="0">
                <a:pos x="110" y="94"/>
              </a:cxn>
            </a:cxnLst>
            <a:rect l="0" t="0" r="r" b="b"/>
            <a:pathLst>
              <a:path w="115" h="99">
                <a:moveTo>
                  <a:pt x="113" y="6"/>
                </a:moveTo>
                <a:cubicBezTo>
                  <a:pt x="107" y="6"/>
                  <a:pt x="107" y="6"/>
                  <a:pt x="107" y="6"/>
                </a:cubicBezTo>
                <a:cubicBezTo>
                  <a:pt x="107" y="3"/>
                  <a:pt x="107" y="3"/>
                  <a:pt x="107" y="3"/>
                </a:cubicBezTo>
                <a:cubicBezTo>
                  <a:pt x="107" y="2"/>
                  <a:pt x="107" y="1"/>
                  <a:pt x="105" y="1"/>
                </a:cubicBezTo>
                <a:cubicBezTo>
                  <a:pt x="105" y="1"/>
                  <a:pt x="98" y="0"/>
                  <a:pt x="89" y="0"/>
                </a:cubicBezTo>
                <a:cubicBezTo>
                  <a:pt x="79" y="0"/>
                  <a:pt x="65" y="1"/>
                  <a:pt x="58" y="9"/>
                </a:cubicBezTo>
                <a:cubicBezTo>
                  <a:pt x="51" y="1"/>
                  <a:pt x="37" y="0"/>
                  <a:pt x="26" y="0"/>
                </a:cubicBezTo>
                <a:cubicBezTo>
                  <a:pt x="17" y="0"/>
                  <a:pt x="10" y="1"/>
                  <a:pt x="10" y="1"/>
                </a:cubicBezTo>
                <a:cubicBezTo>
                  <a:pt x="9" y="1"/>
                  <a:pt x="8" y="2"/>
                  <a:pt x="8" y="3"/>
                </a:cubicBezTo>
                <a:cubicBezTo>
                  <a:pt x="8" y="6"/>
                  <a:pt x="8" y="6"/>
                  <a:pt x="8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7"/>
                  <a:pt x="0" y="8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8"/>
                  <a:pt x="1" y="99"/>
                  <a:pt x="3" y="99"/>
                </a:cubicBezTo>
                <a:cubicBezTo>
                  <a:pt x="113" y="99"/>
                  <a:pt x="113" y="99"/>
                  <a:pt x="113" y="99"/>
                </a:cubicBezTo>
                <a:cubicBezTo>
                  <a:pt x="114" y="99"/>
                  <a:pt x="115" y="98"/>
                  <a:pt x="115" y="97"/>
                </a:cubicBezTo>
                <a:cubicBezTo>
                  <a:pt x="115" y="8"/>
                  <a:pt x="115" y="8"/>
                  <a:pt x="115" y="8"/>
                </a:cubicBezTo>
                <a:cubicBezTo>
                  <a:pt x="115" y="7"/>
                  <a:pt x="114" y="6"/>
                  <a:pt x="113" y="6"/>
                </a:cubicBezTo>
                <a:close/>
                <a:moveTo>
                  <a:pt x="60" y="14"/>
                </a:moveTo>
                <a:cubicBezTo>
                  <a:pt x="66" y="6"/>
                  <a:pt x="79" y="4"/>
                  <a:pt x="89" y="4"/>
                </a:cubicBezTo>
                <a:cubicBezTo>
                  <a:pt x="95" y="4"/>
                  <a:pt x="100" y="5"/>
                  <a:pt x="103" y="5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98" y="88"/>
                  <a:pt x="91" y="87"/>
                  <a:pt x="84" y="87"/>
                </a:cubicBezTo>
                <a:cubicBezTo>
                  <a:pt x="74" y="87"/>
                  <a:pt x="65" y="88"/>
                  <a:pt x="60" y="89"/>
                </a:cubicBezTo>
                <a:lnTo>
                  <a:pt x="60" y="14"/>
                </a:lnTo>
                <a:close/>
                <a:moveTo>
                  <a:pt x="13" y="5"/>
                </a:moveTo>
                <a:cubicBezTo>
                  <a:pt x="15" y="5"/>
                  <a:pt x="20" y="4"/>
                  <a:pt x="26" y="4"/>
                </a:cubicBezTo>
                <a:cubicBezTo>
                  <a:pt x="37" y="4"/>
                  <a:pt x="50" y="6"/>
                  <a:pt x="56" y="14"/>
                </a:cubicBezTo>
                <a:cubicBezTo>
                  <a:pt x="56" y="89"/>
                  <a:pt x="56" y="89"/>
                  <a:pt x="56" y="89"/>
                </a:cubicBezTo>
                <a:cubicBezTo>
                  <a:pt x="51" y="88"/>
                  <a:pt x="40" y="87"/>
                  <a:pt x="28" y="87"/>
                </a:cubicBezTo>
                <a:cubicBezTo>
                  <a:pt x="23" y="87"/>
                  <a:pt x="17" y="87"/>
                  <a:pt x="13" y="88"/>
                </a:cubicBezTo>
                <a:lnTo>
                  <a:pt x="13" y="5"/>
                </a:lnTo>
                <a:close/>
                <a:moveTo>
                  <a:pt x="110" y="94"/>
                </a:moveTo>
                <a:cubicBezTo>
                  <a:pt x="5" y="94"/>
                  <a:pt x="5" y="94"/>
                  <a:pt x="5" y="94"/>
                </a:cubicBezTo>
                <a:cubicBezTo>
                  <a:pt x="5" y="10"/>
                  <a:pt x="5" y="10"/>
                  <a:pt x="5" y="10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91"/>
                  <a:pt x="8" y="91"/>
                  <a:pt x="8" y="91"/>
                </a:cubicBezTo>
                <a:cubicBezTo>
                  <a:pt x="8" y="91"/>
                  <a:pt x="9" y="92"/>
                  <a:pt x="9" y="92"/>
                </a:cubicBezTo>
                <a:cubicBezTo>
                  <a:pt x="10" y="93"/>
                  <a:pt x="10" y="93"/>
                  <a:pt x="11" y="93"/>
                </a:cubicBezTo>
                <a:cubicBezTo>
                  <a:pt x="16" y="92"/>
                  <a:pt x="22" y="91"/>
                  <a:pt x="28" y="91"/>
                </a:cubicBezTo>
                <a:cubicBezTo>
                  <a:pt x="43" y="91"/>
                  <a:pt x="57" y="94"/>
                  <a:pt x="57" y="94"/>
                </a:cubicBezTo>
                <a:cubicBezTo>
                  <a:pt x="57" y="94"/>
                  <a:pt x="57" y="94"/>
                  <a:pt x="58" y="94"/>
                </a:cubicBezTo>
                <a:cubicBezTo>
                  <a:pt x="58" y="94"/>
                  <a:pt x="58" y="94"/>
                  <a:pt x="58" y="94"/>
                </a:cubicBezTo>
                <a:cubicBezTo>
                  <a:pt x="58" y="94"/>
                  <a:pt x="58" y="94"/>
                  <a:pt x="58" y="94"/>
                </a:cubicBezTo>
                <a:cubicBezTo>
                  <a:pt x="58" y="94"/>
                  <a:pt x="58" y="94"/>
                  <a:pt x="58" y="94"/>
                </a:cubicBezTo>
                <a:cubicBezTo>
                  <a:pt x="58" y="94"/>
                  <a:pt x="58" y="94"/>
                  <a:pt x="58" y="94"/>
                </a:cubicBezTo>
                <a:cubicBezTo>
                  <a:pt x="58" y="94"/>
                  <a:pt x="71" y="92"/>
                  <a:pt x="84" y="92"/>
                </a:cubicBezTo>
                <a:cubicBezTo>
                  <a:pt x="92" y="92"/>
                  <a:pt x="99" y="93"/>
                  <a:pt x="105" y="94"/>
                </a:cubicBezTo>
                <a:cubicBezTo>
                  <a:pt x="105" y="94"/>
                  <a:pt x="105" y="94"/>
                  <a:pt x="105" y="94"/>
                </a:cubicBezTo>
                <a:cubicBezTo>
                  <a:pt x="106" y="94"/>
                  <a:pt x="106" y="94"/>
                  <a:pt x="106" y="93"/>
                </a:cubicBezTo>
                <a:cubicBezTo>
                  <a:pt x="107" y="93"/>
                  <a:pt x="107" y="92"/>
                  <a:pt x="107" y="92"/>
                </a:cubicBezTo>
                <a:cubicBezTo>
                  <a:pt x="107" y="10"/>
                  <a:pt x="107" y="10"/>
                  <a:pt x="107" y="10"/>
                </a:cubicBezTo>
                <a:cubicBezTo>
                  <a:pt x="110" y="10"/>
                  <a:pt x="110" y="10"/>
                  <a:pt x="110" y="10"/>
                </a:cubicBezTo>
                <a:lnTo>
                  <a:pt x="110" y="9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358" name="Group 230"/>
          <p:cNvGrpSpPr>
            <a:grpSpLocks noChangeAspect="1"/>
          </p:cNvGrpSpPr>
          <p:nvPr/>
        </p:nvGrpSpPr>
        <p:grpSpPr bwMode="auto">
          <a:xfrm>
            <a:off x="5849941" y="4083048"/>
            <a:ext cx="784226" cy="781049"/>
            <a:chOff x="3699" y="2572"/>
            <a:chExt cx="494" cy="492"/>
          </a:xfrm>
        </p:grpSpPr>
        <p:sp>
          <p:nvSpPr>
            <p:cNvPr id="48359" name="Freeform 231"/>
            <p:cNvSpPr>
              <a:spLocks noEditPoints="1"/>
            </p:cNvSpPr>
            <p:nvPr/>
          </p:nvSpPr>
          <p:spPr bwMode="auto">
            <a:xfrm>
              <a:off x="3699" y="2572"/>
              <a:ext cx="494" cy="492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5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0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0"/>
                </a:cxn>
              </a:cxnLst>
              <a:rect l="0" t="0" r="r" b="b"/>
              <a:pathLst>
                <a:path w="206" h="205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5"/>
                    <a:pt x="103" y="205"/>
                  </a:cubicBezTo>
                  <a:cubicBezTo>
                    <a:pt x="160" y="205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0"/>
                  </a:moveTo>
                  <a:cubicBezTo>
                    <a:pt x="49" y="200"/>
                    <a:pt x="5" y="156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6"/>
                    <a:pt x="157" y="200"/>
                    <a:pt x="103" y="20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60" name="Freeform 232"/>
            <p:cNvSpPr>
              <a:spLocks noEditPoints="1"/>
            </p:cNvSpPr>
            <p:nvPr/>
          </p:nvSpPr>
          <p:spPr bwMode="auto">
            <a:xfrm>
              <a:off x="3807" y="2697"/>
              <a:ext cx="276" cy="237"/>
            </a:xfrm>
            <a:custGeom>
              <a:avLst/>
              <a:gdLst/>
              <a:ahLst/>
              <a:cxnLst>
                <a:cxn ang="0">
                  <a:pos x="113" y="6"/>
                </a:cxn>
                <a:cxn ang="0">
                  <a:pos x="107" y="6"/>
                </a:cxn>
                <a:cxn ang="0">
                  <a:pos x="107" y="3"/>
                </a:cxn>
                <a:cxn ang="0">
                  <a:pos x="105" y="1"/>
                </a:cxn>
                <a:cxn ang="0">
                  <a:pos x="89" y="0"/>
                </a:cxn>
                <a:cxn ang="0">
                  <a:pos x="58" y="9"/>
                </a:cxn>
                <a:cxn ang="0">
                  <a:pos x="26" y="0"/>
                </a:cxn>
                <a:cxn ang="0">
                  <a:pos x="10" y="1"/>
                </a:cxn>
                <a:cxn ang="0">
                  <a:pos x="8" y="3"/>
                </a:cxn>
                <a:cxn ang="0">
                  <a:pos x="8" y="6"/>
                </a:cxn>
                <a:cxn ang="0">
                  <a:pos x="3" y="6"/>
                </a:cxn>
                <a:cxn ang="0">
                  <a:pos x="0" y="8"/>
                </a:cxn>
                <a:cxn ang="0">
                  <a:pos x="0" y="97"/>
                </a:cxn>
                <a:cxn ang="0">
                  <a:pos x="3" y="99"/>
                </a:cxn>
                <a:cxn ang="0">
                  <a:pos x="113" y="99"/>
                </a:cxn>
                <a:cxn ang="0">
                  <a:pos x="115" y="97"/>
                </a:cxn>
                <a:cxn ang="0">
                  <a:pos x="115" y="8"/>
                </a:cxn>
                <a:cxn ang="0">
                  <a:pos x="113" y="6"/>
                </a:cxn>
                <a:cxn ang="0">
                  <a:pos x="60" y="14"/>
                </a:cxn>
                <a:cxn ang="0">
                  <a:pos x="89" y="4"/>
                </a:cxn>
                <a:cxn ang="0">
                  <a:pos x="103" y="5"/>
                </a:cxn>
                <a:cxn ang="0">
                  <a:pos x="103" y="89"/>
                </a:cxn>
                <a:cxn ang="0">
                  <a:pos x="84" y="87"/>
                </a:cxn>
                <a:cxn ang="0">
                  <a:pos x="60" y="89"/>
                </a:cxn>
                <a:cxn ang="0">
                  <a:pos x="60" y="14"/>
                </a:cxn>
                <a:cxn ang="0">
                  <a:pos x="13" y="5"/>
                </a:cxn>
                <a:cxn ang="0">
                  <a:pos x="26" y="4"/>
                </a:cxn>
                <a:cxn ang="0">
                  <a:pos x="56" y="14"/>
                </a:cxn>
                <a:cxn ang="0">
                  <a:pos x="56" y="89"/>
                </a:cxn>
                <a:cxn ang="0">
                  <a:pos x="28" y="87"/>
                </a:cxn>
                <a:cxn ang="0">
                  <a:pos x="13" y="88"/>
                </a:cxn>
                <a:cxn ang="0">
                  <a:pos x="13" y="5"/>
                </a:cxn>
                <a:cxn ang="0">
                  <a:pos x="110" y="94"/>
                </a:cxn>
                <a:cxn ang="0">
                  <a:pos x="5" y="94"/>
                </a:cxn>
                <a:cxn ang="0">
                  <a:pos x="5" y="10"/>
                </a:cxn>
                <a:cxn ang="0">
                  <a:pos x="8" y="10"/>
                </a:cxn>
                <a:cxn ang="0">
                  <a:pos x="8" y="91"/>
                </a:cxn>
                <a:cxn ang="0">
                  <a:pos x="9" y="92"/>
                </a:cxn>
                <a:cxn ang="0">
                  <a:pos x="11" y="93"/>
                </a:cxn>
                <a:cxn ang="0">
                  <a:pos x="28" y="91"/>
                </a:cxn>
                <a:cxn ang="0">
                  <a:pos x="57" y="94"/>
                </a:cxn>
                <a:cxn ang="0">
                  <a:pos x="58" y="94"/>
                </a:cxn>
                <a:cxn ang="0">
                  <a:pos x="58" y="94"/>
                </a:cxn>
                <a:cxn ang="0">
                  <a:pos x="58" y="94"/>
                </a:cxn>
                <a:cxn ang="0">
                  <a:pos x="58" y="94"/>
                </a:cxn>
                <a:cxn ang="0">
                  <a:pos x="58" y="94"/>
                </a:cxn>
                <a:cxn ang="0">
                  <a:pos x="84" y="92"/>
                </a:cxn>
                <a:cxn ang="0">
                  <a:pos x="105" y="94"/>
                </a:cxn>
                <a:cxn ang="0">
                  <a:pos x="105" y="94"/>
                </a:cxn>
                <a:cxn ang="0">
                  <a:pos x="106" y="93"/>
                </a:cxn>
                <a:cxn ang="0">
                  <a:pos x="107" y="92"/>
                </a:cxn>
                <a:cxn ang="0">
                  <a:pos x="107" y="10"/>
                </a:cxn>
                <a:cxn ang="0">
                  <a:pos x="110" y="10"/>
                </a:cxn>
                <a:cxn ang="0">
                  <a:pos x="110" y="94"/>
                </a:cxn>
              </a:cxnLst>
              <a:rect l="0" t="0" r="r" b="b"/>
              <a:pathLst>
                <a:path w="115" h="99">
                  <a:moveTo>
                    <a:pt x="113" y="6"/>
                  </a:moveTo>
                  <a:cubicBezTo>
                    <a:pt x="107" y="6"/>
                    <a:pt x="107" y="6"/>
                    <a:pt x="107" y="6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2"/>
                    <a:pt x="107" y="1"/>
                    <a:pt x="105" y="1"/>
                  </a:cubicBezTo>
                  <a:cubicBezTo>
                    <a:pt x="105" y="1"/>
                    <a:pt x="98" y="0"/>
                    <a:pt x="89" y="0"/>
                  </a:cubicBezTo>
                  <a:cubicBezTo>
                    <a:pt x="79" y="0"/>
                    <a:pt x="65" y="1"/>
                    <a:pt x="58" y="9"/>
                  </a:cubicBezTo>
                  <a:cubicBezTo>
                    <a:pt x="51" y="1"/>
                    <a:pt x="37" y="0"/>
                    <a:pt x="26" y="0"/>
                  </a:cubicBezTo>
                  <a:cubicBezTo>
                    <a:pt x="17" y="0"/>
                    <a:pt x="10" y="1"/>
                    <a:pt x="10" y="1"/>
                  </a:cubicBezTo>
                  <a:cubicBezTo>
                    <a:pt x="9" y="1"/>
                    <a:pt x="8" y="2"/>
                    <a:pt x="8" y="3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8"/>
                    <a:pt x="1" y="99"/>
                    <a:pt x="3" y="99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4" y="99"/>
                    <a:pt x="115" y="98"/>
                    <a:pt x="115" y="97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5" y="7"/>
                    <a:pt x="114" y="6"/>
                    <a:pt x="113" y="6"/>
                  </a:cubicBezTo>
                  <a:close/>
                  <a:moveTo>
                    <a:pt x="60" y="14"/>
                  </a:moveTo>
                  <a:cubicBezTo>
                    <a:pt x="66" y="6"/>
                    <a:pt x="79" y="4"/>
                    <a:pt x="89" y="4"/>
                  </a:cubicBezTo>
                  <a:cubicBezTo>
                    <a:pt x="95" y="4"/>
                    <a:pt x="100" y="5"/>
                    <a:pt x="103" y="5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98" y="88"/>
                    <a:pt x="91" y="87"/>
                    <a:pt x="84" y="87"/>
                  </a:cubicBezTo>
                  <a:cubicBezTo>
                    <a:pt x="74" y="87"/>
                    <a:pt x="65" y="88"/>
                    <a:pt x="60" y="89"/>
                  </a:cubicBezTo>
                  <a:lnTo>
                    <a:pt x="60" y="14"/>
                  </a:lnTo>
                  <a:close/>
                  <a:moveTo>
                    <a:pt x="13" y="5"/>
                  </a:moveTo>
                  <a:cubicBezTo>
                    <a:pt x="15" y="5"/>
                    <a:pt x="20" y="4"/>
                    <a:pt x="26" y="4"/>
                  </a:cubicBezTo>
                  <a:cubicBezTo>
                    <a:pt x="37" y="4"/>
                    <a:pt x="50" y="6"/>
                    <a:pt x="56" y="14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1" y="88"/>
                    <a:pt x="40" y="87"/>
                    <a:pt x="28" y="87"/>
                  </a:cubicBezTo>
                  <a:cubicBezTo>
                    <a:pt x="23" y="87"/>
                    <a:pt x="17" y="87"/>
                    <a:pt x="13" y="88"/>
                  </a:cubicBezTo>
                  <a:lnTo>
                    <a:pt x="13" y="5"/>
                  </a:lnTo>
                  <a:close/>
                  <a:moveTo>
                    <a:pt x="110" y="94"/>
                  </a:moveTo>
                  <a:cubicBezTo>
                    <a:pt x="5" y="94"/>
                    <a:pt x="5" y="94"/>
                    <a:pt x="5" y="94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9" y="92"/>
                    <a:pt x="9" y="92"/>
                  </a:cubicBezTo>
                  <a:cubicBezTo>
                    <a:pt x="10" y="93"/>
                    <a:pt x="10" y="93"/>
                    <a:pt x="11" y="93"/>
                  </a:cubicBezTo>
                  <a:cubicBezTo>
                    <a:pt x="16" y="92"/>
                    <a:pt x="22" y="91"/>
                    <a:pt x="28" y="91"/>
                  </a:cubicBezTo>
                  <a:cubicBezTo>
                    <a:pt x="43" y="91"/>
                    <a:pt x="57" y="94"/>
                    <a:pt x="57" y="94"/>
                  </a:cubicBezTo>
                  <a:cubicBezTo>
                    <a:pt x="57" y="94"/>
                    <a:pt x="57" y="94"/>
                    <a:pt x="58" y="94"/>
                  </a:cubicBezTo>
                  <a:cubicBezTo>
                    <a:pt x="58" y="94"/>
                    <a:pt x="58" y="94"/>
                    <a:pt x="58" y="94"/>
                  </a:cubicBezTo>
                  <a:cubicBezTo>
                    <a:pt x="58" y="94"/>
                    <a:pt x="58" y="94"/>
                    <a:pt x="58" y="94"/>
                  </a:cubicBezTo>
                  <a:cubicBezTo>
                    <a:pt x="58" y="94"/>
                    <a:pt x="58" y="94"/>
                    <a:pt x="58" y="94"/>
                  </a:cubicBezTo>
                  <a:cubicBezTo>
                    <a:pt x="58" y="94"/>
                    <a:pt x="58" y="94"/>
                    <a:pt x="58" y="94"/>
                  </a:cubicBezTo>
                  <a:cubicBezTo>
                    <a:pt x="58" y="94"/>
                    <a:pt x="71" y="92"/>
                    <a:pt x="84" y="92"/>
                  </a:cubicBezTo>
                  <a:cubicBezTo>
                    <a:pt x="92" y="92"/>
                    <a:pt x="99" y="93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6" y="94"/>
                    <a:pt x="106" y="94"/>
                    <a:pt x="106" y="93"/>
                  </a:cubicBezTo>
                  <a:cubicBezTo>
                    <a:pt x="107" y="93"/>
                    <a:pt x="107" y="92"/>
                    <a:pt x="107" y="92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10" y="10"/>
                    <a:pt x="110" y="10"/>
                    <a:pt x="110" y="10"/>
                  </a:cubicBezTo>
                  <a:lnTo>
                    <a:pt x="110" y="9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364" name="Oval 236"/>
          <p:cNvSpPr>
            <a:spLocks noChangeArrowheads="1"/>
          </p:cNvSpPr>
          <p:nvPr/>
        </p:nvSpPr>
        <p:spPr bwMode="auto">
          <a:xfrm>
            <a:off x="6915944" y="4062413"/>
            <a:ext cx="827087" cy="827087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5" name="Group 284"/>
          <p:cNvGrpSpPr/>
          <p:nvPr/>
        </p:nvGrpSpPr>
        <p:grpSpPr>
          <a:xfrm>
            <a:off x="6946106" y="4092575"/>
            <a:ext cx="766762" cy="766762"/>
            <a:chOff x="6946106" y="4092575"/>
            <a:chExt cx="766762" cy="766762"/>
          </a:xfrm>
        </p:grpSpPr>
        <p:sp>
          <p:nvSpPr>
            <p:cNvPr id="48365" name="Freeform 237"/>
            <p:cNvSpPr>
              <a:spLocks noEditPoints="1"/>
            </p:cNvSpPr>
            <p:nvPr/>
          </p:nvSpPr>
          <p:spPr bwMode="auto">
            <a:xfrm>
              <a:off x="6946106" y="4092575"/>
              <a:ext cx="766762" cy="766762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66" name="Freeform 238"/>
            <p:cNvSpPr>
              <a:spLocks noEditPoints="1"/>
            </p:cNvSpPr>
            <p:nvPr/>
          </p:nvSpPr>
          <p:spPr bwMode="auto">
            <a:xfrm>
              <a:off x="7079456" y="4327525"/>
              <a:ext cx="482600" cy="323850"/>
            </a:xfrm>
            <a:custGeom>
              <a:avLst/>
              <a:gdLst/>
              <a:ahLst/>
              <a:cxnLst>
                <a:cxn ang="0">
                  <a:pos x="277" y="22"/>
                </a:cxn>
                <a:cxn ang="0">
                  <a:pos x="225" y="55"/>
                </a:cxn>
                <a:cxn ang="0">
                  <a:pos x="225" y="196"/>
                </a:cxn>
                <a:cxn ang="0">
                  <a:pos x="213" y="196"/>
                </a:cxn>
                <a:cxn ang="0">
                  <a:pos x="213" y="65"/>
                </a:cxn>
                <a:cxn ang="0">
                  <a:pos x="158" y="98"/>
                </a:cxn>
                <a:cxn ang="0">
                  <a:pos x="158" y="196"/>
                </a:cxn>
                <a:cxn ang="0">
                  <a:pos x="146" y="196"/>
                </a:cxn>
                <a:cxn ang="0">
                  <a:pos x="146" y="105"/>
                </a:cxn>
                <a:cxn ang="0">
                  <a:pos x="93" y="139"/>
                </a:cxn>
                <a:cxn ang="0">
                  <a:pos x="93" y="196"/>
                </a:cxn>
                <a:cxn ang="0">
                  <a:pos x="81" y="196"/>
                </a:cxn>
                <a:cxn ang="0">
                  <a:pos x="81" y="146"/>
                </a:cxn>
                <a:cxn ang="0">
                  <a:pos x="28" y="177"/>
                </a:cxn>
                <a:cxn ang="0">
                  <a:pos x="28" y="196"/>
                </a:cxn>
                <a:cxn ang="0">
                  <a:pos x="9" y="196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204"/>
                </a:cxn>
                <a:cxn ang="0">
                  <a:pos x="304" y="204"/>
                </a:cxn>
                <a:cxn ang="0">
                  <a:pos x="304" y="196"/>
                </a:cxn>
                <a:cxn ang="0">
                  <a:pos x="277" y="196"/>
                </a:cxn>
                <a:cxn ang="0">
                  <a:pos x="277" y="22"/>
                </a:cxn>
                <a:cxn ang="0">
                  <a:pos x="232" y="60"/>
                </a:cxn>
                <a:cxn ang="0">
                  <a:pos x="268" y="36"/>
                </a:cxn>
                <a:cxn ang="0">
                  <a:pos x="268" y="196"/>
                </a:cxn>
                <a:cxn ang="0">
                  <a:pos x="232" y="196"/>
                </a:cxn>
                <a:cxn ang="0">
                  <a:pos x="232" y="60"/>
                </a:cxn>
                <a:cxn ang="0">
                  <a:pos x="167" y="103"/>
                </a:cxn>
                <a:cxn ang="0">
                  <a:pos x="203" y="79"/>
                </a:cxn>
                <a:cxn ang="0">
                  <a:pos x="203" y="196"/>
                </a:cxn>
                <a:cxn ang="0">
                  <a:pos x="167" y="196"/>
                </a:cxn>
                <a:cxn ang="0">
                  <a:pos x="167" y="103"/>
                </a:cxn>
                <a:cxn ang="0">
                  <a:pos x="102" y="144"/>
                </a:cxn>
                <a:cxn ang="0">
                  <a:pos x="138" y="120"/>
                </a:cxn>
                <a:cxn ang="0">
                  <a:pos x="138" y="196"/>
                </a:cxn>
                <a:cxn ang="0">
                  <a:pos x="102" y="196"/>
                </a:cxn>
                <a:cxn ang="0">
                  <a:pos x="102" y="144"/>
                </a:cxn>
                <a:cxn ang="0">
                  <a:pos x="35" y="182"/>
                </a:cxn>
                <a:cxn ang="0">
                  <a:pos x="71" y="161"/>
                </a:cxn>
                <a:cxn ang="0">
                  <a:pos x="71" y="196"/>
                </a:cxn>
                <a:cxn ang="0">
                  <a:pos x="35" y="196"/>
                </a:cxn>
                <a:cxn ang="0">
                  <a:pos x="35" y="182"/>
                </a:cxn>
              </a:cxnLst>
              <a:rect l="0" t="0" r="r" b="b"/>
              <a:pathLst>
                <a:path w="304" h="204">
                  <a:moveTo>
                    <a:pt x="277" y="22"/>
                  </a:moveTo>
                  <a:lnTo>
                    <a:pt x="225" y="55"/>
                  </a:lnTo>
                  <a:lnTo>
                    <a:pt x="225" y="196"/>
                  </a:lnTo>
                  <a:lnTo>
                    <a:pt x="213" y="196"/>
                  </a:lnTo>
                  <a:lnTo>
                    <a:pt x="213" y="65"/>
                  </a:lnTo>
                  <a:lnTo>
                    <a:pt x="158" y="98"/>
                  </a:lnTo>
                  <a:lnTo>
                    <a:pt x="158" y="196"/>
                  </a:lnTo>
                  <a:lnTo>
                    <a:pt x="146" y="196"/>
                  </a:lnTo>
                  <a:lnTo>
                    <a:pt x="146" y="105"/>
                  </a:lnTo>
                  <a:lnTo>
                    <a:pt x="93" y="139"/>
                  </a:lnTo>
                  <a:lnTo>
                    <a:pt x="93" y="196"/>
                  </a:lnTo>
                  <a:lnTo>
                    <a:pt x="81" y="196"/>
                  </a:lnTo>
                  <a:lnTo>
                    <a:pt x="81" y="146"/>
                  </a:lnTo>
                  <a:lnTo>
                    <a:pt x="28" y="177"/>
                  </a:lnTo>
                  <a:lnTo>
                    <a:pt x="28" y="196"/>
                  </a:lnTo>
                  <a:lnTo>
                    <a:pt x="9" y="196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204"/>
                  </a:lnTo>
                  <a:lnTo>
                    <a:pt x="304" y="204"/>
                  </a:lnTo>
                  <a:lnTo>
                    <a:pt x="304" y="196"/>
                  </a:lnTo>
                  <a:lnTo>
                    <a:pt x="277" y="196"/>
                  </a:lnTo>
                  <a:lnTo>
                    <a:pt x="277" y="22"/>
                  </a:lnTo>
                  <a:close/>
                  <a:moveTo>
                    <a:pt x="232" y="60"/>
                  </a:moveTo>
                  <a:lnTo>
                    <a:pt x="268" y="36"/>
                  </a:lnTo>
                  <a:lnTo>
                    <a:pt x="268" y="196"/>
                  </a:lnTo>
                  <a:lnTo>
                    <a:pt x="232" y="196"/>
                  </a:lnTo>
                  <a:lnTo>
                    <a:pt x="232" y="60"/>
                  </a:lnTo>
                  <a:close/>
                  <a:moveTo>
                    <a:pt x="167" y="103"/>
                  </a:moveTo>
                  <a:lnTo>
                    <a:pt x="203" y="79"/>
                  </a:lnTo>
                  <a:lnTo>
                    <a:pt x="203" y="196"/>
                  </a:lnTo>
                  <a:lnTo>
                    <a:pt x="167" y="196"/>
                  </a:lnTo>
                  <a:lnTo>
                    <a:pt x="167" y="103"/>
                  </a:lnTo>
                  <a:close/>
                  <a:moveTo>
                    <a:pt x="102" y="144"/>
                  </a:moveTo>
                  <a:lnTo>
                    <a:pt x="138" y="120"/>
                  </a:lnTo>
                  <a:lnTo>
                    <a:pt x="138" y="196"/>
                  </a:lnTo>
                  <a:lnTo>
                    <a:pt x="102" y="196"/>
                  </a:lnTo>
                  <a:lnTo>
                    <a:pt x="102" y="144"/>
                  </a:lnTo>
                  <a:close/>
                  <a:moveTo>
                    <a:pt x="35" y="182"/>
                  </a:moveTo>
                  <a:lnTo>
                    <a:pt x="71" y="161"/>
                  </a:lnTo>
                  <a:lnTo>
                    <a:pt x="71" y="196"/>
                  </a:lnTo>
                  <a:lnTo>
                    <a:pt x="35" y="196"/>
                  </a:lnTo>
                  <a:lnTo>
                    <a:pt x="35" y="18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67" name="Freeform 239"/>
            <p:cNvSpPr>
              <a:spLocks/>
            </p:cNvSpPr>
            <p:nvPr/>
          </p:nvSpPr>
          <p:spPr bwMode="auto">
            <a:xfrm>
              <a:off x="7109619" y="4294188"/>
              <a:ext cx="458787" cy="257175"/>
            </a:xfrm>
            <a:custGeom>
              <a:avLst/>
              <a:gdLst/>
              <a:ahLst/>
              <a:cxnLst>
                <a:cxn ang="0">
                  <a:pos x="102" y="1"/>
                </a:cxn>
                <a:cxn ang="0">
                  <a:pos x="102" y="5"/>
                </a:cxn>
                <a:cxn ang="0">
                  <a:pos x="113" y="4"/>
                </a:cxn>
                <a:cxn ang="0">
                  <a:pos x="32" y="55"/>
                </a:cxn>
                <a:cxn ang="0">
                  <a:pos x="6" y="63"/>
                </a:cxn>
                <a:cxn ang="0">
                  <a:pos x="19" y="28"/>
                </a:cxn>
                <a:cxn ang="0">
                  <a:pos x="16" y="26"/>
                </a:cxn>
                <a:cxn ang="0">
                  <a:pos x="7" y="42"/>
                </a:cxn>
                <a:cxn ang="0">
                  <a:pos x="4" y="65"/>
                </a:cxn>
                <a:cxn ang="0">
                  <a:pos x="9" y="68"/>
                </a:cxn>
                <a:cxn ang="0">
                  <a:pos x="33" y="58"/>
                </a:cxn>
                <a:cxn ang="0">
                  <a:pos x="33" y="58"/>
                </a:cxn>
                <a:cxn ang="0">
                  <a:pos x="34" y="58"/>
                </a:cxn>
                <a:cxn ang="0">
                  <a:pos x="37" y="56"/>
                </a:cxn>
                <a:cxn ang="0">
                  <a:pos x="37" y="56"/>
                </a:cxn>
                <a:cxn ang="0">
                  <a:pos x="115" y="7"/>
                </a:cxn>
                <a:cxn ang="0">
                  <a:pos x="111" y="17"/>
                </a:cxn>
                <a:cxn ang="0">
                  <a:pos x="115" y="18"/>
                </a:cxn>
                <a:cxn ang="0">
                  <a:pos x="121" y="3"/>
                </a:cxn>
                <a:cxn ang="0">
                  <a:pos x="119" y="0"/>
                </a:cxn>
                <a:cxn ang="0">
                  <a:pos x="102" y="1"/>
                </a:cxn>
              </a:cxnLst>
              <a:rect l="0" t="0" r="r" b="b"/>
              <a:pathLst>
                <a:path w="121" h="68">
                  <a:moveTo>
                    <a:pt x="102" y="1"/>
                  </a:moveTo>
                  <a:cubicBezTo>
                    <a:pt x="102" y="5"/>
                    <a:pt x="102" y="5"/>
                    <a:pt x="102" y="5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3" y="66"/>
                    <a:pt x="8" y="64"/>
                    <a:pt x="6" y="63"/>
                  </a:cubicBezTo>
                  <a:cubicBezTo>
                    <a:pt x="2" y="59"/>
                    <a:pt x="11" y="40"/>
                    <a:pt x="19" y="28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1" y="34"/>
                    <a:pt x="7" y="42"/>
                  </a:cubicBezTo>
                  <a:cubicBezTo>
                    <a:pt x="1" y="54"/>
                    <a:pt x="0" y="62"/>
                    <a:pt x="4" y="65"/>
                  </a:cubicBezTo>
                  <a:cubicBezTo>
                    <a:pt x="5" y="67"/>
                    <a:pt x="7" y="68"/>
                    <a:pt x="9" y="68"/>
                  </a:cubicBezTo>
                  <a:cubicBezTo>
                    <a:pt x="15" y="68"/>
                    <a:pt x="22" y="64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5" y="57"/>
                    <a:pt x="36" y="57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19" y="0"/>
                    <a:pt x="119" y="0"/>
                    <a:pt x="119" y="0"/>
                  </a:cubicBezTo>
                  <a:lnTo>
                    <a:pt x="102" y="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281"/>
          <p:cNvGrpSpPr/>
          <p:nvPr/>
        </p:nvGrpSpPr>
        <p:grpSpPr>
          <a:xfrm>
            <a:off x="8053388" y="4090988"/>
            <a:ext cx="768350" cy="768350"/>
            <a:chOff x="8053388" y="4090988"/>
            <a:chExt cx="768350" cy="768350"/>
          </a:xfrm>
        </p:grpSpPr>
        <p:sp>
          <p:nvSpPr>
            <p:cNvPr id="48371" name="Freeform 243"/>
            <p:cNvSpPr>
              <a:spLocks noEditPoints="1"/>
            </p:cNvSpPr>
            <p:nvPr/>
          </p:nvSpPr>
          <p:spPr bwMode="auto">
            <a:xfrm>
              <a:off x="8053388" y="4090988"/>
              <a:ext cx="768350" cy="768350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72" name="Freeform 244"/>
            <p:cNvSpPr>
              <a:spLocks noEditPoints="1"/>
            </p:cNvSpPr>
            <p:nvPr/>
          </p:nvSpPr>
          <p:spPr bwMode="auto">
            <a:xfrm>
              <a:off x="8186738" y="4327525"/>
              <a:ext cx="484187" cy="323850"/>
            </a:xfrm>
            <a:custGeom>
              <a:avLst/>
              <a:gdLst/>
              <a:ahLst/>
              <a:cxnLst>
                <a:cxn ang="0">
                  <a:pos x="278" y="21"/>
                </a:cxn>
                <a:cxn ang="0">
                  <a:pos x="226" y="55"/>
                </a:cxn>
                <a:cxn ang="0">
                  <a:pos x="226" y="196"/>
                </a:cxn>
                <a:cxn ang="0">
                  <a:pos x="214" y="196"/>
                </a:cxn>
                <a:cxn ang="0">
                  <a:pos x="214" y="65"/>
                </a:cxn>
                <a:cxn ang="0">
                  <a:pos x="158" y="98"/>
                </a:cxn>
                <a:cxn ang="0">
                  <a:pos x="158" y="196"/>
                </a:cxn>
                <a:cxn ang="0">
                  <a:pos x="146" y="196"/>
                </a:cxn>
                <a:cxn ang="0">
                  <a:pos x="146" y="105"/>
                </a:cxn>
                <a:cxn ang="0">
                  <a:pos x="94" y="139"/>
                </a:cxn>
                <a:cxn ang="0">
                  <a:pos x="94" y="196"/>
                </a:cxn>
                <a:cxn ang="0">
                  <a:pos x="82" y="196"/>
                </a:cxn>
                <a:cxn ang="0">
                  <a:pos x="82" y="146"/>
                </a:cxn>
                <a:cxn ang="0">
                  <a:pos x="29" y="177"/>
                </a:cxn>
                <a:cxn ang="0">
                  <a:pos x="29" y="196"/>
                </a:cxn>
                <a:cxn ang="0">
                  <a:pos x="10" y="196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204"/>
                </a:cxn>
                <a:cxn ang="0">
                  <a:pos x="305" y="204"/>
                </a:cxn>
                <a:cxn ang="0">
                  <a:pos x="305" y="196"/>
                </a:cxn>
                <a:cxn ang="0">
                  <a:pos x="278" y="196"/>
                </a:cxn>
                <a:cxn ang="0">
                  <a:pos x="278" y="21"/>
                </a:cxn>
                <a:cxn ang="0">
                  <a:pos x="233" y="60"/>
                </a:cxn>
                <a:cxn ang="0">
                  <a:pos x="269" y="36"/>
                </a:cxn>
                <a:cxn ang="0">
                  <a:pos x="269" y="196"/>
                </a:cxn>
                <a:cxn ang="0">
                  <a:pos x="233" y="196"/>
                </a:cxn>
                <a:cxn ang="0">
                  <a:pos x="233" y="60"/>
                </a:cxn>
                <a:cxn ang="0">
                  <a:pos x="168" y="103"/>
                </a:cxn>
                <a:cxn ang="0">
                  <a:pos x="204" y="79"/>
                </a:cxn>
                <a:cxn ang="0">
                  <a:pos x="204" y="196"/>
                </a:cxn>
                <a:cxn ang="0">
                  <a:pos x="168" y="196"/>
                </a:cxn>
                <a:cxn ang="0">
                  <a:pos x="168" y="103"/>
                </a:cxn>
                <a:cxn ang="0">
                  <a:pos x="103" y="144"/>
                </a:cxn>
                <a:cxn ang="0">
                  <a:pos x="139" y="120"/>
                </a:cxn>
                <a:cxn ang="0">
                  <a:pos x="139" y="196"/>
                </a:cxn>
                <a:cxn ang="0">
                  <a:pos x="103" y="196"/>
                </a:cxn>
                <a:cxn ang="0">
                  <a:pos x="103" y="144"/>
                </a:cxn>
                <a:cxn ang="0">
                  <a:pos x="36" y="182"/>
                </a:cxn>
                <a:cxn ang="0">
                  <a:pos x="72" y="161"/>
                </a:cxn>
                <a:cxn ang="0">
                  <a:pos x="72" y="196"/>
                </a:cxn>
                <a:cxn ang="0">
                  <a:pos x="36" y="196"/>
                </a:cxn>
                <a:cxn ang="0">
                  <a:pos x="36" y="182"/>
                </a:cxn>
              </a:cxnLst>
              <a:rect l="0" t="0" r="r" b="b"/>
              <a:pathLst>
                <a:path w="305" h="204">
                  <a:moveTo>
                    <a:pt x="278" y="21"/>
                  </a:moveTo>
                  <a:lnTo>
                    <a:pt x="226" y="55"/>
                  </a:lnTo>
                  <a:lnTo>
                    <a:pt x="226" y="196"/>
                  </a:lnTo>
                  <a:lnTo>
                    <a:pt x="214" y="196"/>
                  </a:lnTo>
                  <a:lnTo>
                    <a:pt x="214" y="65"/>
                  </a:lnTo>
                  <a:lnTo>
                    <a:pt x="158" y="98"/>
                  </a:lnTo>
                  <a:lnTo>
                    <a:pt x="158" y="196"/>
                  </a:lnTo>
                  <a:lnTo>
                    <a:pt x="146" y="196"/>
                  </a:lnTo>
                  <a:lnTo>
                    <a:pt x="146" y="105"/>
                  </a:lnTo>
                  <a:lnTo>
                    <a:pt x="94" y="139"/>
                  </a:lnTo>
                  <a:lnTo>
                    <a:pt x="94" y="196"/>
                  </a:lnTo>
                  <a:lnTo>
                    <a:pt x="82" y="196"/>
                  </a:lnTo>
                  <a:lnTo>
                    <a:pt x="82" y="146"/>
                  </a:lnTo>
                  <a:lnTo>
                    <a:pt x="29" y="177"/>
                  </a:lnTo>
                  <a:lnTo>
                    <a:pt x="29" y="196"/>
                  </a:lnTo>
                  <a:lnTo>
                    <a:pt x="10" y="196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204"/>
                  </a:lnTo>
                  <a:lnTo>
                    <a:pt x="305" y="204"/>
                  </a:lnTo>
                  <a:lnTo>
                    <a:pt x="305" y="196"/>
                  </a:lnTo>
                  <a:lnTo>
                    <a:pt x="278" y="196"/>
                  </a:lnTo>
                  <a:lnTo>
                    <a:pt x="278" y="21"/>
                  </a:lnTo>
                  <a:close/>
                  <a:moveTo>
                    <a:pt x="233" y="60"/>
                  </a:moveTo>
                  <a:lnTo>
                    <a:pt x="269" y="36"/>
                  </a:lnTo>
                  <a:lnTo>
                    <a:pt x="269" y="196"/>
                  </a:lnTo>
                  <a:lnTo>
                    <a:pt x="233" y="196"/>
                  </a:lnTo>
                  <a:lnTo>
                    <a:pt x="233" y="60"/>
                  </a:lnTo>
                  <a:close/>
                  <a:moveTo>
                    <a:pt x="168" y="103"/>
                  </a:moveTo>
                  <a:lnTo>
                    <a:pt x="204" y="79"/>
                  </a:lnTo>
                  <a:lnTo>
                    <a:pt x="204" y="196"/>
                  </a:lnTo>
                  <a:lnTo>
                    <a:pt x="168" y="196"/>
                  </a:lnTo>
                  <a:lnTo>
                    <a:pt x="168" y="103"/>
                  </a:lnTo>
                  <a:close/>
                  <a:moveTo>
                    <a:pt x="103" y="144"/>
                  </a:moveTo>
                  <a:lnTo>
                    <a:pt x="139" y="120"/>
                  </a:lnTo>
                  <a:lnTo>
                    <a:pt x="139" y="196"/>
                  </a:lnTo>
                  <a:lnTo>
                    <a:pt x="103" y="196"/>
                  </a:lnTo>
                  <a:lnTo>
                    <a:pt x="103" y="144"/>
                  </a:lnTo>
                  <a:close/>
                  <a:moveTo>
                    <a:pt x="36" y="182"/>
                  </a:moveTo>
                  <a:lnTo>
                    <a:pt x="72" y="161"/>
                  </a:lnTo>
                  <a:lnTo>
                    <a:pt x="72" y="196"/>
                  </a:lnTo>
                  <a:lnTo>
                    <a:pt x="36" y="196"/>
                  </a:lnTo>
                  <a:lnTo>
                    <a:pt x="36" y="18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73" name="Freeform 245"/>
            <p:cNvSpPr>
              <a:spLocks/>
            </p:cNvSpPr>
            <p:nvPr/>
          </p:nvSpPr>
          <p:spPr bwMode="auto">
            <a:xfrm>
              <a:off x="8216900" y="4292600"/>
              <a:ext cx="460375" cy="258762"/>
            </a:xfrm>
            <a:custGeom>
              <a:avLst/>
              <a:gdLst/>
              <a:ahLst/>
              <a:cxnLst>
                <a:cxn ang="0">
                  <a:pos x="102" y="1"/>
                </a:cxn>
                <a:cxn ang="0">
                  <a:pos x="102" y="5"/>
                </a:cxn>
                <a:cxn ang="0">
                  <a:pos x="113" y="4"/>
                </a:cxn>
                <a:cxn ang="0">
                  <a:pos x="32" y="55"/>
                </a:cxn>
                <a:cxn ang="0">
                  <a:pos x="6" y="63"/>
                </a:cxn>
                <a:cxn ang="0">
                  <a:pos x="19" y="28"/>
                </a:cxn>
                <a:cxn ang="0">
                  <a:pos x="16" y="26"/>
                </a:cxn>
                <a:cxn ang="0">
                  <a:pos x="7" y="42"/>
                </a:cxn>
                <a:cxn ang="0">
                  <a:pos x="4" y="65"/>
                </a:cxn>
                <a:cxn ang="0">
                  <a:pos x="9" y="68"/>
                </a:cxn>
                <a:cxn ang="0">
                  <a:pos x="33" y="58"/>
                </a:cxn>
                <a:cxn ang="0">
                  <a:pos x="33" y="58"/>
                </a:cxn>
                <a:cxn ang="0">
                  <a:pos x="34" y="58"/>
                </a:cxn>
                <a:cxn ang="0">
                  <a:pos x="37" y="56"/>
                </a:cxn>
                <a:cxn ang="0">
                  <a:pos x="37" y="56"/>
                </a:cxn>
                <a:cxn ang="0">
                  <a:pos x="115" y="7"/>
                </a:cxn>
                <a:cxn ang="0">
                  <a:pos x="111" y="17"/>
                </a:cxn>
                <a:cxn ang="0">
                  <a:pos x="115" y="18"/>
                </a:cxn>
                <a:cxn ang="0">
                  <a:pos x="121" y="3"/>
                </a:cxn>
                <a:cxn ang="0">
                  <a:pos x="119" y="0"/>
                </a:cxn>
                <a:cxn ang="0">
                  <a:pos x="102" y="1"/>
                </a:cxn>
              </a:cxnLst>
              <a:rect l="0" t="0" r="r" b="b"/>
              <a:pathLst>
                <a:path w="121" h="68">
                  <a:moveTo>
                    <a:pt x="102" y="1"/>
                  </a:moveTo>
                  <a:cubicBezTo>
                    <a:pt x="102" y="5"/>
                    <a:pt x="102" y="5"/>
                    <a:pt x="102" y="5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13" y="66"/>
                    <a:pt x="8" y="64"/>
                    <a:pt x="6" y="63"/>
                  </a:cubicBezTo>
                  <a:cubicBezTo>
                    <a:pt x="2" y="59"/>
                    <a:pt x="11" y="40"/>
                    <a:pt x="19" y="28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1" y="34"/>
                    <a:pt x="7" y="42"/>
                  </a:cubicBezTo>
                  <a:cubicBezTo>
                    <a:pt x="1" y="54"/>
                    <a:pt x="0" y="62"/>
                    <a:pt x="4" y="65"/>
                  </a:cubicBezTo>
                  <a:cubicBezTo>
                    <a:pt x="5" y="67"/>
                    <a:pt x="7" y="68"/>
                    <a:pt x="9" y="68"/>
                  </a:cubicBezTo>
                  <a:cubicBezTo>
                    <a:pt x="15" y="68"/>
                    <a:pt x="22" y="64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5" y="57"/>
                    <a:pt x="36" y="57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19" y="0"/>
                    <a:pt x="119" y="0"/>
                    <a:pt x="119" y="0"/>
                  </a:cubicBezTo>
                  <a:lnTo>
                    <a:pt x="102" y="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376" name="Group 248"/>
          <p:cNvGrpSpPr>
            <a:grpSpLocks noChangeAspect="1"/>
          </p:cNvGrpSpPr>
          <p:nvPr/>
        </p:nvGrpSpPr>
        <p:grpSpPr bwMode="auto">
          <a:xfrm>
            <a:off x="344492" y="5397504"/>
            <a:ext cx="841375" cy="839788"/>
            <a:chOff x="217" y="3400"/>
            <a:chExt cx="530" cy="529"/>
          </a:xfrm>
        </p:grpSpPr>
        <p:sp>
          <p:nvSpPr>
            <p:cNvPr id="48377" name="Oval 249"/>
            <p:cNvSpPr>
              <a:spLocks noChangeArrowheads="1"/>
            </p:cNvSpPr>
            <p:nvPr/>
          </p:nvSpPr>
          <p:spPr bwMode="auto">
            <a:xfrm>
              <a:off x="217" y="3400"/>
              <a:ext cx="530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78" name="Freeform 250"/>
            <p:cNvSpPr>
              <a:spLocks noEditPoints="1"/>
            </p:cNvSpPr>
            <p:nvPr/>
          </p:nvSpPr>
          <p:spPr bwMode="auto">
            <a:xfrm>
              <a:off x="330" y="3525"/>
              <a:ext cx="304" cy="304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75" y="1"/>
                </a:cxn>
                <a:cxn ang="0">
                  <a:pos x="29" y="41"/>
                </a:cxn>
                <a:cxn ang="0">
                  <a:pos x="1" y="26"/>
                </a:cxn>
                <a:cxn ang="0">
                  <a:pos x="14" y="50"/>
                </a:cxn>
                <a:cxn ang="0">
                  <a:pos x="15" y="98"/>
                </a:cxn>
                <a:cxn ang="0">
                  <a:pos x="65" y="127"/>
                </a:cxn>
                <a:cxn ang="0">
                  <a:pos x="66" y="127"/>
                </a:cxn>
                <a:cxn ang="0">
                  <a:pos x="66" y="127"/>
                </a:cxn>
                <a:cxn ang="0">
                  <a:pos x="67" y="127"/>
                </a:cxn>
                <a:cxn ang="0">
                  <a:pos x="67" y="127"/>
                </a:cxn>
                <a:cxn ang="0">
                  <a:pos x="115" y="98"/>
                </a:cxn>
                <a:cxn ang="0">
                  <a:pos x="115" y="49"/>
                </a:cxn>
                <a:cxn ang="0">
                  <a:pos x="127" y="27"/>
                </a:cxn>
                <a:cxn ang="0">
                  <a:pos x="67" y="76"/>
                </a:cxn>
                <a:cxn ang="0">
                  <a:pos x="66" y="68"/>
                </a:cxn>
                <a:cxn ang="0">
                  <a:pos x="67" y="76"/>
                </a:cxn>
                <a:cxn ang="0">
                  <a:pos x="68" y="65"/>
                </a:cxn>
                <a:cxn ang="0">
                  <a:pos x="111" y="49"/>
                </a:cxn>
                <a:cxn ang="0">
                  <a:pos x="65" y="24"/>
                </a:cxn>
                <a:cxn ang="0">
                  <a:pos x="61" y="67"/>
                </a:cxn>
                <a:cxn ang="0">
                  <a:pos x="53" y="54"/>
                </a:cxn>
                <a:cxn ang="0">
                  <a:pos x="65" y="24"/>
                </a:cxn>
                <a:cxn ang="0">
                  <a:pos x="62" y="74"/>
                </a:cxn>
                <a:cxn ang="0">
                  <a:pos x="6" y="32"/>
                </a:cxn>
                <a:cxn ang="0">
                  <a:pos x="17" y="53"/>
                </a:cxn>
                <a:cxn ang="0">
                  <a:pos x="65" y="123"/>
                </a:cxn>
                <a:cxn ang="0">
                  <a:pos x="17" y="53"/>
                </a:cxn>
                <a:cxn ang="0">
                  <a:pos x="68" y="79"/>
                </a:cxn>
                <a:cxn ang="0">
                  <a:pos x="112" y="96"/>
                </a:cxn>
                <a:cxn ang="0">
                  <a:pos x="113" y="47"/>
                </a:cxn>
                <a:cxn ang="0">
                  <a:pos x="78" y="4"/>
                </a:cxn>
                <a:cxn ang="0">
                  <a:pos x="113" y="47"/>
                </a:cxn>
              </a:cxnLst>
              <a:rect l="0" t="0" r="r" b="b"/>
              <a:pathLst>
                <a:path w="127" h="127">
                  <a:moveTo>
                    <a:pt x="126" y="26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7" y="0"/>
                    <a:pt x="76" y="0"/>
                  </a:cubicBezTo>
                  <a:cubicBezTo>
                    <a:pt x="76" y="0"/>
                    <a:pt x="76" y="0"/>
                    <a:pt x="75" y="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1" y="26"/>
                    <a:pt x="1" y="26"/>
                  </a:cubicBezTo>
                  <a:cubicBezTo>
                    <a:pt x="0" y="27"/>
                    <a:pt x="0" y="27"/>
                    <a:pt x="0" y="28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7"/>
                    <a:pt x="14" y="97"/>
                    <a:pt x="15" y="98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5" y="97"/>
                    <a:pt x="115" y="97"/>
                  </a:cubicBezTo>
                  <a:cubicBezTo>
                    <a:pt x="115" y="49"/>
                    <a:pt x="115" y="49"/>
                    <a:pt x="115" y="49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7" y="28"/>
                    <a:pt x="127" y="28"/>
                    <a:pt x="127" y="27"/>
                  </a:cubicBezTo>
                  <a:cubicBezTo>
                    <a:pt x="127" y="27"/>
                    <a:pt x="127" y="27"/>
                    <a:pt x="126" y="26"/>
                  </a:cubicBezTo>
                  <a:close/>
                  <a:moveTo>
                    <a:pt x="67" y="76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73" y="72"/>
                    <a:pt x="73" y="72"/>
                    <a:pt x="73" y="72"/>
                  </a:cubicBezTo>
                  <a:lnTo>
                    <a:pt x="67" y="76"/>
                  </a:lnTo>
                  <a:close/>
                  <a:moveTo>
                    <a:pt x="76" y="70"/>
                  </a:moveTo>
                  <a:cubicBezTo>
                    <a:pt x="68" y="65"/>
                    <a:pt x="68" y="65"/>
                    <a:pt x="68" y="65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111" y="49"/>
                    <a:pt x="111" y="49"/>
                    <a:pt x="111" y="49"/>
                  </a:cubicBezTo>
                  <a:lnTo>
                    <a:pt x="76" y="70"/>
                  </a:lnTo>
                  <a:close/>
                  <a:moveTo>
                    <a:pt x="65" y="2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3" y="54"/>
                    <a:pt x="53" y="54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65" y="24"/>
                  </a:lnTo>
                  <a:close/>
                  <a:moveTo>
                    <a:pt x="51" y="57"/>
                  </a:moveTo>
                  <a:cubicBezTo>
                    <a:pt x="62" y="74"/>
                    <a:pt x="62" y="74"/>
                    <a:pt x="62" y="74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6" y="32"/>
                    <a:pt x="6" y="32"/>
                    <a:pt x="6" y="32"/>
                  </a:cubicBezTo>
                  <a:lnTo>
                    <a:pt x="51" y="57"/>
                  </a:lnTo>
                  <a:close/>
                  <a:moveTo>
                    <a:pt x="17" y="53"/>
                  </a:moveTo>
                  <a:cubicBezTo>
                    <a:pt x="65" y="79"/>
                    <a:pt x="65" y="79"/>
                    <a:pt x="65" y="79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17" y="95"/>
                    <a:pt x="17" y="95"/>
                    <a:pt x="17" y="95"/>
                  </a:cubicBezTo>
                  <a:lnTo>
                    <a:pt x="17" y="53"/>
                  </a:lnTo>
                  <a:close/>
                  <a:moveTo>
                    <a:pt x="68" y="123"/>
                  </a:moveTo>
                  <a:cubicBezTo>
                    <a:pt x="68" y="79"/>
                    <a:pt x="68" y="79"/>
                    <a:pt x="68" y="79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112" y="96"/>
                    <a:pt x="112" y="96"/>
                    <a:pt x="112" y="96"/>
                  </a:cubicBezTo>
                  <a:lnTo>
                    <a:pt x="68" y="123"/>
                  </a:lnTo>
                  <a:close/>
                  <a:moveTo>
                    <a:pt x="113" y="47"/>
                  </a:moveTo>
                  <a:cubicBezTo>
                    <a:pt x="68" y="21"/>
                    <a:pt x="68" y="21"/>
                    <a:pt x="68" y="21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123" y="28"/>
                    <a:pt x="123" y="28"/>
                    <a:pt x="123" y="28"/>
                  </a:cubicBezTo>
                  <a:lnTo>
                    <a:pt x="113" y="4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79" name="Freeform 251"/>
            <p:cNvSpPr>
              <a:spLocks noEditPoints="1"/>
            </p:cNvSpPr>
            <p:nvPr/>
          </p:nvSpPr>
          <p:spPr bwMode="auto">
            <a:xfrm>
              <a:off x="236" y="3420"/>
              <a:ext cx="494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0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0" y="103"/>
                </a:cxn>
                <a:cxn ang="0">
                  <a:pos x="103" y="200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59" y="206"/>
                    <a:pt x="206" y="159"/>
                    <a:pt x="206" y="103"/>
                  </a:cubicBezTo>
                  <a:cubicBezTo>
                    <a:pt x="206" y="46"/>
                    <a:pt x="159" y="0"/>
                    <a:pt x="103" y="0"/>
                  </a:cubicBezTo>
                  <a:close/>
                  <a:moveTo>
                    <a:pt x="103" y="200"/>
                  </a:moveTo>
                  <a:cubicBezTo>
                    <a:pt x="49" y="200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0" y="49"/>
                    <a:pt x="200" y="103"/>
                  </a:cubicBezTo>
                  <a:cubicBezTo>
                    <a:pt x="200" y="157"/>
                    <a:pt x="157" y="200"/>
                    <a:pt x="103" y="20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382" name="Group 254"/>
          <p:cNvGrpSpPr>
            <a:grpSpLocks noChangeAspect="1"/>
          </p:cNvGrpSpPr>
          <p:nvPr/>
        </p:nvGrpSpPr>
        <p:grpSpPr bwMode="auto">
          <a:xfrm>
            <a:off x="1466853" y="5449888"/>
            <a:ext cx="784226" cy="784225"/>
            <a:chOff x="921" y="3433"/>
            <a:chExt cx="494" cy="494"/>
          </a:xfrm>
        </p:grpSpPr>
        <p:sp>
          <p:nvSpPr>
            <p:cNvPr id="48383" name="Freeform 255"/>
            <p:cNvSpPr>
              <a:spLocks noEditPoints="1"/>
            </p:cNvSpPr>
            <p:nvPr/>
          </p:nvSpPr>
          <p:spPr bwMode="auto">
            <a:xfrm>
              <a:off x="1015" y="3539"/>
              <a:ext cx="304" cy="304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76" y="1"/>
                </a:cxn>
                <a:cxn ang="0">
                  <a:pos x="29" y="41"/>
                </a:cxn>
                <a:cxn ang="0">
                  <a:pos x="1" y="26"/>
                </a:cxn>
                <a:cxn ang="0">
                  <a:pos x="14" y="50"/>
                </a:cxn>
                <a:cxn ang="0">
                  <a:pos x="15" y="98"/>
                </a:cxn>
                <a:cxn ang="0">
                  <a:pos x="65" y="127"/>
                </a:cxn>
                <a:cxn ang="0">
                  <a:pos x="66" y="127"/>
                </a:cxn>
                <a:cxn ang="0">
                  <a:pos x="66" y="127"/>
                </a:cxn>
                <a:cxn ang="0">
                  <a:pos x="67" y="127"/>
                </a:cxn>
                <a:cxn ang="0">
                  <a:pos x="67" y="127"/>
                </a:cxn>
                <a:cxn ang="0">
                  <a:pos x="115" y="98"/>
                </a:cxn>
                <a:cxn ang="0">
                  <a:pos x="115" y="49"/>
                </a:cxn>
                <a:cxn ang="0">
                  <a:pos x="127" y="27"/>
                </a:cxn>
                <a:cxn ang="0">
                  <a:pos x="67" y="76"/>
                </a:cxn>
                <a:cxn ang="0">
                  <a:pos x="66" y="68"/>
                </a:cxn>
                <a:cxn ang="0">
                  <a:pos x="67" y="76"/>
                </a:cxn>
                <a:cxn ang="0">
                  <a:pos x="68" y="65"/>
                </a:cxn>
                <a:cxn ang="0">
                  <a:pos x="111" y="49"/>
                </a:cxn>
                <a:cxn ang="0">
                  <a:pos x="65" y="24"/>
                </a:cxn>
                <a:cxn ang="0">
                  <a:pos x="61" y="67"/>
                </a:cxn>
                <a:cxn ang="0">
                  <a:pos x="53" y="54"/>
                </a:cxn>
                <a:cxn ang="0">
                  <a:pos x="65" y="24"/>
                </a:cxn>
                <a:cxn ang="0">
                  <a:pos x="62" y="74"/>
                </a:cxn>
                <a:cxn ang="0">
                  <a:pos x="7" y="32"/>
                </a:cxn>
                <a:cxn ang="0">
                  <a:pos x="17" y="53"/>
                </a:cxn>
                <a:cxn ang="0">
                  <a:pos x="65" y="123"/>
                </a:cxn>
                <a:cxn ang="0">
                  <a:pos x="17" y="53"/>
                </a:cxn>
                <a:cxn ang="0">
                  <a:pos x="68" y="79"/>
                </a:cxn>
                <a:cxn ang="0">
                  <a:pos x="112" y="96"/>
                </a:cxn>
                <a:cxn ang="0">
                  <a:pos x="113" y="47"/>
                </a:cxn>
                <a:cxn ang="0">
                  <a:pos x="78" y="4"/>
                </a:cxn>
                <a:cxn ang="0">
                  <a:pos x="113" y="47"/>
                </a:cxn>
              </a:cxnLst>
              <a:rect l="0" t="0" r="r" b="b"/>
              <a:pathLst>
                <a:path w="127" h="127">
                  <a:moveTo>
                    <a:pt x="127" y="26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6" y="0"/>
                    <a:pt x="76" y="0"/>
                    <a:pt x="76" y="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1" y="26"/>
                    <a:pt x="1" y="26"/>
                  </a:cubicBezTo>
                  <a:cubicBezTo>
                    <a:pt x="0" y="27"/>
                    <a:pt x="0" y="27"/>
                    <a:pt x="1" y="28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7"/>
                    <a:pt x="14" y="97"/>
                    <a:pt x="15" y="98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6" y="97"/>
                    <a:pt x="116" y="97"/>
                  </a:cubicBezTo>
                  <a:cubicBezTo>
                    <a:pt x="115" y="49"/>
                    <a:pt x="115" y="49"/>
                    <a:pt x="115" y="49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7" y="28"/>
                    <a:pt x="127" y="28"/>
                    <a:pt x="127" y="27"/>
                  </a:cubicBezTo>
                  <a:cubicBezTo>
                    <a:pt x="127" y="27"/>
                    <a:pt x="127" y="27"/>
                    <a:pt x="127" y="26"/>
                  </a:cubicBezTo>
                  <a:close/>
                  <a:moveTo>
                    <a:pt x="67" y="76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73" y="72"/>
                    <a:pt x="73" y="72"/>
                    <a:pt x="73" y="72"/>
                  </a:cubicBezTo>
                  <a:lnTo>
                    <a:pt x="67" y="76"/>
                  </a:lnTo>
                  <a:close/>
                  <a:moveTo>
                    <a:pt x="76" y="70"/>
                  </a:moveTo>
                  <a:cubicBezTo>
                    <a:pt x="68" y="65"/>
                    <a:pt x="68" y="65"/>
                    <a:pt x="68" y="65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111" y="49"/>
                    <a:pt x="111" y="49"/>
                    <a:pt x="111" y="49"/>
                  </a:cubicBezTo>
                  <a:lnTo>
                    <a:pt x="76" y="70"/>
                  </a:lnTo>
                  <a:close/>
                  <a:moveTo>
                    <a:pt x="65" y="2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3" y="54"/>
                    <a:pt x="53" y="54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65" y="24"/>
                  </a:lnTo>
                  <a:close/>
                  <a:moveTo>
                    <a:pt x="51" y="57"/>
                  </a:moveTo>
                  <a:cubicBezTo>
                    <a:pt x="62" y="74"/>
                    <a:pt x="62" y="74"/>
                    <a:pt x="62" y="74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7" y="32"/>
                    <a:pt x="7" y="32"/>
                    <a:pt x="7" y="32"/>
                  </a:cubicBezTo>
                  <a:lnTo>
                    <a:pt x="51" y="57"/>
                  </a:lnTo>
                  <a:close/>
                  <a:moveTo>
                    <a:pt x="17" y="53"/>
                  </a:moveTo>
                  <a:cubicBezTo>
                    <a:pt x="65" y="79"/>
                    <a:pt x="65" y="79"/>
                    <a:pt x="65" y="79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17" y="95"/>
                    <a:pt x="17" y="95"/>
                    <a:pt x="17" y="95"/>
                  </a:cubicBezTo>
                  <a:lnTo>
                    <a:pt x="17" y="53"/>
                  </a:lnTo>
                  <a:close/>
                  <a:moveTo>
                    <a:pt x="68" y="123"/>
                  </a:moveTo>
                  <a:cubicBezTo>
                    <a:pt x="68" y="79"/>
                    <a:pt x="68" y="79"/>
                    <a:pt x="68" y="79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112" y="96"/>
                    <a:pt x="112" y="96"/>
                    <a:pt x="112" y="96"/>
                  </a:cubicBezTo>
                  <a:lnTo>
                    <a:pt x="68" y="123"/>
                  </a:lnTo>
                  <a:close/>
                  <a:moveTo>
                    <a:pt x="113" y="47"/>
                  </a:moveTo>
                  <a:cubicBezTo>
                    <a:pt x="68" y="21"/>
                    <a:pt x="68" y="21"/>
                    <a:pt x="68" y="21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124" y="28"/>
                    <a:pt x="124" y="28"/>
                    <a:pt x="124" y="28"/>
                  </a:cubicBezTo>
                  <a:lnTo>
                    <a:pt x="113" y="4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84" name="Freeform 256"/>
            <p:cNvSpPr>
              <a:spLocks noEditPoints="1"/>
            </p:cNvSpPr>
            <p:nvPr/>
          </p:nvSpPr>
          <p:spPr bwMode="auto">
            <a:xfrm>
              <a:off x="921" y="3433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0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0" y="103"/>
                </a:cxn>
                <a:cxn ang="0">
                  <a:pos x="103" y="200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60" y="206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0"/>
                  </a:moveTo>
                  <a:cubicBezTo>
                    <a:pt x="49" y="200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0" y="49"/>
                    <a:pt x="200" y="103"/>
                  </a:cubicBezTo>
                  <a:cubicBezTo>
                    <a:pt x="200" y="157"/>
                    <a:pt x="157" y="200"/>
                    <a:pt x="103" y="20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388" name="Oval 260"/>
          <p:cNvSpPr>
            <a:spLocks noChangeArrowheads="1"/>
          </p:cNvSpPr>
          <p:nvPr/>
        </p:nvSpPr>
        <p:spPr bwMode="auto">
          <a:xfrm>
            <a:off x="2529681" y="5387975"/>
            <a:ext cx="847725" cy="849313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389" name="Freeform 261"/>
          <p:cNvSpPr>
            <a:spLocks noEditPoints="1"/>
          </p:cNvSpPr>
          <p:nvPr/>
        </p:nvSpPr>
        <p:spPr bwMode="auto">
          <a:xfrm>
            <a:off x="2559844" y="5418138"/>
            <a:ext cx="787400" cy="788988"/>
          </a:xfrm>
          <a:custGeom>
            <a:avLst/>
            <a:gdLst/>
            <a:ahLst/>
            <a:cxnLst>
              <a:cxn ang="0">
                <a:pos x="104" y="0"/>
              </a:cxn>
              <a:cxn ang="0">
                <a:pos x="0" y="104"/>
              </a:cxn>
              <a:cxn ang="0">
                <a:pos x="104" y="208"/>
              </a:cxn>
              <a:cxn ang="0">
                <a:pos x="207" y="104"/>
              </a:cxn>
              <a:cxn ang="0">
                <a:pos x="104" y="0"/>
              </a:cxn>
              <a:cxn ang="0">
                <a:pos x="104" y="203"/>
              </a:cxn>
              <a:cxn ang="0">
                <a:pos x="5" y="104"/>
              </a:cxn>
              <a:cxn ang="0">
                <a:pos x="104" y="5"/>
              </a:cxn>
              <a:cxn ang="0">
                <a:pos x="202" y="104"/>
              </a:cxn>
              <a:cxn ang="0">
                <a:pos x="104" y="203"/>
              </a:cxn>
            </a:cxnLst>
            <a:rect l="0" t="0" r="r" b="b"/>
            <a:pathLst>
              <a:path w="207" h="208">
                <a:moveTo>
                  <a:pt x="104" y="0"/>
                </a:moveTo>
                <a:cubicBezTo>
                  <a:pt x="46" y="0"/>
                  <a:pt x="0" y="47"/>
                  <a:pt x="0" y="104"/>
                </a:cubicBezTo>
                <a:cubicBezTo>
                  <a:pt x="0" y="161"/>
                  <a:pt x="46" y="208"/>
                  <a:pt x="104" y="208"/>
                </a:cubicBezTo>
                <a:cubicBezTo>
                  <a:pt x="161" y="208"/>
                  <a:pt x="207" y="161"/>
                  <a:pt x="207" y="104"/>
                </a:cubicBezTo>
                <a:cubicBezTo>
                  <a:pt x="207" y="47"/>
                  <a:pt x="161" y="0"/>
                  <a:pt x="104" y="0"/>
                </a:cubicBezTo>
                <a:close/>
                <a:moveTo>
                  <a:pt x="104" y="203"/>
                </a:moveTo>
                <a:cubicBezTo>
                  <a:pt x="49" y="203"/>
                  <a:pt x="5" y="159"/>
                  <a:pt x="5" y="104"/>
                </a:cubicBezTo>
                <a:cubicBezTo>
                  <a:pt x="5" y="50"/>
                  <a:pt x="49" y="5"/>
                  <a:pt x="104" y="5"/>
                </a:cubicBezTo>
                <a:cubicBezTo>
                  <a:pt x="158" y="5"/>
                  <a:pt x="202" y="50"/>
                  <a:pt x="202" y="104"/>
                </a:cubicBezTo>
                <a:cubicBezTo>
                  <a:pt x="202" y="159"/>
                  <a:pt x="158" y="203"/>
                  <a:pt x="104" y="20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90" name="Freeform 262"/>
          <p:cNvSpPr>
            <a:spLocks noEditPoints="1"/>
          </p:cNvSpPr>
          <p:nvPr/>
        </p:nvSpPr>
        <p:spPr bwMode="auto">
          <a:xfrm>
            <a:off x="2761456" y="5581650"/>
            <a:ext cx="398463" cy="481013"/>
          </a:xfrm>
          <a:custGeom>
            <a:avLst/>
            <a:gdLst/>
            <a:ahLst/>
            <a:cxnLst>
              <a:cxn ang="0">
                <a:pos x="99" y="2"/>
              </a:cxn>
              <a:cxn ang="0">
                <a:pos x="93" y="0"/>
              </a:cxn>
              <a:cxn ang="0">
                <a:pos x="53" y="25"/>
              </a:cxn>
              <a:cxn ang="0">
                <a:pos x="53" y="25"/>
              </a:cxn>
              <a:cxn ang="0">
                <a:pos x="53" y="25"/>
              </a:cxn>
              <a:cxn ang="0">
                <a:pos x="33" y="48"/>
              </a:cxn>
              <a:cxn ang="0">
                <a:pos x="5" y="95"/>
              </a:cxn>
              <a:cxn ang="0">
                <a:pos x="5" y="125"/>
              </a:cxn>
              <a:cxn ang="0">
                <a:pos x="12" y="127"/>
              </a:cxn>
              <a:cxn ang="0">
                <a:pos x="72" y="78"/>
              </a:cxn>
              <a:cxn ang="0">
                <a:pos x="99" y="31"/>
              </a:cxn>
              <a:cxn ang="0">
                <a:pos x="99" y="2"/>
              </a:cxn>
              <a:cxn ang="0">
                <a:pos x="96" y="30"/>
              </a:cxn>
              <a:cxn ang="0">
                <a:pos x="69" y="76"/>
              </a:cxn>
              <a:cxn ang="0">
                <a:pos x="12" y="123"/>
              </a:cxn>
              <a:cxn ang="0">
                <a:pos x="7" y="122"/>
              </a:cxn>
              <a:cxn ang="0">
                <a:pos x="9" y="97"/>
              </a:cxn>
              <a:cxn ang="0">
                <a:pos x="13" y="87"/>
              </a:cxn>
              <a:cxn ang="0">
                <a:pos x="38" y="87"/>
              </a:cxn>
              <a:cxn ang="0">
                <a:pos x="39" y="84"/>
              </a:cxn>
              <a:cxn ang="0">
                <a:pos x="15" y="82"/>
              </a:cxn>
              <a:cxn ang="0">
                <a:pos x="22" y="70"/>
              </a:cxn>
              <a:cxn ang="0">
                <a:pos x="47" y="71"/>
              </a:cxn>
              <a:cxn ang="0">
                <a:pos x="49" y="67"/>
              </a:cxn>
              <a:cxn ang="0">
                <a:pos x="26" y="65"/>
              </a:cxn>
              <a:cxn ang="0">
                <a:pos x="32" y="55"/>
              </a:cxn>
              <a:cxn ang="0">
                <a:pos x="57" y="55"/>
              </a:cxn>
              <a:cxn ang="0">
                <a:pos x="59" y="52"/>
              </a:cxn>
              <a:cxn ang="0">
                <a:pos x="37" y="49"/>
              </a:cxn>
              <a:cxn ang="0">
                <a:pos x="43" y="42"/>
              </a:cxn>
              <a:cxn ang="0">
                <a:pos x="68" y="42"/>
              </a:cxn>
              <a:cxn ang="0">
                <a:pos x="69" y="39"/>
              </a:cxn>
              <a:cxn ang="0">
                <a:pos x="48" y="36"/>
              </a:cxn>
              <a:cxn ang="0">
                <a:pos x="56" y="28"/>
              </a:cxn>
              <a:cxn ang="0">
                <a:pos x="80" y="28"/>
              </a:cxn>
              <a:cxn ang="0">
                <a:pos x="82" y="25"/>
              </a:cxn>
              <a:cxn ang="0">
                <a:pos x="62" y="21"/>
              </a:cxn>
              <a:cxn ang="0">
                <a:pos x="93" y="3"/>
              </a:cxn>
              <a:cxn ang="0">
                <a:pos x="97" y="5"/>
              </a:cxn>
              <a:cxn ang="0">
                <a:pos x="96" y="30"/>
              </a:cxn>
            </a:cxnLst>
            <a:rect l="0" t="0" r="r" b="b"/>
            <a:pathLst>
              <a:path w="105" h="127">
                <a:moveTo>
                  <a:pt x="99" y="2"/>
                </a:moveTo>
                <a:cubicBezTo>
                  <a:pt x="98" y="0"/>
                  <a:pt x="96" y="0"/>
                  <a:pt x="93" y="0"/>
                </a:cubicBezTo>
                <a:cubicBezTo>
                  <a:pt x="84" y="0"/>
                  <a:pt x="69" y="9"/>
                  <a:pt x="53" y="25"/>
                </a:cubicBezTo>
                <a:cubicBezTo>
                  <a:pt x="53" y="25"/>
                  <a:pt x="53" y="25"/>
                  <a:pt x="53" y="25"/>
                </a:cubicBezTo>
                <a:cubicBezTo>
                  <a:pt x="53" y="25"/>
                  <a:pt x="53" y="25"/>
                  <a:pt x="53" y="25"/>
                </a:cubicBezTo>
                <a:cubicBezTo>
                  <a:pt x="46" y="32"/>
                  <a:pt x="39" y="40"/>
                  <a:pt x="33" y="48"/>
                </a:cubicBezTo>
                <a:cubicBezTo>
                  <a:pt x="20" y="65"/>
                  <a:pt x="11" y="81"/>
                  <a:pt x="5" y="95"/>
                </a:cubicBezTo>
                <a:cubicBezTo>
                  <a:pt x="0" y="110"/>
                  <a:pt x="0" y="121"/>
                  <a:pt x="5" y="125"/>
                </a:cubicBezTo>
                <a:cubicBezTo>
                  <a:pt x="7" y="126"/>
                  <a:pt x="9" y="127"/>
                  <a:pt x="12" y="127"/>
                </a:cubicBezTo>
                <a:cubicBezTo>
                  <a:pt x="25" y="127"/>
                  <a:pt x="50" y="107"/>
                  <a:pt x="72" y="78"/>
                </a:cubicBezTo>
                <a:cubicBezTo>
                  <a:pt x="84" y="62"/>
                  <a:pt x="94" y="45"/>
                  <a:pt x="99" y="31"/>
                </a:cubicBezTo>
                <a:cubicBezTo>
                  <a:pt x="105" y="16"/>
                  <a:pt x="105" y="6"/>
                  <a:pt x="99" y="2"/>
                </a:cubicBezTo>
                <a:close/>
                <a:moveTo>
                  <a:pt x="96" y="30"/>
                </a:moveTo>
                <a:cubicBezTo>
                  <a:pt x="91" y="44"/>
                  <a:pt x="81" y="60"/>
                  <a:pt x="69" y="76"/>
                </a:cubicBezTo>
                <a:cubicBezTo>
                  <a:pt x="48" y="103"/>
                  <a:pt x="24" y="123"/>
                  <a:pt x="12" y="123"/>
                </a:cubicBezTo>
                <a:cubicBezTo>
                  <a:pt x="10" y="123"/>
                  <a:pt x="9" y="123"/>
                  <a:pt x="7" y="122"/>
                </a:cubicBezTo>
                <a:cubicBezTo>
                  <a:pt x="3" y="119"/>
                  <a:pt x="4" y="110"/>
                  <a:pt x="9" y="97"/>
                </a:cubicBezTo>
                <a:cubicBezTo>
                  <a:pt x="10" y="94"/>
                  <a:pt x="11" y="90"/>
                  <a:pt x="13" y="87"/>
                </a:cubicBezTo>
                <a:cubicBezTo>
                  <a:pt x="15" y="86"/>
                  <a:pt x="25" y="81"/>
                  <a:pt x="38" y="87"/>
                </a:cubicBezTo>
                <a:cubicBezTo>
                  <a:pt x="39" y="84"/>
                  <a:pt x="39" y="84"/>
                  <a:pt x="39" y="84"/>
                </a:cubicBezTo>
                <a:cubicBezTo>
                  <a:pt x="29" y="79"/>
                  <a:pt x="21" y="80"/>
                  <a:pt x="15" y="82"/>
                </a:cubicBezTo>
                <a:cubicBezTo>
                  <a:pt x="17" y="78"/>
                  <a:pt x="20" y="74"/>
                  <a:pt x="22" y="70"/>
                </a:cubicBezTo>
                <a:cubicBezTo>
                  <a:pt x="24" y="69"/>
                  <a:pt x="34" y="64"/>
                  <a:pt x="47" y="71"/>
                </a:cubicBezTo>
                <a:cubicBezTo>
                  <a:pt x="49" y="67"/>
                  <a:pt x="49" y="67"/>
                  <a:pt x="49" y="67"/>
                </a:cubicBezTo>
                <a:cubicBezTo>
                  <a:pt x="39" y="62"/>
                  <a:pt x="31" y="63"/>
                  <a:pt x="26" y="65"/>
                </a:cubicBezTo>
                <a:cubicBezTo>
                  <a:pt x="28" y="62"/>
                  <a:pt x="30" y="58"/>
                  <a:pt x="32" y="55"/>
                </a:cubicBezTo>
                <a:cubicBezTo>
                  <a:pt x="34" y="54"/>
                  <a:pt x="44" y="48"/>
                  <a:pt x="57" y="55"/>
                </a:cubicBezTo>
                <a:cubicBezTo>
                  <a:pt x="59" y="52"/>
                  <a:pt x="59" y="52"/>
                  <a:pt x="59" y="52"/>
                </a:cubicBezTo>
                <a:cubicBezTo>
                  <a:pt x="50" y="47"/>
                  <a:pt x="42" y="48"/>
                  <a:pt x="37" y="49"/>
                </a:cubicBezTo>
                <a:cubicBezTo>
                  <a:pt x="39" y="47"/>
                  <a:pt x="41" y="44"/>
                  <a:pt x="43" y="42"/>
                </a:cubicBezTo>
                <a:cubicBezTo>
                  <a:pt x="44" y="41"/>
                  <a:pt x="55" y="35"/>
                  <a:pt x="68" y="42"/>
                </a:cubicBezTo>
                <a:cubicBezTo>
                  <a:pt x="69" y="39"/>
                  <a:pt x="69" y="39"/>
                  <a:pt x="69" y="39"/>
                </a:cubicBezTo>
                <a:cubicBezTo>
                  <a:pt x="61" y="34"/>
                  <a:pt x="53" y="34"/>
                  <a:pt x="48" y="36"/>
                </a:cubicBezTo>
                <a:cubicBezTo>
                  <a:pt x="51" y="33"/>
                  <a:pt x="53" y="30"/>
                  <a:pt x="56" y="28"/>
                </a:cubicBezTo>
                <a:cubicBezTo>
                  <a:pt x="57" y="27"/>
                  <a:pt x="67" y="21"/>
                  <a:pt x="80" y="28"/>
                </a:cubicBezTo>
                <a:cubicBezTo>
                  <a:pt x="82" y="25"/>
                  <a:pt x="82" y="25"/>
                  <a:pt x="82" y="25"/>
                </a:cubicBezTo>
                <a:cubicBezTo>
                  <a:pt x="74" y="21"/>
                  <a:pt x="67" y="21"/>
                  <a:pt x="62" y="21"/>
                </a:cubicBezTo>
                <a:cubicBezTo>
                  <a:pt x="74" y="10"/>
                  <a:pt x="86" y="3"/>
                  <a:pt x="93" y="3"/>
                </a:cubicBezTo>
                <a:cubicBezTo>
                  <a:pt x="95" y="3"/>
                  <a:pt x="96" y="4"/>
                  <a:pt x="97" y="5"/>
                </a:cubicBezTo>
                <a:cubicBezTo>
                  <a:pt x="101" y="8"/>
                  <a:pt x="101" y="17"/>
                  <a:pt x="96" y="3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393" name="Group 265"/>
          <p:cNvGrpSpPr>
            <a:grpSpLocks noChangeAspect="1"/>
          </p:cNvGrpSpPr>
          <p:nvPr/>
        </p:nvGrpSpPr>
        <p:grpSpPr bwMode="auto">
          <a:xfrm>
            <a:off x="3656808" y="5438775"/>
            <a:ext cx="785813" cy="792163"/>
            <a:chOff x="2297" y="3426"/>
            <a:chExt cx="495" cy="499"/>
          </a:xfrm>
        </p:grpSpPr>
        <p:sp>
          <p:nvSpPr>
            <p:cNvPr id="48394" name="Freeform 266"/>
            <p:cNvSpPr>
              <a:spLocks noEditPoints="1"/>
            </p:cNvSpPr>
            <p:nvPr/>
          </p:nvSpPr>
          <p:spPr bwMode="auto">
            <a:xfrm>
              <a:off x="2297" y="3426"/>
              <a:ext cx="495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95" name="Freeform 267"/>
            <p:cNvSpPr>
              <a:spLocks noEditPoints="1"/>
            </p:cNvSpPr>
            <p:nvPr/>
          </p:nvSpPr>
          <p:spPr bwMode="auto">
            <a:xfrm>
              <a:off x="2424" y="3529"/>
              <a:ext cx="251" cy="305"/>
            </a:xfrm>
            <a:custGeom>
              <a:avLst/>
              <a:gdLst/>
              <a:ahLst/>
              <a:cxnLst>
                <a:cxn ang="0">
                  <a:pos x="99" y="2"/>
                </a:cxn>
                <a:cxn ang="0">
                  <a:pos x="93" y="0"/>
                </a:cxn>
                <a:cxn ang="0">
                  <a:pos x="53" y="25"/>
                </a:cxn>
                <a:cxn ang="0">
                  <a:pos x="53" y="25"/>
                </a:cxn>
                <a:cxn ang="0">
                  <a:pos x="53" y="25"/>
                </a:cxn>
                <a:cxn ang="0">
                  <a:pos x="33" y="48"/>
                </a:cxn>
                <a:cxn ang="0">
                  <a:pos x="5" y="95"/>
                </a:cxn>
                <a:cxn ang="0">
                  <a:pos x="5" y="125"/>
                </a:cxn>
                <a:cxn ang="0">
                  <a:pos x="12" y="127"/>
                </a:cxn>
                <a:cxn ang="0">
                  <a:pos x="72" y="78"/>
                </a:cxn>
                <a:cxn ang="0">
                  <a:pos x="99" y="31"/>
                </a:cxn>
                <a:cxn ang="0">
                  <a:pos x="99" y="2"/>
                </a:cxn>
                <a:cxn ang="0">
                  <a:pos x="96" y="30"/>
                </a:cxn>
                <a:cxn ang="0">
                  <a:pos x="69" y="76"/>
                </a:cxn>
                <a:cxn ang="0">
                  <a:pos x="12" y="123"/>
                </a:cxn>
                <a:cxn ang="0">
                  <a:pos x="8" y="122"/>
                </a:cxn>
                <a:cxn ang="0">
                  <a:pos x="9" y="97"/>
                </a:cxn>
                <a:cxn ang="0">
                  <a:pos x="13" y="87"/>
                </a:cxn>
                <a:cxn ang="0">
                  <a:pos x="38" y="87"/>
                </a:cxn>
                <a:cxn ang="0">
                  <a:pos x="39" y="84"/>
                </a:cxn>
                <a:cxn ang="0">
                  <a:pos x="15" y="82"/>
                </a:cxn>
                <a:cxn ang="0">
                  <a:pos x="22" y="70"/>
                </a:cxn>
                <a:cxn ang="0">
                  <a:pos x="47" y="70"/>
                </a:cxn>
                <a:cxn ang="0">
                  <a:pos x="49" y="67"/>
                </a:cxn>
                <a:cxn ang="0">
                  <a:pos x="26" y="65"/>
                </a:cxn>
                <a:cxn ang="0">
                  <a:pos x="32" y="55"/>
                </a:cxn>
                <a:cxn ang="0">
                  <a:pos x="57" y="55"/>
                </a:cxn>
                <a:cxn ang="0">
                  <a:pos x="59" y="52"/>
                </a:cxn>
                <a:cxn ang="0">
                  <a:pos x="37" y="49"/>
                </a:cxn>
                <a:cxn ang="0">
                  <a:pos x="43" y="42"/>
                </a:cxn>
                <a:cxn ang="0">
                  <a:pos x="68" y="42"/>
                </a:cxn>
                <a:cxn ang="0">
                  <a:pos x="69" y="39"/>
                </a:cxn>
                <a:cxn ang="0">
                  <a:pos x="48" y="36"/>
                </a:cxn>
                <a:cxn ang="0">
                  <a:pos x="56" y="28"/>
                </a:cxn>
                <a:cxn ang="0">
                  <a:pos x="80" y="28"/>
                </a:cxn>
                <a:cxn ang="0">
                  <a:pos x="82" y="25"/>
                </a:cxn>
                <a:cxn ang="0">
                  <a:pos x="62" y="21"/>
                </a:cxn>
                <a:cxn ang="0">
                  <a:pos x="93" y="3"/>
                </a:cxn>
                <a:cxn ang="0">
                  <a:pos x="97" y="4"/>
                </a:cxn>
                <a:cxn ang="0">
                  <a:pos x="96" y="30"/>
                </a:cxn>
              </a:cxnLst>
              <a:rect l="0" t="0" r="r" b="b"/>
              <a:pathLst>
                <a:path w="105" h="127">
                  <a:moveTo>
                    <a:pt x="99" y="2"/>
                  </a:moveTo>
                  <a:cubicBezTo>
                    <a:pt x="98" y="0"/>
                    <a:pt x="96" y="0"/>
                    <a:pt x="93" y="0"/>
                  </a:cubicBezTo>
                  <a:cubicBezTo>
                    <a:pt x="84" y="0"/>
                    <a:pt x="69" y="9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46" y="32"/>
                    <a:pt x="39" y="40"/>
                    <a:pt x="33" y="48"/>
                  </a:cubicBezTo>
                  <a:cubicBezTo>
                    <a:pt x="20" y="64"/>
                    <a:pt x="11" y="81"/>
                    <a:pt x="5" y="95"/>
                  </a:cubicBezTo>
                  <a:cubicBezTo>
                    <a:pt x="0" y="110"/>
                    <a:pt x="0" y="121"/>
                    <a:pt x="5" y="125"/>
                  </a:cubicBezTo>
                  <a:cubicBezTo>
                    <a:pt x="7" y="126"/>
                    <a:pt x="9" y="127"/>
                    <a:pt x="12" y="127"/>
                  </a:cubicBezTo>
                  <a:cubicBezTo>
                    <a:pt x="25" y="127"/>
                    <a:pt x="50" y="107"/>
                    <a:pt x="72" y="78"/>
                  </a:cubicBezTo>
                  <a:cubicBezTo>
                    <a:pt x="84" y="62"/>
                    <a:pt x="94" y="45"/>
                    <a:pt x="99" y="31"/>
                  </a:cubicBezTo>
                  <a:cubicBezTo>
                    <a:pt x="105" y="16"/>
                    <a:pt x="105" y="6"/>
                    <a:pt x="99" y="2"/>
                  </a:cubicBezTo>
                  <a:close/>
                  <a:moveTo>
                    <a:pt x="96" y="30"/>
                  </a:moveTo>
                  <a:cubicBezTo>
                    <a:pt x="91" y="44"/>
                    <a:pt x="81" y="60"/>
                    <a:pt x="69" y="76"/>
                  </a:cubicBezTo>
                  <a:cubicBezTo>
                    <a:pt x="48" y="103"/>
                    <a:pt x="24" y="123"/>
                    <a:pt x="12" y="123"/>
                  </a:cubicBezTo>
                  <a:cubicBezTo>
                    <a:pt x="10" y="123"/>
                    <a:pt x="9" y="123"/>
                    <a:pt x="8" y="122"/>
                  </a:cubicBezTo>
                  <a:cubicBezTo>
                    <a:pt x="3" y="119"/>
                    <a:pt x="4" y="109"/>
                    <a:pt x="9" y="97"/>
                  </a:cubicBezTo>
                  <a:cubicBezTo>
                    <a:pt x="10" y="94"/>
                    <a:pt x="11" y="90"/>
                    <a:pt x="13" y="87"/>
                  </a:cubicBezTo>
                  <a:cubicBezTo>
                    <a:pt x="15" y="86"/>
                    <a:pt x="25" y="81"/>
                    <a:pt x="38" y="87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29" y="79"/>
                    <a:pt x="21" y="80"/>
                    <a:pt x="15" y="82"/>
                  </a:cubicBezTo>
                  <a:cubicBezTo>
                    <a:pt x="17" y="78"/>
                    <a:pt x="20" y="74"/>
                    <a:pt x="22" y="70"/>
                  </a:cubicBezTo>
                  <a:cubicBezTo>
                    <a:pt x="24" y="69"/>
                    <a:pt x="34" y="64"/>
                    <a:pt x="47" y="70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39" y="62"/>
                    <a:pt x="31" y="63"/>
                    <a:pt x="26" y="65"/>
                  </a:cubicBezTo>
                  <a:cubicBezTo>
                    <a:pt x="28" y="61"/>
                    <a:pt x="30" y="58"/>
                    <a:pt x="32" y="55"/>
                  </a:cubicBezTo>
                  <a:cubicBezTo>
                    <a:pt x="34" y="54"/>
                    <a:pt x="44" y="48"/>
                    <a:pt x="57" y="55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0" y="47"/>
                    <a:pt x="42" y="48"/>
                    <a:pt x="37" y="49"/>
                  </a:cubicBezTo>
                  <a:cubicBezTo>
                    <a:pt x="39" y="47"/>
                    <a:pt x="41" y="44"/>
                    <a:pt x="43" y="42"/>
                  </a:cubicBezTo>
                  <a:cubicBezTo>
                    <a:pt x="45" y="41"/>
                    <a:pt x="55" y="35"/>
                    <a:pt x="68" y="42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1" y="34"/>
                    <a:pt x="53" y="34"/>
                    <a:pt x="48" y="36"/>
                  </a:cubicBezTo>
                  <a:cubicBezTo>
                    <a:pt x="51" y="33"/>
                    <a:pt x="53" y="30"/>
                    <a:pt x="56" y="28"/>
                  </a:cubicBezTo>
                  <a:cubicBezTo>
                    <a:pt x="57" y="27"/>
                    <a:pt x="67" y="21"/>
                    <a:pt x="80" y="28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74" y="21"/>
                    <a:pt x="67" y="20"/>
                    <a:pt x="62" y="21"/>
                  </a:cubicBezTo>
                  <a:cubicBezTo>
                    <a:pt x="74" y="10"/>
                    <a:pt x="86" y="3"/>
                    <a:pt x="93" y="3"/>
                  </a:cubicBezTo>
                  <a:cubicBezTo>
                    <a:pt x="95" y="3"/>
                    <a:pt x="96" y="4"/>
                    <a:pt x="97" y="4"/>
                  </a:cubicBezTo>
                  <a:cubicBezTo>
                    <a:pt x="101" y="8"/>
                    <a:pt x="101" y="17"/>
                    <a:pt x="96" y="3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399" name="Oval 271"/>
          <p:cNvSpPr>
            <a:spLocks noChangeArrowheads="1"/>
          </p:cNvSpPr>
          <p:nvPr/>
        </p:nvSpPr>
        <p:spPr bwMode="auto">
          <a:xfrm>
            <a:off x="4727573" y="5391150"/>
            <a:ext cx="847724" cy="842963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400" name="Freeform 272"/>
          <p:cNvSpPr>
            <a:spLocks noEditPoints="1"/>
          </p:cNvSpPr>
          <p:nvPr/>
        </p:nvSpPr>
        <p:spPr bwMode="auto">
          <a:xfrm>
            <a:off x="4759325" y="5421313"/>
            <a:ext cx="785812" cy="782638"/>
          </a:xfrm>
          <a:custGeom>
            <a:avLst/>
            <a:gdLst/>
            <a:ahLst/>
            <a:cxnLst>
              <a:cxn ang="0">
                <a:pos x="104" y="0"/>
              </a:cxn>
              <a:cxn ang="0">
                <a:pos x="0" y="103"/>
              </a:cxn>
              <a:cxn ang="0">
                <a:pos x="104" y="206"/>
              </a:cxn>
              <a:cxn ang="0">
                <a:pos x="207" y="103"/>
              </a:cxn>
              <a:cxn ang="0">
                <a:pos x="104" y="0"/>
              </a:cxn>
              <a:cxn ang="0">
                <a:pos x="104" y="201"/>
              </a:cxn>
              <a:cxn ang="0">
                <a:pos x="5" y="103"/>
              </a:cxn>
              <a:cxn ang="0">
                <a:pos x="104" y="5"/>
              </a:cxn>
              <a:cxn ang="0">
                <a:pos x="202" y="103"/>
              </a:cxn>
              <a:cxn ang="0">
                <a:pos x="104" y="201"/>
              </a:cxn>
            </a:cxnLst>
            <a:rect l="0" t="0" r="r" b="b"/>
            <a:pathLst>
              <a:path w="207" h="206">
                <a:moveTo>
                  <a:pt x="104" y="0"/>
                </a:moveTo>
                <a:cubicBezTo>
                  <a:pt x="47" y="0"/>
                  <a:pt x="0" y="46"/>
                  <a:pt x="0" y="103"/>
                </a:cubicBezTo>
                <a:cubicBezTo>
                  <a:pt x="0" y="160"/>
                  <a:pt x="47" y="206"/>
                  <a:pt x="104" y="206"/>
                </a:cubicBezTo>
                <a:cubicBezTo>
                  <a:pt x="161" y="206"/>
                  <a:pt x="207" y="160"/>
                  <a:pt x="207" y="103"/>
                </a:cubicBezTo>
                <a:cubicBezTo>
                  <a:pt x="207" y="46"/>
                  <a:pt x="161" y="0"/>
                  <a:pt x="104" y="0"/>
                </a:cubicBezTo>
                <a:close/>
                <a:moveTo>
                  <a:pt x="104" y="201"/>
                </a:moveTo>
                <a:cubicBezTo>
                  <a:pt x="50" y="201"/>
                  <a:pt x="5" y="157"/>
                  <a:pt x="5" y="103"/>
                </a:cubicBezTo>
                <a:cubicBezTo>
                  <a:pt x="5" y="49"/>
                  <a:pt x="50" y="5"/>
                  <a:pt x="104" y="5"/>
                </a:cubicBezTo>
                <a:cubicBezTo>
                  <a:pt x="158" y="5"/>
                  <a:pt x="202" y="49"/>
                  <a:pt x="202" y="103"/>
                </a:cubicBezTo>
                <a:cubicBezTo>
                  <a:pt x="202" y="157"/>
                  <a:pt x="158" y="201"/>
                  <a:pt x="104" y="20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401" name="Freeform 273"/>
          <p:cNvSpPr>
            <a:spLocks noEditPoints="1"/>
          </p:cNvSpPr>
          <p:nvPr/>
        </p:nvSpPr>
        <p:spPr bwMode="auto">
          <a:xfrm>
            <a:off x="4921250" y="5592763"/>
            <a:ext cx="460375" cy="395288"/>
          </a:xfrm>
          <a:custGeom>
            <a:avLst/>
            <a:gdLst/>
            <a:ahLst/>
            <a:cxnLst>
              <a:cxn ang="0">
                <a:pos x="112" y="18"/>
              </a:cxn>
              <a:cxn ang="0">
                <a:pos x="87" y="18"/>
              </a:cxn>
              <a:cxn ang="0">
                <a:pos x="87" y="8"/>
              </a:cxn>
              <a:cxn ang="0">
                <a:pos x="79" y="0"/>
              </a:cxn>
              <a:cxn ang="0">
                <a:pos x="42" y="0"/>
              </a:cxn>
              <a:cxn ang="0">
                <a:pos x="34" y="8"/>
              </a:cxn>
              <a:cxn ang="0">
                <a:pos x="34" y="18"/>
              </a:cxn>
              <a:cxn ang="0">
                <a:pos x="9" y="18"/>
              </a:cxn>
              <a:cxn ang="0">
                <a:pos x="0" y="26"/>
              </a:cxn>
              <a:cxn ang="0">
                <a:pos x="0" y="96"/>
              </a:cxn>
              <a:cxn ang="0">
                <a:pos x="9" y="104"/>
              </a:cxn>
              <a:cxn ang="0">
                <a:pos x="112" y="104"/>
              </a:cxn>
              <a:cxn ang="0">
                <a:pos x="121" y="96"/>
              </a:cxn>
              <a:cxn ang="0">
                <a:pos x="121" y="26"/>
              </a:cxn>
              <a:cxn ang="0">
                <a:pos x="112" y="18"/>
              </a:cxn>
              <a:cxn ang="0">
                <a:pos x="37" y="8"/>
              </a:cxn>
              <a:cxn ang="0">
                <a:pos x="42" y="3"/>
              </a:cxn>
              <a:cxn ang="0">
                <a:pos x="79" y="3"/>
              </a:cxn>
              <a:cxn ang="0">
                <a:pos x="84" y="8"/>
              </a:cxn>
              <a:cxn ang="0">
                <a:pos x="84" y="18"/>
              </a:cxn>
              <a:cxn ang="0">
                <a:pos x="37" y="18"/>
              </a:cxn>
              <a:cxn ang="0">
                <a:pos x="37" y="8"/>
              </a:cxn>
              <a:cxn ang="0">
                <a:pos x="9" y="21"/>
              </a:cxn>
              <a:cxn ang="0">
                <a:pos x="112" y="21"/>
              </a:cxn>
              <a:cxn ang="0">
                <a:pos x="117" y="26"/>
              </a:cxn>
              <a:cxn ang="0">
                <a:pos x="117" y="37"/>
              </a:cxn>
              <a:cxn ang="0">
                <a:pos x="68" y="55"/>
              </a:cxn>
              <a:cxn ang="0">
                <a:pos x="61" y="49"/>
              </a:cxn>
              <a:cxn ang="0">
                <a:pos x="53" y="55"/>
              </a:cxn>
              <a:cxn ang="0">
                <a:pos x="4" y="37"/>
              </a:cxn>
              <a:cxn ang="0">
                <a:pos x="4" y="26"/>
              </a:cxn>
              <a:cxn ang="0">
                <a:pos x="9" y="21"/>
              </a:cxn>
              <a:cxn ang="0">
                <a:pos x="65" y="55"/>
              </a:cxn>
              <a:cxn ang="0">
                <a:pos x="65" y="61"/>
              </a:cxn>
              <a:cxn ang="0">
                <a:pos x="61" y="63"/>
              </a:cxn>
              <a:cxn ang="0">
                <a:pos x="57" y="61"/>
              </a:cxn>
              <a:cxn ang="0">
                <a:pos x="57" y="55"/>
              </a:cxn>
              <a:cxn ang="0">
                <a:pos x="61" y="52"/>
              </a:cxn>
              <a:cxn ang="0">
                <a:pos x="65" y="55"/>
              </a:cxn>
              <a:cxn ang="0">
                <a:pos x="112" y="101"/>
              </a:cxn>
              <a:cxn ang="0">
                <a:pos x="9" y="101"/>
              </a:cxn>
              <a:cxn ang="0">
                <a:pos x="4" y="96"/>
              </a:cxn>
              <a:cxn ang="0">
                <a:pos x="4" y="41"/>
              </a:cxn>
              <a:cxn ang="0">
                <a:pos x="53" y="58"/>
              </a:cxn>
              <a:cxn ang="0">
                <a:pos x="53" y="61"/>
              </a:cxn>
              <a:cxn ang="0">
                <a:pos x="61" y="67"/>
              </a:cxn>
              <a:cxn ang="0">
                <a:pos x="68" y="61"/>
              </a:cxn>
              <a:cxn ang="0">
                <a:pos x="68" y="58"/>
              </a:cxn>
              <a:cxn ang="0">
                <a:pos x="117" y="41"/>
              </a:cxn>
              <a:cxn ang="0">
                <a:pos x="117" y="96"/>
              </a:cxn>
              <a:cxn ang="0">
                <a:pos x="112" y="101"/>
              </a:cxn>
            </a:cxnLst>
            <a:rect l="0" t="0" r="r" b="b"/>
            <a:pathLst>
              <a:path w="121" h="104">
                <a:moveTo>
                  <a:pt x="112" y="18"/>
                </a:moveTo>
                <a:cubicBezTo>
                  <a:pt x="87" y="18"/>
                  <a:pt x="87" y="18"/>
                  <a:pt x="87" y="18"/>
                </a:cubicBezTo>
                <a:cubicBezTo>
                  <a:pt x="87" y="8"/>
                  <a:pt x="87" y="8"/>
                  <a:pt x="87" y="8"/>
                </a:cubicBezTo>
                <a:cubicBezTo>
                  <a:pt x="87" y="4"/>
                  <a:pt x="84" y="0"/>
                  <a:pt x="79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38" y="0"/>
                  <a:pt x="34" y="4"/>
                  <a:pt x="34" y="8"/>
                </a:cubicBezTo>
                <a:cubicBezTo>
                  <a:pt x="34" y="18"/>
                  <a:pt x="34" y="18"/>
                  <a:pt x="34" y="18"/>
                </a:cubicBezTo>
                <a:cubicBezTo>
                  <a:pt x="9" y="18"/>
                  <a:pt x="9" y="18"/>
                  <a:pt x="9" y="18"/>
                </a:cubicBezTo>
                <a:cubicBezTo>
                  <a:pt x="4" y="18"/>
                  <a:pt x="0" y="21"/>
                  <a:pt x="0" y="2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0"/>
                  <a:pt x="4" y="104"/>
                  <a:pt x="9" y="104"/>
                </a:cubicBezTo>
                <a:cubicBezTo>
                  <a:pt x="112" y="104"/>
                  <a:pt x="112" y="104"/>
                  <a:pt x="112" y="104"/>
                </a:cubicBezTo>
                <a:cubicBezTo>
                  <a:pt x="117" y="104"/>
                  <a:pt x="121" y="100"/>
                  <a:pt x="121" y="96"/>
                </a:cubicBezTo>
                <a:cubicBezTo>
                  <a:pt x="121" y="26"/>
                  <a:pt x="121" y="26"/>
                  <a:pt x="121" y="26"/>
                </a:cubicBezTo>
                <a:cubicBezTo>
                  <a:pt x="121" y="21"/>
                  <a:pt x="117" y="18"/>
                  <a:pt x="112" y="18"/>
                </a:cubicBezTo>
                <a:close/>
                <a:moveTo>
                  <a:pt x="37" y="8"/>
                </a:moveTo>
                <a:cubicBezTo>
                  <a:pt x="37" y="6"/>
                  <a:pt x="40" y="3"/>
                  <a:pt x="42" y="3"/>
                </a:cubicBezTo>
                <a:cubicBezTo>
                  <a:pt x="79" y="3"/>
                  <a:pt x="79" y="3"/>
                  <a:pt x="79" y="3"/>
                </a:cubicBezTo>
                <a:cubicBezTo>
                  <a:pt x="82" y="3"/>
                  <a:pt x="84" y="6"/>
                  <a:pt x="84" y="8"/>
                </a:cubicBezTo>
                <a:cubicBezTo>
                  <a:pt x="84" y="18"/>
                  <a:pt x="84" y="18"/>
                  <a:pt x="84" y="18"/>
                </a:cubicBezTo>
                <a:cubicBezTo>
                  <a:pt x="37" y="18"/>
                  <a:pt x="37" y="18"/>
                  <a:pt x="37" y="18"/>
                </a:cubicBezTo>
                <a:lnTo>
                  <a:pt x="37" y="8"/>
                </a:lnTo>
                <a:close/>
                <a:moveTo>
                  <a:pt x="9" y="21"/>
                </a:moveTo>
                <a:cubicBezTo>
                  <a:pt x="112" y="21"/>
                  <a:pt x="112" y="21"/>
                  <a:pt x="112" y="21"/>
                </a:cubicBezTo>
                <a:cubicBezTo>
                  <a:pt x="115" y="21"/>
                  <a:pt x="117" y="23"/>
                  <a:pt x="117" y="26"/>
                </a:cubicBezTo>
                <a:cubicBezTo>
                  <a:pt x="117" y="37"/>
                  <a:pt x="117" y="37"/>
                  <a:pt x="117" y="37"/>
                </a:cubicBezTo>
                <a:cubicBezTo>
                  <a:pt x="68" y="55"/>
                  <a:pt x="68" y="55"/>
                  <a:pt x="68" y="55"/>
                </a:cubicBezTo>
                <a:cubicBezTo>
                  <a:pt x="68" y="51"/>
                  <a:pt x="65" y="49"/>
                  <a:pt x="61" y="49"/>
                </a:cubicBezTo>
                <a:cubicBezTo>
                  <a:pt x="57" y="49"/>
                  <a:pt x="53" y="51"/>
                  <a:pt x="53" y="55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3"/>
                  <a:pt x="6" y="21"/>
                  <a:pt x="9" y="21"/>
                </a:cubicBezTo>
                <a:close/>
                <a:moveTo>
                  <a:pt x="65" y="55"/>
                </a:moveTo>
                <a:cubicBezTo>
                  <a:pt x="65" y="61"/>
                  <a:pt x="65" y="61"/>
                  <a:pt x="65" y="61"/>
                </a:cubicBezTo>
                <a:cubicBezTo>
                  <a:pt x="65" y="62"/>
                  <a:pt x="63" y="63"/>
                  <a:pt x="61" y="63"/>
                </a:cubicBezTo>
                <a:cubicBezTo>
                  <a:pt x="58" y="63"/>
                  <a:pt x="57" y="62"/>
                  <a:pt x="57" y="61"/>
                </a:cubicBezTo>
                <a:cubicBezTo>
                  <a:pt x="57" y="55"/>
                  <a:pt x="57" y="55"/>
                  <a:pt x="57" y="55"/>
                </a:cubicBezTo>
                <a:cubicBezTo>
                  <a:pt x="57" y="54"/>
                  <a:pt x="58" y="52"/>
                  <a:pt x="61" y="52"/>
                </a:cubicBezTo>
                <a:cubicBezTo>
                  <a:pt x="63" y="52"/>
                  <a:pt x="65" y="54"/>
                  <a:pt x="65" y="55"/>
                </a:cubicBezTo>
                <a:close/>
                <a:moveTo>
                  <a:pt x="112" y="101"/>
                </a:moveTo>
                <a:cubicBezTo>
                  <a:pt x="9" y="101"/>
                  <a:pt x="9" y="101"/>
                  <a:pt x="9" y="101"/>
                </a:cubicBezTo>
                <a:cubicBezTo>
                  <a:pt x="6" y="101"/>
                  <a:pt x="4" y="98"/>
                  <a:pt x="4" y="96"/>
                </a:cubicBezTo>
                <a:cubicBezTo>
                  <a:pt x="4" y="41"/>
                  <a:pt x="4" y="41"/>
                  <a:pt x="4" y="41"/>
                </a:cubicBezTo>
                <a:cubicBezTo>
                  <a:pt x="53" y="58"/>
                  <a:pt x="53" y="58"/>
                  <a:pt x="53" y="58"/>
                </a:cubicBezTo>
                <a:cubicBezTo>
                  <a:pt x="53" y="61"/>
                  <a:pt x="53" y="61"/>
                  <a:pt x="53" y="61"/>
                </a:cubicBezTo>
                <a:cubicBezTo>
                  <a:pt x="53" y="64"/>
                  <a:pt x="56" y="67"/>
                  <a:pt x="61" y="67"/>
                </a:cubicBezTo>
                <a:cubicBezTo>
                  <a:pt x="65" y="67"/>
                  <a:pt x="68" y="64"/>
                  <a:pt x="68" y="61"/>
                </a:cubicBezTo>
                <a:cubicBezTo>
                  <a:pt x="68" y="58"/>
                  <a:pt x="68" y="58"/>
                  <a:pt x="68" y="58"/>
                </a:cubicBezTo>
                <a:cubicBezTo>
                  <a:pt x="117" y="41"/>
                  <a:pt x="117" y="41"/>
                  <a:pt x="117" y="41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17" y="98"/>
                  <a:pt x="115" y="101"/>
                  <a:pt x="112" y="10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404" name="Group 276"/>
          <p:cNvGrpSpPr>
            <a:grpSpLocks noChangeAspect="1"/>
          </p:cNvGrpSpPr>
          <p:nvPr/>
        </p:nvGrpSpPr>
        <p:grpSpPr bwMode="auto">
          <a:xfrm>
            <a:off x="5845973" y="5386391"/>
            <a:ext cx="785813" cy="784226"/>
            <a:chOff x="3680" y="3393"/>
            <a:chExt cx="495" cy="494"/>
          </a:xfrm>
        </p:grpSpPr>
        <p:sp>
          <p:nvSpPr>
            <p:cNvPr id="48405" name="Freeform 277"/>
            <p:cNvSpPr>
              <a:spLocks noEditPoints="1"/>
            </p:cNvSpPr>
            <p:nvPr/>
          </p:nvSpPr>
          <p:spPr bwMode="auto">
            <a:xfrm>
              <a:off x="3680" y="3393"/>
              <a:ext cx="495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06" name="Freeform 278"/>
            <p:cNvSpPr>
              <a:spLocks noEditPoints="1"/>
            </p:cNvSpPr>
            <p:nvPr/>
          </p:nvSpPr>
          <p:spPr bwMode="auto">
            <a:xfrm>
              <a:off x="3783" y="3501"/>
              <a:ext cx="289" cy="250"/>
            </a:xfrm>
            <a:custGeom>
              <a:avLst/>
              <a:gdLst/>
              <a:ahLst/>
              <a:cxnLst>
                <a:cxn ang="0">
                  <a:pos x="112" y="18"/>
                </a:cxn>
                <a:cxn ang="0">
                  <a:pos x="87" y="18"/>
                </a:cxn>
                <a:cxn ang="0">
                  <a:pos x="87" y="8"/>
                </a:cxn>
                <a:cxn ang="0">
                  <a:pos x="79" y="0"/>
                </a:cxn>
                <a:cxn ang="0">
                  <a:pos x="42" y="0"/>
                </a:cxn>
                <a:cxn ang="0">
                  <a:pos x="34" y="8"/>
                </a:cxn>
                <a:cxn ang="0">
                  <a:pos x="34" y="18"/>
                </a:cxn>
                <a:cxn ang="0">
                  <a:pos x="9" y="18"/>
                </a:cxn>
                <a:cxn ang="0">
                  <a:pos x="0" y="26"/>
                </a:cxn>
                <a:cxn ang="0">
                  <a:pos x="0" y="96"/>
                </a:cxn>
                <a:cxn ang="0">
                  <a:pos x="9" y="104"/>
                </a:cxn>
                <a:cxn ang="0">
                  <a:pos x="112" y="104"/>
                </a:cxn>
                <a:cxn ang="0">
                  <a:pos x="121" y="96"/>
                </a:cxn>
                <a:cxn ang="0">
                  <a:pos x="121" y="26"/>
                </a:cxn>
                <a:cxn ang="0">
                  <a:pos x="112" y="18"/>
                </a:cxn>
                <a:cxn ang="0">
                  <a:pos x="37" y="8"/>
                </a:cxn>
                <a:cxn ang="0">
                  <a:pos x="42" y="3"/>
                </a:cxn>
                <a:cxn ang="0">
                  <a:pos x="79" y="3"/>
                </a:cxn>
                <a:cxn ang="0">
                  <a:pos x="84" y="8"/>
                </a:cxn>
                <a:cxn ang="0">
                  <a:pos x="84" y="18"/>
                </a:cxn>
                <a:cxn ang="0">
                  <a:pos x="37" y="18"/>
                </a:cxn>
                <a:cxn ang="0">
                  <a:pos x="37" y="8"/>
                </a:cxn>
                <a:cxn ang="0">
                  <a:pos x="9" y="21"/>
                </a:cxn>
                <a:cxn ang="0">
                  <a:pos x="112" y="21"/>
                </a:cxn>
                <a:cxn ang="0">
                  <a:pos x="117" y="26"/>
                </a:cxn>
                <a:cxn ang="0">
                  <a:pos x="117" y="37"/>
                </a:cxn>
                <a:cxn ang="0">
                  <a:pos x="68" y="55"/>
                </a:cxn>
                <a:cxn ang="0">
                  <a:pos x="60" y="49"/>
                </a:cxn>
                <a:cxn ang="0">
                  <a:pos x="53" y="55"/>
                </a:cxn>
                <a:cxn ang="0">
                  <a:pos x="4" y="37"/>
                </a:cxn>
                <a:cxn ang="0">
                  <a:pos x="4" y="26"/>
                </a:cxn>
                <a:cxn ang="0">
                  <a:pos x="9" y="21"/>
                </a:cxn>
                <a:cxn ang="0">
                  <a:pos x="64" y="55"/>
                </a:cxn>
                <a:cxn ang="0">
                  <a:pos x="64" y="61"/>
                </a:cxn>
                <a:cxn ang="0">
                  <a:pos x="60" y="63"/>
                </a:cxn>
                <a:cxn ang="0">
                  <a:pos x="56" y="61"/>
                </a:cxn>
                <a:cxn ang="0">
                  <a:pos x="56" y="55"/>
                </a:cxn>
                <a:cxn ang="0">
                  <a:pos x="60" y="52"/>
                </a:cxn>
                <a:cxn ang="0">
                  <a:pos x="64" y="55"/>
                </a:cxn>
                <a:cxn ang="0">
                  <a:pos x="112" y="101"/>
                </a:cxn>
                <a:cxn ang="0">
                  <a:pos x="9" y="101"/>
                </a:cxn>
                <a:cxn ang="0">
                  <a:pos x="4" y="96"/>
                </a:cxn>
                <a:cxn ang="0">
                  <a:pos x="4" y="41"/>
                </a:cxn>
                <a:cxn ang="0">
                  <a:pos x="53" y="58"/>
                </a:cxn>
                <a:cxn ang="0">
                  <a:pos x="53" y="61"/>
                </a:cxn>
                <a:cxn ang="0">
                  <a:pos x="60" y="67"/>
                </a:cxn>
                <a:cxn ang="0">
                  <a:pos x="68" y="61"/>
                </a:cxn>
                <a:cxn ang="0">
                  <a:pos x="68" y="58"/>
                </a:cxn>
                <a:cxn ang="0">
                  <a:pos x="117" y="41"/>
                </a:cxn>
                <a:cxn ang="0">
                  <a:pos x="117" y="96"/>
                </a:cxn>
                <a:cxn ang="0">
                  <a:pos x="112" y="101"/>
                </a:cxn>
              </a:cxnLst>
              <a:rect l="0" t="0" r="r" b="b"/>
              <a:pathLst>
                <a:path w="121" h="104">
                  <a:moveTo>
                    <a:pt x="112" y="18"/>
                  </a:moveTo>
                  <a:cubicBezTo>
                    <a:pt x="87" y="18"/>
                    <a:pt x="87" y="18"/>
                    <a:pt x="87" y="1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4"/>
                    <a:pt x="83" y="0"/>
                    <a:pt x="79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7" y="0"/>
                    <a:pt x="34" y="4"/>
                    <a:pt x="34" y="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0"/>
                    <a:pt x="4" y="104"/>
                    <a:pt x="9" y="104"/>
                  </a:cubicBezTo>
                  <a:cubicBezTo>
                    <a:pt x="112" y="104"/>
                    <a:pt x="112" y="104"/>
                    <a:pt x="112" y="104"/>
                  </a:cubicBezTo>
                  <a:cubicBezTo>
                    <a:pt x="117" y="104"/>
                    <a:pt x="121" y="100"/>
                    <a:pt x="121" y="9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1"/>
                    <a:pt x="117" y="18"/>
                    <a:pt x="112" y="18"/>
                  </a:cubicBezTo>
                  <a:close/>
                  <a:moveTo>
                    <a:pt x="37" y="8"/>
                  </a:moveTo>
                  <a:cubicBezTo>
                    <a:pt x="37" y="6"/>
                    <a:pt x="39" y="3"/>
                    <a:pt x="42" y="3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81" y="3"/>
                    <a:pt x="84" y="6"/>
                    <a:pt x="84" y="8"/>
                  </a:cubicBezTo>
                  <a:cubicBezTo>
                    <a:pt x="84" y="18"/>
                    <a:pt x="84" y="18"/>
                    <a:pt x="84" y="18"/>
                  </a:cubicBezTo>
                  <a:cubicBezTo>
                    <a:pt x="37" y="18"/>
                    <a:pt x="37" y="18"/>
                    <a:pt x="37" y="18"/>
                  </a:cubicBezTo>
                  <a:lnTo>
                    <a:pt x="37" y="8"/>
                  </a:lnTo>
                  <a:close/>
                  <a:moveTo>
                    <a:pt x="9" y="21"/>
                  </a:moveTo>
                  <a:cubicBezTo>
                    <a:pt x="112" y="21"/>
                    <a:pt x="112" y="21"/>
                    <a:pt x="112" y="21"/>
                  </a:cubicBezTo>
                  <a:cubicBezTo>
                    <a:pt x="115" y="21"/>
                    <a:pt x="117" y="23"/>
                    <a:pt x="117" y="26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1"/>
                    <a:pt x="64" y="49"/>
                    <a:pt x="60" y="49"/>
                  </a:cubicBezTo>
                  <a:cubicBezTo>
                    <a:pt x="56" y="49"/>
                    <a:pt x="53" y="51"/>
                    <a:pt x="53" y="55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3"/>
                    <a:pt x="6" y="21"/>
                    <a:pt x="9" y="21"/>
                  </a:cubicBezTo>
                  <a:close/>
                  <a:moveTo>
                    <a:pt x="64" y="55"/>
                  </a:moveTo>
                  <a:cubicBezTo>
                    <a:pt x="64" y="61"/>
                    <a:pt x="64" y="61"/>
                    <a:pt x="64" y="61"/>
                  </a:cubicBezTo>
                  <a:cubicBezTo>
                    <a:pt x="64" y="62"/>
                    <a:pt x="63" y="63"/>
                    <a:pt x="60" y="63"/>
                  </a:cubicBezTo>
                  <a:cubicBezTo>
                    <a:pt x="58" y="63"/>
                    <a:pt x="56" y="62"/>
                    <a:pt x="56" y="61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8" y="52"/>
                    <a:pt x="60" y="52"/>
                  </a:cubicBezTo>
                  <a:cubicBezTo>
                    <a:pt x="63" y="52"/>
                    <a:pt x="64" y="54"/>
                    <a:pt x="64" y="55"/>
                  </a:cubicBezTo>
                  <a:close/>
                  <a:moveTo>
                    <a:pt x="112" y="101"/>
                  </a:moveTo>
                  <a:cubicBezTo>
                    <a:pt x="9" y="101"/>
                    <a:pt x="9" y="101"/>
                    <a:pt x="9" y="101"/>
                  </a:cubicBezTo>
                  <a:cubicBezTo>
                    <a:pt x="6" y="101"/>
                    <a:pt x="4" y="98"/>
                    <a:pt x="4" y="96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4"/>
                    <a:pt x="56" y="67"/>
                    <a:pt x="60" y="67"/>
                  </a:cubicBezTo>
                  <a:cubicBezTo>
                    <a:pt x="65" y="67"/>
                    <a:pt x="68" y="64"/>
                    <a:pt x="68" y="61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17" y="98"/>
                    <a:pt x="115" y="101"/>
                    <a:pt x="112" y="1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4" name="Group 283"/>
          <p:cNvGrpSpPr/>
          <p:nvPr/>
        </p:nvGrpSpPr>
        <p:grpSpPr>
          <a:xfrm>
            <a:off x="6904037" y="5386387"/>
            <a:ext cx="844550" cy="844551"/>
            <a:chOff x="6904037" y="5386387"/>
            <a:chExt cx="844550" cy="844551"/>
          </a:xfrm>
        </p:grpSpPr>
        <p:sp>
          <p:nvSpPr>
            <p:cNvPr id="48410" name="Oval 282"/>
            <p:cNvSpPr>
              <a:spLocks noChangeArrowheads="1"/>
            </p:cNvSpPr>
            <p:nvPr/>
          </p:nvSpPr>
          <p:spPr bwMode="auto">
            <a:xfrm>
              <a:off x="6904037" y="5386387"/>
              <a:ext cx="844550" cy="84455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11" name="Freeform 283"/>
            <p:cNvSpPr>
              <a:spLocks noEditPoints="1"/>
            </p:cNvSpPr>
            <p:nvPr/>
          </p:nvSpPr>
          <p:spPr bwMode="auto">
            <a:xfrm>
              <a:off x="6929437" y="5418138"/>
              <a:ext cx="788988" cy="785813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2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0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161" y="0"/>
                    <a:pt x="207" y="46"/>
                    <a:pt x="207" y="103"/>
                  </a:cubicBezTo>
                  <a:cubicBezTo>
                    <a:pt x="207" y="160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2" name="Freeform 284"/>
            <p:cNvSpPr>
              <a:spLocks noEditPoints="1"/>
            </p:cNvSpPr>
            <p:nvPr/>
          </p:nvSpPr>
          <p:spPr bwMode="auto">
            <a:xfrm>
              <a:off x="7196137" y="5588000"/>
              <a:ext cx="266700" cy="441325"/>
            </a:xfrm>
            <a:custGeom>
              <a:avLst/>
              <a:gdLst/>
              <a:ahLst/>
              <a:cxnLst>
                <a:cxn ang="0">
                  <a:pos x="168" y="278"/>
                </a:cxn>
                <a:cxn ang="0">
                  <a:pos x="0" y="278"/>
                </a:cxn>
                <a:cxn ang="0">
                  <a:pos x="0" y="0"/>
                </a:cxn>
                <a:cxn ang="0">
                  <a:pos x="168" y="0"/>
                </a:cxn>
                <a:cxn ang="0">
                  <a:pos x="168" y="278"/>
                </a:cxn>
                <a:cxn ang="0">
                  <a:pos x="7" y="268"/>
                </a:cxn>
                <a:cxn ang="0">
                  <a:pos x="161" y="268"/>
                </a:cxn>
                <a:cxn ang="0">
                  <a:pos x="161" y="10"/>
                </a:cxn>
                <a:cxn ang="0">
                  <a:pos x="7" y="10"/>
                </a:cxn>
                <a:cxn ang="0">
                  <a:pos x="7" y="268"/>
                </a:cxn>
              </a:cxnLst>
              <a:rect l="0" t="0" r="r" b="b"/>
              <a:pathLst>
                <a:path w="168" h="278">
                  <a:moveTo>
                    <a:pt x="168" y="278"/>
                  </a:moveTo>
                  <a:lnTo>
                    <a:pt x="0" y="278"/>
                  </a:lnTo>
                  <a:lnTo>
                    <a:pt x="0" y="0"/>
                  </a:lnTo>
                  <a:lnTo>
                    <a:pt x="168" y="0"/>
                  </a:lnTo>
                  <a:lnTo>
                    <a:pt x="168" y="278"/>
                  </a:lnTo>
                  <a:close/>
                  <a:moveTo>
                    <a:pt x="7" y="268"/>
                  </a:moveTo>
                  <a:lnTo>
                    <a:pt x="161" y="268"/>
                  </a:lnTo>
                  <a:lnTo>
                    <a:pt x="161" y="10"/>
                  </a:lnTo>
                  <a:lnTo>
                    <a:pt x="7" y="10"/>
                  </a:lnTo>
                  <a:lnTo>
                    <a:pt x="7" y="26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3" name="Freeform 285"/>
            <p:cNvSpPr>
              <a:spLocks noEditPoints="1"/>
            </p:cNvSpPr>
            <p:nvPr/>
          </p:nvSpPr>
          <p:spPr bwMode="auto">
            <a:xfrm>
              <a:off x="7234237" y="5622925"/>
              <a:ext cx="190500" cy="68263"/>
            </a:xfrm>
            <a:custGeom>
              <a:avLst/>
              <a:gdLst/>
              <a:ahLst/>
              <a:cxnLst>
                <a:cxn ang="0">
                  <a:pos x="120" y="43"/>
                </a:cxn>
                <a:cxn ang="0">
                  <a:pos x="0" y="43"/>
                </a:cxn>
                <a:cxn ang="0">
                  <a:pos x="0" y="0"/>
                </a:cxn>
                <a:cxn ang="0">
                  <a:pos x="120" y="0"/>
                </a:cxn>
                <a:cxn ang="0">
                  <a:pos x="120" y="43"/>
                </a:cxn>
                <a:cxn ang="0">
                  <a:pos x="10" y="33"/>
                </a:cxn>
                <a:cxn ang="0">
                  <a:pos x="113" y="33"/>
                </a:cxn>
                <a:cxn ang="0">
                  <a:pos x="113" y="9"/>
                </a:cxn>
                <a:cxn ang="0">
                  <a:pos x="10" y="9"/>
                </a:cxn>
                <a:cxn ang="0">
                  <a:pos x="10" y="33"/>
                </a:cxn>
              </a:cxnLst>
              <a:rect l="0" t="0" r="r" b="b"/>
              <a:pathLst>
                <a:path w="120" h="43">
                  <a:moveTo>
                    <a:pt x="120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43"/>
                  </a:lnTo>
                  <a:close/>
                  <a:moveTo>
                    <a:pt x="10" y="33"/>
                  </a:moveTo>
                  <a:lnTo>
                    <a:pt x="113" y="33"/>
                  </a:lnTo>
                  <a:lnTo>
                    <a:pt x="113" y="9"/>
                  </a:lnTo>
                  <a:lnTo>
                    <a:pt x="10" y="9"/>
                  </a:lnTo>
                  <a:lnTo>
                    <a:pt x="10" y="3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4" name="Freeform 286"/>
            <p:cNvSpPr>
              <a:spLocks noEditPoints="1"/>
            </p:cNvSpPr>
            <p:nvPr/>
          </p:nvSpPr>
          <p:spPr bwMode="auto">
            <a:xfrm>
              <a:off x="7234237" y="5713413"/>
              <a:ext cx="57150" cy="53975"/>
            </a:xfrm>
            <a:custGeom>
              <a:avLst/>
              <a:gdLst/>
              <a:ahLst/>
              <a:cxnLst>
                <a:cxn ang="0">
                  <a:pos x="3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4"/>
                </a:cxn>
                <a:cxn ang="0">
                  <a:pos x="10" y="27"/>
                </a:cxn>
                <a:cxn ang="0">
                  <a:pos x="26" y="27"/>
                </a:cxn>
                <a:cxn ang="0">
                  <a:pos x="26" y="7"/>
                </a:cxn>
                <a:cxn ang="0">
                  <a:pos x="10" y="7"/>
                </a:cxn>
                <a:cxn ang="0">
                  <a:pos x="10" y="27"/>
                </a:cxn>
              </a:cxnLst>
              <a:rect l="0" t="0" r="r" b="b"/>
              <a:pathLst>
                <a:path w="36" h="34">
                  <a:moveTo>
                    <a:pt x="36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4"/>
                  </a:lnTo>
                  <a:close/>
                  <a:moveTo>
                    <a:pt x="10" y="27"/>
                  </a:moveTo>
                  <a:lnTo>
                    <a:pt x="26" y="27"/>
                  </a:lnTo>
                  <a:lnTo>
                    <a:pt x="26" y="7"/>
                  </a:lnTo>
                  <a:lnTo>
                    <a:pt x="10" y="7"/>
                  </a:lnTo>
                  <a:lnTo>
                    <a:pt x="10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5" name="Freeform 287"/>
            <p:cNvSpPr>
              <a:spLocks noEditPoints="1"/>
            </p:cNvSpPr>
            <p:nvPr/>
          </p:nvSpPr>
          <p:spPr bwMode="auto">
            <a:xfrm>
              <a:off x="7302500" y="5713413"/>
              <a:ext cx="57150" cy="53975"/>
            </a:xfrm>
            <a:custGeom>
              <a:avLst/>
              <a:gdLst/>
              <a:ahLst/>
              <a:cxnLst>
                <a:cxn ang="0">
                  <a:pos x="3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4"/>
                </a:cxn>
                <a:cxn ang="0">
                  <a:pos x="7" y="27"/>
                </a:cxn>
                <a:cxn ang="0">
                  <a:pos x="27" y="27"/>
                </a:cxn>
                <a:cxn ang="0">
                  <a:pos x="27" y="7"/>
                </a:cxn>
                <a:cxn ang="0">
                  <a:pos x="7" y="7"/>
                </a:cxn>
                <a:cxn ang="0">
                  <a:pos x="7" y="27"/>
                </a:cxn>
              </a:cxnLst>
              <a:rect l="0" t="0" r="r" b="b"/>
              <a:pathLst>
                <a:path w="36" h="34">
                  <a:moveTo>
                    <a:pt x="36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4"/>
                  </a:lnTo>
                  <a:close/>
                  <a:moveTo>
                    <a:pt x="7" y="27"/>
                  </a:moveTo>
                  <a:lnTo>
                    <a:pt x="27" y="27"/>
                  </a:lnTo>
                  <a:lnTo>
                    <a:pt x="27" y="7"/>
                  </a:lnTo>
                  <a:lnTo>
                    <a:pt x="7" y="7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6" name="Freeform 288"/>
            <p:cNvSpPr>
              <a:spLocks noEditPoints="1"/>
            </p:cNvSpPr>
            <p:nvPr/>
          </p:nvSpPr>
          <p:spPr bwMode="auto">
            <a:xfrm>
              <a:off x="7370762" y="5713413"/>
              <a:ext cx="53975" cy="53975"/>
            </a:xfrm>
            <a:custGeom>
              <a:avLst/>
              <a:gdLst/>
              <a:ahLst/>
              <a:cxnLst>
                <a:cxn ang="0">
                  <a:pos x="34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34" y="0"/>
                </a:cxn>
                <a:cxn ang="0">
                  <a:pos x="34" y="34"/>
                </a:cxn>
                <a:cxn ang="0">
                  <a:pos x="8" y="27"/>
                </a:cxn>
                <a:cxn ang="0">
                  <a:pos x="27" y="27"/>
                </a:cxn>
                <a:cxn ang="0">
                  <a:pos x="27" y="7"/>
                </a:cxn>
                <a:cxn ang="0">
                  <a:pos x="8" y="7"/>
                </a:cxn>
                <a:cxn ang="0">
                  <a:pos x="8" y="27"/>
                </a:cxn>
              </a:cxnLst>
              <a:rect l="0" t="0" r="r" b="b"/>
              <a:pathLst>
                <a:path w="34" h="34">
                  <a:moveTo>
                    <a:pt x="34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34"/>
                  </a:lnTo>
                  <a:close/>
                  <a:moveTo>
                    <a:pt x="8" y="27"/>
                  </a:moveTo>
                  <a:lnTo>
                    <a:pt x="27" y="27"/>
                  </a:lnTo>
                  <a:lnTo>
                    <a:pt x="27" y="7"/>
                  </a:lnTo>
                  <a:lnTo>
                    <a:pt x="8" y="7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7" name="Freeform 289"/>
            <p:cNvSpPr>
              <a:spLocks noEditPoints="1"/>
            </p:cNvSpPr>
            <p:nvPr/>
          </p:nvSpPr>
          <p:spPr bwMode="auto">
            <a:xfrm>
              <a:off x="7234237" y="5789613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10" y="26"/>
                </a:cxn>
                <a:cxn ang="0">
                  <a:pos x="26" y="26"/>
                </a:cxn>
                <a:cxn ang="0">
                  <a:pos x="26" y="10"/>
                </a:cxn>
                <a:cxn ang="0">
                  <a:pos x="10" y="10"/>
                </a:cxn>
                <a:cxn ang="0">
                  <a:pos x="10" y="26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10" y="26"/>
                  </a:moveTo>
                  <a:lnTo>
                    <a:pt x="26" y="26"/>
                  </a:lnTo>
                  <a:lnTo>
                    <a:pt x="26" y="10"/>
                  </a:lnTo>
                  <a:lnTo>
                    <a:pt x="10" y="10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8" name="Freeform 290"/>
            <p:cNvSpPr>
              <a:spLocks noEditPoints="1"/>
            </p:cNvSpPr>
            <p:nvPr/>
          </p:nvSpPr>
          <p:spPr bwMode="auto">
            <a:xfrm>
              <a:off x="7302500" y="5789613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7" y="26"/>
                </a:cxn>
                <a:cxn ang="0">
                  <a:pos x="27" y="26"/>
                </a:cxn>
                <a:cxn ang="0">
                  <a:pos x="27" y="10"/>
                </a:cxn>
                <a:cxn ang="0">
                  <a:pos x="7" y="10"/>
                </a:cxn>
                <a:cxn ang="0">
                  <a:pos x="7" y="26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7" y="26"/>
                  </a:moveTo>
                  <a:lnTo>
                    <a:pt x="27" y="26"/>
                  </a:lnTo>
                  <a:lnTo>
                    <a:pt x="27" y="10"/>
                  </a:lnTo>
                  <a:lnTo>
                    <a:pt x="7" y="10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19" name="Freeform 291"/>
            <p:cNvSpPr>
              <a:spLocks noEditPoints="1"/>
            </p:cNvSpPr>
            <p:nvPr/>
          </p:nvSpPr>
          <p:spPr bwMode="auto">
            <a:xfrm>
              <a:off x="7370762" y="5789613"/>
              <a:ext cx="53975" cy="57150"/>
            </a:xfrm>
            <a:custGeom>
              <a:avLst/>
              <a:gdLst/>
              <a:ahLst/>
              <a:cxnLst>
                <a:cxn ang="0">
                  <a:pos x="34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4" y="0"/>
                </a:cxn>
                <a:cxn ang="0">
                  <a:pos x="34" y="36"/>
                </a:cxn>
                <a:cxn ang="0">
                  <a:pos x="8" y="26"/>
                </a:cxn>
                <a:cxn ang="0">
                  <a:pos x="27" y="26"/>
                </a:cxn>
                <a:cxn ang="0">
                  <a:pos x="27" y="10"/>
                </a:cxn>
                <a:cxn ang="0">
                  <a:pos x="8" y="10"/>
                </a:cxn>
                <a:cxn ang="0">
                  <a:pos x="8" y="26"/>
                </a:cxn>
              </a:cxnLst>
              <a:rect l="0" t="0" r="r" b="b"/>
              <a:pathLst>
                <a:path w="34" h="36">
                  <a:moveTo>
                    <a:pt x="34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36"/>
                  </a:lnTo>
                  <a:close/>
                  <a:moveTo>
                    <a:pt x="8" y="26"/>
                  </a:moveTo>
                  <a:lnTo>
                    <a:pt x="27" y="26"/>
                  </a:lnTo>
                  <a:lnTo>
                    <a:pt x="27" y="10"/>
                  </a:lnTo>
                  <a:lnTo>
                    <a:pt x="8" y="10"/>
                  </a:lnTo>
                  <a:lnTo>
                    <a:pt x="8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0" name="Freeform 292"/>
            <p:cNvSpPr>
              <a:spLocks noEditPoints="1"/>
            </p:cNvSpPr>
            <p:nvPr/>
          </p:nvSpPr>
          <p:spPr bwMode="auto">
            <a:xfrm>
              <a:off x="7234237" y="5865813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10" y="26"/>
                </a:cxn>
                <a:cxn ang="0">
                  <a:pos x="26" y="26"/>
                </a:cxn>
                <a:cxn ang="0">
                  <a:pos x="26" y="7"/>
                </a:cxn>
                <a:cxn ang="0">
                  <a:pos x="10" y="7"/>
                </a:cxn>
                <a:cxn ang="0">
                  <a:pos x="10" y="26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10" y="26"/>
                  </a:moveTo>
                  <a:lnTo>
                    <a:pt x="26" y="26"/>
                  </a:lnTo>
                  <a:lnTo>
                    <a:pt x="26" y="7"/>
                  </a:lnTo>
                  <a:lnTo>
                    <a:pt x="10" y="7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1" name="Freeform 293"/>
            <p:cNvSpPr>
              <a:spLocks noEditPoints="1"/>
            </p:cNvSpPr>
            <p:nvPr/>
          </p:nvSpPr>
          <p:spPr bwMode="auto">
            <a:xfrm>
              <a:off x="7302500" y="5865813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7" y="26"/>
                </a:cxn>
                <a:cxn ang="0">
                  <a:pos x="27" y="26"/>
                </a:cxn>
                <a:cxn ang="0">
                  <a:pos x="27" y="7"/>
                </a:cxn>
                <a:cxn ang="0">
                  <a:pos x="7" y="7"/>
                </a:cxn>
                <a:cxn ang="0">
                  <a:pos x="7" y="26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7" y="26"/>
                  </a:moveTo>
                  <a:lnTo>
                    <a:pt x="27" y="26"/>
                  </a:lnTo>
                  <a:lnTo>
                    <a:pt x="27" y="7"/>
                  </a:lnTo>
                  <a:lnTo>
                    <a:pt x="7" y="7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2" name="Freeform 294"/>
            <p:cNvSpPr>
              <a:spLocks noEditPoints="1"/>
            </p:cNvSpPr>
            <p:nvPr/>
          </p:nvSpPr>
          <p:spPr bwMode="auto">
            <a:xfrm>
              <a:off x="7370762" y="5865813"/>
              <a:ext cx="53975" cy="125413"/>
            </a:xfrm>
            <a:custGeom>
              <a:avLst/>
              <a:gdLst/>
              <a:ahLst/>
              <a:cxnLst>
                <a:cxn ang="0">
                  <a:pos x="34" y="79"/>
                </a:cxn>
                <a:cxn ang="0">
                  <a:pos x="0" y="79"/>
                </a:cxn>
                <a:cxn ang="0">
                  <a:pos x="0" y="0"/>
                </a:cxn>
                <a:cxn ang="0">
                  <a:pos x="34" y="0"/>
                </a:cxn>
                <a:cxn ang="0">
                  <a:pos x="34" y="79"/>
                </a:cxn>
                <a:cxn ang="0">
                  <a:pos x="8" y="72"/>
                </a:cxn>
                <a:cxn ang="0">
                  <a:pos x="27" y="72"/>
                </a:cxn>
                <a:cxn ang="0">
                  <a:pos x="27" y="7"/>
                </a:cxn>
                <a:cxn ang="0">
                  <a:pos x="8" y="7"/>
                </a:cxn>
                <a:cxn ang="0">
                  <a:pos x="8" y="72"/>
                </a:cxn>
              </a:cxnLst>
              <a:rect l="0" t="0" r="r" b="b"/>
              <a:pathLst>
                <a:path w="34" h="79">
                  <a:moveTo>
                    <a:pt x="34" y="79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9"/>
                  </a:lnTo>
                  <a:close/>
                  <a:moveTo>
                    <a:pt x="8" y="72"/>
                  </a:moveTo>
                  <a:lnTo>
                    <a:pt x="27" y="72"/>
                  </a:lnTo>
                  <a:lnTo>
                    <a:pt x="27" y="7"/>
                  </a:lnTo>
                  <a:lnTo>
                    <a:pt x="8" y="7"/>
                  </a:lnTo>
                  <a:lnTo>
                    <a:pt x="8" y="7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3" name="Freeform 295"/>
            <p:cNvSpPr>
              <a:spLocks noEditPoints="1"/>
            </p:cNvSpPr>
            <p:nvPr/>
          </p:nvSpPr>
          <p:spPr bwMode="auto">
            <a:xfrm>
              <a:off x="7234237" y="5937250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10" y="27"/>
                </a:cxn>
                <a:cxn ang="0">
                  <a:pos x="26" y="27"/>
                </a:cxn>
                <a:cxn ang="0">
                  <a:pos x="26" y="8"/>
                </a:cxn>
                <a:cxn ang="0">
                  <a:pos x="10" y="8"/>
                </a:cxn>
                <a:cxn ang="0">
                  <a:pos x="10" y="27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10" y="27"/>
                  </a:moveTo>
                  <a:lnTo>
                    <a:pt x="26" y="27"/>
                  </a:lnTo>
                  <a:lnTo>
                    <a:pt x="26" y="8"/>
                  </a:lnTo>
                  <a:lnTo>
                    <a:pt x="10" y="8"/>
                  </a:lnTo>
                  <a:lnTo>
                    <a:pt x="10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4" name="Freeform 296"/>
            <p:cNvSpPr>
              <a:spLocks noEditPoints="1"/>
            </p:cNvSpPr>
            <p:nvPr/>
          </p:nvSpPr>
          <p:spPr bwMode="auto">
            <a:xfrm>
              <a:off x="7302500" y="5937250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7" y="27"/>
                </a:cxn>
                <a:cxn ang="0">
                  <a:pos x="27" y="27"/>
                </a:cxn>
                <a:cxn ang="0">
                  <a:pos x="27" y="8"/>
                </a:cxn>
                <a:cxn ang="0">
                  <a:pos x="7" y="8"/>
                </a:cxn>
                <a:cxn ang="0">
                  <a:pos x="7" y="27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7" y="27"/>
                  </a:moveTo>
                  <a:lnTo>
                    <a:pt x="27" y="27"/>
                  </a:lnTo>
                  <a:lnTo>
                    <a:pt x="27" y="8"/>
                  </a:lnTo>
                  <a:lnTo>
                    <a:pt x="7" y="8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3" name="Group 282"/>
          <p:cNvGrpSpPr/>
          <p:nvPr/>
        </p:nvGrpSpPr>
        <p:grpSpPr>
          <a:xfrm>
            <a:off x="8039100" y="5394325"/>
            <a:ext cx="787400" cy="792163"/>
            <a:chOff x="8039100" y="5394325"/>
            <a:chExt cx="787400" cy="792163"/>
          </a:xfrm>
        </p:grpSpPr>
        <p:sp>
          <p:nvSpPr>
            <p:cNvPr id="48428" name="Freeform 300"/>
            <p:cNvSpPr>
              <a:spLocks noEditPoints="1"/>
            </p:cNvSpPr>
            <p:nvPr/>
          </p:nvSpPr>
          <p:spPr bwMode="auto">
            <a:xfrm>
              <a:off x="8039100" y="5394325"/>
              <a:ext cx="787400" cy="792163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6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2" y="104"/>
                </a:cxn>
                <a:cxn ang="0">
                  <a:pos x="104" y="6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6"/>
                  </a:moveTo>
                  <a:cubicBezTo>
                    <a:pt x="49" y="6"/>
                    <a:pt x="5" y="50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50"/>
                    <a:pt x="158" y="6"/>
                    <a:pt x="104" y="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29" name="Freeform 301"/>
            <p:cNvSpPr>
              <a:spLocks noEditPoints="1"/>
            </p:cNvSpPr>
            <p:nvPr/>
          </p:nvSpPr>
          <p:spPr bwMode="auto">
            <a:xfrm>
              <a:off x="8305800" y="5570538"/>
              <a:ext cx="265113" cy="436563"/>
            </a:xfrm>
            <a:custGeom>
              <a:avLst/>
              <a:gdLst/>
              <a:ahLst/>
              <a:cxnLst>
                <a:cxn ang="0">
                  <a:pos x="167" y="275"/>
                </a:cxn>
                <a:cxn ang="0">
                  <a:pos x="0" y="275"/>
                </a:cxn>
                <a:cxn ang="0">
                  <a:pos x="0" y="0"/>
                </a:cxn>
                <a:cxn ang="0">
                  <a:pos x="167" y="0"/>
                </a:cxn>
                <a:cxn ang="0">
                  <a:pos x="167" y="275"/>
                </a:cxn>
                <a:cxn ang="0">
                  <a:pos x="7" y="268"/>
                </a:cxn>
                <a:cxn ang="0">
                  <a:pos x="160" y="268"/>
                </a:cxn>
                <a:cxn ang="0">
                  <a:pos x="160" y="7"/>
                </a:cxn>
                <a:cxn ang="0">
                  <a:pos x="7" y="7"/>
                </a:cxn>
                <a:cxn ang="0">
                  <a:pos x="7" y="268"/>
                </a:cxn>
              </a:cxnLst>
              <a:rect l="0" t="0" r="r" b="b"/>
              <a:pathLst>
                <a:path w="167" h="275">
                  <a:moveTo>
                    <a:pt x="167" y="275"/>
                  </a:moveTo>
                  <a:lnTo>
                    <a:pt x="0" y="275"/>
                  </a:lnTo>
                  <a:lnTo>
                    <a:pt x="0" y="0"/>
                  </a:lnTo>
                  <a:lnTo>
                    <a:pt x="167" y="0"/>
                  </a:lnTo>
                  <a:lnTo>
                    <a:pt x="167" y="275"/>
                  </a:lnTo>
                  <a:close/>
                  <a:moveTo>
                    <a:pt x="7" y="268"/>
                  </a:moveTo>
                  <a:lnTo>
                    <a:pt x="160" y="268"/>
                  </a:lnTo>
                  <a:lnTo>
                    <a:pt x="160" y="7"/>
                  </a:lnTo>
                  <a:lnTo>
                    <a:pt x="7" y="7"/>
                  </a:lnTo>
                  <a:lnTo>
                    <a:pt x="7" y="26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0" name="Freeform 302"/>
            <p:cNvSpPr>
              <a:spLocks noEditPoints="1"/>
            </p:cNvSpPr>
            <p:nvPr/>
          </p:nvSpPr>
          <p:spPr bwMode="auto">
            <a:xfrm>
              <a:off x="8343900" y="5603875"/>
              <a:ext cx="188913" cy="65088"/>
            </a:xfrm>
            <a:custGeom>
              <a:avLst/>
              <a:gdLst/>
              <a:ahLst/>
              <a:cxnLst>
                <a:cxn ang="0">
                  <a:pos x="119" y="41"/>
                </a:cxn>
                <a:cxn ang="0">
                  <a:pos x="0" y="41"/>
                </a:cxn>
                <a:cxn ang="0">
                  <a:pos x="0" y="0"/>
                </a:cxn>
                <a:cxn ang="0">
                  <a:pos x="119" y="0"/>
                </a:cxn>
                <a:cxn ang="0">
                  <a:pos x="119" y="41"/>
                </a:cxn>
                <a:cxn ang="0">
                  <a:pos x="9" y="34"/>
                </a:cxn>
                <a:cxn ang="0">
                  <a:pos x="112" y="34"/>
                </a:cxn>
                <a:cxn ang="0">
                  <a:pos x="112" y="10"/>
                </a:cxn>
                <a:cxn ang="0">
                  <a:pos x="9" y="10"/>
                </a:cxn>
                <a:cxn ang="0">
                  <a:pos x="9" y="34"/>
                </a:cxn>
              </a:cxnLst>
              <a:rect l="0" t="0" r="r" b="b"/>
              <a:pathLst>
                <a:path w="119" h="41">
                  <a:moveTo>
                    <a:pt x="119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119" y="41"/>
                  </a:lnTo>
                  <a:close/>
                  <a:moveTo>
                    <a:pt x="9" y="34"/>
                  </a:moveTo>
                  <a:lnTo>
                    <a:pt x="112" y="34"/>
                  </a:lnTo>
                  <a:lnTo>
                    <a:pt x="112" y="10"/>
                  </a:lnTo>
                  <a:lnTo>
                    <a:pt x="9" y="10"/>
                  </a:lnTo>
                  <a:lnTo>
                    <a:pt x="9" y="3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1" name="Freeform 303"/>
            <p:cNvSpPr>
              <a:spLocks noEditPoints="1"/>
            </p:cNvSpPr>
            <p:nvPr/>
          </p:nvSpPr>
          <p:spPr bwMode="auto">
            <a:xfrm>
              <a:off x="8343900" y="5691188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9" y="27"/>
                </a:cxn>
                <a:cxn ang="0">
                  <a:pos x="26" y="27"/>
                </a:cxn>
                <a:cxn ang="0">
                  <a:pos x="26" y="10"/>
                </a:cxn>
                <a:cxn ang="0">
                  <a:pos x="9" y="10"/>
                </a:cxn>
                <a:cxn ang="0">
                  <a:pos x="9" y="27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9" y="27"/>
                  </a:moveTo>
                  <a:lnTo>
                    <a:pt x="26" y="27"/>
                  </a:lnTo>
                  <a:lnTo>
                    <a:pt x="26" y="10"/>
                  </a:lnTo>
                  <a:lnTo>
                    <a:pt x="9" y="10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2" name="Freeform 304"/>
            <p:cNvSpPr>
              <a:spLocks noEditPoints="1"/>
            </p:cNvSpPr>
            <p:nvPr/>
          </p:nvSpPr>
          <p:spPr bwMode="auto">
            <a:xfrm>
              <a:off x="8412163" y="5691188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7" y="27"/>
                </a:cxn>
                <a:cxn ang="0">
                  <a:pos x="26" y="27"/>
                </a:cxn>
                <a:cxn ang="0">
                  <a:pos x="26" y="10"/>
                </a:cxn>
                <a:cxn ang="0">
                  <a:pos x="7" y="10"/>
                </a:cxn>
                <a:cxn ang="0">
                  <a:pos x="7" y="27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7" y="27"/>
                  </a:moveTo>
                  <a:lnTo>
                    <a:pt x="26" y="27"/>
                  </a:lnTo>
                  <a:lnTo>
                    <a:pt x="26" y="10"/>
                  </a:lnTo>
                  <a:lnTo>
                    <a:pt x="7" y="10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3" name="Freeform 305"/>
            <p:cNvSpPr>
              <a:spLocks noEditPoints="1"/>
            </p:cNvSpPr>
            <p:nvPr/>
          </p:nvSpPr>
          <p:spPr bwMode="auto">
            <a:xfrm>
              <a:off x="8480425" y="5691188"/>
              <a:ext cx="52388" cy="57150"/>
            </a:xfrm>
            <a:custGeom>
              <a:avLst/>
              <a:gdLst/>
              <a:ahLst/>
              <a:cxnLst>
                <a:cxn ang="0">
                  <a:pos x="33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3" y="0"/>
                </a:cxn>
                <a:cxn ang="0">
                  <a:pos x="33" y="36"/>
                </a:cxn>
                <a:cxn ang="0">
                  <a:pos x="7" y="27"/>
                </a:cxn>
                <a:cxn ang="0">
                  <a:pos x="26" y="27"/>
                </a:cxn>
                <a:cxn ang="0">
                  <a:pos x="26" y="10"/>
                </a:cxn>
                <a:cxn ang="0">
                  <a:pos x="7" y="10"/>
                </a:cxn>
                <a:cxn ang="0">
                  <a:pos x="7" y="27"/>
                </a:cxn>
              </a:cxnLst>
              <a:rect l="0" t="0" r="r" b="b"/>
              <a:pathLst>
                <a:path w="33" h="36">
                  <a:moveTo>
                    <a:pt x="33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6"/>
                  </a:lnTo>
                  <a:close/>
                  <a:moveTo>
                    <a:pt x="7" y="27"/>
                  </a:moveTo>
                  <a:lnTo>
                    <a:pt x="26" y="27"/>
                  </a:lnTo>
                  <a:lnTo>
                    <a:pt x="26" y="10"/>
                  </a:lnTo>
                  <a:lnTo>
                    <a:pt x="7" y="10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4" name="Freeform 306"/>
            <p:cNvSpPr>
              <a:spLocks noEditPoints="1"/>
            </p:cNvSpPr>
            <p:nvPr/>
          </p:nvSpPr>
          <p:spPr bwMode="auto">
            <a:xfrm>
              <a:off x="8343900" y="5772150"/>
              <a:ext cx="57150" cy="52388"/>
            </a:xfrm>
            <a:custGeom>
              <a:avLst/>
              <a:gdLst/>
              <a:ahLst/>
              <a:cxnLst>
                <a:cxn ang="0">
                  <a:pos x="36" y="33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3"/>
                </a:cxn>
                <a:cxn ang="0">
                  <a:pos x="9" y="26"/>
                </a:cxn>
                <a:cxn ang="0">
                  <a:pos x="26" y="26"/>
                </a:cxn>
                <a:cxn ang="0">
                  <a:pos x="26" y="7"/>
                </a:cxn>
                <a:cxn ang="0">
                  <a:pos x="9" y="7"/>
                </a:cxn>
                <a:cxn ang="0">
                  <a:pos x="9" y="26"/>
                </a:cxn>
              </a:cxnLst>
              <a:rect l="0" t="0" r="r" b="b"/>
              <a:pathLst>
                <a:path w="36" h="33">
                  <a:moveTo>
                    <a:pt x="36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3"/>
                  </a:lnTo>
                  <a:close/>
                  <a:moveTo>
                    <a:pt x="9" y="26"/>
                  </a:moveTo>
                  <a:lnTo>
                    <a:pt x="26" y="26"/>
                  </a:lnTo>
                  <a:lnTo>
                    <a:pt x="26" y="7"/>
                  </a:lnTo>
                  <a:lnTo>
                    <a:pt x="9" y="7"/>
                  </a:lnTo>
                  <a:lnTo>
                    <a:pt x="9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5" name="Freeform 307"/>
            <p:cNvSpPr>
              <a:spLocks noEditPoints="1"/>
            </p:cNvSpPr>
            <p:nvPr/>
          </p:nvSpPr>
          <p:spPr bwMode="auto">
            <a:xfrm>
              <a:off x="8412163" y="5772150"/>
              <a:ext cx="57150" cy="52388"/>
            </a:xfrm>
            <a:custGeom>
              <a:avLst/>
              <a:gdLst/>
              <a:ahLst/>
              <a:cxnLst>
                <a:cxn ang="0">
                  <a:pos x="36" y="33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3"/>
                </a:cxn>
                <a:cxn ang="0">
                  <a:pos x="7" y="26"/>
                </a:cxn>
                <a:cxn ang="0">
                  <a:pos x="26" y="26"/>
                </a:cxn>
                <a:cxn ang="0">
                  <a:pos x="26" y="7"/>
                </a:cxn>
                <a:cxn ang="0">
                  <a:pos x="7" y="7"/>
                </a:cxn>
                <a:cxn ang="0">
                  <a:pos x="7" y="26"/>
                </a:cxn>
              </a:cxnLst>
              <a:rect l="0" t="0" r="r" b="b"/>
              <a:pathLst>
                <a:path w="36" h="33">
                  <a:moveTo>
                    <a:pt x="36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3"/>
                  </a:lnTo>
                  <a:close/>
                  <a:moveTo>
                    <a:pt x="7" y="26"/>
                  </a:moveTo>
                  <a:lnTo>
                    <a:pt x="26" y="26"/>
                  </a:lnTo>
                  <a:lnTo>
                    <a:pt x="26" y="7"/>
                  </a:lnTo>
                  <a:lnTo>
                    <a:pt x="7" y="7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6" name="Freeform 308"/>
            <p:cNvSpPr>
              <a:spLocks noEditPoints="1"/>
            </p:cNvSpPr>
            <p:nvPr/>
          </p:nvSpPr>
          <p:spPr bwMode="auto">
            <a:xfrm>
              <a:off x="8480425" y="5772150"/>
              <a:ext cx="52388" cy="52388"/>
            </a:xfrm>
            <a:custGeom>
              <a:avLst/>
              <a:gdLst/>
              <a:ahLst/>
              <a:cxnLst>
                <a:cxn ang="0">
                  <a:pos x="33" y="33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3" y="0"/>
                </a:cxn>
                <a:cxn ang="0">
                  <a:pos x="33" y="33"/>
                </a:cxn>
                <a:cxn ang="0">
                  <a:pos x="7" y="26"/>
                </a:cxn>
                <a:cxn ang="0">
                  <a:pos x="26" y="26"/>
                </a:cxn>
                <a:cxn ang="0">
                  <a:pos x="26" y="7"/>
                </a:cxn>
                <a:cxn ang="0">
                  <a:pos x="7" y="7"/>
                </a:cxn>
                <a:cxn ang="0">
                  <a:pos x="7" y="26"/>
                </a:cxn>
              </a:cxnLst>
              <a:rect l="0" t="0" r="r" b="b"/>
              <a:pathLst>
                <a:path w="33" h="33">
                  <a:moveTo>
                    <a:pt x="33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3"/>
                  </a:lnTo>
                  <a:close/>
                  <a:moveTo>
                    <a:pt x="7" y="26"/>
                  </a:moveTo>
                  <a:lnTo>
                    <a:pt x="26" y="26"/>
                  </a:lnTo>
                  <a:lnTo>
                    <a:pt x="26" y="7"/>
                  </a:lnTo>
                  <a:lnTo>
                    <a:pt x="7" y="7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7" name="Freeform 309"/>
            <p:cNvSpPr>
              <a:spLocks noEditPoints="1"/>
            </p:cNvSpPr>
            <p:nvPr/>
          </p:nvSpPr>
          <p:spPr bwMode="auto">
            <a:xfrm>
              <a:off x="8343900" y="5843588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9" y="29"/>
                </a:cxn>
                <a:cxn ang="0">
                  <a:pos x="26" y="29"/>
                </a:cxn>
                <a:cxn ang="0">
                  <a:pos x="26" y="10"/>
                </a:cxn>
                <a:cxn ang="0">
                  <a:pos x="9" y="10"/>
                </a:cxn>
                <a:cxn ang="0">
                  <a:pos x="9" y="29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9" y="29"/>
                  </a:moveTo>
                  <a:lnTo>
                    <a:pt x="26" y="29"/>
                  </a:lnTo>
                  <a:lnTo>
                    <a:pt x="26" y="10"/>
                  </a:lnTo>
                  <a:lnTo>
                    <a:pt x="9" y="10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8" name="Freeform 310"/>
            <p:cNvSpPr>
              <a:spLocks noEditPoints="1"/>
            </p:cNvSpPr>
            <p:nvPr/>
          </p:nvSpPr>
          <p:spPr bwMode="auto">
            <a:xfrm>
              <a:off x="8412163" y="5843588"/>
              <a:ext cx="57150" cy="57150"/>
            </a:xfrm>
            <a:custGeom>
              <a:avLst/>
              <a:gdLst/>
              <a:ahLst/>
              <a:cxnLst>
                <a:cxn ang="0">
                  <a:pos x="36" y="36"/>
                </a:cxn>
                <a:cxn ang="0">
                  <a:pos x="0" y="36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6"/>
                </a:cxn>
                <a:cxn ang="0">
                  <a:pos x="7" y="29"/>
                </a:cxn>
                <a:cxn ang="0">
                  <a:pos x="26" y="29"/>
                </a:cxn>
                <a:cxn ang="0">
                  <a:pos x="26" y="10"/>
                </a:cxn>
                <a:cxn ang="0">
                  <a:pos x="7" y="10"/>
                </a:cxn>
                <a:cxn ang="0">
                  <a:pos x="7" y="29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6"/>
                  </a:lnTo>
                  <a:close/>
                  <a:moveTo>
                    <a:pt x="7" y="29"/>
                  </a:moveTo>
                  <a:lnTo>
                    <a:pt x="26" y="29"/>
                  </a:lnTo>
                  <a:lnTo>
                    <a:pt x="26" y="10"/>
                  </a:lnTo>
                  <a:lnTo>
                    <a:pt x="7" y="10"/>
                  </a:lnTo>
                  <a:lnTo>
                    <a:pt x="7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39" name="Freeform 311"/>
            <p:cNvSpPr>
              <a:spLocks noEditPoints="1"/>
            </p:cNvSpPr>
            <p:nvPr/>
          </p:nvSpPr>
          <p:spPr bwMode="auto">
            <a:xfrm>
              <a:off x="8480425" y="5843588"/>
              <a:ext cx="52388" cy="128588"/>
            </a:xfrm>
            <a:custGeom>
              <a:avLst/>
              <a:gdLst/>
              <a:ahLst/>
              <a:cxnLst>
                <a:cxn ang="0">
                  <a:pos x="33" y="81"/>
                </a:cxn>
                <a:cxn ang="0">
                  <a:pos x="0" y="81"/>
                </a:cxn>
                <a:cxn ang="0">
                  <a:pos x="0" y="0"/>
                </a:cxn>
                <a:cxn ang="0">
                  <a:pos x="33" y="0"/>
                </a:cxn>
                <a:cxn ang="0">
                  <a:pos x="33" y="81"/>
                </a:cxn>
                <a:cxn ang="0">
                  <a:pos x="7" y="72"/>
                </a:cxn>
                <a:cxn ang="0">
                  <a:pos x="26" y="72"/>
                </a:cxn>
                <a:cxn ang="0">
                  <a:pos x="26" y="10"/>
                </a:cxn>
                <a:cxn ang="0">
                  <a:pos x="7" y="10"/>
                </a:cxn>
                <a:cxn ang="0">
                  <a:pos x="7" y="72"/>
                </a:cxn>
              </a:cxnLst>
              <a:rect l="0" t="0" r="r" b="b"/>
              <a:pathLst>
                <a:path w="33" h="81">
                  <a:moveTo>
                    <a:pt x="33" y="81"/>
                  </a:moveTo>
                  <a:lnTo>
                    <a:pt x="0" y="81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81"/>
                  </a:lnTo>
                  <a:close/>
                  <a:moveTo>
                    <a:pt x="7" y="72"/>
                  </a:moveTo>
                  <a:lnTo>
                    <a:pt x="26" y="72"/>
                  </a:lnTo>
                  <a:lnTo>
                    <a:pt x="26" y="10"/>
                  </a:lnTo>
                  <a:lnTo>
                    <a:pt x="7" y="10"/>
                  </a:lnTo>
                  <a:lnTo>
                    <a:pt x="7" y="7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40" name="Freeform 312"/>
            <p:cNvSpPr>
              <a:spLocks noEditPoints="1"/>
            </p:cNvSpPr>
            <p:nvPr/>
          </p:nvSpPr>
          <p:spPr bwMode="auto">
            <a:xfrm>
              <a:off x="8343900" y="5916613"/>
              <a:ext cx="57150" cy="55563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5"/>
                </a:cxn>
                <a:cxn ang="0">
                  <a:pos x="9" y="28"/>
                </a:cxn>
                <a:cxn ang="0">
                  <a:pos x="26" y="28"/>
                </a:cxn>
                <a:cxn ang="0">
                  <a:pos x="26" y="9"/>
                </a:cxn>
                <a:cxn ang="0">
                  <a:pos x="9" y="9"/>
                </a:cxn>
                <a:cxn ang="0">
                  <a:pos x="9" y="28"/>
                </a:cxn>
              </a:cxnLst>
              <a:rect l="0" t="0" r="r" b="b"/>
              <a:pathLst>
                <a:path w="36" h="35">
                  <a:moveTo>
                    <a:pt x="36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5"/>
                  </a:lnTo>
                  <a:close/>
                  <a:moveTo>
                    <a:pt x="9" y="28"/>
                  </a:moveTo>
                  <a:lnTo>
                    <a:pt x="26" y="28"/>
                  </a:lnTo>
                  <a:lnTo>
                    <a:pt x="26" y="9"/>
                  </a:lnTo>
                  <a:lnTo>
                    <a:pt x="9" y="9"/>
                  </a:lnTo>
                  <a:lnTo>
                    <a:pt x="9" y="2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41" name="Freeform 313"/>
            <p:cNvSpPr>
              <a:spLocks noEditPoints="1"/>
            </p:cNvSpPr>
            <p:nvPr/>
          </p:nvSpPr>
          <p:spPr bwMode="auto">
            <a:xfrm>
              <a:off x="8412163" y="5916613"/>
              <a:ext cx="57150" cy="55563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35"/>
                </a:cxn>
                <a:cxn ang="0">
                  <a:pos x="7" y="28"/>
                </a:cxn>
                <a:cxn ang="0">
                  <a:pos x="26" y="28"/>
                </a:cxn>
                <a:cxn ang="0">
                  <a:pos x="26" y="9"/>
                </a:cxn>
                <a:cxn ang="0">
                  <a:pos x="7" y="9"/>
                </a:cxn>
                <a:cxn ang="0">
                  <a:pos x="7" y="28"/>
                </a:cxn>
              </a:cxnLst>
              <a:rect l="0" t="0" r="r" b="b"/>
              <a:pathLst>
                <a:path w="36" h="35">
                  <a:moveTo>
                    <a:pt x="36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5"/>
                  </a:lnTo>
                  <a:close/>
                  <a:moveTo>
                    <a:pt x="7" y="28"/>
                  </a:moveTo>
                  <a:lnTo>
                    <a:pt x="26" y="28"/>
                  </a:lnTo>
                  <a:lnTo>
                    <a:pt x="26" y="9"/>
                  </a:lnTo>
                  <a:lnTo>
                    <a:pt x="7" y="9"/>
                  </a:lnTo>
                  <a:lnTo>
                    <a:pt x="7" y="2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1462486" y="1555177"/>
            <a:ext cx="785814" cy="792163"/>
            <a:chOff x="1462486" y="1555177"/>
            <a:chExt cx="785814" cy="792163"/>
          </a:xfrm>
        </p:grpSpPr>
        <p:sp>
          <p:nvSpPr>
            <p:cNvPr id="48200" name="Freeform 72"/>
            <p:cNvSpPr>
              <a:spLocks noEditPoints="1"/>
            </p:cNvSpPr>
            <p:nvPr/>
          </p:nvSpPr>
          <p:spPr bwMode="auto">
            <a:xfrm>
              <a:off x="1633143" y="1759171"/>
              <a:ext cx="471488" cy="444500"/>
            </a:xfrm>
            <a:custGeom>
              <a:avLst/>
              <a:gdLst/>
              <a:ahLst/>
              <a:cxnLst>
                <a:cxn ang="0">
                  <a:pos x="33" y="117"/>
                </a:cxn>
                <a:cxn ang="0">
                  <a:pos x="32" y="116"/>
                </a:cxn>
                <a:cxn ang="0">
                  <a:pos x="26" y="108"/>
                </a:cxn>
                <a:cxn ang="0">
                  <a:pos x="25" y="107"/>
                </a:cxn>
                <a:cxn ang="0">
                  <a:pos x="27" y="40"/>
                </a:cxn>
                <a:cxn ang="0">
                  <a:pos x="4" y="4"/>
                </a:cxn>
                <a:cxn ang="0">
                  <a:pos x="10" y="0"/>
                </a:cxn>
                <a:cxn ang="0">
                  <a:pos x="45" y="21"/>
                </a:cxn>
                <a:cxn ang="0">
                  <a:pos x="110" y="12"/>
                </a:cxn>
                <a:cxn ang="0">
                  <a:pos x="111" y="12"/>
                </a:cxn>
                <a:cxn ang="0">
                  <a:pos x="123" y="19"/>
                </a:cxn>
                <a:cxn ang="0">
                  <a:pos x="123" y="21"/>
                </a:cxn>
                <a:cxn ang="0">
                  <a:pos x="122" y="22"/>
                </a:cxn>
                <a:cxn ang="0">
                  <a:pos x="65" y="42"/>
                </a:cxn>
                <a:cxn ang="0">
                  <a:pos x="94" y="73"/>
                </a:cxn>
                <a:cxn ang="0">
                  <a:pos x="116" y="73"/>
                </a:cxn>
                <a:cxn ang="0">
                  <a:pos x="117" y="73"/>
                </a:cxn>
                <a:cxn ang="0">
                  <a:pos x="121" y="76"/>
                </a:cxn>
                <a:cxn ang="0">
                  <a:pos x="121" y="77"/>
                </a:cxn>
                <a:cxn ang="0">
                  <a:pos x="121" y="79"/>
                </a:cxn>
                <a:cxn ang="0">
                  <a:pos x="103" y="91"/>
                </a:cxn>
                <a:cxn ang="0">
                  <a:pos x="92" y="110"/>
                </a:cxn>
                <a:cxn ang="0">
                  <a:pos x="91" y="111"/>
                </a:cxn>
                <a:cxn ang="0">
                  <a:pos x="90" y="110"/>
                </a:cxn>
                <a:cxn ang="0">
                  <a:pos x="86" y="107"/>
                </a:cxn>
                <a:cxn ang="0">
                  <a:pos x="85" y="106"/>
                </a:cxn>
                <a:cxn ang="0">
                  <a:pos x="84" y="83"/>
                </a:cxn>
                <a:cxn ang="0">
                  <a:pos x="50" y="59"/>
                </a:cxn>
                <a:cxn ang="0">
                  <a:pos x="35" y="115"/>
                </a:cxn>
                <a:cxn ang="0">
                  <a:pos x="34" y="117"/>
                </a:cxn>
                <a:cxn ang="0">
                  <a:pos x="33" y="117"/>
                </a:cxn>
                <a:cxn ang="0">
                  <a:pos x="29" y="106"/>
                </a:cxn>
                <a:cxn ang="0">
                  <a:pos x="32" y="111"/>
                </a:cxn>
                <a:cxn ang="0">
                  <a:pos x="47" y="56"/>
                </a:cxn>
                <a:cxn ang="0">
                  <a:pos x="48" y="54"/>
                </a:cxn>
                <a:cxn ang="0">
                  <a:pos x="50" y="55"/>
                </a:cxn>
                <a:cxn ang="0">
                  <a:pos x="87" y="80"/>
                </a:cxn>
                <a:cxn ang="0">
                  <a:pos x="88" y="82"/>
                </a:cxn>
                <a:cxn ang="0">
                  <a:pos x="89" y="105"/>
                </a:cxn>
                <a:cxn ang="0">
                  <a:pos x="90" y="106"/>
                </a:cxn>
                <a:cxn ang="0">
                  <a:pos x="100" y="89"/>
                </a:cxn>
                <a:cxn ang="0">
                  <a:pos x="100" y="88"/>
                </a:cxn>
                <a:cxn ang="0">
                  <a:pos x="116" y="77"/>
                </a:cxn>
                <a:cxn ang="0">
                  <a:pos x="115" y="76"/>
                </a:cxn>
                <a:cxn ang="0">
                  <a:pos x="93" y="76"/>
                </a:cxn>
                <a:cxn ang="0">
                  <a:pos x="91" y="76"/>
                </a:cxn>
                <a:cxn ang="0">
                  <a:pos x="60" y="42"/>
                </a:cxn>
                <a:cxn ang="0">
                  <a:pos x="60" y="40"/>
                </a:cxn>
                <a:cxn ang="0">
                  <a:pos x="61" y="39"/>
                </a:cxn>
                <a:cxn ang="0">
                  <a:pos x="117" y="20"/>
                </a:cxn>
                <a:cxn ang="0">
                  <a:pos x="110" y="15"/>
                </a:cxn>
                <a:cxn ang="0">
                  <a:pos x="45" y="25"/>
                </a:cxn>
                <a:cxn ang="0">
                  <a:pos x="43" y="25"/>
                </a:cxn>
                <a:cxn ang="0">
                  <a:pos x="10" y="4"/>
                </a:cxn>
                <a:cxn ang="0">
                  <a:pos x="7" y="5"/>
                </a:cxn>
                <a:cxn ang="0">
                  <a:pos x="31" y="37"/>
                </a:cxn>
                <a:cxn ang="0">
                  <a:pos x="31" y="39"/>
                </a:cxn>
                <a:cxn ang="0">
                  <a:pos x="29" y="106"/>
                </a:cxn>
              </a:cxnLst>
              <a:rect l="0" t="0" r="r" b="b"/>
              <a:pathLst>
                <a:path w="124" h="117">
                  <a:moveTo>
                    <a:pt x="33" y="117"/>
                  </a:moveTo>
                  <a:cubicBezTo>
                    <a:pt x="33" y="117"/>
                    <a:pt x="32" y="116"/>
                    <a:pt x="32" y="116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5" y="108"/>
                    <a:pt x="25" y="107"/>
                    <a:pt x="25" y="107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3" y="35"/>
                    <a:pt x="0" y="15"/>
                    <a:pt x="4" y="4"/>
                  </a:cubicBezTo>
                  <a:cubicBezTo>
                    <a:pt x="4" y="3"/>
                    <a:pt x="6" y="0"/>
                    <a:pt x="10" y="0"/>
                  </a:cubicBezTo>
                  <a:cubicBezTo>
                    <a:pt x="18" y="0"/>
                    <a:pt x="29" y="7"/>
                    <a:pt x="45" y="2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10" y="12"/>
                    <a:pt x="111" y="12"/>
                    <a:pt x="111" y="12"/>
                  </a:cubicBezTo>
                  <a:cubicBezTo>
                    <a:pt x="123" y="19"/>
                    <a:pt x="123" y="19"/>
                    <a:pt x="123" y="19"/>
                  </a:cubicBezTo>
                  <a:cubicBezTo>
                    <a:pt x="123" y="19"/>
                    <a:pt x="124" y="20"/>
                    <a:pt x="123" y="21"/>
                  </a:cubicBezTo>
                  <a:cubicBezTo>
                    <a:pt x="123" y="22"/>
                    <a:pt x="123" y="22"/>
                    <a:pt x="122" y="2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71" y="48"/>
                    <a:pt x="89" y="67"/>
                    <a:pt x="94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73"/>
                    <a:pt x="116" y="73"/>
                    <a:pt x="117" y="73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7"/>
                    <a:pt x="121" y="77"/>
                  </a:cubicBezTo>
                  <a:cubicBezTo>
                    <a:pt x="121" y="78"/>
                    <a:pt x="121" y="78"/>
                    <a:pt x="121" y="79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2" y="110"/>
                    <a:pt x="92" y="111"/>
                    <a:pt x="91" y="111"/>
                  </a:cubicBezTo>
                  <a:cubicBezTo>
                    <a:pt x="91" y="111"/>
                    <a:pt x="90" y="111"/>
                    <a:pt x="90" y="110"/>
                  </a:cubicBezTo>
                  <a:cubicBezTo>
                    <a:pt x="86" y="107"/>
                    <a:pt x="86" y="107"/>
                    <a:pt x="86" y="107"/>
                  </a:cubicBezTo>
                  <a:cubicBezTo>
                    <a:pt x="86" y="107"/>
                    <a:pt x="85" y="107"/>
                    <a:pt x="85" y="106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80" y="80"/>
                    <a:pt x="62" y="68"/>
                    <a:pt x="50" y="59"/>
                  </a:cubicBezTo>
                  <a:cubicBezTo>
                    <a:pt x="35" y="115"/>
                    <a:pt x="35" y="115"/>
                    <a:pt x="35" y="115"/>
                  </a:cubicBezTo>
                  <a:cubicBezTo>
                    <a:pt x="35" y="116"/>
                    <a:pt x="34" y="117"/>
                    <a:pt x="34" y="117"/>
                  </a:cubicBezTo>
                  <a:cubicBezTo>
                    <a:pt x="33" y="117"/>
                    <a:pt x="33" y="117"/>
                    <a:pt x="33" y="117"/>
                  </a:cubicBezTo>
                  <a:close/>
                  <a:moveTo>
                    <a:pt x="29" y="106"/>
                  </a:moveTo>
                  <a:cubicBezTo>
                    <a:pt x="32" y="111"/>
                    <a:pt x="32" y="111"/>
                    <a:pt x="32" y="111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8" y="55"/>
                    <a:pt x="48" y="54"/>
                  </a:cubicBezTo>
                  <a:cubicBezTo>
                    <a:pt x="49" y="54"/>
                    <a:pt x="49" y="54"/>
                    <a:pt x="50" y="55"/>
                  </a:cubicBezTo>
                  <a:cubicBezTo>
                    <a:pt x="63" y="65"/>
                    <a:pt x="87" y="80"/>
                    <a:pt x="87" y="80"/>
                  </a:cubicBezTo>
                  <a:cubicBezTo>
                    <a:pt x="87" y="81"/>
                    <a:pt x="88" y="81"/>
                    <a:pt x="88" y="82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2" y="76"/>
                    <a:pt x="92" y="76"/>
                    <a:pt x="91" y="76"/>
                  </a:cubicBezTo>
                  <a:cubicBezTo>
                    <a:pt x="88" y="71"/>
                    <a:pt x="60" y="42"/>
                    <a:pt x="60" y="42"/>
                  </a:cubicBezTo>
                  <a:cubicBezTo>
                    <a:pt x="60" y="42"/>
                    <a:pt x="60" y="41"/>
                    <a:pt x="60" y="40"/>
                  </a:cubicBezTo>
                  <a:cubicBezTo>
                    <a:pt x="60" y="40"/>
                    <a:pt x="60" y="39"/>
                    <a:pt x="61" y="39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23" y="7"/>
                    <a:pt x="14" y="4"/>
                    <a:pt x="10" y="4"/>
                  </a:cubicBezTo>
                  <a:cubicBezTo>
                    <a:pt x="8" y="4"/>
                    <a:pt x="7" y="5"/>
                    <a:pt x="7" y="5"/>
                  </a:cubicBezTo>
                  <a:cubicBezTo>
                    <a:pt x="5" y="13"/>
                    <a:pt x="20" y="29"/>
                    <a:pt x="31" y="37"/>
                  </a:cubicBezTo>
                  <a:cubicBezTo>
                    <a:pt x="31" y="38"/>
                    <a:pt x="31" y="38"/>
                    <a:pt x="31" y="39"/>
                  </a:cubicBezTo>
                  <a:lnTo>
                    <a:pt x="29" y="10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12"/>
            <p:cNvSpPr>
              <a:spLocks noEditPoints="1"/>
            </p:cNvSpPr>
            <p:nvPr/>
          </p:nvSpPr>
          <p:spPr bwMode="auto">
            <a:xfrm>
              <a:off x="1462486" y="1555177"/>
              <a:ext cx="785814" cy="792163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35785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8" name="Table 187">
            <a:extLst>
              <a:ext uri="{FF2B5EF4-FFF2-40B4-BE49-F238E27FC236}">
                <a16:creationId xmlns:a16="http://schemas.microsoft.com/office/drawing/2014/main" id="{233FB628-AACB-405C-AE57-7D1BDDC75D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778267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ustainability–Environ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ustainabilit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-Bon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a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am Ti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chnology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chnolog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lescop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mp Unoccupied Works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nant </a:t>
                      </a:r>
                      <a:r>
                        <a:rPr lang="en-US" sz="12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tout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nant Represent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ool Box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op 5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QC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nsaction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nsaction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sh Ca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uc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227" name="Group 226"/>
          <p:cNvGrpSpPr/>
          <p:nvPr/>
        </p:nvGrpSpPr>
        <p:grpSpPr>
          <a:xfrm>
            <a:off x="6919888" y="5404762"/>
            <a:ext cx="838200" cy="842962"/>
            <a:chOff x="6919888" y="5404762"/>
            <a:chExt cx="838200" cy="842962"/>
          </a:xfrm>
        </p:grpSpPr>
        <p:sp>
          <p:nvSpPr>
            <p:cNvPr id="47135" name="Oval 31"/>
            <p:cNvSpPr>
              <a:spLocks noChangeArrowheads="1"/>
            </p:cNvSpPr>
            <p:nvPr/>
          </p:nvSpPr>
          <p:spPr bwMode="auto">
            <a:xfrm>
              <a:off x="6919888" y="5404762"/>
              <a:ext cx="838200" cy="842962"/>
            </a:xfrm>
            <a:prstGeom prst="ellipse">
              <a:avLst/>
            </a:prstGeom>
            <a:solidFill>
              <a:srgbClr val="0092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36" name="Freeform 32"/>
            <p:cNvSpPr>
              <a:spLocks noEditPoints="1"/>
            </p:cNvSpPr>
            <p:nvPr/>
          </p:nvSpPr>
          <p:spPr bwMode="auto">
            <a:xfrm>
              <a:off x="7104038" y="5646062"/>
              <a:ext cx="307975" cy="233362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80" y="62"/>
                </a:cxn>
                <a:cxn ang="0">
                  <a:pos x="82" y="60"/>
                </a:cxn>
                <a:cxn ang="0">
                  <a:pos x="82" y="2"/>
                </a:cxn>
                <a:cxn ang="0">
                  <a:pos x="80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60"/>
                </a:cxn>
                <a:cxn ang="0">
                  <a:pos x="1" y="62"/>
                </a:cxn>
                <a:cxn ang="0">
                  <a:pos x="3" y="4"/>
                </a:cxn>
                <a:cxn ang="0">
                  <a:pos x="79" y="4"/>
                </a:cxn>
                <a:cxn ang="0">
                  <a:pos x="79" y="58"/>
                </a:cxn>
                <a:cxn ang="0">
                  <a:pos x="3" y="58"/>
                </a:cxn>
                <a:cxn ang="0">
                  <a:pos x="3" y="4"/>
                </a:cxn>
              </a:cxnLst>
              <a:rect l="0" t="0" r="r" b="b"/>
              <a:pathLst>
                <a:path w="82" h="62">
                  <a:moveTo>
                    <a:pt x="1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1" y="62"/>
                    <a:pt x="82" y="61"/>
                    <a:pt x="82" y="60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1"/>
                    <a:pt x="81" y="0"/>
                    <a:pt x="8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0" y="62"/>
                    <a:pt x="1" y="62"/>
                  </a:cubicBezTo>
                  <a:close/>
                  <a:moveTo>
                    <a:pt x="3" y="4"/>
                  </a:moveTo>
                  <a:cubicBezTo>
                    <a:pt x="79" y="4"/>
                    <a:pt x="79" y="4"/>
                    <a:pt x="79" y="4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3" y="58"/>
                    <a:pt x="3" y="58"/>
                    <a:pt x="3" y="58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37" name="Freeform 33"/>
            <p:cNvSpPr>
              <a:spLocks noEditPoints="1"/>
            </p:cNvSpPr>
            <p:nvPr/>
          </p:nvSpPr>
          <p:spPr bwMode="auto">
            <a:xfrm>
              <a:off x="7423125" y="5679399"/>
              <a:ext cx="177800" cy="200025"/>
            </a:xfrm>
            <a:custGeom>
              <a:avLst/>
              <a:gdLst/>
              <a:ahLst/>
              <a:cxnLst>
                <a:cxn ang="0">
                  <a:pos x="47" y="23"/>
                </a:cxn>
                <a:cxn ang="0">
                  <a:pos x="31" y="0"/>
                </a:cxn>
                <a:cxn ang="0">
                  <a:pos x="30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6" y="53"/>
                </a:cxn>
                <a:cxn ang="0">
                  <a:pos x="47" y="51"/>
                </a:cxn>
                <a:cxn ang="0">
                  <a:pos x="47" y="24"/>
                </a:cxn>
                <a:cxn ang="0">
                  <a:pos x="47" y="23"/>
                </a:cxn>
                <a:cxn ang="0">
                  <a:pos x="44" y="49"/>
                </a:cxn>
                <a:cxn ang="0">
                  <a:pos x="4" y="49"/>
                </a:cxn>
                <a:cxn ang="0">
                  <a:pos x="4" y="3"/>
                </a:cxn>
                <a:cxn ang="0">
                  <a:pos x="29" y="3"/>
                </a:cxn>
                <a:cxn ang="0">
                  <a:pos x="44" y="25"/>
                </a:cxn>
                <a:cxn ang="0">
                  <a:pos x="44" y="49"/>
                </a:cxn>
              </a:cxnLst>
              <a:rect l="0" t="0" r="r" b="b"/>
              <a:pathLst>
                <a:path w="47" h="53">
                  <a:moveTo>
                    <a:pt x="47" y="23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0" y="0"/>
                    <a:pt x="3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2"/>
                    <a:pt x="1" y="53"/>
                    <a:pt x="2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7" y="53"/>
                    <a:pt x="47" y="52"/>
                    <a:pt x="47" y="51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3"/>
                    <a:pt x="47" y="23"/>
                  </a:cubicBezTo>
                  <a:close/>
                  <a:moveTo>
                    <a:pt x="44" y="49"/>
                  </a:moveTo>
                  <a:cubicBezTo>
                    <a:pt x="4" y="49"/>
                    <a:pt x="4" y="49"/>
                    <a:pt x="4" y="4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44" y="25"/>
                    <a:pt x="44" y="25"/>
                    <a:pt x="44" y="25"/>
                  </a:cubicBezTo>
                  <a:lnTo>
                    <a:pt x="44" y="4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38" name="Freeform 34"/>
            <p:cNvSpPr>
              <a:spLocks noEditPoints="1"/>
            </p:cNvSpPr>
            <p:nvPr/>
          </p:nvSpPr>
          <p:spPr bwMode="auto">
            <a:xfrm>
              <a:off x="7446938" y="5706387"/>
              <a:ext cx="123825" cy="6350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5"/>
                </a:cxn>
                <a:cxn ang="0">
                  <a:pos x="1" y="17"/>
                </a:cxn>
                <a:cxn ang="0">
                  <a:pos x="31" y="17"/>
                </a:cxn>
                <a:cxn ang="0">
                  <a:pos x="31" y="17"/>
                </a:cxn>
                <a:cxn ang="0">
                  <a:pos x="33" y="15"/>
                </a:cxn>
                <a:cxn ang="0">
                  <a:pos x="33" y="14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3" y="13"/>
                </a:cxn>
                <a:cxn ang="0">
                  <a:pos x="3" y="3"/>
                </a:cxn>
                <a:cxn ang="0">
                  <a:pos x="20" y="3"/>
                </a:cxn>
                <a:cxn ang="0">
                  <a:pos x="28" y="13"/>
                </a:cxn>
                <a:cxn ang="0">
                  <a:pos x="3" y="13"/>
                </a:cxn>
              </a:cxnLst>
              <a:rect l="0" t="0" r="r" b="b"/>
              <a:pathLst>
                <a:path w="33" h="17">
                  <a:moveTo>
                    <a:pt x="2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2" y="17"/>
                    <a:pt x="33" y="16"/>
                    <a:pt x="33" y="15"/>
                  </a:cubicBezTo>
                  <a:cubicBezTo>
                    <a:pt x="33" y="15"/>
                    <a:pt x="33" y="14"/>
                    <a:pt x="33" y="1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0"/>
                    <a:pt x="22" y="0"/>
                    <a:pt x="21" y="0"/>
                  </a:cubicBezTo>
                  <a:close/>
                  <a:moveTo>
                    <a:pt x="3" y="1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8" y="13"/>
                    <a:pt x="28" y="13"/>
                    <a:pt x="28" y="13"/>
                  </a:cubicBez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39" name="Freeform 35"/>
            <p:cNvSpPr>
              <a:spLocks noEditPoints="1"/>
            </p:cNvSpPr>
            <p:nvPr/>
          </p:nvSpPr>
          <p:spPr bwMode="auto">
            <a:xfrm>
              <a:off x="7078638" y="5885774"/>
              <a:ext cx="522288" cy="57150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3"/>
                </a:cxn>
                <a:cxn ang="0">
                  <a:pos x="2" y="15"/>
                </a:cxn>
                <a:cxn ang="0">
                  <a:pos x="16" y="15"/>
                </a:cxn>
                <a:cxn ang="0">
                  <a:pos x="17" y="14"/>
                </a:cxn>
                <a:cxn ang="0">
                  <a:pos x="26" y="9"/>
                </a:cxn>
                <a:cxn ang="0">
                  <a:pos x="36" y="14"/>
                </a:cxn>
                <a:cxn ang="0">
                  <a:pos x="37" y="15"/>
                </a:cxn>
                <a:cxn ang="0">
                  <a:pos x="103" y="15"/>
                </a:cxn>
                <a:cxn ang="0">
                  <a:pos x="105" y="14"/>
                </a:cxn>
                <a:cxn ang="0">
                  <a:pos x="114" y="9"/>
                </a:cxn>
                <a:cxn ang="0">
                  <a:pos x="124" y="14"/>
                </a:cxn>
                <a:cxn ang="0">
                  <a:pos x="125" y="15"/>
                </a:cxn>
                <a:cxn ang="0">
                  <a:pos x="138" y="15"/>
                </a:cxn>
                <a:cxn ang="0">
                  <a:pos x="139" y="13"/>
                </a:cxn>
                <a:cxn ang="0">
                  <a:pos x="139" y="2"/>
                </a:cxn>
                <a:cxn ang="0">
                  <a:pos x="138" y="0"/>
                </a:cxn>
                <a:cxn ang="0">
                  <a:pos x="136" y="11"/>
                </a:cxn>
                <a:cxn ang="0">
                  <a:pos x="126" y="11"/>
                </a:cxn>
                <a:cxn ang="0">
                  <a:pos x="114" y="6"/>
                </a:cxn>
                <a:cxn ang="0">
                  <a:pos x="102" y="11"/>
                </a:cxn>
                <a:cxn ang="0">
                  <a:pos x="38" y="11"/>
                </a:cxn>
                <a:cxn ang="0">
                  <a:pos x="26" y="6"/>
                </a:cxn>
                <a:cxn ang="0">
                  <a:pos x="15" y="11"/>
                </a:cxn>
                <a:cxn ang="0">
                  <a:pos x="3" y="11"/>
                </a:cxn>
                <a:cxn ang="0">
                  <a:pos x="3" y="4"/>
                </a:cxn>
                <a:cxn ang="0">
                  <a:pos x="136" y="4"/>
                </a:cxn>
                <a:cxn ang="0">
                  <a:pos x="136" y="11"/>
                </a:cxn>
              </a:cxnLst>
              <a:rect l="0" t="0" r="r" b="b"/>
              <a:pathLst>
                <a:path w="139" h="15">
                  <a:moveTo>
                    <a:pt x="13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7" y="15"/>
                    <a:pt x="17" y="14"/>
                  </a:cubicBezTo>
                  <a:cubicBezTo>
                    <a:pt x="19" y="11"/>
                    <a:pt x="23" y="9"/>
                    <a:pt x="26" y="9"/>
                  </a:cubicBezTo>
                  <a:cubicBezTo>
                    <a:pt x="30" y="9"/>
                    <a:pt x="34" y="11"/>
                    <a:pt x="36" y="14"/>
                  </a:cubicBezTo>
                  <a:cubicBezTo>
                    <a:pt x="36" y="15"/>
                    <a:pt x="37" y="15"/>
                    <a:pt x="37" y="15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4" y="15"/>
                    <a:pt x="104" y="15"/>
                    <a:pt x="105" y="14"/>
                  </a:cubicBezTo>
                  <a:cubicBezTo>
                    <a:pt x="107" y="11"/>
                    <a:pt x="111" y="9"/>
                    <a:pt x="114" y="9"/>
                  </a:cubicBezTo>
                  <a:cubicBezTo>
                    <a:pt x="118" y="9"/>
                    <a:pt x="122" y="11"/>
                    <a:pt x="124" y="14"/>
                  </a:cubicBezTo>
                  <a:cubicBezTo>
                    <a:pt x="124" y="15"/>
                    <a:pt x="125" y="15"/>
                    <a:pt x="125" y="15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9" y="15"/>
                    <a:pt x="139" y="14"/>
                    <a:pt x="139" y="13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9" y="1"/>
                    <a:pt x="139" y="0"/>
                    <a:pt x="138" y="0"/>
                  </a:cubicBezTo>
                  <a:close/>
                  <a:moveTo>
                    <a:pt x="136" y="11"/>
                  </a:moveTo>
                  <a:cubicBezTo>
                    <a:pt x="126" y="11"/>
                    <a:pt x="126" y="11"/>
                    <a:pt x="126" y="11"/>
                  </a:cubicBezTo>
                  <a:cubicBezTo>
                    <a:pt x="123" y="8"/>
                    <a:pt x="119" y="6"/>
                    <a:pt x="114" y="6"/>
                  </a:cubicBezTo>
                  <a:cubicBezTo>
                    <a:pt x="110" y="6"/>
                    <a:pt x="105" y="8"/>
                    <a:pt x="102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5" y="8"/>
                    <a:pt x="31" y="6"/>
                    <a:pt x="26" y="6"/>
                  </a:cubicBezTo>
                  <a:cubicBezTo>
                    <a:pt x="22" y="6"/>
                    <a:pt x="18" y="8"/>
                    <a:pt x="15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36" y="4"/>
                    <a:pt x="136" y="4"/>
                    <a:pt x="136" y="4"/>
                  </a:cubicBezTo>
                  <a:lnTo>
                    <a:pt x="136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40" name="Freeform 36"/>
            <p:cNvSpPr>
              <a:spLocks noEditPoints="1"/>
            </p:cNvSpPr>
            <p:nvPr/>
          </p:nvSpPr>
          <p:spPr bwMode="auto">
            <a:xfrm>
              <a:off x="7138963" y="5927049"/>
              <a:ext cx="77788" cy="84137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10" y="22"/>
                </a:cxn>
                <a:cxn ang="0">
                  <a:pos x="21" y="11"/>
                </a:cxn>
                <a:cxn ang="0">
                  <a:pos x="10" y="0"/>
                </a:cxn>
                <a:cxn ang="0">
                  <a:pos x="10" y="18"/>
                </a:cxn>
                <a:cxn ang="0">
                  <a:pos x="3" y="11"/>
                </a:cxn>
                <a:cxn ang="0">
                  <a:pos x="10" y="4"/>
                </a:cxn>
                <a:cxn ang="0">
                  <a:pos x="18" y="11"/>
                </a:cxn>
                <a:cxn ang="0">
                  <a:pos x="10" y="18"/>
                </a:cxn>
              </a:cxnLst>
              <a:rect l="0" t="0" r="r" b="b"/>
              <a:pathLst>
                <a:path w="21" h="22">
                  <a:moveTo>
                    <a:pt x="10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0" y="22"/>
                  </a:cubicBezTo>
                  <a:cubicBezTo>
                    <a:pt x="16" y="22"/>
                    <a:pt x="21" y="17"/>
                    <a:pt x="21" y="11"/>
                  </a:cubicBezTo>
                  <a:cubicBezTo>
                    <a:pt x="21" y="5"/>
                    <a:pt x="16" y="0"/>
                    <a:pt x="10" y="0"/>
                  </a:cubicBezTo>
                  <a:close/>
                  <a:moveTo>
                    <a:pt x="10" y="18"/>
                  </a:moveTo>
                  <a:cubicBezTo>
                    <a:pt x="7" y="18"/>
                    <a:pt x="3" y="15"/>
                    <a:pt x="3" y="11"/>
                  </a:cubicBezTo>
                  <a:cubicBezTo>
                    <a:pt x="3" y="7"/>
                    <a:pt x="7" y="4"/>
                    <a:pt x="10" y="4"/>
                  </a:cubicBezTo>
                  <a:cubicBezTo>
                    <a:pt x="14" y="4"/>
                    <a:pt x="18" y="7"/>
                    <a:pt x="18" y="11"/>
                  </a:cubicBezTo>
                  <a:cubicBezTo>
                    <a:pt x="18" y="15"/>
                    <a:pt x="14" y="18"/>
                    <a:pt x="10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41" name="Freeform 37"/>
            <p:cNvSpPr>
              <a:spLocks noEditPoints="1"/>
            </p:cNvSpPr>
            <p:nvPr/>
          </p:nvSpPr>
          <p:spPr bwMode="auto">
            <a:xfrm>
              <a:off x="7469163" y="5927049"/>
              <a:ext cx="79375" cy="8413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11"/>
                </a:cxn>
                <a:cxn ang="0">
                  <a:pos x="11" y="22"/>
                </a:cxn>
                <a:cxn ang="0">
                  <a:pos x="21" y="11"/>
                </a:cxn>
                <a:cxn ang="0">
                  <a:pos x="11" y="0"/>
                </a:cxn>
                <a:cxn ang="0">
                  <a:pos x="11" y="18"/>
                </a:cxn>
                <a:cxn ang="0">
                  <a:pos x="3" y="11"/>
                </a:cxn>
                <a:cxn ang="0">
                  <a:pos x="11" y="4"/>
                </a:cxn>
                <a:cxn ang="0">
                  <a:pos x="18" y="11"/>
                </a:cxn>
                <a:cxn ang="0">
                  <a:pos x="11" y="18"/>
                </a:cxn>
              </a:cxnLst>
              <a:rect l="0" t="0" r="r" b="b"/>
              <a:pathLst>
                <a:path w="21" h="22">
                  <a:moveTo>
                    <a:pt x="11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7" y="22"/>
                    <a:pt x="21" y="17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lose/>
                  <a:moveTo>
                    <a:pt x="11" y="18"/>
                  </a:moveTo>
                  <a:cubicBezTo>
                    <a:pt x="7" y="18"/>
                    <a:pt x="3" y="15"/>
                    <a:pt x="3" y="11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5" y="4"/>
                    <a:pt x="18" y="7"/>
                    <a:pt x="18" y="11"/>
                  </a:cubicBezTo>
                  <a:cubicBezTo>
                    <a:pt x="18" y="15"/>
                    <a:pt x="15" y="18"/>
                    <a:pt x="11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42" name="Freeform 38"/>
            <p:cNvSpPr>
              <a:spLocks noEditPoints="1"/>
            </p:cNvSpPr>
            <p:nvPr/>
          </p:nvSpPr>
          <p:spPr bwMode="auto">
            <a:xfrm>
              <a:off x="6950050" y="5439687"/>
              <a:ext cx="777875" cy="773112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45" name="Group 41"/>
          <p:cNvGrpSpPr>
            <a:grpSpLocks noChangeAspect="1"/>
          </p:cNvGrpSpPr>
          <p:nvPr/>
        </p:nvGrpSpPr>
        <p:grpSpPr bwMode="auto">
          <a:xfrm>
            <a:off x="340519" y="222251"/>
            <a:ext cx="847725" cy="844551"/>
            <a:chOff x="211" y="140"/>
            <a:chExt cx="534" cy="532"/>
          </a:xfrm>
        </p:grpSpPr>
        <p:sp>
          <p:nvSpPr>
            <p:cNvPr id="47146" name="Oval 42"/>
            <p:cNvSpPr>
              <a:spLocks noChangeArrowheads="1"/>
            </p:cNvSpPr>
            <p:nvPr/>
          </p:nvSpPr>
          <p:spPr bwMode="auto">
            <a:xfrm>
              <a:off x="211" y="140"/>
              <a:ext cx="534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47" name="Freeform 43"/>
            <p:cNvSpPr>
              <a:spLocks noEditPoints="1"/>
            </p:cNvSpPr>
            <p:nvPr/>
          </p:nvSpPr>
          <p:spPr bwMode="auto">
            <a:xfrm>
              <a:off x="232" y="159"/>
              <a:ext cx="491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5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0" y="103"/>
                </a:cxn>
                <a:cxn ang="0">
                  <a:pos x="103" y="5"/>
                </a:cxn>
              </a:cxnLst>
              <a:rect l="0" t="0" r="r" b="b"/>
              <a:pathLst>
                <a:path w="205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5" y="46"/>
                    <a:pt x="205" y="103"/>
                  </a:cubicBezTo>
                  <a:cubicBezTo>
                    <a:pt x="205" y="160"/>
                    <a:pt x="159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6" y="201"/>
                    <a:pt x="200" y="157"/>
                    <a:pt x="200" y="103"/>
                  </a:cubicBezTo>
                  <a:cubicBezTo>
                    <a:pt x="200" y="49"/>
                    <a:pt x="156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48" name="Freeform 44"/>
            <p:cNvSpPr>
              <a:spLocks noEditPoints="1"/>
            </p:cNvSpPr>
            <p:nvPr/>
          </p:nvSpPr>
          <p:spPr bwMode="auto">
            <a:xfrm>
              <a:off x="318" y="236"/>
              <a:ext cx="322" cy="304"/>
            </a:xfrm>
            <a:custGeom>
              <a:avLst/>
              <a:gdLst/>
              <a:ahLst/>
              <a:cxnLst>
                <a:cxn ang="0">
                  <a:pos x="259" y="304"/>
                </a:cxn>
                <a:cxn ang="0">
                  <a:pos x="161" y="252"/>
                </a:cxn>
                <a:cxn ang="0">
                  <a:pos x="63" y="304"/>
                </a:cxn>
                <a:cxn ang="0">
                  <a:pos x="82" y="194"/>
                </a:cxn>
                <a:cxn ang="0">
                  <a:pos x="0" y="115"/>
                </a:cxn>
                <a:cxn ang="0">
                  <a:pos x="111" y="101"/>
                </a:cxn>
                <a:cxn ang="0">
                  <a:pos x="161" y="0"/>
                </a:cxn>
                <a:cxn ang="0">
                  <a:pos x="211" y="101"/>
                </a:cxn>
                <a:cxn ang="0">
                  <a:pos x="322" y="115"/>
                </a:cxn>
                <a:cxn ang="0">
                  <a:pos x="242" y="194"/>
                </a:cxn>
                <a:cxn ang="0">
                  <a:pos x="259" y="304"/>
                </a:cxn>
                <a:cxn ang="0">
                  <a:pos x="161" y="242"/>
                </a:cxn>
                <a:cxn ang="0">
                  <a:pos x="250" y="287"/>
                </a:cxn>
                <a:cxn ang="0">
                  <a:pos x="233" y="192"/>
                </a:cxn>
                <a:cxn ang="0">
                  <a:pos x="302" y="122"/>
                </a:cxn>
                <a:cxn ang="0">
                  <a:pos x="204" y="108"/>
                </a:cxn>
                <a:cxn ang="0">
                  <a:pos x="161" y="19"/>
                </a:cxn>
                <a:cxn ang="0">
                  <a:pos x="118" y="108"/>
                </a:cxn>
                <a:cxn ang="0">
                  <a:pos x="20" y="122"/>
                </a:cxn>
                <a:cxn ang="0">
                  <a:pos x="89" y="192"/>
                </a:cxn>
                <a:cxn ang="0">
                  <a:pos x="72" y="287"/>
                </a:cxn>
                <a:cxn ang="0">
                  <a:pos x="161" y="242"/>
                </a:cxn>
              </a:cxnLst>
              <a:rect l="0" t="0" r="r" b="b"/>
              <a:pathLst>
                <a:path w="322" h="304">
                  <a:moveTo>
                    <a:pt x="259" y="304"/>
                  </a:moveTo>
                  <a:lnTo>
                    <a:pt x="161" y="252"/>
                  </a:lnTo>
                  <a:lnTo>
                    <a:pt x="63" y="304"/>
                  </a:lnTo>
                  <a:lnTo>
                    <a:pt x="82" y="194"/>
                  </a:lnTo>
                  <a:lnTo>
                    <a:pt x="0" y="115"/>
                  </a:lnTo>
                  <a:lnTo>
                    <a:pt x="111" y="101"/>
                  </a:lnTo>
                  <a:lnTo>
                    <a:pt x="161" y="0"/>
                  </a:lnTo>
                  <a:lnTo>
                    <a:pt x="211" y="101"/>
                  </a:lnTo>
                  <a:lnTo>
                    <a:pt x="322" y="115"/>
                  </a:lnTo>
                  <a:lnTo>
                    <a:pt x="242" y="194"/>
                  </a:lnTo>
                  <a:lnTo>
                    <a:pt x="259" y="304"/>
                  </a:lnTo>
                  <a:close/>
                  <a:moveTo>
                    <a:pt x="161" y="242"/>
                  </a:moveTo>
                  <a:lnTo>
                    <a:pt x="250" y="287"/>
                  </a:lnTo>
                  <a:lnTo>
                    <a:pt x="233" y="192"/>
                  </a:lnTo>
                  <a:lnTo>
                    <a:pt x="302" y="122"/>
                  </a:lnTo>
                  <a:lnTo>
                    <a:pt x="204" y="108"/>
                  </a:lnTo>
                  <a:lnTo>
                    <a:pt x="161" y="19"/>
                  </a:lnTo>
                  <a:lnTo>
                    <a:pt x="118" y="108"/>
                  </a:lnTo>
                  <a:lnTo>
                    <a:pt x="20" y="122"/>
                  </a:lnTo>
                  <a:lnTo>
                    <a:pt x="89" y="192"/>
                  </a:lnTo>
                  <a:lnTo>
                    <a:pt x="72" y="287"/>
                  </a:lnTo>
                  <a:lnTo>
                    <a:pt x="161" y="2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51" name="Group 47"/>
          <p:cNvGrpSpPr>
            <a:grpSpLocks noChangeAspect="1"/>
          </p:cNvGrpSpPr>
          <p:nvPr/>
        </p:nvGrpSpPr>
        <p:grpSpPr bwMode="auto">
          <a:xfrm>
            <a:off x="1476375" y="250825"/>
            <a:ext cx="779463" cy="784224"/>
            <a:chOff x="926" y="158"/>
            <a:chExt cx="491" cy="494"/>
          </a:xfrm>
        </p:grpSpPr>
        <p:sp>
          <p:nvSpPr>
            <p:cNvPr id="47152" name="Freeform 48"/>
            <p:cNvSpPr>
              <a:spLocks noEditPoints="1"/>
            </p:cNvSpPr>
            <p:nvPr/>
          </p:nvSpPr>
          <p:spPr bwMode="auto">
            <a:xfrm>
              <a:off x="926" y="158"/>
              <a:ext cx="491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5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0" y="103"/>
                </a:cxn>
                <a:cxn ang="0">
                  <a:pos x="103" y="5"/>
                </a:cxn>
              </a:cxnLst>
              <a:rect l="0" t="0" r="r" b="b"/>
              <a:pathLst>
                <a:path w="205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5" y="46"/>
                    <a:pt x="205" y="103"/>
                  </a:cubicBezTo>
                  <a:cubicBezTo>
                    <a:pt x="205" y="160"/>
                    <a:pt x="159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6" y="201"/>
                    <a:pt x="200" y="157"/>
                    <a:pt x="200" y="103"/>
                  </a:cubicBezTo>
                  <a:cubicBezTo>
                    <a:pt x="200" y="49"/>
                    <a:pt x="156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53" name="Freeform 49"/>
            <p:cNvSpPr>
              <a:spLocks noEditPoints="1"/>
            </p:cNvSpPr>
            <p:nvPr/>
          </p:nvSpPr>
          <p:spPr bwMode="auto">
            <a:xfrm>
              <a:off x="1012" y="235"/>
              <a:ext cx="321" cy="305"/>
            </a:xfrm>
            <a:custGeom>
              <a:avLst/>
              <a:gdLst/>
              <a:ahLst/>
              <a:cxnLst>
                <a:cxn ang="0">
                  <a:pos x="259" y="305"/>
                </a:cxn>
                <a:cxn ang="0">
                  <a:pos x="161" y="252"/>
                </a:cxn>
                <a:cxn ang="0">
                  <a:pos x="62" y="305"/>
                </a:cxn>
                <a:cxn ang="0">
                  <a:pos x="81" y="194"/>
                </a:cxn>
                <a:cxn ang="0">
                  <a:pos x="0" y="115"/>
                </a:cxn>
                <a:cxn ang="0">
                  <a:pos x="110" y="101"/>
                </a:cxn>
                <a:cxn ang="0">
                  <a:pos x="161" y="0"/>
                </a:cxn>
                <a:cxn ang="0">
                  <a:pos x="211" y="101"/>
                </a:cxn>
                <a:cxn ang="0">
                  <a:pos x="321" y="115"/>
                </a:cxn>
                <a:cxn ang="0">
                  <a:pos x="242" y="194"/>
                </a:cxn>
                <a:cxn ang="0">
                  <a:pos x="259" y="305"/>
                </a:cxn>
                <a:cxn ang="0">
                  <a:pos x="161" y="242"/>
                </a:cxn>
                <a:cxn ang="0">
                  <a:pos x="249" y="288"/>
                </a:cxn>
                <a:cxn ang="0">
                  <a:pos x="232" y="192"/>
                </a:cxn>
                <a:cxn ang="0">
                  <a:pos x="302" y="122"/>
                </a:cxn>
                <a:cxn ang="0">
                  <a:pos x="204" y="108"/>
                </a:cxn>
                <a:cxn ang="0">
                  <a:pos x="161" y="19"/>
                </a:cxn>
                <a:cxn ang="0">
                  <a:pos x="117" y="108"/>
                </a:cxn>
                <a:cxn ang="0">
                  <a:pos x="19" y="122"/>
                </a:cxn>
                <a:cxn ang="0">
                  <a:pos x="89" y="192"/>
                </a:cxn>
                <a:cxn ang="0">
                  <a:pos x="72" y="288"/>
                </a:cxn>
                <a:cxn ang="0">
                  <a:pos x="161" y="242"/>
                </a:cxn>
              </a:cxnLst>
              <a:rect l="0" t="0" r="r" b="b"/>
              <a:pathLst>
                <a:path w="321" h="305">
                  <a:moveTo>
                    <a:pt x="259" y="305"/>
                  </a:moveTo>
                  <a:lnTo>
                    <a:pt x="161" y="252"/>
                  </a:lnTo>
                  <a:lnTo>
                    <a:pt x="62" y="305"/>
                  </a:lnTo>
                  <a:lnTo>
                    <a:pt x="81" y="194"/>
                  </a:lnTo>
                  <a:lnTo>
                    <a:pt x="0" y="115"/>
                  </a:lnTo>
                  <a:lnTo>
                    <a:pt x="110" y="101"/>
                  </a:lnTo>
                  <a:lnTo>
                    <a:pt x="161" y="0"/>
                  </a:lnTo>
                  <a:lnTo>
                    <a:pt x="211" y="101"/>
                  </a:lnTo>
                  <a:lnTo>
                    <a:pt x="321" y="115"/>
                  </a:lnTo>
                  <a:lnTo>
                    <a:pt x="242" y="194"/>
                  </a:lnTo>
                  <a:lnTo>
                    <a:pt x="259" y="305"/>
                  </a:lnTo>
                  <a:close/>
                  <a:moveTo>
                    <a:pt x="161" y="242"/>
                  </a:moveTo>
                  <a:lnTo>
                    <a:pt x="249" y="288"/>
                  </a:lnTo>
                  <a:lnTo>
                    <a:pt x="232" y="192"/>
                  </a:lnTo>
                  <a:lnTo>
                    <a:pt x="302" y="122"/>
                  </a:lnTo>
                  <a:lnTo>
                    <a:pt x="204" y="108"/>
                  </a:lnTo>
                  <a:lnTo>
                    <a:pt x="161" y="19"/>
                  </a:lnTo>
                  <a:lnTo>
                    <a:pt x="117" y="108"/>
                  </a:lnTo>
                  <a:lnTo>
                    <a:pt x="19" y="122"/>
                  </a:lnTo>
                  <a:lnTo>
                    <a:pt x="89" y="192"/>
                  </a:lnTo>
                  <a:lnTo>
                    <a:pt x="72" y="288"/>
                  </a:lnTo>
                  <a:lnTo>
                    <a:pt x="161" y="24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56" name="Group 52"/>
          <p:cNvGrpSpPr>
            <a:grpSpLocks noChangeAspect="1"/>
          </p:cNvGrpSpPr>
          <p:nvPr/>
        </p:nvGrpSpPr>
        <p:grpSpPr bwMode="auto">
          <a:xfrm>
            <a:off x="2532062" y="219075"/>
            <a:ext cx="850900" cy="850900"/>
            <a:chOff x="1598" y="138"/>
            <a:chExt cx="536" cy="536"/>
          </a:xfrm>
        </p:grpSpPr>
        <p:sp>
          <p:nvSpPr>
            <p:cNvPr id="47157" name="Oval 53"/>
            <p:cNvSpPr>
              <a:spLocks noChangeArrowheads="1"/>
            </p:cNvSpPr>
            <p:nvPr/>
          </p:nvSpPr>
          <p:spPr bwMode="auto">
            <a:xfrm>
              <a:off x="1598" y="138"/>
              <a:ext cx="536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58" name="Freeform 54"/>
            <p:cNvSpPr>
              <a:spLocks noEditPoints="1"/>
            </p:cNvSpPr>
            <p:nvPr/>
          </p:nvSpPr>
          <p:spPr bwMode="auto">
            <a:xfrm>
              <a:off x="1619" y="159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59" name="Freeform 55"/>
            <p:cNvSpPr>
              <a:spLocks noEditPoints="1"/>
            </p:cNvSpPr>
            <p:nvPr/>
          </p:nvSpPr>
          <p:spPr bwMode="auto">
            <a:xfrm>
              <a:off x="1763" y="255"/>
              <a:ext cx="132" cy="280"/>
            </a:xfrm>
            <a:custGeom>
              <a:avLst/>
              <a:gdLst/>
              <a:ahLst/>
              <a:cxnLst>
                <a:cxn ang="0">
                  <a:pos x="50" y="93"/>
                </a:cxn>
                <a:cxn ang="0">
                  <a:pos x="39" y="54"/>
                </a:cxn>
                <a:cxn ang="0">
                  <a:pos x="45" y="52"/>
                </a:cxn>
                <a:cxn ang="0">
                  <a:pos x="44" y="42"/>
                </a:cxn>
                <a:cxn ang="0">
                  <a:pos x="51" y="32"/>
                </a:cxn>
                <a:cxn ang="0">
                  <a:pos x="37" y="10"/>
                </a:cxn>
                <a:cxn ang="0">
                  <a:pos x="18" y="10"/>
                </a:cxn>
                <a:cxn ang="0">
                  <a:pos x="4" y="32"/>
                </a:cxn>
                <a:cxn ang="0">
                  <a:pos x="11" y="42"/>
                </a:cxn>
                <a:cxn ang="0">
                  <a:pos x="10" y="52"/>
                </a:cxn>
                <a:cxn ang="0">
                  <a:pos x="16" y="54"/>
                </a:cxn>
                <a:cxn ang="0">
                  <a:pos x="5" y="93"/>
                </a:cxn>
                <a:cxn ang="0">
                  <a:pos x="0" y="101"/>
                </a:cxn>
                <a:cxn ang="0">
                  <a:pos x="0" y="115"/>
                </a:cxn>
                <a:cxn ang="0">
                  <a:pos x="53" y="117"/>
                </a:cxn>
                <a:cxn ang="0">
                  <a:pos x="55" y="101"/>
                </a:cxn>
                <a:cxn ang="0">
                  <a:pos x="50" y="97"/>
                </a:cxn>
                <a:cxn ang="0">
                  <a:pos x="4" y="113"/>
                </a:cxn>
                <a:cxn ang="0">
                  <a:pos x="7" y="100"/>
                </a:cxn>
                <a:cxn ang="0">
                  <a:pos x="8" y="94"/>
                </a:cxn>
                <a:cxn ang="0">
                  <a:pos x="18" y="51"/>
                </a:cxn>
                <a:cxn ang="0">
                  <a:pos x="14" y="45"/>
                </a:cxn>
                <a:cxn ang="0">
                  <a:pos x="16" y="44"/>
                </a:cxn>
                <a:cxn ang="0">
                  <a:pos x="8" y="33"/>
                </a:cxn>
                <a:cxn ang="0">
                  <a:pos x="25" y="17"/>
                </a:cxn>
                <a:cxn ang="0">
                  <a:pos x="22" y="10"/>
                </a:cxn>
                <a:cxn ang="0">
                  <a:pos x="33" y="10"/>
                </a:cxn>
                <a:cxn ang="0">
                  <a:pos x="30" y="17"/>
                </a:cxn>
                <a:cxn ang="0">
                  <a:pos x="47" y="33"/>
                </a:cxn>
                <a:cxn ang="0">
                  <a:pos x="39" y="44"/>
                </a:cxn>
                <a:cxn ang="0">
                  <a:pos x="42" y="45"/>
                </a:cxn>
                <a:cxn ang="0">
                  <a:pos x="37" y="51"/>
                </a:cxn>
                <a:cxn ang="0">
                  <a:pos x="47" y="94"/>
                </a:cxn>
                <a:cxn ang="0">
                  <a:pos x="49" y="100"/>
                </a:cxn>
                <a:cxn ang="0">
                  <a:pos x="52" y="113"/>
                </a:cxn>
              </a:cxnLst>
              <a:rect l="0" t="0" r="r" b="b"/>
              <a:pathLst>
                <a:path w="55" h="117">
                  <a:moveTo>
                    <a:pt x="50" y="97"/>
                  </a:move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0" y="92"/>
                    <a:pt x="50" y="92"/>
                  </a:cubicBezTo>
                  <a:cubicBezTo>
                    <a:pt x="36" y="83"/>
                    <a:pt x="38" y="60"/>
                    <a:pt x="39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4" y="54"/>
                    <a:pt x="45" y="53"/>
                    <a:pt x="45" y="5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3"/>
                    <a:pt x="45" y="42"/>
                    <a:pt x="44" y="42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3"/>
                    <a:pt x="51" y="32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6" y="14"/>
                    <a:pt x="37" y="12"/>
                    <a:pt x="37" y="10"/>
                  </a:cubicBezTo>
                  <a:cubicBezTo>
                    <a:pt x="37" y="4"/>
                    <a:pt x="33" y="0"/>
                    <a:pt x="28" y="0"/>
                  </a:cubicBezTo>
                  <a:cubicBezTo>
                    <a:pt x="22" y="0"/>
                    <a:pt x="18" y="4"/>
                    <a:pt x="18" y="10"/>
                  </a:cubicBezTo>
                  <a:cubicBezTo>
                    <a:pt x="18" y="12"/>
                    <a:pt x="19" y="14"/>
                    <a:pt x="21" y="16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0" y="42"/>
                    <a:pt x="10" y="43"/>
                    <a:pt x="10" y="44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3"/>
                    <a:pt x="11" y="54"/>
                    <a:pt x="12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60"/>
                    <a:pt x="19" y="83"/>
                    <a:pt x="5" y="92"/>
                  </a:cubicBezTo>
                  <a:cubicBezTo>
                    <a:pt x="5" y="92"/>
                    <a:pt x="5" y="93"/>
                    <a:pt x="5" y="93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3" y="97"/>
                    <a:pt x="1" y="98"/>
                    <a:pt x="0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1" y="117"/>
                    <a:pt x="2" y="117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4" y="117"/>
                    <a:pt x="55" y="116"/>
                    <a:pt x="55" y="115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4" y="98"/>
                    <a:pt x="52" y="97"/>
                    <a:pt x="50" y="97"/>
                  </a:cubicBezTo>
                  <a:close/>
                  <a:moveTo>
                    <a:pt x="52" y="1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1"/>
                    <a:pt x="6" y="101"/>
                    <a:pt x="7" y="100"/>
                  </a:cubicBezTo>
                  <a:cubicBezTo>
                    <a:pt x="8" y="100"/>
                    <a:pt x="8" y="100"/>
                    <a:pt x="8" y="99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25" y="82"/>
                    <a:pt x="20" y="53"/>
                    <a:pt x="19" y="52"/>
                  </a:cubicBezTo>
                  <a:cubicBezTo>
                    <a:pt x="19" y="51"/>
                    <a:pt x="19" y="51"/>
                    <a:pt x="18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5"/>
                    <a:pt x="16" y="45"/>
                    <a:pt x="16" y="44"/>
                  </a:cubicBezTo>
                  <a:cubicBezTo>
                    <a:pt x="16" y="44"/>
                    <a:pt x="16" y="43"/>
                    <a:pt x="16" y="42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7"/>
                    <a:pt x="25" y="17"/>
                  </a:cubicBezTo>
                  <a:cubicBezTo>
                    <a:pt x="26" y="16"/>
                    <a:pt x="25" y="15"/>
                    <a:pt x="25" y="15"/>
                  </a:cubicBezTo>
                  <a:cubicBezTo>
                    <a:pt x="23" y="13"/>
                    <a:pt x="22" y="12"/>
                    <a:pt x="22" y="10"/>
                  </a:cubicBezTo>
                  <a:cubicBezTo>
                    <a:pt x="22" y="6"/>
                    <a:pt x="24" y="4"/>
                    <a:pt x="28" y="4"/>
                  </a:cubicBezTo>
                  <a:cubicBezTo>
                    <a:pt x="31" y="4"/>
                    <a:pt x="33" y="6"/>
                    <a:pt x="33" y="10"/>
                  </a:cubicBezTo>
                  <a:cubicBezTo>
                    <a:pt x="33" y="12"/>
                    <a:pt x="32" y="13"/>
                    <a:pt x="31" y="15"/>
                  </a:cubicBezTo>
                  <a:cubicBezTo>
                    <a:pt x="30" y="15"/>
                    <a:pt x="30" y="16"/>
                    <a:pt x="30" y="17"/>
                  </a:cubicBezTo>
                  <a:cubicBezTo>
                    <a:pt x="30" y="17"/>
                    <a:pt x="31" y="18"/>
                    <a:pt x="31" y="18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43"/>
                    <a:pt x="39" y="44"/>
                    <a:pt x="39" y="44"/>
                  </a:cubicBezTo>
                  <a:cubicBezTo>
                    <a:pt x="39" y="45"/>
                    <a:pt x="40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6" y="51"/>
                    <a:pt x="36" y="52"/>
                  </a:cubicBezTo>
                  <a:cubicBezTo>
                    <a:pt x="35" y="53"/>
                    <a:pt x="31" y="82"/>
                    <a:pt x="47" y="94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100"/>
                    <a:pt x="48" y="100"/>
                    <a:pt x="49" y="100"/>
                  </a:cubicBezTo>
                  <a:cubicBezTo>
                    <a:pt x="49" y="101"/>
                    <a:pt x="51" y="101"/>
                    <a:pt x="52" y="102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60" name="Freeform 56"/>
            <p:cNvSpPr>
              <a:spLocks noEditPoints="1"/>
            </p:cNvSpPr>
            <p:nvPr/>
          </p:nvSpPr>
          <p:spPr bwMode="auto">
            <a:xfrm>
              <a:off x="1909" y="365"/>
              <a:ext cx="84" cy="130"/>
            </a:xfrm>
            <a:custGeom>
              <a:avLst/>
              <a:gdLst/>
              <a:ahLst/>
              <a:cxnLst>
                <a:cxn ang="0">
                  <a:pos x="32" y="41"/>
                </a:cxn>
                <a:cxn ang="0">
                  <a:pos x="29" y="39"/>
                </a:cxn>
                <a:cxn ang="0">
                  <a:pos x="29" y="38"/>
                </a:cxn>
                <a:cxn ang="0">
                  <a:pos x="28" y="38"/>
                </a:cxn>
                <a:cxn ang="0">
                  <a:pos x="24" y="19"/>
                </a:cxn>
                <a:cxn ang="0">
                  <a:pos x="28" y="11"/>
                </a:cxn>
                <a:cxn ang="0">
                  <a:pos x="18" y="0"/>
                </a:cxn>
                <a:cxn ang="0">
                  <a:pos x="7" y="11"/>
                </a:cxn>
                <a:cxn ang="0">
                  <a:pos x="11" y="19"/>
                </a:cxn>
                <a:cxn ang="0">
                  <a:pos x="7" y="38"/>
                </a:cxn>
                <a:cxn ang="0">
                  <a:pos x="7" y="38"/>
                </a:cxn>
                <a:cxn ang="0">
                  <a:pos x="6" y="39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54"/>
                </a:cxn>
                <a:cxn ang="0">
                  <a:pos x="34" y="54"/>
                </a:cxn>
                <a:cxn ang="0">
                  <a:pos x="35" y="52"/>
                </a:cxn>
                <a:cxn ang="0">
                  <a:pos x="35" y="44"/>
                </a:cxn>
                <a:cxn ang="0">
                  <a:pos x="32" y="41"/>
                </a:cxn>
                <a:cxn ang="0">
                  <a:pos x="32" y="50"/>
                </a:cxn>
                <a:cxn ang="0">
                  <a:pos x="4" y="5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5" y="44"/>
                </a:cxn>
                <a:cxn ang="0">
                  <a:pos x="7" y="43"/>
                </a:cxn>
                <a:cxn ang="0">
                  <a:pos x="7" y="42"/>
                </a:cxn>
                <a:cxn ang="0">
                  <a:pos x="8" y="42"/>
                </a:cxn>
                <a:cxn ang="0">
                  <a:pos x="9" y="42"/>
                </a:cxn>
                <a:cxn ang="0">
                  <a:pos x="15" y="17"/>
                </a:cxn>
                <a:cxn ang="0">
                  <a:pos x="14" y="16"/>
                </a:cxn>
                <a:cxn ang="0">
                  <a:pos x="11" y="11"/>
                </a:cxn>
                <a:cxn ang="0">
                  <a:pos x="18" y="4"/>
                </a:cxn>
                <a:cxn ang="0">
                  <a:pos x="25" y="11"/>
                </a:cxn>
                <a:cxn ang="0">
                  <a:pos x="22" y="16"/>
                </a:cxn>
                <a:cxn ang="0">
                  <a:pos x="21" y="17"/>
                </a:cxn>
                <a:cxn ang="0">
                  <a:pos x="26" y="42"/>
                </a:cxn>
                <a:cxn ang="0">
                  <a:pos x="28" y="42"/>
                </a:cxn>
                <a:cxn ang="0">
                  <a:pos x="29" y="42"/>
                </a:cxn>
                <a:cxn ang="0">
                  <a:pos x="29" y="43"/>
                </a:cxn>
                <a:cxn ang="0">
                  <a:pos x="31" y="44"/>
                </a:cxn>
                <a:cxn ang="0">
                  <a:pos x="32" y="44"/>
                </a:cxn>
                <a:cxn ang="0">
                  <a:pos x="32" y="44"/>
                </a:cxn>
                <a:cxn ang="0">
                  <a:pos x="32" y="50"/>
                </a:cxn>
              </a:cxnLst>
              <a:rect l="0" t="0" r="r" b="b"/>
              <a:pathLst>
                <a:path w="35" h="54">
                  <a:moveTo>
                    <a:pt x="32" y="41"/>
                  </a:moveTo>
                  <a:cubicBezTo>
                    <a:pt x="31" y="39"/>
                    <a:pt x="30" y="39"/>
                    <a:pt x="29" y="39"/>
                  </a:cubicBezTo>
                  <a:cubicBezTo>
                    <a:pt x="29" y="39"/>
                    <a:pt x="29" y="38"/>
                    <a:pt x="29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3" y="32"/>
                    <a:pt x="24" y="23"/>
                    <a:pt x="24" y="19"/>
                  </a:cubicBezTo>
                  <a:cubicBezTo>
                    <a:pt x="27" y="17"/>
                    <a:pt x="28" y="14"/>
                    <a:pt x="28" y="11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2" y="0"/>
                    <a:pt x="7" y="5"/>
                    <a:pt x="7" y="11"/>
                  </a:cubicBezTo>
                  <a:cubicBezTo>
                    <a:pt x="7" y="14"/>
                    <a:pt x="9" y="17"/>
                    <a:pt x="11" y="19"/>
                  </a:cubicBezTo>
                  <a:cubicBezTo>
                    <a:pt x="12" y="23"/>
                    <a:pt x="12" y="32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7" y="39"/>
                    <a:pt x="6" y="39"/>
                  </a:cubicBezTo>
                  <a:cubicBezTo>
                    <a:pt x="6" y="39"/>
                    <a:pt x="4" y="39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3"/>
                    <a:pt x="1" y="54"/>
                    <a:pt x="2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3"/>
                    <a:pt x="35" y="52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2"/>
                    <a:pt x="34" y="41"/>
                    <a:pt x="32" y="41"/>
                  </a:cubicBezTo>
                  <a:close/>
                  <a:moveTo>
                    <a:pt x="32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6" y="34"/>
                    <a:pt x="16" y="22"/>
                    <a:pt x="15" y="17"/>
                  </a:cubicBezTo>
                  <a:cubicBezTo>
                    <a:pt x="15" y="17"/>
                    <a:pt x="15" y="16"/>
                    <a:pt x="14" y="16"/>
                  </a:cubicBezTo>
                  <a:cubicBezTo>
                    <a:pt x="12" y="15"/>
                    <a:pt x="11" y="13"/>
                    <a:pt x="11" y="11"/>
                  </a:cubicBezTo>
                  <a:cubicBezTo>
                    <a:pt x="11" y="7"/>
                    <a:pt x="14" y="4"/>
                    <a:pt x="18" y="4"/>
                  </a:cubicBezTo>
                  <a:cubicBezTo>
                    <a:pt x="22" y="4"/>
                    <a:pt x="25" y="7"/>
                    <a:pt x="25" y="11"/>
                  </a:cubicBezTo>
                  <a:cubicBezTo>
                    <a:pt x="25" y="13"/>
                    <a:pt x="24" y="15"/>
                    <a:pt x="22" y="16"/>
                  </a:cubicBezTo>
                  <a:cubicBezTo>
                    <a:pt x="21" y="16"/>
                    <a:pt x="21" y="17"/>
                    <a:pt x="21" y="17"/>
                  </a:cubicBezTo>
                  <a:cubicBezTo>
                    <a:pt x="20" y="22"/>
                    <a:pt x="19" y="34"/>
                    <a:pt x="26" y="42"/>
                  </a:cubicBezTo>
                  <a:cubicBezTo>
                    <a:pt x="27" y="42"/>
                    <a:pt x="27" y="42"/>
                    <a:pt x="28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4"/>
                    <a:pt x="30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lnTo>
                    <a:pt x="32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63" name="Group 59"/>
          <p:cNvGrpSpPr>
            <a:grpSpLocks noChangeAspect="1"/>
          </p:cNvGrpSpPr>
          <p:nvPr/>
        </p:nvGrpSpPr>
        <p:grpSpPr bwMode="auto">
          <a:xfrm>
            <a:off x="3668711" y="250825"/>
            <a:ext cx="784224" cy="784224"/>
            <a:chOff x="2312" y="158"/>
            <a:chExt cx="494" cy="494"/>
          </a:xfrm>
        </p:grpSpPr>
        <p:sp>
          <p:nvSpPr>
            <p:cNvPr id="47164" name="Freeform 60"/>
            <p:cNvSpPr>
              <a:spLocks noEditPoints="1"/>
            </p:cNvSpPr>
            <p:nvPr/>
          </p:nvSpPr>
          <p:spPr bwMode="auto">
            <a:xfrm>
              <a:off x="2312" y="158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65" name="Freeform 61"/>
            <p:cNvSpPr>
              <a:spLocks noEditPoints="1"/>
            </p:cNvSpPr>
            <p:nvPr/>
          </p:nvSpPr>
          <p:spPr bwMode="auto">
            <a:xfrm>
              <a:off x="2456" y="254"/>
              <a:ext cx="132" cy="281"/>
            </a:xfrm>
            <a:custGeom>
              <a:avLst/>
              <a:gdLst/>
              <a:ahLst/>
              <a:cxnLst>
                <a:cxn ang="0">
                  <a:pos x="50" y="93"/>
                </a:cxn>
                <a:cxn ang="0">
                  <a:pos x="39" y="54"/>
                </a:cxn>
                <a:cxn ang="0">
                  <a:pos x="45" y="52"/>
                </a:cxn>
                <a:cxn ang="0">
                  <a:pos x="44" y="42"/>
                </a:cxn>
                <a:cxn ang="0">
                  <a:pos x="51" y="32"/>
                </a:cxn>
                <a:cxn ang="0">
                  <a:pos x="37" y="10"/>
                </a:cxn>
                <a:cxn ang="0">
                  <a:pos x="18" y="10"/>
                </a:cxn>
                <a:cxn ang="0">
                  <a:pos x="4" y="32"/>
                </a:cxn>
                <a:cxn ang="0">
                  <a:pos x="11" y="42"/>
                </a:cxn>
                <a:cxn ang="0">
                  <a:pos x="10" y="52"/>
                </a:cxn>
                <a:cxn ang="0">
                  <a:pos x="16" y="54"/>
                </a:cxn>
                <a:cxn ang="0">
                  <a:pos x="5" y="93"/>
                </a:cxn>
                <a:cxn ang="0">
                  <a:pos x="0" y="101"/>
                </a:cxn>
                <a:cxn ang="0">
                  <a:pos x="0" y="115"/>
                </a:cxn>
                <a:cxn ang="0">
                  <a:pos x="53" y="117"/>
                </a:cxn>
                <a:cxn ang="0">
                  <a:pos x="55" y="101"/>
                </a:cxn>
                <a:cxn ang="0">
                  <a:pos x="50" y="97"/>
                </a:cxn>
                <a:cxn ang="0">
                  <a:pos x="4" y="113"/>
                </a:cxn>
                <a:cxn ang="0">
                  <a:pos x="7" y="100"/>
                </a:cxn>
                <a:cxn ang="0">
                  <a:pos x="8" y="94"/>
                </a:cxn>
                <a:cxn ang="0">
                  <a:pos x="18" y="51"/>
                </a:cxn>
                <a:cxn ang="0">
                  <a:pos x="14" y="45"/>
                </a:cxn>
                <a:cxn ang="0">
                  <a:pos x="16" y="44"/>
                </a:cxn>
                <a:cxn ang="0">
                  <a:pos x="8" y="33"/>
                </a:cxn>
                <a:cxn ang="0">
                  <a:pos x="25" y="17"/>
                </a:cxn>
                <a:cxn ang="0">
                  <a:pos x="22" y="10"/>
                </a:cxn>
                <a:cxn ang="0">
                  <a:pos x="33" y="10"/>
                </a:cxn>
                <a:cxn ang="0">
                  <a:pos x="30" y="17"/>
                </a:cxn>
                <a:cxn ang="0">
                  <a:pos x="47" y="33"/>
                </a:cxn>
                <a:cxn ang="0">
                  <a:pos x="39" y="44"/>
                </a:cxn>
                <a:cxn ang="0">
                  <a:pos x="42" y="45"/>
                </a:cxn>
                <a:cxn ang="0">
                  <a:pos x="37" y="51"/>
                </a:cxn>
                <a:cxn ang="0">
                  <a:pos x="47" y="94"/>
                </a:cxn>
                <a:cxn ang="0">
                  <a:pos x="49" y="100"/>
                </a:cxn>
                <a:cxn ang="0">
                  <a:pos x="52" y="113"/>
                </a:cxn>
              </a:cxnLst>
              <a:rect l="0" t="0" r="r" b="b"/>
              <a:pathLst>
                <a:path w="55" h="117">
                  <a:moveTo>
                    <a:pt x="50" y="97"/>
                  </a:move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0" y="92"/>
                    <a:pt x="50" y="92"/>
                  </a:cubicBezTo>
                  <a:cubicBezTo>
                    <a:pt x="36" y="83"/>
                    <a:pt x="38" y="60"/>
                    <a:pt x="39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4" y="54"/>
                    <a:pt x="45" y="53"/>
                    <a:pt x="45" y="5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3"/>
                    <a:pt x="45" y="42"/>
                    <a:pt x="44" y="42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3"/>
                    <a:pt x="51" y="32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6" y="14"/>
                    <a:pt x="37" y="12"/>
                    <a:pt x="37" y="10"/>
                  </a:cubicBezTo>
                  <a:cubicBezTo>
                    <a:pt x="37" y="4"/>
                    <a:pt x="33" y="0"/>
                    <a:pt x="28" y="0"/>
                  </a:cubicBezTo>
                  <a:cubicBezTo>
                    <a:pt x="22" y="0"/>
                    <a:pt x="18" y="4"/>
                    <a:pt x="18" y="10"/>
                  </a:cubicBezTo>
                  <a:cubicBezTo>
                    <a:pt x="18" y="12"/>
                    <a:pt x="19" y="14"/>
                    <a:pt x="21" y="16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0" y="42"/>
                    <a:pt x="10" y="43"/>
                    <a:pt x="10" y="44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3"/>
                    <a:pt x="11" y="54"/>
                    <a:pt x="12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60"/>
                    <a:pt x="19" y="83"/>
                    <a:pt x="5" y="92"/>
                  </a:cubicBezTo>
                  <a:cubicBezTo>
                    <a:pt x="5" y="92"/>
                    <a:pt x="5" y="93"/>
                    <a:pt x="5" y="93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3" y="97"/>
                    <a:pt x="1" y="98"/>
                    <a:pt x="0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1" y="117"/>
                    <a:pt x="2" y="117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4" y="117"/>
                    <a:pt x="55" y="116"/>
                    <a:pt x="55" y="115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4" y="98"/>
                    <a:pt x="52" y="97"/>
                    <a:pt x="50" y="97"/>
                  </a:cubicBezTo>
                  <a:close/>
                  <a:moveTo>
                    <a:pt x="52" y="1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1"/>
                    <a:pt x="6" y="101"/>
                    <a:pt x="7" y="100"/>
                  </a:cubicBezTo>
                  <a:cubicBezTo>
                    <a:pt x="8" y="100"/>
                    <a:pt x="8" y="100"/>
                    <a:pt x="8" y="99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25" y="82"/>
                    <a:pt x="20" y="53"/>
                    <a:pt x="19" y="52"/>
                  </a:cubicBezTo>
                  <a:cubicBezTo>
                    <a:pt x="19" y="51"/>
                    <a:pt x="19" y="51"/>
                    <a:pt x="18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5"/>
                    <a:pt x="16" y="45"/>
                    <a:pt x="16" y="44"/>
                  </a:cubicBezTo>
                  <a:cubicBezTo>
                    <a:pt x="16" y="44"/>
                    <a:pt x="16" y="43"/>
                    <a:pt x="16" y="42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7"/>
                    <a:pt x="25" y="17"/>
                  </a:cubicBezTo>
                  <a:cubicBezTo>
                    <a:pt x="26" y="16"/>
                    <a:pt x="25" y="15"/>
                    <a:pt x="25" y="15"/>
                  </a:cubicBezTo>
                  <a:cubicBezTo>
                    <a:pt x="23" y="13"/>
                    <a:pt x="22" y="12"/>
                    <a:pt x="22" y="10"/>
                  </a:cubicBezTo>
                  <a:cubicBezTo>
                    <a:pt x="22" y="6"/>
                    <a:pt x="24" y="4"/>
                    <a:pt x="28" y="4"/>
                  </a:cubicBezTo>
                  <a:cubicBezTo>
                    <a:pt x="31" y="4"/>
                    <a:pt x="33" y="6"/>
                    <a:pt x="33" y="10"/>
                  </a:cubicBezTo>
                  <a:cubicBezTo>
                    <a:pt x="33" y="12"/>
                    <a:pt x="32" y="13"/>
                    <a:pt x="31" y="15"/>
                  </a:cubicBezTo>
                  <a:cubicBezTo>
                    <a:pt x="30" y="15"/>
                    <a:pt x="30" y="16"/>
                    <a:pt x="30" y="17"/>
                  </a:cubicBezTo>
                  <a:cubicBezTo>
                    <a:pt x="30" y="17"/>
                    <a:pt x="31" y="18"/>
                    <a:pt x="31" y="18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43"/>
                    <a:pt x="39" y="44"/>
                    <a:pt x="39" y="44"/>
                  </a:cubicBezTo>
                  <a:cubicBezTo>
                    <a:pt x="39" y="45"/>
                    <a:pt x="40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6" y="51"/>
                    <a:pt x="36" y="52"/>
                  </a:cubicBezTo>
                  <a:cubicBezTo>
                    <a:pt x="35" y="53"/>
                    <a:pt x="31" y="82"/>
                    <a:pt x="47" y="94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100"/>
                    <a:pt x="48" y="100"/>
                    <a:pt x="49" y="100"/>
                  </a:cubicBezTo>
                  <a:cubicBezTo>
                    <a:pt x="49" y="101"/>
                    <a:pt x="51" y="101"/>
                    <a:pt x="52" y="102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66" name="Freeform 62"/>
            <p:cNvSpPr>
              <a:spLocks noEditPoints="1"/>
            </p:cNvSpPr>
            <p:nvPr/>
          </p:nvSpPr>
          <p:spPr bwMode="auto">
            <a:xfrm>
              <a:off x="2603" y="365"/>
              <a:ext cx="83" cy="129"/>
            </a:xfrm>
            <a:custGeom>
              <a:avLst/>
              <a:gdLst/>
              <a:ahLst/>
              <a:cxnLst>
                <a:cxn ang="0">
                  <a:pos x="32" y="41"/>
                </a:cxn>
                <a:cxn ang="0">
                  <a:pos x="29" y="39"/>
                </a:cxn>
                <a:cxn ang="0">
                  <a:pos x="29" y="38"/>
                </a:cxn>
                <a:cxn ang="0">
                  <a:pos x="28" y="38"/>
                </a:cxn>
                <a:cxn ang="0">
                  <a:pos x="24" y="19"/>
                </a:cxn>
                <a:cxn ang="0">
                  <a:pos x="28" y="11"/>
                </a:cxn>
                <a:cxn ang="0">
                  <a:pos x="18" y="0"/>
                </a:cxn>
                <a:cxn ang="0">
                  <a:pos x="7" y="11"/>
                </a:cxn>
                <a:cxn ang="0">
                  <a:pos x="11" y="19"/>
                </a:cxn>
                <a:cxn ang="0">
                  <a:pos x="7" y="38"/>
                </a:cxn>
                <a:cxn ang="0">
                  <a:pos x="7" y="38"/>
                </a:cxn>
                <a:cxn ang="0">
                  <a:pos x="6" y="39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54"/>
                </a:cxn>
                <a:cxn ang="0">
                  <a:pos x="34" y="54"/>
                </a:cxn>
                <a:cxn ang="0">
                  <a:pos x="35" y="52"/>
                </a:cxn>
                <a:cxn ang="0">
                  <a:pos x="35" y="44"/>
                </a:cxn>
                <a:cxn ang="0">
                  <a:pos x="32" y="41"/>
                </a:cxn>
                <a:cxn ang="0">
                  <a:pos x="32" y="50"/>
                </a:cxn>
                <a:cxn ang="0">
                  <a:pos x="4" y="5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5" y="44"/>
                </a:cxn>
                <a:cxn ang="0">
                  <a:pos x="7" y="43"/>
                </a:cxn>
                <a:cxn ang="0">
                  <a:pos x="7" y="42"/>
                </a:cxn>
                <a:cxn ang="0">
                  <a:pos x="8" y="42"/>
                </a:cxn>
                <a:cxn ang="0">
                  <a:pos x="9" y="42"/>
                </a:cxn>
                <a:cxn ang="0">
                  <a:pos x="15" y="17"/>
                </a:cxn>
                <a:cxn ang="0">
                  <a:pos x="14" y="16"/>
                </a:cxn>
                <a:cxn ang="0">
                  <a:pos x="11" y="11"/>
                </a:cxn>
                <a:cxn ang="0">
                  <a:pos x="18" y="4"/>
                </a:cxn>
                <a:cxn ang="0">
                  <a:pos x="25" y="11"/>
                </a:cxn>
                <a:cxn ang="0">
                  <a:pos x="22" y="16"/>
                </a:cxn>
                <a:cxn ang="0">
                  <a:pos x="21" y="17"/>
                </a:cxn>
                <a:cxn ang="0">
                  <a:pos x="26" y="42"/>
                </a:cxn>
                <a:cxn ang="0">
                  <a:pos x="28" y="42"/>
                </a:cxn>
                <a:cxn ang="0">
                  <a:pos x="29" y="42"/>
                </a:cxn>
                <a:cxn ang="0">
                  <a:pos x="29" y="43"/>
                </a:cxn>
                <a:cxn ang="0">
                  <a:pos x="31" y="44"/>
                </a:cxn>
                <a:cxn ang="0">
                  <a:pos x="32" y="44"/>
                </a:cxn>
                <a:cxn ang="0">
                  <a:pos x="32" y="44"/>
                </a:cxn>
                <a:cxn ang="0">
                  <a:pos x="32" y="50"/>
                </a:cxn>
              </a:cxnLst>
              <a:rect l="0" t="0" r="r" b="b"/>
              <a:pathLst>
                <a:path w="35" h="54">
                  <a:moveTo>
                    <a:pt x="32" y="41"/>
                  </a:moveTo>
                  <a:cubicBezTo>
                    <a:pt x="31" y="39"/>
                    <a:pt x="30" y="39"/>
                    <a:pt x="29" y="39"/>
                  </a:cubicBezTo>
                  <a:cubicBezTo>
                    <a:pt x="29" y="39"/>
                    <a:pt x="29" y="38"/>
                    <a:pt x="29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3" y="32"/>
                    <a:pt x="24" y="23"/>
                    <a:pt x="24" y="19"/>
                  </a:cubicBezTo>
                  <a:cubicBezTo>
                    <a:pt x="27" y="17"/>
                    <a:pt x="28" y="14"/>
                    <a:pt x="28" y="11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2" y="0"/>
                    <a:pt x="7" y="5"/>
                    <a:pt x="7" y="11"/>
                  </a:cubicBezTo>
                  <a:cubicBezTo>
                    <a:pt x="7" y="14"/>
                    <a:pt x="9" y="17"/>
                    <a:pt x="11" y="19"/>
                  </a:cubicBezTo>
                  <a:cubicBezTo>
                    <a:pt x="12" y="23"/>
                    <a:pt x="12" y="32"/>
                    <a:pt x="7" y="38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7" y="39"/>
                    <a:pt x="6" y="39"/>
                  </a:cubicBezTo>
                  <a:cubicBezTo>
                    <a:pt x="6" y="39"/>
                    <a:pt x="4" y="39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3"/>
                    <a:pt x="1" y="54"/>
                    <a:pt x="2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3"/>
                    <a:pt x="35" y="52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2"/>
                    <a:pt x="34" y="41"/>
                    <a:pt x="32" y="41"/>
                  </a:cubicBezTo>
                  <a:close/>
                  <a:moveTo>
                    <a:pt x="32" y="50"/>
                  </a:moveTo>
                  <a:cubicBezTo>
                    <a:pt x="4" y="50"/>
                    <a:pt x="4" y="50"/>
                    <a:pt x="4" y="50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4"/>
                    <a:pt x="7" y="44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6" y="34"/>
                    <a:pt x="16" y="22"/>
                    <a:pt x="15" y="17"/>
                  </a:cubicBezTo>
                  <a:cubicBezTo>
                    <a:pt x="15" y="17"/>
                    <a:pt x="15" y="16"/>
                    <a:pt x="14" y="16"/>
                  </a:cubicBezTo>
                  <a:cubicBezTo>
                    <a:pt x="12" y="15"/>
                    <a:pt x="11" y="13"/>
                    <a:pt x="11" y="11"/>
                  </a:cubicBezTo>
                  <a:cubicBezTo>
                    <a:pt x="11" y="7"/>
                    <a:pt x="14" y="4"/>
                    <a:pt x="18" y="4"/>
                  </a:cubicBezTo>
                  <a:cubicBezTo>
                    <a:pt x="22" y="4"/>
                    <a:pt x="25" y="7"/>
                    <a:pt x="25" y="11"/>
                  </a:cubicBezTo>
                  <a:cubicBezTo>
                    <a:pt x="25" y="13"/>
                    <a:pt x="24" y="15"/>
                    <a:pt x="22" y="16"/>
                  </a:cubicBezTo>
                  <a:cubicBezTo>
                    <a:pt x="21" y="16"/>
                    <a:pt x="21" y="17"/>
                    <a:pt x="21" y="17"/>
                  </a:cubicBezTo>
                  <a:cubicBezTo>
                    <a:pt x="20" y="22"/>
                    <a:pt x="19" y="34"/>
                    <a:pt x="26" y="42"/>
                  </a:cubicBezTo>
                  <a:cubicBezTo>
                    <a:pt x="27" y="42"/>
                    <a:pt x="27" y="42"/>
                    <a:pt x="28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4"/>
                    <a:pt x="30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lnTo>
                    <a:pt x="32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69" name="Group 65"/>
          <p:cNvGrpSpPr>
            <a:grpSpLocks noChangeAspect="1"/>
          </p:cNvGrpSpPr>
          <p:nvPr/>
        </p:nvGrpSpPr>
        <p:grpSpPr bwMode="auto">
          <a:xfrm>
            <a:off x="4739481" y="230188"/>
            <a:ext cx="827088" cy="827087"/>
            <a:chOff x="2986" y="145"/>
            <a:chExt cx="521" cy="521"/>
          </a:xfrm>
        </p:grpSpPr>
        <p:sp>
          <p:nvSpPr>
            <p:cNvPr id="47170" name="Oval 66"/>
            <p:cNvSpPr>
              <a:spLocks noChangeArrowheads="1"/>
            </p:cNvSpPr>
            <p:nvPr/>
          </p:nvSpPr>
          <p:spPr bwMode="auto">
            <a:xfrm>
              <a:off x="2986" y="145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71" name="Freeform 67"/>
            <p:cNvSpPr>
              <a:spLocks noEditPoints="1"/>
            </p:cNvSpPr>
            <p:nvPr/>
          </p:nvSpPr>
          <p:spPr bwMode="auto">
            <a:xfrm>
              <a:off x="3005" y="16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72" name="Freeform 68"/>
            <p:cNvSpPr>
              <a:spLocks noEditPoints="1"/>
            </p:cNvSpPr>
            <p:nvPr/>
          </p:nvSpPr>
          <p:spPr bwMode="auto">
            <a:xfrm>
              <a:off x="3134" y="269"/>
              <a:ext cx="227" cy="283"/>
            </a:xfrm>
            <a:custGeom>
              <a:avLst/>
              <a:gdLst/>
              <a:ahLst/>
              <a:cxnLst>
                <a:cxn ang="0">
                  <a:pos x="59" y="8"/>
                </a:cxn>
                <a:cxn ang="0">
                  <a:pos x="9" y="41"/>
                </a:cxn>
                <a:cxn ang="0">
                  <a:pos x="7" y="86"/>
                </a:cxn>
                <a:cxn ang="0">
                  <a:pos x="10" y="90"/>
                </a:cxn>
                <a:cxn ang="0">
                  <a:pos x="2" y="118"/>
                </a:cxn>
                <a:cxn ang="0">
                  <a:pos x="6" y="118"/>
                </a:cxn>
                <a:cxn ang="0">
                  <a:pos x="13" y="93"/>
                </a:cxn>
                <a:cxn ang="0">
                  <a:pos x="33" y="98"/>
                </a:cxn>
                <a:cxn ang="0">
                  <a:pos x="65" y="86"/>
                </a:cxn>
                <a:cxn ang="0">
                  <a:pos x="95" y="2"/>
                </a:cxn>
                <a:cxn ang="0">
                  <a:pos x="95" y="0"/>
                </a:cxn>
                <a:cxn ang="0">
                  <a:pos x="93" y="0"/>
                </a:cxn>
                <a:cxn ang="0">
                  <a:pos x="59" y="8"/>
                </a:cxn>
                <a:cxn ang="0">
                  <a:pos x="10" y="84"/>
                </a:cxn>
                <a:cxn ang="0">
                  <a:pos x="12" y="43"/>
                </a:cxn>
                <a:cxn ang="0">
                  <a:pos x="86" y="5"/>
                </a:cxn>
                <a:cxn ang="0">
                  <a:pos x="49" y="36"/>
                </a:cxn>
                <a:cxn ang="0">
                  <a:pos x="12" y="86"/>
                </a:cxn>
                <a:cxn ang="0">
                  <a:pos x="10" y="84"/>
                </a:cxn>
                <a:cxn ang="0">
                  <a:pos x="63" y="84"/>
                </a:cxn>
                <a:cxn ang="0">
                  <a:pos x="33" y="94"/>
                </a:cxn>
                <a:cxn ang="0">
                  <a:pos x="14" y="89"/>
                </a:cxn>
                <a:cxn ang="0">
                  <a:pos x="52" y="39"/>
                </a:cxn>
                <a:cxn ang="0">
                  <a:pos x="91" y="6"/>
                </a:cxn>
                <a:cxn ang="0">
                  <a:pos x="63" y="84"/>
                </a:cxn>
              </a:cxnLst>
              <a:rect l="0" t="0" r="r" b="b"/>
              <a:pathLst>
                <a:path w="95" h="118">
                  <a:moveTo>
                    <a:pt x="59" y="8"/>
                  </a:moveTo>
                  <a:cubicBezTo>
                    <a:pt x="34" y="16"/>
                    <a:pt x="17" y="27"/>
                    <a:pt x="9" y="41"/>
                  </a:cubicBezTo>
                  <a:cubicBezTo>
                    <a:pt x="1" y="54"/>
                    <a:pt x="0" y="69"/>
                    <a:pt x="7" y="86"/>
                  </a:cubicBezTo>
                  <a:cubicBezTo>
                    <a:pt x="8" y="87"/>
                    <a:pt x="9" y="89"/>
                    <a:pt x="10" y="90"/>
                  </a:cubicBezTo>
                  <a:cubicBezTo>
                    <a:pt x="6" y="99"/>
                    <a:pt x="3" y="108"/>
                    <a:pt x="2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09"/>
                    <a:pt x="9" y="101"/>
                    <a:pt x="13" y="93"/>
                  </a:cubicBezTo>
                  <a:cubicBezTo>
                    <a:pt x="17" y="96"/>
                    <a:pt x="24" y="98"/>
                    <a:pt x="33" y="98"/>
                  </a:cubicBezTo>
                  <a:cubicBezTo>
                    <a:pt x="45" y="98"/>
                    <a:pt x="58" y="93"/>
                    <a:pt x="65" y="86"/>
                  </a:cubicBezTo>
                  <a:cubicBezTo>
                    <a:pt x="87" y="66"/>
                    <a:pt x="95" y="5"/>
                    <a:pt x="95" y="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77" y="2"/>
                    <a:pt x="59" y="8"/>
                  </a:cubicBezTo>
                  <a:close/>
                  <a:moveTo>
                    <a:pt x="10" y="84"/>
                  </a:moveTo>
                  <a:cubicBezTo>
                    <a:pt x="4" y="69"/>
                    <a:pt x="4" y="54"/>
                    <a:pt x="12" y="43"/>
                  </a:cubicBezTo>
                  <a:cubicBezTo>
                    <a:pt x="27" y="17"/>
                    <a:pt x="69" y="8"/>
                    <a:pt x="86" y="5"/>
                  </a:cubicBezTo>
                  <a:cubicBezTo>
                    <a:pt x="78" y="11"/>
                    <a:pt x="64" y="22"/>
                    <a:pt x="49" y="36"/>
                  </a:cubicBezTo>
                  <a:cubicBezTo>
                    <a:pt x="36" y="49"/>
                    <a:pt x="21" y="67"/>
                    <a:pt x="12" y="86"/>
                  </a:cubicBezTo>
                  <a:cubicBezTo>
                    <a:pt x="11" y="86"/>
                    <a:pt x="11" y="85"/>
                    <a:pt x="10" y="84"/>
                  </a:cubicBezTo>
                  <a:close/>
                  <a:moveTo>
                    <a:pt x="63" y="84"/>
                  </a:moveTo>
                  <a:cubicBezTo>
                    <a:pt x="56" y="90"/>
                    <a:pt x="44" y="94"/>
                    <a:pt x="33" y="94"/>
                  </a:cubicBezTo>
                  <a:cubicBezTo>
                    <a:pt x="25" y="94"/>
                    <a:pt x="18" y="92"/>
                    <a:pt x="14" y="89"/>
                  </a:cubicBezTo>
                  <a:cubicBezTo>
                    <a:pt x="23" y="70"/>
                    <a:pt x="39" y="52"/>
                    <a:pt x="52" y="39"/>
                  </a:cubicBezTo>
                  <a:cubicBezTo>
                    <a:pt x="68" y="23"/>
                    <a:pt x="84" y="11"/>
                    <a:pt x="91" y="6"/>
                  </a:cubicBezTo>
                  <a:cubicBezTo>
                    <a:pt x="89" y="20"/>
                    <a:pt x="80" y="67"/>
                    <a:pt x="63" y="8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75" name="Group 71"/>
          <p:cNvGrpSpPr>
            <a:grpSpLocks noChangeAspect="1"/>
          </p:cNvGrpSpPr>
          <p:nvPr/>
        </p:nvGrpSpPr>
        <p:grpSpPr bwMode="auto">
          <a:xfrm>
            <a:off x="5864230" y="258763"/>
            <a:ext cx="768350" cy="768350"/>
            <a:chOff x="3691" y="163"/>
            <a:chExt cx="484" cy="484"/>
          </a:xfrm>
        </p:grpSpPr>
        <p:sp>
          <p:nvSpPr>
            <p:cNvPr id="47176" name="Freeform 72"/>
            <p:cNvSpPr>
              <a:spLocks noEditPoints="1"/>
            </p:cNvSpPr>
            <p:nvPr/>
          </p:nvSpPr>
          <p:spPr bwMode="auto">
            <a:xfrm>
              <a:off x="3691" y="1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77" name="Freeform 73"/>
            <p:cNvSpPr>
              <a:spLocks noEditPoints="1"/>
            </p:cNvSpPr>
            <p:nvPr/>
          </p:nvSpPr>
          <p:spPr bwMode="auto">
            <a:xfrm>
              <a:off x="3821" y="269"/>
              <a:ext cx="227" cy="283"/>
            </a:xfrm>
            <a:custGeom>
              <a:avLst/>
              <a:gdLst/>
              <a:ahLst/>
              <a:cxnLst>
                <a:cxn ang="0">
                  <a:pos x="59" y="8"/>
                </a:cxn>
                <a:cxn ang="0">
                  <a:pos x="9" y="41"/>
                </a:cxn>
                <a:cxn ang="0">
                  <a:pos x="7" y="86"/>
                </a:cxn>
                <a:cxn ang="0">
                  <a:pos x="10" y="90"/>
                </a:cxn>
                <a:cxn ang="0">
                  <a:pos x="2" y="118"/>
                </a:cxn>
                <a:cxn ang="0">
                  <a:pos x="6" y="118"/>
                </a:cxn>
                <a:cxn ang="0">
                  <a:pos x="13" y="93"/>
                </a:cxn>
                <a:cxn ang="0">
                  <a:pos x="33" y="98"/>
                </a:cxn>
                <a:cxn ang="0">
                  <a:pos x="65" y="86"/>
                </a:cxn>
                <a:cxn ang="0">
                  <a:pos x="95" y="2"/>
                </a:cxn>
                <a:cxn ang="0">
                  <a:pos x="95" y="0"/>
                </a:cxn>
                <a:cxn ang="0">
                  <a:pos x="93" y="0"/>
                </a:cxn>
                <a:cxn ang="0">
                  <a:pos x="59" y="8"/>
                </a:cxn>
                <a:cxn ang="0">
                  <a:pos x="10" y="84"/>
                </a:cxn>
                <a:cxn ang="0">
                  <a:pos x="12" y="43"/>
                </a:cxn>
                <a:cxn ang="0">
                  <a:pos x="86" y="5"/>
                </a:cxn>
                <a:cxn ang="0">
                  <a:pos x="49" y="36"/>
                </a:cxn>
                <a:cxn ang="0">
                  <a:pos x="12" y="86"/>
                </a:cxn>
                <a:cxn ang="0">
                  <a:pos x="10" y="84"/>
                </a:cxn>
                <a:cxn ang="0">
                  <a:pos x="63" y="84"/>
                </a:cxn>
                <a:cxn ang="0">
                  <a:pos x="33" y="94"/>
                </a:cxn>
                <a:cxn ang="0">
                  <a:pos x="14" y="89"/>
                </a:cxn>
                <a:cxn ang="0">
                  <a:pos x="52" y="39"/>
                </a:cxn>
                <a:cxn ang="0">
                  <a:pos x="91" y="6"/>
                </a:cxn>
                <a:cxn ang="0">
                  <a:pos x="63" y="84"/>
                </a:cxn>
              </a:cxnLst>
              <a:rect l="0" t="0" r="r" b="b"/>
              <a:pathLst>
                <a:path w="95" h="118">
                  <a:moveTo>
                    <a:pt x="59" y="8"/>
                  </a:moveTo>
                  <a:cubicBezTo>
                    <a:pt x="34" y="16"/>
                    <a:pt x="17" y="27"/>
                    <a:pt x="9" y="41"/>
                  </a:cubicBezTo>
                  <a:cubicBezTo>
                    <a:pt x="1" y="54"/>
                    <a:pt x="0" y="69"/>
                    <a:pt x="7" y="86"/>
                  </a:cubicBezTo>
                  <a:cubicBezTo>
                    <a:pt x="8" y="87"/>
                    <a:pt x="9" y="89"/>
                    <a:pt x="10" y="90"/>
                  </a:cubicBezTo>
                  <a:cubicBezTo>
                    <a:pt x="6" y="99"/>
                    <a:pt x="3" y="108"/>
                    <a:pt x="2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09"/>
                    <a:pt x="9" y="101"/>
                    <a:pt x="13" y="93"/>
                  </a:cubicBezTo>
                  <a:cubicBezTo>
                    <a:pt x="17" y="96"/>
                    <a:pt x="24" y="98"/>
                    <a:pt x="33" y="98"/>
                  </a:cubicBezTo>
                  <a:cubicBezTo>
                    <a:pt x="45" y="98"/>
                    <a:pt x="58" y="93"/>
                    <a:pt x="65" y="86"/>
                  </a:cubicBezTo>
                  <a:cubicBezTo>
                    <a:pt x="87" y="66"/>
                    <a:pt x="95" y="5"/>
                    <a:pt x="95" y="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77" y="2"/>
                    <a:pt x="59" y="8"/>
                  </a:cubicBezTo>
                  <a:close/>
                  <a:moveTo>
                    <a:pt x="10" y="84"/>
                  </a:moveTo>
                  <a:cubicBezTo>
                    <a:pt x="4" y="69"/>
                    <a:pt x="4" y="54"/>
                    <a:pt x="12" y="43"/>
                  </a:cubicBezTo>
                  <a:cubicBezTo>
                    <a:pt x="27" y="17"/>
                    <a:pt x="69" y="8"/>
                    <a:pt x="86" y="5"/>
                  </a:cubicBezTo>
                  <a:cubicBezTo>
                    <a:pt x="78" y="11"/>
                    <a:pt x="64" y="22"/>
                    <a:pt x="49" y="36"/>
                  </a:cubicBezTo>
                  <a:cubicBezTo>
                    <a:pt x="36" y="49"/>
                    <a:pt x="21" y="67"/>
                    <a:pt x="12" y="86"/>
                  </a:cubicBezTo>
                  <a:cubicBezTo>
                    <a:pt x="11" y="86"/>
                    <a:pt x="11" y="85"/>
                    <a:pt x="10" y="84"/>
                  </a:cubicBezTo>
                  <a:close/>
                  <a:moveTo>
                    <a:pt x="63" y="84"/>
                  </a:moveTo>
                  <a:cubicBezTo>
                    <a:pt x="56" y="90"/>
                    <a:pt x="44" y="94"/>
                    <a:pt x="33" y="94"/>
                  </a:cubicBezTo>
                  <a:cubicBezTo>
                    <a:pt x="25" y="94"/>
                    <a:pt x="18" y="92"/>
                    <a:pt x="14" y="89"/>
                  </a:cubicBezTo>
                  <a:cubicBezTo>
                    <a:pt x="23" y="70"/>
                    <a:pt x="39" y="52"/>
                    <a:pt x="52" y="39"/>
                  </a:cubicBezTo>
                  <a:cubicBezTo>
                    <a:pt x="68" y="23"/>
                    <a:pt x="84" y="11"/>
                    <a:pt x="91" y="6"/>
                  </a:cubicBezTo>
                  <a:cubicBezTo>
                    <a:pt x="89" y="20"/>
                    <a:pt x="80" y="67"/>
                    <a:pt x="63" y="8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80" name="Group 76"/>
          <p:cNvGrpSpPr>
            <a:grpSpLocks noChangeAspect="1"/>
          </p:cNvGrpSpPr>
          <p:nvPr/>
        </p:nvGrpSpPr>
        <p:grpSpPr bwMode="auto">
          <a:xfrm>
            <a:off x="6923063" y="225425"/>
            <a:ext cx="831850" cy="838200"/>
            <a:chOff x="4361" y="142"/>
            <a:chExt cx="524" cy="528"/>
          </a:xfrm>
        </p:grpSpPr>
        <p:sp>
          <p:nvSpPr>
            <p:cNvPr id="47181" name="Oval 77"/>
            <p:cNvSpPr>
              <a:spLocks noChangeArrowheads="1"/>
            </p:cNvSpPr>
            <p:nvPr/>
          </p:nvSpPr>
          <p:spPr bwMode="auto">
            <a:xfrm>
              <a:off x="4361" y="142"/>
              <a:ext cx="524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82" name="Freeform 78"/>
            <p:cNvSpPr>
              <a:spLocks noEditPoints="1"/>
            </p:cNvSpPr>
            <p:nvPr/>
          </p:nvSpPr>
          <p:spPr bwMode="auto">
            <a:xfrm>
              <a:off x="4382" y="16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83" name="Freeform 79"/>
            <p:cNvSpPr>
              <a:spLocks noEditPoints="1"/>
            </p:cNvSpPr>
            <p:nvPr/>
          </p:nvSpPr>
          <p:spPr bwMode="auto">
            <a:xfrm>
              <a:off x="4505" y="217"/>
              <a:ext cx="277" cy="359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57" y="56"/>
                </a:cxn>
                <a:cxn ang="0">
                  <a:pos x="58" y="44"/>
                </a:cxn>
                <a:cxn ang="0">
                  <a:pos x="41" y="3"/>
                </a:cxn>
                <a:cxn ang="0">
                  <a:pos x="35" y="0"/>
                </a:cxn>
                <a:cxn ang="0">
                  <a:pos x="32" y="2"/>
                </a:cxn>
                <a:cxn ang="0">
                  <a:pos x="44" y="56"/>
                </a:cxn>
                <a:cxn ang="0">
                  <a:pos x="40" y="65"/>
                </a:cxn>
                <a:cxn ang="0">
                  <a:pos x="28" y="70"/>
                </a:cxn>
                <a:cxn ang="0">
                  <a:pos x="1" y="105"/>
                </a:cxn>
                <a:cxn ang="0">
                  <a:pos x="2" y="112"/>
                </a:cxn>
                <a:cxn ang="0">
                  <a:pos x="9" y="112"/>
                </a:cxn>
                <a:cxn ang="0">
                  <a:pos x="40" y="136"/>
                </a:cxn>
                <a:cxn ang="0">
                  <a:pos x="39" y="136"/>
                </a:cxn>
                <a:cxn ang="0">
                  <a:pos x="32" y="146"/>
                </a:cxn>
                <a:cxn ang="0">
                  <a:pos x="36" y="150"/>
                </a:cxn>
                <a:cxn ang="0">
                  <a:pos x="70" y="150"/>
                </a:cxn>
                <a:cxn ang="0">
                  <a:pos x="70" y="143"/>
                </a:cxn>
                <a:cxn ang="0">
                  <a:pos x="63" y="136"/>
                </a:cxn>
                <a:cxn ang="0">
                  <a:pos x="59" y="79"/>
                </a:cxn>
                <a:cxn ang="0">
                  <a:pos x="70" y="86"/>
                </a:cxn>
                <a:cxn ang="0">
                  <a:pos x="110" y="90"/>
                </a:cxn>
                <a:cxn ang="0">
                  <a:pos x="115" y="86"/>
                </a:cxn>
                <a:cxn ang="0">
                  <a:pos x="35" y="5"/>
                </a:cxn>
                <a:cxn ang="0">
                  <a:pos x="36" y="3"/>
                </a:cxn>
                <a:cxn ang="0">
                  <a:pos x="38" y="4"/>
                </a:cxn>
                <a:cxn ang="0">
                  <a:pos x="55" y="43"/>
                </a:cxn>
                <a:cxn ang="0">
                  <a:pos x="51" y="54"/>
                </a:cxn>
                <a:cxn ang="0">
                  <a:pos x="35" y="5"/>
                </a:cxn>
                <a:cxn ang="0">
                  <a:pos x="59" y="65"/>
                </a:cxn>
                <a:cxn ang="0">
                  <a:pos x="43" y="65"/>
                </a:cxn>
                <a:cxn ang="0">
                  <a:pos x="6" y="109"/>
                </a:cxn>
                <a:cxn ang="0">
                  <a:pos x="6" y="110"/>
                </a:cxn>
                <a:cxn ang="0">
                  <a:pos x="6" y="110"/>
                </a:cxn>
                <a:cxn ang="0">
                  <a:pos x="6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4" y="109"/>
                </a:cxn>
                <a:cxn ang="0">
                  <a:pos x="4" y="108"/>
                </a:cxn>
                <a:cxn ang="0">
                  <a:pos x="4" y="107"/>
                </a:cxn>
                <a:cxn ang="0">
                  <a:pos x="27" y="75"/>
                </a:cxn>
                <a:cxn ang="0">
                  <a:pos x="40" y="69"/>
                </a:cxn>
                <a:cxn ang="0">
                  <a:pos x="25" y="91"/>
                </a:cxn>
                <a:cxn ang="0">
                  <a:pos x="63" y="140"/>
                </a:cxn>
                <a:cxn ang="0">
                  <a:pos x="67" y="143"/>
                </a:cxn>
                <a:cxn ang="0">
                  <a:pos x="36" y="146"/>
                </a:cxn>
                <a:cxn ang="0">
                  <a:pos x="39" y="140"/>
                </a:cxn>
                <a:cxn ang="0">
                  <a:pos x="44" y="140"/>
                </a:cxn>
                <a:cxn ang="0">
                  <a:pos x="63" y="140"/>
                </a:cxn>
                <a:cxn ang="0">
                  <a:pos x="48" y="76"/>
                </a:cxn>
                <a:cxn ang="0">
                  <a:pos x="55" y="76"/>
                </a:cxn>
                <a:cxn ang="0">
                  <a:pos x="44" y="136"/>
                </a:cxn>
                <a:cxn ang="0">
                  <a:pos x="112" y="85"/>
                </a:cxn>
                <a:cxn ang="0">
                  <a:pos x="110" y="86"/>
                </a:cxn>
                <a:cxn ang="0">
                  <a:pos x="67" y="81"/>
                </a:cxn>
                <a:cxn ang="0">
                  <a:pos x="59" y="73"/>
                </a:cxn>
                <a:cxn ang="0">
                  <a:pos x="111" y="83"/>
                </a:cxn>
              </a:cxnLst>
              <a:rect l="0" t="0" r="r" b="b"/>
              <a:pathLst>
                <a:path w="116" h="150">
                  <a:moveTo>
                    <a:pt x="112" y="80"/>
                  </a:moveTo>
                  <a:cubicBezTo>
                    <a:pt x="63" y="65"/>
                    <a:pt x="63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1"/>
                    <a:pt x="60" y="58"/>
                    <a:pt x="57" y="56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9" y="42"/>
                    <a:pt x="58" y="41"/>
                    <a:pt x="58" y="39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1"/>
                    <a:pt x="39" y="0"/>
                    <a:pt x="37" y="0"/>
                  </a:cubicBezTo>
                  <a:cubicBezTo>
                    <a:pt x="36" y="0"/>
                    <a:pt x="3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3" y="1"/>
                    <a:pt x="32" y="2"/>
                  </a:cubicBezTo>
                  <a:cubicBezTo>
                    <a:pt x="31" y="3"/>
                    <a:pt x="31" y="5"/>
                    <a:pt x="31" y="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1" y="59"/>
                    <a:pt x="40" y="62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5" y="71"/>
                    <a:pt x="24" y="73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0" y="107"/>
                    <a:pt x="0" y="110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3" y="113"/>
                    <a:pt x="4" y="113"/>
                    <a:pt x="5" y="113"/>
                  </a:cubicBezTo>
                  <a:cubicBezTo>
                    <a:pt x="7" y="113"/>
                    <a:pt x="8" y="113"/>
                    <a:pt x="9" y="112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39" y="136"/>
                    <a:pt x="39" y="136"/>
                    <a:pt x="39" y="136"/>
                  </a:cubicBezTo>
                  <a:cubicBezTo>
                    <a:pt x="35" y="136"/>
                    <a:pt x="32" y="139"/>
                    <a:pt x="32" y="143"/>
                  </a:cubicBezTo>
                  <a:cubicBezTo>
                    <a:pt x="32" y="146"/>
                    <a:pt x="32" y="146"/>
                    <a:pt x="32" y="146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67" y="150"/>
                    <a:pt x="67" y="150"/>
                    <a:pt x="67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0" y="143"/>
                    <a:pt x="70" y="143"/>
                    <a:pt x="70" y="143"/>
                  </a:cubicBezTo>
                  <a:cubicBezTo>
                    <a:pt x="70" y="139"/>
                    <a:pt x="67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6" y="85"/>
                    <a:pt x="68" y="86"/>
                    <a:pt x="70" y="86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10" y="90"/>
                    <a:pt x="110" y="90"/>
                  </a:cubicBezTo>
                  <a:cubicBezTo>
                    <a:pt x="112" y="90"/>
                    <a:pt x="114" y="88"/>
                    <a:pt x="115" y="86"/>
                  </a:cubicBezTo>
                  <a:cubicBezTo>
                    <a:pt x="115" y="86"/>
                    <a:pt x="115" y="86"/>
                    <a:pt x="115" y="86"/>
                  </a:cubicBezTo>
                  <a:cubicBezTo>
                    <a:pt x="116" y="83"/>
                    <a:pt x="114" y="80"/>
                    <a:pt x="112" y="80"/>
                  </a:cubicBezTo>
                  <a:close/>
                  <a:moveTo>
                    <a:pt x="35" y="5"/>
                  </a:moveTo>
                  <a:cubicBezTo>
                    <a:pt x="35" y="4"/>
                    <a:pt x="35" y="4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5" y="41"/>
                    <a:pt x="55" y="43"/>
                    <a:pt x="55" y="4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2" y="54"/>
                    <a:pt x="51" y="54"/>
                  </a:cubicBezTo>
                  <a:cubicBezTo>
                    <a:pt x="50" y="54"/>
                    <a:pt x="48" y="54"/>
                    <a:pt x="47" y="55"/>
                  </a:cubicBezTo>
                  <a:lnTo>
                    <a:pt x="35" y="5"/>
                  </a:lnTo>
                  <a:close/>
                  <a:moveTo>
                    <a:pt x="51" y="58"/>
                  </a:moveTo>
                  <a:cubicBezTo>
                    <a:pt x="55" y="58"/>
                    <a:pt x="59" y="61"/>
                    <a:pt x="59" y="65"/>
                  </a:cubicBezTo>
                  <a:cubicBezTo>
                    <a:pt x="59" y="70"/>
                    <a:pt x="55" y="73"/>
                    <a:pt x="51" y="73"/>
                  </a:cubicBezTo>
                  <a:cubicBezTo>
                    <a:pt x="47" y="73"/>
                    <a:pt x="43" y="70"/>
                    <a:pt x="43" y="65"/>
                  </a:cubicBezTo>
                  <a:cubicBezTo>
                    <a:pt x="43" y="61"/>
                    <a:pt x="47" y="58"/>
                    <a:pt x="51" y="58"/>
                  </a:cubicBezTo>
                  <a:close/>
                  <a:moveTo>
                    <a:pt x="6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6" y="109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4" y="109"/>
                    <a:pt x="4" y="109"/>
                    <a:pt x="4" y="108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4"/>
                    <a:pt x="29" y="73"/>
                    <a:pt x="30" y="73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1" y="71"/>
                    <a:pt x="42" y="72"/>
                    <a:pt x="44" y="74"/>
                  </a:cubicBezTo>
                  <a:cubicBezTo>
                    <a:pt x="25" y="91"/>
                    <a:pt x="25" y="91"/>
                    <a:pt x="25" y="91"/>
                  </a:cubicBezTo>
                  <a:lnTo>
                    <a:pt x="6" y="109"/>
                  </a:lnTo>
                  <a:close/>
                  <a:moveTo>
                    <a:pt x="63" y="140"/>
                  </a:moveTo>
                  <a:cubicBezTo>
                    <a:pt x="63" y="140"/>
                    <a:pt x="63" y="140"/>
                    <a:pt x="63" y="140"/>
                  </a:cubicBezTo>
                  <a:cubicBezTo>
                    <a:pt x="65" y="140"/>
                    <a:pt x="67" y="141"/>
                    <a:pt x="67" y="143"/>
                  </a:cubicBezTo>
                  <a:cubicBezTo>
                    <a:pt x="67" y="146"/>
                    <a:pt x="67" y="146"/>
                    <a:pt x="67" y="146"/>
                  </a:cubicBezTo>
                  <a:cubicBezTo>
                    <a:pt x="36" y="146"/>
                    <a:pt x="36" y="146"/>
                    <a:pt x="36" y="146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36" y="141"/>
                    <a:pt x="37" y="140"/>
                    <a:pt x="39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59" y="140"/>
                    <a:pt x="59" y="140"/>
                    <a:pt x="59" y="140"/>
                  </a:cubicBezTo>
                  <a:lnTo>
                    <a:pt x="63" y="140"/>
                  </a:lnTo>
                  <a:close/>
                  <a:moveTo>
                    <a:pt x="44" y="13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9" y="77"/>
                    <a:pt x="50" y="77"/>
                    <a:pt x="51" y="77"/>
                  </a:cubicBezTo>
                  <a:cubicBezTo>
                    <a:pt x="52" y="77"/>
                    <a:pt x="54" y="77"/>
                    <a:pt x="55" y="76"/>
                  </a:cubicBezTo>
                  <a:cubicBezTo>
                    <a:pt x="59" y="136"/>
                    <a:pt x="59" y="136"/>
                    <a:pt x="59" y="136"/>
                  </a:cubicBezTo>
                  <a:lnTo>
                    <a:pt x="44" y="136"/>
                  </a:lnTo>
                  <a:close/>
                  <a:moveTo>
                    <a:pt x="112" y="85"/>
                  </a:moveTo>
                  <a:cubicBezTo>
                    <a:pt x="112" y="85"/>
                    <a:pt x="112" y="85"/>
                    <a:pt x="112" y="85"/>
                  </a:cubicBezTo>
                  <a:cubicBezTo>
                    <a:pt x="111" y="86"/>
                    <a:pt x="111" y="86"/>
                    <a:pt x="110" y="86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69" y="82"/>
                    <a:pt x="68" y="82"/>
                    <a:pt x="67" y="81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4"/>
                    <a:pt x="59" y="74"/>
                    <a:pt x="59" y="73"/>
                  </a:cubicBezTo>
                  <a:cubicBezTo>
                    <a:pt x="61" y="72"/>
                    <a:pt x="61" y="70"/>
                    <a:pt x="62" y="69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3"/>
                    <a:pt x="112" y="84"/>
                    <a:pt x="112" y="8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86" name="Group 82"/>
          <p:cNvGrpSpPr>
            <a:grpSpLocks noChangeAspect="1"/>
          </p:cNvGrpSpPr>
          <p:nvPr/>
        </p:nvGrpSpPr>
        <p:grpSpPr bwMode="auto">
          <a:xfrm>
            <a:off x="8061331" y="258763"/>
            <a:ext cx="768350" cy="768350"/>
            <a:chOff x="5071" y="163"/>
            <a:chExt cx="484" cy="484"/>
          </a:xfrm>
        </p:grpSpPr>
        <p:sp>
          <p:nvSpPr>
            <p:cNvPr id="47187" name="Freeform 83"/>
            <p:cNvSpPr>
              <a:spLocks noEditPoints="1"/>
            </p:cNvSpPr>
            <p:nvPr/>
          </p:nvSpPr>
          <p:spPr bwMode="auto">
            <a:xfrm>
              <a:off x="5071" y="1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88" name="Freeform 84"/>
            <p:cNvSpPr>
              <a:spLocks noEditPoints="1"/>
            </p:cNvSpPr>
            <p:nvPr/>
          </p:nvSpPr>
          <p:spPr bwMode="auto">
            <a:xfrm>
              <a:off x="5194" y="216"/>
              <a:ext cx="278" cy="360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57" y="56"/>
                </a:cxn>
                <a:cxn ang="0">
                  <a:pos x="58" y="44"/>
                </a:cxn>
                <a:cxn ang="0">
                  <a:pos x="41" y="3"/>
                </a:cxn>
                <a:cxn ang="0">
                  <a:pos x="35" y="0"/>
                </a:cxn>
                <a:cxn ang="0">
                  <a:pos x="32" y="2"/>
                </a:cxn>
                <a:cxn ang="0">
                  <a:pos x="44" y="56"/>
                </a:cxn>
                <a:cxn ang="0">
                  <a:pos x="40" y="65"/>
                </a:cxn>
                <a:cxn ang="0">
                  <a:pos x="28" y="70"/>
                </a:cxn>
                <a:cxn ang="0">
                  <a:pos x="1" y="105"/>
                </a:cxn>
                <a:cxn ang="0">
                  <a:pos x="2" y="112"/>
                </a:cxn>
                <a:cxn ang="0">
                  <a:pos x="9" y="112"/>
                </a:cxn>
                <a:cxn ang="0">
                  <a:pos x="40" y="136"/>
                </a:cxn>
                <a:cxn ang="0">
                  <a:pos x="39" y="136"/>
                </a:cxn>
                <a:cxn ang="0">
                  <a:pos x="32" y="146"/>
                </a:cxn>
                <a:cxn ang="0">
                  <a:pos x="36" y="150"/>
                </a:cxn>
                <a:cxn ang="0">
                  <a:pos x="70" y="150"/>
                </a:cxn>
                <a:cxn ang="0">
                  <a:pos x="70" y="143"/>
                </a:cxn>
                <a:cxn ang="0">
                  <a:pos x="63" y="136"/>
                </a:cxn>
                <a:cxn ang="0">
                  <a:pos x="59" y="79"/>
                </a:cxn>
                <a:cxn ang="0">
                  <a:pos x="70" y="86"/>
                </a:cxn>
                <a:cxn ang="0">
                  <a:pos x="110" y="90"/>
                </a:cxn>
                <a:cxn ang="0">
                  <a:pos x="115" y="86"/>
                </a:cxn>
                <a:cxn ang="0">
                  <a:pos x="35" y="5"/>
                </a:cxn>
                <a:cxn ang="0">
                  <a:pos x="36" y="3"/>
                </a:cxn>
                <a:cxn ang="0">
                  <a:pos x="38" y="4"/>
                </a:cxn>
                <a:cxn ang="0">
                  <a:pos x="55" y="43"/>
                </a:cxn>
                <a:cxn ang="0">
                  <a:pos x="51" y="54"/>
                </a:cxn>
                <a:cxn ang="0">
                  <a:pos x="35" y="5"/>
                </a:cxn>
                <a:cxn ang="0">
                  <a:pos x="59" y="65"/>
                </a:cxn>
                <a:cxn ang="0">
                  <a:pos x="43" y="65"/>
                </a:cxn>
                <a:cxn ang="0">
                  <a:pos x="6" y="109"/>
                </a:cxn>
                <a:cxn ang="0">
                  <a:pos x="6" y="110"/>
                </a:cxn>
                <a:cxn ang="0">
                  <a:pos x="6" y="110"/>
                </a:cxn>
                <a:cxn ang="0">
                  <a:pos x="6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5" y="110"/>
                </a:cxn>
                <a:cxn ang="0">
                  <a:pos x="4" y="109"/>
                </a:cxn>
                <a:cxn ang="0">
                  <a:pos x="4" y="108"/>
                </a:cxn>
                <a:cxn ang="0">
                  <a:pos x="4" y="107"/>
                </a:cxn>
                <a:cxn ang="0">
                  <a:pos x="27" y="75"/>
                </a:cxn>
                <a:cxn ang="0">
                  <a:pos x="40" y="69"/>
                </a:cxn>
                <a:cxn ang="0">
                  <a:pos x="25" y="91"/>
                </a:cxn>
                <a:cxn ang="0">
                  <a:pos x="63" y="140"/>
                </a:cxn>
                <a:cxn ang="0">
                  <a:pos x="67" y="143"/>
                </a:cxn>
                <a:cxn ang="0">
                  <a:pos x="36" y="146"/>
                </a:cxn>
                <a:cxn ang="0">
                  <a:pos x="39" y="140"/>
                </a:cxn>
                <a:cxn ang="0">
                  <a:pos x="44" y="140"/>
                </a:cxn>
                <a:cxn ang="0">
                  <a:pos x="63" y="140"/>
                </a:cxn>
                <a:cxn ang="0">
                  <a:pos x="48" y="76"/>
                </a:cxn>
                <a:cxn ang="0">
                  <a:pos x="55" y="76"/>
                </a:cxn>
                <a:cxn ang="0">
                  <a:pos x="44" y="136"/>
                </a:cxn>
                <a:cxn ang="0">
                  <a:pos x="112" y="85"/>
                </a:cxn>
                <a:cxn ang="0">
                  <a:pos x="110" y="86"/>
                </a:cxn>
                <a:cxn ang="0">
                  <a:pos x="67" y="81"/>
                </a:cxn>
                <a:cxn ang="0">
                  <a:pos x="59" y="73"/>
                </a:cxn>
                <a:cxn ang="0">
                  <a:pos x="111" y="83"/>
                </a:cxn>
              </a:cxnLst>
              <a:rect l="0" t="0" r="r" b="b"/>
              <a:pathLst>
                <a:path w="116" h="150">
                  <a:moveTo>
                    <a:pt x="112" y="80"/>
                  </a:moveTo>
                  <a:cubicBezTo>
                    <a:pt x="63" y="65"/>
                    <a:pt x="63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1"/>
                    <a:pt x="60" y="58"/>
                    <a:pt x="57" y="56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9" y="42"/>
                    <a:pt x="58" y="41"/>
                    <a:pt x="58" y="39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1"/>
                    <a:pt x="39" y="0"/>
                    <a:pt x="37" y="0"/>
                  </a:cubicBezTo>
                  <a:cubicBezTo>
                    <a:pt x="36" y="0"/>
                    <a:pt x="3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3" y="1"/>
                    <a:pt x="32" y="2"/>
                  </a:cubicBezTo>
                  <a:cubicBezTo>
                    <a:pt x="31" y="3"/>
                    <a:pt x="31" y="5"/>
                    <a:pt x="31" y="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1" y="59"/>
                    <a:pt x="40" y="62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5" y="71"/>
                    <a:pt x="24" y="73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0" y="107"/>
                    <a:pt x="0" y="110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3" y="113"/>
                    <a:pt x="4" y="113"/>
                    <a:pt x="5" y="113"/>
                  </a:cubicBezTo>
                  <a:cubicBezTo>
                    <a:pt x="7" y="113"/>
                    <a:pt x="8" y="113"/>
                    <a:pt x="9" y="112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39" y="136"/>
                    <a:pt x="39" y="136"/>
                    <a:pt x="39" y="136"/>
                  </a:cubicBezTo>
                  <a:cubicBezTo>
                    <a:pt x="35" y="136"/>
                    <a:pt x="32" y="139"/>
                    <a:pt x="32" y="143"/>
                  </a:cubicBezTo>
                  <a:cubicBezTo>
                    <a:pt x="32" y="146"/>
                    <a:pt x="32" y="146"/>
                    <a:pt x="32" y="146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67" y="150"/>
                    <a:pt x="67" y="150"/>
                    <a:pt x="67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0" y="143"/>
                    <a:pt x="70" y="143"/>
                    <a:pt x="70" y="143"/>
                  </a:cubicBezTo>
                  <a:cubicBezTo>
                    <a:pt x="70" y="139"/>
                    <a:pt x="67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6" y="85"/>
                    <a:pt x="68" y="86"/>
                    <a:pt x="70" y="86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10" y="90"/>
                    <a:pt x="110" y="90"/>
                  </a:cubicBezTo>
                  <a:cubicBezTo>
                    <a:pt x="112" y="90"/>
                    <a:pt x="114" y="88"/>
                    <a:pt x="115" y="86"/>
                  </a:cubicBezTo>
                  <a:cubicBezTo>
                    <a:pt x="115" y="86"/>
                    <a:pt x="115" y="86"/>
                    <a:pt x="115" y="86"/>
                  </a:cubicBezTo>
                  <a:cubicBezTo>
                    <a:pt x="116" y="83"/>
                    <a:pt x="114" y="80"/>
                    <a:pt x="112" y="80"/>
                  </a:cubicBezTo>
                  <a:close/>
                  <a:moveTo>
                    <a:pt x="35" y="5"/>
                  </a:moveTo>
                  <a:cubicBezTo>
                    <a:pt x="35" y="4"/>
                    <a:pt x="35" y="4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7" y="3"/>
                  </a:cubicBezTo>
                  <a:cubicBezTo>
                    <a:pt x="37" y="3"/>
                    <a:pt x="38" y="4"/>
                    <a:pt x="38" y="4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5" y="41"/>
                    <a:pt x="55" y="43"/>
                    <a:pt x="55" y="43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2" y="54"/>
                    <a:pt x="51" y="54"/>
                  </a:cubicBezTo>
                  <a:cubicBezTo>
                    <a:pt x="50" y="54"/>
                    <a:pt x="48" y="54"/>
                    <a:pt x="47" y="55"/>
                  </a:cubicBezTo>
                  <a:lnTo>
                    <a:pt x="35" y="5"/>
                  </a:lnTo>
                  <a:close/>
                  <a:moveTo>
                    <a:pt x="51" y="58"/>
                  </a:moveTo>
                  <a:cubicBezTo>
                    <a:pt x="55" y="58"/>
                    <a:pt x="59" y="61"/>
                    <a:pt x="59" y="65"/>
                  </a:cubicBezTo>
                  <a:cubicBezTo>
                    <a:pt x="59" y="70"/>
                    <a:pt x="55" y="73"/>
                    <a:pt x="51" y="73"/>
                  </a:cubicBezTo>
                  <a:cubicBezTo>
                    <a:pt x="47" y="73"/>
                    <a:pt x="43" y="70"/>
                    <a:pt x="43" y="65"/>
                  </a:cubicBezTo>
                  <a:cubicBezTo>
                    <a:pt x="43" y="61"/>
                    <a:pt x="47" y="58"/>
                    <a:pt x="51" y="58"/>
                  </a:cubicBezTo>
                  <a:close/>
                  <a:moveTo>
                    <a:pt x="6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6" y="109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4" y="109"/>
                    <a:pt x="4" y="109"/>
                    <a:pt x="4" y="108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4"/>
                    <a:pt x="29" y="73"/>
                    <a:pt x="30" y="73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1" y="71"/>
                    <a:pt x="42" y="72"/>
                    <a:pt x="44" y="74"/>
                  </a:cubicBezTo>
                  <a:cubicBezTo>
                    <a:pt x="25" y="91"/>
                    <a:pt x="25" y="91"/>
                    <a:pt x="25" y="91"/>
                  </a:cubicBezTo>
                  <a:lnTo>
                    <a:pt x="6" y="109"/>
                  </a:lnTo>
                  <a:close/>
                  <a:moveTo>
                    <a:pt x="63" y="140"/>
                  </a:moveTo>
                  <a:cubicBezTo>
                    <a:pt x="63" y="140"/>
                    <a:pt x="63" y="140"/>
                    <a:pt x="63" y="140"/>
                  </a:cubicBezTo>
                  <a:cubicBezTo>
                    <a:pt x="65" y="140"/>
                    <a:pt x="67" y="141"/>
                    <a:pt x="67" y="143"/>
                  </a:cubicBezTo>
                  <a:cubicBezTo>
                    <a:pt x="67" y="146"/>
                    <a:pt x="67" y="146"/>
                    <a:pt x="67" y="146"/>
                  </a:cubicBezTo>
                  <a:cubicBezTo>
                    <a:pt x="36" y="146"/>
                    <a:pt x="36" y="146"/>
                    <a:pt x="36" y="146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36" y="141"/>
                    <a:pt x="37" y="140"/>
                    <a:pt x="39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59" y="140"/>
                    <a:pt x="59" y="140"/>
                    <a:pt x="59" y="140"/>
                  </a:cubicBezTo>
                  <a:lnTo>
                    <a:pt x="63" y="140"/>
                  </a:lnTo>
                  <a:close/>
                  <a:moveTo>
                    <a:pt x="44" y="13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9" y="77"/>
                    <a:pt x="50" y="77"/>
                    <a:pt x="51" y="77"/>
                  </a:cubicBezTo>
                  <a:cubicBezTo>
                    <a:pt x="52" y="77"/>
                    <a:pt x="54" y="77"/>
                    <a:pt x="55" y="76"/>
                  </a:cubicBezTo>
                  <a:cubicBezTo>
                    <a:pt x="59" y="136"/>
                    <a:pt x="59" y="136"/>
                    <a:pt x="59" y="136"/>
                  </a:cubicBezTo>
                  <a:lnTo>
                    <a:pt x="44" y="136"/>
                  </a:lnTo>
                  <a:close/>
                  <a:moveTo>
                    <a:pt x="112" y="85"/>
                  </a:moveTo>
                  <a:cubicBezTo>
                    <a:pt x="112" y="85"/>
                    <a:pt x="112" y="85"/>
                    <a:pt x="112" y="85"/>
                  </a:cubicBezTo>
                  <a:cubicBezTo>
                    <a:pt x="111" y="86"/>
                    <a:pt x="111" y="86"/>
                    <a:pt x="110" y="86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69" y="82"/>
                    <a:pt x="68" y="82"/>
                    <a:pt x="67" y="81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4"/>
                    <a:pt x="59" y="74"/>
                    <a:pt x="59" y="73"/>
                  </a:cubicBezTo>
                  <a:cubicBezTo>
                    <a:pt x="61" y="72"/>
                    <a:pt x="61" y="70"/>
                    <a:pt x="62" y="69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3"/>
                    <a:pt x="112" y="84"/>
                    <a:pt x="112" y="8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91" name="Group 87"/>
          <p:cNvGrpSpPr>
            <a:grpSpLocks noChangeAspect="1"/>
          </p:cNvGrpSpPr>
          <p:nvPr/>
        </p:nvGrpSpPr>
        <p:grpSpPr bwMode="auto">
          <a:xfrm>
            <a:off x="338138" y="1532863"/>
            <a:ext cx="852487" cy="850900"/>
            <a:chOff x="213" y="951"/>
            <a:chExt cx="537" cy="536"/>
          </a:xfrm>
        </p:grpSpPr>
        <p:sp>
          <p:nvSpPr>
            <p:cNvPr id="47192" name="Oval 88"/>
            <p:cNvSpPr>
              <a:spLocks noChangeArrowheads="1"/>
            </p:cNvSpPr>
            <p:nvPr/>
          </p:nvSpPr>
          <p:spPr bwMode="auto">
            <a:xfrm>
              <a:off x="213" y="951"/>
              <a:ext cx="537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93" name="Freeform 89"/>
            <p:cNvSpPr>
              <a:spLocks noEditPoints="1"/>
            </p:cNvSpPr>
            <p:nvPr/>
          </p:nvSpPr>
          <p:spPr bwMode="auto">
            <a:xfrm>
              <a:off x="232" y="970"/>
              <a:ext cx="496" cy="498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8"/>
                    <a:pt x="49" y="203"/>
                    <a:pt x="104" y="203"/>
                  </a:cubicBezTo>
                  <a:cubicBezTo>
                    <a:pt x="158" y="203"/>
                    <a:pt x="202" y="158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94" name="Freeform 90"/>
            <p:cNvSpPr>
              <a:spLocks noEditPoints="1"/>
            </p:cNvSpPr>
            <p:nvPr/>
          </p:nvSpPr>
          <p:spPr bwMode="auto">
            <a:xfrm>
              <a:off x="357" y="1073"/>
              <a:ext cx="237" cy="292"/>
            </a:xfrm>
            <a:custGeom>
              <a:avLst/>
              <a:gdLst/>
              <a:ahLst/>
              <a:cxnLst>
                <a:cxn ang="0">
                  <a:pos x="54" y="122"/>
                </a:cxn>
                <a:cxn ang="0">
                  <a:pos x="41" y="117"/>
                </a:cxn>
                <a:cxn ang="0">
                  <a:pos x="37" y="103"/>
                </a:cxn>
                <a:cxn ang="0">
                  <a:pos x="38" y="103"/>
                </a:cxn>
                <a:cxn ang="0">
                  <a:pos x="31" y="85"/>
                </a:cxn>
                <a:cxn ang="0">
                  <a:pos x="21" y="78"/>
                </a:cxn>
                <a:cxn ang="0">
                  <a:pos x="10" y="68"/>
                </a:cxn>
                <a:cxn ang="0">
                  <a:pos x="3" y="39"/>
                </a:cxn>
                <a:cxn ang="0">
                  <a:pos x="3" y="39"/>
                </a:cxn>
                <a:cxn ang="0">
                  <a:pos x="14" y="25"/>
                </a:cxn>
                <a:cxn ang="0">
                  <a:pos x="37" y="6"/>
                </a:cxn>
                <a:cxn ang="0">
                  <a:pos x="38" y="6"/>
                </a:cxn>
                <a:cxn ang="0">
                  <a:pos x="57" y="0"/>
                </a:cxn>
                <a:cxn ang="0">
                  <a:pos x="74" y="5"/>
                </a:cxn>
                <a:cxn ang="0">
                  <a:pos x="88" y="17"/>
                </a:cxn>
                <a:cxn ang="0">
                  <a:pos x="93" y="61"/>
                </a:cxn>
                <a:cxn ang="0">
                  <a:pos x="93" y="61"/>
                </a:cxn>
                <a:cxn ang="0">
                  <a:pos x="84" y="90"/>
                </a:cxn>
                <a:cxn ang="0">
                  <a:pos x="65" y="120"/>
                </a:cxn>
                <a:cxn ang="0">
                  <a:pos x="65" y="120"/>
                </a:cxn>
                <a:cxn ang="0">
                  <a:pos x="54" y="122"/>
                </a:cxn>
                <a:cxn ang="0">
                  <a:pos x="41" y="104"/>
                </a:cxn>
                <a:cxn ang="0">
                  <a:pos x="44" y="115"/>
                </a:cxn>
                <a:cxn ang="0">
                  <a:pos x="54" y="118"/>
                </a:cxn>
                <a:cxn ang="0">
                  <a:pos x="64" y="117"/>
                </a:cxn>
                <a:cxn ang="0">
                  <a:pos x="80" y="89"/>
                </a:cxn>
                <a:cxn ang="0">
                  <a:pos x="90" y="60"/>
                </a:cxn>
                <a:cxn ang="0">
                  <a:pos x="85" y="20"/>
                </a:cxn>
                <a:cxn ang="0">
                  <a:pos x="72" y="8"/>
                </a:cxn>
                <a:cxn ang="0">
                  <a:pos x="72" y="8"/>
                </a:cxn>
                <a:cxn ang="0">
                  <a:pos x="57" y="4"/>
                </a:cxn>
                <a:cxn ang="0">
                  <a:pos x="40" y="9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6" y="40"/>
                </a:cxn>
                <a:cxn ang="0">
                  <a:pos x="23" y="75"/>
                </a:cxn>
                <a:cxn ang="0">
                  <a:pos x="23" y="75"/>
                </a:cxn>
                <a:cxn ang="0">
                  <a:pos x="33" y="82"/>
                </a:cxn>
                <a:cxn ang="0">
                  <a:pos x="41" y="104"/>
                </a:cxn>
              </a:cxnLst>
              <a:rect l="0" t="0" r="r" b="b"/>
              <a:pathLst>
                <a:path w="99" h="122">
                  <a:moveTo>
                    <a:pt x="54" y="122"/>
                  </a:moveTo>
                  <a:cubicBezTo>
                    <a:pt x="48" y="122"/>
                    <a:pt x="44" y="120"/>
                    <a:pt x="41" y="117"/>
                  </a:cubicBezTo>
                  <a:cubicBezTo>
                    <a:pt x="38" y="114"/>
                    <a:pt x="37" y="109"/>
                    <a:pt x="37" y="103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38" y="103"/>
                    <a:pt x="40" y="92"/>
                    <a:pt x="31" y="85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0" y="78"/>
                    <a:pt x="15" y="75"/>
                    <a:pt x="10" y="68"/>
                  </a:cubicBezTo>
                  <a:cubicBezTo>
                    <a:pt x="5" y="62"/>
                    <a:pt x="0" y="52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8"/>
                    <a:pt x="6" y="29"/>
                    <a:pt x="14" y="25"/>
                  </a:cubicBezTo>
                  <a:cubicBezTo>
                    <a:pt x="20" y="20"/>
                    <a:pt x="35" y="9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46" y="0"/>
                    <a:pt x="57" y="0"/>
                  </a:cubicBezTo>
                  <a:cubicBezTo>
                    <a:pt x="62" y="0"/>
                    <a:pt x="68" y="2"/>
                    <a:pt x="74" y="5"/>
                  </a:cubicBezTo>
                  <a:cubicBezTo>
                    <a:pt x="74" y="5"/>
                    <a:pt x="82" y="9"/>
                    <a:pt x="88" y="17"/>
                  </a:cubicBezTo>
                  <a:cubicBezTo>
                    <a:pt x="94" y="25"/>
                    <a:pt x="99" y="40"/>
                    <a:pt x="93" y="61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93" y="61"/>
                    <a:pt x="85" y="84"/>
                    <a:pt x="84" y="90"/>
                  </a:cubicBezTo>
                  <a:cubicBezTo>
                    <a:pt x="84" y="91"/>
                    <a:pt x="80" y="113"/>
                    <a:pt x="65" y="120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65" y="120"/>
                    <a:pt x="60" y="122"/>
                    <a:pt x="54" y="122"/>
                  </a:cubicBezTo>
                  <a:close/>
                  <a:moveTo>
                    <a:pt x="41" y="104"/>
                  </a:moveTo>
                  <a:cubicBezTo>
                    <a:pt x="41" y="109"/>
                    <a:pt x="42" y="112"/>
                    <a:pt x="44" y="115"/>
                  </a:cubicBezTo>
                  <a:cubicBezTo>
                    <a:pt x="46" y="117"/>
                    <a:pt x="49" y="118"/>
                    <a:pt x="54" y="118"/>
                  </a:cubicBezTo>
                  <a:cubicBezTo>
                    <a:pt x="59" y="118"/>
                    <a:pt x="63" y="117"/>
                    <a:pt x="64" y="117"/>
                  </a:cubicBezTo>
                  <a:cubicBezTo>
                    <a:pt x="77" y="111"/>
                    <a:pt x="80" y="89"/>
                    <a:pt x="80" y="89"/>
                  </a:cubicBezTo>
                  <a:cubicBezTo>
                    <a:pt x="81" y="83"/>
                    <a:pt x="89" y="62"/>
                    <a:pt x="90" y="60"/>
                  </a:cubicBezTo>
                  <a:cubicBezTo>
                    <a:pt x="94" y="44"/>
                    <a:pt x="93" y="30"/>
                    <a:pt x="85" y="20"/>
                  </a:cubicBezTo>
                  <a:cubicBezTo>
                    <a:pt x="79" y="12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67" y="5"/>
                    <a:pt x="62" y="4"/>
                    <a:pt x="57" y="4"/>
                  </a:cubicBezTo>
                  <a:cubicBezTo>
                    <a:pt x="47" y="4"/>
                    <a:pt x="41" y="9"/>
                    <a:pt x="40" y="9"/>
                  </a:cubicBezTo>
                  <a:cubicBezTo>
                    <a:pt x="37" y="12"/>
                    <a:pt x="17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9" y="31"/>
                    <a:pt x="7" y="39"/>
                    <a:pt x="6" y="40"/>
                  </a:cubicBezTo>
                  <a:cubicBezTo>
                    <a:pt x="1" y="63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4" y="90"/>
                    <a:pt x="41" y="102"/>
                    <a:pt x="41" y="10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95" name="Freeform 91"/>
            <p:cNvSpPr>
              <a:spLocks noEditPoints="1"/>
            </p:cNvSpPr>
            <p:nvPr/>
          </p:nvSpPr>
          <p:spPr bwMode="auto">
            <a:xfrm>
              <a:off x="330" y="1049"/>
              <a:ext cx="278" cy="343"/>
            </a:xfrm>
            <a:custGeom>
              <a:avLst/>
              <a:gdLst/>
              <a:ahLst/>
              <a:cxnLst>
                <a:cxn ang="0">
                  <a:pos x="63" y="143"/>
                </a:cxn>
                <a:cxn ang="0">
                  <a:pos x="48" y="138"/>
                </a:cxn>
                <a:cxn ang="0">
                  <a:pos x="44" y="121"/>
                </a:cxn>
                <a:cxn ang="0">
                  <a:pos x="44" y="121"/>
                </a:cxn>
                <a:cxn ang="0">
                  <a:pos x="36" y="99"/>
                </a:cxn>
                <a:cxn ang="0">
                  <a:pos x="25" y="91"/>
                </a:cxn>
                <a:cxn ang="0">
                  <a:pos x="12" y="80"/>
                </a:cxn>
                <a:cxn ang="0">
                  <a:pos x="3" y="45"/>
                </a:cxn>
                <a:cxn ang="0">
                  <a:pos x="3" y="45"/>
                </a:cxn>
                <a:cxn ang="0">
                  <a:pos x="16" y="29"/>
                </a:cxn>
                <a:cxn ang="0">
                  <a:pos x="44" y="7"/>
                </a:cxn>
                <a:cxn ang="0">
                  <a:pos x="44" y="7"/>
                </a:cxn>
                <a:cxn ang="0">
                  <a:pos x="66" y="0"/>
                </a:cxn>
                <a:cxn ang="0">
                  <a:pos x="86" y="6"/>
                </a:cxn>
                <a:cxn ang="0">
                  <a:pos x="103" y="20"/>
                </a:cxn>
                <a:cxn ang="0">
                  <a:pos x="109" y="71"/>
                </a:cxn>
                <a:cxn ang="0">
                  <a:pos x="109" y="72"/>
                </a:cxn>
                <a:cxn ang="0">
                  <a:pos x="98" y="105"/>
                </a:cxn>
                <a:cxn ang="0">
                  <a:pos x="77" y="141"/>
                </a:cxn>
                <a:cxn ang="0">
                  <a:pos x="76" y="141"/>
                </a:cxn>
                <a:cxn ang="0">
                  <a:pos x="63" y="143"/>
                </a:cxn>
                <a:cxn ang="0">
                  <a:pos x="48" y="122"/>
                </a:cxn>
                <a:cxn ang="0">
                  <a:pos x="51" y="135"/>
                </a:cxn>
                <a:cxn ang="0">
                  <a:pos x="63" y="139"/>
                </a:cxn>
                <a:cxn ang="0">
                  <a:pos x="75" y="137"/>
                </a:cxn>
                <a:cxn ang="0">
                  <a:pos x="95" y="105"/>
                </a:cxn>
                <a:cxn ang="0">
                  <a:pos x="106" y="70"/>
                </a:cxn>
                <a:cxn ang="0">
                  <a:pos x="100" y="22"/>
                </a:cxn>
                <a:cxn ang="0">
                  <a:pos x="85" y="9"/>
                </a:cxn>
                <a:cxn ang="0">
                  <a:pos x="84" y="9"/>
                </a:cxn>
                <a:cxn ang="0">
                  <a:pos x="66" y="4"/>
                </a:cxn>
                <a:cxn ang="0">
                  <a:pos x="47" y="10"/>
                </a:cxn>
                <a:cxn ang="0">
                  <a:pos x="18" y="32"/>
                </a:cxn>
                <a:cxn ang="0">
                  <a:pos x="18" y="32"/>
                </a:cxn>
                <a:cxn ang="0">
                  <a:pos x="7" y="46"/>
                </a:cxn>
                <a:cxn ang="0">
                  <a:pos x="27" y="88"/>
                </a:cxn>
                <a:cxn ang="0">
                  <a:pos x="27" y="88"/>
                </a:cxn>
                <a:cxn ang="0">
                  <a:pos x="38" y="96"/>
                </a:cxn>
                <a:cxn ang="0">
                  <a:pos x="48" y="122"/>
                </a:cxn>
              </a:cxnLst>
              <a:rect l="0" t="0" r="r" b="b"/>
              <a:pathLst>
                <a:path w="116" h="143">
                  <a:moveTo>
                    <a:pt x="63" y="143"/>
                  </a:moveTo>
                  <a:cubicBezTo>
                    <a:pt x="56" y="143"/>
                    <a:pt x="51" y="141"/>
                    <a:pt x="48" y="138"/>
                  </a:cubicBezTo>
                  <a:cubicBezTo>
                    <a:pt x="45" y="134"/>
                    <a:pt x="44" y="129"/>
                    <a:pt x="44" y="121"/>
                  </a:cubicBezTo>
                  <a:cubicBezTo>
                    <a:pt x="44" y="121"/>
                    <a:pt x="44" y="121"/>
                    <a:pt x="44" y="121"/>
                  </a:cubicBezTo>
                  <a:cubicBezTo>
                    <a:pt x="44" y="121"/>
                    <a:pt x="47" y="108"/>
                    <a:pt x="36" y="99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24" y="91"/>
                    <a:pt x="17" y="87"/>
                    <a:pt x="12" y="80"/>
                  </a:cubicBezTo>
                  <a:cubicBezTo>
                    <a:pt x="6" y="73"/>
                    <a:pt x="0" y="61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7" y="34"/>
                    <a:pt x="16" y="29"/>
                  </a:cubicBezTo>
                  <a:cubicBezTo>
                    <a:pt x="23" y="24"/>
                    <a:pt x="42" y="10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7"/>
                    <a:pt x="53" y="0"/>
                    <a:pt x="66" y="0"/>
                  </a:cubicBezTo>
                  <a:cubicBezTo>
                    <a:pt x="73" y="0"/>
                    <a:pt x="80" y="2"/>
                    <a:pt x="86" y="6"/>
                  </a:cubicBezTo>
                  <a:cubicBezTo>
                    <a:pt x="87" y="6"/>
                    <a:pt x="96" y="10"/>
                    <a:pt x="103" y="20"/>
                  </a:cubicBezTo>
                  <a:cubicBezTo>
                    <a:pt x="110" y="30"/>
                    <a:pt x="116" y="46"/>
                    <a:pt x="109" y="7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99" y="98"/>
                    <a:pt x="98" y="105"/>
                  </a:cubicBezTo>
                  <a:cubicBezTo>
                    <a:pt x="98" y="106"/>
                    <a:pt x="94" y="133"/>
                    <a:pt x="77" y="141"/>
                  </a:cubicBezTo>
                  <a:cubicBezTo>
                    <a:pt x="76" y="141"/>
                    <a:pt x="76" y="141"/>
                    <a:pt x="76" y="141"/>
                  </a:cubicBezTo>
                  <a:cubicBezTo>
                    <a:pt x="76" y="141"/>
                    <a:pt x="70" y="143"/>
                    <a:pt x="63" y="143"/>
                  </a:cubicBezTo>
                  <a:close/>
                  <a:moveTo>
                    <a:pt x="48" y="122"/>
                  </a:moveTo>
                  <a:cubicBezTo>
                    <a:pt x="47" y="128"/>
                    <a:pt x="48" y="132"/>
                    <a:pt x="51" y="135"/>
                  </a:cubicBezTo>
                  <a:cubicBezTo>
                    <a:pt x="53" y="138"/>
                    <a:pt x="57" y="139"/>
                    <a:pt x="63" y="139"/>
                  </a:cubicBezTo>
                  <a:cubicBezTo>
                    <a:pt x="69" y="139"/>
                    <a:pt x="74" y="138"/>
                    <a:pt x="75" y="137"/>
                  </a:cubicBezTo>
                  <a:cubicBezTo>
                    <a:pt x="90" y="130"/>
                    <a:pt x="95" y="105"/>
                    <a:pt x="95" y="105"/>
                  </a:cubicBezTo>
                  <a:cubicBezTo>
                    <a:pt x="96" y="97"/>
                    <a:pt x="105" y="72"/>
                    <a:pt x="106" y="70"/>
                  </a:cubicBezTo>
                  <a:cubicBezTo>
                    <a:pt x="111" y="51"/>
                    <a:pt x="109" y="35"/>
                    <a:pt x="100" y="22"/>
                  </a:cubicBezTo>
                  <a:cubicBezTo>
                    <a:pt x="93" y="13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79" y="5"/>
                    <a:pt x="73" y="4"/>
                    <a:pt x="66" y="4"/>
                  </a:cubicBezTo>
                  <a:cubicBezTo>
                    <a:pt x="55" y="4"/>
                    <a:pt x="47" y="9"/>
                    <a:pt x="47" y="10"/>
                  </a:cubicBezTo>
                  <a:cubicBezTo>
                    <a:pt x="43" y="13"/>
                    <a:pt x="19" y="31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0" y="36"/>
                    <a:pt x="7" y="45"/>
                    <a:pt x="7" y="46"/>
                  </a:cubicBezTo>
                  <a:cubicBezTo>
                    <a:pt x="1" y="74"/>
                    <a:pt x="26" y="88"/>
                    <a:pt x="27" y="88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38" y="96"/>
                    <a:pt x="38" y="96"/>
                    <a:pt x="38" y="96"/>
                  </a:cubicBezTo>
                  <a:cubicBezTo>
                    <a:pt x="51" y="106"/>
                    <a:pt x="48" y="120"/>
                    <a:pt x="48" y="12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96" name="Freeform 92"/>
            <p:cNvSpPr>
              <a:spLocks/>
            </p:cNvSpPr>
            <p:nvPr/>
          </p:nvSpPr>
          <p:spPr bwMode="auto">
            <a:xfrm>
              <a:off x="402" y="1104"/>
              <a:ext cx="122" cy="69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0" y="26"/>
                </a:cxn>
                <a:cxn ang="0">
                  <a:pos x="23" y="10"/>
                </a:cxn>
                <a:cxn ang="0">
                  <a:pos x="51" y="1"/>
                </a:cxn>
                <a:cxn ang="0">
                  <a:pos x="50" y="5"/>
                </a:cxn>
                <a:cxn ang="0">
                  <a:pos x="25" y="13"/>
                </a:cxn>
                <a:cxn ang="0">
                  <a:pos x="2" y="29"/>
                </a:cxn>
              </a:cxnLst>
              <a:rect l="0" t="0" r="r" b="b"/>
              <a:pathLst>
                <a:path w="51" h="29">
                  <a:moveTo>
                    <a:pt x="2" y="29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11" y="17"/>
                    <a:pt x="23" y="10"/>
                  </a:cubicBezTo>
                  <a:cubicBezTo>
                    <a:pt x="35" y="3"/>
                    <a:pt x="44" y="0"/>
                    <a:pt x="51" y="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5" y="4"/>
                    <a:pt x="36" y="7"/>
                    <a:pt x="25" y="13"/>
                  </a:cubicBezTo>
                  <a:cubicBezTo>
                    <a:pt x="13" y="20"/>
                    <a:pt x="2" y="29"/>
                    <a:pt x="2" y="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97" name="Freeform 93"/>
            <p:cNvSpPr>
              <a:spLocks/>
            </p:cNvSpPr>
            <p:nvPr/>
          </p:nvSpPr>
          <p:spPr bwMode="auto">
            <a:xfrm>
              <a:off x="460" y="1128"/>
              <a:ext cx="52" cy="168"/>
            </a:xfrm>
            <a:custGeom>
              <a:avLst/>
              <a:gdLst/>
              <a:ahLst/>
              <a:cxnLst>
                <a:cxn ang="0">
                  <a:pos x="16" y="70"/>
                </a:cxn>
                <a:cxn ang="0">
                  <a:pos x="12" y="69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16" y="70"/>
                </a:cxn>
              </a:cxnLst>
              <a:rect l="0" t="0" r="r" b="b"/>
              <a:pathLst>
                <a:path w="22" h="70">
                  <a:moveTo>
                    <a:pt x="16" y="70"/>
                  </a:move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9" y="23"/>
                    <a:pt x="0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2" y="22"/>
                    <a:pt x="16" y="68"/>
                    <a:pt x="16" y="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00" name="Group 96"/>
          <p:cNvGrpSpPr>
            <a:grpSpLocks noChangeAspect="1"/>
          </p:cNvGrpSpPr>
          <p:nvPr/>
        </p:nvGrpSpPr>
        <p:grpSpPr bwMode="auto">
          <a:xfrm>
            <a:off x="1470820" y="1563025"/>
            <a:ext cx="785813" cy="792163"/>
            <a:chOff x="930" y="970"/>
            <a:chExt cx="495" cy="499"/>
          </a:xfrm>
        </p:grpSpPr>
        <p:sp>
          <p:nvSpPr>
            <p:cNvPr id="47201" name="Freeform 97"/>
            <p:cNvSpPr>
              <a:spLocks noEditPoints="1"/>
            </p:cNvSpPr>
            <p:nvPr/>
          </p:nvSpPr>
          <p:spPr bwMode="auto">
            <a:xfrm>
              <a:off x="930" y="970"/>
              <a:ext cx="495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02" name="Freeform 98"/>
            <p:cNvSpPr>
              <a:spLocks noEditPoints="1"/>
            </p:cNvSpPr>
            <p:nvPr/>
          </p:nvSpPr>
          <p:spPr bwMode="auto">
            <a:xfrm>
              <a:off x="1054" y="1073"/>
              <a:ext cx="237" cy="293"/>
            </a:xfrm>
            <a:custGeom>
              <a:avLst/>
              <a:gdLst/>
              <a:ahLst/>
              <a:cxnLst>
                <a:cxn ang="0">
                  <a:pos x="74" y="5"/>
                </a:cxn>
                <a:cxn ang="0">
                  <a:pos x="57" y="0"/>
                </a:cxn>
                <a:cxn ang="0">
                  <a:pos x="38" y="6"/>
                </a:cxn>
                <a:cxn ang="0">
                  <a:pos x="38" y="6"/>
                </a:cxn>
                <a:cxn ang="0">
                  <a:pos x="14" y="25"/>
                </a:cxn>
                <a:cxn ang="0">
                  <a:pos x="3" y="39"/>
                </a:cxn>
                <a:cxn ang="0">
                  <a:pos x="3" y="39"/>
                </a:cxn>
                <a:cxn ang="0">
                  <a:pos x="10" y="68"/>
                </a:cxn>
                <a:cxn ang="0">
                  <a:pos x="21" y="78"/>
                </a:cxn>
                <a:cxn ang="0">
                  <a:pos x="31" y="85"/>
                </a:cxn>
                <a:cxn ang="0">
                  <a:pos x="38" y="103"/>
                </a:cxn>
                <a:cxn ang="0">
                  <a:pos x="38" y="103"/>
                </a:cxn>
                <a:cxn ang="0">
                  <a:pos x="41" y="117"/>
                </a:cxn>
                <a:cxn ang="0">
                  <a:pos x="54" y="122"/>
                </a:cxn>
                <a:cxn ang="0">
                  <a:pos x="65" y="120"/>
                </a:cxn>
                <a:cxn ang="0">
                  <a:pos x="65" y="120"/>
                </a:cxn>
                <a:cxn ang="0">
                  <a:pos x="84" y="90"/>
                </a:cxn>
                <a:cxn ang="0">
                  <a:pos x="93" y="61"/>
                </a:cxn>
                <a:cxn ang="0">
                  <a:pos x="93" y="61"/>
                </a:cxn>
                <a:cxn ang="0">
                  <a:pos x="88" y="17"/>
                </a:cxn>
                <a:cxn ang="0">
                  <a:pos x="74" y="5"/>
                </a:cxn>
                <a:cxn ang="0">
                  <a:pos x="90" y="60"/>
                </a:cxn>
                <a:cxn ang="0">
                  <a:pos x="80" y="89"/>
                </a:cxn>
                <a:cxn ang="0">
                  <a:pos x="64" y="117"/>
                </a:cxn>
                <a:cxn ang="0">
                  <a:pos x="54" y="118"/>
                </a:cxn>
                <a:cxn ang="0">
                  <a:pos x="44" y="115"/>
                </a:cxn>
                <a:cxn ang="0">
                  <a:pos x="41" y="104"/>
                </a:cxn>
                <a:cxn ang="0">
                  <a:pos x="33" y="82"/>
                </a:cxn>
                <a:cxn ang="0">
                  <a:pos x="23" y="75"/>
                </a:cxn>
                <a:cxn ang="0">
                  <a:pos x="23" y="75"/>
                </a:cxn>
                <a:cxn ang="0">
                  <a:pos x="6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40" y="9"/>
                </a:cxn>
                <a:cxn ang="0">
                  <a:pos x="57" y="4"/>
                </a:cxn>
                <a:cxn ang="0">
                  <a:pos x="72" y="8"/>
                </a:cxn>
                <a:cxn ang="0">
                  <a:pos x="72" y="8"/>
                </a:cxn>
                <a:cxn ang="0">
                  <a:pos x="85" y="20"/>
                </a:cxn>
                <a:cxn ang="0">
                  <a:pos x="90" y="60"/>
                </a:cxn>
              </a:cxnLst>
              <a:rect l="0" t="0" r="r" b="b"/>
              <a:pathLst>
                <a:path w="99" h="122">
                  <a:moveTo>
                    <a:pt x="74" y="5"/>
                  </a:moveTo>
                  <a:cubicBezTo>
                    <a:pt x="68" y="2"/>
                    <a:pt x="62" y="0"/>
                    <a:pt x="57" y="0"/>
                  </a:cubicBezTo>
                  <a:cubicBezTo>
                    <a:pt x="46" y="0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5" y="9"/>
                    <a:pt x="20" y="20"/>
                    <a:pt x="14" y="25"/>
                  </a:cubicBezTo>
                  <a:cubicBezTo>
                    <a:pt x="6" y="29"/>
                    <a:pt x="3" y="38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0" y="52"/>
                    <a:pt x="5" y="62"/>
                    <a:pt x="10" y="68"/>
                  </a:cubicBezTo>
                  <a:cubicBezTo>
                    <a:pt x="15" y="75"/>
                    <a:pt x="20" y="78"/>
                    <a:pt x="21" y="78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40" y="92"/>
                    <a:pt x="38" y="103"/>
                    <a:pt x="38" y="103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37" y="109"/>
                    <a:pt x="38" y="114"/>
                    <a:pt x="41" y="117"/>
                  </a:cubicBezTo>
                  <a:cubicBezTo>
                    <a:pt x="44" y="120"/>
                    <a:pt x="48" y="122"/>
                    <a:pt x="54" y="122"/>
                  </a:cubicBezTo>
                  <a:cubicBezTo>
                    <a:pt x="60" y="122"/>
                    <a:pt x="65" y="120"/>
                    <a:pt x="65" y="120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80" y="113"/>
                    <a:pt x="84" y="91"/>
                    <a:pt x="84" y="90"/>
                  </a:cubicBezTo>
                  <a:cubicBezTo>
                    <a:pt x="85" y="84"/>
                    <a:pt x="93" y="61"/>
                    <a:pt x="93" y="61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99" y="40"/>
                    <a:pt x="94" y="25"/>
                    <a:pt x="88" y="17"/>
                  </a:cubicBezTo>
                  <a:cubicBezTo>
                    <a:pt x="82" y="9"/>
                    <a:pt x="75" y="5"/>
                    <a:pt x="74" y="5"/>
                  </a:cubicBezTo>
                  <a:close/>
                  <a:moveTo>
                    <a:pt x="90" y="60"/>
                  </a:moveTo>
                  <a:cubicBezTo>
                    <a:pt x="89" y="62"/>
                    <a:pt x="81" y="83"/>
                    <a:pt x="80" y="89"/>
                  </a:cubicBezTo>
                  <a:cubicBezTo>
                    <a:pt x="80" y="89"/>
                    <a:pt x="77" y="111"/>
                    <a:pt x="64" y="117"/>
                  </a:cubicBezTo>
                  <a:cubicBezTo>
                    <a:pt x="63" y="117"/>
                    <a:pt x="59" y="118"/>
                    <a:pt x="54" y="118"/>
                  </a:cubicBezTo>
                  <a:cubicBezTo>
                    <a:pt x="49" y="118"/>
                    <a:pt x="46" y="117"/>
                    <a:pt x="44" y="115"/>
                  </a:cubicBezTo>
                  <a:cubicBezTo>
                    <a:pt x="42" y="112"/>
                    <a:pt x="41" y="109"/>
                    <a:pt x="41" y="104"/>
                  </a:cubicBezTo>
                  <a:cubicBezTo>
                    <a:pt x="41" y="102"/>
                    <a:pt x="44" y="90"/>
                    <a:pt x="33" y="82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1" y="63"/>
                    <a:pt x="6" y="40"/>
                  </a:cubicBezTo>
                  <a:cubicBezTo>
                    <a:pt x="7" y="39"/>
                    <a:pt x="9" y="31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7"/>
                    <a:pt x="37" y="12"/>
                    <a:pt x="40" y="9"/>
                  </a:cubicBezTo>
                  <a:cubicBezTo>
                    <a:pt x="41" y="9"/>
                    <a:pt x="47" y="4"/>
                    <a:pt x="57" y="4"/>
                  </a:cubicBezTo>
                  <a:cubicBezTo>
                    <a:pt x="62" y="4"/>
                    <a:pt x="67" y="5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9" y="12"/>
                    <a:pt x="85" y="20"/>
                  </a:cubicBezTo>
                  <a:cubicBezTo>
                    <a:pt x="93" y="30"/>
                    <a:pt x="94" y="44"/>
                    <a:pt x="90" y="6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03" name="Freeform 99"/>
            <p:cNvSpPr>
              <a:spLocks noEditPoints="1"/>
            </p:cNvSpPr>
            <p:nvPr/>
          </p:nvSpPr>
          <p:spPr bwMode="auto">
            <a:xfrm>
              <a:off x="1028" y="1049"/>
              <a:ext cx="278" cy="343"/>
            </a:xfrm>
            <a:custGeom>
              <a:avLst/>
              <a:gdLst/>
              <a:ahLst/>
              <a:cxnLst>
                <a:cxn ang="0">
                  <a:pos x="86" y="6"/>
                </a:cxn>
                <a:cxn ang="0">
                  <a:pos x="67" y="0"/>
                </a:cxn>
                <a:cxn ang="0">
                  <a:pos x="44" y="7"/>
                </a:cxn>
                <a:cxn ang="0">
                  <a:pos x="44" y="7"/>
                </a:cxn>
                <a:cxn ang="0">
                  <a:pos x="16" y="29"/>
                </a:cxn>
                <a:cxn ang="0">
                  <a:pos x="3" y="45"/>
                </a:cxn>
                <a:cxn ang="0">
                  <a:pos x="3" y="45"/>
                </a:cxn>
                <a:cxn ang="0">
                  <a:pos x="12" y="80"/>
                </a:cxn>
                <a:cxn ang="0">
                  <a:pos x="25" y="91"/>
                </a:cxn>
                <a:cxn ang="0">
                  <a:pos x="36" y="99"/>
                </a:cxn>
                <a:cxn ang="0">
                  <a:pos x="44" y="121"/>
                </a:cxn>
                <a:cxn ang="0">
                  <a:pos x="44" y="121"/>
                </a:cxn>
                <a:cxn ang="0">
                  <a:pos x="48" y="138"/>
                </a:cxn>
                <a:cxn ang="0">
                  <a:pos x="63" y="143"/>
                </a:cxn>
                <a:cxn ang="0">
                  <a:pos x="76" y="141"/>
                </a:cxn>
                <a:cxn ang="0">
                  <a:pos x="77" y="141"/>
                </a:cxn>
                <a:cxn ang="0">
                  <a:pos x="98" y="105"/>
                </a:cxn>
                <a:cxn ang="0">
                  <a:pos x="109" y="72"/>
                </a:cxn>
                <a:cxn ang="0">
                  <a:pos x="109" y="71"/>
                </a:cxn>
                <a:cxn ang="0">
                  <a:pos x="103" y="20"/>
                </a:cxn>
                <a:cxn ang="0">
                  <a:pos x="86" y="6"/>
                </a:cxn>
                <a:cxn ang="0">
                  <a:pos x="106" y="70"/>
                </a:cxn>
                <a:cxn ang="0">
                  <a:pos x="95" y="105"/>
                </a:cxn>
                <a:cxn ang="0">
                  <a:pos x="75" y="137"/>
                </a:cxn>
                <a:cxn ang="0">
                  <a:pos x="63" y="139"/>
                </a:cxn>
                <a:cxn ang="0">
                  <a:pos x="51" y="135"/>
                </a:cxn>
                <a:cxn ang="0">
                  <a:pos x="48" y="122"/>
                </a:cxn>
                <a:cxn ang="0">
                  <a:pos x="38" y="96"/>
                </a:cxn>
                <a:cxn ang="0">
                  <a:pos x="27" y="88"/>
                </a:cxn>
                <a:cxn ang="0">
                  <a:pos x="27" y="88"/>
                </a:cxn>
                <a:cxn ang="0">
                  <a:pos x="7" y="46"/>
                </a:cxn>
                <a:cxn ang="0">
                  <a:pos x="18" y="32"/>
                </a:cxn>
                <a:cxn ang="0">
                  <a:pos x="18" y="32"/>
                </a:cxn>
                <a:cxn ang="0">
                  <a:pos x="47" y="10"/>
                </a:cxn>
                <a:cxn ang="0">
                  <a:pos x="67" y="4"/>
                </a:cxn>
                <a:cxn ang="0">
                  <a:pos x="84" y="9"/>
                </a:cxn>
                <a:cxn ang="0">
                  <a:pos x="85" y="9"/>
                </a:cxn>
                <a:cxn ang="0">
                  <a:pos x="100" y="22"/>
                </a:cxn>
                <a:cxn ang="0">
                  <a:pos x="106" y="70"/>
                </a:cxn>
              </a:cxnLst>
              <a:rect l="0" t="0" r="r" b="b"/>
              <a:pathLst>
                <a:path w="116" h="143">
                  <a:moveTo>
                    <a:pt x="86" y="6"/>
                  </a:moveTo>
                  <a:cubicBezTo>
                    <a:pt x="80" y="2"/>
                    <a:pt x="73" y="0"/>
                    <a:pt x="67" y="0"/>
                  </a:cubicBezTo>
                  <a:cubicBezTo>
                    <a:pt x="54" y="0"/>
                    <a:pt x="45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2" y="10"/>
                    <a:pt x="23" y="24"/>
                    <a:pt x="16" y="29"/>
                  </a:cubicBezTo>
                  <a:cubicBezTo>
                    <a:pt x="7" y="34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0" y="61"/>
                    <a:pt x="6" y="73"/>
                    <a:pt x="12" y="80"/>
                  </a:cubicBezTo>
                  <a:cubicBezTo>
                    <a:pt x="17" y="87"/>
                    <a:pt x="24" y="91"/>
                    <a:pt x="25" y="91"/>
                  </a:cubicBezTo>
                  <a:cubicBezTo>
                    <a:pt x="36" y="99"/>
                    <a:pt x="36" y="99"/>
                    <a:pt x="36" y="99"/>
                  </a:cubicBezTo>
                  <a:cubicBezTo>
                    <a:pt x="47" y="108"/>
                    <a:pt x="44" y="121"/>
                    <a:pt x="44" y="121"/>
                  </a:cubicBezTo>
                  <a:cubicBezTo>
                    <a:pt x="44" y="121"/>
                    <a:pt x="44" y="121"/>
                    <a:pt x="44" y="121"/>
                  </a:cubicBezTo>
                  <a:cubicBezTo>
                    <a:pt x="44" y="129"/>
                    <a:pt x="45" y="134"/>
                    <a:pt x="48" y="138"/>
                  </a:cubicBezTo>
                  <a:cubicBezTo>
                    <a:pt x="51" y="141"/>
                    <a:pt x="56" y="143"/>
                    <a:pt x="63" y="143"/>
                  </a:cubicBezTo>
                  <a:cubicBezTo>
                    <a:pt x="70" y="143"/>
                    <a:pt x="76" y="141"/>
                    <a:pt x="76" y="141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94" y="133"/>
                    <a:pt x="98" y="106"/>
                    <a:pt x="98" y="105"/>
                  </a:cubicBezTo>
                  <a:cubicBezTo>
                    <a:pt x="100" y="98"/>
                    <a:pt x="109" y="72"/>
                    <a:pt x="109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116" y="46"/>
                    <a:pt x="110" y="30"/>
                    <a:pt x="103" y="20"/>
                  </a:cubicBezTo>
                  <a:cubicBezTo>
                    <a:pt x="96" y="10"/>
                    <a:pt x="87" y="6"/>
                    <a:pt x="86" y="6"/>
                  </a:cubicBezTo>
                  <a:close/>
                  <a:moveTo>
                    <a:pt x="106" y="70"/>
                  </a:moveTo>
                  <a:cubicBezTo>
                    <a:pt x="105" y="72"/>
                    <a:pt x="96" y="97"/>
                    <a:pt x="95" y="105"/>
                  </a:cubicBezTo>
                  <a:cubicBezTo>
                    <a:pt x="95" y="105"/>
                    <a:pt x="90" y="130"/>
                    <a:pt x="75" y="137"/>
                  </a:cubicBezTo>
                  <a:cubicBezTo>
                    <a:pt x="74" y="138"/>
                    <a:pt x="69" y="139"/>
                    <a:pt x="63" y="139"/>
                  </a:cubicBezTo>
                  <a:cubicBezTo>
                    <a:pt x="57" y="139"/>
                    <a:pt x="53" y="138"/>
                    <a:pt x="51" y="135"/>
                  </a:cubicBezTo>
                  <a:cubicBezTo>
                    <a:pt x="48" y="132"/>
                    <a:pt x="47" y="128"/>
                    <a:pt x="48" y="122"/>
                  </a:cubicBezTo>
                  <a:cubicBezTo>
                    <a:pt x="48" y="120"/>
                    <a:pt x="51" y="106"/>
                    <a:pt x="38" y="96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26" y="88"/>
                    <a:pt x="1" y="74"/>
                    <a:pt x="7" y="46"/>
                  </a:cubicBezTo>
                  <a:cubicBezTo>
                    <a:pt x="7" y="45"/>
                    <a:pt x="10" y="36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9" y="31"/>
                    <a:pt x="43" y="13"/>
                    <a:pt x="47" y="10"/>
                  </a:cubicBezTo>
                  <a:cubicBezTo>
                    <a:pt x="47" y="9"/>
                    <a:pt x="55" y="4"/>
                    <a:pt x="67" y="4"/>
                  </a:cubicBezTo>
                  <a:cubicBezTo>
                    <a:pt x="73" y="4"/>
                    <a:pt x="79" y="5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93" y="13"/>
                    <a:pt x="100" y="22"/>
                  </a:cubicBezTo>
                  <a:cubicBezTo>
                    <a:pt x="109" y="35"/>
                    <a:pt x="111" y="51"/>
                    <a:pt x="106" y="7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04" name="Freeform 100"/>
            <p:cNvSpPr>
              <a:spLocks/>
            </p:cNvSpPr>
            <p:nvPr/>
          </p:nvSpPr>
          <p:spPr bwMode="auto">
            <a:xfrm>
              <a:off x="1100" y="1105"/>
              <a:ext cx="122" cy="191"/>
            </a:xfrm>
            <a:custGeom>
              <a:avLst/>
              <a:gdLst/>
              <a:ahLst/>
              <a:cxnLst>
                <a:cxn ang="0">
                  <a:pos x="23" y="10"/>
                </a:cxn>
                <a:cxn ang="0">
                  <a:pos x="0" y="26"/>
                </a:cxn>
                <a:cxn ang="0">
                  <a:pos x="2" y="29"/>
                </a:cxn>
                <a:cxn ang="0">
                  <a:pos x="25" y="13"/>
                </a:cxn>
                <a:cxn ang="0">
                  <a:pos x="25" y="13"/>
                </a:cxn>
                <a:cxn ang="0">
                  <a:pos x="36" y="79"/>
                </a:cxn>
                <a:cxn ang="0">
                  <a:pos x="40" y="80"/>
                </a:cxn>
                <a:cxn ang="0">
                  <a:pos x="29" y="11"/>
                </a:cxn>
                <a:cxn ang="0">
                  <a:pos x="50" y="5"/>
                </a:cxn>
                <a:cxn ang="0">
                  <a:pos x="51" y="1"/>
                </a:cxn>
                <a:cxn ang="0">
                  <a:pos x="23" y="10"/>
                </a:cxn>
              </a:cxnLst>
              <a:rect l="0" t="0" r="r" b="b"/>
              <a:pathLst>
                <a:path w="51" h="80">
                  <a:moveTo>
                    <a:pt x="23" y="10"/>
                  </a:moveTo>
                  <a:cubicBezTo>
                    <a:pt x="11" y="17"/>
                    <a:pt x="0" y="26"/>
                    <a:pt x="0" y="26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13" y="20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42" y="35"/>
                    <a:pt x="36" y="79"/>
                    <a:pt x="36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8"/>
                    <a:pt x="46" y="34"/>
                    <a:pt x="29" y="11"/>
                  </a:cubicBezTo>
                  <a:cubicBezTo>
                    <a:pt x="38" y="6"/>
                    <a:pt x="45" y="4"/>
                    <a:pt x="50" y="5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44" y="0"/>
                    <a:pt x="35" y="3"/>
                    <a:pt x="23" y="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207" name="Group 103"/>
          <p:cNvGrpSpPr>
            <a:grpSpLocks noChangeAspect="1"/>
          </p:cNvGrpSpPr>
          <p:nvPr/>
        </p:nvGrpSpPr>
        <p:grpSpPr bwMode="auto">
          <a:xfrm>
            <a:off x="3676653" y="1574139"/>
            <a:ext cx="768350" cy="768350"/>
            <a:chOff x="2315" y="977"/>
            <a:chExt cx="484" cy="484"/>
          </a:xfrm>
        </p:grpSpPr>
        <p:sp>
          <p:nvSpPr>
            <p:cNvPr id="47208" name="Freeform 104"/>
            <p:cNvSpPr>
              <a:spLocks noEditPoints="1"/>
            </p:cNvSpPr>
            <p:nvPr/>
          </p:nvSpPr>
          <p:spPr bwMode="auto">
            <a:xfrm>
              <a:off x="2406" y="1092"/>
              <a:ext cx="300" cy="247"/>
            </a:xfrm>
            <a:custGeom>
              <a:avLst/>
              <a:gdLst/>
              <a:ahLst/>
              <a:cxnLst>
                <a:cxn ang="0">
                  <a:pos x="101" y="45"/>
                </a:cxn>
                <a:cxn ang="0">
                  <a:pos x="89" y="7"/>
                </a:cxn>
                <a:cxn ang="0">
                  <a:pos x="64" y="0"/>
                </a:cxn>
                <a:cxn ang="0">
                  <a:pos x="35" y="7"/>
                </a:cxn>
                <a:cxn ang="0">
                  <a:pos x="23" y="45"/>
                </a:cxn>
                <a:cxn ang="0">
                  <a:pos x="0" y="78"/>
                </a:cxn>
                <a:cxn ang="0">
                  <a:pos x="13" y="101"/>
                </a:cxn>
                <a:cxn ang="0">
                  <a:pos x="115" y="103"/>
                </a:cxn>
                <a:cxn ang="0">
                  <a:pos x="108" y="78"/>
                </a:cxn>
                <a:cxn ang="0">
                  <a:pos x="125" y="76"/>
                </a:cxn>
                <a:cxn ang="0">
                  <a:pos x="106" y="28"/>
                </a:cxn>
                <a:cxn ang="0">
                  <a:pos x="95" y="44"/>
                </a:cxn>
                <a:cxn ang="0">
                  <a:pos x="89" y="45"/>
                </a:cxn>
                <a:cxn ang="0">
                  <a:pos x="87" y="11"/>
                </a:cxn>
                <a:cxn ang="0">
                  <a:pos x="64" y="4"/>
                </a:cxn>
                <a:cxn ang="0">
                  <a:pos x="73" y="54"/>
                </a:cxn>
                <a:cxn ang="0">
                  <a:pos x="55" y="54"/>
                </a:cxn>
                <a:cxn ang="0">
                  <a:pos x="38" y="30"/>
                </a:cxn>
                <a:cxn ang="0">
                  <a:pos x="68" y="59"/>
                </a:cxn>
                <a:cxn ang="0">
                  <a:pos x="60" y="59"/>
                </a:cxn>
                <a:cxn ang="0">
                  <a:pos x="18" y="28"/>
                </a:cxn>
                <a:cxn ang="0">
                  <a:pos x="40" y="12"/>
                </a:cxn>
                <a:cxn ang="0">
                  <a:pos x="38" y="44"/>
                </a:cxn>
                <a:cxn ang="0">
                  <a:pos x="30" y="44"/>
                </a:cxn>
                <a:cxn ang="0">
                  <a:pos x="18" y="28"/>
                </a:cxn>
                <a:cxn ang="0">
                  <a:pos x="28" y="47"/>
                </a:cxn>
                <a:cxn ang="0">
                  <a:pos x="41" y="48"/>
                </a:cxn>
                <a:cxn ang="0">
                  <a:pos x="22" y="74"/>
                </a:cxn>
                <a:cxn ang="0">
                  <a:pos x="111" y="99"/>
                </a:cxn>
                <a:cxn ang="0">
                  <a:pos x="54" y="57"/>
                </a:cxn>
                <a:cxn ang="0">
                  <a:pos x="74" y="57"/>
                </a:cxn>
                <a:cxn ang="0">
                  <a:pos x="106" y="74"/>
                </a:cxn>
                <a:cxn ang="0">
                  <a:pos x="87" y="48"/>
                </a:cxn>
                <a:cxn ang="0">
                  <a:pos x="96" y="47"/>
                </a:cxn>
                <a:cxn ang="0">
                  <a:pos x="106" y="74"/>
                </a:cxn>
              </a:cxnLst>
              <a:rect l="0" t="0" r="r" b="b"/>
              <a:pathLst>
                <a:path w="125" h="103">
                  <a:moveTo>
                    <a:pt x="125" y="76"/>
                  </a:moveTo>
                  <a:cubicBezTo>
                    <a:pt x="124" y="62"/>
                    <a:pt x="114" y="50"/>
                    <a:pt x="101" y="45"/>
                  </a:cubicBezTo>
                  <a:cubicBezTo>
                    <a:pt x="106" y="41"/>
                    <a:pt x="110" y="35"/>
                    <a:pt x="110" y="28"/>
                  </a:cubicBezTo>
                  <a:cubicBezTo>
                    <a:pt x="110" y="17"/>
                    <a:pt x="101" y="7"/>
                    <a:pt x="89" y="7"/>
                  </a:cubicBezTo>
                  <a:cubicBezTo>
                    <a:pt x="87" y="7"/>
                    <a:pt x="86" y="8"/>
                    <a:pt x="84" y="8"/>
                  </a:cubicBezTo>
                  <a:cubicBezTo>
                    <a:pt x="79" y="3"/>
                    <a:pt x="72" y="0"/>
                    <a:pt x="64" y="0"/>
                  </a:cubicBezTo>
                  <a:cubicBezTo>
                    <a:pt x="56" y="0"/>
                    <a:pt x="48" y="3"/>
                    <a:pt x="43" y="9"/>
                  </a:cubicBezTo>
                  <a:cubicBezTo>
                    <a:pt x="40" y="8"/>
                    <a:pt x="38" y="7"/>
                    <a:pt x="35" y="7"/>
                  </a:cubicBezTo>
                  <a:cubicBezTo>
                    <a:pt x="24" y="7"/>
                    <a:pt x="14" y="17"/>
                    <a:pt x="14" y="28"/>
                  </a:cubicBezTo>
                  <a:cubicBezTo>
                    <a:pt x="14" y="35"/>
                    <a:pt x="18" y="41"/>
                    <a:pt x="23" y="45"/>
                  </a:cubicBezTo>
                  <a:cubicBezTo>
                    <a:pt x="10" y="50"/>
                    <a:pt x="1" y="62"/>
                    <a:pt x="0" y="76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6" y="85"/>
                    <a:pt x="13" y="93"/>
                    <a:pt x="13" y="101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15" y="103"/>
                    <a:pt x="115" y="103"/>
                    <a:pt x="115" y="103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4" y="93"/>
                    <a:pt x="112" y="85"/>
                    <a:pt x="108" y="78"/>
                  </a:cubicBezTo>
                  <a:cubicBezTo>
                    <a:pt x="125" y="78"/>
                    <a:pt x="125" y="78"/>
                    <a:pt x="125" y="78"/>
                  </a:cubicBezTo>
                  <a:lnTo>
                    <a:pt x="125" y="76"/>
                  </a:lnTo>
                  <a:close/>
                  <a:moveTo>
                    <a:pt x="89" y="11"/>
                  </a:moveTo>
                  <a:cubicBezTo>
                    <a:pt x="99" y="11"/>
                    <a:pt x="106" y="19"/>
                    <a:pt x="106" y="28"/>
                  </a:cubicBezTo>
                  <a:cubicBezTo>
                    <a:pt x="106" y="35"/>
                    <a:pt x="102" y="41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3" y="45"/>
                    <a:pt x="91" y="45"/>
                    <a:pt x="90" y="45"/>
                  </a:cubicBezTo>
                  <a:cubicBezTo>
                    <a:pt x="90" y="45"/>
                    <a:pt x="89" y="45"/>
                    <a:pt x="89" y="45"/>
                  </a:cubicBezTo>
                  <a:cubicBezTo>
                    <a:pt x="92" y="40"/>
                    <a:pt x="93" y="35"/>
                    <a:pt x="93" y="30"/>
                  </a:cubicBezTo>
                  <a:cubicBezTo>
                    <a:pt x="93" y="23"/>
                    <a:pt x="91" y="16"/>
                    <a:pt x="87" y="11"/>
                  </a:cubicBezTo>
                  <a:cubicBezTo>
                    <a:pt x="88" y="11"/>
                    <a:pt x="89" y="11"/>
                    <a:pt x="89" y="11"/>
                  </a:cubicBezTo>
                  <a:close/>
                  <a:moveTo>
                    <a:pt x="64" y="4"/>
                  </a:moveTo>
                  <a:cubicBezTo>
                    <a:pt x="78" y="4"/>
                    <a:pt x="90" y="15"/>
                    <a:pt x="90" y="30"/>
                  </a:cubicBezTo>
                  <a:cubicBezTo>
                    <a:pt x="90" y="40"/>
                    <a:pt x="83" y="50"/>
                    <a:pt x="73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66" y="56"/>
                    <a:pt x="61" y="56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44" y="50"/>
                    <a:pt x="38" y="40"/>
                    <a:pt x="38" y="30"/>
                  </a:cubicBezTo>
                  <a:cubicBezTo>
                    <a:pt x="38" y="15"/>
                    <a:pt x="49" y="4"/>
                    <a:pt x="64" y="4"/>
                  </a:cubicBezTo>
                  <a:close/>
                  <a:moveTo>
                    <a:pt x="68" y="59"/>
                  </a:moveTo>
                  <a:cubicBezTo>
                    <a:pt x="64" y="64"/>
                    <a:pt x="64" y="64"/>
                    <a:pt x="64" y="64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62" y="59"/>
                    <a:pt x="65" y="59"/>
                    <a:pt x="68" y="59"/>
                  </a:cubicBezTo>
                  <a:close/>
                  <a:moveTo>
                    <a:pt x="18" y="28"/>
                  </a:moveTo>
                  <a:cubicBezTo>
                    <a:pt x="18" y="19"/>
                    <a:pt x="26" y="11"/>
                    <a:pt x="35" y="11"/>
                  </a:cubicBezTo>
                  <a:cubicBezTo>
                    <a:pt x="37" y="11"/>
                    <a:pt x="39" y="11"/>
                    <a:pt x="40" y="12"/>
                  </a:cubicBezTo>
                  <a:cubicBezTo>
                    <a:pt x="36" y="17"/>
                    <a:pt x="34" y="23"/>
                    <a:pt x="34" y="30"/>
                  </a:cubicBezTo>
                  <a:cubicBezTo>
                    <a:pt x="34" y="35"/>
                    <a:pt x="36" y="40"/>
                    <a:pt x="38" y="44"/>
                  </a:cubicBezTo>
                  <a:cubicBezTo>
                    <a:pt x="37" y="45"/>
                    <a:pt x="36" y="45"/>
                    <a:pt x="35" y="45"/>
                  </a:cubicBezTo>
                  <a:cubicBezTo>
                    <a:pt x="33" y="45"/>
                    <a:pt x="31" y="45"/>
                    <a:pt x="30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2" y="41"/>
                    <a:pt x="18" y="35"/>
                    <a:pt x="18" y="28"/>
                  </a:cubicBezTo>
                  <a:close/>
                  <a:moveTo>
                    <a:pt x="3" y="74"/>
                  </a:moveTo>
                  <a:cubicBezTo>
                    <a:pt x="5" y="61"/>
                    <a:pt x="15" y="50"/>
                    <a:pt x="28" y="47"/>
                  </a:cubicBezTo>
                  <a:cubicBezTo>
                    <a:pt x="30" y="48"/>
                    <a:pt x="33" y="48"/>
                    <a:pt x="35" y="48"/>
                  </a:cubicBezTo>
                  <a:cubicBezTo>
                    <a:pt x="37" y="48"/>
                    <a:pt x="39" y="48"/>
                    <a:pt x="41" y="48"/>
                  </a:cubicBezTo>
                  <a:cubicBezTo>
                    <a:pt x="43" y="51"/>
                    <a:pt x="46" y="53"/>
                    <a:pt x="49" y="55"/>
                  </a:cubicBezTo>
                  <a:cubicBezTo>
                    <a:pt x="38" y="58"/>
                    <a:pt x="28" y="65"/>
                    <a:pt x="22" y="74"/>
                  </a:cubicBezTo>
                  <a:lnTo>
                    <a:pt x="3" y="74"/>
                  </a:lnTo>
                  <a:close/>
                  <a:moveTo>
                    <a:pt x="111" y="99"/>
                  </a:moveTo>
                  <a:cubicBezTo>
                    <a:pt x="16" y="99"/>
                    <a:pt x="16" y="99"/>
                    <a:pt x="16" y="99"/>
                  </a:cubicBezTo>
                  <a:cubicBezTo>
                    <a:pt x="19" y="79"/>
                    <a:pt x="34" y="62"/>
                    <a:pt x="54" y="57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94" y="62"/>
                    <a:pt x="109" y="79"/>
                    <a:pt x="111" y="99"/>
                  </a:cubicBezTo>
                  <a:close/>
                  <a:moveTo>
                    <a:pt x="106" y="74"/>
                  </a:moveTo>
                  <a:cubicBezTo>
                    <a:pt x="99" y="65"/>
                    <a:pt x="90" y="58"/>
                    <a:pt x="79" y="55"/>
                  </a:cubicBezTo>
                  <a:cubicBezTo>
                    <a:pt x="82" y="53"/>
                    <a:pt x="85" y="51"/>
                    <a:pt x="87" y="48"/>
                  </a:cubicBezTo>
                  <a:cubicBezTo>
                    <a:pt x="88" y="48"/>
                    <a:pt x="89" y="48"/>
                    <a:pt x="90" y="48"/>
                  </a:cubicBezTo>
                  <a:cubicBezTo>
                    <a:pt x="92" y="48"/>
                    <a:pt x="94" y="48"/>
                    <a:pt x="96" y="47"/>
                  </a:cubicBezTo>
                  <a:cubicBezTo>
                    <a:pt x="109" y="50"/>
                    <a:pt x="119" y="61"/>
                    <a:pt x="121" y="74"/>
                  </a:cubicBezTo>
                  <a:lnTo>
                    <a:pt x="106" y="7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09" name="Freeform 105"/>
            <p:cNvSpPr>
              <a:spLocks noEditPoints="1"/>
            </p:cNvSpPr>
            <p:nvPr/>
          </p:nvSpPr>
          <p:spPr bwMode="auto">
            <a:xfrm>
              <a:off x="2315" y="97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12" name="Group 108"/>
          <p:cNvGrpSpPr>
            <a:grpSpLocks noChangeAspect="1"/>
          </p:cNvGrpSpPr>
          <p:nvPr/>
        </p:nvGrpSpPr>
        <p:grpSpPr bwMode="auto">
          <a:xfrm>
            <a:off x="2544762" y="1539213"/>
            <a:ext cx="831850" cy="838200"/>
            <a:chOff x="1611" y="955"/>
            <a:chExt cx="524" cy="528"/>
          </a:xfrm>
        </p:grpSpPr>
        <p:sp>
          <p:nvSpPr>
            <p:cNvPr id="47213" name="Oval 109"/>
            <p:cNvSpPr>
              <a:spLocks noChangeArrowheads="1"/>
            </p:cNvSpPr>
            <p:nvPr/>
          </p:nvSpPr>
          <p:spPr bwMode="auto">
            <a:xfrm>
              <a:off x="1611" y="955"/>
              <a:ext cx="524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14" name="Freeform 110"/>
            <p:cNvSpPr>
              <a:spLocks noEditPoints="1"/>
            </p:cNvSpPr>
            <p:nvPr/>
          </p:nvSpPr>
          <p:spPr bwMode="auto">
            <a:xfrm>
              <a:off x="1721" y="1092"/>
              <a:ext cx="299" cy="247"/>
            </a:xfrm>
            <a:custGeom>
              <a:avLst/>
              <a:gdLst/>
              <a:ahLst/>
              <a:cxnLst>
                <a:cxn ang="0">
                  <a:pos x="101" y="45"/>
                </a:cxn>
                <a:cxn ang="0">
                  <a:pos x="90" y="7"/>
                </a:cxn>
                <a:cxn ang="0">
                  <a:pos x="64" y="0"/>
                </a:cxn>
                <a:cxn ang="0">
                  <a:pos x="35" y="7"/>
                </a:cxn>
                <a:cxn ang="0">
                  <a:pos x="24" y="45"/>
                </a:cxn>
                <a:cxn ang="0">
                  <a:pos x="0" y="78"/>
                </a:cxn>
                <a:cxn ang="0">
                  <a:pos x="13" y="101"/>
                </a:cxn>
                <a:cxn ang="0">
                  <a:pos x="116" y="103"/>
                </a:cxn>
                <a:cxn ang="0">
                  <a:pos x="109" y="78"/>
                </a:cxn>
                <a:cxn ang="0">
                  <a:pos x="125" y="76"/>
                </a:cxn>
                <a:cxn ang="0">
                  <a:pos x="107" y="28"/>
                </a:cxn>
                <a:cxn ang="0">
                  <a:pos x="95" y="44"/>
                </a:cxn>
                <a:cxn ang="0">
                  <a:pos x="90" y="45"/>
                </a:cxn>
                <a:cxn ang="0">
                  <a:pos x="87" y="11"/>
                </a:cxn>
                <a:cxn ang="0">
                  <a:pos x="64" y="4"/>
                </a:cxn>
                <a:cxn ang="0">
                  <a:pos x="74" y="54"/>
                </a:cxn>
                <a:cxn ang="0">
                  <a:pos x="56" y="54"/>
                </a:cxn>
                <a:cxn ang="0">
                  <a:pos x="38" y="30"/>
                </a:cxn>
                <a:cxn ang="0">
                  <a:pos x="69" y="59"/>
                </a:cxn>
                <a:cxn ang="0">
                  <a:pos x="60" y="59"/>
                </a:cxn>
                <a:cxn ang="0">
                  <a:pos x="18" y="28"/>
                </a:cxn>
                <a:cxn ang="0">
                  <a:pos x="41" y="12"/>
                </a:cxn>
                <a:cxn ang="0">
                  <a:pos x="39" y="45"/>
                </a:cxn>
                <a:cxn ang="0">
                  <a:pos x="30" y="44"/>
                </a:cxn>
                <a:cxn ang="0">
                  <a:pos x="18" y="28"/>
                </a:cxn>
                <a:cxn ang="0">
                  <a:pos x="29" y="47"/>
                </a:cxn>
                <a:cxn ang="0">
                  <a:pos x="41" y="48"/>
                </a:cxn>
                <a:cxn ang="0">
                  <a:pos x="23" y="74"/>
                </a:cxn>
                <a:cxn ang="0">
                  <a:pos x="112" y="99"/>
                </a:cxn>
                <a:cxn ang="0">
                  <a:pos x="54" y="57"/>
                </a:cxn>
                <a:cxn ang="0">
                  <a:pos x="74" y="57"/>
                </a:cxn>
                <a:cxn ang="0">
                  <a:pos x="106" y="74"/>
                </a:cxn>
                <a:cxn ang="0">
                  <a:pos x="87" y="48"/>
                </a:cxn>
                <a:cxn ang="0">
                  <a:pos x="97" y="47"/>
                </a:cxn>
                <a:cxn ang="0">
                  <a:pos x="106" y="74"/>
                </a:cxn>
              </a:cxnLst>
              <a:rect l="0" t="0" r="r" b="b"/>
              <a:pathLst>
                <a:path w="125" h="103">
                  <a:moveTo>
                    <a:pt x="125" y="76"/>
                  </a:moveTo>
                  <a:cubicBezTo>
                    <a:pt x="124" y="62"/>
                    <a:pt x="115" y="50"/>
                    <a:pt x="101" y="45"/>
                  </a:cubicBezTo>
                  <a:cubicBezTo>
                    <a:pt x="107" y="41"/>
                    <a:pt x="111" y="35"/>
                    <a:pt x="111" y="28"/>
                  </a:cubicBezTo>
                  <a:cubicBezTo>
                    <a:pt x="111" y="17"/>
                    <a:pt x="101" y="7"/>
                    <a:pt x="90" y="7"/>
                  </a:cubicBezTo>
                  <a:cubicBezTo>
                    <a:pt x="88" y="7"/>
                    <a:pt x="86" y="8"/>
                    <a:pt x="85" y="8"/>
                  </a:cubicBezTo>
                  <a:cubicBezTo>
                    <a:pt x="79" y="3"/>
                    <a:pt x="72" y="0"/>
                    <a:pt x="64" y="0"/>
                  </a:cubicBezTo>
                  <a:cubicBezTo>
                    <a:pt x="56" y="0"/>
                    <a:pt x="49" y="3"/>
                    <a:pt x="43" y="9"/>
                  </a:cubicBezTo>
                  <a:cubicBezTo>
                    <a:pt x="41" y="8"/>
                    <a:pt x="38" y="7"/>
                    <a:pt x="35" y="7"/>
                  </a:cubicBezTo>
                  <a:cubicBezTo>
                    <a:pt x="24" y="7"/>
                    <a:pt x="15" y="17"/>
                    <a:pt x="15" y="28"/>
                  </a:cubicBezTo>
                  <a:cubicBezTo>
                    <a:pt x="15" y="35"/>
                    <a:pt x="18" y="41"/>
                    <a:pt x="24" y="45"/>
                  </a:cubicBezTo>
                  <a:cubicBezTo>
                    <a:pt x="11" y="50"/>
                    <a:pt x="1" y="62"/>
                    <a:pt x="0" y="76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6" y="85"/>
                    <a:pt x="14" y="93"/>
                    <a:pt x="13" y="101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16" y="103"/>
                    <a:pt x="116" y="103"/>
                    <a:pt x="116" y="103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5" y="93"/>
                    <a:pt x="113" y="85"/>
                    <a:pt x="109" y="78"/>
                  </a:cubicBezTo>
                  <a:cubicBezTo>
                    <a:pt x="125" y="78"/>
                    <a:pt x="125" y="78"/>
                    <a:pt x="125" y="78"/>
                  </a:cubicBezTo>
                  <a:lnTo>
                    <a:pt x="125" y="76"/>
                  </a:lnTo>
                  <a:close/>
                  <a:moveTo>
                    <a:pt x="90" y="11"/>
                  </a:moveTo>
                  <a:cubicBezTo>
                    <a:pt x="99" y="11"/>
                    <a:pt x="107" y="19"/>
                    <a:pt x="107" y="28"/>
                  </a:cubicBezTo>
                  <a:cubicBezTo>
                    <a:pt x="107" y="35"/>
                    <a:pt x="102" y="41"/>
                    <a:pt x="96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4" y="45"/>
                    <a:pt x="92" y="45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2" y="40"/>
                    <a:pt x="94" y="35"/>
                    <a:pt x="94" y="30"/>
                  </a:cubicBezTo>
                  <a:cubicBezTo>
                    <a:pt x="94" y="23"/>
                    <a:pt x="92" y="16"/>
                    <a:pt x="87" y="11"/>
                  </a:cubicBezTo>
                  <a:cubicBezTo>
                    <a:pt x="88" y="11"/>
                    <a:pt x="89" y="11"/>
                    <a:pt x="90" y="11"/>
                  </a:cubicBezTo>
                  <a:close/>
                  <a:moveTo>
                    <a:pt x="64" y="4"/>
                  </a:moveTo>
                  <a:cubicBezTo>
                    <a:pt x="79" y="4"/>
                    <a:pt x="90" y="15"/>
                    <a:pt x="90" y="30"/>
                  </a:cubicBezTo>
                  <a:cubicBezTo>
                    <a:pt x="90" y="40"/>
                    <a:pt x="84" y="50"/>
                    <a:pt x="74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67" y="56"/>
                    <a:pt x="62" y="56"/>
                    <a:pt x="56" y="54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45" y="50"/>
                    <a:pt x="38" y="40"/>
                    <a:pt x="38" y="30"/>
                  </a:cubicBezTo>
                  <a:cubicBezTo>
                    <a:pt x="38" y="15"/>
                    <a:pt x="50" y="4"/>
                    <a:pt x="64" y="4"/>
                  </a:cubicBezTo>
                  <a:close/>
                  <a:moveTo>
                    <a:pt x="69" y="59"/>
                  </a:moveTo>
                  <a:cubicBezTo>
                    <a:pt x="64" y="64"/>
                    <a:pt x="64" y="64"/>
                    <a:pt x="64" y="64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63" y="59"/>
                    <a:pt x="66" y="59"/>
                    <a:pt x="69" y="59"/>
                  </a:cubicBezTo>
                  <a:close/>
                  <a:moveTo>
                    <a:pt x="18" y="28"/>
                  </a:moveTo>
                  <a:cubicBezTo>
                    <a:pt x="18" y="19"/>
                    <a:pt x="26" y="11"/>
                    <a:pt x="35" y="11"/>
                  </a:cubicBezTo>
                  <a:cubicBezTo>
                    <a:pt x="37" y="11"/>
                    <a:pt x="39" y="11"/>
                    <a:pt x="41" y="12"/>
                  </a:cubicBezTo>
                  <a:cubicBezTo>
                    <a:pt x="37" y="17"/>
                    <a:pt x="35" y="23"/>
                    <a:pt x="35" y="30"/>
                  </a:cubicBezTo>
                  <a:cubicBezTo>
                    <a:pt x="35" y="35"/>
                    <a:pt x="36" y="40"/>
                    <a:pt x="39" y="45"/>
                  </a:cubicBezTo>
                  <a:cubicBezTo>
                    <a:pt x="38" y="45"/>
                    <a:pt x="37" y="45"/>
                    <a:pt x="36" y="45"/>
                  </a:cubicBezTo>
                  <a:cubicBezTo>
                    <a:pt x="34" y="45"/>
                    <a:pt x="32" y="45"/>
                    <a:pt x="30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3" y="41"/>
                    <a:pt x="18" y="35"/>
                    <a:pt x="18" y="28"/>
                  </a:cubicBezTo>
                  <a:close/>
                  <a:moveTo>
                    <a:pt x="4" y="74"/>
                  </a:moveTo>
                  <a:cubicBezTo>
                    <a:pt x="6" y="61"/>
                    <a:pt x="16" y="50"/>
                    <a:pt x="29" y="47"/>
                  </a:cubicBezTo>
                  <a:cubicBezTo>
                    <a:pt x="31" y="48"/>
                    <a:pt x="33" y="48"/>
                    <a:pt x="36" y="48"/>
                  </a:cubicBezTo>
                  <a:cubicBezTo>
                    <a:pt x="38" y="48"/>
                    <a:pt x="39" y="48"/>
                    <a:pt x="41" y="48"/>
                  </a:cubicBezTo>
                  <a:cubicBezTo>
                    <a:pt x="43" y="51"/>
                    <a:pt x="46" y="53"/>
                    <a:pt x="49" y="55"/>
                  </a:cubicBezTo>
                  <a:cubicBezTo>
                    <a:pt x="38" y="58"/>
                    <a:pt x="29" y="65"/>
                    <a:pt x="23" y="74"/>
                  </a:cubicBezTo>
                  <a:lnTo>
                    <a:pt x="4" y="74"/>
                  </a:lnTo>
                  <a:close/>
                  <a:moveTo>
                    <a:pt x="112" y="99"/>
                  </a:moveTo>
                  <a:cubicBezTo>
                    <a:pt x="17" y="99"/>
                    <a:pt x="17" y="99"/>
                    <a:pt x="17" y="99"/>
                  </a:cubicBezTo>
                  <a:cubicBezTo>
                    <a:pt x="19" y="79"/>
                    <a:pt x="34" y="62"/>
                    <a:pt x="54" y="57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94" y="62"/>
                    <a:pt x="110" y="79"/>
                    <a:pt x="112" y="99"/>
                  </a:cubicBezTo>
                  <a:close/>
                  <a:moveTo>
                    <a:pt x="106" y="74"/>
                  </a:moveTo>
                  <a:cubicBezTo>
                    <a:pt x="100" y="65"/>
                    <a:pt x="90" y="58"/>
                    <a:pt x="79" y="55"/>
                  </a:cubicBezTo>
                  <a:cubicBezTo>
                    <a:pt x="83" y="53"/>
                    <a:pt x="85" y="51"/>
                    <a:pt x="87" y="48"/>
                  </a:cubicBezTo>
                  <a:cubicBezTo>
                    <a:pt x="88" y="48"/>
                    <a:pt x="89" y="48"/>
                    <a:pt x="90" y="48"/>
                  </a:cubicBezTo>
                  <a:cubicBezTo>
                    <a:pt x="92" y="48"/>
                    <a:pt x="94" y="48"/>
                    <a:pt x="97" y="47"/>
                  </a:cubicBezTo>
                  <a:cubicBezTo>
                    <a:pt x="110" y="50"/>
                    <a:pt x="120" y="61"/>
                    <a:pt x="121" y="74"/>
                  </a:cubicBezTo>
                  <a:lnTo>
                    <a:pt x="106" y="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15" name="Freeform 111"/>
            <p:cNvSpPr>
              <a:spLocks noEditPoints="1"/>
            </p:cNvSpPr>
            <p:nvPr/>
          </p:nvSpPr>
          <p:spPr bwMode="auto">
            <a:xfrm>
              <a:off x="1631" y="977"/>
              <a:ext cx="485" cy="484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0" y="101"/>
                </a:cxn>
                <a:cxn ang="0">
                  <a:pos x="102" y="202"/>
                </a:cxn>
                <a:cxn ang="0">
                  <a:pos x="203" y="101"/>
                </a:cxn>
                <a:cxn ang="0">
                  <a:pos x="102" y="0"/>
                </a:cxn>
                <a:cxn ang="0">
                  <a:pos x="170" y="169"/>
                </a:cxn>
                <a:cxn ang="0">
                  <a:pos x="102" y="197"/>
                </a:cxn>
                <a:cxn ang="0">
                  <a:pos x="34" y="169"/>
                </a:cxn>
                <a:cxn ang="0">
                  <a:pos x="5" y="101"/>
                </a:cxn>
                <a:cxn ang="0">
                  <a:pos x="34" y="33"/>
                </a:cxn>
                <a:cxn ang="0">
                  <a:pos x="102" y="5"/>
                </a:cxn>
                <a:cxn ang="0">
                  <a:pos x="170" y="33"/>
                </a:cxn>
                <a:cxn ang="0">
                  <a:pos x="198" y="101"/>
                </a:cxn>
                <a:cxn ang="0">
                  <a:pos x="170" y="169"/>
                </a:cxn>
              </a:cxnLst>
              <a:rect l="0" t="0" r="r" b="b"/>
              <a:pathLst>
                <a:path w="203" h="202">
                  <a:moveTo>
                    <a:pt x="102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2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2" y="0"/>
                  </a:cubicBezTo>
                  <a:close/>
                  <a:moveTo>
                    <a:pt x="170" y="169"/>
                  </a:moveTo>
                  <a:cubicBezTo>
                    <a:pt x="151" y="187"/>
                    <a:pt x="127" y="197"/>
                    <a:pt x="102" y="197"/>
                  </a:cubicBezTo>
                  <a:cubicBezTo>
                    <a:pt x="76" y="197"/>
                    <a:pt x="52" y="187"/>
                    <a:pt x="34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4" y="33"/>
                  </a:cubicBezTo>
                  <a:cubicBezTo>
                    <a:pt x="52" y="15"/>
                    <a:pt x="76" y="5"/>
                    <a:pt x="102" y="5"/>
                  </a:cubicBezTo>
                  <a:cubicBezTo>
                    <a:pt x="127" y="5"/>
                    <a:pt x="151" y="15"/>
                    <a:pt x="170" y="33"/>
                  </a:cubicBezTo>
                  <a:cubicBezTo>
                    <a:pt x="188" y="51"/>
                    <a:pt x="198" y="75"/>
                    <a:pt x="198" y="101"/>
                  </a:cubicBezTo>
                  <a:cubicBezTo>
                    <a:pt x="198" y="127"/>
                    <a:pt x="188" y="151"/>
                    <a:pt x="170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18" name="Group 114"/>
          <p:cNvGrpSpPr>
            <a:grpSpLocks noChangeAspect="1"/>
          </p:cNvGrpSpPr>
          <p:nvPr/>
        </p:nvGrpSpPr>
        <p:grpSpPr bwMode="auto">
          <a:xfrm>
            <a:off x="4733925" y="1542388"/>
            <a:ext cx="835025" cy="835025"/>
            <a:chOff x="2981" y="957"/>
            <a:chExt cx="526" cy="526"/>
          </a:xfrm>
        </p:grpSpPr>
        <p:sp>
          <p:nvSpPr>
            <p:cNvPr id="47219" name="Oval 115"/>
            <p:cNvSpPr>
              <a:spLocks noChangeArrowheads="1"/>
            </p:cNvSpPr>
            <p:nvPr/>
          </p:nvSpPr>
          <p:spPr bwMode="auto">
            <a:xfrm>
              <a:off x="2981" y="957"/>
              <a:ext cx="526" cy="52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20" name="Freeform 116"/>
            <p:cNvSpPr>
              <a:spLocks noEditPoints="1"/>
            </p:cNvSpPr>
            <p:nvPr/>
          </p:nvSpPr>
          <p:spPr bwMode="auto">
            <a:xfrm>
              <a:off x="3093" y="1093"/>
              <a:ext cx="299" cy="247"/>
            </a:xfrm>
            <a:custGeom>
              <a:avLst/>
              <a:gdLst/>
              <a:ahLst/>
              <a:cxnLst>
                <a:cxn ang="0">
                  <a:pos x="101" y="45"/>
                </a:cxn>
                <a:cxn ang="0">
                  <a:pos x="89" y="7"/>
                </a:cxn>
                <a:cxn ang="0">
                  <a:pos x="64" y="0"/>
                </a:cxn>
                <a:cxn ang="0">
                  <a:pos x="35" y="7"/>
                </a:cxn>
                <a:cxn ang="0">
                  <a:pos x="23" y="45"/>
                </a:cxn>
                <a:cxn ang="0">
                  <a:pos x="0" y="78"/>
                </a:cxn>
                <a:cxn ang="0">
                  <a:pos x="13" y="101"/>
                </a:cxn>
                <a:cxn ang="0">
                  <a:pos x="115" y="103"/>
                </a:cxn>
                <a:cxn ang="0">
                  <a:pos x="108" y="78"/>
                </a:cxn>
                <a:cxn ang="0">
                  <a:pos x="125" y="76"/>
                </a:cxn>
                <a:cxn ang="0">
                  <a:pos x="106" y="28"/>
                </a:cxn>
                <a:cxn ang="0">
                  <a:pos x="95" y="44"/>
                </a:cxn>
                <a:cxn ang="0">
                  <a:pos x="89" y="45"/>
                </a:cxn>
                <a:cxn ang="0">
                  <a:pos x="87" y="11"/>
                </a:cxn>
                <a:cxn ang="0">
                  <a:pos x="64" y="4"/>
                </a:cxn>
                <a:cxn ang="0">
                  <a:pos x="74" y="54"/>
                </a:cxn>
                <a:cxn ang="0">
                  <a:pos x="55" y="54"/>
                </a:cxn>
                <a:cxn ang="0">
                  <a:pos x="38" y="30"/>
                </a:cxn>
                <a:cxn ang="0">
                  <a:pos x="64" y="64"/>
                </a:cxn>
                <a:cxn ang="0">
                  <a:pos x="68" y="59"/>
                </a:cxn>
                <a:cxn ang="0">
                  <a:pos x="64" y="70"/>
                </a:cxn>
                <a:cxn ang="0">
                  <a:pos x="71" y="86"/>
                </a:cxn>
                <a:cxn ang="0">
                  <a:pos x="57" y="86"/>
                </a:cxn>
                <a:cxn ang="0">
                  <a:pos x="64" y="70"/>
                </a:cxn>
                <a:cxn ang="0">
                  <a:pos x="35" y="11"/>
                </a:cxn>
                <a:cxn ang="0">
                  <a:pos x="34" y="30"/>
                </a:cxn>
                <a:cxn ang="0">
                  <a:pos x="35" y="45"/>
                </a:cxn>
                <a:cxn ang="0">
                  <a:pos x="29" y="44"/>
                </a:cxn>
                <a:cxn ang="0">
                  <a:pos x="4" y="74"/>
                </a:cxn>
                <a:cxn ang="0">
                  <a:pos x="35" y="48"/>
                </a:cxn>
                <a:cxn ang="0">
                  <a:pos x="49" y="55"/>
                </a:cxn>
                <a:cxn ang="0">
                  <a:pos x="4" y="74"/>
                </a:cxn>
                <a:cxn ang="0">
                  <a:pos x="59" y="63"/>
                </a:cxn>
                <a:cxn ang="0">
                  <a:pos x="60" y="99"/>
                </a:cxn>
                <a:cxn ang="0">
                  <a:pos x="54" y="57"/>
                </a:cxn>
                <a:cxn ang="0">
                  <a:pos x="67" y="99"/>
                </a:cxn>
                <a:cxn ang="0">
                  <a:pos x="69" y="64"/>
                </a:cxn>
                <a:cxn ang="0">
                  <a:pos x="111" y="99"/>
                </a:cxn>
                <a:cxn ang="0">
                  <a:pos x="79" y="55"/>
                </a:cxn>
                <a:cxn ang="0">
                  <a:pos x="90" y="48"/>
                </a:cxn>
                <a:cxn ang="0">
                  <a:pos x="121" y="74"/>
                </a:cxn>
              </a:cxnLst>
              <a:rect l="0" t="0" r="r" b="b"/>
              <a:pathLst>
                <a:path w="125" h="103">
                  <a:moveTo>
                    <a:pt x="125" y="76"/>
                  </a:moveTo>
                  <a:cubicBezTo>
                    <a:pt x="124" y="62"/>
                    <a:pt x="114" y="49"/>
                    <a:pt x="101" y="45"/>
                  </a:cubicBezTo>
                  <a:cubicBezTo>
                    <a:pt x="106" y="41"/>
                    <a:pt x="110" y="35"/>
                    <a:pt x="110" y="28"/>
                  </a:cubicBezTo>
                  <a:cubicBezTo>
                    <a:pt x="110" y="16"/>
                    <a:pt x="101" y="7"/>
                    <a:pt x="89" y="7"/>
                  </a:cubicBezTo>
                  <a:cubicBezTo>
                    <a:pt x="88" y="7"/>
                    <a:pt x="86" y="7"/>
                    <a:pt x="84" y="8"/>
                  </a:cubicBezTo>
                  <a:cubicBezTo>
                    <a:pt x="79" y="3"/>
                    <a:pt x="72" y="0"/>
                    <a:pt x="64" y="0"/>
                  </a:cubicBezTo>
                  <a:cubicBezTo>
                    <a:pt x="56" y="0"/>
                    <a:pt x="48" y="3"/>
                    <a:pt x="43" y="9"/>
                  </a:cubicBezTo>
                  <a:cubicBezTo>
                    <a:pt x="40" y="8"/>
                    <a:pt x="38" y="7"/>
                    <a:pt x="35" y="7"/>
                  </a:cubicBezTo>
                  <a:cubicBezTo>
                    <a:pt x="24" y="7"/>
                    <a:pt x="14" y="16"/>
                    <a:pt x="14" y="28"/>
                  </a:cubicBezTo>
                  <a:cubicBezTo>
                    <a:pt x="14" y="35"/>
                    <a:pt x="18" y="41"/>
                    <a:pt x="23" y="45"/>
                  </a:cubicBezTo>
                  <a:cubicBezTo>
                    <a:pt x="10" y="49"/>
                    <a:pt x="1" y="62"/>
                    <a:pt x="0" y="76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6" y="85"/>
                    <a:pt x="13" y="92"/>
                    <a:pt x="13" y="101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15" y="103"/>
                    <a:pt x="115" y="103"/>
                    <a:pt x="115" y="103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5" y="92"/>
                    <a:pt x="112" y="85"/>
                    <a:pt x="108" y="78"/>
                  </a:cubicBezTo>
                  <a:cubicBezTo>
                    <a:pt x="125" y="78"/>
                    <a:pt x="125" y="78"/>
                    <a:pt x="125" y="78"/>
                  </a:cubicBezTo>
                  <a:lnTo>
                    <a:pt x="125" y="76"/>
                  </a:lnTo>
                  <a:close/>
                  <a:moveTo>
                    <a:pt x="89" y="11"/>
                  </a:moveTo>
                  <a:cubicBezTo>
                    <a:pt x="99" y="11"/>
                    <a:pt x="106" y="18"/>
                    <a:pt x="106" y="28"/>
                  </a:cubicBezTo>
                  <a:cubicBezTo>
                    <a:pt x="106" y="35"/>
                    <a:pt x="102" y="41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3" y="44"/>
                    <a:pt x="91" y="45"/>
                    <a:pt x="90" y="45"/>
                  </a:cubicBezTo>
                  <a:cubicBezTo>
                    <a:pt x="90" y="45"/>
                    <a:pt x="89" y="45"/>
                    <a:pt x="89" y="45"/>
                  </a:cubicBezTo>
                  <a:cubicBezTo>
                    <a:pt x="92" y="40"/>
                    <a:pt x="93" y="35"/>
                    <a:pt x="93" y="30"/>
                  </a:cubicBezTo>
                  <a:cubicBezTo>
                    <a:pt x="93" y="23"/>
                    <a:pt x="91" y="16"/>
                    <a:pt x="87" y="11"/>
                  </a:cubicBezTo>
                  <a:cubicBezTo>
                    <a:pt x="88" y="11"/>
                    <a:pt x="89" y="11"/>
                    <a:pt x="89" y="11"/>
                  </a:cubicBezTo>
                  <a:close/>
                  <a:moveTo>
                    <a:pt x="64" y="4"/>
                  </a:moveTo>
                  <a:cubicBezTo>
                    <a:pt x="78" y="4"/>
                    <a:pt x="90" y="15"/>
                    <a:pt x="90" y="30"/>
                  </a:cubicBezTo>
                  <a:cubicBezTo>
                    <a:pt x="90" y="40"/>
                    <a:pt x="83" y="50"/>
                    <a:pt x="74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66" y="56"/>
                    <a:pt x="61" y="56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44" y="50"/>
                    <a:pt x="38" y="40"/>
                    <a:pt x="38" y="30"/>
                  </a:cubicBezTo>
                  <a:cubicBezTo>
                    <a:pt x="38" y="15"/>
                    <a:pt x="50" y="4"/>
                    <a:pt x="64" y="4"/>
                  </a:cubicBezTo>
                  <a:close/>
                  <a:moveTo>
                    <a:pt x="64" y="64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3" y="59"/>
                    <a:pt x="65" y="59"/>
                    <a:pt x="68" y="59"/>
                  </a:cubicBezTo>
                  <a:lnTo>
                    <a:pt x="64" y="64"/>
                  </a:lnTo>
                  <a:close/>
                  <a:moveTo>
                    <a:pt x="64" y="70"/>
                  </a:moveTo>
                  <a:cubicBezTo>
                    <a:pt x="66" y="67"/>
                    <a:pt x="66" y="67"/>
                    <a:pt x="66" y="67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62" y="67"/>
                    <a:pt x="62" y="67"/>
                    <a:pt x="62" y="67"/>
                  </a:cubicBezTo>
                  <a:lnTo>
                    <a:pt x="64" y="70"/>
                  </a:lnTo>
                  <a:close/>
                  <a:moveTo>
                    <a:pt x="18" y="28"/>
                  </a:moveTo>
                  <a:cubicBezTo>
                    <a:pt x="18" y="18"/>
                    <a:pt x="26" y="11"/>
                    <a:pt x="35" y="11"/>
                  </a:cubicBezTo>
                  <a:cubicBezTo>
                    <a:pt x="37" y="11"/>
                    <a:pt x="39" y="11"/>
                    <a:pt x="40" y="12"/>
                  </a:cubicBezTo>
                  <a:cubicBezTo>
                    <a:pt x="36" y="17"/>
                    <a:pt x="34" y="23"/>
                    <a:pt x="34" y="30"/>
                  </a:cubicBezTo>
                  <a:cubicBezTo>
                    <a:pt x="34" y="35"/>
                    <a:pt x="36" y="40"/>
                    <a:pt x="38" y="44"/>
                  </a:cubicBezTo>
                  <a:cubicBezTo>
                    <a:pt x="37" y="45"/>
                    <a:pt x="36" y="45"/>
                    <a:pt x="35" y="45"/>
                  </a:cubicBezTo>
                  <a:cubicBezTo>
                    <a:pt x="33" y="45"/>
                    <a:pt x="31" y="44"/>
                    <a:pt x="30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2" y="41"/>
                    <a:pt x="18" y="35"/>
                    <a:pt x="18" y="28"/>
                  </a:cubicBezTo>
                  <a:close/>
                  <a:moveTo>
                    <a:pt x="4" y="74"/>
                  </a:moveTo>
                  <a:cubicBezTo>
                    <a:pt x="5" y="61"/>
                    <a:pt x="15" y="50"/>
                    <a:pt x="28" y="47"/>
                  </a:cubicBezTo>
                  <a:cubicBezTo>
                    <a:pt x="30" y="48"/>
                    <a:pt x="33" y="48"/>
                    <a:pt x="35" y="48"/>
                  </a:cubicBezTo>
                  <a:cubicBezTo>
                    <a:pt x="37" y="48"/>
                    <a:pt x="39" y="48"/>
                    <a:pt x="41" y="48"/>
                  </a:cubicBezTo>
                  <a:cubicBezTo>
                    <a:pt x="43" y="51"/>
                    <a:pt x="46" y="53"/>
                    <a:pt x="49" y="55"/>
                  </a:cubicBezTo>
                  <a:cubicBezTo>
                    <a:pt x="38" y="58"/>
                    <a:pt x="29" y="65"/>
                    <a:pt x="22" y="74"/>
                  </a:cubicBezTo>
                  <a:lnTo>
                    <a:pt x="4" y="74"/>
                  </a:lnTo>
                  <a:close/>
                  <a:moveTo>
                    <a:pt x="54" y="57"/>
                  </a:moveTo>
                  <a:cubicBezTo>
                    <a:pt x="59" y="63"/>
                    <a:pt x="59" y="63"/>
                    <a:pt x="59" y="63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60" y="99"/>
                    <a:pt x="60" y="99"/>
                    <a:pt x="60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9" y="79"/>
                    <a:pt x="34" y="62"/>
                    <a:pt x="54" y="57"/>
                  </a:cubicBezTo>
                  <a:close/>
                  <a:moveTo>
                    <a:pt x="111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94" y="62"/>
                    <a:pt x="109" y="79"/>
                    <a:pt x="111" y="99"/>
                  </a:cubicBezTo>
                  <a:close/>
                  <a:moveTo>
                    <a:pt x="106" y="74"/>
                  </a:moveTo>
                  <a:cubicBezTo>
                    <a:pt x="99" y="65"/>
                    <a:pt x="90" y="58"/>
                    <a:pt x="79" y="55"/>
                  </a:cubicBezTo>
                  <a:cubicBezTo>
                    <a:pt x="82" y="53"/>
                    <a:pt x="85" y="51"/>
                    <a:pt x="87" y="48"/>
                  </a:cubicBezTo>
                  <a:cubicBezTo>
                    <a:pt x="88" y="48"/>
                    <a:pt x="89" y="48"/>
                    <a:pt x="90" y="48"/>
                  </a:cubicBezTo>
                  <a:cubicBezTo>
                    <a:pt x="92" y="48"/>
                    <a:pt x="94" y="48"/>
                    <a:pt x="96" y="47"/>
                  </a:cubicBezTo>
                  <a:cubicBezTo>
                    <a:pt x="109" y="50"/>
                    <a:pt x="119" y="61"/>
                    <a:pt x="121" y="74"/>
                  </a:cubicBezTo>
                  <a:lnTo>
                    <a:pt x="106" y="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21" name="Freeform 117"/>
            <p:cNvSpPr>
              <a:spLocks noEditPoints="1"/>
            </p:cNvSpPr>
            <p:nvPr/>
          </p:nvSpPr>
          <p:spPr bwMode="auto">
            <a:xfrm>
              <a:off x="3002" y="97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24" name="Group 120"/>
          <p:cNvGrpSpPr>
            <a:grpSpLocks noChangeAspect="1"/>
          </p:cNvGrpSpPr>
          <p:nvPr/>
        </p:nvGrpSpPr>
        <p:grpSpPr bwMode="auto">
          <a:xfrm>
            <a:off x="5864221" y="1574139"/>
            <a:ext cx="768350" cy="768350"/>
            <a:chOff x="3690" y="977"/>
            <a:chExt cx="484" cy="484"/>
          </a:xfrm>
        </p:grpSpPr>
        <p:sp>
          <p:nvSpPr>
            <p:cNvPr id="47225" name="Freeform 121"/>
            <p:cNvSpPr>
              <a:spLocks noEditPoints="1"/>
            </p:cNvSpPr>
            <p:nvPr/>
          </p:nvSpPr>
          <p:spPr bwMode="auto">
            <a:xfrm>
              <a:off x="3781" y="1092"/>
              <a:ext cx="300" cy="247"/>
            </a:xfrm>
            <a:custGeom>
              <a:avLst/>
              <a:gdLst/>
              <a:ahLst/>
              <a:cxnLst>
                <a:cxn ang="0">
                  <a:pos x="101" y="45"/>
                </a:cxn>
                <a:cxn ang="0">
                  <a:pos x="89" y="7"/>
                </a:cxn>
                <a:cxn ang="0">
                  <a:pos x="64" y="0"/>
                </a:cxn>
                <a:cxn ang="0">
                  <a:pos x="35" y="7"/>
                </a:cxn>
                <a:cxn ang="0">
                  <a:pos x="23" y="45"/>
                </a:cxn>
                <a:cxn ang="0">
                  <a:pos x="0" y="78"/>
                </a:cxn>
                <a:cxn ang="0">
                  <a:pos x="13" y="101"/>
                </a:cxn>
                <a:cxn ang="0">
                  <a:pos x="115" y="103"/>
                </a:cxn>
                <a:cxn ang="0">
                  <a:pos x="108" y="78"/>
                </a:cxn>
                <a:cxn ang="0">
                  <a:pos x="125" y="76"/>
                </a:cxn>
                <a:cxn ang="0">
                  <a:pos x="106" y="28"/>
                </a:cxn>
                <a:cxn ang="0">
                  <a:pos x="95" y="44"/>
                </a:cxn>
                <a:cxn ang="0">
                  <a:pos x="89" y="45"/>
                </a:cxn>
                <a:cxn ang="0">
                  <a:pos x="87" y="11"/>
                </a:cxn>
                <a:cxn ang="0">
                  <a:pos x="64" y="4"/>
                </a:cxn>
                <a:cxn ang="0">
                  <a:pos x="73" y="54"/>
                </a:cxn>
                <a:cxn ang="0">
                  <a:pos x="55" y="54"/>
                </a:cxn>
                <a:cxn ang="0">
                  <a:pos x="38" y="30"/>
                </a:cxn>
                <a:cxn ang="0">
                  <a:pos x="64" y="64"/>
                </a:cxn>
                <a:cxn ang="0">
                  <a:pos x="68" y="59"/>
                </a:cxn>
                <a:cxn ang="0">
                  <a:pos x="64" y="70"/>
                </a:cxn>
                <a:cxn ang="0">
                  <a:pos x="71" y="86"/>
                </a:cxn>
                <a:cxn ang="0">
                  <a:pos x="56" y="86"/>
                </a:cxn>
                <a:cxn ang="0">
                  <a:pos x="64" y="70"/>
                </a:cxn>
                <a:cxn ang="0">
                  <a:pos x="35" y="11"/>
                </a:cxn>
                <a:cxn ang="0">
                  <a:pos x="34" y="30"/>
                </a:cxn>
                <a:cxn ang="0">
                  <a:pos x="35" y="45"/>
                </a:cxn>
                <a:cxn ang="0">
                  <a:pos x="29" y="44"/>
                </a:cxn>
                <a:cxn ang="0">
                  <a:pos x="3" y="74"/>
                </a:cxn>
                <a:cxn ang="0">
                  <a:pos x="35" y="48"/>
                </a:cxn>
                <a:cxn ang="0">
                  <a:pos x="49" y="55"/>
                </a:cxn>
                <a:cxn ang="0">
                  <a:pos x="3" y="74"/>
                </a:cxn>
                <a:cxn ang="0">
                  <a:pos x="59" y="63"/>
                </a:cxn>
                <a:cxn ang="0">
                  <a:pos x="60" y="99"/>
                </a:cxn>
                <a:cxn ang="0">
                  <a:pos x="54" y="57"/>
                </a:cxn>
                <a:cxn ang="0">
                  <a:pos x="67" y="99"/>
                </a:cxn>
                <a:cxn ang="0">
                  <a:pos x="69" y="64"/>
                </a:cxn>
                <a:cxn ang="0">
                  <a:pos x="111" y="99"/>
                </a:cxn>
                <a:cxn ang="0">
                  <a:pos x="79" y="55"/>
                </a:cxn>
                <a:cxn ang="0">
                  <a:pos x="90" y="48"/>
                </a:cxn>
                <a:cxn ang="0">
                  <a:pos x="121" y="74"/>
                </a:cxn>
              </a:cxnLst>
              <a:rect l="0" t="0" r="r" b="b"/>
              <a:pathLst>
                <a:path w="125" h="103">
                  <a:moveTo>
                    <a:pt x="125" y="76"/>
                  </a:moveTo>
                  <a:cubicBezTo>
                    <a:pt x="124" y="62"/>
                    <a:pt x="114" y="50"/>
                    <a:pt x="101" y="45"/>
                  </a:cubicBezTo>
                  <a:cubicBezTo>
                    <a:pt x="106" y="41"/>
                    <a:pt x="110" y="35"/>
                    <a:pt x="110" y="28"/>
                  </a:cubicBezTo>
                  <a:cubicBezTo>
                    <a:pt x="110" y="17"/>
                    <a:pt x="101" y="7"/>
                    <a:pt x="89" y="7"/>
                  </a:cubicBezTo>
                  <a:cubicBezTo>
                    <a:pt x="87" y="7"/>
                    <a:pt x="86" y="8"/>
                    <a:pt x="84" y="8"/>
                  </a:cubicBezTo>
                  <a:cubicBezTo>
                    <a:pt x="79" y="3"/>
                    <a:pt x="72" y="0"/>
                    <a:pt x="64" y="0"/>
                  </a:cubicBezTo>
                  <a:cubicBezTo>
                    <a:pt x="56" y="0"/>
                    <a:pt x="48" y="3"/>
                    <a:pt x="43" y="9"/>
                  </a:cubicBezTo>
                  <a:cubicBezTo>
                    <a:pt x="40" y="8"/>
                    <a:pt x="38" y="7"/>
                    <a:pt x="35" y="7"/>
                  </a:cubicBezTo>
                  <a:cubicBezTo>
                    <a:pt x="24" y="7"/>
                    <a:pt x="14" y="17"/>
                    <a:pt x="14" y="28"/>
                  </a:cubicBezTo>
                  <a:cubicBezTo>
                    <a:pt x="14" y="35"/>
                    <a:pt x="18" y="41"/>
                    <a:pt x="23" y="45"/>
                  </a:cubicBezTo>
                  <a:cubicBezTo>
                    <a:pt x="10" y="50"/>
                    <a:pt x="1" y="62"/>
                    <a:pt x="0" y="76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6" y="85"/>
                    <a:pt x="13" y="93"/>
                    <a:pt x="13" y="101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15" y="103"/>
                    <a:pt x="115" y="103"/>
                    <a:pt x="115" y="103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4" y="93"/>
                    <a:pt x="112" y="85"/>
                    <a:pt x="108" y="78"/>
                  </a:cubicBezTo>
                  <a:cubicBezTo>
                    <a:pt x="125" y="78"/>
                    <a:pt x="125" y="78"/>
                    <a:pt x="125" y="78"/>
                  </a:cubicBezTo>
                  <a:lnTo>
                    <a:pt x="125" y="76"/>
                  </a:lnTo>
                  <a:close/>
                  <a:moveTo>
                    <a:pt x="89" y="11"/>
                  </a:moveTo>
                  <a:cubicBezTo>
                    <a:pt x="99" y="11"/>
                    <a:pt x="106" y="19"/>
                    <a:pt x="106" y="28"/>
                  </a:cubicBezTo>
                  <a:cubicBezTo>
                    <a:pt x="106" y="35"/>
                    <a:pt x="102" y="41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3" y="45"/>
                    <a:pt x="91" y="45"/>
                    <a:pt x="90" y="45"/>
                  </a:cubicBezTo>
                  <a:cubicBezTo>
                    <a:pt x="90" y="45"/>
                    <a:pt x="89" y="45"/>
                    <a:pt x="89" y="45"/>
                  </a:cubicBezTo>
                  <a:cubicBezTo>
                    <a:pt x="92" y="40"/>
                    <a:pt x="93" y="35"/>
                    <a:pt x="93" y="30"/>
                  </a:cubicBezTo>
                  <a:cubicBezTo>
                    <a:pt x="93" y="23"/>
                    <a:pt x="91" y="16"/>
                    <a:pt x="87" y="11"/>
                  </a:cubicBezTo>
                  <a:cubicBezTo>
                    <a:pt x="88" y="11"/>
                    <a:pt x="89" y="11"/>
                    <a:pt x="89" y="11"/>
                  </a:cubicBezTo>
                  <a:close/>
                  <a:moveTo>
                    <a:pt x="64" y="4"/>
                  </a:moveTo>
                  <a:cubicBezTo>
                    <a:pt x="78" y="4"/>
                    <a:pt x="90" y="15"/>
                    <a:pt x="90" y="30"/>
                  </a:cubicBezTo>
                  <a:cubicBezTo>
                    <a:pt x="90" y="40"/>
                    <a:pt x="83" y="50"/>
                    <a:pt x="73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66" y="56"/>
                    <a:pt x="61" y="56"/>
                    <a:pt x="55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44" y="50"/>
                    <a:pt x="38" y="40"/>
                    <a:pt x="38" y="30"/>
                  </a:cubicBezTo>
                  <a:cubicBezTo>
                    <a:pt x="38" y="15"/>
                    <a:pt x="49" y="4"/>
                    <a:pt x="64" y="4"/>
                  </a:cubicBezTo>
                  <a:close/>
                  <a:moveTo>
                    <a:pt x="64" y="64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2" y="59"/>
                    <a:pt x="65" y="59"/>
                    <a:pt x="68" y="59"/>
                  </a:cubicBezTo>
                  <a:lnTo>
                    <a:pt x="64" y="64"/>
                  </a:lnTo>
                  <a:close/>
                  <a:moveTo>
                    <a:pt x="64" y="70"/>
                  </a:moveTo>
                  <a:cubicBezTo>
                    <a:pt x="66" y="67"/>
                    <a:pt x="66" y="67"/>
                    <a:pt x="66" y="67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61" y="67"/>
                    <a:pt x="61" y="67"/>
                    <a:pt x="61" y="67"/>
                  </a:cubicBezTo>
                  <a:lnTo>
                    <a:pt x="64" y="70"/>
                  </a:lnTo>
                  <a:close/>
                  <a:moveTo>
                    <a:pt x="18" y="28"/>
                  </a:moveTo>
                  <a:cubicBezTo>
                    <a:pt x="18" y="19"/>
                    <a:pt x="26" y="11"/>
                    <a:pt x="35" y="11"/>
                  </a:cubicBezTo>
                  <a:cubicBezTo>
                    <a:pt x="37" y="11"/>
                    <a:pt x="39" y="11"/>
                    <a:pt x="40" y="12"/>
                  </a:cubicBezTo>
                  <a:cubicBezTo>
                    <a:pt x="36" y="17"/>
                    <a:pt x="34" y="23"/>
                    <a:pt x="34" y="30"/>
                  </a:cubicBezTo>
                  <a:cubicBezTo>
                    <a:pt x="34" y="35"/>
                    <a:pt x="36" y="40"/>
                    <a:pt x="38" y="44"/>
                  </a:cubicBezTo>
                  <a:cubicBezTo>
                    <a:pt x="37" y="45"/>
                    <a:pt x="36" y="45"/>
                    <a:pt x="35" y="45"/>
                  </a:cubicBezTo>
                  <a:cubicBezTo>
                    <a:pt x="33" y="45"/>
                    <a:pt x="31" y="45"/>
                    <a:pt x="30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2" y="41"/>
                    <a:pt x="18" y="35"/>
                    <a:pt x="18" y="28"/>
                  </a:cubicBezTo>
                  <a:close/>
                  <a:moveTo>
                    <a:pt x="3" y="74"/>
                  </a:moveTo>
                  <a:cubicBezTo>
                    <a:pt x="5" y="61"/>
                    <a:pt x="15" y="50"/>
                    <a:pt x="28" y="47"/>
                  </a:cubicBezTo>
                  <a:cubicBezTo>
                    <a:pt x="30" y="48"/>
                    <a:pt x="33" y="48"/>
                    <a:pt x="35" y="48"/>
                  </a:cubicBezTo>
                  <a:cubicBezTo>
                    <a:pt x="37" y="48"/>
                    <a:pt x="39" y="48"/>
                    <a:pt x="41" y="48"/>
                  </a:cubicBezTo>
                  <a:cubicBezTo>
                    <a:pt x="43" y="51"/>
                    <a:pt x="46" y="53"/>
                    <a:pt x="49" y="55"/>
                  </a:cubicBezTo>
                  <a:cubicBezTo>
                    <a:pt x="38" y="58"/>
                    <a:pt x="28" y="65"/>
                    <a:pt x="22" y="74"/>
                  </a:cubicBezTo>
                  <a:lnTo>
                    <a:pt x="3" y="74"/>
                  </a:lnTo>
                  <a:close/>
                  <a:moveTo>
                    <a:pt x="54" y="57"/>
                  </a:moveTo>
                  <a:cubicBezTo>
                    <a:pt x="59" y="63"/>
                    <a:pt x="59" y="63"/>
                    <a:pt x="59" y="63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60" y="99"/>
                    <a:pt x="60" y="99"/>
                    <a:pt x="60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9" y="79"/>
                    <a:pt x="34" y="62"/>
                    <a:pt x="54" y="57"/>
                  </a:cubicBezTo>
                  <a:close/>
                  <a:moveTo>
                    <a:pt x="111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75" y="87"/>
                    <a:pt x="75" y="87"/>
                    <a:pt x="75" y="87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94" y="62"/>
                    <a:pt x="109" y="79"/>
                    <a:pt x="111" y="99"/>
                  </a:cubicBezTo>
                  <a:close/>
                  <a:moveTo>
                    <a:pt x="106" y="74"/>
                  </a:moveTo>
                  <a:cubicBezTo>
                    <a:pt x="99" y="65"/>
                    <a:pt x="90" y="58"/>
                    <a:pt x="79" y="55"/>
                  </a:cubicBezTo>
                  <a:cubicBezTo>
                    <a:pt x="82" y="53"/>
                    <a:pt x="85" y="51"/>
                    <a:pt x="87" y="48"/>
                  </a:cubicBezTo>
                  <a:cubicBezTo>
                    <a:pt x="88" y="48"/>
                    <a:pt x="89" y="48"/>
                    <a:pt x="90" y="48"/>
                  </a:cubicBezTo>
                  <a:cubicBezTo>
                    <a:pt x="92" y="48"/>
                    <a:pt x="94" y="48"/>
                    <a:pt x="96" y="47"/>
                  </a:cubicBezTo>
                  <a:cubicBezTo>
                    <a:pt x="109" y="50"/>
                    <a:pt x="119" y="61"/>
                    <a:pt x="121" y="74"/>
                  </a:cubicBezTo>
                  <a:lnTo>
                    <a:pt x="106" y="7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26" name="Freeform 122"/>
            <p:cNvSpPr>
              <a:spLocks noEditPoints="1"/>
            </p:cNvSpPr>
            <p:nvPr/>
          </p:nvSpPr>
          <p:spPr bwMode="auto">
            <a:xfrm>
              <a:off x="3690" y="97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29" name="Group 125"/>
          <p:cNvGrpSpPr>
            <a:grpSpLocks noChangeAspect="1"/>
          </p:cNvGrpSpPr>
          <p:nvPr/>
        </p:nvGrpSpPr>
        <p:grpSpPr bwMode="auto">
          <a:xfrm>
            <a:off x="6920682" y="1539213"/>
            <a:ext cx="836612" cy="835025"/>
            <a:chOff x="4359" y="955"/>
            <a:chExt cx="527" cy="526"/>
          </a:xfrm>
        </p:grpSpPr>
        <p:sp>
          <p:nvSpPr>
            <p:cNvPr id="47230" name="Oval 126"/>
            <p:cNvSpPr>
              <a:spLocks noChangeArrowheads="1"/>
            </p:cNvSpPr>
            <p:nvPr/>
          </p:nvSpPr>
          <p:spPr bwMode="auto">
            <a:xfrm>
              <a:off x="4359" y="955"/>
              <a:ext cx="527" cy="52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31" name="Freeform 127"/>
            <p:cNvSpPr>
              <a:spLocks noEditPoints="1"/>
            </p:cNvSpPr>
            <p:nvPr/>
          </p:nvSpPr>
          <p:spPr bwMode="auto">
            <a:xfrm>
              <a:off x="4381" y="976"/>
              <a:ext cx="485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3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8" y="101"/>
                </a:cxn>
                <a:cxn ang="0">
                  <a:pos x="169" y="169"/>
                </a:cxn>
              </a:cxnLst>
              <a:rect l="0" t="0" r="r" b="b"/>
              <a:pathLst>
                <a:path w="203" h="202">
                  <a:moveTo>
                    <a:pt x="101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1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2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1"/>
                    <a:pt x="33" y="33"/>
                  </a:cubicBezTo>
                  <a:cubicBezTo>
                    <a:pt x="52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8" y="51"/>
                    <a:pt x="198" y="76"/>
                    <a:pt x="198" y="101"/>
                  </a:cubicBezTo>
                  <a:cubicBezTo>
                    <a:pt x="198" y="127"/>
                    <a:pt x="188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32" name="Freeform 128"/>
            <p:cNvSpPr>
              <a:spLocks noEditPoints="1"/>
            </p:cNvSpPr>
            <p:nvPr/>
          </p:nvSpPr>
          <p:spPr bwMode="auto">
            <a:xfrm>
              <a:off x="4543" y="1053"/>
              <a:ext cx="158" cy="330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29"/>
                </a:cxn>
                <a:cxn ang="0">
                  <a:pos x="8" y="138"/>
                </a:cxn>
                <a:cxn ang="0">
                  <a:pos x="58" y="138"/>
                </a:cxn>
                <a:cxn ang="0">
                  <a:pos x="66" y="129"/>
                </a:cxn>
                <a:cxn ang="0">
                  <a:pos x="66" y="9"/>
                </a:cxn>
                <a:cxn ang="0">
                  <a:pos x="58" y="0"/>
                </a:cxn>
                <a:cxn ang="0">
                  <a:pos x="8" y="4"/>
                </a:cxn>
                <a:cxn ang="0">
                  <a:pos x="58" y="4"/>
                </a:cxn>
                <a:cxn ang="0">
                  <a:pos x="63" y="9"/>
                </a:cxn>
                <a:cxn ang="0">
                  <a:pos x="63" y="17"/>
                </a:cxn>
                <a:cxn ang="0">
                  <a:pos x="3" y="17"/>
                </a:cxn>
                <a:cxn ang="0">
                  <a:pos x="3" y="9"/>
                </a:cxn>
                <a:cxn ang="0">
                  <a:pos x="8" y="4"/>
                </a:cxn>
                <a:cxn ang="0">
                  <a:pos x="63" y="21"/>
                </a:cxn>
                <a:cxn ang="0">
                  <a:pos x="63" y="108"/>
                </a:cxn>
                <a:cxn ang="0">
                  <a:pos x="3" y="108"/>
                </a:cxn>
                <a:cxn ang="0">
                  <a:pos x="3" y="21"/>
                </a:cxn>
                <a:cxn ang="0">
                  <a:pos x="63" y="21"/>
                </a:cxn>
                <a:cxn ang="0">
                  <a:pos x="58" y="134"/>
                </a:cxn>
                <a:cxn ang="0">
                  <a:pos x="8" y="134"/>
                </a:cxn>
                <a:cxn ang="0">
                  <a:pos x="3" y="129"/>
                </a:cxn>
                <a:cxn ang="0">
                  <a:pos x="3" y="112"/>
                </a:cxn>
                <a:cxn ang="0">
                  <a:pos x="63" y="112"/>
                </a:cxn>
                <a:cxn ang="0">
                  <a:pos x="63" y="129"/>
                </a:cxn>
                <a:cxn ang="0">
                  <a:pos x="58" y="134"/>
                </a:cxn>
              </a:cxnLst>
              <a:rect l="0" t="0" r="r" b="b"/>
              <a:pathLst>
                <a:path w="66" h="138">
                  <a:moveTo>
                    <a:pt x="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4"/>
                    <a:pt x="3" y="138"/>
                    <a:pt x="8" y="138"/>
                  </a:cubicBezTo>
                  <a:cubicBezTo>
                    <a:pt x="58" y="138"/>
                    <a:pt x="58" y="138"/>
                    <a:pt x="58" y="138"/>
                  </a:cubicBezTo>
                  <a:cubicBezTo>
                    <a:pt x="63" y="138"/>
                    <a:pt x="66" y="134"/>
                    <a:pt x="66" y="12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4"/>
                    <a:pt x="63" y="0"/>
                    <a:pt x="58" y="0"/>
                  </a:cubicBezTo>
                  <a:close/>
                  <a:moveTo>
                    <a:pt x="8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1" y="4"/>
                    <a:pt x="63" y="6"/>
                    <a:pt x="63" y="9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6"/>
                    <a:pt x="5" y="4"/>
                    <a:pt x="8" y="4"/>
                  </a:cubicBezTo>
                  <a:close/>
                  <a:moveTo>
                    <a:pt x="63" y="21"/>
                  </a:moveTo>
                  <a:cubicBezTo>
                    <a:pt x="63" y="108"/>
                    <a:pt x="63" y="108"/>
                    <a:pt x="6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21"/>
                    <a:pt x="3" y="21"/>
                    <a:pt x="3" y="21"/>
                  </a:cubicBezTo>
                  <a:lnTo>
                    <a:pt x="63" y="21"/>
                  </a:lnTo>
                  <a:close/>
                  <a:moveTo>
                    <a:pt x="58" y="134"/>
                  </a:moveTo>
                  <a:cubicBezTo>
                    <a:pt x="8" y="134"/>
                    <a:pt x="8" y="134"/>
                    <a:pt x="8" y="134"/>
                  </a:cubicBezTo>
                  <a:cubicBezTo>
                    <a:pt x="5" y="134"/>
                    <a:pt x="3" y="132"/>
                    <a:pt x="3" y="129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32"/>
                    <a:pt x="61" y="134"/>
                    <a:pt x="58" y="13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33" name="Freeform 129"/>
            <p:cNvSpPr>
              <a:spLocks noEditPoints="1"/>
            </p:cNvSpPr>
            <p:nvPr/>
          </p:nvSpPr>
          <p:spPr bwMode="auto">
            <a:xfrm>
              <a:off x="4606" y="1325"/>
              <a:ext cx="33" cy="36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8"/>
                </a:cxn>
                <a:cxn ang="0">
                  <a:pos x="7" y="15"/>
                </a:cxn>
                <a:cxn ang="0">
                  <a:pos x="14" y="8"/>
                </a:cxn>
                <a:cxn ang="0">
                  <a:pos x="7" y="0"/>
                </a:cxn>
                <a:cxn ang="0">
                  <a:pos x="7" y="11"/>
                </a:cxn>
                <a:cxn ang="0">
                  <a:pos x="3" y="8"/>
                </a:cxn>
                <a:cxn ang="0">
                  <a:pos x="7" y="4"/>
                </a:cxn>
                <a:cxn ang="0">
                  <a:pos x="11" y="8"/>
                </a:cxn>
                <a:cxn ang="0">
                  <a:pos x="7" y="11"/>
                </a:cxn>
              </a:cxnLst>
              <a:rect l="0" t="0" r="r" b="b"/>
              <a:pathLst>
                <a:path w="14" h="15">
                  <a:moveTo>
                    <a:pt x="7" y="0"/>
                  </a:move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5"/>
                    <a:pt x="7" y="15"/>
                  </a:cubicBezTo>
                  <a:cubicBezTo>
                    <a:pt x="11" y="15"/>
                    <a:pt x="14" y="12"/>
                    <a:pt x="14" y="8"/>
                  </a:cubicBezTo>
                  <a:cubicBezTo>
                    <a:pt x="14" y="4"/>
                    <a:pt x="11" y="0"/>
                    <a:pt x="7" y="0"/>
                  </a:cubicBezTo>
                  <a:close/>
                  <a:moveTo>
                    <a:pt x="7" y="11"/>
                  </a:moveTo>
                  <a:cubicBezTo>
                    <a:pt x="5" y="11"/>
                    <a:pt x="3" y="10"/>
                    <a:pt x="3" y="8"/>
                  </a:cubicBezTo>
                  <a:cubicBezTo>
                    <a:pt x="3" y="6"/>
                    <a:pt x="5" y="4"/>
                    <a:pt x="7" y="4"/>
                  </a:cubicBezTo>
                  <a:cubicBezTo>
                    <a:pt x="9" y="4"/>
                    <a:pt x="11" y="6"/>
                    <a:pt x="11" y="8"/>
                  </a:cubicBezTo>
                  <a:cubicBezTo>
                    <a:pt x="11" y="10"/>
                    <a:pt x="9" y="11"/>
                    <a:pt x="7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34" name="Rectangle 130"/>
            <p:cNvSpPr>
              <a:spLocks noChangeArrowheads="1"/>
            </p:cNvSpPr>
            <p:nvPr/>
          </p:nvSpPr>
          <p:spPr bwMode="auto">
            <a:xfrm>
              <a:off x="4606" y="1077"/>
              <a:ext cx="33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37" name="Group 133"/>
          <p:cNvGrpSpPr>
            <a:grpSpLocks noChangeAspect="1"/>
          </p:cNvGrpSpPr>
          <p:nvPr/>
        </p:nvGrpSpPr>
        <p:grpSpPr bwMode="auto">
          <a:xfrm>
            <a:off x="8061331" y="1574139"/>
            <a:ext cx="768350" cy="768350"/>
            <a:chOff x="5071" y="977"/>
            <a:chExt cx="484" cy="484"/>
          </a:xfrm>
        </p:grpSpPr>
        <p:sp>
          <p:nvSpPr>
            <p:cNvPr id="47238" name="Freeform 134"/>
            <p:cNvSpPr>
              <a:spLocks noEditPoints="1"/>
            </p:cNvSpPr>
            <p:nvPr/>
          </p:nvSpPr>
          <p:spPr bwMode="auto">
            <a:xfrm>
              <a:off x="5071" y="97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39" name="Freeform 135"/>
            <p:cNvSpPr>
              <a:spLocks noEditPoints="1"/>
            </p:cNvSpPr>
            <p:nvPr/>
          </p:nvSpPr>
          <p:spPr bwMode="auto">
            <a:xfrm>
              <a:off x="5232" y="1054"/>
              <a:ext cx="160" cy="331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0" y="129"/>
                </a:cxn>
                <a:cxn ang="0">
                  <a:pos x="9" y="138"/>
                </a:cxn>
                <a:cxn ang="0">
                  <a:pos x="58" y="138"/>
                </a:cxn>
                <a:cxn ang="0">
                  <a:pos x="67" y="129"/>
                </a:cxn>
                <a:cxn ang="0">
                  <a:pos x="67" y="8"/>
                </a:cxn>
                <a:cxn ang="0">
                  <a:pos x="58" y="0"/>
                </a:cxn>
                <a:cxn ang="0">
                  <a:pos x="9" y="4"/>
                </a:cxn>
                <a:cxn ang="0">
                  <a:pos x="58" y="4"/>
                </a:cxn>
                <a:cxn ang="0">
                  <a:pos x="63" y="8"/>
                </a:cxn>
                <a:cxn ang="0">
                  <a:pos x="63" y="17"/>
                </a:cxn>
                <a:cxn ang="0">
                  <a:pos x="4" y="17"/>
                </a:cxn>
                <a:cxn ang="0">
                  <a:pos x="4" y="8"/>
                </a:cxn>
                <a:cxn ang="0">
                  <a:pos x="9" y="4"/>
                </a:cxn>
                <a:cxn ang="0">
                  <a:pos x="63" y="21"/>
                </a:cxn>
                <a:cxn ang="0">
                  <a:pos x="63" y="108"/>
                </a:cxn>
                <a:cxn ang="0">
                  <a:pos x="4" y="108"/>
                </a:cxn>
                <a:cxn ang="0">
                  <a:pos x="4" y="21"/>
                </a:cxn>
                <a:cxn ang="0">
                  <a:pos x="63" y="21"/>
                </a:cxn>
                <a:cxn ang="0">
                  <a:pos x="58" y="134"/>
                </a:cxn>
                <a:cxn ang="0">
                  <a:pos x="9" y="134"/>
                </a:cxn>
                <a:cxn ang="0">
                  <a:pos x="4" y="129"/>
                </a:cxn>
                <a:cxn ang="0">
                  <a:pos x="4" y="111"/>
                </a:cxn>
                <a:cxn ang="0">
                  <a:pos x="63" y="111"/>
                </a:cxn>
                <a:cxn ang="0">
                  <a:pos x="63" y="129"/>
                </a:cxn>
                <a:cxn ang="0">
                  <a:pos x="58" y="134"/>
                </a:cxn>
              </a:cxnLst>
              <a:rect l="0" t="0" r="r" b="b"/>
              <a:pathLst>
                <a:path w="67" h="138">
                  <a:moveTo>
                    <a:pt x="5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4"/>
                    <a:pt x="4" y="138"/>
                    <a:pt x="9" y="138"/>
                  </a:cubicBezTo>
                  <a:cubicBezTo>
                    <a:pt x="58" y="138"/>
                    <a:pt x="58" y="138"/>
                    <a:pt x="58" y="138"/>
                  </a:cubicBezTo>
                  <a:cubicBezTo>
                    <a:pt x="63" y="138"/>
                    <a:pt x="67" y="134"/>
                    <a:pt x="67" y="129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4"/>
                    <a:pt x="63" y="0"/>
                    <a:pt x="58" y="0"/>
                  </a:cubicBezTo>
                  <a:close/>
                  <a:moveTo>
                    <a:pt x="9" y="4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61" y="4"/>
                    <a:pt x="63" y="6"/>
                    <a:pt x="63" y="8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6"/>
                    <a:pt x="6" y="4"/>
                    <a:pt x="9" y="4"/>
                  </a:cubicBezTo>
                  <a:close/>
                  <a:moveTo>
                    <a:pt x="63" y="21"/>
                  </a:moveTo>
                  <a:cubicBezTo>
                    <a:pt x="63" y="108"/>
                    <a:pt x="63" y="108"/>
                    <a:pt x="63" y="108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4" y="21"/>
                    <a:pt x="4" y="21"/>
                    <a:pt x="4" y="21"/>
                  </a:cubicBezTo>
                  <a:lnTo>
                    <a:pt x="63" y="21"/>
                  </a:lnTo>
                  <a:close/>
                  <a:moveTo>
                    <a:pt x="58" y="134"/>
                  </a:moveTo>
                  <a:cubicBezTo>
                    <a:pt x="9" y="134"/>
                    <a:pt x="9" y="134"/>
                    <a:pt x="9" y="134"/>
                  </a:cubicBezTo>
                  <a:cubicBezTo>
                    <a:pt x="6" y="134"/>
                    <a:pt x="4" y="132"/>
                    <a:pt x="4" y="129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63" y="132"/>
                    <a:pt x="61" y="134"/>
                    <a:pt x="58" y="13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40" name="Freeform 136"/>
            <p:cNvSpPr>
              <a:spLocks noEditPoints="1"/>
            </p:cNvSpPr>
            <p:nvPr/>
          </p:nvSpPr>
          <p:spPr bwMode="auto">
            <a:xfrm>
              <a:off x="5294" y="1327"/>
              <a:ext cx="36" cy="36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7"/>
                </a:cxn>
                <a:cxn ang="0">
                  <a:pos x="8" y="15"/>
                </a:cxn>
                <a:cxn ang="0">
                  <a:pos x="15" y="7"/>
                </a:cxn>
                <a:cxn ang="0">
                  <a:pos x="8" y="0"/>
                </a:cxn>
                <a:cxn ang="0">
                  <a:pos x="8" y="11"/>
                </a:cxn>
                <a:cxn ang="0">
                  <a:pos x="4" y="7"/>
                </a:cxn>
                <a:cxn ang="0">
                  <a:pos x="8" y="4"/>
                </a:cxn>
                <a:cxn ang="0">
                  <a:pos x="11" y="7"/>
                </a:cxn>
                <a:cxn ang="0">
                  <a:pos x="8" y="11"/>
                </a:cxn>
              </a:cxnLst>
              <a:rect l="0" t="0" r="r" b="b"/>
              <a:pathLst>
                <a:path w="15" h="15">
                  <a:moveTo>
                    <a:pt x="8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5"/>
                    <a:pt x="8" y="15"/>
                  </a:cubicBezTo>
                  <a:cubicBezTo>
                    <a:pt x="12" y="15"/>
                    <a:pt x="15" y="11"/>
                    <a:pt x="15" y="7"/>
                  </a:cubicBezTo>
                  <a:cubicBezTo>
                    <a:pt x="15" y="3"/>
                    <a:pt x="12" y="0"/>
                    <a:pt x="8" y="0"/>
                  </a:cubicBezTo>
                  <a:close/>
                  <a:moveTo>
                    <a:pt x="8" y="11"/>
                  </a:moveTo>
                  <a:cubicBezTo>
                    <a:pt x="6" y="11"/>
                    <a:pt x="4" y="9"/>
                    <a:pt x="4" y="7"/>
                  </a:cubicBezTo>
                  <a:cubicBezTo>
                    <a:pt x="4" y="5"/>
                    <a:pt x="6" y="4"/>
                    <a:pt x="8" y="4"/>
                  </a:cubicBezTo>
                  <a:cubicBezTo>
                    <a:pt x="10" y="4"/>
                    <a:pt x="11" y="5"/>
                    <a:pt x="11" y="7"/>
                  </a:cubicBezTo>
                  <a:cubicBezTo>
                    <a:pt x="11" y="9"/>
                    <a:pt x="10" y="11"/>
                    <a:pt x="8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41" name="Rectangle 137"/>
            <p:cNvSpPr>
              <a:spLocks noChangeArrowheads="1"/>
            </p:cNvSpPr>
            <p:nvPr/>
          </p:nvSpPr>
          <p:spPr bwMode="auto">
            <a:xfrm>
              <a:off x="5297" y="1078"/>
              <a:ext cx="3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44" name="Group 140"/>
          <p:cNvGrpSpPr>
            <a:grpSpLocks noChangeAspect="1"/>
          </p:cNvGrpSpPr>
          <p:nvPr/>
        </p:nvGrpSpPr>
        <p:grpSpPr bwMode="auto">
          <a:xfrm>
            <a:off x="346869" y="2774950"/>
            <a:ext cx="838200" cy="836613"/>
            <a:chOff x="215" y="1748"/>
            <a:chExt cx="528" cy="527"/>
          </a:xfrm>
        </p:grpSpPr>
        <p:sp>
          <p:nvSpPr>
            <p:cNvPr id="47245" name="Oval 141"/>
            <p:cNvSpPr>
              <a:spLocks noChangeArrowheads="1"/>
            </p:cNvSpPr>
            <p:nvPr/>
          </p:nvSpPr>
          <p:spPr bwMode="auto">
            <a:xfrm>
              <a:off x="215" y="1748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46" name="Freeform 142"/>
            <p:cNvSpPr>
              <a:spLocks noEditPoints="1"/>
            </p:cNvSpPr>
            <p:nvPr/>
          </p:nvSpPr>
          <p:spPr bwMode="auto">
            <a:xfrm>
              <a:off x="237" y="1772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47" name="Freeform 143"/>
            <p:cNvSpPr>
              <a:spLocks noEditPoints="1"/>
            </p:cNvSpPr>
            <p:nvPr/>
          </p:nvSpPr>
          <p:spPr bwMode="auto">
            <a:xfrm>
              <a:off x="328" y="1906"/>
              <a:ext cx="302" cy="208"/>
            </a:xfrm>
            <a:custGeom>
              <a:avLst/>
              <a:gdLst/>
              <a:ahLst/>
              <a:cxnLst>
                <a:cxn ang="0">
                  <a:pos x="0" y="182"/>
                </a:cxn>
                <a:cxn ang="0">
                  <a:pos x="132" y="182"/>
                </a:cxn>
                <a:cxn ang="0">
                  <a:pos x="132" y="199"/>
                </a:cxn>
                <a:cxn ang="0">
                  <a:pos x="115" y="199"/>
                </a:cxn>
                <a:cxn ang="0">
                  <a:pos x="115" y="208"/>
                </a:cxn>
                <a:cxn ang="0">
                  <a:pos x="187" y="208"/>
                </a:cxn>
                <a:cxn ang="0">
                  <a:pos x="187" y="199"/>
                </a:cxn>
                <a:cxn ang="0">
                  <a:pos x="170" y="199"/>
                </a:cxn>
                <a:cxn ang="0">
                  <a:pos x="170" y="182"/>
                </a:cxn>
                <a:cxn ang="0">
                  <a:pos x="302" y="182"/>
                </a:cxn>
                <a:cxn ang="0">
                  <a:pos x="302" y="0"/>
                </a:cxn>
                <a:cxn ang="0">
                  <a:pos x="0" y="0"/>
                </a:cxn>
                <a:cxn ang="0">
                  <a:pos x="0" y="182"/>
                </a:cxn>
                <a:cxn ang="0">
                  <a:pos x="161" y="199"/>
                </a:cxn>
                <a:cxn ang="0">
                  <a:pos x="139" y="199"/>
                </a:cxn>
                <a:cxn ang="0">
                  <a:pos x="139" y="182"/>
                </a:cxn>
                <a:cxn ang="0">
                  <a:pos x="161" y="182"/>
                </a:cxn>
                <a:cxn ang="0">
                  <a:pos x="161" y="199"/>
                </a:cxn>
                <a:cxn ang="0">
                  <a:pos x="10" y="7"/>
                </a:cxn>
                <a:cxn ang="0">
                  <a:pos x="292" y="7"/>
                </a:cxn>
                <a:cxn ang="0">
                  <a:pos x="292" y="172"/>
                </a:cxn>
                <a:cxn ang="0">
                  <a:pos x="10" y="172"/>
                </a:cxn>
                <a:cxn ang="0">
                  <a:pos x="10" y="7"/>
                </a:cxn>
              </a:cxnLst>
              <a:rect l="0" t="0" r="r" b="b"/>
              <a:pathLst>
                <a:path w="302" h="208">
                  <a:moveTo>
                    <a:pt x="0" y="182"/>
                  </a:moveTo>
                  <a:lnTo>
                    <a:pt x="132" y="182"/>
                  </a:lnTo>
                  <a:lnTo>
                    <a:pt x="132" y="199"/>
                  </a:lnTo>
                  <a:lnTo>
                    <a:pt x="115" y="199"/>
                  </a:lnTo>
                  <a:lnTo>
                    <a:pt x="115" y="208"/>
                  </a:lnTo>
                  <a:lnTo>
                    <a:pt x="187" y="208"/>
                  </a:lnTo>
                  <a:lnTo>
                    <a:pt x="187" y="199"/>
                  </a:lnTo>
                  <a:lnTo>
                    <a:pt x="170" y="199"/>
                  </a:lnTo>
                  <a:lnTo>
                    <a:pt x="170" y="182"/>
                  </a:lnTo>
                  <a:lnTo>
                    <a:pt x="302" y="182"/>
                  </a:lnTo>
                  <a:lnTo>
                    <a:pt x="302" y="0"/>
                  </a:lnTo>
                  <a:lnTo>
                    <a:pt x="0" y="0"/>
                  </a:lnTo>
                  <a:lnTo>
                    <a:pt x="0" y="182"/>
                  </a:lnTo>
                  <a:close/>
                  <a:moveTo>
                    <a:pt x="161" y="199"/>
                  </a:moveTo>
                  <a:lnTo>
                    <a:pt x="139" y="199"/>
                  </a:lnTo>
                  <a:lnTo>
                    <a:pt x="139" y="182"/>
                  </a:lnTo>
                  <a:lnTo>
                    <a:pt x="161" y="182"/>
                  </a:lnTo>
                  <a:lnTo>
                    <a:pt x="161" y="199"/>
                  </a:lnTo>
                  <a:close/>
                  <a:moveTo>
                    <a:pt x="10" y="7"/>
                  </a:moveTo>
                  <a:lnTo>
                    <a:pt x="292" y="7"/>
                  </a:lnTo>
                  <a:lnTo>
                    <a:pt x="292" y="172"/>
                  </a:lnTo>
                  <a:lnTo>
                    <a:pt x="10" y="172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48" name="Freeform 144"/>
            <p:cNvSpPr>
              <a:spLocks/>
            </p:cNvSpPr>
            <p:nvPr/>
          </p:nvSpPr>
          <p:spPr bwMode="auto">
            <a:xfrm>
              <a:off x="390" y="1942"/>
              <a:ext cx="178" cy="9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57" y="3"/>
                </a:cxn>
                <a:cxn ang="0">
                  <a:pos x="58" y="6"/>
                </a:cxn>
                <a:cxn ang="0">
                  <a:pos x="66" y="4"/>
                </a:cxn>
                <a:cxn ang="0">
                  <a:pos x="0" y="38"/>
                </a:cxn>
                <a:cxn ang="0">
                  <a:pos x="0" y="41"/>
                </a:cxn>
                <a:cxn ang="0">
                  <a:pos x="5" y="41"/>
                </a:cxn>
                <a:cxn ang="0">
                  <a:pos x="42" y="32"/>
                </a:cxn>
                <a:cxn ang="0">
                  <a:pos x="69" y="6"/>
                </a:cxn>
                <a:cxn ang="0">
                  <a:pos x="71" y="13"/>
                </a:cxn>
                <a:cxn ang="0">
                  <a:pos x="74" y="13"/>
                </a:cxn>
                <a:cxn ang="0">
                  <a:pos x="71" y="1"/>
                </a:cxn>
                <a:cxn ang="0">
                  <a:pos x="69" y="0"/>
                </a:cxn>
              </a:cxnLst>
              <a:rect l="0" t="0" r="r" b="b"/>
              <a:pathLst>
                <a:path w="74" h="41">
                  <a:moveTo>
                    <a:pt x="69" y="0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52" y="27"/>
                    <a:pt x="28" y="39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1"/>
                    <a:pt x="3" y="41"/>
                    <a:pt x="5" y="41"/>
                  </a:cubicBezTo>
                  <a:cubicBezTo>
                    <a:pt x="18" y="41"/>
                    <a:pt x="31" y="38"/>
                    <a:pt x="42" y="32"/>
                  </a:cubicBezTo>
                  <a:cubicBezTo>
                    <a:pt x="53" y="26"/>
                    <a:pt x="62" y="17"/>
                    <a:pt x="69" y="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1" y="1"/>
                    <a:pt x="71" y="1"/>
                    <a:pt x="71" y="1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251" name="Group 147"/>
          <p:cNvGrpSpPr>
            <a:grpSpLocks noChangeAspect="1"/>
          </p:cNvGrpSpPr>
          <p:nvPr/>
        </p:nvGrpSpPr>
        <p:grpSpPr bwMode="auto">
          <a:xfrm>
            <a:off x="1482724" y="2808290"/>
            <a:ext cx="768350" cy="768350"/>
            <a:chOff x="924" y="1769"/>
            <a:chExt cx="484" cy="484"/>
          </a:xfrm>
        </p:grpSpPr>
        <p:sp>
          <p:nvSpPr>
            <p:cNvPr id="47252" name="Freeform 148"/>
            <p:cNvSpPr>
              <a:spLocks noEditPoints="1"/>
            </p:cNvSpPr>
            <p:nvPr/>
          </p:nvSpPr>
          <p:spPr bwMode="auto">
            <a:xfrm>
              <a:off x="924" y="17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53" name="Freeform 149"/>
            <p:cNvSpPr>
              <a:spLocks noEditPoints="1"/>
            </p:cNvSpPr>
            <p:nvPr/>
          </p:nvSpPr>
          <p:spPr bwMode="auto">
            <a:xfrm>
              <a:off x="1015" y="1904"/>
              <a:ext cx="302" cy="206"/>
            </a:xfrm>
            <a:custGeom>
              <a:avLst/>
              <a:gdLst/>
              <a:ahLst/>
              <a:cxnLst>
                <a:cxn ang="0">
                  <a:pos x="0" y="182"/>
                </a:cxn>
                <a:cxn ang="0">
                  <a:pos x="132" y="182"/>
                </a:cxn>
                <a:cxn ang="0">
                  <a:pos x="132" y="198"/>
                </a:cxn>
                <a:cxn ang="0">
                  <a:pos x="115" y="198"/>
                </a:cxn>
                <a:cxn ang="0">
                  <a:pos x="115" y="206"/>
                </a:cxn>
                <a:cxn ang="0">
                  <a:pos x="187" y="206"/>
                </a:cxn>
                <a:cxn ang="0">
                  <a:pos x="187" y="198"/>
                </a:cxn>
                <a:cxn ang="0">
                  <a:pos x="171" y="198"/>
                </a:cxn>
                <a:cxn ang="0">
                  <a:pos x="171" y="182"/>
                </a:cxn>
                <a:cxn ang="0">
                  <a:pos x="302" y="182"/>
                </a:cxn>
                <a:cxn ang="0">
                  <a:pos x="302" y="0"/>
                </a:cxn>
                <a:cxn ang="0">
                  <a:pos x="0" y="0"/>
                </a:cxn>
                <a:cxn ang="0">
                  <a:pos x="0" y="182"/>
                </a:cxn>
                <a:cxn ang="0">
                  <a:pos x="163" y="198"/>
                </a:cxn>
                <a:cxn ang="0">
                  <a:pos x="139" y="198"/>
                </a:cxn>
                <a:cxn ang="0">
                  <a:pos x="139" y="182"/>
                </a:cxn>
                <a:cxn ang="0">
                  <a:pos x="163" y="182"/>
                </a:cxn>
                <a:cxn ang="0">
                  <a:pos x="163" y="198"/>
                </a:cxn>
                <a:cxn ang="0">
                  <a:pos x="10" y="7"/>
                </a:cxn>
                <a:cxn ang="0">
                  <a:pos x="293" y="7"/>
                </a:cxn>
                <a:cxn ang="0">
                  <a:pos x="293" y="172"/>
                </a:cxn>
                <a:cxn ang="0">
                  <a:pos x="10" y="172"/>
                </a:cxn>
                <a:cxn ang="0">
                  <a:pos x="10" y="7"/>
                </a:cxn>
              </a:cxnLst>
              <a:rect l="0" t="0" r="r" b="b"/>
              <a:pathLst>
                <a:path w="302" h="206">
                  <a:moveTo>
                    <a:pt x="0" y="182"/>
                  </a:moveTo>
                  <a:lnTo>
                    <a:pt x="132" y="182"/>
                  </a:lnTo>
                  <a:lnTo>
                    <a:pt x="132" y="198"/>
                  </a:lnTo>
                  <a:lnTo>
                    <a:pt x="115" y="198"/>
                  </a:lnTo>
                  <a:lnTo>
                    <a:pt x="115" y="206"/>
                  </a:lnTo>
                  <a:lnTo>
                    <a:pt x="187" y="206"/>
                  </a:lnTo>
                  <a:lnTo>
                    <a:pt x="187" y="198"/>
                  </a:lnTo>
                  <a:lnTo>
                    <a:pt x="171" y="198"/>
                  </a:lnTo>
                  <a:lnTo>
                    <a:pt x="171" y="182"/>
                  </a:lnTo>
                  <a:lnTo>
                    <a:pt x="302" y="182"/>
                  </a:lnTo>
                  <a:lnTo>
                    <a:pt x="302" y="0"/>
                  </a:lnTo>
                  <a:lnTo>
                    <a:pt x="0" y="0"/>
                  </a:lnTo>
                  <a:lnTo>
                    <a:pt x="0" y="182"/>
                  </a:lnTo>
                  <a:close/>
                  <a:moveTo>
                    <a:pt x="163" y="198"/>
                  </a:moveTo>
                  <a:lnTo>
                    <a:pt x="139" y="198"/>
                  </a:lnTo>
                  <a:lnTo>
                    <a:pt x="139" y="182"/>
                  </a:lnTo>
                  <a:lnTo>
                    <a:pt x="163" y="182"/>
                  </a:lnTo>
                  <a:lnTo>
                    <a:pt x="163" y="198"/>
                  </a:lnTo>
                  <a:close/>
                  <a:moveTo>
                    <a:pt x="10" y="7"/>
                  </a:moveTo>
                  <a:lnTo>
                    <a:pt x="293" y="7"/>
                  </a:lnTo>
                  <a:lnTo>
                    <a:pt x="293" y="172"/>
                  </a:lnTo>
                  <a:lnTo>
                    <a:pt x="10" y="172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54" name="Freeform 150"/>
            <p:cNvSpPr>
              <a:spLocks/>
            </p:cNvSpPr>
            <p:nvPr/>
          </p:nvSpPr>
          <p:spPr bwMode="auto">
            <a:xfrm>
              <a:off x="1078" y="1937"/>
              <a:ext cx="179" cy="101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58" y="4"/>
                </a:cxn>
                <a:cxn ang="0">
                  <a:pos x="59" y="7"/>
                </a:cxn>
                <a:cxn ang="0">
                  <a:pos x="66" y="5"/>
                </a:cxn>
                <a:cxn ang="0">
                  <a:pos x="0" y="38"/>
                </a:cxn>
                <a:cxn ang="0">
                  <a:pos x="0" y="42"/>
                </a:cxn>
                <a:cxn ang="0">
                  <a:pos x="5" y="42"/>
                </a:cxn>
                <a:cxn ang="0">
                  <a:pos x="42" y="33"/>
                </a:cxn>
                <a:cxn ang="0">
                  <a:pos x="69" y="7"/>
                </a:cxn>
                <a:cxn ang="0">
                  <a:pos x="71" y="14"/>
                </a:cxn>
                <a:cxn ang="0">
                  <a:pos x="75" y="13"/>
                </a:cxn>
                <a:cxn ang="0">
                  <a:pos x="71" y="2"/>
                </a:cxn>
                <a:cxn ang="0">
                  <a:pos x="69" y="0"/>
                </a:cxn>
              </a:cxnLst>
              <a:rect l="0" t="0" r="r" b="b"/>
              <a:pathLst>
                <a:path w="75" h="42">
                  <a:moveTo>
                    <a:pt x="69" y="0"/>
                  </a:moveTo>
                  <a:cubicBezTo>
                    <a:pt x="58" y="4"/>
                    <a:pt x="58" y="4"/>
                    <a:pt x="58" y="4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52" y="28"/>
                    <a:pt x="28" y="40"/>
                    <a:pt x="0" y="38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42"/>
                    <a:pt x="3" y="42"/>
                    <a:pt x="5" y="42"/>
                  </a:cubicBezTo>
                  <a:cubicBezTo>
                    <a:pt x="18" y="42"/>
                    <a:pt x="31" y="39"/>
                    <a:pt x="42" y="33"/>
                  </a:cubicBezTo>
                  <a:cubicBezTo>
                    <a:pt x="53" y="27"/>
                    <a:pt x="62" y="18"/>
                    <a:pt x="69" y="7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1" y="2"/>
                    <a:pt x="71" y="2"/>
                    <a:pt x="71" y="2"/>
                  </a:cubicBezTo>
                  <a:lnTo>
                    <a:pt x="69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257" name="Group 153"/>
          <p:cNvGrpSpPr>
            <a:grpSpLocks noChangeAspect="1"/>
          </p:cNvGrpSpPr>
          <p:nvPr/>
        </p:nvGrpSpPr>
        <p:grpSpPr bwMode="auto">
          <a:xfrm>
            <a:off x="2524920" y="2768600"/>
            <a:ext cx="857251" cy="855663"/>
            <a:chOff x="1585" y="1744"/>
            <a:chExt cx="540" cy="539"/>
          </a:xfrm>
        </p:grpSpPr>
        <p:sp>
          <p:nvSpPr>
            <p:cNvPr id="47258" name="Oval 154"/>
            <p:cNvSpPr>
              <a:spLocks noChangeArrowheads="1"/>
            </p:cNvSpPr>
            <p:nvPr/>
          </p:nvSpPr>
          <p:spPr bwMode="auto">
            <a:xfrm>
              <a:off x="1585" y="1744"/>
              <a:ext cx="540" cy="53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59" name="Freeform 155"/>
            <p:cNvSpPr>
              <a:spLocks noEditPoints="1"/>
            </p:cNvSpPr>
            <p:nvPr/>
          </p:nvSpPr>
          <p:spPr bwMode="auto">
            <a:xfrm>
              <a:off x="1959" y="1888"/>
              <a:ext cx="48" cy="98"/>
            </a:xfrm>
            <a:custGeom>
              <a:avLst/>
              <a:gdLst/>
              <a:ahLst/>
              <a:cxnLst>
                <a:cxn ang="0">
                  <a:pos x="13" y="41"/>
                </a:cxn>
                <a:cxn ang="0">
                  <a:pos x="12" y="40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1" y="2"/>
                </a:cxn>
                <a:cxn ang="0">
                  <a:pos x="7" y="0"/>
                </a:cxn>
                <a:cxn ang="0">
                  <a:pos x="8" y="1"/>
                </a:cxn>
                <a:cxn ang="0">
                  <a:pos x="20" y="37"/>
                </a:cxn>
                <a:cxn ang="0">
                  <a:pos x="20" y="38"/>
                </a:cxn>
                <a:cxn ang="0">
                  <a:pos x="19" y="39"/>
                </a:cxn>
                <a:cxn ang="0">
                  <a:pos x="13" y="41"/>
                </a:cxn>
                <a:cxn ang="0">
                  <a:pos x="13" y="41"/>
                </a:cxn>
                <a:cxn ang="0">
                  <a:pos x="3" y="4"/>
                </a:cxn>
                <a:cxn ang="0">
                  <a:pos x="14" y="38"/>
                </a:cxn>
                <a:cxn ang="0">
                  <a:pos x="17" y="37"/>
                </a:cxn>
                <a:cxn ang="0">
                  <a:pos x="6" y="3"/>
                </a:cxn>
                <a:cxn ang="0">
                  <a:pos x="3" y="4"/>
                </a:cxn>
              </a:cxnLst>
              <a:rect l="0" t="0" r="r" b="b"/>
              <a:pathLst>
                <a:path w="20" h="41">
                  <a:moveTo>
                    <a:pt x="13" y="41"/>
                  </a:moveTo>
                  <a:cubicBezTo>
                    <a:pt x="12" y="41"/>
                    <a:pt x="12" y="40"/>
                    <a:pt x="12" y="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8"/>
                    <a:pt x="20" y="38"/>
                  </a:cubicBezTo>
                  <a:cubicBezTo>
                    <a:pt x="20" y="38"/>
                    <a:pt x="19" y="39"/>
                    <a:pt x="19" y="39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1"/>
                    <a:pt x="13" y="41"/>
                  </a:cubicBezTo>
                  <a:close/>
                  <a:moveTo>
                    <a:pt x="3" y="4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60" name="Freeform 156"/>
            <p:cNvSpPr>
              <a:spLocks noEditPoints="1"/>
            </p:cNvSpPr>
            <p:nvPr/>
          </p:nvSpPr>
          <p:spPr bwMode="auto">
            <a:xfrm>
              <a:off x="1609" y="1768"/>
              <a:ext cx="494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61" name="Freeform 157"/>
            <p:cNvSpPr>
              <a:spLocks noEditPoints="1"/>
            </p:cNvSpPr>
            <p:nvPr/>
          </p:nvSpPr>
          <p:spPr bwMode="auto">
            <a:xfrm>
              <a:off x="1703" y="1902"/>
              <a:ext cx="287" cy="281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64" y="15"/>
                </a:cxn>
                <a:cxn ang="0">
                  <a:pos x="65" y="20"/>
                </a:cxn>
                <a:cxn ang="0">
                  <a:pos x="22" y="34"/>
                </a:cxn>
                <a:cxn ang="0">
                  <a:pos x="22" y="37"/>
                </a:cxn>
                <a:cxn ang="0">
                  <a:pos x="0" y="46"/>
                </a:cxn>
                <a:cxn ang="0">
                  <a:pos x="5" y="58"/>
                </a:cxn>
                <a:cxn ang="0">
                  <a:pos x="6" y="59"/>
                </a:cxn>
                <a:cxn ang="0">
                  <a:pos x="28" y="54"/>
                </a:cxn>
                <a:cxn ang="0">
                  <a:pos x="29" y="55"/>
                </a:cxn>
                <a:cxn ang="0">
                  <a:pos x="53" y="47"/>
                </a:cxn>
                <a:cxn ang="0">
                  <a:pos x="59" y="57"/>
                </a:cxn>
                <a:cxn ang="0">
                  <a:pos x="41" y="109"/>
                </a:cxn>
                <a:cxn ang="0">
                  <a:pos x="43" y="109"/>
                </a:cxn>
                <a:cxn ang="0">
                  <a:pos x="59" y="115"/>
                </a:cxn>
                <a:cxn ang="0">
                  <a:pos x="62" y="115"/>
                </a:cxn>
                <a:cxn ang="0">
                  <a:pos x="77" y="109"/>
                </a:cxn>
                <a:cxn ang="0">
                  <a:pos x="80" y="108"/>
                </a:cxn>
                <a:cxn ang="0">
                  <a:pos x="68" y="50"/>
                </a:cxn>
                <a:cxn ang="0">
                  <a:pos x="72" y="41"/>
                </a:cxn>
                <a:cxn ang="0">
                  <a:pos x="74" y="45"/>
                </a:cxn>
                <a:cxn ang="0">
                  <a:pos x="119" y="31"/>
                </a:cxn>
                <a:cxn ang="0">
                  <a:pos x="120" y="29"/>
                </a:cxn>
                <a:cxn ang="0">
                  <a:pos x="6" y="56"/>
                </a:cxn>
                <a:cxn ang="0">
                  <a:pos x="23" y="40"/>
                </a:cxn>
                <a:cxn ang="0">
                  <a:pos x="6" y="56"/>
                </a:cxn>
                <a:cxn ang="0">
                  <a:pos x="55" y="50"/>
                </a:cxn>
                <a:cxn ang="0">
                  <a:pos x="65" y="50"/>
                </a:cxn>
                <a:cxn ang="0">
                  <a:pos x="30" y="52"/>
                </a:cxn>
                <a:cxn ang="0">
                  <a:pos x="66" y="22"/>
                </a:cxn>
                <a:cxn ang="0">
                  <a:pos x="30" y="52"/>
                </a:cxn>
                <a:cxn ang="0">
                  <a:pos x="72" y="32"/>
                </a:cxn>
                <a:cxn ang="0">
                  <a:pos x="68" y="20"/>
                </a:cxn>
                <a:cxn ang="0">
                  <a:pos x="108" y="3"/>
                </a:cxn>
                <a:cxn ang="0">
                  <a:pos x="75" y="42"/>
                </a:cxn>
              </a:cxnLst>
              <a:rect l="0" t="0" r="r" b="b"/>
              <a:pathLst>
                <a:path w="120" h="117">
                  <a:moveTo>
                    <a:pt x="111" y="1"/>
                  </a:moveTo>
                  <a:cubicBezTo>
                    <a:pt x="110" y="0"/>
                    <a:pt x="110" y="0"/>
                    <a:pt x="109" y="0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4" y="15"/>
                    <a:pt x="64" y="15"/>
                  </a:cubicBezTo>
                  <a:cubicBezTo>
                    <a:pt x="64" y="15"/>
                    <a:pt x="64" y="16"/>
                    <a:pt x="64" y="16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0" y="45"/>
                    <a:pt x="0" y="46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5" y="58"/>
                    <a:pt x="5" y="58"/>
                  </a:cubicBezTo>
                  <a:cubicBezTo>
                    <a:pt x="5" y="59"/>
                    <a:pt x="5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8" y="55"/>
                  </a:cubicBezTo>
                  <a:cubicBezTo>
                    <a:pt x="28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8"/>
                    <a:pt x="53" y="49"/>
                    <a:pt x="53" y="50"/>
                  </a:cubicBezTo>
                  <a:cubicBezTo>
                    <a:pt x="53" y="54"/>
                    <a:pt x="55" y="57"/>
                    <a:pt x="59" y="57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0" y="109"/>
                    <a:pt x="41" y="109"/>
                    <a:pt x="41" y="109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3" y="109"/>
                    <a:pt x="43" y="109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115"/>
                    <a:pt x="59" y="115"/>
                    <a:pt x="59" y="115"/>
                  </a:cubicBezTo>
                  <a:cubicBezTo>
                    <a:pt x="59" y="116"/>
                    <a:pt x="60" y="117"/>
                    <a:pt x="60" y="117"/>
                  </a:cubicBezTo>
                  <a:cubicBezTo>
                    <a:pt x="61" y="117"/>
                    <a:pt x="62" y="116"/>
                    <a:pt x="62" y="11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8" y="109"/>
                    <a:pt x="78" y="110"/>
                    <a:pt x="79" y="109"/>
                  </a:cubicBezTo>
                  <a:cubicBezTo>
                    <a:pt x="80" y="109"/>
                    <a:pt x="80" y="109"/>
                    <a:pt x="80" y="108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5" y="57"/>
                    <a:pt x="68" y="54"/>
                    <a:pt x="68" y="50"/>
                  </a:cubicBezTo>
                  <a:cubicBezTo>
                    <a:pt x="68" y="47"/>
                    <a:pt x="66" y="45"/>
                    <a:pt x="64" y="43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4" y="45"/>
                    <a:pt x="74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0"/>
                    <a:pt x="119" y="30"/>
                    <a:pt x="120" y="30"/>
                  </a:cubicBezTo>
                  <a:cubicBezTo>
                    <a:pt x="120" y="30"/>
                    <a:pt x="120" y="29"/>
                    <a:pt x="120" y="29"/>
                  </a:cubicBezTo>
                  <a:lnTo>
                    <a:pt x="111" y="1"/>
                  </a:lnTo>
                  <a:close/>
                  <a:moveTo>
                    <a:pt x="6" y="56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6" y="49"/>
                    <a:pt x="26" y="49"/>
                    <a:pt x="26" y="49"/>
                  </a:cubicBezTo>
                  <a:lnTo>
                    <a:pt x="6" y="56"/>
                  </a:lnTo>
                  <a:close/>
                  <a:moveTo>
                    <a:pt x="60" y="55"/>
                  </a:moveTo>
                  <a:cubicBezTo>
                    <a:pt x="58" y="55"/>
                    <a:pt x="55" y="53"/>
                    <a:pt x="55" y="50"/>
                  </a:cubicBezTo>
                  <a:cubicBezTo>
                    <a:pt x="55" y="47"/>
                    <a:pt x="58" y="45"/>
                    <a:pt x="60" y="45"/>
                  </a:cubicBezTo>
                  <a:cubicBezTo>
                    <a:pt x="63" y="45"/>
                    <a:pt x="65" y="47"/>
                    <a:pt x="65" y="50"/>
                  </a:cubicBezTo>
                  <a:cubicBezTo>
                    <a:pt x="65" y="53"/>
                    <a:pt x="63" y="55"/>
                    <a:pt x="60" y="55"/>
                  </a:cubicBezTo>
                  <a:close/>
                  <a:moveTo>
                    <a:pt x="30" y="52"/>
                  </a:moveTo>
                  <a:cubicBezTo>
                    <a:pt x="24" y="36"/>
                    <a:pt x="24" y="36"/>
                    <a:pt x="24" y="36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71" y="38"/>
                    <a:pt x="71" y="38"/>
                    <a:pt x="71" y="38"/>
                  </a:cubicBezTo>
                  <a:lnTo>
                    <a:pt x="30" y="52"/>
                  </a:lnTo>
                  <a:close/>
                  <a:moveTo>
                    <a:pt x="75" y="42"/>
                  </a:moveTo>
                  <a:cubicBezTo>
                    <a:pt x="72" y="32"/>
                    <a:pt x="72" y="32"/>
                    <a:pt x="72" y="32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17" y="28"/>
                    <a:pt x="117" y="28"/>
                    <a:pt x="117" y="28"/>
                  </a:cubicBezTo>
                  <a:lnTo>
                    <a:pt x="75" y="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64" name="Group 160"/>
          <p:cNvGrpSpPr>
            <a:grpSpLocks noChangeAspect="1"/>
          </p:cNvGrpSpPr>
          <p:nvPr/>
        </p:nvGrpSpPr>
        <p:grpSpPr bwMode="auto">
          <a:xfrm>
            <a:off x="3664746" y="2801938"/>
            <a:ext cx="785813" cy="782637"/>
            <a:chOff x="2302" y="1765"/>
            <a:chExt cx="495" cy="493"/>
          </a:xfrm>
        </p:grpSpPr>
        <p:sp>
          <p:nvSpPr>
            <p:cNvPr id="47265" name="Freeform 161"/>
            <p:cNvSpPr>
              <a:spLocks noEditPoints="1"/>
            </p:cNvSpPr>
            <p:nvPr/>
          </p:nvSpPr>
          <p:spPr bwMode="auto">
            <a:xfrm>
              <a:off x="2302" y="1765"/>
              <a:ext cx="495" cy="49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66" name="Freeform 162"/>
            <p:cNvSpPr>
              <a:spLocks noEditPoints="1"/>
            </p:cNvSpPr>
            <p:nvPr/>
          </p:nvSpPr>
          <p:spPr bwMode="auto">
            <a:xfrm>
              <a:off x="2397" y="1882"/>
              <a:ext cx="305" cy="295"/>
            </a:xfrm>
            <a:custGeom>
              <a:avLst/>
              <a:gdLst/>
              <a:ahLst/>
              <a:cxnLst>
                <a:cxn ang="0">
                  <a:pos x="114" y="1"/>
                </a:cxn>
                <a:cxn ang="0">
                  <a:pos x="107" y="3"/>
                </a:cxn>
                <a:cxn ang="0">
                  <a:pos x="108" y="7"/>
                </a:cxn>
                <a:cxn ang="0">
                  <a:pos x="64" y="22"/>
                </a:cxn>
                <a:cxn ang="0">
                  <a:pos x="65" y="26"/>
                </a:cxn>
                <a:cxn ang="0">
                  <a:pos x="22" y="41"/>
                </a:cxn>
                <a:cxn ang="0">
                  <a:pos x="22" y="44"/>
                </a:cxn>
                <a:cxn ang="0">
                  <a:pos x="0" y="52"/>
                </a:cxn>
                <a:cxn ang="0">
                  <a:pos x="5" y="65"/>
                </a:cxn>
                <a:cxn ang="0">
                  <a:pos x="6" y="65"/>
                </a:cxn>
                <a:cxn ang="0">
                  <a:pos x="28" y="60"/>
                </a:cxn>
                <a:cxn ang="0">
                  <a:pos x="29" y="61"/>
                </a:cxn>
                <a:cxn ang="0">
                  <a:pos x="53" y="53"/>
                </a:cxn>
                <a:cxn ang="0">
                  <a:pos x="59" y="64"/>
                </a:cxn>
                <a:cxn ang="0">
                  <a:pos x="41" y="116"/>
                </a:cxn>
                <a:cxn ang="0">
                  <a:pos x="43" y="115"/>
                </a:cxn>
                <a:cxn ang="0">
                  <a:pos x="59" y="122"/>
                </a:cxn>
                <a:cxn ang="0">
                  <a:pos x="62" y="122"/>
                </a:cxn>
                <a:cxn ang="0">
                  <a:pos x="77" y="115"/>
                </a:cxn>
                <a:cxn ang="0">
                  <a:pos x="80" y="114"/>
                </a:cxn>
                <a:cxn ang="0">
                  <a:pos x="68" y="56"/>
                </a:cxn>
                <a:cxn ang="0">
                  <a:pos x="72" y="47"/>
                </a:cxn>
                <a:cxn ang="0">
                  <a:pos x="74" y="51"/>
                </a:cxn>
                <a:cxn ang="0">
                  <a:pos x="118" y="37"/>
                </a:cxn>
                <a:cxn ang="0">
                  <a:pos x="120" y="41"/>
                </a:cxn>
                <a:cxn ang="0">
                  <a:pos x="126" y="39"/>
                </a:cxn>
                <a:cxn ang="0">
                  <a:pos x="127" y="37"/>
                </a:cxn>
                <a:cxn ang="0">
                  <a:pos x="6" y="62"/>
                </a:cxn>
                <a:cxn ang="0">
                  <a:pos x="23" y="46"/>
                </a:cxn>
                <a:cxn ang="0">
                  <a:pos x="6" y="62"/>
                </a:cxn>
                <a:cxn ang="0">
                  <a:pos x="55" y="56"/>
                </a:cxn>
                <a:cxn ang="0">
                  <a:pos x="65" y="56"/>
                </a:cxn>
                <a:cxn ang="0">
                  <a:pos x="30" y="58"/>
                </a:cxn>
                <a:cxn ang="0">
                  <a:pos x="66" y="29"/>
                </a:cxn>
                <a:cxn ang="0">
                  <a:pos x="30" y="58"/>
                </a:cxn>
                <a:cxn ang="0">
                  <a:pos x="72" y="38"/>
                </a:cxn>
                <a:cxn ang="0">
                  <a:pos x="68" y="26"/>
                </a:cxn>
                <a:cxn ang="0">
                  <a:pos x="108" y="9"/>
                </a:cxn>
                <a:cxn ang="0">
                  <a:pos x="75" y="49"/>
                </a:cxn>
                <a:cxn ang="0">
                  <a:pos x="110" y="5"/>
                </a:cxn>
                <a:cxn ang="0">
                  <a:pos x="124" y="37"/>
                </a:cxn>
              </a:cxnLst>
              <a:rect l="0" t="0" r="r" b="b"/>
              <a:pathLst>
                <a:path w="127" h="123">
                  <a:moveTo>
                    <a:pt x="115" y="1"/>
                  </a:moveTo>
                  <a:cubicBezTo>
                    <a:pt x="115" y="1"/>
                    <a:pt x="114" y="0"/>
                    <a:pt x="114" y="1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4" y="22"/>
                    <a:pt x="64" y="22"/>
                    <a:pt x="64" y="23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40"/>
                    <a:pt x="22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1"/>
                    <a:pt x="0" y="52"/>
                    <a:pt x="0" y="52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4"/>
                    <a:pt x="5" y="65"/>
                    <a:pt x="5" y="65"/>
                  </a:cubicBezTo>
                  <a:cubicBezTo>
                    <a:pt x="5" y="65"/>
                    <a:pt x="5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4"/>
                    <a:pt x="53" y="55"/>
                    <a:pt x="53" y="56"/>
                  </a:cubicBezTo>
                  <a:cubicBezTo>
                    <a:pt x="53" y="60"/>
                    <a:pt x="55" y="63"/>
                    <a:pt x="59" y="6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0" y="115"/>
                    <a:pt x="41" y="116"/>
                    <a:pt x="41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3" y="116"/>
                    <a:pt x="43" y="115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59" y="123"/>
                    <a:pt x="60" y="123"/>
                    <a:pt x="60" y="123"/>
                  </a:cubicBezTo>
                  <a:cubicBezTo>
                    <a:pt x="61" y="123"/>
                    <a:pt x="62" y="123"/>
                    <a:pt x="62" y="122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8" y="116"/>
                    <a:pt x="78" y="116"/>
                    <a:pt x="79" y="116"/>
                  </a:cubicBezTo>
                  <a:cubicBezTo>
                    <a:pt x="80" y="116"/>
                    <a:pt x="80" y="115"/>
                    <a:pt x="80" y="11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5" y="63"/>
                    <a:pt x="68" y="60"/>
                    <a:pt x="68" y="56"/>
                  </a:cubicBezTo>
                  <a:cubicBezTo>
                    <a:pt x="68" y="54"/>
                    <a:pt x="66" y="51"/>
                    <a:pt x="64" y="50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1"/>
                    <a:pt x="119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7" y="39"/>
                    <a:pt x="127" y="38"/>
                  </a:cubicBezTo>
                  <a:cubicBezTo>
                    <a:pt x="127" y="38"/>
                    <a:pt x="127" y="38"/>
                    <a:pt x="127" y="37"/>
                  </a:cubicBezTo>
                  <a:lnTo>
                    <a:pt x="115" y="1"/>
                  </a:lnTo>
                  <a:close/>
                  <a:moveTo>
                    <a:pt x="6" y="62"/>
                  </a:moveTo>
                  <a:cubicBezTo>
                    <a:pt x="3" y="53"/>
                    <a:pt x="3" y="53"/>
                    <a:pt x="3" y="53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6" y="56"/>
                    <a:pt x="26" y="56"/>
                    <a:pt x="26" y="56"/>
                  </a:cubicBezTo>
                  <a:lnTo>
                    <a:pt x="6" y="62"/>
                  </a:lnTo>
                  <a:close/>
                  <a:moveTo>
                    <a:pt x="60" y="61"/>
                  </a:moveTo>
                  <a:cubicBezTo>
                    <a:pt x="58" y="61"/>
                    <a:pt x="55" y="59"/>
                    <a:pt x="55" y="56"/>
                  </a:cubicBezTo>
                  <a:cubicBezTo>
                    <a:pt x="55" y="54"/>
                    <a:pt x="58" y="51"/>
                    <a:pt x="60" y="51"/>
                  </a:cubicBezTo>
                  <a:cubicBezTo>
                    <a:pt x="63" y="51"/>
                    <a:pt x="65" y="54"/>
                    <a:pt x="65" y="56"/>
                  </a:cubicBezTo>
                  <a:cubicBezTo>
                    <a:pt x="65" y="59"/>
                    <a:pt x="63" y="61"/>
                    <a:pt x="60" y="61"/>
                  </a:cubicBezTo>
                  <a:close/>
                  <a:moveTo>
                    <a:pt x="30" y="58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71" y="45"/>
                    <a:pt x="71" y="45"/>
                    <a:pt x="71" y="45"/>
                  </a:cubicBezTo>
                  <a:lnTo>
                    <a:pt x="30" y="58"/>
                  </a:lnTo>
                  <a:close/>
                  <a:moveTo>
                    <a:pt x="75" y="49"/>
                  </a:moveTo>
                  <a:cubicBezTo>
                    <a:pt x="72" y="38"/>
                    <a:pt x="72" y="38"/>
                    <a:pt x="72" y="3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7" y="35"/>
                    <a:pt x="117" y="35"/>
                    <a:pt x="117" y="35"/>
                  </a:cubicBezTo>
                  <a:lnTo>
                    <a:pt x="75" y="49"/>
                  </a:lnTo>
                  <a:close/>
                  <a:moveTo>
                    <a:pt x="121" y="38"/>
                  </a:moveTo>
                  <a:cubicBezTo>
                    <a:pt x="110" y="5"/>
                    <a:pt x="110" y="5"/>
                    <a:pt x="110" y="5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24" y="37"/>
                    <a:pt x="124" y="37"/>
                    <a:pt x="124" y="37"/>
                  </a:cubicBezTo>
                  <a:lnTo>
                    <a:pt x="121" y="3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269" name="Group 165"/>
          <p:cNvGrpSpPr>
            <a:grpSpLocks noChangeAspect="1"/>
          </p:cNvGrpSpPr>
          <p:nvPr/>
        </p:nvGrpSpPr>
        <p:grpSpPr bwMode="auto">
          <a:xfrm>
            <a:off x="4734719" y="2774950"/>
            <a:ext cx="836613" cy="836613"/>
            <a:chOff x="2980" y="1748"/>
            <a:chExt cx="527" cy="527"/>
          </a:xfrm>
        </p:grpSpPr>
        <p:sp>
          <p:nvSpPr>
            <p:cNvPr id="47270" name="Oval 166"/>
            <p:cNvSpPr>
              <a:spLocks noChangeArrowheads="1"/>
            </p:cNvSpPr>
            <p:nvPr/>
          </p:nvSpPr>
          <p:spPr bwMode="auto">
            <a:xfrm>
              <a:off x="2980" y="1748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71" name="Freeform 167"/>
            <p:cNvSpPr>
              <a:spLocks noEditPoints="1"/>
            </p:cNvSpPr>
            <p:nvPr/>
          </p:nvSpPr>
          <p:spPr bwMode="auto">
            <a:xfrm>
              <a:off x="3002" y="1770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72" name="Freeform 168"/>
            <p:cNvSpPr>
              <a:spLocks/>
            </p:cNvSpPr>
            <p:nvPr/>
          </p:nvSpPr>
          <p:spPr bwMode="auto">
            <a:xfrm>
              <a:off x="3124" y="1992"/>
              <a:ext cx="160" cy="153"/>
            </a:xfrm>
            <a:custGeom>
              <a:avLst/>
              <a:gdLst/>
              <a:ahLst/>
              <a:cxnLst>
                <a:cxn ang="0">
                  <a:pos x="160" y="10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9" y="10"/>
                </a:cxn>
                <a:cxn ang="0">
                  <a:pos x="19" y="153"/>
                </a:cxn>
                <a:cxn ang="0">
                  <a:pos x="26" y="153"/>
                </a:cxn>
                <a:cxn ang="0">
                  <a:pos x="26" y="10"/>
                </a:cxn>
                <a:cxn ang="0">
                  <a:pos x="160" y="10"/>
                </a:cxn>
              </a:cxnLst>
              <a:rect l="0" t="0" r="r" b="b"/>
              <a:pathLst>
                <a:path w="160" h="153">
                  <a:moveTo>
                    <a:pt x="160" y="10"/>
                  </a:moveTo>
                  <a:lnTo>
                    <a:pt x="16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9" y="10"/>
                  </a:lnTo>
                  <a:lnTo>
                    <a:pt x="19" y="153"/>
                  </a:lnTo>
                  <a:lnTo>
                    <a:pt x="26" y="153"/>
                  </a:lnTo>
                  <a:lnTo>
                    <a:pt x="26" y="10"/>
                  </a:lnTo>
                  <a:lnTo>
                    <a:pt x="16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73" name="Freeform 169"/>
            <p:cNvSpPr>
              <a:spLocks/>
            </p:cNvSpPr>
            <p:nvPr/>
          </p:nvSpPr>
          <p:spPr bwMode="auto">
            <a:xfrm>
              <a:off x="3119" y="1897"/>
              <a:ext cx="113" cy="86"/>
            </a:xfrm>
            <a:custGeom>
              <a:avLst/>
              <a:gdLst/>
              <a:ahLst/>
              <a:cxnLst>
                <a:cxn ang="0">
                  <a:pos x="8" y="33"/>
                </a:cxn>
                <a:cxn ang="0">
                  <a:pos x="13" y="36"/>
                </a:cxn>
                <a:cxn ang="0">
                  <a:pos x="47" y="36"/>
                </a:cxn>
                <a:cxn ang="0">
                  <a:pos x="47" y="33"/>
                </a:cxn>
                <a:cxn ang="0">
                  <a:pos x="13" y="33"/>
                </a:cxn>
                <a:cxn ang="0">
                  <a:pos x="11" y="32"/>
                </a:cxn>
                <a:cxn ang="0">
                  <a:pos x="4" y="0"/>
                </a:cxn>
                <a:cxn ang="0">
                  <a:pos x="0" y="1"/>
                </a:cxn>
                <a:cxn ang="0">
                  <a:pos x="8" y="32"/>
                </a:cxn>
                <a:cxn ang="0">
                  <a:pos x="8" y="33"/>
                </a:cxn>
              </a:cxnLst>
              <a:rect l="0" t="0" r="r" b="b"/>
              <a:pathLst>
                <a:path w="47" h="36">
                  <a:moveTo>
                    <a:pt x="8" y="33"/>
                  </a:moveTo>
                  <a:cubicBezTo>
                    <a:pt x="9" y="35"/>
                    <a:pt x="11" y="36"/>
                    <a:pt x="13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3"/>
                    <a:pt x="12" y="32"/>
                    <a:pt x="11" y="3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32"/>
                    <a:pt x="8" y="32"/>
                    <a:pt x="8" y="32"/>
                  </a:cubicBezTo>
                  <a:lnTo>
                    <a:pt x="8" y="3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74" name="Freeform 170"/>
            <p:cNvSpPr>
              <a:spLocks/>
            </p:cNvSpPr>
            <p:nvPr/>
          </p:nvSpPr>
          <p:spPr bwMode="auto">
            <a:xfrm>
              <a:off x="3224" y="1877"/>
              <a:ext cx="139" cy="268"/>
            </a:xfrm>
            <a:custGeom>
              <a:avLst/>
              <a:gdLst/>
              <a:ahLst/>
              <a:cxnLst>
                <a:cxn ang="0">
                  <a:pos x="49" y="55"/>
                </a:cxn>
                <a:cxn ang="0">
                  <a:pos x="32" y="69"/>
                </a:cxn>
                <a:cxn ang="0">
                  <a:pos x="0" y="69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108"/>
                </a:cxn>
                <a:cxn ang="0">
                  <a:pos x="10" y="108"/>
                </a:cxn>
                <a:cxn ang="0">
                  <a:pos x="10" y="112"/>
                </a:cxn>
                <a:cxn ang="0">
                  <a:pos x="34" y="112"/>
                </a:cxn>
                <a:cxn ang="0">
                  <a:pos x="34" y="108"/>
                </a:cxn>
                <a:cxn ang="0">
                  <a:pos x="24" y="108"/>
                </a:cxn>
                <a:cxn ang="0">
                  <a:pos x="24" y="73"/>
                </a:cxn>
                <a:cxn ang="0">
                  <a:pos x="32" y="73"/>
                </a:cxn>
                <a:cxn ang="0">
                  <a:pos x="53" y="56"/>
                </a:cxn>
                <a:cxn ang="0">
                  <a:pos x="53" y="56"/>
                </a:cxn>
                <a:cxn ang="0">
                  <a:pos x="58" y="0"/>
                </a:cxn>
                <a:cxn ang="0">
                  <a:pos x="54" y="0"/>
                </a:cxn>
                <a:cxn ang="0">
                  <a:pos x="49" y="55"/>
                </a:cxn>
              </a:cxnLst>
              <a:rect l="0" t="0" r="r" b="b"/>
              <a:pathLst>
                <a:path w="58" h="112">
                  <a:moveTo>
                    <a:pt x="49" y="55"/>
                  </a:moveTo>
                  <a:cubicBezTo>
                    <a:pt x="47" y="62"/>
                    <a:pt x="40" y="69"/>
                    <a:pt x="32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41" y="73"/>
                    <a:pt x="50" y="6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49" y="5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77" name="Group 173"/>
          <p:cNvGrpSpPr>
            <a:grpSpLocks noChangeAspect="1"/>
          </p:cNvGrpSpPr>
          <p:nvPr/>
        </p:nvGrpSpPr>
        <p:grpSpPr bwMode="auto">
          <a:xfrm>
            <a:off x="5864230" y="2808290"/>
            <a:ext cx="768350" cy="768350"/>
            <a:chOff x="3689" y="1769"/>
            <a:chExt cx="484" cy="484"/>
          </a:xfrm>
        </p:grpSpPr>
        <p:sp>
          <p:nvSpPr>
            <p:cNvPr id="47278" name="Freeform 174"/>
            <p:cNvSpPr>
              <a:spLocks noEditPoints="1"/>
            </p:cNvSpPr>
            <p:nvPr/>
          </p:nvSpPr>
          <p:spPr bwMode="auto">
            <a:xfrm>
              <a:off x="3689" y="17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79" name="Freeform 175"/>
            <p:cNvSpPr>
              <a:spLocks/>
            </p:cNvSpPr>
            <p:nvPr/>
          </p:nvSpPr>
          <p:spPr bwMode="auto">
            <a:xfrm>
              <a:off x="3812" y="1992"/>
              <a:ext cx="160" cy="154"/>
            </a:xfrm>
            <a:custGeom>
              <a:avLst/>
              <a:gdLst/>
              <a:ahLst/>
              <a:cxnLst>
                <a:cxn ang="0">
                  <a:pos x="160" y="10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9" y="10"/>
                </a:cxn>
                <a:cxn ang="0">
                  <a:pos x="19" y="154"/>
                </a:cxn>
                <a:cxn ang="0">
                  <a:pos x="26" y="154"/>
                </a:cxn>
                <a:cxn ang="0">
                  <a:pos x="26" y="10"/>
                </a:cxn>
                <a:cxn ang="0">
                  <a:pos x="160" y="10"/>
                </a:cxn>
              </a:cxnLst>
              <a:rect l="0" t="0" r="r" b="b"/>
              <a:pathLst>
                <a:path w="160" h="154">
                  <a:moveTo>
                    <a:pt x="160" y="10"/>
                  </a:moveTo>
                  <a:lnTo>
                    <a:pt x="16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9" y="10"/>
                  </a:lnTo>
                  <a:lnTo>
                    <a:pt x="19" y="154"/>
                  </a:lnTo>
                  <a:lnTo>
                    <a:pt x="26" y="154"/>
                  </a:lnTo>
                  <a:lnTo>
                    <a:pt x="26" y="10"/>
                  </a:lnTo>
                  <a:lnTo>
                    <a:pt x="160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80" name="Freeform 176"/>
            <p:cNvSpPr>
              <a:spLocks/>
            </p:cNvSpPr>
            <p:nvPr/>
          </p:nvSpPr>
          <p:spPr bwMode="auto">
            <a:xfrm>
              <a:off x="3807" y="1896"/>
              <a:ext cx="112" cy="89"/>
            </a:xfrm>
            <a:custGeom>
              <a:avLst/>
              <a:gdLst/>
              <a:ahLst/>
              <a:cxnLst>
                <a:cxn ang="0">
                  <a:pos x="8" y="33"/>
                </a:cxn>
                <a:cxn ang="0">
                  <a:pos x="13" y="37"/>
                </a:cxn>
                <a:cxn ang="0">
                  <a:pos x="47" y="37"/>
                </a:cxn>
                <a:cxn ang="0">
                  <a:pos x="47" y="33"/>
                </a:cxn>
                <a:cxn ang="0">
                  <a:pos x="13" y="33"/>
                </a:cxn>
                <a:cxn ang="0">
                  <a:pos x="11" y="32"/>
                </a:cxn>
                <a:cxn ang="0">
                  <a:pos x="4" y="0"/>
                </a:cxn>
                <a:cxn ang="0">
                  <a:pos x="0" y="1"/>
                </a:cxn>
                <a:cxn ang="0">
                  <a:pos x="8" y="33"/>
                </a:cxn>
              </a:cxnLst>
              <a:rect l="0" t="0" r="r" b="b"/>
              <a:pathLst>
                <a:path w="47" h="37">
                  <a:moveTo>
                    <a:pt x="8" y="33"/>
                  </a:moveTo>
                  <a:cubicBezTo>
                    <a:pt x="9" y="35"/>
                    <a:pt x="11" y="37"/>
                    <a:pt x="13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3"/>
                    <a:pt x="12" y="32"/>
                    <a:pt x="11" y="3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33"/>
                    <a:pt x="8" y="33"/>
                    <a:pt x="8" y="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81" name="Freeform 177"/>
            <p:cNvSpPr>
              <a:spLocks/>
            </p:cNvSpPr>
            <p:nvPr/>
          </p:nvSpPr>
          <p:spPr bwMode="auto">
            <a:xfrm>
              <a:off x="3912" y="1877"/>
              <a:ext cx="139" cy="269"/>
            </a:xfrm>
            <a:custGeom>
              <a:avLst/>
              <a:gdLst/>
              <a:ahLst/>
              <a:cxnLst>
                <a:cxn ang="0">
                  <a:pos x="49" y="55"/>
                </a:cxn>
                <a:cxn ang="0">
                  <a:pos x="32" y="69"/>
                </a:cxn>
                <a:cxn ang="0">
                  <a:pos x="0" y="69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108"/>
                </a:cxn>
                <a:cxn ang="0">
                  <a:pos x="10" y="108"/>
                </a:cxn>
                <a:cxn ang="0">
                  <a:pos x="10" y="112"/>
                </a:cxn>
                <a:cxn ang="0">
                  <a:pos x="34" y="112"/>
                </a:cxn>
                <a:cxn ang="0">
                  <a:pos x="34" y="108"/>
                </a:cxn>
                <a:cxn ang="0">
                  <a:pos x="24" y="108"/>
                </a:cxn>
                <a:cxn ang="0">
                  <a:pos x="24" y="73"/>
                </a:cxn>
                <a:cxn ang="0">
                  <a:pos x="32" y="73"/>
                </a:cxn>
                <a:cxn ang="0">
                  <a:pos x="53" y="56"/>
                </a:cxn>
                <a:cxn ang="0">
                  <a:pos x="53" y="56"/>
                </a:cxn>
                <a:cxn ang="0">
                  <a:pos x="58" y="0"/>
                </a:cxn>
                <a:cxn ang="0">
                  <a:pos x="54" y="0"/>
                </a:cxn>
                <a:cxn ang="0">
                  <a:pos x="49" y="55"/>
                </a:cxn>
              </a:cxnLst>
              <a:rect l="0" t="0" r="r" b="b"/>
              <a:pathLst>
                <a:path w="58" h="112">
                  <a:moveTo>
                    <a:pt x="49" y="55"/>
                  </a:moveTo>
                  <a:cubicBezTo>
                    <a:pt x="47" y="62"/>
                    <a:pt x="40" y="69"/>
                    <a:pt x="32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34" y="112"/>
                    <a:pt x="34" y="112"/>
                    <a:pt x="34" y="112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41" y="73"/>
                    <a:pt x="50" y="6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49" y="5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84" name="Group 180"/>
          <p:cNvGrpSpPr>
            <a:grpSpLocks noChangeAspect="1"/>
          </p:cNvGrpSpPr>
          <p:nvPr/>
        </p:nvGrpSpPr>
        <p:grpSpPr bwMode="auto">
          <a:xfrm>
            <a:off x="6915126" y="2762248"/>
            <a:ext cx="854075" cy="854075"/>
            <a:chOff x="4355" y="1740"/>
            <a:chExt cx="538" cy="538"/>
          </a:xfrm>
        </p:grpSpPr>
        <p:sp>
          <p:nvSpPr>
            <p:cNvPr id="47285" name="Oval 181"/>
            <p:cNvSpPr>
              <a:spLocks noChangeArrowheads="1"/>
            </p:cNvSpPr>
            <p:nvPr/>
          </p:nvSpPr>
          <p:spPr bwMode="auto">
            <a:xfrm>
              <a:off x="4355" y="1740"/>
              <a:ext cx="538" cy="53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86" name="Freeform 182"/>
            <p:cNvSpPr>
              <a:spLocks noEditPoints="1"/>
            </p:cNvSpPr>
            <p:nvPr/>
          </p:nvSpPr>
          <p:spPr bwMode="auto">
            <a:xfrm>
              <a:off x="4377" y="1761"/>
              <a:ext cx="495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87" name="Freeform 183"/>
            <p:cNvSpPr>
              <a:spLocks noEditPoints="1"/>
            </p:cNvSpPr>
            <p:nvPr/>
          </p:nvSpPr>
          <p:spPr bwMode="auto">
            <a:xfrm>
              <a:off x="4485" y="1974"/>
              <a:ext cx="279" cy="142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279" y="142"/>
                </a:cxn>
                <a:cxn ang="0">
                  <a:pos x="279" y="0"/>
                </a:cxn>
                <a:cxn ang="0">
                  <a:pos x="0" y="0"/>
                </a:cxn>
                <a:cxn ang="0">
                  <a:pos x="0" y="142"/>
                </a:cxn>
                <a:cxn ang="0">
                  <a:pos x="165" y="130"/>
                </a:cxn>
                <a:cxn ang="0">
                  <a:pos x="117" y="130"/>
                </a:cxn>
                <a:cxn ang="0">
                  <a:pos x="117" y="77"/>
                </a:cxn>
                <a:cxn ang="0">
                  <a:pos x="165" y="77"/>
                </a:cxn>
                <a:cxn ang="0">
                  <a:pos x="165" y="130"/>
                </a:cxn>
                <a:cxn ang="0">
                  <a:pos x="12" y="12"/>
                </a:cxn>
                <a:cxn ang="0">
                  <a:pos x="267" y="12"/>
                </a:cxn>
                <a:cxn ang="0">
                  <a:pos x="267" y="130"/>
                </a:cxn>
                <a:cxn ang="0">
                  <a:pos x="176" y="130"/>
                </a:cxn>
                <a:cxn ang="0">
                  <a:pos x="176" y="65"/>
                </a:cxn>
                <a:cxn ang="0">
                  <a:pos x="105" y="65"/>
                </a:cxn>
                <a:cxn ang="0">
                  <a:pos x="105" y="130"/>
                </a:cxn>
                <a:cxn ang="0">
                  <a:pos x="12" y="130"/>
                </a:cxn>
                <a:cxn ang="0">
                  <a:pos x="12" y="12"/>
                </a:cxn>
              </a:cxnLst>
              <a:rect l="0" t="0" r="r" b="b"/>
              <a:pathLst>
                <a:path w="279" h="142">
                  <a:moveTo>
                    <a:pt x="0" y="142"/>
                  </a:moveTo>
                  <a:lnTo>
                    <a:pt x="279" y="142"/>
                  </a:lnTo>
                  <a:lnTo>
                    <a:pt x="279" y="0"/>
                  </a:lnTo>
                  <a:lnTo>
                    <a:pt x="0" y="0"/>
                  </a:lnTo>
                  <a:lnTo>
                    <a:pt x="0" y="142"/>
                  </a:lnTo>
                  <a:close/>
                  <a:moveTo>
                    <a:pt x="165" y="130"/>
                  </a:moveTo>
                  <a:lnTo>
                    <a:pt x="117" y="130"/>
                  </a:lnTo>
                  <a:lnTo>
                    <a:pt x="117" y="77"/>
                  </a:lnTo>
                  <a:lnTo>
                    <a:pt x="165" y="77"/>
                  </a:lnTo>
                  <a:lnTo>
                    <a:pt x="165" y="130"/>
                  </a:lnTo>
                  <a:close/>
                  <a:moveTo>
                    <a:pt x="12" y="12"/>
                  </a:moveTo>
                  <a:lnTo>
                    <a:pt x="267" y="12"/>
                  </a:lnTo>
                  <a:lnTo>
                    <a:pt x="267" y="130"/>
                  </a:lnTo>
                  <a:lnTo>
                    <a:pt x="176" y="130"/>
                  </a:lnTo>
                  <a:lnTo>
                    <a:pt x="176" y="65"/>
                  </a:lnTo>
                  <a:lnTo>
                    <a:pt x="105" y="65"/>
                  </a:lnTo>
                  <a:lnTo>
                    <a:pt x="105" y="130"/>
                  </a:lnTo>
                  <a:lnTo>
                    <a:pt x="12" y="130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88" name="Freeform 184"/>
            <p:cNvSpPr>
              <a:spLocks/>
            </p:cNvSpPr>
            <p:nvPr/>
          </p:nvSpPr>
          <p:spPr bwMode="auto">
            <a:xfrm>
              <a:off x="4446" y="1862"/>
              <a:ext cx="357" cy="127"/>
            </a:xfrm>
            <a:custGeom>
              <a:avLst/>
              <a:gdLst/>
              <a:ahLst/>
              <a:cxnLst>
                <a:cxn ang="0">
                  <a:pos x="98" y="1"/>
                </a:cxn>
                <a:cxn ang="0">
                  <a:pos x="95" y="1"/>
                </a:cxn>
                <a:cxn ang="0">
                  <a:pos x="75" y="21"/>
                </a:cxn>
                <a:cxn ang="0">
                  <a:pos x="55" y="1"/>
                </a:cxn>
                <a:cxn ang="0">
                  <a:pos x="51" y="1"/>
                </a:cxn>
                <a:cxn ang="0">
                  <a:pos x="0" y="50"/>
                </a:cxn>
                <a:cxn ang="0">
                  <a:pos x="4" y="53"/>
                </a:cxn>
                <a:cxn ang="0">
                  <a:pos x="53" y="6"/>
                </a:cxn>
                <a:cxn ang="0">
                  <a:pos x="72" y="26"/>
                </a:cxn>
                <a:cxn ang="0">
                  <a:pos x="74" y="28"/>
                </a:cxn>
                <a:cxn ang="0">
                  <a:pos x="75" y="28"/>
                </a:cxn>
                <a:cxn ang="0">
                  <a:pos x="77" y="26"/>
                </a:cxn>
                <a:cxn ang="0">
                  <a:pos x="96" y="6"/>
                </a:cxn>
                <a:cxn ang="0">
                  <a:pos x="145" y="53"/>
                </a:cxn>
                <a:cxn ang="0">
                  <a:pos x="149" y="50"/>
                </a:cxn>
                <a:cxn ang="0">
                  <a:pos x="98" y="1"/>
                </a:cxn>
              </a:cxnLst>
              <a:rect l="0" t="0" r="r" b="b"/>
              <a:pathLst>
                <a:path w="149" h="53">
                  <a:moveTo>
                    <a:pt x="98" y="1"/>
                  </a:moveTo>
                  <a:cubicBezTo>
                    <a:pt x="97" y="0"/>
                    <a:pt x="96" y="0"/>
                    <a:pt x="95" y="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0"/>
                    <a:pt x="52" y="0"/>
                    <a:pt x="51" y="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3" y="27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6" y="28"/>
                    <a:pt x="76" y="27"/>
                    <a:pt x="77" y="2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49" y="50"/>
                    <a:pt x="149" y="50"/>
                    <a:pt x="149" y="50"/>
                  </a:cubicBezTo>
                  <a:lnTo>
                    <a:pt x="98" y="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91" name="Group 187"/>
          <p:cNvGrpSpPr>
            <a:grpSpLocks noChangeAspect="1"/>
          </p:cNvGrpSpPr>
          <p:nvPr/>
        </p:nvGrpSpPr>
        <p:grpSpPr bwMode="auto">
          <a:xfrm>
            <a:off x="8055769" y="2800349"/>
            <a:ext cx="787400" cy="784224"/>
            <a:chOff x="5071" y="1764"/>
            <a:chExt cx="496" cy="494"/>
          </a:xfrm>
        </p:grpSpPr>
        <p:sp>
          <p:nvSpPr>
            <p:cNvPr id="47292" name="Freeform 188"/>
            <p:cNvSpPr>
              <a:spLocks noEditPoints="1"/>
            </p:cNvSpPr>
            <p:nvPr/>
          </p:nvSpPr>
          <p:spPr bwMode="auto">
            <a:xfrm>
              <a:off x="5071" y="1764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93" name="Freeform 189"/>
            <p:cNvSpPr>
              <a:spLocks noEditPoints="1"/>
            </p:cNvSpPr>
            <p:nvPr/>
          </p:nvSpPr>
          <p:spPr bwMode="auto">
            <a:xfrm>
              <a:off x="5179" y="1978"/>
              <a:ext cx="281" cy="141"/>
            </a:xfrm>
            <a:custGeom>
              <a:avLst/>
              <a:gdLst/>
              <a:ahLst/>
              <a:cxnLst>
                <a:cxn ang="0">
                  <a:pos x="0" y="141"/>
                </a:cxn>
                <a:cxn ang="0">
                  <a:pos x="281" y="141"/>
                </a:cxn>
                <a:cxn ang="0">
                  <a:pos x="281" y="0"/>
                </a:cxn>
                <a:cxn ang="0">
                  <a:pos x="0" y="0"/>
                </a:cxn>
                <a:cxn ang="0">
                  <a:pos x="0" y="141"/>
                </a:cxn>
                <a:cxn ang="0">
                  <a:pos x="166" y="129"/>
                </a:cxn>
                <a:cxn ang="0">
                  <a:pos x="118" y="129"/>
                </a:cxn>
                <a:cxn ang="0">
                  <a:pos x="118" y="77"/>
                </a:cxn>
                <a:cxn ang="0">
                  <a:pos x="166" y="77"/>
                </a:cxn>
                <a:cxn ang="0">
                  <a:pos x="166" y="129"/>
                </a:cxn>
                <a:cxn ang="0">
                  <a:pos x="12" y="12"/>
                </a:cxn>
                <a:cxn ang="0">
                  <a:pos x="269" y="12"/>
                </a:cxn>
                <a:cxn ang="0">
                  <a:pos x="269" y="129"/>
                </a:cxn>
                <a:cxn ang="0">
                  <a:pos x="178" y="129"/>
                </a:cxn>
                <a:cxn ang="0">
                  <a:pos x="178" y="65"/>
                </a:cxn>
                <a:cxn ang="0">
                  <a:pos x="106" y="65"/>
                </a:cxn>
                <a:cxn ang="0">
                  <a:pos x="106" y="129"/>
                </a:cxn>
                <a:cxn ang="0">
                  <a:pos x="12" y="129"/>
                </a:cxn>
                <a:cxn ang="0">
                  <a:pos x="12" y="12"/>
                </a:cxn>
              </a:cxnLst>
              <a:rect l="0" t="0" r="r" b="b"/>
              <a:pathLst>
                <a:path w="281" h="141">
                  <a:moveTo>
                    <a:pt x="0" y="141"/>
                  </a:moveTo>
                  <a:lnTo>
                    <a:pt x="281" y="141"/>
                  </a:lnTo>
                  <a:lnTo>
                    <a:pt x="281" y="0"/>
                  </a:lnTo>
                  <a:lnTo>
                    <a:pt x="0" y="0"/>
                  </a:lnTo>
                  <a:lnTo>
                    <a:pt x="0" y="141"/>
                  </a:lnTo>
                  <a:close/>
                  <a:moveTo>
                    <a:pt x="166" y="129"/>
                  </a:moveTo>
                  <a:lnTo>
                    <a:pt x="118" y="129"/>
                  </a:lnTo>
                  <a:lnTo>
                    <a:pt x="118" y="77"/>
                  </a:lnTo>
                  <a:lnTo>
                    <a:pt x="166" y="77"/>
                  </a:lnTo>
                  <a:lnTo>
                    <a:pt x="166" y="129"/>
                  </a:lnTo>
                  <a:close/>
                  <a:moveTo>
                    <a:pt x="12" y="12"/>
                  </a:moveTo>
                  <a:lnTo>
                    <a:pt x="269" y="12"/>
                  </a:lnTo>
                  <a:lnTo>
                    <a:pt x="269" y="129"/>
                  </a:lnTo>
                  <a:lnTo>
                    <a:pt x="178" y="129"/>
                  </a:lnTo>
                  <a:lnTo>
                    <a:pt x="178" y="65"/>
                  </a:lnTo>
                  <a:lnTo>
                    <a:pt x="106" y="65"/>
                  </a:lnTo>
                  <a:lnTo>
                    <a:pt x="106" y="129"/>
                  </a:lnTo>
                  <a:lnTo>
                    <a:pt x="12" y="129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94" name="Freeform 190"/>
            <p:cNvSpPr>
              <a:spLocks/>
            </p:cNvSpPr>
            <p:nvPr/>
          </p:nvSpPr>
          <p:spPr bwMode="auto">
            <a:xfrm>
              <a:off x="5141" y="1865"/>
              <a:ext cx="357" cy="127"/>
            </a:xfrm>
            <a:custGeom>
              <a:avLst/>
              <a:gdLst/>
              <a:ahLst/>
              <a:cxnLst>
                <a:cxn ang="0">
                  <a:pos x="98" y="1"/>
                </a:cxn>
                <a:cxn ang="0">
                  <a:pos x="95" y="1"/>
                </a:cxn>
                <a:cxn ang="0">
                  <a:pos x="75" y="21"/>
                </a:cxn>
                <a:cxn ang="0">
                  <a:pos x="55" y="1"/>
                </a:cxn>
                <a:cxn ang="0">
                  <a:pos x="51" y="1"/>
                </a:cxn>
                <a:cxn ang="0">
                  <a:pos x="0" y="50"/>
                </a:cxn>
                <a:cxn ang="0">
                  <a:pos x="4" y="53"/>
                </a:cxn>
                <a:cxn ang="0">
                  <a:pos x="53" y="6"/>
                </a:cxn>
                <a:cxn ang="0">
                  <a:pos x="72" y="26"/>
                </a:cxn>
                <a:cxn ang="0">
                  <a:pos x="74" y="28"/>
                </a:cxn>
                <a:cxn ang="0">
                  <a:pos x="75" y="28"/>
                </a:cxn>
                <a:cxn ang="0">
                  <a:pos x="77" y="26"/>
                </a:cxn>
                <a:cxn ang="0">
                  <a:pos x="96" y="6"/>
                </a:cxn>
                <a:cxn ang="0">
                  <a:pos x="145" y="53"/>
                </a:cxn>
                <a:cxn ang="0">
                  <a:pos x="149" y="50"/>
                </a:cxn>
                <a:cxn ang="0">
                  <a:pos x="98" y="1"/>
                </a:cxn>
              </a:cxnLst>
              <a:rect l="0" t="0" r="r" b="b"/>
              <a:pathLst>
                <a:path w="149" h="53">
                  <a:moveTo>
                    <a:pt x="98" y="1"/>
                  </a:moveTo>
                  <a:cubicBezTo>
                    <a:pt x="97" y="0"/>
                    <a:pt x="96" y="0"/>
                    <a:pt x="95" y="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0"/>
                    <a:pt x="52" y="0"/>
                    <a:pt x="51" y="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3" y="27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6" y="28"/>
                    <a:pt x="76" y="27"/>
                    <a:pt x="77" y="2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49" y="50"/>
                    <a:pt x="149" y="50"/>
                    <a:pt x="149" y="50"/>
                  </a:cubicBezTo>
                  <a:lnTo>
                    <a:pt x="98" y="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297" name="Group 193"/>
          <p:cNvGrpSpPr>
            <a:grpSpLocks noChangeAspect="1"/>
          </p:cNvGrpSpPr>
          <p:nvPr/>
        </p:nvGrpSpPr>
        <p:grpSpPr bwMode="auto">
          <a:xfrm>
            <a:off x="346869" y="4078288"/>
            <a:ext cx="838200" cy="838200"/>
            <a:chOff x="215" y="2569"/>
            <a:chExt cx="528" cy="528"/>
          </a:xfrm>
        </p:grpSpPr>
        <p:sp>
          <p:nvSpPr>
            <p:cNvPr id="47298" name="Oval 194"/>
            <p:cNvSpPr>
              <a:spLocks noChangeArrowheads="1"/>
            </p:cNvSpPr>
            <p:nvPr/>
          </p:nvSpPr>
          <p:spPr bwMode="auto">
            <a:xfrm>
              <a:off x="215" y="2569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99" name="Freeform 195"/>
            <p:cNvSpPr>
              <a:spLocks noEditPoints="1"/>
            </p:cNvSpPr>
            <p:nvPr/>
          </p:nvSpPr>
          <p:spPr bwMode="auto">
            <a:xfrm>
              <a:off x="235" y="2591"/>
              <a:ext cx="486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3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8" y="101"/>
                </a:cxn>
                <a:cxn ang="0">
                  <a:pos x="169" y="169"/>
                </a:cxn>
              </a:cxnLst>
              <a:rect l="0" t="0" r="r" b="b"/>
              <a:pathLst>
                <a:path w="203" h="202">
                  <a:moveTo>
                    <a:pt x="101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1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2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2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8" y="51"/>
                    <a:pt x="198" y="75"/>
                    <a:pt x="198" y="101"/>
                  </a:cubicBezTo>
                  <a:cubicBezTo>
                    <a:pt x="198" y="127"/>
                    <a:pt x="188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0" name="Freeform 196"/>
            <p:cNvSpPr>
              <a:spLocks noEditPoints="1"/>
            </p:cNvSpPr>
            <p:nvPr/>
          </p:nvSpPr>
          <p:spPr bwMode="auto">
            <a:xfrm>
              <a:off x="347" y="2660"/>
              <a:ext cx="264" cy="310"/>
            </a:xfrm>
            <a:custGeom>
              <a:avLst/>
              <a:gdLst/>
              <a:ahLst/>
              <a:cxnLst>
                <a:cxn ang="0">
                  <a:pos x="96" y="74"/>
                </a:cxn>
                <a:cxn ang="0">
                  <a:pos x="95" y="72"/>
                </a:cxn>
                <a:cxn ang="0">
                  <a:pos x="86" y="67"/>
                </a:cxn>
                <a:cxn ang="0">
                  <a:pos x="95" y="40"/>
                </a:cxn>
                <a:cxn ang="0">
                  <a:pos x="55" y="0"/>
                </a:cxn>
                <a:cxn ang="0">
                  <a:pos x="15" y="40"/>
                </a:cxn>
                <a:cxn ang="0">
                  <a:pos x="24" y="67"/>
                </a:cxn>
                <a:cxn ang="0">
                  <a:pos x="14" y="72"/>
                </a:cxn>
                <a:cxn ang="0">
                  <a:pos x="14" y="72"/>
                </a:cxn>
                <a:cxn ang="0">
                  <a:pos x="13" y="74"/>
                </a:cxn>
                <a:cxn ang="0">
                  <a:pos x="0" y="124"/>
                </a:cxn>
                <a:cxn ang="0">
                  <a:pos x="1" y="128"/>
                </a:cxn>
                <a:cxn ang="0">
                  <a:pos x="6" y="129"/>
                </a:cxn>
                <a:cxn ang="0">
                  <a:pos x="32" y="116"/>
                </a:cxn>
                <a:cxn ang="0">
                  <a:pos x="53" y="127"/>
                </a:cxn>
                <a:cxn ang="0">
                  <a:pos x="57" y="127"/>
                </a:cxn>
                <a:cxn ang="0">
                  <a:pos x="77" y="116"/>
                </a:cxn>
                <a:cxn ang="0">
                  <a:pos x="103" y="129"/>
                </a:cxn>
                <a:cxn ang="0">
                  <a:pos x="105" y="129"/>
                </a:cxn>
                <a:cxn ang="0">
                  <a:pos x="108" y="128"/>
                </a:cxn>
                <a:cxn ang="0">
                  <a:pos x="110" y="124"/>
                </a:cxn>
                <a:cxn ang="0">
                  <a:pos x="96" y="74"/>
                </a:cxn>
                <a:cxn ang="0">
                  <a:pos x="55" y="3"/>
                </a:cxn>
                <a:cxn ang="0">
                  <a:pos x="91" y="40"/>
                </a:cxn>
                <a:cxn ang="0">
                  <a:pos x="61" y="88"/>
                </a:cxn>
                <a:cxn ang="0">
                  <a:pos x="55" y="94"/>
                </a:cxn>
                <a:cxn ang="0">
                  <a:pos x="49" y="88"/>
                </a:cxn>
                <a:cxn ang="0">
                  <a:pos x="18" y="40"/>
                </a:cxn>
                <a:cxn ang="0">
                  <a:pos x="55" y="3"/>
                </a:cxn>
                <a:cxn ang="0">
                  <a:pos x="106" y="125"/>
                </a:cxn>
                <a:cxn ang="0">
                  <a:pos x="105" y="125"/>
                </a:cxn>
                <a:cxn ang="0">
                  <a:pos x="78" y="112"/>
                </a:cxn>
                <a:cxn ang="0">
                  <a:pos x="76" y="113"/>
                </a:cxn>
                <a:cxn ang="0">
                  <a:pos x="55" y="124"/>
                </a:cxn>
                <a:cxn ang="0">
                  <a:pos x="54" y="124"/>
                </a:cxn>
                <a:cxn ang="0">
                  <a:pos x="34" y="113"/>
                </a:cxn>
                <a:cxn ang="0">
                  <a:pos x="31" y="112"/>
                </a:cxn>
                <a:cxn ang="0">
                  <a:pos x="5" y="125"/>
                </a:cxn>
                <a:cxn ang="0">
                  <a:pos x="4" y="125"/>
                </a:cxn>
                <a:cxn ang="0">
                  <a:pos x="4" y="125"/>
                </a:cxn>
                <a:cxn ang="0">
                  <a:pos x="16" y="75"/>
                </a:cxn>
                <a:cxn ang="0">
                  <a:pos x="26" y="70"/>
                </a:cxn>
                <a:cxn ang="0">
                  <a:pos x="46" y="91"/>
                </a:cxn>
                <a:cxn ang="0">
                  <a:pos x="53" y="98"/>
                </a:cxn>
                <a:cxn ang="0">
                  <a:pos x="55" y="101"/>
                </a:cxn>
                <a:cxn ang="0">
                  <a:pos x="56" y="98"/>
                </a:cxn>
                <a:cxn ang="0">
                  <a:pos x="63" y="91"/>
                </a:cxn>
                <a:cxn ang="0">
                  <a:pos x="84" y="70"/>
                </a:cxn>
                <a:cxn ang="0">
                  <a:pos x="93" y="75"/>
                </a:cxn>
                <a:cxn ang="0">
                  <a:pos x="106" y="125"/>
                </a:cxn>
                <a:cxn ang="0">
                  <a:pos x="106" y="125"/>
                </a:cxn>
              </a:cxnLst>
              <a:rect l="0" t="0" r="r" b="b"/>
              <a:pathLst>
                <a:path w="110" h="129">
                  <a:moveTo>
                    <a:pt x="96" y="74"/>
                  </a:moveTo>
                  <a:cubicBezTo>
                    <a:pt x="96" y="73"/>
                    <a:pt x="96" y="73"/>
                    <a:pt x="95" y="72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91" y="59"/>
                    <a:pt x="95" y="50"/>
                    <a:pt x="95" y="40"/>
                  </a:cubicBezTo>
                  <a:cubicBezTo>
                    <a:pt x="95" y="17"/>
                    <a:pt x="77" y="0"/>
                    <a:pt x="55" y="0"/>
                  </a:cubicBezTo>
                  <a:cubicBezTo>
                    <a:pt x="33" y="0"/>
                    <a:pt x="15" y="17"/>
                    <a:pt x="15" y="40"/>
                  </a:cubicBezTo>
                  <a:cubicBezTo>
                    <a:pt x="15" y="50"/>
                    <a:pt x="19" y="59"/>
                    <a:pt x="24" y="67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3"/>
                    <a:pt x="13" y="73"/>
                    <a:pt x="13" y="7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5"/>
                    <a:pt x="0" y="127"/>
                    <a:pt x="1" y="128"/>
                  </a:cubicBezTo>
                  <a:cubicBezTo>
                    <a:pt x="3" y="129"/>
                    <a:pt x="5" y="129"/>
                    <a:pt x="6" y="129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8"/>
                    <a:pt x="56" y="128"/>
                    <a:pt x="57" y="127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103" y="129"/>
                    <a:pt x="103" y="129"/>
                    <a:pt x="103" y="129"/>
                  </a:cubicBezTo>
                  <a:cubicBezTo>
                    <a:pt x="104" y="129"/>
                    <a:pt x="105" y="129"/>
                    <a:pt x="105" y="129"/>
                  </a:cubicBezTo>
                  <a:cubicBezTo>
                    <a:pt x="106" y="129"/>
                    <a:pt x="107" y="129"/>
                    <a:pt x="108" y="128"/>
                  </a:cubicBezTo>
                  <a:cubicBezTo>
                    <a:pt x="109" y="127"/>
                    <a:pt x="110" y="125"/>
                    <a:pt x="110" y="124"/>
                  </a:cubicBezTo>
                  <a:lnTo>
                    <a:pt x="96" y="74"/>
                  </a:lnTo>
                  <a:close/>
                  <a:moveTo>
                    <a:pt x="55" y="3"/>
                  </a:moveTo>
                  <a:cubicBezTo>
                    <a:pt x="75" y="3"/>
                    <a:pt x="91" y="19"/>
                    <a:pt x="91" y="40"/>
                  </a:cubicBezTo>
                  <a:cubicBezTo>
                    <a:pt x="91" y="62"/>
                    <a:pt x="72" y="79"/>
                    <a:pt x="61" y="88"/>
                  </a:cubicBezTo>
                  <a:cubicBezTo>
                    <a:pt x="58" y="91"/>
                    <a:pt x="56" y="92"/>
                    <a:pt x="55" y="94"/>
                  </a:cubicBezTo>
                  <a:cubicBezTo>
                    <a:pt x="53" y="92"/>
                    <a:pt x="51" y="91"/>
                    <a:pt x="49" y="88"/>
                  </a:cubicBezTo>
                  <a:cubicBezTo>
                    <a:pt x="37" y="79"/>
                    <a:pt x="18" y="62"/>
                    <a:pt x="18" y="40"/>
                  </a:cubicBezTo>
                  <a:cubicBezTo>
                    <a:pt x="18" y="19"/>
                    <a:pt x="35" y="3"/>
                    <a:pt x="55" y="3"/>
                  </a:cubicBezTo>
                  <a:close/>
                  <a:moveTo>
                    <a:pt x="106" y="125"/>
                  </a:moveTo>
                  <a:cubicBezTo>
                    <a:pt x="106" y="126"/>
                    <a:pt x="105" y="126"/>
                    <a:pt x="105" y="125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77" y="112"/>
                    <a:pt x="76" y="112"/>
                    <a:pt x="76" y="113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55" y="124"/>
                    <a:pt x="55" y="124"/>
                    <a:pt x="54" y="124"/>
                  </a:cubicBezTo>
                  <a:cubicBezTo>
                    <a:pt x="34" y="113"/>
                    <a:pt x="34" y="113"/>
                    <a:pt x="34" y="113"/>
                  </a:cubicBezTo>
                  <a:cubicBezTo>
                    <a:pt x="33" y="112"/>
                    <a:pt x="32" y="112"/>
                    <a:pt x="31" y="112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4" y="126"/>
                    <a:pt x="4" y="126"/>
                    <a:pt x="4" y="125"/>
                  </a:cubicBezTo>
                  <a:cubicBezTo>
                    <a:pt x="4" y="125"/>
                    <a:pt x="3" y="125"/>
                    <a:pt x="4" y="12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32" y="79"/>
                    <a:pt x="41" y="86"/>
                    <a:pt x="46" y="91"/>
                  </a:cubicBezTo>
                  <a:cubicBezTo>
                    <a:pt x="50" y="94"/>
                    <a:pt x="53" y="96"/>
                    <a:pt x="53" y="98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7" y="96"/>
                    <a:pt x="60" y="94"/>
                    <a:pt x="63" y="91"/>
                  </a:cubicBezTo>
                  <a:cubicBezTo>
                    <a:pt x="69" y="86"/>
                    <a:pt x="77" y="79"/>
                    <a:pt x="84" y="70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106" y="125"/>
                    <a:pt x="106" y="125"/>
                    <a:pt x="106" y="125"/>
                  </a:cubicBezTo>
                  <a:cubicBezTo>
                    <a:pt x="106" y="125"/>
                    <a:pt x="106" y="125"/>
                    <a:pt x="106" y="12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1" name="Freeform 197"/>
            <p:cNvSpPr>
              <a:spLocks noEditPoints="1"/>
            </p:cNvSpPr>
            <p:nvPr/>
          </p:nvSpPr>
          <p:spPr bwMode="auto">
            <a:xfrm>
              <a:off x="374" y="2886"/>
              <a:ext cx="129" cy="60"/>
            </a:xfrm>
            <a:custGeom>
              <a:avLst/>
              <a:gdLst/>
              <a:ahLst/>
              <a:cxnLst>
                <a:cxn ang="0">
                  <a:pos x="53" y="7"/>
                </a:cxn>
                <a:cxn ang="0">
                  <a:pos x="53" y="7"/>
                </a:cxn>
                <a:cxn ang="0">
                  <a:pos x="52" y="7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3" y="12"/>
                </a:cxn>
                <a:cxn ang="0">
                  <a:pos x="24" y="0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3" y="10"/>
                </a:cxn>
                <a:cxn ang="0">
                  <a:pos x="2" y="10"/>
                </a:cxn>
                <a:cxn ang="0">
                  <a:pos x="0" y="23"/>
                </a:cxn>
                <a:cxn ang="0">
                  <a:pos x="0" y="24"/>
                </a:cxn>
                <a:cxn ang="0">
                  <a:pos x="1" y="24"/>
                </a:cxn>
                <a:cxn ang="0">
                  <a:pos x="1" y="24"/>
                </a:cxn>
                <a:cxn ang="0">
                  <a:pos x="21" y="13"/>
                </a:cxn>
                <a:cxn ang="0">
                  <a:pos x="22" y="13"/>
                </a:cxn>
                <a:cxn ang="0">
                  <a:pos x="22" y="13"/>
                </a:cxn>
                <a:cxn ang="0">
                  <a:pos x="43" y="25"/>
                </a:cxn>
                <a:cxn ang="0">
                  <a:pos x="44" y="25"/>
                </a:cxn>
                <a:cxn ang="0">
                  <a:pos x="44" y="25"/>
                </a:cxn>
                <a:cxn ang="0">
                  <a:pos x="53" y="20"/>
                </a:cxn>
                <a:cxn ang="0">
                  <a:pos x="54" y="19"/>
                </a:cxn>
                <a:cxn ang="0">
                  <a:pos x="54" y="8"/>
                </a:cxn>
                <a:cxn ang="0">
                  <a:pos x="53" y="7"/>
                </a:cxn>
                <a:cxn ang="0">
                  <a:pos x="50" y="18"/>
                </a:cxn>
                <a:cxn ang="0">
                  <a:pos x="44" y="21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5" y="18"/>
                </a:cxn>
                <a:cxn ang="0">
                  <a:pos x="6" y="12"/>
                </a:cxn>
                <a:cxn ang="0">
                  <a:pos x="23" y="4"/>
                </a:cxn>
                <a:cxn ang="0">
                  <a:pos x="41" y="15"/>
                </a:cxn>
                <a:cxn ang="0">
                  <a:pos x="44" y="16"/>
                </a:cxn>
                <a:cxn ang="0">
                  <a:pos x="46" y="15"/>
                </a:cxn>
                <a:cxn ang="0">
                  <a:pos x="50" y="13"/>
                </a:cxn>
                <a:cxn ang="0">
                  <a:pos x="50" y="18"/>
                </a:cxn>
              </a:cxnLst>
              <a:rect l="0" t="0" r="r" b="b"/>
              <a:pathLst>
                <a:path w="54" h="25">
                  <a:moveTo>
                    <a:pt x="53" y="7"/>
                  </a:moveTo>
                  <a:cubicBezTo>
                    <a:pt x="53" y="7"/>
                    <a:pt x="53" y="7"/>
                    <a:pt x="53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3" y="12"/>
                    <a:pt x="43" y="1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0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4" y="20"/>
                    <a:pt x="54" y="19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3" y="7"/>
                    <a:pt x="53" y="7"/>
                  </a:cubicBezTo>
                  <a:close/>
                  <a:moveTo>
                    <a:pt x="50" y="18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0"/>
                    <a:pt x="22" y="10"/>
                    <a:pt x="22" y="10"/>
                  </a:cubicBezTo>
                  <a:cubicBezTo>
                    <a:pt x="21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6"/>
                    <a:pt x="43" y="16"/>
                    <a:pt x="44" y="16"/>
                  </a:cubicBezTo>
                  <a:cubicBezTo>
                    <a:pt x="45" y="16"/>
                    <a:pt x="46" y="16"/>
                    <a:pt x="46" y="15"/>
                  </a:cubicBezTo>
                  <a:cubicBezTo>
                    <a:pt x="50" y="13"/>
                    <a:pt x="50" y="13"/>
                    <a:pt x="50" y="13"/>
                  </a:cubicBezTo>
                  <a:lnTo>
                    <a:pt x="50" y="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2" name="Freeform 198"/>
            <p:cNvSpPr>
              <a:spLocks noEditPoints="1"/>
            </p:cNvSpPr>
            <p:nvPr/>
          </p:nvSpPr>
          <p:spPr bwMode="auto">
            <a:xfrm>
              <a:off x="513" y="2886"/>
              <a:ext cx="74" cy="57"/>
            </a:xfrm>
            <a:custGeom>
              <a:avLst/>
              <a:gdLst/>
              <a:ahLst/>
              <a:cxnLst>
                <a:cxn ang="0">
                  <a:pos x="27" y="10"/>
                </a:cxn>
                <a:cxn ang="0">
                  <a:pos x="27" y="9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1" y="4"/>
                </a:cxn>
                <a:cxn ang="0">
                  <a:pos x="0" y="5"/>
                </a:cxn>
                <a:cxn ang="0">
                  <a:pos x="0" y="15"/>
                </a:cxn>
                <a:cxn ang="0">
                  <a:pos x="1" y="16"/>
                </a:cxn>
                <a:cxn ang="0">
                  <a:pos x="1" y="16"/>
                </a:cxn>
                <a:cxn ang="0">
                  <a:pos x="2" y="16"/>
                </a:cxn>
                <a:cxn ang="0">
                  <a:pos x="7" y="13"/>
                </a:cxn>
                <a:cxn ang="0">
                  <a:pos x="8" y="13"/>
                </a:cxn>
                <a:cxn ang="0">
                  <a:pos x="8" y="13"/>
                </a:cxn>
                <a:cxn ang="0">
                  <a:pos x="29" y="23"/>
                </a:cxn>
                <a:cxn ang="0">
                  <a:pos x="30" y="24"/>
                </a:cxn>
                <a:cxn ang="0">
                  <a:pos x="30" y="23"/>
                </a:cxn>
                <a:cxn ang="0">
                  <a:pos x="30" y="22"/>
                </a:cxn>
                <a:cxn ang="0">
                  <a:pos x="27" y="10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4" y="6"/>
                </a:cxn>
                <a:cxn ang="0">
                  <a:pos x="9" y="4"/>
                </a:cxn>
                <a:cxn ang="0">
                  <a:pos x="24" y="12"/>
                </a:cxn>
                <a:cxn ang="0">
                  <a:pos x="26" y="18"/>
                </a:cxn>
                <a:cxn ang="0">
                  <a:pos x="10" y="10"/>
                </a:cxn>
              </a:cxnLst>
              <a:rect l="0" t="0" r="r" b="b"/>
              <a:pathLst>
                <a:path w="31" h="24">
                  <a:moveTo>
                    <a:pt x="27" y="10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3"/>
                    <a:pt x="31" y="23"/>
                    <a:pt x="30" y="22"/>
                  </a:cubicBezTo>
                  <a:lnTo>
                    <a:pt x="27" y="10"/>
                  </a:lnTo>
                  <a:close/>
                  <a:moveTo>
                    <a:pt x="10" y="10"/>
                  </a:moveTo>
                  <a:cubicBezTo>
                    <a:pt x="9" y="10"/>
                    <a:pt x="9" y="10"/>
                    <a:pt x="8" y="10"/>
                  </a:cubicBezTo>
                  <a:cubicBezTo>
                    <a:pt x="7" y="10"/>
                    <a:pt x="6" y="10"/>
                    <a:pt x="6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6" y="18"/>
                    <a:pt x="26" y="18"/>
                    <a:pt x="26" y="18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3" name="Freeform 199"/>
            <p:cNvSpPr>
              <a:spLocks noEditPoints="1"/>
            </p:cNvSpPr>
            <p:nvPr/>
          </p:nvSpPr>
          <p:spPr bwMode="auto">
            <a:xfrm>
              <a:off x="414" y="2696"/>
              <a:ext cx="127" cy="120"/>
            </a:xfrm>
            <a:custGeom>
              <a:avLst/>
              <a:gdLst/>
              <a:ahLst/>
              <a:cxnLst>
                <a:cxn ang="0">
                  <a:pos x="24" y="120"/>
                </a:cxn>
                <a:cxn ang="0">
                  <a:pos x="65" y="99"/>
                </a:cxn>
                <a:cxn ang="0">
                  <a:pos x="103" y="120"/>
                </a:cxn>
                <a:cxn ang="0">
                  <a:pos x="96" y="77"/>
                </a:cxn>
                <a:cxn ang="0">
                  <a:pos x="127" y="46"/>
                </a:cxn>
                <a:cxn ang="0">
                  <a:pos x="84" y="39"/>
                </a:cxn>
                <a:cxn ang="0">
                  <a:pos x="65" y="0"/>
                </a:cxn>
                <a:cxn ang="0">
                  <a:pos x="46" y="39"/>
                </a:cxn>
                <a:cxn ang="0">
                  <a:pos x="0" y="46"/>
                </a:cxn>
                <a:cxn ang="0">
                  <a:pos x="34" y="77"/>
                </a:cxn>
                <a:cxn ang="0">
                  <a:pos x="24" y="120"/>
                </a:cxn>
                <a:cxn ang="0">
                  <a:pos x="19" y="51"/>
                </a:cxn>
                <a:cxn ang="0">
                  <a:pos x="51" y="48"/>
                </a:cxn>
                <a:cxn ang="0">
                  <a:pos x="65" y="20"/>
                </a:cxn>
                <a:cxn ang="0">
                  <a:pos x="79" y="48"/>
                </a:cxn>
                <a:cxn ang="0">
                  <a:pos x="110" y="51"/>
                </a:cxn>
                <a:cxn ang="0">
                  <a:pos x="87" y="75"/>
                </a:cxn>
                <a:cxn ang="0">
                  <a:pos x="91" y="103"/>
                </a:cxn>
                <a:cxn ang="0">
                  <a:pos x="65" y="89"/>
                </a:cxn>
                <a:cxn ang="0">
                  <a:pos x="36" y="103"/>
                </a:cxn>
                <a:cxn ang="0">
                  <a:pos x="41" y="75"/>
                </a:cxn>
                <a:cxn ang="0">
                  <a:pos x="19" y="51"/>
                </a:cxn>
              </a:cxnLst>
              <a:rect l="0" t="0" r="r" b="b"/>
              <a:pathLst>
                <a:path w="127" h="120">
                  <a:moveTo>
                    <a:pt x="24" y="120"/>
                  </a:moveTo>
                  <a:lnTo>
                    <a:pt x="65" y="99"/>
                  </a:lnTo>
                  <a:lnTo>
                    <a:pt x="103" y="120"/>
                  </a:lnTo>
                  <a:lnTo>
                    <a:pt x="96" y="77"/>
                  </a:lnTo>
                  <a:lnTo>
                    <a:pt x="127" y="46"/>
                  </a:lnTo>
                  <a:lnTo>
                    <a:pt x="84" y="39"/>
                  </a:lnTo>
                  <a:lnTo>
                    <a:pt x="65" y="0"/>
                  </a:lnTo>
                  <a:lnTo>
                    <a:pt x="46" y="39"/>
                  </a:lnTo>
                  <a:lnTo>
                    <a:pt x="0" y="46"/>
                  </a:lnTo>
                  <a:lnTo>
                    <a:pt x="34" y="77"/>
                  </a:lnTo>
                  <a:lnTo>
                    <a:pt x="24" y="120"/>
                  </a:lnTo>
                  <a:close/>
                  <a:moveTo>
                    <a:pt x="19" y="51"/>
                  </a:moveTo>
                  <a:lnTo>
                    <a:pt x="51" y="48"/>
                  </a:lnTo>
                  <a:lnTo>
                    <a:pt x="65" y="20"/>
                  </a:lnTo>
                  <a:lnTo>
                    <a:pt x="79" y="48"/>
                  </a:lnTo>
                  <a:lnTo>
                    <a:pt x="110" y="51"/>
                  </a:lnTo>
                  <a:lnTo>
                    <a:pt x="87" y="75"/>
                  </a:lnTo>
                  <a:lnTo>
                    <a:pt x="91" y="103"/>
                  </a:lnTo>
                  <a:lnTo>
                    <a:pt x="65" y="89"/>
                  </a:lnTo>
                  <a:lnTo>
                    <a:pt x="36" y="103"/>
                  </a:lnTo>
                  <a:lnTo>
                    <a:pt x="41" y="75"/>
                  </a:lnTo>
                  <a:lnTo>
                    <a:pt x="19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06" name="Group 202"/>
          <p:cNvGrpSpPr>
            <a:grpSpLocks noChangeAspect="1"/>
          </p:cNvGrpSpPr>
          <p:nvPr/>
        </p:nvGrpSpPr>
        <p:grpSpPr bwMode="auto">
          <a:xfrm>
            <a:off x="1482727" y="4113216"/>
            <a:ext cx="768350" cy="768350"/>
            <a:chOff x="925" y="2591"/>
            <a:chExt cx="484" cy="484"/>
          </a:xfrm>
        </p:grpSpPr>
        <p:sp>
          <p:nvSpPr>
            <p:cNvPr id="47307" name="Freeform 203"/>
            <p:cNvSpPr>
              <a:spLocks noEditPoints="1"/>
            </p:cNvSpPr>
            <p:nvPr/>
          </p:nvSpPr>
          <p:spPr bwMode="auto">
            <a:xfrm>
              <a:off x="925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8" name="Freeform 204"/>
            <p:cNvSpPr>
              <a:spLocks noEditPoints="1"/>
            </p:cNvSpPr>
            <p:nvPr/>
          </p:nvSpPr>
          <p:spPr bwMode="auto">
            <a:xfrm>
              <a:off x="1036" y="2661"/>
              <a:ext cx="266" cy="309"/>
            </a:xfrm>
            <a:custGeom>
              <a:avLst/>
              <a:gdLst/>
              <a:ahLst/>
              <a:cxnLst>
                <a:cxn ang="0">
                  <a:pos x="97" y="74"/>
                </a:cxn>
                <a:cxn ang="0">
                  <a:pos x="96" y="72"/>
                </a:cxn>
                <a:cxn ang="0">
                  <a:pos x="87" y="67"/>
                </a:cxn>
                <a:cxn ang="0">
                  <a:pos x="95" y="40"/>
                </a:cxn>
                <a:cxn ang="0">
                  <a:pos x="55" y="0"/>
                </a:cxn>
                <a:cxn ang="0">
                  <a:pos x="15" y="40"/>
                </a:cxn>
                <a:cxn ang="0">
                  <a:pos x="24" y="67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13" y="74"/>
                </a:cxn>
                <a:cxn ang="0">
                  <a:pos x="1" y="124"/>
                </a:cxn>
                <a:cxn ang="0">
                  <a:pos x="2" y="128"/>
                </a:cxn>
                <a:cxn ang="0">
                  <a:pos x="7" y="129"/>
                </a:cxn>
                <a:cxn ang="0">
                  <a:pos x="33" y="116"/>
                </a:cxn>
                <a:cxn ang="0">
                  <a:pos x="53" y="127"/>
                </a:cxn>
                <a:cxn ang="0">
                  <a:pos x="58" y="127"/>
                </a:cxn>
                <a:cxn ang="0">
                  <a:pos x="78" y="116"/>
                </a:cxn>
                <a:cxn ang="0">
                  <a:pos x="104" y="129"/>
                </a:cxn>
                <a:cxn ang="0">
                  <a:pos x="106" y="129"/>
                </a:cxn>
                <a:cxn ang="0">
                  <a:pos x="109" y="128"/>
                </a:cxn>
                <a:cxn ang="0">
                  <a:pos x="110" y="124"/>
                </a:cxn>
                <a:cxn ang="0">
                  <a:pos x="97" y="74"/>
                </a:cxn>
                <a:cxn ang="0">
                  <a:pos x="55" y="3"/>
                </a:cxn>
                <a:cxn ang="0">
                  <a:pos x="92" y="40"/>
                </a:cxn>
                <a:cxn ang="0">
                  <a:pos x="61" y="88"/>
                </a:cxn>
                <a:cxn ang="0">
                  <a:pos x="55" y="94"/>
                </a:cxn>
                <a:cxn ang="0">
                  <a:pos x="49" y="88"/>
                </a:cxn>
                <a:cxn ang="0">
                  <a:pos x="19" y="40"/>
                </a:cxn>
                <a:cxn ang="0">
                  <a:pos x="55" y="3"/>
                </a:cxn>
                <a:cxn ang="0">
                  <a:pos x="106" y="125"/>
                </a:cxn>
                <a:cxn ang="0">
                  <a:pos x="106" y="125"/>
                </a:cxn>
                <a:cxn ang="0">
                  <a:pos x="79" y="112"/>
                </a:cxn>
                <a:cxn ang="0">
                  <a:pos x="76" y="113"/>
                </a:cxn>
                <a:cxn ang="0">
                  <a:pos x="56" y="124"/>
                </a:cxn>
                <a:cxn ang="0">
                  <a:pos x="55" y="124"/>
                </a:cxn>
                <a:cxn ang="0">
                  <a:pos x="34" y="113"/>
                </a:cxn>
                <a:cxn ang="0">
                  <a:pos x="32" y="112"/>
                </a:cxn>
                <a:cxn ang="0">
                  <a:pos x="5" y="125"/>
                </a:cxn>
                <a:cxn ang="0">
                  <a:pos x="4" y="125"/>
                </a:cxn>
                <a:cxn ang="0">
                  <a:pos x="4" y="125"/>
                </a:cxn>
                <a:cxn ang="0">
                  <a:pos x="17" y="75"/>
                </a:cxn>
                <a:cxn ang="0">
                  <a:pos x="26" y="70"/>
                </a:cxn>
                <a:cxn ang="0">
                  <a:pos x="47" y="91"/>
                </a:cxn>
                <a:cxn ang="0">
                  <a:pos x="54" y="98"/>
                </a:cxn>
                <a:cxn ang="0">
                  <a:pos x="55" y="101"/>
                </a:cxn>
                <a:cxn ang="0">
                  <a:pos x="57" y="98"/>
                </a:cxn>
                <a:cxn ang="0">
                  <a:pos x="64" y="91"/>
                </a:cxn>
                <a:cxn ang="0">
                  <a:pos x="84" y="70"/>
                </a:cxn>
                <a:cxn ang="0">
                  <a:pos x="94" y="75"/>
                </a:cxn>
                <a:cxn ang="0">
                  <a:pos x="107" y="125"/>
                </a:cxn>
                <a:cxn ang="0">
                  <a:pos x="106" y="125"/>
                </a:cxn>
              </a:cxnLst>
              <a:rect l="0" t="0" r="r" b="b"/>
              <a:pathLst>
                <a:path w="111" h="129">
                  <a:moveTo>
                    <a:pt x="97" y="74"/>
                  </a:moveTo>
                  <a:cubicBezTo>
                    <a:pt x="97" y="73"/>
                    <a:pt x="96" y="73"/>
                    <a:pt x="96" y="72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2" y="59"/>
                    <a:pt x="95" y="50"/>
                    <a:pt x="95" y="40"/>
                  </a:cubicBezTo>
                  <a:cubicBezTo>
                    <a:pt x="95" y="17"/>
                    <a:pt x="77" y="0"/>
                    <a:pt x="55" y="0"/>
                  </a:cubicBezTo>
                  <a:cubicBezTo>
                    <a:pt x="33" y="0"/>
                    <a:pt x="15" y="17"/>
                    <a:pt x="15" y="40"/>
                  </a:cubicBezTo>
                  <a:cubicBezTo>
                    <a:pt x="15" y="50"/>
                    <a:pt x="19" y="59"/>
                    <a:pt x="24" y="6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4" y="73"/>
                    <a:pt x="14" y="73"/>
                    <a:pt x="13" y="74"/>
                  </a:cubicBezTo>
                  <a:cubicBezTo>
                    <a:pt x="1" y="124"/>
                    <a:pt x="1" y="124"/>
                    <a:pt x="1" y="124"/>
                  </a:cubicBezTo>
                  <a:cubicBezTo>
                    <a:pt x="0" y="125"/>
                    <a:pt x="1" y="127"/>
                    <a:pt x="2" y="128"/>
                  </a:cubicBezTo>
                  <a:cubicBezTo>
                    <a:pt x="3" y="129"/>
                    <a:pt x="5" y="129"/>
                    <a:pt x="7" y="12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5" y="128"/>
                    <a:pt x="56" y="128"/>
                    <a:pt x="58" y="127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05" y="129"/>
                    <a:pt x="105" y="129"/>
                    <a:pt x="106" y="129"/>
                  </a:cubicBezTo>
                  <a:cubicBezTo>
                    <a:pt x="107" y="129"/>
                    <a:pt x="108" y="129"/>
                    <a:pt x="109" y="128"/>
                  </a:cubicBezTo>
                  <a:cubicBezTo>
                    <a:pt x="110" y="127"/>
                    <a:pt x="111" y="125"/>
                    <a:pt x="110" y="124"/>
                  </a:cubicBezTo>
                  <a:lnTo>
                    <a:pt x="97" y="74"/>
                  </a:lnTo>
                  <a:close/>
                  <a:moveTo>
                    <a:pt x="55" y="3"/>
                  </a:moveTo>
                  <a:cubicBezTo>
                    <a:pt x="75" y="3"/>
                    <a:pt x="92" y="19"/>
                    <a:pt x="92" y="40"/>
                  </a:cubicBezTo>
                  <a:cubicBezTo>
                    <a:pt x="92" y="62"/>
                    <a:pt x="73" y="79"/>
                    <a:pt x="61" y="88"/>
                  </a:cubicBezTo>
                  <a:cubicBezTo>
                    <a:pt x="59" y="91"/>
                    <a:pt x="57" y="92"/>
                    <a:pt x="55" y="94"/>
                  </a:cubicBezTo>
                  <a:cubicBezTo>
                    <a:pt x="54" y="92"/>
                    <a:pt x="52" y="91"/>
                    <a:pt x="49" y="88"/>
                  </a:cubicBezTo>
                  <a:cubicBezTo>
                    <a:pt x="38" y="79"/>
                    <a:pt x="19" y="62"/>
                    <a:pt x="19" y="40"/>
                  </a:cubicBezTo>
                  <a:cubicBezTo>
                    <a:pt x="19" y="19"/>
                    <a:pt x="35" y="3"/>
                    <a:pt x="55" y="3"/>
                  </a:cubicBezTo>
                  <a:close/>
                  <a:moveTo>
                    <a:pt x="106" y="125"/>
                  </a:moveTo>
                  <a:cubicBezTo>
                    <a:pt x="106" y="126"/>
                    <a:pt x="106" y="126"/>
                    <a:pt x="106" y="125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8" y="112"/>
                    <a:pt x="77" y="112"/>
                    <a:pt x="76" y="113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56" y="124"/>
                    <a:pt x="55" y="124"/>
                    <a:pt x="55" y="124"/>
                  </a:cubicBezTo>
                  <a:cubicBezTo>
                    <a:pt x="34" y="113"/>
                    <a:pt x="34" y="113"/>
                    <a:pt x="34" y="113"/>
                  </a:cubicBezTo>
                  <a:cubicBezTo>
                    <a:pt x="34" y="112"/>
                    <a:pt x="33" y="112"/>
                    <a:pt x="32" y="112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6"/>
                    <a:pt x="5" y="126"/>
                    <a:pt x="4" y="12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33" y="79"/>
                    <a:pt x="41" y="86"/>
                    <a:pt x="47" y="91"/>
                  </a:cubicBezTo>
                  <a:cubicBezTo>
                    <a:pt x="50" y="94"/>
                    <a:pt x="53" y="96"/>
                    <a:pt x="54" y="98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58" y="96"/>
                    <a:pt x="61" y="94"/>
                    <a:pt x="64" y="91"/>
                  </a:cubicBezTo>
                  <a:cubicBezTo>
                    <a:pt x="70" y="86"/>
                    <a:pt x="78" y="79"/>
                    <a:pt x="84" y="70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7" y="125"/>
                    <a:pt x="107" y="125"/>
                    <a:pt x="106" y="12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09" name="Freeform 205"/>
            <p:cNvSpPr>
              <a:spLocks noEditPoints="1"/>
            </p:cNvSpPr>
            <p:nvPr/>
          </p:nvSpPr>
          <p:spPr bwMode="auto">
            <a:xfrm>
              <a:off x="1062" y="2886"/>
              <a:ext cx="129" cy="60"/>
            </a:xfrm>
            <a:custGeom>
              <a:avLst/>
              <a:gdLst/>
              <a:ahLst/>
              <a:cxnLst>
                <a:cxn ang="0">
                  <a:pos x="54" y="7"/>
                </a:cxn>
                <a:cxn ang="0">
                  <a:pos x="53" y="7"/>
                </a:cxn>
                <a:cxn ang="0">
                  <a:pos x="53" y="7"/>
                </a:cxn>
                <a:cxn ang="0">
                  <a:pos x="45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3" y="0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0" y="23"/>
                </a:cxn>
                <a:cxn ang="0">
                  <a:pos x="1" y="24"/>
                </a:cxn>
                <a:cxn ang="0">
                  <a:pos x="1" y="24"/>
                </a:cxn>
                <a:cxn ang="0">
                  <a:pos x="2" y="24"/>
                </a:cxn>
                <a:cxn ang="0">
                  <a:pos x="22" y="13"/>
                </a:cxn>
                <a:cxn ang="0">
                  <a:pos x="22" y="13"/>
                </a:cxn>
                <a:cxn ang="0">
                  <a:pos x="23" y="13"/>
                </a:cxn>
                <a:cxn ang="0">
                  <a:pos x="44" y="25"/>
                </a:cxn>
                <a:cxn ang="0">
                  <a:pos x="44" y="25"/>
                </a:cxn>
                <a:cxn ang="0">
                  <a:pos x="45" y="25"/>
                </a:cxn>
                <a:cxn ang="0">
                  <a:pos x="54" y="20"/>
                </a:cxn>
                <a:cxn ang="0">
                  <a:pos x="54" y="19"/>
                </a:cxn>
                <a:cxn ang="0">
                  <a:pos x="54" y="8"/>
                </a:cxn>
                <a:cxn ang="0">
                  <a:pos x="54" y="7"/>
                </a:cxn>
                <a:cxn ang="0">
                  <a:pos x="51" y="18"/>
                </a:cxn>
                <a:cxn ang="0">
                  <a:pos x="44" y="21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5" y="18"/>
                </a:cxn>
                <a:cxn ang="0">
                  <a:pos x="6" y="12"/>
                </a:cxn>
                <a:cxn ang="0">
                  <a:pos x="23" y="4"/>
                </a:cxn>
                <a:cxn ang="0">
                  <a:pos x="42" y="15"/>
                </a:cxn>
                <a:cxn ang="0">
                  <a:pos x="44" y="16"/>
                </a:cxn>
                <a:cxn ang="0">
                  <a:pos x="47" y="15"/>
                </a:cxn>
                <a:cxn ang="0">
                  <a:pos x="51" y="13"/>
                </a:cxn>
                <a:cxn ang="0">
                  <a:pos x="51" y="18"/>
                </a:cxn>
              </a:cxnLst>
              <a:rect l="0" t="0" r="r" b="b"/>
              <a:pathLst>
                <a:path w="54" h="25">
                  <a:moveTo>
                    <a:pt x="54" y="7"/>
                  </a:moveTo>
                  <a:cubicBezTo>
                    <a:pt x="54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3" y="13"/>
                    <a:pt x="23" y="13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19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7"/>
                    <a:pt x="54" y="7"/>
                  </a:cubicBezTo>
                  <a:close/>
                  <a:moveTo>
                    <a:pt x="51" y="18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3" y="10"/>
                    <a:pt x="22" y="10"/>
                  </a:cubicBezTo>
                  <a:cubicBezTo>
                    <a:pt x="22" y="10"/>
                    <a:pt x="21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6"/>
                    <a:pt x="44" y="16"/>
                    <a:pt x="44" y="16"/>
                  </a:cubicBezTo>
                  <a:cubicBezTo>
                    <a:pt x="45" y="16"/>
                    <a:pt x="46" y="16"/>
                    <a:pt x="47" y="15"/>
                  </a:cubicBezTo>
                  <a:cubicBezTo>
                    <a:pt x="51" y="13"/>
                    <a:pt x="51" y="13"/>
                    <a:pt x="51" y="13"/>
                  </a:cubicBezTo>
                  <a:lnTo>
                    <a:pt x="51" y="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10" name="Freeform 206"/>
            <p:cNvSpPr>
              <a:spLocks noEditPoints="1"/>
            </p:cNvSpPr>
            <p:nvPr/>
          </p:nvSpPr>
          <p:spPr bwMode="auto">
            <a:xfrm>
              <a:off x="1203" y="2886"/>
              <a:ext cx="72" cy="58"/>
            </a:xfrm>
            <a:custGeom>
              <a:avLst/>
              <a:gdLst/>
              <a:ahLst/>
              <a:cxnLst>
                <a:cxn ang="0">
                  <a:pos x="27" y="10"/>
                </a:cxn>
                <a:cxn ang="0">
                  <a:pos x="27" y="9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15"/>
                </a:cxn>
                <a:cxn ang="0">
                  <a:pos x="1" y="16"/>
                </a:cxn>
                <a:cxn ang="0">
                  <a:pos x="1" y="16"/>
                </a:cxn>
                <a:cxn ang="0">
                  <a:pos x="2" y="16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8" y="13"/>
                </a:cxn>
                <a:cxn ang="0">
                  <a:pos x="29" y="23"/>
                </a:cxn>
                <a:cxn ang="0">
                  <a:pos x="29" y="24"/>
                </a:cxn>
                <a:cxn ang="0">
                  <a:pos x="30" y="23"/>
                </a:cxn>
                <a:cxn ang="0">
                  <a:pos x="30" y="22"/>
                </a:cxn>
                <a:cxn ang="0">
                  <a:pos x="27" y="10"/>
                </a:cxn>
                <a:cxn ang="0">
                  <a:pos x="9" y="10"/>
                </a:cxn>
                <a:cxn ang="0">
                  <a:pos x="7" y="10"/>
                </a:cxn>
                <a:cxn ang="0">
                  <a:pos x="5" y="10"/>
                </a:cxn>
                <a:cxn ang="0">
                  <a:pos x="4" y="11"/>
                </a:cxn>
                <a:cxn ang="0">
                  <a:pos x="4" y="6"/>
                </a:cxn>
                <a:cxn ang="0">
                  <a:pos x="8" y="4"/>
                </a:cxn>
                <a:cxn ang="0">
                  <a:pos x="24" y="12"/>
                </a:cxn>
                <a:cxn ang="0">
                  <a:pos x="25" y="18"/>
                </a:cxn>
                <a:cxn ang="0">
                  <a:pos x="9" y="10"/>
                </a:cxn>
              </a:cxnLst>
              <a:rect l="0" t="0" r="r" b="b"/>
              <a:pathLst>
                <a:path w="30" h="24">
                  <a:moveTo>
                    <a:pt x="27" y="10"/>
                  </a:moveTo>
                  <a:cubicBezTo>
                    <a:pt x="27" y="9"/>
                    <a:pt x="27" y="9"/>
                    <a:pt x="27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2" y="1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30" y="23"/>
                    <a:pt x="30" y="23"/>
                  </a:cubicBezTo>
                  <a:cubicBezTo>
                    <a:pt x="30" y="23"/>
                    <a:pt x="30" y="23"/>
                    <a:pt x="30" y="22"/>
                  </a:cubicBezTo>
                  <a:lnTo>
                    <a:pt x="27" y="10"/>
                  </a:lnTo>
                  <a:close/>
                  <a:moveTo>
                    <a:pt x="9" y="10"/>
                  </a:moveTo>
                  <a:cubicBezTo>
                    <a:pt x="9" y="10"/>
                    <a:pt x="8" y="10"/>
                    <a:pt x="7" y="10"/>
                  </a:cubicBezTo>
                  <a:cubicBezTo>
                    <a:pt x="7" y="10"/>
                    <a:pt x="6" y="10"/>
                    <a:pt x="5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5" y="18"/>
                    <a:pt x="25" y="18"/>
                    <a:pt x="25" y="18"/>
                  </a:cubicBezTo>
                  <a:lnTo>
                    <a:pt x="9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11" name="Freeform 207"/>
            <p:cNvSpPr>
              <a:spLocks noEditPoints="1"/>
            </p:cNvSpPr>
            <p:nvPr/>
          </p:nvSpPr>
          <p:spPr bwMode="auto">
            <a:xfrm>
              <a:off x="1105" y="2697"/>
              <a:ext cx="127" cy="120"/>
            </a:xfrm>
            <a:custGeom>
              <a:avLst/>
              <a:gdLst/>
              <a:ahLst/>
              <a:cxnLst>
                <a:cxn ang="0">
                  <a:pos x="24" y="120"/>
                </a:cxn>
                <a:cxn ang="0">
                  <a:pos x="62" y="98"/>
                </a:cxn>
                <a:cxn ang="0">
                  <a:pos x="103" y="120"/>
                </a:cxn>
                <a:cxn ang="0">
                  <a:pos x="96" y="76"/>
                </a:cxn>
                <a:cxn ang="0">
                  <a:pos x="127" y="45"/>
                </a:cxn>
                <a:cxn ang="0">
                  <a:pos x="84" y="38"/>
                </a:cxn>
                <a:cxn ang="0">
                  <a:pos x="62" y="0"/>
                </a:cxn>
                <a:cxn ang="0">
                  <a:pos x="43" y="38"/>
                </a:cxn>
                <a:cxn ang="0">
                  <a:pos x="0" y="45"/>
                </a:cxn>
                <a:cxn ang="0">
                  <a:pos x="31" y="76"/>
                </a:cxn>
                <a:cxn ang="0">
                  <a:pos x="24" y="120"/>
                </a:cxn>
                <a:cxn ang="0">
                  <a:pos x="19" y="50"/>
                </a:cxn>
                <a:cxn ang="0">
                  <a:pos x="50" y="48"/>
                </a:cxn>
                <a:cxn ang="0">
                  <a:pos x="62" y="19"/>
                </a:cxn>
                <a:cxn ang="0">
                  <a:pos x="77" y="48"/>
                </a:cxn>
                <a:cxn ang="0">
                  <a:pos x="108" y="50"/>
                </a:cxn>
                <a:cxn ang="0">
                  <a:pos x="86" y="74"/>
                </a:cxn>
                <a:cxn ang="0">
                  <a:pos x="91" y="103"/>
                </a:cxn>
                <a:cxn ang="0">
                  <a:pos x="62" y="88"/>
                </a:cxn>
                <a:cxn ang="0">
                  <a:pos x="36" y="103"/>
                </a:cxn>
                <a:cxn ang="0">
                  <a:pos x="41" y="74"/>
                </a:cxn>
                <a:cxn ang="0">
                  <a:pos x="19" y="50"/>
                </a:cxn>
              </a:cxnLst>
              <a:rect l="0" t="0" r="r" b="b"/>
              <a:pathLst>
                <a:path w="127" h="120">
                  <a:moveTo>
                    <a:pt x="24" y="120"/>
                  </a:moveTo>
                  <a:lnTo>
                    <a:pt x="62" y="98"/>
                  </a:lnTo>
                  <a:lnTo>
                    <a:pt x="103" y="120"/>
                  </a:lnTo>
                  <a:lnTo>
                    <a:pt x="96" y="76"/>
                  </a:lnTo>
                  <a:lnTo>
                    <a:pt x="127" y="45"/>
                  </a:lnTo>
                  <a:lnTo>
                    <a:pt x="84" y="38"/>
                  </a:lnTo>
                  <a:lnTo>
                    <a:pt x="62" y="0"/>
                  </a:lnTo>
                  <a:lnTo>
                    <a:pt x="43" y="38"/>
                  </a:lnTo>
                  <a:lnTo>
                    <a:pt x="0" y="45"/>
                  </a:lnTo>
                  <a:lnTo>
                    <a:pt x="31" y="76"/>
                  </a:lnTo>
                  <a:lnTo>
                    <a:pt x="24" y="120"/>
                  </a:lnTo>
                  <a:close/>
                  <a:moveTo>
                    <a:pt x="19" y="50"/>
                  </a:moveTo>
                  <a:lnTo>
                    <a:pt x="50" y="48"/>
                  </a:lnTo>
                  <a:lnTo>
                    <a:pt x="62" y="19"/>
                  </a:lnTo>
                  <a:lnTo>
                    <a:pt x="77" y="48"/>
                  </a:lnTo>
                  <a:lnTo>
                    <a:pt x="108" y="50"/>
                  </a:lnTo>
                  <a:lnTo>
                    <a:pt x="86" y="74"/>
                  </a:lnTo>
                  <a:lnTo>
                    <a:pt x="91" y="103"/>
                  </a:lnTo>
                  <a:lnTo>
                    <a:pt x="62" y="88"/>
                  </a:lnTo>
                  <a:lnTo>
                    <a:pt x="36" y="103"/>
                  </a:lnTo>
                  <a:lnTo>
                    <a:pt x="41" y="7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14" name="Group 210"/>
          <p:cNvGrpSpPr>
            <a:grpSpLocks noChangeAspect="1"/>
          </p:cNvGrpSpPr>
          <p:nvPr/>
        </p:nvGrpSpPr>
        <p:grpSpPr bwMode="auto">
          <a:xfrm>
            <a:off x="2538412" y="4078288"/>
            <a:ext cx="838200" cy="838200"/>
            <a:chOff x="1592" y="2569"/>
            <a:chExt cx="528" cy="528"/>
          </a:xfrm>
        </p:grpSpPr>
        <p:sp>
          <p:nvSpPr>
            <p:cNvPr id="47315" name="Oval 211"/>
            <p:cNvSpPr>
              <a:spLocks noChangeArrowheads="1"/>
            </p:cNvSpPr>
            <p:nvPr/>
          </p:nvSpPr>
          <p:spPr bwMode="auto">
            <a:xfrm>
              <a:off x="1592" y="2569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16" name="Freeform 212"/>
            <p:cNvSpPr>
              <a:spLocks noEditPoints="1"/>
            </p:cNvSpPr>
            <p:nvPr/>
          </p:nvSpPr>
          <p:spPr bwMode="auto">
            <a:xfrm>
              <a:off x="1614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17" name="Freeform 213"/>
            <p:cNvSpPr>
              <a:spLocks noEditPoints="1"/>
            </p:cNvSpPr>
            <p:nvPr/>
          </p:nvSpPr>
          <p:spPr bwMode="auto">
            <a:xfrm>
              <a:off x="1688" y="2730"/>
              <a:ext cx="336" cy="187"/>
            </a:xfrm>
            <a:custGeom>
              <a:avLst/>
              <a:gdLst/>
              <a:ahLst/>
              <a:cxnLst>
                <a:cxn ang="0">
                  <a:pos x="94" y="20"/>
                </a:cxn>
                <a:cxn ang="0">
                  <a:pos x="81" y="0"/>
                </a:cxn>
                <a:cxn ang="0">
                  <a:pos x="46" y="12"/>
                </a:cxn>
                <a:cxn ang="0">
                  <a:pos x="14" y="20"/>
                </a:cxn>
                <a:cxn ang="0">
                  <a:pos x="0" y="42"/>
                </a:cxn>
                <a:cxn ang="0">
                  <a:pos x="4" y="65"/>
                </a:cxn>
                <a:cxn ang="0">
                  <a:pos x="123" y="78"/>
                </a:cxn>
                <a:cxn ang="0">
                  <a:pos x="136" y="42"/>
                </a:cxn>
                <a:cxn ang="0">
                  <a:pos x="140" y="33"/>
                </a:cxn>
                <a:cxn ang="0">
                  <a:pos x="50" y="12"/>
                </a:cxn>
                <a:cxn ang="0">
                  <a:pos x="81" y="3"/>
                </a:cxn>
                <a:cxn ang="0">
                  <a:pos x="90" y="20"/>
                </a:cxn>
                <a:cxn ang="0">
                  <a:pos x="85" y="12"/>
                </a:cxn>
                <a:cxn ang="0">
                  <a:pos x="81" y="8"/>
                </a:cxn>
                <a:cxn ang="0">
                  <a:pos x="70" y="9"/>
                </a:cxn>
                <a:cxn ang="0">
                  <a:pos x="59" y="8"/>
                </a:cxn>
                <a:cxn ang="0">
                  <a:pos x="55" y="12"/>
                </a:cxn>
                <a:cxn ang="0">
                  <a:pos x="50" y="20"/>
                </a:cxn>
                <a:cxn ang="0">
                  <a:pos x="82" y="20"/>
                </a:cxn>
                <a:cxn ang="0">
                  <a:pos x="58" y="12"/>
                </a:cxn>
                <a:cxn ang="0">
                  <a:pos x="70" y="13"/>
                </a:cxn>
                <a:cxn ang="0">
                  <a:pos x="82" y="12"/>
                </a:cxn>
                <a:cxn ang="0">
                  <a:pos x="14" y="23"/>
                </a:cxn>
                <a:cxn ang="0">
                  <a:pos x="46" y="23"/>
                </a:cxn>
                <a:cxn ang="0">
                  <a:pos x="58" y="23"/>
                </a:cxn>
                <a:cxn ang="0">
                  <a:pos x="82" y="23"/>
                </a:cxn>
                <a:cxn ang="0">
                  <a:pos x="94" y="23"/>
                </a:cxn>
                <a:cxn ang="0">
                  <a:pos x="136" y="33"/>
                </a:cxn>
                <a:cxn ang="0">
                  <a:pos x="112" y="38"/>
                </a:cxn>
                <a:cxn ang="0">
                  <a:pos x="112" y="31"/>
                </a:cxn>
                <a:cxn ang="0">
                  <a:pos x="99" y="31"/>
                </a:cxn>
                <a:cxn ang="0">
                  <a:pos x="95" y="35"/>
                </a:cxn>
                <a:cxn ang="0">
                  <a:pos x="45" y="38"/>
                </a:cxn>
                <a:cxn ang="0">
                  <a:pos x="45" y="31"/>
                </a:cxn>
                <a:cxn ang="0">
                  <a:pos x="32" y="31"/>
                </a:cxn>
                <a:cxn ang="0">
                  <a:pos x="28" y="35"/>
                </a:cxn>
                <a:cxn ang="0">
                  <a:pos x="4" y="38"/>
                </a:cxn>
                <a:cxn ang="0">
                  <a:pos x="14" y="23"/>
                </a:cxn>
                <a:cxn ang="0">
                  <a:pos x="108" y="45"/>
                </a:cxn>
                <a:cxn ang="0">
                  <a:pos x="99" y="42"/>
                </a:cxn>
                <a:cxn ang="0">
                  <a:pos x="99" y="35"/>
                </a:cxn>
                <a:cxn ang="0">
                  <a:pos x="108" y="38"/>
                </a:cxn>
                <a:cxn ang="0">
                  <a:pos x="41" y="38"/>
                </a:cxn>
                <a:cxn ang="0">
                  <a:pos x="32" y="45"/>
                </a:cxn>
                <a:cxn ang="0">
                  <a:pos x="32" y="42"/>
                </a:cxn>
                <a:cxn ang="0">
                  <a:pos x="41" y="35"/>
                </a:cxn>
                <a:cxn ang="0">
                  <a:pos x="133" y="65"/>
                </a:cxn>
                <a:cxn ang="0">
                  <a:pos x="17" y="74"/>
                </a:cxn>
                <a:cxn ang="0">
                  <a:pos x="7" y="42"/>
                </a:cxn>
                <a:cxn ang="0">
                  <a:pos x="28" y="45"/>
                </a:cxn>
                <a:cxn ang="0">
                  <a:pos x="32" y="48"/>
                </a:cxn>
                <a:cxn ang="0">
                  <a:pos x="45" y="48"/>
                </a:cxn>
                <a:cxn ang="0">
                  <a:pos x="45" y="42"/>
                </a:cxn>
                <a:cxn ang="0">
                  <a:pos x="95" y="45"/>
                </a:cxn>
                <a:cxn ang="0">
                  <a:pos x="99" y="48"/>
                </a:cxn>
                <a:cxn ang="0">
                  <a:pos x="112" y="48"/>
                </a:cxn>
                <a:cxn ang="0">
                  <a:pos x="112" y="42"/>
                </a:cxn>
                <a:cxn ang="0">
                  <a:pos x="133" y="65"/>
                </a:cxn>
              </a:cxnLst>
              <a:rect l="0" t="0" r="r" b="b"/>
              <a:pathLst>
                <a:path w="140" h="78">
                  <a:moveTo>
                    <a:pt x="126" y="20"/>
                  </a:moveTo>
                  <a:cubicBezTo>
                    <a:pt x="94" y="20"/>
                    <a:pt x="94" y="20"/>
                    <a:pt x="94" y="20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5"/>
                    <a:pt x="88" y="0"/>
                    <a:pt x="81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2" y="0"/>
                    <a:pt x="46" y="5"/>
                    <a:pt x="46" y="12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7" y="20"/>
                    <a:pt x="0" y="26"/>
                    <a:pt x="0" y="3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72"/>
                    <a:pt x="10" y="78"/>
                    <a:pt x="17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30" y="78"/>
                    <a:pt x="136" y="72"/>
                    <a:pt x="136" y="65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26"/>
                    <a:pt x="133" y="20"/>
                    <a:pt x="126" y="20"/>
                  </a:cubicBezTo>
                  <a:close/>
                  <a:moveTo>
                    <a:pt x="50" y="12"/>
                  </a:moveTo>
                  <a:cubicBezTo>
                    <a:pt x="50" y="7"/>
                    <a:pt x="54" y="3"/>
                    <a:pt x="59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6" y="3"/>
                    <a:pt x="90" y="7"/>
                    <a:pt x="90" y="12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0"/>
                    <a:pt x="83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76" y="9"/>
                    <a:pt x="70" y="9"/>
                  </a:cubicBezTo>
                  <a:cubicBezTo>
                    <a:pt x="64" y="9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7" y="8"/>
                    <a:pt x="55" y="10"/>
                    <a:pt x="55" y="1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0" y="20"/>
                    <a:pt x="50" y="20"/>
                    <a:pt x="50" y="20"/>
                  </a:cubicBezTo>
                  <a:lnTo>
                    <a:pt x="50" y="12"/>
                  </a:lnTo>
                  <a:close/>
                  <a:moveTo>
                    <a:pt x="82" y="20"/>
                  </a:moveTo>
                  <a:cubicBezTo>
                    <a:pt x="58" y="20"/>
                    <a:pt x="58" y="20"/>
                    <a:pt x="58" y="20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9" y="12"/>
                    <a:pt x="59" y="12"/>
                  </a:cubicBezTo>
                  <a:cubicBezTo>
                    <a:pt x="60" y="12"/>
                    <a:pt x="64" y="13"/>
                    <a:pt x="70" y="13"/>
                  </a:cubicBezTo>
                  <a:cubicBezTo>
                    <a:pt x="76" y="13"/>
                    <a:pt x="80" y="12"/>
                    <a:pt x="81" y="12"/>
                  </a:cubicBezTo>
                  <a:cubicBezTo>
                    <a:pt x="81" y="12"/>
                    <a:pt x="82" y="12"/>
                    <a:pt x="82" y="12"/>
                  </a:cubicBezTo>
                  <a:lnTo>
                    <a:pt x="82" y="20"/>
                  </a:lnTo>
                  <a:close/>
                  <a:moveTo>
                    <a:pt x="14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94" y="23"/>
                    <a:pt x="94" y="23"/>
                    <a:pt x="94" y="23"/>
                  </a:cubicBezTo>
                  <a:cubicBezTo>
                    <a:pt x="94" y="23"/>
                    <a:pt x="94" y="23"/>
                    <a:pt x="94" y="23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31" y="23"/>
                    <a:pt x="136" y="28"/>
                    <a:pt x="136" y="33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08" y="31"/>
                    <a:pt x="108" y="31"/>
                    <a:pt x="108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28"/>
                    <a:pt x="9" y="23"/>
                    <a:pt x="14" y="23"/>
                  </a:cubicBezTo>
                  <a:close/>
                  <a:moveTo>
                    <a:pt x="108" y="42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lnTo>
                    <a:pt x="108" y="42"/>
                  </a:lnTo>
                  <a:close/>
                  <a:moveTo>
                    <a:pt x="41" y="38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133" y="65"/>
                  </a:moveTo>
                  <a:cubicBezTo>
                    <a:pt x="133" y="70"/>
                    <a:pt x="128" y="74"/>
                    <a:pt x="123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2" y="74"/>
                    <a:pt x="7" y="70"/>
                    <a:pt x="7" y="65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33" y="42"/>
                    <a:pt x="133" y="42"/>
                    <a:pt x="133" y="42"/>
                  </a:cubicBezTo>
                  <a:lnTo>
                    <a:pt x="133" y="6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20" name="Group 216"/>
          <p:cNvGrpSpPr>
            <a:grpSpLocks noChangeAspect="1"/>
          </p:cNvGrpSpPr>
          <p:nvPr/>
        </p:nvGrpSpPr>
        <p:grpSpPr bwMode="auto">
          <a:xfrm>
            <a:off x="3676648" y="4113216"/>
            <a:ext cx="768350" cy="768350"/>
            <a:chOff x="2302" y="2591"/>
            <a:chExt cx="484" cy="484"/>
          </a:xfrm>
        </p:grpSpPr>
        <p:sp>
          <p:nvSpPr>
            <p:cNvPr id="47321" name="Freeform 217"/>
            <p:cNvSpPr>
              <a:spLocks noEditPoints="1"/>
            </p:cNvSpPr>
            <p:nvPr/>
          </p:nvSpPr>
          <p:spPr bwMode="auto">
            <a:xfrm>
              <a:off x="2302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22" name="Freeform 218"/>
            <p:cNvSpPr>
              <a:spLocks noEditPoints="1"/>
            </p:cNvSpPr>
            <p:nvPr/>
          </p:nvSpPr>
          <p:spPr bwMode="auto">
            <a:xfrm>
              <a:off x="2377" y="2730"/>
              <a:ext cx="335" cy="187"/>
            </a:xfrm>
            <a:custGeom>
              <a:avLst/>
              <a:gdLst/>
              <a:ahLst/>
              <a:cxnLst>
                <a:cxn ang="0">
                  <a:pos x="94" y="20"/>
                </a:cxn>
                <a:cxn ang="0">
                  <a:pos x="81" y="0"/>
                </a:cxn>
                <a:cxn ang="0">
                  <a:pos x="46" y="12"/>
                </a:cxn>
                <a:cxn ang="0">
                  <a:pos x="14" y="20"/>
                </a:cxn>
                <a:cxn ang="0">
                  <a:pos x="0" y="42"/>
                </a:cxn>
                <a:cxn ang="0">
                  <a:pos x="4" y="65"/>
                </a:cxn>
                <a:cxn ang="0">
                  <a:pos x="123" y="78"/>
                </a:cxn>
                <a:cxn ang="0">
                  <a:pos x="136" y="42"/>
                </a:cxn>
                <a:cxn ang="0">
                  <a:pos x="140" y="33"/>
                </a:cxn>
                <a:cxn ang="0">
                  <a:pos x="50" y="12"/>
                </a:cxn>
                <a:cxn ang="0">
                  <a:pos x="81" y="3"/>
                </a:cxn>
                <a:cxn ang="0">
                  <a:pos x="90" y="20"/>
                </a:cxn>
                <a:cxn ang="0">
                  <a:pos x="85" y="12"/>
                </a:cxn>
                <a:cxn ang="0">
                  <a:pos x="81" y="8"/>
                </a:cxn>
                <a:cxn ang="0">
                  <a:pos x="70" y="9"/>
                </a:cxn>
                <a:cxn ang="0">
                  <a:pos x="59" y="8"/>
                </a:cxn>
                <a:cxn ang="0">
                  <a:pos x="55" y="12"/>
                </a:cxn>
                <a:cxn ang="0">
                  <a:pos x="50" y="20"/>
                </a:cxn>
                <a:cxn ang="0">
                  <a:pos x="82" y="12"/>
                </a:cxn>
                <a:cxn ang="0">
                  <a:pos x="58" y="20"/>
                </a:cxn>
                <a:cxn ang="0">
                  <a:pos x="59" y="12"/>
                </a:cxn>
                <a:cxn ang="0">
                  <a:pos x="81" y="12"/>
                </a:cxn>
                <a:cxn ang="0">
                  <a:pos x="133" y="65"/>
                </a:cxn>
                <a:cxn ang="0">
                  <a:pos x="17" y="74"/>
                </a:cxn>
                <a:cxn ang="0">
                  <a:pos x="7" y="42"/>
                </a:cxn>
                <a:cxn ang="0">
                  <a:pos x="28" y="45"/>
                </a:cxn>
                <a:cxn ang="0">
                  <a:pos x="32" y="48"/>
                </a:cxn>
                <a:cxn ang="0">
                  <a:pos x="45" y="48"/>
                </a:cxn>
                <a:cxn ang="0">
                  <a:pos x="45" y="42"/>
                </a:cxn>
                <a:cxn ang="0">
                  <a:pos x="95" y="45"/>
                </a:cxn>
                <a:cxn ang="0">
                  <a:pos x="99" y="48"/>
                </a:cxn>
                <a:cxn ang="0">
                  <a:pos x="112" y="48"/>
                </a:cxn>
                <a:cxn ang="0">
                  <a:pos x="112" y="42"/>
                </a:cxn>
                <a:cxn ang="0">
                  <a:pos x="133" y="65"/>
                </a:cxn>
                <a:cxn ang="0">
                  <a:pos x="32" y="42"/>
                </a:cxn>
                <a:cxn ang="0">
                  <a:pos x="32" y="35"/>
                </a:cxn>
                <a:cxn ang="0">
                  <a:pos x="41" y="38"/>
                </a:cxn>
                <a:cxn ang="0">
                  <a:pos x="41" y="45"/>
                </a:cxn>
                <a:cxn ang="0">
                  <a:pos x="99" y="45"/>
                </a:cxn>
                <a:cxn ang="0">
                  <a:pos x="99" y="38"/>
                </a:cxn>
                <a:cxn ang="0">
                  <a:pos x="108" y="35"/>
                </a:cxn>
                <a:cxn ang="0">
                  <a:pos x="108" y="42"/>
                </a:cxn>
                <a:cxn ang="0">
                  <a:pos x="99" y="45"/>
                </a:cxn>
                <a:cxn ang="0">
                  <a:pos x="112" y="38"/>
                </a:cxn>
                <a:cxn ang="0">
                  <a:pos x="112" y="31"/>
                </a:cxn>
                <a:cxn ang="0">
                  <a:pos x="99" y="31"/>
                </a:cxn>
                <a:cxn ang="0">
                  <a:pos x="95" y="35"/>
                </a:cxn>
                <a:cxn ang="0">
                  <a:pos x="45" y="38"/>
                </a:cxn>
                <a:cxn ang="0">
                  <a:pos x="45" y="31"/>
                </a:cxn>
                <a:cxn ang="0">
                  <a:pos x="32" y="31"/>
                </a:cxn>
                <a:cxn ang="0">
                  <a:pos x="28" y="35"/>
                </a:cxn>
                <a:cxn ang="0">
                  <a:pos x="4" y="38"/>
                </a:cxn>
                <a:cxn ang="0">
                  <a:pos x="14" y="23"/>
                </a:cxn>
                <a:cxn ang="0">
                  <a:pos x="46" y="23"/>
                </a:cxn>
                <a:cxn ang="0">
                  <a:pos x="58" y="23"/>
                </a:cxn>
                <a:cxn ang="0">
                  <a:pos x="82" y="23"/>
                </a:cxn>
                <a:cxn ang="0">
                  <a:pos x="94" y="23"/>
                </a:cxn>
                <a:cxn ang="0">
                  <a:pos x="136" y="33"/>
                </a:cxn>
              </a:cxnLst>
              <a:rect l="0" t="0" r="r" b="b"/>
              <a:pathLst>
                <a:path w="140" h="78">
                  <a:moveTo>
                    <a:pt x="126" y="20"/>
                  </a:moveTo>
                  <a:cubicBezTo>
                    <a:pt x="94" y="20"/>
                    <a:pt x="94" y="20"/>
                    <a:pt x="94" y="20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5"/>
                    <a:pt x="88" y="0"/>
                    <a:pt x="81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2" y="0"/>
                    <a:pt x="46" y="5"/>
                    <a:pt x="46" y="12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7" y="20"/>
                    <a:pt x="0" y="26"/>
                    <a:pt x="0" y="3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72"/>
                    <a:pt x="10" y="78"/>
                    <a:pt x="17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30" y="78"/>
                    <a:pt x="136" y="72"/>
                    <a:pt x="136" y="65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26"/>
                    <a:pt x="133" y="20"/>
                    <a:pt x="126" y="20"/>
                  </a:cubicBezTo>
                  <a:close/>
                  <a:moveTo>
                    <a:pt x="50" y="12"/>
                  </a:moveTo>
                  <a:cubicBezTo>
                    <a:pt x="50" y="7"/>
                    <a:pt x="54" y="3"/>
                    <a:pt x="59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6" y="3"/>
                    <a:pt x="90" y="7"/>
                    <a:pt x="90" y="12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0"/>
                    <a:pt x="83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76" y="9"/>
                    <a:pt x="70" y="9"/>
                  </a:cubicBezTo>
                  <a:cubicBezTo>
                    <a:pt x="64" y="9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7" y="8"/>
                    <a:pt x="55" y="10"/>
                    <a:pt x="55" y="12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0" y="20"/>
                    <a:pt x="50" y="20"/>
                    <a:pt x="50" y="20"/>
                  </a:cubicBezTo>
                  <a:lnTo>
                    <a:pt x="50" y="12"/>
                  </a:lnTo>
                  <a:close/>
                  <a:moveTo>
                    <a:pt x="82" y="12"/>
                  </a:moveTo>
                  <a:cubicBezTo>
                    <a:pt x="82" y="20"/>
                    <a:pt x="82" y="20"/>
                    <a:pt x="82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9" y="12"/>
                    <a:pt x="59" y="12"/>
                  </a:cubicBezTo>
                  <a:cubicBezTo>
                    <a:pt x="60" y="12"/>
                    <a:pt x="64" y="13"/>
                    <a:pt x="70" y="13"/>
                  </a:cubicBezTo>
                  <a:cubicBezTo>
                    <a:pt x="76" y="13"/>
                    <a:pt x="80" y="12"/>
                    <a:pt x="81" y="12"/>
                  </a:cubicBezTo>
                  <a:cubicBezTo>
                    <a:pt x="81" y="12"/>
                    <a:pt x="82" y="12"/>
                    <a:pt x="82" y="12"/>
                  </a:cubicBezTo>
                  <a:close/>
                  <a:moveTo>
                    <a:pt x="133" y="65"/>
                  </a:moveTo>
                  <a:cubicBezTo>
                    <a:pt x="133" y="70"/>
                    <a:pt x="128" y="74"/>
                    <a:pt x="123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2" y="74"/>
                    <a:pt x="7" y="70"/>
                    <a:pt x="7" y="65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33" y="42"/>
                    <a:pt x="133" y="42"/>
                    <a:pt x="133" y="42"/>
                  </a:cubicBezTo>
                  <a:lnTo>
                    <a:pt x="133" y="65"/>
                  </a:lnTo>
                  <a:close/>
                  <a:moveTo>
                    <a:pt x="32" y="45"/>
                  </a:move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45"/>
                    <a:pt x="41" y="45"/>
                    <a:pt x="41" y="45"/>
                  </a:cubicBezTo>
                  <a:lnTo>
                    <a:pt x="32" y="45"/>
                  </a:lnTo>
                  <a:close/>
                  <a:moveTo>
                    <a:pt x="99" y="45"/>
                  </a:moveTo>
                  <a:cubicBezTo>
                    <a:pt x="99" y="42"/>
                    <a:pt x="99" y="42"/>
                    <a:pt x="99" y="42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5"/>
                    <a:pt x="108" y="45"/>
                    <a:pt x="108" y="45"/>
                  </a:cubicBezTo>
                  <a:lnTo>
                    <a:pt x="99" y="45"/>
                  </a:lnTo>
                  <a:close/>
                  <a:moveTo>
                    <a:pt x="136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08" y="31"/>
                    <a:pt x="108" y="31"/>
                    <a:pt x="108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28"/>
                    <a:pt x="9" y="23"/>
                    <a:pt x="14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94" y="23"/>
                    <a:pt x="94" y="23"/>
                    <a:pt x="94" y="23"/>
                  </a:cubicBezTo>
                  <a:cubicBezTo>
                    <a:pt x="94" y="23"/>
                    <a:pt x="94" y="23"/>
                    <a:pt x="94" y="23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31" y="23"/>
                    <a:pt x="136" y="28"/>
                    <a:pt x="136" y="33"/>
                  </a:cubicBezTo>
                  <a:lnTo>
                    <a:pt x="136" y="3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25" name="Group 221"/>
          <p:cNvGrpSpPr>
            <a:grpSpLocks noChangeAspect="1"/>
          </p:cNvGrpSpPr>
          <p:nvPr/>
        </p:nvGrpSpPr>
        <p:grpSpPr bwMode="auto">
          <a:xfrm>
            <a:off x="4729163" y="4073525"/>
            <a:ext cx="854075" cy="850900"/>
            <a:chOff x="2970" y="2566"/>
            <a:chExt cx="538" cy="536"/>
          </a:xfrm>
        </p:grpSpPr>
        <p:sp>
          <p:nvSpPr>
            <p:cNvPr id="47326" name="Oval 222"/>
            <p:cNvSpPr>
              <a:spLocks noChangeArrowheads="1"/>
            </p:cNvSpPr>
            <p:nvPr/>
          </p:nvSpPr>
          <p:spPr bwMode="auto">
            <a:xfrm>
              <a:off x="2970" y="2566"/>
              <a:ext cx="538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27" name="Freeform 223"/>
            <p:cNvSpPr>
              <a:spLocks noEditPoints="1"/>
            </p:cNvSpPr>
            <p:nvPr/>
          </p:nvSpPr>
          <p:spPr bwMode="auto">
            <a:xfrm>
              <a:off x="2992" y="2588"/>
              <a:ext cx="495" cy="492"/>
            </a:xfrm>
            <a:custGeom>
              <a:avLst/>
              <a:gdLst/>
              <a:ahLst/>
              <a:cxnLst>
                <a:cxn ang="0">
                  <a:pos x="104" y="206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6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1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6">
                  <a:moveTo>
                    <a:pt x="104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4" y="206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4" y="201"/>
                  </a:cubicBezTo>
                  <a:cubicBezTo>
                    <a:pt x="158" y="201"/>
                    <a:pt x="202" y="157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28" name="Freeform 224"/>
            <p:cNvSpPr>
              <a:spLocks/>
            </p:cNvSpPr>
            <p:nvPr/>
          </p:nvSpPr>
          <p:spPr bwMode="auto">
            <a:xfrm>
              <a:off x="3145" y="2674"/>
              <a:ext cx="196" cy="323"/>
            </a:xfrm>
            <a:custGeom>
              <a:avLst/>
              <a:gdLst/>
              <a:ahLst/>
              <a:cxnLst>
                <a:cxn ang="0">
                  <a:pos x="36" y="135"/>
                </a:cxn>
                <a:cxn ang="0">
                  <a:pos x="0" y="126"/>
                </a:cxn>
                <a:cxn ang="0">
                  <a:pos x="2" y="116"/>
                </a:cxn>
                <a:cxn ang="0">
                  <a:pos x="36" y="127"/>
                </a:cxn>
                <a:cxn ang="0">
                  <a:pos x="73" y="93"/>
                </a:cxn>
                <a:cxn ang="0">
                  <a:pos x="39" y="61"/>
                </a:cxn>
                <a:cxn ang="0">
                  <a:pos x="12" y="67"/>
                </a:cxn>
                <a:cxn ang="0">
                  <a:pos x="7" y="66"/>
                </a:cxn>
                <a:cxn ang="0">
                  <a:pos x="11" y="0"/>
                </a:cxn>
                <a:cxn ang="0">
                  <a:pos x="76" y="0"/>
                </a:cxn>
                <a:cxn ang="0">
                  <a:pos x="77" y="8"/>
                </a:cxn>
                <a:cxn ang="0">
                  <a:pos x="19" y="8"/>
                </a:cxn>
                <a:cxn ang="0">
                  <a:pos x="16" y="58"/>
                </a:cxn>
                <a:cxn ang="0">
                  <a:pos x="39" y="53"/>
                </a:cxn>
                <a:cxn ang="0">
                  <a:pos x="82" y="92"/>
                </a:cxn>
                <a:cxn ang="0">
                  <a:pos x="36" y="135"/>
                </a:cxn>
              </a:cxnLst>
              <a:rect l="0" t="0" r="r" b="b"/>
              <a:pathLst>
                <a:path w="82" h="135">
                  <a:moveTo>
                    <a:pt x="36" y="135"/>
                  </a:moveTo>
                  <a:cubicBezTo>
                    <a:pt x="21" y="135"/>
                    <a:pt x="9" y="131"/>
                    <a:pt x="0" y="126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2" y="122"/>
                    <a:pt x="22" y="127"/>
                    <a:pt x="36" y="127"/>
                  </a:cubicBezTo>
                  <a:cubicBezTo>
                    <a:pt x="55" y="127"/>
                    <a:pt x="73" y="115"/>
                    <a:pt x="73" y="93"/>
                  </a:cubicBezTo>
                  <a:cubicBezTo>
                    <a:pt x="73" y="73"/>
                    <a:pt x="60" y="61"/>
                    <a:pt x="39" y="61"/>
                  </a:cubicBezTo>
                  <a:cubicBezTo>
                    <a:pt x="27" y="61"/>
                    <a:pt x="19" y="64"/>
                    <a:pt x="12" y="67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22" y="55"/>
                    <a:pt x="29" y="53"/>
                    <a:pt x="39" y="53"/>
                  </a:cubicBezTo>
                  <a:cubicBezTo>
                    <a:pt x="66" y="53"/>
                    <a:pt x="82" y="68"/>
                    <a:pt x="82" y="92"/>
                  </a:cubicBezTo>
                  <a:cubicBezTo>
                    <a:pt x="82" y="118"/>
                    <a:pt x="61" y="135"/>
                    <a:pt x="36" y="13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31" name="Group 227"/>
          <p:cNvGrpSpPr>
            <a:grpSpLocks noChangeAspect="1"/>
          </p:cNvGrpSpPr>
          <p:nvPr/>
        </p:nvGrpSpPr>
        <p:grpSpPr bwMode="auto">
          <a:xfrm>
            <a:off x="5867401" y="4113213"/>
            <a:ext cx="788988" cy="784225"/>
            <a:chOff x="3686" y="2587"/>
            <a:chExt cx="497" cy="494"/>
          </a:xfrm>
        </p:grpSpPr>
        <p:sp>
          <p:nvSpPr>
            <p:cNvPr id="47332" name="Freeform 228"/>
            <p:cNvSpPr>
              <a:spLocks noEditPoints="1"/>
            </p:cNvSpPr>
            <p:nvPr/>
          </p:nvSpPr>
          <p:spPr bwMode="auto">
            <a:xfrm>
              <a:off x="3686" y="2587"/>
              <a:ext cx="497" cy="494"/>
            </a:xfrm>
            <a:custGeom>
              <a:avLst/>
              <a:gdLst/>
              <a:ahLst/>
              <a:cxnLst>
                <a:cxn ang="0">
                  <a:pos x="104" y="206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6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1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6">
                  <a:moveTo>
                    <a:pt x="104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4" y="206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4" y="201"/>
                  </a:cubicBezTo>
                  <a:cubicBezTo>
                    <a:pt x="158" y="201"/>
                    <a:pt x="202" y="157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33" name="Freeform 229"/>
            <p:cNvSpPr>
              <a:spLocks/>
            </p:cNvSpPr>
            <p:nvPr/>
          </p:nvSpPr>
          <p:spPr bwMode="auto">
            <a:xfrm>
              <a:off x="3840" y="2674"/>
              <a:ext cx="197" cy="323"/>
            </a:xfrm>
            <a:custGeom>
              <a:avLst/>
              <a:gdLst/>
              <a:ahLst/>
              <a:cxnLst>
                <a:cxn ang="0">
                  <a:pos x="36" y="135"/>
                </a:cxn>
                <a:cxn ang="0">
                  <a:pos x="0" y="126"/>
                </a:cxn>
                <a:cxn ang="0">
                  <a:pos x="2" y="116"/>
                </a:cxn>
                <a:cxn ang="0">
                  <a:pos x="36" y="127"/>
                </a:cxn>
                <a:cxn ang="0">
                  <a:pos x="73" y="93"/>
                </a:cxn>
                <a:cxn ang="0">
                  <a:pos x="39" y="61"/>
                </a:cxn>
                <a:cxn ang="0">
                  <a:pos x="12" y="67"/>
                </a:cxn>
                <a:cxn ang="0">
                  <a:pos x="7" y="66"/>
                </a:cxn>
                <a:cxn ang="0">
                  <a:pos x="11" y="0"/>
                </a:cxn>
                <a:cxn ang="0">
                  <a:pos x="76" y="0"/>
                </a:cxn>
                <a:cxn ang="0">
                  <a:pos x="77" y="8"/>
                </a:cxn>
                <a:cxn ang="0">
                  <a:pos x="19" y="8"/>
                </a:cxn>
                <a:cxn ang="0">
                  <a:pos x="16" y="58"/>
                </a:cxn>
                <a:cxn ang="0">
                  <a:pos x="39" y="53"/>
                </a:cxn>
                <a:cxn ang="0">
                  <a:pos x="82" y="92"/>
                </a:cxn>
                <a:cxn ang="0">
                  <a:pos x="36" y="135"/>
                </a:cxn>
              </a:cxnLst>
              <a:rect l="0" t="0" r="r" b="b"/>
              <a:pathLst>
                <a:path w="82" h="135">
                  <a:moveTo>
                    <a:pt x="36" y="135"/>
                  </a:moveTo>
                  <a:cubicBezTo>
                    <a:pt x="21" y="135"/>
                    <a:pt x="9" y="131"/>
                    <a:pt x="0" y="126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2" y="122"/>
                    <a:pt x="22" y="127"/>
                    <a:pt x="36" y="127"/>
                  </a:cubicBezTo>
                  <a:cubicBezTo>
                    <a:pt x="55" y="127"/>
                    <a:pt x="73" y="115"/>
                    <a:pt x="73" y="93"/>
                  </a:cubicBezTo>
                  <a:cubicBezTo>
                    <a:pt x="73" y="73"/>
                    <a:pt x="60" y="61"/>
                    <a:pt x="39" y="61"/>
                  </a:cubicBezTo>
                  <a:cubicBezTo>
                    <a:pt x="27" y="61"/>
                    <a:pt x="19" y="64"/>
                    <a:pt x="12" y="67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22" y="55"/>
                    <a:pt x="29" y="53"/>
                    <a:pt x="39" y="53"/>
                  </a:cubicBezTo>
                  <a:cubicBezTo>
                    <a:pt x="66" y="53"/>
                    <a:pt x="82" y="68"/>
                    <a:pt x="82" y="92"/>
                  </a:cubicBezTo>
                  <a:cubicBezTo>
                    <a:pt x="82" y="118"/>
                    <a:pt x="61" y="135"/>
                    <a:pt x="36" y="13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36" name="Group 232"/>
          <p:cNvGrpSpPr>
            <a:grpSpLocks noChangeAspect="1"/>
          </p:cNvGrpSpPr>
          <p:nvPr/>
        </p:nvGrpSpPr>
        <p:grpSpPr bwMode="auto">
          <a:xfrm>
            <a:off x="6914332" y="4071938"/>
            <a:ext cx="849312" cy="850900"/>
            <a:chOff x="4357" y="2565"/>
            <a:chExt cx="535" cy="536"/>
          </a:xfrm>
        </p:grpSpPr>
        <p:sp>
          <p:nvSpPr>
            <p:cNvPr id="47337" name="Oval 233"/>
            <p:cNvSpPr>
              <a:spLocks noChangeArrowheads="1"/>
            </p:cNvSpPr>
            <p:nvPr/>
          </p:nvSpPr>
          <p:spPr bwMode="auto">
            <a:xfrm>
              <a:off x="4357" y="2565"/>
              <a:ext cx="535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38" name="Freeform 234"/>
            <p:cNvSpPr>
              <a:spLocks noEditPoints="1"/>
            </p:cNvSpPr>
            <p:nvPr/>
          </p:nvSpPr>
          <p:spPr bwMode="auto">
            <a:xfrm>
              <a:off x="4376" y="2584"/>
              <a:ext cx="497" cy="498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9"/>
                    <a:pt x="50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39" name="Freeform 235"/>
            <p:cNvSpPr>
              <a:spLocks noEditPoints="1"/>
            </p:cNvSpPr>
            <p:nvPr/>
          </p:nvSpPr>
          <p:spPr bwMode="auto">
            <a:xfrm>
              <a:off x="4500" y="2780"/>
              <a:ext cx="165" cy="214"/>
            </a:xfrm>
            <a:custGeom>
              <a:avLst/>
              <a:gdLst/>
              <a:ahLst/>
              <a:cxnLst>
                <a:cxn ang="0">
                  <a:pos x="16" y="84"/>
                </a:cxn>
                <a:cxn ang="0">
                  <a:pos x="9" y="78"/>
                </a:cxn>
                <a:cxn ang="0">
                  <a:pos x="4" y="43"/>
                </a:cxn>
                <a:cxn ang="0">
                  <a:pos x="18" y="19"/>
                </a:cxn>
                <a:cxn ang="0">
                  <a:pos x="47" y="0"/>
                </a:cxn>
                <a:cxn ang="0">
                  <a:pos x="66" y="17"/>
                </a:cxn>
                <a:cxn ang="0">
                  <a:pos x="58" y="21"/>
                </a:cxn>
                <a:cxn ang="0">
                  <a:pos x="55" y="20"/>
                </a:cxn>
                <a:cxn ang="0">
                  <a:pos x="47" y="18"/>
                </a:cxn>
                <a:cxn ang="0">
                  <a:pos x="44" y="18"/>
                </a:cxn>
                <a:cxn ang="0">
                  <a:pos x="21" y="50"/>
                </a:cxn>
                <a:cxn ang="0">
                  <a:pos x="21" y="64"/>
                </a:cxn>
                <a:cxn ang="0">
                  <a:pos x="32" y="70"/>
                </a:cxn>
                <a:cxn ang="0">
                  <a:pos x="43" y="65"/>
                </a:cxn>
                <a:cxn ang="0">
                  <a:pos x="53" y="49"/>
                </a:cxn>
                <a:cxn ang="0">
                  <a:pos x="59" y="46"/>
                </a:cxn>
                <a:cxn ang="0">
                  <a:pos x="68" y="59"/>
                </a:cxn>
                <a:cxn ang="0">
                  <a:pos x="58" y="75"/>
                </a:cxn>
                <a:cxn ang="0">
                  <a:pos x="53" y="81"/>
                </a:cxn>
                <a:cxn ang="0">
                  <a:pos x="33" y="89"/>
                </a:cxn>
                <a:cxn ang="0">
                  <a:pos x="18" y="81"/>
                </a:cxn>
                <a:cxn ang="0">
                  <a:pos x="33" y="85"/>
                </a:cxn>
                <a:cxn ang="0">
                  <a:pos x="51" y="78"/>
                </a:cxn>
                <a:cxn ang="0">
                  <a:pos x="65" y="57"/>
                </a:cxn>
                <a:cxn ang="0">
                  <a:pos x="59" y="49"/>
                </a:cxn>
                <a:cxn ang="0">
                  <a:pos x="54" y="53"/>
                </a:cxn>
                <a:cxn ang="0">
                  <a:pos x="46" y="66"/>
                </a:cxn>
                <a:cxn ang="0">
                  <a:pos x="32" y="74"/>
                </a:cxn>
                <a:cxn ang="0">
                  <a:pos x="18" y="66"/>
                </a:cxn>
                <a:cxn ang="0">
                  <a:pos x="18" y="49"/>
                </a:cxn>
                <a:cxn ang="0">
                  <a:pos x="43" y="15"/>
                </a:cxn>
                <a:cxn ang="0">
                  <a:pos x="53" y="16"/>
                </a:cxn>
                <a:cxn ang="0">
                  <a:pos x="56" y="17"/>
                </a:cxn>
                <a:cxn ang="0">
                  <a:pos x="63" y="15"/>
                </a:cxn>
                <a:cxn ang="0">
                  <a:pos x="62" y="7"/>
                </a:cxn>
                <a:cxn ang="0">
                  <a:pos x="44" y="3"/>
                </a:cxn>
                <a:cxn ang="0">
                  <a:pos x="21" y="21"/>
                </a:cxn>
                <a:cxn ang="0">
                  <a:pos x="7" y="45"/>
                </a:cxn>
                <a:cxn ang="0">
                  <a:pos x="5" y="62"/>
                </a:cxn>
              </a:cxnLst>
              <a:rect l="0" t="0" r="r" b="b"/>
              <a:pathLst>
                <a:path w="69" h="89">
                  <a:moveTo>
                    <a:pt x="33" y="89"/>
                  </a:moveTo>
                  <a:cubicBezTo>
                    <a:pt x="24" y="89"/>
                    <a:pt x="17" y="85"/>
                    <a:pt x="16" y="84"/>
                  </a:cubicBezTo>
                  <a:cubicBezTo>
                    <a:pt x="13" y="82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2" y="70"/>
                    <a:pt x="1" y="63"/>
                    <a:pt x="1" y="62"/>
                  </a:cubicBezTo>
                  <a:cubicBezTo>
                    <a:pt x="0" y="5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7" y="1"/>
                    <a:pt x="42" y="0"/>
                    <a:pt x="43" y="0"/>
                  </a:cubicBezTo>
                  <a:cubicBezTo>
                    <a:pt x="45" y="0"/>
                    <a:pt x="46" y="0"/>
                    <a:pt x="47" y="0"/>
                  </a:cubicBezTo>
                  <a:cubicBezTo>
                    <a:pt x="58" y="0"/>
                    <a:pt x="63" y="4"/>
                    <a:pt x="64" y="5"/>
                  </a:cubicBezTo>
                  <a:cubicBezTo>
                    <a:pt x="69" y="9"/>
                    <a:pt x="67" y="14"/>
                    <a:pt x="66" y="17"/>
                  </a:cubicBezTo>
                  <a:cubicBezTo>
                    <a:pt x="64" y="20"/>
                    <a:pt x="61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6" y="21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0" y="18"/>
                    <a:pt x="49" y="18"/>
                    <a:pt x="47" y="18"/>
                  </a:cubicBezTo>
                  <a:cubicBezTo>
                    <a:pt x="45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39" y="20"/>
                    <a:pt x="37" y="23"/>
                    <a:pt x="37" y="23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0" y="52"/>
                    <a:pt x="20" y="53"/>
                    <a:pt x="20" y="53"/>
                  </a:cubicBezTo>
                  <a:cubicBezTo>
                    <a:pt x="18" y="58"/>
                    <a:pt x="21" y="64"/>
                    <a:pt x="21" y="64"/>
                  </a:cubicBezTo>
                  <a:cubicBezTo>
                    <a:pt x="25" y="70"/>
                    <a:pt x="31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3" y="70"/>
                    <a:pt x="33" y="70"/>
                  </a:cubicBezTo>
                  <a:cubicBezTo>
                    <a:pt x="40" y="70"/>
                    <a:pt x="43" y="65"/>
                    <a:pt x="43" y="65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2" y="50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5" y="47"/>
                    <a:pt x="57" y="46"/>
                    <a:pt x="59" y="46"/>
                  </a:cubicBezTo>
                  <a:cubicBezTo>
                    <a:pt x="62" y="46"/>
                    <a:pt x="64" y="48"/>
                    <a:pt x="65" y="48"/>
                  </a:cubicBezTo>
                  <a:cubicBezTo>
                    <a:pt x="69" y="52"/>
                    <a:pt x="69" y="57"/>
                    <a:pt x="68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6" y="78"/>
                    <a:pt x="53" y="81"/>
                    <a:pt x="53" y="81"/>
                  </a:cubicBezTo>
                  <a:cubicBezTo>
                    <a:pt x="46" y="87"/>
                    <a:pt x="37" y="88"/>
                    <a:pt x="36" y="88"/>
                  </a:cubicBezTo>
                  <a:cubicBezTo>
                    <a:pt x="35" y="89"/>
                    <a:pt x="34" y="89"/>
                    <a:pt x="33" y="89"/>
                  </a:cubicBezTo>
                  <a:close/>
                  <a:moveTo>
                    <a:pt x="11" y="76"/>
                  </a:moveTo>
                  <a:cubicBezTo>
                    <a:pt x="12" y="76"/>
                    <a:pt x="15" y="80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24" y="85"/>
                    <a:pt x="33" y="85"/>
                  </a:cubicBezTo>
                  <a:cubicBezTo>
                    <a:pt x="34" y="85"/>
                    <a:pt x="35" y="85"/>
                    <a:pt x="36" y="85"/>
                  </a:cubicBezTo>
                  <a:cubicBezTo>
                    <a:pt x="36" y="85"/>
                    <a:pt x="45" y="84"/>
                    <a:pt x="51" y="78"/>
                  </a:cubicBezTo>
                  <a:cubicBezTo>
                    <a:pt x="51" y="78"/>
                    <a:pt x="54" y="76"/>
                    <a:pt x="55" y="73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6" y="53"/>
                    <a:pt x="63" y="51"/>
                  </a:cubicBezTo>
                  <a:cubicBezTo>
                    <a:pt x="62" y="51"/>
                    <a:pt x="61" y="49"/>
                    <a:pt x="59" y="49"/>
                  </a:cubicBezTo>
                  <a:cubicBezTo>
                    <a:pt x="58" y="49"/>
                    <a:pt x="57" y="50"/>
                    <a:pt x="55" y="51"/>
                  </a:cubicBezTo>
                  <a:cubicBezTo>
                    <a:pt x="55" y="51"/>
                    <a:pt x="54" y="52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7"/>
                    <a:pt x="42" y="73"/>
                    <a:pt x="33" y="74"/>
                  </a:cubicBezTo>
                  <a:cubicBezTo>
                    <a:pt x="33" y="74"/>
                    <a:pt x="32" y="74"/>
                    <a:pt x="32" y="74"/>
                  </a:cubicBezTo>
                  <a:cubicBezTo>
                    <a:pt x="30" y="74"/>
                    <a:pt x="24" y="73"/>
                    <a:pt x="18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6"/>
                    <a:pt x="14" y="59"/>
                    <a:pt x="17" y="52"/>
                  </a:cubicBezTo>
                  <a:cubicBezTo>
                    <a:pt x="17" y="52"/>
                    <a:pt x="17" y="50"/>
                    <a:pt x="18" y="49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7" y="17"/>
                    <a:pt x="43" y="15"/>
                  </a:cubicBezTo>
                  <a:cubicBezTo>
                    <a:pt x="43" y="15"/>
                    <a:pt x="45" y="15"/>
                    <a:pt x="47" y="15"/>
                  </a:cubicBezTo>
                  <a:cubicBezTo>
                    <a:pt x="49" y="15"/>
                    <a:pt x="51" y="15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7" y="17"/>
                    <a:pt x="58" y="17"/>
                  </a:cubicBezTo>
                  <a:cubicBezTo>
                    <a:pt x="60" y="17"/>
                    <a:pt x="62" y="17"/>
                    <a:pt x="63" y="15"/>
                  </a:cubicBezTo>
                  <a:cubicBezTo>
                    <a:pt x="63" y="14"/>
                    <a:pt x="66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57" y="3"/>
                    <a:pt x="47" y="3"/>
                  </a:cubicBezTo>
                  <a:cubicBezTo>
                    <a:pt x="46" y="3"/>
                    <a:pt x="45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3" y="3"/>
                    <a:pt x="29" y="4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3" y="53"/>
                    <a:pt x="5" y="62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62"/>
                    <a:pt x="5" y="68"/>
                    <a:pt x="11" y="7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40" name="Freeform 236"/>
            <p:cNvSpPr>
              <a:spLocks noEditPoints="1"/>
            </p:cNvSpPr>
            <p:nvPr/>
          </p:nvSpPr>
          <p:spPr bwMode="auto">
            <a:xfrm>
              <a:off x="4586" y="2670"/>
              <a:ext cx="168" cy="213"/>
            </a:xfrm>
            <a:custGeom>
              <a:avLst/>
              <a:gdLst/>
              <a:ahLst/>
              <a:cxnLst>
                <a:cxn ang="0">
                  <a:pos x="6" y="84"/>
                </a:cxn>
                <a:cxn ang="0">
                  <a:pos x="11" y="68"/>
                </a:cxn>
                <a:cxn ang="0">
                  <a:pos x="15" y="69"/>
                </a:cxn>
                <a:cxn ang="0">
                  <a:pos x="22" y="71"/>
                </a:cxn>
                <a:cxn ang="0">
                  <a:pos x="26" y="71"/>
                </a:cxn>
                <a:cxn ang="0">
                  <a:pos x="48" y="39"/>
                </a:cxn>
                <a:cxn ang="0">
                  <a:pos x="48" y="25"/>
                </a:cxn>
                <a:cxn ang="0">
                  <a:pos x="37" y="19"/>
                </a:cxn>
                <a:cxn ang="0">
                  <a:pos x="26" y="24"/>
                </a:cxn>
                <a:cxn ang="0">
                  <a:pos x="16" y="40"/>
                </a:cxn>
                <a:cxn ang="0">
                  <a:pos x="10" y="43"/>
                </a:cxn>
                <a:cxn ang="0">
                  <a:pos x="2" y="30"/>
                </a:cxn>
                <a:cxn ang="0">
                  <a:pos x="11" y="14"/>
                </a:cxn>
                <a:cxn ang="0">
                  <a:pos x="16" y="8"/>
                </a:cxn>
                <a:cxn ang="0">
                  <a:pos x="37" y="0"/>
                </a:cxn>
                <a:cxn ang="0">
                  <a:pos x="61" y="11"/>
                </a:cxn>
                <a:cxn ang="0">
                  <a:pos x="68" y="27"/>
                </a:cxn>
                <a:cxn ang="0">
                  <a:pos x="65" y="46"/>
                </a:cxn>
                <a:cxn ang="0">
                  <a:pos x="26" y="89"/>
                </a:cxn>
                <a:cxn ang="0">
                  <a:pos x="11" y="72"/>
                </a:cxn>
                <a:cxn ang="0">
                  <a:pos x="8" y="82"/>
                </a:cxn>
                <a:cxn ang="0">
                  <a:pos x="22" y="86"/>
                </a:cxn>
                <a:cxn ang="0">
                  <a:pos x="26" y="86"/>
                </a:cxn>
                <a:cxn ang="0">
                  <a:pos x="49" y="68"/>
                </a:cxn>
                <a:cxn ang="0">
                  <a:pos x="65" y="28"/>
                </a:cxn>
                <a:cxn ang="0">
                  <a:pos x="58" y="13"/>
                </a:cxn>
                <a:cxn ang="0">
                  <a:pos x="52" y="8"/>
                </a:cxn>
                <a:cxn ang="0">
                  <a:pos x="34" y="4"/>
                </a:cxn>
                <a:cxn ang="0">
                  <a:pos x="14" y="16"/>
                </a:cxn>
                <a:cxn ang="0">
                  <a:pos x="7" y="38"/>
                </a:cxn>
                <a:cxn ang="0">
                  <a:pos x="14" y="38"/>
                </a:cxn>
                <a:cxn ang="0">
                  <a:pos x="16" y="36"/>
                </a:cxn>
                <a:cxn ang="0">
                  <a:pos x="37" y="15"/>
                </a:cxn>
                <a:cxn ang="0">
                  <a:pos x="51" y="23"/>
                </a:cxn>
                <a:cxn ang="0">
                  <a:pos x="53" y="37"/>
                </a:cxn>
                <a:cxn ang="0">
                  <a:pos x="36" y="68"/>
                </a:cxn>
                <a:cxn ang="0">
                  <a:pos x="22" y="74"/>
                </a:cxn>
                <a:cxn ang="0">
                  <a:pos x="16" y="73"/>
                </a:cxn>
                <a:cxn ang="0">
                  <a:pos x="11" y="72"/>
                </a:cxn>
              </a:cxnLst>
              <a:rect l="0" t="0" r="r" b="b"/>
              <a:pathLst>
                <a:path w="70" h="89">
                  <a:moveTo>
                    <a:pt x="22" y="89"/>
                  </a:moveTo>
                  <a:cubicBezTo>
                    <a:pt x="11" y="89"/>
                    <a:pt x="6" y="85"/>
                    <a:pt x="6" y="84"/>
                  </a:cubicBezTo>
                  <a:cubicBezTo>
                    <a:pt x="1" y="80"/>
                    <a:pt x="2" y="75"/>
                    <a:pt x="4" y="72"/>
                  </a:cubicBezTo>
                  <a:cubicBezTo>
                    <a:pt x="6" y="69"/>
                    <a:pt x="9" y="68"/>
                    <a:pt x="11" y="68"/>
                  </a:cubicBezTo>
                  <a:cubicBezTo>
                    <a:pt x="13" y="68"/>
                    <a:pt x="14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9" y="71"/>
                    <a:pt x="21" y="71"/>
                    <a:pt x="22" y="71"/>
                  </a:cubicBezTo>
                  <a:cubicBezTo>
                    <a:pt x="24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31" y="69"/>
                    <a:pt x="33" y="66"/>
                    <a:pt x="33" y="66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2" y="31"/>
                    <a:pt x="49" y="25"/>
                    <a:pt x="48" y="25"/>
                  </a:cubicBezTo>
                  <a:cubicBezTo>
                    <a:pt x="44" y="19"/>
                    <a:pt x="39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29" y="19"/>
                    <a:pt x="26" y="24"/>
                    <a:pt x="26" y="24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9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4" y="42"/>
                    <a:pt x="12" y="43"/>
                    <a:pt x="10" y="43"/>
                  </a:cubicBezTo>
                  <a:cubicBezTo>
                    <a:pt x="7" y="43"/>
                    <a:pt x="5" y="41"/>
                    <a:pt x="5" y="41"/>
                  </a:cubicBezTo>
                  <a:cubicBezTo>
                    <a:pt x="0" y="37"/>
                    <a:pt x="1" y="32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1"/>
                    <a:pt x="16" y="8"/>
                    <a:pt x="16" y="8"/>
                  </a:cubicBezTo>
                  <a:cubicBezTo>
                    <a:pt x="23" y="2"/>
                    <a:pt x="33" y="1"/>
                    <a:pt x="33" y="1"/>
                  </a:cubicBezTo>
                  <a:cubicBezTo>
                    <a:pt x="34" y="0"/>
                    <a:pt x="35" y="0"/>
                    <a:pt x="37" y="0"/>
                  </a:cubicBezTo>
                  <a:cubicBezTo>
                    <a:pt x="46" y="0"/>
                    <a:pt x="53" y="5"/>
                    <a:pt x="53" y="5"/>
                  </a:cubicBezTo>
                  <a:cubicBezTo>
                    <a:pt x="57" y="7"/>
                    <a:pt x="61" y="11"/>
                    <a:pt x="61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7" y="19"/>
                    <a:pt x="68" y="26"/>
                    <a:pt x="68" y="27"/>
                  </a:cubicBezTo>
                  <a:cubicBezTo>
                    <a:pt x="70" y="37"/>
                    <a:pt x="66" y="45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43" y="88"/>
                    <a:pt x="27" y="89"/>
                    <a:pt x="26" y="89"/>
                  </a:cubicBezTo>
                  <a:cubicBezTo>
                    <a:pt x="25" y="89"/>
                    <a:pt x="24" y="89"/>
                    <a:pt x="22" y="89"/>
                  </a:cubicBezTo>
                  <a:close/>
                  <a:moveTo>
                    <a:pt x="11" y="72"/>
                  </a:moveTo>
                  <a:cubicBezTo>
                    <a:pt x="9" y="72"/>
                    <a:pt x="8" y="72"/>
                    <a:pt x="6" y="74"/>
                  </a:cubicBezTo>
                  <a:cubicBezTo>
                    <a:pt x="6" y="75"/>
                    <a:pt x="4" y="78"/>
                    <a:pt x="8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2"/>
                    <a:pt x="13" y="86"/>
                    <a:pt x="22" y="86"/>
                  </a:cubicBezTo>
                  <a:cubicBezTo>
                    <a:pt x="24" y="86"/>
                    <a:pt x="25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7" y="86"/>
                    <a:pt x="40" y="85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6" y="36"/>
                    <a:pt x="65" y="28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5" y="27"/>
                    <a:pt x="64" y="21"/>
                    <a:pt x="58" y="13"/>
                  </a:cubicBezTo>
                  <a:cubicBezTo>
                    <a:pt x="58" y="13"/>
                    <a:pt x="54" y="9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45" y="4"/>
                    <a:pt x="37" y="4"/>
                  </a:cubicBezTo>
                  <a:cubicBezTo>
                    <a:pt x="36" y="4"/>
                    <a:pt x="35" y="4"/>
                    <a:pt x="34" y="4"/>
                  </a:cubicBezTo>
                  <a:cubicBezTo>
                    <a:pt x="33" y="4"/>
                    <a:pt x="25" y="5"/>
                    <a:pt x="18" y="11"/>
                  </a:cubicBezTo>
                  <a:cubicBezTo>
                    <a:pt x="18" y="11"/>
                    <a:pt x="16" y="13"/>
                    <a:pt x="14" y="16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3" y="36"/>
                    <a:pt x="7" y="38"/>
                  </a:cubicBezTo>
                  <a:cubicBezTo>
                    <a:pt x="7" y="38"/>
                    <a:pt x="8" y="40"/>
                    <a:pt x="10" y="40"/>
                  </a:cubicBezTo>
                  <a:cubicBezTo>
                    <a:pt x="12" y="40"/>
                    <a:pt x="13" y="39"/>
                    <a:pt x="14" y="38"/>
                  </a:cubicBezTo>
                  <a:cubicBezTo>
                    <a:pt x="14" y="38"/>
                    <a:pt x="15" y="37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7" y="16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9" y="15"/>
                    <a:pt x="46" y="16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6" y="30"/>
                    <a:pt x="53" y="37"/>
                  </a:cubicBezTo>
                  <a:cubicBezTo>
                    <a:pt x="53" y="37"/>
                    <a:pt x="52" y="39"/>
                    <a:pt x="51" y="4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5" y="68"/>
                    <a:pt x="33" y="72"/>
                    <a:pt x="27" y="74"/>
                  </a:cubicBezTo>
                  <a:cubicBezTo>
                    <a:pt x="26" y="74"/>
                    <a:pt x="25" y="74"/>
                    <a:pt x="22" y="74"/>
                  </a:cubicBezTo>
                  <a:cubicBezTo>
                    <a:pt x="20" y="74"/>
                    <a:pt x="18" y="74"/>
                    <a:pt x="17" y="73"/>
                  </a:cubicBezTo>
                  <a:cubicBezTo>
                    <a:pt x="17" y="73"/>
                    <a:pt x="16" y="73"/>
                    <a:pt x="16" y="73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2" y="72"/>
                    <a:pt x="11" y="7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43" name="Group 239"/>
          <p:cNvGrpSpPr>
            <a:grpSpLocks noChangeAspect="1"/>
          </p:cNvGrpSpPr>
          <p:nvPr/>
        </p:nvGrpSpPr>
        <p:grpSpPr bwMode="auto">
          <a:xfrm>
            <a:off x="8050213" y="4100513"/>
            <a:ext cx="792162" cy="793750"/>
            <a:chOff x="5071" y="2583"/>
            <a:chExt cx="499" cy="500"/>
          </a:xfrm>
        </p:grpSpPr>
        <p:sp>
          <p:nvSpPr>
            <p:cNvPr id="47344" name="Freeform 240"/>
            <p:cNvSpPr>
              <a:spLocks noEditPoints="1"/>
            </p:cNvSpPr>
            <p:nvPr/>
          </p:nvSpPr>
          <p:spPr bwMode="auto">
            <a:xfrm>
              <a:off x="5071" y="2583"/>
              <a:ext cx="499" cy="500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9"/>
                    <a:pt x="50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45" name="Freeform 241"/>
            <p:cNvSpPr>
              <a:spLocks noEditPoints="1"/>
            </p:cNvSpPr>
            <p:nvPr/>
          </p:nvSpPr>
          <p:spPr bwMode="auto">
            <a:xfrm>
              <a:off x="5196" y="2780"/>
              <a:ext cx="165" cy="214"/>
            </a:xfrm>
            <a:custGeom>
              <a:avLst/>
              <a:gdLst/>
              <a:ahLst/>
              <a:cxnLst>
                <a:cxn ang="0">
                  <a:pos x="16" y="84"/>
                </a:cxn>
                <a:cxn ang="0">
                  <a:pos x="9" y="78"/>
                </a:cxn>
                <a:cxn ang="0">
                  <a:pos x="4" y="43"/>
                </a:cxn>
                <a:cxn ang="0">
                  <a:pos x="18" y="19"/>
                </a:cxn>
                <a:cxn ang="0">
                  <a:pos x="47" y="0"/>
                </a:cxn>
                <a:cxn ang="0">
                  <a:pos x="66" y="17"/>
                </a:cxn>
                <a:cxn ang="0">
                  <a:pos x="58" y="21"/>
                </a:cxn>
                <a:cxn ang="0">
                  <a:pos x="55" y="20"/>
                </a:cxn>
                <a:cxn ang="0">
                  <a:pos x="47" y="18"/>
                </a:cxn>
                <a:cxn ang="0">
                  <a:pos x="44" y="18"/>
                </a:cxn>
                <a:cxn ang="0">
                  <a:pos x="21" y="50"/>
                </a:cxn>
                <a:cxn ang="0">
                  <a:pos x="21" y="64"/>
                </a:cxn>
                <a:cxn ang="0">
                  <a:pos x="32" y="70"/>
                </a:cxn>
                <a:cxn ang="0">
                  <a:pos x="43" y="65"/>
                </a:cxn>
                <a:cxn ang="0">
                  <a:pos x="53" y="49"/>
                </a:cxn>
                <a:cxn ang="0">
                  <a:pos x="59" y="46"/>
                </a:cxn>
                <a:cxn ang="0">
                  <a:pos x="68" y="59"/>
                </a:cxn>
                <a:cxn ang="0">
                  <a:pos x="58" y="75"/>
                </a:cxn>
                <a:cxn ang="0">
                  <a:pos x="53" y="81"/>
                </a:cxn>
                <a:cxn ang="0">
                  <a:pos x="33" y="89"/>
                </a:cxn>
                <a:cxn ang="0">
                  <a:pos x="18" y="81"/>
                </a:cxn>
                <a:cxn ang="0">
                  <a:pos x="33" y="85"/>
                </a:cxn>
                <a:cxn ang="0">
                  <a:pos x="51" y="78"/>
                </a:cxn>
                <a:cxn ang="0">
                  <a:pos x="65" y="57"/>
                </a:cxn>
                <a:cxn ang="0">
                  <a:pos x="59" y="49"/>
                </a:cxn>
                <a:cxn ang="0">
                  <a:pos x="54" y="53"/>
                </a:cxn>
                <a:cxn ang="0">
                  <a:pos x="46" y="66"/>
                </a:cxn>
                <a:cxn ang="0">
                  <a:pos x="32" y="74"/>
                </a:cxn>
                <a:cxn ang="0">
                  <a:pos x="18" y="66"/>
                </a:cxn>
                <a:cxn ang="0">
                  <a:pos x="18" y="49"/>
                </a:cxn>
                <a:cxn ang="0">
                  <a:pos x="43" y="15"/>
                </a:cxn>
                <a:cxn ang="0">
                  <a:pos x="53" y="16"/>
                </a:cxn>
                <a:cxn ang="0">
                  <a:pos x="56" y="17"/>
                </a:cxn>
                <a:cxn ang="0">
                  <a:pos x="63" y="15"/>
                </a:cxn>
                <a:cxn ang="0">
                  <a:pos x="62" y="7"/>
                </a:cxn>
                <a:cxn ang="0">
                  <a:pos x="44" y="3"/>
                </a:cxn>
                <a:cxn ang="0">
                  <a:pos x="21" y="21"/>
                </a:cxn>
                <a:cxn ang="0">
                  <a:pos x="7" y="45"/>
                </a:cxn>
                <a:cxn ang="0">
                  <a:pos x="5" y="62"/>
                </a:cxn>
              </a:cxnLst>
              <a:rect l="0" t="0" r="r" b="b"/>
              <a:pathLst>
                <a:path w="69" h="89">
                  <a:moveTo>
                    <a:pt x="33" y="89"/>
                  </a:moveTo>
                  <a:cubicBezTo>
                    <a:pt x="24" y="89"/>
                    <a:pt x="17" y="85"/>
                    <a:pt x="16" y="84"/>
                  </a:cubicBezTo>
                  <a:cubicBezTo>
                    <a:pt x="13" y="82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2" y="70"/>
                    <a:pt x="1" y="63"/>
                    <a:pt x="1" y="62"/>
                  </a:cubicBezTo>
                  <a:cubicBezTo>
                    <a:pt x="0" y="5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7" y="1"/>
                    <a:pt x="42" y="0"/>
                    <a:pt x="43" y="0"/>
                  </a:cubicBezTo>
                  <a:cubicBezTo>
                    <a:pt x="45" y="0"/>
                    <a:pt x="46" y="0"/>
                    <a:pt x="47" y="0"/>
                  </a:cubicBezTo>
                  <a:cubicBezTo>
                    <a:pt x="58" y="0"/>
                    <a:pt x="63" y="4"/>
                    <a:pt x="64" y="5"/>
                  </a:cubicBezTo>
                  <a:cubicBezTo>
                    <a:pt x="69" y="9"/>
                    <a:pt x="67" y="14"/>
                    <a:pt x="66" y="17"/>
                  </a:cubicBezTo>
                  <a:cubicBezTo>
                    <a:pt x="64" y="20"/>
                    <a:pt x="61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6" y="21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0" y="18"/>
                    <a:pt x="49" y="18"/>
                    <a:pt x="47" y="18"/>
                  </a:cubicBezTo>
                  <a:cubicBezTo>
                    <a:pt x="45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39" y="20"/>
                    <a:pt x="37" y="23"/>
                    <a:pt x="37" y="23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0" y="52"/>
                    <a:pt x="20" y="53"/>
                    <a:pt x="20" y="53"/>
                  </a:cubicBezTo>
                  <a:cubicBezTo>
                    <a:pt x="18" y="58"/>
                    <a:pt x="21" y="64"/>
                    <a:pt x="21" y="64"/>
                  </a:cubicBezTo>
                  <a:cubicBezTo>
                    <a:pt x="25" y="70"/>
                    <a:pt x="31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3" y="70"/>
                    <a:pt x="33" y="70"/>
                  </a:cubicBezTo>
                  <a:cubicBezTo>
                    <a:pt x="40" y="70"/>
                    <a:pt x="43" y="65"/>
                    <a:pt x="43" y="65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2" y="50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5" y="47"/>
                    <a:pt x="57" y="46"/>
                    <a:pt x="59" y="46"/>
                  </a:cubicBezTo>
                  <a:cubicBezTo>
                    <a:pt x="62" y="46"/>
                    <a:pt x="64" y="48"/>
                    <a:pt x="65" y="48"/>
                  </a:cubicBezTo>
                  <a:cubicBezTo>
                    <a:pt x="69" y="52"/>
                    <a:pt x="69" y="57"/>
                    <a:pt x="68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6" y="78"/>
                    <a:pt x="53" y="81"/>
                    <a:pt x="53" y="81"/>
                  </a:cubicBezTo>
                  <a:cubicBezTo>
                    <a:pt x="46" y="87"/>
                    <a:pt x="37" y="88"/>
                    <a:pt x="36" y="88"/>
                  </a:cubicBezTo>
                  <a:cubicBezTo>
                    <a:pt x="35" y="89"/>
                    <a:pt x="34" y="89"/>
                    <a:pt x="33" y="89"/>
                  </a:cubicBezTo>
                  <a:close/>
                  <a:moveTo>
                    <a:pt x="11" y="76"/>
                  </a:moveTo>
                  <a:cubicBezTo>
                    <a:pt x="12" y="76"/>
                    <a:pt x="15" y="80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24" y="85"/>
                    <a:pt x="33" y="85"/>
                  </a:cubicBezTo>
                  <a:cubicBezTo>
                    <a:pt x="34" y="85"/>
                    <a:pt x="35" y="85"/>
                    <a:pt x="36" y="85"/>
                  </a:cubicBezTo>
                  <a:cubicBezTo>
                    <a:pt x="36" y="85"/>
                    <a:pt x="45" y="84"/>
                    <a:pt x="51" y="78"/>
                  </a:cubicBezTo>
                  <a:cubicBezTo>
                    <a:pt x="51" y="78"/>
                    <a:pt x="54" y="76"/>
                    <a:pt x="55" y="73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6" y="53"/>
                    <a:pt x="63" y="51"/>
                  </a:cubicBezTo>
                  <a:cubicBezTo>
                    <a:pt x="62" y="51"/>
                    <a:pt x="61" y="49"/>
                    <a:pt x="59" y="49"/>
                  </a:cubicBezTo>
                  <a:cubicBezTo>
                    <a:pt x="58" y="49"/>
                    <a:pt x="57" y="50"/>
                    <a:pt x="55" y="51"/>
                  </a:cubicBezTo>
                  <a:cubicBezTo>
                    <a:pt x="55" y="51"/>
                    <a:pt x="54" y="52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7"/>
                    <a:pt x="42" y="73"/>
                    <a:pt x="33" y="74"/>
                  </a:cubicBezTo>
                  <a:cubicBezTo>
                    <a:pt x="33" y="74"/>
                    <a:pt x="32" y="74"/>
                    <a:pt x="32" y="74"/>
                  </a:cubicBezTo>
                  <a:cubicBezTo>
                    <a:pt x="30" y="74"/>
                    <a:pt x="24" y="73"/>
                    <a:pt x="18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6"/>
                    <a:pt x="14" y="59"/>
                    <a:pt x="17" y="52"/>
                  </a:cubicBezTo>
                  <a:cubicBezTo>
                    <a:pt x="17" y="52"/>
                    <a:pt x="17" y="50"/>
                    <a:pt x="18" y="49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7" y="17"/>
                    <a:pt x="43" y="15"/>
                  </a:cubicBezTo>
                  <a:cubicBezTo>
                    <a:pt x="43" y="15"/>
                    <a:pt x="45" y="15"/>
                    <a:pt x="47" y="15"/>
                  </a:cubicBezTo>
                  <a:cubicBezTo>
                    <a:pt x="49" y="15"/>
                    <a:pt x="51" y="15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7" y="17"/>
                    <a:pt x="58" y="17"/>
                  </a:cubicBezTo>
                  <a:cubicBezTo>
                    <a:pt x="60" y="17"/>
                    <a:pt x="62" y="17"/>
                    <a:pt x="63" y="15"/>
                  </a:cubicBezTo>
                  <a:cubicBezTo>
                    <a:pt x="63" y="14"/>
                    <a:pt x="66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57" y="3"/>
                    <a:pt x="47" y="3"/>
                  </a:cubicBezTo>
                  <a:cubicBezTo>
                    <a:pt x="46" y="3"/>
                    <a:pt x="45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3" y="3"/>
                    <a:pt x="29" y="4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3" y="53"/>
                    <a:pt x="5" y="62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62"/>
                    <a:pt x="5" y="68"/>
                    <a:pt x="11" y="7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46" name="Freeform 242"/>
            <p:cNvSpPr>
              <a:spLocks noEditPoints="1"/>
            </p:cNvSpPr>
            <p:nvPr/>
          </p:nvSpPr>
          <p:spPr bwMode="auto">
            <a:xfrm>
              <a:off x="5282" y="2670"/>
              <a:ext cx="168" cy="213"/>
            </a:xfrm>
            <a:custGeom>
              <a:avLst/>
              <a:gdLst/>
              <a:ahLst/>
              <a:cxnLst>
                <a:cxn ang="0">
                  <a:pos x="6" y="84"/>
                </a:cxn>
                <a:cxn ang="0">
                  <a:pos x="11" y="68"/>
                </a:cxn>
                <a:cxn ang="0">
                  <a:pos x="15" y="69"/>
                </a:cxn>
                <a:cxn ang="0">
                  <a:pos x="22" y="71"/>
                </a:cxn>
                <a:cxn ang="0">
                  <a:pos x="26" y="71"/>
                </a:cxn>
                <a:cxn ang="0">
                  <a:pos x="48" y="39"/>
                </a:cxn>
                <a:cxn ang="0">
                  <a:pos x="48" y="25"/>
                </a:cxn>
                <a:cxn ang="0">
                  <a:pos x="37" y="19"/>
                </a:cxn>
                <a:cxn ang="0">
                  <a:pos x="26" y="24"/>
                </a:cxn>
                <a:cxn ang="0">
                  <a:pos x="16" y="40"/>
                </a:cxn>
                <a:cxn ang="0">
                  <a:pos x="10" y="43"/>
                </a:cxn>
                <a:cxn ang="0">
                  <a:pos x="2" y="30"/>
                </a:cxn>
                <a:cxn ang="0">
                  <a:pos x="11" y="14"/>
                </a:cxn>
                <a:cxn ang="0">
                  <a:pos x="16" y="8"/>
                </a:cxn>
                <a:cxn ang="0">
                  <a:pos x="37" y="0"/>
                </a:cxn>
                <a:cxn ang="0">
                  <a:pos x="61" y="11"/>
                </a:cxn>
                <a:cxn ang="0">
                  <a:pos x="68" y="27"/>
                </a:cxn>
                <a:cxn ang="0">
                  <a:pos x="65" y="46"/>
                </a:cxn>
                <a:cxn ang="0">
                  <a:pos x="26" y="89"/>
                </a:cxn>
                <a:cxn ang="0">
                  <a:pos x="11" y="72"/>
                </a:cxn>
                <a:cxn ang="0">
                  <a:pos x="8" y="82"/>
                </a:cxn>
                <a:cxn ang="0">
                  <a:pos x="22" y="86"/>
                </a:cxn>
                <a:cxn ang="0">
                  <a:pos x="26" y="86"/>
                </a:cxn>
                <a:cxn ang="0">
                  <a:pos x="49" y="68"/>
                </a:cxn>
                <a:cxn ang="0">
                  <a:pos x="65" y="28"/>
                </a:cxn>
                <a:cxn ang="0">
                  <a:pos x="58" y="13"/>
                </a:cxn>
                <a:cxn ang="0">
                  <a:pos x="52" y="8"/>
                </a:cxn>
                <a:cxn ang="0">
                  <a:pos x="34" y="4"/>
                </a:cxn>
                <a:cxn ang="0">
                  <a:pos x="14" y="16"/>
                </a:cxn>
                <a:cxn ang="0">
                  <a:pos x="7" y="38"/>
                </a:cxn>
                <a:cxn ang="0">
                  <a:pos x="14" y="38"/>
                </a:cxn>
                <a:cxn ang="0">
                  <a:pos x="16" y="36"/>
                </a:cxn>
                <a:cxn ang="0">
                  <a:pos x="37" y="15"/>
                </a:cxn>
                <a:cxn ang="0">
                  <a:pos x="51" y="23"/>
                </a:cxn>
                <a:cxn ang="0">
                  <a:pos x="53" y="37"/>
                </a:cxn>
                <a:cxn ang="0">
                  <a:pos x="36" y="68"/>
                </a:cxn>
                <a:cxn ang="0">
                  <a:pos x="22" y="74"/>
                </a:cxn>
                <a:cxn ang="0">
                  <a:pos x="16" y="73"/>
                </a:cxn>
                <a:cxn ang="0">
                  <a:pos x="11" y="72"/>
                </a:cxn>
              </a:cxnLst>
              <a:rect l="0" t="0" r="r" b="b"/>
              <a:pathLst>
                <a:path w="70" h="89">
                  <a:moveTo>
                    <a:pt x="22" y="89"/>
                  </a:moveTo>
                  <a:cubicBezTo>
                    <a:pt x="11" y="89"/>
                    <a:pt x="6" y="85"/>
                    <a:pt x="6" y="84"/>
                  </a:cubicBezTo>
                  <a:cubicBezTo>
                    <a:pt x="1" y="80"/>
                    <a:pt x="2" y="75"/>
                    <a:pt x="4" y="72"/>
                  </a:cubicBezTo>
                  <a:cubicBezTo>
                    <a:pt x="6" y="69"/>
                    <a:pt x="9" y="68"/>
                    <a:pt x="11" y="68"/>
                  </a:cubicBezTo>
                  <a:cubicBezTo>
                    <a:pt x="13" y="68"/>
                    <a:pt x="14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9" y="71"/>
                    <a:pt x="21" y="71"/>
                    <a:pt x="22" y="71"/>
                  </a:cubicBezTo>
                  <a:cubicBezTo>
                    <a:pt x="24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31" y="69"/>
                    <a:pt x="33" y="66"/>
                    <a:pt x="33" y="66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2" y="31"/>
                    <a:pt x="49" y="25"/>
                    <a:pt x="48" y="25"/>
                  </a:cubicBezTo>
                  <a:cubicBezTo>
                    <a:pt x="44" y="19"/>
                    <a:pt x="39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29" y="19"/>
                    <a:pt x="26" y="24"/>
                    <a:pt x="26" y="24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9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4" y="42"/>
                    <a:pt x="12" y="43"/>
                    <a:pt x="10" y="43"/>
                  </a:cubicBezTo>
                  <a:cubicBezTo>
                    <a:pt x="7" y="43"/>
                    <a:pt x="5" y="41"/>
                    <a:pt x="5" y="41"/>
                  </a:cubicBezTo>
                  <a:cubicBezTo>
                    <a:pt x="0" y="37"/>
                    <a:pt x="1" y="32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1"/>
                    <a:pt x="16" y="8"/>
                    <a:pt x="16" y="8"/>
                  </a:cubicBezTo>
                  <a:cubicBezTo>
                    <a:pt x="23" y="2"/>
                    <a:pt x="33" y="1"/>
                    <a:pt x="33" y="1"/>
                  </a:cubicBezTo>
                  <a:cubicBezTo>
                    <a:pt x="34" y="0"/>
                    <a:pt x="35" y="0"/>
                    <a:pt x="37" y="0"/>
                  </a:cubicBezTo>
                  <a:cubicBezTo>
                    <a:pt x="46" y="0"/>
                    <a:pt x="53" y="5"/>
                    <a:pt x="53" y="5"/>
                  </a:cubicBezTo>
                  <a:cubicBezTo>
                    <a:pt x="57" y="7"/>
                    <a:pt x="61" y="11"/>
                    <a:pt x="61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7" y="19"/>
                    <a:pt x="68" y="26"/>
                    <a:pt x="68" y="27"/>
                  </a:cubicBezTo>
                  <a:cubicBezTo>
                    <a:pt x="70" y="37"/>
                    <a:pt x="66" y="45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43" y="88"/>
                    <a:pt x="27" y="89"/>
                    <a:pt x="26" y="89"/>
                  </a:cubicBezTo>
                  <a:cubicBezTo>
                    <a:pt x="25" y="89"/>
                    <a:pt x="24" y="89"/>
                    <a:pt x="22" y="89"/>
                  </a:cubicBezTo>
                  <a:close/>
                  <a:moveTo>
                    <a:pt x="11" y="72"/>
                  </a:moveTo>
                  <a:cubicBezTo>
                    <a:pt x="9" y="72"/>
                    <a:pt x="8" y="72"/>
                    <a:pt x="6" y="74"/>
                  </a:cubicBezTo>
                  <a:cubicBezTo>
                    <a:pt x="6" y="75"/>
                    <a:pt x="4" y="78"/>
                    <a:pt x="8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2"/>
                    <a:pt x="13" y="86"/>
                    <a:pt x="22" y="86"/>
                  </a:cubicBezTo>
                  <a:cubicBezTo>
                    <a:pt x="24" y="86"/>
                    <a:pt x="25" y="86"/>
                    <a:pt x="26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7" y="86"/>
                    <a:pt x="40" y="85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6" y="36"/>
                    <a:pt x="65" y="28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5" y="27"/>
                    <a:pt x="64" y="21"/>
                    <a:pt x="58" y="13"/>
                  </a:cubicBezTo>
                  <a:cubicBezTo>
                    <a:pt x="58" y="13"/>
                    <a:pt x="54" y="9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45" y="4"/>
                    <a:pt x="37" y="4"/>
                  </a:cubicBezTo>
                  <a:cubicBezTo>
                    <a:pt x="36" y="4"/>
                    <a:pt x="35" y="4"/>
                    <a:pt x="34" y="4"/>
                  </a:cubicBezTo>
                  <a:cubicBezTo>
                    <a:pt x="33" y="4"/>
                    <a:pt x="25" y="5"/>
                    <a:pt x="18" y="11"/>
                  </a:cubicBezTo>
                  <a:cubicBezTo>
                    <a:pt x="18" y="11"/>
                    <a:pt x="16" y="13"/>
                    <a:pt x="14" y="16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3" y="36"/>
                    <a:pt x="7" y="38"/>
                  </a:cubicBezTo>
                  <a:cubicBezTo>
                    <a:pt x="7" y="38"/>
                    <a:pt x="8" y="40"/>
                    <a:pt x="10" y="40"/>
                  </a:cubicBezTo>
                  <a:cubicBezTo>
                    <a:pt x="12" y="40"/>
                    <a:pt x="13" y="39"/>
                    <a:pt x="14" y="38"/>
                  </a:cubicBezTo>
                  <a:cubicBezTo>
                    <a:pt x="14" y="38"/>
                    <a:pt x="15" y="37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7" y="16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9" y="15"/>
                    <a:pt x="46" y="16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6" y="30"/>
                    <a:pt x="53" y="37"/>
                  </a:cubicBezTo>
                  <a:cubicBezTo>
                    <a:pt x="53" y="37"/>
                    <a:pt x="52" y="39"/>
                    <a:pt x="51" y="4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5" y="68"/>
                    <a:pt x="33" y="72"/>
                    <a:pt x="27" y="74"/>
                  </a:cubicBezTo>
                  <a:cubicBezTo>
                    <a:pt x="26" y="74"/>
                    <a:pt x="25" y="74"/>
                    <a:pt x="22" y="74"/>
                  </a:cubicBezTo>
                  <a:cubicBezTo>
                    <a:pt x="20" y="74"/>
                    <a:pt x="18" y="74"/>
                    <a:pt x="17" y="73"/>
                  </a:cubicBezTo>
                  <a:cubicBezTo>
                    <a:pt x="17" y="73"/>
                    <a:pt x="16" y="73"/>
                    <a:pt x="16" y="73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13" y="72"/>
                    <a:pt x="12" y="72"/>
                    <a:pt x="11" y="7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49" name="Group 245"/>
          <p:cNvGrpSpPr>
            <a:grpSpLocks noChangeAspect="1"/>
          </p:cNvGrpSpPr>
          <p:nvPr/>
        </p:nvGrpSpPr>
        <p:grpSpPr bwMode="auto">
          <a:xfrm>
            <a:off x="338138" y="5401600"/>
            <a:ext cx="852487" cy="852488"/>
            <a:chOff x="213" y="3388"/>
            <a:chExt cx="537" cy="537"/>
          </a:xfrm>
        </p:grpSpPr>
        <p:sp>
          <p:nvSpPr>
            <p:cNvPr id="47350" name="Oval 246"/>
            <p:cNvSpPr>
              <a:spLocks noChangeArrowheads="1"/>
            </p:cNvSpPr>
            <p:nvPr/>
          </p:nvSpPr>
          <p:spPr bwMode="auto">
            <a:xfrm>
              <a:off x="213" y="3388"/>
              <a:ext cx="537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51" name="Freeform 247"/>
            <p:cNvSpPr>
              <a:spLocks noEditPoints="1"/>
            </p:cNvSpPr>
            <p:nvPr/>
          </p:nvSpPr>
          <p:spPr bwMode="auto">
            <a:xfrm>
              <a:off x="232" y="3410"/>
              <a:ext cx="498" cy="496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50" y="5"/>
                    <a:pt x="5" y="49"/>
                    <a:pt x="5" y="104"/>
                  </a:cubicBezTo>
                  <a:cubicBezTo>
                    <a:pt x="5" y="158"/>
                    <a:pt x="50" y="202"/>
                    <a:pt x="104" y="202"/>
                  </a:cubicBezTo>
                  <a:cubicBezTo>
                    <a:pt x="158" y="202"/>
                    <a:pt x="203" y="158"/>
                    <a:pt x="203" y="104"/>
                  </a:cubicBezTo>
                  <a:cubicBezTo>
                    <a:pt x="203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52" name="Freeform 248"/>
            <p:cNvSpPr>
              <a:spLocks noEditPoints="1"/>
            </p:cNvSpPr>
            <p:nvPr/>
          </p:nvSpPr>
          <p:spPr bwMode="auto">
            <a:xfrm>
              <a:off x="316" y="3573"/>
              <a:ext cx="326" cy="184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1" y="9"/>
                </a:cxn>
                <a:cxn ang="0">
                  <a:pos x="5" y="22"/>
                </a:cxn>
                <a:cxn ang="0">
                  <a:pos x="1" y="58"/>
                </a:cxn>
                <a:cxn ang="0">
                  <a:pos x="9" y="72"/>
                </a:cxn>
                <a:cxn ang="0">
                  <a:pos x="35" y="70"/>
                </a:cxn>
                <a:cxn ang="0">
                  <a:pos x="42" y="75"/>
                </a:cxn>
                <a:cxn ang="0">
                  <a:pos x="57" y="76"/>
                </a:cxn>
                <a:cxn ang="0">
                  <a:pos x="66" y="73"/>
                </a:cxn>
                <a:cxn ang="0">
                  <a:pos x="74" y="77"/>
                </a:cxn>
                <a:cxn ang="0">
                  <a:pos x="83" y="74"/>
                </a:cxn>
                <a:cxn ang="0">
                  <a:pos x="100" y="58"/>
                </a:cxn>
                <a:cxn ang="0">
                  <a:pos x="136" y="49"/>
                </a:cxn>
                <a:cxn ang="0">
                  <a:pos x="128" y="0"/>
                </a:cxn>
                <a:cxn ang="0">
                  <a:pos x="45" y="13"/>
                </a:cxn>
                <a:cxn ang="0">
                  <a:pos x="132" y="19"/>
                </a:cxn>
                <a:cxn ang="0">
                  <a:pos x="45" y="14"/>
                </a:cxn>
                <a:cxn ang="0">
                  <a:pos x="128" y="3"/>
                </a:cxn>
                <a:cxn ang="0">
                  <a:pos x="132" y="9"/>
                </a:cxn>
                <a:cxn ang="0">
                  <a:pos x="45" y="8"/>
                </a:cxn>
                <a:cxn ang="0">
                  <a:pos x="24" y="69"/>
                </a:cxn>
                <a:cxn ang="0">
                  <a:pos x="4" y="58"/>
                </a:cxn>
                <a:cxn ang="0">
                  <a:pos x="4" y="30"/>
                </a:cxn>
                <a:cxn ang="0">
                  <a:pos x="7" y="26"/>
                </a:cxn>
                <a:cxn ang="0">
                  <a:pos x="41" y="14"/>
                </a:cxn>
                <a:cxn ang="0">
                  <a:pos x="41" y="21"/>
                </a:cxn>
                <a:cxn ang="0">
                  <a:pos x="41" y="41"/>
                </a:cxn>
                <a:cxn ang="0">
                  <a:pos x="44" y="43"/>
                </a:cxn>
                <a:cxn ang="0">
                  <a:pos x="62" y="33"/>
                </a:cxn>
                <a:cxn ang="0">
                  <a:pos x="68" y="35"/>
                </a:cxn>
                <a:cxn ang="0">
                  <a:pos x="54" y="48"/>
                </a:cxn>
                <a:cxn ang="0">
                  <a:pos x="44" y="54"/>
                </a:cxn>
                <a:cxn ang="0">
                  <a:pos x="43" y="55"/>
                </a:cxn>
                <a:cxn ang="0">
                  <a:pos x="43" y="56"/>
                </a:cxn>
                <a:cxn ang="0">
                  <a:pos x="43" y="56"/>
                </a:cxn>
                <a:cxn ang="0">
                  <a:pos x="35" y="66"/>
                </a:cxn>
                <a:cxn ang="0">
                  <a:pos x="35" y="66"/>
                </a:cxn>
                <a:cxn ang="0">
                  <a:pos x="41" y="71"/>
                </a:cxn>
                <a:cxn ang="0">
                  <a:pos x="46" y="58"/>
                </a:cxn>
                <a:cxn ang="0">
                  <a:pos x="49" y="68"/>
                </a:cxn>
                <a:cxn ang="0">
                  <a:pos x="41" y="71"/>
                </a:cxn>
                <a:cxn ang="0">
                  <a:pos x="50" y="71"/>
                </a:cxn>
                <a:cxn ang="0">
                  <a:pos x="58" y="73"/>
                </a:cxn>
                <a:cxn ang="0">
                  <a:pos x="64" y="58"/>
                </a:cxn>
                <a:cxn ang="0">
                  <a:pos x="64" y="70"/>
                </a:cxn>
                <a:cxn ang="0">
                  <a:pos x="64" y="70"/>
                </a:cxn>
                <a:cxn ang="0">
                  <a:pos x="80" y="71"/>
                </a:cxn>
                <a:cxn ang="0">
                  <a:pos x="80" y="71"/>
                </a:cxn>
                <a:cxn ang="0">
                  <a:pos x="70" y="69"/>
                </a:cxn>
                <a:cxn ang="0">
                  <a:pos x="82" y="58"/>
                </a:cxn>
                <a:cxn ang="0">
                  <a:pos x="80" y="71"/>
                </a:cxn>
                <a:cxn ang="0">
                  <a:pos x="51" y="54"/>
                </a:cxn>
                <a:cxn ang="0">
                  <a:pos x="69" y="43"/>
                </a:cxn>
                <a:cxn ang="0">
                  <a:pos x="72" y="34"/>
                </a:cxn>
                <a:cxn ang="0">
                  <a:pos x="60" y="30"/>
                </a:cxn>
                <a:cxn ang="0">
                  <a:pos x="45" y="23"/>
                </a:cxn>
                <a:cxn ang="0">
                  <a:pos x="132" y="49"/>
                </a:cxn>
              </a:cxnLst>
              <a:rect l="0" t="0" r="r" b="b"/>
              <a:pathLst>
                <a:path w="136" h="77">
                  <a:moveTo>
                    <a:pt x="128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5" y="0"/>
                    <a:pt x="41" y="3"/>
                    <a:pt x="41" y="8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3"/>
                    <a:pt x="0" y="26"/>
                    <a:pt x="1" y="30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72"/>
                    <a:pt x="9" y="72"/>
                    <a:pt x="9" y="7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9" y="72"/>
                    <a:pt x="33" y="71"/>
                    <a:pt x="35" y="70"/>
                  </a:cubicBezTo>
                  <a:cubicBezTo>
                    <a:pt x="36" y="73"/>
                    <a:pt x="38" y="74"/>
                    <a:pt x="40" y="75"/>
                  </a:cubicBezTo>
                  <a:cubicBezTo>
                    <a:pt x="41" y="75"/>
                    <a:pt x="41" y="75"/>
                    <a:pt x="42" y="75"/>
                  </a:cubicBezTo>
                  <a:cubicBezTo>
                    <a:pt x="44" y="75"/>
                    <a:pt x="47" y="73"/>
                    <a:pt x="50" y="71"/>
                  </a:cubicBezTo>
                  <a:cubicBezTo>
                    <a:pt x="52" y="74"/>
                    <a:pt x="54" y="76"/>
                    <a:pt x="57" y="76"/>
                  </a:cubicBezTo>
                  <a:cubicBezTo>
                    <a:pt x="57" y="76"/>
                    <a:pt x="58" y="76"/>
                    <a:pt x="58" y="76"/>
                  </a:cubicBezTo>
                  <a:cubicBezTo>
                    <a:pt x="62" y="76"/>
                    <a:pt x="66" y="73"/>
                    <a:pt x="66" y="73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9" y="75"/>
                    <a:pt x="71" y="76"/>
                    <a:pt x="74" y="77"/>
                  </a:cubicBezTo>
                  <a:cubicBezTo>
                    <a:pt x="74" y="77"/>
                    <a:pt x="75" y="77"/>
                    <a:pt x="75" y="77"/>
                  </a:cubicBezTo>
                  <a:cubicBezTo>
                    <a:pt x="79" y="77"/>
                    <a:pt x="83" y="74"/>
                    <a:pt x="83" y="74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2" y="58"/>
                    <a:pt x="136" y="54"/>
                    <a:pt x="136" y="49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6" y="4"/>
                    <a:pt x="132" y="0"/>
                    <a:pt x="128" y="0"/>
                  </a:cubicBezTo>
                  <a:close/>
                  <a:moveTo>
                    <a:pt x="45" y="14"/>
                  </a:moveTo>
                  <a:cubicBezTo>
                    <a:pt x="45" y="13"/>
                    <a:pt x="45" y="13"/>
                    <a:pt x="45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45" y="19"/>
                    <a:pt x="45" y="19"/>
                    <a:pt x="45" y="19"/>
                  </a:cubicBezTo>
                  <a:lnTo>
                    <a:pt x="45" y="14"/>
                  </a:lnTo>
                  <a:close/>
                  <a:moveTo>
                    <a:pt x="50" y="3"/>
                  </a:moveTo>
                  <a:cubicBezTo>
                    <a:pt x="128" y="3"/>
                    <a:pt x="128" y="3"/>
                    <a:pt x="128" y="3"/>
                  </a:cubicBezTo>
                  <a:cubicBezTo>
                    <a:pt x="130" y="3"/>
                    <a:pt x="132" y="5"/>
                    <a:pt x="132" y="8"/>
                  </a:cubicBezTo>
                  <a:cubicBezTo>
                    <a:pt x="132" y="9"/>
                    <a:pt x="132" y="9"/>
                    <a:pt x="132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5"/>
                    <a:pt x="47" y="3"/>
                    <a:pt x="50" y="3"/>
                  </a:cubicBezTo>
                  <a:close/>
                  <a:moveTo>
                    <a:pt x="24" y="69"/>
                  </a:moveTo>
                  <a:cubicBezTo>
                    <a:pt x="9" y="69"/>
                    <a:pt x="9" y="69"/>
                    <a:pt x="9" y="69"/>
                  </a:cubicBezTo>
                  <a:cubicBezTo>
                    <a:pt x="9" y="69"/>
                    <a:pt x="4" y="6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28"/>
                    <a:pt x="6" y="26"/>
                    <a:pt x="7" y="26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2"/>
                    <a:pt x="41" y="42"/>
                    <a:pt x="42" y="43"/>
                  </a:cubicBezTo>
                  <a:cubicBezTo>
                    <a:pt x="43" y="43"/>
                    <a:pt x="43" y="43"/>
                    <a:pt x="44" y="43"/>
                  </a:cubicBezTo>
                  <a:cubicBezTo>
                    <a:pt x="44" y="43"/>
                    <a:pt x="57" y="35"/>
                    <a:pt x="61" y="34"/>
                  </a:cubicBezTo>
                  <a:cubicBezTo>
                    <a:pt x="61" y="33"/>
                    <a:pt x="61" y="33"/>
                    <a:pt x="62" y="33"/>
                  </a:cubicBezTo>
                  <a:cubicBezTo>
                    <a:pt x="62" y="33"/>
                    <a:pt x="64" y="32"/>
                    <a:pt x="66" y="33"/>
                  </a:cubicBezTo>
                  <a:cubicBezTo>
                    <a:pt x="67" y="33"/>
                    <a:pt x="68" y="34"/>
                    <a:pt x="68" y="35"/>
                  </a:cubicBezTo>
                  <a:cubicBezTo>
                    <a:pt x="68" y="36"/>
                    <a:pt x="70" y="38"/>
                    <a:pt x="67" y="40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2" y="61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2" y="69"/>
                    <a:pt x="24" y="69"/>
                  </a:cubicBezTo>
                  <a:close/>
                  <a:moveTo>
                    <a:pt x="41" y="71"/>
                  </a:moveTo>
                  <a:cubicBezTo>
                    <a:pt x="40" y="71"/>
                    <a:pt x="39" y="70"/>
                    <a:pt x="38" y="68"/>
                  </a:cubicBezTo>
                  <a:cubicBezTo>
                    <a:pt x="40" y="67"/>
                    <a:pt x="44" y="63"/>
                    <a:pt x="46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8" y="68"/>
                  </a:cubicBezTo>
                  <a:cubicBezTo>
                    <a:pt x="46" y="70"/>
                    <a:pt x="43" y="71"/>
                    <a:pt x="41" y="71"/>
                  </a:cubicBezTo>
                  <a:close/>
                  <a:moveTo>
                    <a:pt x="50" y="71"/>
                  </a:move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lose/>
                  <a:moveTo>
                    <a:pt x="58" y="73"/>
                  </a:moveTo>
                  <a:cubicBezTo>
                    <a:pt x="56" y="72"/>
                    <a:pt x="54" y="71"/>
                    <a:pt x="53" y="6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3" y="71"/>
                    <a:pt x="60" y="73"/>
                    <a:pt x="58" y="73"/>
                  </a:cubicBezTo>
                  <a:close/>
                  <a:moveTo>
                    <a:pt x="80" y="71"/>
                  </a:move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2"/>
                    <a:pt x="77" y="74"/>
                    <a:pt x="74" y="73"/>
                  </a:cubicBezTo>
                  <a:cubicBezTo>
                    <a:pt x="73" y="73"/>
                    <a:pt x="71" y="72"/>
                    <a:pt x="70" y="69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95" y="58"/>
                    <a:pt x="95" y="58"/>
                    <a:pt x="95" y="58"/>
                  </a:cubicBezTo>
                  <a:lnTo>
                    <a:pt x="80" y="71"/>
                  </a:lnTo>
                  <a:close/>
                  <a:moveTo>
                    <a:pt x="127" y="54"/>
                  </a:moveTo>
                  <a:cubicBezTo>
                    <a:pt x="51" y="54"/>
                    <a:pt x="51" y="54"/>
                    <a:pt x="51" y="5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73" y="40"/>
                    <a:pt x="72" y="35"/>
                    <a:pt x="72" y="34"/>
                  </a:cubicBezTo>
                  <a:cubicBezTo>
                    <a:pt x="70" y="32"/>
                    <a:pt x="69" y="30"/>
                    <a:pt x="67" y="29"/>
                  </a:cubicBezTo>
                  <a:cubicBezTo>
                    <a:pt x="63" y="28"/>
                    <a:pt x="60" y="30"/>
                    <a:pt x="60" y="30"/>
                  </a:cubicBezTo>
                  <a:cubicBezTo>
                    <a:pt x="57" y="32"/>
                    <a:pt x="49" y="36"/>
                    <a:pt x="45" y="38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32" y="52"/>
                    <a:pt x="130" y="54"/>
                    <a:pt x="127" y="5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55" name="Group 251"/>
          <p:cNvGrpSpPr>
            <a:grpSpLocks noChangeAspect="1"/>
          </p:cNvGrpSpPr>
          <p:nvPr/>
        </p:nvGrpSpPr>
        <p:grpSpPr bwMode="auto">
          <a:xfrm>
            <a:off x="1471613" y="5430175"/>
            <a:ext cx="792163" cy="792163"/>
            <a:chOff x="930" y="3406"/>
            <a:chExt cx="499" cy="499"/>
          </a:xfrm>
        </p:grpSpPr>
        <p:sp>
          <p:nvSpPr>
            <p:cNvPr id="47356" name="Freeform 252"/>
            <p:cNvSpPr>
              <a:spLocks noEditPoints="1"/>
            </p:cNvSpPr>
            <p:nvPr/>
          </p:nvSpPr>
          <p:spPr bwMode="auto">
            <a:xfrm>
              <a:off x="930" y="3406"/>
              <a:ext cx="499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9"/>
                    <a:pt x="50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57" name="Freeform 253"/>
            <p:cNvSpPr>
              <a:spLocks noEditPoints="1"/>
            </p:cNvSpPr>
            <p:nvPr/>
          </p:nvSpPr>
          <p:spPr bwMode="auto">
            <a:xfrm>
              <a:off x="1014" y="3569"/>
              <a:ext cx="324" cy="187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0" y="9"/>
                </a:cxn>
                <a:cxn ang="0">
                  <a:pos x="5" y="23"/>
                </a:cxn>
                <a:cxn ang="0">
                  <a:pos x="0" y="58"/>
                </a:cxn>
                <a:cxn ang="0">
                  <a:pos x="9" y="73"/>
                </a:cxn>
                <a:cxn ang="0">
                  <a:pos x="34" y="71"/>
                </a:cxn>
                <a:cxn ang="0">
                  <a:pos x="41" y="75"/>
                </a:cxn>
                <a:cxn ang="0">
                  <a:pos x="56" y="77"/>
                </a:cxn>
                <a:cxn ang="0">
                  <a:pos x="66" y="73"/>
                </a:cxn>
                <a:cxn ang="0">
                  <a:pos x="73" y="77"/>
                </a:cxn>
                <a:cxn ang="0">
                  <a:pos x="82" y="74"/>
                </a:cxn>
                <a:cxn ang="0">
                  <a:pos x="99" y="58"/>
                </a:cxn>
                <a:cxn ang="0">
                  <a:pos x="135" y="50"/>
                </a:cxn>
                <a:cxn ang="0">
                  <a:pos x="127" y="0"/>
                </a:cxn>
                <a:cxn ang="0">
                  <a:pos x="44" y="13"/>
                </a:cxn>
                <a:cxn ang="0">
                  <a:pos x="132" y="19"/>
                </a:cxn>
                <a:cxn ang="0">
                  <a:pos x="44" y="15"/>
                </a:cxn>
                <a:cxn ang="0">
                  <a:pos x="127" y="4"/>
                </a:cxn>
                <a:cxn ang="0">
                  <a:pos x="132" y="10"/>
                </a:cxn>
                <a:cxn ang="0">
                  <a:pos x="44" y="9"/>
                </a:cxn>
                <a:cxn ang="0">
                  <a:pos x="23" y="69"/>
                </a:cxn>
                <a:cxn ang="0">
                  <a:pos x="4" y="58"/>
                </a:cxn>
                <a:cxn ang="0">
                  <a:pos x="4" y="31"/>
                </a:cxn>
                <a:cxn ang="0">
                  <a:pos x="7" y="26"/>
                </a:cxn>
                <a:cxn ang="0">
                  <a:pos x="40" y="15"/>
                </a:cxn>
                <a:cxn ang="0">
                  <a:pos x="40" y="21"/>
                </a:cxn>
                <a:cxn ang="0">
                  <a:pos x="41" y="41"/>
                </a:cxn>
                <a:cxn ang="0">
                  <a:pos x="43" y="43"/>
                </a:cxn>
                <a:cxn ang="0">
                  <a:pos x="61" y="34"/>
                </a:cxn>
                <a:cxn ang="0">
                  <a:pos x="68" y="36"/>
                </a:cxn>
                <a:cxn ang="0">
                  <a:pos x="53" y="48"/>
                </a:cxn>
                <a:cxn ang="0">
                  <a:pos x="43" y="55"/>
                </a:cxn>
                <a:cxn ang="0">
                  <a:pos x="42" y="56"/>
                </a:cxn>
                <a:cxn ang="0">
                  <a:pos x="42" y="56"/>
                </a:cxn>
                <a:cxn ang="0">
                  <a:pos x="42" y="56"/>
                </a:cxn>
                <a:cxn ang="0">
                  <a:pos x="34" y="67"/>
                </a:cxn>
                <a:cxn ang="0">
                  <a:pos x="34" y="67"/>
                </a:cxn>
                <a:cxn ang="0">
                  <a:pos x="40" y="71"/>
                </a:cxn>
                <a:cxn ang="0">
                  <a:pos x="46" y="58"/>
                </a:cxn>
                <a:cxn ang="0">
                  <a:pos x="48" y="68"/>
                </a:cxn>
                <a:cxn ang="0">
                  <a:pos x="40" y="71"/>
                </a:cxn>
                <a:cxn ang="0">
                  <a:pos x="49" y="71"/>
                </a:cxn>
                <a:cxn ang="0">
                  <a:pos x="57" y="73"/>
                </a:cxn>
                <a:cxn ang="0">
                  <a:pos x="64" y="58"/>
                </a:cxn>
                <a:cxn ang="0">
                  <a:pos x="63" y="71"/>
                </a:cxn>
                <a:cxn ang="0">
                  <a:pos x="63" y="71"/>
                </a:cxn>
                <a:cxn ang="0">
                  <a:pos x="80" y="71"/>
                </a:cxn>
                <a:cxn ang="0">
                  <a:pos x="80" y="71"/>
                </a:cxn>
                <a:cxn ang="0">
                  <a:pos x="70" y="70"/>
                </a:cxn>
                <a:cxn ang="0">
                  <a:pos x="82" y="58"/>
                </a:cxn>
                <a:cxn ang="0">
                  <a:pos x="80" y="71"/>
                </a:cxn>
                <a:cxn ang="0">
                  <a:pos x="50" y="55"/>
                </a:cxn>
                <a:cxn ang="0">
                  <a:pos x="68" y="44"/>
                </a:cxn>
                <a:cxn ang="0">
                  <a:pos x="71" y="34"/>
                </a:cxn>
                <a:cxn ang="0">
                  <a:pos x="59" y="31"/>
                </a:cxn>
                <a:cxn ang="0">
                  <a:pos x="44" y="23"/>
                </a:cxn>
                <a:cxn ang="0">
                  <a:pos x="132" y="50"/>
                </a:cxn>
              </a:cxnLst>
              <a:rect l="0" t="0" r="r" b="b"/>
              <a:pathLst>
                <a:path w="135" h="78">
                  <a:moveTo>
                    <a:pt x="127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4" y="0"/>
                    <a:pt x="40" y="4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0" y="26"/>
                    <a:pt x="0" y="3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72"/>
                    <a:pt x="8" y="73"/>
                    <a:pt x="8" y="73"/>
                  </a:cubicBezTo>
                  <a:cubicBezTo>
                    <a:pt x="8" y="73"/>
                    <a:pt x="9" y="73"/>
                    <a:pt x="9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9" y="73"/>
                    <a:pt x="32" y="72"/>
                    <a:pt x="34" y="71"/>
                  </a:cubicBezTo>
                  <a:cubicBezTo>
                    <a:pt x="36" y="73"/>
                    <a:pt x="37" y="75"/>
                    <a:pt x="40" y="75"/>
                  </a:cubicBezTo>
                  <a:cubicBezTo>
                    <a:pt x="40" y="75"/>
                    <a:pt x="41" y="75"/>
                    <a:pt x="41" y="75"/>
                  </a:cubicBezTo>
                  <a:cubicBezTo>
                    <a:pt x="44" y="75"/>
                    <a:pt x="47" y="74"/>
                    <a:pt x="50" y="71"/>
                  </a:cubicBezTo>
                  <a:cubicBezTo>
                    <a:pt x="52" y="74"/>
                    <a:pt x="54" y="76"/>
                    <a:pt x="56" y="77"/>
                  </a:cubicBezTo>
                  <a:cubicBezTo>
                    <a:pt x="57" y="77"/>
                    <a:pt x="57" y="77"/>
                    <a:pt x="58" y="77"/>
                  </a:cubicBezTo>
                  <a:cubicBezTo>
                    <a:pt x="62" y="77"/>
                    <a:pt x="65" y="74"/>
                    <a:pt x="66" y="73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9" y="75"/>
                    <a:pt x="71" y="77"/>
                    <a:pt x="73" y="77"/>
                  </a:cubicBezTo>
                  <a:cubicBezTo>
                    <a:pt x="74" y="77"/>
                    <a:pt x="74" y="78"/>
                    <a:pt x="75" y="78"/>
                  </a:cubicBezTo>
                  <a:cubicBezTo>
                    <a:pt x="79" y="78"/>
                    <a:pt x="82" y="74"/>
                    <a:pt x="82" y="74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59"/>
                    <a:pt x="99" y="59"/>
                    <a:pt x="99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8"/>
                    <a:pt x="135" y="54"/>
                    <a:pt x="135" y="50"/>
                  </a:cubicBezTo>
                  <a:cubicBezTo>
                    <a:pt x="135" y="9"/>
                    <a:pt x="135" y="9"/>
                    <a:pt x="135" y="9"/>
                  </a:cubicBezTo>
                  <a:cubicBezTo>
                    <a:pt x="135" y="4"/>
                    <a:pt x="132" y="0"/>
                    <a:pt x="127" y="0"/>
                  </a:cubicBezTo>
                  <a:close/>
                  <a:moveTo>
                    <a:pt x="44" y="15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44" y="19"/>
                    <a:pt x="44" y="19"/>
                    <a:pt x="44" y="19"/>
                  </a:cubicBezTo>
                  <a:lnTo>
                    <a:pt x="44" y="15"/>
                  </a:lnTo>
                  <a:close/>
                  <a:moveTo>
                    <a:pt x="50" y="4"/>
                  </a:moveTo>
                  <a:cubicBezTo>
                    <a:pt x="127" y="4"/>
                    <a:pt x="127" y="4"/>
                    <a:pt x="127" y="4"/>
                  </a:cubicBezTo>
                  <a:cubicBezTo>
                    <a:pt x="129" y="4"/>
                    <a:pt x="132" y="6"/>
                    <a:pt x="132" y="9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6"/>
                    <a:pt x="46" y="4"/>
                    <a:pt x="50" y="4"/>
                  </a:cubicBezTo>
                  <a:close/>
                  <a:moveTo>
                    <a:pt x="23" y="69"/>
                  </a:moveTo>
                  <a:cubicBezTo>
                    <a:pt x="9" y="69"/>
                    <a:pt x="9" y="69"/>
                    <a:pt x="9" y="69"/>
                  </a:cubicBezTo>
                  <a:cubicBezTo>
                    <a:pt x="8" y="69"/>
                    <a:pt x="3" y="6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8"/>
                    <a:pt x="6" y="26"/>
                    <a:pt x="7" y="26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2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2"/>
                    <a:pt x="41" y="43"/>
                    <a:pt x="41" y="43"/>
                  </a:cubicBezTo>
                  <a:cubicBezTo>
                    <a:pt x="42" y="43"/>
                    <a:pt x="43" y="43"/>
                    <a:pt x="43" y="43"/>
                  </a:cubicBezTo>
                  <a:cubicBezTo>
                    <a:pt x="43" y="43"/>
                    <a:pt x="57" y="36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3" y="33"/>
                    <a:pt x="65" y="33"/>
                  </a:cubicBezTo>
                  <a:cubicBezTo>
                    <a:pt x="66" y="34"/>
                    <a:pt x="67" y="35"/>
                    <a:pt x="68" y="36"/>
                  </a:cubicBezTo>
                  <a:cubicBezTo>
                    <a:pt x="68" y="36"/>
                    <a:pt x="69" y="38"/>
                    <a:pt x="66" y="41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3" y="48"/>
                    <a:pt x="53" y="48"/>
                    <a:pt x="53" y="49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5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1" y="62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1" y="69"/>
                    <a:pt x="23" y="69"/>
                  </a:cubicBezTo>
                  <a:close/>
                  <a:moveTo>
                    <a:pt x="40" y="71"/>
                  </a:moveTo>
                  <a:cubicBezTo>
                    <a:pt x="39" y="71"/>
                    <a:pt x="38" y="70"/>
                    <a:pt x="38" y="69"/>
                  </a:cubicBezTo>
                  <a:cubicBezTo>
                    <a:pt x="40" y="67"/>
                    <a:pt x="44" y="63"/>
                    <a:pt x="46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5" y="71"/>
                    <a:pt x="42" y="72"/>
                    <a:pt x="40" y="71"/>
                  </a:cubicBezTo>
                  <a:close/>
                  <a:moveTo>
                    <a:pt x="49" y="71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lose/>
                  <a:moveTo>
                    <a:pt x="57" y="73"/>
                  </a:moveTo>
                  <a:cubicBezTo>
                    <a:pt x="55" y="73"/>
                    <a:pt x="54" y="71"/>
                    <a:pt x="53" y="6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2" y="72"/>
                    <a:pt x="59" y="74"/>
                    <a:pt x="57" y="73"/>
                  </a:cubicBezTo>
                  <a:close/>
                  <a:moveTo>
                    <a:pt x="80" y="71"/>
                  </a:move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79" y="72"/>
                    <a:pt x="76" y="74"/>
                    <a:pt x="74" y="74"/>
                  </a:cubicBezTo>
                  <a:cubicBezTo>
                    <a:pt x="72" y="73"/>
                    <a:pt x="71" y="72"/>
                    <a:pt x="70" y="70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94" y="58"/>
                    <a:pt x="94" y="58"/>
                    <a:pt x="94" y="58"/>
                  </a:cubicBezTo>
                  <a:lnTo>
                    <a:pt x="80" y="71"/>
                  </a:lnTo>
                  <a:close/>
                  <a:moveTo>
                    <a:pt x="127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73" y="40"/>
                    <a:pt x="72" y="36"/>
                    <a:pt x="71" y="34"/>
                  </a:cubicBezTo>
                  <a:cubicBezTo>
                    <a:pt x="70" y="32"/>
                    <a:pt x="68" y="31"/>
                    <a:pt x="66" y="30"/>
                  </a:cubicBezTo>
                  <a:cubicBezTo>
                    <a:pt x="63" y="29"/>
                    <a:pt x="60" y="30"/>
                    <a:pt x="59" y="31"/>
                  </a:cubicBezTo>
                  <a:cubicBezTo>
                    <a:pt x="56" y="32"/>
                    <a:pt x="48" y="36"/>
                    <a:pt x="44" y="38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50"/>
                    <a:pt x="132" y="50"/>
                    <a:pt x="132" y="50"/>
                  </a:cubicBezTo>
                  <a:cubicBezTo>
                    <a:pt x="132" y="52"/>
                    <a:pt x="129" y="55"/>
                    <a:pt x="127" y="5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60" name="Group 256"/>
          <p:cNvGrpSpPr>
            <a:grpSpLocks noChangeAspect="1"/>
          </p:cNvGrpSpPr>
          <p:nvPr/>
        </p:nvGrpSpPr>
        <p:grpSpPr bwMode="auto">
          <a:xfrm>
            <a:off x="2532856" y="5401600"/>
            <a:ext cx="849312" cy="849313"/>
            <a:chOff x="1605" y="3388"/>
            <a:chExt cx="535" cy="535"/>
          </a:xfrm>
        </p:grpSpPr>
        <p:sp>
          <p:nvSpPr>
            <p:cNvPr id="47361" name="Oval 257"/>
            <p:cNvSpPr>
              <a:spLocks noChangeArrowheads="1"/>
            </p:cNvSpPr>
            <p:nvPr/>
          </p:nvSpPr>
          <p:spPr bwMode="auto">
            <a:xfrm>
              <a:off x="1605" y="3388"/>
              <a:ext cx="535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62" name="Freeform 258"/>
            <p:cNvSpPr>
              <a:spLocks noEditPoints="1"/>
            </p:cNvSpPr>
            <p:nvPr/>
          </p:nvSpPr>
          <p:spPr bwMode="auto">
            <a:xfrm>
              <a:off x="1624" y="3407"/>
              <a:ext cx="497" cy="497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9"/>
                    <a:pt x="50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63" name="Freeform 259"/>
            <p:cNvSpPr>
              <a:spLocks noEditPoints="1"/>
            </p:cNvSpPr>
            <p:nvPr/>
          </p:nvSpPr>
          <p:spPr bwMode="auto">
            <a:xfrm>
              <a:off x="1700" y="3541"/>
              <a:ext cx="345" cy="95"/>
            </a:xfrm>
            <a:custGeom>
              <a:avLst/>
              <a:gdLst/>
              <a:ahLst/>
              <a:cxnLst>
                <a:cxn ang="0">
                  <a:pos x="142" y="40"/>
                </a:cxn>
                <a:cxn ang="0">
                  <a:pos x="142" y="40"/>
                </a:cxn>
                <a:cxn ang="0">
                  <a:pos x="2" y="40"/>
                </a:cxn>
                <a:cxn ang="0">
                  <a:pos x="0" y="38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99" y="25"/>
                </a:cxn>
                <a:cxn ang="0">
                  <a:pos x="99" y="2"/>
                </a:cxn>
                <a:cxn ang="0">
                  <a:pos x="100" y="0"/>
                </a:cxn>
                <a:cxn ang="0">
                  <a:pos x="102" y="1"/>
                </a:cxn>
                <a:cxn ang="0">
                  <a:pos x="143" y="36"/>
                </a:cxn>
                <a:cxn ang="0">
                  <a:pos x="144" y="38"/>
                </a:cxn>
                <a:cxn ang="0">
                  <a:pos x="142" y="40"/>
                </a:cxn>
                <a:cxn ang="0">
                  <a:pos x="4" y="36"/>
                </a:cxn>
                <a:cxn ang="0">
                  <a:pos x="137" y="36"/>
                </a:cxn>
                <a:cxn ang="0">
                  <a:pos x="102" y="6"/>
                </a:cxn>
                <a:cxn ang="0">
                  <a:pos x="102" y="27"/>
                </a:cxn>
                <a:cxn ang="0">
                  <a:pos x="101" y="29"/>
                </a:cxn>
                <a:cxn ang="0">
                  <a:pos x="4" y="29"/>
                </a:cxn>
                <a:cxn ang="0">
                  <a:pos x="4" y="36"/>
                </a:cxn>
              </a:cxnLst>
              <a:rect l="0" t="0" r="r" b="b"/>
              <a:pathLst>
                <a:path w="144" h="40">
                  <a:moveTo>
                    <a:pt x="142" y="40"/>
                  </a:moveTo>
                  <a:cubicBezTo>
                    <a:pt x="142" y="40"/>
                    <a:pt x="142" y="40"/>
                    <a:pt x="14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1" y="25"/>
                    <a:pt x="2" y="25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100" y="0"/>
                  </a:cubicBezTo>
                  <a:cubicBezTo>
                    <a:pt x="101" y="0"/>
                    <a:pt x="101" y="0"/>
                    <a:pt x="102" y="1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4" y="37"/>
                    <a:pt x="144" y="37"/>
                    <a:pt x="144" y="38"/>
                  </a:cubicBezTo>
                  <a:cubicBezTo>
                    <a:pt x="144" y="39"/>
                    <a:pt x="143" y="40"/>
                    <a:pt x="142" y="40"/>
                  </a:cubicBezTo>
                  <a:close/>
                  <a:moveTo>
                    <a:pt x="4" y="36"/>
                  </a:moveTo>
                  <a:cubicBezTo>
                    <a:pt x="137" y="36"/>
                    <a:pt x="137" y="36"/>
                    <a:pt x="137" y="36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8"/>
                    <a:pt x="102" y="29"/>
                    <a:pt x="101" y="29"/>
                  </a:cubicBezTo>
                  <a:cubicBezTo>
                    <a:pt x="4" y="29"/>
                    <a:pt x="4" y="29"/>
                    <a:pt x="4" y="29"/>
                  </a:cubicBezTo>
                  <a:lnTo>
                    <a:pt x="4" y="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64" name="Freeform 260"/>
            <p:cNvSpPr>
              <a:spLocks noEditPoints="1"/>
            </p:cNvSpPr>
            <p:nvPr/>
          </p:nvSpPr>
          <p:spPr bwMode="auto">
            <a:xfrm>
              <a:off x="1698" y="3682"/>
              <a:ext cx="347" cy="93"/>
            </a:xfrm>
            <a:custGeom>
              <a:avLst/>
              <a:gdLst/>
              <a:ahLst/>
              <a:cxnLst>
                <a:cxn ang="0">
                  <a:pos x="44" y="39"/>
                </a:cxn>
                <a:cxn ang="0">
                  <a:pos x="43" y="39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143" y="0"/>
                </a:cxn>
                <a:cxn ang="0">
                  <a:pos x="145" y="2"/>
                </a:cxn>
                <a:cxn ang="0">
                  <a:pos x="145" y="12"/>
                </a:cxn>
                <a:cxn ang="0">
                  <a:pos x="143" y="14"/>
                </a:cxn>
                <a:cxn ang="0">
                  <a:pos x="46" y="14"/>
                </a:cxn>
                <a:cxn ang="0">
                  <a:pos x="46" y="37"/>
                </a:cxn>
                <a:cxn ang="0">
                  <a:pos x="45" y="39"/>
                </a:cxn>
                <a:cxn ang="0">
                  <a:pos x="44" y="39"/>
                </a:cxn>
                <a:cxn ang="0">
                  <a:pos x="7" y="4"/>
                </a:cxn>
                <a:cxn ang="0">
                  <a:pos x="42" y="33"/>
                </a:cxn>
                <a:cxn ang="0">
                  <a:pos x="42" y="12"/>
                </a:cxn>
                <a:cxn ang="0">
                  <a:pos x="44" y="10"/>
                </a:cxn>
                <a:cxn ang="0">
                  <a:pos x="141" y="10"/>
                </a:cxn>
                <a:cxn ang="0">
                  <a:pos x="141" y="4"/>
                </a:cxn>
                <a:cxn ang="0">
                  <a:pos x="7" y="4"/>
                </a:cxn>
              </a:cxnLst>
              <a:rect l="0" t="0" r="r" b="b"/>
              <a:pathLst>
                <a:path w="145" h="39">
                  <a:moveTo>
                    <a:pt x="44" y="39"/>
                  </a:moveTo>
                  <a:cubicBezTo>
                    <a:pt x="44" y="39"/>
                    <a:pt x="43" y="39"/>
                    <a:pt x="43" y="39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1"/>
                    <a:pt x="145" y="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3"/>
                    <a:pt x="144" y="14"/>
                    <a:pt x="143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5" y="39"/>
                    <a:pt x="45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7" y="4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1"/>
                    <a:pt x="43" y="10"/>
                    <a:pt x="44" y="10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1" y="4"/>
                    <a:pt x="141" y="4"/>
                    <a:pt x="141" y="4"/>
                  </a:cubicBezTo>
                  <a:lnTo>
                    <a:pt x="7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67" name="Group 263"/>
          <p:cNvGrpSpPr>
            <a:grpSpLocks noChangeAspect="1"/>
          </p:cNvGrpSpPr>
          <p:nvPr/>
        </p:nvGrpSpPr>
        <p:grpSpPr bwMode="auto">
          <a:xfrm>
            <a:off x="3665538" y="5430175"/>
            <a:ext cx="792163" cy="792163"/>
            <a:chOff x="2316" y="3406"/>
            <a:chExt cx="499" cy="499"/>
          </a:xfrm>
        </p:grpSpPr>
        <p:sp>
          <p:nvSpPr>
            <p:cNvPr id="47368" name="Freeform 264"/>
            <p:cNvSpPr>
              <a:spLocks noEditPoints="1"/>
            </p:cNvSpPr>
            <p:nvPr/>
          </p:nvSpPr>
          <p:spPr bwMode="auto">
            <a:xfrm>
              <a:off x="2316" y="3406"/>
              <a:ext cx="499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9"/>
                    <a:pt x="50" y="203"/>
                    <a:pt x="104" y="203"/>
                  </a:cubicBezTo>
                  <a:cubicBezTo>
                    <a:pt x="158" y="203"/>
                    <a:pt x="203" y="159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69" name="Freeform 265"/>
            <p:cNvSpPr>
              <a:spLocks noEditPoints="1"/>
            </p:cNvSpPr>
            <p:nvPr/>
          </p:nvSpPr>
          <p:spPr bwMode="auto">
            <a:xfrm>
              <a:off x="2393" y="3541"/>
              <a:ext cx="345" cy="95"/>
            </a:xfrm>
            <a:custGeom>
              <a:avLst/>
              <a:gdLst/>
              <a:ahLst/>
              <a:cxnLst>
                <a:cxn ang="0">
                  <a:pos x="142" y="40"/>
                </a:cxn>
                <a:cxn ang="0">
                  <a:pos x="142" y="40"/>
                </a:cxn>
                <a:cxn ang="0">
                  <a:pos x="2" y="40"/>
                </a:cxn>
                <a:cxn ang="0">
                  <a:pos x="0" y="38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99" y="25"/>
                </a:cxn>
                <a:cxn ang="0">
                  <a:pos x="99" y="2"/>
                </a:cxn>
                <a:cxn ang="0">
                  <a:pos x="100" y="0"/>
                </a:cxn>
                <a:cxn ang="0">
                  <a:pos x="102" y="1"/>
                </a:cxn>
                <a:cxn ang="0">
                  <a:pos x="143" y="36"/>
                </a:cxn>
                <a:cxn ang="0">
                  <a:pos x="144" y="38"/>
                </a:cxn>
                <a:cxn ang="0">
                  <a:pos x="142" y="40"/>
                </a:cxn>
                <a:cxn ang="0">
                  <a:pos x="4" y="36"/>
                </a:cxn>
                <a:cxn ang="0">
                  <a:pos x="137" y="36"/>
                </a:cxn>
                <a:cxn ang="0">
                  <a:pos x="102" y="6"/>
                </a:cxn>
                <a:cxn ang="0">
                  <a:pos x="102" y="27"/>
                </a:cxn>
                <a:cxn ang="0">
                  <a:pos x="101" y="29"/>
                </a:cxn>
                <a:cxn ang="0">
                  <a:pos x="4" y="29"/>
                </a:cxn>
                <a:cxn ang="0">
                  <a:pos x="4" y="36"/>
                </a:cxn>
              </a:cxnLst>
              <a:rect l="0" t="0" r="r" b="b"/>
              <a:pathLst>
                <a:path w="144" h="40">
                  <a:moveTo>
                    <a:pt x="142" y="40"/>
                  </a:moveTo>
                  <a:cubicBezTo>
                    <a:pt x="142" y="40"/>
                    <a:pt x="142" y="40"/>
                    <a:pt x="14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1" y="25"/>
                    <a:pt x="2" y="25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100" y="0"/>
                  </a:cubicBezTo>
                  <a:cubicBezTo>
                    <a:pt x="100" y="0"/>
                    <a:pt x="101" y="0"/>
                    <a:pt x="102" y="1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4" y="37"/>
                    <a:pt x="144" y="37"/>
                    <a:pt x="144" y="38"/>
                  </a:cubicBezTo>
                  <a:cubicBezTo>
                    <a:pt x="144" y="39"/>
                    <a:pt x="143" y="40"/>
                    <a:pt x="142" y="40"/>
                  </a:cubicBezTo>
                  <a:close/>
                  <a:moveTo>
                    <a:pt x="4" y="36"/>
                  </a:moveTo>
                  <a:cubicBezTo>
                    <a:pt x="137" y="36"/>
                    <a:pt x="137" y="36"/>
                    <a:pt x="137" y="36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8"/>
                    <a:pt x="102" y="29"/>
                    <a:pt x="101" y="29"/>
                  </a:cubicBezTo>
                  <a:cubicBezTo>
                    <a:pt x="4" y="29"/>
                    <a:pt x="4" y="29"/>
                    <a:pt x="4" y="29"/>
                  </a:cubicBezTo>
                  <a:lnTo>
                    <a:pt x="4" y="3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70" name="Freeform 266"/>
            <p:cNvSpPr>
              <a:spLocks noEditPoints="1"/>
            </p:cNvSpPr>
            <p:nvPr/>
          </p:nvSpPr>
          <p:spPr bwMode="auto">
            <a:xfrm>
              <a:off x="2391" y="3682"/>
              <a:ext cx="347" cy="93"/>
            </a:xfrm>
            <a:custGeom>
              <a:avLst/>
              <a:gdLst/>
              <a:ahLst/>
              <a:cxnLst>
                <a:cxn ang="0">
                  <a:pos x="44" y="39"/>
                </a:cxn>
                <a:cxn ang="0">
                  <a:pos x="43" y="39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143" y="0"/>
                </a:cxn>
                <a:cxn ang="0">
                  <a:pos x="145" y="2"/>
                </a:cxn>
                <a:cxn ang="0">
                  <a:pos x="145" y="12"/>
                </a:cxn>
                <a:cxn ang="0">
                  <a:pos x="143" y="14"/>
                </a:cxn>
                <a:cxn ang="0">
                  <a:pos x="46" y="14"/>
                </a:cxn>
                <a:cxn ang="0">
                  <a:pos x="46" y="37"/>
                </a:cxn>
                <a:cxn ang="0">
                  <a:pos x="45" y="39"/>
                </a:cxn>
                <a:cxn ang="0">
                  <a:pos x="44" y="39"/>
                </a:cxn>
                <a:cxn ang="0">
                  <a:pos x="7" y="4"/>
                </a:cxn>
                <a:cxn ang="0">
                  <a:pos x="42" y="33"/>
                </a:cxn>
                <a:cxn ang="0">
                  <a:pos x="42" y="12"/>
                </a:cxn>
                <a:cxn ang="0">
                  <a:pos x="44" y="10"/>
                </a:cxn>
                <a:cxn ang="0">
                  <a:pos x="141" y="10"/>
                </a:cxn>
                <a:cxn ang="0">
                  <a:pos x="141" y="4"/>
                </a:cxn>
                <a:cxn ang="0">
                  <a:pos x="7" y="4"/>
                </a:cxn>
              </a:cxnLst>
              <a:rect l="0" t="0" r="r" b="b"/>
              <a:pathLst>
                <a:path w="145" h="39">
                  <a:moveTo>
                    <a:pt x="44" y="39"/>
                  </a:moveTo>
                  <a:cubicBezTo>
                    <a:pt x="43" y="39"/>
                    <a:pt x="43" y="39"/>
                    <a:pt x="43" y="39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1"/>
                    <a:pt x="145" y="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3"/>
                    <a:pt x="144" y="14"/>
                    <a:pt x="143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5" y="39"/>
                    <a:pt x="45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7" y="4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1"/>
                    <a:pt x="43" y="10"/>
                    <a:pt x="44" y="10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1" y="4"/>
                    <a:pt x="141" y="4"/>
                    <a:pt x="141" y="4"/>
                  </a:cubicBezTo>
                  <a:lnTo>
                    <a:pt x="7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73" name="Group 269"/>
          <p:cNvGrpSpPr>
            <a:grpSpLocks noChangeAspect="1"/>
          </p:cNvGrpSpPr>
          <p:nvPr/>
        </p:nvGrpSpPr>
        <p:grpSpPr bwMode="auto">
          <a:xfrm>
            <a:off x="4728369" y="5401600"/>
            <a:ext cx="849312" cy="852488"/>
            <a:chOff x="2991" y="3388"/>
            <a:chExt cx="535" cy="537"/>
          </a:xfrm>
        </p:grpSpPr>
        <p:sp>
          <p:nvSpPr>
            <p:cNvPr id="47374" name="Oval 270"/>
            <p:cNvSpPr>
              <a:spLocks noChangeArrowheads="1"/>
            </p:cNvSpPr>
            <p:nvPr/>
          </p:nvSpPr>
          <p:spPr bwMode="auto">
            <a:xfrm>
              <a:off x="2991" y="3388"/>
              <a:ext cx="535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75" name="Freeform 271"/>
            <p:cNvSpPr>
              <a:spLocks/>
            </p:cNvSpPr>
            <p:nvPr/>
          </p:nvSpPr>
          <p:spPr bwMode="auto">
            <a:xfrm>
              <a:off x="3213" y="3604"/>
              <a:ext cx="10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4" y="66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4" h="68">
                  <a:moveTo>
                    <a:pt x="2" y="68"/>
                  </a:moveTo>
                  <a:cubicBezTo>
                    <a:pt x="3" y="68"/>
                    <a:pt x="4" y="67"/>
                    <a:pt x="4" y="6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76" name="Freeform 272"/>
            <p:cNvSpPr>
              <a:spLocks noEditPoints="1"/>
            </p:cNvSpPr>
            <p:nvPr/>
          </p:nvSpPr>
          <p:spPr bwMode="auto">
            <a:xfrm>
              <a:off x="3012" y="3408"/>
              <a:ext cx="493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50"/>
                    <a:pt x="49" y="5"/>
                    <a:pt x="103" y="5"/>
                  </a:cubicBezTo>
                  <a:cubicBezTo>
                    <a:pt x="157" y="5"/>
                    <a:pt x="201" y="50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77" name="Freeform 273"/>
            <p:cNvSpPr>
              <a:spLocks/>
            </p:cNvSpPr>
            <p:nvPr/>
          </p:nvSpPr>
          <p:spPr bwMode="auto">
            <a:xfrm>
              <a:off x="3294" y="3604"/>
              <a:ext cx="8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3" y="6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3" h="68">
                  <a:moveTo>
                    <a:pt x="2" y="68"/>
                  </a:moveTo>
                  <a:cubicBezTo>
                    <a:pt x="3" y="68"/>
                    <a:pt x="3" y="67"/>
                    <a:pt x="3" y="6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78" name="Freeform 274"/>
            <p:cNvSpPr>
              <a:spLocks/>
            </p:cNvSpPr>
            <p:nvPr/>
          </p:nvSpPr>
          <p:spPr bwMode="auto">
            <a:xfrm>
              <a:off x="3254" y="3604"/>
              <a:ext cx="7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3" y="6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3" h="68">
                  <a:moveTo>
                    <a:pt x="2" y="68"/>
                  </a:moveTo>
                  <a:cubicBezTo>
                    <a:pt x="3" y="68"/>
                    <a:pt x="3" y="67"/>
                    <a:pt x="3" y="6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79" name="Freeform 275"/>
            <p:cNvSpPr>
              <a:spLocks noEditPoints="1"/>
            </p:cNvSpPr>
            <p:nvPr/>
          </p:nvSpPr>
          <p:spPr bwMode="auto">
            <a:xfrm>
              <a:off x="3141" y="3513"/>
              <a:ext cx="235" cy="287"/>
            </a:xfrm>
            <a:custGeom>
              <a:avLst/>
              <a:gdLst/>
              <a:ahLst/>
              <a:cxnLst>
                <a:cxn ang="0">
                  <a:pos x="96" y="15"/>
                </a:cxn>
                <a:cxn ang="0">
                  <a:pos x="65" y="15"/>
                </a:cxn>
                <a:cxn ang="0">
                  <a:pos x="49" y="0"/>
                </a:cxn>
                <a:cxn ang="0">
                  <a:pos x="33" y="15"/>
                </a:cxn>
                <a:cxn ang="0">
                  <a:pos x="2" y="15"/>
                </a:cxn>
                <a:cxn ang="0">
                  <a:pos x="0" y="17"/>
                </a:cxn>
                <a:cxn ang="0">
                  <a:pos x="0" y="26"/>
                </a:cxn>
                <a:cxn ang="0">
                  <a:pos x="2" y="28"/>
                </a:cxn>
                <a:cxn ang="0">
                  <a:pos x="7" y="28"/>
                </a:cxn>
                <a:cxn ang="0">
                  <a:pos x="17" y="120"/>
                </a:cxn>
                <a:cxn ang="0">
                  <a:pos x="81" y="120"/>
                </a:cxn>
                <a:cxn ang="0">
                  <a:pos x="90" y="28"/>
                </a:cxn>
                <a:cxn ang="0">
                  <a:pos x="96" y="28"/>
                </a:cxn>
                <a:cxn ang="0">
                  <a:pos x="98" y="26"/>
                </a:cxn>
                <a:cxn ang="0">
                  <a:pos x="98" y="17"/>
                </a:cxn>
                <a:cxn ang="0">
                  <a:pos x="96" y="15"/>
                </a:cxn>
                <a:cxn ang="0">
                  <a:pos x="49" y="3"/>
                </a:cxn>
                <a:cxn ang="0">
                  <a:pos x="61" y="15"/>
                </a:cxn>
                <a:cxn ang="0">
                  <a:pos x="36" y="15"/>
                </a:cxn>
                <a:cxn ang="0">
                  <a:pos x="49" y="3"/>
                </a:cxn>
                <a:cxn ang="0">
                  <a:pos x="77" y="116"/>
                </a:cxn>
                <a:cxn ang="0">
                  <a:pos x="20" y="116"/>
                </a:cxn>
                <a:cxn ang="0">
                  <a:pos x="11" y="28"/>
                </a:cxn>
                <a:cxn ang="0">
                  <a:pos x="87" y="28"/>
                </a:cxn>
                <a:cxn ang="0">
                  <a:pos x="77" y="116"/>
                </a:cxn>
                <a:cxn ang="0">
                  <a:pos x="95" y="24"/>
                </a:cxn>
                <a:cxn ang="0">
                  <a:pos x="91" y="24"/>
                </a:cxn>
                <a:cxn ang="0">
                  <a:pos x="89" y="24"/>
                </a:cxn>
                <a:cxn ang="0">
                  <a:pos x="9" y="24"/>
                </a:cxn>
                <a:cxn ang="0">
                  <a:pos x="7" y="24"/>
                </a:cxn>
                <a:cxn ang="0">
                  <a:pos x="3" y="24"/>
                </a:cxn>
                <a:cxn ang="0">
                  <a:pos x="3" y="18"/>
                </a:cxn>
                <a:cxn ang="0">
                  <a:pos x="95" y="18"/>
                </a:cxn>
                <a:cxn ang="0">
                  <a:pos x="95" y="24"/>
                </a:cxn>
              </a:cxnLst>
              <a:rect l="0" t="0" r="r" b="b"/>
              <a:pathLst>
                <a:path w="98" h="120">
                  <a:moveTo>
                    <a:pt x="96" y="15"/>
                  </a:moveTo>
                  <a:cubicBezTo>
                    <a:pt x="65" y="15"/>
                    <a:pt x="65" y="15"/>
                    <a:pt x="65" y="15"/>
                  </a:cubicBezTo>
                  <a:cubicBezTo>
                    <a:pt x="64" y="6"/>
                    <a:pt x="57" y="0"/>
                    <a:pt x="49" y="0"/>
                  </a:cubicBezTo>
                  <a:cubicBezTo>
                    <a:pt x="40" y="0"/>
                    <a:pt x="33" y="6"/>
                    <a:pt x="3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6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81" y="120"/>
                    <a:pt x="81" y="120"/>
                    <a:pt x="81" y="120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8" y="27"/>
                    <a:pt x="98" y="26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8" y="16"/>
                    <a:pt x="97" y="15"/>
                    <a:pt x="96" y="15"/>
                  </a:cubicBezTo>
                  <a:close/>
                  <a:moveTo>
                    <a:pt x="49" y="3"/>
                  </a:moveTo>
                  <a:cubicBezTo>
                    <a:pt x="55" y="3"/>
                    <a:pt x="61" y="8"/>
                    <a:pt x="61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8"/>
                    <a:pt x="42" y="3"/>
                    <a:pt x="49" y="3"/>
                  </a:cubicBezTo>
                  <a:close/>
                  <a:moveTo>
                    <a:pt x="77" y="116"/>
                  </a:moveTo>
                  <a:cubicBezTo>
                    <a:pt x="20" y="116"/>
                    <a:pt x="20" y="116"/>
                    <a:pt x="20" y="116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77" y="116"/>
                  </a:lnTo>
                  <a:close/>
                  <a:moveTo>
                    <a:pt x="95" y="24"/>
                  </a:moveTo>
                  <a:cubicBezTo>
                    <a:pt x="91" y="24"/>
                    <a:pt x="91" y="24"/>
                    <a:pt x="91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9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82" name="Group 278"/>
          <p:cNvGrpSpPr>
            <a:grpSpLocks noChangeAspect="1"/>
          </p:cNvGrpSpPr>
          <p:nvPr/>
        </p:nvGrpSpPr>
        <p:grpSpPr bwMode="auto">
          <a:xfrm>
            <a:off x="5856291" y="5431763"/>
            <a:ext cx="784226" cy="788987"/>
            <a:chOff x="3697" y="3407"/>
            <a:chExt cx="494" cy="497"/>
          </a:xfrm>
        </p:grpSpPr>
        <p:sp>
          <p:nvSpPr>
            <p:cNvPr id="47383" name="Freeform 279"/>
            <p:cNvSpPr>
              <a:spLocks/>
            </p:cNvSpPr>
            <p:nvPr/>
          </p:nvSpPr>
          <p:spPr bwMode="auto">
            <a:xfrm>
              <a:off x="3899" y="3604"/>
              <a:ext cx="9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4" y="66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4" h="68">
                  <a:moveTo>
                    <a:pt x="2" y="68"/>
                  </a:moveTo>
                  <a:cubicBezTo>
                    <a:pt x="3" y="68"/>
                    <a:pt x="4" y="67"/>
                    <a:pt x="4" y="6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84" name="Freeform 280"/>
            <p:cNvSpPr>
              <a:spLocks noEditPoints="1"/>
            </p:cNvSpPr>
            <p:nvPr/>
          </p:nvSpPr>
          <p:spPr bwMode="auto">
            <a:xfrm>
              <a:off x="3697" y="3407"/>
              <a:ext cx="494" cy="497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50"/>
                    <a:pt x="49" y="5"/>
                    <a:pt x="103" y="5"/>
                  </a:cubicBezTo>
                  <a:cubicBezTo>
                    <a:pt x="157" y="5"/>
                    <a:pt x="201" y="50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85" name="Freeform 281"/>
            <p:cNvSpPr>
              <a:spLocks/>
            </p:cNvSpPr>
            <p:nvPr/>
          </p:nvSpPr>
          <p:spPr bwMode="auto">
            <a:xfrm>
              <a:off x="3980" y="3604"/>
              <a:ext cx="8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3" y="6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3" h="68">
                  <a:moveTo>
                    <a:pt x="2" y="68"/>
                  </a:moveTo>
                  <a:cubicBezTo>
                    <a:pt x="3" y="68"/>
                    <a:pt x="3" y="67"/>
                    <a:pt x="3" y="6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86" name="Freeform 282"/>
            <p:cNvSpPr>
              <a:spLocks/>
            </p:cNvSpPr>
            <p:nvPr/>
          </p:nvSpPr>
          <p:spPr bwMode="auto">
            <a:xfrm>
              <a:off x="3940" y="3604"/>
              <a:ext cx="7" cy="163"/>
            </a:xfrm>
            <a:custGeom>
              <a:avLst/>
              <a:gdLst/>
              <a:ahLst/>
              <a:cxnLst>
                <a:cxn ang="0">
                  <a:pos x="2" y="68"/>
                </a:cxn>
                <a:cxn ang="0">
                  <a:pos x="3" y="6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66"/>
                </a:cxn>
                <a:cxn ang="0">
                  <a:pos x="2" y="68"/>
                </a:cxn>
              </a:cxnLst>
              <a:rect l="0" t="0" r="r" b="b"/>
              <a:pathLst>
                <a:path w="3" h="68">
                  <a:moveTo>
                    <a:pt x="2" y="68"/>
                  </a:moveTo>
                  <a:cubicBezTo>
                    <a:pt x="3" y="68"/>
                    <a:pt x="3" y="67"/>
                    <a:pt x="3" y="6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87" name="Freeform 283"/>
            <p:cNvSpPr>
              <a:spLocks noEditPoints="1"/>
            </p:cNvSpPr>
            <p:nvPr/>
          </p:nvSpPr>
          <p:spPr bwMode="auto">
            <a:xfrm>
              <a:off x="3827" y="3513"/>
              <a:ext cx="235" cy="288"/>
            </a:xfrm>
            <a:custGeom>
              <a:avLst/>
              <a:gdLst/>
              <a:ahLst/>
              <a:cxnLst>
                <a:cxn ang="0">
                  <a:pos x="96" y="15"/>
                </a:cxn>
                <a:cxn ang="0">
                  <a:pos x="65" y="15"/>
                </a:cxn>
                <a:cxn ang="0">
                  <a:pos x="49" y="0"/>
                </a:cxn>
                <a:cxn ang="0">
                  <a:pos x="33" y="15"/>
                </a:cxn>
                <a:cxn ang="0">
                  <a:pos x="2" y="15"/>
                </a:cxn>
                <a:cxn ang="0">
                  <a:pos x="0" y="17"/>
                </a:cxn>
                <a:cxn ang="0">
                  <a:pos x="0" y="26"/>
                </a:cxn>
                <a:cxn ang="0">
                  <a:pos x="2" y="28"/>
                </a:cxn>
                <a:cxn ang="0">
                  <a:pos x="7" y="28"/>
                </a:cxn>
                <a:cxn ang="0">
                  <a:pos x="17" y="120"/>
                </a:cxn>
                <a:cxn ang="0">
                  <a:pos x="81" y="120"/>
                </a:cxn>
                <a:cxn ang="0">
                  <a:pos x="90" y="28"/>
                </a:cxn>
                <a:cxn ang="0">
                  <a:pos x="96" y="28"/>
                </a:cxn>
                <a:cxn ang="0">
                  <a:pos x="98" y="26"/>
                </a:cxn>
                <a:cxn ang="0">
                  <a:pos x="98" y="17"/>
                </a:cxn>
                <a:cxn ang="0">
                  <a:pos x="96" y="15"/>
                </a:cxn>
                <a:cxn ang="0">
                  <a:pos x="49" y="3"/>
                </a:cxn>
                <a:cxn ang="0">
                  <a:pos x="61" y="15"/>
                </a:cxn>
                <a:cxn ang="0">
                  <a:pos x="36" y="15"/>
                </a:cxn>
                <a:cxn ang="0">
                  <a:pos x="49" y="3"/>
                </a:cxn>
                <a:cxn ang="0">
                  <a:pos x="77" y="116"/>
                </a:cxn>
                <a:cxn ang="0">
                  <a:pos x="20" y="116"/>
                </a:cxn>
                <a:cxn ang="0">
                  <a:pos x="11" y="28"/>
                </a:cxn>
                <a:cxn ang="0">
                  <a:pos x="87" y="28"/>
                </a:cxn>
                <a:cxn ang="0">
                  <a:pos x="77" y="116"/>
                </a:cxn>
                <a:cxn ang="0">
                  <a:pos x="95" y="24"/>
                </a:cxn>
                <a:cxn ang="0">
                  <a:pos x="91" y="24"/>
                </a:cxn>
                <a:cxn ang="0">
                  <a:pos x="89" y="24"/>
                </a:cxn>
                <a:cxn ang="0">
                  <a:pos x="9" y="24"/>
                </a:cxn>
                <a:cxn ang="0">
                  <a:pos x="7" y="24"/>
                </a:cxn>
                <a:cxn ang="0">
                  <a:pos x="3" y="24"/>
                </a:cxn>
                <a:cxn ang="0">
                  <a:pos x="3" y="18"/>
                </a:cxn>
                <a:cxn ang="0">
                  <a:pos x="95" y="18"/>
                </a:cxn>
                <a:cxn ang="0">
                  <a:pos x="95" y="24"/>
                </a:cxn>
              </a:cxnLst>
              <a:rect l="0" t="0" r="r" b="b"/>
              <a:pathLst>
                <a:path w="98" h="120">
                  <a:moveTo>
                    <a:pt x="96" y="15"/>
                  </a:moveTo>
                  <a:cubicBezTo>
                    <a:pt x="65" y="15"/>
                    <a:pt x="65" y="15"/>
                    <a:pt x="65" y="15"/>
                  </a:cubicBezTo>
                  <a:cubicBezTo>
                    <a:pt x="64" y="6"/>
                    <a:pt x="57" y="0"/>
                    <a:pt x="49" y="0"/>
                  </a:cubicBezTo>
                  <a:cubicBezTo>
                    <a:pt x="40" y="0"/>
                    <a:pt x="33" y="6"/>
                    <a:pt x="3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6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81" y="120"/>
                    <a:pt x="81" y="120"/>
                    <a:pt x="81" y="120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8" y="27"/>
                    <a:pt x="98" y="26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8" y="16"/>
                    <a:pt x="97" y="15"/>
                    <a:pt x="96" y="15"/>
                  </a:cubicBezTo>
                  <a:close/>
                  <a:moveTo>
                    <a:pt x="49" y="3"/>
                  </a:moveTo>
                  <a:cubicBezTo>
                    <a:pt x="55" y="3"/>
                    <a:pt x="61" y="8"/>
                    <a:pt x="61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8"/>
                    <a:pt x="42" y="3"/>
                    <a:pt x="49" y="3"/>
                  </a:cubicBezTo>
                  <a:close/>
                  <a:moveTo>
                    <a:pt x="77" y="116"/>
                  </a:moveTo>
                  <a:cubicBezTo>
                    <a:pt x="20" y="116"/>
                    <a:pt x="20" y="116"/>
                    <a:pt x="20" y="116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77" y="116"/>
                  </a:lnTo>
                  <a:close/>
                  <a:moveTo>
                    <a:pt x="95" y="24"/>
                  </a:moveTo>
                  <a:cubicBezTo>
                    <a:pt x="91" y="24"/>
                    <a:pt x="91" y="24"/>
                    <a:pt x="91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95" y="2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390" name="Group 286"/>
          <p:cNvGrpSpPr>
            <a:grpSpLocks noChangeAspect="1"/>
          </p:cNvGrpSpPr>
          <p:nvPr/>
        </p:nvGrpSpPr>
        <p:grpSpPr bwMode="auto">
          <a:xfrm>
            <a:off x="8055769" y="5433347"/>
            <a:ext cx="784225" cy="784224"/>
            <a:chOff x="5071" y="3408"/>
            <a:chExt cx="494" cy="494"/>
          </a:xfrm>
        </p:grpSpPr>
        <p:sp>
          <p:nvSpPr>
            <p:cNvPr id="47391" name="Freeform 287"/>
            <p:cNvSpPr>
              <a:spLocks noEditPoints="1"/>
            </p:cNvSpPr>
            <p:nvPr/>
          </p:nvSpPr>
          <p:spPr bwMode="auto">
            <a:xfrm>
              <a:off x="5162" y="3540"/>
              <a:ext cx="199" cy="149"/>
            </a:xfrm>
            <a:custGeom>
              <a:avLst/>
              <a:gdLst/>
              <a:ahLst/>
              <a:cxnLst>
                <a:cxn ang="0">
                  <a:pos x="81" y="62"/>
                </a:cxn>
                <a:cxn ang="0">
                  <a:pos x="2" y="62"/>
                </a:cxn>
                <a:cxn ang="0">
                  <a:pos x="0" y="6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1" y="0"/>
                </a:cxn>
                <a:cxn ang="0">
                  <a:pos x="83" y="2"/>
                </a:cxn>
                <a:cxn ang="0">
                  <a:pos x="83" y="60"/>
                </a:cxn>
                <a:cxn ang="0">
                  <a:pos x="81" y="62"/>
                </a:cxn>
                <a:cxn ang="0">
                  <a:pos x="4" y="58"/>
                </a:cxn>
                <a:cxn ang="0">
                  <a:pos x="80" y="58"/>
                </a:cxn>
                <a:cxn ang="0">
                  <a:pos x="80" y="4"/>
                </a:cxn>
                <a:cxn ang="0">
                  <a:pos x="4" y="4"/>
                </a:cxn>
                <a:cxn ang="0">
                  <a:pos x="4" y="58"/>
                </a:cxn>
              </a:cxnLst>
              <a:rect l="0" t="0" r="r" b="b"/>
              <a:pathLst>
                <a:path w="83" h="62">
                  <a:moveTo>
                    <a:pt x="81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1" y="62"/>
                    <a:pt x="0" y="61"/>
                    <a:pt x="0" y="6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2" y="0"/>
                    <a:pt x="83" y="1"/>
                    <a:pt x="83" y="2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1"/>
                    <a:pt x="82" y="62"/>
                    <a:pt x="81" y="62"/>
                  </a:cubicBezTo>
                  <a:close/>
                  <a:moveTo>
                    <a:pt x="4" y="58"/>
                  </a:moveTo>
                  <a:cubicBezTo>
                    <a:pt x="80" y="58"/>
                    <a:pt x="80" y="58"/>
                    <a:pt x="80" y="58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5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92" name="Freeform 288"/>
            <p:cNvSpPr>
              <a:spLocks noEditPoints="1"/>
            </p:cNvSpPr>
            <p:nvPr/>
          </p:nvSpPr>
          <p:spPr bwMode="auto">
            <a:xfrm>
              <a:off x="5369" y="3562"/>
              <a:ext cx="112" cy="127"/>
            </a:xfrm>
            <a:custGeom>
              <a:avLst/>
              <a:gdLst/>
              <a:ahLst/>
              <a:cxnLst>
                <a:cxn ang="0">
                  <a:pos x="45" y="53"/>
                </a:cxn>
                <a:cxn ang="0">
                  <a:pos x="2" y="53"/>
                </a:cxn>
                <a:cxn ang="0">
                  <a:pos x="0" y="51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9" y="0"/>
                </a:cxn>
                <a:cxn ang="0">
                  <a:pos x="31" y="0"/>
                </a:cxn>
                <a:cxn ang="0">
                  <a:pos x="47" y="23"/>
                </a:cxn>
                <a:cxn ang="0">
                  <a:pos x="47" y="24"/>
                </a:cxn>
                <a:cxn ang="0">
                  <a:pos x="47" y="51"/>
                </a:cxn>
                <a:cxn ang="0">
                  <a:pos x="45" y="53"/>
                </a:cxn>
                <a:cxn ang="0">
                  <a:pos x="3" y="49"/>
                </a:cxn>
                <a:cxn ang="0">
                  <a:pos x="44" y="49"/>
                </a:cxn>
                <a:cxn ang="0">
                  <a:pos x="44" y="25"/>
                </a:cxn>
                <a:cxn ang="0">
                  <a:pos x="29" y="3"/>
                </a:cxn>
                <a:cxn ang="0">
                  <a:pos x="3" y="3"/>
                </a:cxn>
                <a:cxn ang="0">
                  <a:pos x="3" y="49"/>
                </a:cxn>
              </a:cxnLst>
              <a:rect l="0" t="0" r="r" b="b"/>
              <a:pathLst>
                <a:path w="47" h="53">
                  <a:moveTo>
                    <a:pt x="45" y="53"/>
                  </a:move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2"/>
                    <a:pt x="0" y="5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0"/>
                    <a:pt x="31" y="0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4"/>
                    <a:pt x="47" y="24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2"/>
                    <a:pt x="46" y="53"/>
                    <a:pt x="45" y="53"/>
                  </a:cubicBezTo>
                  <a:close/>
                  <a:moveTo>
                    <a:pt x="3" y="49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4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93" name="Freeform 289"/>
            <p:cNvSpPr>
              <a:spLocks noEditPoints="1"/>
            </p:cNvSpPr>
            <p:nvPr/>
          </p:nvSpPr>
          <p:spPr bwMode="auto">
            <a:xfrm>
              <a:off x="5381" y="3579"/>
              <a:ext cx="81" cy="40"/>
            </a:xfrm>
            <a:custGeom>
              <a:avLst/>
              <a:gdLst/>
              <a:ahLst/>
              <a:cxnLst>
                <a:cxn ang="0">
                  <a:pos x="32" y="17"/>
                </a:cxn>
                <a:cxn ang="0">
                  <a:pos x="32" y="17"/>
                </a:cxn>
                <a:cxn ang="0">
                  <a:pos x="2" y="17"/>
                </a:cxn>
                <a:cxn ang="0">
                  <a:pos x="0" y="15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22" y="0"/>
                </a:cxn>
                <a:cxn ang="0">
                  <a:pos x="23" y="0"/>
                </a:cxn>
                <a:cxn ang="0">
                  <a:pos x="33" y="14"/>
                </a:cxn>
                <a:cxn ang="0">
                  <a:pos x="34" y="15"/>
                </a:cxn>
                <a:cxn ang="0">
                  <a:pos x="32" y="17"/>
                </a:cxn>
                <a:cxn ang="0">
                  <a:pos x="4" y="13"/>
                </a:cxn>
                <a:cxn ang="0">
                  <a:pos x="28" y="13"/>
                </a:cxn>
                <a:cxn ang="0">
                  <a:pos x="21" y="3"/>
                </a:cxn>
                <a:cxn ang="0">
                  <a:pos x="4" y="3"/>
                </a:cxn>
                <a:cxn ang="0">
                  <a:pos x="4" y="13"/>
                </a:cxn>
              </a:cxnLst>
              <a:rect l="0" t="0" r="r" b="b"/>
              <a:pathLst>
                <a:path w="34" h="17"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0" y="16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4" y="14"/>
                    <a:pt x="34" y="15"/>
                    <a:pt x="34" y="15"/>
                  </a:cubicBezTo>
                  <a:cubicBezTo>
                    <a:pt x="34" y="16"/>
                    <a:pt x="33" y="17"/>
                    <a:pt x="32" y="17"/>
                  </a:cubicBezTo>
                  <a:close/>
                  <a:moveTo>
                    <a:pt x="4" y="13"/>
                  </a:moveTo>
                  <a:cubicBezTo>
                    <a:pt x="28" y="13"/>
                    <a:pt x="28" y="13"/>
                    <a:pt x="28" y="1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4" y="3"/>
                    <a:pt x="4" y="3"/>
                    <a:pt x="4" y="3"/>
                  </a:cubicBezTo>
                  <a:lnTo>
                    <a:pt x="4" y="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94" name="Freeform 290"/>
            <p:cNvSpPr>
              <a:spLocks noEditPoints="1"/>
            </p:cNvSpPr>
            <p:nvPr/>
          </p:nvSpPr>
          <p:spPr bwMode="auto">
            <a:xfrm>
              <a:off x="5148" y="3694"/>
              <a:ext cx="333" cy="36"/>
            </a:xfrm>
            <a:custGeom>
              <a:avLst/>
              <a:gdLst/>
              <a:ahLst/>
              <a:cxnLst>
                <a:cxn ang="0">
                  <a:pos x="137" y="15"/>
                </a:cxn>
                <a:cxn ang="0">
                  <a:pos x="125" y="15"/>
                </a:cxn>
                <a:cxn ang="0">
                  <a:pos x="124" y="14"/>
                </a:cxn>
                <a:cxn ang="0">
                  <a:pos x="114" y="9"/>
                </a:cxn>
                <a:cxn ang="0">
                  <a:pos x="105" y="14"/>
                </a:cxn>
                <a:cxn ang="0">
                  <a:pos x="103" y="15"/>
                </a:cxn>
                <a:cxn ang="0">
                  <a:pos x="37" y="15"/>
                </a:cxn>
                <a:cxn ang="0">
                  <a:pos x="36" y="14"/>
                </a:cxn>
                <a:cxn ang="0">
                  <a:pos x="26" y="9"/>
                </a:cxn>
                <a:cxn ang="0">
                  <a:pos x="17" y="14"/>
                </a:cxn>
                <a:cxn ang="0">
                  <a:pos x="15" y="15"/>
                </a:cxn>
                <a:cxn ang="0">
                  <a:pos x="1" y="15"/>
                </a:cxn>
                <a:cxn ang="0">
                  <a:pos x="0" y="13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7" y="0"/>
                </a:cxn>
                <a:cxn ang="0">
                  <a:pos x="139" y="2"/>
                </a:cxn>
                <a:cxn ang="0">
                  <a:pos x="139" y="13"/>
                </a:cxn>
                <a:cxn ang="0">
                  <a:pos x="137" y="15"/>
                </a:cxn>
                <a:cxn ang="0">
                  <a:pos x="126" y="11"/>
                </a:cxn>
                <a:cxn ang="0">
                  <a:pos x="136" y="11"/>
                </a:cxn>
                <a:cxn ang="0">
                  <a:pos x="136" y="4"/>
                </a:cxn>
                <a:cxn ang="0">
                  <a:pos x="3" y="4"/>
                </a:cxn>
                <a:cxn ang="0">
                  <a:pos x="3" y="11"/>
                </a:cxn>
                <a:cxn ang="0">
                  <a:pos x="14" y="11"/>
                </a:cxn>
                <a:cxn ang="0">
                  <a:pos x="26" y="6"/>
                </a:cxn>
                <a:cxn ang="0">
                  <a:pos x="38" y="11"/>
                </a:cxn>
                <a:cxn ang="0">
                  <a:pos x="102" y="11"/>
                </a:cxn>
                <a:cxn ang="0">
                  <a:pos x="114" y="6"/>
                </a:cxn>
                <a:cxn ang="0">
                  <a:pos x="126" y="11"/>
                </a:cxn>
              </a:cxnLst>
              <a:rect l="0" t="0" r="r" b="b"/>
              <a:pathLst>
                <a:path w="139" h="15">
                  <a:moveTo>
                    <a:pt x="137" y="15"/>
                  </a:moveTo>
                  <a:cubicBezTo>
                    <a:pt x="125" y="15"/>
                    <a:pt x="125" y="15"/>
                    <a:pt x="125" y="15"/>
                  </a:cubicBezTo>
                  <a:cubicBezTo>
                    <a:pt x="124" y="15"/>
                    <a:pt x="124" y="15"/>
                    <a:pt x="124" y="14"/>
                  </a:cubicBezTo>
                  <a:cubicBezTo>
                    <a:pt x="121" y="11"/>
                    <a:pt x="118" y="9"/>
                    <a:pt x="114" y="9"/>
                  </a:cubicBezTo>
                  <a:cubicBezTo>
                    <a:pt x="110" y="9"/>
                    <a:pt x="107" y="11"/>
                    <a:pt x="105" y="14"/>
                  </a:cubicBezTo>
                  <a:cubicBezTo>
                    <a:pt x="104" y="15"/>
                    <a:pt x="104" y="15"/>
                    <a:pt x="103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6" y="15"/>
                    <a:pt x="36" y="14"/>
                  </a:cubicBezTo>
                  <a:cubicBezTo>
                    <a:pt x="34" y="11"/>
                    <a:pt x="30" y="9"/>
                    <a:pt x="26" y="9"/>
                  </a:cubicBezTo>
                  <a:cubicBezTo>
                    <a:pt x="23" y="9"/>
                    <a:pt x="19" y="11"/>
                    <a:pt x="17" y="14"/>
                  </a:cubicBezTo>
                  <a:cubicBezTo>
                    <a:pt x="16" y="15"/>
                    <a:pt x="16" y="15"/>
                    <a:pt x="15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8" y="0"/>
                    <a:pt x="139" y="1"/>
                    <a:pt x="139" y="2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39" y="14"/>
                    <a:pt x="138" y="15"/>
                    <a:pt x="137" y="15"/>
                  </a:cubicBezTo>
                  <a:close/>
                  <a:moveTo>
                    <a:pt x="126" y="11"/>
                  </a:moveTo>
                  <a:cubicBezTo>
                    <a:pt x="136" y="11"/>
                    <a:pt x="136" y="11"/>
                    <a:pt x="136" y="11"/>
                  </a:cubicBezTo>
                  <a:cubicBezTo>
                    <a:pt x="136" y="4"/>
                    <a:pt x="136" y="4"/>
                    <a:pt x="136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7" y="8"/>
                    <a:pt x="22" y="6"/>
                    <a:pt x="26" y="6"/>
                  </a:cubicBezTo>
                  <a:cubicBezTo>
                    <a:pt x="31" y="6"/>
                    <a:pt x="35" y="8"/>
                    <a:pt x="38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5" y="8"/>
                    <a:pt x="110" y="6"/>
                    <a:pt x="114" y="6"/>
                  </a:cubicBezTo>
                  <a:cubicBezTo>
                    <a:pt x="119" y="6"/>
                    <a:pt x="123" y="8"/>
                    <a:pt x="126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95" name="Freeform 291"/>
            <p:cNvSpPr>
              <a:spLocks noEditPoints="1"/>
            </p:cNvSpPr>
            <p:nvPr/>
          </p:nvSpPr>
          <p:spPr bwMode="auto">
            <a:xfrm>
              <a:off x="5184" y="3720"/>
              <a:ext cx="53" cy="53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0" y="11"/>
                </a:cxn>
                <a:cxn ang="0">
                  <a:pos x="11" y="0"/>
                </a:cxn>
                <a:cxn ang="0">
                  <a:pos x="22" y="11"/>
                </a:cxn>
                <a:cxn ang="0">
                  <a:pos x="11" y="22"/>
                </a:cxn>
                <a:cxn ang="0">
                  <a:pos x="11" y="4"/>
                </a:cxn>
                <a:cxn ang="0">
                  <a:pos x="4" y="11"/>
                </a:cxn>
                <a:cxn ang="0">
                  <a:pos x="11" y="18"/>
                </a:cxn>
                <a:cxn ang="0">
                  <a:pos x="18" y="11"/>
                </a:cxn>
                <a:cxn ang="0">
                  <a:pos x="11" y="4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17"/>
                    <a:pt x="17" y="22"/>
                    <a:pt x="11" y="22"/>
                  </a:cubicBezTo>
                  <a:close/>
                  <a:moveTo>
                    <a:pt x="11" y="4"/>
                  </a:moveTo>
                  <a:cubicBezTo>
                    <a:pt x="7" y="4"/>
                    <a:pt x="4" y="7"/>
                    <a:pt x="4" y="11"/>
                  </a:cubicBezTo>
                  <a:cubicBezTo>
                    <a:pt x="4" y="15"/>
                    <a:pt x="7" y="18"/>
                    <a:pt x="11" y="18"/>
                  </a:cubicBezTo>
                  <a:cubicBezTo>
                    <a:pt x="15" y="18"/>
                    <a:pt x="18" y="15"/>
                    <a:pt x="18" y="11"/>
                  </a:cubicBezTo>
                  <a:cubicBezTo>
                    <a:pt x="18" y="7"/>
                    <a:pt x="15" y="4"/>
                    <a:pt x="11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96" name="Freeform 292"/>
            <p:cNvSpPr>
              <a:spLocks noEditPoints="1"/>
            </p:cNvSpPr>
            <p:nvPr/>
          </p:nvSpPr>
          <p:spPr bwMode="auto">
            <a:xfrm>
              <a:off x="5397" y="3720"/>
              <a:ext cx="51" cy="53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0" y="11"/>
                </a:cxn>
                <a:cxn ang="0">
                  <a:pos x="10" y="0"/>
                </a:cxn>
                <a:cxn ang="0">
                  <a:pos x="21" y="11"/>
                </a:cxn>
                <a:cxn ang="0">
                  <a:pos x="10" y="22"/>
                </a:cxn>
                <a:cxn ang="0">
                  <a:pos x="10" y="4"/>
                </a:cxn>
                <a:cxn ang="0">
                  <a:pos x="3" y="11"/>
                </a:cxn>
                <a:cxn ang="0">
                  <a:pos x="10" y="18"/>
                </a:cxn>
                <a:cxn ang="0">
                  <a:pos x="18" y="11"/>
                </a:cxn>
                <a:cxn ang="0">
                  <a:pos x="10" y="4"/>
                </a:cxn>
              </a:cxnLst>
              <a:rect l="0" t="0" r="r" b="b"/>
              <a:pathLst>
                <a:path w="21" h="22">
                  <a:moveTo>
                    <a:pt x="10" y="22"/>
                  </a:moveTo>
                  <a:cubicBezTo>
                    <a:pt x="4" y="22"/>
                    <a:pt x="0" y="17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1" y="5"/>
                    <a:pt x="21" y="11"/>
                  </a:cubicBezTo>
                  <a:cubicBezTo>
                    <a:pt x="21" y="17"/>
                    <a:pt x="16" y="22"/>
                    <a:pt x="10" y="22"/>
                  </a:cubicBezTo>
                  <a:close/>
                  <a:moveTo>
                    <a:pt x="10" y="4"/>
                  </a:moveTo>
                  <a:cubicBezTo>
                    <a:pt x="6" y="4"/>
                    <a:pt x="3" y="7"/>
                    <a:pt x="3" y="11"/>
                  </a:cubicBezTo>
                  <a:cubicBezTo>
                    <a:pt x="3" y="15"/>
                    <a:pt x="6" y="18"/>
                    <a:pt x="10" y="18"/>
                  </a:cubicBezTo>
                  <a:cubicBezTo>
                    <a:pt x="14" y="18"/>
                    <a:pt x="18" y="15"/>
                    <a:pt x="18" y="11"/>
                  </a:cubicBezTo>
                  <a:cubicBezTo>
                    <a:pt x="18" y="7"/>
                    <a:pt x="14" y="4"/>
                    <a:pt x="10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97" name="Freeform 293"/>
            <p:cNvSpPr>
              <a:spLocks noEditPoints="1"/>
            </p:cNvSpPr>
            <p:nvPr/>
          </p:nvSpPr>
          <p:spPr bwMode="auto">
            <a:xfrm>
              <a:off x="5071" y="3408"/>
              <a:ext cx="494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4"/>
                </a:cxn>
                <a:cxn ang="0">
                  <a:pos x="4" y="103"/>
                </a:cxn>
                <a:cxn ang="0">
                  <a:pos x="103" y="202"/>
                </a:cxn>
                <a:cxn ang="0">
                  <a:pos x="202" y="103"/>
                </a:cxn>
                <a:cxn ang="0">
                  <a:pos x="103" y="4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4"/>
                  </a:moveTo>
                  <a:cubicBezTo>
                    <a:pt x="48" y="4"/>
                    <a:pt x="4" y="48"/>
                    <a:pt x="4" y="103"/>
                  </a:cubicBezTo>
                  <a:cubicBezTo>
                    <a:pt x="4" y="158"/>
                    <a:pt x="48" y="202"/>
                    <a:pt x="103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8"/>
                    <a:pt x="158" y="4"/>
                    <a:pt x="103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8" name="Table 407">
            <a:extLst>
              <a:ext uri="{FF2B5EF4-FFF2-40B4-BE49-F238E27FC236}">
                <a16:creationId xmlns:a16="http://schemas.microsoft.com/office/drawing/2014/main" id="{B0D9E186-C291-4348-AA3D-8EC59163BA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858009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witter (1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mbrella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p Arro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aluatio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ideo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bsi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h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ine Bottl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orks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YouTube (1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k Lif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dium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spital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cation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obal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Clients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nt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conomic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News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cyc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5300" name="Group 4"/>
          <p:cNvGrpSpPr>
            <a:grpSpLocks noChangeAspect="1"/>
          </p:cNvGrpSpPr>
          <p:nvPr/>
        </p:nvGrpSpPr>
        <p:grpSpPr bwMode="auto">
          <a:xfrm>
            <a:off x="349251" y="255588"/>
            <a:ext cx="836612" cy="836612"/>
            <a:chOff x="213" y="161"/>
            <a:chExt cx="527" cy="527"/>
          </a:xfrm>
        </p:grpSpPr>
        <p:sp>
          <p:nvSpPr>
            <p:cNvPr id="55301" name="Oval 5"/>
            <p:cNvSpPr>
              <a:spLocks noChangeArrowheads="1"/>
            </p:cNvSpPr>
            <p:nvPr/>
          </p:nvSpPr>
          <p:spPr bwMode="auto">
            <a:xfrm>
              <a:off x="213" y="161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02" name="Freeform 6"/>
            <p:cNvSpPr>
              <a:spLocks noEditPoints="1"/>
            </p:cNvSpPr>
            <p:nvPr/>
          </p:nvSpPr>
          <p:spPr bwMode="auto">
            <a:xfrm>
              <a:off x="234" y="183"/>
              <a:ext cx="485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3" name="Freeform 7"/>
            <p:cNvSpPr>
              <a:spLocks noEditPoints="1"/>
            </p:cNvSpPr>
            <p:nvPr/>
          </p:nvSpPr>
          <p:spPr bwMode="auto">
            <a:xfrm>
              <a:off x="335" y="319"/>
              <a:ext cx="293" cy="244"/>
            </a:xfrm>
            <a:custGeom>
              <a:avLst/>
              <a:gdLst/>
              <a:ahLst/>
              <a:cxnLst>
                <a:cxn ang="0">
                  <a:pos x="113" y="14"/>
                </a:cxn>
                <a:cxn ang="0">
                  <a:pos x="119" y="5"/>
                </a:cxn>
                <a:cxn ang="0">
                  <a:pos x="116" y="2"/>
                </a:cxn>
                <a:cxn ang="0">
                  <a:pos x="102" y="8"/>
                </a:cxn>
                <a:cxn ang="0">
                  <a:pos x="84" y="0"/>
                </a:cxn>
                <a:cxn ang="0">
                  <a:pos x="57" y="27"/>
                </a:cxn>
                <a:cxn ang="0">
                  <a:pos x="58" y="30"/>
                </a:cxn>
                <a:cxn ang="0">
                  <a:pos x="10" y="6"/>
                </a:cxn>
                <a:cxn ang="0">
                  <a:pos x="7" y="6"/>
                </a:cxn>
                <a:cxn ang="0">
                  <a:pos x="4" y="19"/>
                </a:cxn>
                <a:cxn ang="0">
                  <a:pos x="11" y="37"/>
                </a:cxn>
                <a:cxn ang="0">
                  <a:pos x="6" y="35"/>
                </a:cxn>
                <a:cxn ang="0">
                  <a:pos x="4" y="36"/>
                </a:cxn>
                <a:cxn ang="0">
                  <a:pos x="4" y="37"/>
                </a:cxn>
                <a:cxn ang="0">
                  <a:pos x="17" y="60"/>
                </a:cxn>
                <a:cxn ang="0">
                  <a:pos x="14" y="60"/>
                </a:cxn>
                <a:cxn ang="0">
                  <a:pos x="12" y="62"/>
                </a:cxn>
                <a:cxn ang="0">
                  <a:pos x="32" y="80"/>
                </a:cxn>
                <a:cxn ang="0">
                  <a:pos x="7" y="87"/>
                </a:cxn>
                <a:cxn ang="0">
                  <a:pos x="1" y="87"/>
                </a:cxn>
                <a:cxn ang="0">
                  <a:pos x="0" y="90"/>
                </a:cxn>
                <a:cxn ang="0">
                  <a:pos x="38" y="102"/>
                </a:cxn>
                <a:cxn ang="0">
                  <a:pos x="92" y="78"/>
                </a:cxn>
                <a:cxn ang="0">
                  <a:pos x="110" y="30"/>
                </a:cxn>
                <a:cxn ang="0">
                  <a:pos x="110" y="27"/>
                </a:cxn>
                <a:cxn ang="0">
                  <a:pos x="122" y="15"/>
                </a:cxn>
                <a:cxn ang="0">
                  <a:pos x="120" y="12"/>
                </a:cxn>
                <a:cxn ang="0">
                  <a:pos x="113" y="14"/>
                </a:cxn>
                <a:cxn ang="0">
                  <a:pos x="107" y="25"/>
                </a:cxn>
                <a:cxn ang="0">
                  <a:pos x="107" y="27"/>
                </a:cxn>
                <a:cxn ang="0">
                  <a:pos x="107" y="30"/>
                </a:cxn>
                <a:cxn ang="0">
                  <a:pos x="38" y="98"/>
                </a:cxn>
                <a:cxn ang="0">
                  <a:pos x="8" y="91"/>
                </a:cxn>
                <a:cxn ang="0">
                  <a:pos x="38" y="80"/>
                </a:cxn>
                <a:cxn ang="0">
                  <a:pos x="37" y="77"/>
                </a:cxn>
                <a:cxn ang="0">
                  <a:pos x="17" y="64"/>
                </a:cxn>
                <a:cxn ang="0">
                  <a:pos x="26" y="63"/>
                </a:cxn>
                <a:cxn ang="0">
                  <a:pos x="26" y="59"/>
                </a:cxn>
                <a:cxn ang="0">
                  <a:pos x="7" y="39"/>
                </a:cxn>
                <a:cxn ang="0">
                  <a:pos x="17" y="41"/>
                </a:cxn>
                <a:cxn ang="0">
                  <a:pos x="18" y="38"/>
                </a:cxn>
                <a:cxn ang="0">
                  <a:pos x="8" y="19"/>
                </a:cxn>
                <a:cxn ang="0">
                  <a:pos x="9" y="10"/>
                </a:cxn>
                <a:cxn ang="0">
                  <a:pos x="60" y="34"/>
                </a:cxn>
                <a:cxn ang="0">
                  <a:pos x="62" y="32"/>
                </a:cxn>
                <a:cxn ang="0">
                  <a:pos x="61" y="27"/>
                </a:cxn>
                <a:cxn ang="0">
                  <a:pos x="84" y="4"/>
                </a:cxn>
                <a:cxn ang="0">
                  <a:pos x="100" y="11"/>
                </a:cxn>
                <a:cxn ang="0">
                  <a:pos x="102" y="12"/>
                </a:cxn>
                <a:cxn ang="0">
                  <a:pos x="114" y="8"/>
                </a:cxn>
                <a:cxn ang="0">
                  <a:pos x="106" y="16"/>
                </a:cxn>
                <a:cxn ang="0">
                  <a:pos x="107" y="19"/>
                </a:cxn>
                <a:cxn ang="0">
                  <a:pos x="115" y="18"/>
                </a:cxn>
                <a:cxn ang="0">
                  <a:pos x="107" y="25"/>
                </a:cxn>
              </a:cxnLst>
              <a:rect l="0" t="0" r="r" b="b"/>
              <a:pathLst>
                <a:path w="122" h="102">
                  <a:moveTo>
                    <a:pt x="113" y="14"/>
                  </a:moveTo>
                  <a:cubicBezTo>
                    <a:pt x="116" y="12"/>
                    <a:pt x="118" y="8"/>
                    <a:pt x="119" y="5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2" y="5"/>
                    <a:pt x="107" y="7"/>
                    <a:pt x="102" y="8"/>
                  </a:cubicBezTo>
                  <a:cubicBezTo>
                    <a:pt x="97" y="3"/>
                    <a:pt x="91" y="0"/>
                    <a:pt x="84" y="0"/>
                  </a:cubicBezTo>
                  <a:cubicBezTo>
                    <a:pt x="69" y="0"/>
                    <a:pt x="57" y="12"/>
                    <a:pt x="57" y="27"/>
                  </a:cubicBezTo>
                  <a:cubicBezTo>
                    <a:pt x="57" y="28"/>
                    <a:pt x="57" y="29"/>
                    <a:pt x="58" y="30"/>
                  </a:cubicBezTo>
                  <a:cubicBezTo>
                    <a:pt x="39" y="29"/>
                    <a:pt x="22" y="20"/>
                    <a:pt x="10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10"/>
                    <a:pt x="4" y="14"/>
                    <a:pt x="4" y="19"/>
                  </a:cubicBezTo>
                  <a:cubicBezTo>
                    <a:pt x="4" y="26"/>
                    <a:pt x="6" y="32"/>
                    <a:pt x="11" y="37"/>
                  </a:cubicBezTo>
                  <a:cubicBezTo>
                    <a:pt x="9" y="36"/>
                    <a:pt x="8" y="36"/>
                    <a:pt x="6" y="35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47"/>
                    <a:pt x="9" y="55"/>
                    <a:pt x="17" y="60"/>
                  </a:cubicBezTo>
                  <a:cubicBezTo>
                    <a:pt x="16" y="60"/>
                    <a:pt x="15" y="60"/>
                    <a:pt x="14" y="6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5" y="71"/>
                    <a:pt x="23" y="78"/>
                    <a:pt x="32" y="80"/>
                  </a:cubicBezTo>
                  <a:cubicBezTo>
                    <a:pt x="25" y="85"/>
                    <a:pt x="16" y="87"/>
                    <a:pt x="7" y="87"/>
                  </a:cubicBezTo>
                  <a:cubicBezTo>
                    <a:pt x="5" y="87"/>
                    <a:pt x="3" y="87"/>
                    <a:pt x="1" y="87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1" y="98"/>
                    <a:pt x="25" y="102"/>
                    <a:pt x="38" y="102"/>
                  </a:cubicBezTo>
                  <a:cubicBezTo>
                    <a:pt x="65" y="102"/>
                    <a:pt x="82" y="89"/>
                    <a:pt x="92" y="78"/>
                  </a:cubicBezTo>
                  <a:cubicBezTo>
                    <a:pt x="104" y="65"/>
                    <a:pt x="110" y="47"/>
                    <a:pt x="110" y="30"/>
                  </a:cubicBezTo>
                  <a:cubicBezTo>
                    <a:pt x="110" y="29"/>
                    <a:pt x="110" y="28"/>
                    <a:pt x="110" y="27"/>
                  </a:cubicBezTo>
                  <a:cubicBezTo>
                    <a:pt x="115" y="24"/>
                    <a:pt x="119" y="20"/>
                    <a:pt x="122" y="15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8" y="13"/>
                    <a:pt x="116" y="14"/>
                    <a:pt x="113" y="14"/>
                  </a:cubicBezTo>
                  <a:close/>
                  <a:moveTo>
                    <a:pt x="107" y="25"/>
                  </a:moveTo>
                  <a:cubicBezTo>
                    <a:pt x="107" y="27"/>
                    <a:pt x="107" y="27"/>
                    <a:pt x="107" y="27"/>
                  </a:cubicBezTo>
                  <a:cubicBezTo>
                    <a:pt x="107" y="28"/>
                    <a:pt x="107" y="29"/>
                    <a:pt x="107" y="30"/>
                  </a:cubicBezTo>
                  <a:cubicBezTo>
                    <a:pt x="107" y="63"/>
                    <a:pt x="81" y="98"/>
                    <a:pt x="38" y="98"/>
                  </a:cubicBezTo>
                  <a:cubicBezTo>
                    <a:pt x="28" y="98"/>
                    <a:pt x="18" y="96"/>
                    <a:pt x="8" y="91"/>
                  </a:cubicBezTo>
                  <a:cubicBezTo>
                    <a:pt x="19" y="91"/>
                    <a:pt x="30" y="87"/>
                    <a:pt x="38" y="80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28" y="77"/>
                    <a:pt x="21" y="71"/>
                    <a:pt x="17" y="64"/>
                  </a:cubicBezTo>
                  <a:cubicBezTo>
                    <a:pt x="20" y="64"/>
                    <a:pt x="23" y="64"/>
                    <a:pt x="26" y="63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16" y="57"/>
                    <a:pt x="9" y="49"/>
                    <a:pt x="7" y="39"/>
                  </a:cubicBezTo>
                  <a:cubicBezTo>
                    <a:pt x="10" y="41"/>
                    <a:pt x="13" y="41"/>
                    <a:pt x="17" y="41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1" y="34"/>
                    <a:pt x="8" y="27"/>
                    <a:pt x="8" y="19"/>
                  </a:cubicBezTo>
                  <a:cubicBezTo>
                    <a:pt x="8" y="16"/>
                    <a:pt x="8" y="13"/>
                    <a:pt x="9" y="10"/>
                  </a:cubicBezTo>
                  <a:cubicBezTo>
                    <a:pt x="22" y="25"/>
                    <a:pt x="40" y="33"/>
                    <a:pt x="60" y="34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1" y="30"/>
                    <a:pt x="61" y="29"/>
                    <a:pt x="61" y="27"/>
                  </a:cubicBezTo>
                  <a:cubicBezTo>
                    <a:pt x="61" y="14"/>
                    <a:pt x="71" y="4"/>
                    <a:pt x="84" y="4"/>
                  </a:cubicBezTo>
                  <a:cubicBezTo>
                    <a:pt x="90" y="4"/>
                    <a:pt x="96" y="7"/>
                    <a:pt x="100" y="11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06" y="11"/>
                    <a:pt x="110" y="10"/>
                    <a:pt x="114" y="8"/>
                  </a:cubicBezTo>
                  <a:cubicBezTo>
                    <a:pt x="112" y="11"/>
                    <a:pt x="109" y="14"/>
                    <a:pt x="106" y="16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10" y="19"/>
                    <a:pt x="113" y="19"/>
                    <a:pt x="115" y="18"/>
                  </a:cubicBezTo>
                  <a:cubicBezTo>
                    <a:pt x="113" y="20"/>
                    <a:pt x="110" y="23"/>
                    <a:pt x="107" y="2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306" name="Group 10"/>
          <p:cNvGrpSpPr>
            <a:grpSpLocks noChangeAspect="1"/>
          </p:cNvGrpSpPr>
          <p:nvPr/>
        </p:nvGrpSpPr>
        <p:grpSpPr bwMode="auto">
          <a:xfrm>
            <a:off x="1468438" y="288925"/>
            <a:ext cx="768350" cy="768350"/>
            <a:chOff x="920" y="182"/>
            <a:chExt cx="484" cy="484"/>
          </a:xfrm>
        </p:grpSpPr>
        <p:sp>
          <p:nvSpPr>
            <p:cNvPr id="55307" name="Freeform 11"/>
            <p:cNvSpPr>
              <a:spLocks noEditPoints="1"/>
            </p:cNvSpPr>
            <p:nvPr/>
          </p:nvSpPr>
          <p:spPr bwMode="auto">
            <a:xfrm>
              <a:off x="920" y="18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8" name="Freeform 12"/>
            <p:cNvSpPr>
              <a:spLocks noEditPoints="1"/>
            </p:cNvSpPr>
            <p:nvPr/>
          </p:nvSpPr>
          <p:spPr bwMode="auto">
            <a:xfrm>
              <a:off x="1021" y="319"/>
              <a:ext cx="292" cy="244"/>
            </a:xfrm>
            <a:custGeom>
              <a:avLst/>
              <a:gdLst/>
              <a:ahLst/>
              <a:cxnLst>
                <a:cxn ang="0">
                  <a:pos x="113" y="14"/>
                </a:cxn>
                <a:cxn ang="0">
                  <a:pos x="119" y="5"/>
                </a:cxn>
                <a:cxn ang="0">
                  <a:pos x="116" y="2"/>
                </a:cxn>
                <a:cxn ang="0">
                  <a:pos x="102" y="8"/>
                </a:cxn>
                <a:cxn ang="0">
                  <a:pos x="84" y="0"/>
                </a:cxn>
                <a:cxn ang="0">
                  <a:pos x="57" y="27"/>
                </a:cxn>
                <a:cxn ang="0">
                  <a:pos x="58" y="30"/>
                </a:cxn>
                <a:cxn ang="0">
                  <a:pos x="10" y="6"/>
                </a:cxn>
                <a:cxn ang="0">
                  <a:pos x="7" y="6"/>
                </a:cxn>
                <a:cxn ang="0">
                  <a:pos x="4" y="19"/>
                </a:cxn>
                <a:cxn ang="0">
                  <a:pos x="11" y="37"/>
                </a:cxn>
                <a:cxn ang="0">
                  <a:pos x="6" y="35"/>
                </a:cxn>
                <a:cxn ang="0">
                  <a:pos x="4" y="36"/>
                </a:cxn>
                <a:cxn ang="0">
                  <a:pos x="4" y="37"/>
                </a:cxn>
                <a:cxn ang="0">
                  <a:pos x="17" y="60"/>
                </a:cxn>
                <a:cxn ang="0">
                  <a:pos x="14" y="60"/>
                </a:cxn>
                <a:cxn ang="0">
                  <a:pos x="12" y="62"/>
                </a:cxn>
                <a:cxn ang="0">
                  <a:pos x="32" y="80"/>
                </a:cxn>
                <a:cxn ang="0">
                  <a:pos x="7" y="87"/>
                </a:cxn>
                <a:cxn ang="0">
                  <a:pos x="1" y="87"/>
                </a:cxn>
                <a:cxn ang="0">
                  <a:pos x="0" y="90"/>
                </a:cxn>
                <a:cxn ang="0">
                  <a:pos x="38" y="102"/>
                </a:cxn>
                <a:cxn ang="0">
                  <a:pos x="92" y="78"/>
                </a:cxn>
                <a:cxn ang="0">
                  <a:pos x="110" y="30"/>
                </a:cxn>
                <a:cxn ang="0">
                  <a:pos x="110" y="27"/>
                </a:cxn>
                <a:cxn ang="0">
                  <a:pos x="122" y="15"/>
                </a:cxn>
                <a:cxn ang="0">
                  <a:pos x="120" y="12"/>
                </a:cxn>
                <a:cxn ang="0">
                  <a:pos x="113" y="14"/>
                </a:cxn>
                <a:cxn ang="0">
                  <a:pos x="107" y="25"/>
                </a:cxn>
                <a:cxn ang="0">
                  <a:pos x="107" y="27"/>
                </a:cxn>
                <a:cxn ang="0">
                  <a:pos x="107" y="30"/>
                </a:cxn>
                <a:cxn ang="0">
                  <a:pos x="38" y="98"/>
                </a:cxn>
                <a:cxn ang="0">
                  <a:pos x="8" y="91"/>
                </a:cxn>
                <a:cxn ang="0">
                  <a:pos x="38" y="80"/>
                </a:cxn>
                <a:cxn ang="0">
                  <a:pos x="37" y="77"/>
                </a:cxn>
                <a:cxn ang="0">
                  <a:pos x="17" y="64"/>
                </a:cxn>
                <a:cxn ang="0">
                  <a:pos x="26" y="63"/>
                </a:cxn>
                <a:cxn ang="0">
                  <a:pos x="26" y="59"/>
                </a:cxn>
                <a:cxn ang="0">
                  <a:pos x="7" y="39"/>
                </a:cxn>
                <a:cxn ang="0">
                  <a:pos x="17" y="41"/>
                </a:cxn>
                <a:cxn ang="0">
                  <a:pos x="18" y="38"/>
                </a:cxn>
                <a:cxn ang="0">
                  <a:pos x="8" y="19"/>
                </a:cxn>
                <a:cxn ang="0">
                  <a:pos x="9" y="10"/>
                </a:cxn>
                <a:cxn ang="0">
                  <a:pos x="60" y="34"/>
                </a:cxn>
                <a:cxn ang="0">
                  <a:pos x="62" y="32"/>
                </a:cxn>
                <a:cxn ang="0">
                  <a:pos x="61" y="27"/>
                </a:cxn>
                <a:cxn ang="0">
                  <a:pos x="84" y="4"/>
                </a:cxn>
                <a:cxn ang="0">
                  <a:pos x="100" y="11"/>
                </a:cxn>
                <a:cxn ang="0">
                  <a:pos x="102" y="12"/>
                </a:cxn>
                <a:cxn ang="0">
                  <a:pos x="114" y="8"/>
                </a:cxn>
                <a:cxn ang="0">
                  <a:pos x="106" y="16"/>
                </a:cxn>
                <a:cxn ang="0">
                  <a:pos x="107" y="19"/>
                </a:cxn>
                <a:cxn ang="0">
                  <a:pos x="115" y="18"/>
                </a:cxn>
                <a:cxn ang="0">
                  <a:pos x="107" y="25"/>
                </a:cxn>
              </a:cxnLst>
              <a:rect l="0" t="0" r="r" b="b"/>
              <a:pathLst>
                <a:path w="122" h="102">
                  <a:moveTo>
                    <a:pt x="113" y="14"/>
                  </a:moveTo>
                  <a:cubicBezTo>
                    <a:pt x="116" y="12"/>
                    <a:pt x="118" y="8"/>
                    <a:pt x="119" y="5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2" y="5"/>
                    <a:pt x="107" y="7"/>
                    <a:pt x="102" y="8"/>
                  </a:cubicBezTo>
                  <a:cubicBezTo>
                    <a:pt x="97" y="3"/>
                    <a:pt x="91" y="0"/>
                    <a:pt x="84" y="0"/>
                  </a:cubicBezTo>
                  <a:cubicBezTo>
                    <a:pt x="69" y="0"/>
                    <a:pt x="57" y="12"/>
                    <a:pt x="57" y="27"/>
                  </a:cubicBezTo>
                  <a:cubicBezTo>
                    <a:pt x="57" y="28"/>
                    <a:pt x="57" y="29"/>
                    <a:pt x="58" y="30"/>
                  </a:cubicBezTo>
                  <a:cubicBezTo>
                    <a:pt x="39" y="29"/>
                    <a:pt x="22" y="20"/>
                    <a:pt x="10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10"/>
                    <a:pt x="4" y="14"/>
                    <a:pt x="4" y="19"/>
                  </a:cubicBezTo>
                  <a:cubicBezTo>
                    <a:pt x="4" y="26"/>
                    <a:pt x="6" y="32"/>
                    <a:pt x="11" y="37"/>
                  </a:cubicBezTo>
                  <a:cubicBezTo>
                    <a:pt x="9" y="36"/>
                    <a:pt x="8" y="36"/>
                    <a:pt x="6" y="35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47"/>
                    <a:pt x="9" y="55"/>
                    <a:pt x="17" y="60"/>
                  </a:cubicBezTo>
                  <a:cubicBezTo>
                    <a:pt x="16" y="60"/>
                    <a:pt x="15" y="60"/>
                    <a:pt x="14" y="6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5" y="71"/>
                    <a:pt x="23" y="78"/>
                    <a:pt x="32" y="80"/>
                  </a:cubicBezTo>
                  <a:cubicBezTo>
                    <a:pt x="25" y="85"/>
                    <a:pt x="16" y="87"/>
                    <a:pt x="7" y="87"/>
                  </a:cubicBezTo>
                  <a:cubicBezTo>
                    <a:pt x="5" y="87"/>
                    <a:pt x="3" y="87"/>
                    <a:pt x="1" y="87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1" y="98"/>
                    <a:pt x="25" y="102"/>
                    <a:pt x="38" y="102"/>
                  </a:cubicBezTo>
                  <a:cubicBezTo>
                    <a:pt x="65" y="102"/>
                    <a:pt x="82" y="89"/>
                    <a:pt x="92" y="78"/>
                  </a:cubicBezTo>
                  <a:cubicBezTo>
                    <a:pt x="104" y="65"/>
                    <a:pt x="110" y="47"/>
                    <a:pt x="110" y="30"/>
                  </a:cubicBezTo>
                  <a:cubicBezTo>
                    <a:pt x="110" y="29"/>
                    <a:pt x="110" y="28"/>
                    <a:pt x="110" y="27"/>
                  </a:cubicBezTo>
                  <a:cubicBezTo>
                    <a:pt x="115" y="24"/>
                    <a:pt x="119" y="20"/>
                    <a:pt x="122" y="15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8" y="13"/>
                    <a:pt x="116" y="14"/>
                    <a:pt x="113" y="14"/>
                  </a:cubicBezTo>
                  <a:close/>
                  <a:moveTo>
                    <a:pt x="107" y="25"/>
                  </a:moveTo>
                  <a:cubicBezTo>
                    <a:pt x="107" y="27"/>
                    <a:pt x="107" y="27"/>
                    <a:pt x="107" y="27"/>
                  </a:cubicBezTo>
                  <a:cubicBezTo>
                    <a:pt x="107" y="28"/>
                    <a:pt x="107" y="29"/>
                    <a:pt x="107" y="30"/>
                  </a:cubicBezTo>
                  <a:cubicBezTo>
                    <a:pt x="107" y="63"/>
                    <a:pt x="81" y="98"/>
                    <a:pt x="38" y="98"/>
                  </a:cubicBezTo>
                  <a:cubicBezTo>
                    <a:pt x="28" y="98"/>
                    <a:pt x="18" y="96"/>
                    <a:pt x="8" y="91"/>
                  </a:cubicBezTo>
                  <a:cubicBezTo>
                    <a:pt x="19" y="91"/>
                    <a:pt x="30" y="87"/>
                    <a:pt x="38" y="80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28" y="77"/>
                    <a:pt x="21" y="71"/>
                    <a:pt x="17" y="64"/>
                  </a:cubicBezTo>
                  <a:cubicBezTo>
                    <a:pt x="20" y="64"/>
                    <a:pt x="23" y="64"/>
                    <a:pt x="26" y="63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16" y="57"/>
                    <a:pt x="9" y="49"/>
                    <a:pt x="7" y="39"/>
                  </a:cubicBezTo>
                  <a:cubicBezTo>
                    <a:pt x="10" y="41"/>
                    <a:pt x="13" y="41"/>
                    <a:pt x="17" y="41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1" y="34"/>
                    <a:pt x="8" y="27"/>
                    <a:pt x="8" y="19"/>
                  </a:cubicBezTo>
                  <a:cubicBezTo>
                    <a:pt x="8" y="16"/>
                    <a:pt x="8" y="13"/>
                    <a:pt x="9" y="10"/>
                  </a:cubicBezTo>
                  <a:cubicBezTo>
                    <a:pt x="22" y="25"/>
                    <a:pt x="40" y="33"/>
                    <a:pt x="60" y="34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1" y="30"/>
                    <a:pt x="61" y="29"/>
                    <a:pt x="61" y="27"/>
                  </a:cubicBezTo>
                  <a:cubicBezTo>
                    <a:pt x="61" y="14"/>
                    <a:pt x="71" y="4"/>
                    <a:pt x="84" y="4"/>
                  </a:cubicBezTo>
                  <a:cubicBezTo>
                    <a:pt x="90" y="4"/>
                    <a:pt x="96" y="7"/>
                    <a:pt x="100" y="11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06" y="11"/>
                    <a:pt x="110" y="10"/>
                    <a:pt x="114" y="8"/>
                  </a:cubicBezTo>
                  <a:cubicBezTo>
                    <a:pt x="112" y="11"/>
                    <a:pt x="109" y="14"/>
                    <a:pt x="106" y="16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10" y="19"/>
                    <a:pt x="113" y="19"/>
                    <a:pt x="115" y="18"/>
                  </a:cubicBezTo>
                  <a:cubicBezTo>
                    <a:pt x="113" y="20"/>
                    <a:pt x="110" y="23"/>
                    <a:pt x="107" y="2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311" name="Group 15"/>
          <p:cNvGrpSpPr>
            <a:grpSpLocks noChangeAspect="1"/>
          </p:cNvGrpSpPr>
          <p:nvPr/>
        </p:nvGrpSpPr>
        <p:grpSpPr bwMode="auto">
          <a:xfrm>
            <a:off x="2517775" y="246063"/>
            <a:ext cx="850900" cy="852487"/>
            <a:chOff x="1582" y="155"/>
            <a:chExt cx="536" cy="537"/>
          </a:xfrm>
        </p:grpSpPr>
        <p:sp>
          <p:nvSpPr>
            <p:cNvPr id="55312" name="Oval 16"/>
            <p:cNvSpPr>
              <a:spLocks noChangeArrowheads="1"/>
            </p:cNvSpPr>
            <p:nvPr/>
          </p:nvSpPr>
          <p:spPr bwMode="auto">
            <a:xfrm>
              <a:off x="1582" y="155"/>
              <a:ext cx="536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13" name="Freeform 17"/>
            <p:cNvSpPr>
              <a:spLocks noEditPoints="1"/>
            </p:cNvSpPr>
            <p:nvPr/>
          </p:nvSpPr>
          <p:spPr bwMode="auto">
            <a:xfrm>
              <a:off x="1601" y="177"/>
              <a:ext cx="498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2"/>
                </a:cxn>
              </a:cxnLst>
              <a:rect l="0" t="0" r="r" b="b"/>
              <a:pathLst>
                <a:path w="208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8"/>
                    <a:pt x="5" y="104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3" y="49"/>
                    <a:pt x="203" y="104"/>
                  </a:cubicBezTo>
                  <a:cubicBezTo>
                    <a:pt x="203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4" name="Freeform 18"/>
            <p:cNvSpPr>
              <a:spLocks noEditPoints="1"/>
            </p:cNvSpPr>
            <p:nvPr/>
          </p:nvSpPr>
          <p:spPr bwMode="auto">
            <a:xfrm>
              <a:off x="1692" y="258"/>
              <a:ext cx="316" cy="328"/>
            </a:xfrm>
            <a:custGeom>
              <a:avLst/>
              <a:gdLst/>
              <a:ahLst/>
              <a:cxnLst>
                <a:cxn ang="0">
                  <a:pos x="68" y="9"/>
                </a:cxn>
                <a:cxn ang="0">
                  <a:pos x="68" y="2"/>
                </a:cxn>
                <a:cxn ang="0">
                  <a:pos x="66" y="0"/>
                </a:cxn>
                <a:cxn ang="0">
                  <a:pos x="64" y="2"/>
                </a:cxn>
                <a:cxn ang="0">
                  <a:pos x="64" y="9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64" y="77"/>
                </a:cxn>
                <a:cxn ang="0">
                  <a:pos x="64" y="125"/>
                </a:cxn>
                <a:cxn ang="0">
                  <a:pos x="57" y="133"/>
                </a:cxn>
                <a:cxn ang="0">
                  <a:pos x="49" y="125"/>
                </a:cxn>
                <a:cxn ang="0">
                  <a:pos x="47" y="124"/>
                </a:cxn>
                <a:cxn ang="0">
                  <a:pos x="45" y="125"/>
                </a:cxn>
                <a:cxn ang="0">
                  <a:pos x="57" y="137"/>
                </a:cxn>
                <a:cxn ang="0">
                  <a:pos x="68" y="125"/>
                </a:cxn>
                <a:cxn ang="0">
                  <a:pos x="68" y="77"/>
                </a:cxn>
                <a:cxn ang="0">
                  <a:pos x="132" y="77"/>
                </a:cxn>
                <a:cxn ang="0">
                  <a:pos x="132" y="75"/>
                </a:cxn>
                <a:cxn ang="0">
                  <a:pos x="68" y="9"/>
                </a:cxn>
                <a:cxn ang="0">
                  <a:pos x="100" y="73"/>
                </a:cxn>
                <a:cxn ang="0">
                  <a:pos x="68" y="73"/>
                </a:cxn>
                <a:cxn ang="0">
                  <a:pos x="68" y="14"/>
                </a:cxn>
                <a:cxn ang="0">
                  <a:pos x="100" y="73"/>
                </a:cxn>
                <a:cxn ang="0">
                  <a:pos x="32" y="73"/>
                </a:cxn>
                <a:cxn ang="0">
                  <a:pos x="49" y="29"/>
                </a:cxn>
                <a:cxn ang="0">
                  <a:pos x="64" y="14"/>
                </a:cxn>
                <a:cxn ang="0">
                  <a:pos x="64" y="73"/>
                </a:cxn>
                <a:cxn ang="0">
                  <a:pos x="32" y="73"/>
                </a:cxn>
                <a:cxn ang="0">
                  <a:pos x="59" y="13"/>
                </a:cxn>
                <a:cxn ang="0">
                  <a:pos x="46" y="26"/>
                </a:cxn>
                <a:cxn ang="0">
                  <a:pos x="29" y="73"/>
                </a:cxn>
                <a:cxn ang="0">
                  <a:pos x="4" y="73"/>
                </a:cxn>
                <a:cxn ang="0">
                  <a:pos x="59" y="13"/>
                </a:cxn>
                <a:cxn ang="0">
                  <a:pos x="103" y="73"/>
                </a:cxn>
                <a:cxn ang="0">
                  <a:pos x="86" y="26"/>
                </a:cxn>
                <a:cxn ang="0">
                  <a:pos x="73" y="13"/>
                </a:cxn>
                <a:cxn ang="0">
                  <a:pos x="128" y="73"/>
                </a:cxn>
                <a:cxn ang="0">
                  <a:pos x="103" y="73"/>
                </a:cxn>
              </a:cxnLst>
              <a:rect l="0" t="0" r="r" b="b"/>
              <a:pathLst>
                <a:path w="132" h="137">
                  <a:moveTo>
                    <a:pt x="68" y="9"/>
                  </a:moveTo>
                  <a:cubicBezTo>
                    <a:pt x="68" y="2"/>
                    <a:pt x="68" y="2"/>
                    <a:pt x="68" y="2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65" y="0"/>
                    <a:pt x="64" y="0"/>
                    <a:pt x="64" y="2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29" y="10"/>
                    <a:pt x="0" y="39"/>
                    <a:pt x="0" y="7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125"/>
                    <a:pt x="64" y="125"/>
                    <a:pt x="64" y="125"/>
                  </a:cubicBezTo>
                  <a:cubicBezTo>
                    <a:pt x="64" y="129"/>
                    <a:pt x="61" y="133"/>
                    <a:pt x="57" y="133"/>
                  </a:cubicBezTo>
                  <a:cubicBezTo>
                    <a:pt x="52" y="133"/>
                    <a:pt x="49" y="129"/>
                    <a:pt x="49" y="125"/>
                  </a:cubicBezTo>
                  <a:cubicBezTo>
                    <a:pt x="49" y="124"/>
                    <a:pt x="48" y="124"/>
                    <a:pt x="47" y="124"/>
                  </a:cubicBezTo>
                  <a:cubicBezTo>
                    <a:pt x="46" y="124"/>
                    <a:pt x="45" y="124"/>
                    <a:pt x="45" y="125"/>
                  </a:cubicBezTo>
                  <a:cubicBezTo>
                    <a:pt x="45" y="131"/>
                    <a:pt x="50" y="137"/>
                    <a:pt x="57" y="137"/>
                  </a:cubicBezTo>
                  <a:cubicBezTo>
                    <a:pt x="63" y="137"/>
                    <a:pt x="68" y="131"/>
                    <a:pt x="68" y="125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2" y="75"/>
                    <a:pt x="132" y="75"/>
                    <a:pt x="132" y="75"/>
                  </a:cubicBezTo>
                  <a:cubicBezTo>
                    <a:pt x="132" y="39"/>
                    <a:pt x="103" y="10"/>
                    <a:pt x="68" y="9"/>
                  </a:cubicBezTo>
                  <a:close/>
                  <a:moveTo>
                    <a:pt x="100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6" y="20"/>
                    <a:pt x="101" y="42"/>
                    <a:pt x="100" y="73"/>
                  </a:cubicBezTo>
                  <a:close/>
                  <a:moveTo>
                    <a:pt x="32" y="73"/>
                  </a:moveTo>
                  <a:cubicBezTo>
                    <a:pt x="31" y="54"/>
                    <a:pt x="41" y="38"/>
                    <a:pt x="49" y="29"/>
                  </a:cubicBezTo>
                  <a:cubicBezTo>
                    <a:pt x="55" y="21"/>
                    <a:pt x="61" y="16"/>
                    <a:pt x="64" y="14"/>
                  </a:cubicBezTo>
                  <a:cubicBezTo>
                    <a:pt x="64" y="73"/>
                    <a:pt x="64" y="73"/>
                    <a:pt x="64" y="73"/>
                  </a:cubicBezTo>
                  <a:lnTo>
                    <a:pt x="32" y="73"/>
                  </a:lnTo>
                  <a:close/>
                  <a:moveTo>
                    <a:pt x="59" y="13"/>
                  </a:moveTo>
                  <a:cubicBezTo>
                    <a:pt x="55" y="16"/>
                    <a:pt x="51" y="20"/>
                    <a:pt x="46" y="26"/>
                  </a:cubicBezTo>
                  <a:cubicBezTo>
                    <a:pt x="34" y="41"/>
                    <a:pt x="28" y="57"/>
                    <a:pt x="29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5" y="42"/>
                    <a:pt x="29" y="16"/>
                    <a:pt x="59" y="13"/>
                  </a:cubicBezTo>
                  <a:close/>
                  <a:moveTo>
                    <a:pt x="103" y="73"/>
                  </a:moveTo>
                  <a:cubicBezTo>
                    <a:pt x="104" y="57"/>
                    <a:pt x="98" y="41"/>
                    <a:pt x="86" y="26"/>
                  </a:cubicBezTo>
                  <a:cubicBezTo>
                    <a:pt x="81" y="20"/>
                    <a:pt x="77" y="16"/>
                    <a:pt x="73" y="13"/>
                  </a:cubicBezTo>
                  <a:cubicBezTo>
                    <a:pt x="103" y="16"/>
                    <a:pt x="127" y="42"/>
                    <a:pt x="128" y="73"/>
                  </a:cubicBezTo>
                  <a:lnTo>
                    <a:pt x="103" y="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317" name="Group 21"/>
          <p:cNvGrpSpPr>
            <a:grpSpLocks noChangeAspect="1"/>
          </p:cNvGrpSpPr>
          <p:nvPr/>
        </p:nvGrpSpPr>
        <p:grpSpPr bwMode="auto">
          <a:xfrm>
            <a:off x="3651250" y="277813"/>
            <a:ext cx="792163" cy="792162"/>
            <a:chOff x="2300" y="175"/>
            <a:chExt cx="499" cy="499"/>
          </a:xfrm>
        </p:grpSpPr>
        <p:sp>
          <p:nvSpPr>
            <p:cNvPr id="55318" name="Freeform 22"/>
            <p:cNvSpPr>
              <a:spLocks noEditPoints="1"/>
            </p:cNvSpPr>
            <p:nvPr/>
          </p:nvSpPr>
          <p:spPr bwMode="auto">
            <a:xfrm>
              <a:off x="2300" y="175"/>
              <a:ext cx="499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3"/>
                </a:cxn>
              </a:cxnLst>
              <a:rect l="0" t="0" r="r" b="b"/>
              <a:pathLst>
                <a:path w="208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50" y="203"/>
                    <a:pt x="5" y="158"/>
                    <a:pt x="5" y="104"/>
                  </a:cubicBezTo>
                  <a:cubicBezTo>
                    <a:pt x="5" y="50"/>
                    <a:pt x="50" y="5"/>
                    <a:pt x="104" y="5"/>
                  </a:cubicBezTo>
                  <a:cubicBezTo>
                    <a:pt x="158" y="5"/>
                    <a:pt x="203" y="50"/>
                    <a:pt x="203" y="104"/>
                  </a:cubicBezTo>
                  <a:cubicBezTo>
                    <a:pt x="203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9" name="Freeform 23"/>
            <p:cNvSpPr>
              <a:spLocks noEditPoints="1"/>
            </p:cNvSpPr>
            <p:nvPr/>
          </p:nvSpPr>
          <p:spPr bwMode="auto">
            <a:xfrm>
              <a:off x="2391" y="257"/>
              <a:ext cx="317" cy="328"/>
            </a:xfrm>
            <a:custGeom>
              <a:avLst/>
              <a:gdLst/>
              <a:ahLst/>
              <a:cxnLst>
                <a:cxn ang="0">
                  <a:pos x="68" y="9"/>
                </a:cxn>
                <a:cxn ang="0">
                  <a:pos x="68" y="2"/>
                </a:cxn>
                <a:cxn ang="0">
                  <a:pos x="66" y="0"/>
                </a:cxn>
                <a:cxn ang="0">
                  <a:pos x="64" y="2"/>
                </a:cxn>
                <a:cxn ang="0">
                  <a:pos x="64" y="9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64" y="77"/>
                </a:cxn>
                <a:cxn ang="0">
                  <a:pos x="64" y="126"/>
                </a:cxn>
                <a:cxn ang="0">
                  <a:pos x="57" y="133"/>
                </a:cxn>
                <a:cxn ang="0">
                  <a:pos x="49" y="126"/>
                </a:cxn>
                <a:cxn ang="0">
                  <a:pos x="47" y="124"/>
                </a:cxn>
                <a:cxn ang="0">
                  <a:pos x="45" y="126"/>
                </a:cxn>
                <a:cxn ang="0">
                  <a:pos x="57" y="137"/>
                </a:cxn>
                <a:cxn ang="0">
                  <a:pos x="68" y="126"/>
                </a:cxn>
                <a:cxn ang="0">
                  <a:pos x="68" y="77"/>
                </a:cxn>
                <a:cxn ang="0">
                  <a:pos x="132" y="77"/>
                </a:cxn>
                <a:cxn ang="0">
                  <a:pos x="132" y="75"/>
                </a:cxn>
                <a:cxn ang="0">
                  <a:pos x="68" y="9"/>
                </a:cxn>
                <a:cxn ang="0">
                  <a:pos x="100" y="73"/>
                </a:cxn>
                <a:cxn ang="0">
                  <a:pos x="68" y="73"/>
                </a:cxn>
                <a:cxn ang="0">
                  <a:pos x="68" y="14"/>
                </a:cxn>
                <a:cxn ang="0">
                  <a:pos x="100" y="73"/>
                </a:cxn>
                <a:cxn ang="0">
                  <a:pos x="32" y="73"/>
                </a:cxn>
                <a:cxn ang="0">
                  <a:pos x="49" y="29"/>
                </a:cxn>
                <a:cxn ang="0">
                  <a:pos x="64" y="14"/>
                </a:cxn>
                <a:cxn ang="0">
                  <a:pos x="64" y="73"/>
                </a:cxn>
                <a:cxn ang="0">
                  <a:pos x="32" y="73"/>
                </a:cxn>
                <a:cxn ang="0">
                  <a:pos x="59" y="13"/>
                </a:cxn>
                <a:cxn ang="0">
                  <a:pos x="46" y="26"/>
                </a:cxn>
                <a:cxn ang="0">
                  <a:pos x="29" y="73"/>
                </a:cxn>
                <a:cxn ang="0">
                  <a:pos x="4" y="73"/>
                </a:cxn>
                <a:cxn ang="0">
                  <a:pos x="59" y="13"/>
                </a:cxn>
                <a:cxn ang="0">
                  <a:pos x="103" y="73"/>
                </a:cxn>
                <a:cxn ang="0">
                  <a:pos x="86" y="26"/>
                </a:cxn>
                <a:cxn ang="0">
                  <a:pos x="73" y="13"/>
                </a:cxn>
                <a:cxn ang="0">
                  <a:pos x="128" y="73"/>
                </a:cxn>
                <a:cxn ang="0">
                  <a:pos x="103" y="73"/>
                </a:cxn>
              </a:cxnLst>
              <a:rect l="0" t="0" r="r" b="b"/>
              <a:pathLst>
                <a:path w="132" h="137">
                  <a:moveTo>
                    <a:pt x="68" y="9"/>
                  </a:moveTo>
                  <a:cubicBezTo>
                    <a:pt x="68" y="2"/>
                    <a:pt x="68" y="2"/>
                    <a:pt x="68" y="2"/>
                  </a:cubicBezTo>
                  <a:cubicBezTo>
                    <a:pt x="68" y="1"/>
                    <a:pt x="67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29" y="10"/>
                    <a:pt x="0" y="39"/>
                    <a:pt x="0" y="7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126"/>
                    <a:pt x="64" y="126"/>
                    <a:pt x="64" y="126"/>
                  </a:cubicBezTo>
                  <a:cubicBezTo>
                    <a:pt x="64" y="130"/>
                    <a:pt x="61" y="133"/>
                    <a:pt x="57" y="133"/>
                  </a:cubicBezTo>
                  <a:cubicBezTo>
                    <a:pt x="52" y="133"/>
                    <a:pt x="49" y="130"/>
                    <a:pt x="49" y="126"/>
                  </a:cubicBezTo>
                  <a:cubicBezTo>
                    <a:pt x="49" y="125"/>
                    <a:pt x="48" y="124"/>
                    <a:pt x="47" y="124"/>
                  </a:cubicBezTo>
                  <a:cubicBezTo>
                    <a:pt x="46" y="124"/>
                    <a:pt x="45" y="125"/>
                    <a:pt x="45" y="126"/>
                  </a:cubicBezTo>
                  <a:cubicBezTo>
                    <a:pt x="45" y="132"/>
                    <a:pt x="50" y="137"/>
                    <a:pt x="57" y="137"/>
                  </a:cubicBezTo>
                  <a:cubicBezTo>
                    <a:pt x="63" y="137"/>
                    <a:pt x="68" y="132"/>
                    <a:pt x="68" y="126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2" y="75"/>
                    <a:pt x="132" y="75"/>
                    <a:pt x="132" y="75"/>
                  </a:cubicBezTo>
                  <a:cubicBezTo>
                    <a:pt x="132" y="39"/>
                    <a:pt x="103" y="10"/>
                    <a:pt x="68" y="9"/>
                  </a:cubicBezTo>
                  <a:close/>
                  <a:moveTo>
                    <a:pt x="100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6" y="20"/>
                    <a:pt x="101" y="42"/>
                    <a:pt x="100" y="73"/>
                  </a:cubicBezTo>
                  <a:close/>
                  <a:moveTo>
                    <a:pt x="32" y="73"/>
                  </a:moveTo>
                  <a:cubicBezTo>
                    <a:pt x="31" y="54"/>
                    <a:pt x="41" y="39"/>
                    <a:pt x="49" y="29"/>
                  </a:cubicBezTo>
                  <a:cubicBezTo>
                    <a:pt x="55" y="22"/>
                    <a:pt x="61" y="17"/>
                    <a:pt x="64" y="14"/>
                  </a:cubicBezTo>
                  <a:cubicBezTo>
                    <a:pt x="64" y="73"/>
                    <a:pt x="64" y="73"/>
                    <a:pt x="64" y="73"/>
                  </a:cubicBezTo>
                  <a:lnTo>
                    <a:pt x="32" y="73"/>
                  </a:lnTo>
                  <a:close/>
                  <a:moveTo>
                    <a:pt x="59" y="13"/>
                  </a:moveTo>
                  <a:cubicBezTo>
                    <a:pt x="55" y="16"/>
                    <a:pt x="51" y="21"/>
                    <a:pt x="46" y="26"/>
                  </a:cubicBezTo>
                  <a:cubicBezTo>
                    <a:pt x="34" y="41"/>
                    <a:pt x="28" y="57"/>
                    <a:pt x="29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5" y="42"/>
                    <a:pt x="29" y="17"/>
                    <a:pt x="59" y="13"/>
                  </a:cubicBezTo>
                  <a:close/>
                  <a:moveTo>
                    <a:pt x="103" y="73"/>
                  </a:moveTo>
                  <a:cubicBezTo>
                    <a:pt x="104" y="57"/>
                    <a:pt x="98" y="41"/>
                    <a:pt x="86" y="26"/>
                  </a:cubicBezTo>
                  <a:cubicBezTo>
                    <a:pt x="81" y="21"/>
                    <a:pt x="77" y="16"/>
                    <a:pt x="73" y="13"/>
                  </a:cubicBezTo>
                  <a:cubicBezTo>
                    <a:pt x="103" y="17"/>
                    <a:pt x="127" y="42"/>
                    <a:pt x="128" y="73"/>
                  </a:cubicBezTo>
                  <a:lnTo>
                    <a:pt x="103" y="7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322" name="Group 26"/>
          <p:cNvGrpSpPr>
            <a:grpSpLocks noChangeAspect="1"/>
          </p:cNvGrpSpPr>
          <p:nvPr/>
        </p:nvGrpSpPr>
        <p:grpSpPr bwMode="auto">
          <a:xfrm>
            <a:off x="4734719" y="255588"/>
            <a:ext cx="835025" cy="836612"/>
            <a:chOff x="2984" y="161"/>
            <a:chExt cx="526" cy="527"/>
          </a:xfrm>
        </p:grpSpPr>
        <p:sp>
          <p:nvSpPr>
            <p:cNvPr id="55323" name="Oval 27"/>
            <p:cNvSpPr>
              <a:spLocks noChangeArrowheads="1"/>
            </p:cNvSpPr>
            <p:nvPr/>
          </p:nvSpPr>
          <p:spPr bwMode="auto">
            <a:xfrm>
              <a:off x="2984" y="161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4" name="Freeform 28"/>
            <p:cNvSpPr>
              <a:spLocks noEditPoints="1"/>
            </p:cNvSpPr>
            <p:nvPr/>
          </p:nvSpPr>
          <p:spPr bwMode="auto">
            <a:xfrm>
              <a:off x="3005" y="183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5" name="Freeform 29"/>
            <p:cNvSpPr>
              <a:spLocks noEditPoints="1"/>
            </p:cNvSpPr>
            <p:nvPr/>
          </p:nvSpPr>
          <p:spPr bwMode="auto">
            <a:xfrm>
              <a:off x="3077" y="279"/>
              <a:ext cx="338" cy="265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0" y="138"/>
                </a:cxn>
                <a:cxn ang="0">
                  <a:pos x="86" y="138"/>
                </a:cxn>
                <a:cxn ang="0">
                  <a:pos x="86" y="265"/>
                </a:cxn>
                <a:cxn ang="0">
                  <a:pos x="251" y="265"/>
                </a:cxn>
                <a:cxn ang="0">
                  <a:pos x="251" y="138"/>
                </a:cxn>
                <a:cxn ang="0">
                  <a:pos x="338" y="138"/>
                </a:cxn>
                <a:cxn ang="0">
                  <a:pos x="168" y="0"/>
                </a:cxn>
                <a:cxn ang="0">
                  <a:pos x="242" y="129"/>
                </a:cxn>
                <a:cxn ang="0">
                  <a:pos x="242" y="258"/>
                </a:cxn>
                <a:cxn ang="0">
                  <a:pos x="94" y="258"/>
                </a:cxn>
                <a:cxn ang="0">
                  <a:pos x="94" y="129"/>
                </a:cxn>
                <a:cxn ang="0">
                  <a:pos x="24" y="129"/>
                </a:cxn>
                <a:cxn ang="0">
                  <a:pos x="168" y="11"/>
                </a:cxn>
                <a:cxn ang="0">
                  <a:pos x="314" y="129"/>
                </a:cxn>
                <a:cxn ang="0">
                  <a:pos x="242" y="129"/>
                </a:cxn>
              </a:cxnLst>
              <a:rect l="0" t="0" r="r" b="b"/>
              <a:pathLst>
                <a:path w="338" h="265">
                  <a:moveTo>
                    <a:pt x="168" y="0"/>
                  </a:moveTo>
                  <a:lnTo>
                    <a:pt x="0" y="138"/>
                  </a:lnTo>
                  <a:lnTo>
                    <a:pt x="86" y="138"/>
                  </a:lnTo>
                  <a:lnTo>
                    <a:pt x="86" y="265"/>
                  </a:lnTo>
                  <a:lnTo>
                    <a:pt x="251" y="265"/>
                  </a:lnTo>
                  <a:lnTo>
                    <a:pt x="251" y="138"/>
                  </a:lnTo>
                  <a:lnTo>
                    <a:pt x="338" y="138"/>
                  </a:lnTo>
                  <a:lnTo>
                    <a:pt x="168" y="0"/>
                  </a:lnTo>
                  <a:close/>
                  <a:moveTo>
                    <a:pt x="242" y="129"/>
                  </a:moveTo>
                  <a:lnTo>
                    <a:pt x="242" y="258"/>
                  </a:lnTo>
                  <a:lnTo>
                    <a:pt x="94" y="258"/>
                  </a:lnTo>
                  <a:lnTo>
                    <a:pt x="94" y="129"/>
                  </a:lnTo>
                  <a:lnTo>
                    <a:pt x="24" y="129"/>
                  </a:lnTo>
                  <a:lnTo>
                    <a:pt x="168" y="11"/>
                  </a:lnTo>
                  <a:lnTo>
                    <a:pt x="314" y="129"/>
                  </a:lnTo>
                  <a:lnTo>
                    <a:pt x="242" y="1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328" name="Group 32"/>
          <p:cNvGrpSpPr>
            <a:grpSpLocks noChangeAspect="1"/>
          </p:cNvGrpSpPr>
          <p:nvPr/>
        </p:nvGrpSpPr>
        <p:grpSpPr bwMode="auto">
          <a:xfrm>
            <a:off x="5864226" y="288925"/>
            <a:ext cx="766762" cy="768350"/>
            <a:chOff x="3691" y="182"/>
            <a:chExt cx="483" cy="484"/>
          </a:xfrm>
        </p:grpSpPr>
        <p:sp>
          <p:nvSpPr>
            <p:cNvPr id="55329" name="Freeform 33"/>
            <p:cNvSpPr>
              <a:spLocks noEditPoints="1"/>
            </p:cNvSpPr>
            <p:nvPr/>
          </p:nvSpPr>
          <p:spPr bwMode="auto">
            <a:xfrm>
              <a:off x="3691" y="182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30" name="Freeform 34"/>
            <p:cNvSpPr>
              <a:spLocks noEditPoints="1"/>
            </p:cNvSpPr>
            <p:nvPr/>
          </p:nvSpPr>
          <p:spPr bwMode="auto">
            <a:xfrm>
              <a:off x="3763" y="278"/>
              <a:ext cx="337" cy="266"/>
            </a:xfrm>
            <a:custGeom>
              <a:avLst/>
              <a:gdLst/>
              <a:ahLst/>
              <a:cxnLst>
                <a:cxn ang="0">
                  <a:pos x="167" y="0"/>
                </a:cxn>
                <a:cxn ang="0">
                  <a:pos x="0" y="139"/>
                </a:cxn>
                <a:cxn ang="0">
                  <a:pos x="86" y="139"/>
                </a:cxn>
                <a:cxn ang="0">
                  <a:pos x="86" y="266"/>
                </a:cxn>
                <a:cxn ang="0">
                  <a:pos x="251" y="266"/>
                </a:cxn>
                <a:cxn ang="0">
                  <a:pos x="251" y="139"/>
                </a:cxn>
                <a:cxn ang="0">
                  <a:pos x="337" y="139"/>
                </a:cxn>
                <a:cxn ang="0">
                  <a:pos x="167" y="0"/>
                </a:cxn>
                <a:cxn ang="0">
                  <a:pos x="241" y="130"/>
                </a:cxn>
                <a:cxn ang="0">
                  <a:pos x="241" y="259"/>
                </a:cxn>
                <a:cxn ang="0">
                  <a:pos x="93" y="259"/>
                </a:cxn>
                <a:cxn ang="0">
                  <a:pos x="93" y="130"/>
                </a:cxn>
                <a:cxn ang="0">
                  <a:pos x="24" y="130"/>
                </a:cxn>
                <a:cxn ang="0">
                  <a:pos x="167" y="12"/>
                </a:cxn>
                <a:cxn ang="0">
                  <a:pos x="313" y="130"/>
                </a:cxn>
                <a:cxn ang="0">
                  <a:pos x="241" y="130"/>
                </a:cxn>
              </a:cxnLst>
              <a:rect l="0" t="0" r="r" b="b"/>
              <a:pathLst>
                <a:path w="337" h="266">
                  <a:moveTo>
                    <a:pt x="167" y="0"/>
                  </a:moveTo>
                  <a:lnTo>
                    <a:pt x="0" y="139"/>
                  </a:lnTo>
                  <a:lnTo>
                    <a:pt x="86" y="139"/>
                  </a:lnTo>
                  <a:lnTo>
                    <a:pt x="86" y="266"/>
                  </a:lnTo>
                  <a:lnTo>
                    <a:pt x="251" y="266"/>
                  </a:lnTo>
                  <a:lnTo>
                    <a:pt x="251" y="139"/>
                  </a:lnTo>
                  <a:lnTo>
                    <a:pt x="337" y="139"/>
                  </a:lnTo>
                  <a:lnTo>
                    <a:pt x="167" y="0"/>
                  </a:lnTo>
                  <a:close/>
                  <a:moveTo>
                    <a:pt x="241" y="130"/>
                  </a:moveTo>
                  <a:lnTo>
                    <a:pt x="241" y="259"/>
                  </a:lnTo>
                  <a:lnTo>
                    <a:pt x="93" y="259"/>
                  </a:lnTo>
                  <a:lnTo>
                    <a:pt x="93" y="130"/>
                  </a:lnTo>
                  <a:lnTo>
                    <a:pt x="24" y="130"/>
                  </a:lnTo>
                  <a:lnTo>
                    <a:pt x="167" y="12"/>
                  </a:lnTo>
                  <a:lnTo>
                    <a:pt x="313" y="130"/>
                  </a:lnTo>
                  <a:lnTo>
                    <a:pt x="241" y="1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333" name="Group 37"/>
          <p:cNvGrpSpPr>
            <a:grpSpLocks noChangeAspect="1"/>
          </p:cNvGrpSpPr>
          <p:nvPr/>
        </p:nvGrpSpPr>
        <p:grpSpPr bwMode="auto">
          <a:xfrm>
            <a:off x="6919119" y="255588"/>
            <a:ext cx="836612" cy="836612"/>
            <a:chOff x="4357" y="161"/>
            <a:chExt cx="527" cy="527"/>
          </a:xfrm>
        </p:grpSpPr>
        <p:sp>
          <p:nvSpPr>
            <p:cNvPr id="55334" name="Oval 38"/>
            <p:cNvSpPr>
              <a:spLocks noChangeArrowheads="1"/>
            </p:cNvSpPr>
            <p:nvPr/>
          </p:nvSpPr>
          <p:spPr bwMode="auto">
            <a:xfrm>
              <a:off x="4357" y="161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35" name="Freeform 39"/>
            <p:cNvSpPr>
              <a:spLocks noEditPoints="1"/>
            </p:cNvSpPr>
            <p:nvPr/>
          </p:nvSpPr>
          <p:spPr bwMode="auto">
            <a:xfrm>
              <a:off x="4379" y="183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36" name="Freeform 40"/>
            <p:cNvSpPr>
              <a:spLocks/>
            </p:cNvSpPr>
            <p:nvPr/>
          </p:nvSpPr>
          <p:spPr bwMode="auto">
            <a:xfrm>
              <a:off x="4496" y="300"/>
              <a:ext cx="29" cy="242"/>
            </a:xfrm>
            <a:custGeom>
              <a:avLst/>
              <a:gdLst/>
              <a:ahLst/>
              <a:cxnLst>
                <a:cxn ang="0">
                  <a:pos x="24" y="19"/>
                </a:cxn>
                <a:cxn ang="0">
                  <a:pos x="29" y="12"/>
                </a:cxn>
                <a:cxn ang="0">
                  <a:pos x="17" y="0"/>
                </a:cxn>
                <a:cxn ang="0">
                  <a:pos x="12" y="0"/>
                </a:cxn>
                <a:cxn ang="0">
                  <a:pos x="0" y="12"/>
                </a:cxn>
                <a:cxn ang="0">
                  <a:pos x="5" y="19"/>
                </a:cxn>
                <a:cxn ang="0">
                  <a:pos x="10" y="14"/>
                </a:cxn>
                <a:cxn ang="0">
                  <a:pos x="10" y="227"/>
                </a:cxn>
                <a:cxn ang="0">
                  <a:pos x="5" y="223"/>
                </a:cxn>
                <a:cxn ang="0">
                  <a:pos x="0" y="230"/>
                </a:cxn>
                <a:cxn ang="0">
                  <a:pos x="12" y="242"/>
                </a:cxn>
                <a:cxn ang="0">
                  <a:pos x="17" y="242"/>
                </a:cxn>
                <a:cxn ang="0">
                  <a:pos x="29" y="230"/>
                </a:cxn>
                <a:cxn ang="0">
                  <a:pos x="24" y="223"/>
                </a:cxn>
                <a:cxn ang="0">
                  <a:pos x="19" y="227"/>
                </a:cxn>
                <a:cxn ang="0">
                  <a:pos x="19" y="14"/>
                </a:cxn>
                <a:cxn ang="0">
                  <a:pos x="24" y="19"/>
                </a:cxn>
              </a:cxnLst>
              <a:rect l="0" t="0" r="r" b="b"/>
              <a:pathLst>
                <a:path w="29" h="242">
                  <a:moveTo>
                    <a:pt x="24" y="19"/>
                  </a:moveTo>
                  <a:lnTo>
                    <a:pt x="29" y="12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5" y="19"/>
                  </a:lnTo>
                  <a:lnTo>
                    <a:pt x="10" y="14"/>
                  </a:lnTo>
                  <a:lnTo>
                    <a:pt x="10" y="227"/>
                  </a:lnTo>
                  <a:lnTo>
                    <a:pt x="5" y="223"/>
                  </a:lnTo>
                  <a:lnTo>
                    <a:pt x="0" y="230"/>
                  </a:lnTo>
                  <a:lnTo>
                    <a:pt x="12" y="242"/>
                  </a:lnTo>
                  <a:lnTo>
                    <a:pt x="17" y="242"/>
                  </a:lnTo>
                  <a:lnTo>
                    <a:pt x="29" y="230"/>
                  </a:lnTo>
                  <a:lnTo>
                    <a:pt x="24" y="223"/>
                  </a:lnTo>
                  <a:lnTo>
                    <a:pt x="19" y="227"/>
                  </a:lnTo>
                  <a:lnTo>
                    <a:pt x="19" y="14"/>
                  </a:lnTo>
                  <a:lnTo>
                    <a:pt x="24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37" name="Rectangle 41"/>
            <p:cNvSpPr>
              <a:spLocks noChangeArrowheads="1"/>
            </p:cNvSpPr>
            <p:nvPr/>
          </p:nvSpPr>
          <p:spPr bwMode="auto">
            <a:xfrm>
              <a:off x="4496" y="286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38" name="Rectangle 42"/>
            <p:cNvSpPr>
              <a:spLocks noChangeArrowheads="1"/>
            </p:cNvSpPr>
            <p:nvPr/>
          </p:nvSpPr>
          <p:spPr bwMode="auto">
            <a:xfrm>
              <a:off x="4496" y="549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39" name="Rectangle 43"/>
            <p:cNvSpPr>
              <a:spLocks noChangeArrowheads="1"/>
            </p:cNvSpPr>
            <p:nvPr/>
          </p:nvSpPr>
          <p:spPr bwMode="auto">
            <a:xfrm>
              <a:off x="4599" y="42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0" name="Rectangle 44"/>
            <p:cNvSpPr>
              <a:spLocks noChangeArrowheads="1"/>
            </p:cNvSpPr>
            <p:nvPr/>
          </p:nvSpPr>
          <p:spPr bwMode="auto">
            <a:xfrm>
              <a:off x="4568" y="42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1" name="Rectangle 45"/>
            <p:cNvSpPr>
              <a:spLocks noChangeArrowheads="1"/>
            </p:cNvSpPr>
            <p:nvPr/>
          </p:nvSpPr>
          <p:spPr bwMode="auto">
            <a:xfrm>
              <a:off x="4599" y="460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2" name="Rectangle 46"/>
            <p:cNvSpPr>
              <a:spLocks noChangeArrowheads="1"/>
            </p:cNvSpPr>
            <p:nvPr/>
          </p:nvSpPr>
          <p:spPr bwMode="auto">
            <a:xfrm>
              <a:off x="4568" y="460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3" name="Rectangle 47"/>
            <p:cNvSpPr>
              <a:spLocks noChangeArrowheads="1"/>
            </p:cNvSpPr>
            <p:nvPr/>
          </p:nvSpPr>
          <p:spPr bwMode="auto">
            <a:xfrm>
              <a:off x="4599" y="40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4" name="Rectangle 48"/>
            <p:cNvSpPr>
              <a:spLocks noChangeArrowheads="1"/>
            </p:cNvSpPr>
            <p:nvPr/>
          </p:nvSpPr>
          <p:spPr bwMode="auto">
            <a:xfrm>
              <a:off x="4568" y="40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5" name="Rectangle 49"/>
            <p:cNvSpPr>
              <a:spLocks noChangeArrowheads="1"/>
            </p:cNvSpPr>
            <p:nvPr/>
          </p:nvSpPr>
          <p:spPr bwMode="auto">
            <a:xfrm>
              <a:off x="4630" y="42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6" name="Rectangle 50"/>
            <p:cNvSpPr>
              <a:spLocks noChangeArrowheads="1"/>
            </p:cNvSpPr>
            <p:nvPr/>
          </p:nvSpPr>
          <p:spPr bwMode="auto">
            <a:xfrm>
              <a:off x="4630" y="460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7" name="Rectangle 51"/>
            <p:cNvSpPr>
              <a:spLocks noChangeArrowheads="1"/>
            </p:cNvSpPr>
            <p:nvPr/>
          </p:nvSpPr>
          <p:spPr bwMode="auto">
            <a:xfrm>
              <a:off x="4630" y="40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8" name="Rectangle 52"/>
            <p:cNvSpPr>
              <a:spLocks noChangeArrowheads="1"/>
            </p:cNvSpPr>
            <p:nvPr/>
          </p:nvSpPr>
          <p:spPr bwMode="auto">
            <a:xfrm>
              <a:off x="4599" y="48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49" name="Rectangle 53"/>
            <p:cNvSpPr>
              <a:spLocks noChangeArrowheads="1"/>
            </p:cNvSpPr>
            <p:nvPr/>
          </p:nvSpPr>
          <p:spPr bwMode="auto">
            <a:xfrm>
              <a:off x="4568" y="48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0" name="Rectangle 54"/>
            <p:cNvSpPr>
              <a:spLocks noChangeArrowheads="1"/>
            </p:cNvSpPr>
            <p:nvPr/>
          </p:nvSpPr>
          <p:spPr bwMode="auto">
            <a:xfrm>
              <a:off x="4630" y="489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1" name="Rectangle 55"/>
            <p:cNvSpPr>
              <a:spLocks noChangeArrowheads="1"/>
            </p:cNvSpPr>
            <p:nvPr/>
          </p:nvSpPr>
          <p:spPr bwMode="auto">
            <a:xfrm>
              <a:off x="4599" y="312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2" name="Rectangle 56"/>
            <p:cNvSpPr>
              <a:spLocks noChangeArrowheads="1"/>
            </p:cNvSpPr>
            <p:nvPr/>
          </p:nvSpPr>
          <p:spPr bwMode="auto">
            <a:xfrm>
              <a:off x="4568" y="312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3" name="Rectangle 57"/>
            <p:cNvSpPr>
              <a:spLocks noChangeArrowheads="1"/>
            </p:cNvSpPr>
            <p:nvPr/>
          </p:nvSpPr>
          <p:spPr bwMode="auto">
            <a:xfrm>
              <a:off x="4599" y="34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4" name="Rectangle 58"/>
            <p:cNvSpPr>
              <a:spLocks noChangeArrowheads="1"/>
            </p:cNvSpPr>
            <p:nvPr/>
          </p:nvSpPr>
          <p:spPr bwMode="auto">
            <a:xfrm>
              <a:off x="4568" y="34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5" name="Rectangle 59"/>
            <p:cNvSpPr>
              <a:spLocks noChangeArrowheads="1"/>
            </p:cNvSpPr>
            <p:nvPr/>
          </p:nvSpPr>
          <p:spPr bwMode="auto">
            <a:xfrm>
              <a:off x="4630" y="312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6" name="Rectangle 60"/>
            <p:cNvSpPr>
              <a:spLocks noChangeArrowheads="1"/>
            </p:cNvSpPr>
            <p:nvPr/>
          </p:nvSpPr>
          <p:spPr bwMode="auto">
            <a:xfrm>
              <a:off x="4630" y="34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7" name="Rectangle 61"/>
            <p:cNvSpPr>
              <a:spLocks noChangeArrowheads="1"/>
            </p:cNvSpPr>
            <p:nvPr/>
          </p:nvSpPr>
          <p:spPr bwMode="auto">
            <a:xfrm>
              <a:off x="4599" y="37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8" name="Rectangle 62"/>
            <p:cNvSpPr>
              <a:spLocks noChangeArrowheads="1"/>
            </p:cNvSpPr>
            <p:nvPr/>
          </p:nvSpPr>
          <p:spPr bwMode="auto">
            <a:xfrm>
              <a:off x="4568" y="37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59" name="Rectangle 63"/>
            <p:cNvSpPr>
              <a:spLocks noChangeArrowheads="1"/>
            </p:cNvSpPr>
            <p:nvPr/>
          </p:nvSpPr>
          <p:spPr bwMode="auto">
            <a:xfrm>
              <a:off x="4630" y="37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0" name="Rectangle 64"/>
            <p:cNvSpPr>
              <a:spLocks noChangeArrowheads="1"/>
            </p:cNvSpPr>
            <p:nvPr/>
          </p:nvSpPr>
          <p:spPr bwMode="auto">
            <a:xfrm>
              <a:off x="4719" y="460"/>
              <a:ext cx="16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1" name="Rectangle 65"/>
            <p:cNvSpPr>
              <a:spLocks noChangeArrowheads="1"/>
            </p:cNvSpPr>
            <p:nvPr/>
          </p:nvSpPr>
          <p:spPr bwMode="auto">
            <a:xfrm>
              <a:off x="4687" y="460"/>
              <a:ext cx="17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2" name="Rectangle 66"/>
            <p:cNvSpPr>
              <a:spLocks noChangeArrowheads="1"/>
            </p:cNvSpPr>
            <p:nvPr/>
          </p:nvSpPr>
          <p:spPr bwMode="auto">
            <a:xfrm>
              <a:off x="4719" y="489"/>
              <a:ext cx="1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3" name="Rectangle 67"/>
            <p:cNvSpPr>
              <a:spLocks noChangeArrowheads="1"/>
            </p:cNvSpPr>
            <p:nvPr/>
          </p:nvSpPr>
          <p:spPr bwMode="auto">
            <a:xfrm>
              <a:off x="4687" y="489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4" name="Freeform 68"/>
            <p:cNvSpPr>
              <a:spLocks noEditPoints="1"/>
            </p:cNvSpPr>
            <p:nvPr/>
          </p:nvSpPr>
          <p:spPr bwMode="auto">
            <a:xfrm>
              <a:off x="4544" y="286"/>
              <a:ext cx="213" cy="270"/>
            </a:xfrm>
            <a:custGeom>
              <a:avLst/>
              <a:gdLst/>
              <a:ahLst/>
              <a:cxnLst>
                <a:cxn ang="0">
                  <a:pos x="129" y="150"/>
                </a:cxn>
                <a:cxn ang="0">
                  <a:pos x="129" y="7"/>
                </a:cxn>
                <a:cxn ang="0">
                  <a:pos x="129" y="0"/>
                </a:cxn>
                <a:cxn ang="0">
                  <a:pos x="120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263"/>
                </a:cxn>
                <a:cxn ang="0">
                  <a:pos x="0" y="270"/>
                </a:cxn>
                <a:cxn ang="0">
                  <a:pos x="9" y="270"/>
                </a:cxn>
                <a:cxn ang="0">
                  <a:pos x="120" y="270"/>
                </a:cxn>
                <a:cxn ang="0">
                  <a:pos x="120" y="270"/>
                </a:cxn>
                <a:cxn ang="0">
                  <a:pos x="129" y="270"/>
                </a:cxn>
                <a:cxn ang="0">
                  <a:pos x="206" y="270"/>
                </a:cxn>
                <a:cxn ang="0">
                  <a:pos x="213" y="270"/>
                </a:cxn>
                <a:cxn ang="0">
                  <a:pos x="213" y="263"/>
                </a:cxn>
                <a:cxn ang="0">
                  <a:pos x="213" y="158"/>
                </a:cxn>
                <a:cxn ang="0">
                  <a:pos x="213" y="150"/>
                </a:cxn>
                <a:cxn ang="0">
                  <a:pos x="206" y="150"/>
                </a:cxn>
                <a:cxn ang="0">
                  <a:pos x="129" y="150"/>
                </a:cxn>
                <a:cxn ang="0">
                  <a:pos x="9" y="7"/>
                </a:cxn>
                <a:cxn ang="0">
                  <a:pos x="120" y="7"/>
                </a:cxn>
                <a:cxn ang="0">
                  <a:pos x="120" y="150"/>
                </a:cxn>
                <a:cxn ang="0">
                  <a:pos x="120" y="150"/>
                </a:cxn>
                <a:cxn ang="0">
                  <a:pos x="120" y="158"/>
                </a:cxn>
                <a:cxn ang="0">
                  <a:pos x="120" y="263"/>
                </a:cxn>
                <a:cxn ang="0">
                  <a:pos x="9" y="263"/>
                </a:cxn>
                <a:cxn ang="0">
                  <a:pos x="9" y="7"/>
                </a:cxn>
                <a:cxn ang="0">
                  <a:pos x="206" y="263"/>
                </a:cxn>
                <a:cxn ang="0">
                  <a:pos x="129" y="263"/>
                </a:cxn>
                <a:cxn ang="0">
                  <a:pos x="129" y="263"/>
                </a:cxn>
                <a:cxn ang="0">
                  <a:pos x="129" y="158"/>
                </a:cxn>
                <a:cxn ang="0">
                  <a:pos x="206" y="158"/>
                </a:cxn>
                <a:cxn ang="0">
                  <a:pos x="206" y="263"/>
                </a:cxn>
              </a:cxnLst>
              <a:rect l="0" t="0" r="r" b="b"/>
              <a:pathLst>
                <a:path w="213" h="270">
                  <a:moveTo>
                    <a:pt x="129" y="150"/>
                  </a:moveTo>
                  <a:lnTo>
                    <a:pt x="129" y="7"/>
                  </a:lnTo>
                  <a:lnTo>
                    <a:pt x="129" y="0"/>
                  </a:lnTo>
                  <a:lnTo>
                    <a:pt x="120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63"/>
                  </a:lnTo>
                  <a:lnTo>
                    <a:pt x="0" y="270"/>
                  </a:lnTo>
                  <a:lnTo>
                    <a:pt x="9" y="270"/>
                  </a:lnTo>
                  <a:lnTo>
                    <a:pt x="120" y="270"/>
                  </a:lnTo>
                  <a:lnTo>
                    <a:pt x="120" y="270"/>
                  </a:lnTo>
                  <a:lnTo>
                    <a:pt x="129" y="270"/>
                  </a:lnTo>
                  <a:lnTo>
                    <a:pt x="206" y="270"/>
                  </a:lnTo>
                  <a:lnTo>
                    <a:pt x="213" y="270"/>
                  </a:lnTo>
                  <a:lnTo>
                    <a:pt x="213" y="263"/>
                  </a:lnTo>
                  <a:lnTo>
                    <a:pt x="213" y="158"/>
                  </a:lnTo>
                  <a:lnTo>
                    <a:pt x="213" y="150"/>
                  </a:lnTo>
                  <a:lnTo>
                    <a:pt x="206" y="150"/>
                  </a:lnTo>
                  <a:lnTo>
                    <a:pt x="129" y="150"/>
                  </a:lnTo>
                  <a:close/>
                  <a:moveTo>
                    <a:pt x="9" y="7"/>
                  </a:moveTo>
                  <a:lnTo>
                    <a:pt x="120" y="7"/>
                  </a:lnTo>
                  <a:lnTo>
                    <a:pt x="120" y="150"/>
                  </a:lnTo>
                  <a:lnTo>
                    <a:pt x="120" y="150"/>
                  </a:lnTo>
                  <a:lnTo>
                    <a:pt x="120" y="158"/>
                  </a:lnTo>
                  <a:lnTo>
                    <a:pt x="120" y="263"/>
                  </a:lnTo>
                  <a:lnTo>
                    <a:pt x="9" y="263"/>
                  </a:lnTo>
                  <a:lnTo>
                    <a:pt x="9" y="7"/>
                  </a:lnTo>
                  <a:close/>
                  <a:moveTo>
                    <a:pt x="206" y="263"/>
                  </a:moveTo>
                  <a:lnTo>
                    <a:pt x="129" y="263"/>
                  </a:lnTo>
                  <a:lnTo>
                    <a:pt x="129" y="263"/>
                  </a:lnTo>
                  <a:lnTo>
                    <a:pt x="129" y="158"/>
                  </a:lnTo>
                  <a:lnTo>
                    <a:pt x="206" y="158"/>
                  </a:lnTo>
                  <a:lnTo>
                    <a:pt x="206" y="26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367" name="Group 71"/>
          <p:cNvGrpSpPr>
            <a:grpSpLocks noChangeAspect="1"/>
          </p:cNvGrpSpPr>
          <p:nvPr/>
        </p:nvGrpSpPr>
        <p:grpSpPr bwMode="auto">
          <a:xfrm>
            <a:off x="8050218" y="288925"/>
            <a:ext cx="768350" cy="768350"/>
            <a:chOff x="5071" y="182"/>
            <a:chExt cx="484" cy="484"/>
          </a:xfrm>
        </p:grpSpPr>
        <p:sp>
          <p:nvSpPr>
            <p:cNvPr id="55368" name="Freeform 72"/>
            <p:cNvSpPr>
              <a:spLocks noEditPoints="1"/>
            </p:cNvSpPr>
            <p:nvPr/>
          </p:nvSpPr>
          <p:spPr bwMode="auto">
            <a:xfrm>
              <a:off x="5071" y="18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9" name="Freeform 73"/>
            <p:cNvSpPr>
              <a:spLocks/>
            </p:cNvSpPr>
            <p:nvPr/>
          </p:nvSpPr>
          <p:spPr bwMode="auto">
            <a:xfrm>
              <a:off x="5189" y="300"/>
              <a:ext cx="29" cy="242"/>
            </a:xfrm>
            <a:custGeom>
              <a:avLst/>
              <a:gdLst/>
              <a:ahLst/>
              <a:cxnLst>
                <a:cxn ang="0">
                  <a:pos x="24" y="19"/>
                </a:cxn>
                <a:cxn ang="0">
                  <a:pos x="29" y="12"/>
                </a:cxn>
                <a:cxn ang="0">
                  <a:pos x="17" y="0"/>
                </a:cxn>
                <a:cxn ang="0">
                  <a:pos x="12" y="0"/>
                </a:cxn>
                <a:cxn ang="0">
                  <a:pos x="0" y="12"/>
                </a:cxn>
                <a:cxn ang="0">
                  <a:pos x="5" y="19"/>
                </a:cxn>
                <a:cxn ang="0">
                  <a:pos x="9" y="14"/>
                </a:cxn>
                <a:cxn ang="0">
                  <a:pos x="9" y="227"/>
                </a:cxn>
                <a:cxn ang="0">
                  <a:pos x="5" y="223"/>
                </a:cxn>
                <a:cxn ang="0">
                  <a:pos x="0" y="230"/>
                </a:cxn>
                <a:cxn ang="0">
                  <a:pos x="12" y="242"/>
                </a:cxn>
                <a:cxn ang="0">
                  <a:pos x="17" y="242"/>
                </a:cxn>
                <a:cxn ang="0">
                  <a:pos x="29" y="230"/>
                </a:cxn>
                <a:cxn ang="0">
                  <a:pos x="24" y="223"/>
                </a:cxn>
                <a:cxn ang="0">
                  <a:pos x="19" y="227"/>
                </a:cxn>
                <a:cxn ang="0">
                  <a:pos x="19" y="14"/>
                </a:cxn>
                <a:cxn ang="0">
                  <a:pos x="24" y="19"/>
                </a:cxn>
              </a:cxnLst>
              <a:rect l="0" t="0" r="r" b="b"/>
              <a:pathLst>
                <a:path w="29" h="242">
                  <a:moveTo>
                    <a:pt x="24" y="19"/>
                  </a:moveTo>
                  <a:lnTo>
                    <a:pt x="29" y="12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5" y="19"/>
                  </a:lnTo>
                  <a:lnTo>
                    <a:pt x="9" y="14"/>
                  </a:lnTo>
                  <a:lnTo>
                    <a:pt x="9" y="227"/>
                  </a:lnTo>
                  <a:lnTo>
                    <a:pt x="5" y="223"/>
                  </a:lnTo>
                  <a:lnTo>
                    <a:pt x="0" y="230"/>
                  </a:lnTo>
                  <a:lnTo>
                    <a:pt x="12" y="242"/>
                  </a:lnTo>
                  <a:lnTo>
                    <a:pt x="17" y="242"/>
                  </a:lnTo>
                  <a:lnTo>
                    <a:pt x="29" y="230"/>
                  </a:lnTo>
                  <a:lnTo>
                    <a:pt x="24" y="223"/>
                  </a:lnTo>
                  <a:lnTo>
                    <a:pt x="19" y="227"/>
                  </a:lnTo>
                  <a:lnTo>
                    <a:pt x="19" y="14"/>
                  </a:lnTo>
                  <a:lnTo>
                    <a:pt x="24" y="1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0" name="Rectangle 74"/>
            <p:cNvSpPr>
              <a:spLocks noChangeArrowheads="1"/>
            </p:cNvSpPr>
            <p:nvPr/>
          </p:nvSpPr>
          <p:spPr bwMode="auto">
            <a:xfrm>
              <a:off x="5189" y="285"/>
              <a:ext cx="2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1" name="Rectangle 75"/>
            <p:cNvSpPr>
              <a:spLocks noChangeArrowheads="1"/>
            </p:cNvSpPr>
            <p:nvPr/>
          </p:nvSpPr>
          <p:spPr bwMode="auto">
            <a:xfrm>
              <a:off x="5189" y="549"/>
              <a:ext cx="2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2" name="Rectangle 76"/>
            <p:cNvSpPr>
              <a:spLocks noChangeArrowheads="1"/>
            </p:cNvSpPr>
            <p:nvPr/>
          </p:nvSpPr>
          <p:spPr bwMode="auto">
            <a:xfrm>
              <a:off x="5292" y="42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3" name="Rectangle 77"/>
            <p:cNvSpPr>
              <a:spLocks noChangeArrowheads="1"/>
            </p:cNvSpPr>
            <p:nvPr/>
          </p:nvSpPr>
          <p:spPr bwMode="auto">
            <a:xfrm>
              <a:off x="5261" y="42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4" name="Rectangle 78"/>
            <p:cNvSpPr>
              <a:spLocks noChangeArrowheads="1"/>
            </p:cNvSpPr>
            <p:nvPr/>
          </p:nvSpPr>
          <p:spPr bwMode="auto">
            <a:xfrm>
              <a:off x="5292" y="460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5" name="Rectangle 79"/>
            <p:cNvSpPr>
              <a:spLocks noChangeArrowheads="1"/>
            </p:cNvSpPr>
            <p:nvPr/>
          </p:nvSpPr>
          <p:spPr bwMode="auto">
            <a:xfrm>
              <a:off x="5261" y="460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6" name="Rectangle 80"/>
            <p:cNvSpPr>
              <a:spLocks noChangeArrowheads="1"/>
            </p:cNvSpPr>
            <p:nvPr/>
          </p:nvSpPr>
          <p:spPr bwMode="auto">
            <a:xfrm>
              <a:off x="5292" y="40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7" name="Rectangle 81"/>
            <p:cNvSpPr>
              <a:spLocks noChangeArrowheads="1"/>
            </p:cNvSpPr>
            <p:nvPr/>
          </p:nvSpPr>
          <p:spPr bwMode="auto">
            <a:xfrm>
              <a:off x="5261" y="40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78" name="Rectangle 82"/>
            <p:cNvSpPr>
              <a:spLocks noChangeArrowheads="1"/>
            </p:cNvSpPr>
            <p:nvPr/>
          </p:nvSpPr>
          <p:spPr bwMode="auto">
            <a:xfrm>
              <a:off x="5323" y="42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79" name="Rectangle 83"/>
            <p:cNvSpPr>
              <a:spLocks noChangeArrowheads="1"/>
            </p:cNvSpPr>
            <p:nvPr/>
          </p:nvSpPr>
          <p:spPr bwMode="auto">
            <a:xfrm>
              <a:off x="5323" y="460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0" name="Rectangle 84"/>
            <p:cNvSpPr>
              <a:spLocks noChangeArrowheads="1"/>
            </p:cNvSpPr>
            <p:nvPr/>
          </p:nvSpPr>
          <p:spPr bwMode="auto">
            <a:xfrm>
              <a:off x="5323" y="40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1" name="Rectangle 85"/>
            <p:cNvSpPr>
              <a:spLocks noChangeArrowheads="1"/>
            </p:cNvSpPr>
            <p:nvPr/>
          </p:nvSpPr>
          <p:spPr bwMode="auto">
            <a:xfrm>
              <a:off x="5292" y="48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2" name="Rectangle 86"/>
            <p:cNvSpPr>
              <a:spLocks noChangeArrowheads="1"/>
            </p:cNvSpPr>
            <p:nvPr/>
          </p:nvSpPr>
          <p:spPr bwMode="auto">
            <a:xfrm>
              <a:off x="5261" y="48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3" name="Rectangle 87"/>
            <p:cNvSpPr>
              <a:spLocks noChangeArrowheads="1"/>
            </p:cNvSpPr>
            <p:nvPr/>
          </p:nvSpPr>
          <p:spPr bwMode="auto">
            <a:xfrm>
              <a:off x="5323" y="489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4" name="Rectangle 88"/>
            <p:cNvSpPr>
              <a:spLocks noChangeArrowheads="1"/>
            </p:cNvSpPr>
            <p:nvPr/>
          </p:nvSpPr>
          <p:spPr bwMode="auto">
            <a:xfrm>
              <a:off x="5292" y="312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5" name="Rectangle 89"/>
            <p:cNvSpPr>
              <a:spLocks noChangeArrowheads="1"/>
            </p:cNvSpPr>
            <p:nvPr/>
          </p:nvSpPr>
          <p:spPr bwMode="auto">
            <a:xfrm>
              <a:off x="5261" y="312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6" name="Rectangle 90"/>
            <p:cNvSpPr>
              <a:spLocks noChangeArrowheads="1"/>
            </p:cNvSpPr>
            <p:nvPr/>
          </p:nvSpPr>
          <p:spPr bwMode="auto">
            <a:xfrm>
              <a:off x="5292" y="34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7" name="Rectangle 91"/>
            <p:cNvSpPr>
              <a:spLocks noChangeArrowheads="1"/>
            </p:cNvSpPr>
            <p:nvPr/>
          </p:nvSpPr>
          <p:spPr bwMode="auto">
            <a:xfrm>
              <a:off x="5261" y="34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8" name="Rectangle 92"/>
            <p:cNvSpPr>
              <a:spLocks noChangeArrowheads="1"/>
            </p:cNvSpPr>
            <p:nvPr/>
          </p:nvSpPr>
          <p:spPr bwMode="auto">
            <a:xfrm>
              <a:off x="5323" y="312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89" name="Rectangle 93"/>
            <p:cNvSpPr>
              <a:spLocks noChangeArrowheads="1"/>
            </p:cNvSpPr>
            <p:nvPr/>
          </p:nvSpPr>
          <p:spPr bwMode="auto">
            <a:xfrm>
              <a:off x="5323" y="34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0" name="Rectangle 94"/>
            <p:cNvSpPr>
              <a:spLocks noChangeArrowheads="1"/>
            </p:cNvSpPr>
            <p:nvPr/>
          </p:nvSpPr>
          <p:spPr bwMode="auto">
            <a:xfrm>
              <a:off x="5292" y="372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1" name="Rectangle 95"/>
            <p:cNvSpPr>
              <a:spLocks noChangeArrowheads="1"/>
            </p:cNvSpPr>
            <p:nvPr/>
          </p:nvSpPr>
          <p:spPr bwMode="auto">
            <a:xfrm>
              <a:off x="5261" y="372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2" name="Rectangle 96"/>
            <p:cNvSpPr>
              <a:spLocks noChangeArrowheads="1"/>
            </p:cNvSpPr>
            <p:nvPr/>
          </p:nvSpPr>
          <p:spPr bwMode="auto">
            <a:xfrm>
              <a:off x="5323" y="372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3" name="Rectangle 97"/>
            <p:cNvSpPr>
              <a:spLocks noChangeArrowheads="1"/>
            </p:cNvSpPr>
            <p:nvPr/>
          </p:nvSpPr>
          <p:spPr bwMode="auto">
            <a:xfrm>
              <a:off x="5412" y="460"/>
              <a:ext cx="16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4" name="Rectangle 98"/>
            <p:cNvSpPr>
              <a:spLocks noChangeArrowheads="1"/>
            </p:cNvSpPr>
            <p:nvPr/>
          </p:nvSpPr>
          <p:spPr bwMode="auto">
            <a:xfrm>
              <a:off x="5381" y="460"/>
              <a:ext cx="16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5" name="Rectangle 99"/>
            <p:cNvSpPr>
              <a:spLocks noChangeArrowheads="1"/>
            </p:cNvSpPr>
            <p:nvPr/>
          </p:nvSpPr>
          <p:spPr bwMode="auto">
            <a:xfrm>
              <a:off x="5412" y="489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6" name="Rectangle 100"/>
            <p:cNvSpPr>
              <a:spLocks noChangeArrowheads="1"/>
            </p:cNvSpPr>
            <p:nvPr/>
          </p:nvSpPr>
          <p:spPr bwMode="auto">
            <a:xfrm>
              <a:off x="5381" y="489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7" name="Freeform 101"/>
            <p:cNvSpPr>
              <a:spLocks noEditPoints="1"/>
            </p:cNvSpPr>
            <p:nvPr/>
          </p:nvSpPr>
          <p:spPr bwMode="auto">
            <a:xfrm>
              <a:off x="5237" y="285"/>
              <a:ext cx="213" cy="271"/>
            </a:xfrm>
            <a:custGeom>
              <a:avLst/>
              <a:gdLst/>
              <a:ahLst/>
              <a:cxnLst>
                <a:cxn ang="0">
                  <a:pos x="129" y="151"/>
                </a:cxn>
                <a:cxn ang="0">
                  <a:pos x="129" y="8"/>
                </a:cxn>
                <a:cxn ang="0">
                  <a:pos x="129" y="0"/>
                </a:cxn>
                <a:cxn ang="0">
                  <a:pos x="120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0" y="264"/>
                </a:cxn>
                <a:cxn ang="0">
                  <a:pos x="0" y="271"/>
                </a:cxn>
                <a:cxn ang="0">
                  <a:pos x="9" y="271"/>
                </a:cxn>
                <a:cxn ang="0">
                  <a:pos x="120" y="271"/>
                </a:cxn>
                <a:cxn ang="0">
                  <a:pos x="120" y="271"/>
                </a:cxn>
                <a:cxn ang="0">
                  <a:pos x="129" y="271"/>
                </a:cxn>
                <a:cxn ang="0">
                  <a:pos x="206" y="271"/>
                </a:cxn>
                <a:cxn ang="0">
                  <a:pos x="213" y="271"/>
                </a:cxn>
                <a:cxn ang="0">
                  <a:pos x="213" y="264"/>
                </a:cxn>
                <a:cxn ang="0">
                  <a:pos x="213" y="159"/>
                </a:cxn>
                <a:cxn ang="0">
                  <a:pos x="213" y="151"/>
                </a:cxn>
                <a:cxn ang="0">
                  <a:pos x="206" y="151"/>
                </a:cxn>
                <a:cxn ang="0">
                  <a:pos x="129" y="151"/>
                </a:cxn>
                <a:cxn ang="0">
                  <a:pos x="9" y="8"/>
                </a:cxn>
                <a:cxn ang="0">
                  <a:pos x="120" y="8"/>
                </a:cxn>
                <a:cxn ang="0">
                  <a:pos x="120" y="151"/>
                </a:cxn>
                <a:cxn ang="0">
                  <a:pos x="120" y="151"/>
                </a:cxn>
                <a:cxn ang="0">
                  <a:pos x="120" y="159"/>
                </a:cxn>
                <a:cxn ang="0">
                  <a:pos x="120" y="264"/>
                </a:cxn>
                <a:cxn ang="0">
                  <a:pos x="9" y="264"/>
                </a:cxn>
                <a:cxn ang="0">
                  <a:pos x="9" y="8"/>
                </a:cxn>
                <a:cxn ang="0">
                  <a:pos x="206" y="264"/>
                </a:cxn>
                <a:cxn ang="0">
                  <a:pos x="129" y="264"/>
                </a:cxn>
                <a:cxn ang="0">
                  <a:pos x="129" y="264"/>
                </a:cxn>
                <a:cxn ang="0">
                  <a:pos x="129" y="159"/>
                </a:cxn>
                <a:cxn ang="0">
                  <a:pos x="206" y="159"/>
                </a:cxn>
                <a:cxn ang="0">
                  <a:pos x="206" y="264"/>
                </a:cxn>
              </a:cxnLst>
              <a:rect l="0" t="0" r="r" b="b"/>
              <a:pathLst>
                <a:path w="213" h="271">
                  <a:moveTo>
                    <a:pt x="129" y="151"/>
                  </a:moveTo>
                  <a:lnTo>
                    <a:pt x="129" y="8"/>
                  </a:lnTo>
                  <a:lnTo>
                    <a:pt x="129" y="0"/>
                  </a:lnTo>
                  <a:lnTo>
                    <a:pt x="120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264"/>
                  </a:lnTo>
                  <a:lnTo>
                    <a:pt x="0" y="271"/>
                  </a:lnTo>
                  <a:lnTo>
                    <a:pt x="9" y="271"/>
                  </a:lnTo>
                  <a:lnTo>
                    <a:pt x="120" y="271"/>
                  </a:lnTo>
                  <a:lnTo>
                    <a:pt x="120" y="271"/>
                  </a:lnTo>
                  <a:lnTo>
                    <a:pt x="129" y="271"/>
                  </a:lnTo>
                  <a:lnTo>
                    <a:pt x="206" y="271"/>
                  </a:lnTo>
                  <a:lnTo>
                    <a:pt x="213" y="271"/>
                  </a:lnTo>
                  <a:lnTo>
                    <a:pt x="213" y="264"/>
                  </a:lnTo>
                  <a:lnTo>
                    <a:pt x="213" y="159"/>
                  </a:lnTo>
                  <a:lnTo>
                    <a:pt x="213" y="151"/>
                  </a:lnTo>
                  <a:lnTo>
                    <a:pt x="206" y="151"/>
                  </a:lnTo>
                  <a:lnTo>
                    <a:pt x="129" y="151"/>
                  </a:lnTo>
                  <a:close/>
                  <a:moveTo>
                    <a:pt x="9" y="8"/>
                  </a:moveTo>
                  <a:lnTo>
                    <a:pt x="120" y="8"/>
                  </a:lnTo>
                  <a:lnTo>
                    <a:pt x="120" y="151"/>
                  </a:lnTo>
                  <a:lnTo>
                    <a:pt x="120" y="151"/>
                  </a:lnTo>
                  <a:lnTo>
                    <a:pt x="120" y="159"/>
                  </a:lnTo>
                  <a:lnTo>
                    <a:pt x="120" y="264"/>
                  </a:lnTo>
                  <a:lnTo>
                    <a:pt x="9" y="264"/>
                  </a:lnTo>
                  <a:lnTo>
                    <a:pt x="9" y="8"/>
                  </a:lnTo>
                  <a:close/>
                  <a:moveTo>
                    <a:pt x="206" y="264"/>
                  </a:moveTo>
                  <a:lnTo>
                    <a:pt x="129" y="264"/>
                  </a:lnTo>
                  <a:lnTo>
                    <a:pt x="129" y="264"/>
                  </a:lnTo>
                  <a:lnTo>
                    <a:pt x="129" y="159"/>
                  </a:lnTo>
                  <a:lnTo>
                    <a:pt x="206" y="159"/>
                  </a:lnTo>
                  <a:lnTo>
                    <a:pt x="206" y="26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00" name="Group 104"/>
          <p:cNvGrpSpPr>
            <a:grpSpLocks noChangeAspect="1"/>
          </p:cNvGrpSpPr>
          <p:nvPr/>
        </p:nvGrpSpPr>
        <p:grpSpPr bwMode="auto">
          <a:xfrm>
            <a:off x="349251" y="1533788"/>
            <a:ext cx="836612" cy="836612"/>
            <a:chOff x="213" y="937"/>
            <a:chExt cx="527" cy="527"/>
          </a:xfrm>
        </p:grpSpPr>
        <p:sp>
          <p:nvSpPr>
            <p:cNvPr id="55401" name="Oval 105"/>
            <p:cNvSpPr>
              <a:spLocks noChangeArrowheads="1"/>
            </p:cNvSpPr>
            <p:nvPr/>
          </p:nvSpPr>
          <p:spPr bwMode="auto">
            <a:xfrm>
              <a:off x="213" y="937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2" name="Freeform 106"/>
            <p:cNvSpPr>
              <a:spLocks noEditPoints="1"/>
            </p:cNvSpPr>
            <p:nvPr/>
          </p:nvSpPr>
          <p:spPr bwMode="auto">
            <a:xfrm>
              <a:off x="234" y="959"/>
              <a:ext cx="487" cy="485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0" y="102"/>
                </a:cxn>
                <a:cxn ang="0">
                  <a:pos x="102" y="203"/>
                </a:cxn>
                <a:cxn ang="0">
                  <a:pos x="203" y="102"/>
                </a:cxn>
                <a:cxn ang="0">
                  <a:pos x="102" y="0"/>
                </a:cxn>
                <a:cxn ang="0">
                  <a:pos x="170" y="170"/>
                </a:cxn>
                <a:cxn ang="0">
                  <a:pos x="102" y="198"/>
                </a:cxn>
                <a:cxn ang="0">
                  <a:pos x="34" y="170"/>
                </a:cxn>
                <a:cxn ang="0">
                  <a:pos x="5" y="102"/>
                </a:cxn>
                <a:cxn ang="0">
                  <a:pos x="34" y="34"/>
                </a:cxn>
                <a:cxn ang="0">
                  <a:pos x="102" y="5"/>
                </a:cxn>
                <a:cxn ang="0">
                  <a:pos x="170" y="34"/>
                </a:cxn>
                <a:cxn ang="0">
                  <a:pos x="198" y="102"/>
                </a:cxn>
                <a:cxn ang="0">
                  <a:pos x="170" y="170"/>
                </a:cxn>
              </a:cxnLst>
              <a:rect l="0" t="0" r="r" b="b"/>
              <a:pathLst>
                <a:path w="203" h="203">
                  <a:moveTo>
                    <a:pt x="102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57"/>
                    <a:pt x="46" y="203"/>
                    <a:pt x="102" y="203"/>
                  </a:cubicBezTo>
                  <a:cubicBezTo>
                    <a:pt x="157" y="203"/>
                    <a:pt x="203" y="157"/>
                    <a:pt x="203" y="102"/>
                  </a:cubicBezTo>
                  <a:cubicBezTo>
                    <a:pt x="203" y="46"/>
                    <a:pt x="157" y="0"/>
                    <a:pt x="102" y="0"/>
                  </a:cubicBezTo>
                  <a:close/>
                  <a:moveTo>
                    <a:pt x="170" y="170"/>
                  </a:moveTo>
                  <a:cubicBezTo>
                    <a:pt x="151" y="188"/>
                    <a:pt x="127" y="198"/>
                    <a:pt x="102" y="198"/>
                  </a:cubicBezTo>
                  <a:cubicBezTo>
                    <a:pt x="76" y="198"/>
                    <a:pt x="52" y="188"/>
                    <a:pt x="34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4" y="34"/>
                  </a:cubicBezTo>
                  <a:cubicBezTo>
                    <a:pt x="52" y="15"/>
                    <a:pt x="76" y="5"/>
                    <a:pt x="102" y="5"/>
                  </a:cubicBezTo>
                  <a:cubicBezTo>
                    <a:pt x="127" y="5"/>
                    <a:pt x="151" y="15"/>
                    <a:pt x="170" y="34"/>
                  </a:cubicBezTo>
                  <a:cubicBezTo>
                    <a:pt x="188" y="52"/>
                    <a:pt x="198" y="76"/>
                    <a:pt x="198" y="102"/>
                  </a:cubicBezTo>
                  <a:cubicBezTo>
                    <a:pt x="198" y="127"/>
                    <a:pt x="188" y="151"/>
                    <a:pt x="170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3" name="Freeform 107"/>
            <p:cNvSpPr>
              <a:spLocks noEditPoints="1"/>
            </p:cNvSpPr>
            <p:nvPr/>
          </p:nvSpPr>
          <p:spPr bwMode="auto">
            <a:xfrm>
              <a:off x="290" y="1057"/>
              <a:ext cx="366" cy="304"/>
            </a:xfrm>
            <a:custGeom>
              <a:avLst/>
              <a:gdLst/>
              <a:ahLst/>
              <a:cxnLst>
                <a:cxn ang="0">
                  <a:pos x="285" y="0"/>
                </a:cxn>
                <a:cxn ang="0">
                  <a:pos x="0" y="141"/>
                </a:cxn>
                <a:cxn ang="0">
                  <a:pos x="81" y="304"/>
                </a:cxn>
                <a:cxn ang="0">
                  <a:pos x="366" y="163"/>
                </a:cxn>
                <a:cxn ang="0">
                  <a:pos x="285" y="0"/>
                </a:cxn>
                <a:cxn ang="0">
                  <a:pos x="81" y="282"/>
                </a:cxn>
                <a:cxn ang="0">
                  <a:pos x="100" y="273"/>
                </a:cxn>
                <a:cxn ang="0">
                  <a:pos x="96" y="265"/>
                </a:cxn>
                <a:cxn ang="0">
                  <a:pos x="76" y="275"/>
                </a:cxn>
                <a:cxn ang="0">
                  <a:pos x="19" y="163"/>
                </a:cxn>
                <a:cxn ang="0">
                  <a:pos x="40" y="151"/>
                </a:cxn>
                <a:cxn ang="0">
                  <a:pos x="36" y="143"/>
                </a:cxn>
                <a:cxn ang="0">
                  <a:pos x="16" y="153"/>
                </a:cxn>
                <a:cxn ang="0">
                  <a:pos x="12" y="146"/>
                </a:cxn>
                <a:cxn ang="0">
                  <a:pos x="280" y="9"/>
                </a:cxn>
                <a:cxn ang="0">
                  <a:pos x="285" y="19"/>
                </a:cxn>
                <a:cxn ang="0">
                  <a:pos x="266" y="29"/>
                </a:cxn>
                <a:cxn ang="0">
                  <a:pos x="271" y="36"/>
                </a:cxn>
                <a:cxn ang="0">
                  <a:pos x="290" y="26"/>
                </a:cxn>
                <a:cxn ang="0">
                  <a:pos x="345" y="141"/>
                </a:cxn>
                <a:cxn ang="0">
                  <a:pos x="328" y="151"/>
                </a:cxn>
                <a:cxn ang="0">
                  <a:pos x="330" y="158"/>
                </a:cxn>
                <a:cxn ang="0">
                  <a:pos x="350" y="148"/>
                </a:cxn>
                <a:cxn ang="0">
                  <a:pos x="354" y="158"/>
                </a:cxn>
                <a:cxn ang="0">
                  <a:pos x="86" y="292"/>
                </a:cxn>
                <a:cxn ang="0">
                  <a:pos x="81" y="282"/>
                </a:cxn>
              </a:cxnLst>
              <a:rect l="0" t="0" r="r" b="b"/>
              <a:pathLst>
                <a:path w="366" h="304">
                  <a:moveTo>
                    <a:pt x="285" y="0"/>
                  </a:moveTo>
                  <a:lnTo>
                    <a:pt x="0" y="141"/>
                  </a:lnTo>
                  <a:lnTo>
                    <a:pt x="81" y="304"/>
                  </a:lnTo>
                  <a:lnTo>
                    <a:pt x="366" y="163"/>
                  </a:lnTo>
                  <a:lnTo>
                    <a:pt x="285" y="0"/>
                  </a:lnTo>
                  <a:close/>
                  <a:moveTo>
                    <a:pt x="81" y="282"/>
                  </a:moveTo>
                  <a:lnTo>
                    <a:pt x="100" y="273"/>
                  </a:lnTo>
                  <a:lnTo>
                    <a:pt x="96" y="265"/>
                  </a:lnTo>
                  <a:lnTo>
                    <a:pt x="76" y="275"/>
                  </a:lnTo>
                  <a:lnTo>
                    <a:pt x="19" y="163"/>
                  </a:lnTo>
                  <a:lnTo>
                    <a:pt x="40" y="151"/>
                  </a:lnTo>
                  <a:lnTo>
                    <a:pt x="36" y="143"/>
                  </a:lnTo>
                  <a:lnTo>
                    <a:pt x="16" y="153"/>
                  </a:lnTo>
                  <a:lnTo>
                    <a:pt x="12" y="146"/>
                  </a:lnTo>
                  <a:lnTo>
                    <a:pt x="280" y="9"/>
                  </a:lnTo>
                  <a:lnTo>
                    <a:pt x="285" y="19"/>
                  </a:lnTo>
                  <a:lnTo>
                    <a:pt x="266" y="29"/>
                  </a:lnTo>
                  <a:lnTo>
                    <a:pt x="271" y="36"/>
                  </a:lnTo>
                  <a:lnTo>
                    <a:pt x="290" y="26"/>
                  </a:lnTo>
                  <a:lnTo>
                    <a:pt x="345" y="141"/>
                  </a:lnTo>
                  <a:lnTo>
                    <a:pt x="328" y="151"/>
                  </a:lnTo>
                  <a:lnTo>
                    <a:pt x="330" y="158"/>
                  </a:lnTo>
                  <a:lnTo>
                    <a:pt x="350" y="148"/>
                  </a:lnTo>
                  <a:lnTo>
                    <a:pt x="354" y="158"/>
                  </a:lnTo>
                  <a:lnTo>
                    <a:pt x="86" y="292"/>
                  </a:lnTo>
                  <a:lnTo>
                    <a:pt x="81" y="28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04" name="Freeform 108"/>
            <p:cNvSpPr>
              <a:spLocks/>
            </p:cNvSpPr>
            <p:nvPr/>
          </p:nvSpPr>
          <p:spPr bwMode="auto">
            <a:xfrm>
              <a:off x="431" y="1138"/>
              <a:ext cx="24" cy="19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10"/>
                </a:cxn>
                <a:cxn ang="0">
                  <a:pos x="2" y="19"/>
                </a:cxn>
                <a:cxn ang="0">
                  <a:pos x="24" y="7"/>
                </a:cxn>
                <a:cxn ang="0">
                  <a:pos x="22" y="0"/>
                </a:cxn>
              </a:cxnLst>
              <a:rect l="0" t="0" r="r" b="b"/>
              <a:pathLst>
                <a:path w="24" h="19">
                  <a:moveTo>
                    <a:pt x="22" y="0"/>
                  </a:moveTo>
                  <a:lnTo>
                    <a:pt x="0" y="10"/>
                  </a:lnTo>
                  <a:lnTo>
                    <a:pt x="2" y="19"/>
                  </a:lnTo>
                  <a:lnTo>
                    <a:pt x="24" y="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5" name="Freeform 109"/>
            <p:cNvSpPr>
              <a:spLocks/>
            </p:cNvSpPr>
            <p:nvPr/>
          </p:nvSpPr>
          <p:spPr bwMode="auto">
            <a:xfrm>
              <a:off x="347" y="1179"/>
              <a:ext cx="24" cy="1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3" y="19"/>
                </a:cxn>
                <a:cxn ang="0">
                  <a:pos x="24" y="9"/>
                </a:cxn>
                <a:cxn ang="0">
                  <a:pos x="22" y="0"/>
                </a:cxn>
                <a:cxn ang="0">
                  <a:pos x="0" y="12"/>
                </a:cxn>
              </a:cxnLst>
              <a:rect l="0" t="0" r="r" b="b"/>
              <a:pathLst>
                <a:path w="24" h="19">
                  <a:moveTo>
                    <a:pt x="0" y="12"/>
                  </a:moveTo>
                  <a:lnTo>
                    <a:pt x="3" y="19"/>
                  </a:lnTo>
                  <a:lnTo>
                    <a:pt x="24" y="9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6" name="Freeform 110"/>
            <p:cNvSpPr>
              <a:spLocks/>
            </p:cNvSpPr>
            <p:nvPr/>
          </p:nvSpPr>
          <p:spPr bwMode="auto">
            <a:xfrm>
              <a:off x="388" y="1160"/>
              <a:ext cx="26" cy="16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9"/>
                </a:cxn>
                <a:cxn ang="0">
                  <a:pos x="5" y="16"/>
                </a:cxn>
                <a:cxn ang="0">
                  <a:pos x="26" y="7"/>
                </a:cxn>
                <a:cxn ang="0">
                  <a:pos x="21" y="0"/>
                </a:cxn>
              </a:cxnLst>
              <a:rect l="0" t="0" r="r" b="b"/>
              <a:pathLst>
                <a:path w="26" h="16">
                  <a:moveTo>
                    <a:pt x="21" y="0"/>
                  </a:moveTo>
                  <a:lnTo>
                    <a:pt x="0" y="9"/>
                  </a:lnTo>
                  <a:lnTo>
                    <a:pt x="5" y="16"/>
                  </a:lnTo>
                  <a:lnTo>
                    <a:pt x="26" y="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7" name="Freeform 111"/>
            <p:cNvSpPr>
              <a:spLocks/>
            </p:cNvSpPr>
            <p:nvPr/>
          </p:nvSpPr>
          <p:spPr bwMode="auto">
            <a:xfrm>
              <a:off x="472" y="1117"/>
              <a:ext cx="26" cy="1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12"/>
                </a:cxn>
                <a:cxn ang="0">
                  <a:pos x="5" y="19"/>
                </a:cxn>
                <a:cxn ang="0">
                  <a:pos x="26" y="7"/>
                </a:cxn>
                <a:cxn ang="0">
                  <a:pos x="21" y="0"/>
                </a:cxn>
              </a:cxnLst>
              <a:rect l="0" t="0" r="r" b="b"/>
              <a:pathLst>
                <a:path w="26" h="19">
                  <a:moveTo>
                    <a:pt x="21" y="0"/>
                  </a:moveTo>
                  <a:lnTo>
                    <a:pt x="0" y="12"/>
                  </a:lnTo>
                  <a:lnTo>
                    <a:pt x="5" y="19"/>
                  </a:lnTo>
                  <a:lnTo>
                    <a:pt x="26" y="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8" name="Freeform 112"/>
            <p:cNvSpPr>
              <a:spLocks/>
            </p:cNvSpPr>
            <p:nvPr/>
          </p:nvSpPr>
          <p:spPr bwMode="auto">
            <a:xfrm>
              <a:off x="515" y="1095"/>
              <a:ext cx="24" cy="19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12"/>
                </a:cxn>
                <a:cxn ang="0">
                  <a:pos x="2" y="19"/>
                </a:cxn>
                <a:cxn ang="0">
                  <a:pos x="24" y="7"/>
                </a:cxn>
                <a:cxn ang="0">
                  <a:pos x="22" y="0"/>
                </a:cxn>
              </a:cxnLst>
              <a:rect l="0" t="0" r="r" b="b"/>
              <a:pathLst>
                <a:path w="24" h="19">
                  <a:moveTo>
                    <a:pt x="22" y="0"/>
                  </a:moveTo>
                  <a:lnTo>
                    <a:pt x="0" y="12"/>
                  </a:lnTo>
                  <a:lnTo>
                    <a:pt x="2" y="19"/>
                  </a:lnTo>
                  <a:lnTo>
                    <a:pt x="24" y="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09" name="Freeform 113"/>
            <p:cNvSpPr>
              <a:spLocks/>
            </p:cNvSpPr>
            <p:nvPr/>
          </p:nvSpPr>
          <p:spPr bwMode="auto">
            <a:xfrm>
              <a:off x="575" y="1217"/>
              <a:ext cx="26" cy="19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5" y="19"/>
                </a:cxn>
                <a:cxn ang="0">
                  <a:pos x="26" y="7"/>
                </a:cxn>
                <a:cxn ang="0">
                  <a:pos x="22" y="0"/>
                </a:cxn>
                <a:cxn ang="0">
                  <a:pos x="0" y="10"/>
                </a:cxn>
              </a:cxnLst>
              <a:rect l="0" t="0" r="r" b="b"/>
              <a:pathLst>
                <a:path w="26" h="19">
                  <a:moveTo>
                    <a:pt x="0" y="10"/>
                  </a:moveTo>
                  <a:lnTo>
                    <a:pt x="5" y="19"/>
                  </a:lnTo>
                  <a:lnTo>
                    <a:pt x="26" y="7"/>
                  </a:lnTo>
                  <a:lnTo>
                    <a:pt x="22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0" name="Freeform 114"/>
            <p:cNvSpPr>
              <a:spLocks/>
            </p:cNvSpPr>
            <p:nvPr/>
          </p:nvSpPr>
          <p:spPr bwMode="auto">
            <a:xfrm>
              <a:off x="450" y="1279"/>
              <a:ext cx="24" cy="2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3" y="20"/>
                </a:cxn>
                <a:cxn ang="0">
                  <a:pos x="24" y="8"/>
                </a:cxn>
                <a:cxn ang="0">
                  <a:pos x="22" y="0"/>
                </a:cxn>
                <a:cxn ang="0">
                  <a:pos x="0" y="12"/>
                </a:cxn>
              </a:cxnLst>
              <a:rect l="0" t="0" r="r" b="b"/>
              <a:pathLst>
                <a:path w="24" h="20">
                  <a:moveTo>
                    <a:pt x="0" y="12"/>
                  </a:moveTo>
                  <a:lnTo>
                    <a:pt x="3" y="20"/>
                  </a:lnTo>
                  <a:lnTo>
                    <a:pt x="24" y="8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1" name="Freeform 115"/>
            <p:cNvSpPr>
              <a:spLocks/>
            </p:cNvSpPr>
            <p:nvPr/>
          </p:nvSpPr>
          <p:spPr bwMode="auto">
            <a:xfrm>
              <a:off x="534" y="1239"/>
              <a:ext cx="24" cy="16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" y="16"/>
                </a:cxn>
                <a:cxn ang="0">
                  <a:pos x="24" y="7"/>
                </a:cxn>
                <a:cxn ang="0">
                  <a:pos x="22" y="0"/>
                </a:cxn>
                <a:cxn ang="0">
                  <a:pos x="0" y="9"/>
                </a:cxn>
              </a:cxnLst>
              <a:rect l="0" t="0" r="r" b="b"/>
              <a:pathLst>
                <a:path w="24" h="16">
                  <a:moveTo>
                    <a:pt x="0" y="9"/>
                  </a:moveTo>
                  <a:lnTo>
                    <a:pt x="3" y="16"/>
                  </a:lnTo>
                  <a:lnTo>
                    <a:pt x="24" y="7"/>
                  </a:lnTo>
                  <a:lnTo>
                    <a:pt x="22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2" name="Freeform 116"/>
            <p:cNvSpPr>
              <a:spLocks/>
            </p:cNvSpPr>
            <p:nvPr/>
          </p:nvSpPr>
          <p:spPr bwMode="auto">
            <a:xfrm>
              <a:off x="491" y="1258"/>
              <a:ext cx="26" cy="1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5" y="19"/>
                </a:cxn>
                <a:cxn ang="0">
                  <a:pos x="26" y="9"/>
                </a:cxn>
                <a:cxn ang="0">
                  <a:pos x="22" y="0"/>
                </a:cxn>
                <a:cxn ang="0">
                  <a:pos x="0" y="12"/>
                </a:cxn>
              </a:cxnLst>
              <a:rect l="0" t="0" r="r" b="b"/>
              <a:pathLst>
                <a:path w="26" h="19">
                  <a:moveTo>
                    <a:pt x="0" y="12"/>
                  </a:moveTo>
                  <a:lnTo>
                    <a:pt x="5" y="19"/>
                  </a:lnTo>
                  <a:lnTo>
                    <a:pt x="26" y="9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3" name="Freeform 117"/>
            <p:cNvSpPr>
              <a:spLocks/>
            </p:cNvSpPr>
            <p:nvPr/>
          </p:nvSpPr>
          <p:spPr bwMode="auto">
            <a:xfrm>
              <a:off x="407" y="1301"/>
              <a:ext cx="26" cy="19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" y="19"/>
                </a:cxn>
                <a:cxn ang="0">
                  <a:pos x="26" y="7"/>
                </a:cxn>
                <a:cxn ang="0">
                  <a:pos x="22" y="0"/>
                </a:cxn>
                <a:cxn ang="0">
                  <a:pos x="0" y="9"/>
                </a:cxn>
              </a:cxnLst>
              <a:rect l="0" t="0" r="r" b="b"/>
              <a:pathLst>
                <a:path w="26" h="19">
                  <a:moveTo>
                    <a:pt x="0" y="9"/>
                  </a:moveTo>
                  <a:lnTo>
                    <a:pt x="5" y="19"/>
                  </a:lnTo>
                  <a:lnTo>
                    <a:pt x="26" y="7"/>
                  </a:lnTo>
                  <a:lnTo>
                    <a:pt x="22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16" name="Group 120"/>
          <p:cNvGrpSpPr>
            <a:grpSpLocks noChangeAspect="1"/>
          </p:cNvGrpSpPr>
          <p:nvPr/>
        </p:nvGrpSpPr>
        <p:grpSpPr bwMode="auto">
          <a:xfrm>
            <a:off x="1466058" y="1567124"/>
            <a:ext cx="768350" cy="768350"/>
            <a:chOff x="919" y="958"/>
            <a:chExt cx="484" cy="484"/>
          </a:xfrm>
        </p:grpSpPr>
        <p:sp>
          <p:nvSpPr>
            <p:cNvPr id="55417" name="Freeform 121"/>
            <p:cNvSpPr>
              <a:spLocks noEditPoints="1"/>
            </p:cNvSpPr>
            <p:nvPr/>
          </p:nvSpPr>
          <p:spPr bwMode="auto">
            <a:xfrm>
              <a:off x="919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8" name="Freeform 122"/>
            <p:cNvSpPr>
              <a:spLocks noEditPoints="1"/>
            </p:cNvSpPr>
            <p:nvPr/>
          </p:nvSpPr>
          <p:spPr bwMode="auto">
            <a:xfrm>
              <a:off x="972" y="1054"/>
              <a:ext cx="367" cy="305"/>
            </a:xfrm>
            <a:custGeom>
              <a:avLst/>
              <a:gdLst/>
              <a:ahLst/>
              <a:cxnLst>
                <a:cxn ang="0">
                  <a:pos x="285" y="0"/>
                </a:cxn>
                <a:cxn ang="0">
                  <a:pos x="0" y="142"/>
                </a:cxn>
                <a:cxn ang="0">
                  <a:pos x="82" y="305"/>
                </a:cxn>
                <a:cxn ang="0">
                  <a:pos x="367" y="163"/>
                </a:cxn>
                <a:cxn ang="0">
                  <a:pos x="285" y="0"/>
                </a:cxn>
                <a:cxn ang="0">
                  <a:pos x="82" y="285"/>
                </a:cxn>
                <a:cxn ang="0">
                  <a:pos x="103" y="273"/>
                </a:cxn>
                <a:cxn ang="0">
                  <a:pos x="98" y="266"/>
                </a:cxn>
                <a:cxn ang="0">
                  <a:pos x="77" y="276"/>
                </a:cxn>
                <a:cxn ang="0">
                  <a:pos x="22" y="163"/>
                </a:cxn>
                <a:cxn ang="0">
                  <a:pos x="41" y="154"/>
                </a:cxn>
                <a:cxn ang="0">
                  <a:pos x="38" y="144"/>
                </a:cxn>
                <a:cxn ang="0">
                  <a:pos x="17" y="156"/>
                </a:cxn>
                <a:cxn ang="0">
                  <a:pos x="12" y="146"/>
                </a:cxn>
                <a:cxn ang="0">
                  <a:pos x="283" y="12"/>
                </a:cxn>
                <a:cxn ang="0">
                  <a:pos x="285" y="22"/>
                </a:cxn>
                <a:cxn ang="0">
                  <a:pos x="268" y="29"/>
                </a:cxn>
                <a:cxn ang="0">
                  <a:pos x="271" y="39"/>
                </a:cxn>
                <a:cxn ang="0">
                  <a:pos x="290" y="29"/>
                </a:cxn>
                <a:cxn ang="0">
                  <a:pos x="348" y="142"/>
                </a:cxn>
                <a:cxn ang="0">
                  <a:pos x="328" y="151"/>
                </a:cxn>
                <a:cxn ang="0">
                  <a:pos x="333" y="158"/>
                </a:cxn>
                <a:cxn ang="0">
                  <a:pos x="350" y="149"/>
                </a:cxn>
                <a:cxn ang="0">
                  <a:pos x="355" y="158"/>
                </a:cxn>
                <a:cxn ang="0">
                  <a:pos x="86" y="293"/>
                </a:cxn>
                <a:cxn ang="0">
                  <a:pos x="82" y="285"/>
                </a:cxn>
              </a:cxnLst>
              <a:rect l="0" t="0" r="r" b="b"/>
              <a:pathLst>
                <a:path w="367" h="305">
                  <a:moveTo>
                    <a:pt x="285" y="0"/>
                  </a:moveTo>
                  <a:lnTo>
                    <a:pt x="0" y="142"/>
                  </a:lnTo>
                  <a:lnTo>
                    <a:pt x="82" y="305"/>
                  </a:lnTo>
                  <a:lnTo>
                    <a:pt x="367" y="163"/>
                  </a:lnTo>
                  <a:lnTo>
                    <a:pt x="285" y="0"/>
                  </a:lnTo>
                  <a:close/>
                  <a:moveTo>
                    <a:pt x="82" y="285"/>
                  </a:moveTo>
                  <a:lnTo>
                    <a:pt x="103" y="273"/>
                  </a:lnTo>
                  <a:lnTo>
                    <a:pt x="98" y="266"/>
                  </a:lnTo>
                  <a:lnTo>
                    <a:pt x="77" y="276"/>
                  </a:lnTo>
                  <a:lnTo>
                    <a:pt x="22" y="163"/>
                  </a:lnTo>
                  <a:lnTo>
                    <a:pt x="41" y="154"/>
                  </a:lnTo>
                  <a:lnTo>
                    <a:pt x="38" y="144"/>
                  </a:lnTo>
                  <a:lnTo>
                    <a:pt x="17" y="156"/>
                  </a:lnTo>
                  <a:lnTo>
                    <a:pt x="12" y="146"/>
                  </a:lnTo>
                  <a:lnTo>
                    <a:pt x="283" y="12"/>
                  </a:lnTo>
                  <a:lnTo>
                    <a:pt x="285" y="22"/>
                  </a:lnTo>
                  <a:lnTo>
                    <a:pt x="268" y="29"/>
                  </a:lnTo>
                  <a:lnTo>
                    <a:pt x="271" y="39"/>
                  </a:lnTo>
                  <a:lnTo>
                    <a:pt x="290" y="29"/>
                  </a:lnTo>
                  <a:lnTo>
                    <a:pt x="348" y="142"/>
                  </a:lnTo>
                  <a:lnTo>
                    <a:pt x="328" y="151"/>
                  </a:lnTo>
                  <a:lnTo>
                    <a:pt x="333" y="158"/>
                  </a:lnTo>
                  <a:lnTo>
                    <a:pt x="350" y="149"/>
                  </a:lnTo>
                  <a:lnTo>
                    <a:pt x="355" y="158"/>
                  </a:lnTo>
                  <a:lnTo>
                    <a:pt x="86" y="293"/>
                  </a:lnTo>
                  <a:lnTo>
                    <a:pt x="82" y="28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9" name="Freeform 123"/>
            <p:cNvSpPr>
              <a:spLocks/>
            </p:cNvSpPr>
            <p:nvPr/>
          </p:nvSpPr>
          <p:spPr bwMode="auto">
            <a:xfrm>
              <a:off x="1113" y="1136"/>
              <a:ext cx="27" cy="19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12"/>
                </a:cxn>
                <a:cxn ang="0">
                  <a:pos x="5" y="19"/>
                </a:cxn>
                <a:cxn ang="0">
                  <a:pos x="27" y="7"/>
                </a:cxn>
                <a:cxn ang="0">
                  <a:pos x="22" y="0"/>
                </a:cxn>
              </a:cxnLst>
              <a:rect l="0" t="0" r="r" b="b"/>
              <a:pathLst>
                <a:path w="27" h="19">
                  <a:moveTo>
                    <a:pt x="22" y="0"/>
                  </a:moveTo>
                  <a:lnTo>
                    <a:pt x="0" y="12"/>
                  </a:lnTo>
                  <a:lnTo>
                    <a:pt x="5" y="19"/>
                  </a:lnTo>
                  <a:lnTo>
                    <a:pt x="27" y="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0" name="Freeform 124"/>
            <p:cNvSpPr>
              <a:spLocks/>
            </p:cNvSpPr>
            <p:nvPr/>
          </p:nvSpPr>
          <p:spPr bwMode="auto">
            <a:xfrm>
              <a:off x="1030" y="1179"/>
              <a:ext cx="26" cy="1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" y="17"/>
                </a:cxn>
                <a:cxn ang="0">
                  <a:pos x="26" y="7"/>
                </a:cxn>
                <a:cxn ang="0">
                  <a:pos x="21" y="0"/>
                </a:cxn>
                <a:cxn ang="0">
                  <a:pos x="0" y="9"/>
                </a:cxn>
              </a:cxnLst>
              <a:rect l="0" t="0" r="r" b="b"/>
              <a:pathLst>
                <a:path w="26" h="17">
                  <a:moveTo>
                    <a:pt x="0" y="9"/>
                  </a:moveTo>
                  <a:lnTo>
                    <a:pt x="4" y="17"/>
                  </a:lnTo>
                  <a:lnTo>
                    <a:pt x="26" y="7"/>
                  </a:lnTo>
                  <a:lnTo>
                    <a:pt x="21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1" name="Freeform 125"/>
            <p:cNvSpPr>
              <a:spLocks/>
            </p:cNvSpPr>
            <p:nvPr/>
          </p:nvSpPr>
          <p:spPr bwMode="auto">
            <a:xfrm>
              <a:off x="1073" y="1157"/>
              <a:ext cx="24" cy="1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10"/>
                </a:cxn>
                <a:cxn ang="0">
                  <a:pos x="2" y="19"/>
                </a:cxn>
                <a:cxn ang="0">
                  <a:pos x="24" y="7"/>
                </a:cxn>
                <a:cxn ang="0">
                  <a:pos x="21" y="0"/>
                </a:cxn>
              </a:cxnLst>
              <a:rect l="0" t="0" r="r" b="b"/>
              <a:pathLst>
                <a:path w="24" h="19">
                  <a:moveTo>
                    <a:pt x="21" y="0"/>
                  </a:moveTo>
                  <a:lnTo>
                    <a:pt x="0" y="10"/>
                  </a:lnTo>
                  <a:lnTo>
                    <a:pt x="2" y="19"/>
                  </a:lnTo>
                  <a:lnTo>
                    <a:pt x="24" y="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2" name="Freeform 126"/>
            <p:cNvSpPr>
              <a:spLocks/>
            </p:cNvSpPr>
            <p:nvPr/>
          </p:nvSpPr>
          <p:spPr bwMode="auto">
            <a:xfrm>
              <a:off x="1157" y="1114"/>
              <a:ext cx="24" cy="1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0" y="12"/>
                </a:cxn>
                <a:cxn ang="0">
                  <a:pos x="2" y="19"/>
                </a:cxn>
                <a:cxn ang="0">
                  <a:pos x="24" y="10"/>
                </a:cxn>
                <a:cxn ang="0">
                  <a:pos x="21" y="0"/>
                </a:cxn>
              </a:cxnLst>
              <a:rect l="0" t="0" r="r" b="b"/>
              <a:pathLst>
                <a:path w="24" h="19">
                  <a:moveTo>
                    <a:pt x="21" y="0"/>
                  </a:moveTo>
                  <a:lnTo>
                    <a:pt x="0" y="12"/>
                  </a:lnTo>
                  <a:lnTo>
                    <a:pt x="2" y="19"/>
                  </a:lnTo>
                  <a:lnTo>
                    <a:pt x="24" y="1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3" name="Freeform 127"/>
            <p:cNvSpPr>
              <a:spLocks/>
            </p:cNvSpPr>
            <p:nvPr/>
          </p:nvSpPr>
          <p:spPr bwMode="auto">
            <a:xfrm>
              <a:off x="1197" y="1095"/>
              <a:ext cx="27" cy="17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10"/>
                </a:cxn>
                <a:cxn ang="0">
                  <a:pos x="5" y="17"/>
                </a:cxn>
                <a:cxn ang="0">
                  <a:pos x="27" y="7"/>
                </a:cxn>
                <a:cxn ang="0">
                  <a:pos x="22" y="0"/>
                </a:cxn>
              </a:cxnLst>
              <a:rect l="0" t="0" r="r" b="b"/>
              <a:pathLst>
                <a:path w="27" h="17">
                  <a:moveTo>
                    <a:pt x="22" y="0"/>
                  </a:moveTo>
                  <a:lnTo>
                    <a:pt x="0" y="10"/>
                  </a:lnTo>
                  <a:lnTo>
                    <a:pt x="5" y="17"/>
                  </a:lnTo>
                  <a:lnTo>
                    <a:pt x="27" y="7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4" name="Freeform 128"/>
            <p:cNvSpPr>
              <a:spLocks/>
            </p:cNvSpPr>
            <p:nvPr/>
          </p:nvSpPr>
          <p:spPr bwMode="auto">
            <a:xfrm>
              <a:off x="1260" y="1215"/>
              <a:ext cx="24" cy="1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9"/>
                </a:cxn>
                <a:cxn ang="0">
                  <a:pos x="24" y="7"/>
                </a:cxn>
                <a:cxn ang="0">
                  <a:pos x="21" y="0"/>
                </a:cxn>
                <a:cxn ang="0">
                  <a:pos x="0" y="12"/>
                </a:cxn>
              </a:cxnLst>
              <a:rect l="0" t="0" r="r" b="b"/>
              <a:pathLst>
                <a:path w="24" h="19">
                  <a:moveTo>
                    <a:pt x="0" y="12"/>
                  </a:moveTo>
                  <a:lnTo>
                    <a:pt x="2" y="19"/>
                  </a:lnTo>
                  <a:lnTo>
                    <a:pt x="24" y="7"/>
                  </a:lnTo>
                  <a:lnTo>
                    <a:pt x="2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5" name="Freeform 129"/>
            <p:cNvSpPr>
              <a:spLocks/>
            </p:cNvSpPr>
            <p:nvPr/>
          </p:nvSpPr>
          <p:spPr bwMode="auto">
            <a:xfrm>
              <a:off x="1133" y="1277"/>
              <a:ext cx="26" cy="1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9"/>
                </a:cxn>
                <a:cxn ang="0">
                  <a:pos x="26" y="10"/>
                </a:cxn>
                <a:cxn ang="0">
                  <a:pos x="21" y="0"/>
                </a:cxn>
                <a:cxn ang="0">
                  <a:pos x="0" y="12"/>
                </a:cxn>
              </a:cxnLst>
              <a:rect l="0" t="0" r="r" b="b"/>
              <a:pathLst>
                <a:path w="26" h="19">
                  <a:moveTo>
                    <a:pt x="0" y="12"/>
                  </a:moveTo>
                  <a:lnTo>
                    <a:pt x="4" y="19"/>
                  </a:lnTo>
                  <a:lnTo>
                    <a:pt x="26" y="10"/>
                  </a:lnTo>
                  <a:lnTo>
                    <a:pt x="2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6" name="Freeform 130"/>
            <p:cNvSpPr>
              <a:spLocks/>
            </p:cNvSpPr>
            <p:nvPr/>
          </p:nvSpPr>
          <p:spPr bwMode="auto">
            <a:xfrm>
              <a:off x="1217" y="1236"/>
              <a:ext cx="26" cy="2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4" y="20"/>
                </a:cxn>
                <a:cxn ang="0">
                  <a:pos x="26" y="8"/>
                </a:cxn>
                <a:cxn ang="0">
                  <a:pos x="21" y="0"/>
                </a:cxn>
                <a:cxn ang="0">
                  <a:pos x="0" y="10"/>
                </a:cxn>
              </a:cxnLst>
              <a:rect l="0" t="0" r="r" b="b"/>
              <a:pathLst>
                <a:path w="26" h="20">
                  <a:moveTo>
                    <a:pt x="0" y="10"/>
                  </a:moveTo>
                  <a:lnTo>
                    <a:pt x="4" y="20"/>
                  </a:lnTo>
                  <a:lnTo>
                    <a:pt x="26" y="8"/>
                  </a:lnTo>
                  <a:lnTo>
                    <a:pt x="21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7" name="Freeform 131"/>
            <p:cNvSpPr>
              <a:spLocks/>
            </p:cNvSpPr>
            <p:nvPr/>
          </p:nvSpPr>
          <p:spPr bwMode="auto">
            <a:xfrm>
              <a:off x="1173" y="1258"/>
              <a:ext cx="27" cy="17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5" y="17"/>
                </a:cxn>
                <a:cxn ang="0">
                  <a:pos x="27" y="7"/>
                </a:cxn>
                <a:cxn ang="0">
                  <a:pos x="24" y="0"/>
                </a:cxn>
                <a:cxn ang="0">
                  <a:pos x="0" y="10"/>
                </a:cxn>
              </a:cxnLst>
              <a:rect l="0" t="0" r="r" b="b"/>
              <a:pathLst>
                <a:path w="27" h="17">
                  <a:moveTo>
                    <a:pt x="0" y="10"/>
                  </a:moveTo>
                  <a:lnTo>
                    <a:pt x="5" y="17"/>
                  </a:lnTo>
                  <a:lnTo>
                    <a:pt x="27" y="7"/>
                  </a:lnTo>
                  <a:lnTo>
                    <a:pt x="24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28" name="Freeform 132"/>
            <p:cNvSpPr>
              <a:spLocks/>
            </p:cNvSpPr>
            <p:nvPr/>
          </p:nvSpPr>
          <p:spPr bwMode="auto">
            <a:xfrm>
              <a:off x="1089" y="1299"/>
              <a:ext cx="27" cy="1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5" y="19"/>
                </a:cxn>
                <a:cxn ang="0">
                  <a:pos x="27" y="9"/>
                </a:cxn>
                <a:cxn ang="0">
                  <a:pos x="22" y="0"/>
                </a:cxn>
                <a:cxn ang="0">
                  <a:pos x="0" y="12"/>
                </a:cxn>
              </a:cxnLst>
              <a:rect l="0" t="0" r="r" b="b"/>
              <a:pathLst>
                <a:path w="27" h="19">
                  <a:moveTo>
                    <a:pt x="0" y="12"/>
                  </a:moveTo>
                  <a:lnTo>
                    <a:pt x="5" y="19"/>
                  </a:lnTo>
                  <a:lnTo>
                    <a:pt x="27" y="9"/>
                  </a:lnTo>
                  <a:lnTo>
                    <a:pt x="22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31" name="Group 135"/>
          <p:cNvGrpSpPr>
            <a:grpSpLocks noChangeAspect="1"/>
          </p:cNvGrpSpPr>
          <p:nvPr/>
        </p:nvGrpSpPr>
        <p:grpSpPr bwMode="auto">
          <a:xfrm>
            <a:off x="2515394" y="1521089"/>
            <a:ext cx="852487" cy="854075"/>
            <a:chOff x="1585" y="929"/>
            <a:chExt cx="537" cy="538"/>
          </a:xfrm>
        </p:grpSpPr>
        <p:sp>
          <p:nvSpPr>
            <p:cNvPr id="55432" name="Oval 136"/>
            <p:cNvSpPr>
              <a:spLocks noChangeArrowheads="1"/>
            </p:cNvSpPr>
            <p:nvPr/>
          </p:nvSpPr>
          <p:spPr bwMode="auto">
            <a:xfrm>
              <a:off x="1585" y="929"/>
              <a:ext cx="537" cy="53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33" name="Freeform 137"/>
            <p:cNvSpPr>
              <a:spLocks noEditPoints="1"/>
            </p:cNvSpPr>
            <p:nvPr/>
          </p:nvSpPr>
          <p:spPr bwMode="auto">
            <a:xfrm>
              <a:off x="1607" y="948"/>
              <a:ext cx="495" cy="498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9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9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34" name="Freeform 138"/>
            <p:cNvSpPr>
              <a:spLocks noEditPoints="1"/>
            </p:cNvSpPr>
            <p:nvPr/>
          </p:nvSpPr>
          <p:spPr bwMode="auto">
            <a:xfrm>
              <a:off x="1762" y="1053"/>
              <a:ext cx="182" cy="235"/>
            </a:xfrm>
            <a:custGeom>
              <a:avLst/>
              <a:gdLst/>
              <a:ahLst/>
              <a:cxnLst>
                <a:cxn ang="0">
                  <a:pos x="38" y="98"/>
                </a:cxn>
                <a:cxn ang="0">
                  <a:pos x="76" y="59"/>
                </a:cxn>
                <a:cxn ang="0">
                  <a:pos x="39" y="1"/>
                </a:cxn>
                <a:cxn ang="0">
                  <a:pos x="38" y="0"/>
                </a:cxn>
                <a:cxn ang="0">
                  <a:pos x="37" y="1"/>
                </a:cxn>
                <a:cxn ang="0">
                  <a:pos x="0" y="59"/>
                </a:cxn>
                <a:cxn ang="0">
                  <a:pos x="38" y="98"/>
                </a:cxn>
                <a:cxn ang="0">
                  <a:pos x="38" y="4"/>
                </a:cxn>
                <a:cxn ang="0">
                  <a:pos x="73" y="59"/>
                </a:cxn>
                <a:cxn ang="0">
                  <a:pos x="38" y="95"/>
                </a:cxn>
                <a:cxn ang="0">
                  <a:pos x="3" y="59"/>
                </a:cxn>
                <a:cxn ang="0">
                  <a:pos x="38" y="4"/>
                </a:cxn>
              </a:cxnLst>
              <a:rect l="0" t="0" r="r" b="b"/>
              <a:pathLst>
                <a:path w="76" h="98">
                  <a:moveTo>
                    <a:pt x="38" y="98"/>
                  </a:moveTo>
                  <a:cubicBezTo>
                    <a:pt x="59" y="98"/>
                    <a:pt x="76" y="81"/>
                    <a:pt x="76" y="59"/>
                  </a:cubicBezTo>
                  <a:cubicBezTo>
                    <a:pt x="76" y="41"/>
                    <a:pt x="45" y="8"/>
                    <a:pt x="39" y="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1" y="8"/>
                    <a:pt x="0" y="41"/>
                    <a:pt x="0" y="59"/>
                  </a:cubicBezTo>
                  <a:cubicBezTo>
                    <a:pt x="0" y="81"/>
                    <a:pt x="17" y="98"/>
                    <a:pt x="38" y="98"/>
                  </a:cubicBezTo>
                  <a:close/>
                  <a:moveTo>
                    <a:pt x="38" y="4"/>
                  </a:moveTo>
                  <a:cubicBezTo>
                    <a:pt x="45" y="11"/>
                    <a:pt x="73" y="43"/>
                    <a:pt x="73" y="59"/>
                  </a:cubicBezTo>
                  <a:cubicBezTo>
                    <a:pt x="73" y="79"/>
                    <a:pt x="57" y="95"/>
                    <a:pt x="38" y="95"/>
                  </a:cubicBezTo>
                  <a:cubicBezTo>
                    <a:pt x="19" y="95"/>
                    <a:pt x="3" y="79"/>
                    <a:pt x="3" y="59"/>
                  </a:cubicBezTo>
                  <a:cubicBezTo>
                    <a:pt x="3" y="43"/>
                    <a:pt x="31" y="11"/>
                    <a:pt x="38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35" name="Freeform 139"/>
            <p:cNvSpPr>
              <a:spLocks/>
            </p:cNvSpPr>
            <p:nvPr/>
          </p:nvSpPr>
          <p:spPr bwMode="auto">
            <a:xfrm>
              <a:off x="1734" y="1283"/>
              <a:ext cx="244" cy="53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84" y="1"/>
                </a:cxn>
                <a:cxn ang="0">
                  <a:pos x="85" y="3"/>
                </a:cxn>
                <a:cxn ang="0">
                  <a:pos x="98" y="9"/>
                </a:cxn>
                <a:cxn ang="0">
                  <a:pos x="51" y="18"/>
                </a:cxn>
                <a:cxn ang="0">
                  <a:pos x="4" y="9"/>
                </a:cxn>
                <a:cxn ang="0">
                  <a:pos x="16" y="4"/>
                </a:cxn>
                <a:cxn ang="0">
                  <a:pos x="17" y="2"/>
                </a:cxn>
                <a:cxn ang="0">
                  <a:pos x="15" y="0"/>
                </a:cxn>
                <a:cxn ang="0">
                  <a:pos x="0" y="9"/>
                </a:cxn>
                <a:cxn ang="0">
                  <a:pos x="51" y="22"/>
                </a:cxn>
                <a:cxn ang="0">
                  <a:pos x="102" y="9"/>
                </a:cxn>
                <a:cxn ang="0">
                  <a:pos x="86" y="0"/>
                </a:cxn>
              </a:cxnLst>
              <a:rect l="0" t="0" r="r" b="b"/>
              <a:pathLst>
                <a:path w="102" h="22">
                  <a:moveTo>
                    <a:pt x="86" y="0"/>
                  </a:moveTo>
                  <a:cubicBezTo>
                    <a:pt x="85" y="0"/>
                    <a:pt x="84" y="0"/>
                    <a:pt x="84" y="1"/>
                  </a:cubicBezTo>
                  <a:cubicBezTo>
                    <a:pt x="83" y="2"/>
                    <a:pt x="84" y="3"/>
                    <a:pt x="85" y="3"/>
                  </a:cubicBezTo>
                  <a:cubicBezTo>
                    <a:pt x="96" y="6"/>
                    <a:pt x="98" y="8"/>
                    <a:pt x="98" y="9"/>
                  </a:cubicBezTo>
                  <a:cubicBezTo>
                    <a:pt x="98" y="14"/>
                    <a:pt x="83" y="18"/>
                    <a:pt x="51" y="18"/>
                  </a:cubicBezTo>
                  <a:cubicBezTo>
                    <a:pt x="21" y="18"/>
                    <a:pt x="4" y="12"/>
                    <a:pt x="4" y="9"/>
                  </a:cubicBezTo>
                  <a:cubicBezTo>
                    <a:pt x="4" y="9"/>
                    <a:pt x="6" y="6"/>
                    <a:pt x="16" y="4"/>
                  </a:cubicBezTo>
                  <a:cubicBezTo>
                    <a:pt x="17" y="4"/>
                    <a:pt x="17" y="3"/>
                    <a:pt x="17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5" y="3"/>
                    <a:pt x="0" y="6"/>
                    <a:pt x="0" y="9"/>
                  </a:cubicBezTo>
                  <a:cubicBezTo>
                    <a:pt x="0" y="19"/>
                    <a:pt x="34" y="22"/>
                    <a:pt x="51" y="22"/>
                  </a:cubicBezTo>
                  <a:cubicBezTo>
                    <a:pt x="74" y="22"/>
                    <a:pt x="102" y="20"/>
                    <a:pt x="102" y="9"/>
                  </a:cubicBezTo>
                  <a:cubicBezTo>
                    <a:pt x="102" y="5"/>
                    <a:pt x="97" y="2"/>
                    <a:pt x="8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36" name="Freeform 140"/>
            <p:cNvSpPr>
              <a:spLocks/>
            </p:cNvSpPr>
            <p:nvPr/>
          </p:nvSpPr>
          <p:spPr bwMode="auto">
            <a:xfrm>
              <a:off x="1774" y="1281"/>
              <a:ext cx="161" cy="36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0" y="7"/>
                </a:cxn>
                <a:cxn ang="0">
                  <a:pos x="34" y="15"/>
                </a:cxn>
                <a:cxn ang="0">
                  <a:pos x="67" y="7"/>
                </a:cxn>
                <a:cxn ang="0">
                  <a:pos x="56" y="0"/>
                </a:cxn>
                <a:cxn ang="0">
                  <a:pos x="54" y="2"/>
                </a:cxn>
                <a:cxn ang="0">
                  <a:pos x="55" y="4"/>
                </a:cxn>
                <a:cxn ang="0">
                  <a:pos x="63" y="7"/>
                </a:cxn>
                <a:cxn ang="0">
                  <a:pos x="34" y="12"/>
                </a:cxn>
                <a:cxn ang="0">
                  <a:pos x="13" y="10"/>
                </a:cxn>
                <a:cxn ang="0">
                  <a:pos x="4" y="7"/>
                </a:cxn>
                <a:cxn ang="0">
                  <a:pos x="11" y="4"/>
                </a:cxn>
              </a:cxnLst>
              <a:rect l="0" t="0" r="r" b="b"/>
              <a:pathLst>
                <a:path w="67" h="15">
                  <a:moveTo>
                    <a:pt x="11" y="4"/>
                  </a:moveTo>
                  <a:cubicBezTo>
                    <a:pt x="12" y="4"/>
                    <a:pt x="13" y="3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4" y="2"/>
                    <a:pt x="0" y="4"/>
                    <a:pt x="0" y="7"/>
                  </a:cubicBezTo>
                  <a:cubicBezTo>
                    <a:pt x="0" y="14"/>
                    <a:pt x="21" y="15"/>
                    <a:pt x="34" y="15"/>
                  </a:cubicBezTo>
                  <a:cubicBezTo>
                    <a:pt x="56" y="15"/>
                    <a:pt x="67" y="13"/>
                    <a:pt x="67" y="7"/>
                  </a:cubicBezTo>
                  <a:cubicBezTo>
                    <a:pt x="67" y="4"/>
                    <a:pt x="63" y="2"/>
                    <a:pt x="56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4" y="3"/>
                    <a:pt x="54" y="3"/>
                    <a:pt x="55" y="4"/>
                  </a:cubicBezTo>
                  <a:cubicBezTo>
                    <a:pt x="62" y="5"/>
                    <a:pt x="63" y="7"/>
                    <a:pt x="63" y="7"/>
                  </a:cubicBezTo>
                  <a:cubicBezTo>
                    <a:pt x="63" y="9"/>
                    <a:pt x="56" y="12"/>
                    <a:pt x="34" y="12"/>
                  </a:cubicBezTo>
                  <a:cubicBezTo>
                    <a:pt x="26" y="12"/>
                    <a:pt x="18" y="11"/>
                    <a:pt x="13" y="10"/>
                  </a:cubicBezTo>
                  <a:cubicBezTo>
                    <a:pt x="6" y="9"/>
                    <a:pt x="4" y="7"/>
                    <a:pt x="4" y="7"/>
                  </a:cubicBezTo>
                  <a:cubicBezTo>
                    <a:pt x="4" y="6"/>
                    <a:pt x="6" y="5"/>
                    <a:pt x="11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39" name="Group 143"/>
          <p:cNvGrpSpPr>
            <a:grpSpLocks noChangeAspect="1"/>
          </p:cNvGrpSpPr>
          <p:nvPr/>
        </p:nvGrpSpPr>
        <p:grpSpPr bwMode="auto">
          <a:xfrm>
            <a:off x="3650458" y="1556013"/>
            <a:ext cx="785813" cy="792162"/>
            <a:chOff x="2301" y="951"/>
            <a:chExt cx="495" cy="499"/>
          </a:xfrm>
        </p:grpSpPr>
        <p:sp>
          <p:nvSpPr>
            <p:cNvPr id="55440" name="Freeform 144"/>
            <p:cNvSpPr>
              <a:spLocks noEditPoints="1"/>
            </p:cNvSpPr>
            <p:nvPr/>
          </p:nvSpPr>
          <p:spPr bwMode="auto">
            <a:xfrm>
              <a:off x="2301" y="951"/>
              <a:ext cx="495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9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9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41" name="Freeform 145"/>
            <p:cNvSpPr>
              <a:spLocks noEditPoints="1"/>
            </p:cNvSpPr>
            <p:nvPr/>
          </p:nvSpPr>
          <p:spPr bwMode="auto">
            <a:xfrm>
              <a:off x="2456" y="1057"/>
              <a:ext cx="182" cy="234"/>
            </a:xfrm>
            <a:custGeom>
              <a:avLst/>
              <a:gdLst/>
              <a:ahLst/>
              <a:cxnLst>
                <a:cxn ang="0">
                  <a:pos x="38" y="98"/>
                </a:cxn>
                <a:cxn ang="0">
                  <a:pos x="76" y="59"/>
                </a:cxn>
                <a:cxn ang="0">
                  <a:pos x="39" y="1"/>
                </a:cxn>
                <a:cxn ang="0">
                  <a:pos x="38" y="0"/>
                </a:cxn>
                <a:cxn ang="0">
                  <a:pos x="37" y="1"/>
                </a:cxn>
                <a:cxn ang="0">
                  <a:pos x="0" y="59"/>
                </a:cxn>
                <a:cxn ang="0">
                  <a:pos x="38" y="98"/>
                </a:cxn>
                <a:cxn ang="0">
                  <a:pos x="38" y="4"/>
                </a:cxn>
                <a:cxn ang="0">
                  <a:pos x="73" y="59"/>
                </a:cxn>
                <a:cxn ang="0">
                  <a:pos x="38" y="95"/>
                </a:cxn>
                <a:cxn ang="0">
                  <a:pos x="3" y="59"/>
                </a:cxn>
                <a:cxn ang="0">
                  <a:pos x="38" y="4"/>
                </a:cxn>
              </a:cxnLst>
              <a:rect l="0" t="0" r="r" b="b"/>
              <a:pathLst>
                <a:path w="76" h="98">
                  <a:moveTo>
                    <a:pt x="38" y="98"/>
                  </a:moveTo>
                  <a:cubicBezTo>
                    <a:pt x="59" y="98"/>
                    <a:pt x="76" y="81"/>
                    <a:pt x="76" y="59"/>
                  </a:cubicBezTo>
                  <a:cubicBezTo>
                    <a:pt x="76" y="41"/>
                    <a:pt x="45" y="8"/>
                    <a:pt x="39" y="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1" y="8"/>
                    <a:pt x="0" y="41"/>
                    <a:pt x="0" y="59"/>
                  </a:cubicBezTo>
                  <a:cubicBezTo>
                    <a:pt x="0" y="81"/>
                    <a:pt x="17" y="98"/>
                    <a:pt x="38" y="98"/>
                  </a:cubicBezTo>
                  <a:close/>
                  <a:moveTo>
                    <a:pt x="38" y="4"/>
                  </a:moveTo>
                  <a:cubicBezTo>
                    <a:pt x="45" y="11"/>
                    <a:pt x="73" y="43"/>
                    <a:pt x="73" y="59"/>
                  </a:cubicBezTo>
                  <a:cubicBezTo>
                    <a:pt x="73" y="79"/>
                    <a:pt x="57" y="95"/>
                    <a:pt x="38" y="95"/>
                  </a:cubicBezTo>
                  <a:cubicBezTo>
                    <a:pt x="18" y="95"/>
                    <a:pt x="3" y="79"/>
                    <a:pt x="3" y="59"/>
                  </a:cubicBezTo>
                  <a:cubicBezTo>
                    <a:pt x="3" y="43"/>
                    <a:pt x="31" y="11"/>
                    <a:pt x="38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42" name="Freeform 146"/>
            <p:cNvSpPr>
              <a:spLocks/>
            </p:cNvSpPr>
            <p:nvPr/>
          </p:nvSpPr>
          <p:spPr bwMode="auto">
            <a:xfrm>
              <a:off x="2428" y="1287"/>
              <a:ext cx="244" cy="52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83" y="1"/>
                </a:cxn>
                <a:cxn ang="0">
                  <a:pos x="85" y="3"/>
                </a:cxn>
                <a:cxn ang="0">
                  <a:pos x="98" y="9"/>
                </a:cxn>
                <a:cxn ang="0">
                  <a:pos x="51" y="18"/>
                </a:cxn>
                <a:cxn ang="0">
                  <a:pos x="4" y="9"/>
                </a:cxn>
                <a:cxn ang="0">
                  <a:pos x="16" y="4"/>
                </a:cxn>
                <a:cxn ang="0">
                  <a:pos x="17" y="2"/>
                </a:cxn>
                <a:cxn ang="0">
                  <a:pos x="15" y="0"/>
                </a:cxn>
                <a:cxn ang="0">
                  <a:pos x="0" y="9"/>
                </a:cxn>
                <a:cxn ang="0">
                  <a:pos x="51" y="22"/>
                </a:cxn>
                <a:cxn ang="0">
                  <a:pos x="102" y="9"/>
                </a:cxn>
                <a:cxn ang="0">
                  <a:pos x="86" y="0"/>
                </a:cxn>
              </a:cxnLst>
              <a:rect l="0" t="0" r="r" b="b"/>
              <a:pathLst>
                <a:path w="102" h="22">
                  <a:moveTo>
                    <a:pt x="86" y="0"/>
                  </a:moveTo>
                  <a:cubicBezTo>
                    <a:pt x="85" y="0"/>
                    <a:pt x="84" y="0"/>
                    <a:pt x="83" y="1"/>
                  </a:cubicBezTo>
                  <a:cubicBezTo>
                    <a:pt x="83" y="2"/>
                    <a:pt x="84" y="3"/>
                    <a:pt x="85" y="3"/>
                  </a:cubicBezTo>
                  <a:cubicBezTo>
                    <a:pt x="96" y="6"/>
                    <a:pt x="98" y="8"/>
                    <a:pt x="98" y="9"/>
                  </a:cubicBezTo>
                  <a:cubicBezTo>
                    <a:pt x="98" y="14"/>
                    <a:pt x="83" y="18"/>
                    <a:pt x="51" y="18"/>
                  </a:cubicBezTo>
                  <a:cubicBezTo>
                    <a:pt x="20" y="18"/>
                    <a:pt x="4" y="12"/>
                    <a:pt x="4" y="9"/>
                  </a:cubicBezTo>
                  <a:cubicBezTo>
                    <a:pt x="4" y="9"/>
                    <a:pt x="6" y="6"/>
                    <a:pt x="16" y="4"/>
                  </a:cubicBezTo>
                  <a:cubicBezTo>
                    <a:pt x="16" y="4"/>
                    <a:pt x="17" y="3"/>
                    <a:pt x="17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5" y="3"/>
                    <a:pt x="0" y="6"/>
                    <a:pt x="0" y="9"/>
                  </a:cubicBezTo>
                  <a:cubicBezTo>
                    <a:pt x="0" y="19"/>
                    <a:pt x="33" y="22"/>
                    <a:pt x="51" y="22"/>
                  </a:cubicBezTo>
                  <a:cubicBezTo>
                    <a:pt x="74" y="22"/>
                    <a:pt x="102" y="20"/>
                    <a:pt x="102" y="9"/>
                  </a:cubicBezTo>
                  <a:cubicBezTo>
                    <a:pt x="102" y="5"/>
                    <a:pt x="96" y="2"/>
                    <a:pt x="86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43" name="Freeform 147"/>
            <p:cNvSpPr>
              <a:spLocks/>
            </p:cNvSpPr>
            <p:nvPr/>
          </p:nvSpPr>
          <p:spPr bwMode="auto">
            <a:xfrm>
              <a:off x="2468" y="1284"/>
              <a:ext cx="161" cy="36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0" y="7"/>
                </a:cxn>
                <a:cxn ang="0">
                  <a:pos x="33" y="15"/>
                </a:cxn>
                <a:cxn ang="0">
                  <a:pos x="67" y="7"/>
                </a:cxn>
                <a:cxn ang="0">
                  <a:pos x="56" y="0"/>
                </a:cxn>
                <a:cxn ang="0">
                  <a:pos x="54" y="2"/>
                </a:cxn>
                <a:cxn ang="0">
                  <a:pos x="55" y="4"/>
                </a:cxn>
                <a:cxn ang="0">
                  <a:pos x="63" y="7"/>
                </a:cxn>
                <a:cxn ang="0">
                  <a:pos x="33" y="12"/>
                </a:cxn>
                <a:cxn ang="0">
                  <a:pos x="12" y="10"/>
                </a:cxn>
                <a:cxn ang="0">
                  <a:pos x="4" y="7"/>
                </a:cxn>
                <a:cxn ang="0">
                  <a:pos x="11" y="4"/>
                </a:cxn>
              </a:cxnLst>
              <a:rect l="0" t="0" r="r" b="b"/>
              <a:pathLst>
                <a:path w="67" h="15">
                  <a:moveTo>
                    <a:pt x="11" y="4"/>
                  </a:moveTo>
                  <a:cubicBezTo>
                    <a:pt x="12" y="4"/>
                    <a:pt x="12" y="3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3" y="2"/>
                    <a:pt x="0" y="4"/>
                    <a:pt x="0" y="7"/>
                  </a:cubicBezTo>
                  <a:cubicBezTo>
                    <a:pt x="0" y="14"/>
                    <a:pt x="21" y="15"/>
                    <a:pt x="33" y="15"/>
                  </a:cubicBezTo>
                  <a:cubicBezTo>
                    <a:pt x="55" y="15"/>
                    <a:pt x="67" y="13"/>
                    <a:pt x="67" y="7"/>
                  </a:cubicBezTo>
                  <a:cubicBezTo>
                    <a:pt x="67" y="4"/>
                    <a:pt x="63" y="2"/>
                    <a:pt x="56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3" y="3"/>
                    <a:pt x="54" y="3"/>
                    <a:pt x="55" y="4"/>
                  </a:cubicBezTo>
                  <a:cubicBezTo>
                    <a:pt x="62" y="5"/>
                    <a:pt x="63" y="7"/>
                    <a:pt x="63" y="7"/>
                  </a:cubicBezTo>
                  <a:cubicBezTo>
                    <a:pt x="63" y="9"/>
                    <a:pt x="55" y="12"/>
                    <a:pt x="33" y="12"/>
                  </a:cubicBezTo>
                  <a:cubicBezTo>
                    <a:pt x="26" y="12"/>
                    <a:pt x="18" y="11"/>
                    <a:pt x="12" y="10"/>
                  </a:cubicBezTo>
                  <a:cubicBezTo>
                    <a:pt x="6" y="9"/>
                    <a:pt x="4" y="7"/>
                    <a:pt x="4" y="7"/>
                  </a:cubicBezTo>
                  <a:cubicBezTo>
                    <a:pt x="4" y="6"/>
                    <a:pt x="5" y="5"/>
                    <a:pt x="11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46" name="Group 150"/>
          <p:cNvGrpSpPr>
            <a:grpSpLocks noChangeAspect="1"/>
          </p:cNvGrpSpPr>
          <p:nvPr/>
        </p:nvGrpSpPr>
        <p:grpSpPr bwMode="auto">
          <a:xfrm>
            <a:off x="4732338" y="1533788"/>
            <a:ext cx="836612" cy="836612"/>
            <a:chOff x="2981" y="937"/>
            <a:chExt cx="527" cy="527"/>
          </a:xfrm>
        </p:grpSpPr>
        <p:sp>
          <p:nvSpPr>
            <p:cNvPr id="55447" name="Oval 151"/>
            <p:cNvSpPr>
              <a:spLocks noChangeArrowheads="1"/>
            </p:cNvSpPr>
            <p:nvPr/>
          </p:nvSpPr>
          <p:spPr bwMode="auto">
            <a:xfrm>
              <a:off x="2981" y="937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48" name="Freeform 152"/>
            <p:cNvSpPr>
              <a:spLocks noEditPoints="1"/>
            </p:cNvSpPr>
            <p:nvPr/>
          </p:nvSpPr>
          <p:spPr bwMode="auto">
            <a:xfrm>
              <a:off x="3003" y="95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49" name="Freeform 153"/>
            <p:cNvSpPr>
              <a:spLocks noEditPoints="1"/>
            </p:cNvSpPr>
            <p:nvPr/>
          </p:nvSpPr>
          <p:spPr bwMode="auto">
            <a:xfrm>
              <a:off x="3084" y="1083"/>
              <a:ext cx="321" cy="223"/>
            </a:xfrm>
            <a:custGeom>
              <a:avLst/>
              <a:gdLst/>
              <a:ahLst/>
              <a:cxnLst>
                <a:cxn ang="0">
                  <a:pos x="271" y="0"/>
                </a:cxn>
                <a:cxn ang="0">
                  <a:pos x="50" y="0"/>
                </a:cxn>
                <a:cxn ang="0">
                  <a:pos x="50" y="139"/>
                </a:cxn>
                <a:cxn ang="0">
                  <a:pos x="0" y="223"/>
                </a:cxn>
                <a:cxn ang="0">
                  <a:pos x="321" y="223"/>
                </a:cxn>
                <a:cxn ang="0">
                  <a:pos x="271" y="139"/>
                </a:cxn>
                <a:cxn ang="0">
                  <a:pos x="271" y="0"/>
                </a:cxn>
                <a:cxn ang="0">
                  <a:pos x="60" y="10"/>
                </a:cxn>
                <a:cxn ang="0">
                  <a:pos x="261" y="10"/>
                </a:cxn>
                <a:cxn ang="0">
                  <a:pos x="261" y="137"/>
                </a:cxn>
                <a:cxn ang="0">
                  <a:pos x="60" y="137"/>
                </a:cxn>
                <a:cxn ang="0">
                  <a:pos x="60" y="10"/>
                </a:cxn>
                <a:cxn ang="0">
                  <a:pos x="15" y="216"/>
                </a:cxn>
                <a:cxn ang="0">
                  <a:pos x="58" y="146"/>
                </a:cxn>
                <a:cxn ang="0">
                  <a:pos x="263" y="146"/>
                </a:cxn>
                <a:cxn ang="0">
                  <a:pos x="306" y="216"/>
                </a:cxn>
                <a:cxn ang="0">
                  <a:pos x="15" y="216"/>
                </a:cxn>
              </a:cxnLst>
              <a:rect l="0" t="0" r="r" b="b"/>
              <a:pathLst>
                <a:path w="321" h="223">
                  <a:moveTo>
                    <a:pt x="271" y="0"/>
                  </a:moveTo>
                  <a:lnTo>
                    <a:pt x="50" y="0"/>
                  </a:lnTo>
                  <a:lnTo>
                    <a:pt x="50" y="139"/>
                  </a:lnTo>
                  <a:lnTo>
                    <a:pt x="0" y="223"/>
                  </a:lnTo>
                  <a:lnTo>
                    <a:pt x="321" y="223"/>
                  </a:lnTo>
                  <a:lnTo>
                    <a:pt x="271" y="139"/>
                  </a:lnTo>
                  <a:lnTo>
                    <a:pt x="271" y="0"/>
                  </a:lnTo>
                  <a:close/>
                  <a:moveTo>
                    <a:pt x="60" y="10"/>
                  </a:moveTo>
                  <a:lnTo>
                    <a:pt x="261" y="10"/>
                  </a:lnTo>
                  <a:lnTo>
                    <a:pt x="261" y="137"/>
                  </a:lnTo>
                  <a:lnTo>
                    <a:pt x="60" y="137"/>
                  </a:lnTo>
                  <a:lnTo>
                    <a:pt x="60" y="10"/>
                  </a:lnTo>
                  <a:close/>
                  <a:moveTo>
                    <a:pt x="15" y="216"/>
                  </a:moveTo>
                  <a:lnTo>
                    <a:pt x="58" y="146"/>
                  </a:lnTo>
                  <a:lnTo>
                    <a:pt x="263" y="146"/>
                  </a:lnTo>
                  <a:lnTo>
                    <a:pt x="306" y="216"/>
                  </a:lnTo>
                  <a:lnTo>
                    <a:pt x="15" y="21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50" name="Rectangle 154"/>
            <p:cNvSpPr>
              <a:spLocks noChangeArrowheads="1"/>
            </p:cNvSpPr>
            <p:nvPr/>
          </p:nvSpPr>
          <p:spPr bwMode="auto">
            <a:xfrm>
              <a:off x="3158" y="1236"/>
              <a:ext cx="173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51" name="Rectangle 155"/>
            <p:cNvSpPr>
              <a:spLocks noChangeArrowheads="1"/>
            </p:cNvSpPr>
            <p:nvPr/>
          </p:nvSpPr>
          <p:spPr bwMode="auto">
            <a:xfrm>
              <a:off x="3151" y="1255"/>
              <a:ext cx="18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52" name="Rectangle 156"/>
            <p:cNvSpPr>
              <a:spLocks noChangeArrowheads="1"/>
            </p:cNvSpPr>
            <p:nvPr/>
          </p:nvSpPr>
          <p:spPr bwMode="auto">
            <a:xfrm>
              <a:off x="3209" y="1277"/>
              <a:ext cx="7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53" name="Freeform 157"/>
            <p:cNvSpPr>
              <a:spLocks noEditPoints="1"/>
            </p:cNvSpPr>
            <p:nvPr/>
          </p:nvSpPr>
          <p:spPr bwMode="auto">
            <a:xfrm>
              <a:off x="3209" y="1114"/>
              <a:ext cx="71" cy="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" y="84"/>
                </a:cxn>
                <a:cxn ang="0">
                  <a:pos x="38" y="60"/>
                </a:cxn>
                <a:cxn ang="0">
                  <a:pos x="62" y="89"/>
                </a:cxn>
                <a:cxn ang="0">
                  <a:pos x="69" y="84"/>
                </a:cxn>
                <a:cxn ang="0">
                  <a:pos x="64" y="86"/>
                </a:cxn>
                <a:cxn ang="0">
                  <a:pos x="67" y="84"/>
                </a:cxn>
                <a:cxn ang="0">
                  <a:pos x="45" y="55"/>
                </a:cxn>
                <a:cxn ang="0">
                  <a:pos x="71" y="46"/>
                </a:cxn>
                <a:cxn ang="0">
                  <a:pos x="0" y="0"/>
                </a:cxn>
                <a:cxn ang="0">
                  <a:pos x="35" y="51"/>
                </a:cxn>
                <a:cxn ang="0">
                  <a:pos x="26" y="65"/>
                </a:cxn>
                <a:cxn ang="0">
                  <a:pos x="14" y="19"/>
                </a:cxn>
                <a:cxn ang="0">
                  <a:pos x="52" y="43"/>
                </a:cxn>
                <a:cxn ang="0">
                  <a:pos x="35" y="51"/>
                </a:cxn>
              </a:cxnLst>
              <a:rect l="0" t="0" r="r" b="b"/>
              <a:pathLst>
                <a:path w="71" h="89">
                  <a:moveTo>
                    <a:pt x="0" y="0"/>
                  </a:moveTo>
                  <a:lnTo>
                    <a:pt x="21" y="84"/>
                  </a:lnTo>
                  <a:lnTo>
                    <a:pt x="38" y="60"/>
                  </a:lnTo>
                  <a:lnTo>
                    <a:pt x="62" y="89"/>
                  </a:lnTo>
                  <a:lnTo>
                    <a:pt x="69" y="84"/>
                  </a:lnTo>
                  <a:lnTo>
                    <a:pt x="64" y="86"/>
                  </a:lnTo>
                  <a:lnTo>
                    <a:pt x="67" y="84"/>
                  </a:lnTo>
                  <a:lnTo>
                    <a:pt x="45" y="55"/>
                  </a:lnTo>
                  <a:lnTo>
                    <a:pt x="71" y="46"/>
                  </a:lnTo>
                  <a:lnTo>
                    <a:pt x="0" y="0"/>
                  </a:lnTo>
                  <a:close/>
                  <a:moveTo>
                    <a:pt x="35" y="51"/>
                  </a:moveTo>
                  <a:lnTo>
                    <a:pt x="26" y="65"/>
                  </a:lnTo>
                  <a:lnTo>
                    <a:pt x="14" y="19"/>
                  </a:lnTo>
                  <a:lnTo>
                    <a:pt x="52" y="43"/>
                  </a:lnTo>
                  <a:lnTo>
                    <a:pt x="35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56" name="Group 160"/>
          <p:cNvGrpSpPr>
            <a:grpSpLocks noChangeAspect="1"/>
          </p:cNvGrpSpPr>
          <p:nvPr/>
        </p:nvGrpSpPr>
        <p:grpSpPr bwMode="auto">
          <a:xfrm>
            <a:off x="5861046" y="1567124"/>
            <a:ext cx="768350" cy="768350"/>
            <a:chOff x="3692" y="958"/>
            <a:chExt cx="484" cy="484"/>
          </a:xfrm>
        </p:grpSpPr>
        <p:sp>
          <p:nvSpPr>
            <p:cNvPr id="55457" name="Freeform 161"/>
            <p:cNvSpPr>
              <a:spLocks noEditPoints="1"/>
            </p:cNvSpPr>
            <p:nvPr/>
          </p:nvSpPr>
          <p:spPr bwMode="auto">
            <a:xfrm>
              <a:off x="3692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58" name="Freeform 162"/>
            <p:cNvSpPr>
              <a:spLocks noEditPoints="1"/>
            </p:cNvSpPr>
            <p:nvPr/>
          </p:nvSpPr>
          <p:spPr bwMode="auto">
            <a:xfrm>
              <a:off x="3774" y="1083"/>
              <a:ext cx="321" cy="223"/>
            </a:xfrm>
            <a:custGeom>
              <a:avLst/>
              <a:gdLst/>
              <a:ahLst/>
              <a:cxnLst>
                <a:cxn ang="0">
                  <a:pos x="271" y="0"/>
                </a:cxn>
                <a:cxn ang="0">
                  <a:pos x="50" y="0"/>
                </a:cxn>
                <a:cxn ang="0">
                  <a:pos x="50" y="139"/>
                </a:cxn>
                <a:cxn ang="0">
                  <a:pos x="0" y="223"/>
                </a:cxn>
                <a:cxn ang="0">
                  <a:pos x="321" y="223"/>
                </a:cxn>
                <a:cxn ang="0">
                  <a:pos x="271" y="139"/>
                </a:cxn>
                <a:cxn ang="0">
                  <a:pos x="271" y="0"/>
                </a:cxn>
                <a:cxn ang="0">
                  <a:pos x="60" y="10"/>
                </a:cxn>
                <a:cxn ang="0">
                  <a:pos x="261" y="10"/>
                </a:cxn>
                <a:cxn ang="0">
                  <a:pos x="261" y="137"/>
                </a:cxn>
                <a:cxn ang="0">
                  <a:pos x="60" y="137"/>
                </a:cxn>
                <a:cxn ang="0">
                  <a:pos x="60" y="10"/>
                </a:cxn>
                <a:cxn ang="0">
                  <a:pos x="14" y="216"/>
                </a:cxn>
                <a:cxn ang="0">
                  <a:pos x="57" y="146"/>
                </a:cxn>
                <a:cxn ang="0">
                  <a:pos x="263" y="146"/>
                </a:cxn>
                <a:cxn ang="0">
                  <a:pos x="307" y="216"/>
                </a:cxn>
                <a:cxn ang="0">
                  <a:pos x="14" y="216"/>
                </a:cxn>
              </a:cxnLst>
              <a:rect l="0" t="0" r="r" b="b"/>
              <a:pathLst>
                <a:path w="321" h="223">
                  <a:moveTo>
                    <a:pt x="271" y="0"/>
                  </a:moveTo>
                  <a:lnTo>
                    <a:pt x="50" y="0"/>
                  </a:lnTo>
                  <a:lnTo>
                    <a:pt x="50" y="139"/>
                  </a:lnTo>
                  <a:lnTo>
                    <a:pt x="0" y="223"/>
                  </a:lnTo>
                  <a:lnTo>
                    <a:pt x="321" y="223"/>
                  </a:lnTo>
                  <a:lnTo>
                    <a:pt x="271" y="139"/>
                  </a:lnTo>
                  <a:lnTo>
                    <a:pt x="271" y="0"/>
                  </a:lnTo>
                  <a:close/>
                  <a:moveTo>
                    <a:pt x="60" y="10"/>
                  </a:moveTo>
                  <a:lnTo>
                    <a:pt x="261" y="10"/>
                  </a:lnTo>
                  <a:lnTo>
                    <a:pt x="261" y="137"/>
                  </a:lnTo>
                  <a:lnTo>
                    <a:pt x="60" y="137"/>
                  </a:lnTo>
                  <a:lnTo>
                    <a:pt x="60" y="10"/>
                  </a:lnTo>
                  <a:close/>
                  <a:moveTo>
                    <a:pt x="14" y="216"/>
                  </a:moveTo>
                  <a:lnTo>
                    <a:pt x="57" y="146"/>
                  </a:lnTo>
                  <a:lnTo>
                    <a:pt x="263" y="146"/>
                  </a:lnTo>
                  <a:lnTo>
                    <a:pt x="307" y="216"/>
                  </a:lnTo>
                  <a:lnTo>
                    <a:pt x="14" y="21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59" name="Rectangle 163"/>
            <p:cNvSpPr>
              <a:spLocks noChangeArrowheads="1"/>
            </p:cNvSpPr>
            <p:nvPr/>
          </p:nvSpPr>
          <p:spPr bwMode="auto">
            <a:xfrm>
              <a:off x="3848" y="1236"/>
              <a:ext cx="173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0" name="Rectangle 164"/>
            <p:cNvSpPr>
              <a:spLocks noChangeArrowheads="1"/>
            </p:cNvSpPr>
            <p:nvPr/>
          </p:nvSpPr>
          <p:spPr bwMode="auto">
            <a:xfrm>
              <a:off x="3841" y="1256"/>
              <a:ext cx="18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1" name="Rectangle 165"/>
            <p:cNvSpPr>
              <a:spLocks noChangeArrowheads="1"/>
            </p:cNvSpPr>
            <p:nvPr/>
          </p:nvSpPr>
          <p:spPr bwMode="auto">
            <a:xfrm>
              <a:off x="3898" y="1277"/>
              <a:ext cx="72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2" name="Freeform 166"/>
            <p:cNvSpPr>
              <a:spLocks noEditPoints="1"/>
            </p:cNvSpPr>
            <p:nvPr/>
          </p:nvSpPr>
          <p:spPr bwMode="auto">
            <a:xfrm>
              <a:off x="3898" y="1114"/>
              <a:ext cx="72" cy="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" y="84"/>
                </a:cxn>
                <a:cxn ang="0">
                  <a:pos x="41" y="60"/>
                </a:cxn>
                <a:cxn ang="0">
                  <a:pos x="63" y="89"/>
                </a:cxn>
                <a:cxn ang="0">
                  <a:pos x="70" y="84"/>
                </a:cxn>
                <a:cxn ang="0">
                  <a:pos x="65" y="86"/>
                </a:cxn>
                <a:cxn ang="0">
                  <a:pos x="70" y="84"/>
                </a:cxn>
                <a:cxn ang="0">
                  <a:pos x="48" y="55"/>
                </a:cxn>
                <a:cxn ang="0">
                  <a:pos x="72" y="46"/>
                </a:cxn>
                <a:cxn ang="0">
                  <a:pos x="0" y="0"/>
                </a:cxn>
                <a:cxn ang="0">
                  <a:pos x="39" y="50"/>
                </a:cxn>
                <a:cxn ang="0">
                  <a:pos x="27" y="65"/>
                </a:cxn>
                <a:cxn ang="0">
                  <a:pos x="15" y="19"/>
                </a:cxn>
                <a:cxn ang="0">
                  <a:pos x="53" y="43"/>
                </a:cxn>
                <a:cxn ang="0">
                  <a:pos x="39" y="50"/>
                </a:cxn>
              </a:cxnLst>
              <a:rect l="0" t="0" r="r" b="b"/>
              <a:pathLst>
                <a:path w="72" h="89">
                  <a:moveTo>
                    <a:pt x="0" y="0"/>
                  </a:moveTo>
                  <a:lnTo>
                    <a:pt x="22" y="84"/>
                  </a:lnTo>
                  <a:lnTo>
                    <a:pt x="41" y="60"/>
                  </a:lnTo>
                  <a:lnTo>
                    <a:pt x="63" y="89"/>
                  </a:lnTo>
                  <a:lnTo>
                    <a:pt x="70" y="84"/>
                  </a:lnTo>
                  <a:lnTo>
                    <a:pt x="65" y="86"/>
                  </a:lnTo>
                  <a:lnTo>
                    <a:pt x="70" y="84"/>
                  </a:lnTo>
                  <a:lnTo>
                    <a:pt x="48" y="55"/>
                  </a:lnTo>
                  <a:lnTo>
                    <a:pt x="72" y="46"/>
                  </a:lnTo>
                  <a:lnTo>
                    <a:pt x="0" y="0"/>
                  </a:lnTo>
                  <a:close/>
                  <a:moveTo>
                    <a:pt x="39" y="50"/>
                  </a:moveTo>
                  <a:lnTo>
                    <a:pt x="27" y="65"/>
                  </a:lnTo>
                  <a:lnTo>
                    <a:pt x="15" y="19"/>
                  </a:lnTo>
                  <a:lnTo>
                    <a:pt x="53" y="43"/>
                  </a:lnTo>
                  <a:lnTo>
                    <a:pt x="39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65" name="Group 169"/>
          <p:cNvGrpSpPr>
            <a:grpSpLocks noChangeAspect="1"/>
          </p:cNvGrpSpPr>
          <p:nvPr/>
        </p:nvGrpSpPr>
        <p:grpSpPr bwMode="auto">
          <a:xfrm>
            <a:off x="6919119" y="1533788"/>
            <a:ext cx="836613" cy="836612"/>
            <a:chOff x="4360" y="937"/>
            <a:chExt cx="527" cy="527"/>
          </a:xfrm>
        </p:grpSpPr>
        <p:sp>
          <p:nvSpPr>
            <p:cNvPr id="55466" name="Oval 170"/>
            <p:cNvSpPr>
              <a:spLocks noChangeArrowheads="1"/>
            </p:cNvSpPr>
            <p:nvPr/>
          </p:nvSpPr>
          <p:spPr bwMode="auto">
            <a:xfrm>
              <a:off x="4360" y="937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67" name="Freeform 171"/>
            <p:cNvSpPr>
              <a:spLocks noEditPoints="1"/>
            </p:cNvSpPr>
            <p:nvPr/>
          </p:nvSpPr>
          <p:spPr bwMode="auto">
            <a:xfrm>
              <a:off x="4382" y="95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8" name="Freeform 172"/>
            <p:cNvSpPr>
              <a:spLocks noEditPoints="1"/>
            </p:cNvSpPr>
            <p:nvPr/>
          </p:nvSpPr>
          <p:spPr bwMode="auto">
            <a:xfrm>
              <a:off x="4482" y="1160"/>
              <a:ext cx="163" cy="170"/>
            </a:xfrm>
            <a:custGeom>
              <a:avLst/>
              <a:gdLst/>
              <a:ahLst/>
              <a:cxnLst>
                <a:cxn ang="0">
                  <a:pos x="45" y="37"/>
                </a:cxn>
                <a:cxn ang="0">
                  <a:pos x="54" y="20"/>
                </a:cxn>
                <a:cxn ang="0">
                  <a:pos x="34" y="0"/>
                </a:cxn>
                <a:cxn ang="0">
                  <a:pos x="14" y="20"/>
                </a:cxn>
                <a:cxn ang="0">
                  <a:pos x="23" y="37"/>
                </a:cxn>
                <a:cxn ang="0">
                  <a:pos x="0" y="62"/>
                </a:cxn>
                <a:cxn ang="0">
                  <a:pos x="0" y="71"/>
                </a:cxn>
                <a:cxn ang="0">
                  <a:pos x="68" y="71"/>
                </a:cxn>
                <a:cxn ang="0">
                  <a:pos x="68" y="62"/>
                </a:cxn>
                <a:cxn ang="0">
                  <a:pos x="45" y="37"/>
                </a:cxn>
                <a:cxn ang="0">
                  <a:pos x="18" y="20"/>
                </a:cxn>
                <a:cxn ang="0">
                  <a:pos x="34" y="4"/>
                </a:cxn>
                <a:cxn ang="0">
                  <a:pos x="50" y="20"/>
                </a:cxn>
                <a:cxn ang="0">
                  <a:pos x="34" y="37"/>
                </a:cxn>
                <a:cxn ang="0">
                  <a:pos x="18" y="20"/>
                </a:cxn>
                <a:cxn ang="0">
                  <a:pos x="64" y="67"/>
                </a:cxn>
                <a:cxn ang="0">
                  <a:pos x="3" y="67"/>
                </a:cxn>
                <a:cxn ang="0">
                  <a:pos x="3" y="62"/>
                </a:cxn>
                <a:cxn ang="0">
                  <a:pos x="23" y="40"/>
                </a:cxn>
                <a:cxn ang="0">
                  <a:pos x="45" y="40"/>
                </a:cxn>
                <a:cxn ang="0">
                  <a:pos x="64" y="62"/>
                </a:cxn>
                <a:cxn ang="0">
                  <a:pos x="64" y="67"/>
                </a:cxn>
              </a:cxnLst>
              <a:rect l="0" t="0" r="r" b="b"/>
              <a:pathLst>
                <a:path w="68" h="71">
                  <a:moveTo>
                    <a:pt x="45" y="37"/>
                  </a:moveTo>
                  <a:cubicBezTo>
                    <a:pt x="51" y="33"/>
                    <a:pt x="54" y="27"/>
                    <a:pt x="54" y="20"/>
                  </a:cubicBezTo>
                  <a:cubicBezTo>
                    <a:pt x="54" y="9"/>
                    <a:pt x="45" y="0"/>
                    <a:pt x="34" y="0"/>
                  </a:cubicBezTo>
                  <a:cubicBezTo>
                    <a:pt x="23" y="0"/>
                    <a:pt x="14" y="9"/>
                    <a:pt x="14" y="20"/>
                  </a:cubicBezTo>
                  <a:cubicBezTo>
                    <a:pt x="14" y="27"/>
                    <a:pt x="17" y="33"/>
                    <a:pt x="23" y="37"/>
                  </a:cubicBezTo>
                  <a:cubicBezTo>
                    <a:pt x="10" y="37"/>
                    <a:pt x="0" y="48"/>
                    <a:pt x="0" y="6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48"/>
                    <a:pt x="58" y="37"/>
                    <a:pt x="45" y="37"/>
                  </a:cubicBezTo>
                  <a:close/>
                  <a:moveTo>
                    <a:pt x="18" y="20"/>
                  </a:moveTo>
                  <a:cubicBezTo>
                    <a:pt x="18" y="11"/>
                    <a:pt x="25" y="4"/>
                    <a:pt x="34" y="4"/>
                  </a:cubicBezTo>
                  <a:cubicBezTo>
                    <a:pt x="43" y="4"/>
                    <a:pt x="50" y="11"/>
                    <a:pt x="50" y="20"/>
                  </a:cubicBezTo>
                  <a:cubicBezTo>
                    <a:pt x="50" y="29"/>
                    <a:pt x="43" y="37"/>
                    <a:pt x="34" y="37"/>
                  </a:cubicBezTo>
                  <a:cubicBezTo>
                    <a:pt x="25" y="37"/>
                    <a:pt x="18" y="29"/>
                    <a:pt x="18" y="20"/>
                  </a:cubicBezTo>
                  <a:close/>
                  <a:moveTo>
                    <a:pt x="64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50"/>
                    <a:pt x="12" y="40"/>
                    <a:pt x="23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56" y="40"/>
                    <a:pt x="64" y="50"/>
                    <a:pt x="64" y="62"/>
                  </a:cubicBezTo>
                  <a:lnTo>
                    <a:pt x="64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9" name="Freeform 173"/>
            <p:cNvSpPr>
              <a:spLocks noEditPoints="1"/>
            </p:cNvSpPr>
            <p:nvPr/>
          </p:nvSpPr>
          <p:spPr bwMode="auto">
            <a:xfrm>
              <a:off x="4616" y="1059"/>
              <a:ext cx="146" cy="98"/>
            </a:xfrm>
            <a:custGeom>
              <a:avLst/>
              <a:gdLst/>
              <a:ahLst/>
              <a:cxnLst>
                <a:cxn ang="0">
                  <a:pos x="48" y="9"/>
                </a:cxn>
                <a:cxn ang="0">
                  <a:pos x="43" y="9"/>
                </a:cxn>
                <a:cxn ang="0">
                  <a:pos x="31" y="0"/>
                </a:cxn>
                <a:cxn ang="0">
                  <a:pos x="18" y="9"/>
                </a:cxn>
                <a:cxn ang="0">
                  <a:pos x="13" y="9"/>
                </a:cxn>
                <a:cxn ang="0">
                  <a:pos x="0" y="21"/>
                </a:cxn>
                <a:cxn ang="0">
                  <a:pos x="12" y="34"/>
                </a:cxn>
                <a:cxn ang="0">
                  <a:pos x="20" y="41"/>
                </a:cxn>
                <a:cxn ang="0">
                  <a:pos x="41" y="41"/>
                </a:cxn>
                <a:cxn ang="0">
                  <a:pos x="49" y="34"/>
                </a:cxn>
                <a:cxn ang="0">
                  <a:pos x="61" y="21"/>
                </a:cxn>
                <a:cxn ang="0">
                  <a:pos x="48" y="9"/>
                </a:cxn>
                <a:cxn ang="0">
                  <a:pos x="41" y="38"/>
                </a:cxn>
                <a:cxn ang="0">
                  <a:pos x="20" y="38"/>
                </a:cxn>
                <a:cxn ang="0">
                  <a:pos x="16" y="33"/>
                </a:cxn>
                <a:cxn ang="0">
                  <a:pos x="20" y="29"/>
                </a:cxn>
                <a:cxn ang="0">
                  <a:pos x="26" y="29"/>
                </a:cxn>
                <a:cxn ang="0">
                  <a:pos x="26" y="27"/>
                </a:cxn>
                <a:cxn ang="0">
                  <a:pos x="31" y="24"/>
                </a:cxn>
                <a:cxn ang="0">
                  <a:pos x="35" y="27"/>
                </a:cxn>
                <a:cxn ang="0">
                  <a:pos x="35" y="29"/>
                </a:cxn>
                <a:cxn ang="0">
                  <a:pos x="41" y="29"/>
                </a:cxn>
                <a:cxn ang="0">
                  <a:pos x="45" y="33"/>
                </a:cxn>
                <a:cxn ang="0">
                  <a:pos x="41" y="38"/>
                </a:cxn>
                <a:cxn ang="0">
                  <a:pos x="48" y="31"/>
                </a:cxn>
                <a:cxn ang="0">
                  <a:pos x="41" y="25"/>
                </a:cxn>
                <a:cxn ang="0">
                  <a:pos x="38" y="25"/>
                </a:cxn>
                <a:cxn ang="0">
                  <a:pos x="31" y="20"/>
                </a:cxn>
                <a:cxn ang="0">
                  <a:pos x="23" y="25"/>
                </a:cxn>
                <a:cxn ang="0">
                  <a:pos x="20" y="25"/>
                </a:cxn>
                <a:cxn ang="0">
                  <a:pos x="13" y="31"/>
                </a:cxn>
                <a:cxn ang="0">
                  <a:pos x="4" y="21"/>
                </a:cxn>
                <a:cxn ang="0">
                  <a:pos x="13" y="12"/>
                </a:cxn>
                <a:cxn ang="0">
                  <a:pos x="21" y="12"/>
                </a:cxn>
                <a:cxn ang="0">
                  <a:pos x="21" y="11"/>
                </a:cxn>
                <a:cxn ang="0">
                  <a:pos x="31" y="4"/>
                </a:cxn>
                <a:cxn ang="0">
                  <a:pos x="40" y="11"/>
                </a:cxn>
                <a:cxn ang="0">
                  <a:pos x="40" y="12"/>
                </a:cxn>
                <a:cxn ang="0">
                  <a:pos x="48" y="12"/>
                </a:cxn>
                <a:cxn ang="0">
                  <a:pos x="57" y="21"/>
                </a:cxn>
                <a:cxn ang="0">
                  <a:pos x="48" y="31"/>
                </a:cxn>
              </a:cxnLst>
              <a:rect l="0" t="0" r="r" b="b"/>
              <a:pathLst>
                <a:path w="61" h="41">
                  <a:moveTo>
                    <a:pt x="48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2" y="4"/>
                    <a:pt x="37" y="0"/>
                    <a:pt x="31" y="0"/>
                  </a:cubicBezTo>
                  <a:cubicBezTo>
                    <a:pt x="25" y="0"/>
                    <a:pt x="20" y="4"/>
                    <a:pt x="18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6" y="9"/>
                    <a:pt x="0" y="14"/>
                    <a:pt x="0" y="21"/>
                  </a:cubicBezTo>
                  <a:cubicBezTo>
                    <a:pt x="0" y="28"/>
                    <a:pt x="6" y="34"/>
                    <a:pt x="12" y="34"/>
                  </a:cubicBezTo>
                  <a:cubicBezTo>
                    <a:pt x="13" y="38"/>
                    <a:pt x="16" y="41"/>
                    <a:pt x="2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5" y="41"/>
                    <a:pt x="48" y="38"/>
                    <a:pt x="49" y="34"/>
                  </a:cubicBezTo>
                  <a:cubicBezTo>
                    <a:pt x="55" y="34"/>
                    <a:pt x="61" y="28"/>
                    <a:pt x="61" y="21"/>
                  </a:cubicBezTo>
                  <a:cubicBezTo>
                    <a:pt x="61" y="14"/>
                    <a:pt x="55" y="9"/>
                    <a:pt x="48" y="9"/>
                  </a:cubicBezTo>
                  <a:close/>
                  <a:moveTo>
                    <a:pt x="41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6" y="36"/>
                    <a:pt x="16" y="33"/>
                  </a:cubicBezTo>
                  <a:cubicBezTo>
                    <a:pt x="16" y="31"/>
                    <a:pt x="18" y="29"/>
                    <a:pt x="20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5"/>
                    <a:pt x="28" y="24"/>
                    <a:pt x="31" y="24"/>
                  </a:cubicBezTo>
                  <a:cubicBezTo>
                    <a:pt x="33" y="24"/>
                    <a:pt x="35" y="25"/>
                    <a:pt x="35" y="27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3" y="29"/>
                    <a:pt x="45" y="31"/>
                    <a:pt x="45" y="33"/>
                  </a:cubicBezTo>
                  <a:cubicBezTo>
                    <a:pt x="45" y="36"/>
                    <a:pt x="43" y="38"/>
                    <a:pt x="41" y="38"/>
                  </a:cubicBezTo>
                  <a:close/>
                  <a:moveTo>
                    <a:pt x="48" y="31"/>
                  </a:moveTo>
                  <a:cubicBezTo>
                    <a:pt x="47" y="27"/>
                    <a:pt x="44" y="25"/>
                    <a:pt x="41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7" y="22"/>
                    <a:pt x="34" y="20"/>
                    <a:pt x="31" y="20"/>
                  </a:cubicBezTo>
                  <a:cubicBezTo>
                    <a:pt x="27" y="20"/>
                    <a:pt x="24" y="22"/>
                    <a:pt x="23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7" y="25"/>
                    <a:pt x="14" y="27"/>
                    <a:pt x="13" y="31"/>
                  </a:cubicBezTo>
                  <a:cubicBezTo>
                    <a:pt x="8" y="30"/>
                    <a:pt x="4" y="26"/>
                    <a:pt x="4" y="21"/>
                  </a:cubicBezTo>
                  <a:cubicBezTo>
                    <a:pt x="4" y="16"/>
                    <a:pt x="8" y="12"/>
                    <a:pt x="13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7"/>
                    <a:pt x="26" y="4"/>
                    <a:pt x="31" y="4"/>
                  </a:cubicBezTo>
                  <a:cubicBezTo>
                    <a:pt x="35" y="4"/>
                    <a:pt x="39" y="7"/>
                    <a:pt x="40" y="11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53" y="12"/>
                    <a:pt x="57" y="16"/>
                    <a:pt x="57" y="21"/>
                  </a:cubicBezTo>
                  <a:cubicBezTo>
                    <a:pt x="57" y="26"/>
                    <a:pt x="53" y="30"/>
                    <a:pt x="48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70" name="Freeform 174"/>
            <p:cNvSpPr>
              <a:spLocks noEditPoints="1"/>
            </p:cNvSpPr>
            <p:nvPr/>
          </p:nvSpPr>
          <p:spPr bwMode="auto">
            <a:xfrm>
              <a:off x="4607" y="1145"/>
              <a:ext cx="28" cy="29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2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6" y="12"/>
                </a:cxn>
                <a:cxn ang="0">
                  <a:pos x="6" y="4"/>
                </a:cxn>
                <a:cxn ang="0">
                  <a:pos x="9" y="6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6" y="4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lose/>
                  <a:moveTo>
                    <a:pt x="6" y="4"/>
                  </a:moveTo>
                  <a:cubicBezTo>
                    <a:pt x="7" y="4"/>
                    <a:pt x="9" y="5"/>
                    <a:pt x="9" y="6"/>
                  </a:cubicBezTo>
                  <a:cubicBezTo>
                    <a:pt x="9" y="7"/>
                    <a:pt x="7" y="8"/>
                    <a:pt x="6" y="8"/>
                  </a:cubicBez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73" name="Group 177"/>
          <p:cNvGrpSpPr>
            <a:grpSpLocks noChangeAspect="1"/>
          </p:cNvGrpSpPr>
          <p:nvPr/>
        </p:nvGrpSpPr>
        <p:grpSpPr bwMode="auto">
          <a:xfrm>
            <a:off x="8050218" y="1567124"/>
            <a:ext cx="768350" cy="768350"/>
            <a:chOff x="5071" y="958"/>
            <a:chExt cx="484" cy="484"/>
          </a:xfrm>
        </p:grpSpPr>
        <p:sp>
          <p:nvSpPr>
            <p:cNvPr id="55474" name="Freeform 178"/>
            <p:cNvSpPr>
              <a:spLocks noEditPoints="1"/>
            </p:cNvSpPr>
            <p:nvPr/>
          </p:nvSpPr>
          <p:spPr bwMode="auto">
            <a:xfrm>
              <a:off x="5071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75" name="Freeform 179"/>
            <p:cNvSpPr>
              <a:spLocks noEditPoints="1"/>
            </p:cNvSpPr>
            <p:nvPr/>
          </p:nvSpPr>
          <p:spPr bwMode="auto">
            <a:xfrm>
              <a:off x="5172" y="1160"/>
              <a:ext cx="163" cy="170"/>
            </a:xfrm>
            <a:custGeom>
              <a:avLst/>
              <a:gdLst/>
              <a:ahLst/>
              <a:cxnLst>
                <a:cxn ang="0">
                  <a:pos x="45" y="37"/>
                </a:cxn>
                <a:cxn ang="0">
                  <a:pos x="54" y="20"/>
                </a:cxn>
                <a:cxn ang="0">
                  <a:pos x="34" y="0"/>
                </a:cxn>
                <a:cxn ang="0">
                  <a:pos x="14" y="20"/>
                </a:cxn>
                <a:cxn ang="0">
                  <a:pos x="23" y="37"/>
                </a:cxn>
                <a:cxn ang="0">
                  <a:pos x="0" y="62"/>
                </a:cxn>
                <a:cxn ang="0">
                  <a:pos x="0" y="71"/>
                </a:cxn>
                <a:cxn ang="0">
                  <a:pos x="68" y="71"/>
                </a:cxn>
                <a:cxn ang="0">
                  <a:pos x="68" y="62"/>
                </a:cxn>
                <a:cxn ang="0">
                  <a:pos x="45" y="37"/>
                </a:cxn>
                <a:cxn ang="0">
                  <a:pos x="18" y="20"/>
                </a:cxn>
                <a:cxn ang="0">
                  <a:pos x="34" y="4"/>
                </a:cxn>
                <a:cxn ang="0">
                  <a:pos x="50" y="20"/>
                </a:cxn>
                <a:cxn ang="0">
                  <a:pos x="34" y="37"/>
                </a:cxn>
                <a:cxn ang="0">
                  <a:pos x="18" y="20"/>
                </a:cxn>
                <a:cxn ang="0">
                  <a:pos x="64" y="67"/>
                </a:cxn>
                <a:cxn ang="0">
                  <a:pos x="3" y="67"/>
                </a:cxn>
                <a:cxn ang="0">
                  <a:pos x="3" y="62"/>
                </a:cxn>
                <a:cxn ang="0">
                  <a:pos x="23" y="40"/>
                </a:cxn>
                <a:cxn ang="0">
                  <a:pos x="45" y="40"/>
                </a:cxn>
                <a:cxn ang="0">
                  <a:pos x="64" y="62"/>
                </a:cxn>
                <a:cxn ang="0">
                  <a:pos x="64" y="67"/>
                </a:cxn>
              </a:cxnLst>
              <a:rect l="0" t="0" r="r" b="b"/>
              <a:pathLst>
                <a:path w="68" h="71">
                  <a:moveTo>
                    <a:pt x="45" y="37"/>
                  </a:moveTo>
                  <a:cubicBezTo>
                    <a:pt x="51" y="33"/>
                    <a:pt x="54" y="27"/>
                    <a:pt x="54" y="20"/>
                  </a:cubicBezTo>
                  <a:cubicBezTo>
                    <a:pt x="54" y="9"/>
                    <a:pt x="45" y="0"/>
                    <a:pt x="34" y="0"/>
                  </a:cubicBezTo>
                  <a:cubicBezTo>
                    <a:pt x="23" y="0"/>
                    <a:pt x="14" y="9"/>
                    <a:pt x="14" y="20"/>
                  </a:cubicBezTo>
                  <a:cubicBezTo>
                    <a:pt x="14" y="27"/>
                    <a:pt x="17" y="33"/>
                    <a:pt x="23" y="37"/>
                  </a:cubicBezTo>
                  <a:cubicBezTo>
                    <a:pt x="10" y="37"/>
                    <a:pt x="0" y="48"/>
                    <a:pt x="0" y="6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48"/>
                    <a:pt x="58" y="37"/>
                    <a:pt x="45" y="37"/>
                  </a:cubicBezTo>
                  <a:close/>
                  <a:moveTo>
                    <a:pt x="18" y="20"/>
                  </a:moveTo>
                  <a:cubicBezTo>
                    <a:pt x="18" y="11"/>
                    <a:pt x="25" y="4"/>
                    <a:pt x="34" y="4"/>
                  </a:cubicBezTo>
                  <a:cubicBezTo>
                    <a:pt x="43" y="4"/>
                    <a:pt x="50" y="11"/>
                    <a:pt x="50" y="20"/>
                  </a:cubicBezTo>
                  <a:cubicBezTo>
                    <a:pt x="50" y="29"/>
                    <a:pt x="43" y="37"/>
                    <a:pt x="34" y="37"/>
                  </a:cubicBezTo>
                  <a:cubicBezTo>
                    <a:pt x="25" y="37"/>
                    <a:pt x="18" y="29"/>
                    <a:pt x="18" y="20"/>
                  </a:cubicBezTo>
                  <a:close/>
                  <a:moveTo>
                    <a:pt x="64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50"/>
                    <a:pt x="12" y="40"/>
                    <a:pt x="23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56" y="40"/>
                    <a:pt x="64" y="50"/>
                    <a:pt x="64" y="62"/>
                  </a:cubicBezTo>
                  <a:lnTo>
                    <a:pt x="64" y="6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76" name="Freeform 180"/>
            <p:cNvSpPr>
              <a:spLocks noEditPoints="1"/>
            </p:cNvSpPr>
            <p:nvPr/>
          </p:nvSpPr>
          <p:spPr bwMode="auto">
            <a:xfrm>
              <a:off x="5306" y="1059"/>
              <a:ext cx="146" cy="98"/>
            </a:xfrm>
            <a:custGeom>
              <a:avLst/>
              <a:gdLst/>
              <a:ahLst/>
              <a:cxnLst>
                <a:cxn ang="0">
                  <a:pos x="48" y="9"/>
                </a:cxn>
                <a:cxn ang="0">
                  <a:pos x="43" y="9"/>
                </a:cxn>
                <a:cxn ang="0">
                  <a:pos x="31" y="0"/>
                </a:cxn>
                <a:cxn ang="0">
                  <a:pos x="18" y="9"/>
                </a:cxn>
                <a:cxn ang="0">
                  <a:pos x="13" y="9"/>
                </a:cxn>
                <a:cxn ang="0">
                  <a:pos x="0" y="21"/>
                </a:cxn>
                <a:cxn ang="0">
                  <a:pos x="12" y="34"/>
                </a:cxn>
                <a:cxn ang="0">
                  <a:pos x="20" y="41"/>
                </a:cxn>
                <a:cxn ang="0">
                  <a:pos x="41" y="41"/>
                </a:cxn>
                <a:cxn ang="0">
                  <a:pos x="49" y="34"/>
                </a:cxn>
                <a:cxn ang="0">
                  <a:pos x="61" y="21"/>
                </a:cxn>
                <a:cxn ang="0">
                  <a:pos x="48" y="9"/>
                </a:cxn>
                <a:cxn ang="0">
                  <a:pos x="41" y="38"/>
                </a:cxn>
                <a:cxn ang="0">
                  <a:pos x="20" y="38"/>
                </a:cxn>
                <a:cxn ang="0">
                  <a:pos x="16" y="33"/>
                </a:cxn>
                <a:cxn ang="0">
                  <a:pos x="20" y="29"/>
                </a:cxn>
                <a:cxn ang="0">
                  <a:pos x="26" y="29"/>
                </a:cxn>
                <a:cxn ang="0">
                  <a:pos x="26" y="27"/>
                </a:cxn>
                <a:cxn ang="0">
                  <a:pos x="31" y="24"/>
                </a:cxn>
                <a:cxn ang="0">
                  <a:pos x="35" y="27"/>
                </a:cxn>
                <a:cxn ang="0">
                  <a:pos x="35" y="29"/>
                </a:cxn>
                <a:cxn ang="0">
                  <a:pos x="41" y="29"/>
                </a:cxn>
                <a:cxn ang="0">
                  <a:pos x="45" y="33"/>
                </a:cxn>
                <a:cxn ang="0">
                  <a:pos x="41" y="38"/>
                </a:cxn>
                <a:cxn ang="0">
                  <a:pos x="48" y="31"/>
                </a:cxn>
                <a:cxn ang="0">
                  <a:pos x="41" y="25"/>
                </a:cxn>
                <a:cxn ang="0">
                  <a:pos x="38" y="25"/>
                </a:cxn>
                <a:cxn ang="0">
                  <a:pos x="31" y="20"/>
                </a:cxn>
                <a:cxn ang="0">
                  <a:pos x="23" y="25"/>
                </a:cxn>
                <a:cxn ang="0">
                  <a:pos x="20" y="25"/>
                </a:cxn>
                <a:cxn ang="0">
                  <a:pos x="13" y="31"/>
                </a:cxn>
                <a:cxn ang="0">
                  <a:pos x="4" y="21"/>
                </a:cxn>
                <a:cxn ang="0">
                  <a:pos x="13" y="12"/>
                </a:cxn>
                <a:cxn ang="0">
                  <a:pos x="21" y="12"/>
                </a:cxn>
                <a:cxn ang="0">
                  <a:pos x="21" y="11"/>
                </a:cxn>
                <a:cxn ang="0">
                  <a:pos x="31" y="4"/>
                </a:cxn>
                <a:cxn ang="0">
                  <a:pos x="40" y="11"/>
                </a:cxn>
                <a:cxn ang="0">
                  <a:pos x="40" y="12"/>
                </a:cxn>
                <a:cxn ang="0">
                  <a:pos x="48" y="12"/>
                </a:cxn>
                <a:cxn ang="0">
                  <a:pos x="57" y="21"/>
                </a:cxn>
                <a:cxn ang="0">
                  <a:pos x="48" y="31"/>
                </a:cxn>
              </a:cxnLst>
              <a:rect l="0" t="0" r="r" b="b"/>
              <a:pathLst>
                <a:path w="61" h="41">
                  <a:moveTo>
                    <a:pt x="48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2" y="4"/>
                    <a:pt x="37" y="0"/>
                    <a:pt x="31" y="0"/>
                  </a:cubicBezTo>
                  <a:cubicBezTo>
                    <a:pt x="25" y="0"/>
                    <a:pt x="20" y="4"/>
                    <a:pt x="18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6" y="9"/>
                    <a:pt x="0" y="14"/>
                    <a:pt x="0" y="21"/>
                  </a:cubicBezTo>
                  <a:cubicBezTo>
                    <a:pt x="0" y="28"/>
                    <a:pt x="6" y="34"/>
                    <a:pt x="12" y="34"/>
                  </a:cubicBezTo>
                  <a:cubicBezTo>
                    <a:pt x="13" y="38"/>
                    <a:pt x="16" y="41"/>
                    <a:pt x="2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5" y="41"/>
                    <a:pt x="48" y="38"/>
                    <a:pt x="49" y="34"/>
                  </a:cubicBezTo>
                  <a:cubicBezTo>
                    <a:pt x="55" y="34"/>
                    <a:pt x="61" y="28"/>
                    <a:pt x="61" y="21"/>
                  </a:cubicBezTo>
                  <a:cubicBezTo>
                    <a:pt x="61" y="14"/>
                    <a:pt x="55" y="9"/>
                    <a:pt x="48" y="9"/>
                  </a:cubicBezTo>
                  <a:close/>
                  <a:moveTo>
                    <a:pt x="41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6" y="36"/>
                    <a:pt x="16" y="33"/>
                  </a:cubicBezTo>
                  <a:cubicBezTo>
                    <a:pt x="16" y="31"/>
                    <a:pt x="18" y="29"/>
                    <a:pt x="20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5"/>
                    <a:pt x="28" y="24"/>
                    <a:pt x="31" y="24"/>
                  </a:cubicBezTo>
                  <a:cubicBezTo>
                    <a:pt x="33" y="24"/>
                    <a:pt x="35" y="25"/>
                    <a:pt x="35" y="27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3" y="29"/>
                    <a:pt x="45" y="31"/>
                    <a:pt x="45" y="33"/>
                  </a:cubicBezTo>
                  <a:cubicBezTo>
                    <a:pt x="45" y="36"/>
                    <a:pt x="43" y="38"/>
                    <a:pt x="41" y="38"/>
                  </a:cubicBezTo>
                  <a:close/>
                  <a:moveTo>
                    <a:pt x="48" y="31"/>
                  </a:moveTo>
                  <a:cubicBezTo>
                    <a:pt x="47" y="27"/>
                    <a:pt x="44" y="25"/>
                    <a:pt x="41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7" y="22"/>
                    <a:pt x="34" y="20"/>
                    <a:pt x="31" y="20"/>
                  </a:cubicBezTo>
                  <a:cubicBezTo>
                    <a:pt x="27" y="20"/>
                    <a:pt x="24" y="22"/>
                    <a:pt x="23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7" y="25"/>
                    <a:pt x="14" y="27"/>
                    <a:pt x="13" y="31"/>
                  </a:cubicBezTo>
                  <a:cubicBezTo>
                    <a:pt x="8" y="30"/>
                    <a:pt x="4" y="26"/>
                    <a:pt x="4" y="21"/>
                  </a:cubicBezTo>
                  <a:cubicBezTo>
                    <a:pt x="4" y="16"/>
                    <a:pt x="8" y="12"/>
                    <a:pt x="13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7"/>
                    <a:pt x="26" y="4"/>
                    <a:pt x="31" y="4"/>
                  </a:cubicBezTo>
                  <a:cubicBezTo>
                    <a:pt x="35" y="4"/>
                    <a:pt x="39" y="7"/>
                    <a:pt x="40" y="11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53" y="12"/>
                    <a:pt x="57" y="16"/>
                    <a:pt x="57" y="21"/>
                  </a:cubicBezTo>
                  <a:cubicBezTo>
                    <a:pt x="57" y="26"/>
                    <a:pt x="53" y="30"/>
                    <a:pt x="48" y="3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77" name="Freeform 181"/>
            <p:cNvSpPr>
              <a:spLocks noEditPoints="1"/>
            </p:cNvSpPr>
            <p:nvPr/>
          </p:nvSpPr>
          <p:spPr bwMode="auto">
            <a:xfrm>
              <a:off x="5297" y="1145"/>
              <a:ext cx="28" cy="29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2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6" y="12"/>
                </a:cxn>
                <a:cxn ang="0">
                  <a:pos x="6" y="4"/>
                </a:cxn>
                <a:cxn ang="0">
                  <a:pos x="9" y="6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6" y="4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lose/>
                  <a:moveTo>
                    <a:pt x="6" y="4"/>
                  </a:moveTo>
                  <a:cubicBezTo>
                    <a:pt x="7" y="4"/>
                    <a:pt x="9" y="5"/>
                    <a:pt x="9" y="6"/>
                  </a:cubicBezTo>
                  <a:cubicBezTo>
                    <a:pt x="9" y="7"/>
                    <a:pt x="7" y="8"/>
                    <a:pt x="6" y="8"/>
                  </a:cubicBez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80" name="Group 184"/>
          <p:cNvGrpSpPr>
            <a:grpSpLocks noChangeAspect="1"/>
          </p:cNvGrpSpPr>
          <p:nvPr/>
        </p:nvGrpSpPr>
        <p:grpSpPr bwMode="auto">
          <a:xfrm>
            <a:off x="341313" y="2811263"/>
            <a:ext cx="849312" cy="847725"/>
            <a:chOff x="215" y="1749"/>
            <a:chExt cx="535" cy="534"/>
          </a:xfrm>
        </p:grpSpPr>
        <p:sp>
          <p:nvSpPr>
            <p:cNvPr id="55481" name="Oval 185"/>
            <p:cNvSpPr>
              <a:spLocks noChangeArrowheads="1"/>
            </p:cNvSpPr>
            <p:nvPr/>
          </p:nvSpPr>
          <p:spPr bwMode="auto">
            <a:xfrm>
              <a:off x="215" y="1749"/>
              <a:ext cx="535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82" name="Freeform 186"/>
            <p:cNvSpPr>
              <a:spLocks noEditPoints="1"/>
            </p:cNvSpPr>
            <p:nvPr/>
          </p:nvSpPr>
          <p:spPr bwMode="auto">
            <a:xfrm>
              <a:off x="378" y="1845"/>
              <a:ext cx="99" cy="333"/>
            </a:xfrm>
            <a:custGeom>
              <a:avLst/>
              <a:gdLst/>
              <a:ahLst/>
              <a:cxnLst>
                <a:cxn ang="0">
                  <a:pos x="27" y="37"/>
                </a:cxn>
                <a:cxn ang="0">
                  <a:pos x="27" y="11"/>
                </a:cxn>
                <a:cxn ang="0">
                  <a:pos x="27" y="3"/>
                </a:cxn>
                <a:cxn ang="0">
                  <a:pos x="26" y="3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4" y="11"/>
                </a:cxn>
                <a:cxn ang="0">
                  <a:pos x="14" y="3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133"/>
                </a:cxn>
                <a:cxn ang="0">
                  <a:pos x="1" y="134"/>
                </a:cxn>
                <a:cxn ang="0">
                  <a:pos x="21" y="139"/>
                </a:cxn>
                <a:cxn ang="0">
                  <a:pos x="40" y="134"/>
                </a:cxn>
                <a:cxn ang="0">
                  <a:pos x="41" y="133"/>
                </a:cxn>
                <a:cxn ang="0">
                  <a:pos x="41" y="51"/>
                </a:cxn>
                <a:cxn ang="0">
                  <a:pos x="41" y="51"/>
                </a:cxn>
                <a:cxn ang="0">
                  <a:pos x="27" y="37"/>
                </a:cxn>
                <a:cxn ang="0">
                  <a:pos x="17" y="6"/>
                </a:cxn>
                <a:cxn ang="0">
                  <a:pos x="24" y="6"/>
                </a:cxn>
                <a:cxn ang="0">
                  <a:pos x="24" y="9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7" y="9"/>
                </a:cxn>
                <a:cxn ang="0">
                  <a:pos x="17" y="6"/>
                </a:cxn>
                <a:cxn ang="0">
                  <a:pos x="37" y="131"/>
                </a:cxn>
                <a:cxn ang="0">
                  <a:pos x="21" y="135"/>
                </a:cxn>
                <a:cxn ang="0">
                  <a:pos x="4" y="132"/>
                </a:cxn>
                <a:cxn ang="0">
                  <a:pos x="4" y="51"/>
                </a:cxn>
                <a:cxn ang="0">
                  <a:pos x="16" y="40"/>
                </a:cxn>
                <a:cxn ang="0">
                  <a:pos x="18" y="38"/>
                </a:cxn>
                <a:cxn ang="0">
                  <a:pos x="18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4" y="13"/>
                </a:cxn>
                <a:cxn ang="0">
                  <a:pos x="24" y="38"/>
                </a:cxn>
                <a:cxn ang="0">
                  <a:pos x="25" y="40"/>
                </a:cxn>
                <a:cxn ang="0">
                  <a:pos x="37" y="51"/>
                </a:cxn>
                <a:cxn ang="0">
                  <a:pos x="37" y="131"/>
                </a:cxn>
              </a:cxnLst>
              <a:rect l="0" t="0" r="r" b="b"/>
              <a:pathLst>
                <a:path w="41" h="139">
                  <a:moveTo>
                    <a:pt x="27" y="37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9" y="6"/>
                    <a:pt x="27" y="4"/>
                    <a:pt x="27" y="3"/>
                  </a:cubicBezTo>
                  <a:cubicBezTo>
                    <a:pt x="27" y="3"/>
                    <a:pt x="26" y="3"/>
                    <a:pt x="26" y="3"/>
                  </a:cubicBezTo>
                  <a:cubicBezTo>
                    <a:pt x="20" y="0"/>
                    <a:pt x="15" y="3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4" y="4"/>
                    <a:pt x="13" y="6"/>
                    <a:pt x="14" y="11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9" y="38"/>
                    <a:pt x="1" y="42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3"/>
                    <a:pt x="1" y="134"/>
                    <a:pt x="1" y="134"/>
                  </a:cubicBezTo>
                  <a:cubicBezTo>
                    <a:pt x="2" y="134"/>
                    <a:pt x="9" y="139"/>
                    <a:pt x="21" y="139"/>
                  </a:cubicBezTo>
                  <a:cubicBezTo>
                    <a:pt x="27" y="139"/>
                    <a:pt x="34" y="137"/>
                    <a:pt x="40" y="134"/>
                  </a:cubicBezTo>
                  <a:cubicBezTo>
                    <a:pt x="40" y="134"/>
                    <a:pt x="41" y="133"/>
                    <a:pt x="41" y="133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42"/>
                    <a:pt x="32" y="38"/>
                    <a:pt x="27" y="37"/>
                  </a:cubicBezTo>
                  <a:close/>
                  <a:moveTo>
                    <a:pt x="17" y="6"/>
                  </a:moveTo>
                  <a:cubicBezTo>
                    <a:pt x="18" y="5"/>
                    <a:pt x="21" y="5"/>
                    <a:pt x="24" y="6"/>
                  </a:cubicBezTo>
                  <a:cubicBezTo>
                    <a:pt x="24" y="6"/>
                    <a:pt x="24" y="8"/>
                    <a:pt x="24" y="9"/>
                  </a:cubicBezTo>
                  <a:cubicBezTo>
                    <a:pt x="23" y="10"/>
                    <a:pt x="22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8" y="10"/>
                    <a:pt x="17" y="9"/>
                  </a:cubicBezTo>
                  <a:cubicBezTo>
                    <a:pt x="17" y="8"/>
                    <a:pt x="17" y="6"/>
                    <a:pt x="17" y="6"/>
                  </a:cubicBezTo>
                  <a:close/>
                  <a:moveTo>
                    <a:pt x="37" y="131"/>
                  </a:moveTo>
                  <a:cubicBezTo>
                    <a:pt x="32" y="134"/>
                    <a:pt x="26" y="135"/>
                    <a:pt x="21" y="135"/>
                  </a:cubicBezTo>
                  <a:cubicBezTo>
                    <a:pt x="13" y="135"/>
                    <a:pt x="6" y="133"/>
                    <a:pt x="4" y="13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42"/>
                    <a:pt x="16" y="40"/>
                    <a:pt x="16" y="40"/>
                  </a:cubicBezTo>
                  <a:cubicBezTo>
                    <a:pt x="17" y="40"/>
                    <a:pt x="18" y="39"/>
                    <a:pt x="18" y="38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9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2" y="13"/>
                    <a:pt x="24" y="13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40"/>
                    <a:pt x="25" y="40"/>
                  </a:cubicBezTo>
                  <a:cubicBezTo>
                    <a:pt x="26" y="40"/>
                    <a:pt x="37" y="42"/>
                    <a:pt x="37" y="51"/>
                  </a:cubicBezTo>
                  <a:lnTo>
                    <a:pt x="37" y="1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83" name="Freeform 187"/>
            <p:cNvSpPr>
              <a:spLocks noEditPoints="1"/>
            </p:cNvSpPr>
            <p:nvPr/>
          </p:nvSpPr>
          <p:spPr bwMode="auto">
            <a:xfrm>
              <a:off x="493" y="1845"/>
              <a:ext cx="99" cy="333"/>
            </a:xfrm>
            <a:custGeom>
              <a:avLst/>
              <a:gdLst/>
              <a:ahLst/>
              <a:cxnLst>
                <a:cxn ang="0">
                  <a:pos x="27" y="37"/>
                </a:cxn>
                <a:cxn ang="0">
                  <a:pos x="27" y="11"/>
                </a:cxn>
                <a:cxn ang="0">
                  <a:pos x="27" y="4"/>
                </a:cxn>
                <a:cxn ang="0">
                  <a:pos x="26" y="3"/>
                </a:cxn>
                <a:cxn ang="0">
                  <a:pos x="15" y="3"/>
                </a:cxn>
                <a:cxn ang="0">
                  <a:pos x="14" y="4"/>
                </a:cxn>
                <a:cxn ang="0">
                  <a:pos x="14" y="11"/>
                </a:cxn>
                <a:cxn ang="0">
                  <a:pos x="14" y="3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133"/>
                </a:cxn>
                <a:cxn ang="0">
                  <a:pos x="1" y="134"/>
                </a:cxn>
                <a:cxn ang="0">
                  <a:pos x="20" y="139"/>
                </a:cxn>
                <a:cxn ang="0">
                  <a:pos x="40" y="134"/>
                </a:cxn>
                <a:cxn ang="0">
                  <a:pos x="41" y="133"/>
                </a:cxn>
                <a:cxn ang="0">
                  <a:pos x="41" y="51"/>
                </a:cxn>
                <a:cxn ang="0">
                  <a:pos x="41" y="51"/>
                </a:cxn>
                <a:cxn ang="0">
                  <a:pos x="27" y="37"/>
                </a:cxn>
                <a:cxn ang="0">
                  <a:pos x="17" y="6"/>
                </a:cxn>
                <a:cxn ang="0">
                  <a:pos x="24" y="6"/>
                </a:cxn>
                <a:cxn ang="0">
                  <a:pos x="24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7" y="10"/>
                </a:cxn>
                <a:cxn ang="0">
                  <a:pos x="17" y="6"/>
                </a:cxn>
                <a:cxn ang="0">
                  <a:pos x="37" y="132"/>
                </a:cxn>
                <a:cxn ang="0">
                  <a:pos x="20" y="136"/>
                </a:cxn>
                <a:cxn ang="0">
                  <a:pos x="4" y="132"/>
                </a:cxn>
                <a:cxn ang="0">
                  <a:pos x="4" y="52"/>
                </a:cxn>
                <a:cxn ang="0">
                  <a:pos x="16" y="40"/>
                </a:cxn>
                <a:cxn ang="0">
                  <a:pos x="17" y="39"/>
                </a:cxn>
                <a:cxn ang="0">
                  <a:pos x="17" y="13"/>
                </a:cxn>
                <a:cxn ang="0">
                  <a:pos x="20" y="14"/>
                </a:cxn>
                <a:cxn ang="0">
                  <a:pos x="20" y="14"/>
                </a:cxn>
                <a:cxn ang="0">
                  <a:pos x="23" y="13"/>
                </a:cxn>
                <a:cxn ang="0">
                  <a:pos x="23" y="39"/>
                </a:cxn>
                <a:cxn ang="0">
                  <a:pos x="25" y="40"/>
                </a:cxn>
                <a:cxn ang="0">
                  <a:pos x="37" y="52"/>
                </a:cxn>
                <a:cxn ang="0">
                  <a:pos x="37" y="132"/>
                </a:cxn>
              </a:cxnLst>
              <a:rect l="0" t="0" r="r" b="b"/>
              <a:pathLst>
                <a:path w="41" h="139">
                  <a:moveTo>
                    <a:pt x="27" y="37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8" y="6"/>
                    <a:pt x="27" y="4"/>
                    <a:pt x="27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0" y="0"/>
                    <a:pt x="15" y="3"/>
                    <a:pt x="15" y="3"/>
                  </a:cubicBezTo>
                  <a:cubicBezTo>
                    <a:pt x="15" y="3"/>
                    <a:pt x="14" y="4"/>
                    <a:pt x="14" y="4"/>
                  </a:cubicBezTo>
                  <a:cubicBezTo>
                    <a:pt x="14" y="4"/>
                    <a:pt x="12" y="6"/>
                    <a:pt x="14" y="11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8" y="38"/>
                    <a:pt x="0" y="42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4"/>
                    <a:pt x="1" y="134"/>
                    <a:pt x="1" y="134"/>
                  </a:cubicBezTo>
                  <a:cubicBezTo>
                    <a:pt x="1" y="135"/>
                    <a:pt x="9" y="139"/>
                    <a:pt x="20" y="139"/>
                  </a:cubicBezTo>
                  <a:cubicBezTo>
                    <a:pt x="27" y="139"/>
                    <a:pt x="33" y="138"/>
                    <a:pt x="40" y="134"/>
                  </a:cubicBezTo>
                  <a:cubicBezTo>
                    <a:pt x="40" y="134"/>
                    <a:pt x="41" y="134"/>
                    <a:pt x="41" y="133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42"/>
                    <a:pt x="32" y="38"/>
                    <a:pt x="27" y="37"/>
                  </a:cubicBezTo>
                  <a:close/>
                  <a:moveTo>
                    <a:pt x="17" y="6"/>
                  </a:moveTo>
                  <a:cubicBezTo>
                    <a:pt x="18" y="6"/>
                    <a:pt x="21" y="5"/>
                    <a:pt x="24" y="6"/>
                  </a:cubicBezTo>
                  <a:cubicBezTo>
                    <a:pt x="24" y="7"/>
                    <a:pt x="24" y="8"/>
                    <a:pt x="24" y="10"/>
                  </a:cubicBezTo>
                  <a:cubicBezTo>
                    <a:pt x="22" y="10"/>
                    <a:pt x="21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8" y="10"/>
                    <a:pt x="17" y="10"/>
                  </a:cubicBezTo>
                  <a:cubicBezTo>
                    <a:pt x="17" y="8"/>
                    <a:pt x="17" y="7"/>
                    <a:pt x="17" y="6"/>
                  </a:cubicBezTo>
                  <a:close/>
                  <a:moveTo>
                    <a:pt x="37" y="132"/>
                  </a:moveTo>
                  <a:cubicBezTo>
                    <a:pt x="32" y="134"/>
                    <a:pt x="26" y="136"/>
                    <a:pt x="20" y="136"/>
                  </a:cubicBezTo>
                  <a:cubicBezTo>
                    <a:pt x="12" y="136"/>
                    <a:pt x="6" y="133"/>
                    <a:pt x="4" y="13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2"/>
                    <a:pt x="15" y="40"/>
                    <a:pt x="16" y="40"/>
                  </a:cubicBezTo>
                  <a:cubicBezTo>
                    <a:pt x="17" y="40"/>
                    <a:pt x="17" y="40"/>
                    <a:pt x="17" y="3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9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2" y="13"/>
                    <a:pt x="23" y="1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40"/>
                    <a:pt x="24" y="40"/>
                    <a:pt x="25" y="40"/>
                  </a:cubicBezTo>
                  <a:cubicBezTo>
                    <a:pt x="25" y="40"/>
                    <a:pt x="37" y="42"/>
                    <a:pt x="37" y="52"/>
                  </a:cubicBezTo>
                  <a:lnTo>
                    <a:pt x="37" y="1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84" name="Freeform 188"/>
            <p:cNvSpPr>
              <a:spLocks noEditPoints="1"/>
            </p:cNvSpPr>
            <p:nvPr/>
          </p:nvSpPr>
          <p:spPr bwMode="auto">
            <a:xfrm>
              <a:off x="395" y="1986"/>
              <a:ext cx="65" cy="139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2" y="1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53"/>
                </a:cxn>
                <a:cxn ang="0">
                  <a:pos x="1" y="55"/>
                </a:cxn>
                <a:cxn ang="0">
                  <a:pos x="13" y="58"/>
                </a:cxn>
                <a:cxn ang="0">
                  <a:pos x="26" y="55"/>
                </a:cxn>
                <a:cxn ang="0">
                  <a:pos x="27" y="53"/>
                </a:cxn>
                <a:cxn ang="0">
                  <a:pos x="27" y="2"/>
                </a:cxn>
                <a:cxn ang="0">
                  <a:pos x="27" y="1"/>
                </a:cxn>
                <a:cxn ang="0">
                  <a:pos x="25" y="0"/>
                </a:cxn>
                <a:cxn ang="0">
                  <a:pos x="24" y="52"/>
                </a:cxn>
                <a:cxn ang="0">
                  <a:pos x="13" y="54"/>
                </a:cxn>
                <a:cxn ang="0">
                  <a:pos x="3" y="52"/>
                </a:cxn>
                <a:cxn ang="0">
                  <a:pos x="3" y="4"/>
                </a:cxn>
                <a:cxn ang="0">
                  <a:pos x="12" y="5"/>
                </a:cxn>
                <a:cxn ang="0">
                  <a:pos x="24" y="4"/>
                </a:cxn>
                <a:cxn ang="0">
                  <a:pos x="24" y="52"/>
                </a:cxn>
              </a:cxnLst>
              <a:rect l="0" t="0" r="r" b="b"/>
              <a:pathLst>
                <a:path w="27" h="58">
                  <a:moveTo>
                    <a:pt x="25" y="0"/>
                  </a:moveTo>
                  <a:cubicBezTo>
                    <a:pt x="20" y="1"/>
                    <a:pt x="16" y="1"/>
                    <a:pt x="12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5"/>
                  </a:cubicBezTo>
                  <a:cubicBezTo>
                    <a:pt x="5" y="57"/>
                    <a:pt x="9" y="58"/>
                    <a:pt x="13" y="58"/>
                  </a:cubicBezTo>
                  <a:cubicBezTo>
                    <a:pt x="20" y="58"/>
                    <a:pt x="26" y="55"/>
                    <a:pt x="26" y="55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1"/>
                    <a:pt x="27" y="1"/>
                  </a:cubicBezTo>
                  <a:cubicBezTo>
                    <a:pt x="26" y="0"/>
                    <a:pt x="26" y="0"/>
                    <a:pt x="25" y="0"/>
                  </a:cubicBezTo>
                  <a:close/>
                  <a:moveTo>
                    <a:pt x="24" y="52"/>
                  </a:moveTo>
                  <a:cubicBezTo>
                    <a:pt x="22" y="53"/>
                    <a:pt x="18" y="54"/>
                    <a:pt x="13" y="54"/>
                  </a:cubicBezTo>
                  <a:cubicBezTo>
                    <a:pt x="10" y="54"/>
                    <a:pt x="6" y="53"/>
                    <a:pt x="3" y="5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8" y="5"/>
                    <a:pt x="12" y="5"/>
                  </a:cubicBezTo>
                  <a:cubicBezTo>
                    <a:pt x="15" y="5"/>
                    <a:pt x="19" y="4"/>
                    <a:pt x="24" y="4"/>
                  </a:cubicBezTo>
                  <a:lnTo>
                    <a:pt x="24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85" name="Freeform 189"/>
            <p:cNvSpPr>
              <a:spLocks noEditPoints="1"/>
            </p:cNvSpPr>
            <p:nvPr/>
          </p:nvSpPr>
          <p:spPr bwMode="auto">
            <a:xfrm>
              <a:off x="510" y="1986"/>
              <a:ext cx="65" cy="139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1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53"/>
                </a:cxn>
                <a:cxn ang="0">
                  <a:pos x="1" y="55"/>
                </a:cxn>
                <a:cxn ang="0">
                  <a:pos x="13" y="58"/>
                </a:cxn>
                <a:cxn ang="0">
                  <a:pos x="26" y="55"/>
                </a:cxn>
                <a:cxn ang="0">
                  <a:pos x="27" y="53"/>
                </a:cxn>
                <a:cxn ang="0">
                  <a:pos x="27" y="2"/>
                </a:cxn>
                <a:cxn ang="0">
                  <a:pos x="27" y="1"/>
                </a:cxn>
                <a:cxn ang="0">
                  <a:pos x="25" y="0"/>
                </a:cxn>
                <a:cxn ang="0">
                  <a:pos x="23" y="52"/>
                </a:cxn>
                <a:cxn ang="0">
                  <a:pos x="13" y="54"/>
                </a:cxn>
                <a:cxn ang="0">
                  <a:pos x="3" y="52"/>
                </a:cxn>
                <a:cxn ang="0">
                  <a:pos x="3" y="4"/>
                </a:cxn>
                <a:cxn ang="0">
                  <a:pos x="11" y="5"/>
                </a:cxn>
                <a:cxn ang="0">
                  <a:pos x="23" y="4"/>
                </a:cxn>
                <a:cxn ang="0">
                  <a:pos x="23" y="52"/>
                </a:cxn>
              </a:cxnLst>
              <a:rect l="0" t="0" r="r" b="b"/>
              <a:pathLst>
                <a:path w="27" h="58">
                  <a:moveTo>
                    <a:pt x="25" y="0"/>
                  </a:moveTo>
                  <a:cubicBezTo>
                    <a:pt x="20" y="1"/>
                    <a:pt x="15" y="1"/>
                    <a:pt x="11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5"/>
                  </a:cubicBezTo>
                  <a:cubicBezTo>
                    <a:pt x="4" y="57"/>
                    <a:pt x="8" y="58"/>
                    <a:pt x="13" y="58"/>
                  </a:cubicBezTo>
                  <a:cubicBezTo>
                    <a:pt x="20" y="58"/>
                    <a:pt x="26" y="55"/>
                    <a:pt x="26" y="55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1"/>
                    <a:pt x="27" y="1"/>
                  </a:cubicBezTo>
                  <a:cubicBezTo>
                    <a:pt x="26" y="0"/>
                    <a:pt x="26" y="0"/>
                    <a:pt x="25" y="0"/>
                  </a:cubicBezTo>
                  <a:close/>
                  <a:moveTo>
                    <a:pt x="23" y="52"/>
                  </a:moveTo>
                  <a:cubicBezTo>
                    <a:pt x="22" y="53"/>
                    <a:pt x="18" y="54"/>
                    <a:pt x="13" y="54"/>
                  </a:cubicBezTo>
                  <a:cubicBezTo>
                    <a:pt x="9" y="54"/>
                    <a:pt x="6" y="53"/>
                    <a:pt x="3" y="5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8" y="5"/>
                    <a:pt x="11" y="5"/>
                  </a:cubicBezTo>
                  <a:cubicBezTo>
                    <a:pt x="15" y="5"/>
                    <a:pt x="19" y="4"/>
                    <a:pt x="23" y="4"/>
                  </a:cubicBezTo>
                  <a:lnTo>
                    <a:pt x="23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86" name="Freeform 190"/>
            <p:cNvSpPr>
              <a:spLocks noEditPoints="1"/>
            </p:cNvSpPr>
            <p:nvPr/>
          </p:nvSpPr>
          <p:spPr bwMode="auto">
            <a:xfrm>
              <a:off x="235" y="1768"/>
              <a:ext cx="493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7" y="0"/>
                    <a:pt x="0" y="47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89" name="Group 193"/>
          <p:cNvGrpSpPr>
            <a:grpSpLocks noChangeAspect="1"/>
          </p:cNvGrpSpPr>
          <p:nvPr/>
        </p:nvGrpSpPr>
        <p:grpSpPr bwMode="auto">
          <a:xfrm>
            <a:off x="1457325" y="2841425"/>
            <a:ext cx="784225" cy="782638"/>
            <a:chOff x="919" y="1768"/>
            <a:chExt cx="494" cy="493"/>
          </a:xfrm>
        </p:grpSpPr>
        <p:sp>
          <p:nvSpPr>
            <p:cNvPr id="55490" name="Freeform 194"/>
            <p:cNvSpPr>
              <a:spLocks noEditPoints="1"/>
            </p:cNvSpPr>
            <p:nvPr/>
          </p:nvSpPr>
          <p:spPr bwMode="auto">
            <a:xfrm>
              <a:off x="1063" y="1844"/>
              <a:ext cx="98" cy="333"/>
            </a:xfrm>
            <a:custGeom>
              <a:avLst/>
              <a:gdLst/>
              <a:ahLst/>
              <a:cxnLst>
                <a:cxn ang="0">
                  <a:pos x="27" y="37"/>
                </a:cxn>
                <a:cxn ang="0">
                  <a:pos x="27" y="11"/>
                </a:cxn>
                <a:cxn ang="0">
                  <a:pos x="27" y="3"/>
                </a:cxn>
                <a:cxn ang="0">
                  <a:pos x="26" y="3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4" y="11"/>
                </a:cxn>
                <a:cxn ang="0">
                  <a:pos x="14" y="3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133"/>
                </a:cxn>
                <a:cxn ang="0">
                  <a:pos x="1" y="134"/>
                </a:cxn>
                <a:cxn ang="0">
                  <a:pos x="21" y="139"/>
                </a:cxn>
                <a:cxn ang="0">
                  <a:pos x="40" y="134"/>
                </a:cxn>
                <a:cxn ang="0">
                  <a:pos x="41" y="133"/>
                </a:cxn>
                <a:cxn ang="0">
                  <a:pos x="41" y="51"/>
                </a:cxn>
                <a:cxn ang="0">
                  <a:pos x="41" y="51"/>
                </a:cxn>
                <a:cxn ang="0">
                  <a:pos x="27" y="37"/>
                </a:cxn>
                <a:cxn ang="0">
                  <a:pos x="17" y="6"/>
                </a:cxn>
                <a:cxn ang="0">
                  <a:pos x="24" y="6"/>
                </a:cxn>
                <a:cxn ang="0">
                  <a:pos x="24" y="9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7" y="9"/>
                </a:cxn>
                <a:cxn ang="0">
                  <a:pos x="17" y="6"/>
                </a:cxn>
                <a:cxn ang="0">
                  <a:pos x="37" y="131"/>
                </a:cxn>
                <a:cxn ang="0">
                  <a:pos x="21" y="135"/>
                </a:cxn>
                <a:cxn ang="0">
                  <a:pos x="4" y="132"/>
                </a:cxn>
                <a:cxn ang="0">
                  <a:pos x="4" y="51"/>
                </a:cxn>
                <a:cxn ang="0">
                  <a:pos x="16" y="40"/>
                </a:cxn>
                <a:cxn ang="0">
                  <a:pos x="18" y="38"/>
                </a:cxn>
                <a:cxn ang="0">
                  <a:pos x="18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4" y="13"/>
                </a:cxn>
                <a:cxn ang="0">
                  <a:pos x="24" y="38"/>
                </a:cxn>
                <a:cxn ang="0">
                  <a:pos x="25" y="40"/>
                </a:cxn>
                <a:cxn ang="0">
                  <a:pos x="37" y="51"/>
                </a:cxn>
                <a:cxn ang="0">
                  <a:pos x="37" y="131"/>
                </a:cxn>
              </a:cxnLst>
              <a:rect l="0" t="0" r="r" b="b"/>
              <a:pathLst>
                <a:path w="41" h="139">
                  <a:moveTo>
                    <a:pt x="27" y="37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9" y="6"/>
                    <a:pt x="27" y="4"/>
                    <a:pt x="27" y="3"/>
                  </a:cubicBezTo>
                  <a:cubicBezTo>
                    <a:pt x="27" y="3"/>
                    <a:pt x="26" y="3"/>
                    <a:pt x="26" y="3"/>
                  </a:cubicBezTo>
                  <a:cubicBezTo>
                    <a:pt x="20" y="0"/>
                    <a:pt x="15" y="3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4" y="4"/>
                    <a:pt x="13" y="6"/>
                    <a:pt x="14" y="11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9" y="38"/>
                    <a:pt x="1" y="42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3"/>
                    <a:pt x="1" y="134"/>
                    <a:pt x="1" y="134"/>
                  </a:cubicBezTo>
                  <a:cubicBezTo>
                    <a:pt x="2" y="134"/>
                    <a:pt x="9" y="139"/>
                    <a:pt x="21" y="139"/>
                  </a:cubicBezTo>
                  <a:cubicBezTo>
                    <a:pt x="27" y="139"/>
                    <a:pt x="34" y="137"/>
                    <a:pt x="40" y="134"/>
                  </a:cubicBezTo>
                  <a:cubicBezTo>
                    <a:pt x="40" y="134"/>
                    <a:pt x="41" y="133"/>
                    <a:pt x="41" y="133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42"/>
                    <a:pt x="32" y="38"/>
                    <a:pt x="27" y="37"/>
                  </a:cubicBezTo>
                  <a:close/>
                  <a:moveTo>
                    <a:pt x="17" y="6"/>
                  </a:moveTo>
                  <a:cubicBezTo>
                    <a:pt x="18" y="5"/>
                    <a:pt x="21" y="5"/>
                    <a:pt x="24" y="6"/>
                  </a:cubicBezTo>
                  <a:cubicBezTo>
                    <a:pt x="24" y="6"/>
                    <a:pt x="24" y="8"/>
                    <a:pt x="24" y="9"/>
                  </a:cubicBezTo>
                  <a:cubicBezTo>
                    <a:pt x="23" y="10"/>
                    <a:pt x="22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8" y="10"/>
                    <a:pt x="17" y="9"/>
                  </a:cubicBezTo>
                  <a:cubicBezTo>
                    <a:pt x="17" y="8"/>
                    <a:pt x="17" y="6"/>
                    <a:pt x="17" y="6"/>
                  </a:cubicBezTo>
                  <a:close/>
                  <a:moveTo>
                    <a:pt x="37" y="131"/>
                  </a:moveTo>
                  <a:cubicBezTo>
                    <a:pt x="32" y="134"/>
                    <a:pt x="26" y="135"/>
                    <a:pt x="21" y="135"/>
                  </a:cubicBezTo>
                  <a:cubicBezTo>
                    <a:pt x="13" y="135"/>
                    <a:pt x="6" y="133"/>
                    <a:pt x="4" y="13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42"/>
                    <a:pt x="16" y="40"/>
                    <a:pt x="16" y="40"/>
                  </a:cubicBezTo>
                  <a:cubicBezTo>
                    <a:pt x="17" y="40"/>
                    <a:pt x="18" y="39"/>
                    <a:pt x="18" y="38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9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2" y="13"/>
                    <a:pt x="24" y="13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40"/>
                    <a:pt x="25" y="40"/>
                  </a:cubicBezTo>
                  <a:cubicBezTo>
                    <a:pt x="26" y="40"/>
                    <a:pt x="37" y="42"/>
                    <a:pt x="37" y="51"/>
                  </a:cubicBezTo>
                  <a:lnTo>
                    <a:pt x="37" y="1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91" name="Freeform 195"/>
            <p:cNvSpPr>
              <a:spLocks noEditPoints="1"/>
            </p:cNvSpPr>
            <p:nvPr/>
          </p:nvSpPr>
          <p:spPr bwMode="auto">
            <a:xfrm>
              <a:off x="1178" y="1844"/>
              <a:ext cx="98" cy="333"/>
            </a:xfrm>
            <a:custGeom>
              <a:avLst/>
              <a:gdLst/>
              <a:ahLst/>
              <a:cxnLst>
                <a:cxn ang="0">
                  <a:pos x="27" y="37"/>
                </a:cxn>
                <a:cxn ang="0">
                  <a:pos x="27" y="11"/>
                </a:cxn>
                <a:cxn ang="0">
                  <a:pos x="27" y="4"/>
                </a:cxn>
                <a:cxn ang="0">
                  <a:pos x="26" y="3"/>
                </a:cxn>
                <a:cxn ang="0">
                  <a:pos x="15" y="3"/>
                </a:cxn>
                <a:cxn ang="0">
                  <a:pos x="14" y="4"/>
                </a:cxn>
                <a:cxn ang="0">
                  <a:pos x="14" y="11"/>
                </a:cxn>
                <a:cxn ang="0">
                  <a:pos x="14" y="3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133"/>
                </a:cxn>
                <a:cxn ang="0">
                  <a:pos x="1" y="134"/>
                </a:cxn>
                <a:cxn ang="0">
                  <a:pos x="20" y="139"/>
                </a:cxn>
                <a:cxn ang="0">
                  <a:pos x="40" y="134"/>
                </a:cxn>
                <a:cxn ang="0">
                  <a:pos x="41" y="133"/>
                </a:cxn>
                <a:cxn ang="0">
                  <a:pos x="41" y="51"/>
                </a:cxn>
                <a:cxn ang="0">
                  <a:pos x="41" y="51"/>
                </a:cxn>
                <a:cxn ang="0">
                  <a:pos x="27" y="37"/>
                </a:cxn>
                <a:cxn ang="0">
                  <a:pos x="17" y="6"/>
                </a:cxn>
                <a:cxn ang="0">
                  <a:pos x="24" y="6"/>
                </a:cxn>
                <a:cxn ang="0">
                  <a:pos x="24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7" y="10"/>
                </a:cxn>
                <a:cxn ang="0">
                  <a:pos x="17" y="6"/>
                </a:cxn>
                <a:cxn ang="0">
                  <a:pos x="37" y="132"/>
                </a:cxn>
                <a:cxn ang="0">
                  <a:pos x="20" y="136"/>
                </a:cxn>
                <a:cxn ang="0">
                  <a:pos x="4" y="132"/>
                </a:cxn>
                <a:cxn ang="0">
                  <a:pos x="4" y="52"/>
                </a:cxn>
                <a:cxn ang="0">
                  <a:pos x="16" y="40"/>
                </a:cxn>
                <a:cxn ang="0">
                  <a:pos x="17" y="39"/>
                </a:cxn>
                <a:cxn ang="0">
                  <a:pos x="17" y="13"/>
                </a:cxn>
                <a:cxn ang="0">
                  <a:pos x="20" y="14"/>
                </a:cxn>
                <a:cxn ang="0">
                  <a:pos x="20" y="14"/>
                </a:cxn>
                <a:cxn ang="0">
                  <a:pos x="23" y="13"/>
                </a:cxn>
                <a:cxn ang="0">
                  <a:pos x="23" y="39"/>
                </a:cxn>
                <a:cxn ang="0">
                  <a:pos x="25" y="40"/>
                </a:cxn>
                <a:cxn ang="0">
                  <a:pos x="37" y="52"/>
                </a:cxn>
                <a:cxn ang="0">
                  <a:pos x="37" y="132"/>
                </a:cxn>
              </a:cxnLst>
              <a:rect l="0" t="0" r="r" b="b"/>
              <a:pathLst>
                <a:path w="41" h="139">
                  <a:moveTo>
                    <a:pt x="27" y="37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8" y="6"/>
                    <a:pt x="27" y="4"/>
                    <a:pt x="27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0" y="0"/>
                    <a:pt x="15" y="3"/>
                    <a:pt x="15" y="3"/>
                  </a:cubicBezTo>
                  <a:cubicBezTo>
                    <a:pt x="15" y="3"/>
                    <a:pt x="14" y="4"/>
                    <a:pt x="14" y="4"/>
                  </a:cubicBezTo>
                  <a:cubicBezTo>
                    <a:pt x="14" y="4"/>
                    <a:pt x="12" y="6"/>
                    <a:pt x="14" y="11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8" y="38"/>
                    <a:pt x="0" y="42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4"/>
                    <a:pt x="1" y="134"/>
                    <a:pt x="1" y="134"/>
                  </a:cubicBezTo>
                  <a:cubicBezTo>
                    <a:pt x="1" y="135"/>
                    <a:pt x="9" y="139"/>
                    <a:pt x="20" y="139"/>
                  </a:cubicBezTo>
                  <a:cubicBezTo>
                    <a:pt x="27" y="139"/>
                    <a:pt x="33" y="138"/>
                    <a:pt x="40" y="134"/>
                  </a:cubicBezTo>
                  <a:cubicBezTo>
                    <a:pt x="40" y="134"/>
                    <a:pt x="41" y="134"/>
                    <a:pt x="41" y="133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42"/>
                    <a:pt x="32" y="38"/>
                    <a:pt x="27" y="37"/>
                  </a:cubicBezTo>
                  <a:close/>
                  <a:moveTo>
                    <a:pt x="17" y="6"/>
                  </a:moveTo>
                  <a:cubicBezTo>
                    <a:pt x="18" y="6"/>
                    <a:pt x="21" y="5"/>
                    <a:pt x="24" y="6"/>
                  </a:cubicBezTo>
                  <a:cubicBezTo>
                    <a:pt x="24" y="7"/>
                    <a:pt x="24" y="8"/>
                    <a:pt x="24" y="10"/>
                  </a:cubicBezTo>
                  <a:cubicBezTo>
                    <a:pt x="22" y="10"/>
                    <a:pt x="21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8" y="10"/>
                    <a:pt x="17" y="10"/>
                  </a:cubicBezTo>
                  <a:cubicBezTo>
                    <a:pt x="17" y="8"/>
                    <a:pt x="17" y="7"/>
                    <a:pt x="17" y="6"/>
                  </a:cubicBezTo>
                  <a:close/>
                  <a:moveTo>
                    <a:pt x="37" y="132"/>
                  </a:moveTo>
                  <a:cubicBezTo>
                    <a:pt x="32" y="134"/>
                    <a:pt x="26" y="136"/>
                    <a:pt x="20" y="136"/>
                  </a:cubicBezTo>
                  <a:cubicBezTo>
                    <a:pt x="12" y="136"/>
                    <a:pt x="6" y="133"/>
                    <a:pt x="4" y="13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2"/>
                    <a:pt x="15" y="40"/>
                    <a:pt x="16" y="40"/>
                  </a:cubicBezTo>
                  <a:cubicBezTo>
                    <a:pt x="17" y="40"/>
                    <a:pt x="17" y="40"/>
                    <a:pt x="17" y="3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9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2" y="13"/>
                    <a:pt x="23" y="1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40"/>
                    <a:pt x="24" y="40"/>
                    <a:pt x="25" y="40"/>
                  </a:cubicBezTo>
                  <a:cubicBezTo>
                    <a:pt x="25" y="40"/>
                    <a:pt x="37" y="42"/>
                    <a:pt x="37" y="52"/>
                  </a:cubicBezTo>
                  <a:lnTo>
                    <a:pt x="37" y="13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92" name="Freeform 196"/>
            <p:cNvSpPr>
              <a:spLocks noEditPoints="1"/>
            </p:cNvSpPr>
            <p:nvPr/>
          </p:nvSpPr>
          <p:spPr bwMode="auto">
            <a:xfrm>
              <a:off x="1080" y="1986"/>
              <a:ext cx="64" cy="139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2" y="1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53"/>
                </a:cxn>
                <a:cxn ang="0">
                  <a:pos x="1" y="55"/>
                </a:cxn>
                <a:cxn ang="0">
                  <a:pos x="13" y="58"/>
                </a:cxn>
                <a:cxn ang="0">
                  <a:pos x="26" y="55"/>
                </a:cxn>
                <a:cxn ang="0">
                  <a:pos x="27" y="53"/>
                </a:cxn>
                <a:cxn ang="0">
                  <a:pos x="27" y="2"/>
                </a:cxn>
                <a:cxn ang="0">
                  <a:pos x="27" y="1"/>
                </a:cxn>
                <a:cxn ang="0">
                  <a:pos x="25" y="0"/>
                </a:cxn>
                <a:cxn ang="0">
                  <a:pos x="24" y="52"/>
                </a:cxn>
                <a:cxn ang="0">
                  <a:pos x="13" y="54"/>
                </a:cxn>
                <a:cxn ang="0">
                  <a:pos x="3" y="52"/>
                </a:cxn>
                <a:cxn ang="0">
                  <a:pos x="3" y="4"/>
                </a:cxn>
                <a:cxn ang="0">
                  <a:pos x="12" y="5"/>
                </a:cxn>
                <a:cxn ang="0">
                  <a:pos x="24" y="4"/>
                </a:cxn>
                <a:cxn ang="0">
                  <a:pos x="24" y="52"/>
                </a:cxn>
              </a:cxnLst>
              <a:rect l="0" t="0" r="r" b="b"/>
              <a:pathLst>
                <a:path w="27" h="58">
                  <a:moveTo>
                    <a:pt x="25" y="0"/>
                  </a:moveTo>
                  <a:cubicBezTo>
                    <a:pt x="20" y="1"/>
                    <a:pt x="16" y="1"/>
                    <a:pt x="12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5"/>
                  </a:cubicBezTo>
                  <a:cubicBezTo>
                    <a:pt x="5" y="57"/>
                    <a:pt x="9" y="58"/>
                    <a:pt x="13" y="58"/>
                  </a:cubicBezTo>
                  <a:cubicBezTo>
                    <a:pt x="20" y="58"/>
                    <a:pt x="26" y="55"/>
                    <a:pt x="26" y="55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1"/>
                    <a:pt x="27" y="1"/>
                  </a:cubicBezTo>
                  <a:cubicBezTo>
                    <a:pt x="26" y="0"/>
                    <a:pt x="26" y="0"/>
                    <a:pt x="25" y="0"/>
                  </a:cubicBezTo>
                  <a:close/>
                  <a:moveTo>
                    <a:pt x="24" y="52"/>
                  </a:moveTo>
                  <a:cubicBezTo>
                    <a:pt x="22" y="53"/>
                    <a:pt x="18" y="54"/>
                    <a:pt x="13" y="54"/>
                  </a:cubicBezTo>
                  <a:cubicBezTo>
                    <a:pt x="10" y="54"/>
                    <a:pt x="6" y="53"/>
                    <a:pt x="3" y="5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8" y="5"/>
                    <a:pt x="12" y="5"/>
                  </a:cubicBezTo>
                  <a:cubicBezTo>
                    <a:pt x="15" y="5"/>
                    <a:pt x="19" y="4"/>
                    <a:pt x="24" y="4"/>
                  </a:cubicBezTo>
                  <a:lnTo>
                    <a:pt x="24" y="5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93" name="Freeform 197"/>
            <p:cNvSpPr>
              <a:spLocks noEditPoints="1"/>
            </p:cNvSpPr>
            <p:nvPr/>
          </p:nvSpPr>
          <p:spPr bwMode="auto">
            <a:xfrm>
              <a:off x="1195" y="1986"/>
              <a:ext cx="64" cy="139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1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53"/>
                </a:cxn>
                <a:cxn ang="0">
                  <a:pos x="1" y="55"/>
                </a:cxn>
                <a:cxn ang="0">
                  <a:pos x="13" y="58"/>
                </a:cxn>
                <a:cxn ang="0">
                  <a:pos x="26" y="55"/>
                </a:cxn>
                <a:cxn ang="0">
                  <a:pos x="27" y="53"/>
                </a:cxn>
                <a:cxn ang="0">
                  <a:pos x="27" y="2"/>
                </a:cxn>
                <a:cxn ang="0">
                  <a:pos x="27" y="1"/>
                </a:cxn>
                <a:cxn ang="0">
                  <a:pos x="25" y="0"/>
                </a:cxn>
                <a:cxn ang="0">
                  <a:pos x="23" y="52"/>
                </a:cxn>
                <a:cxn ang="0">
                  <a:pos x="13" y="54"/>
                </a:cxn>
                <a:cxn ang="0">
                  <a:pos x="3" y="52"/>
                </a:cxn>
                <a:cxn ang="0">
                  <a:pos x="3" y="4"/>
                </a:cxn>
                <a:cxn ang="0">
                  <a:pos x="11" y="5"/>
                </a:cxn>
                <a:cxn ang="0">
                  <a:pos x="23" y="4"/>
                </a:cxn>
                <a:cxn ang="0">
                  <a:pos x="23" y="52"/>
                </a:cxn>
              </a:cxnLst>
              <a:rect l="0" t="0" r="r" b="b"/>
              <a:pathLst>
                <a:path w="27" h="58">
                  <a:moveTo>
                    <a:pt x="25" y="0"/>
                  </a:moveTo>
                  <a:cubicBezTo>
                    <a:pt x="20" y="1"/>
                    <a:pt x="15" y="1"/>
                    <a:pt x="11" y="1"/>
                  </a:cubicBezTo>
                  <a:cubicBezTo>
                    <a:pt x="5" y="1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5"/>
                  </a:cubicBezTo>
                  <a:cubicBezTo>
                    <a:pt x="4" y="57"/>
                    <a:pt x="8" y="58"/>
                    <a:pt x="13" y="58"/>
                  </a:cubicBezTo>
                  <a:cubicBezTo>
                    <a:pt x="20" y="58"/>
                    <a:pt x="26" y="55"/>
                    <a:pt x="26" y="55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1"/>
                    <a:pt x="27" y="1"/>
                  </a:cubicBezTo>
                  <a:cubicBezTo>
                    <a:pt x="26" y="0"/>
                    <a:pt x="26" y="0"/>
                    <a:pt x="25" y="0"/>
                  </a:cubicBezTo>
                  <a:close/>
                  <a:moveTo>
                    <a:pt x="23" y="52"/>
                  </a:moveTo>
                  <a:cubicBezTo>
                    <a:pt x="22" y="53"/>
                    <a:pt x="18" y="54"/>
                    <a:pt x="13" y="54"/>
                  </a:cubicBezTo>
                  <a:cubicBezTo>
                    <a:pt x="9" y="54"/>
                    <a:pt x="6" y="53"/>
                    <a:pt x="3" y="5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4"/>
                    <a:pt x="8" y="5"/>
                    <a:pt x="11" y="5"/>
                  </a:cubicBezTo>
                  <a:cubicBezTo>
                    <a:pt x="15" y="5"/>
                    <a:pt x="19" y="4"/>
                    <a:pt x="23" y="4"/>
                  </a:cubicBezTo>
                  <a:lnTo>
                    <a:pt x="23" y="5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94" name="Freeform 198"/>
            <p:cNvSpPr>
              <a:spLocks noEditPoints="1"/>
            </p:cNvSpPr>
            <p:nvPr/>
          </p:nvSpPr>
          <p:spPr bwMode="auto">
            <a:xfrm>
              <a:off x="919" y="1768"/>
              <a:ext cx="494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7" y="0"/>
                    <a:pt x="0" y="47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97" name="Group 201"/>
          <p:cNvGrpSpPr>
            <a:grpSpLocks noChangeAspect="1"/>
          </p:cNvGrpSpPr>
          <p:nvPr/>
        </p:nvGrpSpPr>
        <p:grpSpPr bwMode="auto">
          <a:xfrm>
            <a:off x="2524125" y="2814438"/>
            <a:ext cx="838200" cy="838200"/>
            <a:chOff x="1587" y="1751"/>
            <a:chExt cx="528" cy="528"/>
          </a:xfrm>
        </p:grpSpPr>
        <p:sp>
          <p:nvSpPr>
            <p:cNvPr id="55498" name="Oval 202"/>
            <p:cNvSpPr>
              <a:spLocks noChangeArrowheads="1"/>
            </p:cNvSpPr>
            <p:nvPr/>
          </p:nvSpPr>
          <p:spPr bwMode="auto">
            <a:xfrm>
              <a:off x="1587" y="1751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99" name="Freeform 203"/>
            <p:cNvSpPr>
              <a:spLocks noEditPoints="1"/>
            </p:cNvSpPr>
            <p:nvPr/>
          </p:nvSpPr>
          <p:spPr bwMode="auto">
            <a:xfrm>
              <a:off x="1609" y="177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0" name="Rectangle 204"/>
            <p:cNvSpPr>
              <a:spLocks noChangeArrowheads="1"/>
            </p:cNvSpPr>
            <p:nvPr/>
          </p:nvSpPr>
          <p:spPr bwMode="auto">
            <a:xfrm>
              <a:off x="1741" y="2068"/>
              <a:ext cx="4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1" name="Rectangle 205"/>
            <p:cNvSpPr>
              <a:spLocks noChangeArrowheads="1"/>
            </p:cNvSpPr>
            <p:nvPr/>
          </p:nvSpPr>
          <p:spPr bwMode="auto">
            <a:xfrm>
              <a:off x="1741" y="2113"/>
              <a:ext cx="41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2" name="Rectangle 206"/>
            <p:cNvSpPr>
              <a:spLocks noChangeArrowheads="1"/>
            </p:cNvSpPr>
            <p:nvPr/>
          </p:nvSpPr>
          <p:spPr bwMode="auto">
            <a:xfrm>
              <a:off x="1741" y="2017"/>
              <a:ext cx="41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3" name="Freeform 207"/>
            <p:cNvSpPr>
              <a:spLocks noEditPoints="1"/>
            </p:cNvSpPr>
            <p:nvPr/>
          </p:nvSpPr>
          <p:spPr bwMode="auto">
            <a:xfrm>
              <a:off x="1695" y="1871"/>
              <a:ext cx="317" cy="288"/>
            </a:xfrm>
            <a:custGeom>
              <a:avLst/>
              <a:gdLst/>
              <a:ahLst/>
              <a:cxnLst>
                <a:cxn ang="0">
                  <a:pos x="111" y="31"/>
                </a:cxn>
                <a:cxn ang="0">
                  <a:pos x="77" y="31"/>
                </a:cxn>
                <a:cxn ang="0">
                  <a:pos x="74" y="35"/>
                </a:cxn>
                <a:cxn ang="0">
                  <a:pos x="53" y="41"/>
                </a:cxn>
                <a:cxn ang="0">
                  <a:pos x="49" y="38"/>
                </a:cxn>
                <a:cxn ang="0">
                  <a:pos x="71" y="35"/>
                </a:cxn>
                <a:cxn ang="0">
                  <a:pos x="24" y="0"/>
                </a:cxn>
                <a:cxn ang="0">
                  <a:pos x="46" y="35"/>
                </a:cxn>
                <a:cxn ang="0">
                  <a:pos x="42" y="38"/>
                </a:cxn>
                <a:cxn ang="0">
                  <a:pos x="0" y="41"/>
                </a:cxn>
                <a:cxn ang="0">
                  <a:pos x="0" y="54"/>
                </a:cxn>
                <a:cxn ang="0">
                  <a:pos x="55" y="116"/>
                </a:cxn>
                <a:cxn ang="0">
                  <a:pos x="74" y="54"/>
                </a:cxn>
                <a:cxn ang="0">
                  <a:pos x="72" y="74"/>
                </a:cxn>
                <a:cxn ang="0">
                  <a:pos x="70" y="77"/>
                </a:cxn>
                <a:cxn ang="0">
                  <a:pos x="67" y="120"/>
                </a:cxn>
                <a:cxn ang="0">
                  <a:pos x="76" y="120"/>
                </a:cxn>
                <a:cxn ang="0">
                  <a:pos x="80" y="117"/>
                </a:cxn>
                <a:cxn ang="0">
                  <a:pos x="101" y="85"/>
                </a:cxn>
                <a:cxn ang="0">
                  <a:pos x="105" y="120"/>
                </a:cxn>
                <a:cxn ang="0">
                  <a:pos x="113" y="120"/>
                </a:cxn>
                <a:cxn ang="0">
                  <a:pos x="117" y="117"/>
                </a:cxn>
                <a:cxn ang="0">
                  <a:pos x="114" y="75"/>
                </a:cxn>
                <a:cxn ang="0">
                  <a:pos x="111" y="73"/>
                </a:cxn>
                <a:cxn ang="0">
                  <a:pos x="129" y="54"/>
                </a:cxn>
                <a:cxn ang="0">
                  <a:pos x="132" y="116"/>
                </a:cxn>
                <a:cxn ang="0">
                  <a:pos x="132" y="49"/>
                </a:cxn>
                <a:cxn ang="0">
                  <a:pos x="111" y="41"/>
                </a:cxn>
                <a:cxn ang="0">
                  <a:pos x="68" y="4"/>
                </a:cxn>
                <a:cxn ang="0">
                  <a:pos x="27" y="24"/>
                </a:cxn>
                <a:cxn ang="0">
                  <a:pos x="68" y="4"/>
                </a:cxn>
                <a:cxn ang="0">
                  <a:pos x="68" y="28"/>
                </a:cxn>
                <a:cxn ang="0">
                  <a:pos x="27" y="31"/>
                </a:cxn>
                <a:cxn ang="0">
                  <a:pos x="4" y="76"/>
                </a:cxn>
                <a:cxn ang="0">
                  <a:pos x="51" y="91"/>
                </a:cxn>
                <a:cxn ang="0">
                  <a:pos x="4" y="76"/>
                </a:cxn>
                <a:cxn ang="0">
                  <a:pos x="4" y="95"/>
                </a:cxn>
                <a:cxn ang="0">
                  <a:pos x="51" y="112"/>
                </a:cxn>
                <a:cxn ang="0">
                  <a:pos x="51" y="73"/>
                </a:cxn>
                <a:cxn ang="0">
                  <a:pos x="4" y="54"/>
                </a:cxn>
                <a:cxn ang="0">
                  <a:pos x="51" y="73"/>
                </a:cxn>
                <a:cxn ang="0">
                  <a:pos x="4" y="45"/>
                </a:cxn>
                <a:cxn ang="0">
                  <a:pos x="74" y="50"/>
                </a:cxn>
                <a:cxn ang="0">
                  <a:pos x="111" y="77"/>
                </a:cxn>
                <a:cxn ang="0">
                  <a:pos x="108" y="117"/>
                </a:cxn>
                <a:cxn ang="0">
                  <a:pos x="80" y="81"/>
                </a:cxn>
                <a:cxn ang="0">
                  <a:pos x="71" y="117"/>
                </a:cxn>
                <a:cxn ang="0">
                  <a:pos x="77" y="74"/>
                </a:cxn>
                <a:cxn ang="0">
                  <a:pos x="107" y="35"/>
                </a:cxn>
                <a:cxn ang="0">
                  <a:pos x="107" y="45"/>
                </a:cxn>
                <a:cxn ang="0">
                  <a:pos x="107" y="54"/>
                </a:cxn>
                <a:cxn ang="0">
                  <a:pos x="111" y="77"/>
                </a:cxn>
                <a:cxn ang="0">
                  <a:pos x="129" y="49"/>
                </a:cxn>
                <a:cxn ang="0">
                  <a:pos x="111" y="50"/>
                </a:cxn>
                <a:cxn ang="0">
                  <a:pos x="129" y="45"/>
                </a:cxn>
              </a:cxnLst>
              <a:rect l="0" t="0" r="r" b="b"/>
              <a:pathLst>
                <a:path w="132" h="120">
                  <a:moveTo>
                    <a:pt x="111" y="35"/>
                  </a:moveTo>
                  <a:cubicBezTo>
                    <a:pt x="111" y="31"/>
                    <a:pt x="111" y="31"/>
                    <a:pt x="111" y="31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3" y="73"/>
                    <a:pt x="72" y="74"/>
                    <a:pt x="72" y="74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68" y="117"/>
                    <a:pt x="68" y="117"/>
                    <a:pt x="68" y="117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101" y="85"/>
                    <a:pt x="101" y="85"/>
                    <a:pt x="101" y="85"/>
                  </a:cubicBezTo>
                  <a:cubicBezTo>
                    <a:pt x="104" y="117"/>
                    <a:pt x="104" y="117"/>
                    <a:pt x="104" y="117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7" y="120"/>
                    <a:pt x="117" y="120"/>
                    <a:pt x="117" y="120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4" y="75"/>
                    <a:pt x="114" y="75"/>
                    <a:pt x="114" y="75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2" y="73"/>
                    <a:pt x="111" y="73"/>
                    <a:pt x="111" y="73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29" y="54"/>
                    <a:pt x="129" y="54"/>
                    <a:pt x="129" y="5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2" y="116"/>
                    <a:pt x="132" y="116"/>
                    <a:pt x="132" y="116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11" y="41"/>
                    <a:pt x="111" y="41"/>
                    <a:pt x="111" y="41"/>
                  </a:cubicBezTo>
                  <a:lnTo>
                    <a:pt x="111" y="35"/>
                  </a:lnTo>
                  <a:close/>
                  <a:moveTo>
                    <a:pt x="68" y="4"/>
                  </a:moveTo>
                  <a:cubicBezTo>
                    <a:pt x="68" y="24"/>
                    <a:pt x="68" y="24"/>
                    <a:pt x="6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4"/>
                    <a:pt x="27" y="4"/>
                    <a:pt x="27" y="4"/>
                  </a:cubicBezTo>
                  <a:lnTo>
                    <a:pt x="68" y="4"/>
                  </a:lnTo>
                  <a:close/>
                  <a:moveTo>
                    <a:pt x="27" y="28"/>
                  </a:moveTo>
                  <a:cubicBezTo>
                    <a:pt x="68" y="28"/>
                    <a:pt x="68" y="28"/>
                    <a:pt x="68" y="28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27" y="31"/>
                    <a:pt x="27" y="31"/>
                    <a:pt x="27" y="31"/>
                  </a:cubicBezTo>
                  <a:lnTo>
                    <a:pt x="27" y="28"/>
                  </a:lnTo>
                  <a:close/>
                  <a:moveTo>
                    <a:pt x="4" y="76"/>
                  </a:moveTo>
                  <a:cubicBezTo>
                    <a:pt x="51" y="76"/>
                    <a:pt x="51" y="76"/>
                    <a:pt x="51" y="76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" y="91"/>
                    <a:pt x="4" y="91"/>
                    <a:pt x="4" y="91"/>
                  </a:cubicBezTo>
                  <a:lnTo>
                    <a:pt x="4" y="76"/>
                  </a:lnTo>
                  <a:close/>
                  <a:moveTo>
                    <a:pt x="4" y="112"/>
                  </a:moveTo>
                  <a:cubicBezTo>
                    <a:pt x="4" y="95"/>
                    <a:pt x="4" y="95"/>
                    <a:pt x="4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112"/>
                    <a:pt x="51" y="112"/>
                    <a:pt x="51" y="112"/>
                  </a:cubicBezTo>
                  <a:lnTo>
                    <a:pt x="4" y="112"/>
                  </a:lnTo>
                  <a:close/>
                  <a:moveTo>
                    <a:pt x="51" y="73"/>
                  </a:moveTo>
                  <a:cubicBezTo>
                    <a:pt x="4" y="73"/>
                    <a:pt x="4" y="73"/>
                    <a:pt x="4" y="73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51" y="54"/>
                    <a:pt x="51" y="54"/>
                    <a:pt x="51" y="54"/>
                  </a:cubicBezTo>
                  <a:lnTo>
                    <a:pt x="51" y="73"/>
                  </a:lnTo>
                  <a:close/>
                  <a:moveTo>
                    <a:pt x="4" y="50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50"/>
                    <a:pt x="74" y="50"/>
                    <a:pt x="74" y="50"/>
                  </a:cubicBezTo>
                  <a:lnTo>
                    <a:pt x="4" y="50"/>
                  </a:lnTo>
                  <a:close/>
                  <a:moveTo>
                    <a:pt x="111" y="77"/>
                  </a:moveTo>
                  <a:cubicBezTo>
                    <a:pt x="113" y="117"/>
                    <a:pt x="113" y="117"/>
                    <a:pt x="113" y="117"/>
                  </a:cubicBezTo>
                  <a:cubicBezTo>
                    <a:pt x="108" y="117"/>
                    <a:pt x="108" y="117"/>
                    <a:pt x="108" y="117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7" y="75"/>
                    <a:pt x="77" y="74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5"/>
                    <a:pt x="111" y="77"/>
                    <a:pt x="111" y="77"/>
                  </a:cubicBezTo>
                  <a:close/>
                  <a:moveTo>
                    <a:pt x="129" y="45"/>
                  </a:moveTo>
                  <a:cubicBezTo>
                    <a:pt x="129" y="49"/>
                    <a:pt x="129" y="49"/>
                    <a:pt x="129" y="49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45"/>
                    <a:pt x="111" y="45"/>
                    <a:pt x="111" y="45"/>
                  </a:cubicBezTo>
                  <a:lnTo>
                    <a:pt x="129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506" name="Group 210"/>
          <p:cNvGrpSpPr>
            <a:grpSpLocks noChangeAspect="1"/>
          </p:cNvGrpSpPr>
          <p:nvPr/>
        </p:nvGrpSpPr>
        <p:grpSpPr bwMode="auto">
          <a:xfrm>
            <a:off x="3662362" y="2847777"/>
            <a:ext cx="768350" cy="768351"/>
            <a:chOff x="2312" y="1772"/>
            <a:chExt cx="484" cy="484"/>
          </a:xfrm>
        </p:grpSpPr>
        <p:sp>
          <p:nvSpPr>
            <p:cNvPr id="55507" name="Freeform 211"/>
            <p:cNvSpPr>
              <a:spLocks noEditPoints="1"/>
            </p:cNvSpPr>
            <p:nvPr/>
          </p:nvSpPr>
          <p:spPr bwMode="auto">
            <a:xfrm>
              <a:off x="2312" y="177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8" name="Rectangle 212"/>
            <p:cNvSpPr>
              <a:spLocks noChangeArrowheads="1"/>
            </p:cNvSpPr>
            <p:nvPr/>
          </p:nvSpPr>
          <p:spPr bwMode="auto">
            <a:xfrm>
              <a:off x="2444" y="2067"/>
              <a:ext cx="4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9" name="Rectangle 213"/>
            <p:cNvSpPr>
              <a:spLocks noChangeArrowheads="1"/>
            </p:cNvSpPr>
            <p:nvPr/>
          </p:nvSpPr>
          <p:spPr bwMode="auto">
            <a:xfrm>
              <a:off x="2444" y="2113"/>
              <a:ext cx="4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0" name="Rectangle 214"/>
            <p:cNvSpPr>
              <a:spLocks noChangeArrowheads="1"/>
            </p:cNvSpPr>
            <p:nvPr/>
          </p:nvSpPr>
          <p:spPr bwMode="auto">
            <a:xfrm>
              <a:off x="2444" y="2017"/>
              <a:ext cx="4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1" name="Freeform 215"/>
            <p:cNvSpPr>
              <a:spLocks noEditPoints="1"/>
            </p:cNvSpPr>
            <p:nvPr/>
          </p:nvSpPr>
          <p:spPr bwMode="auto">
            <a:xfrm>
              <a:off x="2399" y="1871"/>
              <a:ext cx="316" cy="287"/>
            </a:xfrm>
            <a:custGeom>
              <a:avLst/>
              <a:gdLst/>
              <a:ahLst/>
              <a:cxnLst>
                <a:cxn ang="0">
                  <a:pos x="111" y="31"/>
                </a:cxn>
                <a:cxn ang="0">
                  <a:pos x="77" y="31"/>
                </a:cxn>
                <a:cxn ang="0">
                  <a:pos x="74" y="35"/>
                </a:cxn>
                <a:cxn ang="0">
                  <a:pos x="53" y="41"/>
                </a:cxn>
                <a:cxn ang="0">
                  <a:pos x="49" y="38"/>
                </a:cxn>
                <a:cxn ang="0">
                  <a:pos x="71" y="35"/>
                </a:cxn>
                <a:cxn ang="0">
                  <a:pos x="24" y="0"/>
                </a:cxn>
                <a:cxn ang="0">
                  <a:pos x="46" y="35"/>
                </a:cxn>
                <a:cxn ang="0">
                  <a:pos x="42" y="38"/>
                </a:cxn>
                <a:cxn ang="0">
                  <a:pos x="0" y="41"/>
                </a:cxn>
                <a:cxn ang="0">
                  <a:pos x="0" y="54"/>
                </a:cxn>
                <a:cxn ang="0">
                  <a:pos x="55" y="116"/>
                </a:cxn>
                <a:cxn ang="0">
                  <a:pos x="74" y="54"/>
                </a:cxn>
                <a:cxn ang="0">
                  <a:pos x="72" y="74"/>
                </a:cxn>
                <a:cxn ang="0">
                  <a:pos x="70" y="77"/>
                </a:cxn>
                <a:cxn ang="0">
                  <a:pos x="67" y="120"/>
                </a:cxn>
                <a:cxn ang="0">
                  <a:pos x="76" y="120"/>
                </a:cxn>
                <a:cxn ang="0">
                  <a:pos x="80" y="117"/>
                </a:cxn>
                <a:cxn ang="0">
                  <a:pos x="101" y="85"/>
                </a:cxn>
                <a:cxn ang="0">
                  <a:pos x="105" y="120"/>
                </a:cxn>
                <a:cxn ang="0">
                  <a:pos x="113" y="120"/>
                </a:cxn>
                <a:cxn ang="0">
                  <a:pos x="117" y="117"/>
                </a:cxn>
                <a:cxn ang="0">
                  <a:pos x="114" y="75"/>
                </a:cxn>
                <a:cxn ang="0">
                  <a:pos x="111" y="73"/>
                </a:cxn>
                <a:cxn ang="0">
                  <a:pos x="129" y="54"/>
                </a:cxn>
                <a:cxn ang="0">
                  <a:pos x="132" y="116"/>
                </a:cxn>
                <a:cxn ang="0">
                  <a:pos x="132" y="49"/>
                </a:cxn>
                <a:cxn ang="0">
                  <a:pos x="111" y="41"/>
                </a:cxn>
                <a:cxn ang="0">
                  <a:pos x="68" y="4"/>
                </a:cxn>
                <a:cxn ang="0">
                  <a:pos x="27" y="24"/>
                </a:cxn>
                <a:cxn ang="0">
                  <a:pos x="68" y="4"/>
                </a:cxn>
                <a:cxn ang="0">
                  <a:pos x="68" y="28"/>
                </a:cxn>
                <a:cxn ang="0">
                  <a:pos x="27" y="31"/>
                </a:cxn>
                <a:cxn ang="0">
                  <a:pos x="4" y="76"/>
                </a:cxn>
                <a:cxn ang="0">
                  <a:pos x="51" y="91"/>
                </a:cxn>
                <a:cxn ang="0">
                  <a:pos x="4" y="76"/>
                </a:cxn>
                <a:cxn ang="0">
                  <a:pos x="4" y="95"/>
                </a:cxn>
                <a:cxn ang="0">
                  <a:pos x="51" y="112"/>
                </a:cxn>
                <a:cxn ang="0">
                  <a:pos x="51" y="73"/>
                </a:cxn>
                <a:cxn ang="0">
                  <a:pos x="4" y="54"/>
                </a:cxn>
                <a:cxn ang="0">
                  <a:pos x="51" y="73"/>
                </a:cxn>
                <a:cxn ang="0">
                  <a:pos x="4" y="45"/>
                </a:cxn>
                <a:cxn ang="0">
                  <a:pos x="74" y="50"/>
                </a:cxn>
                <a:cxn ang="0">
                  <a:pos x="111" y="77"/>
                </a:cxn>
                <a:cxn ang="0">
                  <a:pos x="108" y="117"/>
                </a:cxn>
                <a:cxn ang="0">
                  <a:pos x="80" y="81"/>
                </a:cxn>
                <a:cxn ang="0">
                  <a:pos x="71" y="117"/>
                </a:cxn>
                <a:cxn ang="0">
                  <a:pos x="77" y="74"/>
                </a:cxn>
                <a:cxn ang="0">
                  <a:pos x="107" y="35"/>
                </a:cxn>
                <a:cxn ang="0">
                  <a:pos x="107" y="45"/>
                </a:cxn>
                <a:cxn ang="0">
                  <a:pos x="107" y="54"/>
                </a:cxn>
                <a:cxn ang="0">
                  <a:pos x="111" y="77"/>
                </a:cxn>
                <a:cxn ang="0">
                  <a:pos x="129" y="49"/>
                </a:cxn>
                <a:cxn ang="0">
                  <a:pos x="111" y="50"/>
                </a:cxn>
                <a:cxn ang="0">
                  <a:pos x="129" y="45"/>
                </a:cxn>
              </a:cxnLst>
              <a:rect l="0" t="0" r="r" b="b"/>
              <a:pathLst>
                <a:path w="132" h="120">
                  <a:moveTo>
                    <a:pt x="111" y="35"/>
                  </a:moveTo>
                  <a:cubicBezTo>
                    <a:pt x="111" y="31"/>
                    <a:pt x="111" y="31"/>
                    <a:pt x="111" y="31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55" y="116"/>
                    <a:pt x="55" y="116"/>
                    <a:pt x="55" y="116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3" y="73"/>
                    <a:pt x="72" y="74"/>
                    <a:pt x="72" y="74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68" y="117"/>
                    <a:pt x="68" y="117"/>
                    <a:pt x="68" y="117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101" y="85"/>
                    <a:pt x="101" y="85"/>
                    <a:pt x="101" y="85"/>
                  </a:cubicBezTo>
                  <a:cubicBezTo>
                    <a:pt x="104" y="117"/>
                    <a:pt x="104" y="117"/>
                    <a:pt x="104" y="117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7" y="120"/>
                    <a:pt x="117" y="120"/>
                    <a:pt x="117" y="120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4" y="75"/>
                    <a:pt x="114" y="75"/>
                    <a:pt x="114" y="75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2" y="73"/>
                    <a:pt x="111" y="73"/>
                    <a:pt x="111" y="73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29" y="54"/>
                    <a:pt x="129" y="54"/>
                    <a:pt x="129" y="5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2" y="116"/>
                    <a:pt x="132" y="116"/>
                    <a:pt x="132" y="116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11" y="41"/>
                    <a:pt x="111" y="41"/>
                    <a:pt x="111" y="41"/>
                  </a:cubicBezTo>
                  <a:lnTo>
                    <a:pt x="111" y="35"/>
                  </a:lnTo>
                  <a:close/>
                  <a:moveTo>
                    <a:pt x="68" y="4"/>
                  </a:moveTo>
                  <a:cubicBezTo>
                    <a:pt x="68" y="24"/>
                    <a:pt x="68" y="24"/>
                    <a:pt x="6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4"/>
                    <a:pt x="27" y="4"/>
                    <a:pt x="27" y="4"/>
                  </a:cubicBezTo>
                  <a:lnTo>
                    <a:pt x="68" y="4"/>
                  </a:lnTo>
                  <a:close/>
                  <a:moveTo>
                    <a:pt x="27" y="28"/>
                  </a:moveTo>
                  <a:cubicBezTo>
                    <a:pt x="68" y="28"/>
                    <a:pt x="68" y="28"/>
                    <a:pt x="68" y="28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27" y="31"/>
                    <a:pt x="27" y="31"/>
                    <a:pt x="27" y="31"/>
                  </a:cubicBezTo>
                  <a:lnTo>
                    <a:pt x="27" y="28"/>
                  </a:lnTo>
                  <a:close/>
                  <a:moveTo>
                    <a:pt x="4" y="76"/>
                  </a:moveTo>
                  <a:cubicBezTo>
                    <a:pt x="51" y="76"/>
                    <a:pt x="51" y="76"/>
                    <a:pt x="51" y="76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" y="91"/>
                    <a:pt x="4" y="91"/>
                    <a:pt x="4" y="91"/>
                  </a:cubicBezTo>
                  <a:lnTo>
                    <a:pt x="4" y="76"/>
                  </a:lnTo>
                  <a:close/>
                  <a:moveTo>
                    <a:pt x="4" y="112"/>
                  </a:moveTo>
                  <a:cubicBezTo>
                    <a:pt x="4" y="95"/>
                    <a:pt x="4" y="95"/>
                    <a:pt x="4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112"/>
                    <a:pt x="51" y="112"/>
                    <a:pt x="51" y="112"/>
                  </a:cubicBezTo>
                  <a:lnTo>
                    <a:pt x="4" y="112"/>
                  </a:lnTo>
                  <a:close/>
                  <a:moveTo>
                    <a:pt x="51" y="73"/>
                  </a:moveTo>
                  <a:cubicBezTo>
                    <a:pt x="4" y="73"/>
                    <a:pt x="4" y="73"/>
                    <a:pt x="4" y="73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51" y="54"/>
                    <a:pt x="51" y="54"/>
                    <a:pt x="51" y="54"/>
                  </a:cubicBezTo>
                  <a:lnTo>
                    <a:pt x="51" y="73"/>
                  </a:lnTo>
                  <a:close/>
                  <a:moveTo>
                    <a:pt x="4" y="50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50"/>
                    <a:pt x="74" y="50"/>
                    <a:pt x="74" y="50"/>
                  </a:cubicBezTo>
                  <a:lnTo>
                    <a:pt x="4" y="50"/>
                  </a:lnTo>
                  <a:close/>
                  <a:moveTo>
                    <a:pt x="111" y="77"/>
                  </a:moveTo>
                  <a:cubicBezTo>
                    <a:pt x="113" y="117"/>
                    <a:pt x="113" y="117"/>
                    <a:pt x="113" y="117"/>
                  </a:cubicBezTo>
                  <a:cubicBezTo>
                    <a:pt x="108" y="117"/>
                    <a:pt x="108" y="117"/>
                    <a:pt x="108" y="117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7" y="75"/>
                    <a:pt x="77" y="74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5"/>
                    <a:pt x="111" y="77"/>
                    <a:pt x="111" y="77"/>
                  </a:cubicBezTo>
                  <a:close/>
                  <a:moveTo>
                    <a:pt x="129" y="45"/>
                  </a:moveTo>
                  <a:cubicBezTo>
                    <a:pt x="129" y="49"/>
                    <a:pt x="129" y="49"/>
                    <a:pt x="129" y="49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45"/>
                    <a:pt x="111" y="45"/>
                    <a:pt x="111" y="45"/>
                  </a:cubicBezTo>
                  <a:lnTo>
                    <a:pt x="129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514" name="Group 218"/>
          <p:cNvGrpSpPr>
            <a:grpSpLocks noChangeAspect="1"/>
          </p:cNvGrpSpPr>
          <p:nvPr/>
        </p:nvGrpSpPr>
        <p:grpSpPr bwMode="auto">
          <a:xfrm>
            <a:off x="4734719" y="2814438"/>
            <a:ext cx="835025" cy="838200"/>
            <a:chOff x="2986" y="1751"/>
            <a:chExt cx="526" cy="528"/>
          </a:xfrm>
        </p:grpSpPr>
        <p:sp>
          <p:nvSpPr>
            <p:cNvPr id="55515" name="Oval 219"/>
            <p:cNvSpPr>
              <a:spLocks noChangeArrowheads="1"/>
            </p:cNvSpPr>
            <p:nvPr/>
          </p:nvSpPr>
          <p:spPr bwMode="auto">
            <a:xfrm>
              <a:off x="2986" y="1751"/>
              <a:ext cx="526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516" name="Freeform 220"/>
            <p:cNvSpPr>
              <a:spLocks noEditPoints="1"/>
            </p:cNvSpPr>
            <p:nvPr/>
          </p:nvSpPr>
          <p:spPr bwMode="auto">
            <a:xfrm>
              <a:off x="3007" y="177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7" name="Freeform 221"/>
            <p:cNvSpPr>
              <a:spLocks noEditPoints="1"/>
            </p:cNvSpPr>
            <p:nvPr/>
          </p:nvSpPr>
          <p:spPr bwMode="auto">
            <a:xfrm>
              <a:off x="3156" y="1852"/>
              <a:ext cx="189" cy="146"/>
            </a:xfrm>
            <a:custGeom>
              <a:avLst/>
              <a:gdLst/>
              <a:ahLst/>
              <a:cxnLst>
                <a:cxn ang="0">
                  <a:pos x="11" y="57"/>
                </a:cxn>
                <a:cxn ang="0">
                  <a:pos x="15" y="60"/>
                </a:cxn>
                <a:cxn ang="0">
                  <a:pos x="26" y="60"/>
                </a:cxn>
                <a:cxn ang="0">
                  <a:pos x="26" y="52"/>
                </a:cxn>
                <a:cxn ang="0">
                  <a:pos x="30" y="57"/>
                </a:cxn>
                <a:cxn ang="0">
                  <a:pos x="40" y="61"/>
                </a:cxn>
                <a:cxn ang="0">
                  <a:pos x="52" y="56"/>
                </a:cxn>
                <a:cxn ang="0">
                  <a:pos x="59" y="61"/>
                </a:cxn>
                <a:cxn ang="0">
                  <a:pos x="64" y="60"/>
                </a:cxn>
                <a:cxn ang="0">
                  <a:pos x="75" y="60"/>
                </a:cxn>
                <a:cxn ang="0">
                  <a:pos x="79" y="57"/>
                </a:cxn>
                <a:cxn ang="0">
                  <a:pos x="79" y="14"/>
                </a:cxn>
                <a:cxn ang="0">
                  <a:pos x="68" y="14"/>
                </a:cxn>
                <a:cxn ang="0">
                  <a:pos x="61" y="14"/>
                </a:cxn>
                <a:cxn ang="0">
                  <a:pos x="50" y="14"/>
                </a:cxn>
                <a:cxn ang="0">
                  <a:pos x="50" y="17"/>
                </a:cxn>
                <a:cxn ang="0">
                  <a:pos x="33" y="14"/>
                </a:cxn>
                <a:cxn ang="0">
                  <a:pos x="37" y="0"/>
                </a:cxn>
                <a:cxn ang="0">
                  <a:pos x="24" y="0"/>
                </a:cxn>
                <a:cxn ang="0">
                  <a:pos x="20" y="2"/>
                </a:cxn>
                <a:cxn ang="0">
                  <a:pos x="17" y="2"/>
                </a:cxn>
                <a:cxn ang="0">
                  <a:pos x="13" y="0"/>
                </a:cxn>
                <a:cxn ang="0">
                  <a:pos x="0" y="0"/>
                </a:cxn>
                <a:cxn ang="0">
                  <a:pos x="11" y="36"/>
                </a:cxn>
                <a:cxn ang="0">
                  <a:pos x="61" y="17"/>
                </a:cxn>
                <a:cxn ang="0">
                  <a:pos x="62" y="50"/>
                </a:cxn>
                <a:cxn ang="0">
                  <a:pos x="65" y="49"/>
                </a:cxn>
                <a:cxn ang="0">
                  <a:pos x="68" y="17"/>
                </a:cxn>
                <a:cxn ang="0">
                  <a:pos x="75" y="57"/>
                </a:cxn>
                <a:cxn ang="0">
                  <a:pos x="68" y="52"/>
                </a:cxn>
                <a:cxn ang="0">
                  <a:pos x="59" y="57"/>
                </a:cxn>
                <a:cxn ang="0">
                  <a:pos x="54" y="50"/>
                </a:cxn>
                <a:cxn ang="0">
                  <a:pos x="54" y="47"/>
                </a:cxn>
                <a:cxn ang="0">
                  <a:pos x="54" y="24"/>
                </a:cxn>
                <a:cxn ang="0">
                  <a:pos x="32" y="19"/>
                </a:cxn>
                <a:cxn ang="0">
                  <a:pos x="48" y="19"/>
                </a:cxn>
                <a:cxn ang="0">
                  <a:pos x="50" y="50"/>
                </a:cxn>
                <a:cxn ang="0">
                  <a:pos x="40" y="58"/>
                </a:cxn>
                <a:cxn ang="0">
                  <a:pos x="29" y="47"/>
                </a:cxn>
                <a:cxn ang="0">
                  <a:pos x="29" y="26"/>
                </a:cxn>
                <a:cxn ang="0">
                  <a:pos x="32" y="19"/>
                </a:cxn>
                <a:cxn ang="0">
                  <a:pos x="18" y="25"/>
                </a:cxn>
                <a:cxn ang="0">
                  <a:pos x="24" y="3"/>
                </a:cxn>
                <a:cxn ang="0">
                  <a:pos x="27" y="19"/>
                </a:cxn>
                <a:cxn ang="0">
                  <a:pos x="23" y="35"/>
                </a:cxn>
                <a:cxn ang="0">
                  <a:pos x="15" y="57"/>
                </a:cxn>
                <a:cxn ang="0">
                  <a:pos x="5" y="3"/>
                </a:cxn>
              </a:cxnLst>
              <a:rect l="0" t="0" r="r" b="b"/>
              <a:pathLst>
                <a:path w="79" h="61">
                  <a:moveTo>
                    <a:pt x="11" y="36"/>
                  </a:moveTo>
                  <a:cubicBezTo>
                    <a:pt x="11" y="57"/>
                    <a:pt x="11" y="57"/>
                    <a:pt x="11" y="57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7" y="54"/>
                    <a:pt x="28" y="56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2" y="60"/>
                    <a:pt x="36" y="61"/>
                    <a:pt x="40" y="61"/>
                  </a:cubicBezTo>
                  <a:cubicBezTo>
                    <a:pt x="44" y="61"/>
                    <a:pt x="48" y="60"/>
                    <a:pt x="50" y="58"/>
                  </a:cubicBezTo>
                  <a:cubicBezTo>
                    <a:pt x="51" y="57"/>
                    <a:pt x="51" y="57"/>
                    <a:pt x="52" y="56"/>
                  </a:cubicBezTo>
                  <a:cubicBezTo>
                    <a:pt x="52" y="57"/>
                    <a:pt x="52" y="57"/>
                    <a:pt x="52" y="58"/>
                  </a:cubicBezTo>
                  <a:cubicBezTo>
                    <a:pt x="54" y="59"/>
                    <a:pt x="56" y="61"/>
                    <a:pt x="59" y="61"/>
                  </a:cubicBezTo>
                  <a:cubicBezTo>
                    <a:pt x="61" y="61"/>
                    <a:pt x="62" y="61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8" y="14"/>
                    <a:pt x="44" y="13"/>
                    <a:pt x="40" y="13"/>
                  </a:cubicBezTo>
                  <a:cubicBezTo>
                    <a:pt x="37" y="13"/>
                    <a:pt x="35" y="13"/>
                    <a:pt x="33" y="1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11" y="36"/>
                  </a:lnTo>
                  <a:close/>
                  <a:moveTo>
                    <a:pt x="54" y="17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49"/>
                    <a:pt x="62" y="50"/>
                  </a:cubicBezTo>
                  <a:cubicBezTo>
                    <a:pt x="62" y="50"/>
                    <a:pt x="63" y="50"/>
                    <a:pt x="63" y="50"/>
                  </a:cubicBezTo>
                  <a:cubicBezTo>
                    <a:pt x="64" y="50"/>
                    <a:pt x="65" y="50"/>
                    <a:pt x="65" y="49"/>
                  </a:cubicBezTo>
                  <a:cubicBezTo>
                    <a:pt x="66" y="49"/>
                    <a:pt x="67" y="48"/>
                    <a:pt x="68" y="4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6" y="54"/>
                    <a:pt x="65" y="55"/>
                    <a:pt x="63" y="56"/>
                  </a:cubicBezTo>
                  <a:cubicBezTo>
                    <a:pt x="62" y="57"/>
                    <a:pt x="61" y="57"/>
                    <a:pt x="59" y="57"/>
                  </a:cubicBezTo>
                  <a:cubicBezTo>
                    <a:pt x="58" y="57"/>
                    <a:pt x="56" y="57"/>
                    <a:pt x="55" y="56"/>
                  </a:cubicBezTo>
                  <a:cubicBezTo>
                    <a:pt x="55" y="54"/>
                    <a:pt x="54" y="53"/>
                    <a:pt x="54" y="50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4" y="49"/>
                    <a:pt x="54" y="48"/>
                    <a:pt x="54" y="4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5"/>
                    <a:pt x="54" y="24"/>
                  </a:cubicBezTo>
                  <a:lnTo>
                    <a:pt x="54" y="17"/>
                  </a:lnTo>
                  <a:close/>
                  <a:moveTo>
                    <a:pt x="32" y="19"/>
                  </a:moveTo>
                  <a:cubicBezTo>
                    <a:pt x="34" y="17"/>
                    <a:pt x="37" y="16"/>
                    <a:pt x="40" y="16"/>
                  </a:cubicBezTo>
                  <a:cubicBezTo>
                    <a:pt x="43" y="16"/>
                    <a:pt x="46" y="17"/>
                    <a:pt x="48" y="19"/>
                  </a:cubicBezTo>
                  <a:cubicBezTo>
                    <a:pt x="49" y="21"/>
                    <a:pt x="50" y="22"/>
                    <a:pt x="50" y="24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52"/>
                    <a:pt x="49" y="54"/>
                    <a:pt x="48" y="55"/>
                  </a:cubicBezTo>
                  <a:cubicBezTo>
                    <a:pt x="46" y="57"/>
                    <a:pt x="43" y="58"/>
                    <a:pt x="40" y="58"/>
                  </a:cubicBezTo>
                  <a:cubicBezTo>
                    <a:pt x="37" y="58"/>
                    <a:pt x="34" y="57"/>
                    <a:pt x="32" y="55"/>
                  </a:cubicBezTo>
                  <a:cubicBezTo>
                    <a:pt x="30" y="53"/>
                    <a:pt x="29" y="50"/>
                    <a:pt x="29" y="47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0"/>
                    <a:pt x="32" y="20"/>
                    <a:pt x="32" y="19"/>
                  </a:cubicBezTo>
                  <a:close/>
                  <a:moveTo>
                    <a:pt x="13" y="3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1"/>
                    <a:pt x="26" y="23"/>
                    <a:pt x="26" y="2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13" y="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8" name="Freeform 222"/>
            <p:cNvSpPr>
              <a:spLocks/>
            </p:cNvSpPr>
            <p:nvPr/>
          </p:nvSpPr>
          <p:spPr bwMode="auto">
            <a:xfrm>
              <a:off x="3244" y="1907"/>
              <a:ext cx="15" cy="67"/>
            </a:xfrm>
            <a:custGeom>
              <a:avLst/>
              <a:gdLst/>
              <a:ahLst/>
              <a:cxnLst>
                <a:cxn ang="0">
                  <a:pos x="3" y="28"/>
                </a:cxn>
                <a:cxn ang="0">
                  <a:pos x="5" y="27"/>
                </a:cxn>
                <a:cxn ang="0">
                  <a:pos x="6" y="25"/>
                </a:cxn>
                <a:cxn ang="0">
                  <a:pos x="6" y="3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1" y="1"/>
                </a:cxn>
                <a:cxn ang="0">
                  <a:pos x="0" y="3"/>
                </a:cxn>
                <a:cxn ang="0">
                  <a:pos x="0" y="25"/>
                </a:cxn>
                <a:cxn ang="0">
                  <a:pos x="1" y="27"/>
                </a:cxn>
                <a:cxn ang="0">
                  <a:pos x="3" y="28"/>
                </a:cxn>
              </a:cxnLst>
              <a:rect l="0" t="0" r="r" b="b"/>
              <a:pathLst>
                <a:path w="6" h="28">
                  <a:moveTo>
                    <a:pt x="3" y="28"/>
                  </a:moveTo>
                  <a:cubicBezTo>
                    <a:pt x="4" y="28"/>
                    <a:pt x="5" y="28"/>
                    <a:pt x="5" y="27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2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1" y="27"/>
                  </a:cubicBezTo>
                  <a:cubicBezTo>
                    <a:pt x="1" y="28"/>
                    <a:pt x="2" y="28"/>
                    <a:pt x="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9" name="Freeform 223"/>
            <p:cNvSpPr>
              <a:spLocks/>
            </p:cNvSpPr>
            <p:nvPr/>
          </p:nvSpPr>
          <p:spPr bwMode="auto">
            <a:xfrm>
              <a:off x="3266" y="2082"/>
              <a:ext cx="12" cy="5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22"/>
                </a:cxn>
                <a:cxn ang="0">
                  <a:pos x="1" y="23"/>
                </a:cxn>
                <a:cxn ang="0">
                  <a:pos x="3" y="24"/>
                </a:cxn>
                <a:cxn ang="0">
                  <a:pos x="4" y="23"/>
                </a:cxn>
                <a:cxn ang="0">
                  <a:pos x="5" y="21"/>
                </a:cxn>
                <a:cxn ang="0">
                  <a:pos x="5" y="4"/>
                </a:cxn>
                <a:cxn ang="0">
                  <a:pos x="4" y="1"/>
                </a:cxn>
                <a:cxn ang="0">
                  <a:pos x="2" y="0"/>
                </a:cxn>
              </a:cxnLst>
              <a:rect l="0" t="0" r="r" b="b"/>
              <a:pathLst>
                <a:path w="5" h="24">
                  <a:moveTo>
                    <a:pt x="2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3"/>
                    <a:pt x="1" y="23"/>
                  </a:cubicBezTo>
                  <a:cubicBezTo>
                    <a:pt x="2" y="23"/>
                    <a:pt x="2" y="24"/>
                    <a:pt x="3" y="24"/>
                  </a:cubicBezTo>
                  <a:cubicBezTo>
                    <a:pt x="3" y="24"/>
                    <a:pt x="4" y="23"/>
                    <a:pt x="4" y="23"/>
                  </a:cubicBezTo>
                  <a:cubicBezTo>
                    <a:pt x="5" y="22"/>
                    <a:pt x="5" y="22"/>
                    <a:pt x="5" y="2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0" name="Freeform 224"/>
            <p:cNvSpPr>
              <a:spLocks noEditPoints="1"/>
            </p:cNvSpPr>
            <p:nvPr/>
          </p:nvSpPr>
          <p:spPr bwMode="auto">
            <a:xfrm>
              <a:off x="3151" y="2034"/>
              <a:ext cx="201" cy="127"/>
            </a:xfrm>
            <a:custGeom>
              <a:avLst/>
              <a:gdLst/>
              <a:ahLst/>
              <a:cxnLst>
                <a:cxn ang="0">
                  <a:pos x="61" y="16"/>
                </a:cxn>
                <a:cxn ang="0">
                  <a:pos x="51" y="12"/>
                </a:cxn>
                <a:cxn ang="0">
                  <a:pos x="48" y="0"/>
                </a:cxn>
                <a:cxn ang="0">
                  <a:pos x="38" y="4"/>
                </a:cxn>
                <a:cxn ang="0">
                  <a:pos x="31" y="12"/>
                </a:cxn>
                <a:cxn ang="0">
                  <a:pos x="28" y="4"/>
                </a:cxn>
                <a:cxn ang="0">
                  <a:pos x="3" y="0"/>
                </a:cxn>
                <a:cxn ang="0">
                  <a:pos x="0" y="10"/>
                </a:cxn>
                <a:cxn ang="0">
                  <a:pos x="7" y="14"/>
                </a:cxn>
                <a:cxn ang="0">
                  <a:pos x="10" y="52"/>
                </a:cxn>
                <a:cxn ang="0">
                  <a:pos x="21" y="51"/>
                </a:cxn>
                <a:cxn ang="0">
                  <a:pos x="28" y="52"/>
                </a:cxn>
                <a:cxn ang="0">
                  <a:pos x="38" y="52"/>
                </a:cxn>
                <a:cxn ang="0">
                  <a:pos x="48" y="52"/>
                </a:cxn>
                <a:cxn ang="0">
                  <a:pos x="61" y="49"/>
                </a:cxn>
                <a:cxn ang="0">
                  <a:pos x="71" y="53"/>
                </a:cxn>
                <a:cxn ang="0">
                  <a:pos x="81" y="49"/>
                </a:cxn>
                <a:cxn ang="0">
                  <a:pos x="84" y="36"/>
                </a:cxn>
                <a:cxn ang="0">
                  <a:pos x="81" y="15"/>
                </a:cxn>
                <a:cxn ang="0">
                  <a:pos x="10" y="10"/>
                </a:cxn>
                <a:cxn ang="0">
                  <a:pos x="24" y="4"/>
                </a:cxn>
                <a:cxn ang="0">
                  <a:pos x="17" y="12"/>
                </a:cxn>
                <a:cxn ang="0">
                  <a:pos x="17" y="43"/>
                </a:cxn>
                <a:cxn ang="0">
                  <a:pos x="10" y="48"/>
                </a:cxn>
                <a:cxn ang="0">
                  <a:pos x="29" y="48"/>
                </a:cxn>
                <a:cxn ang="0">
                  <a:pos x="21" y="44"/>
                </a:cxn>
                <a:cxn ang="0">
                  <a:pos x="27" y="41"/>
                </a:cxn>
                <a:cxn ang="0">
                  <a:pos x="30" y="42"/>
                </a:cxn>
                <a:cxn ang="0">
                  <a:pos x="38" y="16"/>
                </a:cxn>
                <a:cxn ang="0">
                  <a:pos x="58" y="47"/>
                </a:cxn>
                <a:cxn ang="0">
                  <a:pos x="48" y="46"/>
                </a:cxn>
                <a:cxn ang="0">
                  <a:pos x="42" y="16"/>
                </a:cxn>
                <a:cxn ang="0">
                  <a:pos x="42" y="4"/>
                </a:cxn>
                <a:cxn ang="0">
                  <a:pos x="50" y="16"/>
                </a:cxn>
                <a:cxn ang="0">
                  <a:pos x="59" y="22"/>
                </a:cxn>
                <a:cxn ang="0">
                  <a:pos x="59" y="42"/>
                </a:cxn>
                <a:cxn ang="0">
                  <a:pos x="69" y="33"/>
                </a:cxn>
                <a:cxn ang="0">
                  <a:pos x="71" y="43"/>
                </a:cxn>
                <a:cxn ang="0">
                  <a:pos x="74" y="37"/>
                </a:cxn>
                <a:cxn ang="0">
                  <a:pos x="78" y="47"/>
                </a:cxn>
                <a:cxn ang="0">
                  <a:pos x="63" y="41"/>
                </a:cxn>
                <a:cxn ang="0">
                  <a:pos x="65" y="17"/>
                </a:cxn>
                <a:cxn ang="0">
                  <a:pos x="80" y="24"/>
                </a:cxn>
              </a:cxnLst>
              <a:rect l="0" t="0" r="r" b="b"/>
              <a:pathLst>
                <a:path w="84" h="53">
                  <a:moveTo>
                    <a:pt x="72" y="11"/>
                  </a:moveTo>
                  <a:cubicBezTo>
                    <a:pt x="68" y="11"/>
                    <a:pt x="65" y="12"/>
                    <a:pt x="62" y="15"/>
                  </a:cubicBezTo>
                  <a:cubicBezTo>
                    <a:pt x="62" y="15"/>
                    <a:pt x="62" y="16"/>
                    <a:pt x="61" y="16"/>
                  </a:cubicBezTo>
                  <a:cubicBezTo>
                    <a:pt x="61" y="16"/>
                    <a:pt x="61" y="15"/>
                    <a:pt x="60" y="15"/>
                  </a:cubicBezTo>
                  <a:cubicBezTo>
                    <a:pt x="59" y="13"/>
                    <a:pt x="56" y="11"/>
                    <a:pt x="53" y="11"/>
                  </a:cubicBezTo>
                  <a:cubicBezTo>
                    <a:pt x="53" y="11"/>
                    <a:pt x="52" y="12"/>
                    <a:pt x="51" y="1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2" y="52"/>
                    <a:pt x="23" y="52"/>
                    <a:pt x="25" y="52"/>
                  </a:cubicBezTo>
                  <a:cubicBezTo>
                    <a:pt x="26" y="52"/>
                    <a:pt x="27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1" y="52"/>
                    <a:pt x="52" y="52"/>
                    <a:pt x="53" y="52"/>
                  </a:cubicBezTo>
                  <a:cubicBezTo>
                    <a:pt x="57" y="52"/>
                    <a:pt x="59" y="51"/>
                    <a:pt x="61" y="49"/>
                  </a:cubicBezTo>
                  <a:cubicBezTo>
                    <a:pt x="61" y="49"/>
                    <a:pt x="61" y="48"/>
                    <a:pt x="61" y="48"/>
                  </a:cubicBezTo>
                  <a:cubicBezTo>
                    <a:pt x="62" y="48"/>
                    <a:pt x="62" y="49"/>
                    <a:pt x="62" y="49"/>
                  </a:cubicBezTo>
                  <a:cubicBezTo>
                    <a:pt x="64" y="51"/>
                    <a:pt x="68" y="53"/>
                    <a:pt x="71" y="53"/>
                  </a:cubicBezTo>
                  <a:cubicBezTo>
                    <a:pt x="75" y="53"/>
                    <a:pt x="79" y="52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3" y="47"/>
                    <a:pt x="84" y="43"/>
                    <a:pt x="84" y="39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0"/>
                    <a:pt x="83" y="17"/>
                    <a:pt x="81" y="15"/>
                  </a:cubicBezTo>
                  <a:cubicBezTo>
                    <a:pt x="79" y="12"/>
                    <a:pt x="76" y="11"/>
                    <a:pt x="72" y="11"/>
                  </a:cubicBezTo>
                  <a:close/>
                  <a:moveTo>
                    <a:pt x="10" y="48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7" y="44"/>
                    <a:pt x="17" y="44"/>
                  </a:cubicBezTo>
                  <a:cubicBezTo>
                    <a:pt x="17" y="48"/>
                    <a:pt x="17" y="48"/>
                    <a:pt x="17" y="48"/>
                  </a:cubicBezTo>
                  <a:lnTo>
                    <a:pt x="10" y="48"/>
                  </a:lnTo>
                  <a:close/>
                  <a:moveTo>
                    <a:pt x="32" y="48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1" y="46"/>
                    <a:pt x="30" y="47"/>
                    <a:pt x="29" y="48"/>
                  </a:cubicBezTo>
                  <a:cubicBezTo>
                    <a:pt x="27" y="48"/>
                    <a:pt x="26" y="49"/>
                    <a:pt x="25" y="49"/>
                  </a:cubicBezTo>
                  <a:cubicBezTo>
                    <a:pt x="24" y="49"/>
                    <a:pt x="23" y="48"/>
                    <a:pt x="22" y="47"/>
                  </a:cubicBezTo>
                  <a:cubicBezTo>
                    <a:pt x="21" y="47"/>
                    <a:pt x="21" y="46"/>
                    <a:pt x="21" y="44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8" y="43"/>
                    <a:pt x="28" y="43"/>
                    <a:pt x="29" y="43"/>
                  </a:cubicBezTo>
                  <a:cubicBezTo>
                    <a:pt x="29" y="43"/>
                    <a:pt x="30" y="43"/>
                    <a:pt x="30" y="42"/>
                  </a:cubicBezTo>
                  <a:cubicBezTo>
                    <a:pt x="31" y="42"/>
                    <a:pt x="32" y="41"/>
                    <a:pt x="32" y="4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32" y="48"/>
                  </a:lnTo>
                  <a:close/>
                  <a:moveTo>
                    <a:pt x="58" y="47"/>
                  </a:moveTo>
                  <a:cubicBezTo>
                    <a:pt x="57" y="48"/>
                    <a:pt x="55" y="49"/>
                    <a:pt x="53" y="49"/>
                  </a:cubicBezTo>
                  <a:cubicBezTo>
                    <a:pt x="52" y="49"/>
                    <a:pt x="51" y="48"/>
                    <a:pt x="50" y="48"/>
                  </a:cubicBezTo>
                  <a:cubicBezTo>
                    <a:pt x="49" y="48"/>
                    <a:pt x="49" y="47"/>
                    <a:pt x="48" y="46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9" y="17"/>
                    <a:pt x="49" y="16"/>
                    <a:pt x="50" y="16"/>
                  </a:cubicBezTo>
                  <a:cubicBezTo>
                    <a:pt x="51" y="15"/>
                    <a:pt x="52" y="15"/>
                    <a:pt x="53" y="15"/>
                  </a:cubicBezTo>
                  <a:cubicBezTo>
                    <a:pt x="55" y="15"/>
                    <a:pt x="57" y="16"/>
                    <a:pt x="58" y="17"/>
                  </a:cubicBezTo>
                  <a:cubicBezTo>
                    <a:pt x="58" y="18"/>
                    <a:pt x="59" y="20"/>
                    <a:pt x="59" y="22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59" y="44"/>
                    <a:pt x="59" y="46"/>
                    <a:pt x="58" y="47"/>
                  </a:cubicBezTo>
                  <a:close/>
                  <a:moveTo>
                    <a:pt x="80" y="33"/>
                  </a:moveTo>
                  <a:cubicBezTo>
                    <a:pt x="69" y="33"/>
                    <a:pt x="69" y="33"/>
                    <a:pt x="69" y="33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41"/>
                    <a:pt x="69" y="42"/>
                    <a:pt x="69" y="42"/>
                  </a:cubicBezTo>
                  <a:cubicBezTo>
                    <a:pt x="70" y="43"/>
                    <a:pt x="70" y="43"/>
                    <a:pt x="71" y="43"/>
                  </a:cubicBezTo>
                  <a:cubicBezTo>
                    <a:pt x="72" y="43"/>
                    <a:pt x="73" y="43"/>
                    <a:pt x="74" y="43"/>
                  </a:cubicBezTo>
                  <a:cubicBezTo>
                    <a:pt x="74" y="42"/>
                    <a:pt x="74" y="41"/>
                    <a:pt x="74" y="39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0" y="42"/>
                    <a:pt x="80" y="45"/>
                    <a:pt x="78" y="47"/>
                  </a:cubicBezTo>
                  <a:cubicBezTo>
                    <a:pt x="77" y="48"/>
                    <a:pt x="74" y="49"/>
                    <a:pt x="71" y="49"/>
                  </a:cubicBezTo>
                  <a:cubicBezTo>
                    <a:pt x="69" y="49"/>
                    <a:pt x="66" y="48"/>
                    <a:pt x="65" y="46"/>
                  </a:cubicBezTo>
                  <a:cubicBezTo>
                    <a:pt x="64" y="45"/>
                    <a:pt x="63" y="43"/>
                    <a:pt x="63" y="41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2"/>
                  </a:cubicBezTo>
                  <a:cubicBezTo>
                    <a:pt x="63" y="20"/>
                    <a:pt x="64" y="19"/>
                    <a:pt x="65" y="17"/>
                  </a:cubicBezTo>
                  <a:cubicBezTo>
                    <a:pt x="67" y="16"/>
                    <a:pt x="69" y="15"/>
                    <a:pt x="72" y="15"/>
                  </a:cubicBezTo>
                  <a:cubicBezTo>
                    <a:pt x="75" y="15"/>
                    <a:pt x="77" y="16"/>
                    <a:pt x="78" y="17"/>
                  </a:cubicBezTo>
                  <a:cubicBezTo>
                    <a:pt x="80" y="19"/>
                    <a:pt x="80" y="21"/>
                    <a:pt x="80" y="24"/>
                  </a:cubicBezTo>
                  <a:lnTo>
                    <a:pt x="80" y="3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1" name="Freeform 225"/>
            <p:cNvSpPr>
              <a:spLocks/>
            </p:cNvSpPr>
            <p:nvPr/>
          </p:nvSpPr>
          <p:spPr bwMode="auto">
            <a:xfrm>
              <a:off x="3316" y="2082"/>
              <a:ext cx="12" cy="1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8"/>
                </a:cxn>
                <a:cxn ang="0">
                  <a:pos x="5" y="4"/>
                </a:cxn>
                <a:cxn ang="0">
                  <a:pos x="5" y="1"/>
                </a:cxn>
                <a:cxn ang="0">
                  <a:pos x="3" y="0"/>
                </a:cxn>
              </a:cxnLst>
              <a:rect l="0" t="0" r="r" b="b"/>
              <a:pathLst>
                <a:path w="5" h="8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2" name="Freeform 226"/>
            <p:cNvSpPr>
              <a:spLocks noEditPoints="1"/>
            </p:cNvSpPr>
            <p:nvPr/>
          </p:nvSpPr>
          <p:spPr bwMode="auto">
            <a:xfrm>
              <a:off x="3120" y="2005"/>
              <a:ext cx="263" cy="183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0" y="61"/>
                </a:cxn>
                <a:cxn ang="0">
                  <a:pos x="15" y="76"/>
                </a:cxn>
                <a:cxn ang="0">
                  <a:pos x="95" y="76"/>
                </a:cxn>
                <a:cxn ang="0">
                  <a:pos x="110" y="61"/>
                </a:cxn>
                <a:cxn ang="0">
                  <a:pos x="110" y="16"/>
                </a:cxn>
                <a:cxn ang="0">
                  <a:pos x="95" y="0"/>
                </a:cxn>
                <a:cxn ang="0">
                  <a:pos x="106" y="61"/>
                </a:cxn>
                <a:cxn ang="0">
                  <a:pos x="95" y="72"/>
                </a:cxn>
                <a:cxn ang="0">
                  <a:pos x="15" y="72"/>
                </a:cxn>
                <a:cxn ang="0">
                  <a:pos x="4" y="61"/>
                </a:cxn>
                <a:cxn ang="0">
                  <a:pos x="4" y="16"/>
                </a:cxn>
                <a:cxn ang="0">
                  <a:pos x="15" y="4"/>
                </a:cxn>
                <a:cxn ang="0">
                  <a:pos x="95" y="4"/>
                </a:cxn>
                <a:cxn ang="0">
                  <a:pos x="106" y="16"/>
                </a:cxn>
                <a:cxn ang="0">
                  <a:pos x="106" y="61"/>
                </a:cxn>
              </a:cxnLst>
              <a:rect l="0" t="0" r="r" b="b"/>
              <a:pathLst>
                <a:path w="110" h="76">
                  <a:moveTo>
                    <a:pt x="9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103" y="76"/>
                    <a:pt x="110" y="69"/>
                    <a:pt x="110" y="61"/>
                  </a:cubicBezTo>
                  <a:cubicBezTo>
                    <a:pt x="110" y="16"/>
                    <a:pt x="110" y="16"/>
                    <a:pt x="110" y="16"/>
                  </a:cubicBezTo>
                  <a:cubicBezTo>
                    <a:pt x="110" y="7"/>
                    <a:pt x="103" y="0"/>
                    <a:pt x="95" y="0"/>
                  </a:cubicBezTo>
                  <a:close/>
                  <a:moveTo>
                    <a:pt x="106" y="61"/>
                  </a:moveTo>
                  <a:cubicBezTo>
                    <a:pt x="106" y="67"/>
                    <a:pt x="101" y="72"/>
                    <a:pt x="9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9" y="72"/>
                    <a:pt x="4" y="67"/>
                    <a:pt x="4" y="6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9"/>
                    <a:pt x="9" y="4"/>
                    <a:pt x="1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101" y="4"/>
                    <a:pt x="106" y="9"/>
                    <a:pt x="106" y="16"/>
                  </a:cubicBezTo>
                  <a:lnTo>
                    <a:pt x="106" y="6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525" name="Group 229"/>
          <p:cNvGrpSpPr>
            <a:grpSpLocks noChangeAspect="1"/>
          </p:cNvGrpSpPr>
          <p:nvPr/>
        </p:nvGrpSpPr>
        <p:grpSpPr bwMode="auto">
          <a:xfrm>
            <a:off x="5863432" y="2847773"/>
            <a:ext cx="768350" cy="768350"/>
            <a:chOff x="3697" y="1772"/>
            <a:chExt cx="484" cy="484"/>
          </a:xfrm>
        </p:grpSpPr>
        <p:sp>
          <p:nvSpPr>
            <p:cNvPr id="55526" name="Freeform 230"/>
            <p:cNvSpPr>
              <a:spLocks noEditPoints="1"/>
            </p:cNvSpPr>
            <p:nvPr/>
          </p:nvSpPr>
          <p:spPr bwMode="auto">
            <a:xfrm>
              <a:off x="3697" y="177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7" name="Freeform 231"/>
            <p:cNvSpPr>
              <a:spLocks noEditPoints="1"/>
            </p:cNvSpPr>
            <p:nvPr/>
          </p:nvSpPr>
          <p:spPr bwMode="auto">
            <a:xfrm>
              <a:off x="3846" y="1851"/>
              <a:ext cx="189" cy="147"/>
            </a:xfrm>
            <a:custGeom>
              <a:avLst/>
              <a:gdLst/>
              <a:ahLst/>
              <a:cxnLst>
                <a:cxn ang="0">
                  <a:pos x="11" y="57"/>
                </a:cxn>
                <a:cxn ang="0">
                  <a:pos x="15" y="60"/>
                </a:cxn>
                <a:cxn ang="0">
                  <a:pos x="26" y="60"/>
                </a:cxn>
                <a:cxn ang="0">
                  <a:pos x="26" y="52"/>
                </a:cxn>
                <a:cxn ang="0">
                  <a:pos x="30" y="57"/>
                </a:cxn>
                <a:cxn ang="0">
                  <a:pos x="40" y="61"/>
                </a:cxn>
                <a:cxn ang="0">
                  <a:pos x="52" y="56"/>
                </a:cxn>
                <a:cxn ang="0">
                  <a:pos x="59" y="61"/>
                </a:cxn>
                <a:cxn ang="0">
                  <a:pos x="64" y="60"/>
                </a:cxn>
                <a:cxn ang="0">
                  <a:pos x="75" y="60"/>
                </a:cxn>
                <a:cxn ang="0">
                  <a:pos x="79" y="57"/>
                </a:cxn>
                <a:cxn ang="0">
                  <a:pos x="79" y="14"/>
                </a:cxn>
                <a:cxn ang="0">
                  <a:pos x="68" y="14"/>
                </a:cxn>
                <a:cxn ang="0">
                  <a:pos x="61" y="14"/>
                </a:cxn>
                <a:cxn ang="0">
                  <a:pos x="50" y="14"/>
                </a:cxn>
                <a:cxn ang="0">
                  <a:pos x="50" y="17"/>
                </a:cxn>
                <a:cxn ang="0">
                  <a:pos x="33" y="14"/>
                </a:cxn>
                <a:cxn ang="0">
                  <a:pos x="37" y="0"/>
                </a:cxn>
                <a:cxn ang="0">
                  <a:pos x="24" y="0"/>
                </a:cxn>
                <a:cxn ang="0">
                  <a:pos x="20" y="2"/>
                </a:cxn>
                <a:cxn ang="0">
                  <a:pos x="17" y="2"/>
                </a:cxn>
                <a:cxn ang="0">
                  <a:pos x="13" y="0"/>
                </a:cxn>
                <a:cxn ang="0">
                  <a:pos x="0" y="0"/>
                </a:cxn>
                <a:cxn ang="0">
                  <a:pos x="11" y="36"/>
                </a:cxn>
                <a:cxn ang="0">
                  <a:pos x="61" y="17"/>
                </a:cxn>
                <a:cxn ang="0">
                  <a:pos x="62" y="50"/>
                </a:cxn>
                <a:cxn ang="0">
                  <a:pos x="65" y="49"/>
                </a:cxn>
                <a:cxn ang="0">
                  <a:pos x="68" y="17"/>
                </a:cxn>
                <a:cxn ang="0">
                  <a:pos x="75" y="57"/>
                </a:cxn>
                <a:cxn ang="0">
                  <a:pos x="68" y="52"/>
                </a:cxn>
                <a:cxn ang="0">
                  <a:pos x="59" y="57"/>
                </a:cxn>
                <a:cxn ang="0">
                  <a:pos x="54" y="50"/>
                </a:cxn>
                <a:cxn ang="0">
                  <a:pos x="54" y="47"/>
                </a:cxn>
                <a:cxn ang="0">
                  <a:pos x="54" y="24"/>
                </a:cxn>
                <a:cxn ang="0">
                  <a:pos x="32" y="19"/>
                </a:cxn>
                <a:cxn ang="0">
                  <a:pos x="48" y="19"/>
                </a:cxn>
                <a:cxn ang="0">
                  <a:pos x="50" y="50"/>
                </a:cxn>
                <a:cxn ang="0">
                  <a:pos x="40" y="58"/>
                </a:cxn>
                <a:cxn ang="0">
                  <a:pos x="29" y="47"/>
                </a:cxn>
                <a:cxn ang="0">
                  <a:pos x="29" y="26"/>
                </a:cxn>
                <a:cxn ang="0">
                  <a:pos x="32" y="19"/>
                </a:cxn>
                <a:cxn ang="0">
                  <a:pos x="18" y="25"/>
                </a:cxn>
                <a:cxn ang="0">
                  <a:pos x="24" y="3"/>
                </a:cxn>
                <a:cxn ang="0">
                  <a:pos x="27" y="19"/>
                </a:cxn>
                <a:cxn ang="0">
                  <a:pos x="23" y="35"/>
                </a:cxn>
                <a:cxn ang="0">
                  <a:pos x="15" y="57"/>
                </a:cxn>
                <a:cxn ang="0">
                  <a:pos x="5" y="3"/>
                </a:cxn>
              </a:cxnLst>
              <a:rect l="0" t="0" r="r" b="b"/>
              <a:pathLst>
                <a:path w="79" h="61">
                  <a:moveTo>
                    <a:pt x="11" y="36"/>
                  </a:moveTo>
                  <a:cubicBezTo>
                    <a:pt x="11" y="57"/>
                    <a:pt x="11" y="57"/>
                    <a:pt x="11" y="57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7" y="54"/>
                    <a:pt x="28" y="56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2" y="60"/>
                    <a:pt x="36" y="61"/>
                    <a:pt x="40" y="61"/>
                  </a:cubicBezTo>
                  <a:cubicBezTo>
                    <a:pt x="44" y="61"/>
                    <a:pt x="48" y="60"/>
                    <a:pt x="50" y="58"/>
                  </a:cubicBezTo>
                  <a:cubicBezTo>
                    <a:pt x="51" y="57"/>
                    <a:pt x="51" y="57"/>
                    <a:pt x="52" y="56"/>
                  </a:cubicBezTo>
                  <a:cubicBezTo>
                    <a:pt x="52" y="57"/>
                    <a:pt x="52" y="57"/>
                    <a:pt x="52" y="58"/>
                  </a:cubicBezTo>
                  <a:cubicBezTo>
                    <a:pt x="54" y="59"/>
                    <a:pt x="56" y="61"/>
                    <a:pt x="59" y="61"/>
                  </a:cubicBezTo>
                  <a:cubicBezTo>
                    <a:pt x="61" y="61"/>
                    <a:pt x="62" y="61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8" y="14"/>
                    <a:pt x="44" y="13"/>
                    <a:pt x="40" y="13"/>
                  </a:cubicBezTo>
                  <a:cubicBezTo>
                    <a:pt x="37" y="13"/>
                    <a:pt x="35" y="13"/>
                    <a:pt x="33" y="1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11" y="36"/>
                  </a:lnTo>
                  <a:close/>
                  <a:moveTo>
                    <a:pt x="54" y="17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49"/>
                    <a:pt x="62" y="50"/>
                  </a:cubicBezTo>
                  <a:cubicBezTo>
                    <a:pt x="62" y="50"/>
                    <a:pt x="63" y="50"/>
                    <a:pt x="63" y="50"/>
                  </a:cubicBezTo>
                  <a:cubicBezTo>
                    <a:pt x="64" y="50"/>
                    <a:pt x="65" y="50"/>
                    <a:pt x="65" y="49"/>
                  </a:cubicBezTo>
                  <a:cubicBezTo>
                    <a:pt x="66" y="49"/>
                    <a:pt x="67" y="48"/>
                    <a:pt x="68" y="4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6" y="54"/>
                    <a:pt x="65" y="55"/>
                    <a:pt x="63" y="56"/>
                  </a:cubicBezTo>
                  <a:cubicBezTo>
                    <a:pt x="62" y="57"/>
                    <a:pt x="61" y="57"/>
                    <a:pt x="59" y="57"/>
                  </a:cubicBezTo>
                  <a:cubicBezTo>
                    <a:pt x="58" y="57"/>
                    <a:pt x="56" y="57"/>
                    <a:pt x="55" y="56"/>
                  </a:cubicBezTo>
                  <a:cubicBezTo>
                    <a:pt x="55" y="54"/>
                    <a:pt x="54" y="53"/>
                    <a:pt x="54" y="50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4" y="49"/>
                    <a:pt x="54" y="48"/>
                    <a:pt x="54" y="4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6"/>
                    <a:pt x="54" y="25"/>
                    <a:pt x="54" y="24"/>
                  </a:cubicBezTo>
                  <a:lnTo>
                    <a:pt x="54" y="17"/>
                  </a:lnTo>
                  <a:close/>
                  <a:moveTo>
                    <a:pt x="32" y="19"/>
                  </a:moveTo>
                  <a:cubicBezTo>
                    <a:pt x="34" y="17"/>
                    <a:pt x="37" y="16"/>
                    <a:pt x="40" y="16"/>
                  </a:cubicBezTo>
                  <a:cubicBezTo>
                    <a:pt x="43" y="16"/>
                    <a:pt x="46" y="17"/>
                    <a:pt x="48" y="19"/>
                  </a:cubicBezTo>
                  <a:cubicBezTo>
                    <a:pt x="49" y="21"/>
                    <a:pt x="50" y="22"/>
                    <a:pt x="50" y="24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52"/>
                    <a:pt x="49" y="54"/>
                    <a:pt x="48" y="55"/>
                  </a:cubicBezTo>
                  <a:cubicBezTo>
                    <a:pt x="46" y="57"/>
                    <a:pt x="43" y="58"/>
                    <a:pt x="40" y="58"/>
                  </a:cubicBezTo>
                  <a:cubicBezTo>
                    <a:pt x="37" y="58"/>
                    <a:pt x="34" y="57"/>
                    <a:pt x="32" y="55"/>
                  </a:cubicBezTo>
                  <a:cubicBezTo>
                    <a:pt x="30" y="53"/>
                    <a:pt x="29" y="50"/>
                    <a:pt x="29" y="47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0"/>
                    <a:pt x="32" y="20"/>
                    <a:pt x="32" y="19"/>
                  </a:cubicBezTo>
                  <a:close/>
                  <a:moveTo>
                    <a:pt x="13" y="3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1"/>
                    <a:pt x="26" y="23"/>
                    <a:pt x="26" y="2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13" y="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8" name="Freeform 232"/>
            <p:cNvSpPr>
              <a:spLocks/>
            </p:cNvSpPr>
            <p:nvPr/>
          </p:nvSpPr>
          <p:spPr bwMode="auto">
            <a:xfrm>
              <a:off x="3934" y="1907"/>
              <a:ext cx="15" cy="67"/>
            </a:xfrm>
            <a:custGeom>
              <a:avLst/>
              <a:gdLst/>
              <a:ahLst/>
              <a:cxnLst>
                <a:cxn ang="0">
                  <a:pos x="3" y="28"/>
                </a:cxn>
                <a:cxn ang="0">
                  <a:pos x="5" y="27"/>
                </a:cxn>
                <a:cxn ang="0">
                  <a:pos x="6" y="25"/>
                </a:cxn>
                <a:cxn ang="0">
                  <a:pos x="6" y="3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1" y="1"/>
                </a:cxn>
                <a:cxn ang="0">
                  <a:pos x="0" y="3"/>
                </a:cxn>
                <a:cxn ang="0">
                  <a:pos x="0" y="25"/>
                </a:cxn>
                <a:cxn ang="0">
                  <a:pos x="1" y="27"/>
                </a:cxn>
                <a:cxn ang="0">
                  <a:pos x="3" y="28"/>
                </a:cxn>
              </a:cxnLst>
              <a:rect l="0" t="0" r="r" b="b"/>
              <a:pathLst>
                <a:path w="6" h="28">
                  <a:moveTo>
                    <a:pt x="3" y="28"/>
                  </a:moveTo>
                  <a:cubicBezTo>
                    <a:pt x="4" y="28"/>
                    <a:pt x="5" y="28"/>
                    <a:pt x="5" y="27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2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1" y="27"/>
                  </a:cubicBezTo>
                  <a:cubicBezTo>
                    <a:pt x="1" y="28"/>
                    <a:pt x="2" y="28"/>
                    <a:pt x="3" y="2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9" name="Freeform 233"/>
            <p:cNvSpPr>
              <a:spLocks/>
            </p:cNvSpPr>
            <p:nvPr/>
          </p:nvSpPr>
          <p:spPr bwMode="auto">
            <a:xfrm>
              <a:off x="3956" y="2082"/>
              <a:ext cx="12" cy="5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22"/>
                </a:cxn>
                <a:cxn ang="0">
                  <a:pos x="1" y="23"/>
                </a:cxn>
                <a:cxn ang="0">
                  <a:pos x="3" y="24"/>
                </a:cxn>
                <a:cxn ang="0">
                  <a:pos x="4" y="23"/>
                </a:cxn>
                <a:cxn ang="0">
                  <a:pos x="5" y="21"/>
                </a:cxn>
                <a:cxn ang="0">
                  <a:pos x="5" y="4"/>
                </a:cxn>
                <a:cxn ang="0">
                  <a:pos x="4" y="1"/>
                </a:cxn>
                <a:cxn ang="0">
                  <a:pos x="2" y="0"/>
                </a:cxn>
              </a:cxnLst>
              <a:rect l="0" t="0" r="r" b="b"/>
              <a:pathLst>
                <a:path w="5" h="24">
                  <a:moveTo>
                    <a:pt x="2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3"/>
                    <a:pt x="1" y="23"/>
                  </a:cubicBezTo>
                  <a:cubicBezTo>
                    <a:pt x="2" y="23"/>
                    <a:pt x="2" y="24"/>
                    <a:pt x="3" y="24"/>
                  </a:cubicBezTo>
                  <a:cubicBezTo>
                    <a:pt x="3" y="24"/>
                    <a:pt x="4" y="23"/>
                    <a:pt x="4" y="23"/>
                  </a:cubicBezTo>
                  <a:cubicBezTo>
                    <a:pt x="5" y="22"/>
                    <a:pt x="5" y="22"/>
                    <a:pt x="5" y="2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0" name="Freeform 234"/>
            <p:cNvSpPr>
              <a:spLocks noEditPoints="1"/>
            </p:cNvSpPr>
            <p:nvPr/>
          </p:nvSpPr>
          <p:spPr bwMode="auto">
            <a:xfrm>
              <a:off x="3841" y="2034"/>
              <a:ext cx="201" cy="127"/>
            </a:xfrm>
            <a:custGeom>
              <a:avLst/>
              <a:gdLst/>
              <a:ahLst/>
              <a:cxnLst>
                <a:cxn ang="0">
                  <a:pos x="61" y="16"/>
                </a:cxn>
                <a:cxn ang="0">
                  <a:pos x="51" y="12"/>
                </a:cxn>
                <a:cxn ang="0">
                  <a:pos x="48" y="0"/>
                </a:cxn>
                <a:cxn ang="0">
                  <a:pos x="38" y="4"/>
                </a:cxn>
                <a:cxn ang="0">
                  <a:pos x="31" y="12"/>
                </a:cxn>
                <a:cxn ang="0">
                  <a:pos x="28" y="4"/>
                </a:cxn>
                <a:cxn ang="0">
                  <a:pos x="3" y="0"/>
                </a:cxn>
                <a:cxn ang="0">
                  <a:pos x="0" y="10"/>
                </a:cxn>
                <a:cxn ang="0">
                  <a:pos x="7" y="14"/>
                </a:cxn>
                <a:cxn ang="0">
                  <a:pos x="10" y="52"/>
                </a:cxn>
                <a:cxn ang="0">
                  <a:pos x="21" y="51"/>
                </a:cxn>
                <a:cxn ang="0">
                  <a:pos x="28" y="52"/>
                </a:cxn>
                <a:cxn ang="0">
                  <a:pos x="38" y="52"/>
                </a:cxn>
                <a:cxn ang="0">
                  <a:pos x="48" y="52"/>
                </a:cxn>
                <a:cxn ang="0">
                  <a:pos x="61" y="49"/>
                </a:cxn>
                <a:cxn ang="0">
                  <a:pos x="71" y="53"/>
                </a:cxn>
                <a:cxn ang="0">
                  <a:pos x="81" y="49"/>
                </a:cxn>
                <a:cxn ang="0">
                  <a:pos x="84" y="36"/>
                </a:cxn>
                <a:cxn ang="0">
                  <a:pos x="81" y="15"/>
                </a:cxn>
                <a:cxn ang="0">
                  <a:pos x="10" y="10"/>
                </a:cxn>
                <a:cxn ang="0">
                  <a:pos x="24" y="4"/>
                </a:cxn>
                <a:cxn ang="0">
                  <a:pos x="17" y="12"/>
                </a:cxn>
                <a:cxn ang="0">
                  <a:pos x="17" y="43"/>
                </a:cxn>
                <a:cxn ang="0">
                  <a:pos x="10" y="48"/>
                </a:cxn>
                <a:cxn ang="0">
                  <a:pos x="29" y="48"/>
                </a:cxn>
                <a:cxn ang="0">
                  <a:pos x="21" y="44"/>
                </a:cxn>
                <a:cxn ang="0">
                  <a:pos x="27" y="41"/>
                </a:cxn>
                <a:cxn ang="0">
                  <a:pos x="30" y="42"/>
                </a:cxn>
                <a:cxn ang="0">
                  <a:pos x="38" y="16"/>
                </a:cxn>
                <a:cxn ang="0">
                  <a:pos x="58" y="47"/>
                </a:cxn>
                <a:cxn ang="0">
                  <a:pos x="48" y="46"/>
                </a:cxn>
                <a:cxn ang="0">
                  <a:pos x="42" y="16"/>
                </a:cxn>
                <a:cxn ang="0">
                  <a:pos x="42" y="4"/>
                </a:cxn>
                <a:cxn ang="0">
                  <a:pos x="50" y="16"/>
                </a:cxn>
                <a:cxn ang="0">
                  <a:pos x="59" y="22"/>
                </a:cxn>
                <a:cxn ang="0">
                  <a:pos x="59" y="42"/>
                </a:cxn>
                <a:cxn ang="0">
                  <a:pos x="69" y="33"/>
                </a:cxn>
                <a:cxn ang="0">
                  <a:pos x="71" y="43"/>
                </a:cxn>
                <a:cxn ang="0">
                  <a:pos x="74" y="37"/>
                </a:cxn>
                <a:cxn ang="0">
                  <a:pos x="78" y="47"/>
                </a:cxn>
                <a:cxn ang="0">
                  <a:pos x="63" y="41"/>
                </a:cxn>
                <a:cxn ang="0">
                  <a:pos x="65" y="17"/>
                </a:cxn>
                <a:cxn ang="0">
                  <a:pos x="80" y="24"/>
                </a:cxn>
              </a:cxnLst>
              <a:rect l="0" t="0" r="r" b="b"/>
              <a:pathLst>
                <a:path w="84" h="53">
                  <a:moveTo>
                    <a:pt x="72" y="11"/>
                  </a:moveTo>
                  <a:cubicBezTo>
                    <a:pt x="68" y="11"/>
                    <a:pt x="65" y="12"/>
                    <a:pt x="62" y="15"/>
                  </a:cubicBezTo>
                  <a:cubicBezTo>
                    <a:pt x="62" y="15"/>
                    <a:pt x="62" y="16"/>
                    <a:pt x="61" y="16"/>
                  </a:cubicBezTo>
                  <a:cubicBezTo>
                    <a:pt x="61" y="16"/>
                    <a:pt x="61" y="15"/>
                    <a:pt x="60" y="15"/>
                  </a:cubicBezTo>
                  <a:cubicBezTo>
                    <a:pt x="59" y="13"/>
                    <a:pt x="56" y="11"/>
                    <a:pt x="53" y="11"/>
                  </a:cubicBezTo>
                  <a:cubicBezTo>
                    <a:pt x="53" y="11"/>
                    <a:pt x="52" y="12"/>
                    <a:pt x="51" y="1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2" y="52"/>
                    <a:pt x="23" y="52"/>
                    <a:pt x="25" y="52"/>
                  </a:cubicBezTo>
                  <a:cubicBezTo>
                    <a:pt x="26" y="52"/>
                    <a:pt x="27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1" y="52"/>
                    <a:pt x="52" y="52"/>
                    <a:pt x="53" y="52"/>
                  </a:cubicBezTo>
                  <a:cubicBezTo>
                    <a:pt x="57" y="52"/>
                    <a:pt x="59" y="51"/>
                    <a:pt x="61" y="49"/>
                  </a:cubicBezTo>
                  <a:cubicBezTo>
                    <a:pt x="61" y="49"/>
                    <a:pt x="61" y="48"/>
                    <a:pt x="61" y="48"/>
                  </a:cubicBezTo>
                  <a:cubicBezTo>
                    <a:pt x="62" y="48"/>
                    <a:pt x="62" y="49"/>
                    <a:pt x="62" y="49"/>
                  </a:cubicBezTo>
                  <a:cubicBezTo>
                    <a:pt x="64" y="51"/>
                    <a:pt x="68" y="53"/>
                    <a:pt x="71" y="53"/>
                  </a:cubicBezTo>
                  <a:cubicBezTo>
                    <a:pt x="75" y="53"/>
                    <a:pt x="79" y="52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3" y="47"/>
                    <a:pt x="84" y="43"/>
                    <a:pt x="84" y="39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0"/>
                    <a:pt x="83" y="17"/>
                    <a:pt x="81" y="15"/>
                  </a:cubicBezTo>
                  <a:cubicBezTo>
                    <a:pt x="79" y="12"/>
                    <a:pt x="76" y="11"/>
                    <a:pt x="72" y="11"/>
                  </a:cubicBezTo>
                  <a:close/>
                  <a:moveTo>
                    <a:pt x="10" y="48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7" y="44"/>
                    <a:pt x="17" y="44"/>
                  </a:cubicBezTo>
                  <a:cubicBezTo>
                    <a:pt x="17" y="48"/>
                    <a:pt x="17" y="48"/>
                    <a:pt x="17" y="48"/>
                  </a:cubicBezTo>
                  <a:lnTo>
                    <a:pt x="10" y="48"/>
                  </a:lnTo>
                  <a:close/>
                  <a:moveTo>
                    <a:pt x="32" y="48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1" y="46"/>
                    <a:pt x="30" y="47"/>
                    <a:pt x="29" y="48"/>
                  </a:cubicBezTo>
                  <a:cubicBezTo>
                    <a:pt x="27" y="48"/>
                    <a:pt x="26" y="49"/>
                    <a:pt x="25" y="49"/>
                  </a:cubicBezTo>
                  <a:cubicBezTo>
                    <a:pt x="24" y="49"/>
                    <a:pt x="23" y="48"/>
                    <a:pt x="22" y="47"/>
                  </a:cubicBezTo>
                  <a:cubicBezTo>
                    <a:pt x="21" y="47"/>
                    <a:pt x="21" y="46"/>
                    <a:pt x="21" y="44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8" y="43"/>
                    <a:pt x="28" y="43"/>
                    <a:pt x="29" y="43"/>
                  </a:cubicBezTo>
                  <a:cubicBezTo>
                    <a:pt x="29" y="43"/>
                    <a:pt x="30" y="43"/>
                    <a:pt x="30" y="42"/>
                  </a:cubicBezTo>
                  <a:cubicBezTo>
                    <a:pt x="31" y="42"/>
                    <a:pt x="32" y="41"/>
                    <a:pt x="32" y="4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32" y="48"/>
                  </a:lnTo>
                  <a:close/>
                  <a:moveTo>
                    <a:pt x="58" y="47"/>
                  </a:moveTo>
                  <a:cubicBezTo>
                    <a:pt x="57" y="48"/>
                    <a:pt x="55" y="49"/>
                    <a:pt x="53" y="49"/>
                  </a:cubicBezTo>
                  <a:cubicBezTo>
                    <a:pt x="52" y="49"/>
                    <a:pt x="51" y="48"/>
                    <a:pt x="50" y="48"/>
                  </a:cubicBezTo>
                  <a:cubicBezTo>
                    <a:pt x="49" y="48"/>
                    <a:pt x="49" y="47"/>
                    <a:pt x="48" y="46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9" y="17"/>
                    <a:pt x="49" y="16"/>
                    <a:pt x="50" y="16"/>
                  </a:cubicBezTo>
                  <a:cubicBezTo>
                    <a:pt x="51" y="15"/>
                    <a:pt x="52" y="15"/>
                    <a:pt x="53" y="15"/>
                  </a:cubicBezTo>
                  <a:cubicBezTo>
                    <a:pt x="55" y="15"/>
                    <a:pt x="57" y="16"/>
                    <a:pt x="58" y="17"/>
                  </a:cubicBezTo>
                  <a:cubicBezTo>
                    <a:pt x="58" y="18"/>
                    <a:pt x="59" y="20"/>
                    <a:pt x="59" y="22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59" y="44"/>
                    <a:pt x="59" y="46"/>
                    <a:pt x="58" y="47"/>
                  </a:cubicBezTo>
                  <a:close/>
                  <a:moveTo>
                    <a:pt x="80" y="33"/>
                  </a:moveTo>
                  <a:cubicBezTo>
                    <a:pt x="69" y="33"/>
                    <a:pt x="69" y="33"/>
                    <a:pt x="69" y="33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41"/>
                    <a:pt x="69" y="42"/>
                    <a:pt x="69" y="42"/>
                  </a:cubicBezTo>
                  <a:cubicBezTo>
                    <a:pt x="70" y="43"/>
                    <a:pt x="70" y="43"/>
                    <a:pt x="71" y="43"/>
                  </a:cubicBezTo>
                  <a:cubicBezTo>
                    <a:pt x="72" y="43"/>
                    <a:pt x="73" y="43"/>
                    <a:pt x="74" y="43"/>
                  </a:cubicBezTo>
                  <a:cubicBezTo>
                    <a:pt x="74" y="42"/>
                    <a:pt x="74" y="41"/>
                    <a:pt x="74" y="39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0" y="42"/>
                    <a:pt x="80" y="45"/>
                    <a:pt x="78" y="47"/>
                  </a:cubicBezTo>
                  <a:cubicBezTo>
                    <a:pt x="77" y="48"/>
                    <a:pt x="74" y="49"/>
                    <a:pt x="71" y="49"/>
                  </a:cubicBezTo>
                  <a:cubicBezTo>
                    <a:pt x="69" y="49"/>
                    <a:pt x="66" y="48"/>
                    <a:pt x="65" y="46"/>
                  </a:cubicBezTo>
                  <a:cubicBezTo>
                    <a:pt x="64" y="45"/>
                    <a:pt x="63" y="43"/>
                    <a:pt x="63" y="41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2"/>
                  </a:cubicBezTo>
                  <a:cubicBezTo>
                    <a:pt x="63" y="20"/>
                    <a:pt x="64" y="19"/>
                    <a:pt x="65" y="17"/>
                  </a:cubicBezTo>
                  <a:cubicBezTo>
                    <a:pt x="67" y="16"/>
                    <a:pt x="69" y="15"/>
                    <a:pt x="72" y="15"/>
                  </a:cubicBezTo>
                  <a:cubicBezTo>
                    <a:pt x="75" y="15"/>
                    <a:pt x="77" y="16"/>
                    <a:pt x="78" y="17"/>
                  </a:cubicBezTo>
                  <a:cubicBezTo>
                    <a:pt x="80" y="19"/>
                    <a:pt x="80" y="21"/>
                    <a:pt x="80" y="24"/>
                  </a:cubicBezTo>
                  <a:lnTo>
                    <a:pt x="80" y="3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1" name="Freeform 235"/>
            <p:cNvSpPr>
              <a:spLocks/>
            </p:cNvSpPr>
            <p:nvPr/>
          </p:nvSpPr>
          <p:spPr bwMode="auto">
            <a:xfrm>
              <a:off x="4006" y="2082"/>
              <a:ext cx="12" cy="1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8"/>
                </a:cxn>
                <a:cxn ang="0">
                  <a:pos x="5" y="4"/>
                </a:cxn>
                <a:cxn ang="0">
                  <a:pos x="5" y="1"/>
                </a:cxn>
                <a:cxn ang="0">
                  <a:pos x="3" y="0"/>
                </a:cxn>
              </a:cxnLst>
              <a:rect l="0" t="0" r="r" b="b"/>
              <a:pathLst>
                <a:path w="5" h="8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2" name="Freeform 236"/>
            <p:cNvSpPr>
              <a:spLocks noEditPoints="1"/>
            </p:cNvSpPr>
            <p:nvPr/>
          </p:nvSpPr>
          <p:spPr bwMode="auto">
            <a:xfrm>
              <a:off x="3810" y="2005"/>
              <a:ext cx="263" cy="182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0" y="61"/>
                </a:cxn>
                <a:cxn ang="0">
                  <a:pos x="15" y="76"/>
                </a:cxn>
                <a:cxn ang="0">
                  <a:pos x="95" y="76"/>
                </a:cxn>
                <a:cxn ang="0">
                  <a:pos x="110" y="61"/>
                </a:cxn>
                <a:cxn ang="0">
                  <a:pos x="110" y="16"/>
                </a:cxn>
                <a:cxn ang="0">
                  <a:pos x="95" y="0"/>
                </a:cxn>
                <a:cxn ang="0">
                  <a:pos x="106" y="61"/>
                </a:cxn>
                <a:cxn ang="0">
                  <a:pos x="95" y="72"/>
                </a:cxn>
                <a:cxn ang="0">
                  <a:pos x="15" y="72"/>
                </a:cxn>
                <a:cxn ang="0">
                  <a:pos x="4" y="61"/>
                </a:cxn>
                <a:cxn ang="0">
                  <a:pos x="4" y="16"/>
                </a:cxn>
                <a:cxn ang="0">
                  <a:pos x="15" y="4"/>
                </a:cxn>
                <a:cxn ang="0">
                  <a:pos x="95" y="4"/>
                </a:cxn>
                <a:cxn ang="0">
                  <a:pos x="106" y="16"/>
                </a:cxn>
                <a:cxn ang="0">
                  <a:pos x="106" y="61"/>
                </a:cxn>
              </a:cxnLst>
              <a:rect l="0" t="0" r="r" b="b"/>
              <a:pathLst>
                <a:path w="110" h="76">
                  <a:moveTo>
                    <a:pt x="9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103" y="76"/>
                    <a:pt x="110" y="69"/>
                    <a:pt x="110" y="61"/>
                  </a:cubicBezTo>
                  <a:cubicBezTo>
                    <a:pt x="110" y="16"/>
                    <a:pt x="110" y="16"/>
                    <a:pt x="110" y="16"/>
                  </a:cubicBezTo>
                  <a:cubicBezTo>
                    <a:pt x="110" y="7"/>
                    <a:pt x="103" y="0"/>
                    <a:pt x="95" y="0"/>
                  </a:cubicBezTo>
                  <a:close/>
                  <a:moveTo>
                    <a:pt x="106" y="61"/>
                  </a:moveTo>
                  <a:cubicBezTo>
                    <a:pt x="106" y="67"/>
                    <a:pt x="101" y="72"/>
                    <a:pt x="9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9" y="72"/>
                    <a:pt x="4" y="67"/>
                    <a:pt x="4" y="6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9"/>
                    <a:pt x="9" y="4"/>
                    <a:pt x="1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101" y="4"/>
                    <a:pt x="106" y="9"/>
                    <a:pt x="106" y="16"/>
                  </a:cubicBezTo>
                  <a:lnTo>
                    <a:pt x="106" y="6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" name="Group 5"/>
          <p:cNvGrpSpPr>
            <a:grpSpLocks noChangeAspect="1"/>
          </p:cNvGrpSpPr>
          <p:nvPr/>
        </p:nvGrpSpPr>
        <p:grpSpPr bwMode="auto">
          <a:xfrm>
            <a:off x="8062188" y="2849363"/>
            <a:ext cx="768096" cy="768096"/>
            <a:chOff x="253" y="2701"/>
            <a:chExt cx="477" cy="477"/>
          </a:xfrm>
        </p:grpSpPr>
        <p:sp>
          <p:nvSpPr>
            <p:cNvPr id="3" name="AutoShape 4"/>
            <p:cNvSpPr>
              <a:spLocks noChangeAspect="1" noChangeArrowheads="1" noTextEdit="1"/>
            </p:cNvSpPr>
            <p:nvPr/>
          </p:nvSpPr>
          <p:spPr bwMode="auto">
            <a:xfrm>
              <a:off x="255" y="2703"/>
              <a:ext cx="47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Line 6"/>
            <p:cNvSpPr>
              <a:spLocks noChangeShapeType="1"/>
            </p:cNvSpPr>
            <p:nvPr/>
          </p:nvSpPr>
          <p:spPr bwMode="auto">
            <a:xfrm>
              <a:off x="510" y="3041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510" y="3041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Line 8"/>
            <p:cNvSpPr>
              <a:spLocks noChangeShapeType="1"/>
            </p:cNvSpPr>
            <p:nvPr/>
          </p:nvSpPr>
          <p:spPr bwMode="auto">
            <a:xfrm>
              <a:off x="385" y="304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Line 9"/>
            <p:cNvSpPr>
              <a:spLocks noChangeShapeType="1"/>
            </p:cNvSpPr>
            <p:nvPr/>
          </p:nvSpPr>
          <p:spPr bwMode="auto">
            <a:xfrm>
              <a:off x="385" y="304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0"/>
            <p:cNvSpPr>
              <a:spLocks noEditPoints="1"/>
            </p:cNvSpPr>
            <p:nvPr/>
          </p:nvSpPr>
          <p:spPr bwMode="auto">
            <a:xfrm>
              <a:off x="489" y="2991"/>
              <a:ext cx="57" cy="59"/>
            </a:xfrm>
            <a:custGeom>
              <a:avLst/>
              <a:gdLst>
                <a:gd name="T0" fmla="*/ 12 w 24"/>
                <a:gd name="T1" fmla="*/ 0 h 25"/>
                <a:gd name="T2" fmla="*/ 0 w 24"/>
                <a:gd name="T3" fmla="*/ 13 h 25"/>
                <a:gd name="T4" fmla="*/ 12 w 24"/>
                <a:gd name="T5" fmla="*/ 25 h 25"/>
                <a:gd name="T6" fmla="*/ 24 w 24"/>
                <a:gd name="T7" fmla="*/ 13 h 25"/>
                <a:gd name="T8" fmla="*/ 12 w 24"/>
                <a:gd name="T9" fmla="*/ 0 h 25"/>
                <a:gd name="T10" fmla="*/ 12 w 24"/>
                <a:gd name="T11" fmla="*/ 21 h 25"/>
                <a:gd name="T12" fmla="*/ 3 w 24"/>
                <a:gd name="T13" fmla="*/ 13 h 25"/>
                <a:gd name="T14" fmla="*/ 12 w 24"/>
                <a:gd name="T15" fmla="*/ 4 h 25"/>
                <a:gd name="T16" fmla="*/ 20 w 24"/>
                <a:gd name="T17" fmla="*/ 13 h 25"/>
                <a:gd name="T18" fmla="*/ 12 w 24"/>
                <a:gd name="T19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9" y="25"/>
                    <a:pt x="24" y="19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  <a:close/>
                  <a:moveTo>
                    <a:pt x="12" y="21"/>
                  </a:moveTo>
                  <a:cubicBezTo>
                    <a:pt x="7" y="21"/>
                    <a:pt x="3" y="17"/>
                    <a:pt x="3" y="13"/>
                  </a:cubicBezTo>
                  <a:cubicBezTo>
                    <a:pt x="3" y="8"/>
                    <a:pt x="7" y="4"/>
                    <a:pt x="12" y="4"/>
                  </a:cubicBezTo>
                  <a:cubicBezTo>
                    <a:pt x="17" y="4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1"/>
            <p:cNvSpPr>
              <a:spLocks noEditPoints="1"/>
            </p:cNvSpPr>
            <p:nvPr/>
          </p:nvSpPr>
          <p:spPr bwMode="auto">
            <a:xfrm>
              <a:off x="364" y="2998"/>
              <a:ext cx="56" cy="55"/>
            </a:xfrm>
            <a:custGeom>
              <a:avLst/>
              <a:gdLst>
                <a:gd name="T0" fmla="*/ 12 w 24"/>
                <a:gd name="T1" fmla="*/ 0 h 23"/>
                <a:gd name="T2" fmla="*/ 0 w 24"/>
                <a:gd name="T3" fmla="*/ 12 h 23"/>
                <a:gd name="T4" fmla="*/ 12 w 24"/>
                <a:gd name="T5" fmla="*/ 23 h 23"/>
                <a:gd name="T6" fmla="*/ 24 w 24"/>
                <a:gd name="T7" fmla="*/ 12 h 23"/>
                <a:gd name="T8" fmla="*/ 12 w 24"/>
                <a:gd name="T9" fmla="*/ 0 h 23"/>
                <a:gd name="T10" fmla="*/ 12 w 24"/>
                <a:gd name="T11" fmla="*/ 20 h 23"/>
                <a:gd name="T12" fmla="*/ 4 w 24"/>
                <a:gd name="T13" fmla="*/ 12 h 23"/>
                <a:gd name="T14" fmla="*/ 12 w 24"/>
                <a:gd name="T15" fmla="*/ 3 h 23"/>
                <a:gd name="T16" fmla="*/ 20 w 24"/>
                <a:gd name="T17" fmla="*/ 12 h 23"/>
                <a:gd name="T18" fmla="*/ 12 w 24"/>
                <a:gd name="T19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2" y="23"/>
                  </a:cubicBezTo>
                  <a:cubicBezTo>
                    <a:pt x="18" y="23"/>
                    <a:pt x="24" y="18"/>
                    <a:pt x="24" y="12"/>
                  </a:cubicBezTo>
                  <a:cubicBezTo>
                    <a:pt x="24" y="5"/>
                    <a:pt x="18" y="0"/>
                    <a:pt x="12" y="0"/>
                  </a:cubicBezTo>
                  <a:close/>
                  <a:moveTo>
                    <a:pt x="12" y="20"/>
                  </a:moveTo>
                  <a:cubicBezTo>
                    <a:pt x="7" y="20"/>
                    <a:pt x="4" y="16"/>
                    <a:pt x="4" y="12"/>
                  </a:cubicBezTo>
                  <a:cubicBezTo>
                    <a:pt x="4" y="7"/>
                    <a:pt x="7" y="3"/>
                    <a:pt x="12" y="3"/>
                  </a:cubicBezTo>
                  <a:cubicBezTo>
                    <a:pt x="16" y="3"/>
                    <a:pt x="20" y="7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517" y="2819"/>
              <a:ext cx="144" cy="198"/>
            </a:xfrm>
            <a:custGeom>
              <a:avLst/>
              <a:gdLst>
                <a:gd name="T0" fmla="*/ 58 w 61"/>
                <a:gd name="T1" fmla="*/ 70 h 84"/>
                <a:gd name="T2" fmla="*/ 29 w 61"/>
                <a:gd name="T3" fmla="*/ 79 h 84"/>
                <a:gd name="T4" fmla="*/ 3 w 61"/>
                <a:gd name="T5" fmla="*/ 1 h 84"/>
                <a:gd name="T6" fmla="*/ 1 w 61"/>
                <a:gd name="T7" fmla="*/ 0 h 84"/>
                <a:gd name="T8" fmla="*/ 0 w 61"/>
                <a:gd name="T9" fmla="*/ 2 h 84"/>
                <a:gd name="T10" fmla="*/ 27 w 61"/>
                <a:gd name="T11" fmla="*/ 82 h 84"/>
                <a:gd name="T12" fmla="*/ 28 w 61"/>
                <a:gd name="T13" fmla="*/ 84 h 84"/>
                <a:gd name="T14" fmla="*/ 29 w 61"/>
                <a:gd name="T15" fmla="*/ 83 h 84"/>
                <a:gd name="T16" fmla="*/ 60 w 61"/>
                <a:gd name="T17" fmla="*/ 73 h 84"/>
                <a:gd name="T18" fmla="*/ 61 w 61"/>
                <a:gd name="T19" fmla="*/ 71 h 84"/>
                <a:gd name="T20" fmla="*/ 58 w 61"/>
                <a:gd name="T21" fmla="*/ 7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84">
                  <a:moveTo>
                    <a:pt x="58" y="70"/>
                  </a:moveTo>
                  <a:cubicBezTo>
                    <a:pt x="29" y="79"/>
                    <a:pt x="29" y="79"/>
                    <a:pt x="29" y="7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3"/>
                    <a:pt x="27" y="84"/>
                    <a:pt x="28" y="84"/>
                  </a:cubicBezTo>
                  <a:cubicBezTo>
                    <a:pt x="28" y="84"/>
                    <a:pt x="29" y="84"/>
                    <a:pt x="29" y="8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0" y="70"/>
                    <a:pt x="59" y="70"/>
                    <a:pt x="58" y="7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3"/>
            <p:cNvSpPr>
              <a:spLocks noEditPoints="1"/>
            </p:cNvSpPr>
            <p:nvPr/>
          </p:nvSpPr>
          <p:spPr bwMode="auto">
            <a:xfrm>
              <a:off x="543" y="2828"/>
              <a:ext cx="123" cy="170"/>
            </a:xfrm>
            <a:custGeom>
              <a:avLst/>
              <a:gdLst>
                <a:gd name="T0" fmla="*/ 8 w 52"/>
                <a:gd name="T1" fmla="*/ 37 h 72"/>
                <a:gd name="T2" fmla="*/ 11 w 52"/>
                <a:gd name="T3" fmla="*/ 41 h 72"/>
                <a:gd name="T4" fmla="*/ 11 w 52"/>
                <a:gd name="T5" fmla="*/ 41 h 72"/>
                <a:gd name="T6" fmla="*/ 11 w 52"/>
                <a:gd name="T7" fmla="*/ 46 h 72"/>
                <a:gd name="T8" fmla="*/ 17 w 52"/>
                <a:gd name="T9" fmla="*/ 67 h 72"/>
                <a:gd name="T10" fmla="*/ 24 w 52"/>
                <a:gd name="T11" fmla="*/ 72 h 72"/>
                <a:gd name="T12" fmla="*/ 26 w 52"/>
                <a:gd name="T13" fmla="*/ 71 h 72"/>
                <a:gd name="T14" fmla="*/ 47 w 52"/>
                <a:gd name="T15" fmla="*/ 64 h 72"/>
                <a:gd name="T16" fmla="*/ 51 w 52"/>
                <a:gd name="T17" fmla="*/ 56 h 72"/>
                <a:gd name="T18" fmla="*/ 44 w 52"/>
                <a:gd name="T19" fmla="*/ 35 h 72"/>
                <a:gd name="T20" fmla="*/ 44 w 52"/>
                <a:gd name="T21" fmla="*/ 35 h 72"/>
                <a:gd name="T22" fmla="*/ 41 w 52"/>
                <a:gd name="T23" fmla="*/ 31 h 72"/>
                <a:gd name="T24" fmla="*/ 41 w 52"/>
                <a:gd name="T25" fmla="*/ 31 h 72"/>
                <a:gd name="T26" fmla="*/ 41 w 52"/>
                <a:gd name="T27" fmla="*/ 26 h 72"/>
                <a:gd name="T28" fmla="*/ 34 w 52"/>
                <a:gd name="T29" fmla="*/ 5 h 72"/>
                <a:gd name="T30" fmla="*/ 34 w 52"/>
                <a:gd name="T31" fmla="*/ 5 h 72"/>
                <a:gd name="T32" fmla="*/ 26 w 52"/>
                <a:gd name="T33" fmla="*/ 1 h 72"/>
                <a:gd name="T34" fmla="*/ 5 w 52"/>
                <a:gd name="T35" fmla="*/ 8 h 72"/>
                <a:gd name="T36" fmla="*/ 1 w 52"/>
                <a:gd name="T37" fmla="*/ 11 h 72"/>
                <a:gd name="T38" fmla="*/ 1 w 52"/>
                <a:gd name="T39" fmla="*/ 16 h 72"/>
                <a:gd name="T40" fmla="*/ 8 w 52"/>
                <a:gd name="T41" fmla="*/ 37 h 72"/>
                <a:gd name="T42" fmla="*/ 48 w 52"/>
                <a:gd name="T43" fmla="*/ 57 h 72"/>
                <a:gd name="T44" fmla="*/ 46 w 52"/>
                <a:gd name="T45" fmla="*/ 61 h 72"/>
                <a:gd name="T46" fmla="*/ 25 w 52"/>
                <a:gd name="T47" fmla="*/ 68 h 72"/>
                <a:gd name="T48" fmla="*/ 21 w 52"/>
                <a:gd name="T49" fmla="*/ 66 h 72"/>
                <a:gd name="T50" fmla="*/ 14 w 52"/>
                <a:gd name="T51" fmla="*/ 45 h 72"/>
                <a:gd name="T52" fmla="*/ 14 w 52"/>
                <a:gd name="T53" fmla="*/ 43 h 72"/>
                <a:gd name="T54" fmla="*/ 16 w 52"/>
                <a:gd name="T55" fmla="*/ 41 h 72"/>
                <a:gd name="T56" fmla="*/ 37 w 52"/>
                <a:gd name="T57" fmla="*/ 34 h 72"/>
                <a:gd name="T58" fmla="*/ 38 w 52"/>
                <a:gd name="T59" fmla="*/ 34 h 72"/>
                <a:gd name="T60" fmla="*/ 41 w 52"/>
                <a:gd name="T61" fmla="*/ 36 h 72"/>
                <a:gd name="T62" fmla="*/ 48 w 52"/>
                <a:gd name="T63" fmla="*/ 57 h 72"/>
                <a:gd name="T64" fmla="*/ 4 w 52"/>
                <a:gd name="T65" fmla="*/ 13 h 72"/>
                <a:gd name="T66" fmla="*/ 6 w 52"/>
                <a:gd name="T67" fmla="*/ 11 h 72"/>
                <a:gd name="T68" fmla="*/ 27 w 52"/>
                <a:gd name="T69" fmla="*/ 4 h 72"/>
                <a:gd name="T70" fmla="*/ 28 w 52"/>
                <a:gd name="T71" fmla="*/ 4 h 72"/>
                <a:gd name="T72" fmla="*/ 31 w 52"/>
                <a:gd name="T73" fmla="*/ 6 h 72"/>
                <a:gd name="T74" fmla="*/ 38 w 52"/>
                <a:gd name="T75" fmla="*/ 27 h 72"/>
                <a:gd name="T76" fmla="*/ 37 w 52"/>
                <a:gd name="T77" fmla="*/ 29 h 72"/>
                <a:gd name="T78" fmla="*/ 36 w 52"/>
                <a:gd name="T79" fmla="*/ 31 h 72"/>
                <a:gd name="T80" fmla="*/ 15 w 52"/>
                <a:gd name="T81" fmla="*/ 38 h 72"/>
                <a:gd name="T82" fmla="*/ 11 w 52"/>
                <a:gd name="T83" fmla="*/ 36 h 72"/>
                <a:gd name="T84" fmla="*/ 4 w 52"/>
                <a:gd name="T85" fmla="*/ 15 h 72"/>
                <a:gd name="T86" fmla="*/ 4 w 52"/>
                <a:gd name="T87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" h="72">
                  <a:moveTo>
                    <a:pt x="8" y="37"/>
                  </a:moveTo>
                  <a:cubicBezTo>
                    <a:pt x="8" y="39"/>
                    <a:pt x="9" y="40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0" y="43"/>
                    <a:pt x="10" y="44"/>
                    <a:pt x="11" y="46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70"/>
                    <a:pt x="21" y="72"/>
                    <a:pt x="24" y="72"/>
                  </a:cubicBezTo>
                  <a:cubicBezTo>
                    <a:pt x="24" y="72"/>
                    <a:pt x="25" y="71"/>
                    <a:pt x="26" y="71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50" y="63"/>
                    <a:pt x="52" y="60"/>
                    <a:pt x="51" y="5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3"/>
                    <a:pt x="42" y="32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0"/>
                    <a:pt x="42" y="28"/>
                    <a:pt x="41" y="26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3" y="2"/>
                    <a:pt x="29" y="0"/>
                    <a:pt x="26" y="1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8"/>
                    <a:pt x="2" y="9"/>
                    <a:pt x="1" y="11"/>
                  </a:cubicBezTo>
                  <a:cubicBezTo>
                    <a:pt x="0" y="12"/>
                    <a:pt x="0" y="14"/>
                    <a:pt x="1" y="16"/>
                  </a:cubicBezTo>
                  <a:lnTo>
                    <a:pt x="8" y="37"/>
                  </a:lnTo>
                  <a:close/>
                  <a:moveTo>
                    <a:pt x="48" y="57"/>
                  </a:moveTo>
                  <a:cubicBezTo>
                    <a:pt x="48" y="59"/>
                    <a:pt x="47" y="60"/>
                    <a:pt x="46" y="61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3" y="68"/>
                    <a:pt x="21" y="67"/>
                    <a:pt x="21" y="6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5" y="42"/>
                    <a:pt x="15" y="41"/>
                    <a:pt x="16" y="41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4"/>
                    <a:pt x="38" y="34"/>
                    <a:pt x="38" y="34"/>
                  </a:cubicBezTo>
                  <a:cubicBezTo>
                    <a:pt x="39" y="34"/>
                    <a:pt x="40" y="35"/>
                    <a:pt x="41" y="36"/>
                  </a:cubicBezTo>
                  <a:lnTo>
                    <a:pt x="48" y="57"/>
                  </a:lnTo>
                  <a:close/>
                  <a:moveTo>
                    <a:pt x="4" y="13"/>
                  </a:moveTo>
                  <a:cubicBezTo>
                    <a:pt x="5" y="12"/>
                    <a:pt x="5" y="11"/>
                    <a:pt x="6" y="11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29" y="4"/>
                    <a:pt x="30" y="5"/>
                    <a:pt x="31" y="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8" y="29"/>
                    <a:pt x="37" y="29"/>
                  </a:cubicBezTo>
                  <a:cubicBezTo>
                    <a:pt x="37" y="30"/>
                    <a:pt x="37" y="31"/>
                    <a:pt x="36" y="31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3" y="38"/>
                    <a:pt x="12" y="37"/>
                    <a:pt x="11" y="3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3"/>
                    <a:pt x="4" y="1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4"/>
            <p:cNvSpPr>
              <a:spLocks noEditPoints="1"/>
            </p:cNvSpPr>
            <p:nvPr/>
          </p:nvSpPr>
          <p:spPr bwMode="auto">
            <a:xfrm>
              <a:off x="319" y="2809"/>
              <a:ext cx="260" cy="225"/>
            </a:xfrm>
            <a:custGeom>
              <a:avLst/>
              <a:gdLst>
                <a:gd name="T0" fmla="*/ 100 w 110"/>
                <a:gd name="T1" fmla="*/ 62 h 95"/>
                <a:gd name="T2" fmla="*/ 99 w 110"/>
                <a:gd name="T3" fmla="*/ 61 h 95"/>
                <a:gd name="T4" fmla="*/ 87 w 110"/>
                <a:gd name="T5" fmla="*/ 61 h 95"/>
                <a:gd name="T6" fmla="*/ 80 w 110"/>
                <a:gd name="T7" fmla="*/ 28 h 95"/>
                <a:gd name="T8" fmla="*/ 74 w 110"/>
                <a:gd name="T9" fmla="*/ 11 h 95"/>
                <a:gd name="T10" fmla="*/ 55 w 110"/>
                <a:gd name="T11" fmla="*/ 0 h 95"/>
                <a:gd name="T12" fmla="*/ 33 w 110"/>
                <a:gd name="T13" fmla="*/ 0 h 95"/>
                <a:gd name="T14" fmla="*/ 17 w 110"/>
                <a:gd name="T15" fmla="*/ 15 h 95"/>
                <a:gd name="T16" fmla="*/ 17 w 110"/>
                <a:gd name="T17" fmla="*/ 54 h 95"/>
                <a:gd name="T18" fmla="*/ 9 w 110"/>
                <a:gd name="T19" fmla="*/ 54 h 95"/>
                <a:gd name="T20" fmla="*/ 5 w 110"/>
                <a:gd name="T21" fmla="*/ 56 h 95"/>
                <a:gd name="T22" fmla="*/ 8 w 110"/>
                <a:gd name="T23" fmla="*/ 91 h 95"/>
                <a:gd name="T24" fmla="*/ 9 w 110"/>
                <a:gd name="T25" fmla="*/ 92 h 95"/>
                <a:gd name="T26" fmla="*/ 15 w 110"/>
                <a:gd name="T27" fmla="*/ 92 h 95"/>
                <a:gd name="T28" fmla="*/ 17 w 110"/>
                <a:gd name="T29" fmla="*/ 90 h 95"/>
                <a:gd name="T30" fmla="*/ 31 w 110"/>
                <a:gd name="T31" fmla="*/ 77 h 95"/>
                <a:gd name="T32" fmla="*/ 45 w 110"/>
                <a:gd name="T33" fmla="*/ 90 h 95"/>
                <a:gd name="T34" fmla="*/ 47 w 110"/>
                <a:gd name="T35" fmla="*/ 92 h 95"/>
                <a:gd name="T36" fmla="*/ 67 w 110"/>
                <a:gd name="T37" fmla="*/ 92 h 95"/>
                <a:gd name="T38" fmla="*/ 69 w 110"/>
                <a:gd name="T39" fmla="*/ 90 h 95"/>
                <a:gd name="T40" fmla="*/ 69 w 110"/>
                <a:gd name="T41" fmla="*/ 90 h 95"/>
                <a:gd name="T42" fmla="*/ 84 w 110"/>
                <a:gd name="T43" fmla="*/ 75 h 95"/>
                <a:gd name="T44" fmla="*/ 99 w 110"/>
                <a:gd name="T45" fmla="*/ 90 h 95"/>
                <a:gd name="T46" fmla="*/ 99 w 110"/>
                <a:gd name="T47" fmla="*/ 93 h 95"/>
                <a:gd name="T48" fmla="*/ 99 w 110"/>
                <a:gd name="T49" fmla="*/ 94 h 95"/>
                <a:gd name="T50" fmla="*/ 100 w 110"/>
                <a:gd name="T51" fmla="*/ 95 h 95"/>
                <a:gd name="T52" fmla="*/ 108 w 110"/>
                <a:gd name="T53" fmla="*/ 95 h 95"/>
                <a:gd name="T54" fmla="*/ 110 w 110"/>
                <a:gd name="T55" fmla="*/ 94 h 95"/>
                <a:gd name="T56" fmla="*/ 110 w 110"/>
                <a:gd name="T57" fmla="*/ 92 h 95"/>
                <a:gd name="T58" fmla="*/ 100 w 110"/>
                <a:gd name="T59" fmla="*/ 62 h 95"/>
                <a:gd name="T60" fmla="*/ 103 w 110"/>
                <a:gd name="T61" fmla="*/ 91 h 95"/>
                <a:gd name="T62" fmla="*/ 103 w 110"/>
                <a:gd name="T63" fmla="*/ 90 h 95"/>
                <a:gd name="T64" fmla="*/ 84 w 110"/>
                <a:gd name="T65" fmla="*/ 71 h 95"/>
                <a:gd name="T66" fmla="*/ 65 w 110"/>
                <a:gd name="T67" fmla="*/ 88 h 95"/>
                <a:gd name="T68" fmla="*/ 49 w 110"/>
                <a:gd name="T69" fmla="*/ 88 h 95"/>
                <a:gd name="T70" fmla="*/ 31 w 110"/>
                <a:gd name="T71" fmla="*/ 73 h 95"/>
                <a:gd name="T72" fmla="*/ 14 w 110"/>
                <a:gd name="T73" fmla="*/ 88 h 95"/>
                <a:gd name="T74" fmla="*/ 11 w 110"/>
                <a:gd name="T75" fmla="*/ 88 h 95"/>
                <a:gd name="T76" fmla="*/ 8 w 110"/>
                <a:gd name="T77" fmla="*/ 58 h 95"/>
                <a:gd name="T78" fmla="*/ 9 w 110"/>
                <a:gd name="T79" fmla="*/ 58 h 95"/>
                <a:gd name="T80" fmla="*/ 19 w 110"/>
                <a:gd name="T81" fmla="*/ 58 h 95"/>
                <a:gd name="T82" fmla="*/ 21 w 110"/>
                <a:gd name="T83" fmla="*/ 56 h 95"/>
                <a:gd name="T84" fmla="*/ 21 w 110"/>
                <a:gd name="T85" fmla="*/ 15 h 95"/>
                <a:gd name="T86" fmla="*/ 33 w 110"/>
                <a:gd name="T87" fmla="*/ 3 h 95"/>
                <a:gd name="T88" fmla="*/ 55 w 110"/>
                <a:gd name="T89" fmla="*/ 3 h 95"/>
                <a:gd name="T90" fmla="*/ 70 w 110"/>
                <a:gd name="T91" fmla="*/ 13 h 95"/>
                <a:gd name="T92" fmla="*/ 76 w 110"/>
                <a:gd name="T93" fmla="*/ 29 h 95"/>
                <a:gd name="T94" fmla="*/ 83 w 110"/>
                <a:gd name="T95" fmla="*/ 62 h 95"/>
                <a:gd name="T96" fmla="*/ 83 w 110"/>
                <a:gd name="T97" fmla="*/ 63 h 95"/>
                <a:gd name="T98" fmla="*/ 85 w 110"/>
                <a:gd name="T99" fmla="*/ 65 h 95"/>
                <a:gd name="T100" fmla="*/ 97 w 110"/>
                <a:gd name="T101" fmla="*/ 65 h 95"/>
                <a:gd name="T102" fmla="*/ 106 w 110"/>
                <a:gd name="T103" fmla="*/ 91 h 95"/>
                <a:gd name="T104" fmla="*/ 103 w 110"/>
                <a:gd name="T105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0" h="95">
                  <a:moveTo>
                    <a:pt x="100" y="62"/>
                  </a:moveTo>
                  <a:cubicBezTo>
                    <a:pt x="100" y="61"/>
                    <a:pt x="99" y="61"/>
                    <a:pt x="99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6" y="54"/>
                    <a:pt x="81" y="33"/>
                    <a:pt x="80" y="28"/>
                  </a:cubicBezTo>
                  <a:cubicBezTo>
                    <a:pt x="78" y="21"/>
                    <a:pt x="76" y="16"/>
                    <a:pt x="74" y="11"/>
                  </a:cubicBezTo>
                  <a:cubicBezTo>
                    <a:pt x="68" y="2"/>
                    <a:pt x="60" y="0"/>
                    <a:pt x="5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17" y="6"/>
                    <a:pt x="17" y="15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4"/>
                    <a:pt x="6" y="55"/>
                    <a:pt x="5" y="56"/>
                  </a:cubicBezTo>
                  <a:cubicBezTo>
                    <a:pt x="0" y="63"/>
                    <a:pt x="7" y="88"/>
                    <a:pt x="8" y="91"/>
                  </a:cubicBezTo>
                  <a:cubicBezTo>
                    <a:pt x="8" y="91"/>
                    <a:pt x="9" y="92"/>
                    <a:pt x="9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6" y="92"/>
                    <a:pt x="17" y="91"/>
                    <a:pt x="17" y="90"/>
                  </a:cubicBezTo>
                  <a:cubicBezTo>
                    <a:pt x="18" y="83"/>
                    <a:pt x="24" y="77"/>
                    <a:pt x="31" y="77"/>
                  </a:cubicBezTo>
                  <a:cubicBezTo>
                    <a:pt x="39" y="77"/>
                    <a:pt x="45" y="83"/>
                    <a:pt x="45" y="90"/>
                  </a:cubicBezTo>
                  <a:cubicBezTo>
                    <a:pt x="46" y="91"/>
                    <a:pt x="46" y="92"/>
                    <a:pt x="4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8" y="92"/>
                    <a:pt x="69" y="91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9" y="81"/>
                    <a:pt x="75" y="75"/>
                    <a:pt x="84" y="75"/>
                  </a:cubicBezTo>
                  <a:cubicBezTo>
                    <a:pt x="92" y="75"/>
                    <a:pt x="99" y="81"/>
                    <a:pt x="99" y="90"/>
                  </a:cubicBezTo>
                  <a:cubicBezTo>
                    <a:pt x="99" y="91"/>
                    <a:pt x="99" y="92"/>
                    <a:pt x="99" y="93"/>
                  </a:cubicBezTo>
                  <a:cubicBezTo>
                    <a:pt x="99" y="93"/>
                    <a:pt x="99" y="94"/>
                    <a:pt x="99" y="94"/>
                  </a:cubicBezTo>
                  <a:cubicBezTo>
                    <a:pt x="99" y="95"/>
                    <a:pt x="100" y="95"/>
                    <a:pt x="100" y="95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9" y="95"/>
                    <a:pt x="109" y="95"/>
                    <a:pt x="110" y="94"/>
                  </a:cubicBezTo>
                  <a:cubicBezTo>
                    <a:pt x="110" y="94"/>
                    <a:pt x="110" y="93"/>
                    <a:pt x="110" y="92"/>
                  </a:cubicBezTo>
                  <a:lnTo>
                    <a:pt x="100" y="62"/>
                  </a:lnTo>
                  <a:close/>
                  <a:moveTo>
                    <a:pt x="103" y="91"/>
                  </a:moveTo>
                  <a:cubicBezTo>
                    <a:pt x="103" y="91"/>
                    <a:pt x="103" y="90"/>
                    <a:pt x="103" y="90"/>
                  </a:cubicBezTo>
                  <a:cubicBezTo>
                    <a:pt x="103" y="79"/>
                    <a:pt x="94" y="71"/>
                    <a:pt x="84" y="71"/>
                  </a:cubicBezTo>
                  <a:cubicBezTo>
                    <a:pt x="74" y="71"/>
                    <a:pt x="66" y="79"/>
                    <a:pt x="65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8" y="80"/>
                    <a:pt x="40" y="73"/>
                    <a:pt x="31" y="73"/>
                  </a:cubicBezTo>
                  <a:cubicBezTo>
                    <a:pt x="22" y="73"/>
                    <a:pt x="15" y="80"/>
                    <a:pt x="14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8" y="78"/>
                    <a:pt x="5" y="62"/>
                    <a:pt x="8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1" y="57"/>
                    <a:pt x="21" y="5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8"/>
                    <a:pt x="26" y="3"/>
                    <a:pt x="33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9" y="3"/>
                    <a:pt x="65" y="5"/>
                    <a:pt x="70" y="13"/>
                  </a:cubicBezTo>
                  <a:cubicBezTo>
                    <a:pt x="73" y="17"/>
                    <a:pt x="75" y="22"/>
                    <a:pt x="76" y="29"/>
                  </a:cubicBezTo>
                  <a:cubicBezTo>
                    <a:pt x="78" y="34"/>
                    <a:pt x="83" y="56"/>
                    <a:pt x="83" y="6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83" y="64"/>
                    <a:pt x="84" y="65"/>
                    <a:pt x="85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106" y="91"/>
                    <a:pt x="106" y="91"/>
                    <a:pt x="106" y="91"/>
                  </a:cubicBezTo>
                  <a:lnTo>
                    <a:pt x="103" y="9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"/>
            <p:cNvSpPr>
              <a:spLocks noEditPoints="1"/>
            </p:cNvSpPr>
            <p:nvPr/>
          </p:nvSpPr>
          <p:spPr bwMode="auto">
            <a:xfrm>
              <a:off x="380" y="2828"/>
              <a:ext cx="123" cy="135"/>
            </a:xfrm>
            <a:custGeom>
              <a:avLst/>
              <a:gdLst>
                <a:gd name="T0" fmla="*/ 29 w 52"/>
                <a:gd name="T1" fmla="*/ 0 h 57"/>
                <a:gd name="T2" fmla="*/ 7 w 52"/>
                <a:gd name="T3" fmla="*/ 0 h 57"/>
                <a:gd name="T4" fmla="*/ 0 w 52"/>
                <a:gd name="T5" fmla="*/ 7 h 57"/>
                <a:gd name="T6" fmla="*/ 0 w 52"/>
                <a:gd name="T7" fmla="*/ 39 h 57"/>
                <a:gd name="T8" fmla="*/ 2 w 52"/>
                <a:gd name="T9" fmla="*/ 41 h 57"/>
                <a:gd name="T10" fmla="*/ 11 w 52"/>
                <a:gd name="T11" fmla="*/ 41 h 57"/>
                <a:gd name="T12" fmla="*/ 16 w 52"/>
                <a:gd name="T13" fmla="*/ 44 h 57"/>
                <a:gd name="T14" fmla="*/ 20 w 52"/>
                <a:gd name="T15" fmla="*/ 52 h 57"/>
                <a:gd name="T16" fmla="*/ 29 w 52"/>
                <a:gd name="T17" fmla="*/ 57 h 57"/>
                <a:gd name="T18" fmla="*/ 36 w 52"/>
                <a:gd name="T19" fmla="*/ 57 h 57"/>
                <a:gd name="T20" fmla="*/ 36 w 52"/>
                <a:gd name="T21" fmla="*/ 57 h 57"/>
                <a:gd name="T22" fmla="*/ 36 w 52"/>
                <a:gd name="T23" fmla="*/ 57 h 57"/>
                <a:gd name="T24" fmla="*/ 50 w 52"/>
                <a:gd name="T25" fmla="*/ 57 h 57"/>
                <a:gd name="T26" fmla="*/ 51 w 52"/>
                <a:gd name="T27" fmla="*/ 56 h 57"/>
                <a:gd name="T28" fmla="*/ 52 w 52"/>
                <a:gd name="T29" fmla="*/ 55 h 57"/>
                <a:gd name="T30" fmla="*/ 45 w 52"/>
                <a:gd name="T31" fmla="*/ 22 h 57"/>
                <a:gd name="T32" fmla="*/ 29 w 52"/>
                <a:gd name="T33" fmla="*/ 0 h 57"/>
                <a:gd name="T34" fmla="*/ 11 w 52"/>
                <a:gd name="T35" fmla="*/ 37 h 57"/>
                <a:gd name="T36" fmla="*/ 4 w 52"/>
                <a:gd name="T37" fmla="*/ 37 h 57"/>
                <a:gd name="T38" fmla="*/ 4 w 52"/>
                <a:gd name="T39" fmla="*/ 7 h 57"/>
                <a:gd name="T40" fmla="*/ 7 w 52"/>
                <a:gd name="T41" fmla="*/ 4 h 57"/>
                <a:gd name="T42" fmla="*/ 29 w 52"/>
                <a:gd name="T43" fmla="*/ 4 h 57"/>
                <a:gd name="T44" fmla="*/ 42 w 52"/>
                <a:gd name="T45" fmla="*/ 23 h 57"/>
                <a:gd name="T46" fmla="*/ 45 w 52"/>
                <a:gd name="T47" fmla="*/ 37 h 57"/>
                <a:gd name="T48" fmla="*/ 40 w 52"/>
                <a:gd name="T49" fmla="*/ 35 h 57"/>
                <a:gd name="T50" fmla="*/ 32 w 52"/>
                <a:gd name="T51" fmla="*/ 33 h 57"/>
                <a:gd name="T52" fmla="*/ 31 w 52"/>
                <a:gd name="T53" fmla="*/ 31 h 57"/>
                <a:gd name="T54" fmla="*/ 35 w 52"/>
                <a:gd name="T55" fmla="*/ 24 h 57"/>
                <a:gd name="T56" fmla="*/ 25 w 52"/>
                <a:gd name="T57" fmla="*/ 14 h 57"/>
                <a:gd name="T58" fmla="*/ 15 w 52"/>
                <a:gd name="T59" fmla="*/ 24 h 57"/>
                <a:gd name="T60" fmla="*/ 19 w 52"/>
                <a:gd name="T61" fmla="*/ 31 h 57"/>
                <a:gd name="T62" fmla="*/ 16 w 52"/>
                <a:gd name="T63" fmla="*/ 37 h 57"/>
                <a:gd name="T64" fmla="*/ 16 w 52"/>
                <a:gd name="T65" fmla="*/ 39 h 57"/>
                <a:gd name="T66" fmla="*/ 11 w 52"/>
                <a:gd name="T67" fmla="*/ 37 h 57"/>
                <a:gd name="T68" fmla="*/ 23 w 52"/>
                <a:gd name="T69" fmla="*/ 50 h 57"/>
                <a:gd name="T70" fmla="*/ 20 w 52"/>
                <a:gd name="T71" fmla="*/ 44 h 57"/>
                <a:gd name="T72" fmla="*/ 20 w 52"/>
                <a:gd name="T73" fmla="*/ 37 h 57"/>
                <a:gd name="T74" fmla="*/ 23 w 52"/>
                <a:gd name="T75" fmla="*/ 33 h 57"/>
                <a:gd name="T76" fmla="*/ 24 w 52"/>
                <a:gd name="T77" fmla="*/ 31 h 57"/>
                <a:gd name="T78" fmla="*/ 23 w 52"/>
                <a:gd name="T79" fmla="*/ 30 h 57"/>
                <a:gd name="T80" fmla="*/ 19 w 52"/>
                <a:gd name="T81" fmla="*/ 24 h 57"/>
                <a:gd name="T82" fmla="*/ 25 w 52"/>
                <a:gd name="T83" fmla="*/ 18 h 57"/>
                <a:gd name="T84" fmla="*/ 31 w 52"/>
                <a:gd name="T85" fmla="*/ 24 h 57"/>
                <a:gd name="T86" fmla="*/ 27 w 52"/>
                <a:gd name="T87" fmla="*/ 30 h 57"/>
                <a:gd name="T88" fmla="*/ 26 w 52"/>
                <a:gd name="T89" fmla="*/ 31 h 57"/>
                <a:gd name="T90" fmla="*/ 27 w 52"/>
                <a:gd name="T91" fmla="*/ 33 h 57"/>
                <a:gd name="T92" fmla="*/ 30 w 52"/>
                <a:gd name="T93" fmla="*/ 35 h 57"/>
                <a:gd name="T94" fmla="*/ 30 w 52"/>
                <a:gd name="T95" fmla="*/ 36 h 57"/>
                <a:gd name="T96" fmla="*/ 40 w 52"/>
                <a:gd name="T97" fmla="*/ 38 h 57"/>
                <a:gd name="T98" fmla="*/ 42 w 52"/>
                <a:gd name="T99" fmla="*/ 40 h 57"/>
                <a:gd name="T100" fmla="*/ 41 w 52"/>
                <a:gd name="T101" fmla="*/ 42 h 57"/>
                <a:gd name="T102" fmla="*/ 33 w 52"/>
                <a:gd name="T103" fmla="*/ 41 h 57"/>
                <a:gd name="T104" fmla="*/ 31 w 52"/>
                <a:gd name="T105" fmla="*/ 41 h 57"/>
                <a:gd name="T106" fmla="*/ 30 w 52"/>
                <a:gd name="T107" fmla="*/ 43 h 57"/>
                <a:gd name="T108" fmla="*/ 33 w 52"/>
                <a:gd name="T109" fmla="*/ 53 h 57"/>
                <a:gd name="T110" fmla="*/ 29 w 52"/>
                <a:gd name="T111" fmla="*/ 53 h 57"/>
                <a:gd name="T112" fmla="*/ 23 w 52"/>
                <a:gd name="T113" fmla="*/ 50 h 57"/>
                <a:gd name="T114" fmla="*/ 37 w 52"/>
                <a:gd name="T115" fmla="*/ 53 h 57"/>
                <a:gd name="T116" fmla="*/ 34 w 52"/>
                <a:gd name="T117" fmla="*/ 45 h 57"/>
                <a:gd name="T118" fmla="*/ 41 w 52"/>
                <a:gd name="T119" fmla="*/ 45 h 57"/>
                <a:gd name="T120" fmla="*/ 46 w 52"/>
                <a:gd name="T121" fmla="*/ 41 h 57"/>
                <a:gd name="T122" fmla="*/ 48 w 52"/>
                <a:gd name="T123" fmla="*/ 53 h 57"/>
                <a:gd name="T124" fmla="*/ 37 w 52"/>
                <a:gd name="T125" fmla="*/ 5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" h="57">
                  <a:moveTo>
                    <a:pt x="2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1"/>
                    <a:pt x="15" y="42"/>
                    <a:pt x="16" y="44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4"/>
                    <a:pt x="26" y="57"/>
                    <a:pt x="29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1" y="57"/>
                    <a:pt x="51" y="56"/>
                    <a:pt x="51" y="56"/>
                  </a:cubicBezTo>
                  <a:cubicBezTo>
                    <a:pt x="52" y="56"/>
                    <a:pt x="52" y="55"/>
                    <a:pt x="52" y="55"/>
                  </a:cubicBezTo>
                  <a:cubicBezTo>
                    <a:pt x="51" y="50"/>
                    <a:pt x="47" y="28"/>
                    <a:pt x="45" y="22"/>
                  </a:cubicBezTo>
                  <a:cubicBezTo>
                    <a:pt x="42" y="8"/>
                    <a:pt x="36" y="0"/>
                    <a:pt x="29" y="0"/>
                  </a:cubicBezTo>
                  <a:close/>
                  <a:moveTo>
                    <a:pt x="11" y="37"/>
                  </a:moveTo>
                  <a:cubicBezTo>
                    <a:pt x="4" y="37"/>
                    <a:pt x="4" y="37"/>
                    <a:pt x="4" y="3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6" y="4"/>
                    <a:pt x="40" y="16"/>
                    <a:pt x="42" y="23"/>
                  </a:cubicBezTo>
                  <a:cubicBezTo>
                    <a:pt x="43" y="26"/>
                    <a:pt x="44" y="31"/>
                    <a:pt x="45" y="37"/>
                  </a:cubicBezTo>
                  <a:cubicBezTo>
                    <a:pt x="44" y="35"/>
                    <a:pt x="42" y="35"/>
                    <a:pt x="40" y="35"/>
                  </a:cubicBezTo>
                  <a:cubicBezTo>
                    <a:pt x="38" y="35"/>
                    <a:pt x="35" y="34"/>
                    <a:pt x="32" y="33"/>
                  </a:cubicBezTo>
                  <a:cubicBezTo>
                    <a:pt x="32" y="32"/>
                    <a:pt x="32" y="32"/>
                    <a:pt x="31" y="31"/>
                  </a:cubicBezTo>
                  <a:cubicBezTo>
                    <a:pt x="33" y="30"/>
                    <a:pt x="35" y="27"/>
                    <a:pt x="35" y="24"/>
                  </a:cubicBezTo>
                  <a:cubicBezTo>
                    <a:pt x="35" y="18"/>
                    <a:pt x="30" y="14"/>
                    <a:pt x="25" y="14"/>
                  </a:cubicBezTo>
                  <a:cubicBezTo>
                    <a:pt x="20" y="14"/>
                    <a:pt x="15" y="18"/>
                    <a:pt x="15" y="24"/>
                  </a:cubicBezTo>
                  <a:cubicBezTo>
                    <a:pt x="15" y="27"/>
                    <a:pt x="16" y="30"/>
                    <a:pt x="19" y="31"/>
                  </a:cubicBezTo>
                  <a:cubicBezTo>
                    <a:pt x="17" y="33"/>
                    <a:pt x="16" y="35"/>
                    <a:pt x="16" y="37"/>
                  </a:cubicBezTo>
                  <a:cubicBezTo>
                    <a:pt x="16" y="38"/>
                    <a:pt x="16" y="39"/>
                    <a:pt x="16" y="39"/>
                  </a:cubicBezTo>
                  <a:cubicBezTo>
                    <a:pt x="14" y="38"/>
                    <a:pt x="12" y="37"/>
                    <a:pt x="11" y="37"/>
                  </a:cubicBezTo>
                  <a:close/>
                  <a:moveTo>
                    <a:pt x="23" y="50"/>
                  </a:moveTo>
                  <a:cubicBezTo>
                    <a:pt x="20" y="44"/>
                    <a:pt x="20" y="44"/>
                    <a:pt x="20" y="44"/>
                  </a:cubicBezTo>
                  <a:cubicBezTo>
                    <a:pt x="20" y="42"/>
                    <a:pt x="20" y="40"/>
                    <a:pt x="20" y="37"/>
                  </a:cubicBezTo>
                  <a:cubicBezTo>
                    <a:pt x="20" y="35"/>
                    <a:pt x="21" y="34"/>
                    <a:pt x="23" y="33"/>
                  </a:cubicBezTo>
                  <a:cubicBezTo>
                    <a:pt x="23" y="33"/>
                    <a:pt x="24" y="32"/>
                    <a:pt x="24" y="31"/>
                  </a:cubicBezTo>
                  <a:cubicBezTo>
                    <a:pt x="24" y="31"/>
                    <a:pt x="23" y="30"/>
                    <a:pt x="23" y="30"/>
                  </a:cubicBezTo>
                  <a:cubicBezTo>
                    <a:pt x="20" y="29"/>
                    <a:pt x="19" y="26"/>
                    <a:pt x="19" y="24"/>
                  </a:cubicBezTo>
                  <a:cubicBezTo>
                    <a:pt x="19" y="20"/>
                    <a:pt x="22" y="18"/>
                    <a:pt x="25" y="18"/>
                  </a:cubicBezTo>
                  <a:cubicBezTo>
                    <a:pt x="28" y="18"/>
                    <a:pt x="31" y="20"/>
                    <a:pt x="31" y="24"/>
                  </a:cubicBezTo>
                  <a:cubicBezTo>
                    <a:pt x="31" y="26"/>
                    <a:pt x="30" y="29"/>
                    <a:pt x="27" y="30"/>
                  </a:cubicBezTo>
                  <a:cubicBezTo>
                    <a:pt x="27" y="30"/>
                    <a:pt x="26" y="31"/>
                    <a:pt x="26" y="31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8" y="33"/>
                    <a:pt x="29" y="34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3" y="37"/>
                    <a:pt x="37" y="39"/>
                    <a:pt x="40" y="38"/>
                  </a:cubicBezTo>
                  <a:cubicBezTo>
                    <a:pt x="41" y="38"/>
                    <a:pt x="42" y="39"/>
                    <a:pt x="42" y="40"/>
                  </a:cubicBezTo>
                  <a:cubicBezTo>
                    <a:pt x="42" y="41"/>
                    <a:pt x="42" y="42"/>
                    <a:pt x="41" y="42"/>
                  </a:cubicBezTo>
                  <a:cubicBezTo>
                    <a:pt x="38" y="42"/>
                    <a:pt x="36" y="42"/>
                    <a:pt x="33" y="41"/>
                  </a:cubicBezTo>
                  <a:cubicBezTo>
                    <a:pt x="32" y="40"/>
                    <a:pt x="31" y="41"/>
                    <a:pt x="31" y="41"/>
                  </a:cubicBezTo>
                  <a:cubicBezTo>
                    <a:pt x="30" y="41"/>
                    <a:pt x="30" y="42"/>
                    <a:pt x="30" y="43"/>
                  </a:cubicBezTo>
                  <a:cubicBezTo>
                    <a:pt x="31" y="47"/>
                    <a:pt x="32" y="51"/>
                    <a:pt x="33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7" y="53"/>
                    <a:pt x="24" y="51"/>
                    <a:pt x="23" y="50"/>
                  </a:cubicBezTo>
                  <a:close/>
                  <a:moveTo>
                    <a:pt x="37" y="53"/>
                  </a:moveTo>
                  <a:cubicBezTo>
                    <a:pt x="36" y="51"/>
                    <a:pt x="35" y="49"/>
                    <a:pt x="34" y="45"/>
                  </a:cubicBezTo>
                  <a:cubicBezTo>
                    <a:pt x="37" y="45"/>
                    <a:pt x="39" y="46"/>
                    <a:pt x="41" y="45"/>
                  </a:cubicBezTo>
                  <a:cubicBezTo>
                    <a:pt x="44" y="45"/>
                    <a:pt x="45" y="43"/>
                    <a:pt x="46" y="41"/>
                  </a:cubicBezTo>
                  <a:cubicBezTo>
                    <a:pt x="47" y="46"/>
                    <a:pt x="48" y="50"/>
                    <a:pt x="48" y="53"/>
                  </a:cubicBezTo>
                  <a:lnTo>
                    <a:pt x="37" y="5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6"/>
            <p:cNvSpPr>
              <a:spLocks noEditPoints="1"/>
            </p:cNvSpPr>
            <p:nvPr/>
          </p:nvSpPr>
          <p:spPr bwMode="auto">
            <a:xfrm>
              <a:off x="253" y="2701"/>
              <a:ext cx="477" cy="477"/>
            </a:xfrm>
            <a:custGeom>
              <a:avLst/>
              <a:gdLst>
                <a:gd name="T0" fmla="*/ 101 w 202"/>
                <a:gd name="T1" fmla="*/ 5 h 202"/>
                <a:gd name="T2" fmla="*/ 5 w 202"/>
                <a:gd name="T3" fmla="*/ 101 h 202"/>
                <a:gd name="T4" fmla="*/ 101 w 202"/>
                <a:gd name="T5" fmla="*/ 197 h 202"/>
                <a:gd name="T6" fmla="*/ 197 w 202"/>
                <a:gd name="T7" fmla="*/ 101 h 202"/>
                <a:gd name="T8" fmla="*/ 101 w 202"/>
                <a:gd name="T9" fmla="*/ 5 h 202"/>
                <a:gd name="T10" fmla="*/ 101 w 202"/>
                <a:gd name="T11" fmla="*/ 202 h 202"/>
                <a:gd name="T12" fmla="*/ 0 w 202"/>
                <a:gd name="T13" fmla="*/ 101 h 202"/>
                <a:gd name="T14" fmla="*/ 101 w 202"/>
                <a:gd name="T15" fmla="*/ 0 h 202"/>
                <a:gd name="T16" fmla="*/ 202 w 202"/>
                <a:gd name="T17" fmla="*/ 101 h 202"/>
                <a:gd name="T18" fmla="*/ 101 w 202"/>
                <a:gd name="T1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48" y="5"/>
                    <a:pt x="5" y="48"/>
                    <a:pt x="5" y="101"/>
                  </a:cubicBezTo>
                  <a:cubicBezTo>
                    <a:pt x="5" y="154"/>
                    <a:pt x="48" y="197"/>
                    <a:pt x="101" y="197"/>
                  </a:cubicBezTo>
                  <a:cubicBezTo>
                    <a:pt x="154" y="197"/>
                    <a:pt x="197" y="154"/>
                    <a:pt x="197" y="101"/>
                  </a:cubicBezTo>
                  <a:cubicBezTo>
                    <a:pt x="197" y="48"/>
                    <a:pt x="154" y="5"/>
                    <a:pt x="101" y="5"/>
                  </a:cubicBezTo>
                  <a:moveTo>
                    <a:pt x="101" y="202"/>
                  </a:moveTo>
                  <a:cubicBezTo>
                    <a:pt x="46" y="202"/>
                    <a:pt x="0" y="157"/>
                    <a:pt x="0" y="101"/>
                  </a:cubicBezTo>
                  <a:cubicBezTo>
                    <a:pt x="0" y="46"/>
                    <a:pt x="46" y="0"/>
                    <a:pt x="101" y="0"/>
                  </a:cubicBezTo>
                  <a:cubicBezTo>
                    <a:pt x="157" y="0"/>
                    <a:pt x="202" y="46"/>
                    <a:pt x="202" y="101"/>
                  </a:cubicBezTo>
                  <a:cubicBezTo>
                    <a:pt x="202" y="157"/>
                    <a:pt x="157" y="202"/>
                    <a:pt x="101" y="20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069" name="Group 62"/>
          <p:cNvGrpSpPr>
            <a:grpSpLocks noChangeAspect="1"/>
          </p:cNvGrpSpPr>
          <p:nvPr/>
        </p:nvGrpSpPr>
        <p:grpSpPr bwMode="auto">
          <a:xfrm>
            <a:off x="1442372" y="4164935"/>
            <a:ext cx="768096" cy="768094"/>
            <a:chOff x="1697" y="3707"/>
            <a:chExt cx="784" cy="784"/>
          </a:xfrm>
        </p:grpSpPr>
        <p:sp>
          <p:nvSpPr>
            <p:cNvPr id="45070" name="AutoShape 61"/>
            <p:cNvSpPr>
              <a:spLocks noChangeAspect="1" noChangeArrowheads="1" noTextEdit="1"/>
            </p:cNvSpPr>
            <p:nvPr/>
          </p:nvSpPr>
          <p:spPr bwMode="auto">
            <a:xfrm>
              <a:off x="1698" y="3708"/>
              <a:ext cx="783" cy="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1" name="Freeform 63"/>
            <p:cNvSpPr>
              <a:spLocks noEditPoints="1"/>
            </p:cNvSpPr>
            <p:nvPr/>
          </p:nvSpPr>
          <p:spPr bwMode="auto">
            <a:xfrm>
              <a:off x="1697" y="3707"/>
              <a:ext cx="784" cy="784"/>
            </a:xfrm>
            <a:custGeom>
              <a:avLst/>
              <a:gdLst>
                <a:gd name="T0" fmla="*/ 737 w 1474"/>
                <a:gd name="T1" fmla="*/ 0 h 1474"/>
                <a:gd name="T2" fmla="*/ 0 w 1474"/>
                <a:gd name="T3" fmla="*/ 737 h 1474"/>
                <a:gd name="T4" fmla="*/ 737 w 1474"/>
                <a:gd name="T5" fmla="*/ 1474 h 1474"/>
                <a:gd name="T6" fmla="*/ 1474 w 1474"/>
                <a:gd name="T7" fmla="*/ 737 h 1474"/>
                <a:gd name="T8" fmla="*/ 737 w 1474"/>
                <a:gd name="T9" fmla="*/ 0 h 1474"/>
                <a:gd name="T10" fmla="*/ 737 w 1474"/>
                <a:gd name="T11" fmla="*/ 1438 h 1474"/>
                <a:gd name="T12" fmla="*/ 36 w 1474"/>
                <a:gd name="T13" fmla="*/ 737 h 1474"/>
                <a:gd name="T14" fmla="*/ 737 w 1474"/>
                <a:gd name="T15" fmla="*/ 36 h 1474"/>
                <a:gd name="T16" fmla="*/ 1438 w 1474"/>
                <a:gd name="T17" fmla="*/ 737 h 1474"/>
                <a:gd name="T18" fmla="*/ 737 w 1474"/>
                <a:gd name="T19" fmla="*/ 1438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4" h="1474">
                  <a:moveTo>
                    <a:pt x="737" y="0"/>
                  </a:moveTo>
                  <a:cubicBezTo>
                    <a:pt x="331" y="0"/>
                    <a:pt x="0" y="331"/>
                    <a:pt x="0" y="737"/>
                  </a:cubicBezTo>
                  <a:cubicBezTo>
                    <a:pt x="0" y="1143"/>
                    <a:pt x="331" y="1474"/>
                    <a:pt x="737" y="1474"/>
                  </a:cubicBezTo>
                  <a:cubicBezTo>
                    <a:pt x="1143" y="1474"/>
                    <a:pt x="1474" y="1143"/>
                    <a:pt x="1474" y="737"/>
                  </a:cubicBezTo>
                  <a:cubicBezTo>
                    <a:pt x="1474" y="331"/>
                    <a:pt x="1143" y="0"/>
                    <a:pt x="737" y="0"/>
                  </a:cubicBezTo>
                  <a:close/>
                  <a:moveTo>
                    <a:pt x="737" y="1438"/>
                  </a:moveTo>
                  <a:cubicBezTo>
                    <a:pt x="351" y="1438"/>
                    <a:pt x="36" y="1124"/>
                    <a:pt x="36" y="737"/>
                  </a:cubicBezTo>
                  <a:cubicBezTo>
                    <a:pt x="36" y="351"/>
                    <a:pt x="351" y="36"/>
                    <a:pt x="737" y="36"/>
                  </a:cubicBezTo>
                  <a:cubicBezTo>
                    <a:pt x="1124" y="36"/>
                    <a:pt x="1438" y="351"/>
                    <a:pt x="1438" y="737"/>
                  </a:cubicBezTo>
                  <a:cubicBezTo>
                    <a:pt x="1438" y="1124"/>
                    <a:pt x="1124" y="1438"/>
                    <a:pt x="737" y="143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2" name="Freeform 64"/>
            <p:cNvSpPr>
              <a:spLocks noEditPoints="1"/>
            </p:cNvSpPr>
            <p:nvPr/>
          </p:nvSpPr>
          <p:spPr bwMode="auto">
            <a:xfrm>
              <a:off x="1837" y="3972"/>
              <a:ext cx="520" cy="121"/>
            </a:xfrm>
            <a:custGeom>
              <a:avLst/>
              <a:gdLst>
                <a:gd name="T0" fmla="*/ 873 w 977"/>
                <a:gd name="T1" fmla="*/ 228 h 228"/>
                <a:gd name="T2" fmla="*/ 861 w 977"/>
                <a:gd name="T3" fmla="*/ 224 h 228"/>
                <a:gd name="T4" fmla="*/ 742 w 977"/>
                <a:gd name="T5" fmla="*/ 169 h 228"/>
                <a:gd name="T6" fmla="*/ 444 w 977"/>
                <a:gd name="T7" fmla="*/ 139 h 228"/>
                <a:gd name="T8" fmla="*/ 179 w 977"/>
                <a:gd name="T9" fmla="*/ 185 h 228"/>
                <a:gd name="T10" fmla="*/ 163 w 977"/>
                <a:gd name="T11" fmla="*/ 190 h 228"/>
                <a:gd name="T12" fmla="*/ 107 w 977"/>
                <a:gd name="T13" fmla="*/ 219 h 228"/>
                <a:gd name="T14" fmla="*/ 62 w 977"/>
                <a:gd name="T15" fmla="*/ 216 h 228"/>
                <a:gd name="T16" fmla="*/ 20 w 977"/>
                <a:gd name="T17" fmla="*/ 193 h 228"/>
                <a:gd name="T18" fmla="*/ 0 w 977"/>
                <a:gd name="T19" fmla="*/ 156 h 228"/>
                <a:gd name="T20" fmla="*/ 19 w 977"/>
                <a:gd name="T21" fmla="*/ 114 h 228"/>
                <a:gd name="T22" fmla="*/ 108 w 977"/>
                <a:gd name="T23" fmla="*/ 60 h 228"/>
                <a:gd name="T24" fmla="*/ 318 w 977"/>
                <a:gd name="T25" fmla="*/ 12 h 228"/>
                <a:gd name="T26" fmla="*/ 433 w 977"/>
                <a:gd name="T27" fmla="*/ 3 h 228"/>
                <a:gd name="T28" fmla="*/ 484 w 977"/>
                <a:gd name="T29" fmla="*/ 0 h 228"/>
                <a:gd name="T30" fmla="*/ 486 w 977"/>
                <a:gd name="T31" fmla="*/ 0 h 228"/>
                <a:gd name="T32" fmla="*/ 820 w 977"/>
                <a:gd name="T33" fmla="*/ 45 h 228"/>
                <a:gd name="T34" fmla="*/ 932 w 977"/>
                <a:gd name="T35" fmla="*/ 97 h 228"/>
                <a:gd name="T36" fmla="*/ 961 w 977"/>
                <a:gd name="T37" fmla="*/ 126 h 228"/>
                <a:gd name="T38" fmla="*/ 961 w 977"/>
                <a:gd name="T39" fmla="*/ 181 h 228"/>
                <a:gd name="T40" fmla="*/ 876 w 977"/>
                <a:gd name="T41" fmla="*/ 228 h 228"/>
                <a:gd name="T42" fmla="*/ 873 w 977"/>
                <a:gd name="T43" fmla="*/ 228 h 228"/>
                <a:gd name="T44" fmla="*/ 491 w 977"/>
                <a:gd name="T45" fmla="*/ 102 h 228"/>
                <a:gd name="T46" fmla="*/ 752 w 977"/>
                <a:gd name="T47" fmla="*/ 134 h 228"/>
                <a:gd name="T48" fmla="*/ 878 w 977"/>
                <a:gd name="T49" fmla="*/ 191 h 228"/>
                <a:gd name="T50" fmla="*/ 931 w 977"/>
                <a:gd name="T51" fmla="*/ 161 h 228"/>
                <a:gd name="T52" fmla="*/ 932 w 977"/>
                <a:gd name="T53" fmla="*/ 147 h 228"/>
                <a:gd name="T54" fmla="*/ 911 w 977"/>
                <a:gd name="T55" fmla="*/ 126 h 228"/>
                <a:gd name="T56" fmla="*/ 810 w 977"/>
                <a:gd name="T57" fmla="*/ 80 h 228"/>
                <a:gd name="T58" fmla="*/ 486 w 977"/>
                <a:gd name="T59" fmla="*/ 36 h 228"/>
                <a:gd name="T60" fmla="*/ 436 w 977"/>
                <a:gd name="T61" fmla="*/ 39 h 228"/>
                <a:gd name="T62" fmla="*/ 322 w 977"/>
                <a:gd name="T63" fmla="*/ 48 h 228"/>
                <a:gd name="T64" fmla="*/ 121 w 977"/>
                <a:gd name="T65" fmla="*/ 94 h 228"/>
                <a:gd name="T66" fmla="*/ 45 w 977"/>
                <a:gd name="T67" fmla="*/ 139 h 228"/>
                <a:gd name="T68" fmla="*/ 36 w 977"/>
                <a:gd name="T69" fmla="*/ 155 h 228"/>
                <a:gd name="T70" fmla="*/ 44 w 977"/>
                <a:gd name="T71" fmla="*/ 167 h 228"/>
                <a:gd name="T72" fmla="*/ 89 w 977"/>
                <a:gd name="T73" fmla="*/ 187 h 228"/>
                <a:gd name="T74" fmla="*/ 151 w 977"/>
                <a:gd name="T75" fmla="*/ 156 h 228"/>
                <a:gd name="T76" fmla="*/ 166 w 977"/>
                <a:gd name="T77" fmla="*/ 151 h 228"/>
                <a:gd name="T78" fmla="*/ 443 w 977"/>
                <a:gd name="T79" fmla="*/ 103 h 228"/>
                <a:gd name="T80" fmla="*/ 491 w 977"/>
                <a:gd name="T81" fmla="*/ 10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7" h="228">
                  <a:moveTo>
                    <a:pt x="873" y="228"/>
                  </a:moveTo>
                  <a:cubicBezTo>
                    <a:pt x="867" y="228"/>
                    <a:pt x="863" y="226"/>
                    <a:pt x="861" y="224"/>
                  </a:cubicBezTo>
                  <a:cubicBezTo>
                    <a:pt x="825" y="193"/>
                    <a:pt x="792" y="182"/>
                    <a:pt x="742" y="169"/>
                  </a:cubicBezTo>
                  <a:cubicBezTo>
                    <a:pt x="655" y="145"/>
                    <a:pt x="560" y="135"/>
                    <a:pt x="444" y="139"/>
                  </a:cubicBezTo>
                  <a:cubicBezTo>
                    <a:pt x="338" y="142"/>
                    <a:pt x="254" y="157"/>
                    <a:pt x="179" y="185"/>
                  </a:cubicBezTo>
                  <a:cubicBezTo>
                    <a:pt x="173" y="187"/>
                    <a:pt x="168" y="189"/>
                    <a:pt x="163" y="190"/>
                  </a:cubicBezTo>
                  <a:cubicBezTo>
                    <a:pt x="141" y="198"/>
                    <a:pt x="124" y="204"/>
                    <a:pt x="107" y="219"/>
                  </a:cubicBezTo>
                  <a:cubicBezTo>
                    <a:pt x="99" y="226"/>
                    <a:pt x="92" y="226"/>
                    <a:pt x="62" y="216"/>
                  </a:cubicBezTo>
                  <a:cubicBezTo>
                    <a:pt x="48" y="211"/>
                    <a:pt x="30" y="203"/>
                    <a:pt x="20" y="193"/>
                  </a:cubicBezTo>
                  <a:cubicBezTo>
                    <a:pt x="7" y="181"/>
                    <a:pt x="1" y="169"/>
                    <a:pt x="0" y="156"/>
                  </a:cubicBezTo>
                  <a:cubicBezTo>
                    <a:pt x="0" y="142"/>
                    <a:pt x="6" y="128"/>
                    <a:pt x="19" y="114"/>
                  </a:cubicBezTo>
                  <a:cubicBezTo>
                    <a:pt x="46" y="86"/>
                    <a:pt x="79" y="71"/>
                    <a:pt x="108" y="60"/>
                  </a:cubicBezTo>
                  <a:cubicBezTo>
                    <a:pt x="170" y="36"/>
                    <a:pt x="238" y="20"/>
                    <a:pt x="318" y="12"/>
                  </a:cubicBezTo>
                  <a:cubicBezTo>
                    <a:pt x="357" y="8"/>
                    <a:pt x="396" y="6"/>
                    <a:pt x="433" y="3"/>
                  </a:cubicBezTo>
                  <a:cubicBezTo>
                    <a:pt x="450" y="2"/>
                    <a:pt x="467" y="1"/>
                    <a:pt x="484" y="0"/>
                  </a:cubicBezTo>
                  <a:cubicBezTo>
                    <a:pt x="485" y="0"/>
                    <a:pt x="485" y="0"/>
                    <a:pt x="486" y="0"/>
                  </a:cubicBezTo>
                  <a:cubicBezTo>
                    <a:pt x="579" y="2"/>
                    <a:pt x="700" y="10"/>
                    <a:pt x="820" y="45"/>
                  </a:cubicBezTo>
                  <a:cubicBezTo>
                    <a:pt x="857" y="56"/>
                    <a:pt x="896" y="70"/>
                    <a:pt x="932" y="97"/>
                  </a:cubicBezTo>
                  <a:cubicBezTo>
                    <a:pt x="943" y="105"/>
                    <a:pt x="952" y="115"/>
                    <a:pt x="961" y="126"/>
                  </a:cubicBezTo>
                  <a:cubicBezTo>
                    <a:pt x="970" y="138"/>
                    <a:pt x="977" y="158"/>
                    <a:pt x="961" y="181"/>
                  </a:cubicBezTo>
                  <a:cubicBezTo>
                    <a:pt x="943" y="208"/>
                    <a:pt x="888" y="227"/>
                    <a:pt x="876" y="228"/>
                  </a:cubicBezTo>
                  <a:cubicBezTo>
                    <a:pt x="875" y="228"/>
                    <a:pt x="874" y="228"/>
                    <a:pt x="873" y="228"/>
                  </a:cubicBezTo>
                  <a:close/>
                  <a:moveTo>
                    <a:pt x="491" y="102"/>
                  </a:moveTo>
                  <a:cubicBezTo>
                    <a:pt x="589" y="102"/>
                    <a:pt x="673" y="112"/>
                    <a:pt x="752" y="134"/>
                  </a:cubicBezTo>
                  <a:cubicBezTo>
                    <a:pt x="793" y="145"/>
                    <a:pt x="835" y="157"/>
                    <a:pt x="878" y="191"/>
                  </a:cubicBezTo>
                  <a:cubicBezTo>
                    <a:pt x="892" y="186"/>
                    <a:pt x="923" y="173"/>
                    <a:pt x="931" y="161"/>
                  </a:cubicBezTo>
                  <a:cubicBezTo>
                    <a:pt x="936" y="154"/>
                    <a:pt x="935" y="152"/>
                    <a:pt x="932" y="147"/>
                  </a:cubicBezTo>
                  <a:cubicBezTo>
                    <a:pt x="926" y="139"/>
                    <a:pt x="918" y="132"/>
                    <a:pt x="911" y="126"/>
                  </a:cubicBezTo>
                  <a:cubicBezTo>
                    <a:pt x="879" y="102"/>
                    <a:pt x="844" y="90"/>
                    <a:pt x="810" y="80"/>
                  </a:cubicBezTo>
                  <a:cubicBezTo>
                    <a:pt x="694" y="46"/>
                    <a:pt x="576" y="38"/>
                    <a:pt x="486" y="36"/>
                  </a:cubicBezTo>
                  <a:cubicBezTo>
                    <a:pt x="469" y="37"/>
                    <a:pt x="452" y="38"/>
                    <a:pt x="436" y="39"/>
                  </a:cubicBezTo>
                  <a:cubicBezTo>
                    <a:pt x="398" y="42"/>
                    <a:pt x="359" y="44"/>
                    <a:pt x="322" y="48"/>
                  </a:cubicBezTo>
                  <a:cubicBezTo>
                    <a:pt x="245" y="56"/>
                    <a:pt x="180" y="71"/>
                    <a:pt x="121" y="94"/>
                  </a:cubicBezTo>
                  <a:cubicBezTo>
                    <a:pt x="95" y="104"/>
                    <a:pt x="67" y="116"/>
                    <a:pt x="45" y="139"/>
                  </a:cubicBezTo>
                  <a:cubicBezTo>
                    <a:pt x="39" y="145"/>
                    <a:pt x="36" y="151"/>
                    <a:pt x="36" y="155"/>
                  </a:cubicBezTo>
                  <a:cubicBezTo>
                    <a:pt x="37" y="159"/>
                    <a:pt x="41" y="163"/>
                    <a:pt x="44" y="167"/>
                  </a:cubicBezTo>
                  <a:cubicBezTo>
                    <a:pt x="52" y="174"/>
                    <a:pt x="77" y="183"/>
                    <a:pt x="89" y="187"/>
                  </a:cubicBezTo>
                  <a:cubicBezTo>
                    <a:pt x="110" y="171"/>
                    <a:pt x="130" y="164"/>
                    <a:pt x="151" y="156"/>
                  </a:cubicBezTo>
                  <a:cubicBezTo>
                    <a:pt x="156" y="155"/>
                    <a:pt x="161" y="153"/>
                    <a:pt x="166" y="151"/>
                  </a:cubicBezTo>
                  <a:cubicBezTo>
                    <a:pt x="245" y="122"/>
                    <a:pt x="333" y="106"/>
                    <a:pt x="443" y="103"/>
                  </a:cubicBezTo>
                  <a:cubicBezTo>
                    <a:pt x="459" y="102"/>
                    <a:pt x="475" y="102"/>
                    <a:pt x="491" y="10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7" name="Freeform 65"/>
            <p:cNvSpPr>
              <a:spLocks noEditPoints="1"/>
            </p:cNvSpPr>
            <p:nvPr/>
          </p:nvSpPr>
          <p:spPr bwMode="auto">
            <a:xfrm>
              <a:off x="1838" y="4050"/>
              <a:ext cx="516" cy="252"/>
            </a:xfrm>
            <a:custGeom>
              <a:avLst/>
              <a:gdLst>
                <a:gd name="T0" fmla="*/ 324 w 971"/>
                <a:gd name="T1" fmla="*/ 474 h 475"/>
                <a:gd name="T2" fmla="*/ 321 w 971"/>
                <a:gd name="T3" fmla="*/ 474 h 475"/>
                <a:gd name="T4" fmla="*/ 265 w 971"/>
                <a:gd name="T5" fmla="*/ 464 h 475"/>
                <a:gd name="T6" fmla="*/ 265 w 971"/>
                <a:gd name="T7" fmla="*/ 464 h 475"/>
                <a:gd name="T8" fmla="*/ 138 w 971"/>
                <a:gd name="T9" fmla="*/ 421 h 475"/>
                <a:gd name="T10" fmla="*/ 115 w 971"/>
                <a:gd name="T11" fmla="*/ 408 h 475"/>
                <a:gd name="T12" fmla="*/ 56 w 971"/>
                <a:gd name="T13" fmla="*/ 324 h 475"/>
                <a:gd name="T14" fmla="*/ 0 w 971"/>
                <a:gd name="T15" fmla="*/ 29 h 475"/>
                <a:gd name="T16" fmla="*/ 0 w 971"/>
                <a:gd name="T17" fmla="*/ 22 h 475"/>
                <a:gd name="T18" fmla="*/ 16 w 971"/>
                <a:gd name="T19" fmla="*/ 7 h 475"/>
                <a:gd name="T20" fmla="*/ 22 w 971"/>
                <a:gd name="T21" fmla="*/ 8 h 475"/>
                <a:gd name="T22" fmla="*/ 26 w 971"/>
                <a:gd name="T23" fmla="*/ 9 h 475"/>
                <a:gd name="T24" fmla="*/ 49 w 971"/>
                <a:gd name="T25" fmla="*/ 22 h 475"/>
                <a:gd name="T26" fmla="*/ 98 w 971"/>
                <a:gd name="T27" fmla="*/ 46 h 475"/>
                <a:gd name="T28" fmla="*/ 286 w 971"/>
                <a:gd name="T29" fmla="*/ 94 h 475"/>
                <a:gd name="T30" fmla="*/ 500 w 971"/>
                <a:gd name="T31" fmla="*/ 107 h 475"/>
                <a:gd name="T32" fmla="*/ 501 w 971"/>
                <a:gd name="T33" fmla="*/ 107 h 475"/>
                <a:gd name="T34" fmla="*/ 840 w 971"/>
                <a:gd name="T35" fmla="*/ 58 h 475"/>
                <a:gd name="T36" fmla="*/ 941 w 971"/>
                <a:gd name="T37" fmla="*/ 5 h 475"/>
                <a:gd name="T38" fmla="*/ 962 w 971"/>
                <a:gd name="T39" fmla="*/ 4 h 475"/>
                <a:gd name="T40" fmla="*/ 970 w 971"/>
                <a:gd name="T41" fmla="*/ 22 h 475"/>
                <a:gd name="T42" fmla="*/ 908 w 971"/>
                <a:gd name="T43" fmla="*/ 338 h 475"/>
                <a:gd name="T44" fmla="*/ 878 w 971"/>
                <a:gd name="T45" fmla="*/ 388 h 475"/>
                <a:gd name="T46" fmla="*/ 786 w 971"/>
                <a:gd name="T47" fmla="*/ 440 h 475"/>
                <a:gd name="T48" fmla="*/ 647 w 971"/>
                <a:gd name="T49" fmla="*/ 474 h 475"/>
                <a:gd name="T50" fmla="*/ 632 w 971"/>
                <a:gd name="T51" fmla="*/ 469 h 475"/>
                <a:gd name="T52" fmla="*/ 627 w 971"/>
                <a:gd name="T53" fmla="*/ 454 h 475"/>
                <a:gd name="T54" fmla="*/ 613 w 971"/>
                <a:gd name="T55" fmla="*/ 295 h 475"/>
                <a:gd name="T56" fmla="*/ 594 w 971"/>
                <a:gd name="T57" fmla="*/ 280 h 475"/>
                <a:gd name="T58" fmla="*/ 390 w 971"/>
                <a:gd name="T59" fmla="*/ 280 h 475"/>
                <a:gd name="T60" fmla="*/ 372 w 971"/>
                <a:gd name="T61" fmla="*/ 293 h 475"/>
                <a:gd name="T62" fmla="*/ 341 w 971"/>
                <a:gd name="T63" fmla="*/ 460 h 475"/>
                <a:gd name="T64" fmla="*/ 324 w 971"/>
                <a:gd name="T65" fmla="*/ 474 h 475"/>
                <a:gd name="T66" fmla="*/ 272 w 971"/>
                <a:gd name="T67" fmla="*/ 429 h 475"/>
                <a:gd name="T68" fmla="*/ 309 w 971"/>
                <a:gd name="T69" fmla="*/ 436 h 475"/>
                <a:gd name="T70" fmla="*/ 337 w 971"/>
                <a:gd name="T71" fmla="*/ 283 h 475"/>
                <a:gd name="T72" fmla="*/ 339 w 971"/>
                <a:gd name="T73" fmla="*/ 279 h 475"/>
                <a:gd name="T74" fmla="*/ 390 w 971"/>
                <a:gd name="T75" fmla="*/ 244 h 475"/>
                <a:gd name="T76" fmla="*/ 594 w 971"/>
                <a:gd name="T77" fmla="*/ 244 h 475"/>
                <a:gd name="T78" fmla="*/ 646 w 971"/>
                <a:gd name="T79" fmla="*/ 280 h 475"/>
                <a:gd name="T80" fmla="*/ 663 w 971"/>
                <a:gd name="T81" fmla="*/ 435 h 475"/>
                <a:gd name="T82" fmla="*/ 774 w 971"/>
                <a:gd name="T83" fmla="*/ 406 h 475"/>
                <a:gd name="T84" fmla="*/ 854 w 971"/>
                <a:gd name="T85" fmla="*/ 361 h 475"/>
                <a:gd name="T86" fmla="*/ 873 w 971"/>
                <a:gd name="T87" fmla="*/ 329 h 475"/>
                <a:gd name="T88" fmla="*/ 927 w 971"/>
                <a:gd name="T89" fmla="*/ 58 h 475"/>
                <a:gd name="T90" fmla="*/ 852 w 971"/>
                <a:gd name="T91" fmla="*/ 92 h 475"/>
                <a:gd name="T92" fmla="*/ 501 w 971"/>
                <a:gd name="T93" fmla="*/ 143 h 475"/>
                <a:gd name="T94" fmla="*/ 500 w 971"/>
                <a:gd name="T95" fmla="*/ 143 h 475"/>
                <a:gd name="T96" fmla="*/ 282 w 971"/>
                <a:gd name="T97" fmla="*/ 130 h 475"/>
                <a:gd name="T98" fmla="*/ 83 w 971"/>
                <a:gd name="T99" fmla="*/ 79 h 475"/>
                <a:gd name="T100" fmla="*/ 42 w 971"/>
                <a:gd name="T101" fmla="*/ 59 h 475"/>
                <a:gd name="T102" fmla="*/ 91 w 971"/>
                <a:gd name="T103" fmla="*/ 316 h 475"/>
                <a:gd name="T104" fmla="*/ 134 w 971"/>
                <a:gd name="T105" fmla="*/ 377 h 475"/>
                <a:gd name="T106" fmla="*/ 155 w 971"/>
                <a:gd name="T107" fmla="*/ 389 h 475"/>
                <a:gd name="T108" fmla="*/ 272 w 971"/>
                <a:gd name="T109" fmla="*/ 429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1" h="475">
                  <a:moveTo>
                    <a:pt x="324" y="474"/>
                  </a:moveTo>
                  <a:cubicBezTo>
                    <a:pt x="323" y="474"/>
                    <a:pt x="322" y="474"/>
                    <a:pt x="321" y="474"/>
                  </a:cubicBezTo>
                  <a:cubicBezTo>
                    <a:pt x="265" y="464"/>
                    <a:pt x="265" y="464"/>
                    <a:pt x="265" y="464"/>
                  </a:cubicBezTo>
                  <a:cubicBezTo>
                    <a:pt x="265" y="464"/>
                    <a:pt x="265" y="464"/>
                    <a:pt x="265" y="464"/>
                  </a:cubicBezTo>
                  <a:cubicBezTo>
                    <a:pt x="212" y="453"/>
                    <a:pt x="173" y="440"/>
                    <a:pt x="138" y="421"/>
                  </a:cubicBezTo>
                  <a:cubicBezTo>
                    <a:pt x="130" y="417"/>
                    <a:pt x="122" y="413"/>
                    <a:pt x="115" y="408"/>
                  </a:cubicBezTo>
                  <a:cubicBezTo>
                    <a:pt x="82" y="387"/>
                    <a:pt x="64" y="360"/>
                    <a:pt x="56" y="324"/>
                  </a:cubicBezTo>
                  <a:cubicBezTo>
                    <a:pt x="39" y="248"/>
                    <a:pt x="2" y="38"/>
                    <a:pt x="0" y="29"/>
                  </a:cubicBezTo>
                  <a:cubicBezTo>
                    <a:pt x="0" y="26"/>
                    <a:pt x="0" y="24"/>
                    <a:pt x="0" y="22"/>
                  </a:cubicBezTo>
                  <a:cubicBezTo>
                    <a:pt x="2" y="14"/>
                    <a:pt x="8" y="8"/>
                    <a:pt x="16" y="7"/>
                  </a:cubicBezTo>
                  <a:cubicBezTo>
                    <a:pt x="18" y="7"/>
                    <a:pt x="20" y="7"/>
                    <a:pt x="22" y="8"/>
                  </a:cubicBezTo>
                  <a:cubicBezTo>
                    <a:pt x="23" y="8"/>
                    <a:pt x="25" y="8"/>
                    <a:pt x="26" y="9"/>
                  </a:cubicBezTo>
                  <a:cubicBezTo>
                    <a:pt x="34" y="13"/>
                    <a:pt x="41" y="17"/>
                    <a:pt x="49" y="22"/>
                  </a:cubicBezTo>
                  <a:cubicBezTo>
                    <a:pt x="65" y="30"/>
                    <a:pt x="81" y="39"/>
                    <a:pt x="98" y="46"/>
                  </a:cubicBezTo>
                  <a:cubicBezTo>
                    <a:pt x="155" y="71"/>
                    <a:pt x="217" y="87"/>
                    <a:pt x="286" y="94"/>
                  </a:cubicBezTo>
                  <a:cubicBezTo>
                    <a:pt x="345" y="100"/>
                    <a:pt x="423" y="107"/>
                    <a:pt x="500" y="107"/>
                  </a:cubicBezTo>
                  <a:cubicBezTo>
                    <a:pt x="501" y="107"/>
                    <a:pt x="501" y="107"/>
                    <a:pt x="501" y="107"/>
                  </a:cubicBezTo>
                  <a:cubicBezTo>
                    <a:pt x="633" y="107"/>
                    <a:pt x="740" y="92"/>
                    <a:pt x="840" y="58"/>
                  </a:cubicBezTo>
                  <a:cubicBezTo>
                    <a:pt x="882" y="44"/>
                    <a:pt x="913" y="28"/>
                    <a:pt x="941" y="5"/>
                  </a:cubicBezTo>
                  <a:cubicBezTo>
                    <a:pt x="947" y="1"/>
                    <a:pt x="955" y="0"/>
                    <a:pt x="962" y="4"/>
                  </a:cubicBezTo>
                  <a:cubicBezTo>
                    <a:pt x="968" y="8"/>
                    <a:pt x="971" y="15"/>
                    <a:pt x="970" y="22"/>
                  </a:cubicBezTo>
                  <a:cubicBezTo>
                    <a:pt x="957" y="100"/>
                    <a:pt x="919" y="293"/>
                    <a:pt x="908" y="338"/>
                  </a:cubicBezTo>
                  <a:cubicBezTo>
                    <a:pt x="903" y="357"/>
                    <a:pt x="894" y="373"/>
                    <a:pt x="878" y="388"/>
                  </a:cubicBezTo>
                  <a:cubicBezTo>
                    <a:pt x="850" y="414"/>
                    <a:pt x="817" y="429"/>
                    <a:pt x="786" y="440"/>
                  </a:cubicBezTo>
                  <a:cubicBezTo>
                    <a:pt x="744" y="456"/>
                    <a:pt x="699" y="467"/>
                    <a:pt x="647" y="474"/>
                  </a:cubicBezTo>
                  <a:cubicBezTo>
                    <a:pt x="641" y="475"/>
                    <a:pt x="636" y="473"/>
                    <a:pt x="632" y="469"/>
                  </a:cubicBezTo>
                  <a:cubicBezTo>
                    <a:pt x="628" y="465"/>
                    <a:pt x="626" y="459"/>
                    <a:pt x="627" y="454"/>
                  </a:cubicBezTo>
                  <a:cubicBezTo>
                    <a:pt x="629" y="436"/>
                    <a:pt x="619" y="312"/>
                    <a:pt x="613" y="295"/>
                  </a:cubicBezTo>
                  <a:cubicBezTo>
                    <a:pt x="607" y="282"/>
                    <a:pt x="600" y="280"/>
                    <a:pt x="594" y="280"/>
                  </a:cubicBezTo>
                  <a:cubicBezTo>
                    <a:pt x="522" y="280"/>
                    <a:pt x="454" y="280"/>
                    <a:pt x="390" y="280"/>
                  </a:cubicBezTo>
                  <a:cubicBezTo>
                    <a:pt x="385" y="280"/>
                    <a:pt x="378" y="282"/>
                    <a:pt x="372" y="293"/>
                  </a:cubicBezTo>
                  <a:cubicBezTo>
                    <a:pt x="341" y="460"/>
                    <a:pt x="341" y="460"/>
                    <a:pt x="341" y="460"/>
                  </a:cubicBezTo>
                  <a:cubicBezTo>
                    <a:pt x="340" y="468"/>
                    <a:pt x="332" y="474"/>
                    <a:pt x="324" y="474"/>
                  </a:cubicBezTo>
                  <a:close/>
                  <a:moveTo>
                    <a:pt x="272" y="429"/>
                  </a:moveTo>
                  <a:cubicBezTo>
                    <a:pt x="309" y="436"/>
                    <a:pt x="309" y="436"/>
                    <a:pt x="309" y="436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2"/>
                    <a:pt x="338" y="280"/>
                    <a:pt x="339" y="279"/>
                  </a:cubicBezTo>
                  <a:cubicBezTo>
                    <a:pt x="349" y="257"/>
                    <a:pt x="368" y="244"/>
                    <a:pt x="390" y="244"/>
                  </a:cubicBezTo>
                  <a:cubicBezTo>
                    <a:pt x="454" y="244"/>
                    <a:pt x="522" y="244"/>
                    <a:pt x="594" y="244"/>
                  </a:cubicBezTo>
                  <a:cubicBezTo>
                    <a:pt x="610" y="244"/>
                    <a:pt x="633" y="250"/>
                    <a:pt x="646" y="280"/>
                  </a:cubicBezTo>
                  <a:cubicBezTo>
                    <a:pt x="653" y="295"/>
                    <a:pt x="661" y="388"/>
                    <a:pt x="663" y="435"/>
                  </a:cubicBezTo>
                  <a:cubicBezTo>
                    <a:pt x="703" y="429"/>
                    <a:pt x="740" y="419"/>
                    <a:pt x="774" y="406"/>
                  </a:cubicBezTo>
                  <a:cubicBezTo>
                    <a:pt x="801" y="396"/>
                    <a:pt x="830" y="384"/>
                    <a:pt x="854" y="361"/>
                  </a:cubicBezTo>
                  <a:cubicBezTo>
                    <a:pt x="864" y="352"/>
                    <a:pt x="870" y="342"/>
                    <a:pt x="873" y="329"/>
                  </a:cubicBezTo>
                  <a:cubicBezTo>
                    <a:pt x="882" y="292"/>
                    <a:pt x="911" y="148"/>
                    <a:pt x="927" y="58"/>
                  </a:cubicBezTo>
                  <a:cubicBezTo>
                    <a:pt x="905" y="71"/>
                    <a:pt x="881" y="82"/>
                    <a:pt x="852" y="92"/>
                  </a:cubicBezTo>
                  <a:cubicBezTo>
                    <a:pt x="748" y="127"/>
                    <a:pt x="637" y="143"/>
                    <a:pt x="501" y="143"/>
                  </a:cubicBezTo>
                  <a:cubicBezTo>
                    <a:pt x="501" y="143"/>
                    <a:pt x="501" y="143"/>
                    <a:pt x="500" y="143"/>
                  </a:cubicBezTo>
                  <a:cubicBezTo>
                    <a:pt x="421" y="143"/>
                    <a:pt x="342" y="136"/>
                    <a:pt x="282" y="130"/>
                  </a:cubicBezTo>
                  <a:cubicBezTo>
                    <a:pt x="210" y="122"/>
                    <a:pt x="143" y="105"/>
                    <a:pt x="83" y="79"/>
                  </a:cubicBezTo>
                  <a:cubicBezTo>
                    <a:pt x="69" y="73"/>
                    <a:pt x="55" y="66"/>
                    <a:pt x="42" y="59"/>
                  </a:cubicBezTo>
                  <a:cubicBezTo>
                    <a:pt x="54" y="124"/>
                    <a:pt x="78" y="259"/>
                    <a:pt x="91" y="316"/>
                  </a:cubicBezTo>
                  <a:cubicBezTo>
                    <a:pt x="97" y="344"/>
                    <a:pt x="110" y="362"/>
                    <a:pt x="134" y="377"/>
                  </a:cubicBezTo>
                  <a:cubicBezTo>
                    <a:pt x="141" y="382"/>
                    <a:pt x="148" y="386"/>
                    <a:pt x="155" y="389"/>
                  </a:cubicBezTo>
                  <a:cubicBezTo>
                    <a:pt x="187" y="406"/>
                    <a:pt x="223" y="418"/>
                    <a:pt x="272" y="429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8" name="Freeform 66"/>
            <p:cNvSpPr>
              <a:spLocks noEditPoints="1"/>
            </p:cNvSpPr>
            <p:nvPr/>
          </p:nvSpPr>
          <p:spPr bwMode="auto">
            <a:xfrm>
              <a:off x="1869" y="3883"/>
              <a:ext cx="309" cy="108"/>
            </a:xfrm>
            <a:custGeom>
              <a:avLst/>
              <a:gdLst>
                <a:gd name="T0" fmla="*/ 312 w 582"/>
                <a:gd name="T1" fmla="*/ 132 h 204"/>
                <a:gd name="T2" fmla="*/ 317 w 582"/>
                <a:gd name="T3" fmla="*/ 129 h 204"/>
                <a:gd name="T4" fmla="*/ 395 w 582"/>
                <a:gd name="T5" fmla="*/ 96 h 204"/>
                <a:gd name="T6" fmla="*/ 477 w 582"/>
                <a:gd name="T7" fmla="*/ 93 h 204"/>
                <a:gd name="T8" fmla="*/ 530 w 582"/>
                <a:gd name="T9" fmla="*/ 84 h 204"/>
                <a:gd name="T10" fmla="*/ 582 w 582"/>
                <a:gd name="T11" fmla="*/ 43 h 204"/>
                <a:gd name="T12" fmla="*/ 549 w 582"/>
                <a:gd name="T13" fmla="*/ 47 h 204"/>
                <a:gd name="T14" fmla="*/ 451 w 582"/>
                <a:gd name="T15" fmla="*/ 23 h 204"/>
                <a:gd name="T16" fmla="*/ 319 w 582"/>
                <a:gd name="T17" fmla="*/ 12 h 204"/>
                <a:gd name="T18" fmla="*/ 312 w 582"/>
                <a:gd name="T19" fmla="*/ 19 h 204"/>
                <a:gd name="T20" fmla="*/ 312 w 582"/>
                <a:gd name="T21" fmla="*/ 132 h 204"/>
                <a:gd name="T22" fmla="*/ 0 w 582"/>
                <a:gd name="T23" fmla="*/ 204 h 204"/>
                <a:gd name="T24" fmla="*/ 11 w 582"/>
                <a:gd name="T25" fmla="*/ 194 h 204"/>
                <a:gd name="T26" fmla="*/ 68 w 582"/>
                <a:gd name="T27" fmla="*/ 169 h 204"/>
                <a:gd name="T28" fmla="*/ 141 w 582"/>
                <a:gd name="T29" fmla="*/ 166 h 204"/>
                <a:gd name="T30" fmla="*/ 223 w 582"/>
                <a:gd name="T31" fmla="*/ 117 h 204"/>
                <a:gd name="T32" fmla="*/ 221 w 582"/>
                <a:gd name="T33" fmla="*/ 115 h 204"/>
                <a:gd name="T34" fmla="*/ 216 w 582"/>
                <a:gd name="T35" fmla="*/ 115 h 204"/>
                <a:gd name="T36" fmla="*/ 163 w 582"/>
                <a:gd name="T37" fmla="*/ 114 h 204"/>
                <a:gd name="T38" fmla="*/ 106 w 582"/>
                <a:gd name="T39" fmla="*/ 89 h 204"/>
                <a:gd name="T40" fmla="*/ 7 w 582"/>
                <a:gd name="T41" fmla="*/ 84 h 204"/>
                <a:gd name="T42" fmla="*/ 1 w 582"/>
                <a:gd name="T43" fmla="*/ 93 h 204"/>
                <a:gd name="T44" fmla="*/ 0 w 582"/>
                <a:gd name="T45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2" h="204">
                  <a:moveTo>
                    <a:pt x="312" y="132"/>
                  </a:moveTo>
                  <a:cubicBezTo>
                    <a:pt x="315" y="130"/>
                    <a:pt x="316" y="130"/>
                    <a:pt x="317" y="129"/>
                  </a:cubicBezTo>
                  <a:cubicBezTo>
                    <a:pt x="338" y="107"/>
                    <a:pt x="366" y="99"/>
                    <a:pt x="395" y="96"/>
                  </a:cubicBezTo>
                  <a:cubicBezTo>
                    <a:pt x="422" y="94"/>
                    <a:pt x="450" y="95"/>
                    <a:pt x="477" y="93"/>
                  </a:cubicBezTo>
                  <a:cubicBezTo>
                    <a:pt x="495" y="92"/>
                    <a:pt x="513" y="89"/>
                    <a:pt x="530" y="84"/>
                  </a:cubicBezTo>
                  <a:cubicBezTo>
                    <a:pt x="551" y="77"/>
                    <a:pt x="568" y="62"/>
                    <a:pt x="582" y="43"/>
                  </a:cubicBezTo>
                  <a:cubicBezTo>
                    <a:pt x="570" y="44"/>
                    <a:pt x="560" y="46"/>
                    <a:pt x="549" y="47"/>
                  </a:cubicBezTo>
                  <a:cubicBezTo>
                    <a:pt x="514" y="50"/>
                    <a:pt x="482" y="38"/>
                    <a:pt x="451" y="23"/>
                  </a:cubicBezTo>
                  <a:cubicBezTo>
                    <a:pt x="408" y="1"/>
                    <a:pt x="364" y="0"/>
                    <a:pt x="319" y="12"/>
                  </a:cubicBezTo>
                  <a:cubicBezTo>
                    <a:pt x="316" y="13"/>
                    <a:pt x="312" y="17"/>
                    <a:pt x="312" y="19"/>
                  </a:cubicBezTo>
                  <a:cubicBezTo>
                    <a:pt x="312" y="56"/>
                    <a:pt x="312" y="93"/>
                    <a:pt x="312" y="132"/>
                  </a:cubicBezTo>
                  <a:close/>
                  <a:moveTo>
                    <a:pt x="0" y="204"/>
                  </a:moveTo>
                  <a:cubicBezTo>
                    <a:pt x="5" y="200"/>
                    <a:pt x="8" y="197"/>
                    <a:pt x="11" y="194"/>
                  </a:cubicBezTo>
                  <a:cubicBezTo>
                    <a:pt x="27" y="179"/>
                    <a:pt x="47" y="171"/>
                    <a:pt x="68" y="169"/>
                  </a:cubicBezTo>
                  <a:cubicBezTo>
                    <a:pt x="92" y="167"/>
                    <a:pt x="117" y="168"/>
                    <a:pt x="141" y="166"/>
                  </a:cubicBezTo>
                  <a:cubicBezTo>
                    <a:pt x="177" y="164"/>
                    <a:pt x="204" y="147"/>
                    <a:pt x="223" y="117"/>
                  </a:cubicBezTo>
                  <a:cubicBezTo>
                    <a:pt x="222" y="116"/>
                    <a:pt x="221" y="115"/>
                    <a:pt x="221" y="115"/>
                  </a:cubicBezTo>
                  <a:cubicBezTo>
                    <a:pt x="219" y="115"/>
                    <a:pt x="217" y="115"/>
                    <a:pt x="216" y="115"/>
                  </a:cubicBezTo>
                  <a:cubicBezTo>
                    <a:pt x="198" y="120"/>
                    <a:pt x="180" y="121"/>
                    <a:pt x="163" y="114"/>
                  </a:cubicBezTo>
                  <a:cubicBezTo>
                    <a:pt x="143" y="107"/>
                    <a:pt x="124" y="98"/>
                    <a:pt x="106" y="89"/>
                  </a:cubicBezTo>
                  <a:cubicBezTo>
                    <a:pt x="73" y="72"/>
                    <a:pt x="40" y="72"/>
                    <a:pt x="7" y="84"/>
                  </a:cubicBezTo>
                  <a:cubicBezTo>
                    <a:pt x="4" y="85"/>
                    <a:pt x="1" y="90"/>
                    <a:pt x="1" y="93"/>
                  </a:cubicBezTo>
                  <a:cubicBezTo>
                    <a:pt x="0" y="129"/>
                    <a:pt x="0" y="165"/>
                    <a:pt x="0" y="20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9" name="Freeform 67"/>
            <p:cNvSpPr>
              <a:spLocks/>
            </p:cNvSpPr>
            <p:nvPr/>
          </p:nvSpPr>
          <p:spPr bwMode="auto">
            <a:xfrm>
              <a:off x="1869" y="3921"/>
              <a:ext cx="119" cy="70"/>
            </a:xfrm>
            <a:custGeom>
              <a:avLst/>
              <a:gdLst>
                <a:gd name="T0" fmla="*/ 0 w 223"/>
                <a:gd name="T1" fmla="*/ 132 h 132"/>
                <a:gd name="T2" fmla="*/ 1 w 223"/>
                <a:gd name="T3" fmla="*/ 21 h 132"/>
                <a:gd name="T4" fmla="*/ 7 w 223"/>
                <a:gd name="T5" fmla="*/ 12 h 132"/>
                <a:gd name="T6" fmla="*/ 106 w 223"/>
                <a:gd name="T7" fmla="*/ 17 h 132"/>
                <a:gd name="T8" fmla="*/ 163 w 223"/>
                <a:gd name="T9" fmla="*/ 42 h 132"/>
                <a:gd name="T10" fmla="*/ 216 w 223"/>
                <a:gd name="T11" fmla="*/ 43 h 132"/>
                <a:gd name="T12" fmla="*/ 221 w 223"/>
                <a:gd name="T13" fmla="*/ 43 h 132"/>
                <a:gd name="T14" fmla="*/ 223 w 223"/>
                <a:gd name="T15" fmla="*/ 45 h 132"/>
                <a:gd name="T16" fmla="*/ 141 w 223"/>
                <a:gd name="T17" fmla="*/ 94 h 132"/>
                <a:gd name="T18" fmla="*/ 68 w 223"/>
                <a:gd name="T19" fmla="*/ 97 h 132"/>
                <a:gd name="T20" fmla="*/ 11 w 223"/>
                <a:gd name="T21" fmla="*/ 122 h 132"/>
                <a:gd name="T22" fmla="*/ 0 w 223"/>
                <a:gd name="T2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3" h="132">
                  <a:moveTo>
                    <a:pt x="0" y="132"/>
                  </a:moveTo>
                  <a:cubicBezTo>
                    <a:pt x="0" y="93"/>
                    <a:pt x="0" y="57"/>
                    <a:pt x="1" y="21"/>
                  </a:cubicBezTo>
                  <a:cubicBezTo>
                    <a:pt x="1" y="18"/>
                    <a:pt x="4" y="13"/>
                    <a:pt x="7" y="12"/>
                  </a:cubicBezTo>
                  <a:cubicBezTo>
                    <a:pt x="40" y="0"/>
                    <a:pt x="73" y="0"/>
                    <a:pt x="106" y="17"/>
                  </a:cubicBezTo>
                  <a:cubicBezTo>
                    <a:pt x="124" y="26"/>
                    <a:pt x="143" y="35"/>
                    <a:pt x="163" y="42"/>
                  </a:cubicBezTo>
                  <a:cubicBezTo>
                    <a:pt x="180" y="49"/>
                    <a:pt x="198" y="48"/>
                    <a:pt x="216" y="43"/>
                  </a:cubicBezTo>
                  <a:cubicBezTo>
                    <a:pt x="217" y="43"/>
                    <a:pt x="219" y="43"/>
                    <a:pt x="221" y="43"/>
                  </a:cubicBezTo>
                  <a:cubicBezTo>
                    <a:pt x="221" y="43"/>
                    <a:pt x="222" y="44"/>
                    <a:pt x="223" y="45"/>
                  </a:cubicBezTo>
                  <a:cubicBezTo>
                    <a:pt x="204" y="75"/>
                    <a:pt x="177" y="92"/>
                    <a:pt x="141" y="94"/>
                  </a:cubicBezTo>
                  <a:cubicBezTo>
                    <a:pt x="117" y="96"/>
                    <a:pt x="92" y="95"/>
                    <a:pt x="68" y="97"/>
                  </a:cubicBezTo>
                  <a:cubicBezTo>
                    <a:pt x="47" y="99"/>
                    <a:pt x="27" y="107"/>
                    <a:pt x="11" y="122"/>
                  </a:cubicBezTo>
                  <a:cubicBezTo>
                    <a:pt x="8" y="125"/>
                    <a:pt x="5" y="128"/>
                    <a:pt x="0" y="13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0" name="Freeform 68"/>
            <p:cNvSpPr>
              <a:spLocks/>
            </p:cNvSpPr>
            <p:nvPr/>
          </p:nvSpPr>
          <p:spPr bwMode="auto">
            <a:xfrm>
              <a:off x="2209" y="3907"/>
              <a:ext cx="119" cy="71"/>
            </a:xfrm>
            <a:custGeom>
              <a:avLst/>
              <a:gdLst>
                <a:gd name="T0" fmla="*/ 0 w 223"/>
                <a:gd name="T1" fmla="*/ 133 h 133"/>
                <a:gd name="T2" fmla="*/ 1 w 223"/>
                <a:gd name="T3" fmla="*/ 21 h 133"/>
                <a:gd name="T4" fmla="*/ 7 w 223"/>
                <a:gd name="T5" fmla="*/ 13 h 133"/>
                <a:gd name="T6" fmla="*/ 106 w 223"/>
                <a:gd name="T7" fmla="*/ 17 h 133"/>
                <a:gd name="T8" fmla="*/ 163 w 223"/>
                <a:gd name="T9" fmla="*/ 43 h 133"/>
                <a:gd name="T10" fmla="*/ 216 w 223"/>
                <a:gd name="T11" fmla="*/ 43 h 133"/>
                <a:gd name="T12" fmla="*/ 221 w 223"/>
                <a:gd name="T13" fmla="*/ 43 h 133"/>
                <a:gd name="T14" fmla="*/ 223 w 223"/>
                <a:gd name="T15" fmla="*/ 45 h 133"/>
                <a:gd name="T16" fmla="*/ 141 w 223"/>
                <a:gd name="T17" fmla="*/ 94 h 133"/>
                <a:gd name="T18" fmla="*/ 68 w 223"/>
                <a:gd name="T19" fmla="*/ 97 h 133"/>
                <a:gd name="T20" fmla="*/ 11 w 223"/>
                <a:gd name="T21" fmla="*/ 122 h 133"/>
                <a:gd name="T22" fmla="*/ 0 w 223"/>
                <a:gd name="T2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3" h="133">
                  <a:moveTo>
                    <a:pt x="0" y="133"/>
                  </a:moveTo>
                  <a:cubicBezTo>
                    <a:pt x="0" y="94"/>
                    <a:pt x="0" y="57"/>
                    <a:pt x="1" y="21"/>
                  </a:cubicBezTo>
                  <a:cubicBezTo>
                    <a:pt x="1" y="18"/>
                    <a:pt x="4" y="14"/>
                    <a:pt x="7" y="13"/>
                  </a:cubicBezTo>
                  <a:cubicBezTo>
                    <a:pt x="40" y="1"/>
                    <a:pt x="73" y="0"/>
                    <a:pt x="106" y="17"/>
                  </a:cubicBezTo>
                  <a:cubicBezTo>
                    <a:pt x="124" y="27"/>
                    <a:pt x="143" y="35"/>
                    <a:pt x="163" y="43"/>
                  </a:cubicBezTo>
                  <a:cubicBezTo>
                    <a:pt x="180" y="49"/>
                    <a:pt x="198" y="48"/>
                    <a:pt x="216" y="43"/>
                  </a:cubicBezTo>
                  <a:cubicBezTo>
                    <a:pt x="217" y="43"/>
                    <a:pt x="219" y="43"/>
                    <a:pt x="221" y="43"/>
                  </a:cubicBezTo>
                  <a:cubicBezTo>
                    <a:pt x="221" y="43"/>
                    <a:pt x="222" y="44"/>
                    <a:pt x="223" y="45"/>
                  </a:cubicBezTo>
                  <a:cubicBezTo>
                    <a:pt x="204" y="76"/>
                    <a:pt x="177" y="92"/>
                    <a:pt x="141" y="94"/>
                  </a:cubicBezTo>
                  <a:cubicBezTo>
                    <a:pt x="117" y="96"/>
                    <a:pt x="92" y="95"/>
                    <a:pt x="68" y="97"/>
                  </a:cubicBezTo>
                  <a:cubicBezTo>
                    <a:pt x="47" y="99"/>
                    <a:pt x="27" y="107"/>
                    <a:pt x="11" y="122"/>
                  </a:cubicBezTo>
                  <a:cubicBezTo>
                    <a:pt x="8" y="125"/>
                    <a:pt x="5" y="128"/>
                    <a:pt x="0" y="13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1" name="Freeform 69"/>
            <p:cNvSpPr>
              <a:spLocks/>
            </p:cNvSpPr>
            <p:nvPr/>
          </p:nvSpPr>
          <p:spPr bwMode="auto">
            <a:xfrm>
              <a:off x="1922" y="3996"/>
              <a:ext cx="119" cy="124"/>
            </a:xfrm>
            <a:custGeom>
              <a:avLst/>
              <a:gdLst>
                <a:gd name="T0" fmla="*/ 112 w 119"/>
                <a:gd name="T1" fmla="*/ 124 h 124"/>
                <a:gd name="T2" fmla="*/ 0 w 119"/>
                <a:gd name="T3" fmla="*/ 6 h 124"/>
                <a:gd name="T4" fmla="*/ 7 w 119"/>
                <a:gd name="T5" fmla="*/ 0 h 124"/>
                <a:gd name="T6" fmla="*/ 119 w 119"/>
                <a:gd name="T7" fmla="*/ 118 h 124"/>
                <a:gd name="T8" fmla="*/ 112 w 119"/>
                <a:gd name="T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24">
                  <a:moveTo>
                    <a:pt x="112" y="124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19" y="118"/>
                  </a:lnTo>
                  <a:lnTo>
                    <a:pt x="112" y="1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2" name="Freeform 70"/>
            <p:cNvSpPr>
              <a:spLocks/>
            </p:cNvSpPr>
            <p:nvPr/>
          </p:nvSpPr>
          <p:spPr bwMode="auto">
            <a:xfrm>
              <a:off x="2055" y="3979"/>
              <a:ext cx="17" cy="139"/>
            </a:xfrm>
            <a:custGeom>
              <a:avLst/>
              <a:gdLst>
                <a:gd name="T0" fmla="*/ 8 w 17"/>
                <a:gd name="T1" fmla="*/ 139 h 139"/>
                <a:gd name="T2" fmla="*/ 0 w 17"/>
                <a:gd name="T3" fmla="*/ 0 h 139"/>
                <a:gd name="T4" fmla="*/ 10 w 17"/>
                <a:gd name="T5" fmla="*/ 0 h 139"/>
                <a:gd name="T6" fmla="*/ 17 w 17"/>
                <a:gd name="T7" fmla="*/ 139 h 139"/>
                <a:gd name="T8" fmla="*/ 8 w 17"/>
                <a:gd name="T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9">
                  <a:moveTo>
                    <a:pt x="8" y="139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7" y="139"/>
                  </a:lnTo>
                  <a:lnTo>
                    <a:pt x="8" y="1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3" name="Freeform 71"/>
            <p:cNvSpPr>
              <a:spLocks/>
            </p:cNvSpPr>
            <p:nvPr/>
          </p:nvSpPr>
          <p:spPr bwMode="auto">
            <a:xfrm>
              <a:off x="2136" y="3979"/>
              <a:ext cx="26" cy="140"/>
            </a:xfrm>
            <a:custGeom>
              <a:avLst/>
              <a:gdLst>
                <a:gd name="T0" fmla="*/ 10 w 26"/>
                <a:gd name="T1" fmla="*/ 140 h 140"/>
                <a:gd name="T2" fmla="*/ 0 w 26"/>
                <a:gd name="T3" fmla="*/ 139 h 140"/>
                <a:gd name="T4" fmla="*/ 16 w 26"/>
                <a:gd name="T5" fmla="*/ 0 h 140"/>
                <a:gd name="T6" fmla="*/ 26 w 26"/>
                <a:gd name="T7" fmla="*/ 1 h 140"/>
                <a:gd name="T8" fmla="*/ 10 w 26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40">
                  <a:moveTo>
                    <a:pt x="10" y="140"/>
                  </a:moveTo>
                  <a:lnTo>
                    <a:pt x="0" y="139"/>
                  </a:lnTo>
                  <a:lnTo>
                    <a:pt x="16" y="0"/>
                  </a:lnTo>
                  <a:lnTo>
                    <a:pt x="26" y="1"/>
                  </a:lnTo>
                  <a:lnTo>
                    <a:pt x="10" y="14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4" name="Freeform 72"/>
            <p:cNvSpPr>
              <a:spLocks/>
            </p:cNvSpPr>
            <p:nvPr/>
          </p:nvSpPr>
          <p:spPr bwMode="auto">
            <a:xfrm>
              <a:off x="2178" y="4002"/>
              <a:ext cx="108" cy="118"/>
            </a:xfrm>
            <a:custGeom>
              <a:avLst/>
              <a:gdLst>
                <a:gd name="T0" fmla="*/ 13 w 202"/>
                <a:gd name="T1" fmla="*/ 223 h 223"/>
                <a:gd name="T2" fmla="*/ 0 w 202"/>
                <a:gd name="T3" fmla="*/ 211 h 223"/>
                <a:gd name="T4" fmla="*/ 6 w 202"/>
                <a:gd name="T5" fmla="*/ 204 h 223"/>
                <a:gd name="T6" fmla="*/ 93 w 202"/>
                <a:gd name="T7" fmla="*/ 104 h 223"/>
                <a:gd name="T8" fmla="*/ 193 w 202"/>
                <a:gd name="T9" fmla="*/ 3 h 223"/>
                <a:gd name="T10" fmla="*/ 202 w 202"/>
                <a:gd name="T11" fmla="*/ 5 h 223"/>
                <a:gd name="T12" fmla="*/ 196 w 202"/>
                <a:gd name="T13" fmla="*/ 22 h 223"/>
                <a:gd name="T14" fmla="*/ 193 w 202"/>
                <a:gd name="T15" fmla="*/ 21 h 223"/>
                <a:gd name="T16" fmla="*/ 19 w 202"/>
                <a:gd name="T17" fmla="*/ 216 h 223"/>
                <a:gd name="T18" fmla="*/ 13 w 202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23">
                  <a:moveTo>
                    <a:pt x="13" y="223"/>
                  </a:moveTo>
                  <a:cubicBezTo>
                    <a:pt x="0" y="211"/>
                    <a:pt x="0" y="211"/>
                    <a:pt x="0" y="211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6" y="203"/>
                    <a:pt x="50" y="153"/>
                    <a:pt x="93" y="104"/>
                  </a:cubicBezTo>
                  <a:cubicBezTo>
                    <a:pt x="186" y="0"/>
                    <a:pt x="186" y="0"/>
                    <a:pt x="193" y="3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196" y="22"/>
                    <a:pt x="196" y="22"/>
                    <a:pt x="196" y="22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74" y="40"/>
                    <a:pt x="81" y="145"/>
                    <a:pt x="19" y="216"/>
                  </a:cubicBezTo>
                  <a:lnTo>
                    <a:pt x="13" y="22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097" name="Group 91"/>
          <p:cNvGrpSpPr>
            <a:grpSpLocks noChangeAspect="1"/>
          </p:cNvGrpSpPr>
          <p:nvPr/>
        </p:nvGrpSpPr>
        <p:grpSpPr bwMode="auto">
          <a:xfrm>
            <a:off x="387348" y="4109036"/>
            <a:ext cx="847729" cy="847728"/>
            <a:chOff x="206" y="2628"/>
            <a:chExt cx="534" cy="534"/>
          </a:xfrm>
        </p:grpSpPr>
        <p:sp>
          <p:nvSpPr>
            <p:cNvPr id="45098" name="AutoShape 90"/>
            <p:cNvSpPr>
              <a:spLocks noChangeAspect="1" noChangeArrowheads="1" noTextEdit="1"/>
            </p:cNvSpPr>
            <p:nvPr/>
          </p:nvSpPr>
          <p:spPr bwMode="auto">
            <a:xfrm>
              <a:off x="206" y="2628"/>
              <a:ext cx="534" cy="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9" name="Oval 92"/>
            <p:cNvSpPr>
              <a:spLocks noChangeArrowheads="1"/>
            </p:cNvSpPr>
            <p:nvPr/>
          </p:nvSpPr>
          <p:spPr bwMode="auto">
            <a:xfrm>
              <a:off x="206" y="2628"/>
              <a:ext cx="534" cy="534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0" name="Freeform 93"/>
            <p:cNvSpPr>
              <a:spLocks noEditPoints="1"/>
            </p:cNvSpPr>
            <p:nvPr/>
          </p:nvSpPr>
          <p:spPr bwMode="auto">
            <a:xfrm>
              <a:off x="226" y="2648"/>
              <a:ext cx="494" cy="494"/>
            </a:xfrm>
            <a:custGeom>
              <a:avLst/>
              <a:gdLst>
                <a:gd name="T0" fmla="*/ 737 w 1474"/>
                <a:gd name="T1" fmla="*/ 0 h 1474"/>
                <a:gd name="T2" fmla="*/ 0 w 1474"/>
                <a:gd name="T3" fmla="*/ 737 h 1474"/>
                <a:gd name="T4" fmla="*/ 737 w 1474"/>
                <a:gd name="T5" fmla="*/ 1474 h 1474"/>
                <a:gd name="T6" fmla="*/ 1474 w 1474"/>
                <a:gd name="T7" fmla="*/ 737 h 1474"/>
                <a:gd name="T8" fmla="*/ 737 w 1474"/>
                <a:gd name="T9" fmla="*/ 0 h 1474"/>
                <a:gd name="T10" fmla="*/ 737 w 1474"/>
                <a:gd name="T11" fmla="*/ 1438 h 1474"/>
                <a:gd name="T12" fmla="*/ 36 w 1474"/>
                <a:gd name="T13" fmla="*/ 737 h 1474"/>
                <a:gd name="T14" fmla="*/ 737 w 1474"/>
                <a:gd name="T15" fmla="*/ 36 h 1474"/>
                <a:gd name="T16" fmla="*/ 1438 w 1474"/>
                <a:gd name="T17" fmla="*/ 737 h 1474"/>
                <a:gd name="T18" fmla="*/ 737 w 1474"/>
                <a:gd name="T19" fmla="*/ 1438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4" h="1474">
                  <a:moveTo>
                    <a:pt x="737" y="0"/>
                  </a:moveTo>
                  <a:cubicBezTo>
                    <a:pt x="331" y="0"/>
                    <a:pt x="0" y="331"/>
                    <a:pt x="0" y="737"/>
                  </a:cubicBezTo>
                  <a:cubicBezTo>
                    <a:pt x="0" y="1143"/>
                    <a:pt x="331" y="1474"/>
                    <a:pt x="737" y="1474"/>
                  </a:cubicBezTo>
                  <a:cubicBezTo>
                    <a:pt x="1143" y="1474"/>
                    <a:pt x="1474" y="1143"/>
                    <a:pt x="1474" y="737"/>
                  </a:cubicBezTo>
                  <a:cubicBezTo>
                    <a:pt x="1474" y="331"/>
                    <a:pt x="1143" y="0"/>
                    <a:pt x="737" y="0"/>
                  </a:cubicBezTo>
                  <a:close/>
                  <a:moveTo>
                    <a:pt x="737" y="1438"/>
                  </a:moveTo>
                  <a:cubicBezTo>
                    <a:pt x="351" y="1438"/>
                    <a:pt x="36" y="1124"/>
                    <a:pt x="36" y="737"/>
                  </a:cubicBezTo>
                  <a:cubicBezTo>
                    <a:pt x="36" y="351"/>
                    <a:pt x="351" y="36"/>
                    <a:pt x="737" y="36"/>
                  </a:cubicBezTo>
                  <a:cubicBezTo>
                    <a:pt x="1124" y="36"/>
                    <a:pt x="1438" y="351"/>
                    <a:pt x="1438" y="737"/>
                  </a:cubicBezTo>
                  <a:cubicBezTo>
                    <a:pt x="1438" y="1124"/>
                    <a:pt x="1124" y="1438"/>
                    <a:pt x="737" y="14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1" name="Freeform 94"/>
            <p:cNvSpPr>
              <a:spLocks noEditPoints="1"/>
            </p:cNvSpPr>
            <p:nvPr/>
          </p:nvSpPr>
          <p:spPr bwMode="auto">
            <a:xfrm>
              <a:off x="314" y="2814"/>
              <a:ext cx="327" cy="77"/>
            </a:xfrm>
            <a:custGeom>
              <a:avLst/>
              <a:gdLst>
                <a:gd name="T0" fmla="*/ 873 w 977"/>
                <a:gd name="T1" fmla="*/ 228 h 228"/>
                <a:gd name="T2" fmla="*/ 861 w 977"/>
                <a:gd name="T3" fmla="*/ 224 h 228"/>
                <a:gd name="T4" fmla="*/ 742 w 977"/>
                <a:gd name="T5" fmla="*/ 169 h 228"/>
                <a:gd name="T6" fmla="*/ 444 w 977"/>
                <a:gd name="T7" fmla="*/ 139 h 228"/>
                <a:gd name="T8" fmla="*/ 179 w 977"/>
                <a:gd name="T9" fmla="*/ 185 h 228"/>
                <a:gd name="T10" fmla="*/ 163 w 977"/>
                <a:gd name="T11" fmla="*/ 190 h 228"/>
                <a:gd name="T12" fmla="*/ 107 w 977"/>
                <a:gd name="T13" fmla="*/ 219 h 228"/>
                <a:gd name="T14" fmla="*/ 62 w 977"/>
                <a:gd name="T15" fmla="*/ 216 h 228"/>
                <a:gd name="T16" fmla="*/ 20 w 977"/>
                <a:gd name="T17" fmla="*/ 193 h 228"/>
                <a:gd name="T18" fmla="*/ 0 w 977"/>
                <a:gd name="T19" fmla="*/ 156 h 228"/>
                <a:gd name="T20" fmla="*/ 19 w 977"/>
                <a:gd name="T21" fmla="*/ 114 h 228"/>
                <a:gd name="T22" fmla="*/ 108 w 977"/>
                <a:gd name="T23" fmla="*/ 60 h 228"/>
                <a:gd name="T24" fmla="*/ 318 w 977"/>
                <a:gd name="T25" fmla="*/ 12 h 228"/>
                <a:gd name="T26" fmla="*/ 433 w 977"/>
                <a:gd name="T27" fmla="*/ 3 h 228"/>
                <a:gd name="T28" fmla="*/ 484 w 977"/>
                <a:gd name="T29" fmla="*/ 0 h 228"/>
                <a:gd name="T30" fmla="*/ 486 w 977"/>
                <a:gd name="T31" fmla="*/ 0 h 228"/>
                <a:gd name="T32" fmla="*/ 820 w 977"/>
                <a:gd name="T33" fmla="*/ 45 h 228"/>
                <a:gd name="T34" fmla="*/ 932 w 977"/>
                <a:gd name="T35" fmla="*/ 97 h 228"/>
                <a:gd name="T36" fmla="*/ 961 w 977"/>
                <a:gd name="T37" fmla="*/ 126 h 228"/>
                <a:gd name="T38" fmla="*/ 961 w 977"/>
                <a:gd name="T39" fmla="*/ 181 h 228"/>
                <a:gd name="T40" fmla="*/ 876 w 977"/>
                <a:gd name="T41" fmla="*/ 228 h 228"/>
                <a:gd name="T42" fmla="*/ 873 w 977"/>
                <a:gd name="T43" fmla="*/ 228 h 228"/>
                <a:gd name="T44" fmla="*/ 491 w 977"/>
                <a:gd name="T45" fmla="*/ 102 h 228"/>
                <a:gd name="T46" fmla="*/ 752 w 977"/>
                <a:gd name="T47" fmla="*/ 134 h 228"/>
                <a:gd name="T48" fmla="*/ 878 w 977"/>
                <a:gd name="T49" fmla="*/ 191 h 228"/>
                <a:gd name="T50" fmla="*/ 931 w 977"/>
                <a:gd name="T51" fmla="*/ 161 h 228"/>
                <a:gd name="T52" fmla="*/ 932 w 977"/>
                <a:gd name="T53" fmla="*/ 147 h 228"/>
                <a:gd name="T54" fmla="*/ 911 w 977"/>
                <a:gd name="T55" fmla="*/ 126 h 228"/>
                <a:gd name="T56" fmla="*/ 810 w 977"/>
                <a:gd name="T57" fmla="*/ 80 h 228"/>
                <a:gd name="T58" fmla="*/ 486 w 977"/>
                <a:gd name="T59" fmla="*/ 36 h 228"/>
                <a:gd name="T60" fmla="*/ 436 w 977"/>
                <a:gd name="T61" fmla="*/ 39 h 228"/>
                <a:gd name="T62" fmla="*/ 322 w 977"/>
                <a:gd name="T63" fmla="*/ 48 h 228"/>
                <a:gd name="T64" fmla="*/ 121 w 977"/>
                <a:gd name="T65" fmla="*/ 94 h 228"/>
                <a:gd name="T66" fmla="*/ 45 w 977"/>
                <a:gd name="T67" fmla="*/ 139 h 228"/>
                <a:gd name="T68" fmla="*/ 36 w 977"/>
                <a:gd name="T69" fmla="*/ 155 h 228"/>
                <a:gd name="T70" fmla="*/ 44 w 977"/>
                <a:gd name="T71" fmla="*/ 167 h 228"/>
                <a:gd name="T72" fmla="*/ 89 w 977"/>
                <a:gd name="T73" fmla="*/ 187 h 228"/>
                <a:gd name="T74" fmla="*/ 151 w 977"/>
                <a:gd name="T75" fmla="*/ 156 h 228"/>
                <a:gd name="T76" fmla="*/ 166 w 977"/>
                <a:gd name="T77" fmla="*/ 151 h 228"/>
                <a:gd name="T78" fmla="*/ 443 w 977"/>
                <a:gd name="T79" fmla="*/ 103 h 228"/>
                <a:gd name="T80" fmla="*/ 491 w 977"/>
                <a:gd name="T81" fmla="*/ 10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7" h="228">
                  <a:moveTo>
                    <a:pt x="873" y="228"/>
                  </a:moveTo>
                  <a:cubicBezTo>
                    <a:pt x="867" y="228"/>
                    <a:pt x="863" y="226"/>
                    <a:pt x="861" y="224"/>
                  </a:cubicBezTo>
                  <a:cubicBezTo>
                    <a:pt x="825" y="193"/>
                    <a:pt x="792" y="182"/>
                    <a:pt x="742" y="169"/>
                  </a:cubicBezTo>
                  <a:cubicBezTo>
                    <a:pt x="655" y="145"/>
                    <a:pt x="560" y="135"/>
                    <a:pt x="444" y="139"/>
                  </a:cubicBezTo>
                  <a:cubicBezTo>
                    <a:pt x="338" y="142"/>
                    <a:pt x="254" y="157"/>
                    <a:pt x="179" y="185"/>
                  </a:cubicBezTo>
                  <a:cubicBezTo>
                    <a:pt x="173" y="187"/>
                    <a:pt x="168" y="189"/>
                    <a:pt x="163" y="190"/>
                  </a:cubicBezTo>
                  <a:cubicBezTo>
                    <a:pt x="141" y="198"/>
                    <a:pt x="124" y="204"/>
                    <a:pt x="107" y="219"/>
                  </a:cubicBezTo>
                  <a:cubicBezTo>
                    <a:pt x="99" y="226"/>
                    <a:pt x="92" y="226"/>
                    <a:pt x="62" y="216"/>
                  </a:cubicBezTo>
                  <a:cubicBezTo>
                    <a:pt x="48" y="211"/>
                    <a:pt x="30" y="203"/>
                    <a:pt x="20" y="193"/>
                  </a:cubicBezTo>
                  <a:cubicBezTo>
                    <a:pt x="7" y="181"/>
                    <a:pt x="1" y="169"/>
                    <a:pt x="0" y="156"/>
                  </a:cubicBezTo>
                  <a:cubicBezTo>
                    <a:pt x="0" y="142"/>
                    <a:pt x="6" y="128"/>
                    <a:pt x="19" y="114"/>
                  </a:cubicBezTo>
                  <a:cubicBezTo>
                    <a:pt x="46" y="86"/>
                    <a:pt x="79" y="71"/>
                    <a:pt x="108" y="60"/>
                  </a:cubicBezTo>
                  <a:cubicBezTo>
                    <a:pt x="170" y="36"/>
                    <a:pt x="238" y="20"/>
                    <a:pt x="318" y="12"/>
                  </a:cubicBezTo>
                  <a:cubicBezTo>
                    <a:pt x="357" y="8"/>
                    <a:pt x="396" y="6"/>
                    <a:pt x="433" y="3"/>
                  </a:cubicBezTo>
                  <a:cubicBezTo>
                    <a:pt x="450" y="2"/>
                    <a:pt x="467" y="1"/>
                    <a:pt x="484" y="0"/>
                  </a:cubicBezTo>
                  <a:cubicBezTo>
                    <a:pt x="485" y="0"/>
                    <a:pt x="485" y="0"/>
                    <a:pt x="486" y="0"/>
                  </a:cubicBezTo>
                  <a:cubicBezTo>
                    <a:pt x="579" y="2"/>
                    <a:pt x="700" y="10"/>
                    <a:pt x="820" y="45"/>
                  </a:cubicBezTo>
                  <a:cubicBezTo>
                    <a:pt x="857" y="56"/>
                    <a:pt x="896" y="70"/>
                    <a:pt x="932" y="97"/>
                  </a:cubicBezTo>
                  <a:cubicBezTo>
                    <a:pt x="943" y="105"/>
                    <a:pt x="952" y="115"/>
                    <a:pt x="961" y="126"/>
                  </a:cubicBezTo>
                  <a:cubicBezTo>
                    <a:pt x="970" y="138"/>
                    <a:pt x="977" y="158"/>
                    <a:pt x="961" y="181"/>
                  </a:cubicBezTo>
                  <a:cubicBezTo>
                    <a:pt x="943" y="208"/>
                    <a:pt x="888" y="227"/>
                    <a:pt x="876" y="228"/>
                  </a:cubicBezTo>
                  <a:cubicBezTo>
                    <a:pt x="875" y="228"/>
                    <a:pt x="874" y="228"/>
                    <a:pt x="873" y="228"/>
                  </a:cubicBezTo>
                  <a:close/>
                  <a:moveTo>
                    <a:pt x="491" y="102"/>
                  </a:moveTo>
                  <a:cubicBezTo>
                    <a:pt x="589" y="102"/>
                    <a:pt x="673" y="112"/>
                    <a:pt x="752" y="134"/>
                  </a:cubicBezTo>
                  <a:cubicBezTo>
                    <a:pt x="793" y="145"/>
                    <a:pt x="835" y="157"/>
                    <a:pt x="878" y="191"/>
                  </a:cubicBezTo>
                  <a:cubicBezTo>
                    <a:pt x="892" y="186"/>
                    <a:pt x="923" y="173"/>
                    <a:pt x="931" y="161"/>
                  </a:cubicBezTo>
                  <a:cubicBezTo>
                    <a:pt x="936" y="154"/>
                    <a:pt x="935" y="152"/>
                    <a:pt x="932" y="147"/>
                  </a:cubicBezTo>
                  <a:cubicBezTo>
                    <a:pt x="926" y="139"/>
                    <a:pt x="918" y="132"/>
                    <a:pt x="911" y="126"/>
                  </a:cubicBezTo>
                  <a:cubicBezTo>
                    <a:pt x="879" y="102"/>
                    <a:pt x="844" y="90"/>
                    <a:pt x="810" y="80"/>
                  </a:cubicBezTo>
                  <a:cubicBezTo>
                    <a:pt x="694" y="46"/>
                    <a:pt x="576" y="38"/>
                    <a:pt x="486" y="36"/>
                  </a:cubicBezTo>
                  <a:cubicBezTo>
                    <a:pt x="469" y="37"/>
                    <a:pt x="452" y="38"/>
                    <a:pt x="436" y="39"/>
                  </a:cubicBezTo>
                  <a:cubicBezTo>
                    <a:pt x="398" y="42"/>
                    <a:pt x="359" y="44"/>
                    <a:pt x="322" y="48"/>
                  </a:cubicBezTo>
                  <a:cubicBezTo>
                    <a:pt x="245" y="56"/>
                    <a:pt x="180" y="71"/>
                    <a:pt x="121" y="94"/>
                  </a:cubicBezTo>
                  <a:cubicBezTo>
                    <a:pt x="95" y="104"/>
                    <a:pt x="67" y="116"/>
                    <a:pt x="45" y="139"/>
                  </a:cubicBezTo>
                  <a:cubicBezTo>
                    <a:pt x="39" y="145"/>
                    <a:pt x="36" y="151"/>
                    <a:pt x="36" y="155"/>
                  </a:cubicBezTo>
                  <a:cubicBezTo>
                    <a:pt x="37" y="159"/>
                    <a:pt x="41" y="163"/>
                    <a:pt x="44" y="167"/>
                  </a:cubicBezTo>
                  <a:cubicBezTo>
                    <a:pt x="52" y="174"/>
                    <a:pt x="77" y="183"/>
                    <a:pt x="89" y="187"/>
                  </a:cubicBezTo>
                  <a:cubicBezTo>
                    <a:pt x="110" y="171"/>
                    <a:pt x="130" y="164"/>
                    <a:pt x="151" y="156"/>
                  </a:cubicBezTo>
                  <a:cubicBezTo>
                    <a:pt x="156" y="155"/>
                    <a:pt x="161" y="153"/>
                    <a:pt x="166" y="151"/>
                  </a:cubicBezTo>
                  <a:cubicBezTo>
                    <a:pt x="245" y="122"/>
                    <a:pt x="333" y="106"/>
                    <a:pt x="443" y="103"/>
                  </a:cubicBezTo>
                  <a:cubicBezTo>
                    <a:pt x="459" y="102"/>
                    <a:pt x="475" y="102"/>
                    <a:pt x="491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02" name="Freeform 95"/>
            <p:cNvSpPr>
              <a:spLocks noEditPoints="1"/>
            </p:cNvSpPr>
            <p:nvPr/>
          </p:nvSpPr>
          <p:spPr bwMode="auto">
            <a:xfrm>
              <a:off x="315" y="2864"/>
              <a:ext cx="325" cy="159"/>
            </a:xfrm>
            <a:custGeom>
              <a:avLst/>
              <a:gdLst>
                <a:gd name="T0" fmla="*/ 324 w 971"/>
                <a:gd name="T1" fmla="*/ 474 h 475"/>
                <a:gd name="T2" fmla="*/ 321 w 971"/>
                <a:gd name="T3" fmla="*/ 474 h 475"/>
                <a:gd name="T4" fmla="*/ 265 w 971"/>
                <a:gd name="T5" fmla="*/ 464 h 475"/>
                <a:gd name="T6" fmla="*/ 265 w 971"/>
                <a:gd name="T7" fmla="*/ 464 h 475"/>
                <a:gd name="T8" fmla="*/ 138 w 971"/>
                <a:gd name="T9" fmla="*/ 421 h 475"/>
                <a:gd name="T10" fmla="*/ 115 w 971"/>
                <a:gd name="T11" fmla="*/ 408 h 475"/>
                <a:gd name="T12" fmla="*/ 56 w 971"/>
                <a:gd name="T13" fmla="*/ 324 h 475"/>
                <a:gd name="T14" fmla="*/ 0 w 971"/>
                <a:gd name="T15" fmla="*/ 29 h 475"/>
                <a:gd name="T16" fmla="*/ 0 w 971"/>
                <a:gd name="T17" fmla="*/ 22 h 475"/>
                <a:gd name="T18" fmla="*/ 16 w 971"/>
                <a:gd name="T19" fmla="*/ 7 h 475"/>
                <a:gd name="T20" fmla="*/ 22 w 971"/>
                <a:gd name="T21" fmla="*/ 8 h 475"/>
                <a:gd name="T22" fmla="*/ 26 w 971"/>
                <a:gd name="T23" fmla="*/ 9 h 475"/>
                <a:gd name="T24" fmla="*/ 49 w 971"/>
                <a:gd name="T25" fmla="*/ 22 h 475"/>
                <a:gd name="T26" fmla="*/ 98 w 971"/>
                <a:gd name="T27" fmla="*/ 46 h 475"/>
                <a:gd name="T28" fmla="*/ 286 w 971"/>
                <a:gd name="T29" fmla="*/ 94 h 475"/>
                <a:gd name="T30" fmla="*/ 500 w 971"/>
                <a:gd name="T31" fmla="*/ 107 h 475"/>
                <a:gd name="T32" fmla="*/ 501 w 971"/>
                <a:gd name="T33" fmla="*/ 107 h 475"/>
                <a:gd name="T34" fmla="*/ 840 w 971"/>
                <a:gd name="T35" fmla="*/ 58 h 475"/>
                <a:gd name="T36" fmla="*/ 941 w 971"/>
                <a:gd name="T37" fmla="*/ 5 h 475"/>
                <a:gd name="T38" fmla="*/ 962 w 971"/>
                <a:gd name="T39" fmla="*/ 4 h 475"/>
                <a:gd name="T40" fmla="*/ 970 w 971"/>
                <a:gd name="T41" fmla="*/ 22 h 475"/>
                <a:gd name="T42" fmla="*/ 908 w 971"/>
                <a:gd name="T43" fmla="*/ 338 h 475"/>
                <a:gd name="T44" fmla="*/ 878 w 971"/>
                <a:gd name="T45" fmla="*/ 388 h 475"/>
                <a:gd name="T46" fmla="*/ 786 w 971"/>
                <a:gd name="T47" fmla="*/ 440 h 475"/>
                <a:gd name="T48" fmla="*/ 647 w 971"/>
                <a:gd name="T49" fmla="*/ 474 h 475"/>
                <a:gd name="T50" fmla="*/ 632 w 971"/>
                <a:gd name="T51" fmla="*/ 469 h 475"/>
                <a:gd name="T52" fmla="*/ 627 w 971"/>
                <a:gd name="T53" fmla="*/ 454 h 475"/>
                <a:gd name="T54" fmla="*/ 613 w 971"/>
                <a:gd name="T55" fmla="*/ 295 h 475"/>
                <a:gd name="T56" fmla="*/ 594 w 971"/>
                <a:gd name="T57" fmla="*/ 280 h 475"/>
                <a:gd name="T58" fmla="*/ 390 w 971"/>
                <a:gd name="T59" fmla="*/ 280 h 475"/>
                <a:gd name="T60" fmla="*/ 372 w 971"/>
                <a:gd name="T61" fmla="*/ 293 h 475"/>
                <a:gd name="T62" fmla="*/ 341 w 971"/>
                <a:gd name="T63" fmla="*/ 460 h 475"/>
                <a:gd name="T64" fmla="*/ 324 w 971"/>
                <a:gd name="T65" fmla="*/ 474 h 475"/>
                <a:gd name="T66" fmla="*/ 272 w 971"/>
                <a:gd name="T67" fmla="*/ 429 h 475"/>
                <a:gd name="T68" fmla="*/ 309 w 971"/>
                <a:gd name="T69" fmla="*/ 436 h 475"/>
                <a:gd name="T70" fmla="*/ 337 w 971"/>
                <a:gd name="T71" fmla="*/ 283 h 475"/>
                <a:gd name="T72" fmla="*/ 339 w 971"/>
                <a:gd name="T73" fmla="*/ 279 h 475"/>
                <a:gd name="T74" fmla="*/ 390 w 971"/>
                <a:gd name="T75" fmla="*/ 244 h 475"/>
                <a:gd name="T76" fmla="*/ 594 w 971"/>
                <a:gd name="T77" fmla="*/ 244 h 475"/>
                <a:gd name="T78" fmla="*/ 646 w 971"/>
                <a:gd name="T79" fmla="*/ 280 h 475"/>
                <a:gd name="T80" fmla="*/ 663 w 971"/>
                <a:gd name="T81" fmla="*/ 435 h 475"/>
                <a:gd name="T82" fmla="*/ 774 w 971"/>
                <a:gd name="T83" fmla="*/ 406 h 475"/>
                <a:gd name="T84" fmla="*/ 854 w 971"/>
                <a:gd name="T85" fmla="*/ 361 h 475"/>
                <a:gd name="T86" fmla="*/ 873 w 971"/>
                <a:gd name="T87" fmla="*/ 329 h 475"/>
                <a:gd name="T88" fmla="*/ 927 w 971"/>
                <a:gd name="T89" fmla="*/ 58 h 475"/>
                <a:gd name="T90" fmla="*/ 852 w 971"/>
                <a:gd name="T91" fmla="*/ 92 h 475"/>
                <a:gd name="T92" fmla="*/ 501 w 971"/>
                <a:gd name="T93" fmla="*/ 143 h 475"/>
                <a:gd name="T94" fmla="*/ 500 w 971"/>
                <a:gd name="T95" fmla="*/ 143 h 475"/>
                <a:gd name="T96" fmla="*/ 282 w 971"/>
                <a:gd name="T97" fmla="*/ 130 h 475"/>
                <a:gd name="T98" fmla="*/ 83 w 971"/>
                <a:gd name="T99" fmla="*/ 79 h 475"/>
                <a:gd name="T100" fmla="*/ 42 w 971"/>
                <a:gd name="T101" fmla="*/ 59 h 475"/>
                <a:gd name="T102" fmla="*/ 91 w 971"/>
                <a:gd name="T103" fmla="*/ 316 h 475"/>
                <a:gd name="T104" fmla="*/ 134 w 971"/>
                <a:gd name="T105" fmla="*/ 377 h 475"/>
                <a:gd name="T106" fmla="*/ 155 w 971"/>
                <a:gd name="T107" fmla="*/ 389 h 475"/>
                <a:gd name="T108" fmla="*/ 272 w 971"/>
                <a:gd name="T109" fmla="*/ 429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1" h="475">
                  <a:moveTo>
                    <a:pt x="324" y="474"/>
                  </a:moveTo>
                  <a:cubicBezTo>
                    <a:pt x="323" y="474"/>
                    <a:pt x="322" y="474"/>
                    <a:pt x="321" y="474"/>
                  </a:cubicBezTo>
                  <a:cubicBezTo>
                    <a:pt x="265" y="464"/>
                    <a:pt x="265" y="464"/>
                    <a:pt x="265" y="464"/>
                  </a:cubicBezTo>
                  <a:cubicBezTo>
                    <a:pt x="265" y="464"/>
                    <a:pt x="265" y="464"/>
                    <a:pt x="265" y="464"/>
                  </a:cubicBezTo>
                  <a:cubicBezTo>
                    <a:pt x="212" y="453"/>
                    <a:pt x="173" y="440"/>
                    <a:pt x="138" y="421"/>
                  </a:cubicBezTo>
                  <a:cubicBezTo>
                    <a:pt x="130" y="417"/>
                    <a:pt x="122" y="413"/>
                    <a:pt x="115" y="408"/>
                  </a:cubicBezTo>
                  <a:cubicBezTo>
                    <a:pt x="82" y="387"/>
                    <a:pt x="64" y="360"/>
                    <a:pt x="56" y="324"/>
                  </a:cubicBezTo>
                  <a:cubicBezTo>
                    <a:pt x="39" y="248"/>
                    <a:pt x="2" y="38"/>
                    <a:pt x="0" y="29"/>
                  </a:cubicBezTo>
                  <a:cubicBezTo>
                    <a:pt x="0" y="26"/>
                    <a:pt x="0" y="24"/>
                    <a:pt x="0" y="22"/>
                  </a:cubicBezTo>
                  <a:cubicBezTo>
                    <a:pt x="2" y="14"/>
                    <a:pt x="8" y="8"/>
                    <a:pt x="16" y="7"/>
                  </a:cubicBezTo>
                  <a:cubicBezTo>
                    <a:pt x="18" y="7"/>
                    <a:pt x="20" y="7"/>
                    <a:pt x="22" y="8"/>
                  </a:cubicBezTo>
                  <a:cubicBezTo>
                    <a:pt x="23" y="8"/>
                    <a:pt x="25" y="8"/>
                    <a:pt x="26" y="9"/>
                  </a:cubicBezTo>
                  <a:cubicBezTo>
                    <a:pt x="34" y="13"/>
                    <a:pt x="41" y="17"/>
                    <a:pt x="49" y="22"/>
                  </a:cubicBezTo>
                  <a:cubicBezTo>
                    <a:pt x="65" y="30"/>
                    <a:pt x="81" y="39"/>
                    <a:pt x="98" y="46"/>
                  </a:cubicBezTo>
                  <a:cubicBezTo>
                    <a:pt x="155" y="71"/>
                    <a:pt x="217" y="87"/>
                    <a:pt x="286" y="94"/>
                  </a:cubicBezTo>
                  <a:cubicBezTo>
                    <a:pt x="345" y="100"/>
                    <a:pt x="423" y="107"/>
                    <a:pt x="500" y="107"/>
                  </a:cubicBezTo>
                  <a:cubicBezTo>
                    <a:pt x="501" y="107"/>
                    <a:pt x="501" y="107"/>
                    <a:pt x="501" y="107"/>
                  </a:cubicBezTo>
                  <a:cubicBezTo>
                    <a:pt x="633" y="107"/>
                    <a:pt x="740" y="92"/>
                    <a:pt x="840" y="58"/>
                  </a:cubicBezTo>
                  <a:cubicBezTo>
                    <a:pt x="882" y="44"/>
                    <a:pt x="913" y="28"/>
                    <a:pt x="941" y="5"/>
                  </a:cubicBezTo>
                  <a:cubicBezTo>
                    <a:pt x="947" y="1"/>
                    <a:pt x="955" y="0"/>
                    <a:pt x="962" y="4"/>
                  </a:cubicBezTo>
                  <a:cubicBezTo>
                    <a:pt x="968" y="8"/>
                    <a:pt x="971" y="15"/>
                    <a:pt x="970" y="22"/>
                  </a:cubicBezTo>
                  <a:cubicBezTo>
                    <a:pt x="957" y="100"/>
                    <a:pt x="919" y="293"/>
                    <a:pt x="908" y="338"/>
                  </a:cubicBezTo>
                  <a:cubicBezTo>
                    <a:pt x="903" y="357"/>
                    <a:pt x="894" y="373"/>
                    <a:pt x="878" y="388"/>
                  </a:cubicBezTo>
                  <a:cubicBezTo>
                    <a:pt x="850" y="414"/>
                    <a:pt x="817" y="429"/>
                    <a:pt x="786" y="440"/>
                  </a:cubicBezTo>
                  <a:cubicBezTo>
                    <a:pt x="744" y="456"/>
                    <a:pt x="699" y="467"/>
                    <a:pt x="647" y="474"/>
                  </a:cubicBezTo>
                  <a:cubicBezTo>
                    <a:pt x="641" y="475"/>
                    <a:pt x="636" y="473"/>
                    <a:pt x="632" y="469"/>
                  </a:cubicBezTo>
                  <a:cubicBezTo>
                    <a:pt x="628" y="465"/>
                    <a:pt x="626" y="459"/>
                    <a:pt x="627" y="454"/>
                  </a:cubicBezTo>
                  <a:cubicBezTo>
                    <a:pt x="629" y="436"/>
                    <a:pt x="619" y="312"/>
                    <a:pt x="613" y="295"/>
                  </a:cubicBezTo>
                  <a:cubicBezTo>
                    <a:pt x="607" y="282"/>
                    <a:pt x="600" y="280"/>
                    <a:pt x="594" y="280"/>
                  </a:cubicBezTo>
                  <a:cubicBezTo>
                    <a:pt x="522" y="280"/>
                    <a:pt x="454" y="280"/>
                    <a:pt x="390" y="280"/>
                  </a:cubicBezTo>
                  <a:cubicBezTo>
                    <a:pt x="385" y="280"/>
                    <a:pt x="378" y="282"/>
                    <a:pt x="372" y="293"/>
                  </a:cubicBezTo>
                  <a:cubicBezTo>
                    <a:pt x="341" y="460"/>
                    <a:pt x="341" y="460"/>
                    <a:pt x="341" y="460"/>
                  </a:cubicBezTo>
                  <a:cubicBezTo>
                    <a:pt x="340" y="468"/>
                    <a:pt x="332" y="474"/>
                    <a:pt x="324" y="474"/>
                  </a:cubicBezTo>
                  <a:close/>
                  <a:moveTo>
                    <a:pt x="272" y="429"/>
                  </a:moveTo>
                  <a:cubicBezTo>
                    <a:pt x="309" y="436"/>
                    <a:pt x="309" y="436"/>
                    <a:pt x="309" y="436"/>
                  </a:cubicBezTo>
                  <a:cubicBezTo>
                    <a:pt x="337" y="283"/>
                    <a:pt x="337" y="283"/>
                    <a:pt x="337" y="283"/>
                  </a:cubicBezTo>
                  <a:cubicBezTo>
                    <a:pt x="337" y="282"/>
                    <a:pt x="338" y="280"/>
                    <a:pt x="339" y="279"/>
                  </a:cubicBezTo>
                  <a:cubicBezTo>
                    <a:pt x="349" y="257"/>
                    <a:pt x="368" y="244"/>
                    <a:pt x="390" y="244"/>
                  </a:cubicBezTo>
                  <a:cubicBezTo>
                    <a:pt x="454" y="244"/>
                    <a:pt x="522" y="244"/>
                    <a:pt x="594" y="244"/>
                  </a:cubicBezTo>
                  <a:cubicBezTo>
                    <a:pt x="610" y="244"/>
                    <a:pt x="633" y="250"/>
                    <a:pt x="646" y="280"/>
                  </a:cubicBezTo>
                  <a:cubicBezTo>
                    <a:pt x="653" y="295"/>
                    <a:pt x="661" y="388"/>
                    <a:pt x="663" y="435"/>
                  </a:cubicBezTo>
                  <a:cubicBezTo>
                    <a:pt x="703" y="429"/>
                    <a:pt x="740" y="419"/>
                    <a:pt x="774" y="406"/>
                  </a:cubicBezTo>
                  <a:cubicBezTo>
                    <a:pt x="801" y="396"/>
                    <a:pt x="830" y="384"/>
                    <a:pt x="854" y="361"/>
                  </a:cubicBezTo>
                  <a:cubicBezTo>
                    <a:pt x="864" y="352"/>
                    <a:pt x="870" y="342"/>
                    <a:pt x="873" y="329"/>
                  </a:cubicBezTo>
                  <a:cubicBezTo>
                    <a:pt x="882" y="292"/>
                    <a:pt x="911" y="148"/>
                    <a:pt x="927" y="58"/>
                  </a:cubicBezTo>
                  <a:cubicBezTo>
                    <a:pt x="905" y="71"/>
                    <a:pt x="881" y="82"/>
                    <a:pt x="852" y="92"/>
                  </a:cubicBezTo>
                  <a:cubicBezTo>
                    <a:pt x="748" y="127"/>
                    <a:pt x="637" y="143"/>
                    <a:pt x="501" y="143"/>
                  </a:cubicBezTo>
                  <a:cubicBezTo>
                    <a:pt x="501" y="143"/>
                    <a:pt x="501" y="143"/>
                    <a:pt x="500" y="143"/>
                  </a:cubicBezTo>
                  <a:cubicBezTo>
                    <a:pt x="421" y="143"/>
                    <a:pt x="342" y="136"/>
                    <a:pt x="282" y="130"/>
                  </a:cubicBezTo>
                  <a:cubicBezTo>
                    <a:pt x="210" y="122"/>
                    <a:pt x="143" y="105"/>
                    <a:pt x="83" y="79"/>
                  </a:cubicBezTo>
                  <a:cubicBezTo>
                    <a:pt x="69" y="73"/>
                    <a:pt x="55" y="66"/>
                    <a:pt x="42" y="59"/>
                  </a:cubicBezTo>
                  <a:cubicBezTo>
                    <a:pt x="54" y="124"/>
                    <a:pt x="78" y="259"/>
                    <a:pt x="91" y="316"/>
                  </a:cubicBezTo>
                  <a:cubicBezTo>
                    <a:pt x="97" y="344"/>
                    <a:pt x="110" y="362"/>
                    <a:pt x="134" y="377"/>
                  </a:cubicBezTo>
                  <a:cubicBezTo>
                    <a:pt x="141" y="382"/>
                    <a:pt x="148" y="386"/>
                    <a:pt x="155" y="389"/>
                  </a:cubicBezTo>
                  <a:cubicBezTo>
                    <a:pt x="187" y="406"/>
                    <a:pt x="223" y="418"/>
                    <a:pt x="272" y="4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3" name="Freeform 96"/>
            <p:cNvSpPr>
              <a:spLocks noEditPoints="1"/>
            </p:cNvSpPr>
            <p:nvPr/>
          </p:nvSpPr>
          <p:spPr bwMode="auto">
            <a:xfrm>
              <a:off x="334" y="2758"/>
              <a:ext cx="195" cy="69"/>
            </a:xfrm>
            <a:custGeom>
              <a:avLst/>
              <a:gdLst>
                <a:gd name="T0" fmla="*/ 312 w 582"/>
                <a:gd name="T1" fmla="*/ 132 h 204"/>
                <a:gd name="T2" fmla="*/ 317 w 582"/>
                <a:gd name="T3" fmla="*/ 129 h 204"/>
                <a:gd name="T4" fmla="*/ 395 w 582"/>
                <a:gd name="T5" fmla="*/ 96 h 204"/>
                <a:gd name="T6" fmla="*/ 477 w 582"/>
                <a:gd name="T7" fmla="*/ 93 h 204"/>
                <a:gd name="T8" fmla="*/ 530 w 582"/>
                <a:gd name="T9" fmla="*/ 84 h 204"/>
                <a:gd name="T10" fmla="*/ 582 w 582"/>
                <a:gd name="T11" fmla="*/ 43 h 204"/>
                <a:gd name="T12" fmla="*/ 549 w 582"/>
                <a:gd name="T13" fmla="*/ 47 h 204"/>
                <a:gd name="T14" fmla="*/ 451 w 582"/>
                <a:gd name="T15" fmla="*/ 23 h 204"/>
                <a:gd name="T16" fmla="*/ 319 w 582"/>
                <a:gd name="T17" fmla="*/ 12 h 204"/>
                <a:gd name="T18" fmla="*/ 312 w 582"/>
                <a:gd name="T19" fmla="*/ 19 h 204"/>
                <a:gd name="T20" fmla="*/ 312 w 582"/>
                <a:gd name="T21" fmla="*/ 132 h 204"/>
                <a:gd name="T22" fmla="*/ 0 w 582"/>
                <a:gd name="T23" fmla="*/ 204 h 204"/>
                <a:gd name="T24" fmla="*/ 11 w 582"/>
                <a:gd name="T25" fmla="*/ 194 h 204"/>
                <a:gd name="T26" fmla="*/ 68 w 582"/>
                <a:gd name="T27" fmla="*/ 169 h 204"/>
                <a:gd name="T28" fmla="*/ 141 w 582"/>
                <a:gd name="T29" fmla="*/ 166 h 204"/>
                <a:gd name="T30" fmla="*/ 223 w 582"/>
                <a:gd name="T31" fmla="*/ 117 h 204"/>
                <a:gd name="T32" fmla="*/ 221 w 582"/>
                <a:gd name="T33" fmla="*/ 115 h 204"/>
                <a:gd name="T34" fmla="*/ 216 w 582"/>
                <a:gd name="T35" fmla="*/ 115 h 204"/>
                <a:gd name="T36" fmla="*/ 163 w 582"/>
                <a:gd name="T37" fmla="*/ 114 h 204"/>
                <a:gd name="T38" fmla="*/ 106 w 582"/>
                <a:gd name="T39" fmla="*/ 89 h 204"/>
                <a:gd name="T40" fmla="*/ 7 w 582"/>
                <a:gd name="T41" fmla="*/ 84 h 204"/>
                <a:gd name="T42" fmla="*/ 1 w 582"/>
                <a:gd name="T43" fmla="*/ 93 h 204"/>
                <a:gd name="T44" fmla="*/ 0 w 582"/>
                <a:gd name="T45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2" h="204">
                  <a:moveTo>
                    <a:pt x="312" y="132"/>
                  </a:moveTo>
                  <a:cubicBezTo>
                    <a:pt x="315" y="130"/>
                    <a:pt x="316" y="130"/>
                    <a:pt x="317" y="129"/>
                  </a:cubicBezTo>
                  <a:cubicBezTo>
                    <a:pt x="338" y="107"/>
                    <a:pt x="366" y="99"/>
                    <a:pt x="395" y="96"/>
                  </a:cubicBezTo>
                  <a:cubicBezTo>
                    <a:pt x="422" y="94"/>
                    <a:pt x="450" y="95"/>
                    <a:pt x="477" y="93"/>
                  </a:cubicBezTo>
                  <a:cubicBezTo>
                    <a:pt x="495" y="92"/>
                    <a:pt x="513" y="89"/>
                    <a:pt x="530" y="84"/>
                  </a:cubicBezTo>
                  <a:cubicBezTo>
                    <a:pt x="551" y="77"/>
                    <a:pt x="568" y="62"/>
                    <a:pt x="582" y="43"/>
                  </a:cubicBezTo>
                  <a:cubicBezTo>
                    <a:pt x="570" y="44"/>
                    <a:pt x="560" y="46"/>
                    <a:pt x="549" y="47"/>
                  </a:cubicBezTo>
                  <a:cubicBezTo>
                    <a:pt x="514" y="50"/>
                    <a:pt x="482" y="38"/>
                    <a:pt x="451" y="23"/>
                  </a:cubicBezTo>
                  <a:cubicBezTo>
                    <a:pt x="408" y="1"/>
                    <a:pt x="364" y="0"/>
                    <a:pt x="319" y="12"/>
                  </a:cubicBezTo>
                  <a:cubicBezTo>
                    <a:pt x="316" y="13"/>
                    <a:pt x="312" y="17"/>
                    <a:pt x="312" y="19"/>
                  </a:cubicBezTo>
                  <a:cubicBezTo>
                    <a:pt x="312" y="56"/>
                    <a:pt x="312" y="93"/>
                    <a:pt x="312" y="132"/>
                  </a:cubicBezTo>
                  <a:close/>
                  <a:moveTo>
                    <a:pt x="0" y="204"/>
                  </a:moveTo>
                  <a:cubicBezTo>
                    <a:pt x="5" y="200"/>
                    <a:pt x="8" y="197"/>
                    <a:pt x="11" y="194"/>
                  </a:cubicBezTo>
                  <a:cubicBezTo>
                    <a:pt x="27" y="179"/>
                    <a:pt x="47" y="171"/>
                    <a:pt x="68" y="169"/>
                  </a:cubicBezTo>
                  <a:cubicBezTo>
                    <a:pt x="92" y="167"/>
                    <a:pt x="117" y="168"/>
                    <a:pt x="141" y="166"/>
                  </a:cubicBezTo>
                  <a:cubicBezTo>
                    <a:pt x="177" y="164"/>
                    <a:pt x="204" y="147"/>
                    <a:pt x="223" y="117"/>
                  </a:cubicBezTo>
                  <a:cubicBezTo>
                    <a:pt x="222" y="116"/>
                    <a:pt x="221" y="115"/>
                    <a:pt x="221" y="115"/>
                  </a:cubicBezTo>
                  <a:cubicBezTo>
                    <a:pt x="219" y="115"/>
                    <a:pt x="217" y="115"/>
                    <a:pt x="216" y="115"/>
                  </a:cubicBezTo>
                  <a:cubicBezTo>
                    <a:pt x="198" y="120"/>
                    <a:pt x="180" y="121"/>
                    <a:pt x="163" y="114"/>
                  </a:cubicBezTo>
                  <a:cubicBezTo>
                    <a:pt x="143" y="107"/>
                    <a:pt x="124" y="98"/>
                    <a:pt x="106" y="89"/>
                  </a:cubicBezTo>
                  <a:cubicBezTo>
                    <a:pt x="73" y="72"/>
                    <a:pt x="40" y="72"/>
                    <a:pt x="7" y="84"/>
                  </a:cubicBezTo>
                  <a:cubicBezTo>
                    <a:pt x="4" y="85"/>
                    <a:pt x="1" y="90"/>
                    <a:pt x="1" y="93"/>
                  </a:cubicBezTo>
                  <a:cubicBezTo>
                    <a:pt x="0" y="129"/>
                    <a:pt x="0" y="165"/>
                    <a:pt x="0" y="2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4" name="Freeform 97"/>
            <p:cNvSpPr>
              <a:spLocks/>
            </p:cNvSpPr>
            <p:nvPr/>
          </p:nvSpPr>
          <p:spPr bwMode="auto">
            <a:xfrm>
              <a:off x="334" y="2783"/>
              <a:ext cx="75" cy="44"/>
            </a:xfrm>
            <a:custGeom>
              <a:avLst/>
              <a:gdLst>
                <a:gd name="T0" fmla="*/ 0 w 223"/>
                <a:gd name="T1" fmla="*/ 132 h 132"/>
                <a:gd name="T2" fmla="*/ 1 w 223"/>
                <a:gd name="T3" fmla="*/ 21 h 132"/>
                <a:gd name="T4" fmla="*/ 7 w 223"/>
                <a:gd name="T5" fmla="*/ 12 h 132"/>
                <a:gd name="T6" fmla="*/ 106 w 223"/>
                <a:gd name="T7" fmla="*/ 17 h 132"/>
                <a:gd name="T8" fmla="*/ 163 w 223"/>
                <a:gd name="T9" fmla="*/ 42 h 132"/>
                <a:gd name="T10" fmla="*/ 216 w 223"/>
                <a:gd name="T11" fmla="*/ 43 h 132"/>
                <a:gd name="T12" fmla="*/ 221 w 223"/>
                <a:gd name="T13" fmla="*/ 43 h 132"/>
                <a:gd name="T14" fmla="*/ 223 w 223"/>
                <a:gd name="T15" fmla="*/ 45 h 132"/>
                <a:gd name="T16" fmla="*/ 141 w 223"/>
                <a:gd name="T17" fmla="*/ 94 h 132"/>
                <a:gd name="T18" fmla="*/ 68 w 223"/>
                <a:gd name="T19" fmla="*/ 97 h 132"/>
                <a:gd name="T20" fmla="*/ 11 w 223"/>
                <a:gd name="T21" fmla="*/ 122 h 132"/>
                <a:gd name="T22" fmla="*/ 0 w 223"/>
                <a:gd name="T2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3" h="132">
                  <a:moveTo>
                    <a:pt x="0" y="132"/>
                  </a:moveTo>
                  <a:cubicBezTo>
                    <a:pt x="0" y="93"/>
                    <a:pt x="0" y="57"/>
                    <a:pt x="1" y="21"/>
                  </a:cubicBezTo>
                  <a:cubicBezTo>
                    <a:pt x="1" y="18"/>
                    <a:pt x="4" y="13"/>
                    <a:pt x="7" y="12"/>
                  </a:cubicBezTo>
                  <a:cubicBezTo>
                    <a:pt x="40" y="0"/>
                    <a:pt x="73" y="0"/>
                    <a:pt x="106" y="17"/>
                  </a:cubicBezTo>
                  <a:cubicBezTo>
                    <a:pt x="124" y="26"/>
                    <a:pt x="143" y="35"/>
                    <a:pt x="163" y="42"/>
                  </a:cubicBezTo>
                  <a:cubicBezTo>
                    <a:pt x="180" y="49"/>
                    <a:pt x="198" y="48"/>
                    <a:pt x="216" y="43"/>
                  </a:cubicBezTo>
                  <a:cubicBezTo>
                    <a:pt x="217" y="43"/>
                    <a:pt x="219" y="43"/>
                    <a:pt x="221" y="43"/>
                  </a:cubicBezTo>
                  <a:cubicBezTo>
                    <a:pt x="221" y="43"/>
                    <a:pt x="222" y="44"/>
                    <a:pt x="223" y="45"/>
                  </a:cubicBezTo>
                  <a:cubicBezTo>
                    <a:pt x="204" y="75"/>
                    <a:pt x="177" y="92"/>
                    <a:pt x="141" y="94"/>
                  </a:cubicBezTo>
                  <a:cubicBezTo>
                    <a:pt x="117" y="96"/>
                    <a:pt x="92" y="95"/>
                    <a:pt x="68" y="97"/>
                  </a:cubicBezTo>
                  <a:cubicBezTo>
                    <a:pt x="47" y="99"/>
                    <a:pt x="27" y="107"/>
                    <a:pt x="11" y="122"/>
                  </a:cubicBezTo>
                  <a:cubicBezTo>
                    <a:pt x="8" y="125"/>
                    <a:pt x="5" y="128"/>
                    <a:pt x="0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5" name="Freeform 98"/>
            <p:cNvSpPr>
              <a:spLocks/>
            </p:cNvSpPr>
            <p:nvPr/>
          </p:nvSpPr>
          <p:spPr bwMode="auto">
            <a:xfrm>
              <a:off x="549" y="2774"/>
              <a:ext cx="74" cy="44"/>
            </a:xfrm>
            <a:custGeom>
              <a:avLst/>
              <a:gdLst>
                <a:gd name="T0" fmla="*/ 0 w 223"/>
                <a:gd name="T1" fmla="*/ 133 h 133"/>
                <a:gd name="T2" fmla="*/ 1 w 223"/>
                <a:gd name="T3" fmla="*/ 21 h 133"/>
                <a:gd name="T4" fmla="*/ 7 w 223"/>
                <a:gd name="T5" fmla="*/ 13 h 133"/>
                <a:gd name="T6" fmla="*/ 106 w 223"/>
                <a:gd name="T7" fmla="*/ 17 h 133"/>
                <a:gd name="T8" fmla="*/ 163 w 223"/>
                <a:gd name="T9" fmla="*/ 43 h 133"/>
                <a:gd name="T10" fmla="*/ 216 w 223"/>
                <a:gd name="T11" fmla="*/ 43 h 133"/>
                <a:gd name="T12" fmla="*/ 221 w 223"/>
                <a:gd name="T13" fmla="*/ 43 h 133"/>
                <a:gd name="T14" fmla="*/ 223 w 223"/>
                <a:gd name="T15" fmla="*/ 45 h 133"/>
                <a:gd name="T16" fmla="*/ 141 w 223"/>
                <a:gd name="T17" fmla="*/ 94 h 133"/>
                <a:gd name="T18" fmla="*/ 68 w 223"/>
                <a:gd name="T19" fmla="*/ 97 h 133"/>
                <a:gd name="T20" fmla="*/ 11 w 223"/>
                <a:gd name="T21" fmla="*/ 122 h 133"/>
                <a:gd name="T22" fmla="*/ 0 w 223"/>
                <a:gd name="T2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3" h="133">
                  <a:moveTo>
                    <a:pt x="0" y="133"/>
                  </a:moveTo>
                  <a:cubicBezTo>
                    <a:pt x="0" y="94"/>
                    <a:pt x="0" y="57"/>
                    <a:pt x="1" y="21"/>
                  </a:cubicBezTo>
                  <a:cubicBezTo>
                    <a:pt x="1" y="18"/>
                    <a:pt x="4" y="14"/>
                    <a:pt x="7" y="13"/>
                  </a:cubicBezTo>
                  <a:cubicBezTo>
                    <a:pt x="40" y="1"/>
                    <a:pt x="73" y="0"/>
                    <a:pt x="106" y="17"/>
                  </a:cubicBezTo>
                  <a:cubicBezTo>
                    <a:pt x="124" y="27"/>
                    <a:pt x="143" y="35"/>
                    <a:pt x="163" y="43"/>
                  </a:cubicBezTo>
                  <a:cubicBezTo>
                    <a:pt x="180" y="49"/>
                    <a:pt x="198" y="48"/>
                    <a:pt x="216" y="43"/>
                  </a:cubicBezTo>
                  <a:cubicBezTo>
                    <a:pt x="217" y="43"/>
                    <a:pt x="219" y="43"/>
                    <a:pt x="221" y="43"/>
                  </a:cubicBezTo>
                  <a:cubicBezTo>
                    <a:pt x="221" y="43"/>
                    <a:pt x="222" y="44"/>
                    <a:pt x="223" y="45"/>
                  </a:cubicBezTo>
                  <a:cubicBezTo>
                    <a:pt x="204" y="76"/>
                    <a:pt x="177" y="92"/>
                    <a:pt x="141" y="94"/>
                  </a:cubicBezTo>
                  <a:cubicBezTo>
                    <a:pt x="117" y="96"/>
                    <a:pt x="92" y="95"/>
                    <a:pt x="68" y="97"/>
                  </a:cubicBezTo>
                  <a:cubicBezTo>
                    <a:pt x="47" y="99"/>
                    <a:pt x="27" y="107"/>
                    <a:pt x="11" y="122"/>
                  </a:cubicBezTo>
                  <a:cubicBezTo>
                    <a:pt x="8" y="125"/>
                    <a:pt x="5" y="128"/>
                    <a:pt x="0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6" name="Freeform 99"/>
            <p:cNvSpPr>
              <a:spLocks/>
            </p:cNvSpPr>
            <p:nvPr/>
          </p:nvSpPr>
          <p:spPr bwMode="auto">
            <a:xfrm>
              <a:off x="367" y="2829"/>
              <a:ext cx="76" cy="79"/>
            </a:xfrm>
            <a:custGeom>
              <a:avLst/>
              <a:gdLst>
                <a:gd name="T0" fmla="*/ 71 w 76"/>
                <a:gd name="T1" fmla="*/ 79 h 79"/>
                <a:gd name="T2" fmla="*/ 0 w 76"/>
                <a:gd name="T3" fmla="*/ 4 h 79"/>
                <a:gd name="T4" fmla="*/ 5 w 76"/>
                <a:gd name="T5" fmla="*/ 0 h 79"/>
                <a:gd name="T6" fmla="*/ 76 w 76"/>
                <a:gd name="T7" fmla="*/ 75 h 79"/>
                <a:gd name="T8" fmla="*/ 71 w 76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9">
                  <a:moveTo>
                    <a:pt x="71" y="79"/>
                  </a:moveTo>
                  <a:lnTo>
                    <a:pt x="0" y="4"/>
                  </a:lnTo>
                  <a:lnTo>
                    <a:pt x="5" y="0"/>
                  </a:lnTo>
                  <a:lnTo>
                    <a:pt x="76" y="75"/>
                  </a:lnTo>
                  <a:lnTo>
                    <a:pt x="71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7" name="Freeform 100"/>
            <p:cNvSpPr>
              <a:spLocks/>
            </p:cNvSpPr>
            <p:nvPr/>
          </p:nvSpPr>
          <p:spPr bwMode="auto">
            <a:xfrm>
              <a:off x="451" y="2819"/>
              <a:ext cx="11" cy="88"/>
            </a:xfrm>
            <a:custGeom>
              <a:avLst/>
              <a:gdLst>
                <a:gd name="T0" fmla="*/ 5 w 11"/>
                <a:gd name="T1" fmla="*/ 88 h 88"/>
                <a:gd name="T2" fmla="*/ 0 w 11"/>
                <a:gd name="T3" fmla="*/ 0 h 88"/>
                <a:gd name="T4" fmla="*/ 6 w 11"/>
                <a:gd name="T5" fmla="*/ 0 h 88"/>
                <a:gd name="T6" fmla="*/ 11 w 11"/>
                <a:gd name="T7" fmla="*/ 88 h 88"/>
                <a:gd name="T8" fmla="*/ 5 w 11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8">
                  <a:moveTo>
                    <a:pt x="5" y="88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88"/>
                  </a:lnTo>
                  <a:lnTo>
                    <a:pt x="5" y="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8" name="Freeform 101"/>
            <p:cNvSpPr>
              <a:spLocks/>
            </p:cNvSpPr>
            <p:nvPr/>
          </p:nvSpPr>
          <p:spPr bwMode="auto">
            <a:xfrm>
              <a:off x="502" y="2819"/>
              <a:ext cx="17" cy="88"/>
            </a:xfrm>
            <a:custGeom>
              <a:avLst/>
              <a:gdLst>
                <a:gd name="T0" fmla="*/ 6 w 17"/>
                <a:gd name="T1" fmla="*/ 88 h 88"/>
                <a:gd name="T2" fmla="*/ 0 w 17"/>
                <a:gd name="T3" fmla="*/ 88 h 88"/>
                <a:gd name="T4" fmla="*/ 11 w 17"/>
                <a:gd name="T5" fmla="*/ 0 h 88"/>
                <a:gd name="T6" fmla="*/ 17 w 17"/>
                <a:gd name="T7" fmla="*/ 1 h 88"/>
                <a:gd name="T8" fmla="*/ 6 w 17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88">
                  <a:moveTo>
                    <a:pt x="6" y="88"/>
                  </a:moveTo>
                  <a:lnTo>
                    <a:pt x="0" y="88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6" y="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9" name="Freeform 102"/>
            <p:cNvSpPr>
              <a:spLocks/>
            </p:cNvSpPr>
            <p:nvPr/>
          </p:nvSpPr>
          <p:spPr bwMode="auto">
            <a:xfrm>
              <a:off x="529" y="2833"/>
              <a:ext cx="68" cy="75"/>
            </a:xfrm>
            <a:custGeom>
              <a:avLst/>
              <a:gdLst>
                <a:gd name="T0" fmla="*/ 13 w 202"/>
                <a:gd name="T1" fmla="*/ 223 h 223"/>
                <a:gd name="T2" fmla="*/ 0 w 202"/>
                <a:gd name="T3" fmla="*/ 211 h 223"/>
                <a:gd name="T4" fmla="*/ 6 w 202"/>
                <a:gd name="T5" fmla="*/ 204 h 223"/>
                <a:gd name="T6" fmla="*/ 93 w 202"/>
                <a:gd name="T7" fmla="*/ 104 h 223"/>
                <a:gd name="T8" fmla="*/ 193 w 202"/>
                <a:gd name="T9" fmla="*/ 3 h 223"/>
                <a:gd name="T10" fmla="*/ 202 w 202"/>
                <a:gd name="T11" fmla="*/ 5 h 223"/>
                <a:gd name="T12" fmla="*/ 196 w 202"/>
                <a:gd name="T13" fmla="*/ 22 h 223"/>
                <a:gd name="T14" fmla="*/ 193 w 202"/>
                <a:gd name="T15" fmla="*/ 21 h 223"/>
                <a:gd name="T16" fmla="*/ 19 w 202"/>
                <a:gd name="T17" fmla="*/ 216 h 223"/>
                <a:gd name="T18" fmla="*/ 13 w 202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23">
                  <a:moveTo>
                    <a:pt x="13" y="223"/>
                  </a:moveTo>
                  <a:cubicBezTo>
                    <a:pt x="0" y="211"/>
                    <a:pt x="0" y="211"/>
                    <a:pt x="0" y="211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6" y="203"/>
                    <a:pt x="50" y="153"/>
                    <a:pt x="93" y="104"/>
                  </a:cubicBezTo>
                  <a:cubicBezTo>
                    <a:pt x="186" y="0"/>
                    <a:pt x="186" y="0"/>
                    <a:pt x="193" y="3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196" y="22"/>
                    <a:pt x="196" y="22"/>
                    <a:pt x="196" y="22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74" y="40"/>
                    <a:pt x="81" y="145"/>
                    <a:pt x="19" y="216"/>
                  </a:cubicBezTo>
                  <a:lnTo>
                    <a:pt x="13" y="2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10" name="Group 114"/>
          <p:cNvGrpSpPr>
            <a:grpSpLocks noChangeAspect="1"/>
          </p:cNvGrpSpPr>
          <p:nvPr/>
        </p:nvGrpSpPr>
        <p:grpSpPr bwMode="auto">
          <a:xfrm>
            <a:off x="6938963" y="2808811"/>
            <a:ext cx="839575" cy="841248"/>
            <a:chOff x="4371" y="1844"/>
            <a:chExt cx="502" cy="503"/>
          </a:xfrm>
        </p:grpSpPr>
        <p:sp>
          <p:nvSpPr>
            <p:cNvPr id="45111" name="AutoShape 113"/>
            <p:cNvSpPr>
              <a:spLocks noChangeAspect="1" noChangeArrowheads="1" noTextEdit="1"/>
            </p:cNvSpPr>
            <p:nvPr/>
          </p:nvSpPr>
          <p:spPr bwMode="auto">
            <a:xfrm>
              <a:off x="4371" y="1844"/>
              <a:ext cx="502" cy="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2" name="Oval 115"/>
            <p:cNvSpPr>
              <a:spLocks noChangeArrowheads="1"/>
            </p:cNvSpPr>
            <p:nvPr/>
          </p:nvSpPr>
          <p:spPr bwMode="auto">
            <a:xfrm>
              <a:off x="4395" y="1868"/>
              <a:ext cx="452" cy="45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3" name="Line 116"/>
            <p:cNvSpPr>
              <a:spLocks noChangeShapeType="1"/>
            </p:cNvSpPr>
            <p:nvPr/>
          </p:nvSpPr>
          <p:spPr bwMode="auto">
            <a:xfrm>
              <a:off x="4640" y="219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4" name="Line 117"/>
            <p:cNvSpPr>
              <a:spLocks noChangeShapeType="1"/>
            </p:cNvSpPr>
            <p:nvPr/>
          </p:nvSpPr>
          <p:spPr bwMode="auto">
            <a:xfrm>
              <a:off x="4640" y="219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6" name="Line 118"/>
            <p:cNvSpPr>
              <a:spLocks noChangeShapeType="1"/>
            </p:cNvSpPr>
            <p:nvPr/>
          </p:nvSpPr>
          <p:spPr bwMode="auto">
            <a:xfrm>
              <a:off x="4515" y="2201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7" name="Line 119"/>
            <p:cNvSpPr>
              <a:spLocks noChangeShapeType="1"/>
            </p:cNvSpPr>
            <p:nvPr/>
          </p:nvSpPr>
          <p:spPr bwMode="auto">
            <a:xfrm>
              <a:off x="4515" y="2201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8" name="Freeform 120"/>
            <p:cNvSpPr>
              <a:spLocks noEditPoints="1"/>
            </p:cNvSpPr>
            <p:nvPr/>
          </p:nvSpPr>
          <p:spPr bwMode="auto">
            <a:xfrm>
              <a:off x="4619" y="2146"/>
              <a:ext cx="56" cy="59"/>
            </a:xfrm>
            <a:custGeom>
              <a:avLst/>
              <a:gdLst>
                <a:gd name="T0" fmla="*/ 12 w 24"/>
                <a:gd name="T1" fmla="*/ 0 h 25"/>
                <a:gd name="T2" fmla="*/ 0 w 24"/>
                <a:gd name="T3" fmla="*/ 13 h 25"/>
                <a:gd name="T4" fmla="*/ 12 w 24"/>
                <a:gd name="T5" fmla="*/ 25 h 25"/>
                <a:gd name="T6" fmla="*/ 24 w 24"/>
                <a:gd name="T7" fmla="*/ 13 h 25"/>
                <a:gd name="T8" fmla="*/ 12 w 24"/>
                <a:gd name="T9" fmla="*/ 0 h 25"/>
                <a:gd name="T10" fmla="*/ 12 w 24"/>
                <a:gd name="T11" fmla="*/ 21 h 25"/>
                <a:gd name="T12" fmla="*/ 3 w 24"/>
                <a:gd name="T13" fmla="*/ 13 h 25"/>
                <a:gd name="T14" fmla="*/ 12 w 24"/>
                <a:gd name="T15" fmla="*/ 4 h 25"/>
                <a:gd name="T16" fmla="*/ 20 w 24"/>
                <a:gd name="T17" fmla="*/ 13 h 25"/>
                <a:gd name="T18" fmla="*/ 12 w 24"/>
                <a:gd name="T19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9" y="25"/>
                    <a:pt x="24" y="19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  <a:close/>
                  <a:moveTo>
                    <a:pt x="12" y="21"/>
                  </a:moveTo>
                  <a:cubicBezTo>
                    <a:pt x="7" y="21"/>
                    <a:pt x="3" y="17"/>
                    <a:pt x="3" y="13"/>
                  </a:cubicBezTo>
                  <a:cubicBezTo>
                    <a:pt x="3" y="8"/>
                    <a:pt x="7" y="4"/>
                    <a:pt x="12" y="4"/>
                  </a:cubicBezTo>
                  <a:cubicBezTo>
                    <a:pt x="17" y="4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9" name="Freeform 121"/>
            <p:cNvSpPr>
              <a:spLocks noEditPoints="1"/>
            </p:cNvSpPr>
            <p:nvPr/>
          </p:nvSpPr>
          <p:spPr bwMode="auto">
            <a:xfrm>
              <a:off x="4494" y="2153"/>
              <a:ext cx="56" cy="55"/>
            </a:xfrm>
            <a:custGeom>
              <a:avLst/>
              <a:gdLst>
                <a:gd name="T0" fmla="*/ 12 w 24"/>
                <a:gd name="T1" fmla="*/ 0 h 23"/>
                <a:gd name="T2" fmla="*/ 0 w 24"/>
                <a:gd name="T3" fmla="*/ 12 h 23"/>
                <a:gd name="T4" fmla="*/ 12 w 24"/>
                <a:gd name="T5" fmla="*/ 23 h 23"/>
                <a:gd name="T6" fmla="*/ 24 w 24"/>
                <a:gd name="T7" fmla="*/ 12 h 23"/>
                <a:gd name="T8" fmla="*/ 12 w 24"/>
                <a:gd name="T9" fmla="*/ 0 h 23"/>
                <a:gd name="T10" fmla="*/ 12 w 24"/>
                <a:gd name="T11" fmla="*/ 20 h 23"/>
                <a:gd name="T12" fmla="*/ 4 w 24"/>
                <a:gd name="T13" fmla="*/ 12 h 23"/>
                <a:gd name="T14" fmla="*/ 12 w 24"/>
                <a:gd name="T15" fmla="*/ 3 h 23"/>
                <a:gd name="T16" fmla="*/ 20 w 24"/>
                <a:gd name="T17" fmla="*/ 12 h 23"/>
                <a:gd name="T18" fmla="*/ 12 w 24"/>
                <a:gd name="T19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2" y="23"/>
                  </a:cubicBezTo>
                  <a:cubicBezTo>
                    <a:pt x="18" y="23"/>
                    <a:pt x="24" y="18"/>
                    <a:pt x="24" y="12"/>
                  </a:cubicBezTo>
                  <a:cubicBezTo>
                    <a:pt x="24" y="5"/>
                    <a:pt x="18" y="0"/>
                    <a:pt x="12" y="0"/>
                  </a:cubicBezTo>
                  <a:close/>
                  <a:moveTo>
                    <a:pt x="12" y="20"/>
                  </a:moveTo>
                  <a:cubicBezTo>
                    <a:pt x="7" y="20"/>
                    <a:pt x="4" y="16"/>
                    <a:pt x="4" y="12"/>
                  </a:cubicBezTo>
                  <a:cubicBezTo>
                    <a:pt x="4" y="7"/>
                    <a:pt x="7" y="3"/>
                    <a:pt x="12" y="3"/>
                  </a:cubicBezTo>
                  <a:cubicBezTo>
                    <a:pt x="16" y="3"/>
                    <a:pt x="20" y="7"/>
                    <a:pt x="20" y="12"/>
                  </a:cubicBezTo>
                  <a:cubicBezTo>
                    <a:pt x="20" y="16"/>
                    <a:pt x="16" y="20"/>
                    <a:pt x="12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6" name="Freeform 122"/>
            <p:cNvSpPr>
              <a:spLocks/>
            </p:cNvSpPr>
            <p:nvPr/>
          </p:nvSpPr>
          <p:spPr bwMode="auto">
            <a:xfrm>
              <a:off x="4647" y="1974"/>
              <a:ext cx="144" cy="198"/>
            </a:xfrm>
            <a:custGeom>
              <a:avLst/>
              <a:gdLst>
                <a:gd name="T0" fmla="*/ 58 w 61"/>
                <a:gd name="T1" fmla="*/ 70 h 84"/>
                <a:gd name="T2" fmla="*/ 29 w 61"/>
                <a:gd name="T3" fmla="*/ 79 h 84"/>
                <a:gd name="T4" fmla="*/ 3 w 61"/>
                <a:gd name="T5" fmla="*/ 1 h 84"/>
                <a:gd name="T6" fmla="*/ 1 w 61"/>
                <a:gd name="T7" fmla="*/ 0 h 84"/>
                <a:gd name="T8" fmla="*/ 0 w 61"/>
                <a:gd name="T9" fmla="*/ 2 h 84"/>
                <a:gd name="T10" fmla="*/ 27 w 61"/>
                <a:gd name="T11" fmla="*/ 82 h 84"/>
                <a:gd name="T12" fmla="*/ 28 w 61"/>
                <a:gd name="T13" fmla="*/ 84 h 84"/>
                <a:gd name="T14" fmla="*/ 29 w 61"/>
                <a:gd name="T15" fmla="*/ 83 h 84"/>
                <a:gd name="T16" fmla="*/ 60 w 61"/>
                <a:gd name="T17" fmla="*/ 73 h 84"/>
                <a:gd name="T18" fmla="*/ 61 w 61"/>
                <a:gd name="T19" fmla="*/ 71 h 84"/>
                <a:gd name="T20" fmla="*/ 58 w 61"/>
                <a:gd name="T21" fmla="*/ 7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84">
                  <a:moveTo>
                    <a:pt x="58" y="70"/>
                  </a:moveTo>
                  <a:cubicBezTo>
                    <a:pt x="29" y="79"/>
                    <a:pt x="29" y="79"/>
                    <a:pt x="29" y="7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3"/>
                    <a:pt x="27" y="84"/>
                    <a:pt x="28" y="84"/>
                  </a:cubicBezTo>
                  <a:cubicBezTo>
                    <a:pt x="28" y="84"/>
                    <a:pt x="29" y="84"/>
                    <a:pt x="29" y="8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0" y="70"/>
                    <a:pt x="59" y="70"/>
                    <a:pt x="58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7" name="Freeform 123"/>
            <p:cNvSpPr>
              <a:spLocks noEditPoints="1"/>
            </p:cNvSpPr>
            <p:nvPr/>
          </p:nvSpPr>
          <p:spPr bwMode="auto">
            <a:xfrm>
              <a:off x="4673" y="1983"/>
              <a:ext cx="122" cy="170"/>
            </a:xfrm>
            <a:custGeom>
              <a:avLst/>
              <a:gdLst>
                <a:gd name="T0" fmla="*/ 8 w 52"/>
                <a:gd name="T1" fmla="*/ 37 h 72"/>
                <a:gd name="T2" fmla="*/ 11 w 52"/>
                <a:gd name="T3" fmla="*/ 41 h 72"/>
                <a:gd name="T4" fmla="*/ 11 w 52"/>
                <a:gd name="T5" fmla="*/ 41 h 72"/>
                <a:gd name="T6" fmla="*/ 11 w 52"/>
                <a:gd name="T7" fmla="*/ 46 h 72"/>
                <a:gd name="T8" fmla="*/ 17 w 52"/>
                <a:gd name="T9" fmla="*/ 67 h 72"/>
                <a:gd name="T10" fmla="*/ 24 w 52"/>
                <a:gd name="T11" fmla="*/ 72 h 72"/>
                <a:gd name="T12" fmla="*/ 26 w 52"/>
                <a:gd name="T13" fmla="*/ 71 h 72"/>
                <a:gd name="T14" fmla="*/ 47 w 52"/>
                <a:gd name="T15" fmla="*/ 64 h 72"/>
                <a:gd name="T16" fmla="*/ 51 w 52"/>
                <a:gd name="T17" fmla="*/ 56 h 72"/>
                <a:gd name="T18" fmla="*/ 44 w 52"/>
                <a:gd name="T19" fmla="*/ 35 h 72"/>
                <a:gd name="T20" fmla="*/ 44 w 52"/>
                <a:gd name="T21" fmla="*/ 35 h 72"/>
                <a:gd name="T22" fmla="*/ 41 w 52"/>
                <a:gd name="T23" fmla="*/ 31 h 72"/>
                <a:gd name="T24" fmla="*/ 41 w 52"/>
                <a:gd name="T25" fmla="*/ 31 h 72"/>
                <a:gd name="T26" fmla="*/ 41 w 52"/>
                <a:gd name="T27" fmla="*/ 26 h 72"/>
                <a:gd name="T28" fmla="*/ 34 w 52"/>
                <a:gd name="T29" fmla="*/ 5 h 72"/>
                <a:gd name="T30" fmla="*/ 34 w 52"/>
                <a:gd name="T31" fmla="*/ 5 h 72"/>
                <a:gd name="T32" fmla="*/ 26 w 52"/>
                <a:gd name="T33" fmla="*/ 1 h 72"/>
                <a:gd name="T34" fmla="*/ 5 w 52"/>
                <a:gd name="T35" fmla="*/ 8 h 72"/>
                <a:gd name="T36" fmla="*/ 1 w 52"/>
                <a:gd name="T37" fmla="*/ 11 h 72"/>
                <a:gd name="T38" fmla="*/ 1 w 52"/>
                <a:gd name="T39" fmla="*/ 16 h 72"/>
                <a:gd name="T40" fmla="*/ 8 w 52"/>
                <a:gd name="T41" fmla="*/ 37 h 72"/>
                <a:gd name="T42" fmla="*/ 48 w 52"/>
                <a:gd name="T43" fmla="*/ 57 h 72"/>
                <a:gd name="T44" fmla="*/ 46 w 52"/>
                <a:gd name="T45" fmla="*/ 61 h 72"/>
                <a:gd name="T46" fmla="*/ 25 w 52"/>
                <a:gd name="T47" fmla="*/ 68 h 72"/>
                <a:gd name="T48" fmla="*/ 21 w 52"/>
                <a:gd name="T49" fmla="*/ 66 h 72"/>
                <a:gd name="T50" fmla="*/ 14 w 52"/>
                <a:gd name="T51" fmla="*/ 45 h 72"/>
                <a:gd name="T52" fmla="*/ 14 w 52"/>
                <a:gd name="T53" fmla="*/ 43 h 72"/>
                <a:gd name="T54" fmla="*/ 16 w 52"/>
                <a:gd name="T55" fmla="*/ 41 h 72"/>
                <a:gd name="T56" fmla="*/ 37 w 52"/>
                <a:gd name="T57" fmla="*/ 34 h 72"/>
                <a:gd name="T58" fmla="*/ 38 w 52"/>
                <a:gd name="T59" fmla="*/ 34 h 72"/>
                <a:gd name="T60" fmla="*/ 41 w 52"/>
                <a:gd name="T61" fmla="*/ 36 h 72"/>
                <a:gd name="T62" fmla="*/ 48 w 52"/>
                <a:gd name="T63" fmla="*/ 57 h 72"/>
                <a:gd name="T64" fmla="*/ 4 w 52"/>
                <a:gd name="T65" fmla="*/ 13 h 72"/>
                <a:gd name="T66" fmla="*/ 6 w 52"/>
                <a:gd name="T67" fmla="*/ 11 h 72"/>
                <a:gd name="T68" fmla="*/ 27 w 52"/>
                <a:gd name="T69" fmla="*/ 4 h 72"/>
                <a:gd name="T70" fmla="*/ 28 w 52"/>
                <a:gd name="T71" fmla="*/ 4 h 72"/>
                <a:gd name="T72" fmla="*/ 31 w 52"/>
                <a:gd name="T73" fmla="*/ 6 h 72"/>
                <a:gd name="T74" fmla="*/ 38 w 52"/>
                <a:gd name="T75" fmla="*/ 27 h 72"/>
                <a:gd name="T76" fmla="*/ 37 w 52"/>
                <a:gd name="T77" fmla="*/ 29 h 72"/>
                <a:gd name="T78" fmla="*/ 36 w 52"/>
                <a:gd name="T79" fmla="*/ 31 h 72"/>
                <a:gd name="T80" fmla="*/ 15 w 52"/>
                <a:gd name="T81" fmla="*/ 38 h 72"/>
                <a:gd name="T82" fmla="*/ 11 w 52"/>
                <a:gd name="T83" fmla="*/ 36 h 72"/>
                <a:gd name="T84" fmla="*/ 4 w 52"/>
                <a:gd name="T85" fmla="*/ 15 h 72"/>
                <a:gd name="T86" fmla="*/ 4 w 52"/>
                <a:gd name="T87" fmla="*/ 1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" h="72">
                  <a:moveTo>
                    <a:pt x="8" y="37"/>
                  </a:moveTo>
                  <a:cubicBezTo>
                    <a:pt x="8" y="39"/>
                    <a:pt x="9" y="40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0" y="43"/>
                    <a:pt x="10" y="44"/>
                    <a:pt x="11" y="46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70"/>
                    <a:pt x="21" y="72"/>
                    <a:pt x="24" y="72"/>
                  </a:cubicBezTo>
                  <a:cubicBezTo>
                    <a:pt x="24" y="72"/>
                    <a:pt x="25" y="71"/>
                    <a:pt x="26" y="71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50" y="63"/>
                    <a:pt x="52" y="60"/>
                    <a:pt x="51" y="5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3"/>
                    <a:pt x="42" y="32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0"/>
                    <a:pt x="42" y="28"/>
                    <a:pt x="41" y="26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3" y="2"/>
                    <a:pt x="29" y="0"/>
                    <a:pt x="26" y="1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8"/>
                    <a:pt x="2" y="9"/>
                    <a:pt x="1" y="11"/>
                  </a:cubicBezTo>
                  <a:cubicBezTo>
                    <a:pt x="0" y="12"/>
                    <a:pt x="0" y="14"/>
                    <a:pt x="1" y="16"/>
                  </a:cubicBezTo>
                  <a:lnTo>
                    <a:pt x="8" y="37"/>
                  </a:lnTo>
                  <a:close/>
                  <a:moveTo>
                    <a:pt x="48" y="57"/>
                  </a:moveTo>
                  <a:cubicBezTo>
                    <a:pt x="48" y="59"/>
                    <a:pt x="47" y="60"/>
                    <a:pt x="46" y="61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3" y="68"/>
                    <a:pt x="21" y="67"/>
                    <a:pt x="21" y="6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5" y="42"/>
                    <a:pt x="15" y="41"/>
                    <a:pt x="16" y="41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4"/>
                    <a:pt x="38" y="34"/>
                    <a:pt x="38" y="34"/>
                  </a:cubicBezTo>
                  <a:cubicBezTo>
                    <a:pt x="39" y="34"/>
                    <a:pt x="40" y="35"/>
                    <a:pt x="41" y="36"/>
                  </a:cubicBezTo>
                  <a:lnTo>
                    <a:pt x="48" y="57"/>
                  </a:lnTo>
                  <a:close/>
                  <a:moveTo>
                    <a:pt x="4" y="13"/>
                  </a:moveTo>
                  <a:cubicBezTo>
                    <a:pt x="5" y="12"/>
                    <a:pt x="5" y="11"/>
                    <a:pt x="6" y="11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29" y="4"/>
                    <a:pt x="30" y="5"/>
                    <a:pt x="31" y="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8"/>
                    <a:pt x="38" y="29"/>
                    <a:pt x="37" y="29"/>
                  </a:cubicBezTo>
                  <a:cubicBezTo>
                    <a:pt x="37" y="30"/>
                    <a:pt x="37" y="31"/>
                    <a:pt x="36" y="31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3" y="38"/>
                    <a:pt x="12" y="37"/>
                    <a:pt x="11" y="3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3"/>
                    <a:pt x="4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98" name="Freeform 124"/>
            <p:cNvSpPr>
              <a:spLocks noEditPoints="1"/>
            </p:cNvSpPr>
            <p:nvPr/>
          </p:nvSpPr>
          <p:spPr bwMode="auto">
            <a:xfrm>
              <a:off x="4510" y="1983"/>
              <a:ext cx="123" cy="135"/>
            </a:xfrm>
            <a:custGeom>
              <a:avLst/>
              <a:gdLst>
                <a:gd name="T0" fmla="*/ 29 w 52"/>
                <a:gd name="T1" fmla="*/ 0 h 57"/>
                <a:gd name="T2" fmla="*/ 7 w 52"/>
                <a:gd name="T3" fmla="*/ 0 h 57"/>
                <a:gd name="T4" fmla="*/ 0 w 52"/>
                <a:gd name="T5" fmla="*/ 7 h 57"/>
                <a:gd name="T6" fmla="*/ 0 w 52"/>
                <a:gd name="T7" fmla="*/ 39 h 57"/>
                <a:gd name="T8" fmla="*/ 2 w 52"/>
                <a:gd name="T9" fmla="*/ 41 h 57"/>
                <a:gd name="T10" fmla="*/ 11 w 52"/>
                <a:gd name="T11" fmla="*/ 41 h 57"/>
                <a:gd name="T12" fmla="*/ 16 w 52"/>
                <a:gd name="T13" fmla="*/ 44 h 57"/>
                <a:gd name="T14" fmla="*/ 20 w 52"/>
                <a:gd name="T15" fmla="*/ 52 h 57"/>
                <a:gd name="T16" fmla="*/ 29 w 52"/>
                <a:gd name="T17" fmla="*/ 57 h 57"/>
                <a:gd name="T18" fmla="*/ 36 w 52"/>
                <a:gd name="T19" fmla="*/ 57 h 57"/>
                <a:gd name="T20" fmla="*/ 36 w 52"/>
                <a:gd name="T21" fmla="*/ 57 h 57"/>
                <a:gd name="T22" fmla="*/ 36 w 52"/>
                <a:gd name="T23" fmla="*/ 57 h 57"/>
                <a:gd name="T24" fmla="*/ 50 w 52"/>
                <a:gd name="T25" fmla="*/ 57 h 57"/>
                <a:gd name="T26" fmla="*/ 51 w 52"/>
                <a:gd name="T27" fmla="*/ 56 h 57"/>
                <a:gd name="T28" fmla="*/ 52 w 52"/>
                <a:gd name="T29" fmla="*/ 55 h 57"/>
                <a:gd name="T30" fmla="*/ 45 w 52"/>
                <a:gd name="T31" fmla="*/ 22 h 57"/>
                <a:gd name="T32" fmla="*/ 29 w 52"/>
                <a:gd name="T33" fmla="*/ 0 h 57"/>
                <a:gd name="T34" fmla="*/ 11 w 52"/>
                <a:gd name="T35" fmla="*/ 37 h 57"/>
                <a:gd name="T36" fmla="*/ 4 w 52"/>
                <a:gd name="T37" fmla="*/ 37 h 57"/>
                <a:gd name="T38" fmla="*/ 4 w 52"/>
                <a:gd name="T39" fmla="*/ 7 h 57"/>
                <a:gd name="T40" fmla="*/ 7 w 52"/>
                <a:gd name="T41" fmla="*/ 4 h 57"/>
                <a:gd name="T42" fmla="*/ 29 w 52"/>
                <a:gd name="T43" fmla="*/ 4 h 57"/>
                <a:gd name="T44" fmla="*/ 42 w 52"/>
                <a:gd name="T45" fmla="*/ 23 h 57"/>
                <a:gd name="T46" fmla="*/ 45 w 52"/>
                <a:gd name="T47" fmla="*/ 37 h 57"/>
                <a:gd name="T48" fmla="*/ 40 w 52"/>
                <a:gd name="T49" fmla="*/ 35 h 57"/>
                <a:gd name="T50" fmla="*/ 32 w 52"/>
                <a:gd name="T51" fmla="*/ 33 h 57"/>
                <a:gd name="T52" fmla="*/ 31 w 52"/>
                <a:gd name="T53" fmla="*/ 31 h 57"/>
                <a:gd name="T54" fmla="*/ 35 w 52"/>
                <a:gd name="T55" fmla="*/ 24 h 57"/>
                <a:gd name="T56" fmla="*/ 25 w 52"/>
                <a:gd name="T57" fmla="*/ 14 h 57"/>
                <a:gd name="T58" fmla="*/ 15 w 52"/>
                <a:gd name="T59" fmla="*/ 24 h 57"/>
                <a:gd name="T60" fmla="*/ 19 w 52"/>
                <a:gd name="T61" fmla="*/ 31 h 57"/>
                <a:gd name="T62" fmla="*/ 16 w 52"/>
                <a:gd name="T63" fmla="*/ 37 h 57"/>
                <a:gd name="T64" fmla="*/ 16 w 52"/>
                <a:gd name="T65" fmla="*/ 39 h 57"/>
                <a:gd name="T66" fmla="*/ 11 w 52"/>
                <a:gd name="T67" fmla="*/ 37 h 57"/>
                <a:gd name="T68" fmla="*/ 23 w 52"/>
                <a:gd name="T69" fmla="*/ 50 h 57"/>
                <a:gd name="T70" fmla="*/ 20 w 52"/>
                <a:gd name="T71" fmla="*/ 44 h 57"/>
                <a:gd name="T72" fmla="*/ 20 w 52"/>
                <a:gd name="T73" fmla="*/ 37 h 57"/>
                <a:gd name="T74" fmla="*/ 23 w 52"/>
                <a:gd name="T75" fmla="*/ 33 h 57"/>
                <a:gd name="T76" fmla="*/ 24 w 52"/>
                <a:gd name="T77" fmla="*/ 31 h 57"/>
                <a:gd name="T78" fmla="*/ 23 w 52"/>
                <a:gd name="T79" fmla="*/ 30 h 57"/>
                <a:gd name="T80" fmla="*/ 19 w 52"/>
                <a:gd name="T81" fmla="*/ 24 h 57"/>
                <a:gd name="T82" fmla="*/ 25 w 52"/>
                <a:gd name="T83" fmla="*/ 18 h 57"/>
                <a:gd name="T84" fmla="*/ 31 w 52"/>
                <a:gd name="T85" fmla="*/ 24 h 57"/>
                <a:gd name="T86" fmla="*/ 27 w 52"/>
                <a:gd name="T87" fmla="*/ 30 h 57"/>
                <a:gd name="T88" fmla="*/ 26 w 52"/>
                <a:gd name="T89" fmla="*/ 31 h 57"/>
                <a:gd name="T90" fmla="*/ 27 w 52"/>
                <a:gd name="T91" fmla="*/ 33 h 57"/>
                <a:gd name="T92" fmla="*/ 30 w 52"/>
                <a:gd name="T93" fmla="*/ 35 h 57"/>
                <a:gd name="T94" fmla="*/ 30 w 52"/>
                <a:gd name="T95" fmla="*/ 36 h 57"/>
                <a:gd name="T96" fmla="*/ 40 w 52"/>
                <a:gd name="T97" fmla="*/ 38 h 57"/>
                <a:gd name="T98" fmla="*/ 42 w 52"/>
                <a:gd name="T99" fmla="*/ 40 h 57"/>
                <a:gd name="T100" fmla="*/ 41 w 52"/>
                <a:gd name="T101" fmla="*/ 42 h 57"/>
                <a:gd name="T102" fmla="*/ 33 w 52"/>
                <a:gd name="T103" fmla="*/ 41 h 57"/>
                <a:gd name="T104" fmla="*/ 31 w 52"/>
                <a:gd name="T105" fmla="*/ 41 h 57"/>
                <a:gd name="T106" fmla="*/ 30 w 52"/>
                <a:gd name="T107" fmla="*/ 43 h 57"/>
                <a:gd name="T108" fmla="*/ 33 w 52"/>
                <a:gd name="T109" fmla="*/ 53 h 57"/>
                <a:gd name="T110" fmla="*/ 29 w 52"/>
                <a:gd name="T111" fmla="*/ 53 h 57"/>
                <a:gd name="T112" fmla="*/ 23 w 52"/>
                <a:gd name="T113" fmla="*/ 50 h 57"/>
                <a:gd name="T114" fmla="*/ 37 w 52"/>
                <a:gd name="T115" fmla="*/ 53 h 57"/>
                <a:gd name="T116" fmla="*/ 34 w 52"/>
                <a:gd name="T117" fmla="*/ 45 h 57"/>
                <a:gd name="T118" fmla="*/ 41 w 52"/>
                <a:gd name="T119" fmla="*/ 45 h 57"/>
                <a:gd name="T120" fmla="*/ 46 w 52"/>
                <a:gd name="T121" fmla="*/ 41 h 57"/>
                <a:gd name="T122" fmla="*/ 48 w 52"/>
                <a:gd name="T123" fmla="*/ 53 h 57"/>
                <a:gd name="T124" fmla="*/ 37 w 52"/>
                <a:gd name="T125" fmla="*/ 5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" h="57">
                  <a:moveTo>
                    <a:pt x="2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1"/>
                    <a:pt x="15" y="42"/>
                    <a:pt x="16" y="44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2" y="54"/>
                    <a:pt x="26" y="57"/>
                    <a:pt x="29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1" y="57"/>
                    <a:pt x="51" y="56"/>
                    <a:pt x="51" y="56"/>
                  </a:cubicBezTo>
                  <a:cubicBezTo>
                    <a:pt x="52" y="56"/>
                    <a:pt x="52" y="55"/>
                    <a:pt x="52" y="55"/>
                  </a:cubicBezTo>
                  <a:cubicBezTo>
                    <a:pt x="51" y="50"/>
                    <a:pt x="47" y="28"/>
                    <a:pt x="45" y="22"/>
                  </a:cubicBezTo>
                  <a:cubicBezTo>
                    <a:pt x="42" y="8"/>
                    <a:pt x="36" y="0"/>
                    <a:pt x="29" y="0"/>
                  </a:cubicBezTo>
                  <a:close/>
                  <a:moveTo>
                    <a:pt x="11" y="37"/>
                  </a:moveTo>
                  <a:cubicBezTo>
                    <a:pt x="4" y="37"/>
                    <a:pt x="4" y="37"/>
                    <a:pt x="4" y="3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6" y="4"/>
                    <a:pt x="40" y="16"/>
                    <a:pt x="42" y="23"/>
                  </a:cubicBezTo>
                  <a:cubicBezTo>
                    <a:pt x="43" y="26"/>
                    <a:pt x="44" y="31"/>
                    <a:pt x="45" y="37"/>
                  </a:cubicBezTo>
                  <a:cubicBezTo>
                    <a:pt x="44" y="35"/>
                    <a:pt x="42" y="35"/>
                    <a:pt x="40" y="35"/>
                  </a:cubicBezTo>
                  <a:cubicBezTo>
                    <a:pt x="38" y="35"/>
                    <a:pt x="35" y="34"/>
                    <a:pt x="32" y="33"/>
                  </a:cubicBezTo>
                  <a:cubicBezTo>
                    <a:pt x="32" y="32"/>
                    <a:pt x="32" y="32"/>
                    <a:pt x="31" y="31"/>
                  </a:cubicBezTo>
                  <a:cubicBezTo>
                    <a:pt x="33" y="30"/>
                    <a:pt x="35" y="27"/>
                    <a:pt x="35" y="24"/>
                  </a:cubicBezTo>
                  <a:cubicBezTo>
                    <a:pt x="35" y="18"/>
                    <a:pt x="30" y="14"/>
                    <a:pt x="25" y="14"/>
                  </a:cubicBezTo>
                  <a:cubicBezTo>
                    <a:pt x="20" y="14"/>
                    <a:pt x="15" y="18"/>
                    <a:pt x="15" y="24"/>
                  </a:cubicBezTo>
                  <a:cubicBezTo>
                    <a:pt x="15" y="27"/>
                    <a:pt x="16" y="30"/>
                    <a:pt x="19" y="31"/>
                  </a:cubicBezTo>
                  <a:cubicBezTo>
                    <a:pt x="17" y="33"/>
                    <a:pt x="16" y="35"/>
                    <a:pt x="16" y="37"/>
                  </a:cubicBezTo>
                  <a:cubicBezTo>
                    <a:pt x="16" y="38"/>
                    <a:pt x="16" y="39"/>
                    <a:pt x="16" y="39"/>
                  </a:cubicBezTo>
                  <a:cubicBezTo>
                    <a:pt x="14" y="38"/>
                    <a:pt x="12" y="37"/>
                    <a:pt x="11" y="37"/>
                  </a:cubicBezTo>
                  <a:close/>
                  <a:moveTo>
                    <a:pt x="23" y="50"/>
                  </a:moveTo>
                  <a:cubicBezTo>
                    <a:pt x="20" y="44"/>
                    <a:pt x="20" y="44"/>
                    <a:pt x="20" y="44"/>
                  </a:cubicBezTo>
                  <a:cubicBezTo>
                    <a:pt x="20" y="42"/>
                    <a:pt x="20" y="40"/>
                    <a:pt x="20" y="37"/>
                  </a:cubicBezTo>
                  <a:cubicBezTo>
                    <a:pt x="20" y="35"/>
                    <a:pt x="21" y="34"/>
                    <a:pt x="23" y="33"/>
                  </a:cubicBezTo>
                  <a:cubicBezTo>
                    <a:pt x="23" y="33"/>
                    <a:pt x="24" y="32"/>
                    <a:pt x="24" y="31"/>
                  </a:cubicBezTo>
                  <a:cubicBezTo>
                    <a:pt x="24" y="31"/>
                    <a:pt x="23" y="30"/>
                    <a:pt x="23" y="30"/>
                  </a:cubicBezTo>
                  <a:cubicBezTo>
                    <a:pt x="20" y="29"/>
                    <a:pt x="19" y="26"/>
                    <a:pt x="19" y="24"/>
                  </a:cubicBezTo>
                  <a:cubicBezTo>
                    <a:pt x="19" y="20"/>
                    <a:pt x="22" y="18"/>
                    <a:pt x="25" y="18"/>
                  </a:cubicBezTo>
                  <a:cubicBezTo>
                    <a:pt x="28" y="18"/>
                    <a:pt x="31" y="20"/>
                    <a:pt x="31" y="24"/>
                  </a:cubicBezTo>
                  <a:cubicBezTo>
                    <a:pt x="31" y="26"/>
                    <a:pt x="30" y="29"/>
                    <a:pt x="27" y="30"/>
                  </a:cubicBezTo>
                  <a:cubicBezTo>
                    <a:pt x="27" y="30"/>
                    <a:pt x="26" y="31"/>
                    <a:pt x="26" y="31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8" y="33"/>
                    <a:pt x="29" y="34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3" y="37"/>
                    <a:pt x="37" y="39"/>
                    <a:pt x="40" y="38"/>
                  </a:cubicBezTo>
                  <a:cubicBezTo>
                    <a:pt x="41" y="38"/>
                    <a:pt x="42" y="39"/>
                    <a:pt x="42" y="40"/>
                  </a:cubicBezTo>
                  <a:cubicBezTo>
                    <a:pt x="42" y="41"/>
                    <a:pt x="42" y="42"/>
                    <a:pt x="41" y="42"/>
                  </a:cubicBezTo>
                  <a:cubicBezTo>
                    <a:pt x="38" y="42"/>
                    <a:pt x="36" y="42"/>
                    <a:pt x="33" y="41"/>
                  </a:cubicBezTo>
                  <a:cubicBezTo>
                    <a:pt x="32" y="40"/>
                    <a:pt x="31" y="41"/>
                    <a:pt x="31" y="41"/>
                  </a:cubicBezTo>
                  <a:cubicBezTo>
                    <a:pt x="30" y="41"/>
                    <a:pt x="30" y="42"/>
                    <a:pt x="30" y="43"/>
                  </a:cubicBezTo>
                  <a:cubicBezTo>
                    <a:pt x="31" y="47"/>
                    <a:pt x="32" y="51"/>
                    <a:pt x="33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7" y="53"/>
                    <a:pt x="24" y="51"/>
                    <a:pt x="23" y="50"/>
                  </a:cubicBezTo>
                  <a:close/>
                  <a:moveTo>
                    <a:pt x="37" y="53"/>
                  </a:moveTo>
                  <a:cubicBezTo>
                    <a:pt x="36" y="51"/>
                    <a:pt x="35" y="49"/>
                    <a:pt x="34" y="45"/>
                  </a:cubicBezTo>
                  <a:cubicBezTo>
                    <a:pt x="37" y="45"/>
                    <a:pt x="39" y="46"/>
                    <a:pt x="41" y="45"/>
                  </a:cubicBezTo>
                  <a:cubicBezTo>
                    <a:pt x="44" y="45"/>
                    <a:pt x="45" y="43"/>
                    <a:pt x="46" y="41"/>
                  </a:cubicBezTo>
                  <a:cubicBezTo>
                    <a:pt x="47" y="46"/>
                    <a:pt x="48" y="50"/>
                    <a:pt x="48" y="53"/>
                  </a:cubicBezTo>
                  <a:lnTo>
                    <a:pt x="37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299" name="Freeform 125"/>
            <p:cNvSpPr>
              <a:spLocks noEditPoints="1"/>
            </p:cNvSpPr>
            <p:nvPr/>
          </p:nvSpPr>
          <p:spPr bwMode="auto">
            <a:xfrm>
              <a:off x="4449" y="1965"/>
              <a:ext cx="259" cy="224"/>
            </a:xfrm>
            <a:custGeom>
              <a:avLst/>
              <a:gdLst>
                <a:gd name="T0" fmla="*/ 100 w 110"/>
                <a:gd name="T1" fmla="*/ 62 h 95"/>
                <a:gd name="T2" fmla="*/ 99 w 110"/>
                <a:gd name="T3" fmla="*/ 61 h 95"/>
                <a:gd name="T4" fmla="*/ 87 w 110"/>
                <a:gd name="T5" fmla="*/ 61 h 95"/>
                <a:gd name="T6" fmla="*/ 80 w 110"/>
                <a:gd name="T7" fmla="*/ 28 h 95"/>
                <a:gd name="T8" fmla="*/ 74 w 110"/>
                <a:gd name="T9" fmla="*/ 11 h 95"/>
                <a:gd name="T10" fmla="*/ 55 w 110"/>
                <a:gd name="T11" fmla="*/ 0 h 95"/>
                <a:gd name="T12" fmla="*/ 33 w 110"/>
                <a:gd name="T13" fmla="*/ 0 h 95"/>
                <a:gd name="T14" fmla="*/ 17 w 110"/>
                <a:gd name="T15" fmla="*/ 15 h 95"/>
                <a:gd name="T16" fmla="*/ 17 w 110"/>
                <a:gd name="T17" fmla="*/ 54 h 95"/>
                <a:gd name="T18" fmla="*/ 9 w 110"/>
                <a:gd name="T19" fmla="*/ 54 h 95"/>
                <a:gd name="T20" fmla="*/ 5 w 110"/>
                <a:gd name="T21" fmla="*/ 56 h 95"/>
                <a:gd name="T22" fmla="*/ 8 w 110"/>
                <a:gd name="T23" fmla="*/ 91 h 95"/>
                <a:gd name="T24" fmla="*/ 9 w 110"/>
                <a:gd name="T25" fmla="*/ 92 h 95"/>
                <a:gd name="T26" fmla="*/ 15 w 110"/>
                <a:gd name="T27" fmla="*/ 92 h 95"/>
                <a:gd name="T28" fmla="*/ 17 w 110"/>
                <a:gd name="T29" fmla="*/ 90 h 95"/>
                <a:gd name="T30" fmla="*/ 31 w 110"/>
                <a:gd name="T31" fmla="*/ 77 h 95"/>
                <a:gd name="T32" fmla="*/ 45 w 110"/>
                <a:gd name="T33" fmla="*/ 90 h 95"/>
                <a:gd name="T34" fmla="*/ 47 w 110"/>
                <a:gd name="T35" fmla="*/ 92 h 95"/>
                <a:gd name="T36" fmla="*/ 67 w 110"/>
                <a:gd name="T37" fmla="*/ 92 h 95"/>
                <a:gd name="T38" fmla="*/ 69 w 110"/>
                <a:gd name="T39" fmla="*/ 90 h 95"/>
                <a:gd name="T40" fmla="*/ 69 w 110"/>
                <a:gd name="T41" fmla="*/ 90 h 95"/>
                <a:gd name="T42" fmla="*/ 84 w 110"/>
                <a:gd name="T43" fmla="*/ 75 h 95"/>
                <a:gd name="T44" fmla="*/ 99 w 110"/>
                <a:gd name="T45" fmla="*/ 90 h 95"/>
                <a:gd name="T46" fmla="*/ 99 w 110"/>
                <a:gd name="T47" fmla="*/ 93 h 95"/>
                <a:gd name="T48" fmla="*/ 99 w 110"/>
                <a:gd name="T49" fmla="*/ 94 h 95"/>
                <a:gd name="T50" fmla="*/ 100 w 110"/>
                <a:gd name="T51" fmla="*/ 95 h 95"/>
                <a:gd name="T52" fmla="*/ 108 w 110"/>
                <a:gd name="T53" fmla="*/ 95 h 95"/>
                <a:gd name="T54" fmla="*/ 110 w 110"/>
                <a:gd name="T55" fmla="*/ 94 h 95"/>
                <a:gd name="T56" fmla="*/ 110 w 110"/>
                <a:gd name="T57" fmla="*/ 92 h 95"/>
                <a:gd name="T58" fmla="*/ 100 w 110"/>
                <a:gd name="T59" fmla="*/ 62 h 95"/>
                <a:gd name="T60" fmla="*/ 103 w 110"/>
                <a:gd name="T61" fmla="*/ 91 h 95"/>
                <a:gd name="T62" fmla="*/ 103 w 110"/>
                <a:gd name="T63" fmla="*/ 90 h 95"/>
                <a:gd name="T64" fmla="*/ 84 w 110"/>
                <a:gd name="T65" fmla="*/ 71 h 95"/>
                <a:gd name="T66" fmla="*/ 65 w 110"/>
                <a:gd name="T67" fmla="*/ 88 h 95"/>
                <a:gd name="T68" fmla="*/ 49 w 110"/>
                <a:gd name="T69" fmla="*/ 88 h 95"/>
                <a:gd name="T70" fmla="*/ 31 w 110"/>
                <a:gd name="T71" fmla="*/ 73 h 95"/>
                <a:gd name="T72" fmla="*/ 14 w 110"/>
                <a:gd name="T73" fmla="*/ 88 h 95"/>
                <a:gd name="T74" fmla="*/ 11 w 110"/>
                <a:gd name="T75" fmla="*/ 88 h 95"/>
                <a:gd name="T76" fmla="*/ 8 w 110"/>
                <a:gd name="T77" fmla="*/ 58 h 95"/>
                <a:gd name="T78" fmla="*/ 9 w 110"/>
                <a:gd name="T79" fmla="*/ 58 h 95"/>
                <a:gd name="T80" fmla="*/ 19 w 110"/>
                <a:gd name="T81" fmla="*/ 58 h 95"/>
                <a:gd name="T82" fmla="*/ 21 w 110"/>
                <a:gd name="T83" fmla="*/ 56 h 95"/>
                <a:gd name="T84" fmla="*/ 21 w 110"/>
                <a:gd name="T85" fmla="*/ 15 h 95"/>
                <a:gd name="T86" fmla="*/ 33 w 110"/>
                <a:gd name="T87" fmla="*/ 3 h 95"/>
                <a:gd name="T88" fmla="*/ 55 w 110"/>
                <a:gd name="T89" fmla="*/ 3 h 95"/>
                <a:gd name="T90" fmla="*/ 70 w 110"/>
                <a:gd name="T91" fmla="*/ 13 h 95"/>
                <a:gd name="T92" fmla="*/ 76 w 110"/>
                <a:gd name="T93" fmla="*/ 29 h 95"/>
                <a:gd name="T94" fmla="*/ 83 w 110"/>
                <a:gd name="T95" fmla="*/ 62 h 95"/>
                <a:gd name="T96" fmla="*/ 83 w 110"/>
                <a:gd name="T97" fmla="*/ 63 h 95"/>
                <a:gd name="T98" fmla="*/ 85 w 110"/>
                <a:gd name="T99" fmla="*/ 65 h 95"/>
                <a:gd name="T100" fmla="*/ 97 w 110"/>
                <a:gd name="T101" fmla="*/ 65 h 95"/>
                <a:gd name="T102" fmla="*/ 106 w 110"/>
                <a:gd name="T103" fmla="*/ 91 h 95"/>
                <a:gd name="T104" fmla="*/ 103 w 110"/>
                <a:gd name="T105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0" h="95">
                  <a:moveTo>
                    <a:pt x="100" y="62"/>
                  </a:moveTo>
                  <a:cubicBezTo>
                    <a:pt x="100" y="61"/>
                    <a:pt x="99" y="61"/>
                    <a:pt x="99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6" y="54"/>
                    <a:pt x="81" y="33"/>
                    <a:pt x="80" y="28"/>
                  </a:cubicBezTo>
                  <a:cubicBezTo>
                    <a:pt x="78" y="21"/>
                    <a:pt x="76" y="16"/>
                    <a:pt x="74" y="11"/>
                  </a:cubicBezTo>
                  <a:cubicBezTo>
                    <a:pt x="68" y="2"/>
                    <a:pt x="60" y="0"/>
                    <a:pt x="5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4" y="0"/>
                    <a:pt x="17" y="6"/>
                    <a:pt x="17" y="15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4"/>
                    <a:pt x="6" y="55"/>
                    <a:pt x="5" y="56"/>
                  </a:cubicBezTo>
                  <a:cubicBezTo>
                    <a:pt x="0" y="63"/>
                    <a:pt x="7" y="88"/>
                    <a:pt x="8" y="91"/>
                  </a:cubicBezTo>
                  <a:cubicBezTo>
                    <a:pt x="8" y="91"/>
                    <a:pt x="9" y="92"/>
                    <a:pt x="9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6" y="92"/>
                    <a:pt x="17" y="91"/>
                    <a:pt x="17" y="90"/>
                  </a:cubicBezTo>
                  <a:cubicBezTo>
                    <a:pt x="18" y="83"/>
                    <a:pt x="24" y="77"/>
                    <a:pt x="31" y="77"/>
                  </a:cubicBezTo>
                  <a:cubicBezTo>
                    <a:pt x="39" y="77"/>
                    <a:pt x="45" y="83"/>
                    <a:pt x="45" y="90"/>
                  </a:cubicBezTo>
                  <a:cubicBezTo>
                    <a:pt x="46" y="91"/>
                    <a:pt x="46" y="92"/>
                    <a:pt x="4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8" y="92"/>
                    <a:pt x="69" y="91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9" y="81"/>
                    <a:pt x="75" y="75"/>
                    <a:pt x="84" y="75"/>
                  </a:cubicBezTo>
                  <a:cubicBezTo>
                    <a:pt x="92" y="75"/>
                    <a:pt x="99" y="81"/>
                    <a:pt x="99" y="90"/>
                  </a:cubicBezTo>
                  <a:cubicBezTo>
                    <a:pt x="99" y="91"/>
                    <a:pt x="99" y="92"/>
                    <a:pt x="99" y="93"/>
                  </a:cubicBezTo>
                  <a:cubicBezTo>
                    <a:pt x="99" y="93"/>
                    <a:pt x="99" y="94"/>
                    <a:pt x="99" y="94"/>
                  </a:cubicBezTo>
                  <a:cubicBezTo>
                    <a:pt x="99" y="95"/>
                    <a:pt x="100" y="95"/>
                    <a:pt x="100" y="95"/>
                  </a:cubicBezTo>
                  <a:cubicBezTo>
                    <a:pt x="108" y="95"/>
                    <a:pt x="108" y="95"/>
                    <a:pt x="108" y="95"/>
                  </a:cubicBezTo>
                  <a:cubicBezTo>
                    <a:pt x="109" y="95"/>
                    <a:pt x="109" y="95"/>
                    <a:pt x="110" y="94"/>
                  </a:cubicBezTo>
                  <a:cubicBezTo>
                    <a:pt x="110" y="94"/>
                    <a:pt x="110" y="93"/>
                    <a:pt x="110" y="92"/>
                  </a:cubicBezTo>
                  <a:lnTo>
                    <a:pt x="100" y="62"/>
                  </a:lnTo>
                  <a:close/>
                  <a:moveTo>
                    <a:pt x="103" y="91"/>
                  </a:moveTo>
                  <a:cubicBezTo>
                    <a:pt x="103" y="91"/>
                    <a:pt x="103" y="90"/>
                    <a:pt x="103" y="90"/>
                  </a:cubicBezTo>
                  <a:cubicBezTo>
                    <a:pt x="103" y="79"/>
                    <a:pt x="94" y="71"/>
                    <a:pt x="84" y="71"/>
                  </a:cubicBezTo>
                  <a:cubicBezTo>
                    <a:pt x="74" y="71"/>
                    <a:pt x="66" y="79"/>
                    <a:pt x="65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8" y="80"/>
                    <a:pt x="40" y="73"/>
                    <a:pt x="31" y="73"/>
                  </a:cubicBezTo>
                  <a:cubicBezTo>
                    <a:pt x="22" y="73"/>
                    <a:pt x="15" y="80"/>
                    <a:pt x="14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8" y="78"/>
                    <a:pt x="5" y="62"/>
                    <a:pt x="8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1" y="57"/>
                    <a:pt x="21" y="5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8"/>
                    <a:pt x="26" y="3"/>
                    <a:pt x="33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9" y="3"/>
                    <a:pt x="65" y="5"/>
                    <a:pt x="70" y="13"/>
                  </a:cubicBezTo>
                  <a:cubicBezTo>
                    <a:pt x="73" y="17"/>
                    <a:pt x="75" y="22"/>
                    <a:pt x="76" y="29"/>
                  </a:cubicBezTo>
                  <a:cubicBezTo>
                    <a:pt x="78" y="34"/>
                    <a:pt x="83" y="56"/>
                    <a:pt x="83" y="6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83" y="64"/>
                    <a:pt x="84" y="65"/>
                    <a:pt x="85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106" y="91"/>
                    <a:pt x="106" y="91"/>
                    <a:pt x="106" y="91"/>
                  </a:cubicBezTo>
                  <a:lnTo>
                    <a:pt x="103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4" name="Freeform 126"/>
            <p:cNvSpPr>
              <a:spLocks noEditPoints="1"/>
            </p:cNvSpPr>
            <p:nvPr/>
          </p:nvSpPr>
          <p:spPr bwMode="auto">
            <a:xfrm>
              <a:off x="4369" y="1842"/>
              <a:ext cx="506" cy="507"/>
            </a:xfrm>
            <a:custGeom>
              <a:avLst/>
              <a:gdLst>
                <a:gd name="T0" fmla="*/ 107 w 215"/>
                <a:gd name="T1" fmla="*/ 0 h 215"/>
                <a:gd name="T2" fmla="*/ 0 w 215"/>
                <a:gd name="T3" fmla="*/ 107 h 215"/>
                <a:gd name="T4" fmla="*/ 107 w 215"/>
                <a:gd name="T5" fmla="*/ 215 h 215"/>
                <a:gd name="T6" fmla="*/ 215 w 215"/>
                <a:gd name="T7" fmla="*/ 107 h 215"/>
                <a:gd name="T8" fmla="*/ 107 w 215"/>
                <a:gd name="T9" fmla="*/ 0 h 215"/>
                <a:gd name="T10" fmla="*/ 107 w 215"/>
                <a:gd name="T11" fmla="*/ 208 h 215"/>
                <a:gd name="T12" fmla="*/ 6 w 215"/>
                <a:gd name="T13" fmla="*/ 107 h 215"/>
                <a:gd name="T14" fmla="*/ 107 w 215"/>
                <a:gd name="T15" fmla="*/ 6 h 215"/>
                <a:gd name="T16" fmla="*/ 208 w 215"/>
                <a:gd name="T17" fmla="*/ 107 h 215"/>
                <a:gd name="T18" fmla="*/ 107 w 215"/>
                <a:gd name="T19" fmla="*/ 20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107" y="0"/>
                  </a:moveTo>
                  <a:cubicBezTo>
                    <a:pt x="48" y="0"/>
                    <a:pt x="0" y="48"/>
                    <a:pt x="0" y="107"/>
                  </a:cubicBezTo>
                  <a:cubicBezTo>
                    <a:pt x="0" y="166"/>
                    <a:pt x="48" y="215"/>
                    <a:pt x="107" y="215"/>
                  </a:cubicBezTo>
                  <a:cubicBezTo>
                    <a:pt x="167" y="215"/>
                    <a:pt x="215" y="166"/>
                    <a:pt x="215" y="107"/>
                  </a:cubicBezTo>
                  <a:cubicBezTo>
                    <a:pt x="215" y="48"/>
                    <a:pt x="167" y="0"/>
                    <a:pt x="107" y="0"/>
                  </a:cubicBezTo>
                  <a:close/>
                  <a:moveTo>
                    <a:pt x="107" y="208"/>
                  </a:moveTo>
                  <a:cubicBezTo>
                    <a:pt x="52" y="208"/>
                    <a:pt x="6" y="163"/>
                    <a:pt x="6" y="107"/>
                  </a:cubicBezTo>
                  <a:cubicBezTo>
                    <a:pt x="6" y="52"/>
                    <a:pt x="52" y="6"/>
                    <a:pt x="107" y="6"/>
                  </a:cubicBezTo>
                  <a:cubicBezTo>
                    <a:pt x="163" y="6"/>
                    <a:pt x="208" y="52"/>
                    <a:pt x="208" y="107"/>
                  </a:cubicBezTo>
                  <a:cubicBezTo>
                    <a:pt x="208" y="163"/>
                    <a:pt x="163" y="208"/>
                    <a:pt x="107" y="20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05" name="Freeform 127"/>
            <p:cNvSpPr>
              <a:spLocks noEditPoints="1"/>
            </p:cNvSpPr>
            <p:nvPr/>
          </p:nvSpPr>
          <p:spPr bwMode="auto">
            <a:xfrm>
              <a:off x="4383" y="1856"/>
              <a:ext cx="476" cy="477"/>
            </a:xfrm>
            <a:custGeom>
              <a:avLst/>
              <a:gdLst>
                <a:gd name="T0" fmla="*/ 101 w 202"/>
                <a:gd name="T1" fmla="*/ 5 h 202"/>
                <a:gd name="T2" fmla="*/ 5 w 202"/>
                <a:gd name="T3" fmla="*/ 101 h 202"/>
                <a:gd name="T4" fmla="*/ 101 w 202"/>
                <a:gd name="T5" fmla="*/ 197 h 202"/>
                <a:gd name="T6" fmla="*/ 197 w 202"/>
                <a:gd name="T7" fmla="*/ 101 h 202"/>
                <a:gd name="T8" fmla="*/ 101 w 202"/>
                <a:gd name="T9" fmla="*/ 5 h 202"/>
                <a:gd name="T10" fmla="*/ 101 w 202"/>
                <a:gd name="T11" fmla="*/ 202 h 202"/>
                <a:gd name="T12" fmla="*/ 0 w 202"/>
                <a:gd name="T13" fmla="*/ 101 h 202"/>
                <a:gd name="T14" fmla="*/ 101 w 202"/>
                <a:gd name="T15" fmla="*/ 0 h 202"/>
                <a:gd name="T16" fmla="*/ 202 w 202"/>
                <a:gd name="T17" fmla="*/ 101 h 202"/>
                <a:gd name="T18" fmla="*/ 101 w 202"/>
                <a:gd name="T1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48" y="5"/>
                    <a:pt x="5" y="48"/>
                    <a:pt x="5" y="101"/>
                  </a:cubicBezTo>
                  <a:cubicBezTo>
                    <a:pt x="5" y="154"/>
                    <a:pt x="48" y="197"/>
                    <a:pt x="101" y="197"/>
                  </a:cubicBezTo>
                  <a:cubicBezTo>
                    <a:pt x="154" y="197"/>
                    <a:pt x="197" y="154"/>
                    <a:pt x="197" y="101"/>
                  </a:cubicBezTo>
                  <a:cubicBezTo>
                    <a:pt x="197" y="48"/>
                    <a:pt x="154" y="5"/>
                    <a:pt x="101" y="5"/>
                  </a:cubicBezTo>
                  <a:moveTo>
                    <a:pt x="101" y="202"/>
                  </a:moveTo>
                  <a:cubicBezTo>
                    <a:pt x="46" y="202"/>
                    <a:pt x="0" y="157"/>
                    <a:pt x="0" y="101"/>
                  </a:cubicBezTo>
                  <a:cubicBezTo>
                    <a:pt x="0" y="46"/>
                    <a:pt x="46" y="0"/>
                    <a:pt x="101" y="0"/>
                  </a:cubicBezTo>
                  <a:cubicBezTo>
                    <a:pt x="157" y="0"/>
                    <a:pt x="202" y="46"/>
                    <a:pt x="202" y="101"/>
                  </a:cubicBezTo>
                  <a:cubicBezTo>
                    <a:pt x="202" y="157"/>
                    <a:pt x="157" y="202"/>
                    <a:pt x="101" y="20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309" name="Group 130"/>
          <p:cNvGrpSpPr>
            <a:grpSpLocks noChangeAspect="1"/>
          </p:cNvGrpSpPr>
          <p:nvPr/>
        </p:nvGrpSpPr>
        <p:grpSpPr bwMode="auto">
          <a:xfrm>
            <a:off x="2508250" y="4105275"/>
            <a:ext cx="887413" cy="887413"/>
            <a:chOff x="1580" y="2586"/>
            <a:chExt cx="559" cy="559"/>
          </a:xfrm>
        </p:grpSpPr>
        <p:sp>
          <p:nvSpPr>
            <p:cNvPr id="55310" name="AutoShape 129"/>
            <p:cNvSpPr>
              <a:spLocks noChangeAspect="1" noChangeArrowheads="1" noTextEdit="1"/>
            </p:cNvSpPr>
            <p:nvPr/>
          </p:nvSpPr>
          <p:spPr bwMode="auto">
            <a:xfrm>
              <a:off x="1580" y="2586"/>
              <a:ext cx="559" cy="5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15" name="Oval 131"/>
            <p:cNvSpPr>
              <a:spLocks noChangeArrowheads="1"/>
            </p:cNvSpPr>
            <p:nvPr/>
          </p:nvSpPr>
          <p:spPr bwMode="auto">
            <a:xfrm>
              <a:off x="1580" y="2586"/>
              <a:ext cx="559" cy="55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16" name="Freeform 132"/>
            <p:cNvSpPr>
              <a:spLocks noEditPoints="1"/>
            </p:cNvSpPr>
            <p:nvPr/>
          </p:nvSpPr>
          <p:spPr bwMode="auto">
            <a:xfrm>
              <a:off x="1601" y="2607"/>
              <a:ext cx="517" cy="517"/>
            </a:xfrm>
            <a:custGeom>
              <a:avLst/>
              <a:gdLst>
                <a:gd name="T0" fmla="*/ 737 w 1474"/>
                <a:gd name="T1" fmla="*/ 0 h 1474"/>
                <a:gd name="T2" fmla="*/ 0 w 1474"/>
                <a:gd name="T3" fmla="*/ 737 h 1474"/>
                <a:gd name="T4" fmla="*/ 737 w 1474"/>
                <a:gd name="T5" fmla="*/ 1474 h 1474"/>
                <a:gd name="T6" fmla="*/ 1474 w 1474"/>
                <a:gd name="T7" fmla="*/ 737 h 1474"/>
                <a:gd name="T8" fmla="*/ 737 w 1474"/>
                <a:gd name="T9" fmla="*/ 0 h 1474"/>
                <a:gd name="T10" fmla="*/ 737 w 1474"/>
                <a:gd name="T11" fmla="*/ 1438 h 1474"/>
                <a:gd name="T12" fmla="*/ 36 w 1474"/>
                <a:gd name="T13" fmla="*/ 737 h 1474"/>
                <a:gd name="T14" fmla="*/ 737 w 1474"/>
                <a:gd name="T15" fmla="*/ 36 h 1474"/>
                <a:gd name="T16" fmla="*/ 1438 w 1474"/>
                <a:gd name="T17" fmla="*/ 737 h 1474"/>
                <a:gd name="T18" fmla="*/ 737 w 1474"/>
                <a:gd name="T19" fmla="*/ 1438 h 1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4" h="1474">
                  <a:moveTo>
                    <a:pt x="737" y="0"/>
                  </a:moveTo>
                  <a:cubicBezTo>
                    <a:pt x="331" y="0"/>
                    <a:pt x="0" y="331"/>
                    <a:pt x="0" y="737"/>
                  </a:cubicBezTo>
                  <a:cubicBezTo>
                    <a:pt x="0" y="1143"/>
                    <a:pt x="331" y="1474"/>
                    <a:pt x="737" y="1474"/>
                  </a:cubicBezTo>
                  <a:cubicBezTo>
                    <a:pt x="1143" y="1474"/>
                    <a:pt x="1474" y="1143"/>
                    <a:pt x="1474" y="737"/>
                  </a:cubicBezTo>
                  <a:cubicBezTo>
                    <a:pt x="1474" y="331"/>
                    <a:pt x="1143" y="0"/>
                    <a:pt x="737" y="0"/>
                  </a:cubicBezTo>
                  <a:close/>
                  <a:moveTo>
                    <a:pt x="737" y="1438"/>
                  </a:moveTo>
                  <a:cubicBezTo>
                    <a:pt x="351" y="1438"/>
                    <a:pt x="36" y="1124"/>
                    <a:pt x="36" y="737"/>
                  </a:cubicBezTo>
                  <a:cubicBezTo>
                    <a:pt x="36" y="351"/>
                    <a:pt x="351" y="36"/>
                    <a:pt x="737" y="36"/>
                  </a:cubicBezTo>
                  <a:cubicBezTo>
                    <a:pt x="1124" y="36"/>
                    <a:pt x="1438" y="351"/>
                    <a:pt x="1438" y="737"/>
                  </a:cubicBezTo>
                  <a:cubicBezTo>
                    <a:pt x="1438" y="1124"/>
                    <a:pt x="1124" y="1438"/>
                    <a:pt x="737" y="14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0" name="Freeform 133"/>
            <p:cNvSpPr>
              <a:spLocks noEditPoints="1"/>
            </p:cNvSpPr>
            <p:nvPr/>
          </p:nvSpPr>
          <p:spPr bwMode="auto">
            <a:xfrm>
              <a:off x="1737" y="2764"/>
              <a:ext cx="65" cy="65"/>
            </a:xfrm>
            <a:custGeom>
              <a:avLst/>
              <a:gdLst>
                <a:gd name="T0" fmla="*/ 93 w 186"/>
                <a:gd name="T1" fmla="*/ 187 h 187"/>
                <a:gd name="T2" fmla="*/ 0 w 186"/>
                <a:gd name="T3" fmla="*/ 94 h 187"/>
                <a:gd name="T4" fmla="*/ 93 w 186"/>
                <a:gd name="T5" fmla="*/ 0 h 187"/>
                <a:gd name="T6" fmla="*/ 186 w 186"/>
                <a:gd name="T7" fmla="*/ 94 h 187"/>
                <a:gd name="T8" fmla="*/ 93 w 186"/>
                <a:gd name="T9" fmla="*/ 187 h 187"/>
                <a:gd name="T10" fmla="*/ 93 w 186"/>
                <a:gd name="T11" fmla="*/ 35 h 187"/>
                <a:gd name="T12" fmla="*/ 34 w 186"/>
                <a:gd name="T13" fmla="*/ 94 h 187"/>
                <a:gd name="T14" fmla="*/ 93 w 186"/>
                <a:gd name="T15" fmla="*/ 153 h 187"/>
                <a:gd name="T16" fmla="*/ 152 w 186"/>
                <a:gd name="T17" fmla="*/ 94 h 187"/>
                <a:gd name="T18" fmla="*/ 93 w 186"/>
                <a:gd name="T19" fmla="*/ 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6" h="187">
                  <a:moveTo>
                    <a:pt x="93" y="187"/>
                  </a:moveTo>
                  <a:cubicBezTo>
                    <a:pt x="42" y="187"/>
                    <a:pt x="0" y="145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42"/>
                    <a:pt x="186" y="94"/>
                  </a:cubicBezTo>
                  <a:cubicBezTo>
                    <a:pt x="186" y="145"/>
                    <a:pt x="145" y="187"/>
                    <a:pt x="93" y="187"/>
                  </a:cubicBezTo>
                  <a:close/>
                  <a:moveTo>
                    <a:pt x="93" y="35"/>
                  </a:moveTo>
                  <a:cubicBezTo>
                    <a:pt x="61" y="35"/>
                    <a:pt x="34" y="61"/>
                    <a:pt x="34" y="94"/>
                  </a:cubicBezTo>
                  <a:cubicBezTo>
                    <a:pt x="34" y="126"/>
                    <a:pt x="61" y="153"/>
                    <a:pt x="93" y="153"/>
                  </a:cubicBezTo>
                  <a:cubicBezTo>
                    <a:pt x="125" y="153"/>
                    <a:pt x="152" y="126"/>
                    <a:pt x="152" y="94"/>
                  </a:cubicBezTo>
                  <a:cubicBezTo>
                    <a:pt x="152" y="61"/>
                    <a:pt x="125" y="35"/>
                    <a:pt x="93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1" name="Line 134"/>
            <p:cNvSpPr>
              <a:spLocks noChangeShapeType="1"/>
            </p:cNvSpPr>
            <p:nvPr/>
          </p:nvSpPr>
          <p:spPr bwMode="auto">
            <a:xfrm>
              <a:off x="1772" y="2799"/>
              <a:ext cx="0" cy="0"/>
            </a:xfrm>
            <a:prstGeom prst="line">
              <a:avLst/>
            </a:prstGeom>
            <a:noFill/>
            <a:ln w="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6" name="Freeform 135"/>
            <p:cNvSpPr>
              <a:spLocks noEditPoints="1"/>
            </p:cNvSpPr>
            <p:nvPr/>
          </p:nvSpPr>
          <p:spPr bwMode="auto">
            <a:xfrm>
              <a:off x="1839" y="2785"/>
              <a:ext cx="145" cy="79"/>
            </a:xfrm>
            <a:custGeom>
              <a:avLst/>
              <a:gdLst>
                <a:gd name="T0" fmla="*/ 413 w 413"/>
                <a:gd name="T1" fmla="*/ 227 h 227"/>
                <a:gd name="T2" fmla="*/ 0 w 413"/>
                <a:gd name="T3" fmla="*/ 227 h 227"/>
                <a:gd name="T4" fmla="*/ 0 w 413"/>
                <a:gd name="T5" fmla="*/ 0 h 227"/>
                <a:gd name="T6" fmla="*/ 319 w 413"/>
                <a:gd name="T7" fmla="*/ 0 h 227"/>
                <a:gd name="T8" fmla="*/ 413 w 413"/>
                <a:gd name="T9" fmla="*/ 90 h 227"/>
                <a:gd name="T10" fmla="*/ 413 w 413"/>
                <a:gd name="T11" fmla="*/ 227 h 227"/>
                <a:gd name="T12" fmla="*/ 35 w 413"/>
                <a:gd name="T13" fmla="*/ 193 h 227"/>
                <a:gd name="T14" fmla="*/ 379 w 413"/>
                <a:gd name="T15" fmla="*/ 193 h 227"/>
                <a:gd name="T16" fmla="*/ 379 w 413"/>
                <a:gd name="T17" fmla="*/ 90 h 227"/>
                <a:gd name="T18" fmla="*/ 319 w 413"/>
                <a:gd name="T19" fmla="*/ 34 h 227"/>
                <a:gd name="T20" fmla="*/ 35 w 413"/>
                <a:gd name="T21" fmla="*/ 34 h 227"/>
                <a:gd name="T22" fmla="*/ 35 w 413"/>
                <a:gd name="T23" fmla="*/ 19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227">
                  <a:moveTo>
                    <a:pt x="413" y="227"/>
                  </a:moveTo>
                  <a:cubicBezTo>
                    <a:pt x="0" y="227"/>
                    <a:pt x="0" y="227"/>
                    <a:pt x="0" y="2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9" y="0"/>
                    <a:pt x="319" y="0"/>
                    <a:pt x="319" y="0"/>
                  </a:cubicBezTo>
                  <a:cubicBezTo>
                    <a:pt x="375" y="0"/>
                    <a:pt x="413" y="37"/>
                    <a:pt x="413" y="90"/>
                  </a:cubicBezTo>
                  <a:lnTo>
                    <a:pt x="413" y="227"/>
                  </a:lnTo>
                  <a:close/>
                  <a:moveTo>
                    <a:pt x="35" y="193"/>
                  </a:moveTo>
                  <a:cubicBezTo>
                    <a:pt x="379" y="193"/>
                    <a:pt x="379" y="193"/>
                    <a:pt x="379" y="193"/>
                  </a:cubicBezTo>
                  <a:cubicBezTo>
                    <a:pt x="379" y="90"/>
                    <a:pt x="379" y="90"/>
                    <a:pt x="379" y="90"/>
                  </a:cubicBezTo>
                  <a:cubicBezTo>
                    <a:pt x="379" y="56"/>
                    <a:pt x="356" y="34"/>
                    <a:pt x="319" y="34"/>
                  </a:cubicBezTo>
                  <a:cubicBezTo>
                    <a:pt x="35" y="34"/>
                    <a:pt x="35" y="34"/>
                    <a:pt x="35" y="34"/>
                  </a:cubicBezTo>
                  <a:lnTo>
                    <a:pt x="35" y="19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27" name="Freeform 136"/>
            <p:cNvSpPr>
              <a:spLocks noEditPoints="1"/>
            </p:cNvSpPr>
            <p:nvPr/>
          </p:nvSpPr>
          <p:spPr bwMode="auto">
            <a:xfrm>
              <a:off x="1736" y="2784"/>
              <a:ext cx="101" cy="81"/>
            </a:xfrm>
            <a:custGeom>
              <a:avLst/>
              <a:gdLst>
                <a:gd name="T0" fmla="*/ 230 w 287"/>
                <a:gd name="T1" fmla="*/ 230 h 230"/>
                <a:gd name="T2" fmla="*/ 63 w 287"/>
                <a:gd name="T3" fmla="*/ 230 h 230"/>
                <a:gd name="T4" fmla="*/ 0 w 287"/>
                <a:gd name="T5" fmla="*/ 173 h 230"/>
                <a:gd name="T6" fmla="*/ 63 w 287"/>
                <a:gd name="T7" fmla="*/ 116 h 230"/>
                <a:gd name="T8" fmla="*/ 173 w 287"/>
                <a:gd name="T9" fmla="*/ 116 h 230"/>
                <a:gd name="T10" fmla="*/ 173 w 287"/>
                <a:gd name="T11" fmla="*/ 62 h 230"/>
                <a:gd name="T12" fmla="*/ 230 w 287"/>
                <a:gd name="T13" fmla="*/ 0 h 230"/>
                <a:gd name="T14" fmla="*/ 287 w 287"/>
                <a:gd name="T15" fmla="*/ 62 h 230"/>
                <a:gd name="T16" fmla="*/ 287 w 287"/>
                <a:gd name="T17" fmla="*/ 171 h 230"/>
                <a:gd name="T18" fmla="*/ 230 w 287"/>
                <a:gd name="T19" fmla="*/ 230 h 230"/>
                <a:gd name="T20" fmla="*/ 63 w 287"/>
                <a:gd name="T21" fmla="*/ 151 h 230"/>
                <a:gd name="T22" fmla="*/ 34 w 287"/>
                <a:gd name="T23" fmla="*/ 173 h 230"/>
                <a:gd name="T24" fmla="*/ 63 w 287"/>
                <a:gd name="T25" fmla="*/ 196 h 230"/>
                <a:gd name="T26" fmla="*/ 230 w 287"/>
                <a:gd name="T27" fmla="*/ 196 h 230"/>
                <a:gd name="T28" fmla="*/ 252 w 287"/>
                <a:gd name="T29" fmla="*/ 171 h 230"/>
                <a:gd name="T30" fmla="*/ 252 w 287"/>
                <a:gd name="T31" fmla="*/ 62 h 230"/>
                <a:gd name="T32" fmla="*/ 230 w 287"/>
                <a:gd name="T33" fmla="*/ 34 h 230"/>
                <a:gd name="T34" fmla="*/ 208 w 287"/>
                <a:gd name="T35" fmla="*/ 62 h 230"/>
                <a:gd name="T36" fmla="*/ 208 w 287"/>
                <a:gd name="T37" fmla="*/ 151 h 230"/>
                <a:gd name="T38" fmla="*/ 63 w 287"/>
                <a:gd name="T39" fmla="*/ 151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7" h="230">
                  <a:moveTo>
                    <a:pt x="230" y="230"/>
                  </a:moveTo>
                  <a:cubicBezTo>
                    <a:pt x="63" y="230"/>
                    <a:pt x="63" y="230"/>
                    <a:pt x="63" y="230"/>
                  </a:cubicBezTo>
                  <a:cubicBezTo>
                    <a:pt x="22" y="230"/>
                    <a:pt x="0" y="202"/>
                    <a:pt x="0" y="173"/>
                  </a:cubicBezTo>
                  <a:cubicBezTo>
                    <a:pt x="0" y="145"/>
                    <a:pt x="21" y="117"/>
                    <a:pt x="63" y="116"/>
                  </a:cubicBezTo>
                  <a:cubicBezTo>
                    <a:pt x="173" y="116"/>
                    <a:pt x="173" y="116"/>
                    <a:pt x="173" y="116"/>
                  </a:cubicBezTo>
                  <a:cubicBezTo>
                    <a:pt x="173" y="62"/>
                    <a:pt x="173" y="62"/>
                    <a:pt x="173" y="62"/>
                  </a:cubicBezTo>
                  <a:cubicBezTo>
                    <a:pt x="173" y="21"/>
                    <a:pt x="202" y="0"/>
                    <a:pt x="230" y="0"/>
                  </a:cubicBezTo>
                  <a:cubicBezTo>
                    <a:pt x="258" y="0"/>
                    <a:pt x="287" y="21"/>
                    <a:pt x="287" y="62"/>
                  </a:cubicBezTo>
                  <a:cubicBezTo>
                    <a:pt x="287" y="171"/>
                    <a:pt x="287" y="171"/>
                    <a:pt x="287" y="171"/>
                  </a:cubicBezTo>
                  <a:cubicBezTo>
                    <a:pt x="287" y="205"/>
                    <a:pt x="262" y="230"/>
                    <a:pt x="230" y="230"/>
                  </a:cubicBezTo>
                  <a:close/>
                  <a:moveTo>
                    <a:pt x="63" y="151"/>
                  </a:moveTo>
                  <a:cubicBezTo>
                    <a:pt x="42" y="151"/>
                    <a:pt x="34" y="163"/>
                    <a:pt x="34" y="173"/>
                  </a:cubicBezTo>
                  <a:cubicBezTo>
                    <a:pt x="34" y="184"/>
                    <a:pt x="42" y="196"/>
                    <a:pt x="63" y="196"/>
                  </a:cubicBezTo>
                  <a:cubicBezTo>
                    <a:pt x="230" y="196"/>
                    <a:pt x="230" y="196"/>
                    <a:pt x="230" y="196"/>
                  </a:cubicBezTo>
                  <a:cubicBezTo>
                    <a:pt x="245" y="196"/>
                    <a:pt x="252" y="183"/>
                    <a:pt x="252" y="171"/>
                  </a:cubicBezTo>
                  <a:cubicBezTo>
                    <a:pt x="252" y="62"/>
                    <a:pt x="252" y="62"/>
                    <a:pt x="252" y="62"/>
                  </a:cubicBezTo>
                  <a:cubicBezTo>
                    <a:pt x="252" y="42"/>
                    <a:pt x="240" y="34"/>
                    <a:pt x="230" y="34"/>
                  </a:cubicBezTo>
                  <a:cubicBezTo>
                    <a:pt x="220" y="34"/>
                    <a:pt x="208" y="42"/>
                    <a:pt x="208" y="62"/>
                  </a:cubicBezTo>
                  <a:cubicBezTo>
                    <a:pt x="208" y="151"/>
                    <a:pt x="208" y="151"/>
                    <a:pt x="208" y="151"/>
                  </a:cubicBezTo>
                  <a:lnTo>
                    <a:pt x="63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0" name="Freeform 137"/>
            <p:cNvSpPr>
              <a:spLocks noEditPoints="1"/>
            </p:cNvSpPr>
            <p:nvPr/>
          </p:nvSpPr>
          <p:spPr bwMode="auto">
            <a:xfrm>
              <a:off x="1689" y="2743"/>
              <a:ext cx="345" cy="213"/>
            </a:xfrm>
            <a:custGeom>
              <a:avLst/>
              <a:gdLst>
                <a:gd name="T0" fmla="*/ 134 w 984"/>
                <a:gd name="T1" fmla="*/ 606 h 606"/>
                <a:gd name="T2" fmla="*/ 0 w 984"/>
                <a:gd name="T3" fmla="*/ 606 h 606"/>
                <a:gd name="T4" fmla="*/ 0 w 984"/>
                <a:gd name="T5" fmla="*/ 66 h 606"/>
                <a:gd name="T6" fmla="*/ 66 w 984"/>
                <a:gd name="T7" fmla="*/ 0 h 606"/>
                <a:gd name="T8" fmla="*/ 132 w 984"/>
                <a:gd name="T9" fmla="*/ 66 h 606"/>
                <a:gd name="T10" fmla="*/ 132 w 984"/>
                <a:gd name="T11" fmla="*/ 328 h 606"/>
                <a:gd name="T12" fmla="*/ 851 w 984"/>
                <a:gd name="T13" fmla="*/ 328 h 606"/>
                <a:gd name="T14" fmla="*/ 851 w 984"/>
                <a:gd name="T15" fmla="*/ 184 h 606"/>
                <a:gd name="T16" fmla="*/ 917 w 984"/>
                <a:gd name="T17" fmla="*/ 115 h 606"/>
                <a:gd name="T18" fmla="*/ 984 w 984"/>
                <a:gd name="T19" fmla="*/ 184 h 606"/>
                <a:gd name="T20" fmla="*/ 984 w 984"/>
                <a:gd name="T21" fmla="*/ 605 h 606"/>
                <a:gd name="T22" fmla="*/ 852 w 984"/>
                <a:gd name="T23" fmla="*/ 605 h 606"/>
                <a:gd name="T24" fmla="*/ 852 w 984"/>
                <a:gd name="T25" fmla="*/ 471 h 606"/>
                <a:gd name="T26" fmla="*/ 134 w 984"/>
                <a:gd name="T27" fmla="*/ 471 h 606"/>
                <a:gd name="T28" fmla="*/ 134 w 984"/>
                <a:gd name="T29" fmla="*/ 606 h 606"/>
                <a:gd name="T30" fmla="*/ 35 w 984"/>
                <a:gd name="T31" fmla="*/ 571 h 606"/>
                <a:gd name="T32" fmla="*/ 99 w 984"/>
                <a:gd name="T33" fmla="*/ 571 h 606"/>
                <a:gd name="T34" fmla="*/ 99 w 984"/>
                <a:gd name="T35" fmla="*/ 436 h 606"/>
                <a:gd name="T36" fmla="*/ 887 w 984"/>
                <a:gd name="T37" fmla="*/ 436 h 606"/>
                <a:gd name="T38" fmla="*/ 887 w 984"/>
                <a:gd name="T39" fmla="*/ 570 h 606"/>
                <a:gd name="T40" fmla="*/ 949 w 984"/>
                <a:gd name="T41" fmla="*/ 570 h 606"/>
                <a:gd name="T42" fmla="*/ 949 w 984"/>
                <a:gd name="T43" fmla="*/ 184 h 606"/>
                <a:gd name="T44" fmla="*/ 917 w 984"/>
                <a:gd name="T45" fmla="*/ 150 h 606"/>
                <a:gd name="T46" fmla="*/ 886 w 984"/>
                <a:gd name="T47" fmla="*/ 184 h 606"/>
                <a:gd name="T48" fmla="*/ 886 w 984"/>
                <a:gd name="T49" fmla="*/ 362 h 606"/>
                <a:gd name="T50" fmla="*/ 97 w 984"/>
                <a:gd name="T51" fmla="*/ 362 h 606"/>
                <a:gd name="T52" fmla="*/ 97 w 984"/>
                <a:gd name="T53" fmla="*/ 66 h 606"/>
                <a:gd name="T54" fmla="*/ 66 w 984"/>
                <a:gd name="T55" fmla="*/ 34 h 606"/>
                <a:gd name="T56" fmla="*/ 35 w 984"/>
                <a:gd name="T57" fmla="*/ 66 h 606"/>
                <a:gd name="T58" fmla="*/ 35 w 984"/>
                <a:gd name="T59" fmla="*/ 571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84" h="606">
                  <a:moveTo>
                    <a:pt x="134" y="606"/>
                  </a:moveTo>
                  <a:cubicBezTo>
                    <a:pt x="0" y="606"/>
                    <a:pt x="0" y="606"/>
                    <a:pt x="0" y="60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23"/>
                    <a:pt x="34" y="0"/>
                    <a:pt x="66" y="0"/>
                  </a:cubicBezTo>
                  <a:cubicBezTo>
                    <a:pt x="99" y="0"/>
                    <a:pt x="132" y="23"/>
                    <a:pt x="132" y="66"/>
                  </a:cubicBezTo>
                  <a:cubicBezTo>
                    <a:pt x="132" y="328"/>
                    <a:pt x="132" y="328"/>
                    <a:pt x="132" y="328"/>
                  </a:cubicBezTo>
                  <a:cubicBezTo>
                    <a:pt x="851" y="328"/>
                    <a:pt x="851" y="328"/>
                    <a:pt x="851" y="328"/>
                  </a:cubicBezTo>
                  <a:cubicBezTo>
                    <a:pt x="851" y="184"/>
                    <a:pt x="851" y="184"/>
                    <a:pt x="851" y="184"/>
                  </a:cubicBezTo>
                  <a:cubicBezTo>
                    <a:pt x="851" y="139"/>
                    <a:pt x="884" y="115"/>
                    <a:pt x="917" y="115"/>
                  </a:cubicBezTo>
                  <a:cubicBezTo>
                    <a:pt x="950" y="115"/>
                    <a:pt x="984" y="139"/>
                    <a:pt x="984" y="184"/>
                  </a:cubicBezTo>
                  <a:cubicBezTo>
                    <a:pt x="984" y="605"/>
                    <a:pt x="984" y="605"/>
                    <a:pt x="984" y="605"/>
                  </a:cubicBezTo>
                  <a:cubicBezTo>
                    <a:pt x="852" y="605"/>
                    <a:pt x="852" y="605"/>
                    <a:pt x="852" y="605"/>
                  </a:cubicBezTo>
                  <a:cubicBezTo>
                    <a:pt x="852" y="471"/>
                    <a:pt x="852" y="471"/>
                    <a:pt x="852" y="471"/>
                  </a:cubicBezTo>
                  <a:cubicBezTo>
                    <a:pt x="134" y="471"/>
                    <a:pt x="134" y="471"/>
                    <a:pt x="134" y="471"/>
                  </a:cubicBezTo>
                  <a:lnTo>
                    <a:pt x="134" y="606"/>
                  </a:lnTo>
                  <a:close/>
                  <a:moveTo>
                    <a:pt x="35" y="571"/>
                  </a:moveTo>
                  <a:cubicBezTo>
                    <a:pt x="99" y="571"/>
                    <a:pt x="99" y="571"/>
                    <a:pt x="99" y="571"/>
                  </a:cubicBezTo>
                  <a:cubicBezTo>
                    <a:pt x="99" y="436"/>
                    <a:pt x="99" y="436"/>
                    <a:pt x="99" y="436"/>
                  </a:cubicBezTo>
                  <a:cubicBezTo>
                    <a:pt x="887" y="436"/>
                    <a:pt x="887" y="436"/>
                    <a:pt x="887" y="436"/>
                  </a:cubicBezTo>
                  <a:cubicBezTo>
                    <a:pt x="887" y="570"/>
                    <a:pt x="887" y="570"/>
                    <a:pt x="887" y="570"/>
                  </a:cubicBezTo>
                  <a:cubicBezTo>
                    <a:pt x="949" y="570"/>
                    <a:pt x="949" y="570"/>
                    <a:pt x="949" y="570"/>
                  </a:cubicBezTo>
                  <a:cubicBezTo>
                    <a:pt x="949" y="184"/>
                    <a:pt x="949" y="184"/>
                    <a:pt x="949" y="184"/>
                  </a:cubicBezTo>
                  <a:cubicBezTo>
                    <a:pt x="949" y="159"/>
                    <a:pt x="932" y="150"/>
                    <a:pt x="917" y="150"/>
                  </a:cubicBezTo>
                  <a:cubicBezTo>
                    <a:pt x="903" y="150"/>
                    <a:pt x="886" y="159"/>
                    <a:pt x="886" y="184"/>
                  </a:cubicBezTo>
                  <a:cubicBezTo>
                    <a:pt x="886" y="362"/>
                    <a:pt x="886" y="362"/>
                    <a:pt x="886" y="362"/>
                  </a:cubicBezTo>
                  <a:cubicBezTo>
                    <a:pt x="97" y="362"/>
                    <a:pt x="97" y="362"/>
                    <a:pt x="97" y="362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43"/>
                    <a:pt x="81" y="34"/>
                    <a:pt x="66" y="34"/>
                  </a:cubicBezTo>
                  <a:cubicBezTo>
                    <a:pt x="52" y="34"/>
                    <a:pt x="35" y="43"/>
                    <a:pt x="35" y="66"/>
                  </a:cubicBezTo>
                  <a:lnTo>
                    <a:pt x="35" y="5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21" name="Group 140"/>
          <p:cNvGrpSpPr>
            <a:grpSpLocks noChangeAspect="1"/>
          </p:cNvGrpSpPr>
          <p:nvPr/>
        </p:nvGrpSpPr>
        <p:grpSpPr bwMode="auto">
          <a:xfrm>
            <a:off x="3584575" y="4133850"/>
            <a:ext cx="768096" cy="768096"/>
            <a:chOff x="2258" y="2604"/>
            <a:chExt cx="541" cy="541"/>
          </a:xfrm>
        </p:grpSpPr>
        <p:sp>
          <p:nvSpPr>
            <p:cNvPr id="45122" name="AutoShape 139"/>
            <p:cNvSpPr>
              <a:spLocks noChangeAspect="1" noChangeArrowheads="1" noTextEdit="1"/>
            </p:cNvSpPr>
            <p:nvPr/>
          </p:nvSpPr>
          <p:spPr bwMode="auto">
            <a:xfrm>
              <a:off x="2258" y="2604"/>
              <a:ext cx="541" cy="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3" name="Freeform 141"/>
            <p:cNvSpPr>
              <a:spLocks noEditPoints="1"/>
            </p:cNvSpPr>
            <p:nvPr/>
          </p:nvSpPr>
          <p:spPr bwMode="auto">
            <a:xfrm>
              <a:off x="2258" y="2604"/>
              <a:ext cx="538" cy="538"/>
            </a:xfrm>
            <a:custGeom>
              <a:avLst/>
              <a:gdLst>
                <a:gd name="T0" fmla="*/ 103 w 206"/>
                <a:gd name="T1" fmla="*/ 0 h 206"/>
                <a:gd name="T2" fmla="*/ 0 w 206"/>
                <a:gd name="T3" fmla="*/ 103 h 206"/>
                <a:gd name="T4" fmla="*/ 103 w 206"/>
                <a:gd name="T5" fmla="*/ 206 h 206"/>
                <a:gd name="T6" fmla="*/ 206 w 206"/>
                <a:gd name="T7" fmla="*/ 103 h 206"/>
                <a:gd name="T8" fmla="*/ 103 w 206"/>
                <a:gd name="T9" fmla="*/ 0 h 206"/>
                <a:gd name="T10" fmla="*/ 103 w 206"/>
                <a:gd name="T11" fmla="*/ 201 h 206"/>
                <a:gd name="T12" fmla="*/ 5 w 206"/>
                <a:gd name="T13" fmla="*/ 103 h 206"/>
                <a:gd name="T14" fmla="*/ 103 w 206"/>
                <a:gd name="T15" fmla="*/ 5 h 206"/>
                <a:gd name="T16" fmla="*/ 201 w 206"/>
                <a:gd name="T17" fmla="*/ 103 h 206"/>
                <a:gd name="T18" fmla="*/ 103 w 206"/>
                <a:gd name="T19" fmla="*/ 20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4" name="Freeform 142"/>
            <p:cNvSpPr>
              <a:spLocks noEditPoints="1"/>
            </p:cNvSpPr>
            <p:nvPr/>
          </p:nvSpPr>
          <p:spPr bwMode="auto">
            <a:xfrm>
              <a:off x="2399" y="2769"/>
              <a:ext cx="68" cy="67"/>
            </a:xfrm>
            <a:custGeom>
              <a:avLst/>
              <a:gdLst>
                <a:gd name="T0" fmla="*/ 13 w 26"/>
                <a:gd name="T1" fmla="*/ 26 h 26"/>
                <a:gd name="T2" fmla="*/ 0 w 26"/>
                <a:gd name="T3" fmla="*/ 13 h 26"/>
                <a:gd name="T4" fmla="*/ 13 w 26"/>
                <a:gd name="T5" fmla="*/ 0 h 26"/>
                <a:gd name="T6" fmla="*/ 26 w 26"/>
                <a:gd name="T7" fmla="*/ 13 h 26"/>
                <a:gd name="T8" fmla="*/ 13 w 26"/>
                <a:gd name="T9" fmla="*/ 26 h 26"/>
                <a:gd name="T10" fmla="*/ 13 w 26"/>
                <a:gd name="T11" fmla="*/ 4 h 26"/>
                <a:gd name="T12" fmla="*/ 5 w 26"/>
                <a:gd name="T13" fmla="*/ 13 h 26"/>
                <a:gd name="T14" fmla="*/ 13 w 26"/>
                <a:gd name="T15" fmla="*/ 21 h 26"/>
                <a:gd name="T16" fmla="*/ 22 w 26"/>
                <a:gd name="T17" fmla="*/ 13 h 26"/>
                <a:gd name="T18" fmla="*/ 13 w 26"/>
                <a:gd name="T1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13" y="26"/>
                  </a:moveTo>
                  <a:cubicBezTo>
                    <a:pt x="6" y="26"/>
                    <a:pt x="0" y="20"/>
                    <a:pt x="0" y="13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1" y="0"/>
                    <a:pt x="26" y="5"/>
                    <a:pt x="26" y="13"/>
                  </a:cubicBezTo>
                  <a:cubicBezTo>
                    <a:pt x="26" y="20"/>
                    <a:pt x="21" y="26"/>
                    <a:pt x="13" y="26"/>
                  </a:cubicBezTo>
                  <a:close/>
                  <a:moveTo>
                    <a:pt x="13" y="4"/>
                  </a:moveTo>
                  <a:cubicBezTo>
                    <a:pt x="9" y="4"/>
                    <a:pt x="5" y="8"/>
                    <a:pt x="5" y="13"/>
                  </a:cubicBezTo>
                  <a:cubicBezTo>
                    <a:pt x="5" y="17"/>
                    <a:pt x="9" y="21"/>
                    <a:pt x="13" y="21"/>
                  </a:cubicBezTo>
                  <a:cubicBezTo>
                    <a:pt x="18" y="21"/>
                    <a:pt x="22" y="17"/>
                    <a:pt x="22" y="13"/>
                  </a:cubicBezTo>
                  <a:cubicBezTo>
                    <a:pt x="22" y="8"/>
                    <a:pt x="18" y="4"/>
                    <a:pt x="13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5" name="Line 143"/>
            <p:cNvSpPr>
              <a:spLocks noChangeShapeType="1"/>
            </p:cNvSpPr>
            <p:nvPr/>
          </p:nvSpPr>
          <p:spPr bwMode="auto">
            <a:xfrm>
              <a:off x="2436" y="2805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6" name="Line 144"/>
            <p:cNvSpPr>
              <a:spLocks noChangeShapeType="1"/>
            </p:cNvSpPr>
            <p:nvPr/>
          </p:nvSpPr>
          <p:spPr bwMode="auto">
            <a:xfrm>
              <a:off x="2436" y="2805"/>
              <a:ext cx="0" cy="0"/>
            </a:xfrm>
            <a:prstGeom prst="line">
              <a:avLst/>
            </a:prstGeom>
            <a:noFill/>
            <a:ln w="9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7" name="Freeform 145"/>
            <p:cNvSpPr>
              <a:spLocks noEditPoints="1"/>
            </p:cNvSpPr>
            <p:nvPr/>
          </p:nvSpPr>
          <p:spPr bwMode="auto">
            <a:xfrm>
              <a:off x="2506" y="2789"/>
              <a:ext cx="152" cy="84"/>
            </a:xfrm>
            <a:custGeom>
              <a:avLst/>
              <a:gdLst>
                <a:gd name="T0" fmla="*/ 58 w 58"/>
                <a:gd name="T1" fmla="*/ 32 h 32"/>
                <a:gd name="T2" fmla="*/ 0 w 58"/>
                <a:gd name="T3" fmla="*/ 32 h 32"/>
                <a:gd name="T4" fmla="*/ 0 w 58"/>
                <a:gd name="T5" fmla="*/ 0 h 32"/>
                <a:gd name="T6" fmla="*/ 45 w 58"/>
                <a:gd name="T7" fmla="*/ 0 h 32"/>
                <a:gd name="T8" fmla="*/ 58 w 58"/>
                <a:gd name="T9" fmla="*/ 13 h 32"/>
                <a:gd name="T10" fmla="*/ 58 w 58"/>
                <a:gd name="T11" fmla="*/ 32 h 32"/>
                <a:gd name="T12" fmla="*/ 5 w 58"/>
                <a:gd name="T13" fmla="*/ 27 h 32"/>
                <a:gd name="T14" fmla="*/ 53 w 58"/>
                <a:gd name="T15" fmla="*/ 27 h 32"/>
                <a:gd name="T16" fmla="*/ 53 w 58"/>
                <a:gd name="T17" fmla="*/ 13 h 32"/>
                <a:gd name="T18" fmla="*/ 45 w 58"/>
                <a:gd name="T19" fmla="*/ 5 h 32"/>
                <a:gd name="T20" fmla="*/ 5 w 58"/>
                <a:gd name="T21" fmla="*/ 5 h 32"/>
                <a:gd name="T22" fmla="*/ 5 w 58"/>
                <a:gd name="T23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32">
                  <a:moveTo>
                    <a:pt x="58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8" y="5"/>
                    <a:pt x="58" y="13"/>
                  </a:cubicBezTo>
                  <a:lnTo>
                    <a:pt x="58" y="32"/>
                  </a:lnTo>
                  <a:close/>
                  <a:moveTo>
                    <a:pt x="5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8"/>
                    <a:pt x="50" y="5"/>
                    <a:pt x="45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8" name="Freeform 146"/>
            <p:cNvSpPr>
              <a:spLocks noEditPoints="1"/>
            </p:cNvSpPr>
            <p:nvPr/>
          </p:nvSpPr>
          <p:spPr bwMode="auto">
            <a:xfrm>
              <a:off x="2399" y="2789"/>
              <a:ext cx="105" cy="84"/>
            </a:xfrm>
            <a:custGeom>
              <a:avLst/>
              <a:gdLst>
                <a:gd name="T0" fmla="*/ 32 w 40"/>
                <a:gd name="T1" fmla="*/ 32 h 32"/>
                <a:gd name="T2" fmla="*/ 9 w 40"/>
                <a:gd name="T3" fmla="*/ 32 h 32"/>
                <a:gd name="T4" fmla="*/ 0 w 40"/>
                <a:gd name="T5" fmla="*/ 24 h 32"/>
                <a:gd name="T6" fmla="*/ 9 w 40"/>
                <a:gd name="T7" fmla="*/ 16 h 32"/>
                <a:gd name="T8" fmla="*/ 24 w 40"/>
                <a:gd name="T9" fmla="*/ 16 h 32"/>
                <a:gd name="T10" fmla="*/ 24 w 40"/>
                <a:gd name="T11" fmla="*/ 8 h 32"/>
                <a:gd name="T12" fmla="*/ 32 w 40"/>
                <a:gd name="T13" fmla="*/ 0 h 32"/>
                <a:gd name="T14" fmla="*/ 40 w 40"/>
                <a:gd name="T15" fmla="*/ 8 h 32"/>
                <a:gd name="T16" fmla="*/ 40 w 40"/>
                <a:gd name="T17" fmla="*/ 24 h 32"/>
                <a:gd name="T18" fmla="*/ 32 w 40"/>
                <a:gd name="T19" fmla="*/ 32 h 32"/>
                <a:gd name="T20" fmla="*/ 9 w 40"/>
                <a:gd name="T21" fmla="*/ 21 h 32"/>
                <a:gd name="T22" fmla="*/ 5 w 40"/>
                <a:gd name="T23" fmla="*/ 24 h 32"/>
                <a:gd name="T24" fmla="*/ 9 w 40"/>
                <a:gd name="T25" fmla="*/ 27 h 32"/>
                <a:gd name="T26" fmla="*/ 32 w 40"/>
                <a:gd name="T27" fmla="*/ 27 h 32"/>
                <a:gd name="T28" fmla="*/ 35 w 40"/>
                <a:gd name="T29" fmla="*/ 24 h 32"/>
                <a:gd name="T30" fmla="*/ 35 w 40"/>
                <a:gd name="T31" fmla="*/ 8 h 32"/>
                <a:gd name="T32" fmla="*/ 32 w 40"/>
                <a:gd name="T33" fmla="*/ 4 h 32"/>
                <a:gd name="T34" fmla="*/ 29 w 40"/>
                <a:gd name="T35" fmla="*/ 8 h 32"/>
                <a:gd name="T36" fmla="*/ 29 w 40"/>
                <a:gd name="T37" fmla="*/ 21 h 32"/>
                <a:gd name="T38" fmla="*/ 9 w 40"/>
                <a:gd name="T3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2">
                  <a:moveTo>
                    <a:pt x="32" y="32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3" y="32"/>
                    <a:pt x="0" y="28"/>
                    <a:pt x="0" y="24"/>
                  </a:cubicBezTo>
                  <a:cubicBezTo>
                    <a:pt x="0" y="20"/>
                    <a:pt x="3" y="16"/>
                    <a:pt x="9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3"/>
                    <a:pt x="28" y="0"/>
                    <a:pt x="32" y="0"/>
                  </a:cubicBezTo>
                  <a:cubicBezTo>
                    <a:pt x="36" y="0"/>
                    <a:pt x="40" y="3"/>
                    <a:pt x="40" y="8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8"/>
                    <a:pt x="37" y="32"/>
                    <a:pt x="32" y="32"/>
                  </a:cubicBezTo>
                  <a:close/>
                  <a:moveTo>
                    <a:pt x="9" y="21"/>
                  </a:moveTo>
                  <a:cubicBezTo>
                    <a:pt x="6" y="21"/>
                    <a:pt x="5" y="23"/>
                    <a:pt x="5" y="24"/>
                  </a:cubicBezTo>
                  <a:cubicBezTo>
                    <a:pt x="5" y="25"/>
                    <a:pt x="6" y="27"/>
                    <a:pt x="9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4" y="27"/>
                    <a:pt x="35" y="25"/>
                    <a:pt x="35" y="2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6"/>
                    <a:pt x="34" y="4"/>
                    <a:pt x="32" y="4"/>
                  </a:cubicBezTo>
                  <a:cubicBezTo>
                    <a:pt x="31" y="4"/>
                    <a:pt x="29" y="6"/>
                    <a:pt x="29" y="8"/>
                  </a:cubicBezTo>
                  <a:cubicBezTo>
                    <a:pt x="29" y="21"/>
                    <a:pt x="29" y="21"/>
                    <a:pt x="29" y="21"/>
                  </a:cubicBezTo>
                  <a:lnTo>
                    <a:pt x="9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0" name="Freeform 147"/>
            <p:cNvSpPr>
              <a:spLocks noEditPoints="1"/>
            </p:cNvSpPr>
            <p:nvPr/>
          </p:nvSpPr>
          <p:spPr bwMode="auto">
            <a:xfrm>
              <a:off x="2349" y="2745"/>
              <a:ext cx="361" cy="222"/>
            </a:xfrm>
            <a:custGeom>
              <a:avLst/>
              <a:gdLst>
                <a:gd name="T0" fmla="*/ 19 w 138"/>
                <a:gd name="T1" fmla="*/ 85 h 85"/>
                <a:gd name="T2" fmla="*/ 0 w 138"/>
                <a:gd name="T3" fmla="*/ 85 h 85"/>
                <a:gd name="T4" fmla="*/ 0 w 138"/>
                <a:gd name="T5" fmla="*/ 10 h 85"/>
                <a:gd name="T6" fmla="*/ 10 w 138"/>
                <a:gd name="T7" fmla="*/ 0 h 85"/>
                <a:gd name="T8" fmla="*/ 19 w 138"/>
                <a:gd name="T9" fmla="*/ 10 h 85"/>
                <a:gd name="T10" fmla="*/ 19 w 138"/>
                <a:gd name="T11" fmla="*/ 46 h 85"/>
                <a:gd name="T12" fmla="*/ 119 w 138"/>
                <a:gd name="T13" fmla="*/ 46 h 85"/>
                <a:gd name="T14" fmla="*/ 119 w 138"/>
                <a:gd name="T15" fmla="*/ 26 h 85"/>
                <a:gd name="T16" fmla="*/ 129 w 138"/>
                <a:gd name="T17" fmla="*/ 17 h 85"/>
                <a:gd name="T18" fmla="*/ 138 w 138"/>
                <a:gd name="T19" fmla="*/ 26 h 85"/>
                <a:gd name="T20" fmla="*/ 138 w 138"/>
                <a:gd name="T21" fmla="*/ 85 h 85"/>
                <a:gd name="T22" fmla="*/ 120 w 138"/>
                <a:gd name="T23" fmla="*/ 85 h 85"/>
                <a:gd name="T24" fmla="*/ 120 w 138"/>
                <a:gd name="T25" fmla="*/ 66 h 85"/>
                <a:gd name="T26" fmla="*/ 19 w 138"/>
                <a:gd name="T27" fmla="*/ 66 h 85"/>
                <a:gd name="T28" fmla="*/ 19 w 138"/>
                <a:gd name="T29" fmla="*/ 85 h 85"/>
                <a:gd name="T30" fmla="*/ 5 w 138"/>
                <a:gd name="T31" fmla="*/ 80 h 85"/>
                <a:gd name="T32" fmla="*/ 14 w 138"/>
                <a:gd name="T33" fmla="*/ 80 h 85"/>
                <a:gd name="T34" fmla="*/ 14 w 138"/>
                <a:gd name="T35" fmla="*/ 62 h 85"/>
                <a:gd name="T36" fmla="*/ 124 w 138"/>
                <a:gd name="T37" fmla="*/ 62 h 85"/>
                <a:gd name="T38" fmla="*/ 124 w 138"/>
                <a:gd name="T39" fmla="*/ 80 h 85"/>
                <a:gd name="T40" fmla="*/ 133 w 138"/>
                <a:gd name="T41" fmla="*/ 80 h 85"/>
                <a:gd name="T42" fmla="*/ 133 w 138"/>
                <a:gd name="T43" fmla="*/ 26 h 85"/>
                <a:gd name="T44" fmla="*/ 129 w 138"/>
                <a:gd name="T45" fmla="*/ 21 h 85"/>
                <a:gd name="T46" fmla="*/ 124 w 138"/>
                <a:gd name="T47" fmla="*/ 26 h 85"/>
                <a:gd name="T48" fmla="*/ 124 w 138"/>
                <a:gd name="T49" fmla="*/ 51 h 85"/>
                <a:gd name="T50" fmla="*/ 14 w 138"/>
                <a:gd name="T51" fmla="*/ 51 h 85"/>
                <a:gd name="T52" fmla="*/ 14 w 138"/>
                <a:gd name="T53" fmla="*/ 10 h 85"/>
                <a:gd name="T54" fmla="*/ 10 w 138"/>
                <a:gd name="T55" fmla="*/ 5 h 85"/>
                <a:gd name="T56" fmla="*/ 5 w 138"/>
                <a:gd name="T57" fmla="*/ 10 h 85"/>
                <a:gd name="T58" fmla="*/ 5 w 138"/>
                <a:gd name="T59" fmla="*/ 8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8" h="85">
                  <a:moveTo>
                    <a:pt x="19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4" y="0"/>
                    <a:pt x="19" y="4"/>
                    <a:pt x="19" y="10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20"/>
                    <a:pt x="124" y="17"/>
                    <a:pt x="129" y="17"/>
                  </a:cubicBezTo>
                  <a:cubicBezTo>
                    <a:pt x="133" y="17"/>
                    <a:pt x="138" y="20"/>
                    <a:pt x="138" y="26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9" y="66"/>
                    <a:pt x="19" y="66"/>
                    <a:pt x="19" y="66"/>
                  </a:cubicBezTo>
                  <a:lnTo>
                    <a:pt x="19" y="85"/>
                  </a:lnTo>
                  <a:close/>
                  <a:moveTo>
                    <a:pt x="5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3"/>
                    <a:pt x="131" y="21"/>
                    <a:pt x="129" y="21"/>
                  </a:cubicBezTo>
                  <a:cubicBezTo>
                    <a:pt x="127" y="21"/>
                    <a:pt x="124" y="23"/>
                    <a:pt x="124" y="26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6"/>
                    <a:pt x="12" y="5"/>
                    <a:pt x="10" y="5"/>
                  </a:cubicBezTo>
                  <a:cubicBezTo>
                    <a:pt x="8" y="5"/>
                    <a:pt x="5" y="6"/>
                    <a:pt x="5" y="10"/>
                  </a:cubicBezTo>
                  <a:lnTo>
                    <a:pt x="5" y="8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31" name="Group 150"/>
          <p:cNvGrpSpPr>
            <a:grpSpLocks noChangeAspect="1"/>
          </p:cNvGrpSpPr>
          <p:nvPr/>
        </p:nvGrpSpPr>
        <p:grpSpPr bwMode="auto">
          <a:xfrm>
            <a:off x="4773613" y="4195763"/>
            <a:ext cx="831850" cy="831850"/>
            <a:chOff x="3007" y="2643"/>
            <a:chExt cx="524" cy="524"/>
          </a:xfrm>
        </p:grpSpPr>
        <p:sp>
          <p:nvSpPr>
            <p:cNvPr id="45132" name="AutoShape 149"/>
            <p:cNvSpPr>
              <a:spLocks noChangeAspect="1" noChangeArrowheads="1" noTextEdit="1"/>
            </p:cNvSpPr>
            <p:nvPr/>
          </p:nvSpPr>
          <p:spPr bwMode="auto">
            <a:xfrm>
              <a:off x="3007" y="2643"/>
              <a:ext cx="524" cy="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3" name="Oval 151"/>
            <p:cNvSpPr>
              <a:spLocks noChangeArrowheads="1"/>
            </p:cNvSpPr>
            <p:nvPr/>
          </p:nvSpPr>
          <p:spPr bwMode="auto">
            <a:xfrm>
              <a:off x="3007" y="2641"/>
              <a:ext cx="522" cy="524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4" name="Freeform 152"/>
            <p:cNvSpPr>
              <a:spLocks noEditPoints="1"/>
            </p:cNvSpPr>
            <p:nvPr/>
          </p:nvSpPr>
          <p:spPr bwMode="auto">
            <a:xfrm>
              <a:off x="3023" y="2659"/>
              <a:ext cx="489" cy="489"/>
            </a:xfrm>
            <a:custGeom>
              <a:avLst/>
              <a:gdLst>
                <a:gd name="T0" fmla="*/ 104 w 207"/>
                <a:gd name="T1" fmla="*/ 207 h 207"/>
                <a:gd name="T2" fmla="*/ 0 w 207"/>
                <a:gd name="T3" fmla="*/ 104 h 207"/>
                <a:gd name="T4" fmla="*/ 104 w 207"/>
                <a:gd name="T5" fmla="*/ 0 h 207"/>
                <a:gd name="T6" fmla="*/ 207 w 207"/>
                <a:gd name="T7" fmla="*/ 104 h 207"/>
                <a:gd name="T8" fmla="*/ 104 w 207"/>
                <a:gd name="T9" fmla="*/ 207 h 207"/>
                <a:gd name="T10" fmla="*/ 104 w 207"/>
                <a:gd name="T11" fmla="*/ 5 h 207"/>
                <a:gd name="T12" fmla="*/ 5 w 207"/>
                <a:gd name="T13" fmla="*/ 104 h 207"/>
                <a:gd name="T14" fmla="*/ 104 w 207"/>
                <a:gd name="T15" fmla="*/ 202 h 207"/>
                <a:gd name="T16" fmla="*/ 202 w 207"/>
                <a:gd name="T17" fmla="*/ 104 h 207"/>
                <a:gd name="T18" fmla="*/ 104 w 207"/>
                <a:gd name="T19" fmla="*/ 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5" name="Freeform 153"/>
            <p:cNvSpPr>
              <a:spLocks noEditPoints="1"/>
            </p:cNvSpPr>
            <p:nvPr/>
          </p:nvSpPr>
          <p:spPr bwMode="auto">
            <a:xfrm>
              <a:off x="3156" y="2756"/>
              <a:ext cx="233" cy="300"/>
            </a:xfrm>
            <a:custGeom>
              <a:avLst/>
              <a:gdLst>
                <a:gd name="T0" fmla="*/ 49 w 99"/>
                <a:gd name="T1" fmla="*/ 127 h 127"/>
                <a:gd name="T2" fmla="*/ 48 w 99"/>
                <a:gd name="T3" fmla="*/ 126 h 127"/>
                <a:gd name="T4" fmla="*/ 0 w 99"/>
                <a:gd name="T5" fmla="*/ 50 h 127"/>
                <a:gd name="T6" fmla="*/ 49 w 99"/>
                <a:gd name="T7" fmla="*/ 0 h 127"/>
                <a:gd name="T8" fmla="*/ 99 w 99"/>
                <a:gd name="T9" fmla="*/ 50 h 127"/>
                <a:gd name="T10" fmla="*/ 50 w 99"/>
                <a:gd name="T11" fmla="*/ 126 h 127"/>
                <a:gd name="T12" fmla="*/ 49 w 99"/>
                <a:gd name="T13" fmla="*/ 127 h 127"/>
                <a:gd name="T14" fmla="*/ 49 w 99"/>
                <a:gd name="T15" fmla="*/ 4 h 127"/>
                <a:gd name="T16" fmla="*/ 3 w 99"/>
                <a:gd name="T17" fmla="*/ 50 h 127"/>
                <a:gd name="T18" fmla="*/ 49 w 99"/>
                <a:gd name="T19" fmla="*/ 122 h 127"/>
                <a:gd name="T20" fmla="*/ 95 w 99"/>
                <a:gd name="T21" fmla="*/ 50 h 127"/>
                <a:gd name="T22" fmla="*/ 49 w 99"/>
                <a:gd name="T23" fmla="*/ 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8"/>
                    <a:pt x="0" y="74"/>
                    <a:pt x="0" y="50"/>
                  </a:cubicBezTo>
                  <a:cubicBezTo>
                    <a:pt x="0" y="23"/>
                    <a:pt x="22" y="0"/>
                    <a:pt x="49" y="0"/>
                  </a:cubicBezTo>
                  <a:cubicBezTo>
                    <a:pt x="76" y="0"/>
                    <a:pt x="99" y="23"/>
                    <a:pt x="99" y="50"/>
                  </a:cubicBezTo>
                  <a:cubicBezTo>
                    <a:pt x="99" y="74"/>
                    <a:pt x="58" y="118"/>
                    <a:pt x="50" y="126"/>
                  </a:cubicBezTo>
                  <a:lnTo>
                    <a:pt x="49" y="127"/>
                  </a:lnTo>
                  <a:close/>
                  <a:moveTo>
                    <a:pt x="49" y="4"/>
                  </a:moveTo>
                  <a:cubicBezTo>
                    <a:pt x="24" y="4"/>
                    <a:pt x="3" y="25"/>
                    <a:pt x="3" y="50"/>
                  </a:cubicBezTo>
                  <a:cubicBezTo>
                    <a:pt x="3" y="72"/>
                    <a:pt x="40" y="113"/>
                    <a:pt x="49" y="122"/>
                  </a:cubicBezTo>
                  <a:cubicBezTo>
                    <a:pt x="58" y="113"/>
                    <a:pt x="95" y="72"/>
                    <a:pt x="95" y="50"/>
                  </a:cubicBezTo>
                  <a:cubicBezTo>
                    <a:pt x="95" y="25"/>
                    <a:pt x="74" y="4"/>
                    <a:pt x="4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6" name="Freeform 154"/>
            <p:cNvSpPr>
              <a:spLocks noEditPoints="1"/>
            </p:cNvSpPr>
            <p:nvPr/>
          </p:nvSpPr>
          <p:spPr bwMode="auto">
            <a:xfrm>
              <a:off x="3215" y="2806"/>
              <a:ext cx="96" cy="127"/>
            </a:xfrm>
            <a:custGeom>
              <a:avLst/>
              <a:gdLst>
                <a:gd name="T0" fmla="*/ 75 w 96"/>
                <a:gd name="T1" fmla="*/ 99 h 127"/>
                <a:gd name="T2" fmla="*/ 75 w 96"/>
                <a:gd name="T3" fmla="*/ 127 h 127"/>
                <a:gd name="T4" fmla="*/ 63 w 96"/>
                <a:gd name="T5" fmla="*/ 127 h 127"/>
                <a:gd name="T6" fmla="*/ 63 w 96"/>
                <a:gd name="T7" fmla="*/ 99 h 127"/>
                <a:gd name="T8" fmla="*/ 0 w 96"/>
                <a:gd name="T9" fmla="*/ 99 h 127"/>
                <a:gd name="T10" fmla="*/ 0 w 96"/>
                <a:gd name="T11" fmla="*/ 89 h 127"/>
                <a:gd name="T12" fmla="*/ 61 w 96"/>
                <a:gd name="T13" fmla="*/ 0 h 127"/>
                <a:gd name="T14" fmla="*/ 75 w 96"/>
                <a:gd name="T15" fmla="*/ 0 h 127"/>
                <a:gd name="T16" fmla="*/ 75 w 96"/>
                <a:gd name="T17" fmla="*/ 87 h 127"/>
                <a:gd name="T18" fmla="*/ 96 w 96"/>
                <a:gd name="T19" fmla="*/ 87 h 127"/>
                <a:gd name="T20" fmla="*/ 96 w 96"/>
                <a:gd name="T21" fmla="*/ 99 h 127"/>
                <a:gd name="T22" fmla="*/ 75 w 96"/>
                <a:gd name="T23" fmla="*/ 99 h 127"/>
                <a:gd name="T24" fmla="*/ 63 w 96"/>
                <a:gd name="T25" fmla="*/ 14 h 127"/>
                <a:gd name="T26" fmla="*/ 14 w 96"/>
                <a:gd name="T27" fmla="*/ 87 h 127"/>
                <a:gd name="T28" fmla="*/ 63 w 96"/>
                <a:gd name="T29" fmla="*/ 87 h 127"/>
                <a:gd name="T30" fmla="*/ 63 w 96"/>
                <a:gd name="T31" fmla="*/ 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127">
                  <a:moveTo>
                    <a:pt x="75" y="99"/>
                  </a:moveTo>
                  <a:lnTo>
                    <a:pt x="75" y="127"/>
                  </a:lnTo>
                  <a:lnTo>
                    <a:pt x="63" y="127"/>
                  </a:lnTo>
                  <a:lnTo>
                    <a:pt x="63" y="99"/>
                  </a:lnTo>
                  <a:lnTo>
                    <a:pt x="0" y="99"/>
                  </a:lnTo>
                  <a:lnTo>
                    <a:pt x="0" y="89"/>
                  </a:lnTo>
                  <a:lnTo>
                    <a:pt x="61" y="0"/>
                  </a:lnTo>
                  <a:lnTo>
                    <a:pt x="75" y="0"/>
                  </a:lnTo>
                  <a:lnTo>
                    <a:pt x="75" y="87"/>
                  </a:lnTo>
                  <a:lnTo>
                    <a:pt x="96" y="87"/>
                  </a:lnTo>
                  <a:lnTo>
                    <a:pt x="96" y="99"/>
                  </a:lnTo>
                  <a:lnTo>
                    <a:pt x="75" y="99"/>
                  </a:lnTo>
                  <a:close/>
                  <a:moveTo>
                    <a:pt x="63" y="14"/>
                  </a:moveTo>
                  <a:lnTo>
                    <a:pt x="14" y="87"/>
                  </a:lnTo>
                  <a:lnTo>
                    <a:pt x="63" y="87"/>
                  </a:lnTo>
                  <a:lnTo>
                    <a:pt x="63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37" name="Group 157"/>
          <p:cNvGrpSpPr>
            <a:grpSpLocks noChangeAspect="1"/>
          </p:cNvGrpSpPr>
          <p:nvPr/>
        </p:nvGrpSpPr>
        <p:grpSpPr bwMode="auto">
          <a:xfrm>
            <a:off x="5851525" y="4173538"/>
            <a:ext cx="776288" cy="787400"/>
            <a:chOff x="3686" y="2629"/>
            <a:chExt cx="489" cy="496"/>
          </a:xfrm>
        </p:grpSpPr>
        <p:sp>
          <p:nvSpPr>
            <p:cNvPr id="45138" name="AutoShape 156"/>
            <p:cNvSpPr>
              <a:spLocks noChangeAspect="1" noChangeArrowheads="1" noTextEdit="1"/>
            </p:cNvSpPr>
            <p:nvPr/>
          </p:nvSpPr>
          <p:spPr bwMode="auto">
            <a:xfrm>
              <a:off x="3686" y="2629"/>
              <a:ext cx="489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9" name="Freeform 158"/>
            <p:cNvSpPr>
              <a:spLocks noEditPoints="1"/>
            </p:cNvSpPr>
            <p:nvPr/>
          </p:nvSpPr>
          <p:spPr bwMode="auto">
            <a:xfrm>
              <a:off x="3684" y="2631"/>
              <a:ext cx="489" cy="492"/>
            </a:xfrm>
            <a:custGeom>
              <a:avLst/>
              <a:gdLst>
                <a:gd name="T0" fmla="*/ 104 w 207"/>
                <a:gd name="T1" fmla="*/ 208 h 208"/>
                <a:gd name="T2" fmla="*/ 0 w 207"/>
                <a:gd name="T3" fmla="*/ 104 h 208"/>
                <a:gd name="T4" fmla="*/ 104 w 207"/>
                <a:gd name="T5" fmla="*/ 0 h 208"/>
                <a:gd name="T6" fmla="*/ 207 w 207"/>
                <a:gd name="T7" fmla="*/ 104 h 208"/>
                <a:gd name="T8" fmla="*/ 104 w 207"/>
                <a:gd name="T9" fmla="*/ 208 h 208"/>
                <a:gd name="T10" fmla="*/ 104 w 207"/>
                <a:gd name="T11" fmla="*/ 5 h 208"/>
                <a:gd name="T12" fmla="*/ 5 w 207"/>
                <a:gd name="T13" fmla="*/ 104 h 208"/>
                <a:gd name="T14" fmla="*/ 104 w 207"/>
                <a:gd name="T15" fmla="*/ 203 h 208"/>
                <a:gd name="T16" fmla="*/ 202 w 207"/>
                <a:gd name="T17" fmla="*/ 104 h 208"/>
                <a:gd name="T18" fmla="*/ 104 w 207"/>
                <a:gd name="T19" fmla="*/ 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0" name="Freeform 159"/>
            <p:cNvSpPr>
              <a:spLocks noEditPoints="1"/>
            </p:cNvSpPr>
            <p:nvPr/>
          </p:nvSpPr>
          <p:spPr bwMode="auto">
            <a:xfrm>
              <a:off x="3816" y="2731"/>
              <a:ext cx="231" cy="299"/>
            </a:xfrm>
            <a:custGeom>
              <a:avLst/>
              <a:gdLst>
                <a:gd name="T0" fmla="*/ 49 w 98"/>
                <a:gd name="T1" fmla="*/ 127 h 127"/>
                <a:gd name="T2" fmla="*/ 48 w 98"/>
                <a:gd name="T3" fmla="*/ 125 h 127"/>
                <a:gd name="T4" fmla="*/ 0 w 98"/>
                <a:gd name="T5" fmla="*/ 50 h 127"/>
                <a:gd name="T6" fmla="*/ 49 w 98"/>
                <a:gd name="T7" fmla="*/ 0 h 127"/>
                <a:gd name="T8" fmla="*/ 98 w 98"/>
                <a:gd name="T9" fmla="*/ 50 h 127"/>
                <a:gd name="T10" fmla="*/ 50 w 98"/>
                <a:gd name="T11" fmla="*/ 125 h 127"/>
                <a:gd name="T12" fmla="*/ 49 w 98"/>
                <a:gd name="T13" fmla="*/ 127 h 127"/>
                <a:gd name="T14" fmla="*/ 49 w 98"/>
                <a:gd name="T15" fmla="*/ 3 h 127"/>
                <a:gd name="T16" fmla="*/ 3 w 98"/>
                <a:gd name="T17" fmla="*/ 50 h 127"/>
                <a:gd name="T18" fmla="*/ 49 w 98"/>
                <a:gd name="T19" fmla="*/ 122 h 127"/>
                <a:gd name="T20" fmla="*/ 95 w 98"/>
                <a:gd name="T21" fmla="*/ 50 h 127"/>
                <a:gd name="T22" fmla="*/ 49 w 98"/>
                <a:gd name="T23" fmla="*/ 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5"/>
                    <a:pt x="48" y="125"/>
                    <a:pt x="48" y="125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5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2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1" name="Freeform 160"/>
            <p:cNvSpPr>
              <a:spLocks noEditPoints="1"/>
            </p:cNvSpPr>
            <p:nvPr/>
          </p:nvSpPr>
          <p:spPr bwMode="auto">
            <a:xfrm>
              <a:off x="3875" y="2780"/>
              <a:ext cx="97" cy="128"/>
            </a:xfrm>
            <a:custGeom>
              <a:avLst/>
              <a:gdLst>
                <a:gd name="T0" fmla="*/ 76 w 97"/>
                <a:gd name="T1" fmla="*/ 97 h 128"/>
                <a:gd name="T2" fmla="*/ 76 w 97"/>
                <a:gd name="T3" fmla="*/ 128 h 128"/>
                <a:gd name="T4" fmla="*/ 64 w 97"/>
                <a:gd name="T5" fmla="*/ 128 h 128"/>
                <a:gd name="T6" fmla="*/ 64 w 97"/>
                <a:gd name="T7" fmla="*/ 97 h 128"/>
                <a:gd name="T8" fmla="*/ 0 w 97"/>
                <a:gd name="T9" fmla="*/ 97 h 128"/>
                <a:gd name="T10" fmla="*/ 0 w 97"/>
                <a:gd name="T11" fmla="*/ 88 h 128"/>
                <a:gd name="T12" fmla="*/ 61 w 97"/>
                <a:gd name="T13" fmla="*/ 0 h 128"/>
                <a:gd name="T14" fmla="*/ 76 w 97"/>
                <a:gd name="T15" fmla="*/ 0 h 128"/>
                <a:gd name="T16" fmla="*/ 76 w 97"/>
                <a:gd name="T17" fmla="*/ 88 h 128"/>
                <a:gd name="T18" fmla="*/ 97 w 97"/>
                <a:gd name="T19" fmla="*/ 88 h 128"/>
                <a:gd name="T20" fmla="*/ 97 w 97"/>
                <a:gd name="T21" fmla="*/ 97 h 128"/>
                <a:gd name="T22" fmla="*/ 76 w 97"/>
                <a:gd name="T23" fmla="*/ 97 h 128"/>
                <a:gd name="T24" fmla="*/ 64 w 97"/>
                <a:gd name="T25" fmla="*/ 14 h 128"/>
                <a:gd name="T26" fmla="*/ 12 w 97"/>
                <a:gd name="T27" fmla="*/ 88 h 128"/>
                <a:gd name="T28" fmla="*/ 64 w 97"/>
                <a:gd name="T29" fmla="*/ 88 h 128"/>
                <a:gd name="T30" fmla="*/ 64 w 97"/>
                <a:gd name="T31" fmla="*/ 1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28">
                  <a:moveTo>
                    <a:pt x="76" y="97"/>
                  </a:moveTo>
                  <a:lnTo>
                    <a:pt x="76" y="128"/>
                  </a:lnTo>
                  <a:lnTo>
                    <a:pt x="64" y="128"/>
                  </a:lnTo>
                  <a:lnTo>
                    <a:pt x="64" y="97"/>
                  </a:lnTo>
                  <a:lnTo>
                    <a:pt x="0" y="97"/>
                  </a:lnTo>
                  <a:lnTo>
                    <a:pt x="0" y="88"/>
                  </a:lnTo>
                  <a:lnTo>
                    <a:pt x="61" y="0"/>
                  </a:lnTo>
                  <a:lnTo>
                    <a:pt x="76" y="0"/>
                  </a:lnTo>
                  <a:lnTo>
                    <a:pt x="76" y="8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76" y="97"/>
                  </a:lnTo>
                  <a:close/>
                  <a:moveTo>
                    <a:pt x="64" y="14"/>
                  </a:moveTo>
                  <a:lnTo>
                    <a:pt x="12" y="88"/>
                  </a:lnTo>
                  <a:lnTo>
                    <a:pt x="64" y="88"/>
                  </a:lnTo>
                  <a:lnTo>
                    <a:pt x="64" y="1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455" name="Group 206"/>
          <p:cNvGrpSpPr>
            <a:grpSpLocks noChangeAspect="1"/>
          </p:cNvGrpSpPr>
          <p:nvPr/>
        </p:nvGrpSpPr>
        <p:grpSpPr bwMode="auto">
          <a:xfrm>
            <a:off x="2530475" y="5438775"/>
            <a:ext cx="844550" cy="844550"/>
            <a:chOff x="1594" y="3426"/>
            <a:chExt cx="532" cy="532"/>
          </a:xfrm>
        </p:grpSpPr>
        <p:sp>
          <p:nvSpPr>
            <p:cNvPr id="55463" name="AutoShape 205"/>
            <p:cNvSpPr>
              <a:spLocks noChangeAspect="1" noChangeArrowheads="1" noTextEdit="1"/>
            </p:cNvSpPr>
            <p:nvPr/>
          </p:nvSpPr>
          <p:spPr bwMode="auto">
            <a:xfrm>
              <a:off x="1594" y="3426"/>
              <a:ext cx="532" cy="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64" name="Oval 207"/>
            <p:cNvSpPr>
              <a:spLocks noChangeArrowheads="1"/>
            </p:cNvSpPr>
            <p:nvPr/>
          </p:nvSpPr>
          <p:spPr bwMode="auto">
            <a:xfrm>
              <a:off x="1594" y="3426"/>
              <a:ext cx="534" cy="534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71" name="Freeform 208"/>
            <p:cNvSpPr>
              <a:spLocks noEditPoints="1"/>
            </p:cNvSpPr>
            <p:nvPr/>
          </p:nvSpPr>
          <p:spPr bwMode="auto">
            <a:xfrm>
              <a:off x="1615" y="3445"/>
              <a:ext cx="492" cy="494"/>
            </a:xfrm>
            <a:custGeom>
              <a:avLst/>
              <a:gdLst>
                <a:gd name="T0" fmla="*/ 104 w 208"/>
                <a:gd name="T1" fmla="*/ 209 h 209"/>
                <a:gd name="T2" fmla="*/ 0 w 208"/>
                <a:gd name="T3" fmla="*/ 105 h 209"/>
                <a:gd name="T4" fmla="*/ 104 w 208"/>
                <a:gd name="T5" fmla="*/ 0 h 209"/>
                <a:gd name="T6" fmla="*/ 208 w 208"/>
                <a:gd name="T7" fmla="*/ 105 h 209"/>
                <a:gd name="T8" fmla="*/ 104 w 208"/>
                <a:gd name="T9" fmla="*/ 209 h 209"/>
                <a:gd name="T10" fmla="*/ 104 w 208"/>
                <a:gd name="T11" fmla="*/ 5 h 209"/>
                <a:gd name="T12" fmla="*/ 5 w 208"/>
                <a:gd name="T13" fmla="*/ 105 h 209"/>
                <a:gd name="T14" fmla="*/ 104 w 208"/>
                <a:gd name="T15" fmla="*/ 204 h 209"/>
                <a:gd name="T16" fmla="*/ 203 w 208"/>
                <a:gd name="T17" fmla="*/ 105 h 209"/>
                <a:gd name="T18" fmla="*/ 104 w 208"/>
                <a:gd name="T1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09">
                  <a:moveTo>
                    <a:pt x="104" y="209"/>
                  </a:moveTo>
                  <a:cubicBezTo>
                    <a:pt x="46" y="209"/>
                    <a:pt x="0" y="162"/>
                    <a:pt x="0" y="105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2" y="0"/>
                    <a:pt x="208" y="47"/>
                    <a:pt x="208" y="105"/>
                  </a:cubicBezTo>
                  <a:cubicBezTo>
                    <a:pt x="208" y="162"/>
                    <a:pt x="162" y="209"/>
                    <a:pt x="104" y="209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5"/>
                  </a:cubicBezTo>
                  <a:cubicBezTo>
                    <a:pt x="5" y="159"/>
                    <a:pt x="49" y="204"/>
                    <a:pt x="104" y="204"/>
                  </a:cubicBezTo>
                  <a:cubicBezTo>
                    <a:pt x="159" y="204"/>
                    <a:pt x="203" y="159"/>
                    <a:pt x="203" y="105"/>
                  </a:cubicBezTo>
                  <a:cubicBezTo>
                    <a:pt x="203" y="50"/>
                    <a:pt x="159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72" name="Freeform 209"/>
            <p:cNvSpPr>
              <a:spLocks noEditPoints="1"/>
            </p:cNvSpPr>
            <p:nvPr/>
          </p:nvSpPr>
          <p:spPr bwMode="auto">
            <a:xfrm>
              <a:off x="1752" y="3584"/>
              <a:ext cx="261" cy="211"/>
            </a:xfrm>
            <a:custGeom>
              <a:avLst/>
              <a:gdLst>
                <a:gd name="T0" fmla="*/ 261 w 261"/>
                <a:gd name="T1" fmla="*/ 211 h 211"/>
                <a:gd name="T2" fmla="*/ 0 w 261"/>
                <a:gd name="T3" fmla="*/ 211 h 211"/>
                <a:gd name="T4" fmla="*/ 0 w 261"/>
                <a:gd name="T5" fmla="*/ 0 h 211"/>
                <a:gd name="T6" fmla="*/ 261 w 261"/>
                <a:gd name="T7" fmla="*/ 0 h 211"/>
                <a:gd name="T8" fmla="*/ 261 w 261"/>
                <a:gd name="T9" fmla="*/ 211 h 211"/>
                <a:gd name="T10" fmla="*/ 12 w 261"/>
                <a:gd name="T11" fmla="*/ 199 h 211"/>
                <a:gd name="T12" fmla="*/ 249 w 261"/>
                <a:gd name="T13" fmla="*/ 199 h 211"/>
                <a:gd name="T14" fmla="*/ 249 w 261"/>
                <a:gd name="T15" fmla="*/ 12 h 211"/>
                <a:gd name="T16" fmla="*/ 12 w 261"/>
                <a:gd name="T17" fmla="*/ 12 h 211"/>
                <a:gd name="T18" fmla="*/ 12 w 261"/>
                <a:gd name="T19" fmla="*/ 199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1" h="211">
                  <a:moveTo>
                    <a:pt x="261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61" y="0"/>
                  </a:lnTo>
                  <a:lnTo>
                    <a:pt x="261" y="211"/>
                  </a:lnTo>
                  <a:close/>
                  <a:moveTo>
                    <a:pt x="12" y="199"/>
                  </a:moveTo>
                  <a:lnTo>
                    <a:pt x="249" y="199"/>
                  </a:lnTo>
                  <a:lnTo>
                    <a:pt x="249" y="12"/>
                  </a:lnTo>
                  <a:lnTo>
                    <a:pt x="12" y="12"/>
                  </a:lnTo>
                  <a:lnTo>
                    <a:pt x="12" y="1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78" name="Freeform 210"/>
            <p:cNvSpPr>
              <a:spLocks/>
            </p:cNvSpPr>
            <p:nvPr/>
          </p:nvSpPr>
          <p:spPr bwMode="auto">
            <a:xfrm>
              <a:off x="1708" y="3636"/>
              <a:ext cx="44" cy="159"/>
            </a:xfrm>
            <a:custGeom>
              <a:avLst/>
              <a:gdLst>
                <a:gd name="T0" fmla="*/ 18 w 19"/>
                <a:gd name="T1" fmla="*/ 67 h 67"/>
                <a:gd name="T2" fmla="*/ 6 w 19"/>
                <a:gd name="T3" fmla="*/ 63 h 67"/>
                <a:gd name="T4" fmla="*/ 0 w 19"/>
                <a:gd name="T5" fmla="*/ 48 h 67"/>
                <a:gd name="T6" fmla="*/ 0 w 19"/>
                <a:gd name="T7" fmla="*/ 0 h 67"/>
                <a:gd name="T8" fmla="*/ 19 w 19"/>
                <a:gd name="T9" fmla="*/ 0 h 67"/>
                <a:gd name="T10" fmla="*/ 19 w 19"/>
                <a:gd name="T11" fmla="*/ 5 h 67"/>
                <a:gd name="T12" fmla="*/ 5 w 19"/>
                <a:gd name="T13" fmla="*/ 5 h 67"/>
                <a:gd name="T14" fmla="*/ 5 w 19"/>
                <a:gd name="T15" fmla="*/ 48 h 67"/>
                <a:gd name="T16" fmla="*/ 9 w 19"/>
                <a:gd name="T17" fmla="*/ 59 h 67"/>
                <a:gd name="T18" fmla="*/ 19 w 19"/>
                <a:gd name="T19" fmla="*/ 62 h 67"/>
                <a:gd name="T20" fmla="*/ 19 w 19"/>
                <a:gd name="T21" fmla="*/ 67 h 67"/>
                <a:gd name="T22" fmla="*/ 18 w 19"/>
                <a:gd name="T2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67">
                  <a:moveTo>
                    <a:pt x="18" y="67"/>
                  </a:moveTo>
                  <a:cubicBezTo>
                    <a:pt x="13" y="67"/>
                    <a:pt x="9" y="66"/>
                    <a:pt x="6" y="63"/>
                  </a:cubicBezTo>
                  <a:cubicBezTo>
                    <a:pt x="0" y="57"/>
                    <a:pt x="0" y="49"/>
                    <a:pt x="0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55"/>
                    <a:pt x="9" y="59"/>
                  </a:cubicBezTo>
                  <a:cubicBezTo>
                    <a:pt x="12" y="61"/>
                    <a:pt x="15" y="62"/>
                    <a:pt x="19" y="62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79" name="Freeform 211"/>
            <p:cNvSpPr>
              <a:spLocks noEditPoints="1"/>
            </p:cNvSpPr>
            <p:nvPr/>
          </p:nvSpPr>
          <p:spPr bwMode="auto">
            <a:xfrm>
              <a:off x="1781" y="3615"/>
              <a:ext cx="213" cy="137"/>
            </a:xfrm>
            <a:custGeom>
              <a:avLst/>
              <a:gdLst>
                <a:gd name="T0" fmla="*/ 75 w 90"/>
                <a:gd name="T1" fmla="*/ 29 h 58"/>
                <a:gd name="T2" fmla="*/ 73 w 90"/>
                <a:gd name="T3" fmla="*/ 27 h 58"/>
                <a:gd name="T4" fmla="*/ 57 w 90"/>
                <a:gd name="T5" fmla="*/ 0 h 58"/>
                <a:gd name="T6" fmla="*/ 2 w 90"/>
                <a:gd name="T7" fmla="*/ 8 h 58"/>
                <a:gd name="T8" fmla="*/ 0 w 90"/>
                <a:gd name="T9" fmla="*/ 56 h 58"/>
                <a:gd name="T10" fmla="*/ 66 w 90"/>
                <a:gd name="T11" fmla="*/ 58 h 58"/>
                <a:gd name="T12" fmla="*/ 69 w 90"/>
                <a:gd name="T13" fmla="*/ 33 h 58"/>
                <a:gd name="T14" fmla="*/ 71 w 90"/>
                <a:gd name="T15" fmla="*/ 36 h 58"/>
                <a:gd name="T16" fmla="*/ 87 w 90"/>
                <a:gd name="T17" fmla="*/ 49 h 58"/>
                <a:gd name="T18" fmla="*/ 89 w 90"/>
                <a:gd name="T19" fmla="*/ 44 h 58"/>
                <a:gd name="T20" fmla="*/ 69 w 90"/>
                <a:gd name="T21" fmla="*/ 7 h 58"/>
                <a:gd name="T22" fmla="*/ 68 w 90"/>
                <a:gd name="T23" fmla="*/ 29 h 58"/>
                <a:gd name="T24" fmla="*/ 67 w 90"/>
                <a:gd name="T25" fmla="*/ 30 h 58"/>
                <a:gd name="T26" fmla="*/ 64 w 90"/>
                <a:gd name="T27" fmla="*/ 32 h 58"/>
                <a:gd name="T28" fmla="*/ 59 w 90"/>
                <a:gd name="T29" fmla="*/ 33 h 58"/>
                <a:gd name="T30" fmla="*/ 57 w 90"/>
                <a:gd name="T31" fmla="*/ 33 h 58"/>
                <a:gd name="T32" fmla="*/ 52 w 90"/>
                <a:gd name="T33" fmla="*/ 32 h 58"/>
                <a:gd name="T34" fmla="*/ 50 w 90"/>
                <a:gd name="T35" fmla="*/ 31 h 58"/>
                <a:gd name="T36" fmla="*/ 46 w 90"/>
                <a:gd name="T37" fmla="*/ 28 h 58"/>
                <a:gd name="T38" fmla="*/ 42 w 90"/>
                <a:gd name="T39" fmla="*/ 18 h 58"/>
                <a:gd name="T40" fmla="*/ 42 w 90"/>
                <a:gd name="T41" fmla="*/ 17 h 58"/>
                <a:gd name="T42" fmla="*/ 44 w 90"/>
                <a:gd name="T43" fmla="*/ 10 h 58"/>
                <a:gd name="T44" fmla="*/ 47 w 90"/>
                <a:gd name="T45" fmla="*/ 6 h 58"/>
                <a:gd name="T46" fmla="*/ 42 w 90"/>
                <a:gd name="T47" fmla="*/ 26 h 58"/>
                <a:gd name="T48" fmla="*/ 44 w 90"/>
                <a:gd name="T49" fmla="*/ 32 h 58"/>
                <a:gd name="T50" fmla="*/ 45 w 90"/>
                <a:gd name="T51" fmla="*/ 34 h 58"/>
                <a:gd name="T52" fmla="*/ 41 w 90"/>
                <a:gd name="T53" fmla="*/ 10 h 58"/>
                <a:gd name="T54" fmla="*/ 2 w 90"/>
                <a:gd name="T55" fmla="*/ 10 h 58"/>
                <a:gd name="T56" fmla="*/ 41 w 90"/>
                <a:gd name="T57" fmla="*/ 24 h 58"/>
                <a:gd name="T58" fmla="*/ 2 w 90"/>
                <a:gd name="T59" fmla="*/ 26 h 58"/>
                <a:gd name="T60" fmla="*/ 2 w 90"/>
                <a:gd name="T61" fmla="*/ 32 h 58"/>
                <a:gd name="T62" fmla="*/ 24 w 90"/>
                <a:gd name="T63" fmla="*/ 39 h 58"/>
                <a:gd name="T64" fmla="*/ 29 w 90"/>
                <a:gd name="T65" fmla="*/ 34 h 58"/>
                <a:gd name="T66" fmla="*/ 8 w 90"/>
                <a:gd name="T67" fmla="*/ 39 h 58"/>
                <a:gd name="T68" fmla="*/ 2 w 90"/>
                <a:gd name="T69" fmla="*/ 42 h 58"/>
                <a:gd name="T70" fmla="*/ 2 w 90"/>
                <a:gd name="T71" fmla="*/ 42 h 58"/>
                <a:gd name="T72" fmla="*/ 22 w 90"/>
                <a:gd name="T73" fmla="*/ 43 h 58"/>
                <a:gd name="T74" fmla="*/ 45 w 90"/>
                <a:gd name="T75" fmla="*/ 38 h 58"/>
                <a:gd name="T76" fmla="*/ 54 w 90"/>
                <a:gd name="T77" fmla="*/ 35 h 58"/>
                <a:gd name="T78" fmla="*/ 37 w 90"/>
                <a:gd name="T79" fmla="*/ 33 h 58"/>
                <a:gd name="T80" fmla="*/ 14 w 90"/>
                <a:gd name="T81" fmla="*/ 41 h 58"/>
                <a:gd name="T82" fmla="*/ 42 w 90"/>
                <a:gd name="T83" fmla="*/ 42 h 58"/>
                <a:gd name="T84" fmla="*/ 32 w 90"/>
                <a:gd name="T85" fmla="*/ 42 h 58"/>
                <a:gd name="T86" fmla="*/ 37 w 90"/>
                <a:gd name="T87" fmla="*/ 35 h 58"/>
                <a:gd name="T88" fmla="*/ 18 w 90"/>
                <a:gd name="T89" fmla="*/ 47 h 58"/>
                <a:gd name="T90" fmla="*/ 18 w 90"/>
                <a:gd name="T91" fmla="*/ 47 h 58"/>
                <a:gd name="T92" fmla="*/ 19 w 90"/>
                <a:gd name="T93" fmla="*/ 49 h 58"/>
                <a:gd name="T94" fmla="*/ 25 w 90"/>
                <a:gd name="T95" fmla="*/ 49 h 58"/>
                <a:gd name="T96" fmla="*/ 48 w 90"/>
                <a:gd name="T97" fmla="*/ 47 h 58"/>
                <a:gd name="T98" fmla="*/ 66 w 90"/>
                <a:gd name="T99" fmla="*/ 39 h 58"/>
                <a:gd name="T100" fmla="*/ 57 w 90"/>
                <a:gd name="T101" fmla="*/ 35 h 58"/>
                <a:gd name="T102" fmla="*/ 66 w 90"/>
                <a:gd name="T103" fmla="*/ 33 h 58"/>
                <a:gd name="T104" fmla="*/ 3 w 90"/>
                <a:gd name="T105" fmla="*/ 56 h 58"/>
                <a:gd name="T106" fmla="*/ 70 w 90"/>
                <a:gd name="T107" fmla="*/ 30 h 58"/>
                <a:gd name="T108" fmla="*/ 71 w 90"/>
                <a:gd name="T109" fmla="*/ 29 h 58"/>
                <a:gd name="T110" fmla="*/ 85 w 90"/>
                <a:gd name="T111" fmla="*/ 48 h 58"/>
                <a:gd name="T112" fmla="*/ 75 w 90"/>
                <a:gd name="T113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" h="58">
                  <a:moveTo>
                    <a:pt x="89" y="44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7" y="20"/>
                    <a:pt x="76" y="11"/>
                    <a:pt x="70" y="5"/>
                  </a:cubicBezTo>
                  <a:cubicBezTo>
                    <a:pt x="67" y="2"/>
                    <a:pt x="62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3" y="0"/>
                    <a:pt x="48" y="1"/>
                    <a:pt x="45" y="4"/>
                  </a:cubicBezTo>
                  <a:cubicBezTo>
                    <a:pt x="44" y="6"/>
                    <a:pt x="43" y="7"/>
                    <a:pt x="4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6"/>
                    <a:pt x="90" y="46"/>
                    <a:pt x="90" y="46"/>
                  </a:cubicBezTo>
                  <a:lnTo>
                    <a:pt x="89" y="44"/>
                  </a:lnTo>
                  <a:close/>
                  <a:moveTo>
                    <a:pt x="47" y="6"/>
                  </a:moveTo>
                  <a:cubicBezTo>
                    <a:pt x="50" y="3"/>
                    <a:pt x="54" y="2"/>
                    <a:pt x="57" y="2"/>
                  </a:cubicBezTo>
                  <a:cubicBezTo>
                    <a:pt x="62" y="2"/>
                    <a:pt x="66" y="3"/>
                    <a:pt x="69" y="7"/>
                  </a:cubicBezTo>
                  <a:cubicBezTo>
                    <a:pt x="75" y="13"/>
                    <a:pt x="75" y="23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7" y="29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6" y="30"/>
                    <a:pt x="66" y="30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2" y="32"/>
                    <a:pt x="61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5" y="33"/>
                  </a:cubicBezTo>
                  <a:cubicBezTo>
                    <a:pt x="54" y="33"/>
                    <a:pt x="53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8" y="30"/>
                    <a:pt x="47" y="29"/>
                    <a:pt x="46" y="28"/>
                  </a:cubicBezTo>
                  <a:cubicBezTo>
                    <a:pt x="45" y="28"/>
                    <a:pt x="45" y="27"/>
                    <a:pt x="44" y="26"/>
                  </a:cubicBezTo>
                  <a:cubicBezTo>
                    <a:pt x="44" y="25"/>
                    <a:pt x="44" y="25"/>
                    <a:pt x="43" y="24"/>
                  </a:cubicBezTo>
                  <a:cubicBezTo>
                    <a:pt x="42" y="22"/>
                    <a:pt x="42" y="20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4"/>
                    <a:pt x="43" y="12"/>
                    <a:pt x="44" y="10"/>
                  </a:cubicBezTo>
                  <a:cubicBezTo>
                    <a:pt x="44" y="9"/>
                    <a:pt x="44" y="9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6" y="7"/>
                    <a:pt x="47" y="6"/>
                  </a:cubicBezTo>
                  <a:close/>
                  <a:moveTo>
                    <a:pt x="44" y="32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7"/>
                    <a:pt x="43" y="29"/>
                    <a:pt x="44" y="30"/>
                  </a:cubicBezTo>
                  <a:cubicBezTo>
                    <a:pt x="45" y="30"/>
                    <a:pt x="46" y="31"/>
                    <a:pt x="47" y="32"/>
                  </a:cubicBezTo>
                  <a:lnTo>
                    <a:pt x="44" y="32"/>
                  </a:lnTo>
                  <a:close/>
                  <a:moveTo>
                    <a:pt x="48" y="34"/>
                  </a:moveTo>
                  <a:cubicBezTo>
                    <a:pt x="46" y="35"/>
                    <a:pt x="46" y="35"/>
                    <a:pt x="46" y="35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8" y="34"/>
                  </a:lnTo>
                  <a:close/>
                  <a:moveTo>
                    <a:pt x="2" y="10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40" y="12"/>
                    <a:pt x="40" y="14"/>
                    <a:pt x="40" y="16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2" y="10"/>
                  </a:lnTo>
                  <a:close/>
                  <a:moveTo>
                    <a:pt x="2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20"/>
                    <a:pt x="40" y="22"/>
                    <a:pt x="41" y="24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2" y="18"/>
                  </a:lnTo>
                  <a:close/>
                  <a:moveTo>
                    <a:pt x="2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2" y="26"/>
                  </a:lnTo>
                  <a:close/>
                  <a:moveTo>
                    <a:pt x="29" y="34"/>
                  </a:moveTo>
                  <a:cubicBezTo>
                    <a:pt x="24" y="39"/>
                    <a:pt x="24" y="39"/>
                    <a:pt x="24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29" y="34"/>
                  </a:lnTo>
                  <a:close/>
                  <a:moveTo>
                    <a:pt x="2" y="34"/>
                  </a:moveTo>
                  <a:cubicBezTo>
                    <a:pt x="13" y="34"/>
                    <a:pt x="13" y="34"/>
                    <a:pt x="13" y="3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2" y="39"/>
                    <a:pt x="2" y="39"/>
                    <a:pt x="2" y="39"/>
                  </a:cubicBezTo>
                  <a:lnTo>
                    <a:pt x="2" y="34"/>
                  </a:lnTo>
                  <a:close/>
                  <a:moveTo>
                    <a:pt x="2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2" y="46"/>
                    <a:pt x="2" y="46"/>
                    <a:pt x="2" y="46"/>
                  </a:cubicBezTo>
                  <a:lnTo>
                    <a:pt x="2" y="42"/>
                  </a:lnTo>
                  <a:close/>
                  <a:moveTo>
                    <a:pt x="2" y="49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2" y="34"/>
                    <a:pt x="53" y="35"/>
                    <a:pt x="54" y="3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2" y="54"/>
                    <a:pt x="2" y="54"/>
                    <a:pt x="2" y="54"/>
                  </a:cubicBezTo>
                  <a:lnTo>
                    <a:pt x="2" y="49"/>
                  </a:lnTo>
                  <a:close/>
                  <a:moveTo>
                    <a:pt x="42" y="42"/>
                  </a:moveTo>
                  <a:cubicBezTo>
                    <a:pt x="45" y="47"/>
                    <a:pt x="45" y="47"/>
                    <a:pt x="45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42" y="42"/>
                  </a:lnTo>
                  <a:close/>
                  <a:moveTo>
                    <a:pt x="34" y="39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40" y="39"/>
                    <a:pt x="40" y="39"/>
                    <a:pt x="40" y="39"/>
                  </a:cubicBezTo>
                  <a:lnTo>
                    <a:pt x="34" y="39"/>
                  </a:lnTo>
                  <a:close/>
                  <a:moveTo>
                    <a:pt x="18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5" y="43"/>
                    <a:pt x="15" y="43"/>
                    <a:pt x="15" y="43"/>
                  </a:cubicBezTo>
                  <a:lnTo>
                    <a:pt x="18" y="47"/>
                  </a:lnTo>
                  <a:close/>
                  <a:moveTo>
                    <a:pt x="3" y="56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60" y="35"/>
                    <a:pt x="62" y="35"/>
                    <a:pt x="64" y="34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56"/>
                    <a:pt x="66" y="56"/>
                    <a:pt x="66" y="56"/>
                  </a:cubicBezTo>
                  <a:lnTo>
                    <a:pt x="3" y="56"/>
                  </a:lnTo>
                  <a:close/>
                  <a:moveTo>
                    <a:pt x="71" y="33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1" y="33"/>
                    <a:pt x="71" y="33"/>
                    <a:pt x="71" y="33"/>
                  </a:cubicBezTo>
                  <a:close/>
                  <a:moveTo>
                    <a:pt x="85" y="48"/>
                  </a:moveTo>
                  <a:cubicBezTo>
                    <a:pt x="73" y="35"/>
                    <a:pt x="73" y="35"/>
                    <a:pt x="73" y="35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87" y="46"/>
                    <a:pt x="87" y="46"/>
                    <a:pt x="87" y="46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87" name="Freeform 212"/>
            <p:cNvSpPr>
              <a:spLocks noEditPoints="1"/>
            </p:cNvSpPr>
            <p:nvPr/>
          </p:nvSpPr>
          <p:spPr bwMode="auto">
            <a:xfrm>
              <a:off x="1899" y="3627"/>
              <a:ext cx="35" cy="57"/>
            </a:xfrm>
            <a:custGeom>
              <a:avLst/>
              <a:gdLst>
                <a:gd name="T0" fmla="*/ 2 w 15"/>
                <a:gd name="T1" fmla="*/ 20 h 24"/>
                <a:gd name="T2" fmla="*/ 4 w 15"/>
                <a:gd name="T3" fmla="*/ 21 h 24"/>
                <a:gd name="T4" fmla="*/ 4 w 15"/>
                <a:gd name="T5" fmla="*/ 21 h 24"/>
                <a:gd name="T6" fmla="*/ 4 w 15"/>
                <a:gd name="T7" fmla="*/ 24 h 24"/>
                <a:gd name="T8" fmla="*/ 6 w 15"/>
                <a:gd name="T9" fmla="*/ 24 h 24"/>
                <a:gd name="T10" fmla="*/ 9 w 15"/>
                <a:gd name="T11" fmla="*/ 24 h 24"/>
                <a:gd name="T12" fmla="*/ 12 w 15"/>
                <a:gd name="T13" fmla="*/ 24 h 24"/>
                <a:gd name="T14" fmla="*/ 12 w 15"/>
                <a:gd name="T15" fmla="*/ 21 h 24"/>
                <a:gd name="T16" fmla="*/ 12 w 15"/>
                <a:gd name="T17" fmla="*/ 21 h 24"/>
                <a:gd name="T18" fmla="*/ 15 w 15"/>
                <a:gd name="T19" fmla="*/ 15 h 24"/>
                <a:gd name="T20" fmla="*/ 14 w 15"/>
                <a:gd name="T21" fmla="*/ 10 h 24"/>
                <a:gd name="T22" fmla="*/ 14 w 15"/>
                <a:gd name="T23" fmla="*/ 10 h 24"/>
                <a:gd name="T24" fmla="*/ 14 w 15"/>
                <a:gd name="T25" fmla="*/ 9 h 24"/>
                <a:gd name="T26" fmla="*/ 14 w 15"/>
                <a:gd name="T27" fmla="*/ 9 h 24"/>
                <a:gd name="T28" fmla="*/ 14 w 15"/>
                <a:gd name="T29" fmla="*/ 9 h 24"/>
                <a:gd name="T30" fmla="*/ 15 w 15"/>
                <a:gd name="T31" fmla="*/ 6 h 24"/>
                <a:gd name="T32" fmla="*/ 15 w 15"/>
                <a:gd name="T33" fmla="*/ 4 h 24"/>
                <a:gd name="T34" fmla="*/ 14 w 15"/>
                <a:gd name="T35" fmla="*/ 4 h 24"/>
                <a:gd name="T36" fmla="*/ 13 w 15"/>
                <a:gd name="T37" fmla="*/ 3 h 24"/>
                <a:gd name="T38" fmla="*/ 12 w 15"/>
                <a:gd name="T39" fmla="*/ 3 h 24"/>
                <a:gd name="T40" fmla="*/ 12 w 15"/>
                <a:gd name="T41" fmla="*/ 3 h 24"/>
                <a:gd name="T42" fmla="*/ 12 w 15"/>
                <a:gd name="T43" fmla="*/ 0 h 24"/>
                <a:gd name="T44" fmla="*/ 9 w 15"/>
                <a:gd name="T45" fmla="*/ 0 h 24"/>
                <a:gd name="T46" fmla="*/ 6 w 15"/>
                <a:gd name="T47" fmla="*/ 0 h 24"/>
                <a:gd name="T48" fmla="*/ 4 w 15"/>
                <a:gd name="T49" fmla="*/ 0 h 24"/>
                <a:gd name="T50" fmla="*/ 4 w 15"/>
                <a:gd name="T51" fmla="*/ 3 h 24"/>
                <a:gd name="T52" fmla="*/ 4 w 15"/>
                <a:gd name="T53" fmla="*/ 3 h 24"/>
                <a:gd name="T54" fmla="*/ 0 w 15"/>
                <a:gd name="T55" fmla="*/ 9 h 24"/>
                <a:gd name="T56" fmla="*/ 1 w 15"/>
                <a:gd name="T57" fmla="*/ 13 h 24"/>
                <a:gd name="T58" fmla="*/ 1 w 15"/>
                <a:gd name="T59" fmla="*/ 14 h 24"/>
                <a:gd name="T60" fmla="*/ 0 w 15"/>
                <a:gd name="T61" fmla="*/ 18 h 24"/>
                <a:gd name="T62" fmla="*/ 0 w 15"/>
                <a:gd name="T63" fmla="*/ 19 h 24"/>
                <a:gd name="T64" fmla="*/ 1 w 15"/>
                <a:gd name="T65" fmla="*/ 20 h 24"/>
                <a:gd name="T66" fmla="*/ 2 w 15"/>
                <a:gd name="T67" fmla="*/ 20 h 24"/>
                <a:gd name="T68" fmla="*/ 7 w 15"/>
                <a:gd name="T69" fmla="*/ 14 h 24"/>
                <a:gd name="T70" fmla="*/ 3 w 15"/>
                <a:gd name="T71" fmla="*/ 9 h 24"/>
                <a:gd name="T72" fmla="*/ 6 w 15"/>
                <a:gd name="T73" fmla="*/ 5 h 24"/>
                <a:gd name="T74" fmla="*/ 6 w 15"/>
                <a:gd name="T75" fmla="*/ 3 h 24"/>
                <a:gd name="T76" fmla="*/ 9 w 15"/>
                <a:gd name="T77" fmla="*/ 3 h 24"/>
                <a:gd name="T78" fmla="*/ 9 w 15"/>
                <a:gd name="T79" fmla="*/ 5 h 24"/>
                <a:gd name="T80" fmla="*/ 12 w 15"/>
                <a:gd name="T81" fmla="*/ 5 h 24"/>
                <a:gd name="T82" fmla="*/ 13 w 15"/>
                <a:gd name="T83" fmla="*/ 6 h 24"/>
                <a:gd name="T84" fmla="*/ 12 w 15"/>
                <a:gd name="T85" fmla="*/ 8 h 24"/>
                <a:gd name="T86" fmla="*/ 12 w 15"/>
                <a:gd name="T87" fmla="*/ 9 h 24"/>
                <a:gd name="T88" fmla="*/ 11 w 15"/>
                <a:gd name="T89" fmla="*/ 9 h 24"/>
                <a:gd name="T90" fmla="*/ 8 w 15"/>
                <a:gd name="T91" fmla="*/ 8 h 24"/>
                <a:gd name="T92" fmla="*/ 7 w 15"/>
                <a:gd name="T93" fmla="*/ 9 h 24"/>
                <a:gd name="T94" fmla="*/ 9 w 15"/>
                <a:gd name="T95" fmla="*/ 10 h 24"/>
                <a:gd name="T96" fmla="*/ 13 w 15"/>
                <a:gd name="T97" fmla="*/ 15 h 24"/>
                <a:gd name="T98" fmla="*/ 9 w 15"/>
                <a:gd name="T99" fmla="*/ 19 h 24"/>
                <a:gd name="T100" fmla="*/ 9 w 15"/>
                <a:gd name="T101" fmla="*/ 21 h 24"/>
                <a:gd name="T102" fmla="*/ 6 w 15"/>
                <a:gd name="T103" fmla="*/ 21 h 24"/>
                <a:gd name="T104" fmla="*/ 6 w 15"/>
                <a:gd name="T105" fmla="*/ 19 h 24"/>
                <a:gd name="T106" fmla="*/ 3 w 15"/>
                <a:gd name="T107" fmla="*/ 18 h 24"/>
                <a:gd name="T108" fmla="*/ 2 w 15"/>
                <a:gd name="T109" fmla="*/ 18 h 24"/>
                <a:gd name="T110" fmla="*/ 3 w 15"/>
                <a:gd name="T111" fmla="*/ 15 h 24"/>
                <a:gd name="T112" fmla="*/ 4 w 15"/>
                <a:gd name="T113" fmla="*/ 15 h 24"/>
                <a:gd name="T114" fmla="*/ 7 w 15"/>
                <a:gd name="T115" fmla="*/ 16 h 24"/>
                <a:gd name="T116" fmla="*/ 9 w 15"/>
                <a:gd name="T117" fmla="*/ 15 h 24"/>
                <a:gd name="T118" fmla="*/ 7 w 15"/>
                <a:gd name="T11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" h="24">
                  <a:moveTo>
                    <a:pt x="2" y="20"/>
                  </a:moveTo>
                  <a:cubicBezTo>
                    <a:pt x="2" y="21"/>
                    <a:pt x="3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19"/>
                    <a:pt x="15" y="17"/>
                    <a:pt x="15" y="15"/>
                  </a:cubicBezTo>
                  <a:cubicBezTo>
                    <a:pt x="15" y="13"/>
                    <a:pt x="15" y="11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2" y="20"/>
                  </a:lnTo>
                  <a:close/>
                  <a:moveTo>
                    <a:pt x="7" y="14"/>
                  </a:moveTo>
                  <a:cubicBezTo>
                    <a:pt x="5" y="13"/>
                    <a:pt x="3" y="12"/>
                    <a:pt x="3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0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12" y="11"/>
                    <a:pt x="13" y="12"/>
                    <a:pt x="13" y="15"/>
                  </a:cubicBezTo>
                  <a:cubicBezTo>
                    <a:pt x="13" y="17"/>
                    <a:pt x="12" y="18"/>
                    <a:pt x="9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4" y="19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5"/>
                    <a:pt x="9" y="15"/>
                  </a:cubicBezTo>
                  <a:cubicBezTo>
                    <a:pt x="9" y="15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488" name="Group 215"/>
          <p:cNvGrpSpPr>
            <a:grpSpLocks noChangeAspect="1"/>
          </p:cNvGrpSpPr>
          <p:nvPr/>
        </p:nvGrpSpPr>
        <p:grpSpPr bwMode="auto">
          <a:xfrm>
            <a:off x="3619500" y="5473700"/>
            <a:ext cx="768096" cy="768096"/>
            <a:chOff x="2280" y="3448"/>
            <a:chExt cx="489" cy="489"/>
          </a:xfrm>
        </p:grpSpPr>
        <p:sp>
          <p:nvSpPr>
            <p:cNvPr id="55495" name="AutoShape 214"/>
            <p:cNvSpPr>
              <a:spLocks noChangeAspect="1" noChangeArrowheads="1" noTextEdit="1"/>
            </p:cNvSpPr>
            <p:nvPr/>
          </p:nvSpPr>
          <p:spPr bwMode="auto">
            <a:xfrm>
              <a:off x="2280" y="3448"/>
              <a:ext cx="489" cy="4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96" name="Freeform 216"/>
            <p:cNvSpPr>
              <a:spLocks noEditPoints="1"/>
            </p:cNvSpPr>
            <p:nvPr/>
          </p:nvSpPr>
          <p:spPr bwMode="auto">
            <a:xfrm>
              <a:off x="2280" y="3446"/>
              <a:ext cx="491" cy="493"/>
            </a:xfrm>
            <a:custGeom>
              <a:avLst/>
              <a:gdLst>
                <a:gd name="T0" fmla="*/ 104 w 208"/>
                <a:gd name="T1" fmla="*/ 209 h 209"/>
                <a:gd name="T2" fmla="*/ 0 w 208"/>
                <a:gd name="T3" fmla="*/ 105 h 209"/>
                <a:gd name="T4" fmla="*/ 104 w 208"/>
                <a:gd name="T5" fmla="*/ 0 h 209"/>
                <a:gd name="T6" fmla="*/ 208 w 208"/>
                <a:gd name="T7" fmla="*/ 105 h 209"/>
                <a:gd name="T8" fmla="*/ 104 w 208"/>
                <a:gd name="T9" fmla="*/ 209 h 209"/>
                <a:gd name="T10" fmla="*/ 104 w 208"/>
                <a:gd name="T11" fmla="*/ 5 h 209"/>
                <a:gd name="T12" fmla="*/ 5 w 208"/>
                <a:gd name="T13" fmla="*/ 105 h 209"/>
                <a:gd name="T14" fmla="*/ 104 w 208"/>
                <a:gd name="T15" fmla="*/ 204 h 209"/>
                <a:gd name="T16" fmla="*/ 203 w 208"/>
                <a:gd name="T17" fmla="*/ 105 h 209"/>
                <a:gd name="T18" fmla="*/ 104 w 208"/>
                <a:gd name="T19" fmla="*/ 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09">
                  <a:moveTo>
                    <a:pt x="104" y="209"/>
                  </a:moveTo>
                  <a:cubicBezTo>
                    <a:pt x="46" y="209"/>
                    <a:pt x="0" y="162"/>
                    <a:pt x="0" y="105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2" y="0"/>
                    <a:pt x="208" y="47"/>
                    <a:pt x="208" y="105"/>
                  </a:cubicBezTo>
                  <a:cubicBezTo>
                    <a:pt x="208" y="162"/>
                    <a:pt x="162" y="209"/>
                    <a:pt x="104" y="209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5"/>
                  </a:cubicBezTo>
                  <a:cubicBezTo>
                    <a:pt x="5" y="159"/>
                    <a:pt x="49" y="204"/>
                    <a:pt x="104" y="204"/>
                  </a:cubicBezTo>
                  <a:cubicBezTo>
                    <a:pt x="159" y="204"/>
                    <a:pt x="203" y="159"/>
                    <a:pt x="203" y="105"/>
                  </a:cubicBezTo>
                  <a:cubicBezTo>
                    <a:pt x="203" y="50"/>
                    <a:pt x="159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4" name="Freeform 217"/>
            <p:cNvSpPr>
              <a:spLocks noEditPoints="1"/>
            </p:cNvSpPr>
            <p:nvPr/>
          </p:nvSpPr>
          <p:spPr bwMode="auto">
            <a:xfrm>
              <a:off x="2417" y="3585"/>
              <a:ext cx="260" cy="210"/>
            </a:xfrm>
            <a:custGeom>
              <a:avLst/>
              <a:gdLst>
                <a:gd name="T0" fmla="*/ 260 w 260"/>
                <a:gd name="T1" fmla="*/ 210 h 210"/>
                <a:gd name="T2" fmla="*/ 0 w 260"/>
                <a:gd name="T3" fmla="*/ 210 h 210"/>
                <a:gd name="T4" fmla="*/ 0 w 260"/>
                <a:gd name="T5" fmla="*/ 0 h 210"/>
                <a:gd name="T6" fmla="*/ 260 w 260"/>
                <a:gd name="T7" fmla="*/ 0 h 210"/>
                <a:gd name="T8" fmla="*/ 260 w 260"/>
                <a:gd name="T9" fmla="*/ 210 h 210"/>
                <a:gd name="T10" fmla="*/ 12 w 260"/>
                <a:gd name="T11" fmla="*/ 198 h 210"/>
                <a:gd name="T12" fmla="*/ 248 w 260"/>
                <a:gd name="T13" fmla="*/ 198 h 210"/>
                <a:gd name="T14" fmla="*/ 248 w 260"/>
                <a:gd name="T15" fmla="*/ 12 h 210"/>
                <a:gd name="T16" fmla="*/ 12 w 260"/>
                <a:gd name="T17" fmla="*/ 12 h 210"/>
                <a:gd name="T18" fmla="*/ 12 w 260"/>
                <a:gd name="T19" fmla="*/ 19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" h="210">
                  <a:moveTo>
                    <a:pt x="260" y="210"/>
                  </a:moveTo>
                  <a:lnTo>
                    <a:pt x="0" y="210"/>
                  </a:lnTo>
                  <a:lnTo>
                    <a:pt x="0" y="0"/>
                  </a:lnTo>
                  <a:lnTo>
                    <a:pt x="260" y="0"/>
                  </a:lnTo>
                  <a:lnTo>
                    <a:pt x="260" y="210"/>
                  </a:lnTo>
                  <a:close/>
                  <a:moveTo>
                    <a:pt x="12" y="198"/>
                  </a:moveTo>
                  <a:lnTo>
                    <a:pt x="248" y="198"/>
                  </a:lnTo>
                  <a:lnTo>
                    <a:pt x="248" y="12"/>
                  </a:lnTo>
                  <a:lnTo>
                    <a:pt x="12" y="12"/>
                  </a:lnTo>
                  <a:lnTo>
                    <a:pt x="12" y="19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05" name="Freeform 218"/>
            <p:cNvSpPr>
              <a:spLocks/>
            </p:cNvSpPr>
            <p:nvPr/>
          </p:nvSpPr>
          <p:spPr bwMode="auto">
            <a:xfrm>
              <a:off x="2372" y="3637"/>
              <a:ext cx="45" cy="158"/>
            </a:xfrm>
            <a:custGeom>
              <a:avLst/>
              <a:gdLst>
                <a:gd name="T0" fmla="*/ 18 w 19"/>
                <a:gd name="T1" fmla="*/ 67 h 67"/>
                <a:gd name="T2" fmla="*/ 6 w 19"/>
                <a:gd name="T3" fmla="*/ 63 h 67"/>
                <a:gd name="T4" fmla="*/ 0 w 19"/>
                <a:gd name="T5" fmla="*/ 48 h 67"/>
                <a:gd name="T6" fmla="*/ 0 w 19"/>
                <a:gd name="T7" fmla="*/ 0 h 67"/>
                <a:gd name="T8" fmla="*/ 19 w 19"/>
                <a:gd name="T9" fmla="*/ 0 h 67"/>
                <a:gd name="T10" fmla="*/ 19 w 19"/>
                <a:gd name="T11" fmla="*/ 5 h 67"/>
                <a:gd name="T12" fmla="*/ 5 w 19"/>
                <a:gd name="T13" fmla="*/ 5 h 67"/>
                <a:gd name="T14" fmla="*/ 5 w 19"/>
                <a:gd name="T15" fmla="*/ 48 h 67"/>
                <a:gd name="T16" fmla="*/ 9 w 19"/>
                <a:gd name="T17" fmla="*/ 59 h 67"/>
                <a:gd name="T18" fmla="*/ 19 w 19"/>
                <a:gd name="T19" fmla="*/ 62 h 67"/>
                <a:gd name="T20" fmla="*/ 19 w 19"/>
                <a:gd name="T21" fmla="*/ 67 h 67"/>
                <a:gd name="T22" fmla="*/ 18 w 19"/>
                <a:gd name="T2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67">
                  <a:moveTo>
                    <a:pt x="18" y="67"/>
                  </a:moveTo>
                  <a:cubicBezTo>
                    <a:pt x="13" y="67"/>
                    <a:pt x="9" y="66"/>
                    <a:pt x="6" y="63"/>
                  </a:cubicBezTo>
                  <a:cubicBezTo>
                    <a:pt x="0" y="57"/>
                    <a:pt x="0" y="49"/>
                    <a:pt x="0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55"/>
                    <a:pt x="9" y="59"/>
                  </a:cubicBezTo>
                  <a:cubicBezTo>
                    <a:pt x="12" y="61"/>
                    <a:pt x="15" y="62"/>
                    <a:pt x="19" y="62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2" name="Freeform 219"/>
            <p:cNvSpPr>
              <a:spLocks noEditPoints="1"/>
            </p:cNvSpPr>
            <p:nvPr/>
          </p:nvSpPr>
          <p:spPr bwMode="auto">
            <a:xfrm>
              <a:off x="2445" y="3616"/>
              <a:ext cx="213" cy="137"/>
            </a:xfrm>
            <a:custGeom>
              <a:avLst/>
              <a:gdLst>
                <a:gd name="T0" fmla="*/ 75 w 90"/>
                <a:gd name="T1" fmla="*/ 29 h 58"/>
                <a:gd name="T2" fmla="*/ 73 w 90"/>
                <a:gd name="T3" fmla="*/ 27 h 58"/>
                <a:gd name="T4" fmla="*/ 57 w 90"/>
                <a:gd name="T5" fmla="*/ 0 h 58"/>
                <a:gd name="T6" fmla="*/ 2 w 90"/>
                <a:gd name="T7" fmla="*/ 8 h 58"/>
                <a:gd name="T8" fmla="*/ 0 w 90"/>
                <a:gd name="T9" fmla="*/ 56 h 58"/>
                <a:gd name="T10" fmla="*/ 66 w 90"/>
                <a:gd name="T11" fmla="*/ 58 h 58"/>
                <a:gd name="T12" fmla="*/ 69 w 90"/>
                <a:gd name="T13" fmla="*/ 33 h 58"/>
                <a:gd name="T14" fmla="*/ 71 w 90"/>
                <a:gd name="T15" fmla="*/ 36 h 58"/>
                <a:gd name="T16" fmla="*/ 87 w 90"/>
                <a:gd name="T17" fmla="*/ 49 h 58"/>
                <a:gd name="T18" fmla="*/ 89 w 90"/>
                <a:gd name="T19" fmla="*/ 44 h 58"/>
                <a:gd name="T20" fmla="*/ 69 w 90"/>
                <a:gd name="T21" fmla="*/ 7 h 58"/>
                <a:gd name="T22" fmla="*/ 68 w 90"/>
                <a:gd name="T23" fmla="*/ 29 h 58"/>
                <a:gd name="T24" fmla="*/ 67 w 90"/>
                <a:gd name="T25" fmla="*/ 30 h 58"/>
                <a:gd name="T26" fmla="*/ 64 w 90"/>
                <a:gd name="T27" fmla="*/ 32 h 58"/>
                <a:gd name="T28" fmla="*/ 59 w 90"/>
                <a:gd name="T29" fmla="*/ 33 h 58"/>
                <a:gd name="T30" fmla="*/ 57 w 90"/>
                <a:gd name="T31" fmla="*/ 33 h 58"/>
                <a:gd name="T32" fmla="*/ 52 w 90"/>
                <a:gd name="T33" fmla="*/ 32 h 58"/>
                <a:gd name="T34" fmla="*/ 50 w 90"/>
                <a:gd name="T35" fmla="*/ 31 h 58"/>
                <a:gd name="T36" fmla="*/ 46 w 90"/>
                <a:gd name="T37" fmla="*/ 28 h 58"/>
                <a:gd name="T38" fmla="*/ 42 w 90"/>
                <a:gd name="T39" fmla="*/ 18 h 58"/>
                <a:gd name="T40" fmla="*/ 42 w 90"/>
                <a:gd name="T41" fmla="*/ 17 h 58"/>
                <a:gd name="T42" fmla="*/ 44 w 90"/>
                <a:gd name="T43" fmla="*/ 10 h 58"/>
                <a:gd name="T44" fmla="*/ 47 w 90"/>
                <a:gd name="T45" fmla="*/ 6 h 58"/>
                <a:gd name="T46" fmla="*/ 42 w 90"/>
                <a:gd name="T47" fmla="*/ 26 h 58"/>
                <a:gd name="T48" fmla="*/ 44 w 90"/>
                <a:gd name="T49" fmla="*/ 32 h 58"/>
                <a:gd name="T50" fmla="*/ 45 w 90"/>
                <a:gd name="T51" fmla="*/ 34 h 58"/>
                <a:gd name="T52" fmla="*/ 41 w 90"/>
                <a:gd name="T53" fmla="*/ 10 h 58"/>
                <a:gd name="T54" fmla="*/ 2 w 90"/>
                <a:gd name="T55" fmla="*/ 10 h 58"/>
                <a:gd name="T56" fmla="*/ 41 w 90"/>
                <a:gd name="T57" fmla="*/ 24 h 58"/>
                <a:gd name="T58" fmla="*/ 2 w 90"/>
                <a:gd name="T59" fmla="*/ 26 h 58"/>
                <a:gd name="T60" fmla="*/ 2 w 90"/>
                <a:gd name="T61" fmla="*/ 32 h 58"/>
                <a:gd name="T62" fmla="*/ 24 w 90"/>
                <a:gd name="T63" fmla="*/ 39 h 58"/>
                <a:gd name="T64" fmla="*/ 29 w 90"/>
                <a:gd name="T65" fmla="*/ 34 h 58"/>
                <a:gd name="T66" fmla="*/ 8 w 90"/>
                <a:gd name="T67" fmla="*/ 39 h 58"/>
                <a:gd name="T68" fmla="*/ 2 w 90"/>
                <a:gd name="T69" fmla="*/ 42 h 58"/>
                <a:gd name="T70" fmla="*/ 2 w 90"/>
                <a:gd name="T71" fmla="*/ 42 h 58"/>
                <a:gd name="T72" fmla="*/ 22 w 90"/>
                <a:gd name="T73" fmla="*/ 43 h 58"/>
                <a:gd name="T74" fmla="*/ 45 w 90"/>
                <a:gd name="T75" fmla="*/ 38 h 58"/>
                <a:gd name="T76" fmla="*/ 54 w 90"/>
                <a:gd name="T77" fmla="*/ 35 h 58"/>
                <a:gd name="T78" fmla="*/ 37 w 90"/>
                <a:gd name="T79" fmla="*/ 33 h 58"/>
                <a:gd name="T80" fmla="*/ 14 w 90"/>
                <a:gd name="T81" fmla="*/ 41 h 58"/>
                <a:gd name="T82" fmla="*/ 42 w 90"/>
                <a:gd name="T83" fmla="*/ 42 h 58"/>
                <a:gd name="T84" fmla="*/ 32 w 90"/>
                <a:gd name="T85" fmla="*/ 42 h 58"/>
                <a:gd name="T86" fmla="*/ 37 w 90"/>
                <a:gd name="T87" fmla="*/ 35 h 58"/>
                <a:gd name="T88" fmla="*/ 18 w 90"/>
                <a:gd name="T89" fmla="*/ 47 h 58"/>
                <a:gd name="T90" fmla="*/ 18 w 90"/>
                <a:gd name="T91" fmla="*/ 47 h 58"/>
                <a:gd name="T92" fmla="*/ 19 w 90"/>
                <a:gd name="T93" fmla="*/ 49 h 58"/>
                <a:gd name="T94" fmla="*/ 25 w 90"/>
                <a:gd name="T95" fmla="*/ 49 h 58"/>
                <a:gd name="T96" fmla="*/ 48 w 90"/>
                <a:gd name="T97" fmla="*/ 47 h 58"/>
                <a:gd name="T98" fmla="*/ 66 w 90"/>
                <a:gd name="T99" fmla="*/ 39 h 58"/>
                <a:gd name="T100" fmla="*/ 57 w 90"/>
                <a:gd name="T101" fmla="*/ 35 h 58"/>
                <a:gd name="T102" fmla="*/ 66 w 90"/>
                <a:gd name="T103" fmla="*/ 33 h 58"/>
                <a:gd name="T104" fmla="*/ 3 w 90"/>
                <a:gd name="T105" fmla="*/ 56 h 58"/>
                <a:gd name="T106" fmla="*/ 70 w 90"/>
                <a:gd name="T107" fmla="*/ 30 h 58"/>
                <a:gd name="T108" fmla="*/ 71 w 90"/>
                <a:gd name="T109" fmla="*/ 29 h 58"/>
                <a:gd name="T110" fmla="*/ 85 w 90"/>
                <a:gd name="T111" fmla="*/ 48 h 58"/>
                <a:gd name="T112" fmla="*/ 75 w 90"/>
                <a:gd name="T113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" h="58">
                  <a:moveTo>
                    <a:pt x="89" y="44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7" y="20"/>
                    <a:pt x="76" y="11"/>
                    <a:pt x="70" y="5"/>
                  </a:cubicBezTo>
                  <a:cubicBezTo>
                    <a:pt x="67" y="2"/>
                    <a:pt x="62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3" y="0"/>
                    <a:pt x="48" y="1"/>
                    <a:pt x="45" y="4"/>
                  </a:cubicBezTo>
                  <a:cubicBezTo>
                    <a:pt x="44" y="6"/>
                    <a:pt x="43" y="7"/>
                    <a:pt x="4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6"/>
                    <a:pt x="90" y="46"/>
                    <a:pt x="90" y="46"/>
                  </a:cubicBezTo>
                  <a:lnTo>
                    <a:pt x="89" y="44"/>
                  </a:lnTo>
                  <a:close/>
                  <a:moveTo>
                    <a:pt x="47" y="6"/>
                  </a:moveTo>
                  <a:cubicBezTo>
                    <a:pt x="50" y="3"/>
                    <a:pt x="54" y="2"/>
                    <a:pt x="57" y="2"/>
                  </a:cubicBezTo>
                  <a:cubicBezTo>
                    <a:pt x="62" y="2"/>
                    <a:pt x="66" y="3"/>
                    <a:pt x="69" y="7"/>
                  </a:cubicBezTo>
                  <a:cubicBezTo>
                    <a:pt x="75" y="13"/>
                    <a:pt x="75" y="23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7" y="29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6" y="30"/>
                    <a:pt x="66" y="30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2" y="32"/>
                    <a:pt x="61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5" y="33"/>
                  </a:cubicBezTo>
                  <a:cubicBezTo>
                    <a:pt x="54" y="33"/>
                    <a:pt x="53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8" y="30"/>
                    <a:pt x="47" y="29"/>
                    <a:pt x="46" y="28"/>
                  </a:cubicBezTo>
                  <a:cubicBezTo>
                    <a:pt x="45" y="28"/>
                    <a:pt x="45" y="27"/>
                    <a:pt x="44" y="26"/>
                  </a:cubicBezTo>
                  <a:cubicBezTo>
                    <a:pt x="44" y="25"/>
                    <a:pt x="44" y="25"/>
                    <a:pt x="43" y="24"/>
                  </a:cubicBezTo>
                  <a:cubicBezTo>
                    <a:pt x="42" y="22"/>
                    <a:pt x="42" y="20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4"/>
                    <a:pt x="43" y="12"/>
                    <a:pt x="44" y="10"/>
                  </a:cubicBezTo>
                  <a:cubicBezTo>
                    <a:pt x="44" y="9"/>
                    <a:pt x="44" y="9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6" y="7"/>
                    <a:pt x="47" y="6"/>
                  </a:cubicBezTo>
                  <a:close/>
                  <a:moveTo>
                    <a:pt x="44" y="32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7"/>
                    <a:pt x="43" y="29"/>
                    <a:pt x="44" y="30"/>
                  </a:cubicBezTo>
                  <a:cubicBezTo>
                    <a:pt x="45" y="30"/>
                    <a:pt x="46" y="31"/>
                    <a:pt x="47" y="32"/>
                  </a:cubicBezTo>
                  <a:lnTo>
                    <a:pt x="44" y="32"/>
                  </a:lnTo>
                  <a:close/>
                  <a:moveTo>
                    <a:pt x="48" y="34"/>
                  </a:moveTo>
                  <a:cubicBezTo>
                    <a:pt x="46" y="35"/>
                    <a:pt x="46" y="35"/>
                    <a:pt x="46" y="35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8" y="34"/>
                  </a:lnTo>
                  <a:close/>
                  <a:moveTo>
                    <a:pt x="2" y="10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40" y="12"/>
                    <a:pt x="40" y="14"/>
                    <a:pt x="40" y="16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2" y="10"/>
                  </a:lnTo>
                  <a:close/>
                  <a:moveTo>
                    <a:pt x="2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20"/>
                    <a:pt x="40" y="22"/>
                    <a:pt x="41" y="24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2" y="18"/>
                  </a:lnTo>
                  <a:close/>
                  <a:moveTo>
                    <a:pt x="2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2" y="26"/>
                  </a:lnTo>
                  <a:close/>
                  <a:moveTo>
                    <a:pt x="29" y="34"/>
                  </a:moveTo>
                  <a:cubicBezTo>
                    <a:pt x="24" y="39"/>
                    <a:pt x="24" y="39"/>
                    <a:pt x="24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29" y="34"/>
                  </a:lnTo>
                  <a:close/>
                  <a:moveTo>
                    <a:pt x="2" y="34"/>
                  </a:moveTo>
                  <a:cubicBezTo>
                    <a:pt x="13" y="34"/>
                    <a:pt x="13" y="34"/>
                    <a:pt x="13" y="3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2" y="39"/>
                    <a:pt x="2" y="39"/>
                    <a:pt x="2" y="39"/>
                  </a:cubicBezTo>
                  <a:lnTo>
                    <a:pt x="2" y="34"/>
                  </a:lnTo>
                  <a:close/>
                  <a:moveTo>
                    <a:pt x="2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2" y="46"/>
                    <a:pt x="2" y="46"/>
                    <a:pt x="2" y="46"/>
                  </a:cubicBezTo>
                  <a:lnTo>
                    <a:pt x="2" y="42"/>
                  </a:lnTo>
                  <a:close/>
                  <a:moveTo>
                    <a:pt x="2" y="49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2" y="34"/>
                    <a:pt x="53" y="35"/>
                    <a:pt x="54" y="3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2" y="54"/>
                    <a:pt x="2" y="54"/>
                    <a:pt x="2" y="54"/>
                  </a:cubicBezTo>
                  <a:lnTo>
                    <a:pt x="2" y="49"/>
                  </a:lnTo>
                  <a:close/>
                  <a:moveTo>
                    <a:pt x="42" y="42"/>
                  </a:moveTo>
                  <a:cubicBezTo>
                    <a:pt x="45" y="47"/>
                    <a:pt x="45" y="47"/>
                    <a:pt x="45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42" y="42"/>
                  </a:lnTo>
                  <a:close/>
                  <a:moveTo>
                    <a:pt x="34" y="39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40" y="39"/>
                    <a:pt x="40" y="39"/>
                    <a:pt x="40" y="39"/>
                  </a:cubicBezTo>
                  <a:lnTo>
                    <a:pt x="34" y="39"/>
                  </a:lnTo>
                  <a:close/>
                  <a:moveTo>
                    <a:pt x="18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5" y="43"/>
                    <a:pt x="15" y="43"/>
                    <a:pt x="15" y="43"/>
                  </a:cubicBezTo>
                  <a:lnTo>
                    <a:pt x="18" y="47"/>
                  </a:lnTo>
                  <a:close/>
                  <a:moveTo>
                    <a:pt x="3" y="56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60" y="35"/>
                    <a:pt x="62" y="35"/>
                    <a:pt x="64" y="34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56"/>
                    <a:pt x="66" y="56"/>
                    <a:pt x="66" y="56"/>
                  </a:cubicBezTo>
                  <a:lnTo>
                    <a:pt x="3" y="56"/>
                  </a:lnTo>
                  <a:close/>
                  <a:moveTo>
                    <a:pt x="71" y="33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1" y="33"/>
                    <a:pt x="71" y="33"/>
                    <a:pt x="71" y="33"/>
                  </a:cubicBezTo>
                  <a:close/>
                  <a:moveTo>
                    <a:pt x="85" y="48"/>
                  </a:moveTo>
                  <a:cubicBezTo>
                    <a:pt x="73" y="35"/>
                    <a:pt x="73" y="35"/>
                    <a:pt x="73" y="35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87" y="46"/>
                    <a:pt x="87" y="46"/>
                    <a:pt x="87" y="46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13" name="Freeform 220"/>
            <p:cNvSpPr>
              <a:spLocks noEditPoints="1"/>
            </p:cNvSpPr>
            <p:nvPr/>
          </p:nvSpPr>
          <p:spPr bwMode="auto">
            <a:xfrm>
              <a:off x="2563" y="3628"/>
              <a:ext cx="36" cy="56"/>
            </a:xfrm>
            <a:custGeom>
              <a:avLst/>
              <a:gdLst>
                <a:gd name="T0" fmla="*/ 2 w 15"/>
                <a:gd name="T1" fmla="*/ 20 h 24"/>
                <a:gd name="T2" fmla="*/ 4 w 15"/>
                <a:gd name="T3" fmla="*/ 21 h 24"/>
                <a:gd name="T4" fmla="*/ 4 w 15"/>
                <a:gd name="T5" fmla="*/ 21 h 24"/>
                <a:gd name="T6" fmla="*/ 4 w 15"/>
                <a:gd name="T7" fmla="*/ 24 h 24"/>
                <a:gd name="T8" fmla="*/ 6 w 15"/>
                <a:gd name="T9" fmla="*/ 24 h 24"/>
                <a:gd name="T10" fmla="*/ 9 w 15"/>
                <a:gd name="T11" fmla="*/ 24 h 24"/>
                <a:gd name="T12" fmla="*/ 12 w 15"/>
                <a:gd name="T13" fmla="*/ 24 h 24"/>
                <a:gd name="T14" fmla="*/ 12 w 15"/>
                <a:gd name="T15" fmla="*/ 21 h 24"/>
                <a:gd name="T16" fmla="*/ 12 w 15"/>
                <a:gd name="T17" fmla="*/ 21 h 24"/>
                <a:gd name="T18" fmla="*/ 15 w 15"/>
                <a:gd name="T19" fmla="*/ 15 h 24"/>
                <a:gd name="T20" fmla="*/ 14 w 15"/>
                <a:gd name="T21" fmla="*/ 10 h 24"/>
                <a:gd name="T22" fmla="*/ 14 w 15"/>
                <a:gd name="T23" fmla="*/ 10 h 24"/>
                <a:gd name="T24" fmla="*/ 14 w 15"/>
                <a:gd name="T25" fmla="*/ 9 h 24"/>
                <a:gd name="T26" fmla="*/ 14 w 15"/>
                <a:gd name="T27" fmla="*/ 9 h 24"/>
                <a:gd name="T28" fmla="*/ 14 w 15"/>
                <a:gd name="T29" fmla="*/ 9 h 24"/>
                <a:gd name="T30" fmla="*/ 15 w 15"/>
                <a:gd name="T31" fmla="*/ 6 h 24"/>
                <a:gd name="T32" fmla="*/ 15 w 15"/>
                <a:gd name="T33" fmla="*/ 4 h 24"/>
                <a:gd name="T34" fmla="*/ 14 w 15"/>
                <a:gd name="T35" fmla="*/ 4 h 24"/>
                <a:gd name="T36" fmla="*/ 13 w 15"/>
                <a:gd name="T37" fmla="*/ 3 h 24"/>
                <a:gd name="T38" fmla="*/ 12 w 15"/>
                <a:gd name="T39" fmla="*/ 3 h 24"/>
                <a:gd name="T40" fmla="*/ 12 w 15"/>
                <a:gd name="T41" fmla="*/ 3 h 24"/>
                <a:gd name="T42" fmla="*/ 12 w 15"/>
                <a:gd name="T43" fmla="*/ 0 h 24"/>
                <a:gd name="T44" fmla="*/ 9 w 15"/>
                <a:gd name="T45" fmla="*/ 0 h 24"/>
                <a:gd name="T46" fmla="*/ 6 w 15"/>
                <a:gd name="T47" fmla="*/ 0 h 24"/>
                <a:gd name="T48" fmla="*/ 4 w 15"/>
                <a:gd name="T49" fmla="*/ 0 h 24"/>
                <a:gd name="T50" fmla="*/ 4 w 15"/>
                <a:gd name="T51" fmla="*/ 3 h 24"/>
                <a:gd name="T52" fmla="*/ 4 w 15"/>
                <a:gd name="T53" fmla="*/ 3 h 24"/>
                <a:gd name="T54" fmla="*/ 0 w 15"/>
                <a:gd name="T55" fmla="*/ 9 h 24"/>
                <a:gd name="T56" fmla="*/ 1 w 15"/>
                <a:gd name="T57" fmla="*/ 13 h 24"/>
                <a:gd name="T58" fmla="*/ 1 w 15"/>
                <a:gd name="T59" fmla="*/ 14 h 24"/>
                <a:gd name="T60" fmla="*/ 0 w 15"/>
                <a:gd name="T61" fmla="*/ 18 h 24"/>
                <a:gd name="T62" fmla="*/ 0 w 15"/>
                <a:gd name="T63" fmla="*/ 19 h 24"/>
                <a:gd name="T64" fmla="*/ 1 w 15"/>
                <a:gd name="T65" fmla="*/ 20 h 24"/>
                <a:gd name="T66" fmla="*/ 2 w 15"/>
                <a:gd name="T67" fmla="*/ 20 h 24"/>
                <a:gd name="T68" fmla="*/ 7 w 15"/>
                <a:gd name="T69" fmla="*/ 14 h 24"/>
                <a:gd name="T70" fmla="*/ 3 w 15"/>
                <a:gd name="T71" fmla="*/ 9 h 24"/>
                <a:gd name="T72" fmla="*/ 6 w 15"/>
                <a:gd name="T73" fmla="*/ 5 h 24"/>
                <a:gd name="T74" fmla="*/ 6 w 15"/>
                <a:gd name="T75" fmla="*/ 3 h 24"/>
                <a:gd name="T76" fmla="*/ 9 w 15"/>
                <a:gd name="T77" fmla="*/ 3 h 24"/>
                <a:gd name="T78" fmla="*/ 9 w 15"/>
                <a:gd name="T79" fmla="*/ 5 h 24"/>
                <a:gd name="T80" fmla="*/ 12 w 15"/>
                <a:gd name="T81" fmla="*/ 5 h 24"/>
                <a:gd name="T82" fmla="*/ 13 w 15"/>
                <a:gd name="T83" fmla="*/ 6 h 24"/>
                <a:gd name="T84" fmla="*/ 12 w 15"/>
                <a:gd name="T85" fmla="*/ 8 h 24"/>
                <a:gd name="T86" fmla="*/ 12 w 15"/>
                <a:gd name="T87" fmla="*/ 9 h 24"/>
                <a:gd name="T88" fmla="*/ 11 w 15"/>
                <a:gd name="T89" fmla="*/ 9 h 24"/>
                <a:gd name="T90" fmla="*/ 8 w 15"/>
                <a:gd name="T91" fmla="*/ 8 h 24"/>
                <a:gd name="T92" fmla="*/ 7 w 15"/>
                <a:gd name="T93" fmla="*/ 9 h 24"/>
                <a:gd name="T94" fmla="*/ 9 w 15"/>
                <a:gd name="T95" fmla="*/ 10 h 24"/>
                <a:gd name="T96" fmla="*/ 13 w 15"/>
                <a:gd name="T97" fmla="*/ 15 h 24"/>
                <a:gd name="T98" fmla="*/ 9 w 15"/>
                <a:gd name="T99" fmla="*/ 19 h 24"/>
                <a:gd name="T100" fmla="*/ 9 w 15"/>
                <a:gd name="T101" fmla="*/ 21 h 24"/>
                <a:gd name="T102" fmla="*/ 6 w 15"/>
                <a:gd name="T103" fmla="*/ 21 h 24"/>
                <a:gd name="T104" fmla="*/ 6 w 15"/>
                <a:gd name="T105" fmla="*/ 19 h 24"/>
                <a:gd name="T106" fmla="*/ 3 w 15"/>
                <a:gd name="T107" fmla="*/ 18 h 24"/>
                <a:gd name="T108" fmla="*/ 2 w 15"/>
                <a:gd name="T109" fmla="*/ 18 h 24"/>
                <a:gd name="T110" fmla="*/ 3 w 15"/>
                <a:gd name="T111" fmla="*/ 15 h 24"/>
                <a:gd name="T112" fmla="*/ 4 w 15"/>
                <a:gd name="T113" fmla="*/ 15 h 24"/>
                <a:gd name="T114" fmla="*/ 7 w 15"/>
                <a:gd name="T115" fmla="*/ 16 h 24"/>
                <a:gd name="T116" fmla="*/ 9 w 15"/>
                <a:gd name="T117" fmla="*/ 15 h 24"/>
                <a:gd name="T118" fmla="*/ 7 w 15"/>
                <a:gd name="T11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" h="24">
                  <a:moveTo>
                    <a:pt x="2" y="20"/>
                  </a:moveTo>
                  <a:cubicBezTo>
                    <a:pt x="2" y="21"/>
                    <a:pt x="3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19"/>
                    <a:pt x="15" y="17"/>
                    <a:pt x="15" y="15"/>
                  </a:cubicBezTo>
                  <a:cubicBezTo>
                    <a:pt x="15" y="13"/>
                    <a:pt x="15" y="11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2" y="20"/>
                  </a:lnTo>
                  <a:close/>
                  <a:moveTo>
                    <a:pt x="7" y="14"/>
                  </a:moveTo>
                  <a:cubicBezTo>
                    <a:pt x="5" y="13"/>
                    <a:pt x="3" y="12"/>
                    <a:pt x="3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0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12" y="11"/>
                    <a:pt x="13" y="12"/>
                    <a:pt x="13" y="15"/>
                  </a:cubicBezTo>
                  <a:cubicBezTo>
                    <a:pt x="13" y="17"/>
                    <a:pt x="12" y="18"/>
                    <a:pt x="9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4" y="19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5"/>
                    <a:pt x="9" y="15"/>
                  </a:cubicBezTo>
                  <a:cubicBezTo>
                    <a:pt x="9" y="15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" name="Group 8"/>
          <p:cNvGrpSpPr>
            <a:grpSpLocks noChangeAspect="1"/>
          </p:cNvGrpSpPr>
          <p:nvPr/>
        </p:nvGrpSpPr>
        <p:grpSpPr bwMode="auto">
          <a:xfrm>
            <a:off x="4765674" y="5438774"/>
            <a:ext cx="841248" cy="841248"/>
            <a:chOff x="3002" y="3426"/>
            <a:chExt cx="490" cy="490"/>
          </a:xfrm>
        </p:grpSpPr>
        <p:sp>
          <p:nvSpPr>
            <p:cNvPr id="16" name="AutoShape 7"/>
            <p:cNvSpPr>
              <a:spLocks noChangeAspect="1" noChangeArrowheads="1" noTextEdit="1"/>
            </p:cNvSpPr>
            <p:nvPr/>
          </p:nvSpPr>
          <p:spPr bwMode="auto">
            <a:xfrm>
              <a:off x="3002" y="3426"/>
              <a:ext cx="490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3024" y="3448"/>
              <a:ext cx="449" cy="448"/>
            </a:xfrm>
            <a:custGeom>
              <a:avLst/>
              <a:gdLst>
                <a:gd name="T0" fmla="*/ 723 w 1446"/>
                <a:gd name="T1" fmla="*/ 1438 h 1446"/>
                <a:gd name="T2" fmla="*/ 445 w 1446"/>
                <a:gd name="T3" fmla="*/ 1381 h 1446"/>
                <a:gd name="T4" fmla="*/ 218 w 1446"/>
                <a:gd name="T5" fmla="*/ 1228 h 1446"/>
                <a:gd name="T6" fmla="*/ 65 w 1446"/>
                <a:gd name="T7" fmla="*/ 1001 h 1446"/>
                <a:gd name="T8" fmla="*/ 8 w 1446"/>
                <a:gd name="T9" fmla="*/ 723 h 1446"/>
                <a:gd name="T10" fmla="*/ 65 w 1446"/>
                <a:gd name="T11" fmla="*/ 445 h 1446"/>
                <a:gd name="T12" fmla="*/ 218 w 1446"/>
                <a:gd name="T13" fmla="*/ 218 h 1446"/>
                <a:gd name="T14" fmla="*/ 445 w 1446"/>
                <a:gd name="T15" fmla="*/ 65 h 1446"/>
                <a:gd name="T16" fmla="*/ 723 w 1446"/>
                <a:gd name="T17" fmla="*/ 8 h 1446"/>
                <a:gd name="T18" fmla="*/ 1001 w 1446"/>
                <a:gd name="T19" fmla="*/ 65 h 1446"/>
                <a:gd name="T20" fmla="*/ 1228 w 1446"/>
                <a:gd name="T21" fmla="*/ 218 h 1446"/>
                <a:gd name="T22" fmla="*/ 1381 w 1446"/>
                <a:gd name="T23" fmla="*/ 445 h 1446"/>
                <a:gd name="T24" fmla="*/ 1438 w 1446"/>
                <a:gd name="T25" fmla="*/ 723 h 1446"/>
                <a:gd name="T26" fmla="*/ 1381 w 1446"/>
                <a:gd name="T27" fmla="*/ 1001 h 1446"/>
                <a:gd name="T28" fmla="*/ 1228 w 1446"/>
                <a:gd name="T29" fmla="*/ 1228 h 1446"/>
                <a:gd name="T30" fmla="*/ 1001 w 1446"/>
                <a:gd name="T31" fmla="*/ 1381 h 1446"/>
                <a:gd name="T32" fmla="*/ 723 w 1446"/>
                <a:gd name="T33" fmla="*/ 1438 h 1446"/>
                <a:gd name="T34" fmla="*/ 723 w 1446"/>
                <a:gd name="T35" fmla="*/ 0 h 1446"/>
                <a:gd name="T36" fmla="*/ 0 w 1446"/>
                <a:gd name="T37" fmla="*/ 723 h 1446"/>
                <a:gd name="T38" fmla="*/ 723 w 1446"/>
                <a:gd name="T39" fmla="*/ 1446 h 1446"/>
                <a:gd name="T40" fmla="*/ 1446 w 1446"/>
                <a:gd name="T41" fmla="*/ 723 h 1446"/>
                <a:gd name="T42" fmla="*/ 723 w 1446"/>
                <a:gd name="T43" fmla="*/ 0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6" h="1446">
                  <a:moveTo>
                    <a:pt x="723" y="1438"/>
                  </a:moveTo>
                  <a:cubicBezTo>
                    <a:pt x="627" y="1438"/>
                    <a:pt x="533" y="1419"/>
                    <a:pt x="445" y="1381"/>
                  </a:cubicBezTo>
                  <a:cubicBezTo>
                    <a:pt x="360" y="1346"/>
                    <a:pt x="283" y="1294"/>
                    <a:pt x="218" y="1228"/>
                  </a:cubicBezTo>
                  <a:cubicBezTo>
                    <a:pt x="152" y="1163"/>
                    <a:pt x="100" y="1086"/>
                    <a:pt x="65" y="1001"/>
                  </a:cubicBezTo>
                  <a:cubicBezTo>
                    <a:pt x="27" y="913"/>
                    <a:pt x="8" y="819"/>
                    <a:pt x="8" y="723"/>
                  </a:cubicBezTo>
                  <a:cubicBezTo>
                    <a:pt x="8" y="627"/>
                    <a:pt x="27" y="533"/>
                    <a:pt x="65" y="445"/>
                  </a:cubicBezTo>
                  <a:cubicBezTo>
                    <a:pt x="100" y="360"/>
                    <a:pt x="152" y="283"/>
                    <a:pt x="218" y="218"/>
                  </a:cubicBezTo>
                  <a:cubicBezTo>
                    <a:pt x="283" y="152"/>
                    <a:pt x="360" y="100"/>
                    <a:pt x="445" y="65"/>
                  </a:cubicBezTo>
                  <a:cubicBezTo>
                    <a:pt x="533" y="27"/>
                    <a:pt x="627" y="8"/>
                    <a:pt x="723" y="8"/>
                  </a:cubicBezTo>
                  <a:cubicBezTo>
                    <a:pt x="819" y="8"/>
                    <a:pt x="913" y="27"/>
                    <a:pt x="1001" y="65"/>
                  </a:cubicBezTo>
                  <a:cubicBezTo>
                    <a:pt x="1086" y="100"/>
                    <a:pt x="1163" y="152"/>
                    <a:pt x="1228" y="218"/>
                  </a:cubicBezTo>
                  <a:cubicBezTo>
                    <a:pt x="1294" y="283"/>
                    <a:pt x="1346" y="360"/>
                    <a:pt x="1381" y="445"/>
                  </a:cubicBezTo>
                  <a:cubicBezTo>
                    <a:pt x="1419" y="533"/>
                    <a:pt x="1438" y="627"/>
                    <a:pt x="1438" y="723"/>
                  </a:cubicBezTo>
                  <a:cubicBezTo>
                    <a:pt x="1438" y="819"/>
                    <a:pt x="1419" y="913"/>
                    <a:pt x="1381" y="1001"/>
                  </a:cubicBezTo>
                  <a:cubicBezTo>
                    <a:pt x="1346" y="1086"/>
                    <a:pt x="1294" y="1163"/>
                    <a:pt x="1228" y="1228"/>
                  </a:cubicBezTo>
                  <a:cubicBezTo>
                    <a:pt x="1163" y="1294"/>
                    <a:pt x="1086" y="1346"/>
                    <a:pt x="1001" y="1381"/>
                  </a:cubicBezTo>
                  <a:cubicBezTo>
                    <a:pt x="913" y="1419"/>
                    <a:pt x="819" y="1438"/>
                    <a:pt x="723" y="1438"/>
                  </a:cubicBezTo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6"/>
                    <a:pt x="723" y="1446"/>
                  </a:cubicBezTo>
                  <a:cubicBezTo>
                    <a:pt x="1122" y="1446"/>
                    <a:pt x="1446" y="1122"/>
                    <a:pt x="1446" y="723"/>
                  </a:cubicBezTo>
                  <a:cubicBezTo>
                    <a:pt x="1446" y="324"/>
                    <a:pt x="1122" y="0"/>
                    <a:pt x="723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3089" y="3512"/>
              <a:ext cx="318" cy="318"/>
            </a:xfrm>
            <a:custGeom>
              <a:avLst/>
              <a:gdLst>
                <a:gd name="T0" fmla="*/ 872 w 1023"/>
                <a:gd name="T1" fmla="*/ 863 h 1023"/>
                <a:gd name="T2" fmla="*/ 868 w 1023"/>
                <a:gd name="T3" fmla="*/ 868 h 1023"/>
                <a:gd name="T4" fmla="*/ 862 w 1023"/>
                <a:gd name="T5" fmla="*/ 873 h 1023"/>
                <a:gd name="T6" fmla="*/ 868 w 1023"/>
                <a:gd name="T7" fmla="*/ 868 h 1023"/>
                <a:gd name="T8" fmla="*/ 872 w 1023"/>
                <a:gd name="T9" fmla="*/ 863 h 1023"/>
                <a:gd name="T10" fmla="*/ 1023 w 1023"/>
                <a:gd name="T11" fmla="*/ 512 h 1023"/>
                <a:gd name="T12" fmla="*/ 1023 w 1023"/>
                <a:gd name="T13" fmla="*/ 512 h 1023"/>
                <a:gd name="T14" fmla="*/ 1023 w 1023"/>
                <a:gd name="T15" fmla="*/ 512 h 1023"/>
                <a:gd name="T16" fmla="*/ 512 w 1023"/>
                <a:gd name="T17" fmla="*/ 0 h 1023"/>
                <a:gd name="T18" fmla="*/ 0 w 1023"/>
                <a:gd name="T19" fmla="*/ 512 h 1023"/>
                <a:gd name="T20" fmla="*/ 512 w 1023"/>
                <a:gd name="T21" fmla="*/ 1023 h 1023"/>
                <a:gd name="T22" fmla="*/ 1023 w 1023"/>
                <a:gd name="T23" fmla="*/ 512 h 1023"/>
                <a:gd name="T24" fmla="*/ 1019 w 1023"/>
                <a:gd name="T25" fmla="*/ 512 h 1023"/>
                <a:gd name="T26" fmla="*/ 1015 w 1023"/>
                <a:gd name="T27" fmla="*/ 512 h 1023"/>
                <a:gd name="T28" fmla="*/ 903 w 1023"/>
                <a:gd name="T29" fmla="*/ 828 h 1023"/>
                <a:gd name="T30" fmla="*/ 828 w 1023"/>
                <a:gd name="T31" fmla="*/ 904 h 1023"/>
                <a:gd name="T32" fmla="*/ 512 w 1023"/>
                <a:gd name="T33" fmla="*/ 1015 h 1023"/>
                <a:gd name="T34" fmla="*/ 192 w 1023"/>
                <a:gd name="T35" fmla="*/ 901 h 1023"/>
                <a:gd name="T36" fmla="*/ 124 w 1023"/>
                <a:gd name="T37" fmla="*/ 834 h 1023"/>
                <a:gd name="T38" fmla="*/ 8 w 1023"/>
                <a:gd name="T39" fmla="*/ 512 h 1023"/>
                <a:gd name="T40" fmla="*/ 126 w 1023"/>
                <a:gd name="T41" fmla="*/ 188 h 1023"/>
                <a:gd name="T42" fmla="*/ 189 w 1023"/>
                <a:gd name="T43" fmla="*/ 125 h 1023"/>
                <a:gd name="T44" fmla="*/ 512 w 1023"/>
                <a:gd name="T45" fmla="*/ 8 h 1023"/>
                <a:gd name="T46" fmla="*/ 830 w 1023"/>
                <a:gd name="T47" fmla="*/ 122 h 1023"/>
                <a:gd name="T48" fmla="*/ 902 w 1023"/>
                <a:gd name="T49" fmla="*/ 193 h 1023"/>
                <a:gd name="T50" fmla="*/ 1015 w 1023"/>
                <a:gd name="T51" fmla="*/ 512 h 1023"/>
                <a:gd name="T52" fmla="*/ 1019 w 1023"/>
                <a:gd name="T53" fmla="*/ 512 h 1023"/>
                <a:gd name="T54" fmla="*/ 1023 w 1023"/>
                <a:gd name="T55" fmla="*/ 512 h 1023"/>
                <a:gd name="T56" fmla="*/ 1023 w 1023"/>
                <a:gd name="T57" fmla="*/ 512 h 1023"/>
                <a:gd name="T58" fmla="*/ 512 w 1023"/>
                <a:gd name="T59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23" h="1023">
                  <a:moveTo>
                    <a:pt x="872" y="863"/>
                  </a:moveTo>
                  <a:cubicBezTo>
                    <a:pt x="871" y="865"/>
                    <a:pt x="869" y="866"/>
                    <a:pt x="868" y="868"/>
                  </a:cubicBezTo>
                  <a:cubicBezTo>
                    <a:pt x="866" y="869"/>
                    <a:pt x="864" y="871"/>
                    <a:pt x="862" y="873"/>
                  </a:cubicBezTo>
                  <a:cubicBezTo>
                    <a:pt x="864" y="871"/>
                    <a:pt x="866" y="870"/>
                    <a:pt x="868" y="868"/>
                  </a:cubicBezTo>
                  <a:cubicBezTo>
                    <a:pt x="869" y="866"/>
                    <a:pt x="871" y="865"/>
                    <a:pt x="872" y="863"/>
                  </a:cubicBezTo>
                  <a:moveTo>
                    <a:pt x="1023" y="512"/>
                  </a:move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moveTo>
                    <a:pt x="512" y="0"/>
                  </a:move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3"/>
                  </a:cubicBezTo>
                  <a:cubicBezTo>
                    <a:pt x="794" y="1023"/>
                    <a:pt x="1023" y="794"/>
                    <a:pt x="1023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15" y="512"/>
                    <a:pt x="1015" y="512"/>
                    <a:pt x="1015" y="512"/>
                  </a:cubicBezTo>
                  <a:cubicBezTo>
                    <a:pt x="1015" y="632"/>
                    <a:pt x="973" y="742"/>
                    <a:pt x="903" y="828"/>
                  </a:cubicBezTo>
                  <a:cubicBezTo>
                    <a:pt x="885" y="859"/>
                    <a:pt x="859" y="886"/>
                    <a:pt x="828" y="904"/>
                  </a:cubicBezTo>
                  <a:cubicBezTo>
                    <a:pt x="741" y="974"/>
                    <a:pt x="631" y="1015"/>
                    <a:pt x="512" y="1015"/>
                  </a:cubicBezTo>
                  <a:cubicBezTo>
                    <a:pt x="390" y="1015"/>
                    <a:pt x="279" y="972"/>
                    <a:pt x="192" y="901"/>
                  </a:cubicBezTo>
                  <a:cubicBezTo>
                    <a:pt x="165" y="884"/>
                    <a:pt x="142" y="861"/>
                    <a:pt x="124" y="834"/>
                  </a:cubicBezTo>
                  <a:cubicBezTo>
                    <a:pt x="52" y="746"/>
                    <a:pt x="8" y="634"/>
                    <a:pt x="8" y="512"/>
                  </a:cubicBezTo>
                  <a:cubicBezTo>
                    <a:pt x="8" y="388"/>
                    <a:pt x="52" y="275"/>
                    <a:pt x="126" y="188"/>
                  </a:cubicBezTo>
                  <a:cubicBezTo>
                    <a:pt x="142" y="162"/>
                    <a:pt x="164" y="141"/>
                    <a:pt x="189" y="125"/>
                  </a:cubicBezTo>
                  <a:cubicBezTo>
                    <a:pt x="276" y="52"/>
                    <a:pt x="389" y="8"/>
                    <a:pt x="512" y="8"/>
                  </a:cubicBezTo>
                  <a:cubicBezTo>
                    <a:pt x="633" y="8"/>
                    <a:pt x="744" y="51"/>
                    <a:pt x="830" y="122"/>
                  </a:cubicBezTo>
                  <a:cubicBezTo>
                    <a:pt x="860" y="139"/>
                    <a:pt x="884" y="164"/>
                    <a:pt x="902" y="193"/>
                  </a:cubicBezTo>
                  <a:cubicBezTo>
                    <a:pt x="973" y="280"/>
                    <a:pt x="1015" y="391"/>
                    <a:pt x="1015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229"/>
                    <a:pt x="794" y="0"/>
                    <a:pt x="512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3118" y="3541"/>
              <a:ext cx="130" cy="130"/>
            </a:xfrm>
            <a:custGeom>
              <a:avLst/>
              <a:gdLst>
                <a:gd name="T0" fmla="*/ 127 w 420"/>
                <a:gd name="T1" fmla="*/ 398 h 420"/>
                <a:gd name="T2" fmla="*/ 126 w 420"/>
                <a:gd name="T3" fmla="*/ 402 h 420"/>
                <a:gd name="T4" fmla="*/ 209 w 420"/>
                <a:gd name="T5" fmla="*/ 420 h 420"/>
                <a:gd name="T6" fmla="*/ 209 w 420"/>
                <a:gd name="T7" fmla="*/ 416 h 420"/>
                <a:gd name="T8" fmla="*/ 127 w 420"/>
                <a:gd name="T9" fmla="*/ 398 h 420"/>
                <a:gd name="T10" fmla="*/ 419 w 420"/>
                <a:gd name="T11" fmla="*/ 216 h 420"/>
                <a:gd name="T12" fmla="*/ 416 w 420"/>
                <a:gd name="T13" fmla="*/ 216 h 420"/>
                <a:gd name="T14" fmla="*/ 356 w 420"/>
                <a:gd name="T15" fmla="*/ 355 h 420"/>
                <a:gd name="T16" fmla="*/ 213 w 420"/>
                <a:gd name="T17" fmla="*/ 416 h 420"/>
                <a:gd name="T18" fmla="*/ 213 w 420"/>
                <a:gd name="T19" fmla="*/ 420 h 420"/>
                <a:gd name="T20" fmla="*/ 420 w 420"/>
                <a:gd name="T21" fmla="*/ 222 h 420"/>
                <a:gd name="T22" fmla="*/ 420 w 420"/>
                <a:gd name="T23" fmla="*/ 216 h 420"/>
                <a:gd name="T24" fmla="*/ 419 w 420"/>
                <a:gd name="T25" fmla="*/ 216 h 420"/>
                <a:gd name="T26" fmla="*/ 420 w 420"/>
                <a:gd name="T27" fmla="*/ 210 h 420"/>
                <a:gd name="T28" fmla="*/ 419 w 420"/>
                <a:gd name="T29" fmla="*/ 210 h 420"/>
                <a:gd name="T30" fmla="*/ 417 w 420"/>
                <a:gd name="T31" fmla="*/ 210 h 420"/>
                <a:gd name="T32" fmla="*/ 417 w 420"/>
                <a:gd name="T33" fmla="*/ 212 h 420"/>
                <a:gd name="T34" fmla="*/ 419 w 420"/>
                <a:gd name="T35" fmla="*/ 212 h 420"/>
                <a:gd name="T36" fmla="*/ 420 w 420"/>
                <a:gd name="T37" fmla="*/ 212 h 420"/>
                <a:gd name="T38" fmla="*/ 420 w 420"/>
                <a:gd name="T39" fmla="*/ 210 h 420"/>
                <a:gd name="T40" fmla="*/ 403 w 420"/>
                <a:gd name="T41" fmla="*/ 125 h 420"/>
                <a:gd name="T42" fmla="*/ 399 w 420"/>
                <a:gd name="T43" fmla="*/ 125 h 420"/>
                <a:gd name="T44" fmla="*/ 417 w 420"/>
                <a:gd name="T45" fmla="*/ 210 h 420"/>
                <a:gd name="T46" fmla="*/ 419 w 420"/>
                <a:gd name="T47" fmla="*/ 210 h 420"/>
                <a:gd name="T48" fmla="*/ 420 w 420"/>
                <a:gd name="T49" fmla="*/ 210 h 420"/>
                <a:gd name="T50" fmla="*/ 420 w 420"/>
                <a:gd name="T51" fmla="*/ 210 h 420"/>
                <a:gd name="T52" fmla="*/ 420 w 420"/>
                <a:gd name="T53" fmla="*/ 197 h 420"/>
                <a:gd name="T54" fmla="*/ 403 w 420"/>
                <a:gd name="T55" fmla="*/ 125 h 420"/>
                <a:gd name="T56" fmla="*/ 210 w 420"/>
                <a:gd name="T57" fmla="*/ 0 h 420"/>
                <a:gd name="T58" fmla="*/ 97 w 420"/>
                <a:gd name="T59" fmla="*/ 33 h 420"/>
                <a:gd name="T60" fmla="*/ 63 w 420"/>
                <a:gd name="T61" fmla="*/ 63 h 420"/>
                <a:gd name="T62" fmla="*/ 34 w 420"/>
                <a:gd name="T63" fmla="*/ 96 h 420"/>
                <a:gd name="T64" fmla="*/ 0 w 420"/>
                <a:gd name="T65" fmla="*/ 210 h 420"/>
                <a:gd name="T66" fmla="*/ 122 w 420"/>
                <a:gd name="T67" fmla="*/ 400 h 420"/>
                <a:gd name="T68" fmla="*/ 123 w 420"/>
                <a:gd name="T69" fmla="*/ 396 h 420"/>
                <a:gd name="T70" fmla="*/ 65 w 420"/>
                <a:gd name="T71" fmla="*/ 355 h 420"/>
                <a:gd name="T72" fmla="*/ 4 w 420"/>
                <a:gd name="T73" fmla="*/ 210 h 420"/>
                <a:gd name="T74" fmla="*/ 65 w 420"/>
                <a:gd name="T75" fmla="*/ 64 h 420"/>
                <a:gd name="T76" fmla="*/ 210 w 420"/>
                <a:gd name="T77" fmla="*/ 4 h 420"/>
                <a:gd name="T78" fmla="*/ 356 w 420"/>
                <a:gd name="T79" fmla="*/ 64 h 420"/>
                <a:gd name="T80" fmla="*/ 397 w 420"/>
                <a:gd name="T81" fmla="*/ 122 h 420"/>
                <a:gd name="T82" fmla="*/ 401 w 420"/>
                <a:gd name="T83" fmla="*/ 121 h 420"/>
                <a:gd name="T84" fmla="*/ 210 w 420"/>
                <a:gd name="T85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0" h="420">
                  <a:moveTo>
                    <a:pt x="127" y="398"/>
                  </a:moveTo>
                  <a:cubicBezTo>
                    <a:pt x="126" y="399"/>
                    <a:pt x="126" y="401"/>
                    <a:pt x="126" y="402"/>
                  </a:cubicBezTo>
                  <a:cubicBezTo>
                    <a:pt x="151" y="413"/>
                    <a:pt x="179" y="419"/>
                    <a:pt x="209" y="420"/>
                  </a:cubicBezTo>
                  <a:cubicBezTo>
                    <a:pt x="209" y="418"/>
                    <a:pt x="209" y="417"/>
                    <a:pt x="209" y="416"/>
                  </a:cubicBezTo>
                  <a:cubicBezTo>
                    <a:pt x="179" y="415"/>
                    <a:pt x="152" y="409"/>
                    <a:pt x="127" y="398"/>
                  </a:cubicBezTo>
                  <a:moveTo>
                    <a:pt x="419" y="216"/>
                  </a:moveTo>
                  <a:cubicBezTo>
                    <a:pt x="418" y="216"/>
                    <a:pt x="417" y="216"/>
                    <a:pt x="416" y="216"/>
                  </a:cubicBezTo>
                  <a:cubicBezTo>
                    <a:pt x="415" y="270"/>
                    <a:pt x="392" y="319"/>
                    <a:pt x="356" y="355"/>
                  </a:cubicBezTo>
                  <a:cubicBezTo>
                    <a:pt x="319" y="392"/>
                    <a:pt x="269" y="415"/>
                    <a:pt x="213" y="416"/>
                  </a:cubicBezTo>
                  <a:cubicBezTo>
                    <a:pt x="213" y="417"/>
                    <a:pt x="213" y="418"/>
                    <a:pt x="213" y="420"/>
                  </a:cubicBezTo>
                  <a:cubicBezTo>
                    <a:pt x="324" y="419"/>
                    <a:pt x="414" y="332"/>
                    <a:pt x="420" y="222"/>
                  </a:cubicBezTo>
                  <a:cubicBezTo>
                    <a:pt x="420" y="220"/>
                    <a:pt x="420" y="218"/>
                    <a:pt x="420" y="216"/>
                  </a:cubicBezTo>
                  <a:cubicBezTo>
                    <a:pt x="420" y="216"/>
                    <a:pt x="419" y="216"/>
                    <a:pt x="419" y="216"/>
                  </a:cubicBezTo>
                  <a:moveTo>
                    <a:pt x="420" y="210"/>
                  </a:moveTo>
                  <a:cubicBezTo>
                    <a:pt x="419" y="210"/>
                    <a:pt x="419" y="210"/>
                    <a:pt x="419" y="210"/>
                  </a:cubicBezTo>
                  <a:cubicBezTo>
                    <a:pt x="417" y="210"/>
                    <a:pt x="417" y="210"/>
                    <a:pt x="417" y="210"/>
                  </a:cubicBezTo>
                  <a:cubicBezTo>
                    <a:pt x="417" y="210"/>
                    <a:pt x="417" y="211"/>
                    <a:pt x="417" y="212"/>
                  </a:cubicBezTo>
                  <a:cubicBezTo>
                    <a:pt x="417" y="212"/>
                    <a:pt x="418" y="212"/>
                    <a:pt x="419" y="212"/>
                  </a:cubicBezTo>
                  <a:cubicBezTo>
                    <a:pt x="419" y="212"/>
                    <a:pt x="419" y="212"/>
                    <a:pt x="420" y="212"/>
                  </a:cubicBezTo>
                  <a:cubicBezTo>
                    <a:pt x="420" y="211"/>
                    <a:pt x="420" y="210"/>
                    <a:pt x="420" y="210"/>
                  </a:cubicBezTo>
                  <a:moveTo>
                    <a:pt x="403" y="125"/>
                  </a:moveTo>
                  <a:cubicBezTo>
                    <a:pt x="401" y="125"/>
                    <a:pt x="400" y="125"/>
                    <a:pt x="399" y="125"/>
                  </a:cubicBezTo>
                  <a:cubicBezTo>
                    <a:pt x="410" y="151"/>
                    <a:pt x="417" y="180"/>
                    <a:pt x="417" y="210"/>
                  </a:cubicBezTo>
                  <a:cubicBezTo>
                    <a:pt x="419" y="210"/>
                    <a:pt x="419" y="210"/>
                    <a:pt x="419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05"/>
                    <a:pt x="420" y="201"/>
                    <a:pt x="420" y="197"/>
                  </a:cubicBezTo>
                  <a:cubicBezTo>
                    <a:pt x="419" y="172"/>
                    <a:pt x="413" y="147"/>
                    <a:pt x="403" y="125"/>
                  </a:cubicBezTo>
                  <a:moveTo>
                    <a:pt x="210" y="0"/>
                  </a:moveTo>
                  <a:cubicBezTo>
                    <a:pt x="169" y="0"/>
                    <a:pt x="130" y="12"/>
                    <a:pt x="97" y="33"/>
                  </a:cubicBezTo>
                  <a:cubicBezTo>
                    <a:pt x="85" y="42"/>
                    <a:pt x="74" y="53"/>
                    <a:pt x="63" y="63"/>
                  </a:cubicBezTo>
                  <a:cubicBezTo>
                    <a:pt x="53" y="74"/>
                    <a:pt x="43" y="84"/>
                    <a:pt x="34" y="96"/>
                  </a:cubicBezTo>
                  <a:cubicBezTo>
                    <a:pt x="13" y="128"/>
                    <a:pt x="0" y="168"/>
                    <a:pt x="0" y="210"/>
                  </a:cubicBezTo>
                  <a:cubicBezTo>
                    <a:pt x="0" y="294"/>
                    <a:pt x="50" y="367"/>
                    <a:pt x="122" y="400"/>
                  </a:cubicBezTo>
                  <a:cubicBezTo>
                    <a:pt x="122" y="399"/>
                    <a:pt x="123" y="398"/>
                    <a:pt x="123" y="396"/>
                  </a:cubicBezTo>
                  <a:cubicBezTo>
                    <a:pt x="101" y="386"/>
                    <a:pt x="81" y="372"/>
                    <a:pt x="65" y="355"/>
                  </a:cubicBezTo>
                  <a:cubicBezTo>
                    <a:pt x="27" y="318"/>
                    <a:pt x="4" y="267"/>
                    <a:pt x="4" y="210"/>
                  </a:cubicBezTo>
                  <a:cubicBezTo>
                    <a:pt x="4" y="153"/>
                    <a:pt x="27" y="101"/>
                    <a:pt x="65" y="64"/>
                  </a:cubicBezTo>
                  <a:cubicBezTo>
                    <a:pt x="102" y="27"/>
                    <a:pt x="154" y="4"/>
                    <a:pt x="210" y="4"/>
                  </a:cubicBezTo>
                  <a:cubicBezTo>
                    <a:pt x="267" y="4"/>
                    <a:pt x="319" y="27"/>
                    <a:pt x="356" y="64"/>
                  </a:cubicBezTo>
                  <a:cubicBezTo>
                    <a:pt x="373" y="81"/>
                    <a:pt x="387" y="100"/>
                    <a:pt x="397" y="122"/>
                  </a:cubicBezTo>
                  <a:cubicBezTo>
                    <a:pt x="398" y="121"/>
                    <a:pt x="400" y="121"/>
                    <a:pt x="401" y="121"/>
                  </a:cubicBezTo>
                  <a:cubicBezTo>
                    <a:pt x="368" y="49"/>
                    <a:pt x="295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3128" y="3551"/>
              <a:ext cx="20" cy="20"/>
            </a:xfrm>
            <a:custGeom>
              <a:avLst/>
              <a:gdLst>
                <a:gd name="T0" fmla="*/ 63 w 63"/>
                <a:gd name="T1" fmla="*/ 0 h 63"/>
                <a:gd name="T2" fmla="*/ 0 w 63"/>
                <a:gd name="T3" fmla="*/ 63 h 63"/>
                <a:gd name="T4" fmla="*/ 29 w 63"/>
                <a:gd name="T5" fmla="*/ 30 h 63"/>
                <a:gd name="T6" fmla="*/ 63 w 63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3">
                  <a:moveTo>
                    <a:pt x="63" y="0"/>
                  </a:moveTo>
                  <a:cubicBezTo>
                    <a:pt x="38" y="16"/>
                    <a:pt x="16" y="37"/>
                    <a:pt x="0" y="63"/>
                  </a:cubicBezTo>
                  <a:cubicBezTo>
                    <a:pt x="9" y="51"/>
                    <a:pt x="19" y="41"/>
                    <a:pt x="29" y="30"/>
                  </a:cubicBezTo>
                  <a:cubicBezTo>
                    <a:pt x="40" y="20"/>
                    <a:pt x="51" y="9"/>
                    <a:pt x="6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3183" y="3607"/>
              <a:ext cx="130" cy="130"/>
            </a:xfrm>
            <a:custGeom>
              <a:avLst/>
              <a:gdLst>
                <a:gd name="T0" fmla="*/ 420 w 420"/>
                <a:gd name="T1" fmla="*/ 212 h 420"/>
                <a:gd name="T2" fmla="*/ 416 w 420"/>
                <a:gd name="T3" fmla="*/ 212 h 420"/>
                <a:gd name="T4" fmla="*/ 355 w 420"/>
                <a:gd name="T5" fmla="*/ 356 h 420"/>
                <a:gd name="T6" fmla="*/ 215 w 420"/>
                <a:gd name="T7" fmla="*/ 416 h 420"/>
                <a:gd name="T8" fmla="*/ 215 w 420"/>
                <a:gd name="T9" fmla="*/ 418 h 420"/>
                <a:gd name="T10" fmla="*/ 215 w 420"/>
                <a:gd name="T11" fmla="*/ 420 h 420"/>
                <a:gd name="T12" fmla="*/ 420 w 420"/>
                <a:gd name="T13" fmla="*/ 212 h 420"/>
                <a:gd name="T14" fmla="*/ 1 w 420"/>
                <a:gd name="T15" fmla="*/ 212 h 420"/>
                <a:gd name="T16" fmla="*/ 0 w 420"/>
                <a:gd name="T17" fmla="*/ 212 h 420"/>
                <a:gd name="T18" fmla="*/ 208 w 420"/>
                <a:gd name="T19" fmla="*/ 420 h 420"/>
                <a:gd name="T20" fmla="*/ 208 w 420"/>
                <a:gd name="T21" fmla="*/ 418 h 420"/>
                <a:gd name="T22" fmla="*/ 210 w 420"/>
                <a:gd name="T23" fmla="*/ 418 h 420"/>
                <a:gd name="T24" fmla="*/ 211 w 420"/>
                <a:gd name="T25" fmla="*/ 418 h 420"/>
                <a:gd name="T26" fmla="*/ 211 w 420"/>
                <a:gd name="T27" fmla="*/ 418 h 420"/>
                <a:gd name="T28" fmla="*/ 210 w 420"/>
                <a:gd name="T29" fmla="*/ 418 h 420"/>
                <a:gd name="T30" fmla="*/ 208 w 420"/>
                <a:gd name="T31" fmla="*/ 418 h 420"/>
                <a:gd name="T32" fmla="*/ 208 w 420"/>
                <a:gd name="T33" fmla="*/ 416 h 420"/>
                <a:gd name="T34" fmla="*/ 64 w 420"/>
                <a:gd name="T35" fmla="*/ 356 h 420"/>
                <a:gd name="T36" fmla="*/ 4 w 420"/>
                <a:gd name="T37" fmla="*/ 212 h 420"/>
                <a:gd name="T38" fmla="*/ 1 w 420"/>
                <a:gd name="T39" fmla="*/ 212 h 420"/>
                <a:gd name="T40" fmla="*/ 4 w 420"/>
                <a:gd name="T41" fmla="*/ 208 h 420"/>
                <a:gd name="T42" fmla="*/ 1 w 420"/>
                <a:gd name="T43" fmla="*/ 208 h 420"/>
                <a:gd name="T44" fmla="*/ 0 w 420"/>
                <a:gd name="T45" fmla="*/ 208 h 420"/>
                <a:gd name="T46" fmla="*/ 0 w 420"/>
                <a:gd name="T47" fmla="*/ 208 h 420"/>
                <a:gd name="T48" fmla="*/ 1 w 420"/>
                <a:gd name="T49" fmla="*/ 208 h 420"/>
                <a:gd name="T50" fmla="*/ 4 w 420"/>
                <a:gd name="T51" fmla="*/ 208 h 420"/>
                <a:gd name="T52" fmla="*/ 4 w 420"/>
                <a:gd name="T53" fmla="*/ 208 h 420"/>
                <a:gd name="T54" fmla="*/ 416 w 420"/>
                <a:gd name="T55" fmla="*/ 208 h 420"/>
                <a:gd name="T56" fmla="*/ 416 w 420"/>
                <a:gd name="T57" fmla="*/ 208 h 420"/>
                <a:gd name="T58" fmla="*/ 420 w 420"/>
                <a:gd name="T59" fmla="*/ 208 h 420"/>
                <a:gd name="T60" fmla="*/ 420 w 420"/>
                <a:gd name="T61" fmla="*/ 208 h 420"/>
                <a:gd name="T62" fmla="*/ 416 w 420"/>
                <a:gd name="T63" fmla="*/ 208 h 420"/>
                <a:gd name="T64" fmla="*/ 215 w 420"/>
                <a:gd name="T65" fmla="*/ 0 h 420"/>
                <a:gd name="T66" fmla="*/ 215 w 420"/>
                <a:gd name="T67" fmla="*/ 4 h 420"/>
                <a:gd name="T68" fmla="*/ 355 w 420"/>
                <a:gd name="T69" fmla="*/ 64 h 420"/>
                <a:gd name="T70" fmla="*/ 416 w 420"/>
                <a:gd name="T71" fmla="*/ 204 h 420"/>
                <a:gd name="T72" fmla="*/ 420 w 420"/>
                <a:gd name="T73" fmla="*/ 204 h 420"/>
                <a:gd name="T74" fmla="*/ 215 w 420"/>
                <a:gd name="T75" fmla="*/ 0 h 420"/>
                <a:gd name="T76" fmla="*/ 208 w 420"/>
                <a:gd name="T77" fmla="*/ 0 h 420"/>
                <a:gd name="T78" fmla="*/ 0 w 420"/>
                <a:gd name="T79" fmla="*/ 204 h 420"/>
                <a:gd name="T80" fmla="*/ 1 w 420"/>
                <a:gd name="T81" fmla="*/ 204 h 420"/>
                <a:gd name="T82" fmla="*/ 4 w 420"/>
                <a:gd name="T83" fmla="*/ 204 h 420"/>
                <a:gd name="T84" fmla="*/ 64 w 420"/>
                <a:gd name="T85" fmla="*/ 64 h 420"/>
                <a:gd name="T86" fmla="*/ 207 w 420"/>
                <a:gd name="T87" fmla="*/ 4 h 420"/>
                <a:gd name="T88" fmla="*/ 208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420" y="212"/>
                  </a:moveTo>
                  <a:cubicBezTo>
                    <a:pt x="418" y="212"/>
                    <a:pt x="417" y="212"/>
                    <a:pt x="416" y="212"/>
                  </a:cubicBezTo>
                  <a:cubicBezTo>
                    <a:pt x="415" y="268"/>
                    <a:pt x="392" y="319"/>
                    <a:pt x="355" y="356"/>
                  </a:cubicBezTo>
                  <a:cubicBezTo>
                    <a:pt x="319" y="392"/>
                    <a:pt x="270" y="415"/>
                    <a:pt x="215" y="416"/>
                  </a:cubicBezTo>
                  <a:cubicBezTo>
                    <a:pt x="215" y="417"/>
                    <a:pt x="215" y="418"/>
                    <a:pt x="215" y="418"/>
                  </a:cubicBezTo>
                  <a:cubicBezTo>
                    <a:pt x="215" y="419"/>
                    <a:pt x="215" y="419"/>
                    <a:pt x="215" y="420"/>
                  </a:cubicBezTo>
                  <a:cubicBezTo>
                    <a:pt x="328" y="417"/>
                    <a:pt x="419" y="326"/>
                    <a:pt x="420" y="212"/>
                  </a:cubicBezTo>
                  <a:moveTo>
                    <a:pt x="1" y="212"/>
                  </a:moveTo>
                  <a:cubicBezTo>
                    <a:pt x="1" y="212"/>
                    <a:pt x="0" y="212"/>
                    <a:pt x="0" y="212"/>
                  </a:cubicBezTo>
                  <a:cubicBezTo>
                    <a:pt x="1" y="327"/>
                    <a:pt x="93" y="419"/>
                    <a:pt x="208" y="420"/>
                  </a:cubicBezTo>
                  <a:cubicBezTo>
                    <a:pt x="208" y="420"/>
                    <a:pt x="208" y="419"/>
                    <a:pt x="208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08" y="418"/>
                    <a:pt x="208" y="418"/>
                    <a:pt x="208" y="418"/>
                  </a:cubicBezTo>
                  <a:cubicBezTo>
                    <a:pt x="208" y="418"/>
                    <a:pt x="208" y="417"/>
                    <a:pt x="208" y="416"/>
                  </a:cubicBezTo>
                  <a:cubicBezTo>
                    <a:pt x="151" y="416"/>
                    <a:pt x="101" y="393"/>
                    <a:pt x="64" y="356"/>
                  </a:cubicBezTo>
                  <a:cubicBezTo>
                    <a:pt x="27" y="319"/>
                    <a:pt x="4" y="268"/>
                    <a:pt x="4" y="212"/>
                  </a:cubicBezTo>
                  <a:cubicBezTo>
                    <a:pt x="3" y="212"/>
                    <a:pt x="2" y="212"/>
                    <a:pt x="1" y="212"/>
                  </a:cubicBezTo>
                  <a:moveTo>
                    <a:pt x="4" y="208"/>
                  </a:moveTo>
                  <a:cubicBezTo>
                    <a:pt x="3" y="208"/>
                    <a:pt x="2" y="208"/>
                    <a:pt x="1" y="208"/>
                  </a:cubicBezTo>
                  <a:cubicBezTo>
                    <a:pt x="1" y="208"/>
                    <a:pt x="0" y="208"/>
                    <a:pt x="0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moveTo>
                    <a:pt x="416" y="208"/>
                  </a:moveTo>
                  <a:cubicBezTo>
                    <a:pt x="416" y="208"/>
                    <a:pt x="416" y="208"/>
                    <a:pt x="416" y="208"/>
                  </a:cubicBezTo>
                  <a:cubicBezTo>
                    <a:pt x="417" y="208"/>
                    <a:pt x="418" y="208"/>
                    <a:pt x="420" y="208"/>
                  </a:cubicBezTo>
                  <a:cubicBezTo>
                    <a:pt x="420" y="208"/>
                    <a:pt x="420" y="208"/>
                    <a:pt x="420" y="208"/>
                  </a:cubicBezTo>
                  <a:cubicBezTo>
                    <a:pt x="418" y="208"/>
                    <a:pt x="417" y="208"/>
                    <a:pt x="416" y="208"/>
                  </a:cubicBezTo>
                  <a:moveTo>
                    <a:pt x="215" y="0"/>
                  </a:moveTo>
                  <a:cubicBezTo>
                    <a:pt x="215" y="1"/>
                    <a:pt x="215" y="3"/>
                    <a:pt x="215" y="4"/>
                  </a:cubicBezTo>
                  <a:cubicBezTo>
                    <a:pt x="270" y="6"/>
                    <a:pt x="319" y="28"/>
                    <a:pt x="355" y="64"/>
                  </a:cubicBezTo>
                  <a:cubicBezTo>
                    <a:pt x="391" y="100"/>
                    <a:pt x="414" y="149"/>
                    <a:pt x="416" y="204"/>
                  </a:cubicBezTo>
                  <a:cubicBezTo>
                    <a:pt x="417" y="204"/>
                    <a:pt x="418" y="204"/>
                    <a:pt x="420" y="204"/>
                  </a:cubicBezTo>
                  <a:cubicBezTo>
                    <a:pt x="416" y="92"/>
                    <a:pt x="326" y="3"/>
                    <a:pt x="215" y="0"/>
                  </a:cubicBezTo>
                  <a:moveTo>
                    <a:pt x="208" y="0"/>
                  </a:moveTo>
                  <a:cubicBezTo>
                    <a:pt x="95" y="1"/>
                    <a:pt x="3" y="91"/>
                    <a:pt x="0" y="204"/>
                  </a:cubicBezTo>
                  <a:cubicBezTo>
                    <a:pt x="0" y="204"/>
                    <a:pt x="1" y="204"/>
                    <a:pt x="1" y="204"/>
                  </a:cubicBezTo>
                  <a:cubicBezTo>
                    <a:pt x="2" y="204"/>
                    <a:pt x="3" y="204"/>
                    <a:pt x="4" y="204"/>
                  </a:cubicBezTo>
                  <a:cubicBezTo>
                    <a:pt x="5" y="149"/>
                    <a:pt x="28" y="100"/>
                    <a:pt x="64" y="64"/>
                  </a:cubicBezTo>
                  <a:cubicBezTo>
                    <a:pt x="101" y="28"/>
                    <a:pt x="151" y="5"/>
                    <a:pt x="207" y="4"/>
                  </a:cubicBezTo>
                  <a:cubicBezTo>
                    <a:pt x="207" y="3"/>
                    <a:pt x="208" y="1"/>
                    <a:pt x="208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3183" y="3607"/>
              <a:ext cx="65" cy="64"/>
            </a:xfrm>
            <a:custGeom>
              <a:avLst/>
              <a:gdLst>
                <a:gd name="T0" fmla="*/ 4 w 211"/>
                <a:gd name="T1" fmla="*/ 204 h 208"/>
                <a:gd name="T2" fmla="*/ 1 w 211"/>
                <a:gd name="T3" fmla="*/ 204 h 208"/>
                <a:gd name="T4" fmla="*/ 0 w 211"/>
                <a:gd name="T5" fmla="*/ 204 h 208"/>
                <a:gd name="T6" fmla="*/ 0 w 211"/>
                <a:gd name="T7" fmla="*/ 208 h 208"/>
                <a:gd name="T8" fmla="*/ 1 w 211"/>
                <a:gd name="T9" fmla="*/ 208 h 208"/>
                <a:gd name="T10" fmla="*/ 4 w 211"/>
                <a:gd name="T11" fmla="*/ 208 h 208"/>
                <a:gd name="T12" fmla="*/ 4 w 211"/>
                <a:gd name="T13" fmla="*/ 204 h 208"/>
                <a:gd name="T14" fmla="*/ 210 w 211"/>
                <a:gd name="T15" fmla="*/ 0 h 208"/>
                <a:gd name="T16" fmla="*/ 208 w 211"/>
                <a:gd name="T17" fmla="*/ 0 h 208"/>
                <a:gd name="T18" fmla="*/ 207 w 211"/>
                <a:gd name="T19" fmla="*/ 4 h 208"/>
                <a:gd name="T20" fmla="*/ 210 w 211"/>
                <a:gd name="T21" fmla="*/ 4 h 208"/>
                <a:gd name="T22" fmla="*/ 211 w 211"/>
                <a:gd name="T23" fmla="*/ 4 h 208"/>
                <a:gd name="T24" fmla="*/ 211 w 211"/>
                <a:gd name="T25" fmla="*/ 0 h 208"/>
                <a:gd name="T26" fmla="*/ 210 w 211"/>
                <a:gd name="T2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1" h="208">
                  <a:moveTo>
                    <a:pt x="4" y="204"/>
                  </a:moveTo>
                  <a:cubicBezTo>
                    <a:pt x="3" y="204"/>
                    <a:pt x="2" y="204"/>
                    <a:pt x="1" y="204"/>
                  </a:cubicBezTo>
                  <a:cubicBezTo>
                    <a:pt x="1" y="204"/>
                    <a:pt x="0" y="204"/>
                    <a:pt x="0" y="204"/>
                  </a:cubicBezTo>
                  <a:cubicBezTo>
                    <a:pt x="0" y="205"/>
                    <a:pt x="0" y="206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6"/>
                    <a:pt x="4" y="205"/>
                    <a:pt x="4" y="204"/>
                  </a:cubicBezTo>
                  <a:moveTo>
                    <a:pt x="210" y="0"/>
                  </a:moveTo>
                  <a:cubicBezTo>
                    <a:pt x="209" y="0"/>
                    <a:pt x="208" y="0"/>
                    <a:pt x="208" y="0"/>
                  </a:cubicBezTo>
                  <a:cubicBezTo>
                    <a:pt x="208" y="1"/>
                    <a:pt x="207" y="3"/>
                    <a:pt x="207" y="4"/>
                  </a:cubicBezTo>
                  <a:cubicBezTo>
                    <a:pt x="208" y="4"/>
                    <a:pt x="209" y="4"/>
                    <a:pt x="210" y="4"/>
                  </a:cubicBezTo>
                  <a:cubicBezTo>
                    <a:pt x="210" y="4"/>
                    <a:pt x="211" y="4"/>
                    <a:pt x="211" y="4"/>
                  </a:cubicBezTo>
                  <a:cubicBezTo>
                    <a:pt x="211" y="3"/>
                    <a:pt x="211" y="1"/>
                    <a:pt x="211" y="0"/>
                  </a:cubicBezTo>
                  <a:cubicBezTo>
                    <a:pt x="210" y="0"/>
                    <a:pt x="210" y="0"/>
                    <a:pt x="21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 noEditPoints="1"/>
            </p:cNvSpPr>
            <p:nvPr/>
          </p:nvSpPr>
          <p:spPr bwMode="auto">
            <a:xfrm>
              <a:off x="3156" y="3578"/>
              <a:ext cx="184" cy="185"/>
            </a:xfrm>
            <a:custGeom>
              <a:avLst/>
              <a:gdLst>
                <a:gd name="T0" fmla="*/ 314 w 595"/>
                <a:gd name="T1" fmla="*/ 590 h 595"/>
                <a:gd name="T2" fmla="*/ 297 w 595"/>
                <a:gd name="T3" fmla="*/ 591 h 595"/>
                <a:gd name="T4" fmla="*/ 282 w 595"/>
                <a:gd name="T5" fmla="*/ 590 h 595"/>
                <a:gd name="T6" fmla="*/ 281 w 595"/>
                <a:gd name="T7" fmla="*/ 594 h 595"/>
                <a:gd name="T8" fmla="*/ 297 w 595"/>
                <a:gd name="T9" fmla="*/ 595 h 595"/>
                <a:gd name="T10" fmla="*/ 316 w 595"/>
                <a:gd name="T11" fmla="*/ 594 h 595"/>
                <a:gd name="T12" fmla="*/ 314 w 595"/>
                <a:gd name="T13" fmla="*/ 590 h 595"/>
                <a:gd name="T14" fmla="*/ 5 w 595"/>
                <a:gd name="T15" fmla="*/ 321 h 595"/>
                <a:gd name="T16" fmla="*/ 1 w 595"/>
                <a:gd name="T17" fmla="*/ 323 h 595"/>
                <a:gd name="T18" fmla="*/ 276 w 595"/>
                <a:gd name="T19" fmla="*/ 594 h 595"/>
                <a:gd name="T20" fmla="*/ 278 w 595"/>
                <a:gd name="T21" fmla="*/ 590 h 595"/>
                <a:gd name="T22" fmla="*/ 90 w 595"/>
                <a:gd name="T23" fmla="*/ 505 h 595"/>
                <a:gd name="T24" fmla="*/ 5 w 595"/>
                <a:gd name="T25" fmla="*/ 321 h 595"/>
                <a:gd name="T26" fmla="*/ 590 w 595"/>
                <a:gd name="T27" fmla="*/ 320 h 595"/>
                <a:gd name="T28" fmla="*/ 505 w 595"/>
                <a:gd name="T29" fmla="*/ 505 h 595"/>
                <a:gd name="T30" fmla="*/ 318 w 595"/>
                <a:gd name="T31" fmla="*/ 590 h 595"/>
                <a:gd name="T32" fmla="*/ 320 w 595"/>
                <a:gd name="T33" fmla="*/ 594 h 595"/>
                <a:gd name="T34" fmla="*/ 594 w 595"/>
                <a:gd name="T35" fmla="*/ 322 h 595"/>
                <a:gd name="T36" fmla="*/ 590 w 595"/>
                <a:gd name="T37" fmla="*/ 320 h 595"/>
                <a:gd name="T38" fmla="*/ 595 w 595"/>
                <a:gd name="T39" fmla="*/ 297 h 595"/>
                <a:gd name="T40" fmla="*/ 593 w 595"/>
                <a:gd name="T41" fmla="*/ 297 h 595"/>
                <a:gd name="T42" fmla="*/ 591 w 595"/>
                <a:gd name="T43" fmla="*/ 297 h 595"/>
                <a:gd name="T44" fmla="*/ 590 w 595"/>
                <a:gd name="T45" fmla="*/ 316 h 595"/>
                <a:gd name="T46" fmla="*/ 594 w 595"/>
                <a:gd name="T47" fmla="*/ 318 h 595"/>
                <a:gd name="T48" fmla="*/ 595 w 595"/>
                <a:gd name="T49" fmla="*/ 297 h 595"/>
                <a:gd name="T50" fmla="*/ 594 w 595"/>
                <a:gd name="T51" fmla="*/ 280 h 595"/>
                <a:gd name="T52" fmla="*/ 591 w 595"/>
                <a:gd name="T53" fmla="*/ 282 h 595"/>
                <a:gd name="T54" fmla="*/ 591 w 595"/>
                <a:gd name="T55" fmla="*/ 297 h 595"/>
                <a:gd name="T56" fmla="*/ 593 w 595"/>
                <a:gd name="T57" fmla="*/ 297 h 595"/>
                <a:gd name="T58" fmla="*/ 595 w 595"/>
                <a:gd name="T59" fmla="*/ 297 h 595"/>
                <a:gd name="T60" fmla="*/ 595 w 595"/>
                <a:gd name="T61" fmla="*/ 297 h 595"/>
                <a:gd name="T62" fmla="*/ 594 w 595"/>
                <a:gd name="T63" fmla="*/ 280 h 595"/>
                <a:gd name="T64" fmla="*/ 0 w 595"/>
                <a:gd name="T65" fmla="*/ 279 h 595"/>
                <a:gd name="T66" fmla="*/ 0 w 595"/>
                <a:gd name="T67" fmla="*/ 297 h 595"/>
                <a:gd name="T68" fmla="*/ 1 w 595"/>
                <a:gd name="T69" fmla="*/ 318 h 595"/>
                <a:gd name="T70" fmla="*/ 4 w 595"/>
                <a:gd name="T71" fmla="*/ 317 h 595"/>
                <a:gd name="T72" fmla="*/ 4 w 595"/>
                <a:gd name="T73" fmla="*/ 297 h 595"/>
                <a:gd name="T74" fmla="*/ 4 w 595"/>
                <a:gd name="T75" fmla="*/ 281 h 595"/>
                <a:gd name="T76" fmla="*/ 0 w 595"/>
                <a:gd name="T77" fmla="*/ 279 h 595"/>
                <a:gd name="T78" fmla="*/ 322 w 595"/>
                <a:gd name="T79" fmla="*/ 1 h 595"/>
                <a:gd name="T80" fmla="*/ 320 w 595"/>
                <a:gd name="T81" fmla="*/ 5 h 595"/>
                <a:gd name="T82" fmla="*/ 505 w 595"/>
                <a:gd name="T83" fmla="*/ 90 h 595"/>
                <a:gd name="T84" fmla="*/ 590 w 595"/>
                <a:gd name="T85" fmla="*/ 278 h 595"/>
                <a:gd name="T86" fmla="*/ 594 w 595"/>
                <a:gd name="T87" fmla="*/ 276 h 595"/>
                <a:gd name="T88" fmla="*/ 322 w 595"/>
                <a:gd name="T89" fmla="*/ 1 h 595"/>
                <a:gd name="T90" fmla="*/ 275 w 595"/>
                <a:gd name="T91" fmla="*/ 1 h 595"/>
                <a:gd name="T92" fmla="*/ 1 w 595"/>
                <a:gd name="T93" fmla="*/ 275 h 595"/>
                <a:gd name="T94" fmla="*/ 5 w 595"/>
                <a:gd name="T95" fmla="*/ 277 h 595"/>
                <a:gd name="T96" fmla="*/ 90 w 595"/>
                <a:gd name="T97" fmla="*/ 90 h 595"/>
                <a:gd name="T98" fmla="*/ 277 w 595"/>
                <a:gd name="T99" fmla="*/ 4 h 595"/>
                <a:gd name="T100" fmla="*/ 275 w 595"/>
                <a:gd name="T101" fmla="*/ 1 h 595"/>
                <a:gd name="T102" fmla="*/ 297 w 595"/>
                <a:gd name="T103" fmla="*/ 0 h 595"/>
                <a:gd name="T104" fmla="*/ 279 w 595"/>
                <a:gd name="T105" fmla="*/ 0 h 595"/>
                <a:gd name="T106" fmla="*/ 281 w 595"/>
                <a:gd name="T107" fmla="*/ 4 h 595"/>
                <a:gd name="T108" fmla="*/ 297 w 595"/>
                <a:gd name="T109" fmla="*/ 4 h 595"/>
                <a:gd name="T110" fmla="*/ 315 w 595"/>
                <a:gd name="T111" fmla="*/ 4 h 595"/>
                <a:gd name="T112" fmla="*/ 317 w 595"/>
                <a:gd name="T113" fmla="*/ 0 h 595"/>
                <a:gd name="T114" fmla="*/ 297 w 595"/>
                <a:gd name="T115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5" h="595">
                  <a:moveTo>
                    <a:pt x="314" y="590"/>
                  </a:moveTo>
                  <a:cubicBezTo>
                    <a:pt x="309" y="591"/>
                    <a:pt x="303" y="591"/>
                    <a:pt x="297" y="591"/>
                  </a:cubicBezTo>
                  <a:cubicBezTo>
                    <a:pt x="292" y="591"/>
                    <a:pt x="287" y="591"/>
                    <a:pt x="282" y="590"/>
                  </a:cubicBezTo>
                  <a:cubicBezTo>
                    <a:pt x="282" y="592"/>
                    <a:pt x="281" y="593"/>
                    <a:pt x="281" y="594"/>
                  </a:cubicBezTo>
                  <a:cubicBezTo>
                    <a:pt x="286" y="595"/>
                    <a:pt x="292" y="595"/>
                    <a:pt x="297" y="595"/>
                  </a:cubicBezTo>
                  <a:cubicBezTo>
                    <a:pt x="304" y="595"/>
                    <a:pt x="310" y="595"/>
                    <a:pt x="316" y="594"/>
                  </a:cubicBezTo>
                  <a:cubicBezTo>
                    <a:pt x="315" y="593"/>
                    <a:pt x="315" y="592"/>
                    <a:pt x="314" y="590"/>
                  </a:cubicBezTo>
                  <a:moveTo>
                    <a:pt x="5" y="321"/>
                  </a:moveTo>
                  <a:cubicBezTo>
                    <a:pt x="3" y="321"/>
                    <a:pt x="2" y="322"/>
                    <a:pt x="1" y="323"/>
                  </a:cubicBezTo>
                  <a:cubicBezTo>
                    <a:pt x="13" y="468"/>
                    <a:pt x="130" y="584"/>
                    <a:pt x="276" y="594"/>
                  </a:cubicBezTo>
                  <a:cubicBezTo>
                    <a:pt x="277" y="593"/>
                    <a:pt x="277" y="592"/>
                    <a:pt x="278" y="590"/>
                  </a:cubicBezTo>
                  <a:cubicBezTo>
                    <a:pt x="205" y="585"/>
                    <a:pt x="139" y="554"/>
                    <a:pt x="90" y="505"/>
                  </a:cubicBezTo>
                  <a:cubicBezTo>
                    <a:pt x="42" y="457"/>
                    <a:pt x="10" y="393"/>
                    <a:pt x="5" y="321"/>
                  </a:cubicBezTo>
                  <a:moveTo>
                    <a:pt x="590" y="320"/>
                  </a:moveTo>
                  <a:cubicBezTo>
                    <a:pt x="585" y="392"/>
                    <a:pt x="553" y="457"/>
                    <a:pt x="505" y="505"/>
                  </a:cubicBezTo>
                  <a:cubicBezTo>
                    <a:pt x="456" y="553"/>
                    <a:pt x="391" y="585"/>
                    <a:pt x="318" y="590"/>
                  </a:cubicBezTo>
                  <a:cubicBezTo>
                    <a:pt x="319" y="591"/>
                    <a:pt x="319" y="593"/>
                    <a:pt x="320" y="594"/>
                  </a:cubicBezTo>
                  <a:cubicBezTo>
                    <a:pt x="466" y="583"/>
                    <a:pt x="582" y="467"/>
                    <a:pt x="594" y="322"/>
                  </a:cubicBezTo>
                  <a:cubicBezTo>
                    <a:pt x="593" y="321"/>
                    <a:pt x="591" y="321"/>
                    <a:pt x="590" y="320"/>
                  </a:cubicBezTo>
                  <a:moveTo>
                    <a:pt x="595" y="297"/>
                  </a:moveTo>
                  <a:cubicBezTo>
                    <a:pt x="593" y="297"/>
                    <a:pt x="593" y="297"/>
                    <a:pt x="593" y="297"/>
                  </a:cubicBezTo>
                  <a:cubicBezTo>
                    <a:pt x="591" y="297"/>
                    <a:pt x="591" y="297"/>
                    <a:pt x="591" y="297"/>
                  </a:cubicBezTo>
                  <a:cubicBezTo>
                    <a:pt x="591" y="304"/>
                    <a:pt x="591" y="310"/>
                    <a:pt x="590" y="316"/>
                  </a:cubicBezTo>
                  <a:cubicBezTo>
                    <a:pt x="592" y="317"/>
                    <a:pt x="593" y="317"/>
                    <a:pt x="594" y="318"/>
                  </a:cubicBezTo>
                  <a:cubicBezTo>
                    <a:pt x="595" y="311"/>
                    <a:pt x="595" y="304"/>
                    <a:pt x="595" y="297"/>
                  </a:cubicBezTo>
                  <a:moveTo>
                    <a:pt x="594" y="280"/>
                  </a:moveTo>
                  <a:cubicBezTo>
                    <a:pt x="593" y="281"/>
                    <a:pt x="592" y="281"/>
                    <a:pt x="591" y="282"/>
                  </a:cubicBezTo>
                  <a:cubicBezTo>
                    <a:pt x="591" y="287"/>
                    <a:pt x="591" y="292"/>
                    <a:pt x="591" y="297"/>
                  </a:cubicBezTo>
                  <a:cubicBezTo>
                    <a:pt x="593" y="297"/>
                    <a:pt x="593" y="297"/>
                    <a:pt x="59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1"/>
                    <a:pt x="595" y="286"/>
                    <a:pt x="594" y="280"/>
                  </a:cubicBezTo>
                  <a:moveTo>
                    <a:pt x="0" y="279"/>
                  </a:moveTo>
                  <a:cubicBezTo>
                    <a:pt x="0" y="285"/>
                    <a:pt x="0" y="291"/>
                    <a:pt x="0" y="297"/>
                  </a:cubicBezTo>
                  <a:cubicBezTo>
                    <a:pt x="0" y="304"/>
                    <a:pt x="0" y="311"/>
                    <a:pt x="1" y="318"/>
                  </a:cubicBezTo>
                  <a:cubicBezTo>
                    <a:pt x="2" y="318"/>
                    <a:pt x="3" y="317"/>
                    <a:pt x="4" y="317"/>
                  </a:cubicBezTo>
                  <a:cubicBezTo>
                    <a:pt x="4" y="310"/>
                    <a:pt x="4" y="304"/>
                    <a:pt x="4" y="297"/>
                  </a:cubicBezTo>
                  <a:cubicBezTo>
                    <a:pt x="4" y="292"/>
                    <a:pt x="4" y="286"/>
                    <a:pt x="4" y="281"/>
                  </a:cubicBezTo>
                  <a:cubicBezTo>
                    <a:pt x="3" y="281"/>
                    <a:pt x="2" y="280"/>
                    <a:pt x="0" y="279"/>
                  </a:cubicBezTo>
                  <a:moveTo>
                    <a:pt x="322" y="1"/>
                  </a:moveTo>
                  <a:cubicBezTo>
                    <a:pt x="321" y="2"/>
                    <a:pt x="320" y="3"/>
                    <a:pt x="320" y="5"/>
                  </a:cubicBezTo>
                  <a:cubicBezTo>
                    <a:pt x="392" y="10"/>
                    <a:pt x="457" y="41"/>
                    <a:pt x="505" y="90"/>
                  </a:cubicBezTo>
                  <a:cubicBezTo>
                    <a:pt x="554" y="138"/>
                    <a:pt x="585" y="204"/>
                    <a:pt x="590" y="278"/>
                  </a:cubicBezTo>
                  <a:cubicBezTo>
                    <a:pt x="592" y="277"/>
                    <a:pt x="593" y="276"/>
                    <a:pt x="594" y="276"/>
                  </a:cubicBezTo>
                  <a:cubicBezTo>
                    <a:pt x="584" y="129"/>
                    <a:pt x="468" y="12"/>
                    <a:pt x="322" y="1"/>
                  </a:cubicBezTo>
                  <a:moveTo>
                    <a:pt x="275" y="1"/>
                  </a:moveTo>
                  <a:cubicBezTo>
                    <a:pt x="128" y="12"/>
                    <a:pt x="11" y="129"/>
                    <a:pt x="1" y="275"/>
                  </a:cubicBezTo>
                  <a:cubicBezTo>
                    <a:pt x="2" y="276"/>
                    <a:pt x="3" y="276"/>
                    <a:pt x="5" y="277"/>
                  </a:cubicBezTo>
                  <a:cubicBezTo>
                    <a:pt x="10" y="204"/>
                    <a:pt x="41" y="138"/>
                    <a:pt x="90" y="90"/>
                  </a:cubicBezTo>
                  <a:cubicBezTo>
                    <a:pt x="138" y="41"/>
                    <a:pt x="204" y="9"/>
                    <a:pt x="277" y="4"/>
                  </a:cubicBezTo>
                  <a:cubicBezTo>
                    <a:pt x="276" y="3"/>
                    <a:pt x="275" y="2"/>
                    <a:pt x="275" y="1"/>
                  </a:cubicBezTo>
                  <a:moveTo>
                    <a:pt x="297" y="0"/>
                  </a:moveTo>
                  <a:cubicBezTo>
                    <a:pt x="291" y="0"/>
                    <a:pt x="285" y="0"/>
                    <a:pt x="279" y="0"/>
                  </a:cubicBezTo>
                  <a:cubicBezTo>
                    <a:pt x="280" y="2"/>
                    <a:pt x="280" y="3"/>
                    <a:pt x="281" y="4"/>
                  </a:cubicBezTo>
                  <a:cubicBezTo>
                    <a:pt x="286" y="4"/>
                    <a:pt x="292" y="4"/>
                    <a:pt x="297" y="4"/>
                  </a:cubicBezTo>
                  <a:cubicBezTo>
                    <a:pt x="303" y="4"/>
                    <a:pt x="310" y="4"/>
                    <a:pt x="315" y="4"/>
                  </a:cubicBezTo>
                  <a:cubicBezTo>
                    <a:pt x="316" y="3"/>
                    <a:pt x="317" y="2"/>
                    <a:pt x="317" y="0"/>
                  </a:cubicBezTo>
                  <a:cubicBezTo>
                    <a:pt x="311" y="0"/>
                    <a:pt x="304" y="0"/>
                    <a:pt x="297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 noEditPoints="1"/>
            </p:cNvSpPr>
            <p:nvPr/>
          </p:nvSpPr>
          <p:spPr bwMode="auto">
            <a:xfrm>
              <a:off x="3156" y="3578"/>
              <a:ext cx="87" cy="88"/>
            </a:xfrm>
            <a:custGeom>
              <a:avLst/>
              <a:gdLst>
                <a:gd name="T0" fmla="*/ 1 w 281"/>
                <a:gd name="T1" fmla="*/ 275 h 281"/>
                <a:gd name="T2" fmla="*/ 0 w 281"/>
                <a:gd name="T3" fmla="*/ 279 h 281"/>
                <a:gd name="T4" fmla="*/ 4 w 281"/>
                <a:gd name="T5" fmla="*/ 281 h 281"/>
                <a:gd name="T6" fmla="*/ 5 w 281"/>
                <a:gd name="T7" fmla="*/ 277 h 281"/>
                <a:gd name="T8" fmla="*/ 1 w 281"/>
                <a:gd name="T9" fmla="*/ 275 h 281"/>
                <a:gd name="T10" fmla="*/ 279 w 281"/>
                <a:gd name="T11" fmla="*/ 0 h 281"/>
                <a:gd name="T12" fmla="*/ 275 w 281"/>
                <a:gd name="T13" fmla="*/ 1 h 281"/>
                <a:gd name="T14" fmla="*/ 277 w 281"/>
                <a:gd name="T15" fmla="*/ 4 h 281"/>
                <a:gd name="T16" fmla="*/ 281 w 281"/>
                <a:gd name="T17" fmla="*/ 4 h 281"/>
                <a:gd name="T18" fmla="*/ 279 w 281"/>
                <a:gd name="T1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1">
                  <a:moveTo>
                    <a:pt x="1" y="275"/>
                  </a:moveTo>
                  <a:cubicBezTo>
                    <a:pt x="1" y="277"/>
                    <a:pt x="0" y="278"/>
                    <a:pt x="0" y="279"/>
                  </a:cubicBezTo>
                  <a:cubicBezTo>
                    <a:pt x="2" y="280"/>
                    <a:pt x="3" y="281"/>
                    <a:pt x="4" y="281"/>
                  </a:cubicBezTo>
                  <a:cubicBezTo>
                    <a:pt x="4" y="280"/>
                    <a:pt x="4" y="278"/>
                    <a:pt x="5" y="277"/>
                  </a:cubicBezTo>
                  <a:cubicBezTo>
                    <a:pt x="3" y="276"/>
                    <a:pt x="2" y="276"/>
                    <a:pt x="1" y="275"/>
                  </a:cubicBezTo>
                  <a:moveTo>
                    <a:pt x="279" y="0"/>
                  </a:moveTo>
                  <a:cubicBezTo>
                    <a:pt x="278" y="0"/>
                    <a:pt x="276" y="0"/>
                    <a:pt x="275" y="1"/>
                  </a:cubicBezTo>
                  <a:cubicBezTo>
                    <a:pt x="275" y="2"/>
                    <a:pt x="276" y="3"/>
                    <a:pt x="277" y="4"/>
                  </a:cubicBezTo>
                  <a:cubicBezTo>
                    <a:pt x="278" y="4"/>
                    <a:pt x="279" y="4"/>
                    <a:pt x="281" y="4"/>
                  </a:cubicBezTo>
                  <a:cubicBezTo>
                    <a:pt x="280" y="3"/>
                    <a:pt x="280" y="2"/>
                    <a:pt x="279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3248" y="3541"/>
              <a:ext cx="131" cy="130"/>
            </a:xfrm>
            <a:custGeom>
              <a:avLst/>
              <a:gdLst>
                <a:gd name="T0" fmla="*/ 292 w 420"/>
                <a:gd name="T1" fmla="*/ 399 h 420"/>
                <a:gd name="T2" fmla="*/ 210 w 420"/>
                <a:gd name="T3" fmla="*/ 416 h 420"/>
                <a:gd name="T4" fmla="*/ 209 w 420"/>
                <a:gd name="T5" fmla="*/ 416 h 420"/>
                <a:gd name="T6" fmla="*/ 209 w 420"/>
                <a:gd name="T7" fmla="*/ 420 h 420"/>
                <a:gd name="T8" fmla="*/ 210 w 420"/>
                <a:gd name="T9" fmla="*/ 420 h 420"/>
                <a:gd name="T10" fmla="*/ 293 w 420"/>
                <a:gd name="T11" fmla="*/ 403 h 420"/>
                <a:gd name="T12" fmla="*/ 292 w 420"/>
                <a:gd name="T13" fmla="*/ 399 h 420"/>
                <a:gd name="T14" fmla="*/ 0 w 420"/>
                <a:gd name="T15" fmla="*/ 216 h 420"/>
                <a:gd name="T16" fmla="*/ 0 w 420"/>
                <a:gd name="T17" fmla="*/ 222 h 420"/>
                <a:gd name="T18" fmla="*/ 205 w 420"/>
                <a:gd name="T19" fmla="*/ 420 h 420"/>
                <a:gd name="T20" fmla="*/ 205 w 420"/>
                <a:gd name="T21" fmla="*/ 416 h 420"/>
                <a:gd name="T22" fmla="*/ 64 w 420"/>
                <a:gd name="T23" fmla="*/ 355 h 420"/>
                <a:gd name="T24" fmla="*/ 4 w 420"/>
                <a:gd name="T25" fmla="*/ 216 h 420"/>
                <a:gd name="T26" fmla="*/ 0 w 420"/>
                <a:gd name="T27" fmla="*/ 216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56 w 420"/>
                <a:gd name="T35" fmla="*/ 355 h 420"/>
                <a:gd name="T36" fmla="*/ 296 w 420"/>
                <a:gd name="T37" fmla="*/ 397 h 420"/>
                <a:gd name="T38" fmla="*/ 296 w 420"/>
                <a:gd name="T39" fmla="*/ 401 h 420"/>
                <a:gd name="T40" fmla="*/ 420 w 420"/>
                <a:gd name="T41" fmla="*/ 210 h 420"/>
                <a:gd name="T42" fmla="*/ 17 w 420"/>
                <a:gd name="T43" fmla="*/ 125 h 420"/>
                <a:gd name="T44" fmla="*/ 0 w 420"/>
                <a:gd name="T45" fmla="*/ 197 h 420"/>
                <a:gd name="T46" fmla="*/ 1 w 420"/>
                <a:gd name="T47" fmla="*/ 210 h 420"/>
                <a:gd name="T48" fmla="*/ 1 w 420"/>
                <a:gd name="T49" fmla="*/ 210 h 420"/>
                <a:gd name="T50" fmla="*/ 1 w 420"/>
                <a:gd name="T51" fmla="*/ 210 h 420"/>
                <a:gd name="T52" fmla="*/ 1 w 420"/>
                <a:gd name="T53" fmla="*/ 212 h 420"/>
                <a:gd name="T54" fmla="*/ 4 w 420"/>
                <a:gd name="T55" fmla="*/ 212 h 420"/>
                <a:gd name="T56" fmla="*/ 4 w 420"/>
                <a:gd name="T57" fmla="*/ 210 h 420"/>
                <a:gd name="T58" fmla="*/ 22 w 420"/>
                <a:gd name="T59" fmla="*/ 126 h 420"/>
                <a:gd name="T60" fmla="*/ 17 w 420"/>
                <a:gd name="T61" fmla="*/ 125 h 420"/>
                <a:gd name="T62" fmla="*/ 210 w 420"/>
                <a:gd name="T63" fmla="*/ 0 h 420"/>
                <a:gd name="T64" fmla="*/ 19 w 420"/>
                <a:gd name="T65" fmla="*/ 121 h 420"/>
                <a:gd name="T66" fmla="*/ 24 w 420"/>
                <a:gd name="T67" fmla="*/ 122 h 420"/>
                <a:gd name="T68" fmla="*/ 64 w 420"/>
                <a:gd name="T69" fmla="*/ 64 h 420"/>
                <a:gd name="T70" fmla="*/ 210 w 420"/>
                <a:gd name="T71" fmla="*/ 4 h 420"/>
                <a:gd name="T72" fmla="*/ 356 w 420"/>
                <a:gd name="T73" fmla="*/ 64 h 420"/>
                <a:gd name="T74" fmla="*/ 416 w 420"/>
                <a:gd name="T75" fmla="*/ 210 h 420"/>
                <a:gd name="T76" fmla="*/ 418 w 420"/>
                <a:gd name="T77" fmla="*/ 210 h 420"/>
                <a:gd name="T78" fmla="*/ 420 w 420"/>
                <a:gd name="T79" fmla="*/ 210 h 420"/>
                <a:gd name="T80" fmla="*/ 420 w 420"/>
                <a:gd name="T81" fmla="*/ 210 h 420"/>
                <a:gd name="T82" fmla="*/ 390 w 420"/>
                <a:gd name="T83" fmla="*/ 101 h 420"/>
                <a:gd name="T84" fmla="*/ 356 w 420"/>
                <a:gd name="T85" fmla="*/ 63 h 420"/>
                <a:gd name="T86" fmla="*/ 318 w 420"/>
                <a:gd name="T87" fmla="*/ 30 h 420"/>
                <a:gd name="T88" fmla="*/ 210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292" y="399"/>
                  </a:moveTo>
                  <a:cubicBezTo>
                    <a:pt x="267" y="410"/>
                    <a:pt x="239" y="416"/>
                    <a:pt x="210" y="416"/>
                  </a:cubicBezTo>
                  <a:cubicBezTo>
                    <a:pt x="209" y="416"/>
                    <a:pt x="209" y="416"/>
                    <a:pt x="209" y="416"/>
                  </a:cubicBezTo>
                  <a:cubicBezTo>
                    <a:pt x="209" y="417"/>
                    <a:pt x="209" y="418"/>
                    <a:pt x="209" y="420"/>
                  </a:cubicBezTo>
                  <a:cubicBezTo>
                    <a:pt x="209" y="420"/>
                    <a:pt x="210" y="420"/>
                    <a:pt x="210" y="420"/>
                  </a:cubicBezTo>
                  <a:cubicBezTo>
                    <a:pt x="239" y="420"/>
                    <a:pt x="267" y="414"/>
                    <a:pt x="293" y="403"/>
                  </a:cubicBezTo>
                  <a:cubicBezTo>
                    <a:pt x="293" y="401"/>
                    <a:pt x="292" y="400"/>
                    <a:pt x="292" y="399"/>
                  </a:cubicBezTo>
                  <a:moveTo>
                    <a:pt x="0" y="216"/>
                  </a:moveTo>
                  <a:cubicBezTo>
                    <a:pt x="0" y="218"/>
                    <a:pt x="0" y="220"/>
                    <a:pt x="0" y="222"/>
                  </a:cubicBezTo>
                  <a:cubicBezTo>
                    <a:pt x="6" y="331"/>
                    <a:pt x="95" y="417"/>
                    <a:pt x="205" y="420"/>
                  </a:cubicBezTo>
                  <a:cubicBezTo>
                    <a:pt x="205" y="418"/>
                    <a:pt x="205" y="417"/>
                    <a:pt x="205" y="416"/>
                  </a:cubicBezTo>
                  <a:cubicBezTo>
                    <a:pt x="150" y="414"/>
                    <a:pt x="100" y="391"/>
                    <a:pt x="64" y="355"/>
                  </a:cubicBezTo>
                  <a:cubicBezTo>
                    <a:pt x="28" y="319"/>
                    <a:pt x="6" y="270"/>
                    <a:pt x="4" y="216"/>
                  </a:cubicBezTo>
                  <a:cubicBezTo>
                    <a:pt x="3" y="216"/>
                    <a:pt x="2" y="216"/>
                    <a:pt x="0" y="216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7"/>
                    <a:pt x="393" y="318"/>
                    <a:pt x="356" y="355"/>
                  </a:cubicBezTo>
                  <a:cubicBezTo>
                    <a:pt x="339" y="372"/>
                    <a:pt x="318" y="387"/>
                    <a:pt x="296" y="397"/>
                  </a:cubicBezTo>
                  <a:cubicBezTo>
                    <a:pt x="296" y="398"/>
                    <a:pt x="296" y="400"/>
                    <a:pt x="296" y="401"/>
                  </a:cubicBezTo>
                  <a:cubicBezTo>
                    <a:pt x="369" y="368"/>
                    <a:pt x="420" y="295"/>
                    <a:pt x="420" y="210"/>
                  </a:cubicBezTo>
                  <a:moveTo>
                    <a:pt x="17" y="125"/>
                  </a:moveTo>
                  <a:cubicBezTo>
                    <a:pt x="8" y="147"/>
                    <a:pt x="2" y="172"/>
                    <a:pt x="0" y="197"/>
                  </a:cubicBezTo>
                  <a:cubicBezTo>
                    <a:pt x="0" y="201"/>
                    <a:pt x="1" y="205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1"/>
                    <a:pt x="1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211"/>
                    <a:pt x="4" y="210"/>
                    <a:pt x="4" y="210"/>
                  </a:cubicBezTo>
                  <a:cubicBezTo>
                    <a:pt x="4" y="180"/>
                    <a:pt x="10" y="151"/>
                    <a:pt x="22" y="126"/>
                  </a:cubicBezTo>
                  <a:cubicBezTo>
                    <a:pt x="20" y="125"/>
                    <a:pt x="19" y="125"/>
                    <a:pt x="17" y="125"/>
                  </a:cubicBezTo>
                  <a:moveTo>
                    <a:pt x="210" y="0"/>
                  </a:moveTo>
                  <a:cubicBezTo>
                    <a:pt x="125" y="0"/>
                    <a:pt x="53" y="49"/>
                    <a:pt x="19" y="121"/>
                  </a:cubicBezTo>
                  <a:cubicBezTo>
                    <a:pt x="21" y="121"/>
                    <a:pt x="22" y="122"/>
                    <a:pt x="24" y="122"/>
                  </a:cubicBezTo>
                  <a:cubicBezTo>
                    <a:pt x="34" y="100"/>
                    <a:pt x="48" y="81"/>
                    <a:pt x="64" y="64"/>
                  </a:cubicBezTo>
                  <a:cubicBezTo>
                    <a:pt x="101" y="27"/>
                    <a:pt x="153" y="4"/>
                    <a:pt x="210" y="4"/>
                  </a:cubicBezTo>
                  <a:cubicBezTo>
                    <a:pt x="267" y="4"/>
                    <a:pt x="318" y="27"/>
                    <a:pt x="356" y="64"/>
                  </a:cubicBezTo>
                  <a:cubicBezTo>
                    <a:pt x="393" y="101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70"/>
                    <a:pt x="409" y="133"/>
                    <a:pt x="390" y="101"/>
                  </a:cubicBezTo>
                  <a:cubicBezTo>
                    <a:pt x="379" y="88"/>
                    <a:pt x="368" y="76"/>
                    <a:pt x="356" y="63"/>
                  </a:cubicBezTo>
                  <a:cubicBezTo>
                    <a:pt x="344" y="52"/>
                    <a:pt x="331" y="40"/>
                    <a:pt x="318" y="30"/>
                  </a:cubicBezTo>
                  <a:cubicBezTo>
                    <a:pt x="287" y="11"/>
                    <a:pt x="250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3347" y="3550"/>
              <a:ext cx="22" cy="22"/>
            </a:xfrm>
            <a:custGeom>
              <a:avLst/>
              <a:gdLst>
                <a:gd name="T0" fmla="*/ 0 w 72"/>
                <a:gd name="T1" fmla="*/ 0 h 71"/>
                <a:gd name="T2" fmla="*/ 38 w 72"/>
                <a:gd name="T3" fmla="*/ 33 h 71"/>
                <a:gd name="T4" fmla="*/ 72 w 72"/>
                <a:gd name="T5" fmla="*/ 71 h 71"/>
                <a:gd name="T6" fmla="*/ 0 w 72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1">
                  <a:moveTo>
                    <a:pt x="0" y="0"/>
                  </a:moveTo>
                  <a:cubicBezTo>
                    <a:pt x="13" y="10"/>
                    <a:pt x="26" y="22"/>
                    <a:pt x="38" y="33"/>
                  </a:cubicBezTo>
                  <a:cubicBezTo>
                    <a:pt x="50" y="46"/>
                    <a:pt x="61" y="58"/>
                    <a:pt x="72" y="71"/>
                  </a:cubicBezTo>
                  <a:cubicBezTo>
                    <a:pt x="54" y="42"/>
                    <a:pt x="30" y="17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3248" y="3602"/>
              <a:ext cx="1" cy="8"/>
            </a:xfrm>
            <a:custGeom>
              <a:avLst/>
              <a:gdLst>
                <a:gd name="T0" fmla="*/ 0 w 1"/>
                <a:gd name="T1" fmla="*/ 19 h 25"/>
                <a:gd name="T2" fmla="*/ 0 w 1"/>
                <a:gd name="T3" fmla="*/ 25 h 25"/>
                <a:gd name="T4" fmla="*/ 0 w 1"/>
                <a:gd name="T5" fmla="*/ 19 h 25"/>
                <a:gd name="T6" fmla="*/ 0 w 1"/>
                <a:gd name="T7" fmla="*/ 19 h 25"/>
                <a:gd name="T8" fmla="*/ 1 w 1"/>
                <a:gd name="T9" fmla="*/ 13 h 25"/>
                <a:gd name="T10" fmla="*/ 0 w 1"/>
                <a:gd name="T11" fmla="*/ 13 h 25"/>
                <a:gd name="T12" fmla="*/ 0 w 1"/>
                <a:gd name="T13" fmla="*/ 15 h 25"/>
                <a:gd name="T14" fmla="*/ 1 w 1"/>
                <a:gd name="T15" fmla="*/ 15 h 25"/>
                <a:gd name="T16" fmla="*/ 1 w 1"/>
                <a:gd name="T17" fmla="*/ 13 h 25"/>
                <a:gd name="T18" fmla="*/ 1 w 1"/>
                <a:gd name="T19" fmla="*/ 13 h 25"/>
                <a:gd name="T20" fmla="*/ 1 w 1"/>
                <a:gd name="T21" fmla="*/ 13 h 25"/>
                <a:gd name="T22" fmla="*/ 1 w 1"/>
                <a:gd name="T23" fmla="*/ 13 h 25"/>
                <a:gd name="T24" fmla="*/ 0 w 1"/>
                <a:gd name="T25" fmla="*/ 0 h 25"/>
                <a:gd name="T26" fmla="*/ 0 w 1"/>
                <a:gd name="T27" fmla="*/ 13 h 25"/>
                <a:gd name="T28" fmla="*/ 0 w 1"/>
                <a:gd name="T29" fmla="*/ 13 h 25"/>
                <a:gd name="T30" fmla="*/ 1 w 1"/>
                <a:gd name="T31" fmla="*/ 13 h 25"/>
                <a:gd name="T32" fmla="*/ 1 w 1"/>
                <a:gd name="T33" fmla="*/ 13 h 25"/>
                <a:gd name="T34" fmla="*/ 0 w 1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" h="25">
                  <a:moveTo>
                    <a:pt x="0" y="19"/>
                  </a:moveTo>
                  <a:cubicBezTo>
                    <a:pt x="0" y="21"/>
                    <a:pt x="0" y="23"/>
                    <a:pt x="0" y="25"/>
                  </a:cubicBezTo>
                  <a:cubicBezTo>
                    <a:pt x="0" y="23"/>
                    <a:pt x="0" y="21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moveTo>
                    <a:pt x="1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1" y="14"/>
                    <a:pt x="1" y="13"/>
                    <a:pt x="1" y="13"/>
                  </a:cubicBezTo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moveTo>
                    <a:pt x="0" y="0"/>
                  </a:moveTo>
                  <a:cubicBezTo>
                    <a:pt x="0" y="4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8"/>
                    <a:pt x="0" y="4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auto">
            <a:xfrm>
              <a:off x="3248" y="3607"/>
              <a:ext cx="65" cy="64"/>
            </a:xfrm>
            <a:custGeom>
              <a:avLst/>
              <a:gdLst>
                <a:gd name="T0" fmla="*/ 205 w 209"/>
                <a:gd name="T1" fmla="*/ 204 h 208"/>
                <a:gd name="T2" fmla="*/ 205 w 209"/>
                <a:gd name="T3" fmla="*/ 208 h 208"/>
                <a:gd name="T4" fmla="*/ 209 w 209"/>
                <a:gd name="T5" fmla="*/ 208 h 208"/>
                <a:gd name="T6" fmla="*/ 209 w 209"/>
                <a:gd name="T7" fmla="*/ 204 h 208"/>
                <a:gd name="T8" fmla="*/ 205 w 209"/>
                <a:gd name="T9" fmla="*/ 204 h 208"/>
                <a:gd name="T10" fmla="*/ 1 w 209"/>
                <a:gd name="T11" fmla="*/ 0 h 208"/>
                <a:gd name="T12" fmla="*/ 0 w 209"/>
                <a:gd name="T13" fmla="*/ 4 h 208"/>
                <a:gd name="T14" fmla="*/ 4 w 209"/>
                <a:gd name="T15" fmla="*/ 4 h 208"/>
                <a:gd name="T16" fmla="*/ 4 w 209"/>
                <a:gd name="T17" fmla="*/ 0 h 208"/>
                <a:gd name="T18" fmla="*/ 1 w 209"/>
                <a:gd name="T1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" h="208">
                  <a:moveTo>
                    <a:pt x="205" y="204"/>
                  </a:moveTo>
                  <a:cubicBezTo>
                    <a:pt x="205" y="205"/>
                    <a:pt x="205" y="206"/>
                    <a:pt x="205" y="208"/>
                  </a:cubicBezTo>
                  <a:cubicBezTo>
                    <a:pt x="206" y="208"/>
                    <a:pt x="207" y="208"/>
                    <a:pt x="209" y="208"/>
                  </a:cubicBezTo>
                  <a:cubicBezTo>
                    <a:pt x="209" y="206"/>
                    <a:pt x="209" y="205"/>
                    <a:pt x="209" y="204"/>
                  </a:cubicBezTo>
                  <a:cubicBezTo>
                    <a:pt x="207" y="204"/>
                    <a:pt x="206" y="204"/>
                    <a:pt x="205" y="204"/>
                  </a:cubicBezTo>
                  <a:moveTo>
                    <a:pt x="1" y="0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3248" y="3607"/>
              <a:ext cx="1" cy="1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auto">
            <a:xfrm>
              <a:off x="3254" y="3578"/>
              <a:ext cx="86" cy="88"/>
            </a:xfrm>
            <a:custGeom>
              <a:avLst/>
              <a:gdLst>
                <a:gd name="T0" fmla="*/ 279 w 279"/>
                <a:gd name="T1" fmla="*/ 276 h 282"/>
                <a:gd name="T2" fmla="*/ 275 w 279"/>
                <a:gd name="T3" fmla="*/ 278 h 282"/>
                <a:gd name="T4" fmla="*/ 276 w 279"/>
                <a:gd name="T5" fmla="*/ 282 h 282"/>
                <a:gd name="T6" fmla="*/ 279 w 279"/>
                <a:gd name="T7" fmla="*/ 280 h 282"/>
                <a:gd name="T8" fmla="*/ 279 w 279"/>
                <a:gd name="T9" fmla="*/ 276 h 282"/>
                <a:gd name="T10" fmla="*/ 2 w 279"/>
                <a:gd name="T11" fmla="*/ 0 h 282"/>
                <a:gd name="T12" fmla="*/ 0 w 279"/>
                <a:gd name="T13" fmla="*/ 4 h 282"/>
                <a:gd name="T14" fmla="*/ 5 w 279"/>
                <a:gd name="T15" fmla="*/ 5 h 282"/>
                <a:gd name="T16" fmla="*/ 7 w 279"/>
                <a:gd name="T17" fmla="*/ 1 h 282"/>
                <a:gd name="T18" fmla="*/ 2 w 279"/>
                <a:gd name="T1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" h="282">
                  <a:moveTo>
                    <a:pt x="279" y="276"/>
                  </a:moveTo>
                  <a:cubicBezTo>
                    <a:pt x="278" y="276"/>
                    <a:pt x="277" y="277"/>
                    <a:pt x="275" y="278"/>
                  </a:cubicBezTo>
                  <a:cubicBezTo>
                    <a:pt x="275" y="279"/>
                    <a:pt x="276" y="280"/>
                    <a:pt x="276" y="282"/>
                  </a:cubicBezTo>
                  <a:cubicBezTo>
                    <a:pt x="277" y="281"/>
                    <a:pt x="278" y="281"/>
                    <a:pt x="279" y="280"/>
                  </a:cubicBezTo>
                  <a:cubicBezTo>
                    <a:pt x="279" y="279"/>
                    <a:pt x="279" y="277"/>
                    <a:pt x="279" y="276"/>
                  </a:cubicBezTo>
                  <a:moveTo>
                    <a:pt x="2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2" y="4"/>
                    <a:pt x="3" y="4"/>
                    <a:pt x="5" y="5"/>
                  </a:cubicBezTo>
                  <a:cubicBezTo>
                    <a:pt x="5" y="3"/>
                    <a:pt x="6" y="2"/>
                    <a:pt x="7" y="1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"/>
            <p:cNvSpPr>
              <a:spLocks noEditPoints="1"/>
            </p:cNvSpPr>
            <p:nvPr/>
          </p:nvSpPr>
          <p:spPr bwMode="auto">
            <a:xfrm>
              <a:off x="3118" y="3671"/>
              <a:ext cx="130" cy="131"/>
            </a:xfrm>
            <a:custGeom>
              <a:avLst/>
              <a:gdLst>
                <a:gd name="T0" fmla="*/ 417 w 420"/>
                <a:gd name="T1" fmla="*/ 212 h 420"/>
                <a:gd name="T2" fmla="*/ 400 w 420"/>
                <a:gd name="T3" fmla="*/ 291 h 420"/>
                <a:gd name="T4" fmla="*/ 404 w 420"/>
                <a:gd name="T5" fmla="*/ 291 h 420"/>
                <a:gd name="T6" fmla="*/ 420 w 420"/>
                <a:gd name="T7" fmla="*/ 223 h 420"/>
                <a:gd name="T8" fmla="*/ 420 w 420"/>
                <a:gd name="T9" fmla="*/ 212 h 420"/>
                <a:gd name="T10" fmla="*/ 419 w 420"/>
                <a:gd name="T11" fmla="*/ 212 h 420"/>
                <a:gd name="T12" fmla="*/ 417 w 420"/>
                <a:gd name="T13" fmla="*/ 212 h 420"/>
                <a:gd name="T14" fmla="*/ 123 w 420"/>
                <a:gd name="T15" fmla="*/ 19 h 420"/>
                <a:gd name="T16" fmla="*/ 0 w 420"/>
                <a:gd name="T17" fmla="*/ 210 h 420"/>
                <a:gd name="T18" fmla="*/ 32 w 420"/>
                <a:gd name="T19" fmla="*/ 322 h 420"/>
                <a:gd name="T20" fmla="*/ 63 w 420"/>
                <a:gd name="T21" fmla="*/ 356 h 420"/>
                <a:gd name="T22" fmla="*/ 100 w 420"/>
                <a:gd name="T23" fmla="*/ 389 h 420"/>
                <a:gd name="T24" fmla="*/ 210 w 420"/>
                <a:gd name="T25" fmla="*/ 420 h 420"/>
                <a:gd name="T26" fmla="*/ 403 w 420"/>
                <a:gd name="T27" fmla="*/ 295 h 420"/>
                <a:gd name="T28" fmla="*/ 398 w 420"/>
                <a:gd name="T29" fmla="*/ 295 h 420"/>
                <a:gd name="T30" fmla="*/ 356 w 420"/>
                <a:gd name="T31" fmla="*/ 356 h 420"/>
                <a:gd name="T32" fmla="*/ 210 w 420"/>
                <a:gd name="T33" fmla="*/ 416 h 420"/>
                <a:gd name="T34" fmla="*/ 65 w 420"/>
                <a:gd name="T35" fmla="*/ 356 h 420"/>
                <a:gd name="T36" fmla="*/ 4 w 420"/>
                <a:gd name="T37" fmla="*/ 210 h 420"/>
                <a:gd name="T38" fmla="*/ 65 w 420"/>
                <a:gd name="T39" fmla="*/ 64 h 420"/>
                <a:gd name="T40" fmla="*/ 123 w 420"/>
                <a:gd name="T41" fmla="*/ 24 h 420"/>
                <a:gd name="T42" fmla="*/ 123 w 420"/>
                <a:gd name="T43" fmla="*/ 19 h 420"/>
                <a:gd name="T44" fmla="*/ 213 w 420"/>
                <a:gd name="T45" fmla="*/ 0 h 420"/>
                <a:gd name="T46" fmla="*/ 213 w 420"/>
                <a:gd name="T47" fmla="*/ 2 h 420"/>
                <a:gd name="T48" fmla="*/ 213 w 420"/>
                <a:gd name="T49" fmla="*/ 4 h 420"/>
                <a:gd name="T50" fmla="*/ 356 w 420"/>
                <a:gd name="T51" fmla="*/ 64 h 420"/>
                <a:gd name="T52" fmla="*/ 417 w 420"/>
                <a:gd name="T53" fmla="*/ 208 h 420"/>
                <a:gd name="T54" fmla="*/ 419 w 420"/>
                <a:gd name="T55" fmla="*/ 208 h 420"/>
                <a:gd name="T56" fmla="*/ 420 w 420"/>
                <a:gd name="T57" fmla="*/ 208 h 420"/>
                <a:gd name="T58" fmla="*/ 420 w 420"/>
                <a:gd name="T59" fmla="*/ 198 h 420"/>
                <a:gd name="T60" fmla="*/ 213 w 420"/>
                <a:gd name="T61" fmla="*/ 0 h 420"/>
                <a:gd name="T62" fmla="*/ 209 w 420"/>
                <a:gd name="T63" fmla="*/ 0 h 420"/>
                <a:gd name="T64" fmla="*/ 126 w 420"/>
                <a:gd name="T65" fmla="*/ 18 h 420"/>
                <a:gd name="T66" fmla="*/ 127 w 420"/>
                <a:gd name="T67" fmla="*/ 22 h 420"/>
                <a:gd name="T68" fmla="*/ 209 w 420"/>
                <a:gd name="T69" fmla="*/ 4 h 420"/>
                <a:gd name="T70" fmla="*/ 209 w 420"/>
                <a:gd name="T71" fmla="*/ 2 h 420"/>
                <a:gd name="T72" fmla="*/ 209 w 420"/>
                <a:gd name="T73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0" h="420">
                  <a:moveTo>
                    <a:pt x="417" y="212"/>
                  </a:moveTo>
                  <a:cubicBezTo>
                    <a:pt x="416" y="240"/>
                    <a:pt x="410" y="267"/>
                    <a:pt x="400" y="291"/>
                  </a:cubicBezTo>
                  <a:cubicBezTo>
                    <a:pt x="401" y="291"/>
                    <a:pt x="403" y="291"/>
                    <a:pt x="404" y="291"/>
                  </a:cubicBezTo>
                  <a:cubicBezTo>
                    <a:pt x="413" y="270"/>
                    <a:pt x="419" y="247"/>
                    <a:pt x="420" y="223"/>
                  </a:cubicBezTo>
                  <a:cubicBezTo>
                    <a:pt x="420" y="219"/>
                    <a:pt x="420" y="216"/>
                    <a:pt x="420" y="212"/>
                  </a:cubicBezTo>
                  <a:cubicBezTo>
                    <a:pt x="419" y="212"/>
                    <a:pt x="419" y="212"/>
                    <a:pt x="419" y="212"/>
                  </a:cubicBezTo>
                  <a:cubicBezTo>
                    <a:pt x="418" y="212"/>
                    <a:pt x="417" y="212"/>
                    <a:pt x="417" y="212"/>
                  </a:cubicBezTo>
                  <a:moveTo>
                    <a:pt x="123" y="19"/>
                  </a:moveTo>
                  <a:cubicBezTo>
                    <a:pt x="50" y="53"/>
                    <a:pt x="0" y="126"/>
                    <a:pt x="0" y="210"/>
                  </a:cubicBezTo>
                  <a:cubicBezTo>
                    <a:pt x="0" y="251"/>
                    <a:pt x="12" y="289"/>
                    <a:pt x="32" y="322"/>
                  </a:cubicBezTo>
                  <a:cubicBezTo>
                    <a:pt x="42" y="333"/>
                    <a:pt x="53" y="345"/>
                    <a:pt x="63" y="356"/>
                  </a:cubicBezTo>
                  <a:cubicBezTo>
                    <a:pt x="75" y="367"/>
                    <a:pt x="87" y="379"/>
                    <a:pt x="100" y="389"/>
                  </a:cubicBezTo>
                  <a:cubicBezTo>
                    <a:pt x="132" y="409"/>
                    <a:pt x="170" y="420"/>
                    <a:pt x="210" y="420"/>
                  </a:cubicBezTo>
                  <a:cubicBezTo>
                    <a:pt x="296" y="420"/>
                    <a:pt x="370" y="369"/>
                    <a:pt x="403" y="295"/>
                  </a:cubicBezTo>
                  <a:cubicBezTo>
                    <a:pt x="401" y="295"/>
                    <a:pt x="400" y="295"/>
                    <a:pt x="398" y="295"/>
                  </a:cubicBezTo>
                  <a:cubicBezTo>
                    <a:pt x="388" y="318"/>
                    <a:pt x="374" y="338"/>
                    <a:pt x="356" y="356"/>
                  </a:cubicBezTo>
                  <a:cubicBezTo>
                    <a:pt x="319" y="393"/>
                    <a:pt x="267" y="416"/>
                    <a:pt x="210" y="416"/>
                  </a:cubicBezTo>
                  <a:cubicBezTo>
                    <a:pt x="154" y="416"/>
                    <a:pt x="102" y="393"/>
                    <a:pt x="65" y="356"/>
                  </a:cubicBezTo>
                  <a:cubicBezTo>
                    <a:pt x="27" y="319"/>
                    <a:pt x="4" y="267"/>
                    <a:pt x="4" y="210"/>
                  </a:cubicBezTo>
                  <a:cubicBezTo>
                    <a:pt x="4" y="153"/>
                    <a:pt x="27" y="102"/>
                    <a:pt x="65" y="64"/>
                  </a:cubicBezTo>
                  <a:cubicBezTo>
                    <a:pt x="82" y="48"/>
                    <a:pt x="101" y="34"/>
                    <a:pt x="123" y="24"/>
                  </a:cubicBezTo>
                  <a:cubicBezTo>
                    <a:pt x="123" y="22"/>
                    <a:pt x="123" y="21"/>
                    <a:pt x="123" y="19"/>
                  </a:cubicBezTo>
                  <a:moveTo>
                    <a:pt x="213" y="0"/>
                  </a:moveTo>
                  <a:cubicBezTo>
                    <a:pt x="213" y="1"/>
                    <a:pt x="213" y="1"/>
                    <a:pt x="213" y="2"/>
                  </a:cubicBezTo>
                  <a:cubicBezTo>
                    <a:pt x="213" y="3"/>
                    <a:pt x="213" y="3"/>
                    <a:pt x="213" y="4"/>
                  </a:cubicBezTo>
                  <a:cubicBezTo>
                    <a:pt x="269" y="5"/>
                    <a:pt x="319" y="28"/>
                    <a:pt x="356" y="64"/>
                  </a:cubicBezTo>
                  <a:cubicBezTo>
                    <a:pt x="393" y="101"/>
                    <a:pt x="416" y="152"/>
                    <a:pt x="417" y="208"/>
                  </a:cubicBezTo>
                  <a:cubicBezTo>
                    <a:pt x="417" y="208"/>
                    <a:pt x="418" y="208"/>
                    <a:pt x="419" y="208"/>
                  </a:cubicBezTo>
                  <a:cubicBezTo>
                    <a:pt x="419" y="208"/>
                    <a:pt x="419" y="208"/>
                    <a:pt x="420" y="208"/>
                  </a:cubicBezTo>
                  <a:cubicBezTo>
                    <a:pt x="420" y="205"/>
                    <a:pt x="420" y="201"/>
                    <a:pt x="420" y="198"/>
                  </a:cubicBezTo>
                  <a:cubicBezTo>
                    <a:pt x="414" y="88"/>
                    <a:pt x="324" y="1"/>
                    <a:pt x="213" y="0"/>
                  </a:cubicBezTo>
                  <a:moveTo>
                    <a:pt x="209" y="0"/>
                  </a:moveTo>
                  <a:cubicBezTo>
                    <a:pt x="179" y="0"/>
                    <a:pt x="152" y="7"/>
                    <a:pt x="126" y="18"/>
                  </a:cubicBezTo>
                  <a:cubicBezTo>
                    <a:pt x="127" y="19"/>
                    <a:pt x="127" y="20"/>
                    <a:pt x="127" y="22"/>
                  </a:cubicBezTo>
                  <a:cubicBezTo>
                    <a:pt x="152" y="11"/>
                    <a:pt x="179" y="4"/>
                    <a:pt x="209" y="4"/>
                  </a:cubicBezTo>
                  <a:cubicBezTo>
                    <a:pt x="209" y="3"/>
                    <a:pt x="209" y="3"/>
                    <a:pt x="209" y="2"/>
                  </a:cubicBezTo>
                  <a:cubicBezTo>
                    <a:pt x="209" y="1"/>
                    <a:pt x="209" y="1"/>
                    <a:pt x="209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56" name="Freeform 24"/>
            <p:cNvSpPr>
              <a:spLocks/>
            </p:cNvSpPr>
            <p:nvPr/>
          </p:nvSpPr>
          <p:spPr bwMode="auto">
            <a:xfrm>
              <a:off x="3128" y="3771"/>
              <a:ext cx="21" cy="21"/>
            </a:xfrm>
            <a:custGeom>
              <a:avLst/>
              <a:gdLst>
                <a:gd name="T0" fmla="*/ 0 w 68"/>
                <a:gd name="T1" fmla="*/ 0 h 67"/>
                <a:gd name="T2" fmla="*/ 68 w 68"/>
                <a:gd name="T3" fmla="*/ 67 h 67"/>
                <a:gd name="T4" fmla="*/ 31 w 68"/>
                <a:gd name="T5" fmla="*/ 34 h 67"/>
                <a:gd name="T6" fmla="*/ 0 w 68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67">
                  <a:moveTo>
                    <a:pt x="0" y="0"/>
                  </a:moveTo>
                  <a:cubicBezTo>
                    <a:pt x="18" y="27"/>
                    <a:pt x="41" y="50"/>
                    <a:pt x="68" y="67"/>
                  </a:cubicBezTo>
                  <a:cubicBezTo>
                    <a:pt x="55" y="57"/>
                    <a:pt x="43" y="45"/>
                    <a:pt x="31" y="34"/>
                  </a:cubicBezTo>
                  <a:cubicBezTo>
                    <a:pt x="21" y="23"/>
                    <a:pt x="10" y="11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57" name="Freeform 25"/>
            <p:cNvSpPr>
              <a:spLocks noEditPoints="1"/>
            </p:cNvSpPr>
            <p:nvPr/>
          </p:nvSpPr>
          <p:spPr bwMode="auto">
            <a:xfrm>
              <a:off x="3183" y="3671"/>
              <a:ext cx="65" cy="66"/>
            </a:xfrm>
            <a:custGeom>
              <a:avLst/>
              <a:gdLst>
                <a:gd name="T0" fmla="*/ 211 w 211"/>
                <a:gd name="T1" fmla="*/ 210 h 212"/>
                <a:gd name="T2" fmla="*/ 210 w 211"/>
                <a:gd name="T3" fmla="*/ 210 h 212"/>
                <a:gd name="T4" fmla="*/ 208 w 211"/>
                <a:gd name="T5" fmla="*/ 210 h 212"/>
                <a:gd name="T6" fmla="*/ 208 w 211"/>
                <a:gd name="T7" fmla="*/ 212 h 212"/>
                <a:gd name="T8" fmla="*/ 210 w 211"/>
                <a:gd name="T9" fmla="*/ 212 h 212"/>
                <a:gd name="T10" fmla="*/ 211 w 211"/>
                <a:gd name="T11" fmla="*/ 212 h 212"/>
                <a:gd name="T12" fmla="*/ 211 w 211"/>
                <a:gd name="T13" fmla="*/ 210 h 212"/>
                <a:gd name="T14" fmla="*/ 208 w 211"/>
                <a:gd name="T15" fmla="*/ 208 h 212"/>
                <a:gd name="T16" fmla="*/ 208 w 211"/>
                <a:gd name="T17" fmla="*/ 210 h 212"/>
                <a:gd name="T18" fmla="*/ 210 w 211"/>
                <a:gd name="T19" fmla="*/ 210 h 212"/>
                <a:gd name="T20" fmla="*/ 211 w 211"/>
                <a:gd name="T21" fmla="*/ 210 h 212"/>
                <a:gd name="T22" fmla="*/ 211 w 211"/>
                <a:gd name="T23" fmla="*/ 210 h 212"/>
                <a:gd name="T24" fmla="*/ 211 w 211"/>
                <a:gd name="T25" fmla="*/ 208 h 212"/>
                <a:gd name="T26" fmla="*/ 210 w 211"/>
                <a:gd name="T27" fmla="*/ 208 h 212"/>
                <a:gd name="T28" fmla="*/ 208 w 211"/>
                <a:gd name="T29" fmla="*/ 208 h 212"/>
                <a:gd name="T30" fmla="*/ 1 w 211"/>
                <a:gd name="T31" fmla="*/ 0 h 212"/>
                <a:gd name="T32" fmla="*/ 0 w 211"/>
                <a:gd name="T33" fmla="*/ 0 h 212"/>
                <a:gd name="T34" fmla="*/ 0 w 211"/>
                <a:gd name="T35" fmla="*/ 2 h 212"/>
                <a:gd name="T36" fmla="*/ 0 w 211"/>
                <a:gd name="T37" fmla="*/ 4 h 212"/>
                <a:gd name="T38" fmla="*/ 1 w 211"/>
                <a:gd name="T39" fmla="*/ 4 h 212"/>
                <a:gd name="T40" fmla="*/ 4 w 211"/>
                <a:gd name="T41" fmla="*/ 4 h 212"/>
                <a:gd name="T42" fmla="*/ 4 w 211"/>
                <a:gd name="T43" fmla="*/ 2 h 212"/>
                <a:gd name="T44" fmla="*/ 4 w 211"/>
                <a:gd name="T45" fmla="*/ 0 h 212"/>
                <a:gd name="T46" fmla="*/ 1 w 211"/>
                <a:gd name="T47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1" h="212">
                  <a:moveTo>
                    <a:pt x="211" y="210"/>
                  </a:moveTo>
                  <a:cubicBezTo>
                    <a:pt x="210" y="210"/>
                    <a:pt x="210" y="210"/>
                    <a:pt x="210" y="210"/>
                  </a:cubicBezTo>
                  <a:cubicBezTo>
                    <a:pt x="208" y="210"/>
                    <a:pt x="208" y="210"/>
                    <a:pt x="208" y="210"/>
                  </a:cubicBezTo>
                  <a:cubicBezTo>
                    <a:pt x="208" y="211"/>
                    <a:pt x="208" y="212"/>
                    <a:pt x="208" y="212"/>
                  </a:cubicBezTo>
                  <a:cubicBezTo>
                    <a:pt x="208" y="212"/>
                    <a:pt x="209" y="212"/>
                    <a:pt x="210" y="212"/>
                  </a:cubicBezTo>
                  <a:cubicBezTo>
                    <a:pt x="210" y="212"/>
                    <a:pt x="210" y="212"/>
                    <a:pt x="211" y="212"/>
                  </a:cubicBezTo>
                  <a:cubicBezTo>
                    <a:pt x="211" y="212"/>
                    <a:pt x="211" y="211"/>
                    <a:pt x="211" y="210"/>
                  </a:cubicBezTo>
                  <a:moveTo>
                    <a:pt x="208" y="208"/>
                  </a:moveTo>
                  <a:cubicBezTo>
                    <a:pt x="208" y="209"/>
                    <a:pt x="208" y="210"/>
                    <a:pt x="208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09"/>
                    <a:pt x="211" y="208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09" y="208"/>
                    <a:pt x="208" y="208"/>
                    <a:pt x="208" y="208"/>
                  </a:cubicBezTo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2" name="Freeform 26"/>
            <p:cNvSpPr>
              <a:spLocks noEditPoints="1"/>
            </p:cNvSpPr>
            <p:nvPr/>
          </p:nvSpPr>
          <p:spPr bwMode="auto">
            <a:xfrm>
              <a:off x="3156" y="3677"/>
              <a:ext cx="87" cy="86"/>
            </a:xfrm>
            <a:custGeom>
              <a:avLst/>
              <a:gdLst>
                <a:gd name="T0" fmla="*/ 277 w 281"/>
                <a:gd name="T1" fmla="*/ 273 h 277"/>
                <a:gd name="T2" fmla="*/ 275 w 281"/>
                <a:gd name="T3" fmla="*/ 277 h 277"/>
                <a:gd name="T4" fmla="*/ 280 w 281"/>
                <a:gd name="T5" fmla="*/ 277 h 277"/>
                <a:gd name="T6" fmla="*/ 281 w 281"/>
                <a:gd name="T7" fmla="*/ 273 h 277"/>
                <a:gd name="T8" fmla="*/ 277 w 281"/>
                <a:gd name="T9" fmla="*/ 273 h 277"/>
                <a:gd name="T10" fmla="*/ 3 w 281"/>
                <a:gd name="T11" fmla="*/ 0 h 277"/>
                <a:gd name="T12" fmla="*/ 0 w 281"/>
                <a:gd name="T13" fmla="*/ 1 h 277"/>
                <a:gd name="T14" fmla="*/ 0 w 281"/>
                <a:gd name="T15" fmla="*/ 6 h 277"/>
                <a:gd name="T16" fmla="*/ 4 w 281"/>
                <a:gd name="T17" fmla="*/ 4 h 277"/>
                <a:gd name="T18" fmla="*/ 3 w 281"/>
                <a:gd name="T1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77">
                  <a:moveTo>
                    <a:pt x="277" y="273"/>
                  </a:moveTo>
                  <a:cubicBezTo>
                    <a:pt x="276" y="275"/>
                    <a:pt x="276" y="276"/>
                    <a:pt x="275" y="277"/>
                  </a:cubicBezTo>
                  <a:cubicBezTo>
                    <a:pt x="277" y="277"/>
                    <a:pt x="278" y="277"/>
                    <a:pt x="280" y="277"/>
                  </a:cubicBezTo>
                  <a:cubicBezTo>
                    <a:pt x="280" y="276"/>
                    <a:pt x="281" y="275"/>
                    <a:pt x="281" y="273"/>
                  </a:cubicBezTo>
                  <a:cubicBezTo>
                    <a:pt x="280" y="273"/>
                    <a:pt x="278" y="273"/>
                    <a:pt x="277" y="273"/>
                  </a:cubicBezTo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1" y="5"/>
                    <a:pt x="2" y="4"/>
                    <a:pt x="4" y="4"/>
                  </a:cubicBezTo>
                  <a:cubicBezTo>
                    <a:pt x="4" y="2"/>
                    <a:pt x="4" y="1"/>
                    <a:pt x="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3" name="Freeform 27"/>
            <p:cNvSpPr>
              <a:spLocks noEditPoints="1"/>
            </p:cNvSpPr>
            <p:nvPr/>
          </p:nvSpPr>
          <p:spPr bwMode="auto">
            <a:xfrm>
              <a:off x="3248" y="3671"/>
              <a:ext cx="131" cy="131"/>
            </a:xfrm>
            <a:custGeom>
              <a:avLst/>
              <a:gdLst>
                <a:gd name="T0" fmla="*/ 22 w 420"/>
                <a:gd name="T1" fmla="*/ 295 h 420"/>
                <a:gd name="T2" fmla="*/ 18 w 420"/>
                <a:gd name="T3" fmla="*/ 295 h 420"/>
                <a:gd name="T4" fmla="*/ 210 w 420"/>
                <a:gd name="T5" fmla="*/ 420 h 420"/>
                <a:gd name="T6" fmla="*/ 316 w 420"/>
                <a:gd name="T7" fmla="*/ 392 h 420"/>
                <a:gd name="T8" fmla="*/ 350 w 420"/>
                <a:gd name="T9" fmla="*/ 361 h 420"/>
                <a:gd name="T10" fmla="*/ 210 w 420"/>
                <a:gd name="T11" fmla="*/ 416 h 420"/>
                <a:gd name="T12" fmla="*/ 64 w 420"/>
                <a:gd name="T13" fmla="*/ 356 h 420"/>
                <a:gd name="T14" fmla="*/ 22 w 420"/>
                <a:gd name="T15" fmla="*/ 295 h 420"/>
                <a:gd name="T16" fmla="*/ 4 w 420"/>
                <a:gd name="T17" fmla="*/ 212 h 420"/>
                <a:gd name="T18" fmla="*/ 1 w 420"/>
                <a:gd name="T19" fmla="*/ 212 h 420"/>
                <a:gd name="T20" fmla="*/ 0 w 420"/>
                <a:gd name="T21" fmla="*/ 223 h 420"/>
                <a:gd name="T22" fmla="*/ 16 w 420"/>
                <a:gd name="T23" fmla="*/ 291 h 420"/>
                <a:gd name="T24" fmla="*/ 20 w 420"/>
                <a:gd name="T25" fmla="*/ 291 h 420"/>
                <a:gd name="T26" fmla="*/ 4 w 420"/>
                <a:gd name="T27" fmla="*/ 212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60 w 420"/>
                <a:gd name="T35" fmla="*/ 351 h 420"/>
                <a:gd name="T36" fmla="*/ 391 w 420"/>
                <a:gd name="T37" fmla="*/ 316 h 420"/>
                <a:gd name="T38" fmla="*/ 420 w 420"/>
                <a:gd name="T39" fmla="*/ 210 h 420"/>
                <a:gd name="T40" fmla="*/ 296 w 420"/>
                <a:gd name="T41" fmla="*/ 19 h 420"/>
                <a:gd name="T42" fmla="*/ 296 w 420"/>
                <a:gd name="T43" fmla="*/ 23 h 420"/>
                <a:gd name="T44" fmla="*/ 356 w 420"/>
                <a:gd name="T45" fmla="*/ 64 h 420"/>
                <a:gd name="T46" fmla="*/ 416 w 420"/>
                <a:gd name="T47" fmla="*/ 210 h 420"/>
                <a:gd name="T48" fmla="*/ 418 w 420"/>
                <a:gd name="T49" fmla="*/ 210 h 420"/>
                <a:gd name="T50" fmla="*/ 420 w 420"/>
                <a:gd name="T51" fmla="*/ 210 h 420"/>
                <a:gd name="T52" fmla="*/ 420 w 420"/>
                <a:gd name="T53" fmla="*/ 210 h 420"/>
                <a:gd name="T54" fmla="*/ 296 w 420"/>
                <a:gd name="T55" fmla="*/ 19 h 420"/>
                <a:gd name="T56" fmla="*/ 205 w 420"/>
                <a:gd name="T57" fmla="*/ 0 h 420"/>
                <a:gd name="T58" fmla="*/ 0 w 420"/>
                <a:gd name="T59" fmla="*/ 198 h 420"/>
                <a:gd name="T60" fmla="*/ 1 w 420"/>
                <a:gd name="T61" fmla="*/ 208 h 420"/>
                <a:gd name="T62" fmla="*/ 4 w 420"/>
                <a:gd name="T63" fmla="*/ 208 h 420"/>
                <a:gd name="T64" fmla="*/ 64 w 420"/>
                <a:gd name="T65" fmla="*/ 64 h 420"/>
                <a:gd name="T66" fmla="*/ 205 w 420"/>
                <a:gd name="T67" fmla="*/ 4 h 420"/>
                <a:gd name="T68" fmla="*/ 205 w 420"/>
                <a:gd name="T69" fmla="*/ 2 h 420"/>
                <a:gd name="T70" fmla="*/ 207 w 420"/>
                <a:gd name="T71" fmla="*/ 2 h 420"/>
                <a:gd name="T72" fmla="*/ 209 w 420"/>
                <a:gd name="T73" fmla="*/ 2 h 420"/>
                <a:gd name="T74" fmla="*/ 209 w 420"/>
                <a:gd name="T75" fmla="*/ 2 h 420"/>
                <a:gd name="T76" fmla="*/ 207 w 420"/>
                <a:gd name="T77" fmla="*/ 2 h 420"/>
                <a:gd name="T78" fmla="*/ 205 w 420"/>
                <a:gd name="T79" fmla="*/ 2 h 420"/>
                <a:gd name="T80" fmla="*/ 205 w 420"/>
                <a:gd name="T81" fmla="*/ 0 h 420"/>
                <a:gd name="T82" fmla="*/ 210 w 420"/>
                <a:gd name="T83" fmla="*/ 0 h 420"/>
                <a:gd name="T84" fmla="*/ 209 w 420"/>
                <a:gd name="T85" fmla="*/ 0 h 420"/>
                <a:gd name="T86" fmla="*/ 209 w 420"/>
                <a:gd name="T87" fmla="*/ 2 h 420"/>
                <a:gd name="T88" fmla="*/ 209 w 420"/>
                <a:gd name="T89" fmla="*/ 2 h 420"/>
                <a:gd name="T90" fmla="*/ 209 w 420"/>
                <a:gd name="T91" fmla="*/ 2 h 420"/>
                <a:gd name="T92" fmla="*/ 209 w 420"/>
                <a:gd name="T93" fmla="*/ 4 h 420"/>
                <a:gd name="T94" fmla="*/ 210 w 420"/>
                <a:gd name="T95" fmla="*/ 4 h 420"/>
                <a:gd name="T96" fmla="*/ 292 w 420"/>
                <a:gd name="T97" fmla="*/ 21 h 420"/>
                <a:gd name="T98" fmla="*/ 292 w 420"/>
                <a:gd name="T99" fmla="*/ 17 h 420"/>
                <a:gd name="T100" fmla="*/ 210 w 420"/>
                <a:gd name="T101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0" h="420">
                  <a:moveTo>
                    <a:pt x="22" y="295"/>
                  </a:moveTo>
                  <a:cubicBezTo>
                    <a:pt x="21" y="295"/>
                    <a:pt x="19" y="295"/>
                    <a:pt x="18" y="295"/>
                  </a:cubicBezTo>
                  <a:cubicBezTo>
                    <a:pt x="50" y="369"/>
                    <a:pt x="124" y="420"/>
                    <a:pt x="210" y="420"/>
                  </a:cubicBezTo>
                  <a:cubicBezTo>
                    <a:pt x="248" y="420"/>
                    <a:pt x="285" y="410"/>
                    <a:pt x="316" y="392"/>
                  </a:cubicBezTo>
                  <a:cubicBezTo>
                    <a:pt x="328" y="382"/>
                    <a:pt x="339" y="372"/>
                    <a:pt x="350" y="361"/>
                  </a:cubicBezTo>
                  <a:cubicBezTo>
                    <a:pt x="314" y="395"/>
                    <a:pt x="264" y="416"/>
                    <a:pt x="210" y="416"/>
                  </a:cubicBezTo>
                  <a:cubicBezTo>
                    <a:pt x="153" y="416"/>
                    <a:pt x="101" y="393"/>
                    <a:pt x="64" y="356"/>
                  </a:cubicBezTo>
                  <a:cubicBezTo>
                    <a:pt x="47" y="338"/>
                    <a:pt x="32" y="318"/>
                    <a:pt x="22" y="295"/>
                  </a:cubicBezTo>
                  <a:moveTo>
                    <a:pt x="4" y="212"/>
                  </a:moveTo>
                  <a:cubicBezTo>
                    <a:pt x="3" y="212"/>
                    <a:pt x="2" y="212"/>
                    <a:pt x="1" y="212"/>
                  </a:cubicBezTo>
                  <a:cubicBezTo>
                    <a:pt x="1" y="216"/>
                    <a:pt x="0" y="219"/>
                    <a:pt x="0" y="223"/>
                  </a:cubicBezTo>
                  <a:cubicBezTo>
                    <a:pt x="2" y="247"/>
                    <a:pt x="7" y="270"/>
                    <a:pt x="16" y="291"/>
                  </a:cubicBezTo>
                  <a:cubicBezTo>
                    <a:pt x="18" y="291"/>
                    <a:pt x="19" y="291"/>
                    <a:pt x="20" y="291"/>
                  </a:cubicBezTo>
                  <a:cubicBezTo>
                    <a:pt x="10" y="267"/>
                    <a:pt x="4" y="240"/>
                    <a:pt x="4" y="212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5"/>
                    <a:pt x="395" y="314"/>
                    <a:pt x="360" y="351"/>
                  </a:cubicBezTo>
                  <a:cubicBezTo>
                    <a:pt x="371" y="340"/>
                    <a:pt x="382" y="328"/>
                    <a:pt x="391" y="316"/>
                  </a:cubicBezTo>
                  <a:cubicBezTo>
                    <a:pt x="410" y="285"/>
                    <a:pt x="420" y="249"/>
                    <a:pt x="420" y="210"/>
                  </a:cubicBezTo>
                  <a:moveTo>
                    <a:pt x="296" y="19"/>
                  </a:moveTo>
                  <a:cubicBezTo>
                    <a:pt x="296" y="20"/>
                    <a:pt x="296" y="21"/>
                    <a:pt x="296" y="23"/>
                  </a:cubicBezTo>
                  <a:cubicBezTo>
                    <a:pt x="318" y="33"/>
                    <a:pt x="338" y="47"/>
                    <a:pt x="356" y="64"/>
                  </a:cubicBezTo>
                  <a:cubicBezTo>
                    <a:pt x="393" y="102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25"/>
                    <a:pt x="369" y="52"/>
                    <a:pt x="296" y="19"/>
                  </a:cubicBezTo>
                  <a:moveTo>
                    <a:pt x="205" y="0"/>
                  </a:moveTo>
                  <a:cubicBezTo>
                    <a:pt x="95" y="3"/>
                    <a:pt x="6" y="89"/>
                    <a:pt x="0" y="198"/>
                  </a:cubicBezTo>
                  <a:cubicBezTo>
                    <a:pt x="0" y="201"/>
                    <a:pt x="1" y="205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152"/>
                    <a:pt x="27" y="101"/>
                    <a:pt x="64" y="64"/>
                  </a:cubicBezTo>
                  <a:cubicBezTo>
                    <a:pt x="100" y="28"/>
                    <a:pt x="150" y="6"/>
                    <a:pt x="205" y="4"/>
                  </a:cubicBezTo>
                  <a:cubicBezTo>
                    <a:pt x="205" y="4"/>
                    <a:pt x="205" y="3"/>
                    <a:pt x="205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5" y="1"/>
                    <a:pt x="205" y="1"/>
                    <a:pt x="205" y="0"/>
                  </a:cubicBezTo>
                  <a:moveTo>
                    <a:pt x="210" y="0"/>
                  </a:moveTo>
                  <a:cubicBezTo>
                    <a:pt x="210" y="0"/>
                    <a:pt x="209" y="0"/>
                    <a:pt x="209" y="0"/>
                  </a:cubicBezTo>
                  <a:cubicBezTo>
                    <a:pt x="209" y="1"/>
                    <a:pt x="209" y="1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3"/>
                    <a:pt x="209" y="3"/>
                    <a:pt x="209" y="4"/>
                  </a:cubicBezTo>
                  <a:cubicBezTo>
                    <a:pt x="209" y="4"/>
                    <a:pt x="210" y="4"/>
                    <a:pt x="210" y="4"/>
                  </a:cubicBezTo>
                  <a:cubicBezTo>
                    <a:pt x="239" y="4"/>
                    <a:pt x="267" y="10"/>
                    <a:pt x="292" y="21"/>
                  </a:cubicBezTo>
                  <a:cubicBezTo>
                    <a:pt x="292" y="20"/>
                    <a:pt x="292" y="18"/>
                    <a:pt x="292" y="17"/>
                  </a:cubicBezTo>
                  <a:cubicBezTo>
                    <a:pt x="267" y="6"/>
                    <a:pt x="239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4" name="Freeform 28"/>
            <p:cNvSpPr>
              <a:spLocks/>
            </p:cNvSpPr>
            <p:nvPr/>
          </p:nvSpPr>
          <p:spPr bwMode="auto">
            <a:xfrm>
              <a:off x="3346" y="3769"/>
              <a:ext cx="24" cy="24"/>
            </a:xfrm>
            <a:custGeom>
              <a:avLst/>
              <a:gdLst>
                <a:gd name="T0" fmla="*/ 75 w 75"/>
                <a:gd name="T1" fmla="*/ 0 h 76"/>
                <a:gd name="T2" fmla="*/ 44 w 75"/>
                <a:gd name="T3" fmla="*/ 35 h 76"/>
                <a:gd name="T4" fmla="*/ 40 w 75"/>
                <a:gd name="T5" fmla="*/ 40 h 76"/>
                <a:gd name="T6" fmla="*/ 34 w 75"/>
                <a:gd name="T7" fmla="*/ 45 h 76"/>
                <a:gd name="T8" fmla="*/ 0 w 75"/>
                <a:gd name="T9" fmla="*/ 76 h 76"/>
                <a:gd name="T10" fmla="*/ 75 w 75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6">
                  <a:moveTo>
                    <a:pt x="75" y="0"/>
                  </a:moveTo>
                  <a:cubicBezTo>
                    <a:pt x="66" y="12"/>
                    <a:pt x="55" y="24"/>
                    <a:pt x="44" y="35"/>
                  </a:cubicBezTo>
                  <a:cubicBezTo>
                    <a:pt x="43" y="37"/>
                    <a:pt x="41" y="38"/>
                    <a:pt x="40" y="40"/>
                  </a:cubicBezTo>
                  <a:cubicBezTo>
                    <a:pt x="38" y="42"/>
                    <a:pt x="36" y="43"/>
                    <a:pt x="34" y="45"/>
                  </a:cubicBezTo>
                  <a:cubicBezTo>
                    <a:pt x="23" y="56"/>
                    <a:pt x="12" y="66"/>
                    <a:pt x="0" y="76"/>
                  </a:cubicBezTo>
                  <a:cubicBezTo>
                    <a:pt x="31" y="58"/>
                    <a:pt x="57" y="31"/>
                    <a:pt x="75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5" name="Freeform 29"/>
            <p:cNvSpPr>
              <a:spLocks noEditPoints="1"/>
            </p:cNvSpPr>
            <p:nvPr/>
          </p:nvSpPr>
          <p:spPr bwMode="auto">
            <a:xfrm>
              <a:off x="3249" y="3671"/>
              <a:ext cx="64" cy="66"/>
            </a:xfrm>
            <a:custGeom>
              <a:avLst/>
              <a:gdLst>
                <a:gd name="T0" fmla="*/ 3 w 208"/>
                <a:gd name="T1" fmla="*/ 208 h 212"/>
                <a:gd name="T2" fmla="*/ 0 w 208"/>
                <a:gd name="T3" fmla="*/ 208 h 212"/>
                <a:gd name="T4" fmla="*/ 0 w 208"/>
                <a:gd name="T5" fmla="*/ 210 h 212"/>
                <a:gd name="T6" fmla="*/ 0 w 208"/>
                <a:gd name="T7" fmla="*/ 210 h 212"/>
                <a:gd name="T8" fmla="*/ 0 w 208"/>
                <a:gd name="T9" fmla="*/ 210 h 212"/>
                <a:gd name="T10" fmla="*/ 0 w 208"/>
                <a:gd name="T11" fmla="*/ 212 h 212"/>
                <a:gd name="T12" fmla="*/ 3 w 208"/>
                <a:gd name="T13" fmla="*/ 212 h 212"/>
                <a:gd name="T14" fmla="*/ 3 w 208"/>
                <a:gd name="T15" fmla="*/ 210 h 212"/>
                <a:gd name="T16" fmla="*/ 3 w 208"/>
                <a:gd name="T17" fmla="*/ 208 h 212"/>
                <a:gd name="T18" fmla="*/ 208 w 208"/>
                <a:gd name="T19" fmla="*/ 2 h 212"/>
                <a:gd name="T20" fmla="*/ 206 w 208"/>
                <a:gd name="T21" fmla="*/ 2 h 212"/>
                <a:gd name="T22" fmla="*/ 204 w 208"/>
                <a:gd name="T23" fmla="*/ 2 h 212"/>
                <a:gd name="T24" fmla="*/ 204 w 208"/>
                <a:gd name="T25" fmla="*/ 4 h 212"/>
                <a:gd name="T26" fmla="*/ 208 w 208"/>
                <a:gd name="T27" fmla="*/ 4 h 212"/>
                <a:gd name="T28" fmla="*/ 208 w 208"/>
                <a:gd name="T29" fmla="*/ 2 h 212"/>
                <a:gd name="T30" fmla="*/ 208 w 208"/>
                <a:gd name="T31" fmla="*/ 2 h 212"/>
                <a:gd name="T32" fmla="*/ 208 w 208"/>
                <a:gd name="T33" fmla="*/ 2 h 212"/>
                <a:gd name="T34" fmla="*/ 208 w 208"/>
                <a:gd name="T35" fmla="*/ 2 h 212"/>
                <a:gd name="T36" fmla="*/ 208 w 208"/>
                <a:gd name="T37" fmla="*/ 0 h 212"/>
                <a:gd name="T38" fmla="*/ 204 w 208"/>
                <a:gd name="T39" fmla="*/ 0 h 212"/>
                <a:gd name="T40" fmla="*/ 204 w 208"/>
                <a:gd name="T41" fmla="*/ 2 h 212"/>
                <a:gd name="T42" fmla="*/ 206 w 208"/>
                <a:gd name="T43" fmla="*/ 2 h 212"/>
                <a:gd name="T44" fmla="*/ 208 w 208"/>
                <a:gd name="T45" fmla="*/ 2 h 212"/>
                <a:gd name="T46" fmla="*/ 208 w 208"/>
                <a:gd name="T47" fmla="*/ 2 h 212"/>
                <a:gd name="T48" fmla="*/ 208 w 208"/>
                <a:gd name="T4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" h="212">
                  <a:moveTo>
                    <a:pt x="3" y="208"/>
                  </a:moveTo>
                  <a:cubicBezTo>
                    <a:pt x="2" y="208"/>
                    <a:pt x="1" y="208"/>
                    <a:pt x="0" y="208"/>
                  </a:cubicBezTo>
                  <a:cubicBezTo>
                    <a:pt x="0" y="209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1"/>
                    <a:pt x="0" y="212"/>
                    <a:pt x="0" y="212"/>
                  </a:cubicBezTo>
                  <a:cubicBezTo>
                    <a:pt x="1" y="212"/>
                    <a:pt x="2" y="212"/>
                    <a:pt x="3" y="212"/>
                  </a:cubicBezTo>
                  <a:cubicBezTo>
                    <a:pt x="3" y="211"/>
                    <a:pt x="3" y="211"/>
                    <a:pt x="3" y="210"/>
                  </a:cubicBezTo>
                  <a:cubicBezTo>
                    <a:pt x="3" y="210"/>
                    <a:pt x="3" y="209"/>
                    <a:pt x="3" y="208"/>
                  </a:cubicBezTo>
                  <a:moveTo>
                    <a:pt x="208" y="2"/>
                  </a:moveTo>
                  <a:cubicBezTo>
                    <a:pt x="206" y="2"/>
                    <a:pt x="206" y="2"/>
                    <a:pt x="206" y="2"/>
                  </a:cubicBezTo>
                  <a:cubicBezTo>
                    <a:pt x="204" y="2"/>
                    <a:pt x="204" y="2"/>
                    <a:pt x="204" y="2"/>
                  </a:cubicBezTo>
                  <a:cubicBezTo>
                    <a:pt x="204" y="3"/>
                    <a:pt x="204" y="4"/>
                    <a:pt x="204" y="4"/>
                  </a:cubicBezTo>
                  <a:cubicBezTo>
                    <a:pt x="205" y="4"/>
                    <a:pt x="206" y="4"/>
                    <a:pt x="208" y="4"/>
                  </a:cubicBezTo>
                  <a:cubicBezTo>
                    <a:pt x="208" y="3"/>
                    <a:pt x="208" y="3"/>
                    <a:pt x="208" y="2"/>
                  </a:cubicBezTo>
                  <a:moveTo>
                    <a:pt x="208" y="2"/>
                  </a:move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moveTo>
                    <a:pt x="208" y="0"/>
                  </a:moveTo>
                  <a:cubicBezTo>
                    <a:pt x="206" y="0"/>
                    <a:pt x="205" y="0"/>
                    <a:pt x="204" y="0"/>
                  </a:cubicBezTo>
                  <a:cubicBezTo>
                    <a:pt x="204" y="1"/>
                    <a:pt x="204" y="1"/>
                    <a:pt x="204" y="2"/>
                  </a:cubicBezTo>
                  <a:cubicBezTo>
                    <a:pt x="206" y="2"/>
                    <a:pt x="206" y="2"/>
                    <a:pt x="206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1"/>
                    <a:pt x="208" y="1"/>
                    <a:pt x="208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6" name="Freeform 30"/>
            <p:cNvSpPr>
              <a:spLocks noEditPoints="1"/>
            </p:cNvSpPr>
            <p:nvPr/>
          </p:nvSpPr>
          <p:spPr bwMode="auto">
            <a:xfrm>
              <a:off x="3253" y="3677"/>
              <a:ext cx="87" cy="86"/>
            </a:xfrm>
            <a:custGeom>
              <a:avLst/>
              <a:gdLst>
                <a:gd name="T0" fmla="*/ 4 w 280"/>
                <a:gd name="T1" fmla="*/ 274 h 278"/>
                <a:gd name="T2" fmla="*/ 0 w 280"/>
                <a:gd name="T3" fmla="*/ 274 h 278"/>
                <a:gd name="T4" fmla="*/ 2 w 280"/>
                <a:gd name="T5" fmla="*/ 278 h 278"/>
                <a:gd name="T6" fmla="*/ 6 w 280"/>
                <a:gd name="T7" fmla="*/ 278 h 278"/>
                <a:gd name="T8" fmla="*/ 4 w 280"/>
                <a:gd name="T9" fmla="*/ 274 h 278"/>
                <a:gd name="T10" fmla="*/ 276 w 280"/>
                <a:gd name="T11" fmla="*/ 0 h 278"/>
                <a:gd name="T12" fmla="*/ 276 w 280"/>
                <a:gd name="T13" fmla="*/ 4 h 278"/>
                <a:gd name="T14" fmla="*/ 280 w 280"/>
                <a:gd name="T15" fmla="*/ 6 h 278"/>
                <a:gd name="T16" fmla="*/ 280 w 280"/>
                <a:gd name="T17" fmla="*/ 2 h 278"/>
                <a:gd name="T18" fmla="*/ 276 w 280"/>
                <a:gd name="T19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0" h="278">
                  <a:moveTo>
                    <a:pt x="4" y="274"/>
                  </a:moveTo>
                  <a:cubicBezTo>
                    <a:pt x="3" y="274"/>
                    <a:pt x="2" y="274"/>
                    <a:pt x="0" y="274"/>
                  </a:cubicBezTo>
                  <a:cubicBezTo>
                    <a:pt x="1" y="276"/>
                    <a:pt x="1" y="277"/>
                    <a:pt x="2" y="278"/>
                  </a:cubicBezTo>
                  <a:cubicBezTo>
                    <a:pt x="3" y="278"/>
                    <a:pt x="5" y="278"/>
                    <a:pt x="6" y="278"/>
                  </a:cubicBezTo>
                  <a:cubicBezTo>
                    <a:pt x="5" y="277"/>
                    <a:pt x="5" y="275"/>
                    <a:pt x="4" y="274"/>
                  </a:cubicBezTo>
                  <a:moveTo>
                    <a:pt x="276" y="0"/>
                  </a:moveTo>
                  <a:cubicBezTo>
                    <a:pt x="276" y="1"/>
                    <a:pt x="276" y="3"/>
                    <a:pt x="276" y="4"/>
                  </a:cubicBezTo>
                  <a:cubicBezTo>
                    <a:pt x="277" y="5"/>
                    <a:pt x="279" y="5"/>
                    <a:pt x="280" y="6"/>
                  </a:cubicBezTo>
                  <a:cubicBezTo>
                    <a:pt x="280" y="4"/>
                    <a:pt x="280" y="3"/>
                    <a:pt x="280" y="2"/>
                  </a:cubicBezTo>
                  <a:cubicBezTo>
                    <a:pt x="279" y="1"/>
                    <a:pt x="278" y="1"/>
                    <a:pt x="276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7" name="Freeform 31"/>
            <p:cNvSpPr>
              <a:spLocks/>
            </p:cNvSpPr>
            <p:nvPr/>
          </p:nvSpPr>
          <p:spPr bwMode="auto">
            <a:xfrm>
              <a:off x="3248" y="3733"/>
              <a:ext cx="1" cy="3"/>
            </a:xfrm>
            <a:custGeom>
              <a:avLst/>
              <a:gdLst>
                <a:gd name="T0" fmla="*/ 0 w 1"/>
                <a:gd name="T1" fmla="*/ 0 h 10"/>
                <a:gd name="T2" fmla="*/ 0 w 1"/>
                <a:gd name="T3" fmla="*/ 10 h 10"/>
                <a:gd name="T4" fmla="*/ 1 w 1"/>
                <a:gd name="T5" fmla="*/ 10 h 10"/>
                <a:gd name="T6" fmla="*/ 0 w 1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0">
                  <a:moveTo>
                    <a:pt x="0" y="0"/>
                  </a:moveTo>
                  <a:cubicBezTo>
                    <a:pt x="0" y="3"/>
                    <a:pt x="0" y="7"/>
                    <a:pt x="0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7"/>
                    <a:pt x="0" y="3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8" name="Freeform 32"/>
            <p:cNvSpPr>
              <a:spLocks noEditPoints="1"/>
            </p:cNvSpPr>
            <p:nvPr/>
          </p:nvSpPr>
          <p:spPr bwMode="auto">
            <a:xfrm>
              <a:off x="3248" y="3736"/>
              <a:ext cx="1" cy="1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2 h 2"/>
                <a:gd name="T12" fmla="*/ 0 w 1"/>
                <a:gd name="T13" fmla="*/ 2 h 2"/>
                <a:gd name="T14" fmla="*/ 1 w 1"/>
                <a:gd name="T15" fmla="*/ 2 h 2"/>
                <a:gd name="T16" fmla="*/ 1 w 1"/>
                <a:gd name="T17" fmla="*/ 2 h 2"/>
                <a:gd name="T18" fmla="*/ 1 w 1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3" name="Freeform 33"/>
            <p:cNvSpPr>
              <a:spLocks/>
            </p:cNvSpPr>
            <p:nvPr/>
          </p:nvSpPr>
          <p:spPr bwMode="auto">
            <a:xfrm>
              <a:off x="3248" y="3737"/>
              <a:ext cx="1" cy="4"/>
            </a:xfrm>
            <a:custGeom>
              <a:avLst/>
              <a:gdLst>
                <a:gd name="T0" fmla="*/ 1 w 1"/>
                <a:gd name="T1" fmla="*/ 0 h 11"/>
                <a:gd name="T2" fmla="*/ 0 w 1"/>
                <a:gd name="T3" fmla="*/ 0 h 11"/>
                <a:gd name="T4" fmla="*/ 0 w 1"/>
                <a:gd name="T5" fmla="*/ 11 h 11"/>
                <a:gd name="T6" fmla="*/ 1 w 1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1" y="4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4" name="Freeform 34"/>
            <p:cNvSpPr>
              <a:spLocks/>
            </p:cNvSpPr>
            <p:nvPr/>
          </p:nvSpPr>
          <p:spPr bwMode="auto">
            <a:xfrm>
              <a:off x="3248" y="3737"/>
              <a:ext cx="1" cy="0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1 w 1"/>
                <a:gd name="T7" fmla="*/ 2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5" name="Oval 35"/>
            <p:cNvSpPr>
              <a:spLocks noChangeArrowheads="1"/>
            </p:cNvSpPr>
            <p:nvPr/>
          </p:nvSpPr>
          <p:spPr bwMode="auto">
            <a:xfrm>
              <a:off x="3002" y="3426"/>
              <a:ext cx="490" cy="490"/>
            </a:xfrm>
            <a:prstGeom prst="ellipse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76" name="Freeform 36"/>
            <p:cNvSpPr>
              <a:spLocks noEditPoints="1"/>
            </p:cNvSpPr>
            <p:nvPr/>
          </p:nvSpPr>
          <p:spPr bwMode="auto">
            <a:xfrm>
              <a:off x="3019" y="3442"/>
              <a:ext cx="458" cy="45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5" name="Freeform 37"/>
            <p:cNvSpPr>
              <a:spLocks noEditPoints="1"/>
            </p:cNvSpPr>
            <p:nvPr/>
          </p:nvSpPr>
          <p:spPr bwMode="auto">
            <a:xfrm>
              <a:off x="3155" y="3583"/>
              <a:ext cx="191" cy="75"/>
            </a:xfrm>
            <a:custGeom>
              <a:avLst/>
              <a:gdLst>
                <a:gd name="T0" fmla="*/ 614 w 615"/>
                <a:gd name="T1" fmla="*/ 224 h 241"/>
                <a:gd name="T2" fmla="*/ 548 w 615"/>
                <a:gd name="T3" fmla="*/ 40 h 241"/>
                <a:gd name="T4" fmla="*/ 547 w 615"/>
                <a:gd name="T5" fmla="*/ 39 h 241"/>
                <a:gd name="T6" fmla="*/ 544 w 615"/>
                <a:gd name="T7" fmla="*/ 32 h 241"/>
                <a:gd name="T8" fmla="*/ 503 w 615"/>
                <a:gd name="T9" fmla="*/ 0 h 241"/>
                <a:gd name="T10" fmla="*/ 112 w 615"/>
                <a:gd name="T11" fmla="*/ 0 h 241"/>
                <a:gd name="T12" fmla="*/ 71 w 615"/>
                <a:gd name="T13" fmla="*/ 32 h 241"/>
                <a:gd name="T14" fmla="*/ 68 w 615"/>
                <a:gd name="T15" fmla="*/ 39 h 241"/>
                <a:gd name="T16" fmla="*/ 68 w 615"/>
                <a:gd name="T17" fmla="*/ 40 h 241"/>
                <a:gd name="T18" fmla="*/ 2 w 615"/>
                <a:gd name="T19" fmla="*/ 224 h 241"/>
                <a:gd name="T20" fmla="*/ 3 w 615"/>
                <a:gd name="T21" fmla="*/ 236 h 241"/>
                <a:gd name="T22" fmla="*/ 14 w 615"/>
                <a:gd name="T23" fmla="*/ 241 h 241"/>
                <a:gd name="T24" fmla="*/ 602 w 615"/>
                <a:gd name="T25" fmla="*/ 241 h 241"/>
                <a:gd name="T26" fmla="*/ 612 w 615"/>
                <a:gd name="T27" fmla="*/ 236 h 241"/>
                <a:gd name="T28" fmla="*/ 614 w 615"/>
                <a:gd name="T29" fmla="*/ 224 h 241"/>
                <a:gd name="T30" fmla="*/ 32 w 615"/>
                <a:gd name="T31" fmla="*/ 215 h 241"/>
                <a:gd name="T32" fmla="*/ 92 w 615"/>
                <a:gd name="T33" fmla="*/ 49 h 241"/>
                <a:gd name="T34" fmla="*/ 95 w 615"/>
                <a:gd name="T35" fmla="*/ 41 h 241"/>
                <a:gd name="T36" fmla="*/ 112 w 615"/>
                <a:gd name="T37" fmla="*/ 26 h 241"/>
                <a:gd name="T38" fmla="*/ 503 w 615"/>
                <a:gd name="T39" fmla="*/ 26 h 241"/>
                <a:gd name="T40" fmla="*/ 520 w 615"/>
                <a:gd name="T41" fmla="*/ 41 h 241"/>
                <a:gd name="T42" fmla="*/ 523 w 615"/>
                <a:gd name="T43" fmla="*/ 49 h 241"/>
                <a:gd name="T44" fmla="*/ 583 w 615"/>
                <a:gd name="T45" fmla="*/ 215 h 241"/>
                <a:gd name="T46" fmla="*/ 32 w 615"/>
                <a:gd name="T47" fmla="*/ 21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15" h="241">
                  <a:moveTo>
                    <a:pt x="614" y="224"/>
                  </a:moveTo>
                  <a:cubicBezTo>
                    <a:pt x="548" y="40"/>
                    <a:pt x="548" y="40"/>
                    <a:pt x="548" y="40"/>
                  </a:cubicBezTo>
                  <a:cubicBezTo>
                    <a:pt x="547" y="39"/>
                    <a:pt x="547" y="39"/>
                    <a:pt x="547" y="39"/>
                  </a:cubicBezTo>
                  <a:cubicBezTo>
                    <a:pt x="546" y="37"/>
                    <a:pt x="545" y="34"/>
                    <a:pt x="544" y="32"/>
                  </a:cubicBezTo>
                  <a:cubicBezTo>
                    <a:pt x="539" y="18"/>
                    <a:pt x="532" y="0"/>
                    <a:pt x="50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84" y="0"/>
                    <a:pt x="76" y="18"/>
                    <a:pt x="71" y="32"/>
                  </a:cubicBezTo>
                  <a:cubicBezTo>
                    <a:pt x="70" y="34"/>
                    <a:pt x="69" y="37"/>
                    <a:pt x="68" y="39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2" y="224"/>
                    <a:pt x="2" y="224"/>
                    <a:pt x="2" y="224"/>
                  </a:cubicBezTo>
                  <a:cubicBezTo>
                    <a:pt x="0" y="228"/>
                    <a:pt x="1" y="232"/>
                    <a:pt x="3" y="236"/>
                  </a:cubicBezTo>
                  <a:cubicBezTo>
                    <a:pt x="6" y="239"/>
                    <a:pt x="10" y="241"/>
                    <a:pt x="14" y="241"/>
                  </a:cubicBezTo>
                  <a:cubicBezTo>
                    <a:pt x="602" y="241"/>
                    <a:pt x="602" y="241"/>
                    <a:pt x="602" y="241"/>
                  </a:cubicBezTo>
                  <a:cubicBezTo>
                    <a:pt x="606" y="241"/>
                    <a:pt x="610" y="239"/>
                    <a:pt x="612" y="236"/>
                  </a:cubicBezTo>
                  <a:cubicBezTo>
                    <a:pt x="615" y="232"/>
                    <a:pt x="615" y="228"/>
                    <a:pt x="614" y="224"/>
                  </a:cubicBezTo>
                  <a:close/>
                  <a:moveTo>
                    <a:pt x="32" y="215"/>
                  </a:moveTo>
                  <a:cubicBezTo>
                    <a:pt x="92" y="49"/>
                    <a:pt x="92" y="49"/>
                    <a:pt x="92" y="49"/>
                  </a:cubicBezTo>
                  <a:cubicBezTo>
                    <a:pt x="93" y="47"/>
                    <a:pt x="94" y="44"/>
                    <a:pt x="95" y="41"/>
                  </a:cubicBezTo>
                  <a:cubicBezTo>
                    <a:pt x="100" y="29"/>
                    <a:pt x="101" y="26"/>
                    <a:pt x="112" y="26"/>
                  </a:cubicBezTo>
                  <a:cubicBezTo>
                    <a:pt x="503" y="26"/>
                    <a:pt x="503" y="26"/>
                    <a:pt x="503" y="26"/>
                  </a:cubicBezTo>
                  <a:cubicBezTo>
                    <a:pt x="514" y="26"/>
                    <a:pt x="515" y="29"/>
                    <a:pt x="520" y="41"/>
                  </a:cubicBezTo>
                  <a:cubicBezTo>
                    <a:pt x="521" y="44"/>
                    <a:pt x="522" y="47"/>
                    <a:pt x="523" y="49"/>
                  </a:cubicBezTo>
                  <a:cubicBezTo>
                    <a:pt x="583" y="215"/>
                    <a:pt x="583" y="215"/>
                    <a:pt x="583" y="215"/>
                  </a:cubicBezTo>
                  <a:lnTo>
                    <a:pt x="32" y="2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6" name="Freeform 38"/>
            <p:cNvSpPr>
              <a:spLocks noEditPoints="1"/>
            </p:cNvSpPr>
            <p:nvPr/>
          </p:nvSpPr>
          <p:spPr bwMode="auto">
            <a:xfrm>
              <a:off x="3132" y="3530"/>
              <a:ext cx="237" cy="265"/>
            </a:xfrm>
            <a:custGeom>
              <a:avLst/>
              <a:gdLst>
                <a:gd name="T0" fmla="*/ 700 w 763"/>
                <a:gd name="T1" fmla="*/ 114 h 855"/>
                <a:gd name="T2" fmla="*/ 382 w 763"/>
                <a:gd name="T3" fmla="*/ 0 h 855"/>
                <a:gd name="T4" fmla="*/ 63 w 763"/>
                <a:gd name="T5" fmla="*/ 114 h 855"/>
                <a:gd name="T6" fmla="*/ 0 w 763"/>
                <a:gd name="T7" fmla="*/ 468 h 855"/>
                <a:gd name="T8" fmla="*/ 0 w 763"/>
                <a:gd name="T9" fmla="*/ 468 h 855"/>
                <a:gd name="T10" fmla="*/ 0 w 763"/>
                <a:gd name="T11" fmla="*/ 754 h 855"/>
                <a:gd name="T12" fmla="*/ 89 w 763"/>
                <a:gd name="T13" fmla="*/ 754 h 855"/>
                <a:gd name="T14" fmla="*/ 89 w 763"/>
                <a:gd name="T15" fmla="*/ 788 h 855"/>
                <a:gd name="T16" fmla="*/ 156 w 763"/>
                <a:gd name="T17" fmla="*/ 855 h 855"/>
                <a:gd name="T18" fmla="*/ 224 w 763"/>
                <a:gd name="T19" fmla="*/ 788 h 855"/>
                <a:gd name="T20" fmla="*/ 224 w 763"/>
                <a:gd name="T21" fmla="*/ 754 h 855"/>
                <a:gd name="T22" fmla="*/ 541 w 763"/>
                <a:gd name="T23" fmla="*/ 754 h 855"/>
                <a:gd name="T24" fmla="*/ 541 w 763"/>
                <a:gd name="T25" fmla="*/ 787 h 855"/>
                <a:gd name="T26" fmla="*/ 608 w 763"/>
                <a:gd name="T27" fmla="*/ 854 h 855"/>
                <a:gd name="T28" fmla="*/ 676 w 763"/>
                <a:gd name="T29" fmla="*/ 787 h 855"/>
                <a:gd name="T30" fmla="*/ 676 w 763"/>
                <a:gd name="T31" fmla="*/ 754 h 855"/>
                <a:gd name="T32" fmla="*/ 763 w 763"/>
                <a:gd name="T33" fmla="*/ 754 h 855"/>
                <a:gd name="T34" fmla="*/ 763 w 763"/>
                <a:gd name="T35" fmla="*/ 468 h 855"/>
                <a:gd name="T36" fmla="*/ 763 w 763"/>
                <a:gd name="T37" fmla="*/ 468 h 855"/>
                <a:gd name="T38" fmla="*/ 700 w 763"/>
                <a:gd name="T39" fmla="*/ 114 h 855"/>
                <a:gd name="T40" fmla="*/ 89 w 763"/>
                <a:gd name="T41" fmla="*/ 118 h 855"/>
                <a:gd name="T42" fmla="*/ 89 w 763"/>
                <a:gd name="T43" fmla="*/ 115 h 855"/>
                <a:gd name="T44" fmla="*/ 382 w 763"/>
                <a:gd name="T45" fmla="*/ 26 h 855"/>
                <a:gd name="T46" fmla="*/ 674 w 763"/>
                <a:gd name="T47" fmla="*/ 115 h 855"/>
                <a:gd name="T48" fmla="*/ 674 w 763"/>
                <a:gd name="T49" fmla="*/ 118 h 855"/>
                <a:gd name="T50" fmla="*/ 736 w 763"/>
                <a:gd name="T51" fmla="*/ 468 h 855"/>
                <a:gd name="T52" fmla="*/ 27 w 763"/>
                <a:gd name="T53" fmla="*/ 468 h 855"/>
                <a:gd name="T54" fmla="*/ 89 w 763"/>
                <a:gd name="T55" fmla="*/ 118 h 855"/>
                <a:gd name="T56" fmla="*/ 198 w 763"/>
                <a:gd name="T57" fmla="*/ 788 h 855"/>
                <a:gd name="T58" fmla="*/ 156 w 763"/>
                <a:gd name="T59" fmla="*/ 829 h 855"/>
                <a:gd name="T60" fmla="*/ 115 w 763"/>
                <a:gd name="T61" fmla="*/ 788 h 855"/>
                <a:gd name="T62" fmla="*/ 115 w 763"/>
                <a:gd name="T63" fmla="*/ 754 h 855"/>
                <a:gd name="T64" fmla="*/ 198 w 763"/>
                <a:gd name="T65" fmla="*/ 754 h 855"/>
                <a:gd name="T66" fmla="*/ 198 w 763"/>
                <a:gd name="T67" fmla="*/ 788 h 855"/>
                <a:gd name="T68" fmla="*/ 650 w 763"/>
                <a:gd name="T69" fmla="*/ 787 h 855"/>
                <a:gd name="T70" fmla="*/ 608 w 763"/>
                <a:gd name="T71" fmla="*/ 828 h 855"/>
                <a:gd name="T72" fmla="*/ 567 w 763"/>
                <a:gd name="T73" fmla="*/ 787 h 855"/>
                <a:gd name="T74" fmla="*/ 567 w 763"/>
                <a:gd name="T75" fmla="*/ 754 h 855"/>
                <a:gd name="T76" fmla="*/ 650 w 763"/>
                <a:gd name="T77" fmla="*/ 754 h 855"/>
                <a:gd name="T78" fmla="*/ 650 w 763"/>
                <a:gd name="T79" fmla="*/ 787 h 855"/>
                <a:gd name="T80" fmla="*/ 737 w 763"/>
                <a:gd name="T81" fmla="*/ 728 h 855"/>
                <a:gd name="T82" fmla="*/ 26 w 763"/>
                <a:gd name="T83" fmla="*/ 728 h 855"/>
                <a:gd name="T84" fmla="*/ 26 w 763"/>
                <a:gd name="T85" fmla="*/ 494 h 855"/>
                <a:gd name="T86" fmla="*/ 737 w 763"/>
                <a:gd name="T87" fmla="*/ 494 h 855"/>
                <a:gd name="T88" fmla="*/ 737 w 763"/>
                <a:gd name="T89" fmla="*/ 728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3" h="855">
                  <a:moveTo>
                    <a:pt x="700" y="114"/>
                  </a:moveTo>
                  <a:cubicBezTo>
                    <a:pt x="698" y="40"/>
                    <a:pt x="535" y="0"/>
                    <a:pt x="382" y="0"/>
                  </a:cubicBezTo>
                  <a:cubicBezTo>
                    <a:pt x="228" y="0"/>
                    <a:pt x="65" y="40"/>
                    <a:pt x="63" y="114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754"/>
                    <a:pt x="0" y="754"/>
                    <a:pt x="0" y="754"/>
                  </a:cubicBezTo>
                  <a:cubicBezTo>
                    <a:pt x="89" y="754"/>
                    <a:pt x="89" y="754"/>
                    <a:pt x="89" y="754"/>
                  </a:cubicBezTo>
                  <a:cubicBezTo>
                    <a:pt x="89" y="788"/>
                    <a:pt x="89" y="788"/>
                    <a:pt x="89" y="788"/>
                  </a:cubicBezTo>
                  <a:cubicBezTo>
                    <a:pt x="89" y="825"/>
                    <a:pt x="119" y="855"/>
                    <a:pt x="156" y="855"/>
                  </a:cubicBezTo>
                  <a:cubicBezTo>
                    <a:pt x="194" y="855"/>
                    <a:pt x="224" y="825"/>
                    <a:pt x="224" y="788"/>
                  </a:cubicBezTo>
                  <a:cubicBezTo>
                    <a:pt x="224" y="754"/>
                    <a:pt x="224" y="754"/>
                    <a:pt x="224" y="754"/>
                  </a:cubicBezTo>
                  <a:cubicBezTo>
                    <a:pt x="541" y="754"/>
                    <a:pt x="541" y="754"/>
                    <a:pt x="541" y="754"/>
                  </a:cubicBezTo>
                  <a:cubicBezTo>
                    <a:pt x="541" y="787"/>
                    <a:pt x="541" y="787"/>
                    <a:pt x="541" y="787"/>
                  </a:cubicBezTo>
                  <a:cubicBezTo>
                    <a:pt x="541" y="824"/>
                    <a:pt x="571" y="854"/>
                    <a:pt x="608" y="854"/>
                  </a:cubicBezTo>
                  <a:cubicBezTo>
                    <a:pt x="645" y="854"/>
                    <a:pt x="676" y="824"/>
                    <a:pt x="676" y="787"/>
                  </a:cubicBezTo>
                  <a:cubicBezTo>
                    <a:pt x="676" y="754"/>
                    <a:pt x="676" y="754"/>
                    <a:pt x="676" y="754"/>
                  </a:cubicBezTo>
                  <a:cubicBezTo>
                    <a:pt x="763" y="754"/>
                    <a:pt x="763" y="754"/>
                    <a:pt x="763" y="754"/>
                  </a:cubicBezTo>
                  <a:cubicBezTo>
                    <a:pt x="763" y="468"/>
                    <a:pt x="763" y="468"/>
                    <a:pt x="763" y="468"/>
                  </a:cubicBezTo>
                  <a:cubicBezTo>
                    <a:pt x="763" y="468"/>
                    <a:pt x="763" y="468"/>
                    <a:pt x="763" y="468"/>
                  </a:cubicBezTo>
                  <a:lnTo>
                    <a:pt x="700" y="114"/>
                  </a:lnTo>
                  <a:close/>
                  <a:moveTo>
                    <a:pt x="89" y="118"/>
                  </a:moveTo>
                  <a:cubicBezTo>
                    <a:pt x="89" y="117"/>
                    <a:pt x="89" y="116"/>
                    <a:pt x="89" y="115"/>
                  </a:cubicBezTo>
                  <a:cubicBezTo>
                    <a:pt x="89" y="73"/>
                    <a:pt x="209" y="26"/>
                    <a:pt x="382" y="26"/>
                  </a:cubicBezTo>
                  <a:cubicBezTo>
                    <a:pt x="554" y="26"/>
                    <a:pt x="674" y="73"/>
                    <a:pt x="674" y="115"/>
                  </a:cubicBezTo>
                  <a:cubicBezTo>
                    <a:pt x="674" y="116"/>
                    <a:pt x="674" y="117"/>
                    <a:pt x="674" y="118"/>
                  </a:cubicBezTo>
                  <a:cubicBezTo>
                    <a:pt x="736" y="468"/>
                    <a:pt x="736" y="468"/>
                    <a:pt x="736" y="468"/>
                  </a:cubicBezTo>
                  <a:cubicBezTo>
                    <a:pt x="27" y="468"/>
                    <a:pt x="27" y="468"/>
                    <a:pt x="27" y="468"/>
                  </a:cubicBezTo>
                  <a:lnTo>
                    <a:pt x="89" y="118"/>
                  </a:lnTo>
                  <a:close/>
                  <a:moveTo>
                    <a:pt x="198" y="788"/>
                  </a:moveTo>
                  <a:cubicBezTo>
                    <a:pt x="198" y="811"/>
                    <a:pt x="179" y="829"/>
                    <a:pt x="156" y="829"/>
                  </a:cubicBezTo>
                  <a:cubicBezTo>
                    <a:pt x="134" y="829"/>
                    <a:pt x="115" y="811"/>
                    <a:pt x="115" y="788"/>
                  </a:cubicBezTo>
                  <a:cubicBezTo>
                    <a:pt x="115" y="754"/>
                    <a:pt x="115" y="754"/>
                    <a:pt x="115" y="754"/>
                  </a:cubicBezTo>
                  <a:cubicBezTo>
                    <a:pt x="198" y="754"/>
                    <a:pt x="198" y="754"/>
                    <a:pt x="198" y="754"/>
                  </a:cubicBezTo>
                  <a:lnTo>
                    <a:pt x="198" y="788"/>
                  </a:lnTo>
                  <a:close/>
                  <a:moveTo>
                    <a:pt x="650" y="787"/>
                  </a:moveTo>
                  <a:cubicBezTo>
                    <a:pt x="650" y="809"/>
                    <a:pt x="631" y="828"/>
                    <a:pt x="608" y="828"/>
                  </a:cubicBezTo>
                  <a:cubicBezTo>
                    <a:pt x="585" y="828"/>
                    <a:pt x="567" y="809"/>
                    <a:pt x="567" y="787"/>
                  </a:cubicBezTo>
                  <a:cubicBezTo>
                    <a:pt x="567" y="754"/>
                    <a:pt x="567" y="754"/>
                    <a:pt x="567" y="754"/>
                  </a:cubicBezTo>
                  <a:cubicBezTo>
                    <a:pt x="650" y="754"/>
                    <a:pt x="650" y="754"/>
                    <a:pt x="650" y="754"/>
                  </a:cubicBezTo>
                  <a:lnTo>
                    <a:pt x="650" y="787"/>
                  </a:lnTo>
                  <a:close/>
                  <a:moveTo>
                    <a:pt x="737" y="728"/>
                  </a:moveTo>
                  <a:cubicBezTo>
                    <a:pt x="26" y="728"/>
                    <a:pt x="26" y="728"/>
                    <a:pt x="26" y="728"/>
                  </a:cubicBezTo>
                  <a:cubicBezTo>
                    <a:pt x="26" y="494"/>
                    <a:pt x="26" y="494"/>
                    <a:pt x="26" y="494"/>
                  </a:cubicBezTo>
                  <a:cubicBezTo>
                    <a:pt x="737" y="494"/>
                    <a:pt x="737" y="494"/>
                    <a:pt x="737" y="494"/>
                  </a:cubicBezTo>
                  <a:lnTo>
                    <a:pt x="737" y="7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7" name="Freeform 39"/>
            <p:cNvSpPr>
              <a:spLocks noEditPoints="1"/>
            </p:cNvSpPr>
            <p:nvPr/>
          </p:nvSpPr>
          <p:spPr bwMode="auto">
            <a:xfrm>
              <a:off x="3182" y="3548"/>
              <a:ext cx="137" cy="26"/>
            </a:xfrm>
            <a:custGeom>
              <a:avLst/>
              <a:gdLst>
                <a:gd name="T0" fmla="*/ 13 w 440"/>
                <a:gd name="T1" fmla="*/ 81 h 81"/>
                <a:gd name="T2" fmla="*/ 427 w 440"/>
                <a:gd name="T3" fmla="*/ 81 h 81"/>
                <a:gd name="T4" fmla="*/ 440 w 440"/>
                <a:gd name="T5" fmla="*/ 68 h 81"/>
                <a:gd name="T6" fmla="*/ 440 w 440"/>
                <a:gd name="T7" fmla="*/ 13 h 81"/>
                <a:gd name="T8" fmla="*/ 427 w 440"/>
                <a:gd name="T9" fmla="*/ 0 h 81"/>
                <a:gd name="T10" fmla="*/ 13 w 440"/>
                <a:gd name="T11" fmla="*/ 0 h 81"/>
                <a:gd name="T12" fmla="*/ 0 w 440"/>
                <a:gd name="T13" fmla="*/ 13 h 81"/>
                <a:gd name="T14" fmla="*/ 0 w 440"/>
                <a:gd name="T15" fmla="*/ 68 h 81"/>
                <a:gd name="T16" fmla="*/ 13 w 440"/>
                <a:gd name="T17" fmla="*/ 81 h 81"/>
                <a:gd name="T18" fmla="*/ 26 w 440"/>
                <a:gd name="T19" fmla="*/ 26 h 81"/>
                <a:gd name="T20" fmla="*/ 414 w 440"/>
                <a:gd name="T21" fmla="*/ 26 h 81"/>
                <a:gd name="T22" fmla="*/ 414 w 440"/>
                <a:gd name="T23" fmla="*/ 55 h 81"/>
                <a:gd name="T24" fmla="*/ 26 w 440"/>
                <a:gd name="T25" fmla="*/ 55 h 81"/>
                <a:gd name="T26" fmla="*/ 26 w 440"/>
                <a:gd name="T27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0" h="81">
                  <a:moveTo>
                    <a:pt x="13" y="81"/>
                  </a:moveTo>
                  <a:cubicBezTo>
                    <a:pt x="427" y="81"/>
                    <a:pt x="427" y="81"/>
                    <a:pt x="427" y="81"/>
                  </a:cubicBezTo>
                  <a:cubicBezTo>
                    <a:pt x="434" y="81"/>
                    <a:pt x="440" y="75"/>
                    <a:pt x="440" y="68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40" y="6"/>
                    <a:pt x="434" y="0"/>
                    <a:pt x="42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5"/>
                    <a:pt x="5" y="81"/>
                    <a:pt x="13" y="81"/>
                  </a:cubicBezTo>
                  <a:close/>
                  <a:moveTo>
                    <a:pt x="26" y="26"/>
                  </a:moveTo>
                  <a:cubicBezTo>
                    <a:pt x="414" y="26"/>
                    <a:pt x="414" y="26"/>
                    <a:pt x="414" y="26"/>
                  </a:cubicBezTo>
                  <a:cubicBezTo>
                    <a:pt x="414" y="55"/>
                    <a:pt x="414" y="55"/>
                    <a:pt x="414" y="55"/>
                  </a:cubicBezTo>
                  <a:cubicBezTo>
                    <a:pt x="26" y="55"/>
                    <a:pt x="26" y="55"/>
                    <a:pt x="26" y="55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8" name="Freeform 40"/>
            <p:cNvSpPr>
              <a:spLocks noEditPoints="1"/>
            </p:cNvSpPr>
            <p:nvPr/>
          </p:nvSpPr>
          <p:spPr bwMode="auto">
            <a:xfrm>
              <a:off x="3159" y="3705"/>
              <a:ext cx="32" cy="31"/>
            </a:xfrm>
            <a:custGeom>
              <a:avLst/>
              <a:gdLst>
                <a:gd name="T0" fmla="*/ 51 w 102"/>
                <a:gd name="T1" fmla="*/ 102 h 102"/>
                <a:gd name="T2" fmla="*/ 102 w 102"/>
                <a:gd name="T3" fmla="*/ 51 h 102"/>
                <a:gd name="T4" fmla="*/ 51 w 102"/>
                <a:gd name="T5" fmla="*/ 0 h 102"/>
                <a:gd name="T6" fmla="*/ 0 w 102"/>
                <a:gd name="T7" fmla="*/ 51 h 102"/>
                <a:gd name="T8" fmla="*/ 51 w 102"/>
                <a:gd name="T9" fmla="*/ 102 h 102"/>
                <a:gd name="T10" fmla="*/ 51 w 102"/>
                <a:gd name="T11" fmla="*/ 26 h 102"/>
                <a:gd name="T12" fmla="*/ 76 w 102"/>
                <a:gd name="T13" fmla="*/ 51 h 102"/>
                <a:gd name="T14" fmla="*/ 51 w 102"/>
                <a:gd name="T15" fmla="*/ 76 h 102"/>
                <a:gd name="T16" fmla="*/ 26 w 102"/>
                <a:gd name="T17" fmla="*/ 51 h 102"/>
                <a:gd name="T18" fmla="*/ 51 w 102"/>
                <a:gd name="T19" fmla="*/ 2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80" y="102"/>
                    <a:pt x="102" y="79"/>
                    <a:pt x="102" y="51"/>
                  </a:cubicBezTo>
                  <a:cubicBezTo>
                    <a:pt x="102" y="23"/>
                    <a:pt x="80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lose/>
                  <a:moveTo>
                    <a:pt x="51" y="26"/>
                  </a:moveTo>
                  <a:cubicBezTo>
                    <a:pt x="65" y="26"/>
                    <a:pt x="76" y="37"/>
                    <a:pt x="76" y="51"/>
                  </a:cubicBezTo>
                  <a:cubicBezTo>
                    <a:pt x="76" y="65"/>
                    <a:pt x="65" y="76"/>
                    <a:pt x="51" y="76"/>
                  </a:cubicBezTo>
                  <a:cubicBezTo>
                    <a:pt x="37" y="76"/>
                    <a:pt x="26" y="65"/>
                    <a:pt x="26" y="51"/>
                  </a:cubicBezTo>
                  <a:cubicBezTo>
                    <a:pt x="26" y="37"/>
                    <a:pt x="37" y="26"/>
                    <a:pt x="51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9" name="Freeform 41"/>
            <p:cNvSpPr>
              <a:spLocks noEditPoints="1"/>
            </p:cNvSpPr>
            <p:nvPr/>
          </p:nvSpPr>
          <p:spPr bwMode="auto">
            <a:xfrm>
              <a:off x="3310" y="3705"/>
              <a:ext cx="31" cy="31"/>
            </a:xfrm>
            <a:custGeom>
              <a:avLst/>
              <a:gdLst>
                <a:gd name="T0" fmla="*/ 51 w 102"/>
                <a:gd name="T1" fmla="*/ 102 h 102"/>
                <a:gd name="T2" fmla="*/ 102 w 102"/>
                <a:gd name="T3" fmla="*/ 51 h 102"/>
                <a:gd name="T4" fmla="*/ 51 w 102"/>
                <a:gd name="T5" fmla="*/ 0 h 102"/>
                <a:gd name="T6" fmla="*/ 0 w 102"/>
                <a:gd name="T7" fmla="*/ 51 h 102"/>
                <a:gd name="T8" fmla="*/ 51 w 102"/>
                <a:gd name="T9" fmla="*/ 102 h 102"/>
                <a:gd name="T10" fmla="*/ 51 w 102"/>
                <a:gd name="T11" fmla="*/ 26 h 102"/>
                <a:gd name="T12" fmla="*/ 76 w 102"/>
                <a:gd name="T13" fmla="*/ 51 h 102"/>
                <a:gd name="T14" fmla="*/ 51 w 102"/>
                <a:gd name="T15" fmla="*/ 76 h 102"/>
                <a:gd name="T16" fmla="*/ 26 w 102"/>
                <a:gd name="T17" fmla="*/ 51 h 102"/>
                <a:gd name="T18" fmla="*/ 51 w 102"/>
                <a:gd name="T19" fmla="*/ 2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lose/>
                  <a:moveTo>
                    <a:pt x="51" y="26"/>
                  </a:moveTo>
                  <a:cubicBezTo>
                    <a:pt x="65" y="26"/>
                    <a:pt x="76" y="37"/>
                    <a:pt x="76" y="51"/>
                  </a:cubicBezTo>
                  <a:cubicBezTo>
                    <a:pt x="76" y="65"/>
                    <a:pt x="65" y="76"/>
                    <a:pt x="51" y="76"/>
                  </a:cubicBezTo>
                  <a:cubicBezTo>
                    <a:pt x="37" y="76"/>
                    <a:pt x="26" y="65"/>
                    <a:pt x="26" y="51"/>
                  </a:cubicBezTo>
                  <a:cubicBezTo>
                    <a:pt x="26" y="37"/>
                    <a:pt x="37" y="26"/>
                    <a:pt x="51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090" name="Group 44"/>
          <p:cNvGrpSpPr>
            <a:grpSpLocks noChangeAspect="1"/>
          </p:cNvGrpSpPr>
          <p:nvPr/>
        </p:nvGrpSpPr>
        <p:grpSpPr bwMode="auto">
          <a:xfrm>
            <a:off x="5857208" y="5477803"/>
            <a:ext cx="768096" cy="769667"/>
            <a:chOff x="3679" y="3411"/>
            <a:chExt cx="489" cy="490"/>
          </a:xfrm>
        </p:grpSpPr>
        <p:sp>
          <p:nvSpPr>
            <p:cNvPr id="45091" name="AutoShape 43"/>
            <p:cNvSpPr>
              <a:spLocks noChangeAspect="1" noChangeArrowheads="1" noTextEdit="1"/>
            </p:cNvSpPr>
            <p:nvPr/>
          </p:nvSpPr>
          <p:spPr bwMode="auto">
            <a:xfrm>
              <a:off x="3679" y="3411"/>
              <a:ext cx="489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2" name="Freeform 45"/>
            <p:cNvSpPr>
              <a:spLocks noEditPoints="1"/>
            </p:cNvSpPr>
            <p:nvPr/>
          </p:nvSpPr>
          <p:spPr bwMode="auto">
            <a:xfrm>
              <a:off x="3679" y="3411"/>
              <a:ext cx="489" cy="49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3" name="Freeform 46"/>
            <p:cNvSpPr>
              <a:spLocks noEditPoints="1"/>
            </p:cNvSpPr>
            <p:nvPr/>
          </p:nvSpPr>
          <p:spPr bwMode="auto">
            <a:xfrm>
              <a:off x="3824" y="3562"/>
              <a:ext cx="204" cy="80"/>
            </a:xfrm>
            <a:custGeom>
              <a:avLst/>
              <a:gdLst>
                <a:gd name="T0" fmla="*/ 614 w 615"/>
                <a:gd name="T1" fmla="*/ 224 h 241"/>
                <a:gd name="T2" fmla="*/ 548 w 615"/>
                <a:gd name="T3" fmla="*/ 40 h 241"/>
                <a:gd name="T4" fmla="*/ 547 w 615"/>
                <a:gd name="T5" fmla="*/ 39 h 241"/>
                <a:gd name="T6" fmla="*/ 544 w 615"/>
                <a:gd name="T7" fmla="*/ 32 h 241"/>
                <a:gd name="T8" fmla="*/ 503 w 615"/>
                <a:gd name="T9" fmla="*/ 0 h 241"/>
                <a:gd name="T10" fmla="*/ 112 w 615"/>
                <a:gd name="T11" fmla="*/ 0 h 241"/>
                <a:gd name="T12" fmla="*/ 71 w 615"/>
                <a:gd name="T13" fmla="*/ 32 h 241"/>
                <a:gd name="T14" fmla="*/ 68 w 615"/>
                <a:gd name="T15" fmla="*/ 39 h 241"/>
                <a:gd name="T16" fmla="*/ 68 w 615"/>
                <a:gd name="T17" fmla="*/ 40 h 241"/>
                <a:gd name="T18" fmla="*/ 2 w 615"/>
                <a:gd name="T19" fmla="*/ 224 h 241"/>
                <a:gd name="T20" fmla="*/ 3 w 615"/>
                <a:gd name="T21" fmla="*/ 236 h 241"/>
                <a:gd name="T22" fmla="*/ 14 w 615"/>
                <a:gd name="T23" fmla="*/ 241 h 241"/>
                <a:gd name="T24" fmla="*/ 602 w 615"/>
                <a:gd name="T25" fmla="*/ 241 h 241"/>
                <a:gd name="T26" fmla="*/ 612 w 615"/>
                <a:gd name="T27" fmla="*/ 236 h 241"/>
                <a:gd name="T28" fmla="*/ 614 w 615"/>
                <a:gd name="T29" fmla="*/ 224 h 241"/>
                <a:gd name="T30" fmla="*/ 32 w 615"/>
                <a:gd name="T31" fmla="*/ 215 h 241"/>
                <a:gd name="T32" fmla="*/ 92 w 615"/>
                <a:gd name="T33" fmla="*/ 49 h 241"/>
                <a:gd name="T34" fmla="*/ 95 w 615"/>
                <a:gd name="T35" fmla="*/ 41 h 241"/>
                <a:gd name="T36" fmla="*/ 112 w 615"/>
                <a:gd name="T37" fmla="*/ 26 h 241"/>
                <a:gd name="T38" fmla="*/ 503 w 615"/>
                <a:gd name="T39" fmla="*/ 26 h 241"/>
                <a:gd name="T40" fmla="*/ 520 w 615"/>
                <a:gd name="T41" fmla="*/ 41 h 241"/>
                <a:gd name="T42" fmla="*/ 523 w 615"/>
                <a:gd name="T43" fmla="*/ 49 h 241"/>
                <a:gd name="T44" fmla="*/ 583 w 615"/>
                <a:gd name="T45" fmla="*/ 215 h 241"/>
                <a:gd name="T46" fmla="*/ 32 w 615"/>
                <a:gd name="T47" fmla="*/ 21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15" h="241">
                  <a:moveTo>
                    <a:pt x="614" y="224"/>
                  </a:moveTo>
                  <a:cubicBezTo>
                    <a:pt x="548" y="40"/>
                    <a:pt x="548" y="40"/>
                    <a:pt x="548" y="40"/>
                  </a:cubicBezTo>
                  <a:cubicBezTo>
                    <a:pt x="548" y="40"/>
                    <a:pt x="547" y="39"/>
                    <a:pt x="547" y="39"/>
                  </a:cubicBezTo>
                  <a:cubicBezTo>
                    <a:pt x="546" y="37"/>
                    <a:pt x="545" y="34"/>
                    <a:pt x="544" y="32"/>
                  </a:cubicBezTo>
                  <a:cubicBezTo>
                    <a:pt x="539" y="18"/>
                    <a:pt x="532" y="0"/>
                    <a:pt x="50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84" y="0"/>
                    <a:pt x="76" y="18"/>
                    <a:pt x="71" y="32"/>
                  </a:cubicBezTo>
                  <a:cubicBezTo>
                    <a:pt x="70" y="34"/>
                    <a:pt x="69" y="37"/>
                    <a:pt x="68" y="39"/>
                  </a:cubicBezTo>
                  <a:cubicBezTo>
                    <a:pt x="68" y="39"/>
                    <a:pt x="68" y="40"/>
                    <a:pt x="68" y="40"/>
                  </a:cubicBezTo>
                  <a:cubicBezTo>
                    <a:pt x="2" y="224"/>
                    <a:pt x="2" y="224"/>
                    <a:pt x="2" y="224"/>
                  </a:cubicBezTo>
                  <a:cubicBezTo>
                    <a:pt x="0" y="228"/>
                    <a:pt x="1" y="232"/>
                    <a:pt x="3" y="236"/>
                  </a:cubicBezTo>
                  <a:cubicBezTo>
                    <a:pt x="6" y="239"/>
                    <a:pt x="10" y="241"/>
                    <a:pt x="14" y="241"/>
                  </a:cubicBezTo>
                  <a:cubicBezTo>
                    <a:pt x="602" y="241"/>
                    <a:pt x="602" y="241"/>
                    <a:pt x="602" y="241"/>
                  </a:cubicBezTo>
                  <a:cubicBezTo>
                    <a:pt x="606" y="241"/>
                    <a:pt x="610" y="239"/>
                    <a:pt x="612" y="236"/>
                  </a:cubicBezTo>
                  <a:cubicBezTo>
                    <a:pt x="615" y="232"/>
                    <a:pt x="615" y="228"/>
                    <a:pt x="614" y="224"/>
                  </a:cubicBezTo>
                  <a:close/>
                  <a:moveTo>
                    <a:pt x="32" y="215"/>
                  </a:moveTo>
                  <a:cubicBezTo>
                    <a:pt x="92" y="49"/>
                    <a:pt x="92" y="49"/>
                    <a:pt x="92" y="49"/>
                  </a:cubicBezTo>
                  <a:cubicBezTo>
                    <a:pt x="93" y="47"/>
                    <a:pt x="94" y="44"/>
                    <a:pt x="95" y="41"/>
                  </a:cubicBezTo>
                  <a:cubicBezTo>
                    <a:pt x="100" y="29"/>
                    <a:pt x="101" y="26"/>
                    <a:pt x="112" y="26"/>
                  </a:cubicBezTo>
                  <a:cubicBezTo>
                    <a:pt x="503" y="26"/>
                    <a:pt x="503" y="26"/>
                    <a:pt x="503" y="26"/>
                  </a:cubicBezTo>
                  <a:cubicBezTo>
                    <a:pt x="514" y="26"/>
                    <a:pt x="515" y="29"/>
                    <a:pt x="520" y="41"/>
                  </a:cubicBezTo>
                  <a:cubicBezTo>
                    <a:pt x="521" y="44"/>
                    <a:pt x="522" y="47"/>
                    <a:pt x="523" y="49"/>
                  </a:cubicBezTo>
                  <a:cubicBezTo>
                    <a:pt x="583" y="215"/>
                    <a:pt x="583" y="215"/>
                    <a:pt x="583" y="215"/>
                  </a:cubicBezTo>
                  <a:lnTo>
                    <a:pt x="32" y="215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4" name="Freeform 47"/>
            <p:cNvSpPr>
              <a:spLocks noEditPoints="1"/>
            </p:cNvSpPr>
            <p:nvPr/>
          </p:nvSpPr>
          <p:spPr bwMode="auto">
            <a:xfrm>
              <a:off x="3800" y="3505"/>
              <a:ext cx="252" cy="284"/>
            </a:xfrm>
            <a:custGeom>
              <a:avLst/>
              <a:gdLst>
                <a:gd name="T0" fmla="*/ 700 w 763"/>
                <a:gd name="T1" fmla="*/ 114 h 855"/>
                <a:gd name="T2" fmla="*/ 382 w 763"/>
                <a:gd name="T3" fmla="*/ 0 h 855"/>
                <a:gd name="T4" fmla="*/ 63 w 763"/>
                <a:gd name="T5" fmla="*/ 114 h 855"/>
                <a:gd name="T6" fmla="*/ 0 w 763"/>
                <a:gd name="T7" fmla="*/ 468 h 855"/>
                <a:gd name="T8" fmla="*/ 0 w 763"/>
                <a:gd name="T9" fmla="*/ 468 h 855"/>
                <a:gd name="T10" fmla="*/ 0 w 763"/>
                <a:gd name="T11" fmla="*/ 754 h 855"/>
                <a:gd name="T12" fmla="*/ 89 w 763"/>
                <a:gd name="T13" fmla="*/ 754 h 855"/>
                <a:gd name="T14" fmla="*/ 89 w 763"/>
                <a:gd name="T15" fmla="*/ 788 h 855"/>
                <a:gd name="T16" fmla="*/ 156 w 763"/>
                <a:gd name="T17" fmla="*/ 855 h 855"/>
                <a:gd name="T18" fmla="*/ 224 w 763"/>
                <a:gd name="T19" fmla="*/ 788 h 855"/>
                <a:gd name="T20" fmla="*/ 224 w 763"/>
                <a:gd name="T21" fmla="*/ 754 h 855"/>
                <a:gd name="T22" fmla="*/ 541 w 763"/>
                <a:gd name="T23" fmla="*/ 754 h 855"/>
                <a:gd name="T24" fmla="*/ 541 w 763"/>
                <a:gd name="T25" fmla="*/ 787 h 855"/>
                <a:gd name="T26" fmla="*/ 608 w 763"/>
                <a:gd name="T27" fmla="*/ 854 h 855"/>
                <a:gd name="T28" fmla="*/ 676 w 763"/>
                <a:gd name="T29" fmla="*/ 787 h 855"/>
                <a:gd name="T30" fmla="*/ 676 w 763"/>
                <a:gd name="T31" fmla="*/ 754 h 855"/>
                <a:gd name="T32" fmla="*/ 763 w 763"/>
                <a:gd name="T33" fmla="*/ 754 h 855"/>
                <a:gd name="T34" fmla="*/ 763 w 763"/>
                <a:gd name="T35" fmla="*/ 468 h 855"/>
                <a:gd name="T36" fmla="*/ 763 w 763"/>
                <a:gd name="T37" fmla="*/ 468 h 855"/>
                <a:gd name="T38" fmla="*/ 700 w 763"/>
                <a:gd name="T39" fmla="*/ 114 h 855"/>
                <a:gd name="T40" fmla="*/ 89 w 763"/>
                <a:gd name="T41" fmla="*/ 118 h 855"/>
                <a:gd name="T42" fmla="*/ 89 w 763"/>
                <a:gd name="T43" fmla="*/ 115 h 855"/>
                <a:gd name="T44" fmla="*/ 382 w 763"/>
                <a:gd name="T45" fmla="*/ 26 h 855"/>
                <a:gd name="T46" fmla="*/ 674 w 763"/>
                <a:gd name="T47" fmla="*/ 115 h 855"/>
                <a:gd name="T48" fmla="*/ 674 w 763"/>
                <a:gd name="T49" fmla="*/ 118 h 855"/>
                <a:gd name="T50" fmla="*/ 736 w 763"/>
                <a:gd name="T51" fmla="*/ 468 h 855"/>
                <a:gd name="T52" fmla="*/ 27 w 763"/>
                <a:gd name="T53" fmla="*/ 468 h 855"/>
                <a:gd name="T54" fmla="*/ 89 w 763"/>
                <a:gd name="T55" fmla="*/ 118 h 855"/>
                <a:gd name="T56" fmla="*/ 198 w 763"/>
                <a:gd name="T57" fmla="*/ 788 h 855"/>
                <a:gd name="T58" fmla="*/ 156 w 763"/>
                <a:gd name="T59" fmla="*/ 829 h 855"/>
                <a:gd name="T60" fmla="*/ 115 w 763"/>
                <a:gd name="T61" fmla="*/ 788 h 855"/>
                <a:gd name="T62" fmla="*/ 115 w 763"/>
                <a:gd name="T63" fmla="*/ 754 h 855"/>
                <a:gd name="T64" fmla="*/ 198 w 763"/>
                <a:gd name="T65" fmla="*/ 754 h 855"/>
                <a:gd name="T66" fmla="*/ 198 w 763"/>
                <a:gd name="T67" fmla="*/ 788 h 855"/>
                <a:gd name="T68" fmla="*/ 650 w 763"/>
                <a:gd name="T69" fmla="*/ 787 h 855"/>
                <a:gd name="T70" fmla="*/ 608 w 763"/>
                <a:gd name="T71" fmla="*/ 828 h 855"/>
                <a:gd name="T72" fmla="*/ 567 w 763"/>
                <a:gd name="T73" fmla="*/ 787 h 855"/>
                <a:gd name="T74" fmla="*/ 567 w 763"/>
                <a:gd name="T75" fmla="*/ 754 h 855"/>
                <a:gd name="T76" fmla="*/ 650 w 763"/>
                <a:gd name="T77" fmla="*/ 754 h 855"/>
                <a:gd name="T78" fmla="*/ 650 w 763"/>
                <a:gd name="T79" fmla="*/ 787 h 855"/>
                <a:gd name="T80" fmla="*/ 737 w 763"/>
                <a:gd name="T81" fmla="*/ 728 h 855"/>
                <a:gd name="T82" fmla="*/ 26 w 763"/>
                <a:gd name="T83" fmla="*/ 728 h 855"/>
                <a:gd name="T84" fmla="*/ 26 w 763"/>
                <a:gd name="T85" fmla="*/ 494 h 855"/>
                <a:gd name="T86" fmla="*/ 737 w 763"/>
                <a:gd name="T87" fmla="*/ 494 h 855"/>
                <a:gd name="T88" fmla="*/ 737 w 763"/>
                <a:gd name="T89" fmla="*/ 728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3" h="855">
                  <a:moveTo>
                    <a:pt x="700" y="114"/>
                  </a:moveTo>
                  <a:cubicBezTo>
                    <a:pt x="698" y="40"/>
                    <a:pt x="535" y="0"/>
                    <a:pt x="382" y="0"/>
                  </a:cubicBezTo>
                  <a:cubicBezTo>
                    <a:pt x="228" y="0"/>
                    <a:pt x="65" y="40"/>
                    <a:pt x="63" y="114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754"/>
                    <a:pt x="0" y="754"/>
                    <a:pt x="0" y="754"/>
                  </a:cubicBezTo>
                  <a:cubicBezTo>
                    <a:pt x="89" y="754"/>
                    <a:pt x="89" y="754"/>
                    <a:pt x="89" y="754"/>
                  </a:cubicBezTo>
                  <a:cubicBezTo>
                    <a:pt x="89" y="788"/>
                    <a:pt x="89" y="788"/>
                    <a:pt x="89" y="788"/>
                  </a:cubicBezTo>
                  <a:cubicBezTo>
                    <a:pt x="89" y="825"/>
                    <a:pt x="119" y="855"/>
                    <a:pt x="156" y="855"/>
                  </a:cubicBezTo>
                  <a:cubicBezTo>
                    <a:pt x="194" y="855"/>
                    <a:pt x="224" y="825"/>
                    <a:pt x="224" y="788"/>
                  </a:cubicBezTo>
                  <a:cubicBezTo>
                    <a:pt x="224" y="754"/>
                    <a:pt x="224" y="754"/>
                    <a:pt x="224" y="754"/>
                  </a:cubicBezTo>
                  <a:cubicBezTo>
                    <a:pt x="541" y="754"/>
                    <a:pt x="541" y="754"/>
                    <a:pt x="541" y="754"/>
                  </a:cubicBezTo>
                  <a:cubicBezTo>
                    <a:pt x="541" y="787"/>
                    <a:pt x="541" y="787"/>
                    <a:pt x="541" y="787"/>
                  </a:cubicBezTo>
                  <a:cubicBezTo>
                    <a:pt x="541" y="824"/>
                    <a:pt x="571" y="854"/>
                    <a:pt x="608" y="854"/>
                  </a:cubicBezTo>
                  <a:cubicBezTo>
                    <a:pt x="645" y="854"/>
                    <a:pt x="676" y="824"/>
                    <a:pt x="676" y="787"/>
                  </a:cubicBezTo>
                  <a:cubicBezTo>
                    <a:pt x="676" y="754"/>
                    <a:pt x="676" y="754"/>
                    <a:pt x="676" y="754"/>
                  </a:cubicBezTo>
                  <a:cubicBezTo>
                    <a:pt x="763" y="754"/>
                    <a:pt x="763" y="754"/>
                    <a:pt x="763" y="754"/>
                  </a:cubicBezTo>
                  <a:cubicBezTo>
                    <a:pt x="763" y="468"/>
                    <a:pt x="763" y="468"/>
                    <a:pt x="763" y="468"/>
                  </a:cubicBezTo>
                  <a:cubicBezTo>
                    <a:pt x="763" y="468"/>
                    <a:pt x="763" y="468"/>
                    <a:pt x="763" y="468"/>
                  </a:cubicBezTo>
                  <a:lnTo>
                    <a:pt x="700" y="114"/>
                  </a:lnTo>
                  <a:close/>
                  <a:moveTo>
                    <a:pt x="89" y="118"/>
                  </a:moveTo>
                  <a:cubicBezTo>
                    <a:pt x="89" y="117"/>
                    <a:pt x="89" y="116"/>
                    <a:pt x="89" y="115"/>
                  </a:cubicBezTo>
                  <a:cubicBezTo>
                    <a:pt x="89" y="73"/>
                    <a:pt x="209" y="26"/>
                    <a:pt x="382" y="26"/>
                  </a:cubicBezTo>
                  <a:cubicBezTo>
                    <a:pt x="554" y="26"/>
                    <a:pt x="674" y="73"/>
                    <a:pt x="674" y="115"/>
                  </a:cubicBezTo>
                  <a:cubicBezTo>
                    <a:pt x="674" y="116"/>
                    <a:pt x="674" y="117"/>
                    <a:pt x="674" y="118"/>
                  </a:cubicBezTo>
                  <a:cubicBezTo>
                    <a:pt x="736" y="468"/>
                    <a:pt x="736" y="468"/>
                    <a:pt x="736" y="468"/>
                  </a:cubicBezTo>
                  <a:cubicBezTo>
                    <a:pt x="27" y="468"/>
                    <a:pt x="27" y="468"/>
                    <a:pt x="27" y="468"/>
                  </a:cubicBezTo>
                  <a:lnTo>
                    <a:pt x="89" y="118"/>
                  </a:lnTo>
                  <a:close/>
                  <a:moveTo>
                    <a:pt x="198" y="788"/>
                  </a:moveTo>
                  <a:cubicBezTo>
                    <a:pt x="198" y="811"/>
                    <a:pt x="179" y="829"/>
                    <a:pt x="156" y="829"/>
                  </a:cubicBezTo>
                  <a:cubicBezTo>
                    <a:pt x="134" y="829"/>
                    <a:pt x="115" y="811"/>
                    <a:pt x="115" y="788"/>
                  </a:cubicBezTo>
                  <a:cubicBezTo>
                    <a:pt x="115" y="754"/>
                    <a:pt x="115" y="754"/>
                    <a:pt x="115" y="754"/>
                  </a:cubicBezTo>
                  <a:cubicBezTo>
                    <a:pt x="198" y="754"/>
                    <a:pt x="198" y="754"/>
                    <a:pt x="198" y="754"/>
                  </a:cubicBezTo>
                  <a:lnTo>
                    <a:pt x="198" y="788"/>
                  </a:lnTo>
                  <a:close/>
                  <a:moveTo>
                    <a:pt x="650" y="787"/>
                  </a:moveTo>
                  <a:cubicBezTo>
                    <a:pt x="650" y="809"/>
                    <a:pt x="631" y="828"/>
                    <a:pt x="608" y="828"/>
                  </a:cubicBezTo>
                  <a:cubicBezTo>
                    <a:pt x="585" y="828"/>
                    <a:pt x="567" y="809"/>
                    <a:pt x="567" y="787"/>
                  </a:cubicBezTo>
                  <a:cubicBezTo>
                    <a:pt x="567" y="754"/>
                    <a:pt x="567" y="754"/>
                    <a:pt x="567" y="754"/>
                  </a:cubicBezTo>
                  <a:cubicBezTo>
                    <a:pt x="650" y="754"/>
                    <a:pt x="650" y="754"/>
                    <a:pt x="650" y="754"/>
                  </a:cubicBezTo>
                  <a:lnTo>
                    <a:pt x="650" y="787"/>
                  </a:lnTo>
                  <a:close/>
                  <a:moveTo>
                    <a:pt x="737" y="728"/>
                  </a:moveTo>
                  <a:cubicBezTo>
                    <a:pt x="26" y="728"/>
                    <a:pt x="26" y="728"/>
                    <a:pt x="26" y="728"/>
                  </a:cubicBezTo>
                  <a:cubicBezTo>
                    <a:pt x="26" y="494"/>
                    <a:pt x="26" y="494"/>
                    <a:pt x="26" y="494"/>
                  </a:cubicBezTo>
                  <a:cubicBezTo>
                    <a:pt x="737" y="494"/>
                    <a:pt x="737" y="494"/>
                    <a:pt x="737" y="494"/>
                  </a:cubicBezTo>
                  <a:lnTo>
                    <a:pt x="737" y="728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5" name="Freeform 48"/>
            <p:cNvSpPr>
              <a:spLocks noEditPoints="1"/>
            </p:cNvSpPr>
            <p:nvPr/>
          </p:nvSpPr>
          <p:spPr bwMode="auto">
            <a:xfrm>
              <a:off x="3853" y="3525"/>
              <a:ext cx="146" cy="27"/>
            </a:xfrm>
            <a:custGeom>
              <a:avLst/>
              <a:gdLst>
                <a:gd name="T0" fmla="*/ 13 w 440"/>
                <a:gd name="T1" fmla="*/ 81 h 81"/>
                <a:gd name="T2" fmla="*/ 427 w 440"/>
                <a:gd name="T3" fmla="*/ 81 h 81"/>
                <a:gd name="T4" fmla="*/ 440 w 440"/>
                <a:gd name="T5" fmla="*/ 68 h 81"/>
                <a:gd name="T6" fmla="*/ 440 w 440"/>
                <a:gd name="T7" fmla="*/ 13 h 81"/>
                <a:gd name="T8" fmla="*/ 427 w 440"/>
                <a:gd name="T9" fmla="*/ 0 h 81"/>
                <a:gd name="T10" fmla="*/ 13 w 440"/>
                <a:gd name="T11" fmla="*/ 0 h 81"/>
                <a:gd name="T12" fmla="*/ 0 w 440"/>
                <a:gd name="T13" fmla="*/ 13 h 81"/>
                <a:gd name="T14" fmla="*/ 0 w 440"/>
                <a:gd name="T15" fmla="*/ 68 h 81"/>
                <a:gd name="T16" fmla="*/ 13 w 440"/>
                <a:gd name="T17" fmla="*/ 81 h 81"/>
                <a:gd name="T18" fmla="*/ 26 w 440"/>
                <a:gd name="T19" fmla="*/ 26 h 81"/>
                <a:gd name="T20" fmla="*/ 414 w 440"/>
                <a:gd name="T21" fmla="*/ 26 h 81"/>
                <a:gd name="T22" fmla="*/ 414 w 440"/>
                <a:gd name="T23" fmla="*/ 55 h 81"/>
                <a:gd name="T24" fmla="*/ 26 w 440"/>
                <a:gd name="T25" fmla="*/ 55 h 81"/>
                <a:gd name="T26" fmla="*/ 26 w 440"/>
                <a:gd name="T27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0" h="81">
                  <a:moveTo>
                    <a:pt x="13" y="81"/>
                  </a:moveTo>
                  <a:cubicBezTo>
                    <a:pt x="427" y="81"/>
                    <a:pt x="427" y="81"/>
                    <a:pt x="427" y="81"/>
                  </a:cubicBezTo>
                  <a:cubicBezTo>
                    <a:pt x="434" y="81"/>
                    <a:pt x="440" y="75"/>
                    <a:pt x="440" y="68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40" y="6"/>
                    <a:pt x="434" y="0"/>
                    <a:pt x="42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5"/>
                    <a:pt x="5" y="81"/>
                    <a:pt x="13" y="81"/>
                  </a:cubicBezTo>
                  <a:close/>
                  <a:moveTo>
                    <a:pt x="26" y="26"/>
                  </a:moveTo>
                  <a:cubicBezTo>
                    <a:pt x="414" y="26"/>
                    <a:pt x="414" y="26"/>
                    <a:pt x="414" y="26"/>
                  </a:cubicBezTo>
                  <a:cubicBezTo>
                    <a:pt x="414" y="55"/>
                    <a:pt x="414" y="55"/>
                    <a:pt x="414" y="55"/>
                  </a:cubicBezTo>
                  <a:cubicBezTo>
                    <a:pt x="26" y="55"/>
                    <a:pt x="26" y="55"/>
                    <a:pt x="26" y="55"/>
                  </a:cubicBezTo>
                  <a:lnTo>
                    <a:pt x="26" y="26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96" name="Freeform 49"/>
            <p:cNvSpPr>
              <a:spLocks noEditPoints="1"/>
            </p:cNvSpPr>
            <p:nvPr/>
          </p:nvSpPr>
          <p:spPr bwMode="auto">
            <a:xfrm>
              <a:off x="3828" y="3692"/>
              <a:ext cx="34" cy="34"/>
            </a:xfrm>
            <a:custGeom>
              <a:avLst/>
              <a:gdLst>
                <a:gd name="T0" fmla="*/ 51 w 102"/>
                <a:gd name="T1" fmla="*/ 102 h 102"/>
                <a:gd name="T2" fmla="*/ 102 w 102"/>
                <a:gd name="T3" fmla="*/ 51 h 102"/>
                <a:gd name="T4" fmla="*/ 51 w 102"/>
                <a:gd name="T5" fmla="*/ 0 h 102"/>
                <a:gd name="T6" fmla="*/ 0 w 102"/>
                <a:gd name="T7" fmla="*/ 51 h 102"/>
                <a:gd name="T8" fmla="*/ 51 w 102"/>
                <a:gd name="T9" fmla="*/ 102 h 102"/>
                <a:gd name="T10" fmla="*/ 51 w 102"/>
                <a:gd name="T11" fmla="*/ 26 h 102"/>
                <a:gd name="T12" fmla="*/ 76 w 102"/>
                <a:gd name="T13" fmla="*/ 51 h 102"/>
                <a:gd name="T14" fmla="*/ 51 w 102"/>
                <a:gd name="T15" fmla="*/ 76 h 102"/>
                <a:gd name="T16" fmla="*/ 26 w 102"/>
                <a:gd name="T17" fmla="*/ 51 h 102"/>
                <a:gd name="T18" fmla="*/ 51 w 102"/>
                <a:gd name="T19" fmla="*/ 2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80" y="102"/>
                    <a:pt x="102" y="79"/>
                    <a:pt x="102" y="51"/>
                  </a:cubicBezTo>
                  <a:cubicBezTo>
                    <a:pt x="102" y="23"/>
                    <a:pt x="80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lose/>
                  <a:moveTo>
                    <a:pt x="51" y="26"/>
                  </a:moveTo>
                  <a:cubicBezTo>
                    <a:pt x="65" y="26"/>
                    <a:pt x="76" y="37"/>
                    <a:pt x="76" y="51"/>
                  </a:cubicBezTo>
                  <a:cubicBezTo>
                    <a:pt x="76" y="65"/>
                    <a:pt x="65" y="76"/>
                    <a:pt x="51" y="76"/>
                  </a:cubicBezTo>
                  <a:cubicBezTo>
                    <a:pt x="37" y="76"/>
                    <a:pt x="26" y="65"/>
                    <a:pt x="26" y="51"/>
                  </a:cubicBezTo>
                  <a:cubicBezTo>
                    <a:pt x="26" y="37"/>
                    <a:pt x="37" y="26"/>
                    <a:pt x="51" y="26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5" name="Freeform 50"/>
            <p:cNvSpPr>
              <a:spLocks noEditPoints="1"/>
            </p:cNvSpPr>
            <p:nvPr/>
          </p:nvSpPr>
          <p:spPr bwMode="auto">
            <a:xfrm>
              <a:off x="3989" y="3692"/>
              <a:ext cx="34" cy="34"/>
            </a:xfrm>
            <a:custGeom>
              <a:avLst/>
              <a:gdLst>
                <a:gd name="T0" fmla="*/ 51 w 102"/>
                <a:gd name="T1" fmla="*/ 102 h 102"/>
                <a:gd name="T2" fmla="*/ 102 w 102"/>
                <a:gd name="T3" fmla="*/ 51 h 102"/>
                <a:gd name="T4" fmla="*/ 51 w 102"/>
                <a:gd name="T5" fmla="*/ 0 h 102"/>
                <a:gd name="T6" fmla="*/ 0 w 102"/>
                <a:gd name="T7" fmla="*/ 51 h 102"/>
                <a:gd name="T8" fmla="*/ 51 w 102"/>
                <a:gd name="T9" fmla="*/ 102 h 102"/>
                <a:gd name="T10" fmla="*/ 51 w 102"/>
                <a:gd name="T11" fmla="*/ 26 h 102"/>
                <a:gd name="T12" fmla="*/ 76 w 102"/>
                <a:gd name="T13" fmla="*/ 51 h 102"/>
                <a:gd name="T14" fmla="*/ 51 w 102"/>
                <a:gd name="T15" fmla="*/ 76 h 102"/>
                <a:gd name="T16" fmla="*/ 26 w 102"/>
                <a:gd name="T17" fmla="*/ 51 h 102"/>
                <a:gd name="T18" fmla="*/ 51 w 102"/>
                <a:gd name="T19" fmla="*/ 2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79" y="102"/>
                    <a:pt x="102" y="79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lose/>
                  <a:moveTo>
                    <a:pt x="51" y="26"/>
                  </a:moveTo>
                  <a:cubicBezTo>
                    <a:pt x="65" y="26"/>
                    <a:pt x="76" y="37"/>
                    <a:pt x="76" y="51"/>
                  </a:cubicBezTo>
                  <a:cubicBezTo>
                    <a:pt x="76" y="65"/>
                    <a:pt x="65" y="76"/>
                    <a:pt x="51" y="76"/>
                  </a:cubicBezTo>
                  <a:cubicBezTo>
                    <a:pt x="37" y="76"/>
                    <a:pt x="26" y="65"/>
                    <a:pt x="26" y="51"/>
                  </a:cubicBezTo>
                  <a:cubicBezTo>
                    <a:pt x="26" y="37"/>
                    <a:pt x="37" y="26"/>
                    <a:pt x="51" y="26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331" name="Group 53"/>
          <p:cNvGrpSpPr>
            <a:grpSpLocks noChangeAspect="1"/>
          </p:cNvGrpSpPr>
          <p:nvPr/>
        </p:nvGrpSpPr>
        <p:grpSpPr bwMode="auto">
          <a:xfrm>
            <a:off x="6979102" y="5354649"/>
            <a:ext cx="841248" cy="841248"/>
            <a:chOff x="4400" y="3407"/>
            <a:chExt cx="490" cy="490"/>
          </a:xfrm>
        </p:grpSpPr>
        <p:sp>
          <p:nvSpPr>
            <p:cNvPr id="55332" name="AutoShape 52"/>
            <p:cNvSpPr>
              <a:spLocks noChangeAspect="1" noChangeArrowheads="1" noTextEdit="1"/>
            </p:cNvSpPr>
            <p:nvPr/>
          </p:nvSpPr>
          <p:spPr bwMode="auto">
            <a:xfrm>
              <a:off x="4400" y="3407"/>
              <a:ext cx="490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9" name="Freeform 54"/>
            <p:cNvSpPr>
              <a:spLocks noEditPoints="1"/>
            </p:cNvSpPr>
            <p:nvPr/>
          </p:nvSpPr>
          <p:spPr bwMode="auto">
            <a:xfrm>
              <a:off x="4422" y="3428"/>
              <a:ext cx="449" cy="449"/>
            </a:xfrm>
            <a:custGeom>
              <a:avLst/>
              <a:gdLst>
                <a:gd name="T0" fmla="*/ 723 w 1446"/>
                <a:gd name="T1" fmla="*/ 1438 h 1446"/>
                <a:gd name="T2" fmla="*/ 445 w 1446"/>
                <a:gd name="T3" fmla="*/ 1381 h 1446"/>
                <a:gd name="T4" fmla="*/ 218 w 1446"/>
                <a:gd name="T5" fmla="*/ 1228 h 1446"/>
                <a:gd name="T6" fmla="*/ 65 w 1446"/>
                <a:gd name="T7" fmla="*/ 1001 h 1446"/>
                <a:gd name="T8" fmla="*/ 8 w 1446"/>
                <a:gd name="T9" fmla="*/ 723 h 1446"/>
                <a:gd name="T10" fmla="*/ 65 w 1446"/>
                <a:gd name="T11" fmla="*/ 445 h 1446"/>
                <a:gd name="T12" fmla="*/ 218 w 1446"/>
                <a:gd name="T13" fmla="*/ 218 h 1446"/>
                <a:gd name="T14" fmla="*/ 445 w 1446"/>
                <a:gd name="T15" fmla="*/ 65 h 1446"/>
                <a:gd name="T16" fmla="*/ 723 w 1446"/>
                <a:gd name="T17" fmla="*/ 8 h 1446"/>
                <a:gd name="T18" fmla="*/ 1001 w 1446"/>
                <a:gd name="T19" fmla="*/ 65 h 1446"/>
                <a:gd name="T20" fmla="*/ 1228 w 1446"/>
                <a:gd name="T21" fmla="*/ 218 h 1446"/>
                <a:gd name="T22" fmla="*/ 1381 w 1446"/>
                <a:gd name="T23" fmla="*/ 445 h 1446"/>
                <a:gd name="T24" fmla="*/ 1438 w 1446"/>
                <a:gd name="T25" fmla="*/ 723 h 1446"/>
                <a:gd name="T26" fmla="*/ 1381 w 1446"/>
                <a:gd name="T27" fmla="*/ 1001 h 1446"/>
                <a:gd name="T28" fmla="*/ 1228 w 1446"/>
                <a:gd name="T29" fmla="*/ 1228 h 1446"/>
                <a:gd name="T30" fmla="*/ 1001 w 1446"/>
                <a:gd name="T31" fmla="*/ 1381 h 1446"/>
                <a:gd name="T32" fmla="*/ 723 w 1446"/>
                <a:gd name="T33" fmla="*/ 1438 h 1446"/>
                <a:gd name="T34" fmla="*/ 723 w 1446"/>
                <a:gd name="T35" fmla="*/ 0 h 1446"/>
                <a:gd name="T36" fmla="*/ 0 w 1446"/>
                <a:gd name="T37" fmla="*/ 723 h 1446"/>
                <a:gd name="T38" fmla="*/ 723 w 1446"/>
                <a:gd name="T39" fmla="*/ 1446 h 1446"/>
                <a:gd name="T40" fmla="*/ 1446 w 1446"/>
                <a:gd name="T41" fmla="*/ 723 h 1446"/>
                <a:gd name="T42" fmla="*/ 723 w 1446"/>
                <a:gd name="T43" fmla="*/ 0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6" h="1446">
                  <a:moveTo>
                    <a:pt x="723" y="1438"/>
                  </a:moveTo>
                  <a:cubicBezTo>
                    <a:pt x="627" y="1438"/>
                    <a:pt x="533" y="1419"/>
                    <a:pt x="445" y="1381"/>
                  </a:cubicBezTo>
                  <a:cubicBezTo>
                    <a:pt x="360" y="1346"/>
                    <a:pt x="283" y="1294"/>
                    <a:pt x="218" y="1228"/>
                  </a:cubicBezTo>
                  <a:cubicBezTo>
                    <a:pt x="152" y="1163"/>
                    <a:pt x="100" y="1086"/>
                    <a:pt x="65" y="1001"/>
                  </a:cubicBezTo>
                  <a:cubicBezTo>
                    <a:pt x="27" y="913"/>
                    <a:pt x="8" y="819"/>
                    <a:pt x="8" y="723"/>
                  </a:cubicBezTo>
                  <a:cubicBezTo>
                    <a:pt x="8" y="627"/>
                    <a:pt x="27" y="533"/>
                    <a:pt x="65" y="445"/>
                  </a:cubicBezTo>
                  <a:cubicBezTo>
                    <a:pt x="100" y="360"/>
                    <a:pt x="152" y="283"/>
                    <a:pt x="218" y="218"/>
                  </a:cubicBezTo>
                  <a:cubicBezTo>
                    <a:pt x="283" y="152"/>
                    <a:pt x="360" y="100"/>
                    <a:pt x="445" y="65"/>
                  </a:cubicBezTo>
                  <a:cubicBezTo>
                    <a:pt x="533" y="27"/>
                    <a:pt x="627" y="8"/>
                    <a:pt x="723" y="8"/>
                  </a:cubicBezTo>
                  <a:cubicBezTo>
                    <a:pt x="819" y="8"/>
                    <a:pt x="913" y="27"/>
                    <a:pt x="1001" y="65"/>
                  </a:cubicBezTo>
                  <a:cubicBezTo>
                    <a:pt x="1086" y="100"/>
                    <a:pt x="1163" y="152"/>
                    <a:pt x="1228" y="218"/>
                  </a:cubicBezTo>
                  <a:cubicBezTo>
                    <a:pt x="1294" y="283"/>
                    <a:pt x="1346" y="360"/>
                    <a:pt x="1381" y="445"/>
                  </a:cubicBezTo>
                  <a:cubicBezTo>
                    <a:pt x="1419" y="533"/>
                    <a:pt x="1438" y="627"/>
                    <a:pt x="1438" y="723"/>
                  </a:cubicBezTo>
                  <a:cubicBezTo>
                    <a:pt x="1438" y="819"/>
                    <a:pt x="1419" y="913"/>
                    <a:pt x="1381" y="1001"/>
                  </a:cubicBezTo>
                  <a:cubicBezTo>
                    <a:pt x="1346" y="1086"/>
                    <a:pt x="1294" y="1163"/>
                    <a:pt x="1228" y="1228"/>
                  </a:cubicBezTo>
                  <a:cubicBezTo>
                    <a:pt x="1163" y="1294"/>
                    <a:pt x="1086" y="1346"/>
                    <a:pt x="1001" y="1381"/>
                  </a:cubicBezTo>
                  <a:cubicBezTo>
                    <a:pt x="913" y="1419"/>
                    <a:pt x="819" y="1438"/>
                    <a:pt x="723" y="1438"/>
                  </a:cubicBezTo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6"/>
                    <a:pt x="723" y="1446"/>
                  </a:cubicBezTo>
                  <a:cubicBezTo>
                    <a:pt x="1122" y="1446"/>
                    <a:pt x="1446" y="1122"/>
                    <a:pt x="1446" y="723"/>
                  </a:cubicBezTo>
                  <a:cubicBezTo>
                    <a:pt x="1446" y="324"/>
                    <a:pt x="1122" y="0"/>
                    <a:pt x="723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4" name="Freeform 55"/>
            <p:cNvSpPr>
              <a:spLocks noEditPoints="1"/>
            </p:cNvSpPr>
            <p:nvPr/>
          </p:nvSpPr>
          <p:spPr bwMode="auto">
            <a:xfrm>
              <a:off x="4487" y="3492"/>
              <a:ext cx="318" cy="318"/>
            </a:xfrm>
            <a:custGeom>
              <a:avLst/>
              <a:gdLst>
                <a:gd name="T0" fmla="*/ 872 w 1023"/>
                <a:gd name="T1" fmla="*/ 863 h 1023"/>
                <a:gd name="T2" fmla="*/ 868 w 1023"/>
                <a:gd name="T3" fmla="*/ 868 h 1023"/>
                <a:gd name="T4" fmla="*/ 862 w 1023"/>
                <a:gd name="T5" fmla="*/ 873 h 1023"/>
                <a:gd name="T6" fmla="*/ 868 w 1023"/>
                <a:gd name="T7" fmla="*/ 868 h 1023"/>
                <a:gd name="T8" fmla="*/ 872 w 1023"/>
                <a:gd name="T9" fmla="*/ 863 h 1023"/>
                <a:gd name="T10" fmla="*/ 1023 w 1023"/>
                <a:gd name="T11" fmla="*/ 512 h 1023"/>
                <a:gd name="T12" fmla="*/ 1023 w 1023"/>
                <a:gd name="T13" fmla="*/ 512 h 1023"/>
                <a:gd name="T14" fmla="*/ 1023 w 1023"/>
                <a:gd name="T15" fmla="*/ 512 h 1023"/>
                <a:gd name="T16" fmla="*/ 512 w 1023"/>
                <a:gd name="T17" fmla="*/ 0 h 1023"/>
                <a:gd name="T18" fmla="*/ 0 w 1023"/>
                <a:gd name="T19" fmla="*/ 512 h 1023"/>
                <a:gd name="T20" fmla="*/ 512 w 1023"/>
                <a:gd name="T21" fmla="*/ 1023 h 1023"/>
                <a:gd name="T22" fmla="*/ 1023 w 1023"/>
                <a:gd name="T23" fmla="*/ 512 h 1023"/>
                <a:gd name="T24" fmla="*/ 1019 w 1023"/>
                <a:gd name="T25" fmla="*/ 512 h 1023"/>
                <a:gd name="T26" fmla="*/ 1015 w 1023"/>
                <a:gd name="T27" fmla="*/ 512 h 1023"/>
                <a:gd name="T28" fmla="*/ 903 w 1023"/>
                <a:gd name="T29" fmla="*/ 828 h 1023"/>
                <a:gd name="T30" fmla="*/ 828 w 1023"/>
                <a:gd name="T31" fmla="*/ 904 h 1023"/>
                <a:gd name="T32" fmla="*/ 512 w 1023"/>
                <a:gd name="T33" fmla="*/ 1015 h 1023"/>
                <a:gd name="T34" fmla="*/ 192 w 1023"/>
                <a:gd name="T35" fmla="*/ 901 h 1023"/>
                <a:gd name="T36" fmla="*/ 124 w 1023"/>
                <a:gd name="T37" fmla="*/ 834 h 1023"/>
                <a:gd name="T38" fmla="*/ 8 w 1023"/>
                <a:gd name="T39" fmla="*/ 512 h 1023"/>
                <a:gd name="T40" fmla="*/ 126 w 1023"/>
                <a:gd name="T41" fmla="*/ 188 h 1023"/>
                <a:gd name="T42" fmla="*/ 189 w 1023"/>
                <a:gd name="T43" fmla="*/ 125 h 1023"/>
                <a:gd name="T44" fmla="*/ 512 w 1023"/>
                <a:gd name="T45" fmla="*/ 8 h 1023"/>
                <a:gd name="T46" fmla="*/ 830 w 1023"/>
                <a:gd name="T47" fmla="*/ 122 h 1023"/>
                <a:gd name="T48" fmla="*/ 902 w 1023"/>
                <a:gd name="T49" fmla="*/ 193 h 1023"/>
                <a:gd name="T50" fmla="*/ 1015 w 1023"/>
                <a:gd name="T51" fmla="*/ 512 h 1023"/>
                <a:gd name="T52" fmla="*/ 1019 w 1023"/>
                <a:gd name="T53" fmla="*/ 512 h 1023"/>
                <a:gd name="T54" fmla="*/ 1023 w 1023"/>
                <a:gd name="T55" fmla="*/ 512 h 1023"/>
                <a:gd name="T56" fmla="*/ 1023 w 1023"/>
                <a:gd name="T57" fmla="*/ 512 h 1023"/>
                <a:gd name="T58" fmla="*/ 512 w 1023"/>
                <a:gd name="T59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23" h="1023">
                  <a:moveTo>
                    <a:pt x="872" y="863"/>
                  </a:moveTo>
                  <a:cubicBezTo>
                    <a:pt x="871" y="865"/>
                    <a:pt x="869" y="866"/>
                    <a:pt x="868" y="868"/>
                  </a:cubicBezTo>
                  <a:cubicBezTo>
                    <a:pt x="866" y="869"/>
                    <a:pt x="864" y="871"/>
                    <a:pt x="862" y="873"/>
                  </a:cubicBezTo>
                  <a:cubicBezTo>
                    <a:pt x="864" y="871"/>
                    <a:pt x="866" y="870"/>
                    <a:pt x="868" y="868"/>
                  </a:cubicBezTo>
                  <a:cubicBezTo>
                    <a:pt x="869" y="866"/>
                    <a:pt x="871" y="865"/>
                    <a:pt x="872" y="863"/>
                  </a:cubicBezTo>
                  <a:moveTo>
                    <a:pt x="1023" y="512"/>
                  </a:move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moveTo>
                    <a:pt x="512" y="0"/>
                  </a:move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3"/>
                  </a:cubicBezTo>
                  <a:cubicBezTo>
                    <a:pt x="794" y="1023"/>
                    <a:pt x="1023" y="794"/>
                    <a:pt x="1023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15" y="512"/>
                    <a:pt x="1015" y="512"/>
                    <a:pt x="1015" y="512"/>
                  </a:cubicBezTo>
                  <a:cubicBezTo>
                    <a:pt x="1015" y="632"/>
                    <a:pt x="973" y="742"/>
                    <a:pt x="903" y="828"/>
                  </a:cubicBezTo>
                  <a:cubicBezTo>
                    <a:pt x="885" y="859"/>
                    <a:pt x="859" y="886"/>
                    <a:pt x="828" y="904"/>
                  </a:cubicBezTo>
                  <a:cubicBezTo>
                    <a:pt x="741" y="974"/>
                    <a:pt x="631" y="1015"/>
                    <a:pt x="512" y="1015"/>
                  </a:cubicBezTo>
                  <a:cubicBezTo>
                    <a:pt x="390" y="1015"/>
                    <a:pt x="279" y="972"/>
                    <a:pt x="192" y="901"/>
                  </a:cubicBezTo>
                  <a:cubicBezTo>
                    <a:pt x="165" y="884"/>
                    <a:pt x="142" y="861"/>
                    <a:pt x="124" y="834"/>
                  </a:cubicBezTo>
                  <a:cubicBezTo>
                    <a:pt x="52" y="746"/>
                    <a:pt x="8" y="634"/>
                    <a:pt x="8" y="512"/>
                  </a:cubicBezTo>
                  <a:cubicBezTo>
                    <a:pt x="8" y="388"/>
                    <a:pt x="52" y="275"/>
                    <a:pt x="126" y="188"/>
                  </a:cubicBezTo>
                  <a:cubicBezTo>
                    <a:pt x="142" y="162"/>
                    <a:pt x="164" y="141"/>
                    <a:pt x="189" y="125"/>
                  </a:cubicBezTo>
                  <a:cubicBezTo>
                    <a:pt x="276" y="52"/>
                    <a:pt x="389" y="8"/>
                    <a:pt x="512" y="8"/>
                  </a:cubicBezTo>
                  <a:cubicBezTo>
                    <a:pt x="633" y="8"/>
                    <a:pt x="744" y="51"/>
                    <a:pt x="830" y="122"/>
                  </a:cubicBezTo>
                  <a:cubicBezTo>
                    <a:pt x="860" y="139"/>
                    <a:pt x="884" y="164"/>
                    <a:pt x="902" y="193"/>
                  </a:cubicBezTo>
                  <a:cubicBezTo>
                    <a:pt x="973" y="280"/>
                    <a:pt x="1015" y="391"/>
                    <a:pt x="1015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229"/>
                    <a:pt x="794" y="0"/>
                    <a:pt x="512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5" name="Freeform 56"/>
            <p:cNvSpPr>
              <a:spLocks noEditPoints="1"/>
            </p:cNvSpPr>
            <p:nvPr/>
          </p:nvSpPr>
          <p:spPr bwMode="auto">
            <a:xfrm>
              <a:off x="4516" y="3521"/>
              <a:ext cx="130" cy="130"/>
            </a:xfrm>
            <a:custGeom>
              <a:avLst/>
              <a:gdLst>
                <a:gd name="T0" fmla="*/ 127 w 420"/>
                <a:gd name="T1" fmla="*/ 398 h 420"/>
                <a:gd name="T2" fmla="*/ 126 w 420"/>
                <a:gd name="T3" fmla="*/ 402 h 420"/>
                <a:gd name="T4" fmla="*/ 209 w 420"/>
                <a:gd name="T5" fmla="*/ 420 h 420"/>
                <a:gd name="T6" fmla="*/ 209 w 420"/>
                <a:gd name="T7" fmla="*/ 416 h 420"/>
                <a:gd name="T8" fmla="*/ 127 w 420"/>
                <a:gd name="T9" fmla="*/ 398 h 420"/>
                <a:gd name="T10" fmla="*/ 419 w 420"/>
                <a:gd name="T11" fmla="*/ 216 h 420"/>
                <a:gd name="T12" fmla="*/ 416 w 420"/>
                <a:gd name="T13" fmla="*/ 216 h 420"/>
                <a:gd name="T14" fmla="*/ 356 w 420"/>
                <a:gd name="T15" fmla="*/ 355 h 420"/>
                <a:gd name="T16" fmla="*/ 213 w 420"/>
                <a:gd name="T17" fmla="*/ 416 h 420"/>
                <a:gd name="T18" fmla="*/ 213 w 420"/>
                <a:gd name="T19" fmla="*/ 420 h 420"/>
                <a:gd name="T20" fmla="*/ 420 w 420"/>
                <a:gd name="T21" fmla="*/ 222 h 420"/>
                <a:gd name="T22" fmla="*/ 420 w 420"/>
                <a:gd name="T23" fmla="*/ 216 h 420"/>
                <a:gd name="T24" fmla="*/ 419 w 420"/>
                <a:gd name="T25" fmla="*/ 216 h 420"/>
                <a:gd name="T26" fmla="*/ 420 w 420"/>
                <a:gd name="T27" fmla="*/ 210 h 420"/>
                <a:gd name="T28" fmla="*/ 419 w 420"/>
                <a:gd name="T29" fmla="*/ 210 h 420"/>
                <a:gd name="T30" fmla="*/ 417 w 420"/>
                <a:gd name="T31" fmla="*/ 210 h 420"/>
                <a:gd name="T32" fmla="*/ 417 w 420"/>
                <a:gd name="T33" fmla="*/ 212 h 420"/>
                <a:gd name="T34" fmla="*/ 419 w 420"/>
                <a:gd name="T35" fmla="*/ 212 h 420"/>
                <a:gd name="T36" fmla="*/ 420 w 420"/>
                <a:gd name="T37" fmla="*/ 212 h 420"/>
                <a:gd name="T38" fmla="*/ 420 w 420"/>
                <a:gd name="T39" fmla="*/ 210 h 420"/>
                <a:gd name="T40" fmla="*/ 403 w 420"/>
                <a:gd name="T41" fmla="*/ 125 h 420"/>
                <a:gd name="T42" fmla="*/ 399 w 420"/>
                <a:gd name="T43" fmla="*/ 125 h 420"/>
                <a:gd name="T44" fmla="*/ 417 w 420"/>
                <a:gd name="T45" fmla="*/ 210 h 420"/>
                <a:gd name="T46" fmla="*/ 419 w 420"/>
                <a:gd name="T47" fmla="*/ 210 h 420"/>
                <a:gd name="T48" fmla="*/ 420 w 420"/>
                <a:gd name="T49" fmla="*/ 210 h 420"/>
                <a:gd name="T50" fmla="*/ 420 w 420"/>
                <a:gd name="T51" fmla="*/ 210 h 420"/>
                <a:gd name="T52" fmla="*/ 420 w 420"/>
                <a:gd name="T53" fmla="*/ 197 h 420"/>
                <a:gd name="T54" fmla="*/ 403 w 420"/>
                <a:gd name="T55" fmla="*/ 125 h 420"/>
                <a:gd name="T56" fmla="*/ 210 w 420"/>
                <a:gd name="T57" fmla="*/ 0 h 420"/>
                <a:gd name="T58" fmla="*/ 97 w 420"/>
                <a:gd name="T59" fmla="*/ 33 h 420"/>
                <a:gd name="T60" fmla="*/ 63 w 420"/>
                <a:gd name="T61" fmla="*/ 63 h 420"/>
                <a:gd name="T62" fmla="*/ 34 w 420"/>
                <a:gd name="T63" fmla="*/ 96 h 420"/>
                <a:gd name="T64" fmla="*/ 0 w 420"/>
                <a:gd name="T65" fmla="*/ 210 h 420"/>
                <a:gd name="T66" fmla="*/ 122 w 420"/>
                <a:gd name="T67" fmla="*/ 400 h 420"/>
                <a:gd name="T68" fmla="*/ 123 w 420"/>
                <a:gd name="T69" fmla="*/ 396 h 420"/>
                <a:gd name="T70" fmla="*/ 65 w 420"/>
                <a:gd name="T71" fmla="*/ 355 h 420"/>
                <a:gd name="T72" fmla="*/ 4 w 420"/>
                <a:gd name="T73" fmla="*/ 210 h 420"/>
                <a:gd name="T74" fmla="*/ 65 w 420"/>
                <a:gd name="T75" fmla="*/ 64 h 420"/>
                <a:gd name="T76" fmla="*/ 210 w 420"/>
                <a:gd name="T77" fmla="*/ 4 h 420"/>
                <a:gd name="T78" fmla="*/ 356 w 420"/>
                <a:gd name="T79" fmla="*/ 64 h 420"/>
                <a:gd name="T80" fmla="*/ 397 w 420"/>
                <a:gd name="T81" fmla="*/ 122 h 420"/>
                <a:gd name="T82" fmla="*/ 401 w 420"/>
                <a:gd name="T83" fmla="*/ 121 h 420"/>
                <a:gd name="T84" fmla="*/ 210 w 420"/>
                <a:gd name="T85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0" h="420">
                  <a:moveTo>
                    <a:pt x="127" y="398"/>
                  </a:moveTo>
                  <a:cubicBezTo>
                    <a:pt x="126" y="399"/>
                    <a:pt x="126" y="401"/>
                    <a:pt x="126" y="402"/>
                  </a:cubicBezTo>
                  <a:cubicBezTo>
                    <a:pt x="151" y="413"/>
                    <a:pt x="179" y="419"/>
                    <a:pt x="209" y="420"/>
                  </a:cubicBezTo>
                  <a:cubicBezTo>
                    <a:pt x="209" y="418"/>
                    <a:pt x="209" y="417"/>
                    <a:pt x="209" y="416"/>
                  </a:cubicBezTo>
                  <a:cubicBezTo>
                    <a:pt x="179" y="415"/>
                    <a:pt x="152" y="409"/>
                    <a:pt x="127" y="398"/>
                  </a:cubicBezTo>
                  <a:moveTo>
                    <a:pt x="419" y="216"/>
                  </a:moveTo>
                  <a:cubicBezTo>
                    <a:pt x="418" y="216"/>
                    <a:pt x="417" y="216"/>
                    <a:pt x="416" y="216"/>
                  </a:cubicBezTo>
                  <a:cubicBezTo>
                    <a:pt x="415" y="270"/>
                    <a:pt x="392" y="319"/>
                    <a:pt x="356" y="355"/>
                  </a:cubicBezTo>
                  <a:cubicBezTo>
                    <a:pt x="319" y="392"/>
                    <a:pt x="269" y="415"/>
                    <a:pt x="213" y="416"/>
                  </a:cubicBezTo>
                  <a:cubicBezTo>
                    <a:pt x="213" y="417"/>
                    <a:pt x="213" y="418"/>
                    <a:pt x="213" y="420"/>
                  </a:cubicBezTo>
                  <a:cubicBezTo>
                    <a:pt x="324" y="419"/>
                    <a:pt x="414" y="332"/>
                    <a:pt x="420" y="222"/>
                  </a:cubicBezTo>
                  <a:cubicBezTo>
                    <a:pt x="420" y="220"/>
                    <a:pt x="420" y="218"/>
                    <a:pt x="420" y="216"/>
                  </a:cubicBezTo>
                  <a:cubicBezTo>
                    <a:pt x="420" y="216"/>
                    <a:pt x="419" y="216"/>
                    <a:pt x="419" y="216"/>
                  </a:cubicBezTo>
                  <a:moveTo>
                    <a:pt x="420" y="210"/>
                  </a:moveTo>
                  <a:cubicBezTo>
                    <a:pt x="419" y="210"/>
                    <a:pt x="419" y="210"/>
                    <a:pt x="419" y="210"/>
                  </a:cubicBezTo>
                  <a:cubicBezTo>
                    <a:pt x="417" y="210"/>
                    <a:pt x="417" y="210"/>
                    <a:pt x="417" y="210"/>
                  </a:cubicBezTo>
                  <a:cubicBezTo>
                    <a:pt x="417" y="210"/>
                    <a:pt x="417" y="211"/>
                    <a:pt x="417" y="212"/>
                  </a:cubicBezTo>
                  <a:cubicBezTo>
                    <a:pt x="417" y="212"/>
                    <a:pt x="418" y="212"/>
                    <a:pt x="419" y="212"/>
                  </a:cubicBezTo>
                  <a:cubicBezTo>
                    <a:pt x="419" y="212"/>
                    <a:pt x="419" y="212"/>
                    <a:pt x="420" y="212"/>
                  </a:cubicBezTo>
                  <a:cubicBezTo>
                    <a:pt x="420" y="211"/>
                    <a:pt x="420" y="210"/>
                    <a:pt x="420" y="210"/>
                  </a:cubicBezTo>
                  <a:moveTo>
                    <a:pt x="403" y="125"/>
                  </a:moveTo>
                  <a:cubicBezTo>
                    <a:pt x="401" y="125"/>
                    <a:pt x="400" y="125"/>
                    <a:pt x="399" y="125"/>
                  </a:cubicBezTo>
                  <a:cubicBezTo>
                    <a:pt x="410" y="151"/>
                    <a:pt x="417" y="180"/>
                    <a:pt x="417" y="210"/>
                  </a:cubicBezTo>
                  <a:cubicBezTo>
                    <a:pt x="419" y="210"/>
                    <a:pt x="419" y="210"/>
                    <a:pt x="419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05"/>
                    <a:pt x="420" y="201"/>
                    <a:pt x="420" y="197"/>
                  </a:cubicBezTo>
                  <a:cubicBezTo>
                    <a:pt x="419" y="172"/>
                    <a:pt x="413" y="147"/>
                    <a:pt x="403" y="125"/>
                  </a:cubicBezTo>
                  <a:moveTo>
                    <a:pt x="210" y="0"/>
                  </a:moveTo>
                  <a:cubicBezTo>
                    <a:pt x="169" y="0"/>
                    <a:pt x="130" y="12"/>
                    <a:pt x="97" y="33"/>
                  </a:cubicBezTo>
                  <a:cubicBezTo>
                    <a:pt x="85" y="43"/>
                    <a:pt x="74" y="53"/>
                    <a:pt x="63" y="63"/>
                  </a:cubicBezTo>
                  <a:cubicBezTo>
                    <a:pt x="53" y="74"/>
                    <a:pt x="43" y="84"/>
                    <a:pt x="34" y="96"/>
                  </a:cubicBezTo>
                  <a:cubicBezTo>
                    <a:pt x="13" y="128"/>
                    <a:pt x="0" y="168"/>
                    <a:pt x="0" y="210"/>
                  </a:cubicBezTo>
                  <a:cubicBezTo>
                    <a:pt x="0" y="294"/>
                    <a:pt x="50" y="367"/>
                    <a:pt x="122" y="400"/>
                  </a:cubicBezTo>
                  <a:cubicBezTo>
                    <a:pt x="122" y="399"/>
                    <a:pt x="123" y="398"/>
                    <a:pt x="123" y="396"/>
                  </a:cubicBezTo>
                  <a:cubicBezTo>
                    <a:pt x="101" y="386"/>
                    <a:pt x="81" y="372"/>
                    <a:pt x="65" y="355"/>
                  </a:cubicBezTo>
                  <a:cubicBezTo>
                    <a:pt x="27" y="318"/>
                    <a:pt x="4" y="267"/>
                    <a:pt x="4" y="210"/>
                  </a:cubicBezTo>
                  <a:cubicBezTo>
                    <a:pt x="4" y="153"/>
                    <a:pt x="27" y="101"/>
                    <a:pt x="65" y="64"/>
                  </a:cubicBezTo>
                  <a:cubicBezTo>
                    <a:pt x="102" y="27"/>
                    <a:pt x="154" y="4"/>
                    <a:pt x="210" y="4"/>
                  </a:cubicBezTo>
                  <a:cubicBezTo>
                    <a:pt x="267" y="4"/>
                    <a:pt x="319" y="27"/>
                    <a:pt x="356" y="64"/>
                  </a:cubicBezTo>
                  <a:cubicBezTo>
                    <a:pt x="373" y="81"/>
                    <a:pt x="387" y="100"/>
                    <a:pt x="397" y="122"/>
                  </a:cubicBezTo>
                  <a:cubicBezTo>
                    <a:pt x="398" y="121"/>
                    <a:pt x="400" y="121"/>
                    <a:pt x="401" y="121"/>
                  </a:cubicBezTo>
                  <a:cubicBezTo>
                    <a:pt x="368" y="49"/>
                    <a:pt x="295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66" name="Freeform 57"/>
            <p:cNvSpPr>
              <a:spLocks/>
            </p:cNvSpPr>
            <p:nvPr/>
          </p:nvSpPr>
          <p:spPr bwMode="auto">
            <a:xfrm>
              <a:off x="4526" y="3531"/>
              <a:ext cx="20" cy="20"/>
            </a:xfrm>
            <a:custGeom>
              <a:avLst/>
              <a:gdLst>
                <a:gd name="T0" fmla="*/ 63 w 63"/>
                <a:gd name="T1" fmla="*/ 0 h 63"/>
                <a:gd name="T2" fmla="*/ 0 w 63"/>
                <a:gd name="T3" fmla="*/ 63 h 63"/>
                <a:gd name="T4" fmla="*/ 29 w 63"/>
                <a:gd name="T5" fmla="*/ 30 h 63"/>
                <a:gd name="T6" fmla="*/ 63 w 63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3">
                  <a:moveTo>
                    <a:pt x="63" y="0"/>
                  </a:moveTo>
                  <a:cubicBezTo>
                    <a:pt x="38" y="16"/>
                    <a:pt x="16" y="37"/>
                    <a:pt x="0" y="63"/>
                  </a:cubicBezTo>
                  <a:cubicBezTo>
                    <a:pt x="9" y="51"/>
                    <a:pt x="19" y="41"/>
                    <a:pt x="29" y="30"/>
                  </a:cubicBezTo>
                  <a:cubicBezTo>
                    <a:pt x="40" y="20"/>
                    <a:pt x="51" y="10"/>
                    <a:pt x="6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9" name="Freeform 58"/>
            <p:cNvSpPr>
              <a:spLocks noEditPoints="1"/>
            </p:cNvSpPr>
            <p:nvPr/>
          </p:nvSpPr>
          <p:spPr bwMode="auto">
            <a:xfrm>
              <a:off x="4581" y="3587"/>
              <a:ext cx="130" cy="130"/>
            </a:xfrm>
            <a:custGeom>
              <a:avLst/>
              <a:gdLst>
                <a:gd name="T0" fmla="*/ 420 w 420"/>
                <a:gd name="T1" fmla="*/ 212 h 420"/>
                <a:gd name="T2" fmla="*/ 416 w 420"/>
                <a:gd name="T3" fmla="*/ 212 h 420"/>
                <a:gd name="T4" fmla="*/ 355 w 420"/>
                <a:gd name="T5" fmla="*/ 356 h 420"/>
                <a:gd name="T6" fmla="*/ 215 w 420"/>
                <a:gd name="T7" fmla="*/ 416 h 420"/>
                <a:gd name="T8" fmla="*/ 215 w 420"/>
                <a:gd name="T9" fmla="*/ 418 h 420"/>
                <a:gd name="T10" fmla="*/ 215 w 420"/>
                <a:gd name="T11" fmla="*/ 420 h 420"/>
                <a:gd name="T12" fmla="*/ 420 w 420"/>
                <a:gd name="T13" fmla="*/ 212 h 420"/>
                <a:gd name="T14" fmla="*/ 1 w 420"/>
                <a:gd name="T15" fmla="*/ 212 h 420"/>
                <a:gd name="T16" fmla="*/ 0 w 420"/>
                <a:gd name="T17" fmla="*/ 212 h 420"/>
                <a:gd name="T18" fmla="*/ 208 w 420"/>
                <a:gd name="T19" fmla="*/ 420 h 420"/>
                <a:gd name="T20" fmla="*/ 208 w 420"/>
                <a:gd name="T21" fmla="*/ 418 h 420"/>
                <a:gd name="T22" fmla="*/ 210 w 420"/>
                <a:gd name="T23" fmla="*/ 418 h 420"/>
                <a:gd name="T24" fmla="*/ 211 w 420"/>
                <a:gd name="T25" fmla="*/ 418 h 420"/>
                <a:gd name="T26" fmla="*/ 211 w 420"/>
                <a:gd name="T27" fmla="*/ 418 h 420"/>
                <a:gd name="T28" fmla="*/ 210 w 420"/>
                <a:gd name="T29" fmla="*/ 418 h 420"/>
                <a:gd name="T30" fmla="*/ 208 w 420"/>
                <a:gd name="T31" fmla="*/ 418 h 420"/>
                <a:gd name="T32" fmla="*/ 208 w 420"/>
                <a:gd name="T33" fmla="*/ 416 h 420"/>
                <a:gd name="T34" fmla="*/ 64 w 420"/>
                <a:gd name="T35" fmla="*/ 356 h 420"/>
                <a:gd name="T36" fmla="*/ 4 w 420"/>
                <a:gd name="T37" fmla="*/ 212 h 420"/>
                <a:gd name="T38" fmla="*/ 1 w 420"/>
                <a:gd name="T39" fmla="*/ 212 h 420"/>
                <a:gd name="T40" fmla="*/ 4 w 420"/>
                <a:gd name="T41" fmla="*/ 208 h 420"/>
                <a:gd name="T42" fmla="*/ 1 w 420"/>
                <a:gd name="T43" fmla="*/ 208 h 420"/>
                <a:gd name="T44" fmla="*/ 0 w 420"/>
                <a:gd name="T45" fmla="*/ 208 h 420"/>
                <a:gd name="T46" fmla="*/ 0 w 420"/>
                <a:gd name="T47" fmla="*/ 208 h 420"/>
                <a:gd name="T48" fmla="*/ 1 w 420"/>
                <a:gd name="T49" fmla="*/ 208 h 420"/>
                <a:gd name="T50" fmla="*/ 4 w 420"/>
                <a:gd name="T51" fmla="*/ 208 h 420"/>
                <a:gd name="T52" fmla="*/ 4 w 420"/>
                <a:gd name="T53" fmla="*/ 208 h 420"/>
                <a:gd name="T54" fmla="*/ 416 w 420"/>
                <a:gd name="T55" fmla="*/ 208 h 420"/>
                <a:gd name="T56" fmla="*/ 416 w 420"/>
                <a:gd name="T57" fmla="*/ 208 h 420"/>
                <a:gd name="T58" fmla="*/ 420 w 420"/>
                <a:gd name="T59" fmla="*/ 208 h 420"/>
                <a:gd name="T60" fmla="*/ 420 w 420"/>
                <a:gd name="T61" fmla="*/ 208 h 420"/>
                <a:gd name="T62" fmla="*/ 416 w 420"/>
                <a:gd name="T63" fmla="*/ 208 h 420"/>
                <a:gd name="T64" fmla="*/ 215 w 420"/>
                <a:gd name="T65" fmla="*/ 0 h 420"/>
                <a:gd name="T66" fmla="*/ 215 w 420"/>
                <a:gd name="T67" fmla="*/ 4 h 420"/>
                <a:gd name="T68" fmla="*/ 355 w 420"/>
                <a:gd name="T69" fmla="*/ 64 h 420"/>
                <a:gd name="T70" fmla="*/ 416 w 420"/>
                <a:gd name="T71" fmla="*/ 204 h 420"/>
                <a:gd name="T72" fmla="*/ 420 w 420"/>
                <a:gd name="T73" fmla="*/ 204 h 420"/>
                <a:gd name="T74" fmla="*/ 215 w 420"/>
                <a:gd name="T75" fmla="*/ 0 h 420"/>
                <a:gd name="T76" fmla="*/ 208 w 420"/>
                <a:gd name="T77" fmla="*/ 0 h 420"/>
                <a:gd name="T78" fmla="*/ 0 w 420"/>
                <a:gd name="T79" fmla="*/ 204 h 420"/>
                <a:gd name="T80" fmla="*/ 1 w 420"/>
                <a:gd name="T81" fmla="*/ 204 h 420"/>
                <a:gd name="T82" fmla="*/ 4 w 420"/>
                <a:gd name="T83" fmla="*/ 204 h 420"/>
                <a:gd name="T84" fmla="*/ 64 w 420"/>
                <a:gd name="T85" fmla="*/ 64 h 420"/>
                <a:gd name="T86" fmla="*/ 207 w 420"/>
                <a:gd name="T87" fmla="*/ 4 h 420"/>
                <a:gd name="T88" fmla="*/ 208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420" y="212"/>
                  </a:moveTo>
                  <a:cubicBezTo>
                    <a:pt x="418" y="212"/>
                    <a:pt x="417" y="212"/>
                    <a:pt x="416" y="212"/>
                  </a:cubicBezTo>
                  <a:cubicBezTo>
                    <a:pt x="415" y="268"/>
                    <a:pt x="392" y="319"/>
                    <a:pt x="355" y="356"/>
                  </a:cubicBezTo>
                  <a:cubicBezTo>
                    <a:pt x="319" y="392"/>
                    <a:pt x="270" y="415"/>
                    <a:pt x="215" y="416"/>
                  </a:cubicBezTo>
                  <a:cubicBezTo>
                    <a:pt x="215" y="417"/>
                    <a:pt x="215" y="418"/>
                    <a:pt x="215" y="418"/>
                  </a:cubicBezTo>
                  <a:cubicBezTo>
                    <a:pt x="215" y="419"/>
                    <a:pt x="215" y="419"/>
                    <a:pt x="215" y="420"/>
                  </a:cubicBezTo>
                  <a:cubicBezTo>
                    <a:pt x="328" y="417"/>
                    <a:pt x="419" y="326"/>
                    <a:pt x="420" y="212"/>
                  </a:cubicBezTo>
                  <a:moveTo>
                    <a:pt x="1" y="212"/>
                  </a:moveTo>
                  <a:cubicBezTo>
                    <a:pt x="1" y="212"/>
                    <a:pt x="0" y="212"/>
                    <a:pt x="0" y="212"/>
                  </a:cubicBezTo>
                  <a:cubicBezTo>
                    <a:pt x="1" y="327"/>
                    <a:pt x="93" y="419"/>
                    <a:pt x="208" y="420"/>
                  </a:cubicBezTo>
                  <a:cubicBezTo>
                    <a:pt x="208" y="420"/>
                    <a:pt x="208" y="419"/>
                    <a:pt x="208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08" y="418"/>
                    <a:pt x="208" y="418"/>
                    <a:pt x="208" y="418"/>
                  </a:cubicBezTo>
                  <a:cubicBezTo>
                    <a:pt x="208" y="418"/>
                    <a:pt x="208" y="417"/>
                    <a:pt x="208" y="416"/>
                  </a:cubicBezTo>
                  <a:cubicBezTo>
                    <a:pt x="151" y="416"/>
                    <a:pt x="101" y="393"/>
                    <a:pt x="64" y="356"/>
                  </a:cubicBezTo>
                  <a:cubicBezTo>
                    <a:pt x="27" y="319"/>
                    <a:pt x="4" y="268"/>
                    <a:pt x="4" y="212"/>
                  </a:cubicBezTo>
                  <a:cubicBezTo>
                    <a:pt x="3" y="212"/>
                    <a:pt x="2" y="212"/>
                    <a:pt x="1" y="212"/>
                  </a:cubicBezTo>
                  <a:moveTo>
                    <a:pt x="4" y="208"/>
                  </a:moveTo>
                  <a:cubicBezTo>
                    <a:pt x="3" y="208"/>
                    <a:pt x="2" y="208"/>
                    <a:pt x="1" y="208"/>
                  </a:cubicBezTo>
                  <a:cubicBezTo>
                    <a:pt x="1" y="208"/>
                    <a:pt x="0" y="208"/>
                    <a:pt x="0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moveTo>
                    <a:pt x="416" y="208"/>
                  </a:moveTo>
                  <a:cubicBezTo>
                    <a:pt x="416" y="208"/>
                    <a:pt x="416" y="208"/>
                    <a:pt x="416" y="208"/>
                  </a:cubicBezTo>
                  <a:cubicBezTo>
                    <a:pt x="417" y="208"/>
                    <a:pt x="418" y="208"/>
                    <a:pt x="420" y="208"/>
                  </a:cubicBezTo>
                  <a:cubicBezTo>
                    <a:pt x="420" y="208"/>
                    <a:pt x="420" y="208"/>
                    <a:pt x="420" y="208"/>
                  </a:cubicBezTo>
                  <a:cubicBezTo>
                    <a:pt x="418" y="208"/>
                    <a:pt x="417" y="208"/>
                    <a:pt x="416" y="208"/>
                  </a:cubicBezTo>
                  <a:moveTo>
                    <a:pt x="215" y="0"/>
                  </a:moveTo>
                  <a:cubicBezTo>
                    <a:pt x="215" y="1"/>
                    <a:pt x="215" y="3"/>
                    <a:pt x="215" y="4"/>
                  </a:cubicBezTo>
                  <a:cubicBezTo>
                    <a:pt x="270" y="6"/>
                    <a:pt x="319" y="28"/>
                    <a:pt x="355" y="64"/>
                  </a:cubicBezTo>
                  <a:cubicBezTo>
                    <a:pt x="391" y="100"/>
                    <a:pt x="414" y="149"/>
                    <a:pt x="416" y="204"/>
                  </a:cubicBezTo>
                  <a:cubicBezTo>
                    <a:pt x="417" y="204"/>
                    <a:pt x="418" y="204"/>
                    <a:pt x="420" y="204"/>
                  </a:cubicBezTo>
                  <a:cubicBezTo>
                    <a:pt x="416" y="92"/>
                    <a:pt x="326" y="3"/>
                    <a:pt x="215" y="0"/>
                  </a:cubicBezTo>
                  <a:moveTo>
                    <a:pt x="208" y="0"/>
                  </a:moveTo>
                  <a:cubicBezTo>
                    <a:pt x="95" y="1"/>
                    <a:pt x="3" y="91"/>
                    <a:pt x="0" y="204"/>
                  </a:cubicBezTo>
                  <a:cubicBezTo>
                    <a:pt x="0" y="204"/>
                    <a:pt x="1" y="204"/>
                    <a:pt x="1" y="204"/>
                  </a:cubicBezTo>
                  <a:cubicBezTo>
                    <a:pt x="2" y="204"/>
                    <a:pt x="3" y="204"/>
                    <a:pt x="4" y="204"/>
                  </a:cubicBezTo>
                  <a:cubicBezTo>
                    <a:pt x="5" y="149"/>
                    <a:pt x="28" y="100"/>
                    <a:pt x="64" y="64"/>
                  </a:cubicBezTo>
                  <a:cubicBezTo>
                    <a:pt x="101" y="28"/>
                    <a:pt x="151" y="5"/>
                    <a:pt x="207" y="4"/>
                  </a:cubicBezTo>
                  <a:cubicBezTo>
                    <a:pt x="207" y="3"/>
                    <a:pt x="208" y="1"/>
                    <a:pt x="208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0" name="Freeform 59"/>
            <p:cNvSpPr>
              <a:spLocks noEditPoints="1"/>
            </p:cNvSpPr>
            <p:nvPr/>
          </p:nvSpPr>
          <p:spPr bwMode="auto">
            <a:xfrm>
              <a:off x="4581" y="3587"/>
              <a:ext cx="65" cy="64"/>
            </a:xfrm>
            <a:custGeom>
              <a:avLst/>
              <a:gdLst>
                <a:gd name="T0" fmla="*/ 4 w 211"/>
                <a:gd name="T1" fmla="*/ 204 h 208"/>
                <a:gd name="T2" fmla="*/ 1 w 211"/>
                <a:gd name="T3" fmla="*/ 204 h 208"/>
                <a:gd name="T4" fmla="*/ 0 w 211"/>
                <a:gd name="T5" fmla="*/ 204 h 208"/>
                <a:gd name="T6" fmla="*/ 0 w 211"/>
                <a:gd name="T7" fmla="*/ 208 h 208"/>
                <a:gd name="T8" fmla="*/ 1 w 211"/>
                <a:gd name="T9" fmla="*/ 208 h 208"/>
                <a:gd name="T10" fmla="*/ 4 w 211"/>
                <a:gd name="T11" fmla="*/ 208 h 208"/>
                <a:gd name="T12" fmla="*/ 4 w 211"/>
                <a:gd name="T13" fmla="*/ 204 h 208"/>
                <a:gd name="T14" fmla="*/ 210 w 211"/>
                <a:gd name="T15" fmla="*/ 0 h 208"/>
                <a:gd name="T16" fmla="*/ 208 w 211"/>
                <a:gd name="T17" fmla="*/ 0 h 208"/>
                <a:gd name="T18" fmla="*/ 207 w 211"/>
                <a:gd name="T19" fmla="*/ 4 h 208"/>
                <a:gd name="T20" fmla="*/ 210 w 211"/>
                <a:gd name="T21" fmla="*/ 4 h 208"/>
                <a:gd name="T22" fmla="*/ 211 w 211"/>
                <a:gd name="T23" fmla="*/ 4 h 208"/>
                <a:gd name="T24" fmla="*/ 211 w 211"/>
                <a:gd name="T25" fmla="*/ 0 h 208"/>
                <a:gd name="T26" fmla="*/ 210 w 211"/>
                <a:gd name="T2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1" h="208">
                  <a:moveTo>
                    <a:pt x="4" y="204"/>
                  </a:moveTo>
                  <a:cubicBezTo>
                    <a:pt x="3" y="204"/>
                    <a:pt x="2" y="204"/>
                    <a:pt x="1" y="204"/>
                  </a:cubicBezTo>
                  <a:cubicBezTo>
                    <a:pt x="1" y="204"/>
                    <a:pt x="0" y="204"/>
                    <a:pt x="0" y="204"/>
                  </a:cubicBezTo>
                  <a:cubicBezTo>
                    <a:pt x="0" y="205"/>
                    <a:pt x="0" y="206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6"/>
                    <a:pt x="4" y="205"/>
                    <a:pt x="4" y="204"/>
                  </a:cubicBezTo>
                  <a:moveTo>
                    <a:pt x="210" y="0"/>
                  </a:moveTo>
                  <a:cubicBezTo>
                    <a:pt x="209" y="0"/>
                    <a:pt x="208" y="0"/>
                    <a:pt x="208" y="0"/>
                  </a:cubicBezTo>
                  <a:cubicBezTo>
                    <a:pt x="208" y="1"/>
                    <a:pt x="207" y="3"/>
                    <a:pt x="207" y="4"/>
                  </a:cubicBezTo>
                  <a:cubicBezTo>
                    <a:pt x="208" y="4"/>
                    <a:pt x="209" y="4"/>
                    <a:pt x="210" y="4"/>
                  </a:cubicBezTo>
                  <a:cubicBezTo>
                    <a:pt x="210" y="4"/>
                    <a:pt x="211" y="4"/>
                    <a:pt x="211" y="4"/>
                  </a:cubicBezTo>
                  <a:cubicBezTo>
                    <a:pt x="211" y="3"/>
                    <a:pt x="211" y="1"/>
                    <a:pt x="211" y="0"/>
                  </a:cubicBezTo>
                  <a:cubicBezTo>
                    <a:pt x="210" y="0"/>
                    <a:pt x="210" y="0"/>
                    <a:pt x="21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1" name="Freeform 60"/>
            <p:cNvSpPr>
              <a:spLocks noEditPoints="1"/>
            </p:cNvSpPr>
            <p:nvPr/>
          </p:nvSpPr>
          <p:spPr bwMode="auto">
            <a:xfrm>
              <a:off x="4554" y="3559"/>
              <a:ext cx="184" cy="184"/>
            </a:xfrm>
            <a:custGeom>
              <a:avLst/>
              <a:gdLst>
                <a:gd name="T0" fmla="*/ 314 w 595"/>
                <a:gd name="T1" fmla="*/ 590 h 595"/>
                <a:gd name="T2" fmla="*/ 297 w 595"/>
                <a:gd name="T3" fmla="*/ 591 h 595"/>
                <a:gd name="T4" fmla="*/ 282 w 595"/>
                <a:gd name="T5" fmla="*/ 590 h 595"/>
                <a:gd name="T6" fmla="*/ 281 w 595"/>
                <a:gd name="T7" fmla="*/ 594 h 595"/>
                <a:gd name="T8" fmla="*/ 297 w 595"/>
                <a:gd name="T9" fmla="*/ 595 h 595"/>
                <a:gd name="T10" fmla="*/ 316 w 595"/>
                <a:gd name="T11" fmla="*/ 594 h 595"/>
                <a:gd name="T12" fmla="*/ 314 w 595"/>
                <a:gd name="T13" fmla="*/ 590 h 595"/>
                <a:gd name="T14" fmla="*/ 5 w 595"/>
                <a:gd name="T15" fmla="*/ 321 h 595"/>
                <a:gd name="T16" fmla="*/ 1 w 595"/>
                <a:gd name="T17" fmla="*/ 323 h 595"/>
                <a:gd name="T18" fmla="*/ 276 w 595"/>
                <a:gd name="T19" fmla="*/ 594 h 595"/>
                <a:gd name="T20" fmla="*/ 278 w 595"/>
                <a:gd name="T21" fmla="*/ 590 h 595"/>
                <a:gd name="T22" fmla="*/ 90 w 595"/>
                <a:gd name="T23" fmla="*/ 505 h 595"/>
                <a:gd name="T24" fmla="*/ 5 w 595"/>
                <a:gd name="T25" fmla="*/ 321 h 595"/>
                <a:gd name="T26" fmla="*/ 590 w 595"/>
                <a:gd name="T27" fmla="*/ 320 h 595"/>
                <a:gd name="T28" fmla="*/ 505 w 595"/>
                <a:gd name="T29" fmla="*/ 505 h 595"/>
                <a:gd name="T30" fmla="*/ 318 w 595"/>
                <a:gd name="T31" fmla="*/ 590 h 595"/>
                <a:gd name="T32" fmla="*/ 320 w 595"/>
                <a:gd name="T33" fmla="*/ 594 h 595"/>
                <a:gd name="T34" fmla="*/ 594 w 595"/>
                <a:gd name="T35" fmla="*/ 322 h 595"/>
                <a:gd name="T36" fmla="*/ 590 w 595"/>
                <a:gd name="T37" fmla="*/ 320 h 595"/>
                <a:gd name="T38" fmla="*/ 595 w 595"/>
                <a:gd name="T39" fmla="*/ 297 h 595"/>
                <a:gd name="T40" fmla="*/ 593 w 595"/>
                <a:gd name="T41" fmla="*/ 297 h 595"/>
                <a:gd name="T42" fmla="*/ 591 w 595"/>
                <a:gd name="T43" fmla="*/ 297 h 595"/>
                <a:gd name="T44" fmla="*/ 590 w 595"/>
                <a:gd name="T45" fmla="*/ 316 h 595"/>
                <a:gd name="T46" fmla="*/ 594 w 595"/>
                <a:gd name="T47" fmla="*/ 318 h 595"/>
                <a:gd name="T48" fmla="*/ 595 w 595"/>
                <a:gd name="T49" fmla="*/ 297 h 595"/>
                <a:gd name="T50" fmla="*/ 594 w 595"/>
                <a:gd name="T51" fmla="*/ 280 h 595"/>
                <a:gd name="T52" fmla="*/ 591 w 595"/>
                <a:gd name="T53" fmla="*/ 282 h 595"/>
                <a:gd name="T54" fmla="*/ 591 w 595"/>
                <a:gd name="T55" fmla="*/ 297 h 595"/>
                <a:gd name="T56" fmla="*/ 593 w 595"/>
                <a:gd name="T57" fmla="*/ 297 h 595"/>
                <a:gd name="T58" fmla="*/ 595 w 595"/>
                <a:gd name="T59" fmla="*/ 297 h 595"/>
                <a:gd name="T60" fmla="*/ 595 w 595"/>
                <a:gd name="T61" fmla="*/ 297 h 595"/>
                <a:gd name="T62" fmla="*/ 594 w 595"/>
                <a:gd name="T63" fmla="*/ 280 h 595"/>
                <a:gd name="T64" fmla="*/ 0 w 595"/>
                <a:gd name="T65" fmla="*/ 279 h 595"/>
                <a:gd name="T66" fmla="*/ 0 w 595"/>
                <a:gd name="T67" fmla="*/ 297 h 595"/>
                <a:gd name="T68" fmla="*/ 1 w 595"/>
                <a:gd name="T69" fmla="*/ 318 h 595"/>
                <a:gd name="T70" fmla="*/ 4 w 595"/>
                <a:gd name="T71" fmla="*/ 317 h 595"/>
                <a:gd name="T72" fmla="*/ 4 w 595"/>
                <a:gd name="T73" fmla="*/ 297 h 595"/>
                <a:gd name="T74" fmla="*/ 4 w 595"/>
                <a:gd name="T75" fmla="*/ 281 h 595"/>
                <a:gd name="T76" fmla="*/ 0 w 595"/>
                <a:gd name="T77" fmla="*/ 279 h 595"/>
                <a:gd name="T78" fmla="*/ 322 w 595"/>
                <a:gd name="T79" fmla="*/ 1 h 595"/>
                <a:gd name="T80" fmla="*/ 320 w 595"/>
                <a:gd name="T81" fmla="*/ 5 h 595"/>
                <a:gd name="T82" fmla="*/ 505 w 595"/>
                <a:gd name="T83" fmla="*/ 90 h 595"/>
                <a:gd name="T84" fmla="*/ 590 w 595"/>
                <a:gd name="T85" fmla="*/ 278 h 595"/>
                <a:gd name="T86" fmla="*/ 594 w 595"/>
                <a:gd name="T87" fmla="*/ 276 h 595"/>
                <a:gd name="T88" fmla="*/ 322 w 595"/>
                <a:gd name="T89" fmla="*/ 1 h 595"/>
                <a:gd name="T90" fmla="*/ 275 w 595"/>
                <a:gd name="T91" fmla="*/ 1 h 595"/>
                <a:gd name="T92" fmla="*/ 1 w 595"/>
                <a:gd name="T93" fmla="*/ 275 h 595"/>
                <a:gd name="T94" fmla="*/ 5 w 595"/>
                <a:gd name="T95" fmla="*/ 277 h 595"/>
                <a:gd name="T96" fmla="*/ 90 w 595"/>
                <a:gd name="T97" fmla="*/ 90 h 595"/>
                <a:gd name="T98" fmla="*/ 277 w 595"/>
                <a:gd name="T99" fmla="*/ 4 h 595"/>
                <a:gd name="T100" fmla="*/ 275 w 595"/>
                <a:gd name="T101" fmla="*/ 1 h 595"/>
                <a:gd name="T102" fmla="*/ 297 w 595"/>
                <a:gd name="T103" fmla="*/ 0 h 595"/>
                <a:gd name="T104" fmla="*/ 279 w 595"/>
                <a:gd name="T105" fmla="*/ 0 h 595"/>
                <a:gd name="T106" fmla="*/ 281 w 595"/>
                <a:gd name="T107" fmla="*/ 4 h 595"/>
                <a:gd name="T108" fmla="*/ 297 w 595"/>
                <a:gd name="T109" fmla="*/ 4 h 595"/>
                <a:gd name="T110" fmla="*/ 315 w 595"/>
                <a:gd name="T111" fmla="*/ 4 h 595"/>
                <a:gd name="T112" fmla="*/ 317 w 595"/>
                <a:gd name="T113" fmla="*/ 0 h 595"/>
                <a:gd name="T114" fmla="*/ 297 w 595"/>
                <a:gd name="T115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5" h="595">
                  <a:moveTo>
                    <a:pt x="314" y="590"/>
                  </a:moveTo>
                  <a:cubicBezTo>
                    <a:pt x="309" y="591"/>
                    <a:pt x="303" y="591"/>
                    <a:pt x="297" y="591"/>
                  </a:cubicBezTo>
                  <a:cubicBezTo>
                    <a:pt x="292" y="591"/>
                    <a:pt x="287" y="591"/>
                    <a:pt x="282" y="590"/>
                  </a:cubicBezTo>
                  <a:cubicBezTo>
                    <a:pt x="282" y="592"/>
                    <a:pt x="281" y="593"/>
                    <a:pt x="281" y="594"/>
                  </a:cubicBezTo>
                  <a:cubicBezTo>
                    <a:pt x="286" y="595"/>
                    <a:pt x="292" y="595"/>
                    <a:pt x="297" y="595"/>
                  </a:cubicBezTo>
                  <a:cubicBezTo>
                    <a:pt x="304" y="595"/>
                    <a:pt x="310" y="595"/>
                    <a:pt x="316" y="594"/>
                  </a:cubicBezTo>
                  <a:cubicBezTo>
                    <a:pt x="315" y="593"/>
                    <a:pt x="315" y="592"/>
                    <a:pt x="314" y="590"/>
                  </a:cubicBezTo>
                  <a:moveTo>
                    <a:pt x="5" y="321"/>
                  </a:moveTo>
                  <a:cubicBezTo>
                    <a:pt x="3" y="321"/>
                    <a:pt x="2" y="322"/>
                    <a:pt x="1" y="323"/>
                  </a:cubicBezTo>
                  <a:cubicBezTo>
                    <a:pt x="13" y="468"/>
                    <a:pt x="130" y="584"/>
                    <a:pt x="276" y="594"/>
                  </a:cubicBezTo>
                  <a:cubicBezTo>
                    <a:pt x="277" y="593"/>
                    <a:pt x="277" y="592"/>
                    <a:pt x="278" y="590"/>
                  </a:cubicBezTo>
                  <a:cubicBezTo>
                    <a:pt x="205" y="585"/>
                    <a:pt x="139" y="554"/>
                    <a:pt x="90" y="505"/>
                  </a:cubicBezTo>
                  <a:cubicBezTo>
                    <a:pt x="42" y="457"/>
                    <a:pt x="10" y="393"/>
                    <a:pt x="5" y="321"/>
                  </a:cubicBezTo>
                  <a:moveTo>
                    <a:pt x="590" y="320"/>
                  </a:moveTo>
                  <a:cubicBezTo>
                    <a:pt x="585" y="392"/>
                    <a:pt x="553" y="457"/>
                    <a:pt x="505" y="505"/>
                  </a:cubicBezTo>
                  <a:cubicBezTo>
                    <a:pt x="456" y="553"/>
                    <a:pt x="391" y="585"/>
                    <a:pt x="318" y="590"/>
                  </a:cubicBezTo>
                  <a:cubicBezTo>
                    <a:pt x="319" y="591"/>
                    <a:pt x="319" y="593"/>
                    <a:pt x="320" y="594"/>
                  </a:cubicBezTo>
                  <a:cubicBezTo>
                    <a:pt x="466" y="583"/>
                    <a:pt x="582" y="467"/>
                    <a:pt x="594" y="322"/>
                  </a:cubicBezTo>
                  <a:cubicBezTo>
                    <a:pt x="593" y="321"/>
                    <a:pt x="591" y="321"/>
                    <a:pt x="590" y="320"/>
                  </a:cubicBezTo>
                  <a:moveTo>
                    <a:pt x="595" y="297"/>
                  </a:moveTo>
                  <a:cubicBezTo>
                    <a:pt x="593" y="297"/>
                    <a:pt x="593" y="297"/>
                    <a:pt x="593" y="297"/>
                  </a:cubicBezTo>
                  <a:cubicBezTo>
                    <a:pt x="591" y="297"/>
                    <a:pt x="591" y="297"/>
                    <a:pt x="591" y="297"/>
                  </a:cubicBezTo>
                  <a:cubicBezTo>
                    <a:pt x="591" y="304"/>
                    <a:pt x="591" y="310"/>
                    <a:pt x="590" y="316"/>
                  </a:cubicBezTo>
                  <a:cubicBezTo>
                    <a:pt x="592" y="317"/>
                    <a:pt x="593" y="317"/>
                    <a:pt x="594" y="318"/>
                  </a:cubicBezTo>
                  <a:cubicBezTo>
                    <a:pt x="595" y="311"/>
                    <a:pt x="595" y="304"/>
                    <a:pt x="595" y="297"/>
                  </a:cubicBezTo>
                  <a:moveTo>
                    <a:pt x="594" y="280"/>
                  </a:moveTo>
                  <a:cubicBezTo>
                    <a:pt x="593" y="281"/>
                    <a:pt x="592" y="281"/>
                    <a:pt x="591" y="282"/>
                  </a:cubicBezTo>
                  <a:cubicBezTo>
                    <a:pt x="591" y="287"/>
                    <a:pt x="591" y="292"/>
                    <a:pt x="591" y="297"/>
                  </a:cubicBezTo>
                  <a:cubicBezTo>
                    <a:pt x="593" y="297"/>
                    <a:pt x="593" y="297"/>
                    <a:pt x="59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1"/>
                    <a:pt x="595" y="286"/>
                    <a:pt x="594" y="280"/>
                  </a:cubicBezTo>
                  <a:moveTo>
                    <a:pt x="0" y="279"/>
                  </a:moveTo>
                  <a:cubicBezTo>
                    <a:pt x="0" y="285"/>
                    <a:pt x="0" y="291"/>
                    <a:pt x="0" y="297"/>
                  </a:cubicBezTo>
                  <a:cubicBezTo>
                    <a:pt x="0" y="304"/>
                    <a:pt x="0" y="311"/>
                    <a:pt x="1" y="318"/>
                  </a:cubicBezTo>
                  <a:cubicBezTo>
                    <a:pt x="2" y="318"/>
                    <a:pt x="3" y="317"/>
                    <a:pt x="4" y="317"/>
                  </a:cubicBezTo>
                  <a:cubicBezTo>
                    <a:pt x="4" y="310"/>
                    <a:pt x="4" y="304"/>
                    <a:pt x="4" y="297"/>
                  </a:cubicBezTo>
                  <a:cubicBezTo>
                    <a:pt x="4" y="292"/>
                    <a:pt x="4" y="286"/>
                    <a:pt x="4" y="281"/>
                  </a:cubicBezTo>
                  <a:cubicBezTo>
                    <a:pt x="3" y="281"/>
                    <a:pt x="2" y="280"/>
                    <a:pt x="0" y="279"/>
                  </a:cubicBezTo>
                  <a:moveTo>
                    <a:pt x="322" y="1"/>
                  </a:moveTo>
                  <a:cubicBezTo>
                    <a:pt x="321" y="2"/>
                    <a:pt x="320" y="3"/>
                    <a:pt x="320" y="5"/>
                  </a:cubicBezTo>
                  <a:cubicBezTo>
                    <a:pt x="392" y="10"/>
                    <a:pt x="457" y="41"/>
                    <a:pt x="505" y="90"/>
                  </a:cubicBezTo>
                  <a:cubicBezTo>
                    <a:pt x="554" y="138"/>
                    <a:pt x="585" y="204"/>
                    <a:pt x="590" y="278"/>
                  </a:cubicBezTo>
                  <a:cubicBezTo>
                    <a:pt x="592" y="277"/>
                    <a:pt x="593" y="276"/>
                    <a:pt x="594" y="276"/>
                  </a:cubicBezTo>
                  <a:cubicBezTo>
                    <a:pt x="584" y="129"/>
                    <a:pt x="468" y="12"/>
                    <a:pt x="322" y="1"/>
                  </a:cubicBezTo>
                  <a:moveTo>
                    <a:pt x="275" y="1"/>
                  </a:moveTo>
                  <a:cubicBezTo>
                    <a:pt x="128" y="12"/>
                    <a:pt x="11" y="129"/>
                    <a:pt x="1" y="275"/>
                  </a:cubicBezTo>
                  <a:cubicBezTo>
                    <a:pt x="2" y="276"/>
                    <a:pt x="3" y="276"/>
                    <a:pt x="5" y="277"/>
                  </a:cubicBezTo>
                  <a:cubicBezTo>
                    <a:pt x="10" y="204"/>
                    <a:pt x="41" y="138"/>
                    <a:pt x="90" y="90"/>
                  </a:cubicBezTo>
                  <a:cubicBezTo>
                    <a:pt x="138" y="41"/>
                    <a:pt x="204" y="9"/>
                    <a:pt x="277" y="4"/>
                  </a:cubicBezTo>
                  <a:cubicBezTo>
                    <a:pt x="276" y="3"/>
                    <a:pt x="275" y="2"/>
                    <a:pt x="275" y="1"/>
                  </a:cubicBezTo>
                  <a:moveTo>
                    <a:pt x="297" y="0"/>
                  </a:moveTo>
                  <a:cubicBezTo>
                    <a:pt x="291" y="0"/>
                    <a:pt x="285" y="0"/>
                    <a:pt x="279" y="0"/>
                  </a:cubicBezTo>
                  <a:cubicBezTo>
                    <a:pt x="280" y="2"/>
                    <a:pt x="280" y="3"/>
                    <a:pt x="281" y="4"/>
                  </a:cubicBezTo>
                  <a:cubicBezTo>
                    <a:pt x="286" y="4"/>
                    <a:pt x="292" y="4"/>
                    <a:pt x="297" y="4"/>
                  </a:cubicBezTo>
                  <a:cubicBezTo>
                    <a:pt x="303" y="4"/>
                    <a:pt x="310" y="4"/>
                    <a:pt x="315" y="4"/>
                  </a:cubicBezTo>
                  <a:cubicBezTo>
                    <a:pt x="316" y="3"/>
                    <a:pt x="317" y="2"/>
                    <a:pt x="317" y="0"/>
                  </a:cubicBezTo>
                  <a:cubicBezTo>
                    <a:pt x="311" y="0"/>
                    <a:pt x="304" y="0"/>
                    <a:pt x="297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2" name="Freeform 61"/>
            <p:cNvSpPr>
              <a:spLocks noEditPoints="1"/>
            </p:cNvSpPr>
            <p:nvPr/>
          </p:nvSpPr>
          <p:spPr bwMode="auto">
            <a:xfrm>
              <a:off x="4554" y="3559"/>
              <a:ext cx="87" cy="87"/>
            </a:xfrm>
            <a:custGeom>
              <a:avLst/>
              <a:gdLst>
                <a:gd name="T0" fmla="*/ 1 w 281"/>
                <a:gd name="T1" fmla="*/ 275 h 281"/>
                <a:gd name="T2" fmla="*/ 0 w 281"/>
                <a:gd name="T3" fmla="*/ 279 h 281"/>
                <a:gd name="T4" fmla="*/ 4 w 281"/>
                <a:gd name="T5" fmla="*/ 281 h 281"/>
                <a:gd name="T6" fmla="*/ 5 w 281"/>
                <a:gd name="T7" fmla="*/ 277 h 281"/>
                <a:gd name="T8" fmla="*/ 1 w 281"/>
                <a:gd name="T9" fmla="*/ 275 h 281"/>
                <a:gd name="T10" fmla="*/ 279 w 281"/>
                <a:gd name="T11" fmla="*/ 0 h 281"/>
                <a:gd name="T12" fmla="*/ 275 w 281"/>
                <a:gd name="T13" fmla="*/ 1 h 281"/>
                <a:gd name="T14" fmla="*/ 277 w 281"/>
                <a:gd name="T15" fmla="*/ 4 h 281"/>
                <a:gd name="T16" fmla="*/ 281 w 281"/>
                <a:gd name="T17" fmla="*/ 4 h 281"/>
                <a:gd name="T18" fmla="*/ 279 w 281"/>
                <a:gd name="T1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1">
                  <a:moveTo>
                    <a:pt x="1" y="275"/>
                  </a:moveTo>
                  <a:cubicBezTo>
                    <a:pt x="1" y="277"/>
                    <a:pt x="0" y="278"/>
                    <a:pt x="0" y="279"/>
                  </a:cubicBezTo>
                  <a:cubicBezTo>
                    <a:pt x="2" y="280"/>
                    <a:pt x="3" y="281"/>
                    <a:pt x="4" y="281"/>
                  </a:cubicBezTo>
                  <a:cubicBezTo>
                    <a:pt x="4" y="280"/>
                    <a:pt x="4" y="278"/>
                    <a:pt x="5" y="277"/>
                  </a:cubicBezTo>
                  <a:cubicBezTo>
                    <a:pt x="3" y="276"/>
                    <a:pt x="2" y="276"/>
                    <a:pt x="1" y="275"/>
                  </a:cubicBezTo>
                  <a:moveTo>
                    <a:pt x="279" y="0"/>
                  </a:moveTo>
                  <a:cubicBezTo>
                    <a:pt x="278" y="0"/>
                    <a:pt x="276" y="0"/>
                    <a:pt x="275" y="1"/>
                  </a:cubicBezTo>
                  <a:cubicBezTo>
                    <a:pt x="275" y="2"/>
                    <a:pt x="276" y="3"/>
                    <a:pt x="277" y="4"/>
                  </a:cubicBezTo>
                  <a:cubicBezTo>
                    <a:pt x="278" y="4"/>
                    <a:pt x="279" y="4"/>
                    <a:pt x="281" y="4"/>
                  </a:cubicBezTo>
                  <a:cubicBezTo>
                    <a:pt x="280" y="3"/>
                    <a:pt x="280" y="2"/>
                    <a:pt x="279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3" name="Freeform 62"/>
            <p:cNvSpPr>
              <a:spLocks noEditPoints="1"/>
            </p:cNvSpPr>
            <p:nvPr/>
          </p:nvSpPr>
          <p:spPr bwMode="auto">
            <a:xfrm>
              <a:off x="4646" y="3521"/>
              <a:ext cx="131" cy="130"/>
            </a:xfrm>
            <a:custGeom>
              <a:avLst/>
              <a:gdLst>
                <a:gd name="T0" fmla="*/ 292 w 420"/>
                <a:gd name="T1" fmla="*/ 399 h 420"/>
                <a:gd name="T2" fmla="*/ 210 w 420"/>
                <a:gd name="T3" fmla="*/ 416 h 420"/>
                <a:gd name="T4" fmla="*/ 209 w 420"/>
                <a:gd name="T5" fmla="*/ 416 h 420"/>
                <a:gd name="T6" fmla="*/ 209 w 420"/>
                <a:gd name="T7" fmla="*/ 420 h 420"/>
                <a:gd name="T8" fmla="*/ 210 w 420"/>
                <a:gd name="T9" fmla="*/ 420 h 420"/>
                <a:gd name="T10" fmla="*/ 293 w 420"/>
                <a:gd name="T11" fmla="*/ 403 h 420"/>
                <a:gd name="T12" fmla="*/ 292 w 420"/>
                <a:gd name="T13" fmla="*/ 399 h 420"/>
                <a:gd name="T14" fmla="*/ 0 w 420"/>
                <a:gd name="T15" fmla="*/ 216 h 420"/>
                <a:gd name="T16" fmla="*/ 0 w 420"/>
                <a:gd name="T17" fmla="*/ 222 h 420"/>
                <a:gd name="T18" fmla="*/ 205 w 420"/>
                <a:gd name="T19" fmla="*/ 420 h 420"/>
                <a:gd name="T20" fmla="*/ 205 w 420"/>
                <a:gd name="T21" fmla="*/ 416 h 420"/>
                <a:gd name="T22" fmla="*/ 64 w 420"/>
                <a:gd name="T23" fmla="*/ 355 h 420"/>
                <a:gd name="T24" fmla="*/ 4 w 420"/>
                <a:gd name="T25" fmla="*/ 216 h 420"/>
                <a:gd name="T26" fmla="*/ 0 w 420"/>
                <a:gd name="T27" fmla="*/ 216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56 w 420"/>
                <a:gd name="T35" fmla="*/ 355 h 420"/>
                <a:gd name="T36" fmla="*/ 296 w 420"/>
                <a:gd name="T37" fmla="*/ 397 h 420"/>
                <a:gd name="T38" fmla="*/ 296 w 420"/>
                <a:gd name="T39" fmla="*/ 401 h 420"/>
                <a:gd name="T40" fmla="*/ 420 w 420"/>
                <a:gd name="T41" fmla="*/ 210 h 420"/>
                <a:gd name="T42" fmla="*/ 17 w 420"/>
                <a:gd name="T43" fmla="*/ 125 h 420"/>
                <a:gd name="T44" fmla="*/ 0 w 420"/>
                <a:gd name="T45" fmla="*/ 197 h 420"/>
                <a:gd name="T46" fmla="*/ 1 w 420"/>
                <a:gd name="T47" fmla="*/ 210 h 420"/>
                <a:gd name="T48" fmla="*/ 1 w 420"/>
                <a:gd name="T49" fmla="*/ 210 h 420"/>
                <a:gd name="T50" fmla="*/ 1 w 420"/>
                <a:gd name="T51" fmla="*/ 210 h 420"/>
                <a:gd name="T52" fmla="*/ 1 w 420"/>
                <a:gd name="T53" fmla="*/ 212 h 420"/>
                <a:gd name="T54" fmla="*/ 4 w 420"/>
                <a:gd name="T55" fmla="*/ 212 h 420"/>
                <a:gd name="T56" fmla="*/ 4 w 420"/>
                <a:gd name="T57" fmla="*/ 210 h 420"/>
                <a:gd name="T58" fmla="*/ 22 w 420"/>
                <a:gd name="T59" fmla="*/ 126 h 420"/>
                <a:gd name="T60" fmla="*/ 17 w 420"/>
                <a:gd name="T61" fmla="*/ 125 h 420"/>
                <a:gd name="T62" fmla="*/ 210 w 420"/>
                <a:gd name="T63" fmla="*/ 0 h 420"/>
                <a:gd name="T64" fmla="*/ 19 w 420"/>
                <a:gd name="T65" fmla="*/ 121 h 420"/>
                <a:gd name="T66" fmla="*/ 24 w 420"/>
                <a:gd name="T67" fmla="*/ 122 h 420"/>
                <a:gd name="T68" fmla="*/ 64 w 420"/>
                <a:gd name="T69" fmla="*/ 64 h 420"/>
                <a:gd name="T70" fmla="*/ 210 w 420"/>
                <a:gd name="T71" fmla="*/ 4 h 420"/>
                <a:gd name="T72" fmla="*/ 356 w 420"/>
                <a:gd name="T73" fmla="*/ 64 h 420"/>
                <a:gd name="T74" fmla="*/ 416 w 420"/>
                <a:gd name="T75" fmla="*/ 210 h 420"/>
                <a:gd name="T76" fmla="*/ 418 w 420"/>
                <a:gd name="T77" fmla="*/ 210 h 420"/>
                <a:gd name="T78" fmla="*/ 420 w 420"/>
                <a:gd name="T79" fmla="*/ 210 h 420"/>
                <a:gd name="T80" fmla="*/ 420 w 420"/>
                <a:gd name="T81" fmla="*/ 210 h 420"/>
                <a:gd name="T82" fmla="*/ 390 w 420"/>
                <a:gd name="T83" fmla="*/ 101 h 420"/>
                <a:gd name="T84" fmla="*/ 356 w 420"/>
                <a:gd name="T85" fmla="*/ 63 h 420"/>
                <a:gd name="T86" fmla="*/ 318 w 420"/>
                <a:gd name="T87" fmla="*/ 30 h 420"/>
                <a:gd name="T88" fmla="*/ 210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292" y="399"/>
                  </a:moveTo>
                  <a:cubicBezTo>
                    <a:pt x="267" y="410"/>
                    <a:pt x="239" y="416"/>
                    <a:pt x="210" y="416"/>
                  </a:cubicBezTo>
                  <a:cubicBezTo>
                    <a:pt x="209" y="416"/>
                    <a:pt x="209" y="416"/>
                    <a:pt x="209" y="416"/>
                  </a:cubicBezTo>
                  <a:cubicBezTo>
                    <a:pt x="209" y="417"/>
                    <a:pt x="209" y="418"/>
                    <a:pt x="209" y="420"/>
                  </a:cubicBezTo>
                  <a:cubicBezTo>
                    <a:pt x="209" y="420"/>
                    <a:pt x="210" y="420"/>
                    <a:pt x="210" y="420"/>
                  </a:cubicBezTo>
                  <a:cubicBezTo>
                    <a:pt x="239" y="420"/>
                    <a:pt x="267" y="414"/>
                    <a:pt x="293" y="403"/>
                  </a:cubicBezTo>
                  <a:cubicBezTo>
                    <a:pt x="293" y="401"/>
                    <a:pt x="292" y="400"/>
                    <a:pt x="292" y="399"/>
                  </a:cubicBezTo>
                  <a:moveTo>
                    <a:pt x="0" y="216"/>
                  </a:moveTo>
                  <a:cubicBezTo>
                    <a:pt x="0" y="218"/>
                    <a:pt x="0" y="220"/>
                    <a:pt x="0" y="222"/>
                  </a:cubicBezTo>
                  <a:cubicBezTo>
                    <a:pt x="6" y="331"/>
                    <a:pt x="95" y="417"/>
                    <a:pt x="205" y="420"/>
                  </a:cubicBezTo>
                  <a:cubicBezTo>
                    <a:pt x="205" y="418"/>
                    <a:pt x="205" y="417"/>
                    <a:pt x="205" y="416"/>
                  </a:cubicBezTo>
                  <a:cubicBezTo>
                    <a:pt x="150" y="414"/>
                    <a:pt x="100" y="391"/>
                    <a:pt x="64" y="355"/>
                  </a:cubicBezTo>
                  <a:cubicBezTo>
                    <a:pt x="28" y="319"/>
                    <a:pt x="6" y="270"/>
                    <a:pt x="4" y="216"/>
                  </a:cubicBezTo>
                  <a:cubicBezTo>
                    <a:pt x="3" y="216"/>
                    <a:pt x="2" y="216"/>
                    <a:pt x="0" y="216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7"/>
                    <a:pt x="393" y="318"/>
                    <a:pt x="356" y="355"/>
                  </a:cubicBezTo>
                  <a:cubicBezTo>
                    <a:pt x="339" y="372"/>
                    <a:pt x="318" y="387"/>
                    <a:pt x="296" y="397"/>
                  </a:cubicBezTo>
                  <a:cubicBezTo>
                    <a:pt x="296" y="398"/>
                    <a:pt x="296" y="400"/>
                    <a:pt x="296" y="401"/>
                  </a:cubicBezTo>
                  <a:cubicBezTo>
                    <a:pt x="369" y="368"/>
                    <a:pt x="420" y="295"/>
                    <a:pt x="420" y="210"/>
                  </a:cubicBezTo>
                  <a:moveTo>
                    <a:pt x="17" y="125"/>
                  </a:moveTo>
                  <a:cubicBezTo>
                    <a:pt x="8" y="147"/>
                    <a:pt x="2" y="172"/>
                    <a:pt x="0" y="197"/>
                  </a:cubicBezTo>
                  <a:cubicBezTo>
                    <a:pt x="0" y="201"/>
                    <a:pt x="1" y="205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1"/>
                    <a:pt x="1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211"/>
                    <a:pt x="4" y="210"/>
                    <a:pt x="4" y="210"/>
                  </a:cubicBezTo>
                  <a:cubicBezTo>
                    <a:pt x="4" y="180"/>
                    <a:pt x="10" y="151"/>
                    <a:pt x="22" y="126"/>
                  </a:cubicBezTo>
                  <a:cubicBezTo>
                    <a:pt x="20" y="125"/>
                    <a:pt x="19" y="125"/>
                    <a:pt x="17" y="125"/>
                  </a:cubicBezTo>
                  <a:moveTo>
                    <a:pt x="210" y="0"/>
                  </a:moveTo>
                  <a:cubicBezTo>
                    <a:pt x="125" y="0"/>
                    <a:pt x="53" y="49"/>
                    <a:pt x="19" y="121"/>
                  </a:cubicBezTo>
                  <a:cubicBezTo>
                    <a:pt x="21" y="121"/>
                    <a:pt x="22" y="122"/>
                    <a:pt x="24" y="122"/>
                  </a:cubicBezTo>
                  <a:cubicBezTo>
                    <a:pt x="34" y="100"/>
                    <a:pt x="48" y="81"/>
                    <a:pt x="64" y="64"/>
                  </a:cubicBezTo>
                  <a:cubicBezTo>
                    <a:pt x="101" y="27"/>
                    <a:pt x="153" y="4"/>
                    <a:pt x="210" y="4"/>
                  </a:cubicBezTo>
                  <a:cubicBezTo>
                    <a:pt x="267" y="4"/>
                    <a:pt x="318" y="27"/>
                    <a:pt x="356" y="64"/>
                  </a:cubicBezTo>
                  <a:cubicBezTo>
                    <a:pt x="393" y="101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70"/>
                    <a:pt x="409" y="133"/>
                    <a:pt x="390" y="101"/>
                  </a:cubicBezTo>
                  <a:cubicBezTo>
                    <a:pt x="379" y="88"/>
                    <a:pt x="368" y="76"/>
                    <a:pt x="356" y="63"/>
                  </a:cubicBezTo>
                  <a:cubicBezTo>
                    <a:pt x="344" y="52"/>
                    <a:pt x="331" y="40"/>
                    <a:pt x="318" y="30"/>
                  </a:cubicBezTo>
                  <a:cubicBezTo>
                    <a:pt x="287" y="11"/>
                    <a:pt x="250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4" name="Freeform 63"/>
            <p:cNvSpPr>
              <a:spLocks/>
            </p:cNvSpPr>
            <p:nvPr/>
          </p:nvSpPr>
          <p:spPr bwMode="auto">
            <a:xfrm>
              <a:off x="4745" y="3530"/>
              <a:ext cx="22" cy="22"/>
            </a:xfrm>
            <a:custGeom>
              <a:avLst/>
              <a:gdLst>
                <a:gd name="T0" fmla="*/ 0 w 72"/>
                <a:gd name="T1" fmla="*/ 0 h 71"/>
                <a:gd name="T2" fmla="*/ 38 w 72"/>
                <a:gd name="T3" fmla="*/ 33 h 71"/>
                <a:gd name="T4" fmla="*/ 72 w 72"/>
                <a:gd name="T5" fmla="*/ 71 h 71"/>
                <a:gd name="T6" fmla="*/ 0 w 72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1">
                  <a:moveTo>
                    <a:pt x="0" y="0"/>
                  </a:moveTo>
                  <a:cubicBezTo>
                    <a:pt x="13" y="10"/>
                    <a:pt x="26" y="22"/>
                    <a:pt x="38" y="33"/>
                  </a:cubicBezTo>
                  <a:cubicBezTo>
                    <a:pt x="50" y="46"/>
                    <a:pt x="61" y="58"/>
                    <a:pt x="72" y="71"/>
                  </a:cubicBezTo>
                  <a:cubicBezTo>
                    <a:pt x="54" y="42"/>
                    <a:pt x="30" y="17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5" name="Freeform 64"/>
            <p:cNvSpPr>
              <a:spLocks noEditPoints="1"/>
            </p:cNvSpPr>
            <p:nvPr/>
          </p:nvSpPr>
          <p:spPr bwMode="auto">
            <a:xfrm>
              <a:off x="4646" y="3582"/>
              <a:ext cx="1" cy="8"/>
            </a:xfrm>
            <a:custGeom>
              <a:avLst/>
              <a:gdLst>
                <a:gd name="T0" fmla="*/ 0 w 1"/>
                <a:gd name="T1" fmla="*/ 19 h 25"/>
                <a:gd name="T2" fmla="*/ 0 w 1"/>
                <a:gd name="T3" fmla="*/ 25 h 25"/>
                <a:gd name="T4" fmla="*/ 0 w 1"/>
                <a:gd name="T5" fmla="*/ 19 h 25"/>
                <a:gd name="T6" fmla="*/ 0 w 1"/>
                <a:gd name="T7" fmla="*/ 19 h 25"/>
                <a:gd name="T8" fmla="*/ 1 w 1"/>
                <a:gd name="T9" fmla="*/ 13 h 25"/>
                <a:gd name="T10" fmla="*/ 0 w 1"/>
                <a:gd name="T11" fmla="*/ 13 h 25"/>
                <a:gd name="T12" fmla="*/ 0 w 1"/>
                <a:gd name="T13" fmla="*/ 15 h 25"/>
                <a:gd name="T14" fmla="*/ 1 w 1"/>
                <a:gd name="T15" fmla="*/ 15 h 25"/>
                <a:gd name="T16" fmla="*/ 1 w 1"/>
                <a:gd name="T17" fmla="*/ 13 h 25"/>
                <a:gd name="T18" fmla="*/ 1 w 1"/>
                <a:gd name="T19" fmla="*/ 13 h 25"/>
                <a:gd name="T20" fmla="*/ 1 w 1"/>
                <a:gd name="T21" fmla="*/ 13 h 25"/>
                <a:gd name="T22" fmla="*/ 1 w 1"/>
                <a:gd name="T23" fmla="*/ 13 h 25"/>
                <a:gd name="T24" fmla="*/ 0 w 1"/>
                <a:gd name="T25" fmla="*/ 0 h 25"/>
                <a:gd name="T26" fmla="*/ 0 w 1"/>
                <a:gd name="T27" fmla="*/ 13 h 25"/>
                <a:gd name="T28" fmla="*/ 0 w 1"/>
                <a:gd name="T29" fmla="*/ 13 h 25"/>
                <a:gd name="T30" fmla="*/ 1 w 1"/>
                <a:gd name="T31" fmla="*/ 13 h 25"/>
                <a:gd name="T32" fmla="*/ 1 w 1"/>
                <a:gd name="T33" fmla="*/ 13 h 25"/>
                <a:gd name="T34" fmla="*/ 0 w 1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" h="25">
                  <a:moveTo>
                    <a:pt x="0" y="19"/>
                  </a:moveTo>
                  <a:cubicBezTo>
                    <a:pt x="0" y="21"/>
                    <a:pt x="0" y="23"/>
                    <a:pt x="0" y="25"/>
                  </a:cubicBezTo>
                  <a:cubicBezTo>
                    <a:pt x="0" y="23"/>
                    <a:pt x="0" y="21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moveTo>
                    <a:pt x="1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1" y="14"/>
                    <a:pt x="1" y="13"/>
                    <a:pt x="1" y="13"/>
                  </a:cubicBezTo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moveTo>
                    <a:pt x="0" y="0"/>
                  </a:moveTo>
                  <a:cubicBezTo>
                    <a:pt x="0" y="4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8"/>
                    <a:pt x="0" y="4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6" name="Freeform 65"/>
            <p:cNvSpPr>
              <a:spLocks noEditPoints="1"/>
            </p:cNvSpPr>
            <p:nvPr/>
          </p:nvSpPr>
          <p:spPr bwMode="auto">
            <a:xfrm>
              <a:off x="4646" y="3587"/>
              <a:ext cx="65" cy="64"/>
            </a:xfrm>
            <a:custGeom>
              <a:avLst/>
              <a:gdLst>
                <a:gd name="T0" fmla="*/ 205 w 209"/>
                <a:gd name="T1" fmla="*/ 204 h 208"/>
                <a:gd name="T2" fmla="*/ 205 w 209"/>
                <a:gd name="T3" fmla="*/ 208 h 208"/>
                <a:gd name="T4" fmla="*/ 209 w 209"/>
                <a:gd name="T5" fmla="*/ 208 h 208"/>
                <a:gd name="T6" fmla="*/ 209 w 209"/>
                <a:gd name="T7" fmla="*/ 204 h 208"/>
                <a:gd name="T8" fmla="*/ 205 w 209"/>
                <a:gd name="T9" fmla="*/ 204 h 208"/>
                <a:gd name="T10" fmla="*/ 1 w 209"/>
                <a:gd name="T11" fmla="*/ 0 h 208"/>
                <a:gd name="T12" fmla="*/ 0 w 209"/>
                <a:gd name="T13" fmla="*/ 4 h 208"/>
                <a:gd name="T14" fmla="*/ 4 w 209"/>
                <a:gd name="T15" fmla="*/ 4 h 208"/>
                <a:gd name="T16" fmla="*/ 4 w 209"/>
                <a:gd name="T17" fmla="*/ 0 h 208"/>
                <a:gd name="T18" fmla="*/ 1 w 209"/>
                <a:gd name="T1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" h="208">
                  <a:moveTo>
                    <a:pt x="205" y="204"/>
                  </a:moveTo>
                  <a:cubicBezTo>
                    <a:pt x="205" y="205"/>
                    <a:pt x="205" y="206"/>
                    <a:pt x="205" y="208"/>
                  </a:cubicBezTo>
                  <a:cubicBezTo>
                    <a:pt x="206" y="208"/>
                    <a:pt x="207" y="208"/>
                    <a:pt x="209" y="208"/>
                  </a:cubicBezTo>
                  <a:cubicBezTo>
                    <a:pt x="209" y="206"/>
                    <a:pt x="209" y="205"/>
                    <a:pt x="209" y="204"/>
                  </a:cubicBezTo>
                  <a:cubicBezTo>
                    <a:pt x="207" y="204"/>
                    <a:pt x="206" y="204"/>
                    <a:pt x="205" y="204"/>
                  </a:cubicBezTo>
                  <a:moveTo>
                    <a:pt x="1" y="0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7" name="Freeform 66"/>
            <p:cNvSpPr>
              <a:spLocks/>
            </p:cNvSpPr>
            <p:nvPr/>
          </p:nvSpPr>
          <p:spPr bwMode="auto">
            <a:xfrm>
              <a:off x="4646" y="3587"/>
              <a:ext cx="1" cy="1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8" name="Freeform 67"/>
            <p:cNvSpPr>
              <a:spLocks noEditPoints="1"/>
            </p:cNvSpPr>
            <p:nvPr/>
          </p:nvSpPr>
          <p:spPr bwMode="auto">
            <a:xfrm>
              <a:off x="4652" y="3559"/>
              <a:ext cx="86" cy="87"/>
            </a:xfrm>
            <a:custGeom>
              <a:avLst/>
              <a:gdLst>
                <a:gd name="T0" fmla="*/ 279 w 279"/>
                <a:gd name="T1" fmla="*/ 276 h 282"/>
                <a:gd name="T2" fmla="*/ 275 w 279"/>
                <a:gd name="T3" fmla="*/ 278 h 282"/>
                <a:gd name="T4" fmla="*/ 276 w 279"/>
                <a:gd name="T5" fmla="*/ 282 h 282"/>
                <a:gd name="T6" fmla="*/ 279 w 279"/>
                <a:gd name="T7" fmla="*/ 280 h 282"/>
                <a:gd name="T8" fmla="*/ 279 w 279"/>
                <a:gd name="T9" fmla="*/ 276 h 282"/>
                <a:gd name="T10" fmla="*/ 2 w 279"/>
                <a:gd name="T11" fmla="*/ 0 h 282"/>
                <a:gd name="T12" fmla="*/ 0 w 279"/>
                <a:gd name="T13" fmla="*/ 4 h 282"/>
                <a:gd name="T14" fmla="*/ 5 w 279"/>
                <a:gd name="T15" fmla="*/ 5 h 282"/>
                <a:gd name="T16" fmla="*/ 7 w 279"/>
                <a:gd name="T17" fmla="*/ 1 h 282"/>
                <a:gd name="T18" fmla="*/ 2 w 279"/>
                <a:gd name="T1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" h="282">
                  <a:moveTo>
                    <a:pt x="279" y="276"/>
                  </a:moveTo>
                  <a:cubicBezTo>
                    <a:pt x="278" y="276"/>
                    <a:pt x="277" y="277"/>
                    <a:pt x="275" y="278"/>
                  </a:cubicBezTo>
                  <a:cubicBezTo>
                    <a:pt x="275" y="279"/>
                    <a:pt x="276" y="280"/>
                    <a:pt x="276" y="282"/>
                  </a:cubicBezTo>
                  <a:cubicBezTo>
                    <a:pt x="277" y="281"/>
                    <a:pt x="278" y="281"/>
                    <a:pt x="279" y="280"/>
                  </a:cubicBezTo>
                  <a:cubicBezTo>
                    <a:pt x="279" y="279"/>
                    <a:pt x="279" y="277"/>
                    <a:pt x="279" y="276"/>
                  </a:cubicBezTo>
                  <a:moveTo>
                    <a:pt x="2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2" y="4"/>
                    <a:pt x="3" y="4"/>
                    <a:pt x="5" y="5"/>
                  </a:cubicBezTo>
                  <a:cubicBezTo>
                    <a:pt x="5" y="3"/>
                    <a:pt x="6" y="2"/>
                    <a:pt x="7" y="1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99" name="Freeform 68"/>
            <p:cNvSpPr>
              <a:spLocks noEditPoints="1"/>
            </p:cNvSpPr>
            <p:nvPr/>
          </p:nvSpPr>
          <p:spPr bwMode="auto">
            <a:xfrm>
              <a:off x="4516" y="3651"/>
              <a:ext cx="130" cy="131"/>
            </a:xfrm>
            <a:custGeom>
              <a:avLst/>
              <a:gdLst>
                <a:gd name="T0" fmla="*/ 417 w 420"/>
                <a:gd name="T1" fmla="*/ 212 h 420"/>
                <a:gd name="T2" fmla="*/ 400 w 420"/>
                <a:gd name="T3" fmla="*/ 291 h 420"/>
                <a:gd name="T4" fmla="*/ 404 w 420"/>
                <a:gd name="T5" fmla="*/ 291 h 420"/>
                <a:gd name="T6" fmla="*/ 420 w 420"/>
                <a:gd name="T7" fmla="*/ 223 h 420"/>
                <a:gd name="T8" fmla="*/ 420 w 420"/>
                <a:gd name="T9" fmla="*/ 212 h 420"/>
                <a:gd name="T10" fmla="*/ 419 w 420"/>
                <a:gd name="T11" fmla="*/ 212 h 420"/>
                <a:gd name="T12" fmla="*/ 417 w 420"/>
                <a:gd name="T13" fmla="*/ 212 h 420"/>
                <a:gd name="T14" fmla="*/ 123 w 420"/>
                <a:gd name="T15" fmla="*/ 19 h 420"/>
                <a:gd name="T16" fmla="*/ 0 w 420"/>
                <a:gd name="T17" fmla="*/ 210 h 420"/>
                <a:gd name="T18" fmla="*/ 32 w 420"/>
                <a:gd name="T19" fmla="*/ 322 h 420"/>
                <a:gd name="T20" fmla="*/ 63 w 420"/>
                <a:gd name="T21" fmla="*/ 356 h 420"/>
                <a:gd name="T22" fmla="*/ 100 w 420"/>
                <a:gd name="T23" fmla="*/ 389 h 420"/>
                <a:gd name="T24" fmla="*/ 210 w 420"/>
                <a:gd name="T25" fmla="*/ 420 h 420"/>
                <a:gd name="T26" fmla="*/ 403 w 420"/>
                <a:gd name="T27" fmla="*/ 295 h 420"/>
                <a:gd name="T28" fmla="*/ 398 w 420"/>
                <a:gd name="T29" fmla="*/ 295 h 420"/>
                <a:gd name="T30" fmla="*/ 356 w 420"/>
                <a:gd name="T31" fmla="*/ 356 h 420"/>
                <a:gd name="T32" fmla="*/ 210 w 420"/>
                <a:gd name="T33" fmla="*/ 416 h 420"/>
                <a:gd name="T34" fmla="*/ 65 w 420"/>
                <a:gd name="T35" fmla="*/ 356 h 420"/>
                <a:gd name="T36" fmla="*/ 4 w 420"/>
                <a:gd name="T37" fmla="*/ 210 h 420"/>
                <a:gd name="T38" fmla="*/ 65 w 420"/>
                <a:gd name="T39" fmla="*/ 64 h 420"/>
                <a:gd name="T40" fmla="*/ 123 w 420"/>
                <a:gd name="T41" fmla="*/ 24 h 420"/>
                <a:gd name="T42" fmla="*/ 123 w 420"/>
                <a:gd name="T43" fmla="*/ 19 h 420"/>
                <a:gd name="T44" fmla="*/ 213 w 420"/>
                <a:gd name="T45" fmla="*/ 0 h 420"/>
                <a:gd name="T46" fmla="*/ 213 w 420"/>
                <a:gd name="T47" fmla="*/ 2 h 420"/>
                <a:gd name="T48" fmla="*/ 213 w 420"/>
                <a:gd name="T49" fmla="*/ 4 h 420"/>
                <a:gd name="T50" fmla="*/ 356 w 420"/>
                <a:gd name="T51" fmla="*/ 64 h 420"/>
                <a:gd name="T52" fmla="*/ 417 w 420"/>
                <a:gd name="T53" fmla="*/ 208 h 420"/>
                <a:gd name="T54" fmla="*/ 419 w 420"/>
                <a:gd name="T55" fmla="*/ 208 h 420"/>
                <a:gd name="T56" fmla="*/ 420 w 420"/>
                <a:gd name="T57" fmla="*/ 208 h 420"/>
                <a:gd name="T58" fmla="*/ 420 w 420"/>
                <a:gd name="T59" fmla="*/ 198 h 420"/>
                <a:gd name="T60" fmla="*/ 213 w 420"/>
                <a:gd name="T61" fmla="*/ 0 h 420"/>
                <a:gd name="T62" fmla="*/ 209 w 420"/>
                <a:gd name="T63" fmla="*/ 0 h 420"/>
                <a:gd name="T64" fmla="*/ 126 w 420"/>
                <a:gd name="T65" fmla="*/ 18 h 420"/>
                <a:gd name="T66" fmla="*/ 127 w 420"/>
                <a:gd name="T67" fmla="*/ 22 h 420"/>
                <a:gd name="T68" fmla="*/ 209 w 420"/>
                <a:gd name="T69" fmla="*/ 4 h 420"/>
                <a:gd name="T70" fmla="*/ 209 w 420"/>
                <a:gd name="T71" fmla="*/ 2 h 420"/>
                <a:gd name="T72" fmla="*/ 209 w 420"/>
                <a:gd name="T73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0" h="420">
                  <a:moveTo>
                    <a:pt x="417" y="212"/>
                  </a:moveTo>
                  <a:cubicBezTo>
                    <a:pt x="416" y="240"/>
                    <a:pt x="410" y="267"/>
                    <a:pt x="400" y="291"/>
                  </a:cubicBezTo>
                  <a:cubicBezTo>
                    <a:pt x="401" y="291"/>
                    <a:pt x="403" y="291"/>
                    <a:pt x="404" y="291"/>
                  </a:cubicBezTo>
                  <a:cubicBezTo>
                    <a:pt x="413" y="270"/>
                    <a:pt x="419" y="247"/>
                    <a:pt x="420" y="223"/>
                  </a:cubicBezTo>
                  <a:cubicBezTo>
                    <a:pt x="420" y="219"/>
                    <a:pt x="420" y="216"/>
                    <a:pt x="420" y="212"/>
                  </a:cubicBezTo>
                  <a:cubicBezTo>
                    <a:pt x="419" y="212"/>
                    <a:pt x="419" y="212"/>
                    <a:pt x="419" y="212"/>
                  </a:cubicBezTo>
                  <a:cubicBezTo>
                    <a:pt x="418" y="212"/>
                    <a:pt x="417" y="212"/>
                    <a:pt x="417" y="212"/>
                  </a:cubicBezTo>
                  <a:moveTo>
                    <a:pt x="123" y="19"/>
                  </a:moveTo>
                  <a:cubicBezTo>
                    <a:pt x="50" y="53"/>
                    <a:pt x="0" y="126"/>
                    <a:pt x="0" y="210"/>
                  </a:cubicBezTo>
                  <a:cubicBezTo>
                    <a:pt x="0" y="251"/>
                    <a:pt x="12" y="289"/>
                    <a:pt x="32" y="322"/>
                  </a:cubicBezTo>
                  <a:cubicBezTo>
                    <a:pt x="42" y="333"/>
                    <a:pt x="53" y="345"/>
                    <a:pt x="63" y="356"/>
                  </a:cubicBezTo>
                  <a:cubicBezTo>
                    <a:pt x="75" y="367"/>
                    <a:pt x="87" y="379"/>
                    <a:pt x="100" y="389"/>
                  </a:cubicBezTo>
                  <a:cubicBezTo>
                    <a:pt x="132" y="409"/>
                    <a:pt x="170" y="420"/>
                    <a:pt x="210" y="420"/>
                  </a:cubicBezTo>
                  <a:cubicBezTo>
                    <a:pt x="296" y="420"/>
                    <a:pt x="370" y="369"/>
                    <a:pt x="403" y="295"/>
                  </a:cubicBezTo>
                  <a:cubicBezTo>
                    <a:pt x="401" y="295"/>
                    <a:pt x="400" y="295"/>
                    <a:pt x="398" y="295"/>
                  </a:cubicBezTo>
                  <a:cubicBezTo>
                    <a:pt x="388" y="318"/>
                    <a:pt x="374" y="338"/>
                    <a:pt x="356" y="356"/>
                  </a:cubicBezTo>
                  <a:cubicBezTo>
                    <a:pt x="319" y="393"/>
                    <a:pt x="267" y="416"/>
                    <a:pt x="210" y="416"/>
                  </a:cubicBezTo>
                  <a:cubicBezTo>
                    <a:pt x="154" y="416"/>
                    <a:pt x="102" y="393"/>
                    <a:pt x="65" y="356"/>
                  </a:cubicBezTo>
                  <a:cubicBezTo>
                    <a:pt x="27" y="319"/>
                    <a:pt x="4" y="267"/>
                    <a:pt x="4" y="210"/>
                  </a:cubicBezTo>
                  <a:cubicBezTo>
                    <a:pt x="4" y="153"/>
                    <a:pt x="27" y="102"/>
                    <a:pt x="65" y="64"/>
                  </a:cubicBezTo>
                  <a:cubicBezTo>
                    <a:pt x="82" y="48"/>
                    <a:pt x="101" y="34"/>
                    <a:pt x="123" y="24"/>
                  </a:cubicBezTo>
                  <a:cubicBezTo>
                    <a:pt x="123" y="22"/>
                    <a:pt x="123" y="21"/>
                    <a:pt x="123" y="19"/>
                  </a:cubicBezTo>
                  <a:moveTo>
                    <a:pt x="213" y="0"/>
                  </a:moveTo>
                  <a:cubicBezTo>
                    <a:pt x="213" y="1"/>
                    <a:pt x="213" y="1"/>
                    <a:pt x="213" y="2"/>
                  </a:cubicBezTo>
                  <a:cubicBezTo>
                    <a:pt x="213" y="3"/>
                    <a:pt x="213" y="3"/>
                    <a:pt x="213" y="4"/>
                  </a:cubicBezTo>
                  <a:cubicBezTo>
                    <a:pt x="269" y="5"/>
                    <a:pt x="319" y="28"/>
                    <a:pt x="356" y="64"/>
                  </a:cubicBezTo>
                  <a:cubicBezTo>
                    <a:pt x="393" y="101"/>
                    <a:pt x="416" y="152"/>
                    <a:pt x="417" y="208"/>
                  </a:cubicBezTo>
                  <a:cubicBezTo>
                    <a:pt x="417" y="208"/>
                    <a:pt x="418" y="208"/>
                    <a:pt x="419" y="208"/>
                  </a:cubicBezTo>
                  <a:cubicBezTo>
                    <a:pt x="419" y="208"/>
                    <a:pt x="419" y="208"/>
                    <a:pt x="420" y="208"/>
                  </a:cubicBezTo>
                  <a:cubicBezTo>
                    <a:pt x="420" y="205"/>
                    <a:pt x="420" y="201"/>
                    <a:pt x="420" y="198"/>
                  </a:cubicBezTo>
                  <a:cubicBezTo>
                    <a:pt x="414" y="88"/>
                    <a:pt x="324" y="1"/>
                    <a:pt x="213" y="0"/>
                  </a:cubicBezTo>
                  <a:moveTo>
                    <a:pt x="209" y="0"/>
                  </a:moveTo>
                  <a:cubicBezTo>
                    <a:pt x="179" y="0"/>
                    <a:pt x="152" y="7"/>
                    <a:pt x="126" y="18"/>
                  </a:cubicBezTo>
                  <a:cubicBezTo>
                    <a:pt x="127" y="19"/>
                    <a:pt x="127" y="20"/>
                    <a:pt x="127" y="22"/>
                  </a:cubicBezTo>
                  <a:cubicBezTo>
                    <a:pt x="152" y="11"/>
                    <a:pt x="179" y="4"/>
                    <a:pt x="209" y="4"/>
                  </a:cubicBezTo>
                  <a:cubicBezTo>
                    <a:pt x="209" y="3"/>
                    <a:pt x="209" y="3"/>
                    <a:pt x="209" y="2"/>
                  </a:cubicBezTo>
                  <a:cubicBezTo>
                    <a:pt x="209" y="1"/>
                    <a:pt x="209" y="1"/>
                    <a:pt x="209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4" name="Freeform 69"/>
            <p:cNvSpPr>
              <a:spLocks/>
            </p:cNvSpPr>
            <p:nvPr/>
          </p:nvSpPr>
          <p:spPr bwMode="auto">
            <a:xfrm>
              <a:off x="4526" y="3751"/>
              <a:ext cx="21" cy="21"/>
            </a:xfrm>
            <a:custGeom>
              <a:avLst/>
              <a:gdLst>
                <a:gd name="T0" fmla="*/ 0 w 68"/>
                <a:gd name="T1" fmla="*/ 0 h 67"/>
                <a:gd name="T2" fmla="*/ 68 w 68"/>
                <a:gd name="T3" fmla="*/ 67 h 67"/>
                <a:gd name="T4" fmla="*/ 31 w 68"/>
                <a:gd name="T5" fmla="*/ 34 h 67"/>
                <a:gd name="T6" fmla="*/ 0 w 68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67">
                  <a:moveTo>
                    <a:pt x="0" y="0"/>
                  </a:moveTo>
                  <a:cubicBezTo>
                    <a:pt x="18" y="27"/>
                    <a:pt x="41" y="50"/>
                    <a:pt x="68" y="67"/>
                  </a:cubicBezTo>
                  <a:cubicBezTo>
                    <a:pt x="55" y="57"/>
                    <a:pt x="43" y="45"/>
                    <a:pt x="31" y="34"/>
                  </a:cubicBezTo>
                  <a:cubicBezTo>
                    <a:pt x="21" y="23"/>
                    <a:pt x="10" y="11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15" name="Freeform 70"/>
            <p:cNvSpPr>
              <a:spLocks noEditPoints="1"/>
            </p:cNvSpPr>
            <p:nvPr/>
          </p:nvSpPr>
          <p:spPr bwMode="auto">
            <a:xfrm>
              <a:off x="4581" y="3651"/>
              <a:ext cx="65" cy="66"/>
            </a:xfrm>
            <a:custGeom>
              <a:avLst/>
              <a:gdLst>
                <a:gd name="T0" fmla="*/ 211 w 211"/>
                <a:gd name="T1" fmla="*/ 210 h 212"/>
                <a:gd name="T2" fmla="*/ 210 w 211"/>
                <a:gd name="T3" fmla="*/ 210 h 212"/>
                <a:gd name="T4" fmla="*/ 208 w 211"/>
                <a:gd name="T5" fmla="*/ 210 h 212"/>
                <a:gd name="T6" fmla="*/ 208 w 211"/>
                <a:gd name="T7" fmla="*/ 212 h 212"/>
                <a:gd name="T8" fmla="*/ 210 w 211"/>
                <a:gd name="T9" fmla="*/ 212 h 212"/>
                <a:gd name="T10" fmla="*/ 211 w 211"/>
                <a:gd name="T11" fmla="*/ 212 h 212"/>
                <a:gd name="T12" fmla="*/ 211 w 211"/>
                <a:gd name="T13" fmla="*/ 210 h 212"/>
                <a:gd name="T14" fmla="*/ 208 w 211"/>
                <a:gd name="T15" fmla="*/ 208 h 212"/>
                <a:gd name="T16" fmla="*/ 208 w 211"/>
                <a:gd name="T17" fmla="*/ 210 h 212"/>
                <a:gd name="T18" fmla="*/ 210 w 211"/>
                <a:gd name="T19" fmla="*/ 210 h 212"/>
                <a:gd name="T20" fmla="*/ 211 w 211"/>
                <a:gd name="T21" fmla="*/ 210 h 212"/>
                <a:gd name="T22" fmla="*/ 211 w 211"/>
                <a:gd name="T23" fmla="*/ 210 h 212"/>
                <a:gd name="T24" fmla="*/ 211 w 211"/>
                <a:gd name="T25" fmla="*/ 208 h 212"/>
                <a:gd name="T26" fmla="*/ 210 w 211"/>
                <a:gd name="T27" fmla="*/ 208 h 212"/>
                <a:gd name="T28" fmla="*/ 208 w 211"/>
                <a:gd name="T29" fmla="*/ 208 h 212"/>
                <a:gd name="T30" fmla="*/ 1 w 211"/>
                <a:gd name="T31" fmla="*/ 0 h 212"/>
                <a:gd name="T32" fmla="*/ 0 w 211"/>
                <a:gd name="T33" fmla="*/ 0 h 212"/>
                <a:gd name="T34" fmla="*/ 0 w 211"/>
                <a:gd name="T35" fmla="*/ 2 h 212"/>
                <a:gd name="T36" fmla="*/ 0 w 211"/>
                <a:gd name="T37" fmla="*/ 4 h 212"/>
                <a:gd name="T38" fmla="*/ 1 w 211"/>
                <a:gd name="T39" fmla="*/ 4 h 212"/>
                <a:gd name="T40" fmla="*/ 4 w 211"/>
                <a:gd name="T41" fmla="*/ 4 h 212"/>
                <a:gd name="T42" fmla="*/ 4 w 211"/>
                <a:gd name="T43" fmla="*/ 2 h 212"/>
                <a:gd name="T44" fmla="*/ 4 w 211"/>
                <a:gd name="T45" fmla="*/ 0 h 212"/>
                <a:gd name="T46" fmla="*/ 1 w 211"/>
                <a:gd name="T47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1" h="212">
                  <a:moveTo>
                    <a:pt x="211" y="210"/>
                  </a:moveTo>
                  <a:cubicBezTo>
                    <a:pt x="210" y="210"/>
                    <a:pt x="210" y="210"/>
                    <a:pt x="210" y="210"/>
                  </a:cubicBezTo>
                  <a:cubicBezTo>
                    <a:pt x="208" y="210"/>
                    <a:pt x="208" y="210"/>
                    <a:pt x="208" y="210"/>
                  </a:cubicBezTo>
                  <a:cubicBezTo>
                    <a:pt x="208" y="211"/>
                    <a:pt x="208" y="212"/>
                    <a:pt x="208" y="212"/>
                  </a:cubicBezTo>
                  <a:cubicBezTo>
                    <a:pt x="208" y="212"/>
                    <a:pt x="209" y="212"/>
                    <a:pt x="210" y="212"/>
                  </a:cubicBezTo>
                  <a:cubicBezTo>
                    <a:pt x="210" y="212"/>
                    <a:pt x="210" y="212"/>
                    <a:pt x="211" y="212"/>
                  </a:cubicBezTo>
                  <a:cubicBezTo>
                    <a:pt x="211" y="212"/>
                    <a:pt x="211" y="211"/>
                    <a:pt x="211" y="210"/>
                  </a:cubicBezTo>
                  <a:moveTo>
                    <a:pt x="208" y="208"/>
                  </a:moveTo>
                  <a:cubicBezTo>
                    <a:pt x="208" y="209"/>
                    <a:pt x="208" y="210"/>
                    <a:pt x="208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09"/>
                    <a:pt x="211" y="208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09" y="208"/>
                    <a:pt x="208" y="208"/>
                    <a:pt x="208" y="208"/>
                  </a:cubicBezTo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3" name="Freeform 71"/>
            <p:cNvSpPr>
              <a:spLocks noEditPoints="1"/>
            </p:cNvSpPr>
            <p:nvPr/>
          </p:nvSpPr>
          <p:spPr bwMode="auto">
            <a:xfrm>
              <a:off x="4554" y="3657"/>
              <a:ext cx="87" cy="86"/>
            </a:xfrm>
            <a:custGeom>
              <a:avLst/>
              <a:gdLst>
                <a:gd name="T0" fmla="*/ 277 w 281"/>
                <a:gd name="T1" fmla="*/ 273 h 277"/>
                <a:gd name="T2" fmla="*/ 275 w 281"/>
                <a:gd name="T3" fmla="*/ 277 h 277"/>
                <a:gd name="T4" fmla="*/ 280 w 281"/>
                <a:gd name="T5" fmla="*/ 277 h 277"/>
                <a:gd name="T6" fmla="*/ 281 w 281"/>
                <a:gd name="T7" fmla="*/ 273 h 277"/>
                <a:gd name="T8" fmla="*/ 277 w 281"/>
                <a:gd name="T9" fmla="*/ 273 h 277"/>
                <a:gd name="T10" fmla="*/ 3 w 281"/>
                <a:gd name="T11" fmla="*/ 0 h 277"/>
                <a:gd name="T12" fmla="*/ 0 w 281"/>
                <a:gd name="T13" fmla="*/ 1 h 277"/>
                <a:gd name="T14" fmla="*/ 0 w 281"/>
                <a:gd name="T15" fmla="*/ 6 h 277"/>
                <a:gd name="T16" fmla="*/ 4 w 281"/>
                <a:gd name="T17" fmla="*/ 4 h 277"/>
                <a:gd name="T18" fmla="*/ 3 w 281"/>
                <a:gd name="T1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77">
                  <a:moveTo>
                    <a:pt x="277" y="273"/>
                  </a:moveTo>
                  <a:cubicBezTo>
                    <a:pt x="276" y="275"/>
                    <a:pt x="276" y="276"/>
                    <a:pt x="275" y="277"/>
                  </a:cubicBezTo>
                  <a:cubicBezTo>
                    <a:pt x="277" y="277"/>
                    <a:pt x="278" y="277"/>
                    <a:pt x="280" y="277"/>
                  </a:cubicBezTo>
                  <a:cubicBezTo>
                    <a:pt x="280" y="276"/>
                    <a:pt x="281" y="275"/>
                    <a:pt x="281" y="273"/>
                  </a:cubicBezTo>
                  <a:cubicBezTo>
                    <a:pt x="280" y="273"/>
                    <a:pt x="278" y="273"/>
                    <a:pt x="277" y="273"/>
                  </a:cubicBezTo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1" y="5"/>
                    <a:pt x="2" y="4"/>
                    <a:pt x="4" y="4"/>
                  </a:cubicBezTo>
                  <a:cubicBezTo>
                    <a:pt x="4" y="2"/>
                    <a:pt x="4" y="1"/>
                    <a:pt x="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24" name="Freeform 72"/>
            <p:cNvSpPr>
              <a:spLocks noEditPoints="1"/>
            </p:cNvSpPr>
            <p:nvPr/>
          </p:nvSpPr>
          <p:spPr bwMode="auto">
            <a:xfrm>
              <a:off x="4646" y="3651"/>
              <a:ext cx="131" cy="131"/>
            </a:xfrm>
            <a:custGeom>
              <a:avLst/>
              <a:gdLst>
                <a:gd name="T0" fmla="*/ 22 w 420"/>
                <a:gd name="T1" fmla="*/ 295 h 420"/>
                <a:gd name="T2" fmla="*/ 18 w 420"/>
                <a:gd name="T3" fmla="*/ 295 h 420"/>
                <a:gd name="T4" fmla="*/ 210 w 420"/>
                <a:gd name="T5" fmla="*/ 420 h 420"/>
                <a:gd name="T6" fmla="*/ 316 w 420"/>
                <a:gd name="T7" fmla="*/ 392 h 420"/>
                <a:gd name="T8" fmla="*/ 350 w 420"/>
                <a:gd name="T9" fmla="*/ 361 h 420"/>
                <a:gd name="T10" fmla="*/ 210 w 420"/>
                <a:gd name="T11" fmla="*/ 416 h 420"/>
                <a:gd name="T12" fmla="*/ 64 w 420"/>
                <a:gd name="T13" fmla="*/ 356 h 420"/>
                <a:gd name="T14" fmla="*/ 22 w 420"/>
                <a:gd name="T15" fmla="*/ 295 h 420"/>
                <a:gd name="T16" fmla="*/ 4 w 420"/>
                <a:gd name="T17" fmla="*/ 212 h 420"/>
                <a:gd name="T18" fmla="*/ 1 w 420"/>
                <a:gd name="T19" fmla="*/ 212 h 420"/>
                <a:gd name="T20" fmla="*/ 0 w 420"/>
                <a:gd name="T21" fmla="*/ 223 h 420"/>
                <a:gd name="T22" fmla="*/ 16 w 420"/>
                <a:gd name="T23" fmla="*/ 291 h 420"/>
                <a:gd name="T24" fmla="*/ 20 w 420"/>
                <a:gd name="T25" fmla="*/ 291 h 420"/>
                <a:gd name="T26" fmla="*/ 4 w 420"/>
                <a:gd name="T27" fmla="*/ 212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60 w 420"/>
                <a:gd name="T35" fmla="*/ 351 h 420"/>
                <a:gd name="T36" fmla="*/ 391 w 420"/>
                <a:gd name="T37" fmla="*/ 316 h 420"/>
                <a:gd name="T38" fmla="*/ 420 w 420"/>
                <a:gd name="T39" fmla="*/ 210 h 420"/>
                <a:gd name="T40" fmla="*/ 296 w 420"/>
                <a:gd name="T41" fmla="*/ 19 h 420"/>
                <a:gd name="T42" fmla="*/ 296 w 420"/>
                <a:gd name="T43" fmla="*/ 23 h 420"/>
                <a:gd name="T44" fmla="*/ 356 w 420"/>
                <a:gd name="T45" fmla="*/ 64 h 420"/>
                <a:gd name="T46" fmla="*/ 416 w 420"/>
                <a:gd name="T47" fmla="*/ 210 h 420"/>
                <a:gd name="T48" fmla="*/ 418 w 420"/>
                <a:gd name="T49" fmla="*/ 210 h 420"/>
                <a:gd name="T50" fmla="*/ 420 w 420"/>
                <a:gd name="T51" fmla="*/ 210 h 420"/>
                <a:gd name="T52" fmla="*/ 420 w 420"/>
                <a:gd name="T53" fmla="*/ 210 h 420"/>
                <a:gd name="T54" fmla="*/ 296 w 420"/>
                <a:gd name="T55" fmla="*/ 19 h 420"/>
                <a:gd name="T56" fmla="*/ 205 w 420"/>
                <a:gd name="T57" fmla="*/ 0 h 420"/>
                <a:gd name="T58" fmla="*/ 0 w 420"/>
                <a:gd name="T59" fmla="*/ 198 h 420"/>
                <a:gd name="T60" fmla="*/ 1 w 420"/>
                <a:gd name="T61" fmla="*/ 208 h 420"/>
                <a:gd name="T62" fmla="*/ 4 w 420"/>
                <a:gd name="T63" fmla="*/ 208 h 420"/>
                <a:gd name="T64" fmla="*/ 64 w 420"/>
                <a:gd name="T65" fmla="*/ 64 h 420"/>
                <a:gd name="T66" fmla="*/ 205 w 420"/>
                <a:gd name="T67" fmla="*/ 4 h 420"/>
                <a:gd name="T68" fmla="*/ 205 w 420"/>
                <a:gd name="T69" fmla="*/ 2 h 420"/>
                <a:gd name="T70" fmla="*/ 207 w 420"/>
                <a:gd name="T71" fmla="*/ 2 h 420"/>
                <a:gd name="T72" fmla="*/ 209 w 420"/>
                <a:gd name="T73" fmla="*/ 2 h 420"/>
                <a:gd name="T74" fmla="*/ 209 w 420"/>
                <a:gd name="T75" fmla="*/ 2 h 420"/>
                <a:gd name="T76" fmla="*/ 207 w 420"/>
                <a:gd name="T77" fmla="*/ 2 h 420"/>
                <a:gd name="T78" fmla="*/ 205 w 420"/>
                <a:gd name="T79" fmla="*/ 2 h 420"/>
                <a:gd name="T80" fmla="*/ 205 w 420"/>
                <a:gd name="T81" fmla="*/ 0 h 420"/>
                <a:gd name="T82" fmla="*/ 210 w 420"/>
                <a:gd name="T83" fmla="*/ 0 h 420"/>
                <a:gd name="T84" fmla="*/ 209 w 420"/>
                <a:gd name="T85" fmla="*/ 0 h 420"/>
                <a:gd name="T86" fmla="*/ 209 w 420"/>
                <a:gd name="T87" fmla="*/ 2 h 420"/>
                <a:gd name="T88" fmla="*/ 209 w 420"/>
                <a:gd name="T89" fmla="*/ 2 h 420"/>
                <a:gd name="T90" fmla="*/ 209 w 420"/>
                <a:gd name="T91" fmla="*/ 2 h 420"/>
                <a:gd name="T92" fmla="*/ 209 w 420"/>
                <a:gd name="T93" fmla="*/ 4 h 420"/>
                <a:gd name="T94" fmla="*/ 210 w 420"/>
                <a:gd name="T95" fmla="*/ 4 h 420"/>
                <a:gd name="T96" fmla="*/ 292 w 420"/>
                <a:gd name="T97" fmla="*/ 21 h 420"/>
                <a:gd name="T98" fmla="*/ 292 w 420"/>
                <a:gd name="T99" fmla="*/ 17 h 420"/>
                <a:gd name="T100" fmla="*/ 210 w 420"/>
                <a:gd name="T101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0" h="420">
                  <a:moveTo>
                    <a:pt x="22" y="295"/>
                  </a:moveTo>
                  <a:cubicBezTo>
                    <a:pt x="21" y="295"/>
                    <a:pt x="19" y="295"/>
                    <a:pt x="18" y="295"/>
                  </a:cubicBezTo>
                  <a:cubicBezTo>
                    <a:pt x="50" y="369"/>
                    <a:pt x="124" y="420"/>
                    <a:pt x="210" y="420"/>
                  </a:cubicBezTo>
                  <a:cubicBezTo>
                    <a:pt x="248" y="420"/>
                    <a:pt x="285" y="410"/>
                    <a:pt x="316" y="392"/>
                  </a:cubicBezTo>
                  <a:cubicBezTo>
                    <a:pt x="328" y="382"/>
                    <a:pt x="339" y="372"/>
                    <a:pt x="350" y="361"/>
                  </a:cubicBezTo>
                  <a:cubicBezTo>
                    <a:pt x="314" y="395"/>
                    <a:pt x="264" y="416"/>
                    <a:pt x="210" y="416"/>
                  </a:cubicBezTo>
                  <a:cubicBezTo>
                    <a:pt x="153" y="416"/>
                    <a:pt x="101" y="393"/>
                    <a:pt x="64" y="356"/>
                  </a:cubicBezTo>
                  <a:cubicBezTo>
                    <a:pt x="47" y="338"/>
                    <a:pt x="32" y="318"/>
                    <a:pt x="22" y="295"/>
                  </a:cubicBezTo>
                  <a:moveTo>
                    <a:pt x="4" y="212"/>
                  </a:moveTo>
                  <a:cubicBezTo>
                    <a:pt x="3" y="212"/>
                    <a:pt x="2" y="212"/>
                    <a:pt x="1" y="212"/>
                  </a:cubicBezTo>
                  <a:cubicBezTo>
                    <a:pt x="1" y="216"/>
                    <a:pt x="0" y="219"/>
                    <a:pt x="0" y="223"/>
                  </a:cubicBezTo>
                  <a:cubicBezTo>
                    <a:pt x="2" y="247"/>
                    <a:pt x="7" y="270"/>
                    <a:pt x="16" y="291"/>
                  </a:cubicBezTo>
                  <a:cubicBezTo>
                    <a:pt x="18" y="291"/>
                    <a:pt x="19" y="291"/>
                    <a:pt x="20" y="291"/>
                  </a:cubicBezTo>
                  <a:cubicBezTo>
                    <a:pt x="10" y="267"/>
                    <a:pt x="4" y="240"/>
                    <a:pt x="4" y="212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5"/>
                    <a:pt x="395" y="314"/>
                    <a:pt x="360" y="351"/>
                  </a:cubicBezTo>
                  <a:cubicBezTo>
                    <a:pt x="371" y="340"/>
                    <a:pt x="382" y="328"/>
                    <a:pt x="391" y="316"/>
                  </a:cubicBezTo>
                  <a:cubicBezTo>
                    <a:pt x="410" y="285"/>
                    <a:pt x="420" y="249"/>
                    <a:pt x="420" y="210"/>
                  </a:cubicBezTo>
                  <a:moveTo>
                    <a:pt x="296" y="19"/>
                  </a:moveTo>
                  <a:cubicBezTo>
                    <a:pt x="296" y="20"/>
                    <a:pt x="296" y="21"/>
                    <a:pt x="296" y="23"/>
                  </a:cubicBezTo>
                  <a:cubicBezTo>
                    <a:pt x="318" y="33"/>
                    <a:pt x="338" y="47"/>
                    <a:pt x="356" y="64"/>
                  </a:cubicBezTo>
                  <a:cubicBezTo>
                    <a:pt x="393" y="102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25"/>
                    <a:pt x="369" y="52"/>
                    <a:pt x="296" y="19"/>
                  </a:cubicBezTo>
                  <a:moveTo>
                    <a:pt x="205" y="0"/>
                  </a:moveTo>
                  <a:cubicBezTo>
                    <a:pt x="95" y="3"/>
                    <a:pt x="6" y="89"/>
                    <a:pt x="0" y="198"/>
                  </a:cubicBezTo>
                  <a:cubicBezTo>
                    <a:pt x="0" y="201"/>
                    <a:pt x="1" y="205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152"/>
                    <a:pt x="27" y="101"/>
                    <a:pt x="64" y="64"/>
                  </a:cubicBezTo>
                  <a:cubicBezTo>
                    <a:pt x="100" y="28"/>
                    <a:pt x="150" y="6"/>
                    <a:pt x="205" y="4"/>
                  </a:cubicBezTo>
                  <a:cubicBezTo>
                    <a:pt x="205" y="4"/>
                    <a:pt x="205" y="3"/>
                    <a:pt x="205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5" y="1"/>
                    <a:pt x="205" y="1"/>
                    <a:pt x="205" y="0"/>
                  </a:cubicBezTo>
                  <a:moveTo>
                    <a:pt x="210" y="0"/>
                  </a:moveTo>
                  <a:cubicBezTo>
                    <a:pt x="210" y="0"/>
                    <a:pt x="209" y="0"/>
                    <a:pt x="209" y="0"/>
                  </a:cubicBezTo>
                  <a:cubicBezTo>
                    <a:pt x="209" y="1"/>
                    <a:pt x="209" y="1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3"/>
                    <a:pt x="209" y="3"/>
                    <a:pt x="209" y="4"/>
                  </a:cubicBezTo>
                  <a:cubicBezTo>
                    <a:pt x="209" y="4"/>
                    <a:pt x="210" y="4"/>
                    <a:pt x="210" y="4"/>
                  </a:cubicBezTo>
                  <a:cubicBezTo>
                    <a:pt x="239" y="4"/>
                    <a:pt x="267" y="10"/>
                    <a:pt x="292" y="21"/>
                  </a:cubicBezTo>
                  <a:cubicBezTo>
                    <a:pt x="292" y="20"/>
                    <a:pt x="292" y="18"/>
                    <a:pt x="292" y="17"/>
                  </a:cubicBezTo>
                  <a:cubicBezTo>
                    <a:pt x="267" y="6"/>
                    <a:pt x="239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3" name="Freeform 73"/>
            <p:cNvSpPr>
              <a:spLocks/>
            </p:cNvSpPr>
            <p:nvPr/>
          </p:nvSpPr>
          <p:spPr bwMode="auto">
            <a:xfrm>
              <a:off x="4744" y="3750"/>
              <a:ext cx="24" cy="23"/>
            </a:xfrm>
            <a:custGeom>
              <a:avLst/>
              <a:gdLst>
                <a:gd name="T0" fmla="*/ 75 w 75"/>
                <a:gd name="T1" fmla="*/ 0 h 76"/>
                <a:gd name="T2" fmla="*/ 44 w 75"/>
                <a:gd name="T3" fmla="*/ 35 h 76"/>
                <a:gd name="T4" fmla="*/ 40 w 75"/>
                <a:gd name="T5" fmla="*/ 40 h 76"/>
                <a:gd name="T6" fmla="*/ 34 w 75"/>
                <a:gd name="T7" fmla="*/ 45 h 76"/>
                <a:gd name="T8" fmla="*/ 0 w 75"/>
                <a:gd name="T9" fmla="*/ 76 h 76"/>
                <a:gd name="T10" fmla="*/ 75 w 75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6">
                  <a:moveTo>
                    <a:pt x="75" y="0"/>
                  </a:moveTo>
                  <a:cubicBezTo>
                    <a:pt x="66" y="12"/>
                    <a:pt x="55" y="24"/>
                    <a:pt x="44" y="35"/>
                  </a:cubicBezTo>
                  <a:cubicBezTo>
                    <a:pt x="43" y="37"/>
                    <a:pt x="41" y="38"/>
                    <a:pt x="40" y="40"/>
                  </a:cubicBezTo>
                  <a:cubicBezTo>
                    <a:pt x="38" y="42"/>
                    <a:pt x="36" y="43"/>
                    <a:pt x="34" y="45"/>
                  </a:cubicBezTo>
                  <a:cubicBezTo>
                    <a:pt x="23" y="56"/>
                    <a:pt x="12" y="66"/>
                    <a:pt x="0" y="76"/>
                  </a:cubicBezTo>
                  <a:cubicBezTo>
                    <a:pt x="31" y="58"/>
                    <a:pt x="57" y="31"/>
                    <a:pt x="75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4" name="Freeform 74"/>
            <p:cNvSpPr>
              <a:spLocks noEditPoints="1"/>
            </p:cNvSpPr>
            <p:nvPr/>
          </p:nvSpPr>
          <p:spPr bwMode="auto">
            <a:xfrm>
              <a:off x="4647" y="3651"/>
              <a:ext cx="64" cy="66"/>
            </a:xfrm>
            <a:custGeom>
              <a:avLst/>
              <a:gdLst>
                <a:gd name="T0" fmla="*/ 3 w 208"/>
                <a:gd name="T1" fmla="*/ 208 h 212"/>
                <a:gd name="T2" fmla="*/ 0 w 208"/>
                <a:gd name="T3" fmla="*/ 208 h 212"/>
                <a:gd name="T4" fmla="*/ 0 w 208"/>
                <a:gd name="T5" fmla="*/ 210 h 212"/>
                <a:gd name="T6" fmla="*/ 0 w 208"/>
                <a:gd name="T7" fmla="*/ 210 h 212"/>
                <a:gd name="T8" fmla="*/ 0 w 208"/>
                <a:gd name="T9" fmla="*/ 210 h 212"/>
                <a:gd name="T10" fmla="*/ 0 w 208"/>
                <a:gd name="T11" fmla="*/ 212 h 212"/>
                <a:gd name="T12" fmla="*/ 3 w 208"/>
                <a:gd name="T13" fmla="*/ 212 h 212"/>
                <a:gd name="T14" fmla="*/ 3 w 208"/>
                <a:gd name="T15" fmla="*/ 210 h 212"/>
                <a:gd name="T16" fmla="*/ 3 w 208"/>
                <a:gd name="T17" fmla="*/ 208 h 212"/>
                <a:gd name="T18" fmla="*/ 208 w 208"/>
                <a:gd name="T19" fmla="*/ 2 h 212"/>
                <a:gd name="T20" fmla="*/ 206 w 208"/>
                <a:gd name="T21" fmla="*/ 2 h 212"/>
                <a:gd name="T22" fmla="*/ 204 w 208"/>
                <a:gd name="T23" fmla="*/ 2 h 212"/>
                <a:gd name="T24" fmla="*/ 204 w 208"/>
                <a:gd name="T25" fmla="*/ 4 h 212"/>
                <a:gd name="T26" fmla="*/ 208 w 208"/>
                <a:gd name="T27" fmla="*/ 4 h 212"/>
                <a:gd name="T28" fmla="*/ 208 w 208"/>
                <a:gd name="T29" fmla="*/ 2 h 212"/>
                <a:gd name="T30" fmla="*/ 208 w 208"/>
                <a:gd name="T31" fmla="*/ 2 h 212"/>
                <a:gd name="T32" fmla="*/ 208 w 208"/>
                <a:gd name="T33" fmla="*/ 2 h 212"/>
                <a:gd name="T34" fmla="*/ 208 w 208"/>
                <a:gd name="T35" fmla="*/ 2 h 212"/>
                <a:gd name="T36" fmla="*/ 208 w 208"/>
                <a:gd name="T37" fmla="*/ 0 h 212"/>
                <a:gd name="T38" fmla="*/ 204 w 208"/>
                <a:gd name="T39" fmla="*/ 0 h 212"/>
                <a:gd name="T40" fmla="*/ 204 w 208"/>
                <a:gd name="T41" fmla="*/ 2 h 212"/>
                <a:gd name="T42" fmla="*/ 206 w 208"/>
                <a:gd name="T43" fmla="*/ 2 h 212"/>
                <a:gd name="T44" fmla="*/ 208 w 208"/>
                <a:gd name="T45" fmla="*/ 2 h 212"/>
                <a:gd name="T46" fmla="*/ 208 w 208"/>
                <a:gd name="T47" fmla="*/ 2 h 212"/>
                <a:gd name="T48" fmla="*/ 208 w 208"/>
                <a:gd name="T4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" h="212">
                  <a:moveTo>
                    <a:pt x="3" y="208"/>
                  </a:moveTo>
                  <a:cubicBezTo>
                    <a:pt x="2" y="208"/>
                    <a:pt x="1" y="208"/>
                    <a:pt x="0" y="208"/>
                  </a:cubicBezTo>
                  <a:cubicBezTo>
                    <a:pt x="0" y="209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1"/>
                    <a:pt x="0" y="212"/>
                    <a:pt x="0" y="212"/>
                  </a:cubicBezTo>
                  <a:cubicBezTo>
                    <a:pt x="1" y="212"/>
                    <a:pt x="2" y="212"/>
                    <a:pt x="3" y="212"/>
                  </a:cubicBezTo>
                  <a:cubicBezTo>
                    <a:pt x="3" y="211"/>
                    <a:pt x="3" y="211"/>
                    <a:pt x="3" y="210"/>
                  </a:cubicBezTo>
                  <a:cubicBezTo>
                    <a:pt x="3" y="210"/>
                    <a:pt x="3" y="209"/>
                    <a:pt x="3" y="208"/>
                  </a:cubicBezTo>
                  <a:moveTo>
                    <a:pt x="208" y="2"/>
                  </a:moveTo>
                  <a:cubicBezTo>
                    <a:pt x="206" y="2"/>
                    <a:pt x="206" y="2"/>
                    <a:pt x="206" y="2"/>
                  </a:cubicBezTo>
                  <a:cubicBezTo>
                    <a:pt x="204" y="2"/>
                    <a:pt x="204" y="2"/>
                    <a:pt x="204" y="2"/>
                  </a:cubicBezTo>
                  <a:cubicBezTo>
                    <a:pt x="204" y="3"/>
                    <a:pt x="204" y="4"/>
                    <a:pt x="204" y="4"/>
                  </a:cubicBezTo>
                  <a:cubicBezTo>
                    <a:pt x="205" y="4"/>
                    <a:pt x="206" y="4"/>
                    <a:pt x="208" y="4"/>
                  </a:cubicBezTo>
                  <a:cubicBezTo>
                    <a:pt x="208" y="3"/>
                    <a:pt x="208" y="3"/>
                    <a:pt x="208" y="2"/>
                  </a:cubicBezTo>
                  <a:moveTo>
                    <a:pt x="208" y="2"/>
                  </a:move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moveTo>
                    <a:pt x="208" y="0"/>
                  </a:moveTo>
                  <a:cubicBezTo>
                    <a:pt x="206" y="0"/>
                    <a:pt x="205" y="0"/>
                    <a:pt x="204" y="0"/>
                  </a:cubicBezTo>
                  <a:cubicBezTo>
                    <a:pt x="204" y="1"/>
                    <a:pt x="204" y="1"/>
                    <a:pt x="204" y="2"/>
                  </a:cubicBezTo>
                  <a:cubicBezTo>
                    <a:pt x="206" y="2"/>
                    <a:pt x="206" y="2"/>
                    <a:pt x="206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1"/>
                    <a:pt x="208" y="1"/>
                    <a:pt x="208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5" name="Freeform 75"/>
            <p:cNvSpPr>
              <a:spLocks noEditPoints="1"/>
            </p:cNvSpPr>
            <p:nvPr/>
          </p:nvSpPr>
          <p:spPr bwMode="auto">
            <a:xfrm>
              <a:off x="4651" y="3657"/>
              <a:ext cx="87" cy="86"/>
            </a:xfrm>
            <a:custGeom>
              <a:avLst/>
              <a:gdLst>
                <a:gd name="T0" fmla="*/ 4 w 280"/>
                <a:gd name="T1" fmla="*/ 274 h 278"/>
                <a:gd name="T2" fmla="*/ 0 w 280"/>
                <a:gd name="T3" fmla="*/ 274 h 278"/>
                <a:gd name="T4" fmla="*/ 2 w 280"/>
                <a:gd name="T5" fmla="*/ 278 h 278"/>
                <a:gd name="T6" fmla="*/ 6 w 280"/>
                <a:gd name="T7" fmla="*/ 278 h 278"/>
                <a:gd name="T8" fmla="*/ 4 w 280"/>
                <a:gd name="T9" fmla="*/ 274 h 278"/>
                <a:gd name="T10" fmla="*/ 276 w 280"/>
                <a:gd name="T11" fmla="*/ 0 h 278"/>
                <a:gd name="T12" fmla="*/ 276 w 280"/>
                <a:gd name="T13" fmla="*/ 4 h 278"/>
                <a:gd name="T14" fmla="*/ 280 w 280"/>
                <a:gd name="T15" fmla="*/ 6 h 278"/>
                <a:gd name="T16" fmla="*/ 280 w 280"/>
                <a:gd name="T17" fmla="*/ 2 h 278"/>
                <a:gd name="T18" fmla="*/ 276 w 280"/>
                <a:gd name="T19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0" h="278">
                  <a:moveTo>
                    <a:pt x="4" y="274"/>
                  </a:moveTo>
                  <a:cubicBezTo>
                    <a:pt x="3" y="274"/>
                    <a:pt x="2" y="274"/>
                    <a:pt x="0" y="274"/>
                  </a:cubicBezTo>
                  <a:cubicBezTo>
                    <a:pt x="1" y="276"/>
                    <a:pt x="1" y="277"/>
                    <a:pt x="2" y="278"/>
                  </a:cubicBezTo>
                  <a:cubicBezTo>
                    <a:pt x="3" y="278"/>
                    <a:pt x="5" y="278"/>
                    <a:pt x="6" y="278"/>
                  </a:cubicBezTo>
                  <a:cubicBezTo>
                    <a:pt x="5" y="277"/>
                    <a:pt x="5" y="275"/>
                    <a:pt x="4" y="274"/>
                  </a:cubicBezTo>
                  <a:moveTo>
                    <a:pt x="276" y="0"/>
                  </a:moveTo>
                  <a:cubicBezTo>
                    <a:pt x="276" y="1"/>
                    <a:pt x="276" y="3"/>
                    <a:pt x="276" y="4"/>
                  </a:cubicBezTo>
                  <a:cubicBezTo>
                    <a:pt x="277" y="5"/>
                    <a:pt x="279" y="5"/>
                    <a:pt x="280" y="6"/>
                  </a:cubicBezTo>
                  <a:cubicBezTo>
                    <a:pt x="280" y="4"/>
                    <a:pt x="280" y="3"/>
                    <a:pt x="280" y="2"/>
                  </a:cubicBezTo>
                  <a:cubicBezTo>
                    <a:pt x="279" y="1"/>
                    <a:pt x="278" y="1"/>
                    <a:pt x="276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6" name="Freeform 76"/>
            <p:cNvSpPr>
              <a:spLocks/>
            </p:cNvSpPr>
            <p:nvPr/>
          </p:nvSpPr>
          <p:spPr bwMode="auto">
            <a:xfrm>
              <a:off x="4646" y="3713"/>
              <a:ext cx="1" cy="3"/>
            </a:xfrm>
            <a:custGeom>
              <a:avLst/>
              <a:gdLst>
                <a:gd name="T0" fmla="*/ 0 w 1"/>
                <a:gd name="T1" fmla="*/ 0 h 10"/>
                <a:gd name="T2" fmla="*/ 0 w 1"/>
                <a:gd name="T3" fmla="*/ 10 h 10"/>
                <a:gd name="T4" fmla="*/ 1 w 1"/>
                <a:gd name="T5" fmla="*/ 10 h 10"/>
                <a:gd name="T6" fmla="*/ 0 w 1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0">
                  <a:moveTo>
                    <a:pt x="0" y="0"/>
                  </a:moveTo>
                  <a:cubicBezTo>
                    <a:pt x="0" y="3"/>
                    <a:pt x="0" y="7"/>
                    <a:pt x="0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7"/>
                    <a:pt x="0" y="3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7" name="Freeform 77"/>
            <p:cNvSpPr>
              <a:spLocks noEditPoints="1"/>
            </p:cNvSpPr>
            <p:nvPr/>
          </p:nvSpPr>
          <p:spPr bwMode="auto">
            <a:xfrm>
              <a:off x="4646" y="3716"/>
              <a:ext cx="1" cy="1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2 h 2"/>
                <a:gd name="T12" fmla="*/ 0 w 1"/>
                <a:gd name="T13" fmla="*/ 2 h 2"/>
                <a:gd name="T14" fmla="*/ 1 w 1"/>
                <a:gd name="T15" fmla="*/ 2 h 2"/>
                <a:gd name="T16" fmla="*/ 1 w 1"/>
                <a:gd name="T17" fmla="*/ 2 h 2"/>
                <a:gd name="T18" fmla="*/ 1 w 1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8" name="Freeform 78"/>
            <p:cNvSpPr>
              <a:spLocks/>
            </p:cNvSpPr>
            <p:nvPr/>
          </p:nvSpPr>
          <p:spPr bwMode="auto">
            <a:xfrm>
              <a:off x="4646" y="3717"/>
              <a:ext cx="1" cy="4"/>
            </a:xfrm>
            <a:custGeom>
              <a:avLst/>
              <a:gdLst>
                <a:gd name="T0" fmla="*/ 1 w 1"/>
                <a:gd name="T1" fmla="*/ 0 h 11"/>
                <a:gd name="T2" fmla="*/ 0 w 1"/>
                <a:gd name="T3" fmla="*/ 0 h 11"/>
                <a:gd name="T4" fmla="*/ 0 w 1"/>
                <a:gd name="T5" fmla="*/ 11 h 11"/>
                <a:gd name="T6" fmla="*/ 1 w 1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1" y="4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39" name="Freeform 79"/>
            <p:cNvSpPr>
              <a:spLocks/>
            </p:cNvSpPr>
            <p:nvPr/>
          </p:nvSpPr>
          <p:spPr bwMode="auto">
            <a:xfrm>
              <a:off x="4646" y="3717"/>
              <a:ext cx="1" cy="0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1 w 1"/>
                <a:gd name="T7" fmla="*/ 2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0" name="Oval 80"/>
            <p:cNvSpPr>
              <a:spLocks noChangeArrowheads="1"/>
            </p:cNvSpPr>
            <p:nvPr/>
          </p:nvSpPr>
          <p:spPr bwMode="auto">
            <a:xfrm>
              <a:off x="4400" y="3407"/>
              <a:ext cx="490" cy="490"/>
            </a:xfrm>
            <a:prstGeom prst="ellipse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1" name="Freeform 81"/>
            <p:cNvSpPr>
              <a:spLocks noEditPoints="1"/>
            </p:cNvSpPr>
            <p:nvPr/>
          </p:nvSpPr>
          <p:spPr bwMode="auto">
            <a:xfrm>
              <a:off x="4612" y="3503"/>
              <a:ext cx="134" cy="90"/>
            </a:xfrm>
            <a:custGeom>
              <a:avLst/>
              <a:gdLst>
                <a:gd name="T0" fmla="*/ 182 w 429"/>
                <a:gd name="T1" fmla="*/ 260 h 289"/>
                <a:gd name="T2" fmla="*/ 178 w 429"/>
                <a:gd name="T3" fmla="*/ 274 h 289"/>
                <a:gd name="T4" fmla="*/ 190 w 429"/>
                <a:gd name="T5" fmla="*/ 283 h 289"/>
                <a:gd name="T6" fmla="*/ 353 w 429"/>
                <a:gd name="T7" fmla="*/ 289 h 289"/>
                <a:gd name="T8" fmla="*/ 354 w 429"/>
                <a:gd name="T9" fmla="*/ 289 h 289"/>
                <a:gd name="T10" fmla="*/ 366 w 429"/>
                <a:gd name="T11" fmla="*/ 280 h 289"/>
                <a:gd name="T12" fmla="*/ 427 w 429"/>
                <a:gd name="T13" fmla="*/ 123 h 289"/>
                <a:gd name="T14" fmla="*/ 423 w 429"/>
                <a:gd name="T15" fmla="*/ 108 h 289"/>
                <a:gd name="T16" fmla="*/ 407 w 429"/>
                <a:gd name="T17" fmla="*/ 108 h 289"/>
                <a:gd name="T18" fmla="*/ 392 w 429"/>
                <a:gd name="T19" fmla="*/ 120 h 289"/>
                <a:gd name="T20" fmla="*/ 344 w 429"/>
                <a:gd name="T21" fmla="*/ 39 h 289"/>
                <a:gd name="T22" fmla="*/ 277 w 429"/>
                <a:gd name="T23" fmla="*/ 0 h 289"/>
                <a:gd name="T24" fmla="*/ 275 w 429"/>
                <a:gd name="T25" fmla="*/ 0 h 289"/>
                <a:gd name="T26" fmla="*/ 14 w 429"/>
                <a:gd name="T27" fmla="*/ 0 h 289"/>
                <a:gd name="T28" fmla="*/ 1 w 429"/>
                <a:gd name="T29" fmla="*/ 11 h 289"/>
                <a:gd name="T30" fmla="*/ 10 w 429"/>
                <a:gd name="T31" fmla="*/ 25 h 289"/>
                <a:gd name="T32" fmla="*/ 99 w 429"/>
                <a:gd name="T33" fmla="*/ 87 h 289"/>
                <a:gd name="T34" fmla="*/ 100 w 429"/>
                <a:gd name="T35" fmla="*/ 88 h 289"/>
                <a:gd name="T36" fmla="*/ 197 w 429"/>
                <a:gd name="T37" fmla="*/ 249 h 289"/>
                <a:gd name="T38" fmla="*/ 182 w 429"/>
                <a:gd name="T39" fmla="*/ 260 h 289"/>
                <a:gd name="T40" fmla="*/ 122 w 429"/>
                <a:gd name="T41" fmla="*/ 75 h 289"/>
                <a:gd name="T42" fmla="*/ 72 w 429"/>
                <a:gd name="T43" fmla="*/ 26 h 289"/>
                <a:gd name="T44" fmla="*/ 275 w 429"/>
                <a:gd name="T45" fmla="*/ 26 h 289"/>
                <a:gd name="T46" fmla="*/ 322 w 429"/>
                <a:gd name="T47" fmla="*/ 52 h 289"/>
                <a:gd name="T48" fmla="*/ 377 w 429"/>
                <a:gd name="T49" fmla="*/ 145 h 289"/>
                <a:gd name="T50" fmla="*/ 385 w 429"/>
                <a:gd name="T51" fmla="*/ 152 h 289"/>
                <a:gd name="T52" fmla="*/ 388 w 429"/>
                <a:gd name="T53" fmla="*/ 152 h 289"/>
                <a:gd name="T54" fmla="*/ 345 w 429"/>
                <a:gd name="T55" fmla="*/ 262 h 289"/>
                <a:gd name="T56" fmla="*/ 226 w 429"/>
                <a:gd name="T57" fmla="*/ 258 h 289"/>
                <a:gd name="T58" fmla="*/ 225 w 429"/>
                <a:gd name="T59" fmla="*/ 245 h 289"/>
                <a:gd name="T60" fmla="*/ 122 w 429"/>
                <a:gd name="T61" fmla="*/ 7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9" h="289">
                  <a:moveTo>
                    <a:pt x="182" y="260"/>
                  </a:moveTo>
                  <a:cubicBezTo>
                    <a:pt x="178" y="263"/>
                    <a:pt x="176" y="269"/>
                    <a:pt x="178" y="274"/>
                  </a:cubicBezTo>
                  <a:cubicBezTo>
                    <a:pt x="179" y="279"/>
                    <a:pt x="184" y="283"/>
                    <a:pt x="190" y="283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4" y="289"/>
                    <a:pt x="354" y="289"/>
                    <a:pt x="354" y="289"/>
                  </a:cubicBezTo>
                  <a:cubicBezTo>
                    <a:pt x="359" y="289"/>
                    <a:pt x="364" y="285"/>
                    <a:pt x="366" y="280"/>
                  </a:cubicBezTo>
                  <a:cubicBezTo>
                    <a:pt x="427" y="123"/>
                    <a:pt x="427" y="123"/>
                    <a:pt x="427" y="123"/>
                  </a:cubicBezTo>
                  <a:cubicBezTo>
                    <a:pt x="429" y="117"/>
                    <a:pt x="427" y="111"/>
                    <a:pt x="423" y="108"/>
                  </a:cubicBezTo>
                  <a:cubicBezTo>
                    <a:pt x="418" y="104"/>
                    <a:pt x="411" y="104"/>
                    <a:pt x="407" y="108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24" y="6"/>
                    <a:pt x="279" y="0"/>
                    <a:pt x="277" y="0"/>
                  </a:cubicBezTo>
                  <a:cubicBezTo>
                    <a:pt x="276" y="0"/>
                    <a:pt x="276" y="0"/>
                    <a:pt x="2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2" y="5"/>
                    <a:pt x="1" y="11"/>
                  </a:cubicBezTo>
                  <a:cubicBezTo>
                    <a:pt x="0" y="17"/>
                    <a:pt x="4" y="23"/>
                    <a:pt x="10" y="25"/>
                  </a:cubicBezTo>
                  <a:cubicBezTo>
                    <a:pt x="79" y="48"/>
                    <a:pt x="99" y="87"/>
                    <a:pt x="99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97" y="249"/>
                    <a:pt x="197" y="249"/>
                    <a:pt x="197" y="249"/>
                  </a:cubicBezTo>
                  <a:lnTo>
                    <a:pt x="182" y="260"/>
                  </a:lnTo>
                  <a:close/>
                  <a:moveTo>
                    <a:pt x="122" y="75"/>
                  </a:moveTo>
                  <a:cubicBezTo>
                    <a:pt x="120" y="70"/>
                    <a:pt x="107" y="48"/>
                    <a:pt x="72" y="26"/>
                  </a:cubicBezTo>
                  <a:cubicBezTo>
                    <a:pt x="275" y="26"/>
                    <a:pt x="275" y="26"/>
                    <a:pt x="275" y="26"/>
                  </a:cubicBezTo>
                  <a:cubicBezTo>
                    <a:pt x="279" y="27"/>
                    <a:pt x="309" y="32"/>
                    <a:pt x="322" y="52"/>
                  </a:cubicBezTo>
                  <a:cubicBezTo>
                    <a:pt x="377" y="145"/>
                    <a:pt x="377" y="145"/>
                    <a:pt x="377" y="145"/>
                  </a:cubicBezTo>
                  <a:cubicBezTo>
                    <a:pt x="378" y="149"/>
                    <a:pt x="382" y="151"/>
                    <a:pt x="385" y="152"/>
                  </a:cubicBezTo>
                  <a:cubicBezTo>
                    <a:pt x="386" y="152"/>
                    <a:pt x="387" y="152"/>
                    <a:pt x="388" y="152"/>
                  </a:cubicBezTo>
                  <a:cubicBezTo>
                    <a:pt x="345" y="262"/>
                    <a:pt x="345" y="262"/>
                    <a:pt x="345" y="262"/>
                  </a:cubicBezTo>
                  <a:cubicBezTo>
                    <a:pt x="226" y="258"/>
                    <a:pt x="226" y="258"/>
                    <a:pt x="226" y="258"/>
                  </a:cubicBezTo>
                  <a:cubicBezTo>
                    <a:pt x="228" y="254"/>
                    <a:pt x="228" y="249"/>
                    <a:pt x="225" y="245"/>
                  </a:cubicBezTo>
                  <a:lnTo>
                    <a:pt x="12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2" name="Freeform 82"/>
            <p:cNvSpPr>
              <a:spLocks noEditPoints="1"/>
            </p:cNvSpPr>
            <p:nvPr/>
          </p:nvSpPr>
          <p:spPr bwMode="auto">
            <a:xfrm>
              <a:off x="4534" y="3514"/>
              <a:ext cx="109" cy="104"/>
            </a:xfrm>
            <a:custGeom>
              <a:avLst/>
              <a:gdLst>
                <a:gd name="T0" fmla="*/ 197 w 349"/>
                <a:gd name="T1" fmla="*/ 2 h 335"/>
                <a:gd name="T2" fmla="*/ 104 w 349"/>
                <a:gd name="T3" fmla="*/ 42 h 335"/>
                <a:gd name="T4" fmla="*/ 2 w 349"/>
                <a:gd name="T5" fmla="*/ 208 h 335"/>
                <a:gd name="T6" fmla="*/ 0 w 349"/>
                <a:gd name="T7" fmla="*/ 217 h 335"/>
                <a:gd name="T8" fmla="*/ 6 w 349"/>
                <a:gd name="T9" fmla="*/ 226 h 335"/>
                <a:gd name="T10" fmla="*/ 186 w 349"/>
                <a:gd name="T11" fmla="*/ 333 h 335"/>
                <a:gd name="T12" fmla="*/ 193 w 349"/>
                <a:gd name="T13" fmla="*/ 335 h 335"/>
                <a:gd name="T14" fmla="*/ 204 w 349"/>
                <a:gd name="T15" fmla="*/ 328 h 335"/>
                <a:gd name="T16" fmla="*/ 346 w 349"/>
                <a:gd name="T17" fmla="*/ 95 h 335"/>
                <a:gd name="T18" fmla="*/ 347 w 349"/>
                <a:gd name="T19" fmla="*/ 83 h 335"/>
                <a:gd name="T20" fmla="*/ 197 w 349"/>
                <a:gd name="T21" fmla="*/ 2 h 335"/>
                <a:gd name="T22" fmla="*/ 188 w 349"/>
                <a:gd name="T23" fmla="*/ 304 h 335"/>
                <a:gd name="T24" fmla="*/ 31 w 349"/>
                <a:gd name="T25" fmla="*/ 210 h 335"/>
                <a:gd name="T26" fmla="*/ 126 w 349"/>
                <a:gd name="T27" fmla="*/ 56 h 335"/>
                <a:gd name="T28" fmla="*/ 196 w 349"/>
                <a:gd name="T29" fmla="*/ 28 h 335"/>
                <a:gd name="T30" fmla="*/ 197 w 349"/>
                <a:gd name="T31" fmla="*/ 28 h 335"/>
                <a:gd name="T32" fmla="*/ 320 w 349"/>
                <a:gd name="T33" fmla="*/ 88 h 335"/>
                <a:gd name="T34" fmla="*/ 188 w 349"/>
                <a:gd name="T35" fmla="*/ 30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9" h="335">
                  <a:moveTo>
                    <a:pt x="197" y="2"/>
                  </a:moveTo>
                  <a:cubicBezTo>
                    <a:pt x="191" y="2"/>
                    <a:pt x="131" y="0"/>
                    <a:pt x="104" y="42"/>
                  </a:cubicBezTo>
                  <a:cubicBezTo>
                    <a:pt x="2" y="208"/>
                    <a:pt x="2" y="208"/>
                    <a:pt x="2" y="208"/>
                  </a:cubicBezTo>
                  <a:cubicBezTo>
                    <a:pt x="0" y="211"/>
                    <a:pt x="0" y="214"/>
                    <a:pt x="0" y="217"/>
                  </a:cubicBezTo>
                  <a:cubicBezTo>
                    <a:pt x="1" y="221"/>
                    <a:pt x="3" y="224"/>
                    <a:pt x="6" y="226"/>
                  </a:cubicBezTo>
                  <a:cubicBezTo>
                    <a:pt x="186" y="333"/>
                    <a:pt x="186" y="333"/>
                    <a:pt x="186" y="333"/>
                  </a:cubicBezTo>
                  <a:cubicBezTo>
                    <a:pt x="188" y="334"/>
                    <a:pt x="191" y="335"/>
                    <a:pt x="193" y="335"/>
                  </a:cubicBezTo>
                  <a:cubicBezTo>
                    <a:pt x="197" y="335"/>
                    <a:pt x="201" y="332"/>
                    <a:pt x="204" y="328"/>
                  </a:cubicBezTo>
                  <a:cubicBezTo>
                    <a:pt x="346" y="95"/>
                    <a:pt x="346" y="95"/>
                    <a:pt x="346" y="95"/>
                  </a:cubicBezTo>
                  <a:cubicBezTo>
                    <a:pt x="349" y="91"/>
                    <a:pt x="349" y="87"/>
                    <a:pt x="347" y="83"/>
                  </a:cubicBezTo>
                  <a:cubicBezTo>
                    <a:pt x="346" y="79"/>
                    <a:pt x="309" y="2"/>
                    <a:pt x="197" y="2"/>
                  </a:cubicBezTo>
                  <a:close/>
                  <a:moveTo>
                    <a:pt x="188" y="304"/>
                  </a:moveTo>
                  <a:cubicBezTo>
                    <a:pt x="31" y="210"/>
                    <a:pt x="31" y="210"/>
                    <a:pt x="31" y="210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45" y="26"/>
                    <a:pt x="195" y="28"/>
                    <a:pt x="196" y="28"/>
                  </a:cubicBezTo>
                  <a:cubicBezTo>
                    <a:pt x="197" y="28"/>
                    <a:pt x="197" y="28"/>
                    <a:pt x="197" y="28"/>
                  </a:cubicBezTo>
                  <a:cubicBezTo>
                    <a:pt x="276" y="28"/>
                    <a:pt x="310" y="72"/>
                    <a:pt x="320" y="88"/>
                  </a:cubicBezTo>
                  <a:lnTo>
                    <a:pt x="188" y="3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543" name="Freeform 83"/>
            <p:cNvSpPr>
              <a:spLocks noEditPoints="1"/>
            </p:cNvSpPr>
            <p:nvPr/>
          </p:nvSpPr>
          <p:spPr bwMode="auto">
            <a:xfrm>
              <a:off x="4665" y="3693"/>
              <a:ext cx="133" cy="100"/>
            </a:xfrm>
            <a:custGeom>
              <a:avLst/>
              <a:gdLst>
                <a:gd name="T0" fmla="*/ 420 w 426"/>
                <a:gd name="T1" fmla="*/ 4 h 321"/>
                <a:gd name="T2" fmla="*/ 403 w 426"/>
                <a:gd name="T3" fmla="*/ 4 h 321"/>
                <a:gd name="T4" fmla="*/ 305 w 426"/>
                <a:gd name="T5" fmla="*/ 51 h 321"/>
                <a:gd name="T6" fmla="*/ 304 w 426"/>
                <a:gd name="T7" fmla="*/ 51 h 321"/>
                <a:gd name="T8" fmla="*/ 116 w 426"/>
                <a:gd name="T9" fmla="*/ 54 h 321"/>
                <a:gd name="T10" fmla="*/ 114 w 426"/>
                <a:gd name="T11" fmla="*/ 36 h 321"/>
                <a:gd name="T12" fmla="*/ 104 w 426"/>
                <a:gd name="T13" fmla="*/ 25 h 321"/>
                <a:gd name="T14" fmla="*/ 90 w 426"/>
                <a:gd name="T15" fmla="*/ 31 h 321"/>
                <a:gd name="T16" fmla="*/ 3 w 426"/>
                <a:gd name="T17" fmla="*/ 170 h 321"/>
                <a:gd name="T18" fmla="*/ 4 w 426"/>
                <a:gd name="T19" fmla="*/ 185 h 321"/>
                <a:gd name="T20" fmla="*/ 110 w 426"/>
                <a:gd name="T21" fmla="*/ 316 h 321"/>
                <a:gd name="T22" fmla="*/ 120 w 426"/>
                <a:gd name="T23" fmla="*/ 321 h 321"/>
                <a:gd name="T24" fmla="*/ 125 w 426"/>
                <a:gd name="T25" fmla="*/ 320 h 321"/>
                <a:gd name="T26" fmla="*/ 133 w 426"/>
                <a:gd name="T27" fmla="*/ 307 h 321"/>
                <a:gd name="T28" fmla="*/ 130 w 426"/>
                <a:gd name="T29" fmla="*/ 287 h 321"/>
                <a:gd name="T30" fmla="*/ 224 w 426"/>
                <a:gd name="T31" fmla="*/ 287 h 321"/>
                <a:gd name="T32" fmla="*/ 291 w 426"/>
                <a:gd name="T33" fmla="*/ 248 h 321"/>
                <a:gd name="T34" fmla="*/ 292 w 426"/>
                <a:gd name="T35" fmla="*/ 247 h 321"/>
                <a:gd name="T36" fmla="*/ 423 w 426"/>
                <a:gd name="T37" fmla="*/ 20 h 321"/>
                <a:gd name="T38" fmla="*/ 420 w 426"/>
                <a:gd name="T39" fmla="*/ 4 h 321"/>
                <a:gd name="T40" fmla="*/ 270 w 426"/>
                <a:gd name="T41" fmla="*/ 233 h 321"/>
                <a:gd name="T42" fmla="*/ 224 w 426"/>
                <a:gd name="T43" fmla="*/ 261 h 321"/>
                <a:gd name="T44" fmla="*/ 115 w 426"/>
                <a:gd name="T45" fmla="*/ 262 h 321"/>
                <a:gd name="T46" fmla="*/ 106 w 426"/>
                <a:gd name="T47" fmla="*/ 266 h 321"/>
                <a:gd name="T48" fmla="*/ 104 w 426"/>
                <a:gd name="T49" fmla="*/ 268 h 321"/>
                <a:gd name="T50" fmla="*/ 30 w 426"/>
                <a:gd name="T51" fmla="*/ 176 h 321"/>
                <a:gd name="T52" fmla="*/ 93 w 426"/>
                <a:gd name="T53" fmla="*/ 74 h 321"/>
                <a:gd name="T54" fmla="*/ 104 w 426"/>
                <a:gd name="T55" fmla="*/ 81 h 321"/>
                <a:gd name="T56" fmla="*/ 104 w 426"/>
                <a:gd name="T57" fmla="*/ 81 h 321"/>
                <a:gd name="T58" fmla="*/ 304 w 426"/>
                <a:gd name="T59" fmla="*/ 77 h 321"/>
                <a:gd name="T60" fmla="*/ 371 w 426"/>
                <a:gd name="T61" fmla="*/ 58 h 321"/>
                <a:gd name="T62" fmla="*/ 270 w 426"/>
                <a:gd name="T63" fmla="*/ 23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6" h="321">
                  <a:moveTo>
                    <a:pt x="420" y="4"/>
                  </a:moveTo>
                  <a:cubicBezTo>
                    <a:pt x="415" y="0"/>
                    <a:pt x="408" y="0"/>
                    <a:pt x="403" y="4"/>
                  </a:cubicBezTo>
                  <a:cubicBezTo>
                    <a:pt x="348" y="53"/>
                    <a:pt x="305" y="51"/>
                    <a:pt x="305" y="51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3" y="31"/>
                    <a:pt x="109" y="26"/>
                    <a:pt x="104" y="25"/>
                  </a:cubicBezTo>
                  <a:cubicBezTo>
                    <a:pt x="98" y="24"/>
                    <a:pt x="93" y="26"/>
                    <a:pt x="90" y="31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0" y="174"/>
                    <a:pt x="1" y="180"/>
                    <a:pt x="4" y="185"/>
                  </a:cubicBezTo>
                  <a:cubicBezTo>
                    <a:pt x="110" y="316"/>
                    <a:pt x="110" y="316"/>
                    <a:pt x="110" y="316"/>
                  </a:cubicBezTo>
                  <a:cubicBezTo>
                    <a:pt x="112" y="320"/>
                    <a:pt x="116" y="321"/>
                    <a:pt x="120" y="321"/>
                  </a:cubicBezTo>
                  <a:cubicBezTo>
                    <a:pt x="121" y="321"/>
                    <a:pt x="123" y="321"/>
                    <a:pt x="125" y="320"/>
                  </a:cubicBezTo>
                  <a:cubicBezTo>
                    <a:pt x="130" y="318"/>
                    <a:pt x="133" y="312"/>
                    <a:pt x="133" y="307"/>
                  </a:cubicBezTo>
                  <a:cubicBezTo>
                    <a:pt x="130" y="287"/>
                    <a:pt x="130" y="287"/>
                    <a:pt x="130" y="287"/>
                  </a:cubicBezTo>
                  <a:cubicBezTo>
                    <a:pt x="224" y="287"/>
                    <a:pt x="224" y="287"/>
                    <a:pt x="224" y="287"/>
                  </a:cubicBezTo>
                  <a:cubicBezTo>
                    <a:pt x="263" y="286"/>
                    <a:pt x="290" y="249"/>
                    <a:pt x="291" y="248"/>
                  </a:cubicBezTo>
                  <a:cubicBezTo>
                    <a:pt x="291" y="248"/>
                    <a:pt x="292" y="247"/>
                    <a:pt x="292" y="247"/>
                  </a:cubicBezTo>
                  <a:cubicBezTo>
                    <a:pt x="423" y="20"/>
                    <a:pt x="423" y="20"/>
                    <a:pt x="423" y="20"/>
                  </a:cubicBezTo>
                  <a:cubicBezTo>
                    <a:pt x="426" y="15"/>
                    <a:pt x="425" y="8"/>
                    <a:pt x="420" y="4"/>
                  </a:cubicBezTo>
                  <a:close/>
                  <a:moveTo>
                    <a:pt x="270" y="233"/>
                  </a:moveTo>
                  <a:cubicBezTo>
                    <a:pt x="267" y="237"/>
                    <a:pt x="247" y="260"/>
                    <a:pt x="224" y="261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2" y="262"/>
                    <a:pt x="108" y="263"/>
                    <a:pt x="106" y="266"/>
                  </a:cubicBezTo>
                  <a:cubicBezTo>
                    <a:pt x="105" y="267"/>
                    <a:pt x="105" y="267"/>
                    <a:pt x="104" y="268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5" y="78"/>
                    <a:pt x="99" y="81"/>
                    <a:pt x="104" y="8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9" y="77"/>
                    <a:pt x="335" y="77"/>
                    <a:pt x="371" y="58"/>
                  </a:cubicBezTo>
                  <a:lnTo>
                    <a:pt x="270" y="2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4" name="Freeform 84"/>
            <p:cNvSpPr>
              <a:spLocks noEditPoints="1"/>
            </p:cNvSpPr>
            <p:nvPr/>
          </p:nvSpPr>
          <p:spPr bwMode="auto">
            <a:xfrm>
              <a:off x="4704" y="3590"/>
              <a:ext cx="103" cy="115"/>
            </a:xfrm>
            <a:custGeom>
              <a:avLst/>
              <a:gdLst>
                <a:gd name="T0" fmla="*/ 304 w 329"/>
                <a:gd name="T1" fmla="*/ 172 h 371"/>
                <a:gd name="T2" fmla="*/ 202 w 329"/>
                <a:gd name="T3" fmla="*/ 7 h 371"/>
                <a:gd name="T4" fmla="*/ 194 w 329"/>
                <a:gd name="T5" fmla="*/ 1 h 371"/>
                <a:gd name="T6" fmla="*/ 184 w 329"/>
                <a:gd name="T7" fmla="*/ 2 h 371"/>
                <a:gd name="T8" fmla="*/ 8 w 329"/>
                <a:gd name="T9" fmla="*/ 115 h 371"/>
                <a:gd name="T10" fmla="*/ 4 w 329"/>
                <a:gd name="T11" fmla="*/ 133 h 371"/>
                <a:gd name="T12" fmla="*/ 148 w 329"/>
                <a:gd name="T13" fmla="*/ 365 h 371"/>
                <a:gd name="T14" fmla="*/ 159 w 329"/>
                <a:gd name="T15" fmla="*/ 371 h 371"/>
                <a:gd name="T16" fmla="*/ 160 w 329"/>
                <a:gd name="T17" fmla="*/ 371 h 371"/>
                <a:gd name="T18" fmla="*/ 298 w 329"/>
                <a:gd name="T19" fmla="*/ 273 h 371"/>
                <a:gd name="T20" fmla="*/ 304 w 329"/>
                <a:gd name="T21" fmla="*/ 172 h 371"/>
                <a:gd name="T22" fmla="*/ 276 w 329"/>
                <a:gd name="T23" fmla="*/ 261 h 371"/>
                <a:gd name="T24" fmla="*/ 275 w 329"/>
                <a:gd name="T25" fmla="*/ 261 h 371"/>
                <a:gd name="T26" fmla="*/ 166 w 329"/>
                <a:gd name="T27" fmla="*/ 345 h 371"/>
                <a:gd name="T28" fmla="*/ 32 w 329"/>
                <a:gd name="T29" fmla="*/ 130 h 371"/>
                <a:gd name="T30" fmla="*/ 187 w 329"/>
                <a:gd name="T31" fmla="*/ 31 h 371"/>
                <a:gd name="T32" fmla="*/ 282 w 329"/>
                <a:gd name="T33" fmla="*/ 185 h 371"/>
                <a:gd name="T34" fmla="*/ 276 w 329"/>
                <a:gd name="T35" fmla="*/ 26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9" h="371">
                  <a:moveTo>
                    <a:pt x="304" y="172"/>
                  </a:moveTo>
                  <a:cubicBezTo>
                    <a:pt x="202" y="7"/>
                    <a:pt x="202" y="7"/>
                    <a:pt x="202" y="7"/>
                  </a:cubicBezTo>
                  <a:cubicBezTo>
                    <a:pt x="200" y="4"/>
                    <a:pt x="197" y="1"/>
                    <a:pt x="194" y="1"/>
                  </a:cubicBezTo>
                  <a:cubicBezTo>
                    <a:pt x="191" y="0"/>
                    <a:pt x="187" y="1"/>
                    <a:pt x="184" y="2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2" y="119"/>
                    <a:pt x="0" y="127"/>
                    <a:pt x="4" y="133"/>
                  </a:cubicBezTo>
                  <a:cubicBezTo>
                    <a:pt x="148" y="365"/>
                    <a:pt x="148" y="365"/>
                    <a:pt x="148" y="365"/>
                  </a:cubicBezTo>
                  <a:cubicBezTo>
                    <a:pt x="150" y="368"/>
                    <a:pt x="154" y="371"/>
                    <a:pt x="159" y="371"/>
                  </a:cubicBezTo>
                  <a:cubicBezTo>
                    <a:pt x="159" y="371"/>
                    <a:pt x="159" y="371"/>
                    <a:pt x="160" y="371"/>
                  </a:cubicBezTo>
                  <a:cubicBezTo>
                    <a:pt x="172" y="371"/>
                    <a:pt x="251" y="367"/>
                    <a:pt x="298" y="273"/>
                  </a:cubicBezTo>
                  <a:cubicBezTo>
                    <a:pt x="301" y="268"/>
                    <a:pt x="329" y="215"/>
                    <a:pt x="304" y="172"/>
                  </a:cubicBezTo>
                  <a:close/>
                  <a:moveTo>
                    <a:pt x="276" y="261"/>
                  </a:moveTo>
                  <a:cubicBezTo>
                    <a:pt x="275" y="261"/>
                    <a:pt x="275" y="261"/>
                    <a:pt x="275" y="261"/>
                  </a:cubicBezTo>
                  <a:cubicBezTo>
                    <a:pt x="240" y="332"/>
                    <a:pt x="185" y="343"/>
                    <a:pt x="166" y="345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282" y="185"/>
                    <a:pt x="282" y="185"/>
                    <a:pt x="282" y="185"/>
                  </a:cubicBezTo>
                  <a:cubicBezTo>
                    <a:pt x="300" y="216"/>
                    <a:pt x="276" y="260"/>
                    <a:pt x="276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5" name="Freeform 85"/>
            <p:cNvSpPr>
              <a:spLocks noEditPoints="1"/>
            </p:cNvSpPr>
            <p:nvPr/>
          </p:nvSpPr>
          <p:spPr bwMode="auto">
            <a:xfrm>
              <a:off x="4485" y="3613"/>
              <a:ext cx="97" cy="140"/>
            </a:xfrm>
            <a:custGeom>
              <a:avLst/>
              <a:gdLst>
                <a:gd name="T0" fmla="*/ 291 w 311"/>
                <a:gd name="T1" fmla="*/ 171 h 452"/>
                <a:gd name="T2" fmla="*/ 306 w 311"/>
                <a:gd name="T3" fmla="*/ 168 h 452"/>
                <a:gd name="T4" fmla="*/ 308 w 311"/>
                <a:gd name="T5" fmla="*/ 153 h 452"/>
                <a:gd name="T6" fmla="*/ 233 w 311"/>
                <a:gd name="T7" fmla="*/ 8 h 452"/>
                <a:gd name="T8" fmla="*/ 219 w 311"/>
                <a:gd name="T9" fmla="*/ 1 h 452"/>
                <a:gd name="T10" fmla="*/ 52 w 311"/>
                <a:gd name="T11" fmla="*/ 24 h 452"/>
                <a:gd name="T12" fmla="*/ 41 w 311"/>
                <a:gd name="T13" fmla="*/ 36 h 452"/>
                <a:gd name="T14" fmla="*/ 49 w 311"/>
                <a:gd name="T15" fmla="*/ 49 h 452"/>
                <a:gd name="T16" fmla="*/ 67 w 311"/>
                <a:gd name="T17" fmla="*/ 57 h 452"/>
                <a:gd name="T18" fmla="*/ 19 w 311"/>
                <a:gd name="T19" fmla="*/ 138 h 452"/>
                <a:gd name="T20" fmla="*/ 18 w 311"/>
                <a:gd name="T21" fmla="*/ 215 h 452"/>
                <a:gd name="T22" fmla="*/ 19 w 311"/>
                <a:gd name="T23" fmla="*/ 217 h 452"/>
                <a:gd name="T24" fmla="*/ 147 w 311"/>
                <a:gd name="T25" fmla="*/ 445 h 452"/>
                <a:gd name="T26" fmla="*/ 158 w 311"/>
                <a:gd name="T27" fmla="*/ 452 h 452"/>
                <a:gd name="T28" fmla="*/ 162 w 311"/>
                <a:gd name="T29" fmla="*/ 451 h 452"/>
                <a:gd name="T30" fmla="*/ 171 w 311"/>
                <a:gd name="T31" fmla="*/ 436 h 452"/>
                <a:gd name="T32" fmla="*/ 181 w 311"/>
                <a:gd name="T33" fmla="*/ 328 h 452"/>
                <a:gd name="T34" fmla="*/ 181 w 311"/>
                <a:gd name="T35" fmla="*/ 327 h 452"/>
                <a:gd name="T36" fmla="*/ 274 w 311"/>
                <a:gd name="T37" fmla="*/ 164 h 452"/>
                <a:gd name="T38" fmla="*/ 291 w 311"/>
                <a:gd name="T39" fmla="*/ 171 h 452"/>
                <a:gd name="T40" fmla="*/ 258 w 311"/>
                <a:gd name="T41" fmla="*/ 141 h 452"/>
                <a:gd name="T42" fmla="*/ 159 w 311"/>
                <a:gd name="T43" fmla="*/ 314 h 452"/>
                <a:gd name="T44" fmla="*/ 141 w 311"/>
                <a:gd name="T45" fmla="*/ 381 h 452"/>
                <a:gd name="T46" fmla="*/ 42 w 311"/>
                <a:gd name="T47" fmla="*/ 205 h 452"/>
                <a:gd name="T48" fmla="*/ 42 w 311"/>
                <a:gd name="T49" fmla="*/ 151 h 452"/>
                <a:gd name="T50" fmla="*/ 96 w 311"/>
                <a:gd name="T51" fmla="*/ 57 h 452"/>
                <a:gd name="T52" fmla="*/ 98 w 311"/>
                <a:gd name="T53" fmla="*/ 47 h 452"/>
                <a:gd name="T54" fmla="*/ 97 w 311"/>
                <a:gd name="T55" fmla="*/ 44 h 452"/>
                <a:gd name="T56" fmla="*/ 214 w 311"/>
                <a:gd name="T57" fmla="*/ 28 h 452"/>
                <a:gd name="T58" fmla="*/ 269 w 311"/>
                <a:gd name="T59" fmla="*/ 134 h 452"/>
                <a:gd name="T60" fmla="*/ 258 w 311"/>
                <a:gd name="T61" fmla="*/ 1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452">
                  <a:moveTo>
                    <a:pt x="291" y="171"/>
                  </a:moveTo>
                  <a:cubicBezTo>
                    <a:pt x="296" y="173"/>
                    <a:pt x="302" y="172"/>
                    <a:pt x="306" y="168"/>
                  </a:cubicBezTo>
                  <a:cubicBezTo>
                    <a:pt x="310" y="164"/>
                    <a:pt x="311" y="158"/>
                    <a:pt x="308" y="153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0" y="3"/>
                    <a:pt x="225" y="0"/>
                    <a:pt x="219" y="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6" y="25"/>
                    <a:pt x="42" y="30"/>
                    <a:pt x="41" y="36"/>
                  </a:cubicBezTo>
                  <a:cubicBezTo>
                    <a:pt x="40" y="41"/>
                    <a:pt x="44" y="47"/>
                    <a:pt x="49" y="49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72"/>
                    <a:pt x="18" y="214"/>
                    <a:pt x="18" y="215"/>
                  </a:cubicBezTo>
                  <a:cubicBezTo>
                    <a:pt x="18" y="216"/>
                    <a:pt x="19" y="216"/>
                    <a:pt x="19" y="217"/>
                  </a:cubicBezTo>
                  <a:cubicBezTo>
                    <a:pt x="147" y="445"/>
                    <a:pt x="147" y="445"/>
                    <a:pt x="147" y="445"/>
                  </a:cubicBezTo>
                  <a:cubicBezTo>
                    <a:pt x="149" y="449"/>
                    <a:pt x="153" y="452"/>
                    <a:pt x="158" y="452"/>
                  </a:cubicBezTo>
                  <a:cubicBezTo>
                    <a:pt x="159" y="452"/>
                    <a:pt x="161" y="451"/>
                    <a:pt x="162" y="451"/>
                  </a:cubicBezTo>
                  <a:cubicBezTo>
                    <a:pt x="168" y="449"/>
                    <a:pt x="172" y="442"/>
                    <a:pt x="171" y="436"/>
                  </a:cubicBezTo>
                  <a:cubicBezTo>
                    <a:pt x="157" y="365"/>
                    <a:pt x="181" y="328"/>
                    <a:pt x="181" y="328"/>
                  </a:cubicBezTo>
                  <a:cubicBezTo>
                    <a:pt x="181" y="328"/>
                    <a:pt x="181" y="327"/>
                    <a:pt x="181" y="327"/>
                  </a:cubicBezTo>
                  <a:cubicBezTo>
                    <a:pt x="274" y="164"/>
                    <a:pt x="274" y="164"/>
                    <a:pt x="274" y="164"/>
                  </a:cubicBezTo>
                  <a:lnTo>
                    <a:pt x="291" y="171"/>
                  </a:lnTo>
                  <a:close/>
                  <a:moveTo>
                    <a:pt x="258" y="141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6" y="318"/>
                    <a:pt x="143" y="340"/>
                    <a:pt x="141" y="381"/>
                  </a:cubicBezTo>
                  <a:cubicBezTo>
                    <a:pt x="42" y="205"/>
                    <a:pt x="42" y="205"/>
                    <a:pt x="42" y="205"/>
                  </a:cubicBezTo>
                  <a:cubicBezTo>
                    <a:pt x="40" y="200"/>
                    <a:pt x="30" y="171"/>
                    <a:pt x="42" y="151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4"/>
                    <a:pt x="99" y="50"/>
                    <a:pt x="98" y="47"/>
                  </a:cubicBezTo>
                  <a:cubicBezTo>
                    <a:pt x="97" y="46"/>
                    <a:pt x="97" y="45"/>
                    <a:pt x="97" y="44"/>
                  </a:cubicBezTo>
                  <a:cubicBezTo>
                    <a:pt x="214" y="28"/>
                    <a:pt x="214" y="28"/>
                    <a:pt x="214" y="28"/>
                  </a:cubicBezTo>
                  <a:cubicBezTo>
                    <a:pt x="269" y="134"/>
                    <a:pt x="269" y="134"/>
                    <a:pt x="269" y="134"/>
                  </a:cubicBezTo>
                  <a:cubicBezTo>
                    <a:pt x="264" y="134"/>
                    <a:pt x="260" y="136"/>
                    <a:pt x="258" y="1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6" name="Freeform 86"/>
            <p:cNvSpPr>
              <a:spLocks noEditPoints="1"/>
            </p:cNvSpPr>
            <p:nvPr/>
          </p:nvSpPr>
          <p:spPr bwMode="auto">
            <a:xfrm>
              <a:off x="4534" y="3712"/>
              <a:ext cx="108" cy="74"/>
            </a:xfrm>
            <a:custGeom>
              <a:avLst/>
              <a:gdLst>
                <a:gd name="T0" fmla="*/ 334 w 348"/>
                <a:gd name="T1" fmla="*/ 0 h 236"/>
                <a:gd name="T2" fmla="*/ 60 w 348"/>
                <a:gd name="T3" fmla="*/ 0 h 236"/>
                <a:gd name="T4" fmla="*/ 60 w 348"/>
                <a:gd name="T5" fmla="*/ 0 h 236"/>
                <a:gd name="T6" fmla="*/ 49 w 348"/>
                <a:gd name="T7" fmla="*/ 5 h 236"/>
                <a:gd name="T8" fmla="*/ 58 w 348"/>
                <a:gd name="T9" fmla="*/ 176 h 236"/>
                <a:gd name="T10" fmla="*/ 140 w 348"/>
                <a:gd name="T11" fmla="*/ 234 h 236"/>
                <a:gd name="T12" fmla="*/ 335 w 348"/>
                <a:gd name="T13" fmla="*/ 236 h 236"/>
                <a:gd name="T14" fmla="*/ 335 w 348"/>
                <a:gd name="T15" fmla="*/ 236 h 236"/>
                <a:gd name="T16" fmla="*/ 344 w 348"/>
                <a:gd name="T17" fmla="*/ 232 h 236"/>
                <a:gd name="T18" fmla="*/ 348 w 348"/>
                <a:gd name="T19" fmla="*/ 223 h 236"/>
                <a:gd name="T20" fmla="*/ 346 w 348"/>
                <a:gd name="T21" fmla="*/ 13 h 236"/>
                <a:gd name="T22" fmla="*/ 334 w 348"/>
                <a:gd name="T23" fmla="*/ 0 h 236"/>
                <a:gd name="T24" fmla="*/ 141 w 348"/>
                <a:gd name="T25" fmla="*/ 208 h 236"/>
                <a:gd name="T26" fmla="*/ 81 w 348"/>
                <a:gd name="T27" fmla="*/ 163 h 236"/>
                <a:gd name="T28" fmla="*/ 80 w 348"/>
                <a:gd name="T29" fmla="*/ 163 h 236"/>
                <a:gd name="T30" fmla="*/ 68 w 348"/>
                <a:gd name="T31" fmla="*/ 26 h 236"/>
                <a:gd name="T32" fmla="*/ 321 w 348"/>
                <a:gd name="T33" fmla="*/ 26 h 236"/>
                <a:gd name="T34" fmla="*/ 322 w 348"/>
                <a:gd name="T35" fmla="*/ 210 h 236"/>
                <a:gd name="T36" fmla="*/ 141 w 348"/>
                <a:gd name="T37" fmla="*/ 20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8" h="236">
                  <a:moveTo>
                    <a:pt x="33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6" y="0"/>
                    <a:pt x="52" y="2"/>
                    <a:pt x="49" y="5"/>
                  </a:cubicBezTo>
                  <a:cubicBezTo>
                    <a:pt x="47" y="8"/>
                    <a:pt x="0" y="80"/>
                    <a:pt x="58" y="176"/>
                  </a:cubicBezTo>
                  <a:cubicBezTo>
                    <a:pt x="61" y="181"/>
                    <a:pt x="91" y="233"/>
                    <a:pt x="140" y="234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8" y="236"/>
                    <a:pt x="342" y="234"/>
                    <a:pt x="344" y="232"/>
                  </a:cubicBezTo>
                  <a:cubicBezTo>
                    <a:pt x="347" y="230"/>
                    <a:pt x="348" y="226"/>
                    <a:pt x="348" y="223"/>
                  </a:cubicBezTo>
                  <a:cubicBezTo>
                    <a:pt x="346" y="13"/>
                    <a:pt x="346" y="13"/>
                    <a:pt x="346" y="13"/>
                  </a:cubicBezTo>
                  <a:cubicBezTo>
                    <a:pt x="346" y="6"/>
                    <a:pt x="341" y="1"/>
                    <a:pt x="334" y="0"/>
                  </a:cubicBezTo>
                  <a:close/>
                  <a:moveTo>
                    <a:pt x="141" y="208"/>
                  </a:moveTo>
                  <a:cubicBezTo>
                    <a:pt x="105" y="207"/>
                    <a:pt x="81" y="163"/>
                    <a:pt x="81" y="163"/>
                  </a:cubicBezTo>
                  <a:cubicBezTo>
                    <a:pt x="80" y="163"/>
                    <a:pt x="80" y="163"/>
                    <a:pt x="80" y="163"/>
                  </a:cubicBezTo>
                  <a:cubicBezTo>
                    <a:pt x="39" y="95"/>
                    <a:pt x="59" y="42"/>
                    <a:pt x="68" y="26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2" y="210"/>
                    <a:pt x="322" y="210"/>
                    <a:pt x="322" y="210"/>
                  </a:cubicBezTo>
                  <a:lnTo>
                    <a:pt x="141" y="2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47" name="Freeform 87"/>
            <p:cNvSpPr>
              <a:spLocks noEditPoints="1"/>
            </p:cNvSpPr>
            <p:nvPr/>
          </p:nvSpPr>
          <p:spPr bwMode="auto">
            <a:xfrm>
              <a:off x="4417" y="3423"/>
              <a:ext cx="458" cy="45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548" name="Group 90"/>
          <p:cNvGrpSpPr>
            <a:grpSpLocks noChangeAspect="1"/>
          </p:cNvGrpSpPr>
          <p:nvPr/>
        </p:nvGrpSpPr>
        <p:grpSpPr bwMode="auto">
          <a:xfrm>
            <a:off x="7982876" y="5417590"/>
            <a:ext cx="768096" cy="769667"/>
            <a:chOff x="5057" y="3399"/>
            <a:chExt cx="489" cy="490"/>
          </a:xfrm>
        </p:grpSpPr>
        <p:sp>
          <p:nvSpPr>
            <p:cNvPr id="55549" name="AutoShape 89"/>
            <p:cNvSpPr>
              <a:spLocks noChangeAspect="1" noChangeArrowheads="1" noTextEdit="1"/>
            </p:cNvSpPr>
            <p:nvPr/>
          </p:nvSpPr>
          <p:spPr bwMode="auto">
            <a:xfrm>
              <a:off x="5057" y="3399"/>
              <a:ext cx="489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0" name="Freeform 91"/>
            <p:cNvSpPr>
              <a:spLocks noEditPoints="1"/>
            </p:cNvSpPr>
            <p:nvPr/>
          </p:nvSpPr>
          <p:spPr bwMode="auto">
            <a:xfrm>
              <a:off x="5266" y="3485"/>
              <a:ext cx="142" cy="96"/>
            </a:xfrm>
            <a:custGeom>
              <a:avLst/>
              <a:gdLst>
                <a:gd name="T0" fmla="*/ 182 w 429"/>
                <a:gd name="T1" fmla="*/ 260 h 289"/>
                <a:gd name="T2" fmla="*/ 178 w 429"/>
                <a:gd name="T3" fmla="*/ 274 h 289"/>
                <a:gd name="T4" fmla="*/ 190 w 429"/>
                <a:gd name="T5" fmla="*/ 283 h 289"/>
                <a:gd name="T6" fmla="*/ 353 w 429"/>
                <a:gd name="T7" fmla="*/ 289 h 289"/>
                <a:gd name="T8" fmla="*/ 354 w 429"/>
                <a:gd name="T9" fmla="*/ 289 h 289"/>
                <a:gd name="T10" fmla="*/ 366 w 429"/>
                <a:gd name="T11" fmla="*/ 280 h 289"/>
                <a:gd name="T12" fmla="*/ 427 w 429"/>
                <a:gd name="T13" fmla="*/ 123 h 289"/>
                <a:gd name="T14" fmla="*/ 423 w 429"/>
                <a:gd name="T15" fmla="*/ 108 h 289"/>
                <a:gd name="T16" fmla="*/ 407 w 429"/>
                <a:gd name="T17" fmla="*/ 108 h 289"/>
                <a:gd name="T18" fmla="*/ 392 w 429"/>
                <a:gd name="T19" fmla="*/ 120 h 289"/>
                <a:gd name="T20" fmla="*/ 344 w 429"/>
                <a:gd name="T21" fmla="*/ 39 h 289"/>
                <a:gd name="T22" fmla="*/ 277 w 429"/>
                <a:gd name="T23" fmla="*/ 0 h 289"/>
                <a:gd name="T24" fmla="*/ 275 w 429"/>
                <a:gd name="T25" fmla="*/ 0 h 289"/>
                <a:gd name="T26" fmla="*/ 14 w 429"/>
                <a:gd name="T27" fmla="*/ 0 h 289"/>
                <a:gd name="T28" fmla="*/ 1 w 429"/>
                <a:gd name="T29" fmla="*/ 11 h 289"/>
                <a:gd name="T30" fmla="*/ 10 w 429"/>
                <a:gd name="T31" fmla="*/ 25 h 289"/>
                <a:gd name="T32" fmla="*/ 99 w 429"/>
                <a:gd name="T33" fmla="*/ 87 h 289"/>
                <a:gd name="T34" fmla="*/ 100 w 429"/>
                <a:gd name="T35" fmla="*/ 88 h 289"/>
                <a:gd name="T36" fmla="*/ 197 w 429"/>
                <a:gd name="T37" fmla="*/ 249 h 289"/>
                <a:gd name="T38" fmla="*/ 182 w 429"/>
                <a:gd name="T39" fmla="*/ 260 h 289"/>
                <a:gd name="T40" fmla="*/ 122 w 429"/>
                <a:gd name="T41" fmla="*/ 75 h 289"/>
                <a:gd name="T42" fmla="*/ 72 w 429"/>
                <a:gd name="T43" fmla="*/ 26 h 289"/>
                <a:gd name="T44" fmla="*/ 275 w 429"/>
                <a:gd name="T45" fmla="*/ 26 h 289"/>
                <a:gd name="T46" fmla="*/ 322 w 429"/>
                <a:gd name="T47" fmla="*/ 52 h 289"/>
                <a:gd name="T48" fmla="*/ 377 w 429"/>
                <a:gd name="T49" fmla="*/ 145 h 289"/>
                <a:gd name="T50" fmla="*/ 385 w 429"/>
                <a:gd name="T51" fmla="*/ 152 h 289"/>
                <a:gd name="T52" fmla="*/ 388 w 429"/>
                <a:gd name="T53" fmla="*/ 152 h 289"/>
                <a:gd name="T54" fmla="*/ 345 w 429"/>
                <a:gd name="T55" fmla="*/ 262 h 289"/>
                <a:gd name="T56" fmla="*/ 226 w 429"/>
                <a:gd name="T57" fmla="*/ 258 h 289"/>
                <a:gd name="T58" fmla="*/ 225 w 429"/>
                <a:gd name="T59" fmla="*/ 245 h 289"/>
                <a:gd name="T60" fmla="*/ 122 w 429"/>
                <a:gd name="T61" fmla="*/ 7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9" h="289">
                  <a:moveTo>
                    <a:pt x="182" y="260"/>
                  </a:moveTo>
                  <a:cubicBezTo>
                    <a:pt x="178" y="263"/>
                    <a:pt x="176" y="269"/>
                    <a:pt x="178" y="274"/>
                  </a:cubicBezTo>
                  <a:cubicBezTo>
                    <a:pt x="179" y="279"/>
                    <a:pt x="184" y="283"/>
                    <a:pt x="190" y="283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89"/>
                    <a:pt x="353" y="289"/>
                    <a:pt x="354" y="289"/>
                  </a:cubicBezTo>
                  <a:cubicBezTo>
                    <a:pt x="359" y="289"/>
                    <a:pt x="364" y="285"/>
                    <a:pt x="366" y="280"/>
                  </a:cubicBezTo>
                  <a:cubicBezTo>
                    <a:pt x="427" y="123"/>
                    <a:pt x="427" y="123"/>
                    <a:pt x="427" y="123"/>
                  </a:cubicBezTo>
                  <a:cubicBezTo>
                    <a:pt x="429" y="117"/>
                    <a:pt x="427" y="111"/>
                    <a:pt x="423" y="108"/>
                  </a:cubicBezTo>
                  <a:cubicBezTo>
                    <a:pt x="418" y="104"/>
                    <a:pt x="411" y="104"/>
                    <a:pt x="407" y="108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24" y="6"/>
                    <a:pt x="279" y="0"/>
                    <a:pt x="277" y="0"/>
                  </a:cubicBezTo>
                  <a:cubicBezTo>
                    <a:pt x="276" y="0"/>
                    <a:pt x="276" y="0"/>
                    <a:pt x="2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2" y="5"/>
                    <a:pt x="1" y="11"/>
                  </a:cubicBezTo>
                  <a:cubicBezTo>
                    <a:pt x="0" y="17"/>
                    <a:pt x="4" y="23"/>
                    <a:pt x="10" y="25"/>
                  </a:cubicBezTo>
                  <a:cubicBezTo>
                    <a:pt x="79" y="48"/>
                    <a:pt x="99" y="87"/>
                    <a:pt x="99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97" y="249"/>
                    <a:pt x="197" y="249"/>
                    <a:pt x="197" y="249"/>
                  </a:cubicBezTo>
                  <a:lnTo>
                    <a:pt x="182" y="260"/>
                  </a:lnTo>
                  <a:close/>
                  <a:moveTo>
                    <a:pt x="122" y="75"/>
                  </a:moveTo>
                  <a:cubicBezTo>
                    <a:pt x="120" y="70"/>
                    <a:pt x="107" y="48"/>
                    <a:pt x="72" y="26"/>
                  </a:cubicBezTo>
                  <a:cubicBezTo>
                    <a:pt x="275" y="26"/>
                    <a:pt x="275" y="26"/>
                    <a:pt x="275" y="26"/>
                  </a:cubicBezTo>
                  <a:cubicBezTo>
                    <a:pt x="279" y="27"/>
                    <a:pt x="309" y="32"/>
                    <a:pt x="322" y="52"/>
                  </a:cubicBezTo>
                  <a:cubicBezTo>
                    <a:pt x="377" y="145"/>
                    <a:pt x="377" y="145"/>
                    <a:pt x="377" y="145"/>
                  </a:cubicBezTo>
                  <a:cubicBezTo>
                    <a:pt x="378" y="149"/>
                    <a:pt x="382" y="151"/>
                    <a:pt x="385" y="152"/>
                  </a:cubicBezTo>
                  <a:cubicBezTo>
                    <a:pt x="386" y="152"/>
                    <a:pt x="387" y="152"/>
                    <a:pt x="388" y="152"/>
                  </a:cubicBezTo>
                  <a:cubicBezTo>
                    <a:pt x="345" y="262"/>
                    <a:pt x="345" y="262"/>
                    <a:pt x="345" y="262"/>
                  </a:cubicBezTo>
                  <a:cubicBezTo>
                    <a:pt x="226" y="258"/>
                    <a:pt x="226" y="258"/>
                    <a:pt x="226" y="258"/>
                  </a:cubicBezTo>
                  <a:cubicBezTo>
                    <a:pt x="228" y="254"/>
                    <a:pt x="228" y="249"/>
                    <a:pt x="225" y="245"/>
                  </a:cubicBezTo>
                  <a:lnTo>
                    <a:pt x="122" y="7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1" name="Freeform 92"/>
            <p:cNvSpPr>
              <a:spLocks noEditPoints="1"/>
            </p:cNvSpPr>
            <p:nvPr/>
          </p:nvSpPr>
          <p:spPr bwMode="auto">
            <a:xfrm>
              <a:off x="5183" y="3497"/>
              <a:ext cx="115" cy="111"/>
            </a:xfrm>
            <a:custGeom>
              <a:avLst/>
              <a:gdLst>
                <a:gd name="T0" fmla="*/ 197 w 349"/>
                <a:gd name="T1" fmla="*/ 2 h 335"/>
                <a:gd name="T2" fmla="*/ 104 w 349"/>
                <a:gd name="T3" fmla="*/ 42 h 335"/>
                <a:gd name="T4" fmla="*/ 2 w 349"/>
                <a:gd name="T5" fmla="*/ 208 h 335"/>
                <a:gd name="T6" fmla="*/ 0 w 349"/>
                <a:gd name="T7" fmla="*/ 217 h 335"/>
                <a:gd name="T8" fmla="*/ 6 w 349"/>
                <a:gd name="T9" fmla="*/ 226 h 335"/>
                <a:gd name="T10" fmla="*/ 186 w 349"/>
                <a:gd name="T11" fmla="*/ 333 h 335"/>
                <a:gd name="T12" fmla="*/ 193 w 349"/>
                <a:gd name="T13" fmla="*/ 335 h 335"/>
                <a:gd name="T14" fmla="*/ 204 w 349"/>
                <a:gd name="T15" fmla="*/ 328 h 335"/>
                <a:gd name="T16" fmla="*/ 346 w 349"/>
                <a:gd name="T17" fmla="*/ 95 h 335"/>
                <a:gd name="T18" fmla="*/ 347 w 349"/>
                <a:gd name="T19" fmla="*/ 83 h 335"/>
                <a:gd name="T20" fmla="*/ 197 w 349"/>
                <a:gd name="T21" fmla="*/ 2 h 335"/>
                <a:gd name="T22" fmla="*/ 188 w 349"/>
                <a:gd name="T23" fmla="*/ 304 h 335"/>
                <a:gd name="T24" fmla="*/ 31 w 349"/>
                <a:gd name="T25" fmla="*/ 210 h 335"/>
                <a:gd name="T26" fmla="*/ 126 w 349"/>
                <a:gd name="T27" fmla="*/ 56 h 335"/>
                <a:gd name="T28" fmla="*/ 196 w 349"/>
                <a:gd name="T29" fmla="*/ 28 h 335"/>
                <a:gd name="T30" fmla="*/ 197 w 349"/>
                <a:gd name="T31" fmla="*/ 28 h 335"/>
                <a:gd name="T32" fmla="*/ 320 w 349"/>
                <a:gd name="T33" fmla="*/ 88 h 335"/>
                <a:gd name="T34" fmla="*/ 188 w 349"/>
                <a:gd name="T35" fmla="*/ 30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9" h="335">
                  <a:moveTo>
                    <a:pt x="197" y="2"/>
                  </a:moveTo>
                  <a:cubicBezTo>
                    <a:pt x="191" y="2"/>
                    <a:pt x="131" y="0"/>
                    <a:pt x="104" y="42"/>
                  </a:cubicBezTo>
                  <a:cubicBezTo>
                    <a:pt x="2" y="208"/>
                    <a:pt x="2" y="208"/>
                    <a:pt x="2" y="208"/>
                  </a:cubicBezTo>
                  <a:cubicBezTo>
                    <a:pt x="0" y="211"/>
                    <a:pt x="0" y="214"/>
                    <a:pt x="0" y="217"/>
                  </a:cubicBezTo>
                  <a:cubicBezTo>
                    <a:pt x="1" y="221"/>
                    <a:pt x="3" y="224"/>
                    <a:pt x="6" y="226"/>
                  </a:cubicBezTo>
                  <a:cubicBezTo>
                    <a:pt x="186" y="333"/>
                    <a:pt x="186" y="333"/>
                    <a:pt x="186" y="333"/>
                  </a:cubicBezTo>
                  <a:cubicBezTo>
                    <a:pt x="188" y="334"/>
                    <a:pt x="191" y="335"/>
                    <a:pt x="193" y="335"/>
                  </a:cubicBezTo>
                  <a:cubicBezTo>
                    <a:pt x="197" y="335"/>
                    <a:pt x="201" y="332"/>
                    <a:pt x="204" y="328"/>
                  </a:cubicBezTo>
                  <a:cubicBezTo>
                    <a:pt x="346" y="95"/>
                    <a:pt x="346" y="95"/>
                    <a:pt x="346" y="95"/>
                  </a:cubicBezTo>
                  <a:cubicBezTo>
                    <a:pt x="349" y="91"/>
                    <a:pt x="349" y="87"/>
                    <a:pt x="347" y="83"/>
                  </a:cubicBezTo>
                  <a:cubicBezTo>
                    <a:pt x="346" y="79"/>
                    <a:pt x="309" y="2"/>
                    <a:pt x="197" y="2"/>
                  </a:cubicBezTo>
                  <a:close/>
                  <a:moveTo>
                    <a:pt x="188" y="304"/>
                  </a:moveTo>
                  <a:cubicBezTo>
                    <a:pt x="31" y="210"/>
                    <a:pt x="31" y="210"/>
                    <a:pt x="31" y="210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45" y="26"/>
                    <a:pt x="195" y="28"/>
                    <a:pt x="196" y="28"/>
                  </a:cubicBezTo>
                  <a:cubicBezTo>
                    <a:pt x="196" y="28"/>
                    <a:pt x="196" y="28"/>
                    <a:pt x="197" y="28"/>
                  </a:cubicBezTo>
                  <a:cubicBezTo>
                    <a:pt x="276" y="28"/>
                    <a:pt x="310" y="72"/>
                    <a:pt x="320" y="88"/>
                  </a:cubicBezTo>
                  <a:lnTo>
                    <a:pt x="188" y="30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552" name="Freeform 93"/>
            <p:cNvSpPr>
              <a:spLocks noEditPoints="1"/>
            </p:cNvSpPr>
            <p:nvPr/>
          </p:nvSpPr>
          <p:spPr bwMode="auto">
            <a:xfrm>
              <a:off x="5322" y="3688"/>
              <a:ext cx="141" cy="107"/>
            </a:xfrm>
            <a:custGeom>
              <a:avLst/>
              <a:gdLst>
                <a:gd name="T0" fmla="*/ 420 w 426"/>
                <a:gd name="T1" fmla="*/ 4 h 321"/>
                <a:gd name="T2" fmla="*/ 403 w 426"/>
                <a:gd name="T3" fmla="*/ 4 h 321"/>
                <a:gd name="T4" fmla="*/ 305 w 426"/>
                <a:gd name="T5" fmla="*/ 51 h 321"/>
                <a:gd name="T6" fmla="*/ 304 w 426"/>
                <a:gd name="T7" fmla="*/ 51 h 321"/>
                <a:gd name="T8" fmla="*/ 116 w 426"/>
                <a:gd name="T9" fmla="*/ 54 h 321"/>
                <a:gd name="T10" fmla="*/ 114 w 426"/>
                <a:gd name="T11" fmla="*/ 36 h 321"/>
                <a:gd name="T12" fmla="*/ 104 w 426"/>
                <a:gd name="T13" fmla="*/ 25 h 321"/>
                <a:gd name="T14" fmla="*/ 90 w 426"/>
                <a:gd name="T15" fmla="*/ 31 h 321"/>
                <a:gd name="T16" fmla="*/ 3 w 426"/>
                <a:gd name="T17" fmla="*/ 170 h 321"/>
                <a:gd name="T18" fmla="*/ 4 w 426"/>
                <a:gd name="T19" fmla="*/ 185 h 321"/>
                <a:gd name="T20" fmla="*/ 110 w 426"/>
                <a:gd name="T21" fmla="*/ 316 h 321"/>
                <a:gd name="T22" fmla="*/ 120 w 426"/>
                <a:gd name="T23" fmla="*/ 321 h 321"/>
                <a:gd name="T24" fmla="*/ 125 w 426"/>
                <a:gd name="T25" fmla="*/ 320 h 321"/>
                <a:gd name="T26" fmla="*/ 133 w 426"/>
                <a:gd name="T27" fmla="*/ 307 h 321"/>
                <a:gd name="T28" fmla="*/ 130 w 426"/>
                <a:gd name="T29" fmla="*/ 287 h 321"/>
                <a:gd name="T30" fmla="*/ 224 w 426"/>
                <a:gd name="T31" fmla="*/ 287 h 321"/>
                <a:gd name="T32" fmla="*/ 291 w 426"/>
                <a:gd name="T33" fmla="*/ 248 h 321"/>
                <a:gd name="T34" fmla="*/ 292 w 426"/>
                <a:gd name="T35" fmla="*/ 247 h 321"/>
                <a:gd name="T36" fmla="*/ 423 w 426"/>
                <a:gd name="T37" fmla="*/ 20 h 321"/>
                <a:gd name="T38" fmla="*/ 420 w 426"/>
                <a:gd name="T39" fmla="*/ 4 h 321"/>
                <a:gd name="T40" fmla="*/ 270 w 426"/>
                <a:gd name="T41" fmla="*/ 233 h 321"/>
                <a:gd name="T42" fmla="*/ 224 w 426"/>
                <a:gd name="T43" fmla="*/ 261 h 321"/>
                <a:gd name="T44" fmla="*/ 115 w 426"/>
                <a:gd name="T45" fmla="*/ 262 h 321"/>
                <a:gd name="T46" fmla="*/ 106 w 426"/>
                <a:gd name="T47" fmla="*/ 266 h 321"/>
                <a:gd name="T48" fmla="*/ 104 w 426"/>
                <a:gd name="T49" fmla="*/ 268 h 321"/>
                <a:gd name="T50" fmla="*/ 30 w 426"/>
                <a:gd name="T51" fmla="*/ 176 h 321"/>
                <a:gd name="T52" fmla="*/ 93 w 426"/>
                <a:gd name="T53" fmla="*/ 74 h 321"/>
                <a:gd name="T54" fmla="*/ 104 w 426"/>
                <a:gd name="T55" fmla="*/ 81 h 321"/>
                <a:gd name="T56" fmla="*/ 104 w 426"/>
                <a:gd name="T57" fmla="*/ 81 h 321"/>
                <a:gd name="T58" fmla="*/ 304 w 426"/>
                <a:gd name="T59" fmla="*/ 77 h 321"/>
                <a:gd name="T60" fmla="*/ 371 w 426"/>
                <a:gd name="T61" fmla="*/ 58 h 321"/>
                <a:gd name="T62" fmla="*/ 270 w 426"/>
                <a:gd name="T63" fmla="*/ 23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6" h="321">
                  <a:moveTo>
                    <a:pt x="420" y="4"/>
                  </a:moveTo>
                  <a:cubicBezTo>
                    <a:pt x="415" y="0"/>
                    <a:pt x="408" y="0"/>
                    <a:pt x="403" y="4"/>
                  </a:cubicBezTo>
                  <a:cubicBezTo>
                    <a:pt x="348" y="53"/>
                    <a:pt x="305" y="51"/>
                    <a:pt x="305" y="51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3" y="31"/>
                    <a:pt x="109" y="26"/>
                    <a:pt x="104" y="25"/>
                  </a:cubicBezTo>
                  <a:cubicBezTo>
                    <a:pt x="98" y="24"/>
                    <a:pt x="93" y="26"/>
                    <a:pt x="90" y="31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0" y="174"/>
                    <a:pt x="1" y="180"/>
                    <a:pt x="4" y="185"/>
                  </a:cubicBezTo>
                  <a:cubicBezTo>
                    <a:pt x="110" y="316"/>
                    <a:pt x="110" y="316"/>
                    <a:pt x="110" y="316"/>
                  </a:cubicBezTo>
                  <a:cubicBezTo>
                    <a:pt x="112" y="320"/>
                    <a:pt x="116" y="321"/>
                    <a:pt x="120" y="321"/>
                  </a:cubicBezTo>
                  <a:cubicBezTo>
                    <a:pt x="121" y="321"/>
                    <a:pt x="123" y="321"/>
                    <a:pt x="125" y="320"/>
                  </a:cubicBezTo>
                  <a:cubicBezTo>
                    <a:pt x="130" y="318"/>
                    <a:pt x="133" y="312"/>
                    <a:pt x="133" y="307"/>
                  </a:cubicBezTo>
                  <a:cubicBezTo>
                    <a:pt x="130" y="287"/>
                    <a:pt x="130" y="287"/>
                    <a:pt x="130" y="287"/>
                  </a:cubicBezTo>
                  <a:cubicBezTo>
                    <a:pt x="224" y="287"/>
                    <a:pt x="224" y="287"/>
                    <a:pt x="224" y="287"/>
                  </a:cubicBezTo>
                  <a:cubicBezTo>
                    <a:pt x="263" y="286"/>
                    <a:pt x="290" y="249"/>
                    <a:pt x="291" y="248"/>
                  </a:cubicBezTo>
                  <a:cubicBezTo>
                    <a:pt x="291" y="248"/>
                    <a:pt x="292" y="247"/>
                    <a:pt x="292" y="247"/>
                  </a:cubicBezTo>
                  <a:cubicBezTo>
                    <a:pt x="423" y="20"/>
                    <a:pt x="423" y="20"/>
                    <a:pt x="423" y="20"/>
                  </a:cubicBezTo>
                  <a:cubicBezTo>
                    <a:pt x="426" y="15"/>
                    <a:pt x="425" y="8"/>
                    <a:pt x="420" y="4"/>
                  </a:cubicBezTo>
                  <a:close/>
                  <a:moveTo>
                    <a:pt x="270" y="233"/>
                  </a:moveTo>
                  <a:cubicBezTo>
                    <a:pt x="267" y="237"/>
                    <a:pt x="247" y="260"/>
                    <a:pt x="224" y="261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2" y="262"/>
                    <a:pt x="108" y="263"/>
                    <a:pt x="106" y="266"/>
                  </a:cubicBezTo>
                  <a:cubicBezTo>
                    <a:pt x="105" y="267"/>
                    <a:pt x="105" y="267"/>
                    <a:pt x="104" y="268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5" y="78"/>
                    <a:pt x="99" y="81"/>
                    <a:pt x="104" y="8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9" y="77"/>
                    <a:pt x="335" y="77"/>
                    <a:pt x="371" y="58"/>
                  </a:cubicBezTo>
                  <a:lnTo>
                    <a:pt x="270" y="2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3" name="Freeform 94"/>
            <p:cNvSpPr>
              <a:spLocks noEditPoints="1"/>
            </p:cNvSpPr>
            <p:nvPr/>
          </p:nvSpPr>
          <p:spPr bwMode="auto">
            <a:xfrm>
              <a:off x="5364" y="3577"/>
              <a:ext cx="109" cy="123"/>
            </a:xfrm>
            <a:custGeom>
              <a:avLst/>
              <a:gdLst>
                <a:gd name="T0" fmla="*/ 304 w 329"/>
                <a:gd name="T1" fmla="*/ 172 h 371"/>
                <a:gd name="T2" fmla="*/ 202 w 329"/>
                <a:gd name="T3" fmla="*/ 7 h 371"/>
                <a:gd name="T4" fmla="*/ 194 w 329"/>
                <a:gd name="T5" fmla="*/ 1 h 371"/>
                <a:gd name="T6" fmla="*/ 184 w 329"/>
                <a:gd name="T7" fmla="*/ 2 h 371"/>
                <a:gd name="T8" fmla="*/ 8 w 329"/>
                <a:gd name="T9" fmla="*/ 115 h 371"/>
                <a:gd name="T10" fmla="*/ 4 w 329"/>
                <a:gd name="T11" fmla="*/ 133 h 371"/>
                <a:gd name="T12" fmla="*/ 148 w 329"/>
                <a:gd name="T13" fmla="*/ 365 h 371"/>
                <a:gd name="T14" fmla="*/ 159 w 329"/>
                <a:gd name="T15" fmla="*/ 371 h 371"/>
                <a:gd name="T16" fmla="*/ 160 w 329"/>
                <a:gd name="T17" fmla="*/ 371 h 371"/>
                <a:gd name="T18" fmla="*/ 298 w 329"/>
                <a:gd name="T19" fmla="*/ 273 h 371"/>
                <a:gd name="T20" fmla="*/ 304 w 329"/>
                <a:gd name="T21" fmla="*/ 172 h 371"/>
                <a:gd name="T22" fmla="*/ 276 w 329"/>
                <a:gd name="T23" fmla="*/ 261 h 371"/>
                <a:gd name="T24" fmla="*/ 275 w 329"/>
                <a:gd name="T25" fmla="*/ 261 h 371"/>
                <a:gd name="T26" fmla="*/ 166 w 329"/>
                <a:gd name="T27" fmla="*/ 345 h 371"/>
                <a:gd name="T28" fmla="*/ 32 w 329"/>
                <a:gd name="T29" fmla="*/ 130 h 371"/>
                <a:gd name="T30" fmla="*/ 187 w 329"/>
                <a:gd name="T31" fmla="*/ 31 h 371"/>
                <a:gd name="T32" fmla="*/ 282 w 329"/>
                <a:gd name="T33" fmla="*/ 185 h 371"/>
                <a:gd name="T34" fmla="*/ 276 w 329"/>
                <a:gd name="T35" fmla="*/ 26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9" h="371">
                  <a:moveTo>
                    <a:pt x="304" y="172"/>
                  </a:moveTo>
                  <a:cubicBezTo>
                    <a:pt x="202" y="7"/>
                    <a:pt x="202" y="7"/>
                    <a:pt x="202" y="7"/>
                  </a:cubicBezTo>
                  <a:cubicBezTo>
                    <a:pt x="200" y="4"/>
                    <a:pt x="197" y="1"/>
                    <a:pt x="194" y="1"/>
                  </a:cubicBezTo>
                  <a:cubicBezTo>
                    <a:pt x="191" y="0"/>
                    <a:pt x="187" y="1"/>
                    <a:pt x="184" y="2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2" y="119"/>
                    <a:pt x="0" y="127"/>
                    <a:pt x="4" y="133"/>
                  </a:cubicBezTo>
                  <a:cubicBezTo>
                    <a:pt x="148" y="365"/>
                    <a:pt x="148" y="365"/>
                    <a:pt x="148" y="365"/>
                  </a:cubicBezTo>
                  <a:cubicBezTo>
                    <a:pt x="150" y="368"/>
                    <a:pt x="154" y="371"/>
                    <a:pt x="159" y="371"/>
                  </a:cubicBezTo>
                  <a:cubicBezTo>
                    <a:pt x="159" y="371"/>
                    <a:pt x="159" y="371"/>
                    <a:pt x="160" y="371"/>
                  </a:cubicBezTo>
                  <a:cubicBezTo>
                    <a:pt x="172" y="371"/>
                    <a:pt x="251" y="367"/>
                    <a:pt x="298" y="273"/>
                  </a:cubicBezTo>
                  <a:cubicBezTo>
                    <a:pt x="301" y="268"/>
                    <a:pt x="329" y="215"/>
                    <a:pt x="304" y="172"/>
                  </a:cubicBezTo>
                  <a:close/>
                  <a:moveTo>
                    <a:pt x="276" y="261"/>
                  </a:moveTo>
                  <a:cubicBezTo>
                    <a:pt x="275" y="261"/>
                    <a:pt x="275" y="261"/>
                    <a:pt x="275" y="261"/>
                  </a:cubicBezTo>
                  <a:cubicBezTo>
                    <a:pt x="240" y="332"/>
                    <a:pt x="185" y="343"/>
                    <a:pt x="166" y="345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282" y="185"/>
                    <a:pt x="282" y="185"/>
                    <a:pt x="282" y="185"/>
                  </a:cubicBezTo>
                  <a:cubicBezTo>
                    <a:pt x="300" y="216"/>
                    <a:pt x="276" y="260"/>
                    <a:pt x="276" y="26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4" name="Freeform 95"/>
            <p:cNvSpPr>
              <a:spLocks noEditPoints="1"/>
            </p:cNvSpPr>
            <p:nvPr/>
          </p:nvSpPr>
          <p:spPr bwMode="auto">
            <a:xfrm>
              <a:off x="5130" y="3602"/>
              <a:ext cx="103" cy="150"/>
            </a:xfrm>
            <a:custGeom>
              <a:avLst/>
              <a:gdLst>
                <a:gd name="T0" fmla="*/ 291 w 311"/>
                <a:gd name="T1" fmla="*/ 171 h 452"/>
                <a:gd name="T2" fmla="*/ 306 w 311"/>
                <a:gd name="T3" fmla="*/ 168 h 452"/>
                <a:gd name="T4" fmla="*/ 308 w 311"/>
                <a:gd name="T5" fmla="*/ 153 h 452"/>
                <a:gd name="T6" fmla="*/ 233 w 311"/>
                <a:gd name="T7" fmla="*/ 8 h 452"/>
                <a:gd name="T8" fmla="*/ 219 w 311"/>
                <a:gd name="T9" fmla="*/ 1 h 452"/>
                <a:gd name="T10" fmla="*/ 52 w 311"/>
                <a:gd name="T11" fmla="*/ 24 h 452"/>
                <a:gd name="T12" fmla="*/ 41 w 311"/>
                <a:gd name="T13" fmla="*/ 36 h 452"/>
                <a:gd name="T14" fmla="*/ 49 w 311"/>
                <a:gd name="T15" fmla="*/ 49 h 452"/>
                <a:gd name="T16" fmla="*/ 67 w 311"/>
                <a:gd name="T17" fmla="*/ 57 h 452"/>
                <a:gd name="T18" fmla="*/ 19 w 311"/>
                <a:gd name="T19" fmla="*/ 138 h 452"/>
                <a:gd name="T20" fmla="*/ 18 w 311"/>
                <a:gd name="T21" fmla="*/ 215 h 452"/>
                <a:gd name="T22" fmla="*/ 19 w 311"/>
                <a:gd name="T23" fmla="*/ 217 h 452"/>
                <a:gd name="T24" fmla="*/ 147 w 311"/>
                <a:gd name="T25" fmla="*/ 445 h 452"/>
                <a:gd name="T26" fmla="*/ 158 w 311"/>
                <a:gd name="T27" fmla="*/ 452 h 452"/>
                <a:gd name="T28" fmla="*/ 162 w 311"/>
                <a:gd name="T29" fmla="*/ 451 h 452"/>
                <a:gd name="T30" fmla="*/ 171 w 311"/>
                <a:gd name="T31" fmla="*/ 436 h 452"/>
                <a:gd name="T32" fmla="*/ 181 w 311"/>
                <a:gd name="T33" fmla="*/ 328 h 452"/>
                <a:gd name="T34" fmla="*/ 181 w 311"/>
                <a:gd name="T35" fmla="*/ 327 h 452"/>
                <a:gd name="T36" fmla="*/ 274 w 311"/>
                <a:gd name="T37" fmla="*/ 164 h 452"/>
                <a:gd name="T38" fmla="*/ 291 w 311"/>
                <a:gd name="T39" fmla="*/ 171 h 452"/>
                <a:gd name="T40" fmla="*/ 258 w 311"/>
                <a:gd name="T41" fmla="*/ 141 h 452"/>
                <a:gd name="T42" fmla="*/ 159 w 311"/>
                <a:gd name="T43" fmla="*/ 314 h 452"/>
                <a:gd name="T44" fmla="*/ 141 w 311"/>
                <a:gd name="T45" fmla="*/ 381 h 452"/>
                <a:gd name="T46" fmla="*/ 42 w 311"/>
                <a:gd name="T47" fmla="*/ 205 h 452"/>
                <a:gd name="T48" fmla="*/ 42 w 311"/>
                <a:gd name="T49" fmla="*/ 151 h 452"/>
                <a:gd name="T50" fmla="*/ 96 w 311"/>
                <a:gd name="T51" fmla="*/ 57 h 452"/>
                <a:gd name="T52" fmla="*/ 98 w 311"/>
                <a:gd name="T53" fmla="*/ 47 h 452"/>
                <a:gd name="T54" fmla="*/ 97 w 311"/>
                <a:gd name="T55" fmla="*/ 44 h 452"/>
                <a:gd name="T56" fmla="*/ 214 w 311"/>
                <a:gd name="T57" fmla="*/ 28 h 452"/>
                <a:gd name="T58" fmla="*/ 269 w 311"/>
                <a:gd name="T59" fmla="*/ 134 h 452"/>
                <a:gd name="T60" fmla="*/ 258 w 311"/>
                <a:gd name="T61" fmla="*/ 1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452">
                  <a:moveTo>
                    <a:pt x="291" y="171"/>
                  </a:moveTo>
                  <a:cubicBezTo>
                    <a:pt x="296" y="173"/>
                    <a:pt x="302" y="172"/>
                    <a:pt x="306" y="168"/>
                  </a:cubicBezTo>
                  <a:cubicBezTo>
                    <a:pt x="310" y="164"/>
                    <a:pt x="311" y="158"/>
                    <a:pt x="308" y="153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0" y="3"/>
                    <a:pt x="225" y="0"/>
                    <a:pt x="219" y="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6" y="25"/>
                    <a:pt x="42" y="30"/>
                    <a:pt x="41" y="36"/>
                  </a:cubicBezTo>
                  <a:cubicBezTo>
                    <a:pt x="40" y="41"/>
                    <a:pt x="44" y="47"/>
                    <a:pt x="49" y="49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72"/>
                    <a:pt x="18" y="214"/>
                    <a:pt x="18" y="215"/>
                  </a:cubicBezTo>
                  <a:cubicBezTo>
                    <a:pt x="18" y="216"/>
                    <a:pt x="19" y="216"/>
                    <a:pt x="19" y="217"/>
                  </a:cubicBezTo>
                  <a:cubicBezTo>
                    <a:pt x="147" y="445"/>
                    <a:pt x="147" y="445"/>
                    <a:pt x="147" y="445"/>
                  </a:cubicBezTo>
                  <a:cubicBezTo>
                    <a:pt x="149" y="449"/>
                    <a:pt x="153" y="452"/>
                    <a:pt x="158" y="452"/>
                  </a:cubicBezTo>
                  <a:cubicBezTo>
                    <a:pt x="159" y="452"/>
                    <a:pt x="161" y="451"/>
                    <a:pt x="162" y="451"/>
                  </a:cubicBezTo>
                  <a:cubicBezTo>
                    <a:pt x="168" y="449"/>
                    <a:pt x="172" y="442"/>
                    <a:pt x="171" y="436"/>
                  </a:cubicBezTo>
                  <a:cubicBezTo>
                    <a:pt x="157" y="365"/>
                    <a:pt x="181" y="328"/>
                    <a:pt x="181" y="328"/>
                  </a:cubicBezTo>
                  <a:cubicBezTo>
                    <a:pt x="181" y="328"/>
                    <a:pt x="181" y="327"/>
                    <a:pt x="181" y="327"/>
                  </a:cubicBezTo>
                  <a:cubicBezTo>
                    <a:pt x="274" y="164"/>
                    <a:pt x="274" y="164"/>
                    <a:pt x="274" y="164"/>
                  </a:cubicBezTo>
                  <a:lnTo>
                    <a:pt x="291" y="171"/>
                  </a:lnTo>
                  <a:close/>
                  <a:moveTo>
                    <a:pt x="258" y="141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6" y="318"/>
                    <a:pt x="143" y="340"/>
                    <a:pt x="141" y="381"/>
                  </a:cubicBezTo>
                  <a:cubicBezTo>
                    <a:pt x="42" y="205"/>
                    <a:pt x="42" y="205"/>
                    <a:pt x="42" y="205"/>
                  </a:cubicBezTo>
                  <a:cubicBezTo>
                    <a:pt x="40" y="200"/>
                    <a:pt x="30" y="171"/>
                    <a:pt x="42" y="151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4"/>
                    <a:pt x="99" y="50"/>
                    <a:pt x="98" y="47"/>
                  </a:cubicBezTo>
                  <a:cubicBezTo>
                    <a:pt x="97" y="46"/>
                    <a:pt x="97" y="45"/>
                    <a:pt x="97" y="44"/>
                  </a:cubicBezTo>
                  <a:cubicBezTo>
                    <a:pt x="214" y="28"/>
                    <a:pt x="214" y="28"/>
                    <a:pt x="214" y="28"/>
                  </a:cubicBezTo>
                  <a:cubicBezTo>
                    <a:pt x="269" y="134"/>
                    <a:pt x="269" y="134"/>
                    <a:pt x="269" y="134"/>
                  </a:cubicBezTo>
                  <a:cubicBezTo>
                    <a:pt x="264" y="134"/>
                    <a:pt x="260" y="136"/>
                    <a:pt x="258" y="14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5" name="Freeform 96"/>
            <p:cNvSpPr>
              <a:spLocks noEditPoints="1"/>
            </p:cNvSpPr>
            <p:nvPr/>
          </p:nvSpPr>
          <p:spPr bwMode="auto">
            <a:xfrm>
              <a:off x="5182" y="3708"/>
              <a:ext cx="115" cy="79"/>
            </a:xfrm>
            <a:custGeom>
              <a:avLst/>
              <a:gdLst>
                <a:gd name="T0" fmla="*/ 334 w 348"/>
                <a:gd name="T1" fmla="*/ 0 h 236"/>
                <a:gd name="T2" fmla="*/ 60 w 348"/>
                <a:gd name="T3" fmla="*/ 0 h 236"/>
                <a:gd name="T4" fmla="*/ 60 w 348"/>
                <a:gd name="T5" fmla="*/ 0 h 236"/>
                <a:gd name="T6" fmla="*/ 49 w 348"/>
                <a:gd name="T7" fmla="*/ 5 h 236"/>
                <a:gd name="T8" fmla="*/ 58 w 348"/>
                <a:gd name="T9" fmla="*/ 176 h 236"/>
                <a:gd name="T10" fmla="*/ 140 w 348"/>
                <a:gd name="T11" fmla="*/ 234 h 236"/>
                <a:gd name="T12" fmla="*/ 335 w 348"/>
                <a:gd name="T13" fmla="*/ 236 h 236"/>
                <a:gd name="T14" fmla="*/ 335 w 348"/>
                <a:gd name="T15" fmla="*/ 236 h 236"/>
                <a:gd name="T16" fmla="*/ 344 w 348"/>
                <a:gd name="T17" fmla="*/ 232 h 236"/>
                <a:gd name="T18" fmla="*/ 348 w 348"/>
                <a:gd name="T19" fmla="*/ 223 h 236"/>
                <a:gd name="T20" fmla="*/ 346 w 348"/>
                <a:gd name="T21" fmla="*/ 13 h 236"/>
                <a:gd name="T22" fmla="*/ 334 w 348"/>
                <a:gd name="T23" fmla="*/ 0 h 236"/>
                <a:gd name="T24" fmla="*/ 141 w 348"/>
                <a:gd name="T25" fmla="*/ 208 h 236"/>
                <a:gd name="T26" fmla="*/ 81 w 348"/>
                <a:gd name="T27" fmla="*/ 163 h 236"/>
                <a:gd name="T28" fmla="*/ 80 w 348"/>
                <a:gd name="T29" fmla="*/ 163 h 236"/>
                <a:gd name="T30" fmla="*/ 68 w 348"/>
                <a:gd name="T31" fmla="*/ 26 h 236"/>
                <a:gd name="T32" fmla="*/ 321 w 348"/>
                <a:gd name="T33" fmla="*/ 26 h 236"/>
                <a:gd name="T34" fmla="*/ 322 w 348"/>
                <a:gd name="T35" fmla="*/ 210 h 236"/>
                <a:gd name="T36" fmla="*/ 141 w 348"/>
                <a:gd name="T37" fmla="*/ 20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8" h="236">
                  <a:moveTo>
                    <a:pt x="33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6" y="0"/>
                    <a:pt x="52" y="2"/>
                    <a:pt x="49" y="5"/>
                  </a:cubicBezTo>
                  <a:cubicBezTo>
                    <a:pt x="47" y="8"/>
                    <a:pt x="0" y="80"/>
                    <a:pt x="58" y="176"/>
                  </a:cubicBezTo>
                  <a:cubicBezTo>
                    <a:pt x="61" y="181"/>
                    <a:pt x="91" y="233"/>
                    <a:pt x="140" y="234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8" y="236"/>
                    <a:pt x="342" y="234"/>
                    <a:pt x="344" y="232"/>
                  </a:cubicBezTo>
                  <a:cubicBezTo>
                    <a:pt x="347" y="230"/>
                    <a:pt x="348" y="226"/>
                    <a:pt x="348" y="223"/>
                  </a:cubicBezTo>
                  <a:cubicBezTo>
                    <a:pt x="346" y="13"/>
                    <a:pt x="346" y="13"/>
                    <a:pt x="346" y="13"/>
                  </a:cubicBezTo>
                  <a:cubicBezTo>
                    <a:pt x="346" y="6"/>
                    <a:pt x="341" y="1"/>
                    <a:pt x="334" y="0"/>
                  </a:cubicBezTo>
                  <a:close/>
                  <a:moveTo>
                    <a:pt x="141" y="208"/>
                  </a:moveTo>
                  <a:cubicBezTo>
                    <a:pt x="105" y="207"/>
                    <a:pt x="81" y="163"/>
                    <a:pt x="81" y="163"/>
                  </a:cubicBezTo>
                  <a:cubicBezTo>
                    <a:pt x="81" y="163"/>
                    <a:pt x="80" y="163"/>
                    <a:pt x="80" y="163"/>
                  </a:cubicBezTo>
                  <a:cubicBezTo>
                    <a:pt x="39" y="95"/>
                    <a:pt x="59" y="42"/>
                    <a:pt x="68" y="26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2" y="210"/>
                    <a:pt x="322" y="210"/>
                    <a:pt x="322" y="210"/>
                  </a:cubicBezTo>
                  <a:lnTo>
                    <a:pt x="141" y="20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56" name="Freeform 97"/>
            <p:cNvSpPr>
              <a:spLocks noEditPoints="1"/>
            </p:cNvSpPr>
            <p:nvPr/>
          </p:nvSpPr>
          <p:spPr bwMode="auto">
            <a:xfrm>
              <a:off x="5057" y="3399"/>
              <a:ext cx="489" cy="49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14" name="Group 47113">
            <a:extLst>
              <a:ext uri="{FF2B5EF4-FFF2-40B4-BE49-F238E27FC236}">
                <a16:creationId xmlns:a16="http://schemas.microsoft.com/office/drawing/2014/main" id="{7F74038A-9E63-426A-809F-CFB025D28C0C}"/>
              </a:ext>
            </a:extLst>
          </p:cNvPr>
          <p:cNvGrpSpPr/>
          <p:nvPr/>
        </p:nvGrpSpPr>
        <p:grpSpPr>
          <a:xfrm>
            <a:off x="8080375" y="4187825"/>
            <a:ext cx="768350" cy="768350"/>
            <a:chOff x="8080375" y="4187825"/>
            <a:chExt cx="768350" cy="768350"/>
          </a:xfrm>
        </p:grpSpPr>
        <p:sp>
          <p:nvSpPr>
            <p:cNvPr id="47105" name="AutoShape 3">
              <a:extLst>
                <a:ext uri="{FF2B5EF4-FFF2-40B4-BE49-F238E27FC236}">
                  <a16:creationId xmlns:a16="http://schemas.microsoft.com/office/drawing/2014/main" id="{2F576A60-B969-414E-963A-4D448A08F2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80375" y="418782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0" name="Freeform 5">
              <a:extLst>
                <a:ext uri="{FF2B5EF4-FFF2-40B4-BE49-F238E27FC236}">
                  <a16:creationId xmlns:a16="http://schemas.microsoft.com/office/drawing/2014/main" id="{B0927F22-2A3E-47C8-83F8-D3532C713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0375" y="4187825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1" name="Freeform 6">
              <a:extLst>
                <a:ext uri="{FF2B5EF4-FFF2-40B4-BE49-F238E27FC236}">
                  <a16:creationId xmlns:a16="http://schemas.microsoft.com/office/drawing/2014/main" id="{9B195503-6409-400B-9F1F-2B74CC0F8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8175" y="4368800"/>
              <a:ext cx="147638" cy="269875"/>
            </a:xfrm>
            <a:custGeom>
              <a:avLst/>
              <a:gdLst>
                <a:gd name="T0" fmla="*/ 208 w 283"/>
                <a:gd name="T1" fmla="*/ 260 h 519"/>
                <a:gd name="T2" fmla="*/ 127 w 283"/>
                <a:gd name="T3" fmla="*/ 241 h 519"/>
                <a:gd name="T4" fmla="*/ 113 w 283"/>
                <a:gd name="T5" fmla="*/ 230 h 519"/>
                <a:gd name="T6" fmla="*/ 92 w 283"/>
                <a:gd name="T7" fmla="*/ 194 h 519"/>
                <a:gd name="T8" fmla="*/ 68 w 283"/>
                <a:gd name="T9" fmla="*/ 202 h 519"/>
                <a:gd name="T10" fmla="*/ 88 w 283"/>
                <a:gd name="T11" fmla="*/ 181 h 519"/>
                <a:gd name="T12" fmla="*/ 125 w 283"/>
                <a:gd name="T13" fmla="*/ 203 h 519"/>
                <a:gd name="T14" fmla="*/ 157 w 283"/>
                <a:gd name="T15" fmla="*/ 141 h 519"/>
                <a:gd name="T16" fmla="*/ 175 w 283"/>
                <a:gd name="T17" fmla="*/ 125 h 519"/>
                <a:gd name="T18" fmla="*/ 208 w 283"/>
                <a:gd name="T19" fmla="*/ 93 h 519"/>
                <a:gd name="T20" fmla="*/ 233 w 283"/>
                <a:gd name="T21" fmla="*/ 61 h 519"/>
                <a:gd name="T22" fmla="*/ 202 w 283"/>
                <a:gd name="T23" fmla="*/ 35 h 519"/>
                <a:gd name="T24" fmla="*/ 172 w 283"/>
                <a:gd name="T25" fmla="*/ 59 h 519"/>
                <a:gd name="T26" fmla="*/ 156 w 283"/>
                <a:gd name="T27" fmla="*/ 57 h 519"/>
                <a:gd name="T28" fmla="*/ 173 w 283"/>
                <a:gd name="T29" fmla="*/ 41 h 519"/>
                <a:gd name="T30" fmla="*/ 175 w 283"/>
                <a:gd name="T31" fmla="*/ 5 h 519"/>
                <a:gd name="T32" fmla="*/ 0 w 283"/>
                <a:gd name="T33" fmla="*/ 170 h 519"/>
                <a:gd name="T34" fmla="*/ 48 w 283"/>
                <a:gd name="T35" fmla="*/ 241 h 519"/>
                <a:gd name="T36" fmla="*/ 100 w 283"/>
                <a:gd name="T37" fmla="*/ 276 h 519"/>
                <a:gd name="T38" fmla="*/ 102 w 283"/>
                <a:gd name="T39" fmla="*/ 289 h 519"/>
                <a:gd name="T40" fmla="*/ 138 w 283"/>
                <a:gd name="T41" fmla="*/ 369 h 519"/>
                <a:gd name="T42" fmla="*/ 158 w 283"/>
                <a:gd name="T43" fmla="*/ 489 h 519"/>
                <a:gd name="T44" fmla="*/ 214 w 283"/>
                <a:gd name="T45" fmla="*/ 514 h 519"/>
                <a:gd name="T46" fmla="*/ 206 w 283"/>
                <a:gd name="T47" fmla="*/ 478 h 519"/>
                <a:gd name="T48" fmla="*/ 258 w 283"/>
                <a:gd name="T49" fmla="*/ 387 h 519"/>
                <a:gd name="T50" fmla="*/ 283 w 283"/>
                <a:gd name="T51" fmla="*/ 317 h 519"/>
                <a:gd name="T52" fmla="*/ 245 w 283"/>
                <a:gd name="T53" fmla="*/ 378 h 519"/>
                <a:gd name="T54" fmla="*/ 192 w 283"/>
                <a:gd name="T55" fmla="*/ 458 h 519"/>
                <a:gd name="T56" fmla="*/ 174 w 283"/>
                <a:gd name="T57" fmla="*/ 485 h 519"/>
                <a:gd name="T58" fmla="*/ 155 w 283"/>
                <a:gd name="T59" fmla="*/ 369 h 519"/>
                <a:gd name="T60" fmla="*/ 116 w 283"/>
                <a:gd name="T61" fmla="*/ 298 h 519"/>
                <a:gd name="T62" fmla="*/ 110 w 283"/>
                <a:gd name="T63" fmla="*/ 262 h 519"/>
                <a:gd name="T64" fmla="*/ 80 w 283"/>
                <a:gd name="T65" fmla="*/ 236 h 519"/>
                <a:gd name="T66" fmla="*/ 23 w 283"/>
                <a:gd name="T67" fmla="*/ 201 h 519"/>
                <a:gd name="T68" fmla="*/ 169 w 283"/>
                <a:gd name="T69" fmla="*/ 20 h 519"/>
                <a:gd name="T70" fmla="*/ 144 w 283"/>
                <a:gd name="T71" fmla="*/ 37 h 519"/>
                <a:gd name="T72" fmla="*/ 150 w 283"/>
                <a:gd name="T73" fmla="*/ 72 h 519"/>
                <a:gd name="T74" fmla="*/ 186 w 283"/>
                <a:gd name="T75" fmla="*/ 67 h 519"/>
                <a:gd name="T76" fmla="*/ 207 w 283"/>
                <a:gd name="T77" fmla="*/ 53 h 519"/>
                <a:gd name="T78" fmla="*/ 219 w 283"/>
                <a:gd name="T79" fmla="*/ 75 h 519"/>
                <a:gd name="T80" fmla="*/ 192 w 283"/>
                <a:gd name="T81" fmla="*/ 100 h 519"/>
                <a:gd name="T82" fmla="*/ 149 w 283"/>
                <a:gd name="T83" fmla="*/ 122 h 519"/>
                <a:gd name="T84" fmla="*/ 122 w 283"/>
                <a:gd name="T85" fmla="*/ 152 h 519"/>
                <a:gd name="T86" fmla="*/ 101 w 283"/>
                <a:gd name="T87" fmla="*/ 161 h 519"/>
                <a:gd name="T88" fmla="*/ 51 w 283"/>
                <a:gd name="T89" fmla="*/ 198 h 519"/>
                <a:gd name="T90" fmla="*/ 84 w 283"/>
                <a:gd name="T91" fmla="*/ 217 h 519"/>
                <a:gd name="T92" fmla="*/ 90 w 283"/>
                <a:gd name="T93" fmla="*/ 217 h 519"/>
                <a:gd name="T94" fmla="*/ 109 w 283"/>
                <a:gd name="T95" fmla="*/ 252 h 519"/>
                <a:gd name="T96" fmla="*/ 155 w 283"/>
                <a:gd name="T97" fmla="*/ 247 h 519"/>
                <a:gd name="T98" fmla="*/ 220 w 283"/>
                <a:gd name="T99" fmla="*/ 301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3" h="519">
                  <a:moveTo>
                    <a:pt x="270" y="300"/>
                  </a:moveTo>
                  <a:cubicBezTo>
                    <a:pt x="225" y="286"/>
                    <a:pt x="225" y="286"/>
                    <a:pt x="225" y="286"/>
                  </a:cubicBezTo>
                  <a:cubicBezTo>
                    <a:pt x="224" y="286"/>
                    <a:pt x="224" y="285"/>
                    <a:pt x="224" y="285"/>
                  </a:cubicBezTo>
                  <a:cubicBezTo>
                    <a:pt x="208" y="260"/>
                    <a:pt x="208" y="260"/>
                    <a:pt x="208" y="260"/>
                  </a:cubicBezTo>
                  <a:cubicBezTo>
                    <a:pt x="207" y="258"/>
                    <a:pt x="204" y="256"/>
                    <a:pt x="202" y="254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58" y="231"/>
                    <a:pt x="152" y="230"/>
                    <a:pt x="147" y="232"/>
                  </a:cubicBezTo>
                  <a:cubicBezTo>
                    <a:pt x="127" y="241"/>
                    <a:pt x="127" y="241"/>
                    <a:pt x="127" y="241"/>
                  </a:cubicBezTo>
                  <a:cubicBezTo>
                    <a:pt x="127" y="241"/>
                    <a:pt x="126" y="241"/>
                    <a:pt x="126" y="241"/>
                  </a:cubicBezTo>
                  <a:cubicBezTo>
                    <a:pt x="114" y="237"/>
                    <a:pt x="114" y="237"/>
                    <a:pt x="114" y="237"/>
                  </a:cubicBezTo>
                  <a:cubicBezTo>
                    <a:pt x="113" y="237"/>
                    <a:pt x="113" y="236"/>
                    <a:pt x="113" y="235"/>
                  </a:cubicBezTo>
                  <a:cubicBezTo>
                    <a:pt x="113" y="230"/>
                    <a:pt x="113" y="230"/>
                    <a:pt x="113" y="230"/>
                  </a:cubicBezTo>
                  <a:cubicBezTo>
                    <a:pt x="112" y="226"/>
                    <a:pt x="110" y="222"/>
                    <a:pt x="106" y="220"/>
                  </a:cubicBezTo>
                  <a:cubicBezTo>
                    <a:pt x="107" y="219"/>
                    <a:pt x="107" y="219"/>
                    <a:pt x="107" y="219"/>
                  </a:cubicBezTo>
                  <a:cubicBezTo>
                    <a:pt x="111" y="212"/>
                    <a:pt x="109" y="203"/>
                    <a:pt x="103" y="198"/>
                  </a:cubicBezTo>
                  <a:cubicBezTo>
                    <a:pt x="100" y="195"/>
                    <a:pt x="96" y="194"/>
                    <a:pt x="92" y="194"/>
                  </a:cubicBezTo>
                  <a:cubicBezTo>
                    <a:pt x="88" y="194"/>
                    <a:pt x="85" y="195"/>
                    <a:pt x="82" y="198"/>
                  </a:cubicBezTo>
                  <a:cubicBezTo>
                    <a:pt x="74" y="204"/>
                    <a:pt x="74" y="204"/>
                    <a:pt x="74" y="204"/>
                  </a:cubicBezTo>
                  <a:cubicBezTo>
                    <a:pt x="73" y="205"/>
                    <a:pt x="72" y="205"/>
                    <a:pt x="71" y="204"/>
                  </a:cubicBezTo>
                  <a:cubicBezTo>
                    <a:pt x="68" y="202"/>
                    <a:pt x="68" y="202"/>
                    <a:pt x="68" y="202"/>
                  </a:cubicBezTo>
                  <a:cubicBezTo>
                    <a:pt x="68" y="201"/>
                    <a:pt x="67" y="201"/>
                    <a:pt x="67" y="200"/>
                  </a:cubicBezTo>
                  <a:cubicBezTo>
                    <a:pt x="70" y="183"/>
                    <a:pt x="70" y="183"/>
                    <a:pt x="70" y="183"/>
                  </a:cubicBezTo>
                  <a:cubicBezTo>
                    <a:pt x="70" y="183"/>
                    <a:pt x="71" y="182"/>
                    <a:pt x="72" y="182"/>
                  </a:cubicBezTo>
                  <a:cubicBezTo>
                    <a:pt x="88" y="181"/>
                    <a:pt x="88" y="181"/>
                    <a:pt x="88" y="181"/>
                  </a:cubicBezTo>
                  <a:cubicBezTo>
                    <a:pt x="92" y="181"/>
                    <a:pt x="95" y="179"/>
                    <a:pt x="98" y="177"/>
                  </a:cubicBezTo>
                  <a:cubicBezTo>
                    <a:pt x="106" y="197"/>
                    <a:pt x="106" y="197"/>
                    <a:pt x="106" y="197"/>
                  </a:cubicBezTo>
                  <a:cubicBezTo>
                    <a:pt x="107" y="201"/>
                    <a:pt x="110" y="203"/>
                    <a:pt x="114" y="205"/>
                  </a:cubicBezTo>
                  <a:cubicBezTo>
                    <a:pt x="117" y="206"/>
                    <a:pt x="121" y="205"/>
                    <a:pt x="125" y="203"/>
                  </a:cubicBezTo>
                  <a:cubicBezTo>
                    <a:pt x="130" y="200"/>
                    <a:pt x="133" y="194"/>
                    <a:pt x="133" y="187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53" y="152"/>
                    <a:pt x="156" y="147"/>
                    <a:pt x="157" y="141"/>
                  </a:cubicBezTo>
                  <a:cubicBezTo>
                    <a:pt x="157" y="137"/>
                    <a:pt x="157" y="137"/>
                    <a:pt x="157" y="137"/>
                  </a:cubicBezTo>
                  <a:cubicBezTo>
                    <a:pt x="157" y="137"/>
                    <a:pt x="157" y="136"/>
                    <a:pt x="158" y="136"/>
                  </a:cubicBezTo>
                  <a:cubicBezTo>
                    <a:pt x="174" y="126"/>
                    <a:pt x="174" y="126"/>
                    <a:pt x="174" y="126"/>
                  </a:cubicBezTo>
                  <a:cubicBezTo>
                    <a:pt x="174" y="126"/>
                    <a:pt x="174" y="126"/>
                    <a:pt x="175" y="125"/>
                  </a:cubicBezTo>
                  <a:cubicBezTo>
                    <a:pt x="198" y="115"/>
                    <a:pt x="198" y="115"/>
                    <a:pt x="198" y="115"/>
                  </a:cubicBezTo>
                  <a:cubicBezTo>
                    <a:pt x="206" y="112"/>
                    <a:pt x="210" y="102"/>
                    <a:pt x="207" y="94"/>
                  </a:cubicBezTo>
                  <a:cubicBezTo>
                    <a:pt x="207" y="94"/>
                    <a:pt x="207" y="94"/>
                    <a:pt x="207" y="93"/>
                  </a:cubicBezTo>
                  <a:cubicBezTo>
                    <a:pt x="207" y="93"/>
                    <a:pt x="207" y="93"/>
                    <a:pt x="208" y="93"/>
                  </a:cubicBezTo>
                  <a:cubicBezTo>
                    <a:pt x="220" y="91"/>
                    <a:pt x="220" y="91"/>
                    <a:pt x="220" y="91"/>
                  </a:cubicBezTo>
                  <a:cubicBezTo>
                    <a:pt x="225" y="91"/>
                    <a:pt x="230" y="88"/>
                    <a:pt x="233" y="84"/>
                  </a:cubicBezTo>
                  <a:cubicBezTo>
                    <a:pt x="235" y="79"/>
                    <a:pt x="236" y="74"/>
                    <a:pt x="235" y="69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2" y="58"/>
                    <a:pt x="230" y="56"/>
                    <a:pt x="229" y="54"/>
                  </a:cubicBezTo>
                  <a:cubicBezTo>
                    <a:pt x="219" y="43"/>
                    <a:pt x="219" y="43"/>
                    <a:pt x="219" y="43"/>
                  </a:cubicBezTo>
                  <a:cubicBezTo>
                    <a:pt x="217" y="40"/>
                    <a:pt x="214" y="38"/>
                    <a:pt x="211" y="37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0" y="34"/>
                    <a:pt x="199" y="34"/>
                    <a:pt x="197" y="34"/>
                  </a:cubicBezTo>
                  <a:cubicBezTo>
                    <a:pt x="190" y="34"/>
                    <a:pt x="185" y="37"/>
                    <a:pt x="181" y="43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72" y="59"/>
                    <a:pt x="172" y="59"/>
                    <a:pt x="172" y="59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66"/>
                    <a:pt x="166" y="66"/>
                    <a:pt x="165" y="66"/>
                  </a:cubicBezTo>
                  <a:cubicBezTo>
                    <a:pt x="165" y="66"/>
                    <a:pt x="165" y="66"/>
                    <a:pt x="165" y="66"/>
                  </a:cubicBezTo>
                  <a:cubicBezTo>
                    <a:pt x="163" y="62"/>
                    <a:pt x="160" y="59"/>
                    <a:pt x="156" y="57"/>
                  </a:cubicBezTo>
                  <a:cubicBezTo>
                    <a:pt x="151" y="55"/>
                    <a:pt x="151" y="55"/>
                    <a:pt x="151" y="55"/>
                  </a:cubicBezTo>
                  <a:cubicBezTo>
                    <a:pt x="151" y="55"/>
                    <a:pt x="150" y="54"/>
                    <a:pt x="150" y="53"/>
                  </a:cubicBezTo>
                  <a:cubicBezTo>
                    <a:pt x="150" y="53"/>
                    <a:pt x="151" y="52"/>
                    <a:pt x="151" y="52"/>
                  </a:cubicBezTo>
                  <a:cubicBezTo>
                    <a:pt x="173" y="41"/>
                    <a:pt x="173" y="41"/>
                    <a:pt x="173" y="41"/>
                  </a:cubicBezTo>
                  <a:cubicBezTo>
                    <a:pt x="175" y="39"/>
                    <a:pt x="177" y="38"/>
                    <a:pt x="178" y="36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5" y="28"/>
                    <a:pt x="186" y="22"/>
                    <a:pt x="185" y="17"/>
                  </a:cubicBezTo>
                  <a:cubicBezTo>
                    <a:pt x="184" y="12"/>
                    <a:pt x="180" y="7"/>
                    <a:pt x="175" y="5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87" y="31"/>
                    <a:pt x="28" y="92"/>
                    <a:pt x="1" y="168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204"/>
                    <a:pt x="7" y="204"/>
                    <a:pt x="7" y="204"/>
                  </a:cubicBezTo>
                  <a:cubicBezTo>
                    <a:pt x="8" y="208"/>
                    <a:pt x="10" y="212"/>
                    <a:pt x="13" y="215"/>
                  </a:cubicBezTo>
                  <a:cubicBezTo>
                    <a:pt x="43" y="238"/>
                    <a:pt x="43" y="238"/>
                    <a:pt x="43" y="238"/>
                  </a:cubicBezTo>
                  <a:cubicBezTo>
                    <a:pt x="44" y="239"/>
                    <a:pt x="46" y="240"/>
                    <a:pt x="48" y="241"/>
                  </a:cubicBezTo>
                  <a:cubicBezTo>
                    <a:pt x="75" y="251"/>
                    <a:pt x="75" y="251"/>
                    <a:pt x="75" y="251"/>
                  </a:cubicBezTo>
                  <a:cubicBezTo>
                    <a:pt x="75" y="251"/>
                    <a:pt x="76" y="251"/>
                    <a:pt x="76" y="251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93" y="273"/>
                    <a:pt x="96" y="275"/>
                    <a:pt x="100" y="276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106" y="278"/>
                    <a:pt x="106" y="278"/>
                    <a:pt x="107" y="279"/>
                  </a:cubicBezTo>
                  <a:cubicBezTo>
                    <a:pt x="107" y="279"/>
                    <a:pt x="107" y="280"/>
                    <a:pt x="106" y="280"/>
                  </a:cubicBezTo>
                  <a:cubicBezTo>
                    <a:pt x="102" y="289"/>
                    <a:pt x="102" y="289"/>
                    <a:pt x="102" y="289"/>
                  </a:cubicBezTo>
                  <a:cubicBezTo>
                    <a:pt x="99" y="294"/>
                    <a:pt x="99" y="298"/>
                    <a:pt x="100" y="303"/>
                  </a:cubicBezTo>
                  <a:cubicBezTo>
                    <a:pt x="114" y="348"/>
                    <a:pt x="114" y="348"/>
                    <a:pt x="114" y="348"/>
                  </a:cubicBezTo>
                  <a:cubicBezTo>
                    <a:pt x="115" y="352"/>
                    <a:pt x="118" y="356"/>
                    <a:pt x="121" y="358"/>
                  </a:cubicBezTo>
                  <a:cubicBezTo>
                    <a:pt x="138" y="369"/>
                    <a:pt x="138" y="369"/>
                    <a:pt x="138" y="369"/>
                  </a:cubicBezTo>
                  <a:cubicBezTo>
                    <a:pt x="139" y="369"/>
                    <a:pt x="139" y="370"/>
                    <a:pt x="139" y="370"/>
                  </a:cubicBezTo>
                  <a:cubicBezTo>
                    <a:pt x="144" y="444"/>
                    <a:pt x="144" y="444"/>
                    <a:pt x="144" y="444"/>
                  </a:cubicBezTo>
                  <a:cubicBezTo>
                    <a:pt x="144" y="446"/>
                    <a:pt x="144" y="447"/>
                    <a:pt x="145" y="449"/>
                  </a:cubicBezTo>
                  <a:cubicBezTo>
                    <a:pt x="158" y="489"/>
                    <a:pt x="158" y="489"/>
                    <a:pt x="158" y="489"/>
                  </a:cubicBezTo>
                  <a:cubicBezTo>
                    <a:pt x="160" y="494"/>
                    <a:pt x="163" y="497"/>
                    <a:pt x="166" y="499"/>
                  </a:cubicBezTo>
                  <a:cubicBezTo>
                    <a:pt x="197" y="517"/>
                    <a:pt x="197" y="517"/>
                    <a:pt x="197" y="517"/>
                  </a:cubicBezTo>
                  <a:cubicBezTo>
                    <a:pt x="199" y="518"/>
                    <a:pt x="202" y="519"/>
                    <a:pt x="204" y="519"/>
                  </a:cubicBezTo>
                  <a:cubicBezTo>
                    <a:pt x="208" y="519"/>
                    <a:pt x="211" y="517"/>
                    <a:pt x="214" y="514"/>
                  </a:cubicBezTo>
                  <a:cubicBezTo>
                    <a:pt x="214" y="514"/>
                    <a:pt x="214" y="514"/>
                    <a:pt x="214" y="514"/>
                  </a:cubicBezTo>
                  <a:cubicBezTo>
                    <a:pt x="217" y="510"/>
                    <a:pt x="218" y="504"/>
                    <a:pt x="216" y="500"/>
                  </a:cubicBezTo>
                  <a:cubicBezTo>
                    <a:pt x="206" y="479"/>
                    <a:pt x="206" y="479"/>
                    <a:pt x="206" y="479"/>
                  </a:cubicBezTo>
                  <a:cubicBezTo>
                    <a:pt x="206" y="479"/>
                    <a:pt x="206" y="479"/>
                    <a:pt x="206" y="478"/>
                  </a:cubicBezTo>
                  <a:cubicBezTo>
                    <a:pt x="208" y="459"/>
                    <a:pt x="208" y="459"/>
                    <a:pt x="208" y="459"/>
                  </a:cubicBezTo>
                  <a:cubicBezTo>
                    <a:pt x="208" y="459"/>
                    <a:pt x="208" y="459"/>
                    <a:pt x="208" y="459"/>
                  </a:cubicBezTo>
                  <a:cubicBezTo>
                    <a:pt x="225" y="433"/>
                    <a:pt x="225" y="433"/>
                    <a:pt x="225" y="433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58" y="387"/>
                    <a:pt x="259" y="386"/>
                    <a:pt x="259" y="385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82" y="335"/>
                    <a:pt x="283" y="330"/>
                    <a:pt x="283" y="326"/>
                  </a:cubicBezTo>
                  <a:cubicBezTo>
                    <a:pt x="283" y="317"/>
                    <a:pt x="283" y="317"/>
                    <a:pt x="283" y="317"/>
                  </a:cubicBezTo>
                  <a:cubicBezTo>
                    <a:pt x="283" y="309"/>
                    <a:pt x="278" y="302"/>
                    <a:pt x="270" y="300"/>
                  </a:cubicBezTo>
                  <a:close/>
                  <a:moveTo>
                    <a:pt x="267" y="326"/>
                  </a:moveTo>
                  <a:cubicBezTo>
                    <a:pt x="267" y="328"/>
                    <a:pt x="266" y="331"/>
                    <a:pt x="265" y="333"/>
                  </a:cubicBezTo>
                  <a:cubicBezTo>
                    <a:pt x="245" y="378"/>
                    <a:pt x="245" y="378"/>
                    <a:pt x="245" y="378"/>
                  </a:cubicBezTo>
                  <a:cubicBezTo>
                    <a:pt x="245" y="378"/>
                    <a:pt x="245" y="378"/>
                    <a:pt x="245" y="378"/>
                  </a:cubicBezTo>
                  <a:cubicBezTo>
                    <a:pt x="213" y="424"/>
                    <a:pt x="213" y="424"/>
                    <a:pt x="213" y="424"/>
                  </a:cubicBezTo>
                  <a:cubicBezTo>
                    <a:pt x="195" y="449"/>
                    <a:pt x="195" y="449"/>
                    <a:pt x="195" y="449"/>
                  </a:cubicBezTo>
                  <a:cubicBezTo>
                    <a:pt x="193" y="452"/>
                    <a:pt x="192" y="455"/>
                    <a:pt x="192" y="458"/>
                  </a:cubicBezTo>
                  <a:cubicBezTo>
                    <a:pt x="190" y="477"/>
                    <a:pt x="190" y="477"/>
                    <a:pt x="190" y="477"/>
                  </a:cubicBezTo>
                  <a:cubicBezTo>
                    <a:pt x="190" y="480"/>
                    <a:pt x="191" y="483"/>
                    <a:pt x="192" y="486"/>
                  </a:cubicBezTo>
                  <a:cubicBezTo>
                    <a:pt x="198" y="499"/>
                    <a:pt x="198" y="499"/>
                    <a:pt x="198" y="499"/>
                  </a:cubicBezTo>
                  <a:cubicBezTo>
                    <a:pt x="174" y="485"/>
                    <a:pt x="174" y="485"/>
                    <a:pt x="174" y="485"/>
                  </a:cubicBezTo>
                  <a:cubicBezTo>
                    <a:pt x="174" y="485"/>
                    <a:pt x="174" y="485"/>
                    <a:pt x="173" y="484"/>
                  </a:cubicBezTo>
                  <a:cubicBezTo>
                    <a:pt x="160" y="444"/>
                    <a:pt x="160" y="444"/>
                    <a:pt x="160" y="444"/>
                  </a:cubicBezTo>
                  <a:cubicBezTo>
                    <a:pt x="160" y="443"/>
                    <a:pt x="160" y="443"/>
                    <a:pt x="160" y="443"/>
                  </a:cubicBezTo>
                  <a:cubicBezTo>
                    <a:pt x="155" y="369"/>
                    <a:pt x="155" y="369"/>
                    <a:pt x="155" y="369"/>
                  </a:cubicBezTo>
                  <a:cubicBezTo>
                    <a:pt x="155" y="364"/>
                    <a:pt x="152" y="358"/>
                    <a:pt x="147" y="355"/>
                  </a:cubicBezTo>
                  <a:cubicBezTo>
                    <a:pt x="130" y="345"/>
                    <a:pt x="130" y="345"/>
                    <a:pt x="130" y="345"/>
                  </a:cubicBezTo>
                  <a:cubicBezTo>
                    <a:pt x="130" y="344"/>
                    <a:pt x="129" y="344"/>
                    <a:pt x="129" y="343"/>
                  </a:cubicBezTo>
                  <a:cubicBezTo>
                    <a:pt x="116" y="298"/>
                    <a:pt x="116" y="298"/>
                    <a:pt x="116" y="298"/>
                  </a:cubicBezTo>
                  <a:cubicBezTo>
                    <a:pt x="116" y="298"/>
                    <a:pt x="116" y="297"/>
                    <a:pt x="116" y="297"/>
                  </a:cubicBezTo>
                  <a:cubicBezTo>
                    <a:pt x="121" y="288"/>
                    <a:pt x="121" y="288"/>
                    <a:pt x="121" y="288"/>
                  </a:cubicBezTo>
                  <a:cubicBezTo>
                    <a:pt x="123" y="283"/>
                    <a:pt x="123" y="278"/>
                    <a:pt x="121" y="273"/>
                  </a:cubicBezTo>
                  <a:cubicBezTo>
                    <a:pt x="119" y="268"/>
                    <a:pt x="115" y="264"/>
                    <a:pt x="110" y="262"/>
                  </a:cubicBezTo>
                  <a:cubicBezTo>
                    <a:pt x="104" y="261"/>
                    <a:pt x="104" y="261"/>
                    <a:pt x="104" y="261"/>
                  </a:cubicBezTo>
                  <a:cubicBezTo>
                    <a:pt x="104" y="261"/>
                    <a:pt x="104" y="260"/>
                    <a:pt x="104" y="260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86" y="239"/>
                    <a:pt x="83" y="237"/>
                    <a:pt x="80" y="236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24" y="202"/>
                    <a:pt x="24" y="202"/>
                    <a:pt x="24" y="202"/>
                  </a:cubicBezTo>
                  <a:cubicBezTo>
                    <a:pt x="23" y="202"/>
                    <a:pt x="23" y="202"/>
                    <a:pt x="23" y="201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43" y="102"/>
                    <a:pt x="96" y="46"/>
                    <a:pt x="165" y="18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9" y="21"/>
                    <a:pt x="169" y="22"/>
                    <a:pt x="169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6" y="26"/>
                    <a:pt x="165" y="26"/>
                    <a:pt x="165" y="26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38" y="40"/>
                    <a:pt x="134" y="47"/>
                    <a:pt x="134" y="54"/>
                  </a:cubicBezTo>
                  <a:cubicBezTo>
                    <a:pt x="134" y="60"/>
                    <a:pt x="138" y="67"/>
                    <a:pt x="145" y="69"/>
                  </a:cubicBezTo>
                  <a:cubicBezTo>
                    <a:pt x="150" y="72"/>
                    <a:pt x="150" y="72"/>
                    <a:pt x="150" y="72"/>
                  </a:cubicBezTo>
                  <a:cubicBezTo>
                    <a:pt x="150" y="72"/>
                    <a:pt x="150" y="72"/>
                    <a:pt x="150" y="72"/>
                  </a:cubicBezTo>
                  <a:cubicBezTo>
                    <a:pt x="152" y="77"/>
                    <a:pt x="157" y="81"/>
                    <a:pt x="163" y="82"/>
                  </a:cubicBezTo>
                  <a:cubicBezTo>
                    <a:pt x="169" y="83"/>
                    <a:pt x="175" y="81"/>
                    <a:pt x="178" y="76"/>
                  </a:cubicBezTo>
                  <a:cubicBezTo>
                    <a:pt x="184" y="69"/>
                    <a:pt x="184" y="69"/>
                    <a:pt x="184" y="69"/>
                  </a:cubicBezTo>
                  <a:cubicBezTo>
                    <a:pt x="185" y="68"/>
                    <a:pt x="185" y="67"/>
                    <a:pt x="186" y="67"/>
                  </a:cubicBezTo>
                  <a:cubicBezTo>
                    <a:pt x="195" y="51"/>
                    <a:pt x="195" y="51"/>
                    <a:pt x="195" y="51"/>
                  </a:cubicBezTo>
                  <a:cubicBezTo>
                    <a:pt x="196" y="50"/>
                    <a:pt x="197" y="50"/>
                    <a:pt x="197" y="50"/>
                  </a:cubicBezTo>
                  <a:cubicBezTo>
                    <a:pt x="206" y="53"/>
                    <a:pt x="206" y="53"/>
                    <a:pt x="206" y="53"/>
                  </a:cubicBezTo>
                  <a:cubicBezTo>
                    <a:pt x="206" y="53"/>
                    <a:pt x="207" y="53"/>
                    <a:pt x="207" y="53"/>
                  </a:cubicBezTo>
                  <a:cubicBezTo>
                    <a:pt x="217" y="64"/>
                    <a:pt x="217" y="64"/>
                    <a:pt x="217" y="64"/>
                  </a:cubicBezTo>
                  <a:cubicBezTo>
                    <a:pt x="217" y="64"/>
                    <a:pt x="217" y="65"/>
                    <a:pt x="217" y="65"/>
                  </a:cubicBezTo>
                  <a:cubicBezTo>
                    <a:pt x="219" y="73"/>
                    <a:pt x="219" y="73"/>
                    <a:pt x="219" y="73"/>
                  </a:cubicBezTo>
                  <a:cubicBezTo>
                    <a:pt x="219" y="74"/>
                    <a:pt x="219" y="74"/>
                    <a:pt x="219" y="75"/>
                  </a:cubicBezTo>
                  <a:cubicBezTo>
                    <a:pt x="219" y="75"/>
                    <a:pt x="218" y="75"/>
                    <a:pt x="218" y="76"/>
                  </a:cubicBezTo>
                  <a:cubicBezTo>
                    <a:pt x="206" y="77"/>
                    <a:pt x="206" y="77"/>
                    <a:pt x="206" y="77"/>
                  </a:cubicBezTo>
                  <a:cubicBezTo>
                    <a:pt x="200" y="78"/>
                    <a:pt x="196" y="81"/>
                    <a:pt x="193" y="85"/>
                  </a:cubicBezTo>
                  <a:cubicBezTo>
                    <a:pt x="191" y="90"/>
                    <a:pt x="190" y="95"/>
                    <a:pt x="192" y="100"/>
                  </a:cubicBezTo>
                  <a:cubicBezTo>
                    <a:pt x="192" y="100"/>
                    <a:pt x="192" y="100"/>
                    <a:pt x="192" y="100"/>
                  </a:cubicBezTo>
                  <a:cubicBezTo>
                    <a:pt x="168" y="111"/>
                    <a:pt x="168" y="111"/>
                    <a:pt x="168" y="111"/>
                  </a:cubicBezTo>
                  <a:cubicBezTo>
                    <a:pt x="167" y="111"/>
                    <a:pt x="167" y="111"/>
                    <a:pt x="166" y="112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4" y="125"/>
                    <a:pt x="141" y="130"/>
                    <a:pt x="141" y="136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1"/>
                    <a:pt x="140" y="141"/>
                    <a:pt x="140" y="142"/>
                  </a:cubicBezTo>
                  <a:cubicBezTo>
                    <a:pt x="122" y="152"/>
                    <a:pt x="122" y="152"/>
                    <a:pt x="122" y="152"/>
                  </a:cubicBezTo>
                  <a:cubicBezTo>
                    <a:pt x="119" y="155"/>
                    <a:pt x="116" y="159"/>
                    <a:pt x="116" y="163"/>
                  </a:cubicBezTo>
                  <a:cubicBezTo>
                    <a:pt x="117" y="181"/>
                    <a:pt x="117" y="181"/>
                    <a:pt x="117" y="181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1" y="166"/>
                    <a:pt x="106" y="162"/>
                    <a:pt x="101" y="161"/>
                  </a:cubicBezTo>
                  <a:cubicBezTo>
                    <a:pt x="96" y="160"/>
                    <a:pt x="91" y="161"/>
                    <a:pt x="87" y="165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2" y="166"/>
                    <a:pt x="55" y="173"/>
                    <a:pt x="54" y="181"/>
                  </a:cubicBezTo>
                  <a:cubicBezTo>
                    <a:pt x="51" y="198"/>
                    <a:pt x="51" y="198"/>
                    <a:pt x="51" y="198"/>
                  </a:cubicBezTo>
                  <a:cubicBezTo>
                    <a:pt x="51" y="204"/>
                    <a:pt x="53" y="210"/>
                    <a:pt x="58" y="214"/>
                  </a:cubicBezTo>
                  <a:cubicBezTo>
                    <a:pt x="61" y="217"/>
                    <a:pt x="61" y="217"/>
                    <a:pt x="61" y="217"/>
                  </a:cubicBezTo>
                  <a:cubicBezTo>
                    <a:pt x="64" y="219"/>
                    <a:pt x="68" y="221"/>
                    <a:pt x="72" y="221"/>
                  </a:cubicBezTo>
                  <a:cubicBezTo>
                    <a:pt x="77" y="221"/>
                    <a:pt x="81" y="219"/>
                    <a:pt x="84" y="217"/>
                  </a:cubicBezTo>
                  <a:cubicBezTo>
                    <a:pt x="92" y="210"/>
                    <a:pt x="92" y="210"/>
                    <a:pt x="92" y="210"/>
                  </a:cubicBezTo>
                  <a:cubicBezTo>
                    <a:pt x="92" y="210"/>
                    <a:pt x="92" y="210"/>
                    <a:pt x="93" y="210"/>
                  </a:cubicBezTo>
                  <a:cubicBezTo>
                    <a:pt x="93" y="211"/>
                    <a:pt x="93" y="211"/>
                    <a:pt x="93" y="211"/>
                  </a:cubicBezTo>
                  <a:cubicBezTo>
                    <a:pt x="90" y="217"/>
                    <a:pt x="90" y="217"/>
                    <a:pt x="90" y="217"/>
                  </a:cubicBezTo>
                  <a:cubicBezTo>
                    <a:pt x="88" y="220"/>
                    <a:pt x="88" y="225"/>
                    <a:pt x="90" y="229"/>
                  </a:cubicBezTo>
                  <a:cubicBezTo>
                    <a:pt x="91" y="232"/>
                    <a:pt x="94" y="234"/>
                    <a:pt x="97" y="234"/>
                  </a:cubicBezTo>
                  <a:cubicBezTo>
                    <a:pt x="97" y="236"/>
                    <a:pt x="97" y="236"/>
                    <a:pt x="97" y="236"/>
                  </a:cubicBezTo>
                  <a:cubicBezTo>
                    <a:pt x="97" y="244"/>
                    <a:pt x="102" y="250"/>
                    <a:pt x="109" y="252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5" y="258"/>
                    <a:pt x="129" y="258"/>
                    <a:pt x="134" y="256"/>
                  </a:cubicBezTo>
                  <a:cubicBezTo>
                    <a:pt x="153" y="247"/>
                    <a:pt x="153" y="247"/>
                    <a:pt x="153" y="247"/>
                  </a:cubicBezTo>
                  <a:cubicBezTo>
                    <a:pt x="154" y="247"/>
                    <a:pt x="154" y="247"/>
                    <a:pt x="155" y="247"/>
                  </a:cubicBezTo>
                  <a:cubicBezTo>
                    <a:pt x="194" y="268"/>
                    <a:pt x="194" y="268"/>
                    <a:pt x="194" y="268"/>
                  </a:cubicBezTo>
                  <a:cubicBezTo>
                    <a:pt x="194" y="269"/>
                    <a:pt x="194" y="269"/>
                    <a:pt x="195" y="269"/>
                  </a:cubicBezTo>
                  <a:cubicBezTo>
                    <a:pt x="210" y="294"/>
                    <a:pt x="210" y="294"/>
                    <a:pt x="210" y="294"/>
                  </a:cubicBezTo>
                  <a:cubicBezTo>
                    <a:pt x="212" y="297"/>
                    <a:pt x="216" y="300"/>
                    <a:pt x="220" y="301"/>
                  </a:cubicBezTo>
                  <a:cubicBezTo>
                    <a:pt x="266" y="315"/>
                    <a:pt x="266" y="315"/>
                    <a:pt x="266" y="315"/>
                  </a:cubicBezTo>
                  <a:cubicBezTo>
                    <a:pt x="266" y="315"/>
                    <a:pt x="267" y="316"/>
                    <a:pt x="267" y="317"/>
                  </a:cubicBezTo>
                  <a:lnTo>
                    <a:pt x="267" y="3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2" name="Freeform 7">
              <a:extLst>
                <a:ext uri="{FF2B5EF4-FFF2-40B4-BE49-F238E27FC236}">
                  <a16:creationId xmlns:a16="http://schemas.microsoft.com/office/drawing/2014/main" id="{65FFB262-0B6B-4746-AD07-6B3CA6552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23275" y="4373563"/>
              <a:ext cx="96838" cy="57150"/>
            </a:xfrm>
            <a:custGeom>
              <a:avLst/>
              <a:gdLst>
                <a:gd name="T0" fmla="*/ 30 w 186"/>
                <a:gd name="T1" fmla="*/ 107 h 109"/>
                <a:gd name="T2" fmla="*/ 84 w 186"/>
                <a:gd name="T3" fmla="*/ 70 h 109"/>
                <a:gd name="T4" fmla="*/ 88 w 186"/>
                <a:gd name="T5" fmla="*/ 69 h 109"/>
                <a:gd name="T6" fmla="*/ 100 w 186"/>
                <a:gd name="T7" fmla="*/ 71 h 109"/>
                <a:gd name="T8" fmla="*/ 109 w 186"/>
                <a:gd name="T9" fmla="*/ 82 h 109"/>
                <a:gd name="T10" fmla="*/ 108 w 186"/>
                <a:gd name="T11" fmla="*/ 99 h 109"/>
                <a:gd name="T12" fmla="*/ 124 w 186"/>
                <a:gd name="T13" fmla="*/ 109 h 109"/>
                <a:gd name="T14" fmla="*/ 150 w 186"/>
                <a:gd name="T15" fmla="*/ 99 h 109"/>
                <a:gd name="T16" fmla="*/ 163 w 186"/>
                <a:gd name="T17" fmla="*/ 99 h 109"/>
                <a:gd name="T18" fmla="*/ 186 w 186"/>
                <a:gd name="T19" fmla="*/ 101 h 109"/>
                <a:gd name="T20" fmla="*/ 97 w 186"/>
                <a:gd name="T21" fmla="*/ 1 h 109"/>
                <a:gd name="T22" fmla="*/ 76 w 186"/>
                <a:gd name="T23" fmla="*/ 1 h 109"/>
                <a:gd name="T24" fmla="*/ 46 w 186"/>
                <a:gd name="T25" fmla="*/ 20 h 109"/>
                <a:gd name="T26" fmla="*/ 41 w 186"/>
                <a:gd name="T27" fmla="*/ 49 h 109"/>
                <a:gd name="T28" fmla="*/ 37 w 186"/>
                <a:gd name="T29" fmla="*/ 52 h 109"/>
                <a:gd name="T30" fmla="*/ 3 w 186"/>
                <a:gd name="T31" fmla="*/ 69 h 109"/>
                <a:gd name="T32" fmla="*/ 4 w 186"/>
                <a:gd name="T33" fmla="*/ 97 h 109"/>
                <a:gd name="T34" fmla="*/ 19 w 186"/>
                <a:gd name="T35" fmla="*/ 72 h 109"/>
                <a:gd name="T36" fmla="*/ 24 w 186"/>
                <a:gd name="T37" fmla="*/ 68 h 109"/>
                <a:gd name="T38" fmla="*/ 57 w 186"/>
                <a:gd name="T39" fmla="*/ 53 h 109"/>
                <a:gd name="T40" fmla="*/ 55 w 186"/>
                <a:gd name="T41" fmla="*/ 33 h 109"/>
                <a:gd name="T42" fmla="*/ 78 w 186"/>
                <a:gd name="T43" fmla="*/ 17 h 109"/>
                <a:gd name="T44" fmla="*/ 155 w 186"/>
                <a:gd name="T45" fmla="*/ 82 h 109"/>
                <a:gd name="T46" fmla="*/ 143 w 186"/>
                <a:gd name="T47" fmla="*/ 84 h 109"/>
                <a:gd name="T48" fmla="*/ 124 w 186"/>
                <a:gd name="T49" fmla="*/ 93 h 109"/>
                <a:gd name="T50" fmla="*/ 123 w 186"/>
                <a:gd name="T51" fmla="*/ 91 h 109"/>
                <a:gd name="T52" fmla="*/ 118 w 186"/>
                <a:gd name="T53" fmla="*/ 64 h 109"/>
                <a:gd name="T54" fmla="*/ 98 w 186"/>
                <a:gd name="T55" fmla="*/ 53 h 109"/>
                <a:gd name="T56" fmla="*/ 87 w 186"/>
                <a:gd name="T57" fmla="*/ 53 h 109"/>
                <a:gd name="T58" fmla="*/ 36 w 186"/>
                <a:gd name="T59" fmla="*/ 90 h 109"/>
                <a:gd name="T60" fmla="*/ 21 w 186"/>
                <a:gd name="T61" fmla="*/ 90 h 109"/>
                <a:gd name="T62" fmla="*/ 17 w 186"/>
                <a:gd name="T63" fmla="*/ 8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6" h="109">
                  <a:moveTo>
                    <a:pt x="19" y="106"/>
                  </a:moveTo>
                  <a:cubicBezTo>
                    <a:pt x="30" y="107"/>
                    <a:pt x="30" y="107"/>
                    <a:pt x="30" y="107"/>
                  </a:cubicBezTo>
                  <a:cubicBezTo>
                    <a:pt x="36" y="108"/>
                    <a:pt x="42" y="106"/>
                    <a:pt x="46" y="102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5" y="70"/>
                    <a:pt x="86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8" y="70"/>
                    <a:pt x="99" y="70"/>
                    <a:pt x="100" y="71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9" y="78"/>
                    <a:pt x="109" y="80"/>
                    <a:pt x="109" y="82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6" y="90"/>
                    <a:pt x="106" y="95"/>
                    <a:pt x="108" y="99"/>
                  </a:cubicBezTo>
                  <a:cubicBezTo>
                    <a:pt x="111" y="104"/>
                    <a:pt x="115" y="107"/>
                    <a:pt x="120" y="109"/>
                  </a:cubicBezTo>
                  <a:cubicBezTo>
                    <a:pt x="121" y="109"/>
                    <a:pt x="123" y="109"/>
                    <a:pt x="124" y="109"/>
                  </a:cubicBezTo>
                  <a:cubicBezTo>
                    <a:pt x="127" y="109"/>
                    <a:pt x="130" y="109"/>
                    <a:pt x="132" y="107"/>
                  </a:cubicBezTo>
                  <a:cubicBezTo>
                    <a:pt x="150" y="99"/>
                    <a:pt x="150" y="99"/>
                    <a:pt x="150" y="99"/>
                  </a:cubicBezTo>
                  <a:cubicBezTo>
                    <a:pt x="151" y="98"/>
                    <a:pt x="151" y="98"/>
                    <a:pt x="152" y="98"/>
                  </a:cubicBezTo>
                  <a:cubicBezTo>
                    <a:pt x="163" y="99"/>
                    <a:pt x="163" y="99"/>
                    <a:pt x="163" y="99"/>
                  </a:cubicBezTo>
                  <a:cubicBezTo>
                    <a:pt x="164" y="99"/>
                    <a:pt x="165" y="99"/>
                    <a:pt x="167" y="99"/>
                  </a:cubicBezTo>
                  <a:cubicBezTo>
                    <a:pt x="186" y="101"/>
                    <a:pt x="186" y="101"/>
                    <a:pt x="186" y="101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58" y="54"/>
                    <a:pt x="130" y="24"/>
                    <a:pt x="97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3" y="2"/>
                    <a:pt x="69" y="3"/>
                    <a:pt x="66" y="5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37" y="26"/>
                    <a:pt x="35" y="38"/>
                    <a:pt x="41" y="46"/>
                  </a:cubicBezTo>
                  <a:cubicBezTo>
                    <a:pt x="41" y="47"/>
                    <a:pt x="42" y="48"/>
                    <a:pt x="41" y="49"/>
                  </a:cubicBezTo>
                  <a:cubicBezTo>
                    <a:pt x="41" y="51"/>
                    <a:pt x="39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4" y="51"/>
                    <a:pt x="5" y="59"/>
                    <a:pt x="3" y="69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0" y="86"/>
                    <a:pt x="1" y="92"/>
                    <a:pt x="4" y="97"/>
                  </a:cubicBezTo>
                  <a:cubicBezTo>
                    <a:pt x="8" y="102"/>
                    <a:pt x="13" y="105"/>
                    <a:pt x="19" y="106"/>
                  </a:cubicBezTo>
                  <a:close/>
                  <a:moveTo>
                    <a:pt x="19" y="72"/>
                  </a:moveTo>
                  <a:cubicBezTo>
                    <a:pt x="20" y="70"/>
                    <a:pt x="22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46" y="69"/>
                    <a:pt x="55" y="63"/>
                    <a:pt x="57" y="53"/>
                  </a:cubicBezTo>
                  <a:cubicBezTo>
                    <a:pt x="58" y="48"/>
                    <a:pt x="57" y="42"/>
                    <a:pt x="54" y="38"/>
                  </a:cubicBezTo>
                  <a:cubicBezTo>
                    <a:pt x="53" y="36"/>
                    <a:pt x="54" y="34"/>
                    <a:pt x="55" y="3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6" y="18"/>
                    <a:pt x="77" y="17"/>
                    <a:pt x="78" y="17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116" y="34"/>
                    <a:pt x="138" y="57"/>
                    <a:pt x="155" y="82"/>
                  </a:cubicBezTo>
                  <a:cubicBezTo>
                    <a:pt x="153" y="82"/>
                    <a:pt x="153" y="82"/>
                    <a:pt x="153" y="82"/>
                  </a:cubicBezTo>
                  <a:cubicBezTo>
                    <a:pt x="150" y="82"/>
                    <a:pt x="146" y="83"/>
                    <a:pt x="143" y="84"/>
                  </a:cubicBezTo>
                  <a:cubicBezTo>
                    <a:pt x="125" y="93"/>
                    <a:pt x="125" y="93"/>
                    <a:pt x="125" y="93"/>
                  </a:cubicBezTo>
                  <a:cubicBezTo>
                    <a:pt x="125" y="93"/>
                    <a:pt x="124" y="93"/>
                    <a:pt x="124" y="93"/>
                  </a:cubicBezTo>
                  <a:cubicBezTo>
                    <a:pt x="123" y="93"/>
                    <a:pt x="123" y="93"/>
                    <a:pt x="123" y="92"/>
                  </a:cubicBezTo>
                  <a:cubicBezTo>
                    <a:pt x="122" y="92"/>
                    <a:pt x="122" y="91"/>
                    <a:pt x="123" y="91"/>
                  </a:cubicBezTo>
                  <a:cubicBezTo>
                    <a:pt x="124" y="88"/>
                    <a:pt x="124" y="88"/>
                    <a:pt x="124" y="88"/>
                  </a:cubicBezTo>
                  <a:cubicBezTo>
                    <a:pt x="127" y="80"/>
                    <a:pt x="124" y="70"/>
                    <a:pt x="118" y="64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07" y="55"/>
                    <a:pt x="102" y="54"/>
                    <a:pt x="9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7" y="53"/>
                  </a:cubicBezTo>
                  <a:cubicBezTo>
                    <a:pt x="82" y="53"/>
                    <a:pt x="78" y="55"/>
                    <a:pt x="74" y="58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5" y="91"/>
                    <a:pt x="33" y="91"/>
                    <a:pt x="32" y="91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0" y="89"/>
                    <a:pt x="18" y="89"/>
                    <a:pt x="18" y="88"/>
                  </a:cubicBezTo>
                  <a:cubicBezTo>
                    <a:pt x="17" y="86"/>
                    <a:pt x="17" y="85"/>
                    <a:pt x="17" y="84"/>
                  </a:cubicBezTo>
                  <a:lnTo>
                    <a:pt x="19" y="7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3" name="Freeform 8">
              <a:extLst>
                <a:ext uri="{FF2B5EF4-FFF2-40B4-BE49-F238E27FC236}">
                  <a16:creationId xmlns:a16="http://schemas.microsoft.com/office/drawing/2014/main" id="{FB54BFFF-168F-4987-8C78-03526CB656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9600" y="4333875"/>
              <a:ext cx="444500" cy="441325"/>
            </a:xfrm>
            <a:custGeom>
              <a:avLst/>
              <a:gdLst>
                <a:gd name="T0" fmla="*/ 789 w 852"/>
                <a:gd name="T1" fmla="*/ 526 h 847"/>
                <a:gd name="T2" fmla="*/ 632 w 852"/>
                <a:gd name="T3" fmla="*/ 413 h 847"/>
                <a:gd name="T4" fmla="*/ 0 w 852"/>
                <a:gd name="T5" fmla="*/ 322 h 847"/>
                <a:gd name="T6" fmla="*/ 315 w 852"/>
                <a:gd name="T7" fmla="*/ 733 h 847"/>
                <a:gd name="T8" fmla="*/ 371 w 852"/>
                <a:gd name="T9" fmla="*/ 839 h 847"/>
                <a:gd name="T10" fmla="*/ 811 w 852"/>
                <a:gd name="T11" fmla="*/ 839 h 847"/>
                <a:gd name="T12" fmla="*/ 852 w 852"/>
                <a:gd name="T13" fmla="*/ 733 h 847"/>
                <a:gd name="T14" fmla="*/ 726 w 852"/>
                <a:gd name="T15" fmla="*/ 594 h 847"/>
                <a:gd name="T16" fmla="*/ 699 w 852"/>
                <a:gd name="T17" fmla="*/ 599 h 847"/>
                <a:gd name="T18" fmla="*/ 700 w 852"/>
                <a:gd name="T19" fmla="*/ 453 h 847"/>
                <a:gd name="T20" fmla="*/ 627 w 852"/>
                <a:gd name="T21" fmla="*/ 638 h 847"/>
                <a:gd name="T22" fmla="*/ 479 w 852"/>
                <a:gd name="T23" fmla="*/ 533 h 847"/>
                <a:gd name="T24" fmla="*/ 609 w 852"/>
                <a:gd name="T25" fmla="*/ 659 h 847"/>
                <a:gd name="T26" fmla="*/ 609 w 852"/>
                <a:gd name="T27" fmla="*/ 659 h 847"/>
                <a:gd name="T28" fmla="*/ 444 w 852"/>
                <a:gd name="T29" fmla="*/ 596 h 847"/>
                <a:gd name="T30" fmla="*/ 467 w 852"/>
                <a:gd name="T31" fmla="*/ 453 h 847"/>
                <a:gd name="T32" fmla="*/ 481 w 852"/>
                <a:gd name="T33" fmla="*/ 597 h 847"/>
                <a:gd name="T34" fmla="*/ 467 w 852"/>
                <a:gd name="T35" fmla="*/ 319 h 847"/>
                <a:gd name="T36" fmla="*/ 425 w 852"/>
                <a:gd name="T37" fmla="*/ 326 h 847"/>
                <a:gd name="T38" fmla="*/ 400 w 852"/>
                <a:gd name="T39" fmla="*/ 259 h 847"/>
                <a:gd name="T40" fmla="*/ 431 w 852"/>
                <a:gd name="T41" fmla="*/ 219 h 847"/>
                <a:gd name="T42" fmla="*/ 482 w 852"/>
                <a:gd name="T43" fmla="*/ 207 h 847"/>
                <a:gd name="T44" fmla="*/ 511 w 852"/>
                <a:gd name="T45" fmla="*/ 230 h 847"/>
                <a:gd name="T46" fmla="*/ 533 w 852"/>
                <a:gd name="T47" fmla="*/ 224 h 847"/>
                <a:gd name="T48" fmla="*/ 565 w 852"/>
                <a:gd name="T49" fmla="*/ 228 h 847"/>
                <a:gd name="T50" fmla="*/ 574 w 852"/>
                <a:gd name="T51" fmla="*/ 407 h 847"/>
                <a:gd name="T52" fmla="*/ 502 w 852"/>
                <a:gd name="T53" fmla="*/ 427 h 847"/>
                <a:gd name="T54" fmla="*/ 497 w 852"/>
                <a:gd name="T55" fmla="*/ 361 h 847"/>
                <a:gd name="T56" fmla="*/ 490 w 852"/>
                <a:gd name="T57" fmla="*/ 329 h 847"/>
                <a:gd name="T58" fmla="*/ 322 w 852"/>
                <a:gd name="T59" fmla="*/ 16 h 847"/>
                <a:gd name="T60" fmla="*/ 591 w 852"/>
                <a:gd name="T61" fmla="*/ 406 h 847"/>
                <a:gd name="T62" fmla="*/ 577 w 852"/>
                <a:gd name="T63" fmla="*/ 212 h 847"/>
                <a:gd name="T64" fmla="*/ 560 w 852"/>
                <a:gd name="T65" fmla="*/ 213 h 847"/>
                <a:gd name="T66" fmla="*/ 535 w 852"/>
                <a:gd name="T67" fmla="*/ 207 h 847"/>
                <a:gd name="T68" fmla="*/ 518 w 852"/>
                <a:gd name="T69" fmla="*/ 216 h 847"/>
                <a:gd name="T70" fmla="*/ 498 w 852"/>
                <a:gd name="T71" fmla="*/ 206 h 847"/>
                <a:gd name="T72" fmla="*/ 455 w 852"/>
                <a:gd name="T73" fmla="*/ 195 h 847"/>
                <a:gd name="T74" fmla="*/ 418 w 852"/>
                <a:gd name="T75" fmla="*/ 209 h 847"/>
                <a:gd name="T76" fmla="*/ 384 w 852"/>
                <a:gd name="T77" fmla="*/ 303 h 847"/>
                <a:gd name="T78" fmla="*/ 429 w 852"/>
                <a:gd name="T79" fmla="*/ 342 h 847"/>
                <a:gd name="T80" fmla="*/ 482 w 852"/>
                <a:gd name="T81" fmla="*/ 343 h 847"/>
                <a:gd name="T82" fmla="*/ 483 w 852"/>
                <a:gd name="T83" fmla="*/ 367 h 847"/>
                <a:gd name="T84" fmla="*/ 487 w 852"/>
                <a:gd name="T85" fmla="*/ 422 h 847"/>
                <a:gd name="T86" fmla="*/ 467 w 852"/>
                <a:gd name="T87" fmla="*/ 438 h 847"/>
                <a:gd name="T88" fmla="*/ 371 w 852"/>
                <a:gd name="T89" fmla="*/ 625 h 847"/>
                <a:gd name="T90" fmla="*/ 332 w 852"/>
                <a:gd name="T91" fmla="*/ 726 h 847"/>
                <a:gd name="T92" fmla="*/ 491 w 852"/>
                <a:gd name="T93" fmla="*/ 611 h 847"/>
                <a:gd name="T94" fmla="*/ 332 w 852"/>
                <a:gd name="T95" fmla="*/ 726 h 847"/>
                <a:gd name="T96" fmla="*/ 548 w 852"/>
                <a:gd name="T97" fmla="*/ 653 h 847"/>
                <a:gd name="T98" fmla="*/ 794 w 852"/>
                <a:gd name="T99" fmla="*/ 832 h 847"/>
                <a:gd name="T100" fmla="*/ 690 w 852"/>
                <a:gd name="T101" fmla="*/ 613 h 847"/>
                <a:gd name="T102" fmla="*/ 835 w 852"/>
                <a:gd name="T103" fmla="*/ 726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52" h="847">
                  <a:moveTo>
                    <a:pt x="852" y="733"/>
                  </a:moveTo>
                  <a:cubicBezTo>
                    <a:pt x="847" y="672"/>
                    <a:pt x="807" y="619"/>
                    <a:pt x="750" y="599"/>
                  </a:cubicBezTo>
                  <a:cubicBezTo>
                    <a:pt x="774" y="583"/>
                    <a:pt x="789" y="556"/>
                    <a:pt x="789" y="526"/>
                  </a:cubicBezTo>
                  <a:cubicBezTo>
                    <a:pt x="789" y="477"/>
                    <a:pt x="749" y="438"/>
                    <a:pt x="700" y="438"/>
                  </a:cubicBezTo>
                  <a:cubicBezTo>
                    <a:pt x="692" y="438"/>
                    <a:pt x="685" y="439"/>
                    <a:pt x="678" y="441"/>
                  </a:cubicBezTo>
                  <a:cubicBezTo>
                    <a:pt x="665" y="428"/>
                    <a:pt x="649" y="419"/>
                    <a:pt x="632" y="413"/>
                  </a:cubicBezTo>
                  <a:cubicBezTo>
                    <a:pt x="640" y="384"/>
                    <a:pt x="645" y="354"/>
                    <a:pt x="645" y="322"/>
                  </a:cubicBezTo>
                  <a:cubicBezTo>
                    <a:pt x="645" y="145"/>
                    <a:pt x="500" y="0"/>
                    <a:pt x="322" y="0"/>
                  </a:cubicBezTo>
                  <a:cubicBezTo>
                    <a:pt x="144" y="0"/>
                    <a:pt x="0" y="145"/>
                    <a:pt x="0" y="322"/>
                  </a:cubicBezTo>
                  <a:cubicBezTo>
                    <a:pt x="0" y="500"/>
                    <a:pt x="144" y="645"/>
                    <a:pt x="322" y="645"/>
                  </a:cubicBezTo>
                  <a:cubicBezTo>
                    <a:pt x="332" y="645"/>
                    <a:pt x="342" y="645"/>
                    <a:pt x="352" y="644"/>
                  </a:cubicBezTo>
                  <a:cubicBezTo>
                    <a:pt x="331" y="668"/>
                    <a:pt x="318" y="699"/>
                    <a:pt x="315" y="733"/>
                  </a:cubicBezTo>
                  <a:cubicBezTo>
                    <a:pt x="315" y="741"/>
                    <a:pt x="315" y="741"/>
                    <a:pt x="315" y="741"/>
                  </a:cubicBezTo>
                  <a:cubicBezTo>
                    <a:pt x="401" y="741"/>
                    <a:pt x="401" y="741"/>
                    <a:pt x="401" y="741"/>
                  </a:cubicBezTo>
                  <a:cubicBezTo>
                    <a:pt x="384" y="770"/>
                    <a:pt x="373" y="804"/>
                    <a:pt x="371" y="839"/>
                  </a:cubicBezTo>
                  <a:cubicBezTo>
                    <a:pt x="370" y="847"/>
                    <a:pt x="370" y="847"/>
                    <a:pt x="370" y="847"/>
                  </a:cubicBezTo>
                  <a:cubicBezTo>
                    <a:pt x="811" y="847"/>
                    <a:pt x="811" y="847"/>
                    <a:pt x="811" y="847"/>
                  </a:cubicBezTo>
                  <a:cubicBezTo>
                    <a:pt x="811" y="839"/>
                    <a:pt x="811" y="839"/>
                    <a:pt x="811" y="839"/>
                  </a:cubicBezTo>
                  <a:cubicBezTo>
                    <a:pt x="808" y="804"/>
                    <a:pt x="797" y="770"/>
                    <a:pt x="780" y="741"/>
                  </a:cubicBezTo>
                  <a:cubicBezTo>
                    <a:pt x="852" y="741"/>
                    <a:pt x="852" y="741"/>
                    <a:pt x="852" y="741"/>
                  </a:cubicBezTo>
                  <a:lnTo>
                    <a:pt x="852" y="733"/>
                  </a:lnTo>
                  <a:close/>
                  <a:moveTo>
                    <a:pt x="700" y="453"/>
                  </a:moveTo>
                  <a:cubicBezTo>
                    <a:pt x="740" y="453"/>
                    <a:pt x="773" y="486"/>
                    <a:pt x="773" y="526"/>
                  </a:cubicBezTo>
                  <a:cubicBezTo>
                    <a:pt x="773" y="556"/>
                    <a:pt x="754" y="584"/>
                    <a:pt x="726" y="594"/>
                  </a:cubicBezTo>
                  <a:cubicBezTo>
                    <a:pt x="724" y="595"/>
                    <a:pt x="724" y="595"/>
                    <a:pt x="724" y="595"/>
                  </a:cubicBezTo>
                  <a:cubicBezTo>
                    <a:pt x="716" y="598"/>
                    <a:pt x="709" y="599"/>
                    <a:pt x="702" y="599"/>
                  </a:cubicBezTo>
                  <a:cubicBezTo>
                    <a:pt x="701" y="599"/>
                    <a:pt x="700" y="599"/>
                    <a:pt x="699" y="599"/>
                  </a:cubicBezTo>
                  <a:cubicBezTo>
                    <a:pt x="711" y="579"/>
                    <a:pt x="718" y="557"/>
                    <a:pt x="718" y="533"/>
                  </a:cubicBezTo>
                  <a:cubicBezTo>
                    <a:pt x="718" y="503"/>
                    <a:pt x="708" y="476"/>
                    <a:pt x="690" y="454"/>
                  </a:cubicBezTo>
                  <a:cubicBezTo>
                    <a:pt x="693" y="454"/>
                    <a:pt x="697" y="453"/>
                    <a:pt x="700" y="453"/>
                  </a:cubicBezTo>
                  <a:close/>
                  <a:moveTo>
                    <a:pt x="702" y="533"/>
                  </a:moveTo>
                  <a:cubicBezTo>
                    <a:pt x="702" y="579"/>
                    <a:pt x="674" y="620"/>
                    <a:pt x="632" y="637"/>
                  </a:cubicBezTo>
                  <a:cubicBezTo>
                    <a:pt x="627" y="638"/>
                    <a:pt x="627" y="638"/>
                    <a:pt x="627" y="638"/>
                  </a:cubicBezTo>
                  <a:cubicBezTo>
                    <a:pt x="602" y="647"/>
                    <a:pt x="580" y="647"/>
                    <a:pt x="554" y="638"/>
                  </a:cubicBezTo>
                  <a:cubicBezTo>
                    <a:pt x="549" y="637"/>
                    <a:pt x="549" y="637"/>
                    <a:pt x="549" y="637"/>
                  </a:cubicBezTo>
                  <a:cubicBezTo>
                    <a:pt x="507" y="620"/>
                    <a:pt x="479" y="579"/>
                    <a:pt x="479" y="533"/>
                  </a:cubicBezTo>
                  <a:cubicBezTo>
                    <a:pt x="479" y="472"/>
                    <a:pt x="529" y="422"/>
                    <a:pt x="591" y="422"/>
                  </a:cubicBezTo>
                  <a:cubicBezTo>
                    <a:pt x="652" y="422"/>
                    <a:pt x="702" y="472"/>
                    <a:pt x="702" y="533"/>
                  </a:cubicBezTo>
                  <a:close/>
                  <a:moveTo>
                    <a:pt x="609" y="659"/>
                  </a:moveTo>
                  <a:cubicBezTo>
                    <a:pt x="591" y="681"/>
                    <a:pt x="591" y="681"/>
                    <a:pt x="591" y="681"/>
                  </a:cubicBezTo>
                  <a:cubicBezTo>
                    <a:pt x="573" y="659"/>
                    <a:pt x="573" y="659"/>
                    <a:pt x="573" y="659"/>
                  </a:cubicBezTo>
                  <a:cubicBezTo>
                    <a:pt x="585" y="661"/>
                    <a:pt x="597" y="661"/>
                    <a:pt x="609" y="659"/>
                  </a:cubicBezTo>
                  <a:close/>
                  <a:moveTo>
                    <a:pt x="481" y="597"/>
                  </a:moveTo>
                  <a:cubicBezTo>
                    <a:pt x="477" y="598"/>
                    <a:pt x="473" y="599"/>
                    <a:pt x="469" y="599"/>
                  </a:cubicBezTo>
                  <a:cubicBezTo>
                    <a:pt x="460" y="599"/>
                    <a:pt x="451" y="598"/>
                    <a:pt x="444" y="596"/>
                  </a:cubicBezTo>
                  <a:cubicBezTo>
                    <a:pt x="441" y="594"/>
                    <a:pt x="441" y="594"/>
                    <a:pt x="441" y="594"/>
                  </a:cubicBezTo>
                  <a:cubicBezTo>
                    <a:pt x="413" y="584"/>
                    <a:pt x="394" y="556"/>
                    <a:pt x="394" y="526"/>
                  </a:cubicBezTo>
                  <a:cubicBezTo>
                    <a:pt x="394" y="486"/>
                    <a:pt x="426" y="453"/>
                    <a:pt x="467" y="453"/>
                  </a:cubicBezTo>
                  <a:cubicBezTo>
                    <a:pt x="474" y="453"/>
                    <a:pt x="482" y="455"/>
                    <a:pt x="489" y="457"/>
                  </a:cubicBezTo>
                  <a:cubicBezTo>
                    <a:pt x="473" y="478"/>
                    <a:pt x="464" y="505"/>
                    <a:pt x="464" y="533"/>
                  </a:cubicBezTo>
                  <a:cubicBezTo>
                    <a:pt x="464" y="556"/>
                    <a:pt x="470" y="578"/>
                    <a:pt x="481" y="597"/>
                  </a:cubicBezTo>
                  <a:close/>
                  <a:moveTo>
                    <a:pt x="490" y="329"/>
                  </a:moveTo>
                  <a:cubicBezTo>
                    <a:pt x="475" y="321"/>
                    <a:pt x="475" y="321"/>
                    <a:pt x="475" y="321"/>
                  </a:cubicBezTo>
                  <a:cubicBezTo>
                    <a:pt x="473" y="319"/>
                    <a:pt x="470" y="319"/>
                    <a:pt x="467" y="319"/>
                  </a:cubicBezTo>
                  <a:cubicBezTo>
                    <a:pt x="466" y="319"/>
                    <a:pt x="464" y="319"/>
                    <a:pt x="463" y="319"/>
                  </a:cubicBezTo>
                  <a:cubicBezTo>
                    <a:pt x="426" y="326"/>
                    <a:pt x="426" y="326"/>
                    <a:pt x="426" y="326"/>
                  </a:cubicBezTo>
                  <a:cubicBezTo>
                    <a:pt x="426" y="326"/>
                    <a:pt x="425" y="326"/>
                    <a:pt x="425" y="326"/>
                  </a:cubicBezTo>
                  <a:cubicBezTo>
                    <a:pt x="400" y="304"/>
                    <a:pt x="400" y="304"/>
                    <a:pt x="400" y="304"/>
                  </a:cubicBezTo>
                  <a:cubicBezTo>
                    <a:pt x="400" y="304"/>
                    <a:pt x="400" y="304"/>
                    <a:pt x="400" y="303"/>
                  </a:cubicBezTo>
                  <a:cubicBezTo>
                    <a:pt x="400" y="259"/>
                    <a:pt x="400" y="259"/>
                    <a:pt x="400" y="259"/>
                  </a:cubicBezTo>
                  <a:cubicBezTo>
                    <a:pt x="400" y="259"/>
                    <a:pt x="400" y="258"/>
                    <a:pt x="400" y="258"/>
                  </a:cubicBezTo>
                  <a:cubicBezTo>
                    <a:pt x="430" y="219"/>
                    <a:pt x="430" y="219"/>
                    <a:pt x="430" y="219"/>
                  </a:cubicBezTo>
                  <a:cubicBezTo>
                    <a:pt x="431" y="219"/>
                    <a:pt x="431" y="219"/>
                    <a:pt x="431" y="219"/>
                  </a:cubicBezTo>
                  <a:cubicBezTo>
                    <a:pt x="458" y="211"/>
                    <a:pt x="458" y="211"/>
                    <a:pt x="458" y="211"/>
                  </a:cubicBezTo>
                  <a:cubicBezTo>
                    <a:pt x="481" y="207"/>
                    <a:pt x="481" y="207"/>
                    <a:pt x="481" y="207"/>
                  </a:cubicBezTo>
                  <a:cubicBezTo>
                    <a:pt x="481" y="207"/>
                    <a:pt x="481" y="207"/>
                    <a:pt x="482" y="207"/>
                  </a:cubicBezTo>
                  <a:cubicBezTo>
                    <a:pt x="482" y="207"/>
                    <a:pt x="482" y="208"/>
                    <a:pt x="482" y="208"/>
                  </a:cubicBezTo>
                  <a:cubicBezTo>
                    <a:pt x="483" y="214"/>
                    <a:pt x="487" y="219"/>
                    <a:pt x="492" y="222"/>
                  </a:cubicBezTo>
                  <a:cubicBezTo>
                    <a:pt x="511" y="230"/>
                    <a:pt x="511" y="230"/>
                    <a:pt x="511" y="230"/>
                  </a:cubicBezTo>
                  <a:cubicBezTo>
                    <a:pt x="514" y="231"/>
                    <a:pt x="516" y="232"/>
                    <a:pt x="518" y="232"/>
                  </a:cubicBezTo>
                  <a:cubicBezTo>
                    <a:pt x="524" y="232"/>
                    <a:pt x="529" y="229"/>
                    <a:pt x="533" y="224"/>
                  </a:cubicBezTo>
                  <a:cubicBezTo>
                    <a:pt x="533" y="224"/>
                    <a:pt x="533" y="224"/>
                    <a:pt x="533" y="224"/>
                  </a:cubicBezTo>
                  <a:cubicBezTo>
                    <a:pt x="534" y="223"/>
                    <a:pt x="535" y="223"/>
                    <a:pt x="535" y="223"/>
                  </a:cubicBezTo>
                  <a:cubicBezTo>
                    <a:pt x="554" y="228"/>
                    <a:pt x="554" y="228"/>
                    <a:pt x="554" y="228"/>
                  </a:cubicBezTo>
                  <a:cubicBezTo>
                    <a:pt x="558" y="229"/>
                    <a:pt x="561" y="229"/>
                    <a:pt x="565" y="228"/>
                  </a:cubicBezTo>
                  <a:cubicBezTo>
                    <a:pt x="566" y="228"/>
                    <a:pt x="566" y="228"/>
                    <a:pt x="566" y="228"/>
                  </a:cubicBezTo>
                  <a:cubicBezTo>
                    <a:pt x="579" y="259"/>
                    <a:pt x="586" y="293"/>
                    <a:pt x="586" y="328"/>
                  </a:cubicBezTo>
                  <a:cubicBezTo>
                    <a:pt x="586" y="355"/>
                    <a:pt x="582" y="382"/>
                    <a:pt x="574" y="407"/>
                  </a:cubicBezTo>
                  <a:cubicBezTo>
                    <a:pt x="548" y="411"/>
                    <a:pt x="524" y="422"/>
                    <a:pt x="506" y="439"/>
                  </a:cubicBezTo>
                  <a:cubicBezTo>
                    <a:pt x="502" y="429"/>
                    <a:pt x="502" y="429"/>
                    <a:pt x="502" y="429"/>
                  </a:cubicBezTo>
                  <a:cubicBezTo>
                    <a:pt x="502" y="428"/>
                    <a:pt x="502" y="428"/>
                    <a:pt x="502" y="427"/>
                  </a:cubicBezTo>
                  <a:cubicBezTo>
                    <a:pt x="510" y="403"/>
                    <a:pt x="510" y="403"/>
                    <a:pt x="510" y="403"/>
                  </a:cubicBezTo>
                  <a:cubicBezTo>
                    <a:pt x="512" y="399"/>
                    <a:pt x="512" y="394"/>
                    <a:pt x="510" y="390"/>
                  </a:cubicBezTo>
                  <a:cubicBezTo>
                    <a:pt x="497" y="361"/>
                    <a:pt x="497" y="361"/>
                    <a:pt x="497" y="361"/>
                  </a:cubicBezTo>
                  <a:cubicBezTo>
                    <a:pt x="497" y="360"/>
                    <a:pt x="497" y="360"/>
                    <a:pt x="497" y="360"/>
                  </a:cubicBezTo>
                  <a:cubicBezTo>
                    <a:pt x="499" y="347"/>
                    <a:pt x="499" y="347"/>
                    <a:pt x="499" y="347"/>
                  </a:cubicBezTo>
                  <a:cubicBezTo>
                    <a:pt x="500" y="339"/>
                    <a:pt x="496" y="332"/>
                    <a:pt x="490" y="329"/>
                  </a:cubicBezTo>
                  <a:close/>
                  <a:moveTo>
                    <a:pt x="322" y="629"/>
                  </a:moveTo>
                  <a:cubicBezTo>
                    <a:pt x="153" y="629"/>
                    <a:pt x="16" y="491"/>
                    <a:pt x="16" y="322"/>
                  </a:cubicBezTo>
                  <a:cubicBezTo>
                    <a:pt x="16" y="153"/>
                    <a:pt x="153" y="16"/>
                    <a:pt x="322" y="16"/>
                  </a:cubicBezTo>
                  <a:cubicBezTo>
                    <a:pt x="491" y="16"/>
                    <a:pt x="629" y="153"/>
                    <a:pt x="629" y="322"/>
                  </a:cubicBezTo>
                  <a:cubicBezTo>
                    <a:pt x="629" y="352"/>
                    <a:pt x="624" y="381"/>
                    <a:pt x="616" y="409"/>
                  </a:cubicBezTo>
                  <a:cubicBezTo>
                    <a:pt x="608" y="407"/>
                    <a:pt x="600" y="406"/>
                    <a:pt x="591" y="406"/>
                  </a:cubicBezTo>
                  <a:cubicBezTo>
                    <a:pt x="598" y="381"/>
                    <a:pt x="602" y="355"/>
                    <a:pt x="602" y="328"/>
                  </a:cubicBezTo>
                  <a:cubicBezTo>
                    <a:pt x="602" y="289"/>
                    <a:pt x="594" y="251"/>
                    <a:pt x="579" y="216"/>
                  </a:cubicBezTo>
                  <a:cubicBezTo>
                    <a:pt x="577" y="212"/>
                    <a:pt x="577" y="212"/>
                    <a:pt x="577" y="212"/>
                  </a:cubicBezTo>
                  <a:cubicBezTo>
                    <a:pt x="573" y="211"/>
                    <a:pt x="573" y="211"/>
                    <a:pt x="573" y="211"/>
                  </a:cubicBezTo>
                  <a:cubicBezTo>
                    <a:pt x="570" y="210"/>
                    <a:pt x="567" y="210"/>
                    <a:pt x="564" y="211"/>
                  </a:cubicBezTo>
                  <a:cubicBezTo>
                    <a:pt x="560" y="213"/>
                    <a:pt x="560" y="213"/>
                    <a:pt x="560" y="213"/>
                  </a:cubicBezTo>
                  <a:cubicBezTo>
                    <a:pt x="559" y="213"/>
                    <a:pt x="559" y="213"/>
                    <a:pt x="558" y="213"/>
                  </a:cubicBezTo>
                  <a:cubicBezTo>
                    <a:pt x="540" y="208"/>
                    <a:pt x="540" y="208"/>
                    <a:pt x="540" y="208"/>
                  </a:cubicBezTo>
                  <a:cubicBezTo>
                    <a:pt x="538" y="207"/>
                    <a:pt x="536" y="207"/>
                    <a:pt x="535" y="207"/>
                  </a:cubicBezTo>
                  <a:cubicBezTo>
                    <a:pt x="529" y="207"/>
                    <a:pt x="524" y="210"/>
                    <a:pt x="520" y="214"/>
                  </a:cubicBezTo>
                  <a:cubicBezTo>
                    <a:pt x="520" y="215"/>
                    <a:pt x="520" y="215"/>
                    <a:pt x="520" y="215"/>
                  </a:cubicBezTo>
                  <a:cubicBezTo>
                    <a:pt x="519" y="215"/>
                    <a:pt x="519" y="216"/>
                    <a:pt x="518" y="216"/>
                  </a:cubicBezTo>
                  <a:cubicBezTo>
                    <a:pt x="518" y="216"/>
                    <a:pt x="518" y="216"/>
                    <a:pt x="518" y="215"/>
                  </a:cubicBezTo>
                  <a:cubicBezTo>
                    <a:pt x="499" y="207"/>
                    <a:pt x="499" y="207"/>
                    <a:pt x="499" y="207"/>
                  </a:cubicBezTo>
                  <a:cubicBezTo>
                    <a:pt x="498" y="207"/>
                    <a:pt x="498" y="207"/>
                    <a:pt x="498" y="206"/>
                  </a:cubicBezTo>
                  <a:cubicBezTo>
                    <a:pt x="498" y="201"/>
                    <a:pt x="495" y="197"/>
                    <a:pt x="491" y="194"/>
                  </a:cubicBezTo>
                  <a:cubicBezTo>
                    <a:pt x="487" y="191"/>
                    <a:pt x="483" y="190"/>
                    <a:pt x="478" y="191"/>
                  </a:cubicBezTo>
                  <a:cubicBezTo>
                    <a:pt x="455" y="195"/>
                    <a:pt x="455" y="195"/>
                    <a:pt x="455" y="195"/>
                  </a:cubicBezTo>
                  <a:cubicBezTo>
                    <a:pt x="454" y="195"/>
                    <a:pt x="454" y="195"/>
                    <a:pt x="453" y="195"/>
                  </a:cubicBezTo>
                  <a:cubicBezTo>
                    <a:pt x="427" y="203"/>
                    <a:pt x="427" y="203"/>
                    <a:pt x="427" y="203"/>
                  </a:cubicBezTo>
                  <a:cubicBezTo>
                    <a:pt x="423" y="204"/>
                    <a:pt x="420" y="206"/>
                    <a:pt x="418" y="209"/>
                  </a:cubicBezTo>
                  <a:cubicBezTo>
                    <a:pt x="387" y="248"/>
                    <a:pt x="387" y="248"/>
                    <a:pt x="387" y="248"/>
                  </a:cubicBezTo>
                  <a:cubicBezTo>
                    <a:pt x="385" y="251"/>
                    <a:pt x="384" y="255"/>
                    <a:pt x="384" y="259"/>
                  </a:cubicBezTo>
                  <a:cubicBezTo>
                    <a:pt x="384" y="303"/>
                    <a:pt x="384" y="303"/>
                    <a:pt x="384" y="303"/>
                  </a:cubicBezTo>
                  <a:cubicBezTo>
                    <a:pt x="384" y="308"/>
                    <a:pt x="386" y="313"/>
                    <a:pt x="390" y="317"/>
                  </a:cubicBezTo>
                  <a:cubicBezTo>
                    <a:pt x="414" y="338"/>
                    <a:pt x="414" y="338"/>
                    <a:pt x="414" y="338"/>
                  </a:cubicBezTo>
                  <a:cubicBezTo>
                    <a:pt x="418" y="341"/>
                    <a:pt x="424" y="343"/>
                    <a:pt x="429" y="342"/>
                  </a:cubicBezTo>
                  <a:cubicBezTo>
                    <a:pt x="466" y="335"/>
                    <a:pt x="466" y="335"/>
                    <a:pt x="466" y="335"/>
                  </a:cubicBezTo>
                  <a:cubicBezTo>
                    <a:pt x="467" y="335"/>
                    <a:pt x="467" y="335"/>
                    <a:pt x="468" y="335"/>
                  </a:cubicBezTo>
                  <a:cubicBezTo>
                    <a:pt x="482" y="343"/>
                    <a:pt x="482" y="343"/>
                    <a:pt x="482" y="343"/>
                  </a:cubicBezTo>
                  <a:cubicBezTo>
                    <a:pt x="483" y="343"/>
                    <a:pt x="483" y="344"/>
                    <a:pt x="483" y="345"/>
                  </a:cubicBezTo>
                  <a:cubicBezTo>
                    <a:pt x="481" y="358"/>
                    <a:pt x="481" y="358"/>
                    <a:pt x="481" y="358"/>
                  </a:cubicBezTo>
                  <a:cubicBezTo>
                    <a:pt x="481" y="361"/>
                    <a:pt x="481" y="364"/>
                    <a:pt x="483" y="367"/>
                  </a:cubicBezTo>
                  <a:cubicBezTo>
                    <a:pt x="495" y="396"/>
                    <a:pt x="495" y="396"/>
                    <a:pt x="495" y="396"/>
                  </a:cubicBezTo>
                  <a:cubicBezTo>
                    <a:pt x="495" y="397"/>
                    <a:pt x="496" y="397"/>
                    <a:pt x="495" y="398"/>
                  </a:cubicBezTo>
                  <a:cubicBezTo>
                    <a:pt x="487" y="422"/>
                    <a:pt x="487" y="422"/>
                    <a:pt x="487" y="422"/>
                  </a:cubicBezTo>
                  <a:cubicBezTo>
                    <a:pt x="485" y="426"/>
                    <a:pt x="485" y="430"/>
                    <a:pt x="487" y="434"/>
                  </a:cubicBezTo>
                  <a:cubicBezTo>
                    <a:pt x="489" y="441"/>
                    <a:pt x="489" y="441"/>
                    <a:pt x="489" y="441"/>
                  </a:cubicBezTo>
                  <a:cubicBezTo>
                    <a:pt x="482" y="439"/>
                    <a:pt x="474" y="438"/>
                    <a:pt x="467" y="438"/>
                  </a:cubicBezTo>
                  <a:cubicBezTo>
                    <a:pt x="418" y="438"/>
                    <a:pt x="378" y="477"/>
                    <a:pt x="378" y="526"/>
                  </a:cubicBezTo>
                  <a:cubicBezTo>
                    <a:pt x="378" y="556"/>
                    <a:pt x="393" y="583"/>
                    <a:pt x="417" y="599"/>
                  </a:cubicBezTo>
                  <a:cubicBezTo>
                    <a:pt x="400" y="605"/>
                    <a:pt x="385" y="614"/>
                    <a:pt x="371" y="625"/>
                  </a:cubicBezTo>
                  <a:cubicBezTo>
                    <a:pt x="370" y="625"/>
                    <a:pt x="368" y="626"/>
                    <a:pt x="366" y="626"/>
                  </a:cubicBezTo>
                  <a:lnTo>
                    <a:pt x="322" y="629"/>
                  </a:lnTo>
                  <a:close/>
                  <a:moveTo>
                    <a:pt x="332" y="726"/>
                  </a:moveTo>
                  <a:cubicBezTo>
                    <a:pt x="339" y="669"/>
                    <a:pt x="381" y="622"/>
                    <a:pt x="437" y="610"/>
                  </a:cubicBezTo>
                  <a:cubicBezTo>
                    <a:pt x="446" y="613"/>
                    <a:pt x="458" y="614"/>
                    <a:pt x="469" y="614"/>
                  </a:cubicBezTo>
                  <a:cubicBezTo>
                    <a:pt x="476" y="614"/>
                    <a:pt x="483" y="613"/>
                    <a:pt x="491" y="611"/>
                  </a:cubicBezTo>
                  <a:cubicBezTo>
                    <a:pt x="500" y="624"/>
                    <a:pt x="512" y="634"/>
                    <a:pt x="526" y="643"/>
                  </a:cubicBezTo>
                  <a:cubicBezTo>
                    <a:pt x="479" y="657"/>
                    <a:pt x="439" y="687"/>
                    <a:pt x="411" y="726"/>
                  </a:cubicBezTo>
                  <a:lnTo>
                    <a:pt x="332" y="726"/>
                  </a:lnTo>
                  <a:close/>
                  <a:moveTo>
                    <a:pt x="794" y="832"/>
                  </a:moveTo>
                  <a:cubicBezTo>
                    <a:pt x="387" y="832"/>
                    <a:pt x="387" y="832"/>
                    <a:pt x="387" y="832"/>
                  </a:cubicBezTo>
                  <a:cubicBezTo>
                    <a:pt x="397" y="744"/>
                    <a:pt x="461" y="672"/>
                    <a:pt x="548" y="653"/>
                  </a:cubicBezTo>
                  <a:cubicBezTo>
                    <a:pt x="591" y="705"/>
                    <a:pt x="591" y="705"/>
                    <a:pt x="591" y="705"/>
                  </a:cubicBezTo>
                  <a:cubicBezTo>
                    <a:pt x="634" y="653"/>
                    <a:pt x="634" y="653"/>
                    <a:pt x="634" y="653"/>
                  </a:cubicBezTo>
                  <a:cubicBezTo>
                    <a:pt x="720" y="672"/>
                    <a:pt x="785" y="744"/>
                    <a:pt x="794" y="832"/>
                  </a:cubicBezTo>
                  <a:close/>
                  <a:moveTo>
                    <a:pt x="770" y="726"/>
                  </a:moveTo>
                  <a:cubicBezTo>
                    <a:pt x="743" y="687"/>
                    <a:pt x="703" y="657"/>
                    <a:pt x="655" y="643"/>
                  </a:cubicBezTo>
                  <a:cubicBezTo>
                    <a:pt x="669" y="635"/>
                    <a:pt x="680" y="625"/>
                    <a:pt x="690" y="613"/>
                  </a:cubicBezTo>
                  <a:cubicBezTo>
                    <a:pt x="694" y="614"/>
                    <a:pt x="698" y="614"/>
                    <a:pt x="702" y="614"/>
                  </a:cubicBezTo>
                  <a:cubicBezTo>
                    <a:pt x="711" y="614"/>
                    <a:pt x="720" y="613"/>
                    <a:pt x="729" y="610"/>
                  </a:cubicBezTo>
                  <a:cubicBezTo>
                    <a:pt x="785" y="622"/>
                    <a:pt x="828" y="669"/>
                    <a:pt x="835" y="726"/>
                  </a:cubicBezTo>
                  <a:lnTo>
                    <a:pt x="770" y="7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22" name="Group 47121">
            <a:extLst>
              <a:ext uri="{FF2B5EF4-FFF2-40B4-BE49-F238E27FC236}">
                <a16:creationId xmlns:a16="http://schemas.microsoft.com/office/drawing/2014/main" id="{94278165-EC32-4C39-A1B9-E54480502230}"/>
              </a:ext>
            </a:extLst>
          </p:cNvPr>
          <p:cNvGrpSpPr/>
          <p:nvPr/>
        </p:nvGrpSpPr>
        <p:grpSpPr>
          <a:xfrm>
            <a:off x="6977063" y="4191000"/>
            <a:ext cx="842962" cy="841375"/>
            <a:chOff x="6977063" y="4191000"/>
            <a:chExt cx="842962" cy="841375"/>
          </a:xfrm>
        </p:grpSpPr>
        <p:sp>
          <p:nvSpPr>
            <p:cNvPr id="47116" name="AutoShape 10">
              <a:extLst>
                <a:ext uri="{FF2B5EF4-FFF2-40B4-BE49-F238E27FC236}">
                  <a16:creationId xmlns:a16="http://schemas.microsoft.com/office/drawing/2014/main" id="{51862665-5E73-42C7-BA23-C1CD107E01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77063" y="4191000"/>
              <a:ext cx="842962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7" name="Oval 12">
              <a:extLst>
                <a:ext uri="{FF2B5EF4-FFF2-40B4-BE49-F238E27FC236}">
                  <a16:creationId xmlns:a16="http://schemas.microsoft.com/office/drawing/2014/main" id="{A5974D37-3B82-471B-8C2B-6190BEBBA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7063" y="4191000"/>
              <a:ext cx="842962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8" name="Freeform 13">
              <a:extLst>
                <a:ext uri="{FF2B5EF4-FFF2-40B4-BE49-F238E27FC236}">
                  <a16:creationId xmlns:a16="http://schemas.microsoft.com/office/drawing/2014/main" id="{E2EA932C-E5F8-411A-8F0F-29B5AE205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0400" y="4224338"/>
              <a:ext cx="776287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19" name="Freeform 14">
              <a:extLst>
                <a:ext uri="{FF2B5EF4-FFF2-40B4-BE49-F238E27FC236}">
                  <a16:creationId xmlns:a16="http://schemas.microsoft.com/office/drawing/2014/main" id="{EED79146-1C8F-48DB-A0D7-89B443757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1375" y="4406900"/>
              <a:ext cx="147637" cy="273050"/>
            </a:xfrm>
            <a:custGeom>
              <a:avLst/>
              <a:gdLst>
                <a:gd name="T0" fmla="*/ 208 w 283"/>
                <a:gd name="T1" fmla="*/ 260 h 519"/>
                <a:gd name="T2" fmla="*/ 127 w 283"/>
                <a:gd name="T3" fmla="*/ 241 h 519"/>
                <a:gd name="T4" fmla="*/ 113 w 283"/>
                <a:gd name="T5" fmla="*/ 230 h 519"/>
                <a:gd name="T6" fmla="*/ 92 w 283"/>
                <a:gd name="T7" fmla="*/ 194 h 519"/>
                <a:gd name="T8" fmla="*/ 68 w 283"/>
                <a:gd name="T9" fmla="*/ 202 h 519"/>
                <a:gd name="T10" fmla="*/ 88 w 283"/>
                <a:gd name="T11" fmla="*/ 181 h 519"/>
                <a:gd name="T12" fmla="*/ 125 w 283"/>
                <a:gd name="T13" fmla="*/ 203 h 519"/>
                <a:gd name="T14" fmla="*/ 157 w 283"/>
                <a:gd name="T15" fmla="*/ 141 h 519"/>
                <a:gd name="T16" fmla="*/ 175 w 283"/>
                <a:gd name="T17" fmla="*/ 125 h 519"/>
                <a:gd name="T18" fmla="*/ 208 w 283"/>
                <a:gd name="T19" fmla="*/ 93 h 519"/>
                <a:gd name="T20" fmla="*/ 233 w 283"/>
                <a:gd name="T21" fmla="*/ 61 h 519"/>
                <a:gd name="T22" fmla="*/ 202 w 283"/>
                <a:gd name="T23" fmla="*/ 35 h 519"/>
                <a:gd name="T24" fmla="*/ 172 w 283"/>
                <a:gd name="T25" fmla="*/ 59 h 519"/>
                <a:gd name="T26" fmla="*/ 156 w 283"/>
                <a:gd name="T27" fmla="*/ 57 h 519"/>
                <a:gd name="T28" fmla="*/ 173 w 283"/>
                <a:gd name="T29" fmla="*/ 41 h 519"/>
                <a:gd name="T30" fmla="*/ 175 w 283"/>
                <a:gd name="T31" fmla="*/ 5 h 519"/>
                <a:gd name="T32" fmla="*/ 0 w 283"/>
                <a:gd name="T33" fmla="*/ 170 h 519"/>
                <a:gd name="T34" fmla="*/ 48 w 283"/>
                <a:gd name="T35" fmla="*/ 241 h 519"/>
                <a:gd name="T36" fmla="*/ 100 w 283"/>
                <a:gd name="T37" fmla="*/ 276 h 519"/>
                <a:gd name="T38" fmla="*/ 102 w 283"/>
                <a:gd name="T39" fmla="*/ 289 h 519"/>
                <a:gd name="T40" fmla="*/ 138 w 283"/>
                <a:gd name="T41" fmla="*/ 369 h 519"/>
                <a:gd name="T42" fmla="*/ 158 w 283"/>
                <a:gd name="T43" fmla="*/ 489 h 519"/>
                <a:gd name="T44" fmla="*/ 214 w 283"/>
                <a:gd name="T45" fmla="*/ 514 h 519"/>
                <a:gd name="T46" fmla="*/ 206 w 283"/>
                <a:gd name="T47" fmla="*/ 478 h 519"/>
                <a:gd name="T48" fmla="*/ 258 w 283"/>
                <a:gd name="T49" fmla="*/ 387 h 519"/>
                <a:gd name="T50" fmla="*/ 283 w 283"/>
                <a:gd name="T51" fmla="*/ 317 h 519"/>
                <a:gd name="T52" fmla="*/ 245 w 283"/>
                <a:gd name="T53" fmla="*/ 378 h 519"/>
                <a:gd name="T54" fmla="*/ 192 w 283"/>
                <a:gd name="T55" fmla="*/ 458 h 519"/>
                <a:gd name="T56" fmla="*/ 174 w 283"/>
                <a:gd name="T57" fmla="*/ 485 h 519"/>
                <a:gd name="T58" fmla="*/ 155 w 283"/>
                <a:gd name="T59" fmla="*/ 369 h 519"/>
                <a:gd name="T60" fmla="*/ 116 w 283"/>
                <a:gd name="T61" fmla="*/ 298 h 519"/>
                <a:gd name="T62" fmla="*/ 110 w 283"/>
                <a:gd name="T63" fmla="*/ 262 h 519"/>
                <a:gd name="T64" fmla="*/ 80 w 283"/>
                <a:gd name="T65" fmla="*/ 236 h 519"/>
                <a:gd name="T66" fmla="*/ 23 w 283"/>
                <a:gd name="T67" fmla="*/ 201 h 519"/>
                <a:gd name="T68" fmla="*/ 169 w 283"/>
                <a:gd name="T69" fmla="*/ 20 h 519"/>
                <a:gd name="T70" fmla="*/ 144 w 283"/>
                <a:gd name="T71" fmla="*/ 37 h 519"/>
                <a:gd name="T72" fmla="*/ 150 w 283"/>
                <a:gd name="T73" fmla="*/ 72 h 519"/>
                <a:gd name="T74" fmla="*/ 186 w 283"/>
                <a:gd name="T75" fmla="*/ 67 h 519"/>
                <a:gd name="T76" fmla="*/ 207 w 283"/>
                <a:gd name="T77" fmla="*/ 53 h 519"/>
                <a:gd name="T78" fmla="*/ 219 w 283"/>
                <a:gd name="T79" fmla="*/ 75 h 519"/>
                <a:gd name="T80" fmla="*/ 192 w 283"/>
                <a:gd name="T81" fmla="*/ 100 h 519"/>
                <a:gd name="T82" fmla="*/ 149 w 283"/>
                <a:gd name="T83" fmla="*/ 122 h 519"/>
                <a:gd name="T84" fmla="*/ 122 w 283"/>
                <a:gd name="T85" fmla="*/ 152 h 519"/>
                <a:gd name="T86" fmla="*/ 101 w 283"/>
                <a:gd name="T87" fmla="*/ 161 h 519"/>
                <a:gd name="T88" fmla="*/ 51 w 283"/>
                <a:gd name="T89" fmla="*/ 198 h 519"/>
                <a:gd name="T90" fmla="*/ 84 w 283"/>
                <a:gd name="T91" fmla="*/ 217 h 519"/>
                <a:gd name="T92" fmla="*/ 90 w 283"/>
                <a:gd name="T93" fmla="*/ 217 h 519"/>
                <a:gd name="T94" fmla="*/ 109 w 283"/>
                <a:gd name="T95" fmla="*/ 252 h 519"/>
                <a:gd name="T96" fmla="*/ 155 w 283"/>
                <a:gd name="T97" fmla="*/ 247 h 519"/>
                <a:gd name="T98" fmla="*/ 220 w 283"/>
                <a:gd name="T99" fmla="*/ 301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3" h="519">
                  <a:moveTo>
                    <a:pt x="270" y="300"/>
                  </a:moveTo>
                  <a:cubicBezTo>
                    <a:pt x="225" y="286"/>
                    <a:pt x="225" y="286"/>
                    <a:pt x="225" y="286"/>
                  </a:cubicBezTo>
                  <a:cubicBezTo>
                    <a:pt x="224" y="286"/>
                    <a:pt x="224" y="285"/>
                    <a:pt x="224" y="285"/>
                  </a:cubicBezTo>
                  <a:cubicBezTo>
                    <a:pt x="208" y="260"/>
                    <a:pt x="208" y="260"/>
                    <a:pt x="208" y="260"/>
                  </a:cubicBezTo>
                  <a:cubicBezTo>
                    <a:pt x="207" y="258"/>
                    <a:pt x="204" y="256"/>
                    <a:pt x="202" y="254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58" y="231"/>
                    <a:pt x="152" y="230"/>
                    <a:pt x="147" y="232"/>
                  </a:cubicBezTo>
                  <a:cubicBezTo>
                    <a:pt x="127" y="241"/>
                    <a:pt x="127" y="241"/>
                    <a:pt x="127" y="241"/>
                  </a:cubicBezTo>
                  <a:cubicBezTo>
                    <a:pt x="127" y="241"/>
                    <a:pt x="126" y="241"/>
                    <a:pt x="126" y="241"/>
                  </a:cubicBezTo>
                  <a:cubicBezTo>
                    <a:pt x="114" y="237"/>
                    <a:pt x="114" y="237"/>
                    <a:pt x="114" y="237"/>
                  </a:cubicBezTo>
                  <a:cubicBezTo>
                    <a:pt x="113" y="237"/>
                    <a:pt x="113" y="236"/>
                    <a:pt x="113" y="235"/>
                  </a:cubicBezTo>
                  <a:cubicBezTo>
                    <a:pt x="113" y="230"/>
                    <a:pt x="113" y="230"/>
                    <a:pt x="113" y="230"/>
                  </a:cubicBezTo>
                  <a:cubicBezTo>
                    <a:pt x="112" y="226"/>
                    <a:pt x="110" y="222"/>
                    <a:pt x="106" y="220"/>
                  </a:cubicBezTo>
                  <a:cubicBezTo>
                    <a:pt x="107" y="219"/>
                    <a:pt x="107" y="219"/>
                    <a:pt x="107" y="219"/>
                  </a:cubicBezTo>
                  <a:cubicBezTo>
                    <a:pt x="111" y="212"/>
                    <a:pt x="109" y="203"/>
                    <a:pt x="103" y="198"/>
                  </a:cubicBezTo>
                  <a:cubicBezTo>
                    <a:pt x="100" y="195"/>
                    <a:pt x="96" y="194"/>
                    <a:pt x="92" y="194"/>
                  </a:cubicBezTo>
                  <a:cubicBezTo>
                    <a:pt x="88" y="194"/>
                    <a:pt x="85" y="195"/>
                    <a:pt x="82" y="198"/>
                  </a:cubicBezTo>
                  <a:cubicBezTo>
                    <a:pt x="74" y="204"/>
                    <a:pt x="74" y="204"/>
                    <a:pt x="74" y="204"/>
                  </a:cubicBezTo>
                  <a:cubicBezTo>
                    <a:pt x="73" y="205"/>
                    <a:pt x="72" y="205"/>
                    <a:pt x="71" y="204"/>
                  </a:cubicBezTo>
                  <a:cubicBezTo>
                    <a:pt x="68" y="202"/>
                    <a:pt x="68" y="202"/>
                    <a:pt x="68" y="202"/>
                  </a:cubicBezTo>
                  <a:cubicBezTo>
                    <a:pt x="68" y="201"/>
                    <a:pt x="67" y="201"/>
                    <a:pt x="67" y="200"/>
                  </a:cubicBezTo>
                  <a:cubicBezTo>
                    <a:pt x="70" y="183"/>
                    <a:pt x="70" y="183"/>
                    <a:pt x="70" y="183"/>
                  </a:cubicBezTo>
                  <a:cubicBezTo>
                    <a:pt x="70" y="183"/>
                    <a:pt x="71" y="182"/>
                    <a:pt x="72" y="182"/>
                  </a:cubicBezTo>
                  <a:cubicBezTo>
                    <a:pt x="88" y="181"/>
                    <a:pt x="88" y="181"/>
                    <a:pt x="88" y="181"/>
                  </a:cubicBezTo>
                  <a:cubicBezTo>
                    <a:pt x="92" y="181"/>
                    <a:pt x="95" y="179"/>
                    <a:pt x="98" y="177"/>
                  </a:cubicBezTo>
                  <a:cubicBezTo>
                    <a:pt x="106" y="197"/>
                    <a:pt x="106" y="197"/>
                    <a:pt x="106" y="197"/>
                  </a:cubicBezTo>
                  <a:cubicBezTo>
                    <a:pt x="107" y="201"/>
                    <a:pt x="110" y="203"/>
                    <a:pt x="114" y="205"/>
                  </a:cubicBezTo>
                  <a:cubicBezTo>
                    <a:pt x="117" y="206"/>
                    <a:pt x="121" y="205"/>
                    <a:pt x="125" y="203"/>
                  </a:cubicBezTo>
                  <a:cubicBezTo>
                    <a:pt x="130" y="200"/>
                    <a:pt x="133" y="194"/>
                    <a:pt x="133" y="187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53" y="152"/>
                    <a:pt x="156" y="147"/>
                    <a:pt x="157" y="141"/>
                  </a:cubicBezTo>
                  <a:cubicBezTo>
                    <a:pt x="157" y="137"/>
                    <a:pt x="157" y="137"/>
                    <a:pt x="157" y="137"/>
                  </a:cubicBezTo>
                  <a:cubicBezTo>
                    <a:pt x="157" y="137"/>
                    <a:pt x="157" y="136"/>
                    <a:pt x="158" y="136"/>
                  </a:cubicBezTo>
                  <a:cubicBezTo>
                    <a:pt x="174" y="126"/>
                    <a:pt x="174" y="126"/>
                    <a:pt x="174" y="126"/>
                  </a:cubicBezTo>
                  <a:cubicBezTo>
                    <a:pt x="174" y="126"/>
                    <a:pt x="174" y="126"/>
                    <a:pt x="175" y="125"/>
                  </a:cubicBezTo>
                  <a:cubicBezTo>
                    <a:pt x="198" y="115"/>
                    <a:pt x="198" y="115"/>
                    <a:pt x="198" y="115"/>
                  </a:cubicBezTo>
                  <a:cubicBezTo>
                    <a:pt x="206" y="112"/>
                    <a:pt x="210" y="102"/>
                    <a:pt x="207" y="94"/>
                  </a:cubicBezTo>
                  <a:cubicBezTo>
                    <a:pt x="207" y="94"/>
                    <a:pt x="207" y="94"/>
                    <a:pt x="207" y="93"/>
                  </a:cubicBezTo>
                  <a:cubicBezTo>
                    <a:pt x="207" y="93"/>
                    <a:pt x="207" y="93"/>
                    <a:pt x="208" y="93"/>
                  </a:cubicBezTo>
                  <a:cubicBezTo>
                    <a:pt x="220" y="91"/>
                    <a:pt x="220" y="91"/>
                    <a:pt x="220" y="91"/>
                  </a:cubicBezTo>
                  <a:cubicBezTo>
                    <a:pt x="225" y="91"/>
                    <a:pt x="230" y="88"/>
                    <a:pt x="233" y="84"/>
                  </a:cubicBezTo>
                  <a:cubicBezTo>
                    <a:pt x="235" y="79"/>
                    <a:pt x="236" y="74"/>
                    <a:pt x="235" y="69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2" y="58"/>
                    <a:pt x="230" y="56"/>
                    <a:pt x="229" y="54"/>
                  </a:cubicBezTo>
                  <a:cubicBezTo>
                    <a:pt x="219" y="43"/>
                    <a:pt x="219" y="43"/>
                    <a:pt x="219" y="43"/>
                  </a:cubicBezTo>
                  <a:cubicBezTo>
                    <a:pt x="217" y="40"/>
                    <a:pt x="214" y="38"/>
                    <a:pt x="211" y="37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0" y="34"/>
                    <a:pt x="199" y="34"/>
                    <a:pt x="197" y="34"/>
                  </a:cubicBezTo>
                  <a:cubicBezTo>
                    <a:pt x="190" y="34"/>
                    <a:pt x="185" y="37"/>
                    <a:pt x="181" y="43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72" y="59"/>
                    <a:pt x="172" y="59"/>
                    <a:pt x="172" y="59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6" y="66"/>
                    <a:pt x="166" y="66"/>
                    <a:pt x="165" y="66"/>
                  </a:cubicBezTo>
                  <a:cubicBezTo>
                    <a:pt x="165" y="66"/>
                    <a:pt x="165" y="66"/>
                    <a:pt x="165" y="66"/>
                  </a:cubicBezTo>
                  <a:cubicBezTo>
                    <a:pt x="163" y="62"/>
                    <a:pt x="160" y="59"/>
                    <a:pt x="156" y="57"/>
                  </a:cubicBezTo>
                  <a:cubicBezTo>
                    <a:pt x="151" y="55"/>
                    <a:pt x="151" y="55"/>
                    <a:pt x="151" y="55"/>
                  </a:cubicBezTo>
                  <a:cubicBezTo>
                    <a:pt x="151" y="55"/>
                    <a:pt x="150" y="54"/>
                    <a:pt x="150" y="53"/>
                  </a:cubicBezTo>
                  <a:cubicBezTo>
                    <a:pt x="150" y="53"/>
                    <a:pt x="151" y="52"/>
                    <a:pt x="151" y="52"/>
                  </a:cubicBezTo>
                  <a:cubicBezTo>
                    <a:pt x="173" y="41"/>
                    <a:pt x="173" y="41"/>
                    <a:pt x="173" y="41"/>
                  </a:cubicBezTo>
                  <a:cubicBezTo>
                    <a:pt x="175" y="39"/>
                    <a:pt x="177" y="38"/>
                    <a:pt x="178" y="36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5" y="28"/>
                    <a:pt x="186" y="22"/>
                    <a:pt x="185" y="17"/>
                  </a:cubicBezTo>
                  <a:cubicBezTo>
                    <a:pt x="184" y="12"/>
                    <a:pt x="180" y="7"/>
                    <a:pt x="175" y="5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87" y="31"/>
                    <a:pt x="28" y="92"/>
                    <a:pt x="1" y="168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7" y="204"/>
                    <a:pt x="7" y="204"/>
                    <a:pt x="7" y="204"/>
                  </a:cubicBezTo>
                  <a:cubicBezTo>
                    <a:pt x="8" y="208"/>
                    <a:pt x="10" y="212"/>
                    <a:pt x="13" y="215"/>
                  </a:cubicBezTo>
                  <a:cubicBezTo>
                    <a:pt x="43" y="238"/>
                    <a:pt x="43" y="238"/>
                    <a:pt x="43" y="238"/>
                  </a:cubicBezTo>
                  <a:cubicBezTo>
                    <a:pt x="44" y="239"/>
                    <a:pt x="46" y="240"/>
                    <a:pt x="48" y="241"/>
                  </a:cubicBezTo>
                  <a:cubicBezTo>
                    <a:pt x="75" y="251"/>
                    <a:pt x="75" y="251"/>
                    <a:pt x="75" y="251"/>
                  </a:cubicBezTo>
                  <a:cubicBezTo>
                    <a:pt x="75" y="251"/>
                    <a:pt x="76" y="251"/>
                    <a:pt x="76" y="251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93" y="273"/>
                    <a:pt x="96" y="275"/>
                    <a:pt x="100" y="276"/>
                  </a:cubicBezTo>
                  <a:cubicBezTo>
                    <a:pt x="105" y="278"/>
                    <a:pt x="105" y="278"/>
                    <a:pt x="105" y="278"/>
                  </a:cubicBezTo>
                  <a:cubicBezTo>
                    <a:pt x="106" y="278"/>
                    <a:pt x="106" y="278"/>
                    <a:pt x="107" y="279"/>
                  </a:cubicBezTo>
                  <a:cubicBezTo>
                    <a:pt x="107" y="279"/>
                    <a:pt x="107" y="280"/>
                    <a:pt x="106" y="280"/>
                  </a:cubicBezTo>
                  <a:cubicBezTo>
                    <a:pt x="102" y="289"/>
                    <a:pt x="102" y="289"/>
                    <a:pt x="102" y="289"/>
                  </a:cubicBezTo>
                  <a:cubicBezTo>
                    <a:pt x="99" y="294"/>
                    <a:pt x="99" y="298"/>
                    <a:pt x="100" y="303"/>
                  </a:cubicBezTo>
                  <a:cubicBezTo>
                    <a:pt x="114" y="348"/>
                    <a:pt x="114" y="348"/>
                    <a:pt x="114" y="348"/>
                  </a:cubicBezTo>
                  <a:cubicBezTo>
                    <a:pt x="115" y="352"/>
                    <a:pt x="118" y="356"/>
                    <a:pt x="121" y="358"/>
                  </a:cubicBezTo>
                  <a:cubicBezTo>
                    <a:pt x="138" y="369"/>
                    <a:pt x="138" y="369"/>
                    <a:pt x="138" y="369"/>
                  </a:cubicBezTo>
                  <a:cubicBezTo>
                    <a:pt x="139" y="369"/>
                    <a:pt x="139" y="370"/>
                    <a:pt x="139" y="370"/>
                  </a:cubicBezTo>
                  <a:cubicBezTo>
                    <a:pt x="144" y="444"/>
                    <a:pt x="144" y="444"/>
                    <a:pt x="144" y="444"/>
                  </a:cubicBezTo>
                  <a:cubicBezTo>
                    <a:pt x="144" y="446"/>
                    <a:pt x="144" y="447"/>
                    <a:pt x="145" y="449"/>
                  </a:cubicBezTo>
                  <a:cubicBezTo>
                    <a:pt x="158" y="489"/>
                    <a:pt x="158" y="489"/>
                    <a:pt x="158" y="489"/>
                  </a:cubicBezTo>
                  <a:cubicBezTo>
                    <a:pt x="160" y="494"/>
                    <a:pt x="163" y="497"/>
                    <a:pt x="166" y="499"/>
                  </a:cubicBezTo>
                  <a:cubicBezTo>
                    <a:pt x="197" y="517"/>
                    <a:pt x="197" y="517"/>
                    <a:pt x="197" y="517"/>
                  </a:cubicBezTo>
                  <a:cubicBezTo>
                    <a:pt x="199" y="518"/>
                    <a:pt x="202" y="519"/>
                    <a:pt x="204" y="519"/>
                  </a:cubicBezTo>
                  <a:cubicBezTo>
                    <a:pt x="208" y="519"/>
                    <a:pt x="211" y="517"/>
                    <a:pt x="214" y="514"/>
                  </a:cubicBezTo>
                  <a:cubicBezTo>
                    <a:pt x="214" y="514"/>
                    <a:pt x="214" y="514"/>
                    <a:pt x="214" y="514"/>
                  </a:cubicBezTo>
                  <a:cubicBezTo>
                    <a:pt x="217" y="510"/>
                    <a:pt x="218" y="504"/>
                    <a:pt x="216" y="500"/>
                  </a:cubicBezTo>
                  <a:cubicBezTo>
                    <a:pt x="206" y="479"/>
                    <a:pt x="206" y="479"/>
                    <a:pt x="206" y="479"/>
                  </a:cubicBezTo>
                  <a:cubicBezTo>
                    <a:pt x="206" y="479"/>
                    <a:pt x="206" y="479"/>
                    <a:pt x="206" y="478"/>
                  </a:cubicBezTo>
                  <a:cubicBezTo>
                    <a:pt x="208" y="459"/>
                    <a:pt x="208" y="459"/>
                    <a:pt x="208" y="459"/>
                  </a:cubicBezTo>
                  <a:cubicBezTo>
                    <a:pt x="208" y="459"/>
                    <a:pt x="208" y="459"/>
                    <a:pt x="208" y="459"/>
                  </a:cubicBezTo>
                  <a:cubicBezTo>
                    <a:pt x="225" y="433"/>
                    <a:pt x="225" y="433"/>
                    <a:pt x="225" y="433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58" y="387"/>
                    <a:pt x="259" y="386"/>
                    <a:pt x="259" y="385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82" y="335"/>
                    <a:pt x="283" y="330"/>
                    <a:pt x="283" y="326"/>
                  </a:cubicBezTo>
                  <a:cubicBezTo>
                    <a:pt x="283" y="317"/>
                    <a:pt x="283" y="317"/>
                    <a:pt x="283" y="317"/>
                  </a:cubicBezTo>
                  <a:cubicBezTo>
                    <a:pt x="283" y="309"/>
                    <a:pt x="278" y="302"/>
                    <a:pt x="270" y="300"/>
                  </a:cubicBezTo>
                  <a:close/>
                  <a:moveTo>
                    <a:pt x="267" y="326"/>
                  </a:moveTo>
                  <a:cubicBezTo>
                    <a:pt x="267" y="328"/>
                    <a:pt x="266" y="331"/>
                    <a:pt x="265" y="333"/>
                  </a:cubicBezTo>
                  <a:cubicBezTo>
                    <a:pt x="245" y="378"/>
                    <a:pt x="245" y="378"/>
                    <a:pt x="245" y="378"/>
                  </a:cubicBezTo>
                  <a:cubicBezTo>
                    <a:pt x="245" y="378"/>
                    <a:pt x="245" y="378"/>
                    <a:pt x="245" y="378"/>
                  </a:cubicBezTo>
                  <a:cubicBezTo>
                    <a:pt x="213" y="424"/>
                    <a:pt x="213" y="424"/>
                    <a:pt x="213" y="424"/>
                  </a:cubicBezTo>
                  <a:cubicBezTo>
                    <a:pt x="195" y="449"/>
                    <a:pt x="195" y="449"/>
                    <a:pt x="195" y="449"/>
                  </a:cubicBezTo>
                  <a:cubicBezTo>
                    <a:pt x="193" y="452"/>
                    <a:pt x="192" y="455"/>
                    <a:pt x="192" y="458"/>
                  </a:cubicBezTo>
                  <a:cubicBezTo>
                    <a:pt x="190" y="477"/>
                    <a:pt x="190" y="477"/>
                    <a:pt x="190" y="477"/>
                  </a:cubicBezTo>
                  <a:cubicBezTo>
                    <a:pt x="190" y="480"/>
                    <a:pt x="191" y="483"/>
                    <a:pt x="192" y="486"/>
                  </a:cubicBezTo>
                  <a:cubicBezTo>
                    <a:pt x="198" y="499"/>
                    <a:pt x="198" y="499"/>
                    <a:pt x="198" y="499"/>
                  </a:cubicBezTo>
                  <a:cubicBezTo>
                    <a:pt x="174" y="485"/>
                    <a:pt x="174" y="485"/>
                    <a:pt x="174" y="485"/>
                  </a:cubicBezTo>
                  <a:cubicBezTo>
                    <a:pt x="174" y="485"/>
                    <a:pt x="174" y="485"/>
                    <a:pt x="173" y="484"/>
                  </a:cubicBezTo>
                  <a:cubicBezTo>
                    <a:pt x="160" y="444"/>
                    <a:pt x="160" y="444"/>
                    <a:pt x="160" y="444"/>
                  </a:cubicBezTo>
                  <a:cubicBezTo>
                    <a:pt x="160" y="443"/>
                    <a:pt x="160" y="443"/>
                    <a:pt x="160" y="443"/>
                  </a:cubicBezTo>
                  <a:cubicBezTo>
                    <a:pt x="155" y="369"/>
                    <a:pt x="155" y="369"/>
                    <a:pt x="155" y="369"/>
                  </a:cubicBezTo>
                  <a:cubicBezTo>
                    <a:pt x="155" y="364"/>
                    <a:pt x="152" y="358"/>
                    <a:pt x="147" y="355"/>
                  </a:cubicBezTo>
                  <a:cubicBezTo>
                    <a:pt x="130" y="345"/>
                    <a:pt x="130" y="345"/>
                    <a:pt x="130" y="345"/>
                  </a:cubicBezTo>
                  <a:cubicBezTo>
                    <a:pt x="130" y="344"/>
                    <a:pt x="129" y="344"/>
                    <a:pt x="129" y="343"/>
                  </a:cubicBezTo>
                  <a:cubicBezTo>
                    <a:pt x="116" y="298"/>
                    <a:pt x="116" y="298"/>
                    <a:pt x="116" y="298"/>
                  </a:cubicBezTo>
                  <a:cubicBezTo>
                    <a:pt x="116" y="298"/>
                    <a:pt x="116" y="297"/>
                    <a:pt x="116" y="297"/>
                  </a:cubicBezTo>
                  <a:cubicBezTo>
                    <a:pt x="121" y="288"/>
                    <a:pt x="121" y="288"/>
                    <a:pt x="121" y="288"/>
                  </a:cubicBezTo>
                  <a:cubicBezTo>
                    <a:pt x="123" y="283"/>
                    <a:pt x="123" y="278"/>
                    <a:pt x="121" y="273"/>
                  </a:cubicBezTo>
                  <a:cubicBezTo>
                    <a:pt x="119" y="268"/>
                    <a:pt x="115" y="264"/>
                    <a:pt x="110" y="262"/>
                  </a:cubicBezTo>
                  <a:cubicBezTo>
                    <a:pt x="104" y="261"/>
                    <a:pt x="104" y="261"/>
                    <a:pt x="104" y="261"/>
                  </a:cubicBezTo>
                  <a:cubicBezTo>
                    <a:pt x="104" y="261"/>
                    <a:pt x="104" y="260"/>
                    <a:pt x="104" y="260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86" y="239"/>
                    <a:pt x="83" y="237"/>
                    <a:pt x="80" y="236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24" y="202"/>
                    <a:pt x="24" y="202"/>
                    <a:pt x="24" y="202"/>
                  </a:cubicBezTo>
                  <a:cubicBezTo>
                    <a:pt x="23" y="202"/>
                    <a:pt x="23" y="202"/>
                    <a:pt x="23" y="201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43" y="102"/>
                    <a:pt x="96" y="46"/>
                    <a:pt x="165" y="18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9" y="21"/>
                    <a:pt x="169" y="22"/>
                    <a:pt x="169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6" y="26"/>
                    <a:pt x="165" y="26"/>
                    <a:pt x="165" y="26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38" y="40"/>
                    <a:pt x="134" y="47"/>
                    <a:pt x="134" y="54"/>
                  </a:cubicBezTo>
                  <a:cubicBezTo>
                    <a:pt x="134" y="60"/>
                    <a:pt x="138" y="67"/>
                    <a:pt x="145" y="69"/>
                  </a:cubicBezTo>
                  <a:cubicBezTo>
                    <a:pt x="150" y="72"/>
                    <a:pt x="150" y="72"/>
                    <a:pt x="150" y="72"/>
                  </a:cubicBezTo>
                  <a:cubicBezTo>
                    <a:pt x="150" y="72"/>
                    <a:pt x="150" y="72"/>
                    <a:pt x="150" y="72"/>
                  </a:cubicBezTo>
                  <a:cubicBezTo>
                    <a:pt x="152" y="77"/>
                    <a:pt x="157" y="81"/>
                    <a:pt x="163" y="82"/>
                  </a:cubicBezTo>
                  <a:cubicBezTo>
                    <a:pt x="169" y="83"/>
                    <a:pt x="175" y="81"/>
                    <a:pt x="178" y="76"/>
                  </a:cubicBezTo>
                  <a:cubicBezTo>
                    <a:pt x="184" y="69"/>
                    <a:pt x="184" y="69"/>
                    <a:pt x="184" y="69"/>
                  </a:cubicBezTo>
                  <a:cubicBezTo>
                    <a:pt x="185" y="68"/>
                    <a:pt x="185" y="67"/>
                    <a:pt x="186" y="67"/>
                  </a:cubicBezTo>
                  <a:cubicBezTo>
                    <a:pt x="195" y="51"/>
                    <a:pt x="195" y="51"/>
                    <a:pt x="195" y="51"/>
                  </a:cubicBezTo>
                  <a:cubicBezTo>
                    <a:pt x="196" y="50"/>
                    <a:pt x="197" y="50"/>
                    <a:pt x="197" y="50"/>
                  </a:cubicBezTo>
                  <a:cubicBezTo>
                    <a:pt x="206" y="53"/>
                    <a:pt x="206" y="53"/>
                    <a:pt x="206" y="53"/>
                  </a:cubicBezTo>
                  <a:cubicBezTo>
                    <a:pt x="206" y="53"/>
                    <a:pt x="207" y="53"/>
                    <a:pt x="207" y="53"/>
                  </a:cubicBezTo>
                  <a:cubicBezTo>
                    <a:pt x="217" y="64"/>
                    <a:pt x="217" y="64"/>
                    <a:pt x="217" y="64"/>
                  </a:cubicBezTo>
                  <a:cubicBezTo>
                    <a:pt x="217" y="64"/>
                    <a:pt x="217" y="65"/>
                    <a:pt x="217" y="65"/>
                  </a:cubicBezTo>
                  <a:cubicBezTo>
                    <a:pt x="219" y="73"/>
                    <a:pt x="219" y="73"/>
                    <a:pt x="219" y="73"/>
                  </a:cubicBezTo>
                  <a:cubicBezTo>
                    <a:pt x="219" y="74"/>
                    <a:pt x="219" y="74"/>
                    <a:pt x="219" y="75"/>
                  </a:cubicBezTo>
                  <a:cubicBezTo>
                    <a:pt x="219" y="75"/>
                    <a:pt x="218" y="75"/>
                    <a:pt x="218" y="76"/>
                  </a:cubicBezTo>
                  <a:cubicBezTo>
                    <a:pt x="206" y="77"/>
                    <a:pt x="206" y="77"/>
                    <a:pt x="206" y="77"/>
                  </a:cubicBezTo>
                  <a:cubicBezTo>
                    <a:pt x="200" y="78"/>
                    <a:pt x="196" y="81"/>
                    <a:pt x="193" y="85"/>
                  </a:cubicBezTo>
                  <a:cubicBezTo>
                    <a:pt x="191" y="90"/>
                    <a:pt x="190" y="95"/>
                    <a:pt x="192" y="100"/>
                  </a:cubicBezTo>
                  <a:cubicBezTo>
                    <a:pt x="192" y="100"/>
                    <a:pt x="192" y="100"/>
                    <a:pt x="192" y="100"/>
                  </a:cubicBezTo>
                  <a:cubicBezTo>
                    <a:pt x="168" y="111"/>
                    <a:pt x="168" y="111"/>
                    <a:pt x="168" y="111"/>
                  </a:cubicBezTo>
                  <a:cubicBezTo>
                    <a:pt x="167" y="111"/>
                    <a:pt x="167" y="111"/>
                    <a:pt x="166" y="112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4" y="125"/>
                    <a:pt x="141" y="130"/>
                    <a:pt x="141" y="136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141" y="141"/>
                    <a:pt x="140" y="141"/>
                    <a:pt x="140" y="142"/>
                  </a:cubicBezTo>
                  <a:cubicBezTo>
                    <a:pt x="122" y="152"/>
                    <a:pt x="122" y="152"/>
                    <a:pt x="122" y="152"/>
                  </a:cubicBezTo>
                  <a:cubicBezTo>
                    <a:pt x="119" y="155"/>
                    <a:pt x="116" y="159"/>
                    <a:pt x="116" y="163"/>
                  </a:cubicBezTo>
                  <a:cubicBezTo>
                    <a:pt x="117" y="181"/>
                    <a:pt x="117" y="181"/>
                    <a:pt x="117" y="181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1" y="166"/>
                    <a:pt x="106" y="162"/>
                    <a:pt x="101" y="161"/>
                  </a:cubicBezTo>
                  <a:cubicBezTo>
                    <a:pt x="96" y="160"/>
                    <a:pt x="91" y="161"/>
                    <a:pt x="87" y="165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62" y="166"/>
                    <a:pt x="55" y="173"/>
                    <a:pt x="54" y="181"/>
                  </a:cubicBezTo>
                  <a:cubicBezTo>
                    <a:pt x="51" y="198"/>
                    <a:pt x="51" y="198"/>
                    <a:pt x="51" y="198"/>
                  </a:cubicBezTo>
                  <a:cubicBezTo>
                    <a:pt x="51" y="204"/>
                    <a:pt x="53" y="210"/>
                    <a:pt x="58" y="214"/>
                  </a:cubicBezTo>
                  <a:cubicBezTo>
                    <a:pt x="61" y="217"/>
                    <a:pt x="61" y="217"/>
                    <a:pt x="61" y="217"/>
                  </a:cubicBezTo>
                  <a:cubicBezTo>
                    <a:pt x="64" y="219"/>
                    <a:pt x="68" y="221"/>
                    <a:pt x="72" y="221"/>
                  </a:cubicBezTo>
                  <a:cubicBezTo>
                    <a:pt x="77" y="221"/>
                    <a:pt x="81" y="219"/>
                    <a:pt x="84" y="217"/>
                  </a:cubicBezTo>
                  <a:cubicBezTo>
                    <a:pt x="92" y="210"/>
                    <a:pt x="92" y="210"/>
                    <a:pt x="92" y="210"/>
                  </a:cubicBezTo>
                  <a:cubicBezTo>
                    <a:pt x="92" y="210"/>
                    <a:pt x="92" y="210"/>
                    <a:pt x="93" y="210"/>
                  </a:cubicBezTo>
                  <a:cubicBezTo>
                    <a:pt x="93" y="211"/>
                    <a:pt x="93" y="211"/>
                    <a:pt x="93" y="211"/>
                  </a:cubicBezTo>
                  <a:cubicBezTo>
                    <a:pt x="90" y="217"/>
                    <a:pt x="90" y="217"/>
                    <a:pt x="90" y="217"/>
                  </a:cubicBezTo>
                  <a:cubicBezTo>
                    <a:pt x="88" y="220"/>
                    <a:pt x="88" y="225"/>
                    <a:pt x="90" y="229"/>
                  </a:cubicBezTo>
                  <a:cubicBezTo>
                    <a:pt x="91" y="232"/>
                    <a:pt x="94" y="234"/>
                    <a:pt x="97" y="234"/>
                  </a:cubicBezTo>
                  <a:cubicBezTo>
                    <a:pt x="97" y="236"/>
                    <a:pt x="97" y="236"/>
                    <a:pt x="97" y="236"/>
                  </a:cubicBezTo>
                  <a:cubicBezTo>
                    <a:pt x="97" y="244"/>
                    <a:pt x="102" y="250"/>
                    <a:pt x="109" y="252"/>
                  </a:cubicBezTo>
                  <a:cubicBezTo>
                    <a:pt x="120" y="256"/>
                    <a:pt x="120" y="256"/>
                    <a:pt x="120" y="256"/>
                  </a:cubicBezTo>
                  <a:cubicBezTo>
                    <a:pt x="125" y="258"/>
                    <a:pt x="129" y="258"/>
                    <a:pt x="134" y="256"/>
                  </a:cubicBezTo>
                  <a:cubicBezTo>
                    <a:pt x="153" y="247"/>
                    <a:pt x="153" y="247"/>
                    <a:pt x="153" y="247"/>
                  </a:cubicBezTo>
                  <a:cubicBezTo>
                    <a:pt x="154" y="247"/>
                    <a:pt x="154" y="247"/>
                    <a:pt x="155" y="247"/>
                  </a:cubicBezTo>
                  <a:cubicBezTo>
                    <a:pt x="194" y="268"/>
                    <a:pt x="194" y="268"/>
                    <a:pt x="194" y="268"/>
                  </a:cubicBezTo>
                  <a:cubicBezTo>
                    <a:pt x="194" y="269"/>
                    <a:pt x="194" y="269"/>
                    <a:pt x="195" y="269"/>
                  </a:cubicBezTo>
                  <a:cubicBezTo>
                    <a:pt x="210" y="294"/>
                    <a:pt x="210" y="294"/>
                    <a:pt x="210" y="294"/>
                  </a:cubicBezTo>
                  <a:cubicBezTo>
                    <a:pt x="212" y="297"/>
                    <a:pt x="216" y="300"/>
                    <a:pt x="220" y="301"/>
                  </a:cubicBezTo>
                  <a:cubicBezTo>
                    <a:pt x="266" y="315"/>
                    <a:pt x="266" y="315"/>
                    <a:pt x="266" y="315"/>
                  </a:cubicBezTo>
                  <a:cubicBezTo>
                    <a:pt x="266" y="315"/>
                    <a:pt x="267" y="316"/>
                    <a:pt x="267" y="317"/>
                  </a:cubicBezTo>
                  <a:lnTo>
                    <a:pt x="267" y="3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20" name="Freeform 15">
              <a:extLst>
                <a:ext uri="{FF2B5EF4-FFF2-40B4-BE49-F238E27FC236}">
                  <a16:creationId xmlns:a16="http://schemas.microsoft.com/office/drawing/2014/main" id="{4B556BC4-F18F-4ECE-9FBA-0EA939AD2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6475" y="4411663"/>
              <a:ext cx="98425" cy="57150"/>
            </a:xfrm>
            <a:custGeom>
              <a:avLst/>
              <a:gdLst>
                <a:gd name="T0" fmla="*/ 30 w 186"/>
                <a:gd name="T1" fmla="*/ 107 h 109"/>
                <a:gd name="T2" fmla="*/ 84 w 186"/>
                <a:gd name="T3" fmla="*/ 70 h 109"/>
                <a:gd name="T4" fmla="*/ 88 w 186"/>
                <a:gd name="T5" fmla="*/ 69 h 109"/>
                <a:gd name="T6" fmla="*/ 100 w 186"/>
                <a:gd name="T7" fmla="*/ 71 h 109"/>
                <a:gd name="T8" fmla="*/ 109 w 186"/>
                <a:gd name="T9" fmla="*/ 82 h 109"/>
                <a:gd name="T10" fmla="*/ 108 w 186"/>
                <a:gd name="T11" fmla="*/ 99 h 109"/>
                <a:gd name="T12" fmla="*/ 124 w 186"/>
                <a:gd name="T13" fmla="*/ 109 h 109"/>
                <a:gd name="T14" fmla="*/ 150 w 186"/>
                <a:gd name="T15" fmla="*/ 99 h 109"/>
                <a:gd name="T16" fmla="*/ 163 w 186"/>
                <a:gd name="T17" fmla="*/ 99 h 109"/>
                <a:gd name="T18" fmla="*/ 186 w 186"/>
                <a:gd name="T19" fmla="*/ 101 h 109"/>
                <a:gd name="T20" fmla="*/ 97 w 186"/>
                <a:gd name="T21" fmla="*/ 1 h 109"/>
                <a:gd name="T22" fmla="*/ 76 w 186"/>
                <a:gd name="T23" fmla="*/ 1 h 109"/>
                <a:gd name="T24" fmla="*/ 46 w 186"/>
                <a:gd name="T25" fmla="*/ 20 h 109"/>
                <a:gd name="T26" fmla="*/ 41 w 186"/>
                <a:gd name="T27" fmla="*/ 49 h 109"/>
                <a:gd name="T28" fmla="*/ 37 w 186"/>
                <a:gd name="T29" fmla="*/ 52 h 109"/>
                <a:gd name="T30" fmla="*/ 3 w 186"/>
                <a:gd name="T31" fmla="*/ 69 h 109"/>
                <a:gd name="T32" fmla="*/ 4 w 186"/>
                <a:gd name="T33" fmla="*/ 97 h 109"/>
                <a:gd name="T34" fmla="*/ 19 w 186"/>
                <a:gd name="T35" fmla="*/ 72 h 109"/>
                <a:gd name="T36" fmla="*/ 24 w 186"/>
                <a:gd name="T37" fmla="*/ 68 h 109"/>
                <a:gd name="T38" fmla="*/ 57 w 186"/>
                <a:gd name="T39" fmla="*/ 53 h 109"/>
                <a:gd name="T40" fmla="*/ 55 w 186"/>
                <a:gd name="T41" fmla="*/ 33 h 109"/>
                <a:gd name="T42" fmla="*/ 78 w 186"/>
                <a:gd name="T43" fmla="*/ 17 h 109"/>
                <a:gd name="T44" fmla="*/ 155 w 186"/>
                <a:gd name="T45" fmla="*/ 82 h 109"/>
                <a:gd name="T46" fmla="*/ 143 w 186"/>
                <a:gd name="T47" fmla="*/ 84 h 109"/>
                <a:gd name="T48" fmla="*/ 124 w 186"/>
                <a:gd name="T49" fmla="*/ 93 h 109"/>
                <a:gd name="T50" fmla="*/ 123 w 186"/>
                <a:gd name="T51" fmla="*/ 91 h 109"/>
                <a:gd name="T52" fmla="*/ 118 w 186"/>
                <a:gd name="T53" fmla="*/ 64 h 109"/>
                <a:gd name="T54" fmla="*/ 98 w 186"/>
                <a:gd name="T55" fmla="*/ 53 h 109"/>
                <a:gd name="T56" fmla="*/ 87 w 186"/>
                <a:gd name="T57" fmla="*/ 53 h 109"/>
                <a:gd name="T58" fmla="*/ 36 w 186"/>
                <a:gd name="T59" fmla="*/ 90 h 109"/>
                <a:gd name="T60" fmla="*/ 21 w 186"/>
                <a:gd name="T61" fmla="*/ 90 h 109"/>
                <a:gd name="T62" fmla="*/ 17 w 186"/>
                <a:gd name="T63" fmla="*/ 8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6" h="109">
                  <a:moveTo>
                    <a:pt x="19" y="106"/>
                  </a:moveTo>
                  <a:cubicBezTo>
                    <a:pt x="30" y="107"/>
                    <a:pt x="30" y="107"/>
                    <a:pt x="30" y="107"/>
                  </a:cubicBezTo>
                  <a:cubicBezTo>
                    <a:pt x="36" y="108"/>
                    <a:pt x="42" y="106"/>
                    <a:pt x="46" y="102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5" y="70"/>
                    <a:pt x="86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8" y="70"/>
                    <a:pt x="99" y="70"/>
                    <a:pt x="100" y="71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9" y="78"/>
                    <a:pt x="109" y="80"/>
                    <a:pt x="109" y="82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6" y="90"/>
                    <a:pt x="106" y="95"/>
                    <a:pt x="108" y="99"/>
                  </a:cubicBezTo>
                  <a:cubicBezTo>
                    <a:pt x="111" y="104"/>
                    <a:pt x="115" y="107"/>
                    <a:pt x="120" y="109"/>
                  </a:cubicBezTo>
                  <a:cubicBezTo>
                    <a:pt x="121" y="109"/>
                    <a:pt x="123" y="109"/>
                    <a:pt x="124" y="109"/>
                  </a:cubicBezTo>
                  <a:cubicBezTo>
                    <a:pt x="127" y="109"/>
                    <a:pt x="130" y="109"/>
                    <a:pt x="132" y="107"/>
                  </a:cubicBezTo>
                  <a:cubicBezTo>
                    <a:pt x="150" y="99"/>
                    <a:pt x="150" y="99"/>
                    <a:pt x="150" y="99"/>
                  </a:cubicBezTo>
                  <a:cubicBezTo>
                    <a:pt x="151" y="98"/>
                    <a:pt x="151" y="98"/>
                    <a:pt x="152" y="98"/>
                  </a:cubicBezTo>
                  <a:cubicBezTo>
                    <a:pt x="163" y="99"/>
                    <a:pt x="163" y="99"/>
                    <a:pt x="163" y="99"/>
                  </a:cubicBezTo>
                  <a:cubicBezTo>
                    <a:pt x="164" y="99"/>
                    <a:pt x="165" y="99"/>
                    <a:pt x="167" y="99"/>
                  </a:cubicBezTo>
                  <a:cubicBezTo>
                    <a:pt x="186" y="101"/>
                    <a:pt x="186" y="101"/>
                    <a:pt x="186" y="101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58" y="54"/>
                    <a:pt x="130" y="24"/>
                    <a:pt x="97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3" y="2"/>
                    <a:pt x="69" y="3"/>
                    <a:pt x="66" y="5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37" y="26"/>
                    <a:pt x="35" y="38"/>
                    <a:pt x="41" y="46"/>
                  </a:cubicBezTo>
                  <a:cubicBezTo>
                    <a:pt x="41" y="47"/>
                    <a:pt x="42" y="48"/>
                    <a:pt x="41" y="49"/>
                  </a:cubicBezTo>
                  <a:cubicBezTo>
                    <a:pt x="41" y="51"/>
                    <a:pt x="39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4" y="51"/>
                    <a:pt x="5" y="59"/>
                    <a:pt x="3" y="69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0" y="86"/>
                    <a:pt x="1" y="92"/>
                    <a:pt x="4" y="97"/>
                  </a:cubicBezTo>
                  <a:cubicBezTo>
                    <a:pt x="8" y="102"/>
                    <a:pt x="13" y="105"/>
                    <a:pt x="19" y="106"/>
                  </a:cubicBezTo>
                  <a:close/>
                  <a:moveTo>
                    <a:pt x="19" y="72"/>
                  </a:moveTo>
                  <a:cubicBezTo>
                    <a:pt x="20" y="70"/>
                    <a:pt x="22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46" y="69"/>
                    <a:pt x="55" y="63"/>
                    <a:pt x="57" y="53"/>
                  </a:cubicBezTo>
                  <a:cubicBezTo>
                    <a:pt x="58" y="48"/>
                    <a:pt x="57" y="42"/>
                    <a:pt x="54" y="38"/>
                  </a:cubicBezTo>
                  <a:cubicBezTo>
                    <a:pt x="53" y="36"/>
                    <a:pt x="54" y="34"/>
                    <a:pt x="55" y="3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6" y="18"/>
                    <a:pt x="77" y="17"/>
                    <a:pt x="78" y="17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116" y="34"/>
                    <a:pt x="138" y="57"/>
                    <a:pt x="155" y="82"/>
                  </a:cubicBezTo>
                  <a:cubicBezTo>
                    <a:pt x="153" y="82"/>
                    <a:pt x="153" y="82"/>
                    <a:pt x="153" y="82"/>
                  </a:cubicBezTo>
                  <a:cubicBezTo>
                    <a:pt x="150" y="82"/>
                    <a:pt x="146" y="83"/>
                    <a:pt x="143" y="84"/>
                  </a:cubicBezTo>
                  <a:cubicBezTo>
                    <a:pt x="125" y="93"/>
                    <a:pt x="125" y="93"/>
                    <a:pt x="125" y="93"/>
                  </a:cubicBezTo>
                  <a:cubicBezTo>
                    <a:pt x="125" y="93"/>
                    <a:pt x="124" y="93"/>
                    <a:pt x="124" y="93"/>
                  </a:cubicBezTo>
                  <a:cubicBezTo>
                    <a:pt x="123" y="93"/>
                    <a:pt x="123" y="93"/>
                    <a:pt x="123" y="92"/>
                  </a:cubicBezTo>
                  <a:cubicBezTo>
                    <a:pt x="122" y="92"/>
                    <a:pt x="122" y="91"/>
                    <a:pt x="123" y="91"/>
                  </a:cubicBezTo>
                  <a:cubicBezTo>
                    <a:pt x="124" y="88"/>
                    <a:pt x="124" y="88"/>
                    <a:pt x="124" y="88"/>
                  </a:cubicBezTo>
                  <a:cubicBezTo>
                    <a:pt x="127" y="80"/>
                    <a:pt x="124" y="70"/>
                    <a:pt x="118" y="64"/>
                  </a:cubicBezTo>
                  <a:cubicBezTo>
                    <a:pt x="110" y="58"/>
                    <a:pt x="110" y="58"/>
                    <a:pt x="110" y="58"/>
                  </a:cubicBezTo>
                  <a:cubicBezTo>
                    <a:pt x="107" y="55"/>
                    <a:pt x="102" y="54"/>
                    <a:pt x="9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7" y="53"/>
                  </a:cubicBezTo>
                  <a:cubicBezTo>
                    <a:pt x="82" y="53"/>
                    <a:pt x="78" y="55"/>
                    <a:pt x="74" y="58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5" y="91"/>
                    <a:pt x="33" y="91"/>
                    <a:pt x="32" y="91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0" y="89"/>
                    <a:pt x="18" y="89"/>
                    <a:pt x="18" y="88"/>
                  </a:cubicBezTo>
                  <a:cubicBezTo>
                    <a:pt x="17" y="86"/>
                    <a:pt x="17" y="85"/>
                    <a:pt x="17" y="84"/>
                  </a:cubicBezTo>
                  <a:lnTo>
                    <a:pt x="19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21" name="Freeform 16">
              <a:extLst>
                <a:ext uri="{FF2B5EF4-FFF2-40B4-BE49-F238E27FC236}">
                  <a16:creationId xmlns:a16="http://schemas.microsoft.com/office/drawing/2014/main" id="{B10FA4C9-D86B-4959-AD3B-BEE090EFA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4371975"/>
              <a:ext cx="449262" cy="446088"/>
            </a:xfrm>
            <a:custGeom>
              <a:avLst/>
              <a:gdLst>
                <a:gd name="T0" fmla="*/ 789 w 852"/>
                <a:gd name="T1" fmla="*/ 526 h 847"/>
                <a:gd name="T2" fmla="*/ 632 w 852"/>
                <a:gd name="T3" fmla="*/ 413 h 847"/>
                <a:gd name="T4" fmla="*/ 0 w 852"/>
                <a:gd name="T5" fmla="*/ 322 h 847"/>
                <a:gd name="T6" fmla="*/ 315 w 852"/>
                <a:gd name="T7" fmla="*/ 733 h 847"/>
                <a:gd name="T8" fmla="*/ 371 w 852"/>
                <a:gd name="T9" fmla="*/ 839 h 847"/>
                <a:gd name="T10" fmla="*/ 811 w 852"/>
                <a:gd name="T11" fmla="*/ 839 h 847"/>
                <a:gd name="T12" fmla="*/ 852 w 852"/>
                <a:gd name="T13" fmla="*/ 733 h 847"/>
                <a:gd name="T14" fmla="*/ 726 w 852"/>
                <a:gd name="T15" fmla="*/ 594 h 847"/>
                <a:gd name="T16" fmla="*/ 699 w 852"/>
                <a:gd name="T17" fmla="*/ 599 h 847"/>
                <a:gd name="T18" fmla="*/ 700 w 852"/>
                <a:gd name="T19" fmla="*/ 453 h 847"/>
                <a:gd name="T20" fmla="*/ 627 w 852"/>
                <a:gd name="T21" fmla="*/ 638 h 847"/>
                <a:gd name="T22" fmla="*/ 479 w 852"/>
                <a:gd name="T23" fmla="*/ 533 h 847"/>
                <a:gd name="T24" fmla="*/ 609 w 852"/>
                <a:gd name="T25" fmla="*/ 659 h 847"/>
                <a:gd name="T26" fmla="*/ 609 w 852"/>
                <a:gd name="T27" fmla="*/ 659 h 847"/>
                <a:gd name="T28" fmla="*/ 444 w 852"/>
                <a:gd name="T29" fmla="*/ 596 h 847"/>
                <a:gd name="T30" fmla="*/ 467 w 852"/>
                <a:gd name="T31" fmla="*/ 453 h 847"/>
                <a:gd name="T32" fmla="*/ 481 w 852"/>
                <a:gd name="T33" fmla="*/ 597 h 847"/>
                <a:gd name="T34" fmla="*/ 467 w 852"/>
                <a:gd name="T35" fmla="*/ 319 h 847"/>
                <a:gd name="T36" fmla="*/ 425 w 852"/>
                <a:gd name="T37" fmla="*/ 326 h 847"/>
                <a:gd name="T38" fmla="*/ 400 w 852"/>
                <a:gd name="T39" fmla="*/ 259 h 847"/>
                <a:gd name="T40" fmla="*/ 431 w 852"/>
                <a:gd name="T41" fmla="*/ 219 h 847"/>
                <a:gd name="T42" fmla="*/ 482 w 852"/>
                <a:gd name="T43" fmla="*/ 207 h 847"/>
                <a:gd name="T44" fmla="*/ 511 w 852"/>
                <a:gd name="T45" fmla="*/ 230 h 847"/>
                <a:gd name="T46" fmla="*/ 533 w 852"/>
                <a:gd name="T47" fmla="*/ 224 h 847"/>
                <a:gd name="T48" fmla="*/ 565 w 852"/>
                <a:gd name="T49" fmla="*/ 228 h 847"/>
                <a:gd name="T50" fmla="*/ 574 w 852"/>
                <a:gd name="T51" fmla="*/ 407 h 847"/>
                <a:gd name="T52" fmla="*/ 502 w 852"/>
                <a:gd name="T53" fmla="*/ 427 h 847"/>
                <a:gd name="T54" fmla="*/ 497 w 852"/>
                <a:gd name="T55" fmla="*/ 361 h 847"/>
                <a:gd name="T56" fmla="*/ 490 w 852"/>
                <a:gd name="T57" fmla="*/ 329 h 847"/>
                <a:gd name="T58" fmla="*/ 322 w 852"/>
                <a:gd name="T59" fmla="*/ 16 h 847"/>
                <a:gd name="T60" fmla="*/ 591 w 852"/>
                <a:gd name="T61" fmla="*/ 406 h 847"/>
                <a:gd name="T62" fmla="*/ 577 w 852"/>
                <a:gd name="T63" fmla="*/ 212 h 847"/>
                <a:gd name="T64" fmla="*/ 560 w 852"/>
                <a:gd name="T65" fmla="*/ 213 h 847"/>
                <a:gd name="T66" fmla="*/ 535 w 852"/>
                <a:gd name="T67" fmla="*/ 207 h 847"/>
                <a:gd name="T68" fmla="*/ 518 w 852"/>
                <a:gd name="T69" fmla="*/ 216 h 847"/>
                <a:gd name="T70" fmla="*/ 498 w 852"/>
                <a:gd name="T71" fmla="*/ 206 h 847"/>
                <a:gd name="T72" fmla="*/ 455 w 852"/>
                <a:gd name="T73" fmla="*/ 195 h 847"/>
                <a:gd name="T74" fmla="*/ 418 w 852"/>
                <a:gd name="T75" fmla="*/ 209 h 847"/>
                <a:gd name="T76" fmla="*/ 384 w 852"/>
                <a:gd name="T77" fmla="*/ 303 h 847"/>
                <a:gd name="T78" fmla="*/ 429 w 852"/>
                <a:gd name="T79" fmla="*/ 342 h 847"/>
                <a:gd name="T80" fmla="*/ 482 w 852"/>
                <a:gd name="T81" fmla="*/ 343 h 847"/>
                <a:gd name="T82" fmla="*/ 483 w 852"/>
                <a:gd name="T83" fmla="*/ 367 h 847"/>
                <a:gd name="T84" fmla="*/ 487 w 852"/>
                <a:gd name="T85" fmla="*/ 422 h 847"/>
                <a:gd name="T86" fmla="*/ 467 w 852"/>
                <a:gd name="T87" fmla="*/ 438 h 847"/>
                <a:gd name="T88" fmla="*/ 371 w 852"/>
                <a:gd name="T89" fmla="*/ 625 h 847"/>
                <a:gd name="T90" fmla="*/ 332 w 852"/>
                <a:gd name="T91" fmla="*/ 726 h 847"/>
                <a:gd name="T92" fmla="*/ 491 w 852"/>
                <a:gd name="T93" fmla="*/ 611 h 847"/>
                <a:gd name="T94" fmla="*/ 332 w 852"/>
                <a:gd name="T95" fmla="*/ 726 h 847"/>
                <a:gd name="T96" fmla="*/ 548 w 852"/>
                <a:gd name="T97" fmla="*/ 653 h 847"/>
                <a:gd name="T98" fmla="*/ 794 w 852"/>
                <a:gd name="T99" fmla="*/ 832 h 847"/>
                <a:gd name="T100" fmla="*/ 690 w 852"/>
                <a:gd name="T101" fmla="*/ 613 h 847"/>
                <a:gd name="T102" fmla="*/ 835 w 852"/>
                <a:gd name="T103" fmla="*/ 726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52" h="847">
                  <a:moveTo>
                    <a:pt x="852" y="733"/>
                  </a:moveTo>
                  <a:cubicBezTo>
                    <a:pt x="847" y="672"/>
                    <a:pt x="807" y="619"/>
                    <a:pt x="750" y="599"/>
                  </a:cubicBezTo>
                  <a:cubicBezTo>
                    <a:pt x="774" y="583"/>
                    <a:pt x="789" y="556"/>
                    <a:pt x="789" y="526"/>
                  </a:cubicBezTo>
                  <a:cubicBezTo>
                    <a:pt x="789" y="477"/>
                    <a:pt x="749" y="438"/>
                    <a:pt x="700" y="438"/>
                  </a:cubicBezTo>
                  <a:cubicBezTo>
                    <a:pt x="692" y="438"/>
                    <a:pt x="685" y="439"/>
                    <a:pt x="678" y="441"/>
                  </a:cubicBezTo>
                  <a:cubicBezTo>
                    <a:pt x="665" y="428"/>
                    <a:pt x="649" y="419"/>
                    <a:pt x="632" y="413"/>
                  </a:cubicBezTo>
                  <a:cubicBezTo>
                    <a:pt x="640" y="384"/>
                    <a:pt x="645" y="354"/>
                    <a:pt x="645" y="322"/>
                  </a:cubicBezTo>
                  <a:cubicBezTo>
                    <a:pt x="645" y="145"/>
                    <a:pt x="500" y="0"/>
                    <a:pt x="322" y="0"/>
                  </a:cubicBezTo>
                  <a:cubicBezTo>
                    <a:pt x="144" y="0"/>
                    <a:pt x="0" y="145"/>
                    <a:pt x="0" y="322"/>
                  </a:cubicBezTo>
                  <a:cubicBezTo>
                    <a:pt x="0" y="500"/>
                    <a:pt x="144" y="645"/>
                    <a:pt x="322" y="645"/>
                  </a:cubicBezTo>
                  <a:cubicBezTo>
                    <a:pt x="332" y="645"/>
                    <a:pt x="342" y="645"/>
                    <a:pt x="352" y="644"/>
                  </a:cubicBezTo>
                  <a:cubicBezTo>
                    <a:pt x="331" y="668"/>
                    <a:pt x="318" y="699"/>
                    <a:pt x="315" y="733"/>
                  </a:cubicBezTo>
                  <a:cubicBezTo>
                    <a:pt x="315" y="741"/>
                    <a:pt x="315" y="741"/>
                    <a:pt x="315" y="741"/>
                  </a:cubicBezTo>
                  <a:cubicBezTo>
                    <a:pt x="401" y="741"/>
                    <a:pt x="401" y="741"/>
                    <a:pt x="401" y="741"/>
                  </a:cubicBezTo>
                  <a:cubicBezTo>
                    <a:pt x="384" y="770"/>
                    <a:pt x="373" y="804"/>
                    <a:pt x="371" y="839"/>
                  </a:cubicBezTo>
                  <a:cubicBezTo>
                    <a:pt x="370" y="847"/>
                    <a:pt x="370" y="847"/>
                    <a:pt x="370" y="847"/>
                  </a:cubicBezTo>
                  <a:cubicBezTo>
                    <a:pt x="811" y="847"/>
                    <a:pt x="811" y="847"/>
                    <a:pt x="811" y="847"/>
                  </a:cubicBezTo>
                  <a:cubicBezTo>
                    <a:pt x="811" y="839"/>
                    <a:pt x="811" y="839"/>
                    <a:pt x="811" y="839"/>
                  </a:cubicBezTo>
                  <a:cubicBezTo>
                    <a:pt x="808" y="804"/>
                    <a:pt x="797" y="770"/>
                    <a:pt x="780" y="741"/>
                  </a:cubicBezTo>
                  <a:cubicBezTo>
                    <a:pt x="852" y="741"/>
                    <a:pt x="852" y="741"/>
                    <a:pt x="852" y="741"/>
                  </a:cubicBezTo>
                  <a:lnTo>
                    <a:pt x="852" y="733"/>
                  </a:lnTo>
                  <a:close/>
                  <a:moveTo>
                    <a:pt x="700" y="453"/>
                  </a:moveTo>
                  <a:cubicBezTo>
                    <a:pt x="740" y="453"/>
                    <a:pt x="773" y="486"/>
                    <a:pt x="773" y="526"/>
                  </a:cubicBezTo>
                  <a:cubicBezTo>
                    <a:pt x="773" y="556"/>
                    <a:pt x="754" y="584"/>
                    <a:pt x="726" y="594"/>
                  </a:cubicBezTo>
                  <a:cubicBezTo>
                    <a:pt x="724" y="595"/>
                    <a:pt x="724" y="595"/>
                    <a:pt x="724" y="595"/>
                  </a:cubicBezTo>
                  <a:cubicBezTo>
                    <a:pt x="716" y="598"/>
                    <a:pt x="709" y="599"/>
                    <a:pt x="702" y="599"/>
                  </a:cubicBezTo>
                  <a:cubicBezTo>
                    <a:pt x="701" y="599"/>
                    <a:pt x="700" y="599"/>
                    <a:pt x="699" y="599"/>
                  </a:cubicBezTo>
                  <a:cubicBezTo>
                    <a:pt x="711" y="579"/>
                    <a:pt x="718" y="557"/>
                    <a:pt x="718" y="533"/>
                  </a:cubicBezTo>
                  <a:cubicBezTo>
                    <a:pt x="718" y="503"/>
                    <a:pt x="708" y="476"/>
                    <a:pt x="690" y="454"/>
                  </a:cubicBezTo>
                  <a:cubicBezTo>
                    <a:pt x="693" y="454"/>
                    <a:pt x="697" y="453"/>
                    <a:pt x="700" y="453"/>
                  </a:cubicBezTo>
                  <a:close/>
                  <a:moveTo>
                    <a:pt x="702" y="533"/>
                  </a:moveTo>
                  <a:cubicBezTo>
                    <a:pt x="702" y="579"/>
                    <a:pt x="674" y="620"/>
                    <a:pt x="632" y="637"/>
                  </a:cubicBezTo>
                  <a:cubicBezTo>
                    <a:pt x="627" y="638"/>
                    <a:pt x="627" y="638"/>
                    <a:pt x="627" y="638"/>
                  </a:cubicBezTo>
                  <a:cubicBezTo>
                    <a:pt x="602" y="647"/>
                    <a:pt x="580" y="647"/>
                    <a:pt x="554" y="638"/>
                  </a:cubicBezTo>
                  <a:cubicBezTo>
                    <a:pt x="549" y="637"/>
                    <a:pt x="549" y="637"/>
                    <a:pt x="549" y="637"/>
                  </a:cubicBezTo>
                  <a:cubicBezTo>
                    <a:pt x="507" y="620"/>
                    <a:pt x="479" y="579"/>
                    <a:pt x="479" y="533"/>
                  </a:cubicBezTo>
                  <a:cubicBezTo>
                    <a:pt x="479" y="472"/>
                    <a:pt x="529" y="422"/>
                    <a:pt x="591" y="422"/>
                  </a:cubicBezTo>
                  <a:cubicBezTo>
                    <a:pt x="652" y="422"/>
                    <a:pt x="702" y="472"/>
                    <a:pt x="702" y="533"/>
                  </a:cubicBezTo>
                  <a:close/>
                  <a:moveTo>
                    <a:pt x="609" y="659"/>
                  </a:moveTo>
                  <a:cubicBezTo>
                    <a:pt x="591" y="681"/>
                    <a:pt x="591" y="681"/>
                    <a:pt x="591" y="681"/>
                  </a:cubicBezTo>
                  <a:cubicBezTo>
                    <a:pt x="573" y="659"/>
                    <a:pt x="573" y="659"/>
                    <a:pt x="573" y="659"/>
                  </a:cubicBezTo>
                  <a:cubicBezTo>
                    <a:pt x="585" y="661"/>
                    <a:pt x="597" y="661"/>
                    <a:pt x="609" y="659"/>
                  </a:cubicBezTo>
                  <a:close/>
                  <a:moveTo>
                    <a:pt x="481" y="597"/>
                  </a:moveTo>
                  <a:cubicBezTo>
                    <a:pt x="477" y="598"/>
                    <a:pt x="473" y="599"/>
                    <a:pt x="469" y="599"/>
                  </a:cubicBezTo>
                  <a:cubicBezTo>
                    <a:pt x="460" y="599"/>
                    <a:pt x="451" y="598"/>
                    <a:pt x="444" y="596"/>
                  </a:cubicBezTo>
                  <a:cubicBezTo>
                    <a:pt x="441" y="594"/>
                    <a:pt x="441" y="594"/>
                    <a:pt x="441" y="594"/>
                  </a:cubicBezTo>
                  <a:cubicBezTo>
                    <a:pt x="413" y="584"/>
                    <a:pt x="394" y="556"/>
                    <a:pt x="394" y="526"/>
                  </a:cubicBezTo>
                  <a:cubicBezTo>
                    <a:pt x="394" y="486"/>
                    <a:pt x="426" y="453"/>
                    <a:pt x="467" y="453"/>
                  </a:cubicBezTo>
                  <a:cubicBezTo>
                    <a:pt x="474" y="453"/>
                    <a:pt x="482" y="455"/>
                    <a:pt x="489" y="457"/>
                  </a:cubicBezTo>
                  <a:cubicBezTo>
                    <a:pt x="473" y="478"/>
                    <a:pt x="464" y="505"/>
                    <a:pt x="464" y="533"/>
                  </a:cubicBezTo>
                  <a:cubicBezTo>
                    <a:pt x="464" y="556"/>
                    <a:pt x="470" y="578"/>
                    <a:pt x="481" y="597"/>
                  </a:cubicBezTo>
                  <a:close/>
                  <a:moveTo>
                    <a:pt x="490" y="329"/>
                  </a:moveTo>
                  <a:cubicBezTo>
                    <a:pt x="475" y="321"/>
                    <a:pt x="475" y="321"/>
                    <a:pt x="475" y="321"/>
                  </a:cubicBezTo>
                  <a:cubicBezTo>
                    <a:pt x="473" y="319"/>
                    <a:pt x="470" y="319"/>
                    <a:pt x="467" y="319"/>
                  </a:cubicBezTo>
                  <a:cubicBezTo>
                    <a:pt x="466" y="319"/>
                    <a:pt x="464" y="319"/>
                    <a:pt x="463" y="319"/>
                  </a:cubicBezTo>
                  <a:cubicBezTo>
                    <a:pt x="426" y="326"/>
                    <a:pt x="426" y="326"/>
                    <a:pt x="426" y="326"/>
                  </a:cubicBezTo>
                  <a:cubicBezTo>
                    <a:pt x="426" y="326"/>
                    <a:pt x="425" y="326"/>
                    <a:pt x="425" y="326"/>
                  </a:cubicBezTo>
                  <a:cubicBezTo>
                    <a:pt x="400" y="304"/>
                    <a:pt x="400" y="304"/>
                    <a:pt x="400" y="304"/>
                  </a:cubicBezTo>
                  <a:cubicBezTo>
                    <a:pt x="400" y="304"/>
                    <a:pt x="400" y="304"/>
                    <a:pt x="400" y="303"/>
                  </a:cubicBezTo>
                  <a:cubicBezTo>
                    <a:pt x="400" y="259"/>
                    <a:pt x="400" y="259"/>
                    <a:pt x="400" y="259"/>
                  </a:cubicBezTo>
                  <a:cubicBezTo>
                    <a:pt x="400" y="259"/>
                    <a:pt x="400" y="258"/>
                    <a:pt x="400" y="258"/>
                  </a:cubicBezTo>
                  <a:cubicBezTo>
                    <a:pt x="430" y="219"/>
                    <a:pt x="430" y="219"/>
                    <a:pt x="430" y="219"/>
                  </a:cubicBezTo>
                  <a:cubicBezTo>
                    <a:pt x="431" y="219"/>
                    <a:pt x="431" y="219"/>
                    <a:pt x="431" y="219"/>
                  </a:cubicBezTo>
                  <a:cubicBezTo>
                    <a:pt x="458" y="211"/>
                    <a:pt x="458" y="211"/>
                    <a:pt x="458" y="211"/>
                  </a:cubicBezTo>
                  <a:cubicBezTo>
                    <a:pt x="481" y="207"/>
                    <a:pt x="481" y="207"/>
                    <a:pt x="481" y="207"/>
                  </a:cubicBezTo>
                  <a:cubicBezTo>
                    <a:pt x="481" y="207"/>
                    <a:pt x="481" y="207"/>
                    <a:pt x="482" y="207"/>
                  </a:cubicBezTo>
                  <a:cubicBezTo>
                    <a:pt x="482" y="207"/>
                    <a:pt x="482" y="208"/>
                    <a:pt x="482" y="208"/>
                  </a:cubicBezTo>
                  <a:cubicBezTo>
                    <a:pt x="483" y="214"/>
                    <a:pt x="487" y="219"/>
                    <a:pt x="492" y="222"/>
                  </a:cubicBezTo>
                  <a:cubicBezTo>
                    <a:pt x="511" y="230"/>
                    <a:pt x="511" y="230"/>
                    <a:pt x="511" y="230"/>
                  </a:cubicBezTo>
                  <a:cubicBezTo>
                    <a:pt x="514" y="231"/>
                    <a:pt x="516" y="232"/>
                    <a:pt x="518" y="232"/>
                  </a:cubicBezTo>
                  <a:cubicBezTo>
                    <a:pt x="524" y="232"/>
                    <a:pt x="529" y="229"/>
                    <a:pt x="533" y="224"/>
                  </a:cubicBezTo>
                  <a:cubicBezTo>
                    <a:pt x="533" y="224"/>
                    <a:pt x="533" y="224"/>
                    <a:pt x="533" y="224"/>
                  </a:cubicBezTo>
                  <a:cubicBezTo>
                    <a:pt x="534" y="223"/>
                    <a:pt x="535" y="223"/>
                    <a:pt x="535" y="223"/>
                  </a:cubicBezTo>
                  <a:cubicBezTo>
                    <a:pt x="554" y="228"/>
                    <a:pt x="554" y="228"/>
                    <a:pt x="554" y="228"/>
                  </a:cubicBezTo>
                  <a:cubicBezTo>
                    <a:pt x="558" y="229"/>
                    <a:pt x="561" y="229"/>
                    <a:pt x="565" y="228"/>
                  </a:cubicBezTo>
                  <a:cubicBezTo>
                    <a:pt x="566" y="228"/>
                    <a:pt x="566" y="228"/>
                    <a:pt x="566" y="228"/>
                  </a:cubicBezTo>
                  <a:cubicBezTo>
                    <a:pt x="579" y="259"/>
                    <a:pt x="586" y="293"/>
                    <a:pt x="586" y="328"/>
                  </a:cubicBezTo>
                  <a:cubicBezTo>
                    <a:pt x="586" y="355"/>
                    <a:pt x="582" y="382"/>
                    <a:pt x="574" y="407"/>
                  </a:cubicBezTo>
                  <a:cubicBezTo>
                    <a:pt x="548" y="411"/>
                    <a:pt x="524" y="422"/>
                    <a:pt x="506" y="439"/>
                  </a:cubicBezTo>
                  <a:cubicBezTo>
                    <a:pt x="502" y="429"/>
                    <a:pt x="502" y="429"/>
                    <a:pt x="502" y="429"/>
                  </a:cubicBezTo>
                  <a:cubicBezTo>
                    <a:pt x="502" y="428"/>
                    <a:pt x="502" y="428"/>
                    <a:pt x="502" y="427"/>
                  </a:cubicBezTo>
                  <a:cubicBezTo>
                    <a:pt x="510" y="403"/>
                    <a:pt x="510" y="403"/>
                    <a:pt x="510" y="403"/>
                  </a:cubicBezTo>
                  <a:cubicBezTo>
                    <a:pt x="512" y="399"/>
                    <a:pt x="512" y="394"/>
                    <a:pt x="510" y="390"/>
                  </a:cubicBezTo>
                  <a:cubicBezTo>
                    <a:pt x="497" y="361"/>
                    <a:pt x="497" y="361"/>
                    <a:pt x="497" y="361"/>
                  </a:cubicBezTo>
                  <a:cubicBezTo>
                    <a:pt x="497" y="360"/>
                    <a:pt x="497" y="360"/>
                    <a:pt x="497" y="360"/>
                  </a:cubicBezTo>
                  <a:cubicBezTo>
                    <a:pt x="499" y="347"/>
                    <a:pt x="499" y="347"/>
                    <a:pt x="499" y="347"/>
                  </a:cubicBezTo>
                  <a:cubicBezTo>
                    <a:pt x="500" y="339"/>
                    <a:pt x="496" y="332"/>
                    <a:pt x="490" y="329"/>
                  </a:cubicBezTo>
                  <a:close/>
                  <a:moveTo>
                    <a:pt x="322" y="629"/>
                  </a:moveTo>
                  <a:cubicBezTo>
                    <a:pt x="153" y="629"/>
                    <a:pt x="16" y="491"/>
                    <a:pt x="16" y="322"/>
                  </a:cubicBezTo>
                  <a:cubicBezTo>
                    <a:pt x="16" y="153"/>
                    <a:pt x="153" y="16"/>
                    <a:pt x="322" y="16"/>
                  </a:cubicBezTo>
                  <a:cubicBezTo>
                    <a:pt x="491" y="16"/>
                    <a:pt x="629" y="153"/>
                    <a:pt x="629" y="322"/>
                  </a:cubicBezTo>
                  <a:cubicBezTo>
                    <a:pt x="629" y="352"/>
                    <a:pt x="624" y="381"/>
                    <a:pt x="616" y="409"/>
                  </a:cubicBezTo>
                  <a:cubicBezTo>
                    <a:pt x="608" y="407"/>
                    <a:pt x="600" y="406"/>
                    <a:pt x="591" y="406"/>
                  </a:cubicBezTo>
                  <a:cubicBezTo>
                    <a:pt x="598" y="381"/>
                    <a:pt x="602" y="355"/>
                    <a:pt x="602" y="328"/>
                  </a:cubicBezTo>
                  <a:cubicBezTo>
                    <a:pt x="602" y="289"/>
                    <a:pt x="594" y="251"/>
                    <a:pt x="579" y="216"/>
                  </a:cubicBezTo>
                  <a:cubicBezTo>
                    <a:pt x="577" y="212"/>
                    <a:pt x="577" y="212"/>
                    <a:pt x="577" y="212"/>
                  </a:cubicBezTo>
                  <a:cubicBezTo>
                    <a:pt x="573" y="211"/>
                    <a:pt x="573" y="211"/>
                    <a:pt x="573" y="211"/>
                  </a:cubicBezTo>
                  <a:cubicBezTo>
                    <a:pt x="570" y="210"/>
                    <a:pt x="567" y="210"/>
                    <a:pt x="564" y="211"/>
                  </a:cubicBezTo>
                  <a:cubicBezTo>
                    <a:pt x="560" y="213"/>
                    <a:pt x="560" y="213"/>
                    <a:pt x="560" y="213"/>
                  </a:cubicBezTo>
                  <a:cubicBezTo>
                    <a:pt x="559" y="213"/>
                    <a:pt x="559" y="213"/>
                    <a:pt x="558" y="213"/>
                  </a:cubicBezTo>
                  <a:cubicBezTo>
                    <a:pt x="540" y="208"/>
                    <a:pt x="540" y="208"/>
                    <a:pt x="540" y="208"/>
                  </a:cubicBezTo>
                  <a:cubicBezTo>
                    <a:pt x="538" y="207"/>
                    <a:pt x="536" y="207"/>
                    <a:pt x="535" y="207"/>
                  </a:cubicBezTo>
                  <a:cubicBezTo>
                    <a:pt x="529" y="207"/>
                    <a:pt x="524" y="210"/>
                    <a:pt x="520" y="214"/>
                  </a:cubicBezTo>
                  <a:cubicBezTo>
                    <a:pt x="520" y="215"/>
                    <a:pt x="520" y="215"/>
                    <a:pt x="520" y="215"/>
                  </a:cubicBezTo>
                  <a:cubicBezTo>
                    <a:pt x="519" y="215"/>
                    <a:pt x="519" y="216"/>
                    <a:pt x="518" y="216"/>
                  </a:cubicBezTo>
                  <a:cubicBezTo>
                    <a:pt x="518" y="216"/>
                    <a:pt x="518" y="216"/>
                    <a:pt x="518" y="215"/>
                  </a:cubicBezTo>
                  <a:cubicBezTo>
                    <a:pt x="499" y="207"/>
                    <a:pt x="499" y="207"/>
                    <a:pt x="499" y="207"/>
                  </a:cubicBezTo>
                  <a:cubicBezTo>
                    <a:pt x="498" y="207"/>
                    <a:pt x="498" y="207"/>
                    <a:pt x="498" y="206"/>
                  </a:cubicBezTo>
                  <a:cubicBezTo>
                    <a:pt x="498" y="201"/>
                    <a:pt x="495" y="197"/>
                    <a:pt x="491" y="194"/>
                  </a:cubicBezTo>
                  <a:cubicBezTo>
                    <a:pt x="487" y="191"/>
                    <a:pt x="483" y="190"/>
                    <a:pt x="478" y="191"/>
                  </a:cubicBezTo>
                  <a:cubicBezTo>
                    <a:pt x="455" y="195"/>
                    <a:pt x="455" y="195"/>
                    <a:pt x="455" y="195"/>
                  </a:cubicBezTo>
                  <a:cubicBezTo>
                    <a:pt x="454" y="195"/>
                    <a:pt x="454" y="195"/>
                    <a:pt x="453" y="195"/>
                  </a:cubicBezTo>
                  <a:cubicBezTo>
                    <a:pt x="427" y="203"/>
                    <a:pt x="427" y="203"/>
                    <a:pt x="427" y="203"/>
                  </a:cubicBezTo>
                  <a:cubicBezTo>
                    <a:pt x="423" y="204"/>
                    <a:pt x="420" y="206"/>
                    <a:pt x="418" y="209"/>
                  </a:cubicBezTo>
                  <a:cubicBezTo>
                    <a:pt x="387" y="248"/>
                    <a:pt x="387" y="248"/>
                    <a:pt x="387" y="248"/>
                  </a:cubicBezTo>
                  <a:cubicBezTo>
                    <a:pt x="385" y="251"/>
                    <a:pt x="384" y="255"/>
                    <a:pt x="384" y="259"/>
                  </a:cubicBezTo>
                  <a:cubicBezTo>
                    <a:pt x="384" y="303"/>
                    <a:pt x="384" y="303"/>
                    <a:pt x="384" y="303"/>
                  </a:cubicBezTo>
                  <a:cubicBezTo>
                    <a:pt x="384" y="308"/>
                    <a:pt x="386" y="313"/>
                    <a:pt x="390" y="317"/>
                  </a:cubicBezTo>
                  <a:cubicBezTo>
                    <a:pt x="414" y="338"/>
                    <a:pt x="414" y="338"/>
                    <a:pt x="414" y="338"/>
                  </a:cubicBezTo>
                  <a:cubicBezTo>
                    <a:pt x="418" y="341"/>
                    <a:pt x="424" y="343"/>
                    <a:pt x="429" y="342"/>
                  </a:cubicBezTo>
                  <a:cubicBezTo>
                    <a:pt x="466" y="335"/>
                    <a:pt x="466" y="335"/>
                    <a:pt x="466" y="335"/>
                  </a:cubicBezTo>
                  <a:cubicBezTo>
                    <a:pt x="467" y="335"/>
                    <a:pt x="467" y="335"/>
                    <a:pt x="468" y="335"/>
                  </a:cubicBezTo>
                  <a:cubicBezTo>
                    <a:pt x="482" y="343"/>
                    <a:pt x="482" y="343"/>
                    <a:pt x="482" y="343"/>
                  </a:cubicBezTo>
                  <a:cubicBezTo>
                    <a:pt x="483" y="343"/>
                    <a:pt x="483" y="344"/>
                    <a:pt x="483" y="345"/>
                  </a:cubicBezTo>
                  <a:cubicBezTo>
                    <a:pt x="481" y="358"/>
                    <a:pt x="481" y="358"/>
                    <a:pt x="481" y="358"/>
                  </a:cubicBezTo>
                  <a:cubicBezTo>
                    <a:pt x="481" y="361"/>
                    <a:pt x="481" y="364"/>
                    <a:pt x="483" y="367"/>
                  </a:cubicBezTo>
                  <a:cubicBezTo>
                    <a:pt x="495" y="396"/>
                    <a:pt x="495" y="396"/>
                    <a:pt x="495" y="396"/>
                  </a:cubicBezTo>
                  <a:cubicBezTo>
                    <a:pt x="495" y="397"/>
                    <a:pt x="496" y="397"/>
                    <a:pt x="495" y="398"/>
                  </a:cubicBezTo>
                  <a:cubicBezTo>
                    <a:pt x="487" y="422"/>
                    <a:pt x="487" y="422"/>
                    <a:pt x="487" y="422"/>
                  </a:cubicBezTo>
                  <a:cubicBezTo>
                    <a:pt x="485" y="426"/>
                    <a:pt x="485" y="430"/>
                    <a:pt x="487" y="434"/>
                  </a:cubicBezTo>
                  <a:cubicBezTo>
                    <a:pt x="489" y="441"/>
                    <a:pt x="489" y="441"/>
                    <a:pt x="489" y="441"/>
                  </a:cubicBezTo>
                  <a:cubicBezTo>
                    <a:pt x="482" y="439"/>
                    <a:pt x="474" y="438"/>
                    <a:pt x="467" y="438"/>
                  </a:cubicBezTo>
                  <a:cubicBezTo>
                    <a:pt x="418" y="438"/>
                    <a:pt x="378" y="477"/>
                    <a:pt x="378" y="526"/>
                  </a:cubicBezTo>
                  <a:cubicBezTo>
                    <a:pt x="378" y="556"/>
                    <a:pt x="393" y="583"/>
                    <a:pt x="417" y="599"/>
                  </a:cubicBezTo>
                  <a:cubicBezTo>
                    <a:pt x="400" y="605"/>
                    <a:pt x="385" y="614"/>
                    <a:pt x="371" y="625"/>
                  </a:cubicBezTo>
                  <a:cubicBezTo>
                    <a:pt x="370" y="625"/>
                    <a:pt x="368" y="626"/>
                    <a:pt x="366" y="626"/>
                  </a:cubicBezTo>
                  <a:lnTo>
                    <a:pt x="322" y="629"/>
                  </a:lnTo>
                  <a:close/>
                  <a:moveTo>
                    <a:pt x="332" y="726"/>
                  </a:moveTo>
                  <a:cubicBezTo>
                    <a:pt x="339" y="669"/>
                    <a:pt x="381" y="622"/>
                    <a:pt x="437" y="610"/>
                  </a:cubicBezTo>
                  <a:cubicBezTo>
                    <a:pt x="446" y="613"/>
                    <a:pt x="458" y="614"/>
                    <a:pt x="469" y="614"/>
                  </a:cubicBezTo>
                  <a:cubicBezTo>
                    <a:pt x="476" y="614"/>
                    <a:pt x="483" y="613"/>
                    <a:pt x="491" y="611"/>
                  </a:cubicBezTo>
                  <a:cubicBezTo>
                    <a:pt x="500" y="624"/>
                    <a:pt x="512" y="634"/>
                    <a:pt x="526" y="643"/>
                  </a:cubicBezTo>
                  <a:cubicBezTo>
                    <a:pt x="479" y="657"/>
                    <a:pt x="439" y="687"/>
                    <a:pt x="411" y="726"/>
                  </a:cubicBezTo>
                  <a:lnTo>
                    <a:pt x="332" y="726"/>
                  </a:lnTo>
                  <a:close/>
                  <a:moveTo>
                    <a:pt x="794" y="832"/>
                  </a:moveTo>
                  <a:cubicBezTo>
                    <a:pt x="387" y="832"/>
                    <a:pt x="387" y="832"/>
                    <a:pt x="387" y="832"/>
                  </a:cubicBezTo>
                  <a:cubicBezTo>
                    <a:pt x="397" y="744"/>
                    <a:pt x="461" y="672"/>
                    <a:pt x="548" y="653"/>
                  </a:cubicBezTo>
                  <a:cubicBezTo>
                    <a:pt x="591" y="705"/>
                    <a:pt x="591" y="705"/>
                    <a:pt x="591" y="705"/>
                  </a:cubicBezTo>
                  <a:cubicBezTo>
                    <a:pt x="634" y="653"/>
                    <a:pt x="634" y="653"/>
                    <a:pt x="634" y="653"/>
                  </a:cubicBezTo>
                  <a:cubicBezTo>
                    <a:pt x="720" y="672"/>
                    <a:pt x="785" y="744"/>
                    <a:pt x="794" y="832"/>
                  </a:cubicBezTo>
                  <a:close/>
                  <a:moveTo>
                    <a:pt x="770" y="726"/>
                  </a:moveTo>
                  <a:cubicBezTo>
                    <a:pt x="743" y="687"/>
                    <a:pt x="703" y="657"/>
                    <a:pt x="655" y="643"/>
                  </a:cubicBezTo>
                  <a:cubicBezTo>
                    <a:pt x="669" y="635"/>
                    <a:pt x="680" y="625"/>
                    <a:pt x="690" y="613"/>
                  </a:cubicBezTo>
                  <a:cubicBezTo>
                    <a:pt x="694" y="614"/>
                    <a:pt x="698" y="614"/>
                    <a:pt x="702" y="614"/>
                  </a:cubicBezTo>
                  <a:cubicBezTo>
                    <a:pt x="711" y="614"/>
                    <a:pt x="720" y="613"/>
                    <a:pt x="729" y="610"/>
                  </a:cubicBezTo>
                  <a:cubicBezTo>
                    <a:pt x="785" y="622"/>
                    <a:pt x="828" y="669"/>
                    <a:pt x="835" y="726"/>
                  </a:cubicBezTo>
                  <a:lnTo>
                    <a:pt x="770" y="7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28" name="Group 47127">
            <a:extLst>
              <a:ext uri="{FF2B5EF4-FFF2-40B4-BE49-F238E27FC236}">
                <a16:creationId xmlns:a16="http://schemas.microsoft.com/office/drawing/2014/main" id="{882D4CBF-3368-4411-955D-13A418DB8A11}"/>
              </a:ext>
            </a:extLst>
          </p:cNvPr>
          <p:cNvGrpSpPr/>
          <p:nvPr/>
        </p:nvGrpSpPr>
        <p:grpSpPr>
          <a:xfrm>
            <a:off x="396875" y="5457825"/>
            <a:ext cx="842963" cy="841375"/>
            <a:chOff x="396875" y="5457825"/>
            <a:chExt cx="842963" cy="841375"/>
          </a:xfrm>
        </p:grpSpPr>
        <p:sp>
          <p:nvSpPr>
            <p:cNvPr id="47124" name="AutoShape 18">
              <a:extLst>
                <a:ext uri="{FF2B5EF4-FFF2-40B4-BE49-F238E27FC236}">
                  <a16:creationId xmlns:a16="http://schemas.microsoft.com/office/drawing/2014/main" id="{CD04F099-572B-472E-9AF8-64A684CEA7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6875" y="5457825"/>
              <a:ext cx="842963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25" name="Oval 20">
              <a:extLst>
                <a:ext uri="{FF2B5EF4-FFF2-40B4-BE49-F238E27FC236}">
                  <a16:creationId xmlns:a16="http://schemas.microsoft.com/office/drawing/2014/main" id="{4FB71845-8F40-4A64-8C92-B6487EA15D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" y="5457825"/>
              <a:ext cx="842963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26" name="Freeform 21">
              <a:extLst>
                <a:ext uri="{FF2B5EF4-FFF2-40B4-BE49-F238E27FC236}">
                  <a16:creationId xmlns:a16="http://schemas.microsoft.com/office/drawing/2014/main" id="{44216B33-A3F6-49FE-A899-CC93D6D87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650" y="5630863"/>
              <a:ext cx="385763" cy="509588"/>
            </a:xfrm>
            <a:custGeom>
              <a:avLst/>
              <a:gdLst>
                <a:gd name="T0" fmla="*/ 629 w 732"/>
                <a:gd name="T1" fmla="*/ 505 h 968"/>
                <a:gd name="T2" fmla="*/ 713 w 732"/>
                <a:gd name="T3" fmla="*/ 180 h 968"/>
                <a:gd name="T4" fmla="*/ 639 w 732"/>
                <a:gd name="T5" fmla="*/ 41 h 968"/>
                <a:gd name="T6" fmla="*/ 517 w 732"/>
                <a:gd name="T7" fmla="*/ 15 h 968"/>
                <a:gd name="T8" fmla="*/ 516 w 732"/>
                <a:gd name="T9" fmla="*/ 15 h 968"/>
                <a:gd name="T10" fmla="*/ 215 w 732"/>
                <a:gd name="T11" fmla="*/ 19 h 968"/>
                <a:gd name="T12" fmla="*/ 213 w 732"/>
                <a:gd name="T13" fmla="*/ 18 h 968"/>
                <a:gd name="T14" fmla="*/ 83 w 732"/>
                <a:gd name="T15" fmla="*/ 42 h 968"/>
                <a:gd name="T16" fmla="*/ 18 w 732"/>
                <a:gd name="T17" fmla="*/ 184 h 968"/>
                <a:gd name="T18" fmla="*/ 101 w 732"/>
                <a:gd name="T19" fmla="*/ 509 h 968"/>
                <a:gd name="T20" fmla="*/ 102 w 732"/>
                <a:gd name="T21" fmla="*/ 509 h 968"/>
                <a:gd name="T22" fmla="*/ 100 w 732"/>
                <a:gd name="T23" fmla="*/ 679 h 968"/>
                <a:gd name="T24" fmla="*/ 100 w 732"/>
                <a:gd name="T25" fmla="*/ 680 h 968"/>
                <a:gd name="T26" fmla="*/ 175 w 732"/>
                <a:gd name="T27" fmla="*/ 955 h 968"/>
                <a:gd name="T28" fmla="*/ 176 w 732"/>
                <a:gd name="T29" fmla="*/ 955 h 968"/>
                <a:gd name="T30" fmla="*/ 176 w 732"/>
                <a:gd name="T31" fmla="*/ 956 h 968"/>
                <a:gd name="T32" fmla="*/ 201 w 732"/>
                <a:gd name="T33" fmla="*/ 966 h 968"/>
                <a:gd name="T34" fmla="*/ 211 w 732"/>
                <a:gd name="T35" fmla="*/ 964 h 968"/>
                <a:gd name="T36" fmla="*/ 227 w 732"/>
                <a:gd name="T37" fmla="*/ 915 h 968"/>
                <a:gd name="T38" fmla="*/ 227 w 732"/>
                <a:gd name="T39" fmla="*/ 914 h 968"/>
                <a:gd name="T40" fmla="*/ 348 w 732"/>
                <a:gd name="T41" fmla="*/ 632 h 968"/>
                <a:gd name="T42" fmla="*/ 385 w 732"/>
                <a:gd name="T43" fmla="*/ 629 h 968"/>
                <a:gd name="T44" fmla="*/ 503 w 732"/>
                <a:gd name="T45" fmla="*/ 911 h 968"/>
                <a:gd name="T46" fmla="*/ 519 w 732"/>
                <a:gd name="T47" fmla="*/ 961 h 968"/>
                <a:gd name="T48" fmla="*/ 554 w 732"/>
                <a:gd name="T49" fmla="*/ 953 h 968"/>
                <a:gd name="T50" fmla="*/ 555 w 732"/>
                <a:gd name="T51" fmla="*/ 952 h 968"/>
                <a:gd name="T52" fmla="*/ 556 w 732"/>
                <a:gd name="T53" fmla="*/ 951 h 968"/>
                <a:gd name="T54" fmla="*/ 631 w 732"/>
                <a:gd name="T55" fmla="*/ 676 h 968"/>
                <a:gd name="T56" fmla="*/ 631 w 732"/>
                <a:gd name="T57" fmla="*/ 676 h 968"/>
                <a:gd name="T58" fmla="*/ 629 w 732"/>
                <a:gd name="T59" fmla="*/ 506 h 968"/>
                <a:gd name="T60" fmla="*/ 629 w 732"/>
                <a:gd name="T61" fmla="*/ 505 h 968"/>
                <a:gd name="T62" fmla="*/ 609 w 732"/>
                <a:gd name="T63" fmla="*/ 680 h 968"/>
                <a:gd name="T64" fmla="*/ 539 w 732"/>
                <a:gd name="T65" fmla="*/ 937 h 968"/>
                <a:gd name="T66" fmla="*/ 529 w 732"/>
                <a:gd name="T67" fmla="*/ 941 h 968"/>
                <a:gd name="T68" fmla="*/ 525 w 732"/>
                <a:gd name="T69" fmla="*/ 912 h 968"/>
                <a:gd name="T70" fmla="*/ 525 w 732"/>
                <a:gd name="T71" fmla="*/ 912 h 968"/>
                <a:gd name="T72" fmla="*/ 387 w 732"/>
                <a:gd name="T73" fmla="*/ 607 h 968"/>
                <a:gd name="T74" fmla="*/ 342 w 732"/>
                <a:gd name="T75" fmla="*/ 611 h 968"/>
                <a:gd name="T76" fmla="*/ 208 w 732"/>
                <a:gd name="T77" fmla="*/ 784 h 968"/>
                <a:gd name="T78" fmla="*/ 205 w 732"/>
                <a:gd name="T79" fmla="*/ 916 h 968"/>
                <a:gd name="T80" fmla="*/ 201 w 732"/>
                <a:gd name="T81" fmla="*/ 944 h 968"/>
                <a:gd name="T82" fmla="*/ 191 w 732"/>
                <a:gd name="T83" fmla="*/ 940 h 968"/>
                <a:gd name="T84" fmla="*/ 122 w 732"/>
                <a:gd name="T85" fmla="*/ 683 h 968"/>
                <a:gd name="T86" fmla="*/ 120 w 732"/>
                <a:gd name="T87" fmla="*/ 498 h 968"/>
                <a:gd name="T88" fmla="*/ 40 w 732"/>
                <a:gd name="T89" fmla="*/ 186 h 968"/>
                <a:gd name="T90" fmla="*/ 40 w 732"/>
                <a:gd name="T91" fmla="*/ 186 h 968"/>
                <a:gd name="T92" fmla="*/ 95 w 732"/>
                <a:gd name="T93" fmla="*/ 60 h 968"/>
                <a:gd name="T94" fmla="*/ 207 w 732"/>
                <a:gd name="T95" fmla="*/ 39 h 968"/>
                <a:gd name="T96" fmla="*/ 523 w 732"/>
                <a:gd name="T97" fmla="*/ 36 h 968"/>
                <a:gd name="T98" fmla="*/ 627 w 732"/>
                <a:gd name="T99" fmla="*/ 59 h 968"/>
                <a:gd name="T100" fmla="*/ 691 w 732"/>
                <a:gd name="T101" fmla="*/ 183 h 968"/>
                <a:gd name="T102" fmla="*/ 610 w 732"/>
                <a:gd name="T103" fmla="*/ 494 h 968"/>
                <a:gd name="T104" fmla="*/ 609 w 732"/>
                <a:gd name="T105" fmla="*/ 68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2" h="968">
                  <a:moveTo>
                    <a:pt x="629" y="505"/>
                  </a:moveTo>
                  <a:cubicBezTo>
                    <a:pt x="732" y="329"/>
                    <a:pt x="713" y="186"/>
                    <a:pt x="713" y="180"/>
                  </a:cubicBezTo>
                  <a:cubicBezTo>
                    <a:pt x="704" y="115"/>
                    <a:pt x="679" y="69"/>
                    <a:pt x="639" y="41"/>
                  </a:cubicBezTo>
                  <a:cubicBezTo>
                    <a:pt x="584" y="1"/>
                    <a:pt x="520" y="14"/>
                    <a:pt x="517" y="15"/>
                  </a:cubicBezTo>
                  <a:cubicBezTo>
                    <a:pt x="516" y="15"/>
                    <a:pt x="516" y="15"/>
                    <a:pt x="516" y="15"/>
                  </a:cubicBezTo>
                  <a:cubicBezTo>
                    <a:pt x="352" y="75"/>
                    <a:pt x="216" y="19"/>
                    <a:pt x="215" y="19"/>
                  </a:cubicBezTo>
                  <a:cubicBezTo>
                    <a:pt x="213" y="18"/>
                    <a:pt x="213" y="18"/>
                    <a:pt x="213" y="18"/>
                  </a:cubicBezTo>
                  <a:cubicBezTo>
                    <a:pt x="210" y="18"/>
                    <a:pt x="139" y="0"/>
                    <a:pt x="83" y="42"/>
                  </a:cubicBezTo>
                  <a:cubicBezTo>
                    <a:pt x="44" y="70"/>
                    <a:pt x="22" y="118"/>
                    <a:pt x="18" y="184"/>
                  </a:cubicBezTo>
                  <a:cubicBezTo>
                    <a:pt x="16" y="194"/>
                    <a:pt x="0" y="336"/>
                    <a:pt x="101" y="509"/>
                  </a:cubicBezTo>
                  <a:cubicBezTo>
                    <a:pt x="102" y="509"/>
                    <a:pt x="102" y="509"/>
                    <a:pt x="102" y="509"/>
                  </a:cubicBezTo>
                  <a:cubicBezTo>
                    <a:pt x="102" y="510"/>
                    <a:pt x="126" y="550"/>
                    <a:pt x="100" y="679"/>
                  </a:cubicBezTo>
                  <a:cubicBezTo>
                    <a:pt x="100" y="680"/>
                    <a:pt x="100" y="680"/>
                    <a:pt x="100" y="680"/>
                  </a:cubicBezTo>
                  <a:cubicBezTo>
                    <a:pt x="99" y="686"/>
                    <a:pt x="80" y="833"/>
                    <a:pt x="175" y="955"/>
                  </a:cubicBezTo>
                  <a:cubicBezTo>
                    <a:pt x="176" y="955"/>
                    <a:pt x="176" y="955"/>
                    <a:pt x="176" y="955"/>
                  </a:cubicBezTo>
                  <a:cubicBezTo>
                    <a:pt x="176" y="956"/>
                    <a:pt x="176" y="956"/>
                    <a:pt x="176" y="956"/>
                  </a:cubicBezTo>
                  <a:cubicBezTo>
                    <a:pt x="178" y="957"/>
                    <a:pt x="189" y="966"/>
                    <a:pt x="201" y="966"/>
                  </a:cubicBezTo>
                  <a:cubicBezTo>
                    <a:pt x="204" y="966"/>
                    <a:pt x="208" y="966"/>
                    <a:pt x="211" y="964"/>
                  </a:cubicBezTo>
                  <a:cubicBezTo>
                    <a:pt x="223" y="958"/>
                    <a:pt x="229" y="942"/>
                    <a:pt x="227" y="915"/>
                  </a:cubicBezTo>
                  <a:cubicBezTo>
                    <a:pt x="227" y="914"/>
                    <a:pt x="227" y="914"/>
                    <a:pt x="227" y="914"/>
                  </a:cubicBezTo>
                  <a:cubicBezTo>
                    <a:pt x="227" y="911"/>
                    <a:pt x="195" y="676"/>
                    <a:pt x="348" y="632"/>
                  </a:cubicBezTo>
                  <a:cubicBezTo>
                    <a:pt x="348" y="632"/>
                    <a:pt x="363" y="627"/>
                    <a:pt x="385" y="629"/>
                  </a:cubicBezTo>
                  <a:cubicBezTo>
                    <a:pt x="505" y="638"/>
                    <a:pt x="504" y="903"/>
                    <a:pt x="503" y="911"/>
                  </a:cubicBezTo>
                  <a:cubicBezTo>
                    <a:pt x="502" y="939"/>
                    <a:pt x="507" y="955"/>
                    <a:pt x="519" y="961"/>
                  </a:cubicBezTo>
                  <a:cubicBezTo>
                    <a:pt x="535" y="968"/>
                    <a:pt x="552" y="954"/>
                    <a:pt x="554" y="953"/>
                  </a:cubicBezTo>
                  <a:cubicBezTo>
                    <a:pt x="555" y="952"/>
                    <a:pt x="555" y="952"/>
                    <a:pt x="555" y="952"/>
                  </a:cubicBezTo>
                  <a:cubicBezTo>
                    <a:pt x="556" y="951"/>
                    <a:pt x="556" y="951"/>
                    <a:pt x="556" y="951"/>
                  </a:cubicBezTo>
                  <a:cubicBezTo>
                    <a:pt x="651" y="830"/>
                    <a:pt x="632" y="683"/>
                    <a:pt x="631" y="676"/>
                  </a:cubicBezTo>
                  <a:cubicBezTo>
                    <a:pt x="631" y="676"/>
                    <a:pt x="631" y="676"/>
                    <a:pt x="631" y="676"/>
                  </a:cubicBezTo>
                  <a:cubicBezTo>
                    <a:pt x="605" y="546"/>
                    <a:pt x="629" y="506"/>
                    <a:pt x="629" y="506"/>
                  </a:cubicBezTo>
                  <a:lnTo>
                    <a:pt x="629" y="505"/>
                  </a:lnTo>
                  <a:close/>
                  <a:moveTo>
                    <a:pt x="609" y="680"/>
                  </a:moveTo>
                  <a:cubicBezTo>
                    <a:pt x="610" y="687"/>
                    <a:pt x="626" y="825"/>
                    <a:pt x="539" y="937"/>
                  </a:cubicBezTo>
                  <a:cubicBezTo>
                    <a:pt x="535" y="939"/>
                    <a:pt x="531" y="941"/>
                    <a:pt x="529" y="941"/>
                  </a:cubicBezTo>
                  <a:cubicBezTo>
                    <a:pt x="529" y="941"/>
                    <a:pt x="524" y="937"/>
                    <a:pt x="525" y="912"/>
                  </a:cubicBezTo>
                  <a:cubicBezTo>
                    <a:pt x="525" y="912"/>
                    <a:pt x="525" y="912"/>
                    <a:pt x="525" y="912"/>
                  </a:cubicBezTo>
                  <a:cubicBezTo>
                    <a:pt x="526" y="900"/>
                    <a:pt x="529" y="618"/>
                    <a:pt x="387" y="607"/>
                  </a:cubicBezTo>
                  <a:cubicBezTo>
                    <a:pt x="360" y="605"/>
                    <a:pt x="342" y="611"/>
                    <a:pt x="342" y="611"/>
                  </a:cubicBezTo>
                  <a:cubicBezTo>
                    <a:pt x="270" y="631"/>
                    <a:pt x="224" y="691"/>
                    <a:pt x="208" y="784"/>
                  </a:cubicBezTo>
                  <a:cubicBezTo>
                    <a:pt x="197" y="850"/>
                    <a:pt x="204" y="910"/>
                    <a:pt x="205" y="916"/>
                  </a:cubicBezTo>
                  <a:cubicBezTo>
                    <a:pt x="206" y="940"/>
                    <a:pt x="201" y="944"/>
                    <a:pt x="201" y="944"/>
                  </a:cubicBezTo>
                  <a:cubicBezTo>
                    <a:pt x="200" y="945"/>
                    <a:pt x="195" y="943"/>
                    <a:pt x="191" y="940"/>
                  </a:cubicBezTo>
                  <a:cubicBezTo>
                    <a:pt x="105" y="829"/>
                    <a:pt x="121" y="690"/>
                    <a:pt x="122" y="683"/>
                  </a:cubicBezTo>
                  <a:cubicBezTo>
                    <a:pt x="149" y="549"/>
                    <a:pt x="124" y="504"/>
                    <a:pt x="120" y="498"/>
                  </a:cubicBezTo>
                  <a:cubicBezTo>
                    <a:pt x="21" y="328"/>
                    <a:pt x="40" y="188"/>
                    <a:pt x="40" y="186"/>
                  </a:cubicBezTo>
                  <a:cubicBezTo>
                    <a:pt x="40" y="186"/>
                    <a:pt x="40" y="186"/>
                    <a:pt x="40" y="186"/>
                  </a:cubicBezTo>
                  <a:cubicBezTo>
                    <a:pt x="44" y="126"/>
                    <a:pt x="62" y="84"/>
                    <a:pt x="95" y="60"/>
                  </a:cubicBezTo>
                  <a:cubicBezTo>
                    <a:pt x="141" y="26"/>
                    <a:pt x="200" y="38"/>
                    <a:pt x="207" y="39"/>
                  </a:cubicBezTo>
                  <a:cubicBezTo>
                    <a:pt x="221" y="45"/>
                    <a:pt x="356" y="97"/>
                    <a:pt x="523" y="36"/>
                  </a:cubicBezTo>
                  <a:cubicBezTo>
                    <a:pt x="529" y="35"/>
                    <a:pt x="582" y="27"/>
                    <a:pt x="627" y="59"/>
                  </a:cubicBezTo>
                  <a:cubicBezTo>
                    <a:pt x="661" y="83"/>
                    <a:pt x="683" y="125"/>
                    <a:pt x="691" y="183"/>
                  </a:cubicBezTo>
                  <a:cubicBezTo>
                    <a:pt x="691" y="184"/>
                    <a:pt x="709" y="325"/>
                    <a:pt x="610" y="494"/>
                  </a:cubicBezTo>
                  <a:cubicBezTo>
                    <a:pt x="606" y="500"/>
                    <a:pt x="582" y="545"/>
                    <a:pt x="609" y="6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27" name="Freeform 22">
              <a:extLst>
                <a:ext uri="{FF2B5EF4-FFF2-40B4-BE49-F238E27FC236}">
                  <a16:creationId xmlns:a16="http://schemas.microsoft.com/office/drawing/2014/main" id="{CF0230B9-0B6B-4F32-8439-752A029FAB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213" y="5491163"/>
              <a:ext cx="776288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33" name="Group 47132">
            <a:extLst>
              <a:ext uri="{FF2B5EF4-FFF2-40B4-BE49-F238E27FC236}">
                <a16:creationId xmlns:a16="http://schemas.microsoft.com/office/drawing/2014/main" id="{224278AA-638F-482A-8679-F3E2CB18DE14}"/>
              </a:ext>
            </a:extLst>
          </p:cNvPr>
          <p:cNvGrpSpPr/>
          <p:nvPr/>
        </p:nvGrpSpPr>
        <p:grpSpPr>
          <a:xfrm>
            <a:off x="1425575" y="5472113"/>
            <a:ext cx="768350" cy="768350"/>
            <a:chOff x="1425575" y="5472113"/>
            <a:chExt cx="768350" cy="768350"/>
          </a:xfrm>
        </p:grpSpPr>
        <p:sp>
          <p:nvSpPr>
            <p:cNvPr id="47130" name="AutoShape 24">
              <a:extLst>
                <a:ext uri="{FF2B5EF4-FFF2-40B4-BE49-F238E27FC236}">
                  <a16:creationId xmlns:a16="http://schemas.microsoft.com/office/drawing/2014/main" id="{9BE4816E-8240-4465-9689-16247DB4C2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5575" y="547211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31" name="Freeform 26">
              <a:extLst>
                <a:ext uri="{FF2B5EF4-FFF2-40B4-BE49-F238E27FC236}">
                  <a16:creationId xmlns:a16="http://schemas.microsoft.com/office/drawing/2014/main" id="{90DFB884-80FA-445B-BD04-64B49A0A26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2425" y="5610226"/>
              <a:ext cx="381000" cy="503238"/>
            </a:xfrm>
            <a:custGeom>
              <a:avLst/>
              <a:gdLst>
                <a:gd name="T0" fmla="*/ 629 w 732"/>
                <a:gd name="T1" fmla="*/ 505 h 968"/>
                <a:gd name="T2" fmla="*/ 713 w 732"/>
                <a:gd name="T3" fmla="*/ 180 h 968"/>
                <a:gd name="T4" fmla="*/ 639 w 732"/>
                <a:gd name="T5" fmla="*/ 41 h 968"/>
                <a:gd name="T6" fmla="*/ 517 w 732"/>
                <a:gd name="T7" fmla="*/ 15 h 968"/>
                <a:gd name="T8" fmla="*/ 516 w 732"/>
                <a:gd name="T9" fmla="*/ 15 h 968"/>
                <a:gd name="T10" fmla="*/ 215 w 732"/>
                <a:gd name="T11" fmla="*/ 19 h 968"/>
                <a:gd name="T12" fmla="*/ 213 w 732"/>
                <a:gd name="T13" fmla="*/ 18 h 968"/>
                <a:gd name="T14" fmla="*/ 83 w 732"/>
                <a:gd name="T15" fmla="*/ 42 h 968"/>
                <a:gd name="T16" fmla="*/ 18 w 732"/>
                <a:gd name="T17" fmla="*/ 184 h 968"/>
                <a:gd name="T18" fmla="*/ 101 w 732"/>
                <a:gd name="T19" fmla="*/ 509 h 968"/>
                <a:gd name="T20" fmla="*/ 102 w 732"/>
                <a:gd name="T21" fmla="*/ 509 h 968"/>
                <a:gd name="T22" fmla="*/ 100 w 732"/>
                <a:gd name="T23" fmla="*/ 679 h 968"/>
                <a:gd name="T24" fmla="*/ 100 w 732"/>
                <a:gd name="T25" fmla="*/ 680 h 968"/>
                <a:gd name="T26" fmla="*/ 175 w 732"/>
                <a:gd name="T27" fmla="*/ 955 h 968"/>
                <a:gd name="T28" fmla="*/ 176 w 732"/>
                <a:gd name="T29" fmla="*/ 955 h 968"/>
                <a:gd name="T30" fmla="*/ 176 w 732"/>
                <a:gd name="T31" fmla="*/ 956 h 968"/>
                <a:gd name="T32" fmla="*/ 201 w 732"/>
                <a:gd name="T33" fmla="*/ 966 h 968"/>
                <a:gd name="T34" fmla="*/ 211 w 732"/>
                <a:gd name="T35" fmla="*/ 964 h 968"/>
                <a:gd name="T36" fmla="*/ 227 w 732"/>
                <a:gd name="T37" fmla="*/ 915 h 968"/>
                <a:gd name="T38" fmla="*/ 227 w 732"/>
                <a:gd name="T39" fmla="*/ 914 h 968"/>
                <a:gd name="T40" fmla="*/ 348 w 732"/>
                <a:gd name="T41" fmla="*/ 632 h 968"/>
                <a:gd name="T42" fmla="*/ 385 w 732"/>
                <a:gd name="T43" fmla="*/ 629 h 968"/>
                <a:gd name="T44" fmla="*/ 503 w 732"/>
                <a:gd name="T45" fmla="*/ 911 h 968"/>
                <a:gd name="T46" fmla="*/ 519 w 732"/>
                <a:gd name="T47" fmla="*/ 961 h 968"/>
                <a:gd name="T48" fmla="*/ 554 w 732"/>
                <a:gd name="T49" fmla="*/ 953 h 968"/>
                <a:gd name="T50" fmla="*/ 555 w 732"/>
                <a:gd name="T51" fmla="*/ 952 h 968"/>
                <a:gd name="T52" fmla="*/ 556 w 732"/>
                <a:gd name="T53" fmla="*/ 951 h 968"/>
                <a:gd name="T54" fmla="*/ 631 w 732"/>
                <a:gd name="T55" fmla="*/ 676 h 968"/>
                <a:gd name="T56" fmla="*/ 631 w 732"/>
                <a:gd name="T57" fmla="*/ 676 h 968"/>
                <a:gd name="T58" fmla="*/ 629 w 732"/>
                <a:gd name="T59" fmla="*/ 506 h 968"/>
                <a:gd name="T60" fmla="*/ 629 w 732"/>
                <a:gd name="T61" fmla="*/ 505 h 968"/>
                <a:gd name="T62" fmla="*/ 609 w 732"/>
                <a:gd name="T63" fmla="*/ 680 h 968"/>
                <a:gd name="T64" fmla="*/ 539 w 732"/>
                <a:gd name="T65" fmla="*/ 937 h 968"/>
                <a:gd name="T66" fmla="*/ 529 w 732"/>
                <a:gd name="T67" fmla="*/ 941 h 968"/>
                <a:gd name="T68" fmla="*/ 525 w 732"/>
                <a:gd name="T69" fmla="*/ 912 h 968"/>
                <a:gd name="T70" fmla="*/ 525 w 732"/>
                <a:gd name="T71" fmla="*/ 912 h 968"/>
                <a:gd name="T72" fmla="*/ 387 w 732"/>
                <a:gd name="T73" fmla="*/ 607 h 968"/>
                <a:gd name="T74" fmla="*/ 342 w 732"/>
                <a:gd name="T75" fmla="*/ 611 h 968"/>
                <a:gd name="T76" fmla="*/ 208 w 732"/>
                <a:gd name="T77" fmla="*/ 784 h 968"/>
                <a:gd name="T78" fmla="*/ 205 w 732"/>
                <a:gd name="T79" fmla="*/ 916 h 968"/>
                <a:gd name="T80" fmla="*/ 201 w 732"/>
                <a:gd name="T81" fmla="*/ 944 h 968"/>
                <a:gd name="T82" fmla="*/ 191 w 732"/>
                <a:gd name="T83" fmla="*/ 940 h 968"/>
                <a:gd name="T84" fmla="*/ 122 w 732"/>
                <a:gd name="T85" fmla="*/ 683 h 968"/>
                <a:gd name="T86" fmla="*/ 120 w 732"/>
                <a:gd name="T87" fmla="*/ 498 h 968"/>
                <a:gd name="T88" fmla="*/ 40 w 732"/>
                <a:gd name="T89" fmla="*/ 186 h 968"/>
                <a:gd name="T90" fmla="*/ 40 w 732"/>
                <a:gd name="T91" fmla="*/ 186 h 968"/>
                <a:gd name="T92" fmla="*/ 95 w 732"/>
                <a:gd name="T93" fmla="*/ 60 h 968"/>
                <a:gd name="T94" fmla="*/ 207 w 732"/>
                <a:gd name="T95" fmla="*/ 39 h 968"/>
                <a:gd name="T96" fmla="*/ 523 w 732"/>
                <a:gd name="T97" fmla="*/ 36 h 968"/>
                <a:gd name="T98" fmla="*/ 627 w 732"/>
                <a:gd name="T99" fmla="*/ 59 h 968"/>
                <a:gd name="T100" fmla="*/ 691 w 732"/>
                <a:gd name="T101" fmla="*/ 183 h 968"/>
                <a:gd name="T102" fmla="*/ 610 w 732"/>
                <a:gd name="T103" fmla="*/ 494 h 968"/>
                <a:gd name="T104" fmla="*/ 609 w 732"/>
                <a:gd name="T105" fmla="*/ 68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2" h="968">
                  <a:moveTo>
                    <a:pt x="629" y="505"/>
                  </a:moveTo>
                  <a:cubicBezTo>
                    <a:pt x="732" y="329"/>
                    <a:pt x="713" y="186"/>
                    <a:pt x="713" y="180"/>
                  </a:cubicBezTo>
                  <a:cubicBezTo>
                    <a:pt x="704" y="115"/>
                    <a:pt x="679" y="69"/>
                    <a:pt x="639" y="41"/>
                  </a:cubicBezTo>
                  <a:cubicBezTo>
                    <a:pt x="584" y="1"/>
                    <a:pt x="520" y="14"/>
                    <a:pt x="517" y="15"/>
                  </a:cubicBezTo>
                  <a:cubicBezTo>
                    <a:pt x="516" y="15"/>
                    <a:pt x="516" y="15"/>
                    <a:pt x="516" y="15"/>
                  </a:cubicBezTo>
                  <a:cubicBezTo>
                    <a:pt x="352" y="75"/>
                    <a:pt x="216" y="19"/>
                    <a:pt x="215" y="19"/>
                  </a:cubicBezTo>
                  <a:cubicBezTo>
                    <a:pt x="213" y="18"/>
                    <a:pt x="213" y="18"/>
                    <a:pt x="213" y="18"/>
                  </a:cubicBezTo>
                  <a:cubicBezTo>
                    <a:pt x="210" y="18"/>
                    <a:pt x="139" y="0"/>
                    <a:pt x="83" y="42"/>
                  </a:cubicBezTo>
                  <a:cubicBezTo>
                    <a:pt x="44" y="70"/>
                    <a:pt x="22" y="118"/>
                    <a:pt x="18" y="184"/>
                  </a:cubicBezTo>
                  <a:cubicBezTo>
                    <a:pt x="16" y="194"/>
                    <a:pt x="0" y="336"/>
                    <a:pt x="101" y="509"/>
                  </a:cubicBezTo>
                  <a:cubicBezTo>
                    <a:pt x="102" y="509"/>
                    <a:pt x="102" y="509"/>
                    <a:pt x="102" y="509"/>
                  </a:cubicBezTo>
                  <a:cubicBezTo>
                    <a:pt x="102" y="510"/>
                    <a:pt x="126" y="550"/>
                    <a:pt x="100" y="679"/>
                  </a:cubicBezTo>
                  <a:cubicBezTo>
                    <a:pt x="100" y="680"/>
                    <a:pt x="100" y="680"/>
                    <a:pt x="100" y="680"/>
                  </a:cubicBezTo>
                  <a:cubicBezTo>
                    <a:pt x="99" y="686"/>
                    <a:pt x="80" y="833"/>
                    <a:pt x="175" y="955"/>
                  </a:cubicBezTo>
                  <a:cubicBezTo>
                    <a:pt x="176" y="955"/>
                    <a:pt x="176" y="955"/>
                    <a:pt x="176" y="955"/>
                  </a:cubicBezTo>
                  <a:cubicBezTo>
                    <a:pt x="176" y="956"/>
                    <a:pt x="176" y="956"/>
                    <a:pt x="176" y="956"/>
                  </a:cubicBezTo>
                  <a:cubicBezTo>
                    <a:pt x="178" y="957"/>
                    <a:pt x="189" y="966"/>
                    <a:pt x="201" y="966"/>
                  </a:cubicBezTo>
                  <a:cubicBezTo>
                    <a:pt x="204" y="966"/>
                    <a:pt x="208" y="966"/>
                    <a:pt x="211" y="964"/>
                  </a:cubicBezTo>
                  <a:cubicBezTo>
                    <a:pt x="223" y="958"/>
                    <a:pt x="229" y="942"/>
                    <a:pt x="227" y="915"/>
                  </a:cubicBezTo>
                  <a:cubicBezTo>
                    <a:pt x="227" y="914"/>
                    <a:pt x="227" y="914"/>
                    <a:pt x="227" y="914"/>
                  </a:cubicBezTo>
                  <a:cubicBezTo>
                    <a:pt x="227" y="911"/>
                    <a:pt x="195" y="676"/>
                    <a:pt x="348" y="632"/>
                  </a:cubicBezTo>
                  <a:cubicBezTo>
                    <a:pt x="348" y="632"/>
                    <a:pt x="363" y="627"/>
                    <a:pt x="385" y="629"/>
                  </a:cubicBezTo>
                  <a:cubicBezTo>
                    <a:pt x="505" y="638"/>
                    <a:pt x="504" y="903"/>
                    <a:pt x="503" y="911"/>
                  </a:cubicBezTo>
                  <a:cubicBezTo>
                    <a:pt x="502" y="939"/>
                    <a:pt x="507" y="955"/>
                    <a:pt x="519" y="961"/>
                  </a:cubicBezTo>
                  <a:cubicBezTo>
                    <a:pt x="535" y="968"/>
                    <a:pt x="552" y="954"/>
                    <a:pt x="554" y="953"/>
                  </a:cubicBezTo>
                  <a:cubicBezTo>
                    <a:pt x="555" y="952"/>
                    <a:pt x="555" y="952"/>
                    <a:pt x="555" y="952"/>
                  </a:cubicBezTo>
                  <a:cubicBezTo>
                    <a:pt x="556" y="951"/>
                    <a:pt x="556" y="951"/>
                    <a:pt x="556" y="951"/>
                  </a:cubicBezTo>
                  <a:cubicBezTo>
                    <a:pt x="651" y="830"/>
                    <a:pt x="632" y="683"/>
                    <a:pt x="631" y="676"/>
                  </a:cubicBezTo>
                  <a:cubicBezTo>
                    <a:pt x="631" y="676"/>
                    <a:pt x="631" y="676"/>
                    <a:pt x="631" y="676"/>
                  </a:cubicBezTo>
                  <a:cubicBezTo>
                    <a:pt x="605" y="546"/>
                    <a:pt x="629" y="506"/>
                    <a:pt x="629" y="506"/>
                  </a:cubicBezTo>
                  <a:lnTo>
                    <a:pt x="629" y="505"/>
                  </a:lnTo>
                  <a:close/>
                  <a:moveTo>
                    <a:pt x="609" y="680"/>
                  </a:moveTo>
                  <a:cubicBezTo>
                    <a:pt x="610" y="687"/>
                    <a:pt x="626" y="825"/>
                    <a:pt x="539" y="937"/>
                  </a:cubicBezTo>
                  <a:cubicBezTo>
                    <a:pt x="535" y="939"/>
                    <a:pt x="531" y="941"/>
                    <a:pt x="529" y="941"/>
                  </a:cubicBezTo>
                  <a:cubicBezTo>
                    <a:pt x="529" y="941"/>
                    <a:pt x="524" y="937"/>
                    <a:pt x="525" y="912"/>
                  </a:cubicBezTo>
                  <a:cubicBezTo>
                    <a:pt x="525" y="912"/>
                    <a:pt x="525" y="912"/>
                    <a:pt x="525" y="912"/>
                  </a:cubicBezTo>
                  <a:cubicBezTo>
                    <a:pt x="526" y="900"/>
                    <a:pt x="529" y="618"/>
                    <a:pt x="387" y="607"/>
                  </a:cubicBezTo>
                  <a:cubicBezTo>
                    <a:pt x="360" y="605"/>
                    <a:pt x="342" y="611"/>
                    <a:pt x="342" y="611"/>
                  </a:cubicBezTo>
                  <a:cubicBezTo>
                    <a:pt x="270" y="631"/>
                    <a:pt x="224" y="691"/>
                    <a:pt x="208" y="784"/>
                  </a:cubicBezTo>
                  <a:cubicBezTo>
                    <a:pt x="197" y="850"/>
                    <a:pt x="204" y="910"/>
                    <a:pt x="205" y="916"/>
                  </a:cubicBezTo>
                  <a:cubicBezTo>
                    <a:pt x="206" y="940"/>
                    <a:pt x="201" y="944"/>
                    <a:pt x="201" y="944"/>
                  </a:cubicBezTo>
                  <a:cubicBezTo>
                    <a:pt x="200" y="945"/>
                    <a:pt x="195" y="943"/>
                    <a:pt x="191" y="940"/>
                  </a:cubicBezTo>
                  <a:cubicBezTo>
                    <a:pt x="105" y="829"/>
                    <a:pt x="121" y="690"/>
                    <a:pt x="122" y="683"/>
                  </a:cubicBezTo>
                  <a:cubicBezTo>
                    <a:pt x="149" y="549"/>
                    <a:pt x="124" y="504"/>
                    <a:pt x="120" y="498"/>
                  </a:cubicBezTo>
                  <a:cubicBezTo>
                    <a:pt x="21" y="328"/>
                    <a:pt x="40" y="188"/>
                    <a:pt x="40" y="186"/>
                  </a:cubicBezTo>
                  <a:cubicBezTo>
                    <a:pt x="40" y="186"/>
                    <a:pt x="40" y="186"/>
                    <a:pt x="40" y="186"/>
                  </a:cubicBezTo>
                  <a:cubicBezTo>
                    <a:pt x="44" y="126"/>
                    <a:pt x="62" y="84"/>
                    <a:pt x="95" y="60"/>
                  </a:cubicBezTo>
                  <a:cubicBezTo>
                    <a:pt x="141" y="26"/>
                    <a:pt x="200" y="38"/>
                    <a:pt x="207" y="39"/>
                  </a:cubicBezTo>
                  <a:cubicBezTo>
                    <a:pt x="221" y="45"/>
                    <a:pt x="356" y="97"/>
                    <a:pt x="523" y="36"/>
                  </a:cubicBezTo>
                  <a:cubicBezTo>
                    <a:pt x="529" y="35"/>
                    <a:pt x="582" y="27"/>
                    <a:pt x="627" y="59"/>
                  </a:cubicBezTo>
                  <a:cubicBezTo>
                    <a:pt x="661" y="83"/>
                    <a:pt x="683" y="125"/>
                    <a:pt x="691" y="183"/>
                  </a:cubicBezTo>
                  <a:cubicBezTo>
                    <a:pt x="691" y="184"/>
                    <a:pt x="709" y="325"/>
                    <a:pt x="610" y="494"/>
                  </a:cubicBezTo>
                  <a:cubicBezTo>
                    <a:pt x="606" y="500"/>
                    <a:pt x="582" y="545"/>
                    <a:pt x="609" y="68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32" name="Freeform 27">
              <a:extLst>
                <a:ext uri="{FF2B5EF4-FFF2-40B4-BE49-F238E27FC236}">
                  <a16:creationId xmlns:a16="http://schemas.microsoft.com/office/drawing/2014/main" id="{CD3F5280-60B7-43FB-812C-5BB2165BA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5575" y="5472113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Table 323">
            <a:extLst>
              <a:ext uri="{FF2B5EF4-FFF2-40B4-BE49-F238E27FC236}">
                <a16:creationId xmlns:a16="http://schemas.microsoft.com/office/drawing/2014/main" id="{4F76E697-9951-4355-AFDD-92DB457185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557053"/>
              </p:ext>
            </p:extLst>
          </p:nvPr>
        </p:nvGraphicFramePr>
        <p:xfrm>
          <a:off x="198302" y="187288"/>
          <a:ext cx="8780444" cy="6474731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frigerato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curity Camera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mile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prinkler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ermometer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ergy - Oil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porting</a:t>
                      </a:r>
                      <a:r>
                        <a:rPr lang="en-US" sz="1200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Goods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rmy Tank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eer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dge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thing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g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974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quipment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o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urniture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lth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Jewelry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pul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stage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o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44" name="Group 16"/>
          <p:cNvGrpSpPr>
            <a:grpSpLocks noChangeAspect="1"/>
          </p:cNvGrpSpPr>
          <p:nvPr/>
        </p:nvGrpSpPr>
        <p:grpSpPr bwMode="auto">
          <a:xfrm>
            <a:off x="372004" y="276752"/>
            <a:ext cx="841248" cy="841248"/>
            <a:chOff x="229" y="992"/>
            <a:chExt cx="490" cy="490"/>
          </a:xfrm>
        </p:grpSpPr>
        <p:sp>
          <p:nvSpPr>
            <p:cNvPr id="45" name="AutoShape 15"/>
            <p:cNvSpPr>
              <a:spLocks noChangeAspect="1" noChangeArrowheads="1" noTextEdit="1"/>
            </p:cNvSpPr>
            <p:nvPr/>
          </p:nvSpPr>
          <p:spPr bwMode="auto">
            <a:xfrm>
              <a:off x="229" y="992"/>
              <a:ext cx="490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7"/>
            <p:cNvSpPr>
              <a:spLocks noChangeArrowheads="1"/>
            </p:cNvSpPr>
            <p:nvPr/>
          </p:nvSpPr>
          <p:spPr bwMode="auto">
            <a:xfrm>
              <a:off x="229" y="992"/>
              <a:ext cx="490" cy="49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8"/>
            <p:cNvSpPr>
              <a:spLocks noEditPoints="1"/>
            </p:cNvSpPr>
            <p:nvPr/>
          </p:nvSpPr>
          <p:spPr bwMode="auto">
            <a:xfrm>
              <a:off x="403" y="1095"/>
              <a:ext cx="151" cy="82"/>
            </a:xfrm>
            <a:custGeom>
              <a:avLst/>
              <a:gdLst>
                <a:gd name="T0" fmla="*/ 61 w 488"/>
                <a:gd name="T1" fmla="*/ 264 h 264"/>
                <a:gd name="T2" fmla="*/ 427 w 488"/>
                <a:gd name="T3" fmla="*/ 264 h 264"/>
                <a:gd name="T4" fmla="*/ 488 w 488"/>
                <a:gd name="T5" fmla="*/ 203 h 264"/>
                <a:gd name="T6" fmla="*/ 488 w 488"/>
                <a:gd name="T7" fmla="*/ 61 h 264"/>
                <a:gd name="T8" fmla="*/ 427 w 488"/>
                <a:gd name="T9" fmla="*/ 0 h 264"/>
                <a:gd name="T10" fmla="*/ 61 w 488"/>
                <a:gd name="T11" fmla="*/ 0 h 264"/>
                <a:gd name="T12" fmla="*/ 0 w 488"/>
                <a:gd name="T13" fmla="*/ 61 h 264"/>
                <a:gd name="T14" fmla="*/ 0 w 488"/>
                <a:gd name="T15" fmla="*/ 203 h 264"/>
                <a:gd name="T16" fmla="*/ 61 w 488"/>
                <a:gd name="T17" fmla="*/ 264 h 264"/>
                <a:gd name="T18" fmla="*/ 26 w 488"/>
                <a:gd name="T19" fmla="*/ 61 h 264"/>
                <a:gd name="T20" fmla="*/ 61 w 488"/>
                <a:gd name="T21" fmla="*/ 26 h 264"/>
                <a:gd name="T22" fmla="*/ 427 w 488"/>
                <a:gd name="T23" fmla="*/ 26 h 264"/>
                <a:gd name="T24" fmla="*/ 462 w 488"/>
                <a:gd name="T25" fmla="*/ 61 h 264"/>
                <a:gd name="T26" fmla="*/ 462 w 488"/>
                <a:gd name="T27" fmla="*/ 203 h 264"/>
                <a:gd name="T28" fmla="*/ 427 w 488"/>
                <a:gd name="T29" fmla="*/ 238 h 264"/>
                <a:gd name="T30" fmla="*/ 61 w 488"/>
                <a:gd name="T31" fmla="*/ 238 h 264"/>
                <a:gd name="T32" fmla="*/ 26 w 488"/>
                <a:gd name="T33" fmla="*/ 203 h 264"/>
                <a:gd name="T34" fmla="*/ 26 w 488"/>
                <a:gd name="T35" fmla="*/ 6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8" h="264">
                  <a:moveTo>
                    <a:pt x="61" y="264"/>
                  </a:moveTo>
                  <a:cubicBezTo>
                    <a:pt x="427" y="264"/>
                    <a:pt x="427" y="264"/>
                    <a:pt x="427" y="264"/>
                  </a:cubicBezTo>
                  <a:cubicBezTo>
                    <a:pt x="461" y="264"/>
                    <a:pt x="488" y="237"/>
                    <a:pt x="488" y="203"/>
                  </a:cubicBezTo>
                  <a:cubicBezTo>
                    <a:pt x="488" y="61"/>
                    <a:pt x="488" y="61"/>
                    <a:pt x="488" y="61"/>
                  </a:cubicBezTo>
                  <a:cubicBezTo>
                    <a:pt x="488" y="27"/>
                    <a:pt x="461" y="0"/>
                    <a:pt x="427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7"/>
                    <a:pt x="27" y="264"/>
                    <a:pt x="61" y="264"/>
                  </a:cubicBezTo>
                  <a:close/>
                  <a:moveTo>
                    <a:pt x="26" y="61"/>
                  </a:moveTo>
                  <a:cubicBezTo>
                    <a:pt x="26" y="42"/>
                    <a:pt x="41" y="26"/>
                    <a:pt x="61" y="26"/>
                  </a:cubicBezTo>
                  <a:cubicBezTo>
                    <a:pt x="427" y="26"/>
                    <a:pt x="427" y="26"/>
                    <a:pt x="427" y="26"/>
                  </a:cubicBezTo>
                  <a:cubicBezTo>
                    <a:pt x="446" y="26"/>
                    <a:pt x="462" y="42"/>
                    <a:pt x="462" y="61"/>
                  </a:cubicBezTo>
                  <a:cubicBezTo>
                    <a:pt x="462" y="203"/>
                    <a:pt x="462" y="203"/>
                    <a:pt x="462" y="203"/>
                  </a:cubicBezTo>
                  <a:cubicBezTo>
                    <a:pt x="462" y="223"/>
                    <a:pt x="446" y="238"/>
                    <a:pt x="427" y="238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41" y="238"/>
                    <a:pt x="26" y="223"/>
                    <a:pt x="26" y="203"/>
                  </a:cubicBezTo>
                  <a:lnTo>
                    <a:pt x="26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9"/>
            <p:cNvSpPr>
              <a:spLocks noEditPoints="1"/>
            </p:cNvSpPr>
            <p:nvPr/>
          </p:nvSpPr>
          <p:spPr bwMode="auto">
            <a:xfrm>
              <a:off x="403" y="1180"/>
              <a:ext cx="151" cy="167"/>
            </a:xfrm>
            <a:custGeom>
              <a:avLst/>
              <a:gdLst>
                <a:gd name="T0" fmla="*/ 61 w 488"/>
                <a:gd name="T1" fmla="*/ 537 h 537"/>
                <a:gd name="T2" fmla="*/ 427 w 488"/>
                <a:gd name="T3" fmla="*/ 537 h 537"/>
                <a:gd name="T4" fmla="*/ 488 w 488"/>
                <a:gd name="T5" fmla="*/ 476 h 537"/>
                <a:gd name="T6" fmla="*/ 488 w 488"/>
                <a:gd name="T7" fmla="*/ 61 h 537"/>
                <a:gd name="T8" fmla="*/ 427 w 488"/>
                <a:gd name="T9" fmla="*/ 0 h 537"/>
                <a:gd name="T10" fmla="*/ 61 w 488"/>
                <a:gd name="T11" fmla="*/ 0 h 537"/>
                <a:gd name="T12" fmla="*/ 0 w 488"/>
                <a:gd name="T13" fmla="*/ 61 h 537"/>
                <a:gd name="T14" fmla="*/ 0 w 488"/>
                <a:gd name="T15" fmla="*/ 476 h 537"/>
                <a:gd name="T16" fmla="*/ 61 w 488"/>
                <a:gd name="T17" fmla="*/ 537 h 537"/>
                <a:gd name="T18" fmla="*/ 26 w 488"/>
                <a:gd name="T19" fmla="*/ 61 h 537"/>
                <a:gd name="T20" fmla="*/ 61 w 488"/>
                <a:gd name="T21" fmla="*/ 26 h 537"/>
                <a:gd name="T22" fmla="*/ 427 w 488"/>
                <a:gd name="T23" fmla="*/ 26 h 537"/>
                <a:gd name="T24" fmla="*/ 462 w 488"/>
                <a:gd name="T25" fmla="*/ 61 h 537"/>
                <a:gd name="T26" fmla="*/ 462 w 488"/>
                <a:gd name="T27" fmla="*/ 476 h 537"/>
                <a:gd name="T28" fmla="*/ 427 w 488"/>
                <a:gd name="T29" fmla="*/ 511 h 537"/>
                <a:gd name="T30" fmla="*/ 61 w 488"/>
                <a:gd name="T31" fmla="*/ 511 h 537"/>
                <a:gd name="T32" fmla="*/ 26 w 488"/>
                <a:gd name="T33" fmla="*/ 476 h 537"/>
                <a:gd name="T34" fmla="*/ 26 w 488"/>
                <a:gd name="T35" fmla="*/ 6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8" h="537">
                  <a:moveTo>
                    <a:pt x="61" y="537"/>
                  </a:moveTo>
                  <a:cubicBezTo>
                    <a:pt x="427" y="537"/>
                    <a:pt x="427" y="537"/>
                    <a:pt x="427" y="537"/>
                  </a:cubicBezTo>
                  <a:cubicBezTo>
                    <a:pt x="461" y="537"/>
                    <a:pt x="488" y="509"/>
                    <a:pt x="488" y="476"/>
                  </a:cubicBezTo>
                  <a:cubicBezTo>
                    <a:pt x="488" y="61"/>
                    <a:pt x="488" y="61"/>
                    <a:pt x="488" y="61"/>
                  </a:cubicBezTo>
                  <a:cubicBezTo>
                    <a:pt x="488" y="27"/>
                    <a:pt x="461" y="0"/>
                    <a:pt x="427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0" y="509"/>
                    <a:pt x="27" y="537"/>
                    <a:pt x="61" y="537"/>
                  </a:cubicBezTo>
                  <a:close/>
                  <a:moveTo>
                    <a:pt x="26" y="61"/>
                  </a:moveTo>
                  <a:cubicBezTo>
                    <a:pt x="26" y="41"/>
                    <a:pt x="41" y="26"/>
                    <a:pt x="61" y="26"/>
                  </a:cubicBezTo>
                  <a:cubicBezTo>
                    <a:pt x="427" y="26"/>
                    <a:pt x="427" y="26"/>
                    <a:pt x="427" y="26"/>
                  </a:cubicBezTo>
                  <a:cubicBezTo>
                    <a:pt x="446" y="26"/>
                    <a:pt x="462" y="41"/>
                    <a:pt x="462" y="61"/>
                  </a:cubicBezTo>
                  <a:cubicBezTo>
                    <a:pt x="462" y="476"/>
                    <a:pt x="462" y="476"/>
                    <a:pt x="462" y="476"/>
                  </a:cubicBezTo>
                  <a:cubicBezTo>
                    <a:pt x="462" y="495"/>
                    <a:pt x="446" y="511"/>
                    <a:pt x="427" y="511"/>
                  </a:cubicBezTo>
                  <a:cubicBezTo>
                    <a:pt x="61" y="511"/>
                    <a:pt x="61" y="511"/>
                    <a:pt x="61" y="511"/>
                  </a:cubicBezTo>
                  <a:cubicBezTo>
                    <a:pt x="41" y="511"/>
                    <a:pt x="26" y="495"/>
                    <a:pt x="26" y="476"/>
                  </a:cubicBezTo>
                  <a:lnTo>
                    <a:pt x="26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0"/>
            <p:cNvSpPr>
              <a:spLocks noEditPoints="1"/>
            </p:cNvSpPr>
            <p:nvPr/>
          </p:nvSpPr>
          <p:spPr bwMode="auto">
            <a:xfrm>
              <a:off x="404" y="1350"/>
              <a:ext cx="151" cy="24"/>
            </a:xfrm>
            <a:custGeom>
              <a:avLst/>
              <a:gdLst>
                <a:gd name="T0" fmla="*/ 476 w 489"/>
                <a:gd name="T1" fmla="*/ 0 h 76"/>
                <a:gd name="T2" fmla="*/ 13 w 489"/>
                <a:gd name="T3" fmla="*/ 0 h 76"/>
                <a:gd name="T4" fmla="*/ 0 w 489"/>
                <a:gd name="T5" fmla="*/ 13 h 76"/>
                <a:gd name="T6" fmla="*/ 63 w 489"/>
                <a:gd name="T7" fmla="*/ 76 h 76"/>
                <a:gd name="T8" fmla="*/ 426 w 489"/>
                <a:gd name="T9" fmla="*/ 76 h 76"/>
                <a:gd name="T10" fmla="*/ 489 w 489"/>
                <a:gd name="T11" fmla="*/ 13 h 76"/>
                <a:gd name="T12" fmla="*/ 476 w 489"/>
                <a:gd name="T13" fmla="*/ 0 h 76"/>
                <a:gd name="T14" fmla="*/ 426 w 489"/>
                <a:gd name="T15" fmla="*/ 50 h 76"/>
                <a:gd name="T16" fmla="*/ 63 w 489"/>
                <a:gd name="T17" fmla="*/ 50 h 76"/>
                <a:gd name="T18" fmla="*/ 29 w 489"/>
                <a:gd name="T19" fmla="*/ 26 h 76"/>
                <a:gd name="T20" fmla="*/ 460 w 489"/>
                <a:gd name="T21" fmla="*/ 26 h 76"/>
                <a:gd name="T22" fmla="*/ 426 w 489"/>
                <a:gd name="T23" fmla="*/ 5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9" h="76">
                  <a:moveTo>
                    <a:pt x="47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8"/>
                    <a:pt x="29" y="76"/>
                    <a:pt x="63" y="76"/>
                  </a:cubicBezTo>
                  <a:cubicBezTo>
                    <a:pt x="426" y="76"/>
                    <a:pt x="426" y="76"/>
                    <a:pt x="426" y="76"/>
                  </a:cubicBezTo>
                  <a:cubicBezTo>
                    <a:pt x="460" y="76"/>
                    <a:pt x="489" y="48"/>
                    <a:pt x="489" y="13"/>
                  </a:cubicBezTo>
                  <a:cubicBezTo>
                    <a:pt x="489" y="6"/>
                    <a:pt x="483" y="0"/>
                    <a:pt x="476" y="0"/>
                  </a:cubicBezTo>
                  <a:close/>
                  <a:moveTo>
                    <a:pt x="426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47" y="50"/>
                    <a:pt x="34" y="40"/>
                    <a:pt x="29" y="26"/>
                  </a:cubicBezTo>
                  <a:cubicBezTo>
                    <a:pt x="460" y="26"/>
                    <a:pt x="460" y="26"/>
                    <a:pt x="460" y="26"/>
                  </a:cubicBezTo>
                  <a:cubicBezTo>
                    <a:pt x="455" y="40"/>
                    <a:pt x="441" y="50"/>
                    <a:pt x="426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Rectangle 21"/>
            <p:cNvSpPr>
              <a:spLocks noChangeArrowheads="1"/>
            </p:cNvSpPr>
            <p:nvPr/>
          </p:nvSpPr>
          <p:spPr bwMode="auto">
            <a:xfrm>
              <a:off x="426" y="1219"/>
              <a:ext cx="8" cy="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26" y="1115"/>
              <a:ext cx="8" cy="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3"/>
            <p:cNvSpPr>
              <a:spLocks noEditPoints="1"/>
            </p:cNvSpPr>
            <p:nvPr/>
          </p:nvSpPr>
          <p:spPr bwMode="auto">
            <a:xfrm>
              <a:off x="246" y="1008"/>
              <a:ext cx="458" cy="45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26"/>
          <p:cNvGrpSpPr>
            <a:grpSpLocks noChangeAspect="1"/>
          </p:cNvGrpSpPr>
          <p:nvPr/>
        </p:nvGrpSpPr>
        <p:grpSpPr bwMode="auto">
          <a:xfrm>
            <a:off x="1455739" y="288924"/>
            <a:ext cx="768096" cy="768096"/>
            <a:chOff x="864" y="992"/>
            <a:chExt cx="490" cy="490"/>
          </a:xfrm>
        </p:grpSpPr>
        <p:sp>
          <p:nvSpPr>
            <p:cNvPr id="54" name="AutoShape 25"/>
            <p:cNvSpPr>
              <a:spLocks noChangeAspect="1" noChangeArrowheads="1" noTextEdit="1"/>
            </p:cNvSpPr>
            <p:nvPr/>
          </p:nvSpPr>
          <p:spPr bwMode="auto">
            <a:xfrm>
              <a:off x="864" y="992"/>
              <a:ext cx="490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7"/>
            <p:cNvSpPr>
              <a:spLocks noEditPoints="1"/>
            </p:cNvSpPr>
            <p:nvPr/>
          </p:nvSpPr>
          <p:spPr bwMode="auto">
            <a:xfrm>
              <a:off x="1032" y="1086"/>
              <a:ext cx="162" cy="87"/>
            </a:xfrm>
            <a:custGeom>
              <a:avLst/>
              <a:gdLst>
                <a:gd name="T0" fmla="*/ 61 w 488"/>
                <a:gd name="T1" fmla="*/ 264 h 264"/>
                <a:gd name="T2" fmla="*/ 427 w 488"/>
                <a:gd name="T3" fmla="*/ 264 h 264"/>
                <a:gd name="T4" fmla="*/ 488 w 488"/>
                <a:gd name="T5" fmla="*/ 203 h 264"/>
                <a:gd name="T6" fmla="*/ 488 w 488"/>
                <a:gd name="T7" fmla="*/ 61 h 264"/>
                <a:gd name="T8" fmla="*/ 427 w 488"/>
                <a:gd name="T9" fmla="*/ 0 h 264"/>
                <a:gd name="T10" fmla="*/ 61 w 488"/>
                <a:gd name="T11" fmla="*/ 0 h 264"/>
                <a:gd name="T12" fmla="*/ 0 w 488"/>
                <a:gd name="T13" fmla="*/ 61 h 264"/>
                <a:gd name="T14" fmla="*/ 0 w 488"/>
                <a:gd name="T15" fmla="*/ 203 h 264"/>
                <a:gd name="T16" fmla="*/ 61 w 488"/>
                <a:gd name="T17" fmla="*/ 264 h 264"/>
                <a:gd name="T18" fmla="*/ 26 w 488"/>
                <a:gd name="T19" fmla="*/ 61 h 264"/>
                <a:gd name="T20" fmla="*/ 61 w 488"/>
                <a:gd name="T21" fmla="*/ 26 h 264"/>
                <a:gd name="T22" fmla="*/ 427 w 488"/>
                <a:gd name="T23" fmla="*/ 26 h 264"/>
                <a:gd name="T24" fmla="*/ 462 w 488"/>
                <a:gd name="T25" fmla="*/ 61 h 264"/>
                <a:gd name="T26" fmla="*/ 462 w 488"/>
                <a:gd name="T27" fmla="*/ 203 h 264"/>
                <a:gd name="T28" fmla="*/ 427 w 488"/>
                <a:gd name="T29" fmla="*/ 238 h 264"/>
                <a:gd name="T30" fmla="*/ 61 w 488"/>
                <a:gd name="T31" fmla="*/ 238 h 264"/>
                <a:gd name="T32" fmla="*/ 26 w 488"/>
                <a:gd name="T33" fmla="*/ 203 h 264"/>
                <a:gd name="T34" fmla="*/ 26 w 488"/>
                <a:gd name="T35" fmla="*/ 6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8" h="264">
                  <a:moveTo>
                    <a:pt x="61" y="264"/>
                  </a:moveTo>
                  <a:cubicBezTo>
                    <a:pt x="427" y="264"/>
                    <a:pt x="427" y="264"/>
                    <a:pt x="427" y="264"/>
                  </a:cubicBezTo>
                  <a:cubicBezTo>
                    <a:pt x="461" y="264"/>
                    <a:pt x="488" y="237"/>
                    <a:pt x="488" y="203"/>
                  </a:cubicBezTo>
                  <a:cubicBezTo>
                    <a:pt x="488" y="61"/>
                    <a:pt x="488" y="61"/>
                    <a:pt x="488" y="61"/>
                  </a:cubicBezTo>
                  <a:cubicBezTo>
                    <a:pt x="488" y="27"/>
                    <a:pt x="461" y="0"/>
                    <a:pt x="427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7"/>
                    <a:pt x="27" y="264"/>
                    <a:pt x="61" y="264"/>
                  </a:cubicBezTo>
                  <a:close/>
                  <a:moveTo>
                    <a:pt x="26" y="61"/>
                  </a:moveTo>
                  <a:cubicBezTo>
                    <a:pt x="26" y="42"/>
                    <a:pt x="41" y="26"/>
                    <a:pt x="61" y="26"/>
                  </a:cubicBezTo>
                  <a:cubicBezTo>
                    <a:pt x="427" y="26"/>
                    <a:pt x="427" y="26"/>
                    <a:pt x="427" y="26"/>
                  </a:cubicBezTo>
                  <a:cubicBezTo>
                    <a:pt x="446" y="26"/>
                    <a:pt x="462" y="42"/>
                    <a:pt x="462" y="61"/>
                  </a:cubicBezTo>
                  <a:cubicBezTo>
                    <a:pt x="462" y="203"/>
                    <a:pt x="462" y="203"/>
                    <a:pt x="462" y="203"/>
                  </a:cubicBezTo>
                  <a:cubicBezTo>
                    <a:pt x="462" y="223"/>
                    <a:pt x="446" y="238"/>
                    <a:pt x="427" y="238"/>
                  </a:cubicBezTo>
                  <a:cubicBezTo>
                    <a:pt x="61" y="238"/>
                    <a:pt x="61" y="238"/>
                    <a:pt x="61" y="238"/>
                  </a:cubicBezTo>
                  <a:cubicBezTo>
                    <a:pt x="41" y="238"/>
                    <a:pt x="26" y="223"/>
                    <a:pt x="26" y="203"/>
                  </a:cubicBezTo>
                  <a:lnTo>
                    <a:pt x="26" y="6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8"/>
            <p:cNvSpPr>
              <a:spLocks noEditPoints="1"/>
            </p:cNvSpPr>
            <p:nvPr/>
          </p:nvSpPr>
          <p:spPr bwMode="auto">
            <a:xfrm>
              <a:off x="1032" y="1177"/>
              <a:ext cx="162" cy="178"/>
            </a:xfrm>
            <a:custGeom>
              <a:avLst/>
              <a:gdLst>
                <a:gd name="T0" fmla="*/ 61 w 488"/>
                <a:gd name="T1" fmla="*/ 537 h 537"/>
                <a:gd name="T2" fmla="*/ 427 w 488"/>
                <a:gd name="T3" fmla="*/ 537 h 537"/>
                <a:gd name="T4" fmla="*/ 488 w 488"/>
                <a:gd name="T5" fmla="*/ 476 h 537"/>
                <a:gd name="T6" fmla="*/ 488 w 488"/>
                <a:gd name="T7" fmla="*/ 61 h 537"/>
                <a:gd name="T8" fmla="*/ 427 w 488"/>
                <a:gd name="T9" fmla="*/ 0 h 537"/>
                <a:gd name="T10" fmla="*/ 61 w 488"/>
                <a:gd name="T11" fmla="*/ 0 h 537"/>
                <a:gd name="T12" fmla="*/ 0 w 488"/>
                <a:gd name="T13" fmla="*/ 61 h 537"/>
                <a:gd name="T14" fmla="*/ 0 w 488"/>
                <a:gd name="T15" fmla="*/ 476 h 537"/>
                <a:gd name="T16" fmla="*/ 61 w 488"/>
                <a:gd name="T17" fmla="*/ 537 h 537"/>
                <a:gd name="T18" fmla="*/ 26 w 488"/>
                <a:gd name="T19" fmla="*/ 61 h 537"/>
                <a:gd name="T20" fmla="*/ 61 w 488"/>
                <a:gd name="T21" fmla="*/ 26 h 537"/>
                <a:gd name="T22" fmla="*/ 427 w 488"/>
                <a:gd name="T23" fmla="*/ 26 h 537"/>
                <a:gd name="T24" fmla="*/ 462 w 488"/>
                <a:gd name="T25" fmla="*/ 61 h 537"/>
                <a:gd name="T26" fmla="*/ 462 w 488"/>
                <a:gd name="T27" fmla="*/ 476 h 537"/>
                <a:gd name="T28" fmla="*/ 427 w 488"/>
                <a:gd name="T29" fmla="*/ 511 h 537"/>
                <a:gd name="T30" fmla="*/ 61 w 488"/>
                <a:gd name="T31" fmla="*/ 511 h 537"/>
                <a:gd name="T32" fmla="*/ 26 w 488"/>
                <a:gd name="T33" fmla="*/ 476 h 537"/>
                <a:gd name="T34" fmla="*/ 26 w 488"/>
                <a:gd name="T35" fmla="*/ 61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8" h="537">
                  <a:moveTo>
                    <a:pt x="61" y="537"/>
                  </a:moveTo>
                  <a:cubicBezTo>
                    <a:pt x="427" y="537"/>
                    <a:pt x="427" y="537"/>
                    <a:pt x="427" y="537"/>
                  </a:cubicBezTo>
                  <a:cubicBezTo>
                    <a:pt x="461" y="537"/>
                    <a:pt x="488" y="509"/>
                    <a:pt x="488" y="476"/>
                  </a:cubicBezTo>
                  <a:cubicBezTo>
                    <a:pt x="488" y="61"/>
                    <a:pt x="488" y="61"/>
                    <a:pt x="488" y="61"/>
                  </a:cubicBezTo>
                  <a:cubicBezTo>
                    <a:pt x="488" y="27"/>
                    <a:pt x="461" y="0"/>
                    <a:pt x="427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0" y="509"/>
                    <a:pt x="27" y="537"/>
                    <a:pt x="61" y="537"/>
                  </a:cubicBezTo>
                  <a:close/>
                  <a:moveTo>
                    <a:pt x="26" y="61"/>
                  </a:moveTo>
                  <a:cubicBezTo>
                    <a:pt x="26" y="41"/>
                    <a:pt x="41" y="26"/>
                    <a:pt x="61" y="26"/>
                  </a:cubicBezTo>
                  <a:cubicBezTo>
                    <a:pt x="427" y="26"/>
                    <a:pt x="427" y="26"/>
                    <a:pt x="427" y="26"/>
                  </a:cubicBezTo>
                  <a:cubicBezTo>
                    <a:pt x="446" y="26"/>
                    <a:pt x="462" y="41"/>
                    <a:pt x="462" y="61"/>
                  </a:cubicBezTo>
                  <a:cubicBezTo>
                    <a:pt x="462" y="476"/>
                    <a:pt x="462" y="476"/>
                    <a:pt x="462" y="476"/>
                  </a:cubicBezTo>
                  <a:cubicBezTo>
                    <a:pt x="462" y="495"/>
                    <a:pt x="446" y="511"/>
                    <a:pt x="427" y="511"/>
                  </a:cubicBezTo>
                  <a:cubicBezTo>
                    <a:pt x="61" y="511"/>
                    <a:pt x="61" y="511"/>
                    <a:pt x="61" y="511"/>
                  </a:cubicBezTo>
                  <a:cubicBezTo>
                    <a:pt x="41" y="511"/>
                    <a:pt x="26" y="495"/>
                    <a:pt x="26" y="476"/>
                  </a:cubicBezTo>
                  <a:lnTo>
                    <a:pt x="26" y="6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29"/>
            <p:cNvSpPr>
              <a:spLocks noEditPoints="1"/>
            </p:cNvSpPr>
            <p:nvPr/>
          </p:nvSpPr>
          <p:spPr bwMode="auto">
            <a:xfrm>
              <a:off x="1033" y="1358"/>
              <a:ext cx="162" cy="25"/>
            </a:xfrm>
            <a:custGeom>
              <a:avLst/>
              <a:gdLst>
                <a:gd name="T0" fmla="*/ 476 w 489"/>
                <a:gd name="T1" fmla="*/ 0 h 76"/>
                <a:gd name="T2" fmla="*/ 13 w 489"/>
                <a:gd name="T3" fmla="*/ 0 h 76"/>
                <a:gd name="T4" fmla="*/ 0 w 489"/>
                <a:gd name="T5" fmla="*/ 13 h 76"/>
                <a:gd name="T6" fmla="*/ 63 w 489"/>
                <a:gd name="T7" fmla="*/ 76 h 76"/>
                <a:gd name="T8" fmla="*/ 426 w 489"/>
                <a:gd name="T9" fmla="*/ 76 h 76"/>
                <a:gd name="T10" fmla="*/ 489 w 489"/>
                <a:gd name="T11" fmla="*/ 13 h 76"/>
                <a:gd name="T12" fmla="*/ 476 w 489"/>
                <a:gd name="T13" fmla="*/ 0 h 76"/>
                <a:gd name="T14" fmla="*/ 426 w 489"/>
                <a:gd name="T15" fmla="*/ 50 h 76"/>
                <a:gd name="T16" fmla="*/ 63 w 489"/>
                <a:gd name="T17" fmla="*/ 50 h 76"/>
                <a:gd name="T18" fmla="*/ 29 w 489"/>
                <a:gd name="T19" fmla="*/ 26 h 76"/>
                <a:gd name="T20" fmla="*/ 460 w 489"/>
                <a:gd name="T21" fmla="*/ 26 h 76"/>
                <a:gd name="T22" fmla="*/ 426 w 489"/>
                <a:gd name="T23" fmla="*/ 5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9" h="76">
                  <a:moveTo>
                    <a:pt x="47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48"/>
                    <a:pt x="29" y="76"/>
                    <a:pt x="63" y="76"/>
                  </a:cubicBezTo>
                  <a:cubicBezTo>
                    <a:pt x="426" y="76"/>
                    <a:pt x="426" y="76"/>
                    <a:pt x="426" y="76"/>
                  </a:cubicBezTo>
                  <a:cubicBezTo>
                    <a:pt x="460" y="76"/>
                    <a:pt x="489" y="48"/>
                    <a:pt x="489" y="13"/>
                  </a:cubicBezTo>
                  <a:cubicBezTo>
                    <a:pt x="489" y="6"/>
                    <a:pt x="483" y="0"/>
                    <a:pt x="476" y="0"/>
                  </a:cubicBezTo>
                  <a:close/>
                  <a:moveTo>
                    <a:pt x="426" y="50"/>
                  </a:moveTo>
                  <a:cubicBezTo>
                    <a:pt x="63" y="50"/>
                    <a:pt x="63" y="50"/>
                    <a:pt x="63" y="50"/>
                  </a:cubicBezTo>
                  <a:cubicBezTo>
                    <a:pt x="47" y="50"/>
                    <a:pt x="34" y="40"/>
                    <a:pt x="29" y="26"/>
                  </a:cubicBezTo>
                  <a:cubicBezTo>
                    <a:pt x="460" y="26"/>
                    <a:pt x="460" y="26"/>
                    <a:pt x="460" y="26"/>
                  </a:cubicBezTo>
                  <a:cubicBezTo>
                    <a:pt x="455" y="40"/>
                    <a:pt x="441" y="50"/>
                    <a:pt x="426" y="5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30"/>
            <p:cNvSpPr>
              <a:spLocks noChangeArrowheads="1"/>
            </p:cNvSpPr>
            <p:nvPr/>
          </p:nvSpPr>
          <p:spPr bwMode="auto">
            <a:xfrm>
              <a:off x="1057" y="1218"/>
              <a:ext cx="8" cy="4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31"/>
            <p:cNvSpPr>
              <a:spLocks noChangeArrowheads="1"/>
            </p:cNvSpPr>
            <p:nvPr/>
          </p:nvSpPr>
          <p:spPr bwMode="auto">
            <a:xfrm>
              <a:off x="1057" y="1106"/>
              <a:ext cx="8" cy="4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2"/>
            <p:cNvSpPr>
              <a:spLocks noEditPoints="1"/>
            </p:cNvSpPr>
            <p:nvPr/>
          </p:nvSpPr>
          <p:spPr bwMode="auto">
            <a:xfrm>
              <a:off x="864" y="992"/>
              <a:ext cx="490" cy="49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092" name="Group 39"/>
          <p:cNvGrpSpPr>
            <a:grpSpLocks noChangeAspect="1"/>
          </p:cNvGrpSpPr>
          <p:nvPr/>
        </p:nvGrpSpPr>
        <p:grpSpPr bwMode="auto">
          <a:xfrm>
            <a:off x="401190" y="1522413"/>
            <a:ext cx="842965" cy="841248"/>
            <a:chOff x="4608" y="1608"/>
            <a:chExt cx="491" cy="490"/>
          </a:xfrm>
        </p:grpSpPr>
        <p:sp>
          <p:nvSpPr>
            <p:cNvPr id="46093" name="AutoShape 38"/>
            <p:cNvSpPr>
              <a:spLocks noChangeAspect="1" noChangeArrowheads="1" noTextEdit="1"/>
            </p:cNvSpPr>
            <p:nvPr/>
          </p:nvSpPr>
          <p:spPr bwMode="auto">
            <a:xfrm>
              <a:off x="4608" y="1608"/>
              <a:ext cx="491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94" name="Oval 40"/>
            <p:cNvSpPr>
              <a:spLocks noChangeArrowheads="1"/>
            </p:cNvSpPr>
            <p:nvPr/>
          </p:nvSpPr>
          <p:spPr bwMode="auto">
            <a:xfrm>
              <a:off x="4608" y="1608"/>
              <a:ext cx="491" cy="49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95" name="Freeform 41"/>
            <p:cNvSpPr>
              <a:spLocks noEditPoints="1"/>
            </p:cNvSpPr>
            <p:nvPr/>
          </p:nvSpPr>
          <p:spPr bwMode="auto">
            <a:xfrm>
              <a:off x="4625" y="1625"/>
              <a:ext cx="459" cy="459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96" name="Freeform 42"/>
            <p:cNvSpPr>
              <a:spLocks noEditPoints="1"/>
            </p:cNvSpPr>
            <p:nvPr/>
          </p:nvSpPr>
          <p:spPr bwMode="auto">
            <a:xfrm>
              <a:off x="4804" y="1689"/>
              <a:ext cx="94" cy="327"/>
            </a:xfrm>
            <a:custGeom>
              <a:avLst/>
              <a:gdLst>
                <a:gd name="T0" fmla="*/ 234 w 304"/>
                <a:gd name="T1" fmla="*/ 772 h 1052"/>
                <a:gd name="T2" fmla="*/ 234 w 304"/>
                <a:gd name="T3" fmla="*/ 58 h 1052"/>
                <a:gd name="T4" fmla="*/ 176 w 304"/>
                <a:gd name="T5" fmla="*/ 0 h 1052"/>
                <a:gd name="T6" fmla="*/ 128 w 304"/>
                <a:gd name="T7" fmla="*/ 0 h 1052"/>
                <a:gd name="T8" fmla="*/ 69 w 304"/>
                <a:gd name="T9" fmla="*/ 58 h 1052"/>
                <a:gd name="T10" fmla="*/ 69 w 304"/>
                <a:gd name="T11" fmla="*/ 772 h 1052"/>
                <a:gd name="T12" fmla="*/ 0 w 304"/>
                <a:gd name="T13" fmla="*/ 900 h 1052"/>
                <a:gd name="T14" fmla="*/ 152 w 304"/>
                <a:gd name="T15" fmla="*/ 1052 h 1052"/>
                <a:gd name="T16" fmla="*/ 304 w 304"/>
                <a:gd name="T17" fmla="*/ 900 h 1052"/>
                <a:gd name="T18" fmla="*/ 234 w 304"/>
                <a:gd name="T19" fmla="*/ 772 h 1052"/>
                <a:gd name="T20" fmla="*/ 152 w 304"/>
                <a:gd name="T21" fmla="*/ 1026 h 1052"/>
                <a:gd name="T22" fmla="*/ 26 w 304"/>
                <a:gd name="T23" fmla="*/ 900 h 1052"/>
                <a:gd name="T24" fmla="*/ 89 w 304"/>
                <a:gd name="T25" fmla="*/ 791 h 1052"/>
                <a:gd name="T26" fmla="*/ 95 w 304"/>
                <a:gd name="T27" fmla="*/ 787 h 1052"/>
                <a:gd name="T28" fmla="*/ 95 w 304"/>
                <a:gd name="T29" fmla="*/ 58 h 1052"/>
                <a:gd name="T30" fmla="*/ 128 w 304"/>
                <a:gd name="T31" fmla="*/ 26 h 1052"/>
                <a:gd name="T32" fmla="*/ 176 w 304"/>
                <a:gd name="T33" fmla="*/ 26 h 1052"/>
                <a:gd name="T34" fmla="*/ 208 w 304"/>
                <a:gd name="T35" fmla="*/ 58 h 1052"/>
                <a:gd name="T36" fmla="*/ 208 w 304"/>
                <a:gd name="T37" fmla="*/ 121 h 1052"/>
                <a:gd name="T38" fmla="*/ 152 w 304"/>
                <a:gd name="T39" fmla="*/ 121 h 1052"/>
                <a:gd name="T40" fmla="*/ 152 w 304"/>
                <a:gd name="T41" fmla="*/ 147 h 1052"/>
                <a:gd name="T42" fmla="*/ 208 w 304"/>
                <a:gd name="T43" fmla="*/ 147 h 1052"/>
                <a:gd name="T44" fmla="*/ 208 w 304"/>
                <a:gd name="T45" fmla="*/ 269 h 1052"/>
                <a:gd name="T46" fmla="*/ 119 w 304"/>
                <a:gd name="T47" fmla="*/ 269 h 1052"/>
                <a:gd name="T48" fmla="*/ 119 w 304"/>
                <a:gd name="T49" fmla="*/ 295 h 1052"/>
                <a:gd name="T50" fmla="*/ 208 w 304"/>
                <a:gd name="T51" fmla="*/ 295 h 1052"/>
                <a:gd name="T52" fmla="*/ 208 w 304"/>
                <a:gd name="T53" fmla="*/ 417 h 1052"/>
                <a:gd name="T54" fmla="*/ 152 w 304"/>
                <a:gd name="T55" fmla="*/ 417 h 1052"/>
                <a:gd name="T56" fmla="*/ 152 w 304"/>
                <a:gd name="T57" fmla="*/ 443 h 1052"/>
                <a:gd name="T58" fmla="*/ 208 w 304"/>
                <a:gd name="T59" fmla="*/ 443 h 1052"/>
                <a:gd name="T60" fmla="*/ 208 w 304"/>
                <a:gd name="T61" fmla="*/ 557 h 1052"/>
                <a:gd name="T62" fmla="*/ 131 w 304"/>
                <a:gd name="T63" fmla="*/ 557 h 1052"/>
                <a:gd name="T64" fmla="*/ 131 w 304"/>
                <a:gd name="T65" fmla="*/ 583 h 1052"/>
                <a:gd name="T66" fmla="*/ 208 w 304"/>
                <a:gd name="T67" fmla="*/ 583 h 1052"/>
                <a:gd name="T68" fmla="*/ 208 w 304"/>
                <a:gd name="T69" fmla="*/ 787 h 1052"/>
                <a:gd name="T70" fmla="*/ 215 w 304"/>
                <a:gd name="T71" fmla="*/ 791 h 1052"/>
                <a:gd name="T72" fmla="*/ 278 w 304"/>
                <a:gd name="T73" fmla="*/ 900 h 1052"/>
                <a:gd name="T74" fmla="*/ 152 w 304"/>
                <a:gd name="T75" fmla="*/ 10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4" h="1052">
                  <a:moveTo>
                    <a:pt x="234" y="772"/>
                  </a:moveTo>
                  <a:cubicBezTo>
                    <a:pt x="234" y="58"/>
                    <a:pt x="234" y="58"/>
                    <a:pt x="234" y="58"/>
                  </a:cubicBezTo>
                  <a:cubicBezTo>
                    <a:pt x="234" y="26"/>
                    <a:pt x="208" y="0"/>
                    <a:pt x="17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96" y="0"/>
                    <a:pt x="69" y="26"/>
                    <a:pt x="69" y="58"/>
                  </a:cubicBezTo>
                  <a:cubicBezTo>
                    <a:pt x="69" y="772"/>
                    <a:pt x="69" y="772"/>
                    <a:pt x="69" y="772"/>
                  </a:cubicBezTo>
                  <a:cubicBezTo>
                    <a:pt x="26" y="800"/>
                    <a:pt x="0" y="849"/>
                    <a:pt x="0" y="900"/>
                  </a:cubicBezTo>
                  <a:cubicBezTo>
                    <a:pt x="0" y="984"/>
                    <a:pt x="68" y="1052"/>
                    <a:pt x="152" y="1052"/>
                  </a:cubicBezTo>
                  <a:cubicBezTo>
                    <a:pt x="236" y="1052"/>
                    <a:pt x="304" y="984"/>
                    <a:pt x="304" y="900"/>
                  </a:cubicBezTo>
                  <a:cubicBezTo>
                    <a:pt x="304" y="849"/>
                    <a:pt x="278" y="800"/>
                    <a:pt x="234" y="772"/>
                  </a:cubicBezTo>
                  <a:close/>
                  <a:moveTo>
                    <a:pt x="152" y="1026"/>
                  </a:moveTo>
                  <a:cubicBezTo>
                    <a:pt x="82" y="1026"/>
                    <a:pt x="26" y="970"/>
                    <a:pt x="26" y="900"/>
                  </a:cubicBezTo>
                  <a:cubicBezTo>
                    <a:pt x="26" y="855"/>
                    <a:pt x="50" y="814"/>
                    <a:pt x="89" y="791"/>
                  </a:cubicBezTo>
                  <a:cubicBezTo>
                    <a:pt x="95" y="787"/>
                    <a:pt x="95" y="787"/>
                    <a:pt x="95" y="787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40"/>
                    <a:pt x="110" y="26"/>
                    <a:pt x="128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94" y="26"/>
                    <a:pt x="208" y="40"/>
                    <a:pt x="208" y="58"/>
                  </a:cubicBezTo>
                  <a:cubicBezTo>
                    <a:pt x="208" y="121"/>
                    <a:pt x="208" y="121"/>
                    <a:pt x="208" y="121"/>
                  </a:cubicBezTo>
                  <a:cubicBezTo>
                    <a:pt x="152" y="121"/>
                    <a:pt x="152" y="121"/>
                    <a:pt x="152" y="121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208" y="147"/>
                    <a:pt x="208" y="147"/>
                    <a:pt x="208" y="147"/>
                  </a:cubicBezTo>
                  <a:cubicBezTo>
                    <a:pt x="208" y="269"/>
                    <a:pt x="208" y="269"/>
                    <a:pt x="208" y="269"/>
                  </a:cubicBezTo>
                  <a:cubicBezTo>
                    <a:pt x="119" y="269"/>
                    <a:pt x="119" y="269"/>
                    <a:pt x="119" y="269"/>
                  </a:cubicBezTo>
                  <a:cubicBezTo>
                    <a:pt x="119" y="295"/>
                    <a:pt x="119" y="295"/>
                    <a:pt x="119" y="295"/>
                  </a:cubicBezTo>
                  <a:cubicBezTo>
                    <a:pt x="208" y="295"/>
                    <a:pt x="208" y="295"/>
                    <a:pt x="208" y="295"/>
                  </a:cubicBezTo>
                  <a:cubicBezTo>
                    <a:pt x="208" y="417"/>
                    <a:pt x="208" y="417"/>
                    <a:pt x="208" y="417"/>
                  </a:cubicBezTo>
                  <a:cubicBezTo>
                    <a:pt x="152" y="417"/>
                    <a:pt x="152" y="417"/>
                    <a:pt x="152" y="417"/>
                  </a:cubicBezTo>
                  <a:cubicBezTo>
                    <a:pt x="152" y="443"/>
                    <a:pt x="152" y="443"/>
                    <a:pt x="152" y="443"/>
                  </a:cubicBezTo>
                  <a:cubicBezTo>
                    <a:pt x="208" y="443"/>
                    <a:pt x="208" y="443"/>
                    <a:pt x="208" y="443"/>
                  </a:cubicBezTo>
                  <a:cubicBezTo>
                    <a:pt x="208" y="557"/>
                    <a:pt x="208" y="557"/>
                    <a:pt x="208" y="557"/>
                  </a:cubicBezTo>
                  <a:cubicBezTo>
                    <a:pt x="131" y="557"/>
                    <a:pt x="131" y="557"/>
                    <a:pt x="131" y="557"/>
                  </a:cubicBezTo>
                  <a:cubicBezTo>
                    <a:pt x="131" y="583"/>
                    <a:pt x="131" y="583"/>
                    <a:pt x="131" y="583"/>
                  </a:cubicBezTo>
                  <a:cubicBezTo>
                    <a:pt x="208" y="583"/>
                    <a:pt x="208" y="583"/>
                    <a:pt x="208" y="583"/>
                  </a:cubicBezTo>
                  <a:cubicBezTo>
                    <a:pt x="208" y="787"/>
                    <a:pt x="208" y="787"/>
                    <a:pt x="208" y="787"/>
                  </a:cubicBezTo>
                  <a:cubicBezTo>
                    <a:pt x="215" y="791"/>
                    <a:pt x="215" y="791"/>
                    <a:pt x="215" y="791"/>
                  </a:cubicBezTo>
                  <a:cubicBezTo>
                    <a:pt x="254" y="814"/>
                    <a:pt x="278" y="855"/>
                    <a:pt x="278" y="900"/>
                  </a:cubicBezTo>
                  <a:cubicBezTo>
                    <a:pt x="278" y="970"/>
                    <a:pt x="221" y="1026"/>
                    <a:pt x="152" y="10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097" name="Freeform 43"/>
            <p:cNvSpPr>
              <a:spLocks noEditPoints="1"/>
            </p:cNvSpPr>
            <p:nvPr/>
          </p:nvSpPr>
          <p:spPr bwMode="auto">
            <a:xfrm>
              <a:off x="4826" y="1942"/>
              <a:ext cx="50" cy="50"/>
            </a:xfrm>
            <a:custGeom>
              <a:avLst/>
              <a:gdLst>
                <a:gd name="T0" fmla="*/ 81 w 162"/>
                <a:gd name="T1" fmla="*/ 0 h 161"/>
                <a:gd name="T2" fmla="*/ 0 w 162"/>
                <a:gd name="T3" fmla="*/ 80 h 161"/>
                <a:gd name="T4" fmla="*/ 81 w 162"/>
                <a:gd name="T5" fmla="*/ 161 h 161"/>
                <a:gd name="T6" fmla="*/ 162 w 162"/>
                <a:gd name="T7" fmla="*/ 80 h 161"/>
                <a:gd name="T8" fmla="*/ 81 w 162"/>
                <a:gd name="T9" fmla="*/ 0 h 161"/>
                <a:gd name="T10" fmla="*/ 81 w 162"/>
                <a:gd name="T11" fmla="*/ 135 h 161"/>
                <a:gd name="T12" fmla="*/ 26 w 162"/>
                <a:gd name="T13" fmla="*/ 80 h 161"/>
                <a:gd name="T14" fmla="*/ 81 w 162"/>
                <a:gd name="T15" fmla="*/ 26 h 161"/>
                <a:gd name="T16" fmla="*/ 136 w 162"/>
                <a:gd name="T17" fmla="*/ 80 h 161"/>
                <a:gd name="T18" fmla="*/ 81 w 162"/>
                <a:gd name="T19" fmla="*/ 13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0"/>
                  </a:moveTo>
                  <a:cubicBezTo>
                    <a:pt x="36" y="0"/>
                    <a:pt x="0" y="36"/>
                    <a:pt x="0" y="80"/>
                  </a:cubicBezTo>
                  <a:cubicBezTo>
                    <a:pt x="0" y="125"/>
                    <a:pt x="36" y="161"/>
                    <a:pt x="81" y="161"/>
                  </a:cubicBezTo>
                  <a:cubicBezTo>
                    <a:pt x="125" y="161"/>
                    <a:pt x="162" y="125"/>
                    <a:pt x="162" y="80"/>
                  </a:cubicBezTo>
                  <a:cubicBezTo>
                    <a:pt x="162" y="36"/>
                    <a:pt x="125" y="0"/>
                    <a:pt x="81" y="0"/>
                  </a:cubicBezTo>
                  <a:close/>
                  <a:moveTo>
                    <a:pt x="81" y="135"/>
                  </a:moveTo>
                  <a:cubicBezTo>
                    <a:pt x="51" y="135"/>
                    <a:pt x="26" y="111"/>
                    <a:pt x="26" y="80"/>
                  </a:cubicBezTo>
                  <a:cubicBezTo>
                    <a:pt x="26" y="50"/>
                    <a:pt x="51" y="26"/>
                    <a:pt x="81" y="26"/>
                  </a:cubicBezTo>
                  <a:cubicBezTo>
                    <a:pt x="111" y="26"/>
                    <a:pt x="136" y="50"/>
                    <a:pt x="136" y="80"/>
                  </a:cubicBezTo>
                  <a:cubicBezTo>
                    <a:pt x="136" y="111"/>
                    <a:pt x="111" y="135"/>
                    <a:pt x="81" y="1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098" name="Group 46"/>
          <p:cNvGrpSpPr>
            <a:grpSpLocks noChangeAspect="1"/>
          </p:cNvGrpSpPr>
          <p:nvPr/>
        </p:nvGrpSpPr>
        <p:grpSpPr bwMode="auto">
          <a:xfrm>
            <a:off x="6974511" y="304927"/>
            <a:ext cx="841248" cy="841248"/>
            <a:chOff x="-821" y="401"/>
            <a:chExt cx="490" cy="490"/>
          </a:xfrm>
        </p:grpSpPr>
        <p:sp>
          <p:nvSpPr>
            <p:cNvPr id="46099" name="AutoShape 45"/>
            <p:cNvSpPr>
              <a:spLocks noChangeAspect="1" noChangeArrowheads="1" noTextEdit="1"/>
            </p:cNvSpPr>
            <p:nvPr/>
          </p:nvSpPr>
          <p:spPr bwMode="auto">
            <a:xfrm>
              <a:off x="-821" y="401"/>
              <a:ext cx="490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0" name="Oval 47"/>
            <p:cNvSpPr>
              <a:spLocks noChangeArrowheads="1"/>
            </p:cNvSpPr>
            <p:nvPr/>
          </p:nvSpPr>
          <p:spPr bwMode="auto">
            <a:xfrm>
              <a:off x="-821" y="401"/>
              <a:ext cx="490" cy="49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01" name="Freeform 48"/>
            <p:cNvSpPr>
              <a:spLocks noEditPoints="1"/>
            </p:cNvSpPr>
            <p:nvPr/>
          </p:nvSpPr>
          <p:spPr bwMode="auto">
            <a:xfrm>
              <a:off x="-803" y="418"/>
              <a:ext cx="456" cy="456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2" name="Freeform 49"/>
            <p:cNvSpPr>
              <a:spLocks noEditPoints="1"/>
            </p:cNvSpPr>
            <p:nvPr/>
          </p:nvSpPr>
          <p:spPr bwMode="auto">
            <a:xfrm>
              <a:off x="-670" y="510"/>
              <a:ext cx="189" cy="111"/>
            </a:xfrm>
            <a:custGeom>
              <a:avLst/>
              <a:gdLst>
                <a:gd name="T0" fmla="*/ 122 w 612"/>
                <a:gd name="T1" fmla="*/ 234 h 356"/>
                <a:gd name="T2" fmla="*/ 126 w 612"/>
                <a:gd name="T3" fmla="*/ 245 h 356"/>
                <a:gd name="T4" fmla="*/ 206 w 612"/>
                <a:gd name="T5" fmla="*/ 349 h 356"/>
                <a:gd name="T6" fmla="*/ 220 w 612"/>
                <a:gd name="T7" fmla="*/ 356 h 356"/>
                <a:gd name="T8" fmla="*/ 231 w 612"/>
                <a:gd name="T9" fmla="*/ 353 h 356"/>
                <a:gd name="T10" fmla="*/ 234 w 612"/>
                <a:gd name="T11" fmla="*/ 327 h 356"/>
                <a:gd name="T12" fmla="*/ 158 w 612"/>
                <a:gd name="T13" fmla="*/ 228 h 356"/>
                <a:gd name="T14" fmla="*/ 158 w 612"/>
                <a:gd name="T15" fmla="*/ 140 h 356"/>
                <a:gd name="T16" fmla="*/ 456 w 612"/>
                <a:gd name="T17" fmla="*/ 140 h 356"/>
                <a:gd name="T18" fmla="*/ 456 w 612"/>
                <a:gd name="T19" fmla="*/ 226 h 356"/>
                <a:gd name="T20" fmla="*/ 380 w 612"/>
                <a:gd name="T21" fmla="*/ 325 h 356"/>
                <a:gd name="T22" fmla="*/ 383 w 612"/>
                <a:gd name="T23" fmla="*/ 350 h 356"/>
                <a:gd name="T24" fmla="*/ 394 w 612"/>
                <a:gd name="T25" fmla="*/ 354 h 356"/>
                <a:gd name="T26" fmla="*/ 408 w 612"/>
                <a:gd name="T27" fmla="*/ 347 h 356"/>
                <a:gd name="T28" fmla="*/ 488 w 612"/>
                <a:gd name="T29" fmla="*/ 243 h 356"/>
                <a:gd name="T30" fmla="*/ 492 w 612"/>
                <a:gd name="T31" fmla="*/ 232 h 356"/>
                <a:gd name="T32" fmla="*/ 492 w 612"/>
                <a:gd name="T33" fmla="*/ 140 h 356"/>
                <a:gd name="T34" fmla="*/ 612 w 612"/>
                <a:gd name="T35" fmla="*/ 140 h 356"/>
                <a:gd name="T36" fmla="*/ 612 w 612"/>
                <a:gd name="T37" fmla="*/ 0 h 356"/>
                <a:gd name="T38" fmla="*/ 0 w 612"/>
                <a:gd name="T39" fmla="*/ 0 h 356"/>
                <a:gd name="T40" fmla="*/ 0 w 612"/>
                <a:gd name="T41" fmla="*/ 140 h 356"/>
                <a:gd name="T42" fmla="*/ 122 w 612"/>
                <a:gd name="T43" fmla="*/ 140 h 356"/>
                <a:gd name="T44" fmla="*/ 122 w 612"/>
                <a:gd name="T45" fmla="*/ 234 h 356"/>
                <a:gd name="T46" fmla="*/ 36 w 612"/>
                <a:gd name="T47" fmla="*/ 36 h 356"/>
                <a:gd name="T48" fmla="*/ 576 w 612"/>
                <a:gd name="T49" fmla="*/ 36 h 356"/>
                <a:gd name="T50" fmla="*/ 576 w 612"/>
                <a:gd name="T51" fmla="*/ 104 h 356"/>
                <a:gd name="T52" fmla="*/ 36 w 612"/>
                <a:gd name="T53" fmla="*/ 104 h 356"/>
                <a:gd name="T54" fmla="*/ 36 w 612"/>
                <a:gd name="T55" fmla="*/ 3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2" h="356">
                  <a:moveTo>
                    <a:pt x="122" y="234"/>
                  </a:moveTo>
                  <a:cubicBezTo>
                    <a:pt x="122" y="238"/>
                    <a:pt x="123" y="242"/>
                    <a:pt x="126" y="245"/>
                  </a:cubicBezTo>
                  <a:cubicBezTo>
                    <a:pt x="206" y="349"/>
                    <a:pt x="206" y="349"/>
                    <a:pt x="206" y="349"/>
                  </a:cubicBezTo>
                  <a:cubicBezTo>
                    <a:pt x="209" y="354"/>
                    <a:pt x="215" y="356"/>
                    <a:pt x="220" y="356"/>
                  </a:cubicBezTo>
                  <a:cubicBezTo>
                    <a:pt x="224" y="356"/>
                    <a:pt x="228" y="355"/>
                    <a:pt x="231" y="353"/>
                  </a:cubicBezTo>
                  <a:cubicBezTo>
                    <a:pt x="239" y="347"/>
                    <a:pt x="240" y="335"/>
                    <a:pt x="234" y="327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456" y="140"/>
                    <a:pt x="456" y="140"/>
                    <a:pt x="456" y="140"/>
                  </a:cubicBezTo>
                  <a:cubicBezTo>
                    <a:pt x="456" y="226"/>
                    <a:pt x="456" y="226"/>
                    <a:pt x="456" y="226"/>
                  </a:cubicBezTo>
                  <a:cubicBezTo>
                    <a:pt x="380" y="325"/>
                    <a:pt x="380" y="325"/>
                    <a:pt x="380" y="325"/>
                  </a:cubicBezTo>
                  <a:cubicBezTo>
                    <a:pt x="374" y="333"/>
                    <a:pt x="375" y="344"/>
                    <a:pt x="383" y="350"/>
                  </a:cubicBezTo>
                  <a:cubicBezTo>
                    <a:pt x="386" y="353"/>
                    <a:pt x="390" y="354"/>
                    <a:pt x="394" y="354"/>
                  </a:cubicBezTo>
                  <a:cubicBezTo>
                    <a:pt x="399" y="354"/>
                    <a:pt x="405" y="352"/>
                    <a:pt x="408" y="347"/>
                  </a:cubicBezTo>
                  <a:cubicBezTo>
                    <a:pt x="488" y="243"/>
                    <a:pt x="488" y="243"/>
                    <a:pt x="488" y="243"/>
                  </a:cubicBezTo>
                  <a:cubicBezTo>
                    <a:pt x="491" y="240"/>
                    <a:pt x="492" y="236"/>
                    <a:pt x="492" y="232"/>
                  </a:cubicBezTo>
                  <a:cubicBezTo>
                    <a:pt x="492" y="140"/>
                    <a:pt x="492" y="140"/>
                    <a:pt x="492" y="140"/>
                  </a:cubicBezTo>
                  <a:cubicBezTo>
                    <a:pt x="612" y="140"/>
                    <a:pt x="612" y="140"/>
                    <a:pt x="612" y="14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22" y="140"/>
                    <a:pt x="122" y="140"/>
                    <a:pt x="122" y="140"/>
                  </a:cubicBezTo>
                  <a:lnTo>
                    <a:pt x="122" y="234"/>
                  </a:lnTo>
                  <a:close/>
                  <a:moveTo>
                    <a:pt x="36" y="36"/>
                  </a:moveTo>
                  <a:cubicBezTo>
                    <a:pt x="576" y="36"/>
                    <a:pt x="576" y="36"/>
                    <a:pt x="576" y="36"/>
                  </a:cubicBezTo>
                  <a:cubicBezTo>
                    <a:pt x="576" y="104"/>
                    <a:pt x="576" y="104"/>
                    <a:pt x="576" y="104"/>
                  </a:cubicBezTo>
                  <a:cubicBezTo>
                    <a:pt x="36" y="104"/>
                    <a:pt x="36" y="104"/>
                    <a:pt x="36" y="104"/>
                  </a:cubicBezTo>
                  <a:lnTo>
                    <a:pt x="36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3" name="Freeform 50"/>
            <p:cNvSpPr>
              <a:spLocks noEditPoints="1"/>
            </p:cNvSpPr>
            <p:nvPr/>
          </p:nvSpPr>
          <p:spPr bwMode="auto">
            <a:xfrm>
              <a:off x="-630" y="572"/>
              <a:ext cx="108" cy="82"/>
            </a:xfrm>
            <a:custGeom>
              <a:avLst/>
              <a:gdLst>
                <a:gd name="T0" fmla="*/ 157 w 350"/>
                <a:gd name="T1" fmla="*/ 0 h 264"/>
                <a:gd name="T2" fmla="*/ 157 w 350"/>
                <a:gd name="T3" fmla="*/ 166 h 264"/>
                <a:gd name="T4" fmla="*/ 66 w 350"/>
                <a:gd name="T5" fmla="*/ 166 h 264"/>
                <a:gd name="T6" fmla="*/ 0 w 350"/>
                <a:gd name="T7" fmla="*/ 232 h 264"/>
                <a:gd name="T8" fmla="*/ 0 w 350"/>
                <a:gd name="T9" fmla="*/ 264 h 264"/>
                <a:gd name="T10" fmla="*/ 350 w 350"/>
                <a:gd name="T11" fmla="*/ 264 h 264"/>
                <a:gd name="T12" fmla="*/ 350 w 350"/>
                <a:gd name="T13" fmla="*/ 232 h 264"/>
                <a:gd name="T14" fmla="*/ 284 w 350"/>
                <a:gd name="T15" fmla="*/ 166 h 264"/>
                <a:gd name="T16" fmla="*/ 193 w 350"/>
                <a:gd name="T17" fmla="*/ 166 h 264"/>
                <a:gd name="T18" fmla="*/ 193 w 350"/>
                <a:gd name="T19" fmla="*/ 0 h 264"/>
                <a:gd name="T20" fmla="*/ 157 w 350"/>
                <a:gd name="T21" fmla="*/ 0 h 264"/>
                <a:gd name="T22" fmla="*/ 313 w 350"/>
                <a:gd name="T23" fmla="*/ 228 h 264"/>
                <a:gd name="T24" fmla="*/ 36 w 350"/>
                <a:gd name="T25" fmla="*/ 228 h 264"/>
                <a:gd name="T26" fmla="*/ 66 w 350"/>
                <a:gd name="T27" fmla="*/ 202 h 264"/>
                <a:gd name="T28" fmla="*/ 284 w 350"/>
                <a:gd name="T29" fmla="*/ 202 h 264"/>
                <a:gd name="T30" fmla="*/ 313 w 350"/>
                <a:gd name="T31" fmla="*/ 22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0" h="264">
                  <a:moveTo>
                    <a:pt x="157" y="0"/>
                  </a:moveTo>
                  <a:cubicBezTo>
                    <a:pt x="157" y="166"/>
                    <a:pt x="157" y="166"/>
                    <a:pt x="157" y="166"/>
                  </a:cubicBezTo>
                  <a:cubicBezTo>
                    <a:pt x="66" y="166"/>
                    <a:pt x="66" y="166"/>
                    <a:pt x="66" y="166"/>
                  </a:cubicBezTo>
                  <a:cubicBezTo>
                    <a:pt x="29" y="166"/>
                    <a:pt x="0" y="196"/>
                    <a:pt x="0" y="232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350" y="264"/>
                    <a:pt x="350" y="264"/>
                    <a:pt x="350" y="264"/>
                  </a:cubicBezTo>
                  <a:cubicBezTo>
                    <a:pt x="350" y="232"/>
                    <a:pt x="350" y="232"/>
                    <a:pt x="350" y="232"/>
                  </a:cubicBezTo>
                  <a:cubicBezTo>
                    <a:pt x="350" y="196"/>
                    <a:pt x="320" y="166"/>
                    <a:pt x="284" y="166"/>
                  </a:cubicBezTo>
                  <a:cubicBezTo>
                    <a:pt x="193" y="166"/>
                    <a:pt x="193" y="166"/>
                    <a:pt x="193" y="166"/>
                  </a:cubicBezTo>
                  <a:cubicBezTo>
                    <a:pt x="193" y="0"/>
                    <a:pt x="193" y="0"/>
                    <a:pt x="193" y="0"/>
                  </a:cubicBezTo>
                  <a:lnTo>
                    <a:pt x="157" y="0"/>
                  </a:lnTo>
                  <a:close/>
                  <a:moveTo>
                    <a:pt x="313" y="228"/>
                  </a:moveTo>
                  <a:cubicBezTo>
                    <a:pt x="36" y="228"/>
                    <a:pt x="36" y="228"/>
                    <a:pt x="36" y="228"/>
                  </a:cubicBezTo>
                  <a:cubicBezTo>
                    <a:pt x="38" y="213"/>
                    <a:pt x="50" y="202"/>
                    <a:pt x="66" y="202"/>
                  </a:cubicBezTo>
                  <a:cubicBezTo>
                    <a:pt x="284" y="202"/>
                    <a:pt x="284" y="202"/>
                    <a:pt x="284" y="202"/>
                  </a:cubicBezTo>
                  <a:cubicBezTo>
                    <a:pt x="299" y="202"/>
                    <a:pt x="311" y="213"/>
                    <a:pt x="313" y="2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4" name="Freeform 51"/>
            <p:cNvSpPr>
              <a:spLocks/>
            </p:cNvSpPr>
            <p:nvPr/>
          </p:nvSpPr>
          <p:spPr bwMode="auto">
            <a:xfrm>
              <a:off x="-582" y="670"/>
              <a:ext cx="12" cy="38"/>
            </a:xfrm>
            <a:custGeom>
              <a:avLst/>
              <a:gdLst>
                <a:gd name="T0" fmla="*/ 18 w 36"/>
                <a:gd name="T1" fmla="*/ 0 h 122"/>
                <a:gd name="T2" fmla="*/ 0 w 36"/>
                <a:gd name="T3" fmla="*/ 18 h 122"/>
                <a:gd name="T4" fmla="*/ 0 w 36"/>
                <a:gd name="T5" fmla="*/ 104 h 122"/>
                <a:gd name="T6" fmla="*/ 18 w 36"/>
                <a:gd name="T7" fmla="*/ 122 h 122"/>
                <a:gd name="T8" fmla="*/ 36 w 36"/>
                <a:gd name="T9" fmla="*/ 104 h 122"/>
                <a:gd name="T10" fmla="*/ 36 w 36"/>
                <a:gd name="T11" fmla="*/ 18 h 122"/>
                <a:gd name="T12" fmla="*/ 18 w 36"/>
                <a:gd name="T1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2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14"/>
                    <a:pt x="8" y="122"/>
                    <a:pt x="18" y="122"/>
                  </a:cubicBezTo>
                  <a:cubicBezTo>
                    <a:pt x="27" y="122"/>
                    <a:pt x="36" y="114"/>
                    <a:pt x="36" y="10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8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5" name="Freeform 52"/>
            <p:cNvSpPr>
              <a:spLocks/>
            </p:cNvSpPr>
            <p:nvPr/>
          </p:nvSpPr>
          <p:spPr bwMode="auto">
            <a:xfrm>
              <a:off x="-582" y="714"/>
              <a:ext cx="12" cy="37"/>
            </a:xfrm>
            <a:custGeom>
              <a:avLst/>
              <a:gdLst>
                <a:gd name="T0" fmla="*/ 18 w 36"/>
                <a:gd name="T1" fmla="*/ 0 h 121"/>
                <a:gd name="T2" fmla="*/ 0 w 36"/>
                <a:gd name="T3" fmla="*/ 18 h 121"/>
                <a:gd name="T4" fmla="*/ 0 w 36"/>
                <a:gd name="T5" fmla="*/ 103 h 121"/>
                <a:gd name="T6" fmla="*/ 18 w 36"/>
                <a:gd name="T7" fmla="*/ 121 h 121"/>
                <a:gd name="T8" fmla="*/ 36 w 36"/>
                <a:gd name="T9" fmla="*/ 103 h 121"/>
                <a:gd name="T10" fmla="*/ 36 w 36"/>
                <a:gd name="T11" fmla="*/ 18 h 121"/>
                <a:gd name="T12" fmla="*/ 18 w 36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1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13"/>
                    <a:pt x="8" y="121"/>
                    <a:pt x="18" y="121"/>
                  </a:cubicBezTo>
                  <a:cubicBezTo>
                    <a:pt x="27" y="121"/>
                    <a:pt x="36" y="113"/>
                    <a:pt x="36" y="103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8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6" name="Freeform 53"/>
            <p:cNvSpPr>
              <a:spLocks/>
            </p:cNvSpPr>
            <p:nvPr/>
          </p:nvSpPr>
          <p:spPr bwMode="auto">
            <a:xfrm>
              <a:off x="-582" y="757"/>
              <a:ext cx="12" cy="37"/>
            </a:xfrm>
            <a:custGeom>
              <a:avLst/>
              <a:gdLst>
                <a:gd name="T0" fmla="*/ 18 w 36"/>
                <a:gd name="T1" fmla="*/ 0 h 122"/>
                <a:gd name="T2" fmla="*/ 0 w 36"/>
                <a:gd name="T3" fmla="*/ 18 h 122"/>
                <a:gd name="T4" fmla="*/ 0 w 36"/>
                <a:gd name="T5" fmla="*/ 104 h 122"/>
                <a:gd name="T6" fmla="*/ 18 w 36"/>
                <a:gd name="T7" fmla="*/ 122 h 122"/>
                <a:gd name="T8" fmla="*/ 36 w 36"/>
                <a:gd name="T9" fmla="*/ 104 h 122"/>
                <a:gd name="T10" fmla="*/ 36 w 36"/>
                <a:gd name="T11" fmla="*/ 18 h 122"/>
                <a:gd name="T12" fmla="*/ 18 w 36"/>
                <a:gd name="T1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2">
                  <a:moveTo>
                    <a:pt x="18" y="0"/>
                  </a:moveTo>
                  <a:cubicBezTo>
                    <a:pt x="8" y="0"/>
                    <a:pt x="0" y="9"/>
                    <a:pt x="0" y="1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14"/>
                    <a:pt x="8" y="122"/>
                    <a:pt x="18" y="122"/>
                  </a:cubicBezTo>
                  <a:cubicBezTo>
                    <a:pt x="27" y="122"/>
                    <a:pt x="36" y="114"/>
                    <a:pt x="36" y="10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9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7" name="Freeform 54"/>
            <p:cNvSpPr>
              <a:spLocks/>
            </p:cNvSpPr>
            <p:nvPr/>
          </p:nvSpPr>
          <p:spPr bwMode="auto">
            <a:xfrm>
              <a:off x="-638" y="665"/>
              <a:ext cx="25" cy="36"/>
            </a:xfrm>
            <a:custGeom>
              <a:avLst/>
              <a:gdLst>
                <a:gd name="T0" fmla="*/ 69 w 81"/>
                <a:gd name="T1" fmla="*/ 5 h 117"/>
                <a:gd name="T2" fmla="*/ 45 w 81"/>
                <a:gd name="T3" fmla="*/ 12 h 117"/>
                <a:gd name="T4" fmla="*/ 4 w 81"/>
                <a:gd name="T5" fmla="*/ 90 h 117"/>
                <a:gd name="T6" fmla="*/ 12 w 81"/>
                <a:gd name="T7" fmla="*/ 115 h 117"/>
                <a:gd name="T8" fmla="*/ 20 w 81"/>
                <a:gd name="T9" fmla="*/ 117 h 117"/>
                <a:gd name="T10" fmla="*/ 36 w 81"/>
                <a:gd name="T11" fmla="*/ 107 h 117"/>
                <a:gd name="T12" fmla="*/ 77 w 81"/>
                <a:gd name="T13" fmla="*/ 29 h 117"/>
                <a:gd name="T14" fmla="*/ 69 w 81"/>
                <a:gd name="T15" fmla="*/ 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7">
                  <a:moveTo>
                    <a:pt x="69" y="5"/>
                  </a:moveTo>
                  <a:cubicBezTo>
                    <a:pt x="60" y="0"/>
                    <a:pt x="49" y="3"/>
                    <a:pt x="45" y="1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0" y="99"/>
                    <a:pt x="3" y="110"/>
                    <a:pt x="12" y="115"/>
                  </a:cubicBezTo>
                  <a:cubicBezTo>
                    <a:pt x="14" y="116"/>
                    <a:pt x="17" y="117"/>
                    <a:pt x="20" y="117"/>
                  </a:cubicBezTo>
                  <a:cubicBezTo>
                    <a:pt x="27" y="117"/>
                    <a:pt x="33" y="113"/>
                    <a:pt x="36" y="107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1" y="20"/>
                    <a:pt x="78" y="9"/>
                    <a:pt x="69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8" name="Freeform 55"/>
            <p:cNvSpPr>
              <a:spLocks/>
            </p:cNvSpPr>
            <p:nvPr/>
          </p:nvSpPr>
          <p:spPr bwMode="auto">
            <a:xfrm>
              <a:off x="-656" y="705"/>
              <a:ext cx="25" cy="36"/>
            </a:xfrm>
            <a:custGeom>
              <a:avLst/>
              <a:gdLst>
                <a:gd name="T0" fmla="*/ 70 w 82"/>
                <a:gd name="T1" fmla="*/ 4 h 116"/>
                <a:gd name="T2" fmla="*/ 45 w 82"/>
                <a:gd name="T3" fmla="*/ 12 h 116"/>
                <a:gd name="T4" fmla="*/ 5 w 82"/>
                <a:gd name="T5" fmla="*/ 89 h 116"/>
                <a:gd name="T6" fmla="*/ 12 w 82"/>
                <a:gd name="T7" fmla="*/ 114 h 116"/>
                <a:gd name="T8" fmla="*/ 21 w 82"/>
                <a:gd name="T9" fmla="*/ 116 h 116"/>
                <a:gd name="T10" fmla="*/ 37 w 82"/>
                <a:gd name="T11" fmla="*/ 106 h 116"/>
                <a:gd name="T12" fmla="*/ 77 w 82"/>
                <a:gd name="T13" fmla="*/ 29 h 116"/>
                <a:gd name="T14" fmla="*/ 70 w 82"/>
                <a:gd name="T15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6">
                  <a:moveTo>
                    <a:pt x="70" y="4"/>
                  </a:moveTo>
                  <a:cubicBezTo>
                    <a:pt x="61" y="0"/>
                    <a:pt x="50" y="3"/>
                    <a:pt x="45" y="1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0" y="98"/>
                    <a:pt x="4" y="109"/>
                    <a:pt x="12" y="114"/>
                  </a:cubicBezTo>
                  <a:cubicBezTo>
                    <a:pt x="15" y="115"/>
                    <a:pt x="18" y="116"/>
                    <a:pt x="21" y="116"/>
                  </a:cubicBezTo>
                  <a:cubicBezTo>
                    <a:pt x="27" y="116"/>
                    <a:pt x="33" y="112"/>
                    <a:pt x="37" y="106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2" y="20"/>
                    <a:pt x="78" y="9"/>
                    <a:pt x="7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09" name="Freeform 56"/>
            <p:cNvSpPr>
              <a:spLocks/>
            </p:cNvSpPr>
            <p:nvPr/>
          </p:nvSpPr>
          <p:spPr bwMode="auto">
            <a:xfrm>
              <a:off x="-674" y="745"/>
              <a:ext cx="26" cy="36"/>
            </a:xfrm>
            <a:custGeom>
              <a:avLst/>
              <a:gdLst>
                <a:gd name="T0" fmla="*/ 70 w 82"/>
                <a:gd name="T1" fmla="*/ 5 h 117"/>
                <a:gd name="T2" fmla="*/ 45 w 82"/>
                <a:gd name="T3" fmla="*/ 13 h 117"/>
                <a:gd name="T4" fmla="*/ 5 w 82"/>
                <a:gd name="T5" fmla="*/ 91 h 117"/>
                <a:gd name="T6" fmla="*/ 13 w 82"/>
                <a:gd name="T7" fmla="*/ 115 h 117"/>
                <a:gd name="T8" fmla="*/ 21 w 82"/>
                <a:gd name="T9" fmla="*/ 117 h 117"/>
                <a:gd name="T10" fmla="*/ 37 w 82"/>
                <a:gd name="T11" fmla="*/ 108 h 117"/>
                <a:gd name="T12" fmla="*/ 77 w 82"/>
                <a:gd name="T13" fmla="*/ 29 h 117"/>
                <a:gd name="T14" fmla="*/ 70 w 82"/>
                <a:gd name="T15" fmla="*/ 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7">
                  <a:moveTo>
                    <a:pt x="70" y="5"/>
                  </a:moveTo>
                  <a:cubicBezTo>
                    <a:pt x="61" y="0"/>
                    <a:pt x="50" y="4"/>
                    <a:pt x="45" y="13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100"/>
                    <a:pt x="4" y="111"/>
                    <a:pt x="13" y="115"/>
                  </a:cubicBezTo>
                  <a:cubicBezTo>
                    <a:pt x="15" y="117"/>
                    <a:pt x="18" y="117"/>
                    <a:pt x="21" y="117"/>
                  </a:cubicBezTo>
                  <a:cubicBezTo>
                    <a:pt x="27" y="117"/>
                    <a:pt x="34" y="114"/>
                    <a:pt x="37" y="108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2" y="20"/>
                    <a:pt x="78" y="10"/>
                    <a:pt x="7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10" name="Freeform 57"/>
            <p:cNvSpPr>
              <a:spLocks/>
            </p:cNvSpPr>
            <p:nvPr/>
          </p:nvSpPr>
          <p:spPr bwMode="auto">
            <a:xfrm>
              <a:off x="-539" y="667"/>
              <a:ext cx="25" cy="37"/>
            </a:xfrm>
            <a:custGeom>
              <a:avLst/>
              <a:gdLst>
                <a:gd name="T0" fmla="*/ 69 w 81"/>
                <a:gd name="T1" fmla="*/ 115 h 117"/>
                <a:gd name="T2" fmla="*/ 77 w 81"/>
                <a:gd name="T3" fmla="*/ 91 h 117"/>
                <a:gd name="T4" fmla="*/ 36 w 81"/>
                <a:gd name="T5" fmla="*/ 13 h 117"/>
                <a:gd name="T6" fmla="*/ 12 w 81"/>
                <a:gd name="T7" fmla="*/ 5 h 117"/>
                <a:gd name="T8" fmla="*/ 4 w 81"/>
                <a:gd name="T9" fmla="*/ 29 h 117"/>
                <a:gd name="T10" fmla="*/ 45 w 81"/>
                <a:gd name="T11" fmla="*/ 107 h 117"/>
                <a:gd name="T12" fmla="*/ 61 w 81"/>
                <a:gd name="T13" fmla="*/ 117 h 117"/>
                <a:gd name="T14" fmla="*/ 69 w 81"/>
                <a:gd name="T15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7">
                  <a:moveTo>
                    <a:pt x="69" y="115"/>
                  </a:moveTo>
                  <a:cubicBezTo>
                    <a:pt x="78" y="110"/>
                    <a:pt x="81" y="100"/>
                    <a:pt x="77" y="91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2" y="4"/>
                    <a:pt x="21" y="0"/>
                    <a:pt x="12" y="5"/>
                  </a:cubicBezTo>
                  <a:cubicBezTo>
                    <a:pt x="3" y="10"/>
                    <a:pt x="0" y="20"/>
                    <a:pt x="4" y="29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8" y="113"/>
                    <a:pt x="54" y="117"/>
                    <a:pt x="61" y="117"/>
                  </a:cubicBezTo>
                  <a:cubicBezTo>
                    <a:pt x="64" y="117"/>
                    <a:pt x="66" y="116"/>
                    <a:pt x="69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11" name="Freeform 58"/>
            <p:cNvSpPr>
              <a:spLocks/>
            </p:cNvSpPr>
            <p:nvPr/>
          </p:nvSpPr>
          <p:spPr bwMode="auto">
            <a:xfrm>
              <a:off x="-521" y="708"/>
              <a:ext cx="25" cy="35"/>
            </a:xfrm>
            <a:custGeom>
              <a:avLst/>
              <a:gdLst>
                <a:gd name="T0" fmla="*/ 69 w 82"/>
                <a:gd name="T1" fmla="*/ 114 h 116"/>
                <a:gd name="T2" fmla="*/ 77 w 82"/>
                <a:gd name="T3" fmla="*/ 90 h 116"/>
                <a:gd name="T4" fmla="*/ 36 w 82"/>
                <a:gd name="T5" fmla="*/ 12 h 116"/>
                <a:gd name="T6" fmla="*/ 12 w 82"/>
                <a:gd name="T7" fmla="*/ 5 h 116"/>
                <a:gd name="T8" fmla="*/ 5 w 82"/>
                <a:gd name="T9" fmla="*/ 29 h 116"/>
                <a:gd name="T10" fmla="*/ 45 w 82"/>
                <a:gd name="T11" fmla="*/ 106 h 116"/>
                <a:gd name="T12" fmla="*/ 61 w 82"/>
                <a:gd name="T13" fmla="*/ 116 h 116"/>
                <a:gd name="T14" fmla="*/ 69 w 82"/>
                <a:gd name="T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6">
                  <a:moveTo>
                    <a:pt x="69" y="114"/>
                  </a:moveTo>
                  <a:cubicBezTo>
                    <a:pt x="78" y="109"/>
                    <a:pt x="82" y="99"/>
                    <a:pt x="77" y="9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3"/>
                    <a:pt x="21" y="0"/>
                    <a:pt x="12" y="5"/>
                  </a:cubicBezTo>
                  <a:cubicBezTo>
                    <a:pt x="3" y="9"/>
                    <a:pt x="0" y="20"/>
                    <a:pt x="5" y="29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8" y="113"/>
                    <a:pt x="55" y="116"/>
                    <a:pt x="61" y="116"/>
                  </a:cubicBezTo>
                  <a:cubicBezTo>
                    <a:pt x="64" y="116"/>
                    <a:pt x="67" y="115"/>
                    <a:pt x="69" y="1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9"/>
            <p:cNvSpPr>
              <a:spLocks/>
            </p:cNvSpPr>
            <p:nvPr/>
          </p:nvSpPr>
          <p:spPr bwMode="auto">
            <a:xfrm>
              <a:off x="-503" y="747"/>
              <a:ext cx="25" cy="37"/>
            </a:xfrm>
            <a:custGeom>
              <a:avLst/>
              <a:gdLst>
                <a:gd name="T0" fmla="*/ 36 w 82"/>
                <a:gd name="T1" fmla="*/ 12 h 117"/>
                <a:gd name="T2" fmla="*/ 12 w 82"/>
                <a:gd name="T3" fmla="*/ 4 h 117"/>
                <a:gd name="T4" fmla="*/ 4 w 82"/>
                <a:gd name="T5" fmla="*/ 29 h 117"/>
                <a:gd name="T6" fmla="*/ 45 w 82"/>
                <a:gd name="T7" fmla="*/ 107 h 117"/>
                <a:gd name="T8" fmla="*/ 61 w 82"/>
                <a:gd name="T9" fmla="*/ 117 h 117"/>
                <a:gd name="T10" fmla="*/ 69 w 82"/>
                <a:gd name="T11" fmla="*/ 115 h 117"/>
                <a:gd name="T12" fmla="*/ 77 w 82"/>
                <a:gd name="T13" fmla="*/ 90 h 117"/>
                <a:gd name="T14" fmla="*/ 36 w 82"/>
                <a:gd name="T15" fmla="*/ 1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7">
                  <a:moveTo>
                    <a:pt x="36" y="12"/>
                  </a:moveTo>
                  <a:cubicBezTo>
                    <a:pt x="32" y="3"/>
                    <a:pt x="21" y="0"/>
                    <a:pt x="12" y="4"/>
                  </a:cubicBezTo>
                  <a:cubicBezTo>
                    <a:pt x="3" y="9"/>
                    <a:pt x="0" y="20"/>
                    <a:pt x="4" y="29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8" y="113"/>
                    <a:pt x="54" y="117"/>
                    <a:pt x="61" y="117"/>
                  </a:cubicBezTo>
                  <a:cubicBezTo>
                    <a:pt x="64" y="117"/>
                    <a:pt x="67" y="116"/>
                    <a:pt x="69" y="115"/>
                  </a:cubicBezTo>
                  <a:cubicBezTo>
                    <a:pt x="78" y="110"/>
                    <a:pt x="82" y="99"/>
                    <a:pt x="77" y="90"/>
                  </a:cubicBezTo>
                  <a:lnTo>
                    <a:pt x="36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62"/>
          <p:cNvGrpSpPr>
            <a:grpSpLocks noChangeAspect="1"/>
          </p:cNvGrpSpPr>
          <p:nvPr/>
        </p:nvGrpSpPr>
        <p:grpSpPr bwMode="auto">
          <a:xfrm>
            <a:off x="4812459" y="297510"/>
            <a:ext cx="839534" cy="841250"/>
            <a:chOff x="3435" y="276"/>
            <a:chExt cx="489" cy="490"/>
          </a:xfrm>
        </p:grpSpPr>
        <p:sp>
          <p:nvSpPr>
            <p:cNvPr id="34" name="AutoShape 61"/>
            <p:cNvSpPr>
              <a:spLocks noChangeAspect="1" noChangeArrowheads="1" noTextEdit="1"/>
            </p:cNvSpPr>
            <p:nvPr/>
          </p:nvSpPr>
          <p:spPr bwMode="auto">
            <a:xfrm>
              <a:off x="3435" y="276"/>
              <a:ext cx="489" cy="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63"/>
            <p:cNvSpPr>
              <a:spLocks noChangeArrowheads="1"/>
            </p:cNvSpPr>
            <p:nvPr/>
          </p:nvSpPr>
          <p:spPr bwMode="auto">
            <a:xfrm>
              <a:off x="3435" y="276"/>
              <a:ext cx="489" cy="49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4"/>
            <p:cNvSpPr>
              <a:spLocks noEditPoints="1"/>
            </p:cNvSpPr>
            <p:nvPr/>
          </p:nvSpPr>
          <p:spPr bwMode="auto">
            <a:xfrm>
              <a:off x="3453" y="292"/>
              <a:ext cx="457" cy="45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5"/>
            <p:cNvSpPr>
              <a:spLocks noEditPoints="1"/>
            </p:cNvSpPr>
            <p:nvPr/>
          </p:nvSpPr>
          <p:spPr bwMode="auto">
            <a:xfrm>
              <a:off x="3523" y="362"/>
              <a:ext cx="317" cy="318"/>
            </a:xfrm>
            <a:custGeom>
              <a:avLst/>
              <a:gdLst>
                <a:gd name="T0" fmla="*/ 512 w 1024"/>
                <a:gd name="T1" fmla="*/ 0 h 1024"/>
                <a:gd name="T2" fmla="*/ 0 w 1024"/>
                <a:gd name="T3" fmla="*/ 512 h 1024"/>
                <a:gd name="T4" fmla="*/ 512 w 1024"/>
                <a:gd name="T5" fmla="*/ 1024 h 1024"/>
                <a:gd name="T6" fmla="*/ 1024 w 1024"/>
                <a:gd name="T7" fmla="*/ 512 h 1024"/>
                <a:gd name="T8" fmla="*/ 512 w 1024"/>
                <a:gd name="T9" fmla="*/ 0 h 1024"/>
                <a:gd name="T10" fmla="*/ 512 w 1024"/>
                <a:gd name="T11" fmla="*/ 998 h 1024"/>
                <a:gd name="T12" fmla="*/ 26 w 1024"/>
                <a:gd name="T13" fmla="*/ 512 h 1024"/>
                <a:gd name="T14" fmla="*/ 512 w 1024"/>
                <a:gd name="T15" fmla="*/ 26 h 1024"/>
                <a:gd name="T16" fmla="*/ 998 w 1024"/>
                <a:gd name="T17" fmla="*/ 512 h 1024"/>
                <a:gd name="T18" fmla="*/ 512 w 1024"/>
                <a:gd name="T19" fmla="*/ 998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4" h="1024">
                  <a:moveTo>
                    <a:pt x="512" y="0"/>
                  </a:moveTo>
                  <a:cubicBezTo>
                    <a:pt x="230" y="0"/>
                    <a:pt x="0" y="230"/>
                    <a:pt x="0" y="512"/>
                  </a:cubicBezTo>
                  <a:cubicBezTo>
                    <a:pt x="0" y="794"/>
                    <a:pt x="230" y="1024"/>
                    <a:pt x="512" y="1024"/>
                  </a:cubicBezTo>
                  <a:cubicBezTo>
                    <a:pt x="794" y="1024"/>
                    <a:pt x="1024" y="794"/>
                    <a:pt x="1024" y="512"/>
                  </a:cubicBezTo>
                  <a:cubicBezTo>
                    <a:pt x="1024" y="230"/>
                    <a:pt x="794" y="0"/>
                    <a:pt x="512" y="0"/>
                  </a:cubicBezTo>
                  <a:close/>
                  <a:moveTo>
                    <a:pt x="512" y="998"/>
                  </a:moveTo>
                  <a:cubicBezTo>
                    <a:pt x="244" y="998"/>
                    <a:pt x="26" y="780"/>
                    <a:pt x="26" y="512"/>
                  </a:cubicBezTo>
                  <a:cubicBezTo>
                    <a:pt x="26" y="244"/>
                    <a:pt x="244" y="26"/>
                    <a:pt x="512" y="26"/>
                  </a:cubicBezTo>
                  <a:cubicBezTo>
                    <a:pt x="780" y="26"/>
                    <a:pt x="998" y="244"/>
                    <a:pt x="998" y="512"/>
                  </a:cubicBezTo>
                  <a:cubicBezTo>
                    <a:pt x="998" y="780"/>
                    <a:pt x="780" y="998"/>
                    <a:pt x="512" y="9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6"/>
            <p:cNvSpPr>
              <a:spLocks noEditPoints="1"/>
            </p:cNvSpPr>
            <p:nvPr/>
          </p:nvSpPr>
          <p:spPr bwMode="auto">
            <a:xfrm>
              <a:off x="3619" y="451"/>
              <a:ext cx="34" cy="53"/>
            </a:xfrm>
            <a:custGeom>
              <a:avLst/>
              <a:gdLst>
                <a:gd name="T0" fmla="*/ 55 w 110"/>
                <a:gd name="T1" fmla="*/ 170 h 170"/>
                <a:gd name="T2" fmla="*/ 110 w 110"/>
                <a:gd name="T3" fmla="*/ 85 h 170"/>
                <a:gd name="T4" fmla="*/ 55 w 110"/>
                <a:gd name="T5" fmla="*/ 0 h 170"/>
                <a:gd name="T6" fmla="*/ 0 w 110"/>
                <a:gd name="T7" fmla="*/ 85 h 170"/>
                <a:gd name="T8" fmla="*/ 55 w 110"/>
                <a:gd name="T9" fmla="*/ 170 h 170"/>
                <a:gd name="T10" fmla="*/ 55 w 110"/>
                <a:gd name="T11" fmla="*/ 26 h 170"/>
                <a:gd name="T12" fmla="*/ 84 w 110"/>
                <a:gd name="T13" fmla="*/ 85 h 170"/>
                <a:gd name="T14" fmla="*/ 55 w 110"/>
                <a:gd name="T15" fmla="*/ 144 h 170"/>
                <a:gd name="T16" fmla="*/ 26 w 110"/>
                <a:gd name="T17" fmla="*/ 85 h 170"/>
                <a:gd name="T18" fmla="*/ 55 w 110"/>
                <a:gd name="T1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70">
                  <a:moveTo>
                    <a:pt x="55" y="170"/>
                  </a:moveTo>
                  <a:cubicBezTo>
                    <a:pt x="86" y="170"/>
                    <a:pt x="110" y="132"/>
                    <a:pt x="110" y="85"/>
                  </a:cubicBezTo>
                  <a:cubicBezTo>
                    <a:pt x="110" y="37"/>
                    <a:pt x="86" y="0"/>
                    <a:pt x="55" y="0"/>
                  </a:cubicBezTo>
                  <a:cubicBezTo>
                    <a:pt x="24" y="0"/>
                    <a:pt x="0" y="37"/>
                    <a:pt x="0" y="85"/>
                  </a:cubicBezTo>
                  <a:cubicBezTo>
                    <a:pt x="0" y="132"/>
                    <a:pt x="24" y="170"/>
                    <a:pt x="55" y="170"/>
                  </a:cubicBezTo>
                  <a:close/>
                  <a:moveTo>
                    <a:pt x="55" y="26"/>
                  </a:moveTo>
                  <a:cubicBezTo>
                    <a:pt x="69" y="26"/>
                    <a:pt x="84" y="51"/>
                    <a:pt x="84" y="85"/>
                  </a:cubicBezTo>
                  <a:cubicBezTo>
                    <a:pt x="84" y="118"/>
                    <a:pt x="69" y="144"/>
                    <a:pt x="55" y="144"/>
                  </a:cubicBezTo>
                  <a:cubicBezTo>
                    <a:pt x="42" y="144"/>
                    <a:pt x="26" y="118"/>
                    <a:pt x="26" y="85"/>
                  </a:cubicBezTo>
                  <a:cubicBezTo>
                    <a:pt x="26" y="51"/>
                    <a:pt x="42" y="26"/>
                    <a:pt x="55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7"/>
            <p:cNvSpPr>
              <a:spLocks noEditPoints="1"/>
            </p:cNvSpPr>
            <p:nvPr/>
          </p:nvSpPr>
          <p:spPr bwMode="auto">
            <a:xfrm>
              <a:off x="3714" y="451"/>
              <a:ext cx="34" cy="53"/>
            </a:xfrm>
            <a:custGeom>
              <a:avLst/>
              <a:gdLst>
                <a:gd name="T0" fmla="*/ 55 w 110"/>
                <a:gd name="T1" fmla="*/ 0 h 170"/>
                <a:gd name="T2" fmla="*/ 0 w 110"/>
                <a:gd name="T3" fmla="*/ 85 h 170"/>
                <a:gd name="T4" fmla="*/ 55 w 110"/>
                <a:gd name="T5" fmla="*/ 170 h 170"/>
                <a:gd name="T6" fmla="*/ 110 w 110"/>
                <a:gd name="T7" fmla="*/ 85 h 170"/>
                <a:gd name="T8" fmla="*/ 55 w 110"/>
                <a:gd name="T9" fmla="*/ 0 h 170"/>
                <a:gd name="T10" fmla="*/ 55 w 110"/>
                <a:gd name="T11" fmla="*/ 144 h 170"/>
                <a:gd name="T12" fmla="*/ 26 w 110"/>
                <a:gd name="T13" fmla="*/ 85 h 170"/>
                <a:gd name="T14" fmla="*/ 55 w 110"/>
                <a:gd name="T15" fmla="*/ 26 h 170"/>
                <a:gd name="T16" fmla="*/ 84 w 110"/>
                <a:gd name="T17" fmla="*/ 85 h 170"/>
                <a:gd name="T18" fmla="*/ 55 w 110"/>
                <a:gd name="T19" fmla="*/ 14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70">
                  <a:moveTo>
                    <a:pt x="55" y="0"/>
                  </a:moveTo>
                  <a:cubicBezTo>
                    <a:pt x="24" y="0"/>
                    <a:pt x="0" y="37"/>
                    <a:pt x="0" y="85"/>
                  </a:cubicBezTo>
                  <a:cubicBezTo>
                    <a:pt x="0" y="132"/>
                    <a:pt x="24" y="170"/>
                    <a:pt x="55" y="170"/>
                  </a:cubicBezTo>
                  <a:cubicBezTo>
                    <a:pt x="86" y="170"/>
                    <a:pt x="110" y="132"/>
                    <a:pt x="110" y="85"/>
                  </a:cubicBezTo>
                  <a:cubicBezTo>
                    <a:pt x="110" y="37"/>
                    <a:pt x="86" y="0"/>
                    <a:pt x="55" y="0"/>
                  </a:cubicBezTo>
                  <a:close/>
                  <a:moveTo>
                    <a:pt x="55" y="144"/>
                  </a:moveTo>
                  <a:cubicBezTo>
                    <a:pt x="41" y="144"/>
                    <a:pt x="26" y="118"/>
                    <a:pt x="26" y="85"/>
                  </a:cubicBezTo>
                  <a:cubicBezTo>
                    <a:pt x="26" y="51"/>
                    <a:pt x="41" y="26"/>
                    <a:pt x="55" y="26"/>
                  </a:cubicBezTo>
                  <a:cubicBezTo>
                    <a:pt x="68" y="26"/>
                    <a:pt x="84" y="51"/>
                    <a:pt x="84" y="85"/>
                  </a:cubicBezTo>
                  <a:cubicBezTo>
                    <a:pt x="84" y="118"/>
                    <a:pt x="68" y="144"/>
                    <a:pt x="55" y="1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8"/>
            <p:cNvSpPr>
              <a:spLocks noEditPoints="1"/>
            </p:cNvSpPr>
            <p:nvPr/>
          </p:nvSpPr>
          <p:spPr bwMode="auto">
            <a:xfrm>
              <a:off x="3618" y="542"/>
              <a:ext cx="127" cy="68"/>
            </a:xfrm>
            <a:custGeom>
              <a:avLst/>
              <a:gdLst>
                <a:gd name="T0" fmla="*/ 0 w 410"/>
                <a:gd name="T1" fmla="*/ 13 h 218"/>
                <a:gd name="T2" fmla="*/ 205 w 410"/>
                <a:gd name="T3" fmla="*/ 218 h 218"/>
                <a:gd name="T4" fmla="*/ 410 w 410"/>
                <a:gd name="T5" fmla="*/ 13 h 218"/>
                <a:gd name="T6" fmla="*/ 410 w 410"/>
                <a:gd name="T7" fmla="*/ 0 h 218"/>
                <a:gd name="T8" fmla="*/ 0 w 410"/>
                <a:gd name="T9" fmla="*/ 0 h 218"/>
                <a:gd name="T10" fmla="*/ 0 w 410"/>
                <a:gd name="T11" fmla="*/ 13 h 218"/>
                <a:gd name="T12" fmla="*/ 384 w 410"/>
                <a:gd name="T13" fmla="*/ 26 h 218"/>
                <a:gd name="T14" fmla="*/ 205 w 410"/>
                <a:gd name="T15" fmla="*/ 192 h 218"/>
                <a:gd name="T16" fmla="*/ 26 w 410"/>
                <a:gd name="T17" fmla="*/ 26 h 218"/>
                <a:gd name="T18" fmla="*/ 384 w 410"/>
                <a:gd name="T19" fmla="*/ 2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0" h="218">
                  <a:moveTo>
                    <a:pt x="0" y="13"/>
                  </a:moveTo>
                  <a:cubicBezTo>
                    <a:pt x="0" y="126"/>
                    <a:pt x="92" y="218"/>
                    <a:pt x="205" y="218"/>
                  </a:cubicBezTo>
                  <a:cubicBezTo>
                    <a:pt x="318" y="218"/>
                    <a:pt x="410" y="126"/>
                    <a:pt x="410" y="13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3"/>
                  </a:lnTo>
                  <a:close/>
                  <a:moveTo>
                    <a:pt x="384" y="26"/>
                  </a:moveTo>
                  <a:cubicBezTo>
                    <a:pt x="377" y="119"/>
                    <a:pt x="299" y="192"/>
                    <a:pt x="205" y="192"/>
                  </a:cubicBezTo>
                  <a:cubicBezTo>
                    <a:pt x="111" y="192"/>
                    <a:pt x="33" y="119"/>
                    <a:pt x="26" y="26"/>
                  </a:cubicBezTo>
                  <a:lnTo>
                    <a:pt x="384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1" name="Group 71"/>
          <p:cNvGrpSpPr>
            <a:grpSpLocks noChangeAspect="1"/>
          </p:cNvGrpSpPr>
          <p:nvPr/>
        </p:nvGrpSpPr>
        <p:grpSpPr bwMode="auto">
          <a:xfrm>
            <a:off x="2601702" y="284477"/>
            <a:ext cx="841248" cy="841248"/>
            <a:chOff x="2549" y="96"/>
            <a:chExt cx="3742" cy="3742"/>
          </a:xfrm>
        </p:grpSpPr>
        <p:sp>
          <p:nvSpPr>
            <p:cNvPr id="42" name="AutoShape 70"/>
            <p:cNvSpPr>
              <a:spLocks noChangeAspect="1" noChangeArrowheads="1" noTextEdit="1"/>
            </p:cNvSpPr>
            <p:nvPr/>
          </p:nvSpPr>
          <p:spPr bwMode="auto">
            <a:xfrm>
              <a:off x="2549" y="96"/>
              <a:ext cx="3742" cy="3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72"/>
            <p:cNvSpPr>
              <a:spLocks noChangeArrowheads="1"/>
            </p:cNvSpPr>
            <p:nvPr/>
          </p:nvSpPr>
          <p:spPr bwMode="auto">
            <a:xfrm>
              <a:off x="2549" y="96"/>
              <a:ext cx="3742" cy="374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73"/>
            <p:cNvSpPr>
              <a:spLocks noEditPoints="1"/>
            </p:cNvSpPr>
            <p:nvPr/>
          </p:nvSpPr>
          <p:spPr bwMode="auto">
            <a:xfrm>
              <a:off x="2677" y="224"/>
              <a:ext cx="3486" cy="3486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4"/>
            <p:cNvSpPr>
              <a:spLocks noEditPoints="1"/>
            </p:cNvSpPr>
            <p:nvPr/>
          </p:nvSpPr>
          <p:spPr bwMode="auto">
            <a:xfrm>
              <a:off x="3225" y="1213"/>
              <a:ext cx="2341" cy="1574"/>
            </a:xfrm>
            <a:custGeom>
              <a:avLst/>
              <a:gdLst>
                <a:gd name="T0" fmla="*/ 857 w 991"/>
                <a:gd name="T1" fmla="*/ 9 h 666"/>
                <a:gd name="T2" fmla="*/ 213 w 991"/>
                <a:gd name="T3" fmla="*/ 239 h 666"/>
                <a:gd name="T4" fmla="*/ 146 w 991"/>
                <a:gd name="T5" fmla="*/ 239 h 666"/>
                <a:gd name="T6" fmla="*/ 101 w 991"/>
                <a:gd name="T7" fmla="*/ 298 h 666"/>
                <a:gd name="T8" fmla="*/ 4 w 991"/>
                <a:gd name="T9" fmla="*/ 296 h 666"/>
                <a:gd name="T10" fmla="*/ 59 w 991"/>
                <a:gd name="T11" fmla="*/ 506 h 666"/>
                <a:gd name="T12" fmla="*/ 71 w 991"/>
                <a:gd name="T13" fmla="*/ 515 h 666"/>
                <a:gd name="T14" fmla="*/ 146 w 991"/>
                <a:gd name="T15" fmla="*/ 461 h 666"/>
                <a:gd name="T16" fmla="*/ 210 w 991"/>
                <a:gd name="T17" fmla="*/ 483 h 666"/>
                <a:gd name="T18" fmla="*/ 269 w 991"/>
                <a:gd name="T19" fmla="*/ 449 h 666"/>
                <a:gd name="T20" fmla="*/ 293 w 991"/>
                <a:gd name="T21" fmla="*/ 473 h 666"/>
                <a:gd name="T22" fmla="*/ 339 w 991"/>
                <a:gd name="T23" fmla="*/ 479 h 666"/>
                <a:gd name="T24" fmla="*/ 647 w 991"/>
                <a:gd name="T25" fmla="*/ 530 h 666"/>
                <a:gd name="T26" fmla="*/ 674 w 991"/>
                <a:gd name="T27" fmla="*/ 614 h 666"/>
                <a:gd name="T28" fmla="*/ 881 w 991"/>
                <a:gd name="T29" fmla="*/ 666 h 666"/>
                <a:gd name="T30" fmla="*/ 719 w 991"/>
                <a:gd name="T31" fmla="*/ 576 h 666"/>
                <a:gd name="T32" fmla="*/ 674 w 991"/>
                <a:gd name="T33" fmla="*/ 522 h 666"/>
                <a:gd name="T34" fmla="*/ 640 w 991"/>
                <a:gd name="T35" fmla="*/ 400 h 666"/>
                <a:gd name="T36" fmla="*/ 939 w 991"/>
                <a:gd name="T37" fmla="*/ 322 h 666"/>
                <a:gd name="T38" fmla="*/ 931 w 991"/>
                <a:gd name="T39" fmla="*/ 52 h 666"/>
                <a:gd name="T40" fmla="*/ 674 w 991"/>
                <a:gd name="T41" fmla="*/ 588 h 666"/>
                <a:gd name="T42" fmla="*/ 674 w 991"/>
                <a:gd name="T43" fmla="*/ 548 h 666"/>
                <a:gd name="T44" fmla="*/ 78 w 991"/>
                <a:gd name="T45" fmla="*/ 480 h 666"/>
                <a:gd name="T46" fmla="*/ 105 w 991"/>
                <a:gd name="T47" fmla="*/ 325 h 666"/>
                <a:gd name="T48" fmla="*/ 135 w 991"/>
                <a:gd name="T49" fmla="*/ 436 h 666"/>
                <a:gd name="T50" fmla="*/ 247 w 991"/>
                <a:gd name="T51" fmla="*/ 436 h 666"/>
                <a:gd name="T52" fmla="*/ 204 w 991"/>
                <a:gd name="T53" fmla="*/ 458 h 666"/>
                <a:gd name="T54" fmla="*/ 163 w 991"/>
                <a:gd name="T55" fmla="*/ 438 h 666"/>
                <a:gd name="T56" fmla="*/ 128 w 991"/>
                <a:gd name="T57" fmla="*/ 306 h 666"/>
                <a:gd name="T58" fmla="*/ 175 w 991"/>
                <a:gd name="T59" fmla="*/ 258 h 666"/>
                <a:gd name="T60" fmla="*/ 217 w 991"/>
                <a:gd name="T61" fmla="*/ 283 h 666"/>
                <a:gd name="T62" fmla="*/ 247 w 991"/>
                <a:gd name="T63" fmla="*/ 436 h 666"/>
                <a:gd name="T64" fmla="*/ 932 w 991"/>
                <a:gd name="T65" fmla="*/ 297 h 666"/>
                <a:gd name="T66" fmla="*/ 306 w 991"/>
                <a:gd name="T67" fmla="*/ 450 h 666"/>
                <a:gd name="T68" fmla="*/ 239 w 991"/>
                <a:gd name="T69" fmla="*/ 234 h 666"/>
                <a:gd name="T70" fmla="*/ 863 w 991"/>
                <a:gd name="T71" fmla="*/ 34 h 666"/>
                <a:gd name="T72" fmla="*/ 906 w 991"/>
                <a:gd name="T73" fmla="*/ 59 h 666"/>
                <a:gd name="T74" fmla="*/ 395 w 991"/>
                <a:gd name="T75" fmla="*/ 214 h 666"/>
                <a:gd name="T76" fmla="*/ 918 w 991"/>
                <a:gd name="T77" fmla="*/ 105 h 666"/>
                <a:gd name="T78" fmla="*/ 932 w 991"/>
                <a:gd name="T79" fmla="*/ 29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91" h="666">
                  <a:moveTo>
                    <a:pt x="931" y="52"/>
                  </a:moveTo>
                  <a:cubicBezTo>
                    <a:pt x="922" y="20"/>
                    <a:pt x="889" y="0"/>
                    <a:pt x="857" y="9"/>
                  </a:cubicBezTo>
                  <a:cubicBezTo>
                    <a:pt x="257" y="166"/>
                    <a:pt x="257" y="166"/>
                    <a:pt x="257" y="166"/>
                  </a:cubicBezTo>
                  <a:cubicBezTo>
                    <a:pt x="225" y="174"/>
                    <a:pt x="206" y="207"/>
                    <a:pt x="213" y="239"/>
                  </a:cubicBezTo>
                  <a:cubicBezTo>
                    <a:pt x="200" y="231"/>
                    <a:pt x="184" y="229"/>
                    <a:pt x="168" y="233"/>
                  </a:cubicBezTo>
                  <a:cubicBezTo>
                    <a:pt x="146" y="239"/>
                    <a:pt x="146" y="239"/>
                    <a:pt x="146" y="239"/>
                  </a:cubicBezTo>
                  <a:cubicBezTo>
                    <a:pt x="131" y="243"/>
                    <a:pt x="118" y="253"/>
                    <a:pt x="109" y="267"/>
                  </a:cubicBezTo>
                  <a:cubicBezTo>
                    <a:pt x="104" y="276"/>
                    <a:pt x="101" y="287"/>
                    <a:pt x="101" y="298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1" y="291"/>
                    <a:pt x="7" y="293"/>
                    <a:pt x="4" y="296"/>
                  </a:cubicBezTo>
                  <a:cubicBezTo>
                    <a:pt x="1" y="300"/>
                    <a:pt x="0" y="304"/>
                    <a:pt x="1" y="308"/>
                  </a:cubicBezTo>
                  <a:cubicBezTo>
                    <a:pt x="59" y="506"/>
                    <a:pt x="59" y="506"/>
                    <a:pt x="59" y="506"/>
                  </a:cubicBezTo>
                  <a:cubicBezTo>
                    <a:pt x="60" y="510"/>
                    <a:pt x="63" y="513"/>
                    <a:pt x="67" y="515"/>
                  </a:cubicBezTo>
                  <a:cubicBezTo>
                    <a:pt x="69" y="515"/>
                    <a:pt x="70" y="515"/>
                    <a:pt x="71" y="515"/>
                  </a:cubicBezTo>
                  <a:cubicBezTo>
                    <a:pt x="74" y="515"/>
                    <a:pt x="77" y="514"/>
                    <a:pt x="79" y="513"/>
                  </a:cubicBezTo>
                  <a:cubicBezTo>
                    <a:pt x="146" y="461"/>
                    <a:pt x="146" y="461"/>
                    <a:pt x="146" y="461"/>
                  </a:cubicBezTo>
                  <a:cubicBezTo>
                    <a:pt x="158" y="476"/>
                    <a:pt x="176" y="485"/>
                    <a:pt x="195" y="485"/>
                  </a:cubicBezTo>
                  <a:cubicBezTo>
                    <a:pt x="200" y="485"/>
                    <a:pt x="205" y="484"/>
                    <a:pt x="210" y="483"/>
                  </a:cubicBezTo>
                  <a:cubicBezTo>
                    <a:pt x="232" y="477"/>
                    <a:pt x="232" y="477"/>
                    <a:pt x="232" y="477"/>
                  </a:cubicBezTo>
                  <a:cubicBezTo>
                    <a:pt x="248" y="473"/>
                    <a:pt x="261" y="463"/>
                    <a:pt x="269" y="449"/>
                  </a:cubicBezTo>
                  <a:cubicBezTo>
                    <a:pt x="269" y="449"/>
                    <a:pt x="269" y="448"/>
                    <a:pt x="270" y="448"/>
                  </a:cubicBezTo>
                  <a:cubicBezTo>
                    <a:pt x="275" y="458"/>
                    <a:pt x="283" y="467"/>
                    <a:pt x="293" y="473"/>
                  </a:cubicBezTo>
                  <a:cubicBezTo>
                    <a:pt x="303" y="478"/>
                    <a:pt x="313" y="481"/>
                    <a:pt x="324" y="481"/>
                  </a:cubicBezTo>
                  <a:cubicBezTo>
                    <a:pt x="329" y="481"/>
                    <a:pt x="334" y="480"/>
                    <a:pt x="339" y="479"/>
                  </a:cubicBezTo>
                  <a:cubicBezTo>
                    <a:pt x="615" y="407"/>
                    <a:pt x="615" y="407"/>
                    <a:pt x="615" y="407"/>
                  </a:cubicBezTo>
                  <a:cubicBezTo>
                    <a:pt x="647" y="530"/>
                    <a:pt x="647" y="530"/>
                    <a:pt x="647" y="530"/>
                  </a:cubicBezTo>
                  <a:cubicBezTo>
                    <a:pt x="635" y="539"/>
                    <a:pt x="628" y="553"/>
                    <a:pt x="628" y="568"/>
                  </a:cubicBezTo>
                  <a:cubicBezTo>
                    <a:pt x="628" y="594"/>
                    <a:pt x="648" y="614"/>
                    <a:pt x="674" y="614"/>
                  </a:cubicBezTo>
                  <a:cubicBezTo>
                    <a:pt x="687" y="614"/>
                    <a:pt x="699" y="609"/>
                    <a:pt x="707" y="600"/>
                  </a:cubicBezTo>
                  <a:cubicBezTo>
                    <a:pt x="881" y="666"/>
                    <a:pt x="881" y="666"/>
                    <a:pt x="881" y="666"/>
                  </a:cubicBezTo>
                  <a:cubicBezTo>
                    <a:pt x="891" y="642"/>
                    <a:pt x="891" y="642"/>
                    <a:pt x="891" y="642"/>
                  </a:cubicBezTo>
                  <a:cubicBezTo>
                    <a:pt x="719" y="576"/>
                    <a:pt x="719" y="576"/>
                    <a:pt x="719" y="576"/>
                  </a:cubicBezTo>
                  <a:cubicBezTo>
                    <a:pt x="720" y="574"/>
                    <a:pt x="720" y="571"/>
                    <a:pt x="720" y="568"/>
                  </a:cubicBezTo>
                  <a:cubicBezTo>
                    <a:pt x="720" y="543"/>
                    <a:pt x="699" y="522"/>
                    <a:pt x="674" y="522"/>
                  </a:cubicBezTo>
                  <a:cubicBezTo>
                    <a:pt x="673" y="522"/>
                    <a:pt x="673" y="522"/>
                    <a:pt x="672" y="522"/>
                  </a:cubicBezTo>
                  <a:cubicBezTo>
                    <a:pt x="640" y="400"/>
                    <a:pt x="640" y="400"/>
                    <a:pt x="640" y="400"/>
                  </a:cubicBezTo>
                  <a:cubicBezTo>
                    <a:pt x="939" y="322"/>
                    <a:pt x="939" y="322"/>
                    <a:pt x="939" y="322"/>
                  </a:cubicBezTo>
                  <a:cubicBezTo>
                    <a:pt x="939" y="322"/>
                    <a:pt x="939" y="322"/>
                    <a:pt x="939" y="322"/>
                  </a:cubicBezTo>
                  <a:cubicBezTo>
                    <a:pt x="971" y="314"/>
                    <a:pt x="991" y="280"/>
                    <a:pt x="982" y="248"/>
                  </a:cubicBezTo>
                  <a:lnTo>
                    <a:pt x="931" y="52"/>
                  </a:lnTo>
                  <a:close/>
                  <a:moveTo>
                    <a:pt x="694" y="568"/>
                  </a:moveTo>
                  <a:cubicBezTo>
                    <a:pt x="694" y="579"/>
                    <a:pt x="685" y="588"/>
                    <a:pt x="674" y="588"/>
                  </a:cubicBezTo>
                  <a:cubicBezTo>
                    <a:pt x="663" y="588"/>
                    <a:pt x="654" y="579"/>
                    <a:pt x="654" y="568"/>
                  </a:cubicBezTo>
                  <a:cubicBezTo>
                    <a:pt x="654" y="557"/>
                    <a:pt x="663" y="548"/>
                    <a:pt x="674" y="548"/>
                  </a:cubicBezTo>
                  <a:cubicBezTo>
                    <a:pt x="685" y="548"/>
                    <a:pt x="694" y="557"/>
                    <a:pt x="694" y="568"/>
                  </a:cubicBezTo>
                  <a:close/>
                  <a:moveTo>
                    <a:pt x="78" y="480"/>
                  </a:moveTo>
                  <a:cubicBezTo>
                    <a:pt x="32" y="319"/>
                    <a:pt x="32" y="319"/>
                    <a:pt x="32" y="319"/>
                  </a:cubicBezTo>
                  <a:cubicBezTo>
                    <a:pt x="105" y="325"/>
                    <a:pt x="105" y="325"/>
                    <a:pt x="105" y="325"/>
                  </a:cubicBezTo>
                  <a:cubicBezTo>
                    <a:pt x="123" y="389"/>
                    <a:pt x="123" y="389"/>
                    <a:pt x="123" y="389"/>
                  </a:cubicBezTo>
                  <a:cubicBezTo>
                    <a:pt x="135" y="436"/>
                    <a:pt x="135" y="436"/>
                    <a:pt x="135" y="436"/>
                  </a:cubicBezTo>
                  <a:lnTo>
                    <a:pt x="78" y="480"/>
                  </a:lnTo>
                  <a:close/>
                  <a:moveTo>
                    <a:pt x="247" y="436"/>
                  </a:moveTo>
                  <a:cubicBezTo>
                    <a:pt x="242" y="444"/>
                    <a:pt x="234" y="450"/>
                    <a:pt x="225" y="452"/>
                  </a:cubicBezTo>
                  <a:cubicBezTo>
                    <a:pt x="204" y="458"/>
                    <a:pt x="204" y="458"/>
                    <a:pt x="204" y="458"/>
                  </a:cubicBezTo>
                  <a:cubicBezTo>
                    <a:pt x="187" y="462"/>
                    <a:pt x="170" y="454"/>
                    <a:pt x="163" y="439"/>
                  </a:cubicBezTo>
                  <a:cubicBezTo>
                    <a:pt x="163" y="438"/>
                    <a:pt x="163" y="438"/>
                    <a:pt x="163" y="438"/>
                  </a:cubicBezTo>
                  <a:cubicBezTo>
                    <a:pt x="148" y="382"/>
                    <a:pt x="148" y="382"/>
                    <a:pt x="148" y="382"/>
                  </a:cubicBezTo>
                  <a:cubicBezTo>
                    <a:pt x="128" y="306"/>
                    <a:pt x="128" y="306"/>
                    <a:pt x="128" y="306"/>
                  </a:cubicBezTo>
                  <a:cubicBezTo>
                    <a:pt x="123" y="288"/>
                    <a:pt x="134" y="269"/>
                    <a:pt x="153" y="264"/>
                  </a:cubicBezTo>
                  <a:cubicBezTo>
                    <a:pt x="175" y="258"/>
                    <a:pt x="175" y="258"/>
                    <a:pt x="175" y="258"/>
                  </a:cubicBezTo>
                  <a:cubicBezTo>
                    <a:pt x="178" y="257"/>
                    <a:pt x="180" y="257"/>
                    <a:pt x="183" y="257"/>
                  </a:cubicBezTo>
                  <a:cubicBezTo>
                    <a:pt x="199" y="257"/>
                    <a:pt x="213" y="267"/>
                    <a:pt x="217" y="283"/>
                  </a:cubicBezTo>
                  <a:cubicBezTo>
                    <a:pt x="250" y="409"/>
                    <a:pt x="250" y="409"/>
                    <a:pt x="250" y="409"/>
                  </a:cubicBezTo>
                  <a:cubicBezTo>
                    <a:pt x="253" y="418"/>
                    <a:pt x="251" y="428"/>
                    <a:pt x="247" y="436"/>
                  </a:cubicBezTo>
                  <a:close/>
                  <a:moveTo>
                    <a:pt x="932" y="297"/>
                  </a:moveTo>
                  <a:cubicBezTo>
                    <a:pt x="932" y="297"/>
                    <a:pt x="932" y="297"/>
                    <a:pt x="932" y="297"/>
                  </a:cubicBezTo>
                  <a:cubicBezTo>
                    <a:pt x="333" y="454"/>
                    <a:pt x="333" y="454"/>
                    <a:pt x="333" y="454"/>
                  </a:cubicBezTo>
                  <a:cubicBezTo>
                    <a:pt x="324" y="456"/>
                    <a:pt x="314" y="455"/>
                    <a:pt x="306" y="450"/>
                  </a:cubicBezTo>
                  <a:cubicBezTo>
                    <a:pt x="298" y="446"/>
                    <a:pt x="292" y="438"/>
                    <a:pt x="290" y="429"/>
                  </a:cubicBezTo>
                  <a:cubicBezTo>
                    <a:pt x="239" y="234"/>
                    <a:pt x="239" y="234"/>
                    <a:pt x="239" y="234"/>
                  </a:cubicBezTo>
                  <a:cubicBezTo>
                    <a:pt x="234" y="215"/>
                    <a:pt x="245" y="196"/>
                    <a:pt x="264" y="191"/>
                  </a:cubicBezTo>
                  <a:cubicBezTo>
                    <a:pt x="863" y="34"/>
                    <a:pt x="863" y="34"/>
                    <a:pt x="863" y="34"/>
                  </a:cubicBezTo>
                  <a:cubicBezTo>
                    <a:pt x="866" y="33"/>
                    <a:pt x="869" y="33"/>
                    <a:pt x="872" y="33"/>
                  </a:cubicBezTo>
                  <a:cubicBezTo>
                    <a:pt x="887" y="33"/>
                    <a:pt x="902" y="43"/>
                    <a:pt x="906" y="59"/>
                  </a:cubicBezTo>
                  <a:cubicBezTo>
                    <a:pt x="911" y="80"/>
                    <a:pt x="911" y="80"/>
                    <a:pt x="911" y="80"/>
                  </a:cubicBezTo>
                  <a:cubicBezTo>
                    <a:pt x="395" y="214"/>
                    <a:pt x="395" y="214"/>
                    <a:pt x="395" y="214"/>
                  </a:cubicBezTo>
                  <a:cubicBezTo>
                    <a:pt x="402" y="240"/>
                    <a:pt x="402" y="240"/>
                    <a:pt x="402" y="240"/>
                  </a:cubicBezTo>
                  <a:cubicBezTo>
                    <a:pt x="918" y="105"/>
                    <a:pt x="918" y="105"/>
                    <a:pt x="918" y="105"/>
                  </a:cubicBezTo>
                  <a:cubicBezTo>
                    <a:pt x="957" y="254"/>
                    <a:pt x="957" y="254"/>
                    <a:pt x="957" y="254"/>
                  </a:cubicBezTo>
                  <a:cubicBezTo>
                    <a:pt x="962" y="273"/>
                    <a:pt x="951" y="292"/>
                    <a:pt x="932" y="2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oup 78"/>
          <p:cNvGrpSpPr>
            <a:grpSpLocks noChangeAspect="1"/>
          </p:cNvGrpSpPr>
          <p:nvPr/>
        </p:nvGrpSpPr>
        <p:grpSpPr bwMode="auto">
          <a:xfrm>
            <a:off x="3646488" y="304800"/>
            <a:ext cx="768096" cy="768096"/>
            <a:chOff x="2297" y="192"/>
            <a:chExt cx="530" cy="530"/>
          </a:xfrm>
        </p:grpSpPr>
        <p:sp>
          <p:nvSpPr>
            <p:cNvPr id="46144" name="AutoShape 77"/>
            <p:cNvSpPr>
              <a:spLocks noChangeAspect="1" noChangeArrowheads="1" noTextEdit="1"/>
            </p:cNvSpPr>
            <p:nvPr/>
          </p:nvSpPr>
          <p:spPr bwMode="auto">
            <a:xfrm>
              <a:off x="2297" y="19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5" name="Freeform 79"/>
            <p:cNvSpPr>
              <a:spLocks noEditPoints="1"/>
            </p:cNvSpPr>
            <p:nvPr/>
          </p:nvSpPr>
          <p:spPr bwMode="auto">
            <a:xfrm>
              <a:off x="2297" y="192"/>
              <a:ext cx="530" cy="53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6" name="Freeform 80"/>
            <p:cNvSpPr>
              <a:spLocks noEditPoints="1"/>
            </p:cNvSpPr>
            <p:nvPr/>
          </p:nvSpPr>
          <p:spPr bwMode="auto">
            <a:xfrm>
              <a:off x="2380" y="342"/>
              <a:ext cx="356" cy="240"/>
            </a:xfrm>
            <a:custGeom>
              <a:avLst/>
              <a:gdLst>
                <a:gd name="T0" fmla="*/ 857 w 991"/>
                <a:gd name="T1" fmla="*/ 9 h 666"/>
                <a:gd name="T2" fmla="*/ 213 w 991"/>
                <a:gd name="T3" fmla="*/ 239 h 666"/>
                <a:gd name="T4" fmla="*/ 146 w 991"/>
                <a:gd name="T5" fmla="*/ 239 h 666"/>
                <a:gd name="T6" fmla="*/ 101 w 991"/>
                <a:gd name="T7" fmla="*/ 298 h 666"/>
                <a:gd name="T8" fmla="*/ 4 w 991"/>
                <a:gd name="T9" fmla="*/ 296 h 666"/>
                <a:gd name="T10" fmla="*/ 59 w 991"/>
                <a:gd name="T11" fmla="*/ 506 h 666"/>
                <a:gd name="T12" fmla="*/ 71 w 991"/>
                <a:gd name="T13" fmla="*/ 515 h 666"/>
                <a:gd name="T14" fmla="*/ 146 w 991"/>
                <a:gd name="T15" fmla="*/ 461 h 666"/>
                <a:gd name="T16" fmla="*/ 210 w 991"/>
                <a:gd name="T17" fmla="*/ 483 h 666"/>
                <a:gd name="T18" fmla="*/ 269 w 991"/>
                <a:gd name="T19" fmla="*/ 449 h 666"/>
                <a:gd name="T20" fmla="*/ 293 w 991"/>
                <a:gd name="T21" fmla="*/ 473 h 666"/>
                <a:gd name="T22" fmla="*/ 339 w 991"/>
                <a:gd name="T23" fmla="*/ 479 h 666"/>
                <a:gd name="T24" fmla="*/ 647 w 991"/>
                <a:gd name="T25" fmla="*/ 530 h 666"/>
                <a:gd name="T26" fmla="*/ 674 w 991"/>
                <a:gd name="T27" fmla="*/ 614 h 666"/>
                <a:gd name="T28" fmla="*/ 881 w 991"/>
                <a:gd name="T29" fmla="*/ 666 h 666"/>
                <a:gd name="T30" fmla="*/ 719 w 991"/>
                <a:gd name="T31" fmla="*/ 576 h 666"/>
                <a:gd name="T32" fmla="*/ 674 w 991"/>
                <a:gd name="T33" fmla="*/ 522 h 666"/>
                <a:gd name="T34" fmla="*/ 640 w 991"/>
                <a:gd name="T35" fmla="*/ 400 h 666"/>
                <a:gd name="T36" fmla="*/ 939 w 991"/>
                <a:gd name="T37" fmla="*/ 322 h 666"/>
                <a:gd name="T38" fmla="*/ 931 w 991"/>
                <a:gd name="T39" fmla="*/ 52 h 666"/>
                <a:gd name="T40" fmla="*/ 674 w 991"/>
                <a:gd name="T41" fmla="*/ 588 h 666"/>
                <a:gd name="T42" fmla="*/ 674 w 991"/>
                <a:gd name="T43" fmla="*/ 548 h 666"/>
                <a:gd name="T44" fmla="*/ 78 w 991"/>
                <a:gd name="T45" fmla="*/ 480 h 666"/>
                <a:gd name="T46" fmla="*/ 105 w 991"/>
                <a:gd name="T47" fmla="*/ 325 h 666"/>
                <a:gd name="T48" fmla="*/ 135 w 991"/>
                <a:gd name="T49" fmla="*/ 436 h 666"/>
                <a:gd name="T50" fmla="*/ 247 w 991"/>
                <a:gd name="T51" fmla="*/ 436 h 666"/>
                <a:gd name="T52" fmla="*/ 204 w 991"/>
                <a:gd name="T53" fmla="*/ 458 h 666"/>
                <a:gd name="T54" fmla="*/ 163 w 991"/>
                <a:gd name="T55" fmla="*/ 438 h 666"/>
                <a:gd name="T56" fmla="*/ 128 w 991"/>
                <a:gd name="T57" fmla="*/ 306 h 666"/>
                <a:gd name="T58" fmla="*/ 175 w 991"/>
                <a:gd name="T59" fmla="*/ 258 h 666"/>
                <a:gd name="T60" fmla="*/ 217 w 991"/>
                <a:gd name="T61" fmla="*/ 283 h 666"/>
                <a:gd name="T62" fmla="*/ 247 w 991"/>
                <a:gd name="T63" fmla="*/ 436 h 666"/>
                <a:gd name="T64" fmla="*/ 932 w 991"/>
                <a:gd name="T65" fmla="*/ 297 h 666"/>
                <a:gd name="T66" fmla="*/ 306 w 991"/>
                <a:gd name="T67" fmla="*/ 450 h 666"/>
                <a:gd name="T68" fmla="*/ 239 w 991"/>
                <a:gd name="T69" fmla="*/ 234 h 666"/>
                <a:gd name="T70" fmla="*/ 863 w 991"/>
                <a:gd name="T71" fmla="*/ 34 h 666"/>
                <a:gd name="T72" fmla="*/ 906 w 991"/>
                <a:gd name="T73" fmla="*/ 59 h 666"/>
                <a:gd name="T74" fmla="*/ 395 w 991"/>
                <a:gd name="T75" fmla="*/ 214 h 666"/>
                <a:gd name="T76" fmla="*/ 918 w 991"/>
                <a:gd name="T77" fmla="*/ 105 h 666"/>
                <a:gd name="T78" fmla="*/ 932 w 991"/>
                <a:gd name="T79" fmla="*/ 29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91" h="666">
                  <a:moveTo>
                    <a:pt x="931" y="52"/>
                  </a:moveTo>
                  <a:cubicBezTo>
                    <a:pt x="922" y="20"/>
                    <a:pt x="889" y="0"/>
                    <a:pt x="857" y="9"/>
                  </a:cubicBezTo>
                  <a:cubicBezTo>
                    <a:pt x="257" y="166"/>
                    <a:pt x="257" y="166"/>
                    <a:pt x="257" y="166"/>
                  </a:cubicBezTo>
                  <a:cubicBezTo>
                    <a:pt x="225" y="174"/>
                    <a:pt x="206" y="207"/>
                    <a:pt x="213" y="239"/>
                  </a:cubicBezTo>
                  <a:cubicBezTo>
                    <a:pt x="200" y="231"/>
                    <a:pt x="184" y="229"/>
                    <a:pt x="168" y="233"/>
                  </a:cubicBezTo>
                  <a:cubicBezTo>
                    <a:pt x="146" y="239"/>
                    <a:pt x="146" y="239"/>
                    <a:pt x="146" y="239"/>
                  </a:cubicBezTo>
                  <a:cubicBezTo>
                    <a:pt x="131" y="243"/>
                    <a:pt x="118" y="253"/>
                    <a:pt x="109" y="267"/>
                  </a:cubicBezTo>
                  <a:cubicBezTo>
                    <a:pt x="104" y="276"/>
                    <a:pt x="101" y="287"/>
                    <a:pt x="101" y="298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1" y="291"/>
                    <a:pt x="7" y="293"/>
                    <a:pt x="4" y="296"/>
                  </a:cubicBezTo>
                  <a:cubicBezTo>
                    <a:pt x="1" y="300"/>
                    <a:pt x="0" y="304"/>
                    <a:pt x="1" y="308"/>
                  </a:cubicBezTo>
                  <a:cubicBezTo>
                    <a:pt x="59" y="506"/>
                    <a:pt x="59" y="506"/>
                    <a:pt x="59" y="506"/>
                  </a:cubicBezTo>
                  <a:cubicBezTo>
                    <a:pt x="60" y="510"/>
                    <a:pt x="63" y="513"/>
                    <a:pt x="67" y="515"/>
                  </a:cubicBezTo>
                  <a:cubicBezTo>
                    <a:pt x="69" y="515"/>
                    <a:pt x="70" y="515"/>
                    <a:pt x="71" y="515"/>
                  </a:cubicBezTo>
                  <a:cubicBezTo>
                    <a:pt x="74" y="515"/>
                    <a:pt x="77" y="514"/>
                    <a:pt x="79" y="513"/>
                  </a:cubicBezTo>
                  <a:cubicBezTo>
                    <a:pt x="146" y="461"/>
                    <a:pt x="146" y="461"/>
                    <a:pt x="146" y="461"/>
                  </a:cubicBezTo>
                  <a:cubicBezTo>
                    <a:pt x="158" y="476"/>
                    <a:pt x="176" y="485"/>
                    <a:pt x="195" y="485"/>
                  </a:cubicBezTo>
                  <a:cubicBezTo>
                    <a:pt x="200" y="485"/>
                    <a:pt x="205" y="484"/>
                    <a:pt x="210" y="483"/>
                  </a:cubicBezTo>
                  <a:cubicBezTo>
                    <a:pt x="232" y="477"/>
                    <a:pt x="232" y="477"/>
                    <a:pt x="232" y="477"/>
                  </a:cubicBezTo>
                  <a:cubicBezTo>
                    <a:pt x="248" y="473"/>
                    <a:pt x="261" y="463"/>
                    <a:pt x="269" y="449"/>
                  </a:cubicBezTo>
                  <a:cubicBezTo>
                    <a:pt x="269" y="449"/>
                    <a:pt x="269" y="448"/>
                    <a:pt x="270" y="448"/>
                  </a:cubicBezTo>
                  <a:cubicBezTo>
                    <a:pt x="275" y="458"/>
                    <a:pt x="283" y="467"/>
                    <a:pt x="293" y="473"/>
                  </a:cubicBezTo>
                  <a:cubicBezTo>
                    <a:pt x="303" y="478"/>
                    <a:pt x="313" y="481"/>
                    <a:pt x="324" y="481"/>
                  </a:cubicBezTo>
                  <a:cubicBezTo>
                    <a:pt x="329" y="481"/>
                    <a:pt x="334" y="480"/>
                    <a:pt x="339" y="479"/>
                  </a:cubicBezTo>
                  <a:cubicBezTo>
                    <a:pt x="615" y="407"/>
                    <a:pt x="615" y="407"/>
                    <a:pt x="615" y="407"/>
                  </a:cubicBezTo>
                  <a:cubicBezTo>
                    <a:pt x="647" y="530"/>
                    <a:pt x="647" y="530"/>
                    <a:pt x="647" y="530"/>
                  </a:cubicBezTo>
                  <a:cubicBezTo>
                    <a:pt x="635" y="539"/>
                    <a:pt x="628" y="553"/>
                    <a:pt x="628" y="568"/>
                  </a:cubicBezTo>
                  <a:cubicBezTo>
                    <a:pt x="628" y="594"/>
                    <a:pt x="648" y="614"/>
                    <a:pt x="674" y="614"/>
                  </a:cubicBezTo>
                  <a:cubicBezTo>
                    <a:pt x="687" y="614"/>
                    <a:pt x="699" y="609"/>
                    <a:pt x="707" y="600"/>
                  </a:cubicBezTo>
                  <a:cubicBezTo>
                    <a:pt x="881" y="666"/>
                    <a:pt x="881" y="666"/>
                    <a:pt x="881" y="666"/>
                  </a:cubicBezTo>
                  <a:cubicBezTo>
                    <a:pt x="891" y="642"/>
                    <a:pt x="891" y="642"/>
                    <a:pt x="891" y="642"/>
                  </a:cubicBezTo>
                  <a:cubicBezTo>
                    <a:pt x="719" y="576"/>
                    <a:pt x="719" y="576"/>
                    <a:pt x="719" y="576"/>
                  </a:cubicBezTo>
                  <a:cubicBezTo>
                    <a:pt x="720" y="574"/>
                    <a:pt x="720" y="571"/>
                    <a:pt x="720" y="568"/>
                  </a:cubicBezTo>
                  <a:cubicBezTo>
                    <a:pt x="720" y="543"/>
                    <a:pt x="699" y="522"/>
                    <a:pt x="674" y="522"/>
                  </a:cubicBezTo>
                  <a:cubicBezTo>
                    <a:pt x="673" y="522"/>
                    <a:pt x="673" y="522"/>
                    <a:pt x="672" y="522"/>
                  </a:cubicBezTo>
                  <a:cubicBezTo>
                    <a:pt x="640" y="400"/>
                    <a:pt x="640" y="400"/>
                    <a:pt x="640" y="400"/>
                  </a:cubicBezTo>
                  <a:cubicBezTo>
                    <a:pt x="939" y="322"/>
                    <a:pt x="939" y="322"/>
                    <a:pt x="939" y="322"/>
                  </a:cubicBezTo>
                  <a:cubicBezTo>
                    <a:pt x="939" y="322"/>
                    <a:pt x="939" y="322"/>
                    <a:pt x="939" y="322"/>
                  </a:cubicBezTo>
                  <a:cubicBezTo>
                    <a:pt x="971" y="314"/>
                    <a:pt x="991" y="280"/>
                    <a:pt x="982" y="248"/>
                  </a:cubicBezTo>
                  <a:lnTo>
                    <a:pt x="931" y="52"/>
                  </a:lnTo>
                  <a:close/>
                  <a:moveTo>
                    <a:pt x="694" y="568"/>
                  </a:moveTo>
                  <a:cubicBezTo>
                    <a:pt x="694" y="579"/>
                    <a:pt x="685" y="588"/>
                    <a:pt x="674" y="588"/>
                  </a:cubicBezTo>
                  <a:cubicBezTo>
                    <a:pt x="663" y="588"/>
                    <a:pt x="654" y="579"/>
                    <a:pt x="654" y="568"/>
                  </a:cubicBezTo>
                  <a:cubicBezTo>
                    <a:pt x="654" y="557"/>
                    <a:pt x="663" y="548"/>
                    <a:pt x="674" y="548"/>
                  </a:cubicBezTo>
                  <a:cubicBezTo>
                    <a:pt x="685" y="548"/>
                    <a:pt x="694" y="557"/>
                    <a:pt x="694" y="568"/>
                  </a:cubicBezTo>
                  <a:close/>
                  <a:moveTo>
                    <a:pt x="78" y="480"/>
                  </a:moveTo>
                  <a:cubicBezTo>
                    <a:pt x="32" y="319"/>
                    <a:pt x="32" y="319"/>
                    <a:pt x="32" y="319"/>
                  </a:cubicBezTo>
                  <a:cubicBezTo>
                    <a:pt x="105" y="325"/>
                    <a:pt x="105" y="325"/>
                    <a:pt x="105" y="325"/>
                  </a:cubicBezTo>
                  <a:cubicBezTo>
                    <a:pt x="123" y="389"/>
                    <a:pt x="123" y="389"/>
                    <a:pt x="123" y="389"/>
                  </a:cubicBezTo>
                  <a:cubicBezTo>
                    <a:pt x="135" y="436"/>
                    <a:pt x="135" y="436"/>
                    <a:pt x="135" y="436"/>
                  </a:cubicBezTo>
                  <a:lnTo>
                    <a:pt x="78" y="480"/>
                  </a:lnTo>
                  <a:close/>
                  <a:moveTo>
                    <a:pt x="247" y="436"/>
                  </a:moveTo>
                  <a:cubicBezTo>
                    <a:pt x="242" y="444"/>
                    <a:pt x="234" y="450"/>
                    <a:pt x="225" y="452"/>
                  </a:cubicBezTo>
                  <a:cubicBezTo>
                    <a:pt x="204" y="458"/>
                    <a:pt x="204" y="458"/>
                    <a:pt x="204" y="458"/>
                  </a:cubicBezTo>
                  <a:cubicBezTo>
                    <a:pt x="187" y="462"/>
                    <a:pt x="170" y="454"/>
                    <a:pt x="163" y="439"/>
                  </a:cubicBezTo>
                  <a:cubicBezTo>
                    <a:pt x="163" y="438"/>
                    <a:pt x="163" y="438"/>
                    <a:pt x="163" y="438"/>
                  </a:cubicBezTo>
                  <a:cubicBezTo>
                    <a:pt x="148" y="382"/>
                    <a:pt x="148" y="382"/>
                    <a:pt x="148" y="382"/>
                  </a:cubicBezTo>
                  <a:cubicBezTo>
                    <a:pt x="128" y="306"/>
                    <a:pt x="128" y="306"/>
                    <a:pt x="128" y="306"/>
                  </a:cubicBezTo>
                  <a:cubicBezTo>
                    <a:pt x="123" y="288"/>
                    <a:pt x="134" y="269"/>
                    <a:pt x="153" y="264"/>
                  </a:cubicBezTo>
                  <a:cubicBezTo>
                    <a:pt x="175" y="258"/>
                    <a:pt x="175" y="258"/>
                    <a:pt x="175" y="258"/>
                  </a:cubicBezTo>
                  <a:cubicBezTo>
                    <a:pt x="178" y="257"/>
                    <a:pt x="180" y="257"/>
                    <a:pt x="183" y="257"/>
                  </a:cubicBezTo>
                  <a:cubicBezTo>
                    <a:pt x="199" y="257"/>
                    <a:pt x="213" y="267"/>
                    <a:pt x="217" y="283"/>
                  </a:cubicBezTo>
                  <a:cubicBezTo>
                    <a:pt x="250" y="409"/>
                    <a:pt x="250" y="409"/>
                    <a:pt x="250" y="409"/>
                  </a:cubicBezTo>
                  <a:cubicBezTo>
                    <a:pt x="253" y="418"/>
                    <a:pt x="251" y="428"/>
                    <a:pt x="247" y="436"/>
                  </a:cubicBezTo>
                  <a:close/>
                  <a:moveTo>
                    <a:pt x="932" y="297"/>
                  </a:moveTo>
                  <a:cubicBezTo>
                    <a:pt x="932" y="297"/>
                    <a:pt x="932" y="297"/>
                    <a:pt x="932" y="297"/>
                  </a:cubicBezTo>
                  <a:cubicBezTo>
                    <a:pt x="333" y="454"/>
                    <a:pt x="333" y="454"/>
                    <a:pt x="333" y="454"/>
                  </a:cubicBezTo>
                  <a:cubicBezTo>
                    <a:pt x="324" y="456"/>
                    <a:pt x="314" y="455"/>
                    <a:pt x="306" y="450"/>
                  </a:cubicBezTo>
                  <a:cubicBezTo>
                    <a:pt x="298" y="446"/>
                    <a:pt x="292" y="438"/>
                    <a:pt x="290" y="429"/>
                  </a:cubicBezTo>
                  <a:cubicBezTo>
                    <a:pt x="239" y="234"/>
                    <a:pt x="239" y="234"/>
                    <a:pt x="239" y="234"/>
                  </a:cubicBezTo>
                  <a:cubicBezTo>
                    <a:pt x="234" y="215"/>
                    <a:pt x="245" y="196"/>
                    <a:pt x="264" y="191"/>
                  </a:cubicBezTo>
                  <a:cubicBezTo>
                    <a:pt x="863" y="34"/>
                    <a:pt x="863" y="34"/>
                    <a:pt x="863" y="34"/>
                  </a:cubicBezTo>
                  <a:cubicBezTo>
                    <a:pt x="866" y="33"/>
                    <a:pt x="869" y="33"/>
                    <a:pt x="872" y="33"/>
                  </a:cubicBezTo>
                  <a:cubicBezTo>
                    <a:pt x="887" y="33"/>
                    <a:pt x="902" y="43"/>
                    <a:pt x="906" y="59"/>
                  </a:cubicBezTo>
                  <a:cubicBezTo>
                    <a:pt x="911" y="80"/>
                    <a:pt x="911" y="80"/>
                    <a:pt x="911" y="80"/>
                  </a:cubicBezTo>
                  <a:cubicBezTo>
                    <a:pt x="395" y="214"/>
                    <a:pt x="395" y="214"/>
                    <a:pt x="395" y="214"/>
                  </a:cubicBezTo>
                  <a:cubicBezTo>
                    <a:pt x="402" y="240"/>
                    <a:pt x="402" y="240"/>
                    <a:pt x="402" y="240"/>
                  </a:cubicBezTo>
                  <a:cubicBezTo>
                    <a:pt x="918" y="105"/>
                    <a:pt x="918" y="105"/>
                    <a:pt x="918" y="105"/>
                  </a:cubicBezTo>
                  <a:cubicBezTo>
                    <a:pt x="957" y="254"/>
                    <a:pt x="957" y="254"/>
                    <a:pt x="957" y="254"/>
                  </a:cubicBezTo>
                  <a:cubicBezTo>
                    <a:pt x="962" y="273"/>
                    <a:pt x="951" y="292"/>
                    <a:pt x="932" y="29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147" name="Group 85"/>
          <p:cNvGrpSpPr>
            <a:grpSpLocks noChangeAspect="1"/>
          </p:cNvGrpSpPr>
          <p:nvPr/>
        </p:nvGrpSpPr>
        <p:grpSpPr bwMode="auto">
          <a:xfrm>
            <a:off x="7995293" y="313253"/>
            <a:ext cx="768096" cy="768096"/>
            <a:chOff x="1979" y="1323"/>
            <a:chExt cx="530" cy="530"/>
          </a:xfrm>
        </p:grpSpPr>
        <p:sp>
          <p:nvSpPr>
            <p:cNvPr id="46148" name="AutoShape 84"/>
            <p:cNvSpPr>
              <a:spLocks noChangeAspect="1" noChangeArrowheads="1" noTextEdit="1"/>
            </p:cNvSpPr>
            <p:nvPr/>
          </p:nvSpPr>
          <p:spPr bwMode="auto">
            <a:xfrm>
              <a:off x="1979" y="132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9" name="Freeform 86"/>
            <p:cNvSpPr>
              <a:spLocks noEditPoints="1"/>
            </p:cNvSpPr>
            <p:nvPr/>
          </p:nvSpPr>
          <p:spPr bwMode="auto">
            <a:xfrm>
              <a:off x="1979" y="1323"/>
              <a:ext cx="530" cy="53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0" name="Freeform 87"/>
            <p:cNvSpPr>
              <a:spLocks noEditPoints="1"/>
            </p:cNvSpPr>
            <p:nvPr/>
          </p:nvSpPr>
          <p:spPr bwMode="auto">
            <a:xfrm>
              <a:off x="2133" y="1431"/>
              <a:ext cx="220" cy="128"/>
            </a:xfrm>
            <a:custGeom>
              <a:avLst/>
              <a:gdLst>
                <a:gd name="T0" fmla="*/ 122 w 612"/>
                <a:gd name="T1" fmla="*/ 234 h 356"/>
                <a:gd name="T2" fmla="*/ 126 w 612"/>
                <a:gd name="T3" fmla="*/ 245 h 356"/>
                <a:gd name="T4" fmla="*/ 206 w 612"/>
                <a:gd name="T5" fmla="*/ 349 h 356"/>
                <a:gd name="T6" fmla="*/ 220 w 612"/>
                <a:gd name="T7" fmla="*/ 356 h 356"/>
                <a:gd name="T8" fmla="*/ 231 w 612"/>
                <a:gd name="T9" fmla="*/ 353 h 356"/>
                <a:gd name="T10" fmla="*/ 234 w 612"/>
                <a:gd name="T11" fmla="*/ 327 h 356"/>
                <a:gd name="T12" fmla="*/ 158 w 612"/>
                <a:gd name="T13" fmla="*/ 228 h 356"/>
                <a:gd name="T14" fmla="*/ 158 w 612"/>
                <a:gd name="T15" fmla="*/ 140 h 356"/>
                <a:gd name="T16" fmla="*/ 456 w 612"/>
                <a:gd name="T17" fmla="*/ 140 h 356"/>
                <a:gd name="T18" fmla="*/ 456 w 612"/>
                <a:gd name="T19" fmla="*/ 226 h 356"/>
                <a:gd name="T20" fmla="*/ 380 w 612"/>
                <a:gd name="T21" fmla="*/ 325 h 356"/>
                <a:gd name="T22" fmla="*/ 383 w 612"/>
                <a:gd name="T23" fmla="*/ 350 h 356"/>
                <a:gd name="T24" fmla="*/ 394 w 612"/>
                <a:gd name="T25" fmla="*/ 354 h 356"/>
                <a:gd name="T26" fmla="*/ 408 w 612"/>
                <a:gd name="T27" fmla="*/ 347 h 356"/>
                <a:gd name="T28" fmla="*/ 488 w 612"/>
                <a:gd name="T29" fmla="*/ 243 h 356"/>
                <a:gd name="T30" fmla="*/ 492 w 612"/>
                <a:gd name="T31" fmla="*/ 232 h 356"/>
                <a:gd name="T32" fmla="*/ 492 w 612"/>
                <a:gd name="T33" fmla="*/ 140 h 356"/>
                <a:gd name="T34" fmla="*/ 612 w 612"/>
                <a:gd name="T35" fmla="*/ 140 h 356"/>
                <a:gd name="T36" fmla="*/ 612 w 612"/>
                <a:gd name="T37" fmla="*/ 0 h 356"/>
                <a:gd name="T38" fmla="*/ 0 w 612"/>
                <a:gd name="T39" fmla="*/ 0 h 356"/>
                <a:gd name="T40" fmla="*/ 0 w 612"/>
                <a:gd name="T41" fmla="*/ 140 h 356"/>
                <a:gd name="T42" fmla="*/ 122 w 612"/>
                <a:gd name="T43" fmla="*/ 140 h 356"/>
                <a:gd name="T44" fmla="*/ 122 w 612"/>
                <a:gd name="T45" fmla="*/ 234 h 356"/>
                <a:gd name="T46" fmla="*/ 36 w 612"/>
                <a:gd name="T47" fmla="*/ 36 h 356"/>
                <a:gd name="T48" fmla="*/ 576 w 612"/>
                <a:gd name="T49" fmla="*/ 36 h 356"/>
                <a:gd name="T50" fmla="*/ 576 w 612"/>
                <a:gd name="T51" fmla="*/ 104 h 356"/>
                <a:gd name="T52" fmla="*/ 36 w 612"/>
                <a:gd name="T53" fmla="*/ 104 h 356"/>
                <a:gd name="T54" fmla="*/ 36 w 612"/>
                <a:gd name="T55" fmla="*/ 3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2" h="356">
                  <a:moveTo>
                    <a:pt x="122" y="234"/>
                  </a:moveTo>
                  <a:cubicBezTo>
                    <a:pt x="122" y="238"/>
                    <a:pt x="123" y="242"/>
                    <a:pt x="126" y="245"/>
                  </a:cubicBezTo>
                  <a:cubicBezTo>
                    <a:pt x="206" y="349"/>
                    <a:pt x="206" y="349"/>
                    <a:pt x="206" y="349"/>
                  </a:cubicBezTo>
                  <a:cubicBezTo>
                    <a:pt x="209" y="354"/>
                    <a:pt x="215" y="356"/>
                    <a:pt x="220" y="356"/>
                  </a:cubicBezTo>
                  <a:cubicBezTo>
                    <a:pt x="224" y="356"/>
                    <a:pt x="228" y="355"/>
                    <a:pt x="231" y="353"/>
                  </a:cubicBezTo>
                  <a:cubicBezTo>
                    <a:pt x="239" y="347"/>
                    <a:pt x="240" y="335"/>
                    <a:pt x="234" y="327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456" y="140"/>
                    <a:pt x="456" y="140"/>
                    <a:pt x="456" y="140"/>
                  </a:cubicBezTo>
                  <a:cubicBezTo>
                    <a:pt x="456" y="226"/>
                    <a:pt x="456" y="226"/>
                    <a:pt x="456" y="226"/>
                  </a:cubicBezTo>
                  <a:cubicBezTo>
                    <a:pt x="380" y="325"/>
                    <a:pt x="380" y="325"/>
                    <a:pt x="380" y="325"/>
                  </a:cubicBezTo>
                  <a:cubicBezTo>
                    <a:pt x="374" y="333"/>
                    <a:pt x="375" y="344"/>
                    <a:pt x="383" y="350"/>
                  </a:cubicBezTo>
                  <a:cubicBezTo>
                    <a:pt x="386" y="353"/>
                    <a:pt x="390" y="354"/>
                    <a:pt x="394" y="354"/>
                  </a:cubicBezTo>
                  <a:cubicBezTo>
                    <a:pt x="399" y="354"/>
                    <a:pt x="405" y="352"/>
                    <a:pt x="408" y="347"/>
                  </a:cubicBezTo>
                  <a:cubicBezTo>
                    <a:pt x="488" y="243"/>
                    <a:pt x="488" y="243"/>
                    <a:pt x="488" y="243"/>
                  </a:cubicBezTo>
                  <a:cubicBezTo>
                    <a:pt x="491" y="240"/>
                    <a:pt x="492" y="236"/>
                    <a:pt x="492" y="232"/>
                  </a:cubicBezTo>
                  <a:cubicBezTo>
                    <a:pt x="492" y="140"/>
                    <a:pt x="492" y="140"/>
                    <a:pt x="492" y="140"/>
                  </a:cubicBezTo>
                  <a:cubicBezTo>
                    <a:pt x="612" y="140"/>
                    <a:pt x="612" y="140"/>
                    <a:pt x="612" y="140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22" y="140"/>
                    <a:pt x="122" y="140"/>
                    <a:pt x="122" y="140"/>
                  </a:cubicBezTo>
                  <a:lnTo>
                    <a:pt x="122" y="234"/>
                  </a:lnTo>
                  <a:close/>
                  <a:moveTo>
                    <a:pt x="36" y="36"/>
                  </a:moveTo>
                  <a:cubicBezTo>
                    <a:pt x="576" y="36"/>
                    <a:pt x="576" y="36"/>
                    <a:pt x="576" y="36"/>
                  </a:cubicBezTo>
                  <a:cubicBezTo>
                    <a:pt x="576" y="104"/>
                    <a:pt x="576" y="104"/>
                    <a:pt x="576" y="104"/>
                  </a:cubicBezTo>
                  <a:cubicBezTo>
                    <a:pt x="36" y="104"/>
                    <a:pt x="36" y="104"/>
                    <a:pt x="36" y="104"/>
                  </a:cubicBezTo>
                  <a:lnTo>
                    <a:pt x="36" y="3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1" name="Freeform 88"/>
            <p:cNvSpPr>
              <a:spLocks noEditPoints="1"/>
            </p:cNvSpPr>
            <p:nvPr/>
          </p:nvSpPr>
          <p:spPr bwMode="auto">
            <a:xfrm>
              <a:off x="2180" y="1503"/>
              <a:ext cx="126" cy="94"/>
            </a:xfrm>
            <a:custGeom>
              <a:avLst/>
              <a:gdLst>
                <a:gd name="T0" fmla="*/ 157 w 350"/>
                <a:gd name="T1" fmla="*/ 0 h 264"/>
                <a:gd name="T2" fmla="*/ 157 w 350"/>
                <a:gd name="T3" fmla="*/ 166 h 264"/>
                <a:gd name="T4" fmla="*/ 66 w 350"/>
                <a:gd name="T5" fmla="*/ 166 h 264"/>
                <a:gd name="T6" fmla="*/ 0 w 350"/>
                <a:gd name="T7" fmla="*/ 232 h 264"/>
                <a:gd name="T8" fmla="*/ 0 w 350"/>
                <a:gd name="T9" fmla="*/ 264 h 264"/>
                <a:gd name="T10" fmla="*/ 350 w 350"/>
                <a:gd name="T11" fmla="*/ 264 h 264"/>
                <a:gd name="T12" fmla="*/ 350 w 350"/>
                <a:gd name="T13" fmla="*/ 232 h 264"/>
                <a:gd name="T14" fmla="*/ 284 w 350"/>
                <a:gd name="T15" fmla="*/ 166 h 264"/>
                <a:gd name="T16" fmla="*/ 193 w 350"/>
                <a:gd name="T17" fmla="*/ 166 h 264"/>
                <a:gd name="T18" fmla="*/ 193 w 350"/>
                <a:gd name="T19" fmla="*/ 0 h 264"/>
                <a:gd name="T20" fmla="*/ 157 w 350"/>
                <a:gd name="T21" fmla="*/ 0 h 264"/>
                <a:gd name="T22" fmla="*/ 313 w 350"/>
                <a:gd name="T23" fmla="*/ 228 h 264"/>
                <a:gd name="T24" fmla="*/ 36 w 350"/>
                <a:gd name="T25" fmla="*/ 228 h 264"/>
                <a:gd name="T26" fmla="*/ 66 w 350"/>
                <a:gd name="T27" fmla="*/ 202 h 264"/>
                <a:gd name="T28" fmla="*/ 284 w 350"/>
                <a:gd name="T29" fmla="*/ 202 h 264"/>
                <a:gd name="T30" fmla="*/ 313 w 350"/>
                <a:gd name="T31" fmla="*/ 22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0" h="264">
                  <a:moveTo>
                    <a:pt x="157" y="0"/>
                  </a:moveTo>
                  <a:cubicBezTo>
                    <a:pt x="157" y="166"/>
                    <a:pt x="157" y="166"/>
                    <a:pt x="157" y="166"/>
                  </a:cubicBezTo>
                  <a:cubicBezTo>
                    <a:pt x="66" y="166"/>
                    <a:pt x="66" y="166"/>
                    <a:pt x="66" y="166"/>
                  </a:cubicBezTo>
                  <a:cubicBezTo>
                    <a:pt x="29" y="166"/>
                    <a:pt x="0" y="196"/>
                    <a:pt x="0" y="232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350" y="264"/>
                    <a:pt x="350" y="264"/>
                    <a:pt x="350" y="264"/>
                  </a:cubicBezTo>
                  <a:cubicBezTo>
                    <a:pt x="350" y="232"/>
                    <a:pt x="350" y="232"/>
                    <a:pt x="350" y="232"/>
                  </a:cubicBezTo>
                  <a:cubicBezTo>
                    <a:pt x="350" y="196"/>
                    <a:pt x="320" y="166"/>
                    <a:pt x="284" y="166"/>
                  </a:cubicBezTo>
                  <a:cubicBezTo>
                    <a:pt x="193" y="166"/>
                    <a:pt x="193" y="166"/>
                    <a:pt x="193" y="166"/>
                  </a:cubicBezTo>
                  <a:cubicBezTo>
                    <a:pt x="193" y="0"/>
                    <a:pt x="193" y="0"/>
                    <a:pt x="193" y="0"/>
                  </a:cubicBezTo>
                  <a:lnTo>
                    <a:pt x="157" y="0"/>
                  </a:lnTo>
                  <a:close/>
                  <a:moveTo>
                    <a:pt x="313" y="228"/>
                  </a:moveTo>
                  <a:cubicBezTo>
                    <a:pt x="36" y="228"/>
                    <a:pt x="36" y="228"/>
                    <a:pt x="36" y="228"/>
                  </a:cubicBezTo>
                  <a:cubicBezTo>
                    <a:pt x="38" y="213"/>
                    <a:pt x="50" y="202"/>
                    <a:pt x="66" y="202"/>
                  </a:cubicBezTo>
                  <a:cubicBezTo>
                    <a:pt x="284" y="202"/>
                    <a:pt x="284" y="202"/>
                    <a:pt x="284" y="202"/>
                  </a:cubicBezTo>
                  <a:cubicBezTo>
                    <a:pt x="299" y="202"/>
                    <a:pt x="311" y="213"/>
                    <a:pt x="313" y="22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52" name="Freeform 89"/>
            <p:cNvSpPr>
              <a:spLocks/>
            </p:cNvSpPr>
            <p:nvPr/>
          </p:nvSpPr>
          <p:spPr bwMode="auto">
            <a:xfrm>
              <a:off x="2236" y="1616"/>
              <a:ext cx="13" cy="44"/>
            </a:xfrm>
            <a:custGeom>
              <a:avLst/>
              <a:gdLst>
                <a:gd name="T0" fmla="*/ 18 w 36"/>
                <a:gd name="T1" fmla="*/ 0 h 122"/>
                <a:gd name="T2" fmla="*/ 0 w 36"/>
                <a:gd name="T3" fmla="*/ 18 h 122"/>
                <a:gd name="T4" fmla="*/ 0 w 36"/>
                <a:gd name="T5" fmla="*/ 104 h 122"/>
                <a:gd name="T6" fmla="*/ 18 w 36"/>
                <a:gd name="T7" fmla="*/ 122 h 122"/>
                <a:gd name="T8" fmla="*/ 36 w 36"/>
                <a:gd name="T9" fmla="*/ 104 h 122"/>
                <a:gd name="T10" fmla="*/ 36 w 36"/>
                <a:gd name="T11" fmla="*/ 18 h 122"/>
                <a:gd name="T12" fmla="*/ 18 w 36"/>
                <a:gd name="T1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2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14"/>
                    <a:pt x="8" y="122"/>
                    <a:pt x="18" y="122"/>
                  </a:cubicBezTo>
                  <a:cubicBezTo>
                    <a:pt x="27" y="122"/>
                    <a:pt x="36" y="114"/>
                    <a:pt x="36" y="10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8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3" name="Freeform 90"/>
            <p:cNvSpPr>
              <a:spLocks/>
            </p:cNvSpPr>
            <p:nvPr/>
          </p:nvSpPr>
          <p:spPr bwMode="auto">
            <a:xfrm>
              <a:off x="2236" y="1667"/>
              <a:ext cx="13" cy="43"/>
            </a:xfrm>
            <a:custGeom>
              <a:avLst/>
              <a:gdLst>
                <a:gd name="T0" fmla="*/ 18 w 36"/>
                <a:gd name="T1" fmla="*/ 0 h 121"/>
                <a:gd name="T2" fmla="*/ 0 w 36"/>
                <a:gd name="T3" fmla="*/ 18 h 121"/>
                <a:gd name="T4" fmla="*/ 0 w 36"/>
                <a:gd name="T5" fmla="*/ 103 h 121"/>
                <a:gd name="T6" fmla="*/ 18 w 36"/>
                <a:gd name="T7" fmla="*/ 121 h 121"/>
                <a:gd name="T8" fmla="*/ 36 w 36"/>
                <a:gd name="T9" fmla="*/ 103 h 121"/>
                <a:gd name="T10" fmla="*/ 36 w 36"/>
                <a:gd name="T11" fmla="*/ 18 h 121"/>
                <a:gd name="T12" fmla="*/ 18 w 36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1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13"/>
                    <a:pt x="8" y="121"/>
                    <a:pt x="18" y="121"/>
                  </a:cubicBezTo>
                  <a:cubicBezTo>
                    <a:pt x="27" y="121"/>
                    <a:pt x="36" y="113"/>
                    <a:pt x="36" y="103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8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4" name="Freeform 91"/>
            <p:cNvSpPr>
              <a:spLocks/>
            </p:cNvSpPr>
            <p:nvPr/>
          </p:nvSpPr>
          <p:spPr bwMode="auto">
            <a:xfrm>
              <a:off x="2236" y="1717"/>
              <a:ext cx="13" cy="43"/>
            </a:xfrm>
            <a:custGeom>
              <a:avLst/>
              <a:gdLst>
                <a:gd name="T0" fmla="*/ 18 w 36"/>
                <a:gd name="T1" fmla="*/ 0 h 122"/>
                <a:gd name="T2" fmla="*/ 0 w 36"/>
                <a:gd name="T3" fmla="*/ 18 h 122"/>
                <a:gd name="T4" fmla="*/ 0 w 36"/>
                <a:gd name="T5" fmla="*/ 104 h 122"/>
                <a:gd name="T6" fmla="*/ 18 w 36"/>
                <a:gd name="T7" fmla="*/ 122 h 122"/>
                <a:gd name="T8" fmla="*/ 36 w 36"/>
                <a:gd name="T9" fmla="*/ 104 h 122"/>
                <a:gd name="T10" fmla="*/ 36 w 36"/>
                <a:gd name="T11" fmla="*/ 18 h 122"/>
                <a:gd name="T12" fmla="*/ 18 w 36"/>
                <a:gd name="T13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2">
                  <a:moveTo>
                    <a:pt x="18" y="0"/>
                  </a:moveTo>
                  <a:cubicBezTo>
                    <a:pt x="8" y="0"/>
                    <a:pt x="0" y="9"/>
                    <a:pt x="0" y="1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14"/>
                    <a:pt x="8" y="122"/>
                    <a:pt x="18" y="122"/>
                  </a:cubicBezTo>
                  <a:cubicBezTo>
                    <a:pt x="27" y="122"/>
                    <a:pt x="36" y="114"/>
                    <a:pt x="36" y="104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9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6" name="Freeform 92"/>
            <p:cNvSpPr>
              <a:spLocks/>
            </p:cNvSpPr>
            <p:nvPr/>
          </p:nvSpPr>
          <p:spPr bwMode="auto">
            <a:xfrm>
              <a:off x="2171" y="1610"/>
              <a:ext cx="29" cy="42"/>
            </a:xfrm>
            <a:custGeom>
              <a:avLst/>
              <a:gdLst>
                <a:gd name="T0" fmla="*/ 69 w 81"/>
                <a:gd name="T1" fmla="*/ 5 h 117"/>
                <a:gd name="T2" fmla="*/ 45 w 81"/>
                <a:gd name="T3" fmla="*/ 12 h 117"/>
                <a:gd name="T4" fmla="*/ 4 w 81"/>
                <a:gd name="T5" fmla="*/ 90 h 117"/>
                <a:gd name="T6" fmla="*/ 12 w 81"/>
                <a:gd name="T7" fmla="*/ 115 h 117"/>
                <a:gd name="T8" fmla="*/ 20 w 81"/>
                <a:gd name="T9" fmla="*/ 117 h 117"/>
                <a:gd name="T10" fmla="*/ 36 w 81"/>
                <a:gd name="T11" fmla="*/ 107 h 117"/>
                <a:gd name="T12" fmla="*/ 77 w 81"/>
                <a:gd name="T13" fmla="*/ 29 h 117"/>
                <a:gd name="T14" fmla="*/ 69 w 81"/>
                <a:gd name="T15" fmla="*/ 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7">
                  <a:moveTo>
                    <a:pt x="69" y="5"/>
                  </a:moveTo>
                  <a:cubicBezTo>
                    <a:pt x="60" y="0"/>
                    <a:pt x="49" y="3"/>
                    <a:pt x="45" y="1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0" y="99"/>
                    <a:pt x="3" y="110"/>
                    <a:pt x="12" y="115"/>
                  </a:cubicBezTo>
                  <a:cubicBezTo>
                    <a:pt x="14" y="116"/>
                    <a:pt x="17" y="117"/>
                    <a:pt x="20" y="117"/>
                  </a:cubicBezTo>
                  <a:cubicBezTo>
                    <a:pt x="27" y="117"/>
                    <a:pt x="33" y="113"/>
                    <a:pt x="36" y="107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1" y="20"/>
                    <a:pt x="78" y="9"/>
                    <a:pt x="69" y="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7" name="Freeform 93"/>
            <p:cNvSpPr>
              <a:spLocks/>
            </p:cNvSpPr>
            <p:nvPr/>
          </p:nvSpPr>
          <p:spPr bwMode="auto">
            <a:xfrm>
              <a:off x="2150" y="1657"/>
              <a:ext cx="29" cy="42"/>
            </a:xfrm>
            <a:custGeom>
              <a:avLst/>
              <a:gdLst>
                <a:gd name="T0" fmla="*/ 70 w 82"/>
                <a:gd name="T1" fmla="*/ 4 h 116"/>
                <a:gd name="T2" fmla="*/ 45 w 82"/>
                <a:gd name="T3" fmla="*/ 12 h 116"/>
                <a:gd name="T4" fmla="*/ 5 w 82"/>
                <a:gd name="T5" fmla="*/ 89 h 116"/>
                <a:gd name="T6" fmla="*/ 12 w 82"/>
                <a:gd name="T7" fmla="*/ 114 h 116"/>
                <a:gd name="T8" fmla="*/ 21 w 82"/>
                <a:gd name="T9" fmla="*/ 116 h 116"/>
                <a:gd name="T10" fmla="*/ 37 w 82"/>
                <a:gd name="T11" fmla="*/ 106 h 116"/>
                <a:gd name="T12" fmla="*/ 77 w 82"/>
                <a:gd name="T13" fmla="*/ 29 h 116"/>
                <a:gd name="T14" fmla="*/ 70 w 82"/>
                <a:gd name="T15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6">
                  <a:moveTo>
                    <a:pt x="70" y="4"/>
                  </a:moveTo>
                  <a:cubicBezTo>
                    <a:pt x="61" y="0"/>
                    <a:pt x="50" y="3"/>
                    <a:pt x="45" y="12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0" y="98"/>
                    <a:pt x="4" y="109"/>
                    <a:pt x="12" y="114"/>
                  </a:cubicBezTo>
                  <a:cubicBezTo>
                    <a:pt x="15" y="115"/>
                    <a:pt x="18" y="116"/>
                    <a:pt x="21" y="116"/>
                  </a:cubicBezTo>
                  <a:cubicBezTo>
                    <a:pt x="27" y="116"/>
                    <a:pt x="33" y="112"/>
                    <a:pt x="37" y="106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2" y="20"/>
                    <a:pt x="78" y="9"/>
                    <a:pt x="70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8" name="Freeform 94"/>
            <p:cNvSpPr>
              <a:spLocks/>
            </p:cNvSpPr>
            <p:nvPr/>
          </p:nvSpPr>
          <p:spPr bwMode="auto">
            <a:xfrm>
              <a:off x="2129" y="1703"/>
              <a:ext cx="30" cy="42"/>
            </a:xfrm>
            <a:custGeom>
              <a:avLst/>
              <a:gdLst>
                <a:gd name="T0" fmla="*/ 70 w 82"/>
                <a:gd name="T1" fmla="*/ 5 h 117"/>
                <a:gd name="T2" fmla="*/ 45 w 82"/>
                <a:gd name="T3" fmla="*/ 13 h 117"/>
                <a:gd name="T4" fmla="*/ 5 w 82"/>
                <a:gd name="T5" fmla="*/ 91 h 117"/>
                <a:gd name="T6" fmla="*/ 13 w 82"/>
                <a:gd name="T7" fmla="*/ 115 h 117"/>
                <a:gd name="T8" fmla="*/ 21 w 82"/>
                <a:gd name="T9" fmla="*/ 117 h 117"/>
                <a:gd name="T10" fmla="*/ 37 w 82"/>
                <a:gd name="T11" fmla="*/ 108 h 117"/>
                <a:gd name="T12" fmla="*/ 77 w 82"/>
                <a:gd name="T13" fmla="*/ 29 h 117"/>
                <a:gd name="T14" fmla="*/ 70 w 82"/>
                <a:gd name="T15" fmla="*/ 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7">
                  <a:moveTo>
                    <a:pt x="70" y="5"/>
                  </a:moveTo>
                  <a:cubicBezTo>
                    <a:pt x="61" y="0"/>
                    <a:pt x="50" y="4"/>
                    <a:pt x="45" y="13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100"/>
                    <a:pt x="4" y="111"/>
                    <a:pt x="13" y="115"/>
                  </a:cubicBezTo>
                  <a:cubicBezTo>
                    <a:pt x="15" y="117"/>
                    <a:pt x="18" y="117"/>
                    <a:pt x="21" y="117"/>
                  </a:cubicBezTo>
                  <a:cubicBezTo>
                    <a:pt x="27" y="117"/>
                    <a:pt x="34" y="114"/>
                    <a:pt x="37" y="108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82" y="20"/>
                    <a:pt x="78" y="10"/>
                    <a:pt x="70" y="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9" name="Freeform 95"/>
            <p:cNvSpPr>
              <a:spLocks/>
            </p:cNvSpPr>
            <p:nvPr/>
          </p:nvSpPr>
          <p:spPr bwMode="auto">
            <a:xfrm>
              <a:off x="2286" y="1613"/>
              <a:ext cx="29" cy="42"/>
            </a:xfrm>
            <a:custGeom>
              <a:avLst/>
              <a:gdLst>
                <a:gd name="T0" fmla="*/ 69 w 81"/>
                <a:gd name="T1" fmla="*/ 115 h 117"/>
                <a:gd name="T2" fmla="*/ 77 w 81"/>
                <a:gd name="T3" fmla="*/ 91 h 117"/>
                <a:gd name="T4" fmla="*/ 36 w 81"/>
                <a:gd name="T5" fmla="*/ 13 h 117"/>
                <a:gd name="T6" fmla="*/ 12 w 81"/>
                <a:gd name="T7" fmla="*/ 5 h 117"/>
                <a:gd name="T8" fmla="*/ 4 w 81"/>
                <a:gd name="T9" fmla="*/ 29 h 117"/>
                <a:gd name="T10" fmla="*/ 45 w 81"/>
                <a:gd name="T11" fmla="*/ 107 h 117"/>
                <a:gd name="T12" fmla="*/ 61 w 81"/>
                <a:gd name="T13" fmla="*/ 117 h 117"/>
                <a:gd name="T14" fmla="*/ 69 w 81"/>
                <a:gd name="T15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7">
                  <a:moveTo>
                    <a:pt x="69" y="115"/>
                  </a:moveTo>
                  <a:cubicBezTo>
                    <a:pt x="78" y="110"/>
                    <a:pt x="81" y="100"/>
                    <a:pt x="77" y="91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2" y="4"/>
                    <a:pt x="21" y="0"/>
                    <a:pt x="12" y="5"/>
                  </a:cubicBezTo>
                  <a:cubicBezTo>
                    <a:pt x="3" y="10"/>
                    <a:pt x="0" y="20"/>
                    <a:pt x="4" y="29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8" y="113"/>
                    <a:pt x="54" y="117"/>
                    <a:pt x="61" y="117"/>
                  </a:cubicBezTo>
                  <a:cubicBezTo>
                    <a:pt x="64" y="117"/>
                    <a:pt x="66" y="116"/>
                    <a:pt x="69" y="11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0" name="Freeform 96"/>
            <p:cNvSpPr>
              <a:spLocks/>
            </p:cNvSpPr>
            <p:nvPr/>
          </p:nvSpPr>
          <p:spPr bwMode="auto">
            <a:xfrm>
              <a:off x="2307" y="1659"/>
              <a:ext cx="29" cy="42"/>
            </a:xfrm>
            <a:custGeom>
              <a:avLst/>
              <a:gdLst>
                <a:gd name="T0" fmla="*/ 69 w 82"/>
                <a:gd name="T1" fmla="*/ 114 h 116"/>
                <a:gd name="T2" fmla="*/ 77 w 82"/>
                <a:gd name="T3" fmla="*/ 90 h 116"/>
                <a:gd name="T4" fmla="*/ 36 w 82"/>
                <a:gd name="T5" fmla="*/ 12 h 116"/>
                <a:gd name="T6" fmla="*/ 12 w 82"/>
                <a:gd name="T7" fmla="*/ 5 h 116"/>
                <a:gd name="T8" fmla="*/ 5 w 82"/>
                <a:gd name="T9" fmla="*/ 29 h 116"/>
                <a:gd name="T10" fmla="*/ 45 w 82"/>
                <a:gd name="T11" fmla="*/ 106 h 116"/>
                <a:gd name="T12" fmla="*/ 61 w 82"/>
                <a:gd name="T13" fmla="*/ 116 h 116"/>
                <a:gd name="T14" fmla="*/ 69 w 82"/>
                <a:gd name="T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6">
                  <a:moveTo>
                    <a:pt x="69" y="114"/>
                  </a:moveTo>
                  <a:cubicBezTo>
                    <a:pt x="78" y="109"/>
                    <a:pt x="82" y="99"/>
                    <a:pt x="77" y="9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3"/>
                    <a:pt x="21" y="0"/>
                    <a:pt x="12" y="5"/>
                  </a:cubicBezTo>
                  <a:cubicBezTo>
                    <a:pt x="3" y="9"/>
                    <a:pt x="0" y="20"/>
                    <a:pt x="5" y="29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8" y="113"/>
                    <a:pt x="55" y="116"/>
                    <a:pt x="61" y="116"/>
                  </a:cubicBezTo>
                  <a:cubicBezTo>
                    <a:pt x="64" y="116"/>
                    <a:pt x="67" y="115"/>
                    <a:pt x="69" y="11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3" name="Freeform 97"/>
            <p:cNvSpPr>
              <a:spLocks/>
            </p:cNvSpPr>
            <p:nvPr/>
          </p:nvSpPr>
          <p:spPr bwMode="auto">
            <a:xfrm>
              <a:off x="2327" y="1706"/>
              <a:ext cx="30" cy="42"/>
            </a:xfrm>
            <a:custGeom>
              <a:avLst/>
              <a:gdLst>
                <a:gd name="T0" fmla="*/ 36 w 82"/>
                <a:gd name="T1" fmla="*/ 12 h 117"/>
                <a:gd name="T2" fmla="*/ 12 w 82"/>
                <a:gd name="T3" fmla="*/ 4 h 117"/>
                <a:gd name="T4" fmla="*/ 4 w 82"/>
                <a:gd name="T5" fmla="*/ 29 h 117"/>
                <a:gd name="T6" fmla="*/ 45 w 82"/>
                <a:gd name="T7" fmla="*/ 107 h 117"/>
                <a:gd name="T8" fmla="*/ 61 w 82"/>
                <a:gd name="T9" fmla="*/ 117 h 117"/>
                <a:gd name="T10" fmla="*/ 69 w 82"/>
                <a:gd name="T11" fmla="*/ 115 h 117"/>
                <a:gd name="T12" fmla="*/ 77 w 82"/>
                <a:gd name="T13" fmla="*/ 90 h 117"/>
                <a:gd name="T14" fmla="*/ 36 w 82"/>
                <a:gd name="T15" fmla="*/ 1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17">
                  <a:moveTo>
                    <a:pt x="36" y="12"/>
                  </a:moveTo>
                  <a:cubicBezTo>
                    <a:pt x="32" y="3"/>
                    <a:pt x="21" y="0"/>
                    <a:pt x="12" y="4"/>
                  </a:cubicBezTo>
                  <a:cubicBezTo>
                    <a:pt x="3" y="9"/>
                    <a:pt x="0" y="20"/>
                    <a:pt x="4" y="29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8" y="113"/>
                    <a:pt x="54" y="117"/>
                    <a:pt x="61" y="117"/>
                  </a:cubicBezTo>
                  <a:cubicBezTo>
                    <a:pt x="64" y="117"/>
                    <a:pt x="67" y="116"/>
                    <a:pt x="69" y="115"/>
                  </a:cubicBezTo>
                  <a:cubicBezTo>
                    <a:pt x="78" y="110"/>
                    <a:pt x="82" y="99"/>
                    <a:pt x="77" y="90"/>
                  </a:cubicBezTo>
                  <a:lnTo>
                    <a:pt x="36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64" name="Group 101"/>
          <p:cNvGrpSpPr>
            <a:grpSpLocks noChangeAspect="1"/>
          </p:cNvGrpSpPr>
          <p:nvPr/>
        </p:nvGrpSpPr>
        <p:grpSpPr bwMode="auto">
          <a:xfrm>
            <a:off x="5818188" y="312046"/>
            <a:ext cx="768096" cy="768096"/>
            <a:chOff x="3665" y="174"/>
            <a:chExt cx="530" cy="530"/>
          </a:xfrm>
        </p:grpSpPr>
        <p:sp>
          <p:nvSpPr>
            <p:cNvPr id="46165" name="AutoShape 100"/>
            <p:cNvSpPr>
              <a:spLocks noChangeAspect="1" noChangeArrowheads="1" noTextEdit="1"/>
            </p:cNvSpPr>
            <p:nvPr/>
          </p:nvSpPr>
          <p:spPr bwMode="auto">
            <a:xfrm>
              <a:off x="3665" y="17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6" name="Freeform 102"/>
            <p:cNvSpPr>
              <a:spLocks noEditPoints="1"/>
            </p:cNvSpPr>
            <p:nvPr/>
          </p:nvSpPr>
          <p:spPr bwMode="auto">
            <a:xfrm>
              <a:off x="3665" y="174"/>
              <a:ext cx="530" cy="53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7" name="Freeform 103"/>
            <p:cNvSpPr>
              <a:spLocks noEditPoints="1"/>
            </p:cNvSpPr>
            <p:nvPr/>
          </p:nvSpPr>
          <p:spPr bwMode="auto">
            <a:xfrm>
              <a:off x="3746" y="255"/>
              <a:ext cx="368" cy="368"/>
            </a:xfrm>
            <a:custGeom>
              <a:avLst/>
              <a:gdLst>
                <a:gd name="T0" fmla="*/ 512 w 1024"/>
                <a:gd name="T1" fmla="*/ 0 h 1024"/>
                <a:gd name="T2" fmla="*/ 0 w 1024"/>
                <a:gd name="T3" fmla="*/ 512 h 1024"/>
                <a:gd name="T4" fmla="*/ 512 w 1024"/>
                <a:gd name="T5" fmla="*/ 1024 h 1024"/>
                <a:gd name="T6" fmla="*/ 1024 w 1024"/>
                <a:gd name="T7" fmla="*/ 512 h 1024"/>
                <a:gd name="T8" fmla="*/ 512 w 1024"/>
                <a:gd name="T9" fmla="*/ 0 h 1024"/>
                <a:gd name="T10" fmla="*/ 512 w 1024"/>
                <a:gd name="T11" fmla="*/ 998 h 1024"/>
                <a:gd name="T12" fmla="*/ 26 w 1024"/>
                <a:gd name="T13" fmla="*/ 512 h 1024"/>
                <a:gd name="T14" fmla="*/ 512 w 1024"/>
                <a:gd name="T15" fmla="*/ 26 h 1024"/>
                <a:gd name="T16" fmla="*/ 998 w 1024"/>
                <a:gd name="T17" fmla="*/ 512 h 1024"/>
                <a:gd name="T18" fmla="*/ 512 w 1024"/>
                <a:gd name="T19" fmla="*/ 998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4" h="1024">
                  <a:moveTo>
                    <a:pt x="512" y="0"/>
                  </a:moveTo>
                  <a:cubicBezTo>
                    <a:pt x="230" y="0"/>
                    <a:pt x="0" y="230"/>
                    <a:pt x="0" y="512"/>
                  </a:cubicBezTo>
                  <a:cubicBezTo>
                    <a:pt x="0" y="794"/>
                    <a:pt x="230" y="1024"/>
                    <a:pt x="512" y="1024"/>
                  </a:cubicBezTo>
                  <a:cubicBezTo>
                    <a:pt x="794" y="1024"/>
                    <a:pt x="1024" y="794"/>
                    <a:pt x="1024" y="512"/>
                  </a:cubicBezTo>
                  <a:cubicBezTo>
                    <a:pt x="1024" y="230"/>
                    <a:pt x="794" y="0"/>
                    <a:pt x="512" y="0"/>
                  </a:cubicBezTo>
                  <a:close/>
                  <a:moveTo>
                    <a:pt x="512" y="998"/>
                  </a:moveTo>
                  <a:cubicBezTo>
                    <a:pt x="244" y="998"/>
                    <a:pt x="26" y="780"/>
                    <a:pt x="26" y="512"/>
                  </a:cubicBezTo>
                  <a:cubicBezTo>
                    <a:pt x="26" y="244"/>
                    <a:pt x="244" y="26"/>
                    <a:pt x="512" y="26"/>
                  </a:cubicBezTo>
                  <a:cubicBezTo>
                    <a:pt x="780" y="26"/>
                    <a:pt x="998" y="244"/>
                    <a:pt x="998" y="512"/>
                  </a:cubicBezTo>
                  <a:cubicBezTo>
                    <a:pt x="998" y="780"/>
                    <a:pt x="780" y="998"/>
                    <a:pt x="512" y="99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8" name="Freeform 104"/>
            <p:cNvSpPr>
              <a:spLocks noEditPoints="1"/>
            </p:cNvSpPr>
            <p:nvPr/>
          </p:nvSpPr>
          <p:spPr bwMode="auto">
            <a:xfrm>
              <a:off x="3858" y="358"/>
              <a:ext cx="40" cy="61"/>
            </a:xfrm>
            <a:custGeom>
              <a:avLst/>
              <a:gdLst>
                <a:gd name="T0" fmla="*/ 55 w 110"/>
                <a:gd name="T1" fmla="*/ 170 h 170"/>
                <a:gd name="T2" fmla="*/ 110 w 110"/>
                <a:gd name="T3" fmla="*/ 85 h 170"/>
                <a:gd name="T4" fmla="*/ 55 w 110"/>
                <a:gd name="T5" fmla="*/ 0 h 170"/>
                <a:gd name="T6" fmla="*/ 0 w 110"/>
                <a:gd name="T7" fmla="*/ 85 h 170"/>
                <a:gd name="T8" fmla="*/ 55 w 110"/>
                <a:gd name="T9" fmla="*/ 170 h 170"/>
                <a:gd name="T10" fmla="*/ 55 w 110"/>
                <a:gd name="T11" fmla="*/ 26 h 170"/>
                <a:gd name="T12" fmla="*/ 84 w 110"/>
                <a:gd name="T13" fmla="*/ 85 h 170"/>
                <a:gd name="T14" fmla="*/ 55 w 110"/>
                <a:gd name="T15" fmla="*/ 144 h 170"/>
                <a:gd name="T16" fmla="*/ 26 w 110"/>
                <a:gd name="T17" fmla="*/ 85 h 170"/>
                <a:gd name="T18" fmla="*/ 55 w 110"/>
                <a:gd name="T19" fmla="*/ 2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70">
                  <a:moveTo>
                    <a:pt x="55" y="170"/>
                  </a:moveTo>
                  <a:cubicBezTo>
                    <a:pt x="86" y="170"/>
                    <a:pt x="110" y="132"/>
                    <a:pt x="110" y="85"/>
                  </a:cubicBezTo>
                  <a:cubicBezTo>
                    <a:pt x="110" y="37"/>
                    <a:pt x="86" y="0"/>
                    <a:pt x="55" y="0"/>
                  </a:cubicBezTo>
                  <a:cubicBezTo>
                    <a:pt x="24" y="0"/>
                    <a:pt x="0" y="37"/>
                    <a:pt x="0" y="85"/>
                  </a:cubicBezTo>
                  <a:cubicBezTo>
                    <a:pt x="0" y="132"/>
                    <a:pt x="24" y="170"/>
                    <a:pt x="55" y="170"/>
                  </a:cubicBezTo>
                  <a:close/>
                  <a:moveTo>
                    <a:pt x="55" y="26"/>
                  </a:moveTo>
                  <a:cubicBezTo>
                    <a:pt x="69" y="26"/>
                    <a:pt x="84" y="51"/>
                    <a:pt x="84" y="85"/>
                  </a:cubicBezTo>
                  <a:cubicBezTo>
                    <a:pt x="84" y="118"/>
                    <a:pt x="69" y="144"/>
                    <a:pt x="55" y="144"/>
                  </a:cubicBezTo>
                  <a:cubicBezTo>
                    <a:pt x="42" y="144"/>
                    <a:pt x="26" y="118"/>
                    <a:pt x="26" y="85"/>
                  </a:cubicBezTo>
                  <a:cubicBezTo>
                    <a:pt x="26" y="51"/>
                    <a:pt x="42" y="26"/>
                    <a:pt x="55" y="2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9" name="Freeform 105"/>
            <p:cNvSpPr>
              <a:spLocks noEditPoints="1"/>
            </p:cNvSpPr>
            <p:nvPr/>
          </p:nvSpPr>
          <p:spPr bwMode="auto">
            <a:xfrm>
              <a:off x="3968" y="358"/>
              <a:ext cx="40" cy="61"/>
            </a:xfrm>
            <a:custGeom>
              <a:avLst/>
              <a:gdLst>
                <a:gd name="T0" fmla="*/ 55 w 110"/>
                <a:gd name="T1" fmla="*/ 0 h 170"/>
                <a:gd name="T2" fmla="*/ 0 w 110"/>
                <a:gd name="T3" fmla="*/ 85 h 170"/>
                <a:gd name="T4" fmla="*/ 55 w 110"/>
                <a:gd name="T5" fmla="*/ 170 h 170"/>
                <a:gd name="T6" fmla="*/ 110 w 110"/>
                <a:gd name="T7" fmla="*/ 85 h 170"/>
                <a:gd name="T8" fmla="*/ 55 w 110"/>
                <a:gd name="T9" fmla="*/ 0 h 170"/>
                <a:gd name="T10" fmla="*/ 55 w 110"/>
                <a:gd name="T11" fmla="*/ 144 h 170"/>
                <a:gd name="T12" fmla="*/ 26 w 110"/>
                <a:gd name="T13" fmla="*/ 85 h 170"/>
                <a:gd name="T14" fmla="*/ 55 w 110"/>
                <a:gd name="T15" fmla="*/ 26 h 170"/>
                <a:gd name="T16" fmla="*/ 84 w 110"/>
                <a:gd name="T17" fmla="*/ 85 h 170"/>
                <a:gd name="T18" fmla="*/ 55 w 110"/>
                <a:gd name="T19" fmla="*/ 14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70">
                  <a:moveTo>
                    <a:pt x="55" y="0"/>
                  </a:moveTo>
                  <a:cubicBezTo>
                    <a:pt x="24" y="0"/>
                    <a:pt x="0" y="37"/>
                    <a:pt x="0" y="85"/>
                  </a:cubicBezTo>
                  <a:cubicBezTo>
                    <a:pt x="0" y="132"/>
                    <a:pt x="24" y="170"/>
                    <a:pt x="55" y="170"/>
                  </a:cubicBezTo>
                  <a:cubicBezTo>
                    <a:pt x="86" y="170"/>
                    <a:pt x="110" y="132"/>
                    <a:pt x="110" y="85"/>
                  </a:cubicBezTo>
                  <a:cubicBezTo>
                    <a:pt x="110" y="37"/>
                    <a:pt x="86" y="0"/>
                    <a:pt x="55" y="0"/>
                  </a:cubicBezTo>
                  <a:close/>
                  <a:moveTo>
                    <a:pt x="55" y="144"/>
                  </a:moveTo>
                  <a:cubicBezTo>
                    <a:pt x="41" y="144"/>
                    <a:pt x="26" y="118"/>
                    <a:pt x="26" y="85"/>
                  </a:cubicBezTo>
                  <a:cubicBezTo>
                    <a:pt x="26" y="51"/>
                    <a:pt x="41" y="26"/>
                    <a:pt x="55" y="26"/>
                  </a:cubicBezTo>
                  <a:cubicBezTo>
                    <a:pt x="68" y="26"/>
                    <a:pt x="84" y="51"/>
                    <a:pt x="84" y="85"/>
                  </a:cubicBezTo>
                  <a:cubicBezTo>
                    <a:pt x="84" y="118"/>
                    <a:pt x="68" y="144"/>
                    <a:pt x="55" y="14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0" name="Freeform 106"/>
            <p:cNvSpPr>
              <a:spLocks noEditPoints="1"/>
            </p:cNvSpPr>
            <p:nvPr/>
          </p:nvSpPr>
          <p:spPr bwMode="auto">
            <a:xfrm>
              <a:off x="3856" y="463"/>
              <a:ext cx="148" cy="78"/>
            </a:xfrm>
            <a:custGeom>
              <a:avLst/>
              <a:gdLst>
                <a:gd name="T0" fmla="*/ 0 w 410"/>
                <a:gd name="T1" fmla="*/ 13 h 218"/>
                <a:gd name="T2" fmla="*/ 205 w 410"/>
                <a:gd name="T3" fmla="*/ 218 h 218"/>
                <a:gd name="T4" fmla="*/ 410 w 410"/>
                <a:gd name="T5" fmla="*/ 13 h 218"/>
                <a:gd name="T6" fmla="*/ 410 w 410"/>
                <a:gd name="T7" fmla="*/ 0 h 218"/>
                <a:gd name="T8" fmla="*/ 0 w 410"/>
                <a:gd name="T9" fmla="*/ 0 h 218"/>
                <a:gd name="T10" fmla="*/ 0 w 410"/>
                <a:gd name="T11" fmla="*/ 13 h 218"/>
                <a:gd name="T12" fmla="*/ 384 w 410"/>
                <a:gd name="T13" fmla="*/ 26 h 218"/>
                <a:gd name="T14" fmla="*/ 205 w 410"/>
                <a:gd name="T15" fmla="*/ 192 h 218"/>
                <a:gd name="T16" fmla="*/ 26 w 410"/>
                <a:gd name="T17" fmla="*/ 26 h 218"/>
                <a:gd name="T18" fmla="*/ 384 w 410"/>
                <a:gd name="T19" fmla="*/ 2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0" h="218">
                  <a:moveTo>
                    <a:pt x="0" y="13"/>
                  </a:moveTo>
                  <a:cubicBezTo>
                    <a:pt x="0" y="126"/>
                    <a:pt x="92" y="218"/>
                    <a:pt x="205" y="218"/>
                  </a:cubicBezTo>
                  <a:cubicBezTo>
                    <a:pt x="318" y="218"/>
                    <a:pt x="410" y="126"/>
                    <a:pt x="410" y="13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3"/>
                  </a:lnTo>
                  <a:close/>
                  <a:moveTo>
                    <a:pt x="384" y="26"/>
                  </a:moveTo>
                  <a:cubicBezTo>
                    <a:pt x="377" y="119"/>
                    <a:pt x="299" y="192"/>
                    <a:pt x="205" y="192"/>
                  </a:cubicBezTo>
                  <a:cubicBezTo>
                    <a:pt x="111" y="192"/>
                    <a:pt x="33" y="119"/>
                    <a:pt x="26" y="26"/>
                  </a:cubicBezTo>
                  <a:lnTo>
                    <a:pt x="384" y="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171" name="Group 109"/>
          <p:cNvGrpSpPr>
            <a:grpSpLocks noChangeAspect="1"/>
          </p:cNvGrpSpPr>
          <p:nvPr/>
        </p:nvGrpSpPr>
        <p:grpSpPr bwMode="auto">
          <a:xfrm>
            <a:off x="1462009" y="1582865"/>
            <a:ext cx="768096" cy="768096"/>
            <a:chOff x="926" y="976"/>
            <a:chExt cx="530" cy="530"/>
          </a:xfrm>
        </p:grpSpPr>
        <p:sp>
          <p:nvSpPr>
            <p:cNvPr id="46172" name="AutoShape 108"/>
            <p:cNvSpPr>
              <a:spLocks noChangeAspect="1" noChangeArrowheads="1" noTextEdit="1"/>
            </p:cNvSpPr>
            <p:nvPr/>
          </p:nvSpPr>
          <p:spPr bwMode="auto">
            <a:xfrm>
              <a:off x="926" y="9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3" name="Freeform 110"/>
            <p:cNvSpPr>
              <a:spLocks noEditPoints="1"/>
            </p:cNvSpPr>
            <p:nvPr/>
          </p:nvSpPr>
          <p:spPr bwMode="auto">
            <a:xfrm>
              <a:off x="926" y="976"/>
              <a:ext cx="530" cy="53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4" name="Freeform 111"/>
            <p:cNvSpPr>
              <a:spLocks noEditPoints="1"/>
            </p:cNvSpPr>
            <p:nvPr/>
          </p:nvSpPr>
          <p:spPr bwMode="auto">
            <a:xfrm>
              <a:off x="1132" y="1050"/>
              <a:ext cx="110" cy="378"/>
            </a:xfrm>
            <a:custGeom>
              <a:avLst/>
              <a:gdLst>
                <a:gd name="T0" fmla="*/ 234 w 304"/>
                <a:gd name="T1" fmla="*/ 772 h 1052"/>
                <a:gd name="T2" fmla="*/ 234 w 304"/>
                <a:gd name="T3" fmla="*/ 58 h 1052"/>
                <a:gd name="T4" fmla="*/ 176 w 304"/>
                <a:gd name="T5" fmla="*/ 0 h 1052"/>
                <a:gd name="T6" fmla="*/ 128 w 304"/>
                <a:gd name="T7" fmla="*/ 0 h 1052"/>
                <a:gd name="T8" fmla="*/ 69 w 304"/>
                <a:gd name="T9" fmla="*/ 58 h 1052"/>
                <a:gd name="T10" fmla="*/ 69 w 304"/>
                <a:gd name="T11" fmla="*/ 772 h 1052"/>
                <a:gd name="T12" fmla="*/ 0 w 304"/>
                <a:gd name="T13" fmla="*/ 900 h 1052"/>
                <a:gd name="T14" fmla="*/ 152 w 304"/>
                <a:gd name="T15" fmla="*/ 1052 h 1052"/>
                <a:gd name="T16" fmla="*/ 304 w 304"/>
                <a:gd name="T17" fmla="*/ 900 h 1052"/>
                <a:gd name="T18" fmla="*/ 234 w 304"/>
                <a:gd name="T19" fmla="*/ 772 h 1052"/>
                <a:gd name="T20" fmla="*/ 152 w 304"/>
                <a:gd name="T21" fmla="*/ 1026 h 1052"/>
                <a:gd name="T22" fmla="*/ 26 w 304"/>
                <a:gd name="T23" fmla="*/ 900 h 1052"/>
                <a:gd name="T24" fmla="*/ 89 w 304"/>
                <a:gd name="T25" fmla="*/ 791 h 1052"/>
                <a:gd name="T26" fmla="*/ 95 w 304"/>
                <a:gd name="T27" fmla="*/ 787 h 1052"/>
                <a:gd name="T28" fmla="*/ 95 w 304"/>
                <a:gd name="T29" fmla="*/ 58 h 1052"/>
                <a:gd name="T30" fmla="*/ 128 w 304"/>
                <a:gd name="T31" fmla="*/ 26 h 1052"/>
                <a:gd name="T32" fmla="*/ 176 w 304"/>
                <a:gd name="T33" fmla="*/ 26 h 1052"/>
                <a:gd name="T34" fmla="*/ 208 w 304"/>
                <a:gd name="T35" fmla="*/ 58 h 1052"/>
                <a:gd name="T36" fmla="*/ 208 w 304"/>
                <a:gd name="T37" fmla="*/ 121 h 1052"/>
                <a:gd name="T38" fmla="*/ 152 w 304"/>
                <a:gd name="T39" fmla="*/ 121 h 1052"/>
                <a:gd name="T40" fmla="*/ 152 w 304"/>
                <a:gd name="T41" fmla="*/ 147 h 1052"/>
                <a:gd name="T42" fmla="*/ 208 w 304"/>
                <a:gd name="T43" fmla="*/ 147 h 1052"/>
                <a:gd name="T44" fmla="*/ 208 w 304"/>
                <a:gd name="T45" fmla="*/ 269 h 1052"/>
                <a:gd name="T46" fmla="*/ 119 w 304"/>
                <a:gd name="T47" fmla="*/ 269 h 1052"/>
                <a:gd name="T48" fmla="*/ 119 w 304"/>
                <a:gd name="T49" fmla="*/ 295 h 1052"/>
                <a:gd name="T50" fmla="*/ 208 w 304"/>
                <a:gd name="T51" fmla="*/ 295 h 1052"/>
                <a:gd name="T52" fmla="*/ 208 w 304"/>
                <a:gd name="T53" fmla="*/ 417 h 1052"/>
                <a:gd name="T54" fmla="*/ 152 w 304"/>
                <a:gd name="T55" fmla="*/ 417 h 1052"/>
                <a:gd name="T56" fmla="*/ 152 w 304"/>
                <a:gd name="T57" fmla="*/ 443 h 1052"/>
                <a:gd name="T58" fmla="*/ 208 w 304"/>
                <a:gd name="T59" fmla="*/ 443 h 1052"/>
                <a:gd name="T60" fmla="*/ 208 w 304"/>
                <a:gd name="T61" fmla="*/ 557 h 1052"/>
                <a:gd name="T62" fmla="*/ 131 w 304"/>
                <a:gd name="T63" fmla="*/ 557 h 1052"/>
                <a:gd name="T64" fmla="*/ 131 w 304"/>
                <a:gd name="T65" fmla="*/ 583 h 1052"/>
                <a:gd name="T66" fmla="*/ 208 w 304"/>
                <a:gd name="T67" fmla="*/ 583 h 1052"/>
                <a:gd name="T68" fmla="*/ 208 w 304"/>
                <a:gd name="T69" fmla="*/ 787 h 1052"/>
                <a:gd name="T70" fmla="*/ 215 w 304"/>
                <a:gd name="T71" fmla="*/ 791 h 1052"/>
                <a:gd name="T72" fmla="*/ 278 w 304"/>
                <a:gd name="T73" fmla="*/ 900 h 1052"/>
                <a:gd name="T74" fmla="*/ 152 w 304"/>
                <a:gd name="T75" fmla="*/ 10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4" h="1052">
                  <a:moveTo>
                    <a:pt x="234" y="772"/>
                  </a:moveTo>
                  <a:cubicBezTo>
                    <a:pt x="234" y="58"/>
                    <a:pt x="234" y="58"/>
                    <a:pt x="234" y="58"/>
                  </a:cubicBezTo>
                  <a:cubicBezTo>
                    <a:pt x="234" y="26"/>
                    <a:pt x="208" y="0"/>
                    <a:pt x="17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96" y="0"/>
                    <a:pt x="69" y="26"/>
                    <a:pt x="69" y="58"/>
                  </a:cubicBezTo>
                  <a:cubicBezTo>
                    <a:pt x="69" y="772"/>
                    <a:pt x="69" y="772"/>
                    <a:pt x="69" y="772"/>
                  </a:cubicBezTo>
                  <a:cubicBezTo>
                    <a:pt x="26" y="800"/>
                    <a:pt x="0" y="849"/>
                    <a:pt x="0" y="900"/>
                  </a:cubicBezTo>
                  <a:cubicBezTo>
                    <a:pt x="0" y="984"/>
                    <a:pt x="68" y="1052"/>
                    <a:pt x="152" y="1052"/>
                  </a:cubicBezTo>
                  <a:cubicBezTo>
                    <a:pt x="236" y="1052"/>
                    <a:pt x="304" y="984"/>
                    <a:pt x="304" y="900"/>
                  </a:cubicBezTo>
                  <a:cubicBezTo>
                    <a:pt x="304" y="849"/>
                    <a:pt x="278" y="800"/>
                    <a:pt x="234" y="772"/>
                  </a:cubicBezTo>
                  <a:close/>
                  <a:moveTo>
                    <a:pt x="152" y="1026"/>
                  </a:moveTo>
                  <a:cubicBezTo>
                    <a:pt x="82" y="1026"/>
                    <a:pt x="26" y="970"/>
                    <a:pt x="26" y="900"/>
                  </a:cubicBezTo>
                  <a:cubicBezTo>
                    <a:pt x="26" y="855"/>
                    <a:pt x="50" y="814"/>
                    <a:pt x="89" y="791"/>
                  </a:cubicBezTo>
                  <a:cubicBezTo>
                    <a:pt x="95" y="787"/>
                    <a:pt x="95" y="787"/>
                    <a:pt x="95" y="787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40"/>
                    <a:pt x="110" y="26"/>
                    <a:pt x="128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94" y="26"/>
                    <a:pt x="208" y="40"/>
                    <a:pt x="208" y="58"/>
                  </a:cubicBezTo>
                  <a:cubicBezTo>
                    <a:pt x="208" y="121"/>
                    <a:pt x="208" y="121"/>
                    <a:pt x="208" y="121"/>
                  </a:cubicBezTo>
                  <a:cubicBezTo>
                    <a:pt x="152" y="121"/>
                    <a:pt x="152" y="121"/>
                    <a:pt x="152" y="121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208" y="147"/>
                    <a:pt x="208" y="147"/>
                    <a:pt x="208" y="147"/>
                  </a:cubicBezTo>
                  <a:cubicBezTo>
                    <a:pt x="208" y="269"/>
                    <a:pt x="208" y="269"/>
                    <a:pt x="208" y="269"/>
                  </a:cubicBezTo>
                  <a:cubicBezTo>
                    <a:pt x="119" y="269"/>
                    <a:pt x="119" y="269"/>
                    <a:pt x="119" y="269"/>
                  </a:cubicBezTo>
                  <a:cubicBezTo>
                    <a:pt x="119" y="295"/>
                    <a:pt x="119" y="295"/>
                    <a:pt x="119" y="295"/>
                  </a:cubicBezTo>
                  <a:cubicBezTo>
                    <a:pt x="208" y="295"/>
                    <a:pt x="208" y="295"/>
                    <a:pt x="208" y="295"/>
                  </a:cubicBezTo>
                  <a:cubicBezTo>
                    <a:pt x="208" y="417"/>
                    <a:pt x="208" y="417"/>
                    <a:pt x="208" y="417"/>
                  </a:cubicBezTo>
                  <a:cubicBezTo>
                    <a:pt x="152" y="417"/>
                    <a:pt x="152" y="417"/>
                    <a:pt x="152" y="417"/>
                  </a:cubicBezTo>
                  <a:cubicBezTo>
                    <a:pt x="152" y="443"/>
                    <a:pt x="152" y="443"/>
                    <a:pt x="152" y="443"/>
                  </a:cubicBezTo>
                  <a:cubicBezTo>
                    <a:pt x="208" y="443"/>
                    <a:pt x="208" y="443"/>
                    <a:pt x="208" y="443"/>
                  </a:cubicBezTo>
                  <a:cubicBezTo>
                    <a:pt x="208" y="557"/>
                    <a:pt x="208" y="557"/>
                    <a:pt x="208" y="557"/>
                  </a:cubicBezTo>
                  <a:cubicBezTo>
                    <a:pt x="131" y="557"/>
                    <a:pt x="131" y="557"/>
                    <a:pt x="131" y="557"/>
                  </a:cubicBezTo>
                  <a:cubicBezTo>
                    <a:pt x="131" y="583"/>
                    <a:pt x="131" y="583"/>
                    <a:pt x="131" y="583"/>
                  </a:cubicBezTo>
                  <a:cubicBezTo>
                    <a:pt x="208" y="583"/>
                    <a:pt x="208" y="583"/>
                    <a:pt x="208" y="583"/>
                  </a:cubicBezTo>
                  <a:cubicBezTo>
                    <a:pt x="208" y="787"/>
                    <a:pt x="208" y="787"/>
                    <a:pt x="208" y="787"/>
                  </a:cubicBezTo>
                  <a:cubicBezTo>
                    <a:pt x="215" y="791"/>
                    <a:pt x="215" y="791"/>
                    <a:pt x="215" y="791"/>
                  </a:cubicBezTo>
                  <a:cubicBezTo>
                    <a:pt x="254" y="814"/>
                    <a:pt x="278" y="855"/>
                    <a:pt x="278" y="900"/>
                  </a:cubicBezTo>
                  <a:cubicBezTo>
                    <a:pt x="278" y="970"/>
                    <a:pt x="221" y="1026"/>
                    <a:pt x="152" y="102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75" name="Freeform 112"/>
            <p:cNvSpPr>
              <a:spLocks noEditPoints="1"/>
            </p:cNvSpPr>
            <p:nvPr/>
          </p:nvSpPr>
          <p:spPr bwMode="auto">
            <a:xfrm>
              <a:off x="1158" y="1342"/>
              <a:ext cx="58" cy="58"/>
            </a:xfrm>
            <a:custGeom>
              <a:avLst/>
              <a:gdLst>
                <a:gd name="T0" fmla="*/ 81 w 162"/>
                <a:gd name="T1" fmla="*/ 0 h 161"/>
                <a:gd name="T2" fmla="*/ 0 w 162"/>
                <a:gd name="T3" fmla="*/ 80 h 161"/>
                <a:gd name="T4" fmla="*/ 81 w 162"/>
                <a:gd name="T5" fmla="*/ 161 h 161"/>
                <a:gd name="T6" fmla="*/ 162 w 162"/>
                <a:gd name="T7" fmla="*/ 80 h 161"/>
                <a:gd name="T8" fmla="*/ 81 w 162"/>
                <a:gd name="T9" fmla="*/ 0 h 161"/>
                <a:gd name="T10" fmla="*/ 81 w 162"/>
                <a:gd name="T11" fmla="*/ 135 h 161"/>
                <a:gd name="T12" fmla="*/ 26 w 162"/>
                <a:gd name="T13" fmla="*/ 80 h 161"/>
                <a:gd name="T14" fmla="*/ 81 w 162"/>
                <a:gd name="T15" fmla="*/ 26 h 161"/>
                <a:gd name="T16" fmla="*/ 136 w 162"/>
                <a:gd name="T17" fmla="*/ 80 h 161"/>
                <a:gd name="T18" fmla="*/ 81 w 162"/>
                <a:gd name="T19" fmla="*/ 13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61">
                  <a:moveTo>
                    <a:pt x="81" y="0"/>
                  </a:moveTo>
                  <a:cubicBezTo>
                    <a:pt x="36" y="0"/>
                    <a:pt x="0" y="36"/>
                    <a:pt x="0" y="80"/>
                  </a:cubicBezTo>
                  <a:cubicBezTo>
                    <a:pt x="0" y="125"/>
                    <a:pt x="36" y="161"/>
                    <a:pt x="81" y="161"/>
                  </a:cubicBezTo>
                  <a:cubicBezTo>
                    <a:pt x="125" y="161"/>
                    <a:pt x="162" y="125"/>
                    <a:pt x="162" y="80"/>
                  </a:cubicBezTo>
                  <a:cubicBezTo>
                    <a:pt x="162" y="36"/>
                    <a:pt x="125" y="0"/>
                    <a:pt x="81" y="0"/>
                  </a:cubicBezTo>
                  <a:close/>
                  <a:moveTo>
                    <a:pt x="81" y="135"/>
                  </a:moveTo>
                  <a:cubicBezTo>
                    <a:pt x="51" y="135"/>
                    <a:pt x="26" y="111"/>
                    <a:pt x="26" y="80"/>
                  </a:cubicBezTo>
                  <a:cubicBezTo>
                    <a:pt x="26" y="50"/>
                    <a:pt x="51" y="26"/>
                    <a:pt x="81" y="26"/>
                  </a:cubicBezTo>
                  <a:cubicBezTo>
                    <a:pt x="111" y="26"/>
                    <a:pt x="136" y="50"/>
                    <a:pt x="136" y="80"/>
                  </a:cubicBezTo>
                  <a:cubicBezTo>
                    <a:pt x="136" y="111"/>
                    <a:pt x="111" y="135"/>
                    <a:pt x="81" y="13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6"/>
          <p:cNvGrpSpPr>
            <a:grpSpLocks noChangeAspect="1"/>
          </p:cNvGrpSpPr>
          <p:nvPr/>
        </p:nvGrpSpPr>
        <p:grpSpPr bwMode="auto">
          <a:xfrm>
            <a:off x="7005638" y="1541463"/>
            <a:ext cx="841375" cy="841375"/>
            <a:chOff x="4413" y="971"/>
            <a:chExt cx="530" cy="530"/>
          </a:xfrm>
        </p:grpSpPr>
        <p:sp>
          <p:nvSpPr>
            <p:cNvPr id="13" name="AutoShape 5"/>
            <p:cNvSpPr>
              <a:spLocks noChangeAspect="1" noChangeArrowheads="1" noTextEdit="1"/>
            </p:cNvSpPr>
            <p:nvPr/>
          </p:nvSpPr>
          <p:spPr bwMode="auto">
            <a:xfrm>
              <a:off x="4413" y="97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7"/>
            <p:cNvSpPr>
              <a:spLocks noChangeArrowheads="1"/>
            </p:cNvSpPr>
            <p:nvPr/>
          </p:nvSpPr>
          <p:spPr bwMode="auto">
            <a:xfrm>
              <a:off x="4413" y="971"/>
              <a:ext cx="530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 noEditPoints="1"/>
            </p:cNvSpPr>
            <p:nvPr/>
          </p:nvSpPr>
          <p:spPr bwMode="auto">
            <a:xfrm>
              <a:off x="4433" y="992"/>
              <a:ext cx="491" cy="491"/>
            </a:xfrm>
            <a:custGeom>
              <a:avLst/>
              <a:gdLst>
                <a:gd name="T0" fmla="*/ 722 w 1445"/>
                <a:gd name="T1" fmla="*/ 0 h 1445"/>
                <a:gd name="T2" fmla="*/ 0 w 1445"/>
                <a:gd name="T3" fmla="*/ 723 h 1445"/>
                <a:gd name="T4" fmla="*/ 722 w 1445"/>
                <a:gd name="T5" fmla="*/ 1445 h 1445"/>
                <a:gd name="T6" fmla="*/ 1445 w 1445"/>
                <a:gd name="T7" fmla="*/ 723 h 1445"/>
                <a:gd name="T8" fmla="*/ 722 w 1445"/>
                <a:gd name="T9" fmla="*/ 0 h 1445"/>
                <a:gd name="T10" fmla="*/ 1208 w 1445"/>
                <a:gd name="T11" fmla="*/ 1208 h 1445"/>
                <a:gd name="T12" fmla="*/ 722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3 h 1445"/>
                <a:gd name="T18" fmla="*/ 237 w 1445"/>
                <a:gd name="T19" fmla="*/ 237 h 1445"/>
                <a:gd name="T20" fmla="*/ 722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3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2" y="0"/>
                  </a:moveTo>
                  <a:cubicBezTo>
                    <a:pt x="323" y="0"/>
                    <a:pt x="0" y="324"/>
                    <a:pt x="0" y="723"/>
                  </a:cubicBezTo>
                  <a:cubicBezTo>
                    <a:pt x="0" y="1122"/>
                    <a:pt x="323" y="1445"/>
                    <a:pt x="722" y="1445"/>
                  </a:cubicBezTo>
                  <a:cubicBezTo>
                    <a:pt x="1122" y="1445"/>
                    <a:pt x="1445" y="1122"/>
                    <a:pt x="1445" y="723"/>
                  </a:cubicBezTo>
                  <a:cubicBezTo>
                    <a:pt x="1445" y="324"/>
                    <a:pt x="1122" y="0"/>
                    <a:pt x="722" y="0"/>
                  </a:cubicBezTo>
                  <a:close/>
                  <a:moveTo>
                    <a:pt x="1208" y="1208"/>
                  </a:moveTo>
                  <a:cubicBezTo>
                    <a:pt x="1078" y="1338"/>
                    <a:pt x="906" y="1409"/>
                    <a:pt x="722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7" y="1079"/>
                    <a:pt x="36" y="906"/>
                    <a:pt x="36" y="723"/>
                  </a:cubicBezTo>
                  <a:cubicBezTo>
                    <a:pt x="36" y="539"/>
                    <a:pt x="107" y="367"/>
                    <a:pt x="237" y="237"/>
                  </a:cubicBezTo>
                  <a:cubicBezTo>
                    <a:pt x="367" y="108"/>
                    <a:pt x="539" y="36"/>
                    <a:pt x="722" y="36"/>
                  </a:cubicBezTo>
                  <a:cubicBezTo>
                    <a:pt x="906" y="36"/>
                    <a:pt x="1078" y="108"/>
                    <a:pt x="1208" y="237"/>
                  </a:cubicBezTo>
                  <a:cubicBezTo>
                    <a:pt x="1338" y="367"/>
                    <a:pt x="1409" y="539"/>
                    <a:pt x="1409" y="723"/>
                  </a:cubicBezTo>
                  <a:cubicBezTo>
                    <a:pt x="1409" y="906"/>
                    <a:pt x="1338" y="1079"/>
                    <a:pt x="1208" y="12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502" y="1167"/>
              <a:ext cx="352" cy="132"/>
            </a:xfrm>
            <a:custGeom>
              <a:avLst/>
              <a:gdLst>
                <a:gd name="T0" fmla="*/ 899 w 1035"/>
                <a:gd name="T1" fmla="*/ 76 h 388"/>
                <a:gd name="T2" fmla="*/ 524 w 1035"/>
                <a:gd name="T3" fmla="*/ 0 h 388"/>
                <a:gd name="T4" fmla="*/ 312 w 1035"/>
                <a:gd name="T5" fmla="*/ 24 h 388"/>
                <a:gd name="T6" fmla="*/ 78 w 1035"/>
                <a:gd name="T7" fmla="*/ 50 h 388"/>
                <a:gd name="T8" fmla="*/ 273 w 1035"/>
                <a:gd name="T9" fmla="*/ 76 h 388"/>
                <a:gd name="T10" fmla="*/ 120 w 1035"/>
                <a:gd name="T11" fmla="*/ 135 h 388"/>
                <a:gd name="T12" fmla="*/ 138 w 1035"/>
                <a:gd name="T13" fmla="*/ 276 h 388"/>
                <a:gd name="T14" fmla="*/ 243 w 1035"/>
                <a:gd name="T15" fmla="*/ 388 h 388"/>
                <a:gd name="T16" fmla="*/ 449 w 1035"/>
                <a:gd name="T17" fmla="*/ 388 h 388"/>
                <a:gd name="T18" fmla="*/ 655 w 1035"/>
                <a:gd name="T19" fmla="*/ 388 h 388"/>
                <a:gd name="T20" fmla="*/ 861 w 1035"/>
                <a:gd name="T21" fmla="*/ 388 h 388"/>
                <a:gd name="T22" fmla="*/ 961 w 1035"/>
                <a:gd name="T23" fmla="*/ 250 h 388"/>
                <a:gd name="T24" fmla="*/ 625 w 1035"/>
                <a:gd name="T25" fmla="*/ 103 h 388"/>
                <a:gd name="T26" fmla="*/ 729 w 1035"/>
                <a:gd name="T27" fmla="*/ 131 h 388"/>
                <a:gd name="T28" fmla="*/ 625 w 1035"/>
                <a:gd name="T29" fmla="*/ 103 h 388"/>
                <a:gd name="T30" fmla="*/ 859 w 1035"/>
                <a:gd name="T31" fmla="*/ 103 h 388"/>
                <a:gd name="T32" fmla="*/ 755 w 1035"/>
                <a:gd name="T33" fmla="*/ 131 h 388"/>
                <a:gd name="T34" fmla="*/ 344 w 1035"/>
                <a:gd name="T35" fmla="*/ 26 h 388"/>
                <a:gd name="T36" fmla="*/ 549 w 1035"/>
                <a:gd name="T37" fmla="*/ 76 h 388"/>
                <a:gd name="T38" fmla="*/ 344 w 1035"/>
                <a:gd name="T39" fmla="*/ 26 h 388"/>
                <a:gd name="T40" fmla="*/ 131 w 1035"/>
                <a:gd name="T41" fmla="*/ 161 h 388"/>
                <a:gd name="T42" fmla="*/ 599 w 1035"/>
                <a:gd name="T43" fmla="*/ 103 h 388"/>
                <a:gd name="T44" fmla="*/ 885 w 1035"/>
                <a:gd name="T45" fmla="*/ 158 h 388"/>
                <a:gd name="T46" fmla="*/ 889 w 1035"/>
                <a:gd name="T47" fmla="*/ 103 h 388"/>
                <a:gd name="T48" fmla="*/ 949 w 1035"/>
                <a:gd name="T49" fmla="*/ 226 h 388"/>
                <a:gd name="T50" fmla="*/ 758 w 1035"/>
                <a:gd name="T51" fmla="*/ 265 h 388"/>
                <a:gd name="T52" fmla="*/ 552 w 1035"/>
                <a:gd name="T53" fmla="*/ 265 h 388"/>
                <a:gd name="T54" fmla="*/ 346 w 1035"/>
                <a:gd name="T55" fmla="*/ 265 h 388"/>
                <a:gd name="T56" fmla="*/ 145 w 1035"/>
                <a:gd name="T57" fmla="*/ 245 h 388"/>
                <a:gd name="T58" fmla="*/ 243 w 1035"/>
                <a:gd name="T59" fmla="*/ 361 h 388"/>
                <a:gd name="T60" fmla="*/ 243 w 1035"/>
                <a:gd name="T61" fmla="*/ 205 h 388"/>
                <a:gd name="T62" fmla="*/ 243 w 1035"/>
                <a:gd name="T63" fmla="*/ 361 h 388"/>
                <a:gd name="T64" fmla="*/ 371 w 1035"/>
                <a:gd name="T65" fmla="*/ 283 h 388"/>
                <a:gd name="T66" fmla="*/ 527 w 1035"/>
                <a:gd name="T67" fmla="*/ 283 h 388"/>
                <a:gd name="T68" fmla="*/ 655 w 1035"/>
                <a:gd name="T69" fmla="*/ 361 h 388"/>
                <a:gd name="T70" fmla="*/ 655 w 1035"/>
                <a:gd name="T71" fmla="*/ 205 h 388"/>
                <a:gd name="T72" fmla="*/ 655 w 1035"/>
                <a:gd name="T73" fmla="*/ 361 h 388"/>
                <a:gd name="T74" fmla="*/ 783 w 1035"/>
                <a:gd name="T75" fmla="*/ 283 h 388"/>
                <a:gd name="T76" fmla="*/ 940 w 1035"/>
                <a:gd name="T77" fmla="*/ 283 h 388"/>
                <a:gd name="T78" fmla="*/ 861 w 1035"/>
                <a:gd name="T79" fmla="*/ 3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5" h="388">
                  <a:moveTo>
                    <a:pt x="1035" y="195"/>
                  </a:moveTo>
                  <a:cubicBezTo>
                    <a:pt x="899" y="76"/>
                    <a:pt x="899" y="76"/>
                    <a:pt x="899" y="76"/>
                  </a:cubicBezTo>
                  <a:cubicBezTo>
                    <a:pt x="581" y="76"/>
                    <a:pt x="581" y="76"/>
                    <a:pt x="581" y="76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293" y="50"/>
                    <a:pt x="293" y="50"/>
                    <a:pt x="293" y="50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173" y="76"/>
                    <a:pt x="173" y="76"/>
                    <a:pt x="173" y="76"/>
                  </a:cubicBezTo>
                  <a:cubicBezTo>
                    <a:pt x="120" y="135"/>
                    <a:pt x="120" y="135"/>
                    <a:pt x="120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38" y="276"/>
                    <a:pt x="138" y="276"/>
                    <a:pt x="138" y="276"/>
                  </a:cubicBezTo>
                  <a:cubicBezTo>
                    <a:pt x="138" y="278"/>
                    <a:pt x="138" y="281"/>
                    <a:pt x="138" y="283"/>
                  </a:cubicBezTo>
                  <a:cubicBezTo>
                    <a:pt x="138" y="341"/>
                    <a:pt x="185" y="388"/>
                    <a:pt x="243" y="388"/>
                  </a:cubicBezTo>
                  <a:cubicBezTo>
                    <a:pt x="294" y="388"/>
                    <a:pt x="337" y="350"/>
                    <a:pt x="346" y="301"/>
                  </a:cubicBezTo>
                  <a:cubicBezTo>
                    <a:pt x="355" y="350"/>
                    <a:pt x="397" y="388"/>
                    <a:pt x="449" y="388"/>
                  </a:cubicBezTo>
                  <a:cubicBezTo>
                    <a:pt x="500" y="388"/>
                    <a:pt x="543" y="350"/>
                    <a:pt x="552" y="301"/>
                  </a:cubicBezTo>
                  <a:cubicBezTo>
                    <a:pt x="561" y="350"/>
                    <a:pt x="604" y="388"/>
                    <a:pt x="655" y="388"/>
                  </a:cubicBezTo>
                  <a:cubicBezTo>
                    <a:pt x="707" y="388"/>
                    <a:pt x="750" y="350"/>
                    <a:pt x="758" y="301"/>
                  </a:cubicBezTo>
                  <a:cubicBezTo>
                    <a:pt x="767" y="350"/>
                    <a:pt x="810" y="388"/>
                    <a:pt x="861" y="388"/>
                  </a:cubicBezTo>
                  <a:cubicBezTo>
                    <a:pt x="919" y="388"/>
                    <a:pt x="966" y="341"/>
                    <a:pt x="966" y="283"/>
                  </a:cubicBezTo>
                  <a:cubicBezTo>
                    <a:pt x="966" y="271"/>
                    <a:pt x="964" y="260"/>
                    <a:pt x="961" y="250"/>
                  </a:cubicBezTo>
                  <a:lnTo>
                    <a:pt x="1035" y="195"/>
                  </a:lnTo>
                  <a:close/>
                  <a:moveTo>
                    <a:pt x="625" y="103"/>
                  </a:moveTo>
                  <a:cubicBezTo>
                    <a:pt x="729" y="103"/>
                    <a:pt x="729" y="103"/>
                    <a:pt x="729" y="103"/>
                  </a:cubicBezTo>
                  <a:cubicBezTo>
                    <a:pt x="729" y="131"/>
                    <a:pt x="729" y="131"/>
                    <a:pt x="729" y="131"/>
                  </a:cubicBezTo>
                  <a:cubicBezTo>
                    <a:pt x="625" y="131"/>
                    <a:pt x="625" y="131"/>
                    <a:pt x="625" y="131"/>
                  </a:cubicBezTo>
                  <a:lnTo>
                    <a:pt x="625" y="103"/>
                  </a:lnTo>
                  <a:close/>
                  <a:moveTo>
                    <a:pt x="755" y="103"/>
                  </a:moveTo>
                  <a:cubicBezTo>
                    <a:pt x="859" y="103"/>
                    <a:pt x="859" y="103"/>
                    <a:pt x="859" y="103"/>
                  </a:cubicBezTo>
                  <a:cubicBezTo>
                    <a:pt x="859" y="131"/>
                    <a:pt x="859" y="131"/>
                    <a:pt x="859" y="131"/>
                  </a:cubicBezTo>
                  <a:cubicBezTo>
                    <a:pt x="755" y="131"/>
                    <a:pt x="755" y="131"/>
                    <a:pt x="755" y="131"/>
                  </a:cubicBezTo>
                  <a:lnTo>
                    <a:pt x="755" y="103"/>
                  </a:lnTo>
                  <a:close/>
                  <a:moveTo>
                    <a:pt x="344" y="26"/>
                  </a:moveTo>
                  <a:cubicBezTo>
                    <a:pt x="511" y="26"/>
                    <a:pt x="511" y="26"/>
                    <a:pt x="511" y="26"/>
                  </a:cubicBezTo>
                  <a:cubicBezTo>
                    <a:pt x="549" y="76"/>
                    <a:pt x="549" y="76"/>
                    <a:pt x="549" y="76"/>
                  </a:cubicBezTo>
                  <a:cubicBezTo>
                    <a:pt x="306" y="76"/>
                    <a:pt x="306" y="76"/>
                    <a:pt x="306" y="76"/>
                  </a:cubicBezTo>
                  <a:lnTo>
                    <a:pt x="344" y="26"/>
                  </a:lnTo>
                  <a:close/>
                  <a:moveTo>
                    <a:pt x="63" y="161"/>
                  </a:moveTo>
                  <a:cubicBezTo>
                    <a:pt x="131" y="161"/>
                    <a:pt x="131" y="161"/>
                    <a:pt x="131" y="161"/>
                  </a:cubicBezTo>
                  <a:cubicBezTo>
                    <a:pt x="185" y="103"/>
                    <a:pt x="185" y="103"/>
                    <a:pt x="185" y="103"/>
                  </a:cubicBezTo>
                  <a:cubicBezTo>
                    <a:pt x="599" y="103"/>
                    <a:pt x="599" y="103"/>
                    <a:pt x="599" y="103"/>
                  </a:cubicBezTo>
                  <a:cubicBezTo>
                    <a:pt x="599" y="158"/>
                    <a:pt x="599" y="158"/>
                    <a:pt x="599" y="158"/>
                  </a:cubicBezTo>
                  <a:cubicBezTo>
                    <a:pt x="885" y="158"/>
                    <a:pt x="885" y="158"/>
                    <a:pt x="885" y="158"/>
                  </a:cubicBezTo>
                  <a:cubicBezTo>
                    <a:pt x="885" y="103"/>
                    <a:pt x="885" y="103"/>
                    <a:pt x="885" y="103"/>
                  </a:cubicBezTo>
                  <a:cubicBezTo>
                    <a:pt x="889" y="103"/>
                    <a:pt x="889" y="103"/>
                    <a:pt x="889" y="103"/>
                  </a:cubicBezTo>
                  <a:cubicBezTo>
                    <a:pt x="993" y="193"/>
                    <a:pt x="993" y="193"/>
                    <a:pt x="993" y="193"/>
                  </a:cubicBezTo>
                  <a:cubicBezTo>
                    <a:pt x="949" y="226"/>
                    <a:pt x="949" y="226"/>
                    <a:pt x="949" y="226"/>
                  </a:cubicBezTo>
                  <a:cubicBezTo>
                    <a:pt x="930" y="197"/>
                    <a:pt x="898" y="178"/>
                    <a:pt x="861" y="178"/>
                  </a:cubicBezTo>
                  <a:cubicBezTo>
                    <a:pt x="810" y="178"/>
                    <a:pt x="767" y="216"/>
                    <a:pt x="758" y="265"/>
                  </a:cubicBezTo>
                  <a:cubicBezTo>
                    <a:pt x="750" y="216"/>
                    <a:pt x="707" y="178"/>
                    <a:pt x="655" y="178"/>
                  </a:cubicBezTo>
                  <a:cubicBezTo>
                    <a:pt x="604" y="178"/>
                    <a:pt x="561" y="216"/>
                    <a:pt x="552" y="265"/>
                  </a:cubicBezTo>
                  <a:cubicBezTo>
                    <a:pt x="543" y="216"/>
                    <a:pt x="500" y="178"/>
                    <a:pt x="449" y="178"/>
                  </a:cubicBezTo>
                  <a:cubicBezTo>
                    <a:pt x="397" y="178"/>
                    <a:pt x="355" y="216"/>
                    <a:pt x="346" y="265"/>
                  </a:cubicBezTo>
                  <a:cubicBezTo>
                    <a:pt x="337" y="216"/>
                    <a:pt x="294" y="178"/>
                    <a:pt x="243" y="178"/>
                  </a:cubicBezTo>
                  <a:cubicBezTo>
                    <a:pt x="198" y="178"/>
                    <a:pt x="160" y="206"/>
                    <a:pt x="145" y="245"/>
                  </a:cubicBezTo>
                  <a:lnTo>
                    <a:pt x="63" y="161"/>
                  </a:lnTo>
                  <a:close/>
                  <a:moveTo>
                    <a:pt x="243" y="361"/>
                  </a:moveTo>
                  <a:cubicBezTo>
                    <a:pt x="199" y="361"/>
                    <a:pt x="164" y="326"/>
                    <a:pt x="164" y="283"/>
                  </a:cubicBezTo>
                  <a:cubicBezTo>
                    <a:pt x="164" y="240"/>
                    <a:pt x="199" y="205"/>
                    <a:pt x="243" y="205"/>
                  </a:cubicBezTo>
                  <a:cubicBezTo>
                    <a:pt x="286" y="205"/>
                    <a:pt x="321" y="240"/>
                    <a:pt x="321" y="283"/>
                  </a:cubicBezTo>
                  <a:cubicBezTo>
                    <a:pt x="321" y="326"/>
                    <a:pt x="286" y="361"/>
                    <a:pt x="243" y="361"/>
                  </a:cubicBezTo>
                  <a:close/>
                  <a:moveTo>
                    <a:pt x="449" y="361"/>
                  </a:moveTo>
                  <a:cubicBezTo>
                    <a:pt x="406" y="361"/>
                    <a:pt x="371" y="326"/>
                    <a:pt x="371" y="283"/>
                  </a:cubicBezTo>
                  <a:cubicBezTo>
                    <a:pt x="371" y="240"/>
                    <a:pt x="406" y="205"/>
                    <a:pt x="449" y="205"/>
                  </a:cubicBezTo>
                  <a:cubicBezTo>
                    <a:pt x="492" y="205"/>
                    <a:pt x="527" y="240"/>
                    <a:pt x="527" y="283"/>
                  </a:cubicBezTo>
                  <a:cubicBezTo>
                    <a:pt x="527" y="326"/>
                    <a:pt x="492" y="361"/>
                    <a:pt x="449" y="361"/>
                  </a:cubicBezTo>
                  <a:close/>
                  <a:moveTo>
                    <a:pt x="655" y="361"/>
                  </a:moveTo>
                  <a:cubicBezTo>
                    <a:pt x="612" y="361"/>
                    <a:pt x="577" y="326"/>
                    <a:pt x="577" y="283"/>
                  </a:cubicBezTo>
                  <a:cubicBezTo>
                    <a:pt x="577" y="240"/>
                    <a:pt x="612" y="205"/>
                    <a:pt x="655" y="205"/>
                  </a:cubicBezTo>
                  <a:cubicBezTo>
                    <a:pt x="698" y="205"/>
                    <a:pt x="734" y="240"/>
                    <a:pt x="734" y="283"/>
                  </a:cubicBezTo>
                  <a:cubicBezTo>
                    <a:pt x="734" y="326"/>
                    <a:pt x="698" y="361"/>
                    <a:pt x="655" y="361"/>
                  </a:cubicBezTo>
                  <a:close/>
                  <a:moveTo>
                    <a:pt x="861" y="361"/>
                  </a:moveTo>
                  <a:cubicBezTo>
                    <a:pt x="818" y="361"/>
                    <a:pt x="783" y="326"/>
                    <a:pt x="783" y="283"/>
                  </a:cubicBezTo>
                  <a:cubicBezTo>
                    <a:pt x="783" y="240"/>
                    <a:pt x="818" y="205"/>
                    <a:pt x="861" y="205"/>
                  </a:cubicBezTo>
                  <a:cubicBezTo>
                    <a:pt x="905" y="205"/>
                    <a:pt x="940" y="240"/>
                    <a:pt x="940" y="283"/>
                  </a:cubicBezTo>
                  <a:cubicBezTo>
                    <a:pt x="940" y="326"/>
                    <a:pt x="905" y="361"/>
                    <a:pt x="861" y="361"/>
                  </a:cubicBezTo>
                  <a:close/>
                  <a:moveTo>
                    <a:pt x="861" y="361"/>
                  </a:moveTo>
                  <a:cubicBezTo>
                    <a:pt x="861" y="361"/>
                    <a:pt x="861" y="361"/>
                    <a:pt x="861" y="36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4570" y="1248"/>
              <a:ext cx="30" cy="31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6 w 90"/>
                <a:gd name="T13" fmla="*/ 45 h 90"/>
                <a:gd name="T14" fmla="*/ 45 w 90"/>
                <a:gd name="T15" fmla="*/ 26 h 90"/>
                <a:gd name="T16" fmla="*/ 63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4" y="64"/>
                    <a:pt x="26" y="55"/>
                    <a:pt x="26" y="45"/>
                  </a:cubicBezTo>
                  <a:cubicBezTo>
                    <a:pt x="26" y="35"/>
                    <a:pt x="34" y="26"/>
                    <a:pt x="45" y="26"/>
                  </a:cubicBezTo>
                  <a:cubicBezTo>
                    <a:pt x="55" y="26"/>
                    <a:pt x="63" y="35"/>
                    <a:pt x="63" y="45"/>
                  </a:cubicBezTo>
                  <a:cubicBezTo>
                    <a:pt x="63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auto">
            <a:xfrm>
              <a:off x="4640" y="1248"/>
              <a:ext cx="30" cy="31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6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6" y="55"/>
                    <a:pt x="26" y="45"/>
                  </a:cubicBezTo>
                  <a:cubicBezTo>
                    <a:pt x="26" y="35"/>
                    <a:pt x="35" y="26"/>
                    <a:pt x="45" y="26"/>
                  </a:cubicBezTo>
                  <a:cubicBezTo>
                    <a:pt x="55" y="26"/>
                    <a:pt x="64" y="35"/>
                    <a:pt x="64" y="45"/>
                  </a:cubicBezTo>
                  <a:cubicBezTo>
                    <a:pt x="64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4710" y="1248"/>
              <a:ext cx="30" cy="31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7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7" y="55"/>
                    <a:pt x="27" y="45"/>
                  </a:cubicBezTo>
                  <a:cubicBezTo>
                    <a:pt x="27" y="35"/>
                    <a:pt x="35" y="26"/>
                    <a:pt x="45" y="26"/>
                  </a:cubicBezTo>
                  <a:cubicBezTo>
                    <a:pt x="55" y="26"/>
                    <a:pt x="64" y="35"/>
                    <a:pt x="64" y="45"/>
                  </a:cubicBezTo>
                  <a:cubicBezTo>
                    <a:pt x="64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auto">
            <a:xfrm>
              <a:off x="4780" y="1248"/>
              <a:ext cx="30" cy="31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7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1" y="0"/>
                    <a:pt x="0" y="20"/>
                    <a:pt x="0" y="45"/>
                  </a:cubicBezTo>
                  <a:cubicBezTo>
                    <a:pt x="0" y="70"/>
                    <a:pt x="21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7" y="55"/>
                    <a:pt x="27" y="45"/>
                  </a:cubicBezTo>
                  <a:cubicBezTo>
                    <a:pt x="27" y="35"/>
                    <a:pt x="35" y="26"/>
                    <a:pt x="45" y="26"/>
                  </a:cubicBezTo>
                  <a:cubicBezTo>
                    <a:pt x="56" y="26"/>
                    <a:pt x="64" y="35"/>
                    <a:pt x="64" y="45"/>
                  </a:cubicBezTo>
                  <a:cubicBezTo>
                    <a:pt x="64" y="55"/>
                    <a:pt x="56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auto">
            <a:xfrm>
              <a:off x="4567" y="1212"/>
              <a:ext cx="36" cy="9"/>
            </a:xfrm>
            <a:custGeom>
              <a:avLst/>
              <a:gdLst>
                <a:gd name="T0" fmla="*/ 13 w 108"/>
                <a:gd name="T1" fmla="*/ 27 h 27"/>
                <a:gd name="T2" fmla="*/ 94 w 108"/>
                <a:gd name="T3" fmla="*/ 27 h 27"/>
                <a:gd name="T4" fmla="*/ 108 w 108"/>
                <a:gd name="T5" fmla="*/ 13 h 27"/>
                <a:gd name="T6" fmla="*/ 94 w 108"/>
                <a:gd name="T7" fmla="*/ 0 h 27"/>
                <a:gd name="T8" fmla="*/ 13 w 108"/>
                <a:gd name="T9" fmla="*/ 0 h 27"/>
                <a:gd name="T10" fmla="*/ 0 w 108"/>
                <a:gd name="T11" fmla="*/ 13 h 27"/>
                <a:gd name="T12" fmla="*/ 13 w 108"/>
                <a:gd name="T13" fmla="*/ 27 h 27"/>
                <a:gd name="T14" fmla="*/ 13 w 108"/>
                <a:gd name="T15" fmla="*/ 27 h 27"/>
                <a:gd name="T16" fmla="*/ 13 w 10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7">
                  <a:moveTo>
                    <a:pt x="13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102" y="27"/>
                    <a:pt x="108" y="21"/>
                    <a:pt x="108" y="13"/>
                  </a:cubicBezTo>
                  <a:cubicBezTo>
                    <a:pt x="108" y="6"/>
                    <a:pt x="102" y="0"/>
                    <a:pt x="9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lose/>
                  <a:moveTo>
                    <a:pt x="13" y="27"/>
                  </a:moveTo>
                  <a:cubicBezTo>
                    <a:pt x="13" y="27"/>
                    <a:pt x="13" y="27"/>
                    <a:pt x="13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4637" y="1212"/>
              <a:ext cx="36" cy="9"/>
            </a:xfrm>
            <a:custGeom>
              <a:avLst/>
              <a:gdLst>
                <a:gd name="T0" fmla="*/ 13 w 108"/>
                <a:gd name="T1" fmla="*/ 27 h 27"/>
                <a:gd name="T2" fmla="*/ 95 w 108"/>
                <a:gd name="T3" fmla="*/ 27 h 27"/>
                <a:gd name="T4" fmla="*/ 108 w 108"/>
                <a:gd name="T5" fmla="*/ 13 h 27"/>
                <a:gd name="T6" fmla="*/ 95 w 108"/>
                <a:gd name="T7" fmla="*/ 0 h 27"/>
                <a:gd name="T8" fmla="*/ 13 w 108"/>
                <a:gd name="T9" fmla="*/ 0 h 27"/>
                <a:gd name="T10" fmla="*/ 0 w 108"/>
                <a:gd name="T11" fmla="*/ 13 h 27"/>
                <a:gd name="T12" fmla="*/ 13 w 108"/>
                <a:gd name="T13" fmla="*/ 27 h 27"/>
                <a:gd name="T14" fmla="*/ 13 w 108"/>
                <a:gd name="T15" fmla="*/ 27 h 27"/>
                <a:gd name="T16" fmla="*/ 13 w 10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7">
                  <a:moveTo>
                    <a:pt x="13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102" y="27"/>
                    <a:pt x="108" y="21"/>
                    <a:pt x="108" y="13"/>
                  </a:cubicBezTo>
                  <a:cubicBezTo>
                    <a:pt x="108" y="6"/>
                    <a:pt x="102" y="0"/>
                    <a:pt x="9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lose/>
                  <a:moveTo>
                    <a:pt x="13" y="27"/>
                  </a:moveTo>
                  <a:cubicBezTo>
                    <a:pt x="13" y="27"/>
                    <a:pt x="13" y="27"/>
                    <a:pt x="13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20"/>
          <p:cNvGrpSpPr>
            <a:grpSpLocks noChangeAspect="1"/>
          </p:cNvGrpSpPr>
          <p:nvPr/>
        </p:nvGrpSpPr>
        <p:grpSpPr bwMode="auto">
          <a:xfrm>
            <a:off x="7996238" y="1547813"/>
            <a:ext cx="766762" cy="768350"/>
            <a:chOff x="5037" y="975"/>
            <a:chExt cx="483" cy="484"/>
          </a:xfrm>
        </p:grpSpPr>
        <p:sp>
          <p:nvSpPr>
            <p:cNvPr id="24" name="AutoShape 19"/>
            <p:cNvSpPr>
              <a:spLocks noChangeAspect="1" noChangeArrowheads="1" noTextEdit="1"/>
            </p:cNvSpPr>
            <p:nvPr/>
          </p:nvSpPr>
          <p:spPr bwMode="auto">
            <a:xfrm>
              <a:off x="5037" y="975"/>
              <a:ext cx="483" cy="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/>
            <p:cNvSpPr>
              <a:spLocks noEditPoints="1"/>
            </p:cNvSpPr>
            <p:nvPr/>
          </p:nvSpPr>
          <p:spPr bwMode="auto">
            <a:xfrm>
              <a:off x="5037" y="975"/>
              <a:ext cx="483" cy="484"/>
            </a:xfrm>
            <a:custGeom>
              <a:avLst/>
              <a:gdLst>
                <a:gd name="T0" fmla="*/ 722 w 1445"/>
                <a:gd name="T1" fmla="*/ 0 h 1445"/>
                <a:gd name="T2" fmla="*/ 0 w 1445"/>
                <a:gd name="T3" fmla="*/ 723 h 1445"/>
                <a:gd name="T4" fmla="*/ 722 w 1445"/>
                <a:gd name="T5" fmla="*/ 1445 h 1445"/>
                <a:gd name="T6" fmla="*/ 1445 w 1445"/>
                <a:gd name="T7" fmla="*/ 723 h 1445"/>
                <a:gd name="T8" fmla="*/ 722 w 1445"/>
                <a:gd name="T9" fmla="*/ 0 h 1445"/>
                <a:gd name="T10" fmla="*/ 1208 w 1445"/>
                <a:gd name="T11" fmla="*/ 1208 h 1445"/>
                <a:gd name="T12" fmla="*/ 722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3 h 1445"/>
                <a:gd name="T18" fmla="*/ 237 w 1445"/>
                <a:gd name="T19" fmla="*/ 237 h 1445"/>
                <a:gd name="T20" fmla="*/ 722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3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2" y="0"/>
                  </a:moveTo>
                  <a:cubicBezTo>
                    <a:pt x="323" y="0"/>
                    <a:pt x="0" y="324"/>
                    <a:pt x="0" y="723"/>
                  </a:cubicBezTo>
                  <a:cubicBezTo>
                    <a:pt x="0" y="1122"/>
                    <a:pt x="323" y="1445"/>
                    <a:pt x="722" y="1445"/>
                  </a:cubicBezTo>
                  <a:cubicBezTo>
                    <a:pt x="1122" y="1445"/>
                    <a:pt x="1445" y="1122"/>
                    <a:pt x="1445" y="723"/>
                  </a:cubicBezTo>
                  <a:cubicBezTo>
                    <a:pt x="1445" y="324"/>
                    <a:pt x="1122" y="0"/>
                    <a:pt x="722" y="0"/>
                  </a:cubicBezTo>
                  <a:close/>
                  <a:moveTo>
                    <a:pt x="1208" y="1208"/>
                  </a:moveTo>
                  <a:cubicBezTo>
                    <a:pt x="1078" y="1338"/>
                    <a:pt x="906" y="1409"/>
                    <a:pt x="722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7" y="1079"/>
                    <a:pt x="36" y="906"/>
                    <a:pt x="36" y="723"/>
                  </a:cubicBezTo>
                  <a:cubicBezTo>
                    <a:pt x="36" y="539"/>
                    <a:pt x="107" y="367"/>
                    <a:pt x="237" y="237"/>
                  </a:cubicBezTo>
                  <a:cubicBezTo>
                    <a:pt x="367" y="108"/>
                    <a:pt x="539" y="36"/>
                    <a:pt x="722" y="36"/>
                  </a:cubicBezTo>
                  <a:cubicBezTo>
                    <a:pt x="906" y="36"/>
                    <a:pt x="1078" y="108"/>
                    <a:pt x="1208" y="237"/>
                  </a:cubicBezTo>
                  <a:cubicBezTo>
                    <a:pt x="1338" y="367"/>
                    <a:pt x="1409" y="539"/>
                    <a:pt x="1409" y="723"/>
                  </a:cubicBezTo>
                  <a:cubicBezTo>
                    <a:pt x="1409" y="906"/>
                    <a:pt x="1338" y="1079"/>
                    <a:pt x="1208" y="120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auto">
            <a:xfrm>
              <a:off x="5105" y="1148"/>
              <a:ext cx="346" cy="130"/>
            </a:xfrm>
            <a:custGeom>
              <a:avLst/>
              <a:gdLst>
                <a:gd name="T0" fmla="*/ 899 w 1035"/>
                <a:gd name="T1" fmla="*/ 76 h 388"/>
                <a:gd name="T2" fmla="*/ 524 w 1035"/>
                <a:gd name="T3" fmla="*/ 0 h 388"/>
                <a:gd name="T4" fmla="*/ 312 w 1035"/>
                <a:gd name="T5" fmla="*/ 24 h 388"/>
                <a:gd name="T6" fmla="*/ 78 w 1035"/>
                <a:gd name="T7" fmla="*/ 50 h 388"/>
                <a:gd name="T8" fmla="*/ 273 w 1035"/>
                <a:gd name="T9" fmla="*/ 76 h 388"/>
                <a:gd name="T10" fmla="*/ 120 w 1035"/>
                <a:gd name="T11" fmla="*/ 135 h 388"/>
                <a:gd name="T12" fmla="*/ 138 w 1035"/>
                <a:gd name="T13" fmla="*/ 276 h 388"/>
                <a:gd name="T14" fmla="*/ 243 w 1035"/>
                <a:gd name="T15" fmla="*/ 388 h 388"/>
                <a:gd name="T16" fmla="*/ 449 w 1035"/>
                <a:gd name="T17" fmla="*/ 388 h 388"/>
                <a:gd name="T18" fmla="*/ 655 w 1035"/>
                <a:gd name="T19" fmla="*/ 388 h 388"/>
                <a:gd name="T20" fmla="*/ 861 w 1035"/>
                <a:gd name="T21" fmla="*/ 388 h 388"/>
                <a:gd name="T22" fmla="*/ 961 w 1035"/>
                <a:gd name="T23" fmla="*/ 250 h 388"/>
                <a:gd name="T24" fmla="*/ 625 w 1035"/>
                <a:gd name="T25" fmla="*/ 103 h 388"/>
                <a:gd name="T26" fmla="*/ 729 w 1035"/>
                <a:gd name="T27" fmla="*/ 131 h 388"/>
                <a:gd name="T28" fmla="*/ 625 w 1035"/>
                <a:gd name="T29" fmla="*/ 103 h 388"/>
                <a:gd name="T30" fmla="*/ 859 w 1035"/>
                <a:gd name="T31" fmla="*/ 103 h 388"/>
                <a:gd name="T32" fmla="*/ 755 w 1035"/>
                <a:gd name="T33" fmla="*/ 131 h 388"/>
                <a:gd name="T34" fmla="*/ 344 w 1035"/>
                <a:gd name="T35" fmla="*/ 26 h 388"/>
                <a:gd name="T36" fmla="*/ 549 w 1035"/>
                <a:gd name="T37" fmla="*/ 76 h 388"/>
                <a:gd name="T38" fmla="*/ 344 w 1035"/>
                <a:gd name="T39" fmla="*/ 26 h 388"/>
                <a:gd name="T40" fmla="*/ 131 w 1035"/>
                <a:gd name="T41" fmla="*/ 161 h 388"/>
                <a:gd name="T42" fmla="*/ 599 w 1035"/>
                <a:gd name="T43" fmla="*/ 103 h 388"/>
                <a:gd name="T44" fmla="*/ 885 w 1035"/>
                <a:gd name="T45" fmla="*/ 158 h 388"/>
                <a:gd name="T46" fmla="*/ 889 w 1035"/>
                <a:gd name="T47" fmla="*/ 103 h 388"/>
                <a:gd name="T48" fmla="*/ 949 w 1035"/>
                <a:gd name="T49" fmla="*/ 226 h 388"/>
                <a:gd name="T50" fmla="*/ 758 w 1035"/>
                <a:gd name="T51" fmla="*/ 265 h 388"/>
                <a:gd name="T52" fmla="*/ 552 w 1035"/>
                <a:gd name="T53" fmla="*/ 265 h 388"/>
                <a:gd name="T54" fmla="*/ 346 w 1035"/>
                <a:gd name="T55" fmla="*/ 265 h 388"/>
                <a:gd name="T56" fmla="*/ 145 w 1035"/>
                <a:gd name="T57" fmla="*/ 245 h 388"/>
                <a:gd name="T58" fmla="*/ 243 w 1035"/>
                <a:gd name="T59" fmla="*/ 361 h 388"/>
                <a:gd name="T60" fmla="*/ 243 w 1035"/>
                <a:gd name="T61" fmla="*/ 205 h 388"/>
                <a:gd name="T62" fmla="*/ 243 w 1035"/>
                <a:gd name="T63" fmla="*/ 361 h 388"/>
                <a:gd name="T64" fmla="*/ 371 w 1035"/>
                <a:gd name="T65" fmla="*/ 283 h 388"/>
                <a:gd name="T66" fmla="*/ 527 w 1035"/>
                <a:gd name="T67" fmla="*/ 283 h 388"/>
                <a:gd name="T68" fmla="*/ 655 w 1035"/>
                <a:gd name="T69" fmla="*/ 361 h 388"/>
                <a:gd name="T70" fmla="*/ 655 w 1035"/>
                <a:gd name="T71" fmla="*/ 205 h 388"/>
                <a:gd name="T72" fmla="*/ 655 w 1035"/>
                <a:gd name="T73" fmla="*/ 361 h 388"/>
                <a:gd name="T74" fmla="*/ 783 w 1035"/>
                <a:gd name="T75" fmla="*/ 283 h 388"/>
                <a:gd name="T76" fmla="*/ 940 w 1035"/>
                <a:gd name="T77" fmla="*/ 283 h 388"/>
                <a:gd name="T78" fmla="*/ 861 w 1035"/>
                <a:gd name="T79" fmla="*/ 36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5" h="388">
                  <a:moveTo>
                    <a:pt x="1035" y="195"/>
                  </a:moveTo>
                  <a:cubicBezTo>
                    <a:pt x="899" y="76"/>
                    <a:pt x="899" y="76"/>
                    <a:pt x="899" y="76"/>
                  </a:cubicBezTo>
                  <a:cubicBezTo>
                    <a:pt x="581" y="76"/>
                    <a:pt x="581" y="76"/>
                    <a:pt x="581" y="76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293" y="50"/>
                    <a:pt x="293" y="50"/>
                    <a:pt x="293" y="50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173" y="76"/>
                    <a:pt x="173" y="76"/>
                    <a:pt x="173" y="76"/>
                  </a:cubicBezTo>
                  <a:cubicBezTo>
                    <a:pt x="120" y="135"/>
                    <a:pt x="120" y="135"/>
                    <a:pt x="120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138" y="276"/>
                    <a:pt x="138" y="276"/>
                    <a:pt x="138" y="276"/>
                  </a:cubicBezTo>
                  <a:cubicBezTo>
                    <a:pt x="138" y="278"/>
                    <a:pt x="138" y="281"/>
                    <a:pt x="138" y="283"/>
                  </a:cubicBezTo>
                  <a:cubicBezTo>
                    <a:pt x="138" y="341"/>
                    <a:pt x="185" y="388"/>
                    <a:pt x="243" y="388"/>
                  </a:cubicBezTo>
                  <a:cubicBezTo>
                    <a:pt x="294" y="388"/>
                    <a:pt x="337" y="350"/>
                    <a:pt x="346" y="301"/>
                  </a:cubicBezTo>
                  <a:cubicBezTo>
                    <a:pt x="355" y="350"/>
                    <a:pt x="397" y="388"/>
                    <a:pt x="449" y="388"/>
                  </a:cubicBezTo>
                  <a:cubicBezTo>
                    <a:pt x="500" y="388"/>
                    <a:pt x="543" y="350"/>
                    <a:pt x="552" y="301"/>
                  </a:cubicBezTo>
                  <a:cubicBezTo>
                    <a:pt x="561" y="350"/>
                    <a:pt x="604" y="388"/>
                    <a:pt x="655" y="388"/>
                  </a:cubicBezTo>
                  <a:cubicBezTo>
                    <a:pt x="707" y="388"/>
                    <a:pt x="750" y="350"/>
                    <a:pt x="758" y="301"/>
                  </a:cubicBezTo>
                  <a:cubicBezTo>
                    <a:pt x="767" y="350"/>
                    <a:pt x="810" y="388"/>
                    <a:pt x="861" y="388"/>
                  </a:cubicBezTo>
                  <a:cubicBezTo>
                    <a:pt x="919" y="388"/>
                    <a:pt x="966" y="341"/>
                    <a:pt x="966" y="283"/>
                  </a:cubicBezTo>
                  <a:cubicBezTo>
                    <a:pt x="966" y="271"/>
                    <a:pt x="964" y="260"/>
                    <a:pt x="961" y="250"/>
                  </a:cubicBezTo>
                  <a:lnTo>
                    <a:pt x="1035" y="195"/>
                  </a:lnTo>
                  <a:close/>
                  <a:moveTo>
                    <a:pt x="625" y="103"/>
                  </a:moveTo>
                  <a:cubicBezTo>
                    <a:pt x="729" y="103"/>
                    <a:pt x="729" y="103"/>
                    <a:pt x="729" y="103"/>
                  </a:cubicBezTo>
                  <a:cubicBezTo>
                    <a:pt x="729" y="131"/>
                    <a:pt x="729" y="131"/>
                    <a:pt x="729" y="131"/>
                  </a:cubicBezTo>
                  <a:cubicBezTo>
                    <a:pt x="625" y="131"/>
                    <a:pt x="625" y="131"/>
                    <a:pt x="625" y="131"/>
                  </a:cubicBezTo>
                  <a:lnTo>
                    <a:pt x="625" y="103"/>
                  </a:lnTo>
                  <a:close/>
                  <a:moveTo>
                    <a:pt x="755" y="103"/>
                  </a:moveTo>
                  <a:cubicBezTo>
                    <a:pt x="859" y="103"/>
                    <a:pt x="859" y="103"/>
                    <a:pt x="859" y="103"/>
                  </a:cubicBezTo>
                  <a:cubicBezTo>
                    <a:pt x="859" y="131"/>
                    <a:pt x="859" y="131"/>
                    <a:pt x="859" y="131"/>
                  </a:cubicBezTo>
                  <a:cubicBezTo>
                    <a:pt x="755" y="131"/>
                    <a:pt x="755" y="131"/>
                    <a:pt x="755" y="131"/>
                  </a:cubicBezTo>
                  <a:lnTo>
                    <a:pt x="755" y="103"/>
                  </a:lnTo>
                  <a:close/>
                  <a:moveTo>
                    <a:pt x="344" y="26"/>
                  </a:moveTo>
                  <a:cubicBezTo>
                    <a:pt x="511" y="26"/>
                    <a:pt x="511" y="26"/>
                    <a:pt x="511" y="26"/>
                  </a:cubicBezTo>
                  <a:cubicBezTo>
                    <a:pt x="549" y="76"/>
                    <a:pt x="549" y="76"/>
                    <a:pt x="549" y="76"/>
                  </a:cubicBezTo>
                  <a:cubicBezTo>
                    <a:pt x="306" y="76"/>
                    <a:pt x="306" y="76"/>
                    <a:pt x="306" y="76"/>
                  </a:cubicBezTo>
                  <a:lnTo>
                    <a:pt x="344" y="26"/>
                  </a:lnTo>
                  <a:close/>
                  <a:moveTo>
                    <a:pt x="63" y="161"/>
                  </a:moveTo>
                  <a:cubicBezTo>
                    <a:pt x="131" y="161"/>
                    <a:pt x="131" y="161"/>
                    <a:pt x="131" y="161"/>
                  </a:cubicBezTo>
                  <a:cubicBezTo>
                    <a:pt x="185" y="103"/>
                    <a:pt x="185" y="103"/>
                    <a:pt x="185" y="103"/>
                  </a:cubicBezTo>
                  <a:cubicBezTo>
                    <a:pt x="599" y="103"/>
                    <a:pt x="599" y="103"/>
                    <a:pt x="599" y="103"/>
                  </a:cubicBezTo>
                  <a:cubicBezTo>
                    <a:pt x="599" y="158"/>
                    <a:pt x="599" y="158"/>
                    <a:pt x="599" y="158"/>
                  </a:cubicBezTo>
                  <a:cubicBezTo>
                    <a:pt x="885" y="158"/>
                    <a:pt x="885" y="158"/>
                    <a:pt x="885" y="158"/>
                  </a:cubicBezTo>
                  <a:cubicBezTo>
                    <a:pt x="885" y="103"/>
                    <a:pt x="885" y="103"/>
                    <a:pt x="885" y="103"/>
                  </a:cubicBezTo>
                  <a:cubicBezTo>
                    <a:pt x="889" y="103"/>
                    <a:pt x="889" y="103"/>
                    <a:pt x="889" y="103"/>
                  </a:cubicBezTo>
                  <a:cubicBezTo>
                    <a:pt x="993" y="193"/>
                    <a:pt x="993" y="193"/>
                    <a:pt x="993" y="193"/>
                  </a:cubicBezTo>
                  <a:cubicBezTo>
                    <a:pt x="949" y="226"/>
                    <a:pt x="949" y="226"/>
                    <a:pt x="949" y="226"/>
                  </a:cubicBezTo>
                  <a:cubicBezTo>
                    <a:pt x="930" y="197"/>
                    <a:pt x="898" y="178"/>
                    <a:pt x="861" y="178"/>
                  </a:cubicBezTo>
                  <a:cubicBezTo>
                    <a:pt x="810" y="178"/>
                    <a:pt x="767" y="216"/>
                    <a:pt x="758" y="265"/>
                  </a:cubicBezTo>
                  <a:cubicBezTo>
                    <a:pt x="750" y="216"/>
                    <a:pt x="707" y="178"/>
                    <a:pt x="655" y="178"/>
                  </a:cubicBezTo>
                  <a:cubicBezTo>
                    <a:pt x="604" y="178"/>
                    <a:pt x="561" y="216"/>
                    <a:pt x="552" y="265"/>
                  </a:cubicBezTo>
                  <a:cubicBezTo>
                    <a:pt x="543" y="216"/>
                    <a:pt x="500" y="178"/>
                    <a:pt x="449" y="178"/>
                  </a:cubicBezTo>
                  <a:cubicBezTo>
                    <a:pt x="397" y="178"/>
                    <a:pt x="355" y="216"/>
                    <a:pt x="346" y="265"/>
                  </a:cubicBezTo>
                  <a:cubicBezTo>
                    <a:pt x="337" y="216"/>
                    <a:pt x="294" y="178"/>
                    <a:pt x="243" y="178"/>
                  </a:cubicBezTo>
                  <a:cubicBezTo>
                    <a:pt x="198" y="178"/>
                    <a:pt x="160" y="206"/>
                    <a:pt x="145" y="245"/>
                  </a:cubicBezTo>
                  <a:lnTo>
                    <a:pt x="63" y="161"/>
                  </a:lnTo>
                  <a:close/>
                  <a:moveTo>
                    <a:pt x="243" y="361"/>
                  </a:moveTo>
                  <a:cubicBezTo>
                    <a:pt x="199" y="361"/>
                    <a:pt x="164" y="326"/>
                    <a:pt x="164" y="283"/>
                  </a:cubicBezTo>
                  <a:cubicBezTo>
                    <a:pt x="164" y="240"/>
                    <a:pt x="199" y="205"/>
                    <a:pt x="243" y="205"/>
                  </a:cubicBezTo>
                  <a:cubicBezTo>
                    <a:pt x="286" y="205"/>
                    <a:pt x="321" y="240"/>
                    <a:pt x="321" y="283"/>
                  </a:cubicBezTo>
                  <a:cubicBezTo>
                    <a:pt x="321" y="326"/>
                    <a:pt x="286" y="361"/>
                    <a:pt x="243" y="361"/>
                  </a:cubicBezTo>
                  <a:close/>
                  <a:moveTo>
                    <a:pt x="449" y="361"/>
                  </a:moveTo>
                  <a:cubicBezTo>
                    <a:pt x="406" y="361"/>
                    <a:pt x="371" y="326"/>
                    <a:pt x="371" y="283"/>
                  </a:cubicBezTo>
                  <a:cubicBezTo>
                    <a:pt x="371" y="240"/>
                    <a:pt x="406" y="205"/>
                    <a:pt x="449" y="205"/>
                  </a:cubicBezTo>
                  <a:cubicBezTo>
                    <a:pt x="492" y="205"/>
                    <a:pt x="527" y="240"/>
                    <a:pt x="527" y="283"/>
                  </a:cubicBezTo>
                  <a:cubicBezTo>
                    <a:pt x="527" y="326"/>
                    <a:pt x="492" y="361"/>
                    <a:pt x="449" y="361"/>
                  </a:cubicBezTo>
                  <a:close/>
                  <a:moveTo>
                    <a:pt x="655" y="361"/>
                  </a:moveTo>
                  <a:cubicBezTo>
                    <a:pt x="612" y="361"/>
                    <a:pt x="577" y="326"/>
                    <a:pt x="577" y="283"/>
                  </a:cubicBezTo>
                  <a:cubicBezTo>
                    <a:pt x="577" y="240"/>
                    <a:pt x="612" y="205"/>
                    <a:pt x="655" y="205"/>
                  </a:cubicBezTo>
                  <a:cubicBezTo>
                    <a:pt x="698" y="205"/>
                    <a:pt x="734" y="240"/>
                    <a:pt x="734" y="283"/>
                  </a:cubicBezTo>
                  <a:cubicBezTo>
                    <a:pt x="734" y="326"/>
                    <a:pt x="698" y="361"/>
                    <a:pt x="655" y="361"/>
                  </a:cubicBezTo>
                  <a:close/>
                  <a:moveTo>
                    <a:pt x="861" y="361"/>
                  </a:moveTo>
                  <a:cubicBezTo>
                    <a:pt x="818" y="361"/>
                    <a:pt x="783" y="326"/>
                    <a:pt x="783" y="283"/>
                  </a:cubicBezTo>
                  <a:cubicBezTo>
                    <a:pt x="783" y="240"/>
                    <a:pt x="818" y="205"/>
                    <a:pt x="861" y="205"/>
                  </a:cubicBezTo>
                  <a:cubicBezTo>
                    <a:pt x="905" y="205"/>
                    <a:pt x="940" y="240"/>
                    <a:pt x="940" y="283"/>
                  </a:cubicBezTo>
                  <a:cubicBezTo>
                    <a:pt x="940" y="326"/>
                    <a:pt x="905" y="361"/>
                    <a:pt x="861" y="361"/>
                  </a:cubicBezTo>
                  <a:close/>
                  <a:moveTo>
                    <a:pt x="861" y="361"/>
                  </a:moveTo>
                  <a:cubicBezTo>
                    <a:pt x="861" y="361"/>
                    <a:pt x="861" y="361"/>
                    <a:pt x="861" y="36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/>
            <p:cNvSpPr>
              <a:spLocks noEditPoints="1"/>
            </p:cNvSpPr>
            <p:nvPr/>
          </p:nvSpPr>
          <p:spPr bwMode="auto">
            <a:xfrm>
              <a:off x="5171" y="1228"/>
              <a:ext cx="30" cy="30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6 w 90"/>
                <a:gd name="T13" fmla="*/ 45 h 90"/>
                <a:gd name="T14" fmla="*/ 45 w 90"/>
                <a:gd name="T15" fmla="*/ 26 h 90"/>
                <a:gd name="T16" fmla="*/ 63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4" y="64"/>
                    <a:pt x="26" y="55"/>
                    <a:pt x="26" y="45"/>
                  </a:cubicBezTo>
                  <a:cubicBezTo>
                    <a:pt x="26" y="35"/>
                    <a:pt x="34" y="26"/>
                    <a:pt x="45" y="26"/>
                  </a:cubicBezTo>
                  <a:cubicBezTo>
                    <a:pt x="55" y="26"/>
                    <a:pt x="63" y="35"/>
                    <a:pt x="63" y="45"/>
                  </a:cubicBezTo>
                  <a:cubicBezTo>
                    <a:pt x="63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/>
            <p:cNvSpPr>
              <a:spLocks noEditPoints="1"/>
            </p:cNvSpPr>
            <p:nvPr/>
          </p:nvSpPr>
          <p:spPr bwMode="auto">
            <a:xfrm>
              <a:off x="5240" y="1228"/>
              <a:ext cx="30" cy="30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6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6" y="55"/>
                    <a:pt x="26" y="45"/>
                  </a:cubicBezTo>
                  <a:cubicBezTo>
                    <a:pt x="26" y="35"/>
                    <a:pt x="35" y="26"/>
                    <a:pt x="45" y="26"/>
                  </a:cubicBezTo>
                  <a:cubicBezTo>
                    <a:pt x="55" y="26"/>
                    <a:pt x="64" y="35"/>
                    <a:pt x="64" y="45"/>
                  </a:cubicBezTo>
                  <a:cubicBezTo>
                    <a:pt x="64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auto">
            <a:xfrm>
              <a:off x="5309" y="1228"/>
              <a:ext cx="30" cy="30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7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7" y="55"/>
                    <a:pt x="27" y="45"/>
                  </a:cubicBezTo>
                  <a:cubicBezTo>
                    <a:pt x="27" y="35"/>
                    <a:pt x="35" y="26"/>
                    <a:pt x="45" y="26"/>
                  </a:cubicBezTo>
                  <a:cubicBezTo>
                    <a:pt x="55" y="26"/>
                    <a:pt x="64" y="35"/>
                    <a:pt x="64" y="45"/>
                  </a:cubicBezTo>
                  <a:cubicBezTo>
                    <a:pt x="64" y="55"/>
                    <a:pt x="55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/>
            <p:cNvSpPr>
              <a:spLocks noEditPoints="1"/>
            </p:cNvSpPr>
            <p:nvPr/>
          </p:nvSpPr>
          <p:spPr bwMode="auto">
            <a:xfrm>
              <a:off x="5378" y="1228"/>
              <a:ext cx="30" cy="30"/>
            </a:xfrm>
            <a:custGeom>
              <a:avLst/>
              <a:gdLst>
                <a:gd name="T0" fmla="*/ 45 w 90"/>
                <a:gd name="T1" fmla="*/ 0 h 90"/>
                <a:gd name="T2" fmla="*/ 0 w 90"/>
                <a:gd name="T3" fmla="*/ 45 h 90"/>
                <a:gd name="T4" fmla="*/ 45 w 90"/>
                <a:gd name="T5" fmla="*/ 90 h 90"/>
                <a:gd name="T6" fmla="*/ 90 w 90"/>
                <a:gd name="T7" fmla="*/ 45 h 90"/>
                <a:gd name="T8" fmla="*/ 45 w 90"/>
                <a:gd name="T9" fmla="*/ 0 h 90"/>
                <a:gd name="T10" fmla="*/ 45 w 90"/>
                <a:gd name="T11" fmla="*/ 64 h 90"/>
                <a:gd name="T12" fmla="*/ 27 w 90"/>
                <a:gd name="T13" fmla="*/ 45 h 90"/>
                <a:gd name="T14" fmla="*/ 45 w 90"/>
                <a:gd name="T15" fmla="*/ 26 h 90"/>
                <a:gd name="T16" fmla="*/ 64 w 90"/>
                <a:gd name="T17" fmla="*/ 45 h 90"/>
                <a:gd name="T18" fmla="*/ 45 w 90"/>
                <a:gd name="T19" fmla="*/ 64 h 90"/>
                <a:gd name="T20" fmla="*/ 45 w 90"/>
                <a:gd name="T21" fmla="*/ 64 h 90"/>
                <a:gd name="T22" fmla="*/ 45 w 90"/>
                <a:gd name="T23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90">
                  <a:moveTo>
                    <a:pt x="45" y="0"/>
                  </a:moveTo>
                  <a:cubicBezTo>
                    <a:pt x="21" y="0"/>
                    <a:pt x="0" y="20"/>
                    <a:pt x="0" y="45"/>
                  </a:cubicBezTo>
                  <a:cubicBezTo>
                    <a:pt x="0" y="70"/>
                    <a:pt x="21" y="90"/>
                    <a:pt x="45" y="90"/>
                  </a:cubicBezTo>
                  <a:cubicBezTo>
                    <a:pt x="70" y="90"/>
                    <a:pt x="90" y="70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64"/>
                  </a:moveTo>
                  <a:cubicBezTo>
                    <a:pt x="35" y="64"/>
                    <a:pt x="27" y="55"/>
                    <a:pt x="27" y="45"/>
                  </a:cubicBezTo>
                  <a:cubicBezTo>
                    <a:pt x="27" y="35"/>
                    <a:pt x="35" y="26"/>
                    <a:pt x="45" y="26"/>
                  </a:cubicBezTo>
                  <a:cubicBezTo>
                    <a:pt x="56" y="26"/>
                    <a:pt x="64" y="35"/>
                    <a:pt x="64" y="45"/>
                  </a:cubicBezTo>
                  <a:cubicBezTo>
                    <a:pt x="64" y="55"/>
                    <a:pt x="56" y="64"/>
                    <a:pt x="45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5" y="64"/>
                    <a:pt x="45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/>
            <p:cNvSpPr>
              <a:spLocks noEditPoints="1"/>
            </p:cNvSpPr>
            <p:nvPr/>
          </p:nvSpPr>
          <p:spPr bwMode="auto">
            <a:xfrm>
              <a:off x="5168" y="1192"/>
              <a:ext cx="36" cy="9"/>
            </a:xfrm>
            <a:custGeom>
              <a:avLst/>
              <a:gdLst>
                <a:gd name="T0" fmla="*/ 13 w 108"/>
                <a:gd name="T1" fmla="*/ 27 h 27"/>
                <a:gd name="T2" fmla="*/ 94 w 108"/>
                <a:gd name="T3" fmla="*/ 27 h 27"/>
                <a:gd name="T4" fmla="*/ 108 w 108"/>
                <a:gd name="T5" fmla="*/ 13 h 27"/>
                <a:gd name="T6" fmla="*/ 94 w 108"/>
                <a:gd name="T7" fmla="*/ 0 h 27"/>
                <a:gd name="T8" fmla="*/ 13 w 108"/>
                <a:gd name="T9" fmla="*/ 0 h 27"/>
                <a:gd name="T10" fmla="*/ 0 w 108"/>
                <a:gd name="T11" fmla="*/ 13 h 27"/>
                <a:gd name="T12" fmla="*/ 13 w 108"/>
                <a:gd name="T13" fmla="*/ 27 h 27"/>
                <a:gd name="T14" fmla="*/ 13 w 108"/>
                <a:gd name="T15" fmla="*/ 27 h 27"/>
                <a:gd name="T16" fmla="*/ 13 w 10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7">
                  <a:moveTo>
                    <a:pt x="13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102" y="27"/>
                    <a:pt x="108" y="21"/>
                    <a:pt x="108" y="13"/>
                  </a:cubicBezTo>
                  <a:cubicBezTo>
                    <a:pt x="108" y="6"/>
                    <a:pt x="102" y="0"/>
                    <a:pt x="9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lose/>
                  <a:moveTo>
                    <a:pt x="13" y="27"/>
                  </a:moveTo>
                  <a:cubicBezTo>
                    <a:pt x="13" y="27"/>
                    <a:pt x="13" y="27"/>
                    <a:pt x="13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5" name="Freeform 28"/>
            <p:cNvSpPr>
              <a:spLocks noEditPoints="1"/>
            </p:cNvSpPr>
            <p:nvPr/>
          </p:nvSpPr>
          <p:spPr bwMode="auto">
            <a:xfrm>
              <a:off x="5237" y="1192"/>
              <a:ext cx="36" cy="9"/>
            </a:xfrm>
            <a:custGeom>
              <a:avLst/>
              <a:gdLst>
                <a:gd name="T0" fmla="*/ 13 w 108"/>
                <a:gd name="T1" fmla="*/ 27 h 27"/>
                <a:gd name="T2" fmla="*/ 95 w 108"/>
                <a:gd name="T3" fmla="*/ 27 h 27"/>
                <a:gd name="T4" fmla="*/ 108 w 108"/>
                <a:gd name="T5" fmla="*/ 13 h 27"/>
                <a:gd name="T6" fmla="*/ 95 w 108"/>
                <a:gd name="T7" fmla="*/ 0 h 27"/>
                <a:gd name="T8" fmla="*/ 13 w 108"/>
                <a:gd name="T9" fmla="*/ 0 h 27"/>
                <a:gd name="T10" fmla="*/ 0 w 108"/>
                <a:gd name="T11" fmla="*/ 13 h 27"/>
                <a:gd name="T12" fmla="*/ 13 w 108"/>
                <a:gd name="T13" fmla="*/ 27 h 27"/>
                <a:gd name="T14" fmla="*/ 13 w 108"/>
                <a:gd name="T15" fmla="*/ 27 h 27"/>
                <a:gd name="T16" fmla="*/ 13 w 10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7">
                  <a:moveTo>
                    <a:pt x="13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102" y="27"/>
                    <a:pt x="108" y="21"/>
                    <a:pt x="108" y="13"/>
                  </a:cubicBezTo>
                  <a:cubicBezTo>
                    <a:pt x="108" y="6"/>
                    <a:pt x="102" y="0"/>
                    <a:pt x="9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lose/>
                  <a:moveTo>
                    <a:pt x="13" y="27"/>
                  </a:moveTo>
                  <a:cubicBezTo>
                    <a:pt x="13" y="27"/>
                    <a:pt x="13" y="27"/>
                    <a:pt x="13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74" name="Group 135"/>
          <p:cNvGrpSpPr>
            <a:grpSpLocks noChangeAspect="1"/>
          </p:cNvGrpSpPr>
          <p:nvPr/>
        </p:nvGrpSpPr>
        <p:grpSpPr bwMode="auto">
          <a:xfrm>
            <a:off x="3660775" y="2816225"/>
            <a:ext cx="768350" cy="768350"/>
            <a:chOff x="2306" y="1774"/>
            <a:chExt cx="484" cy="484"/>
          </a:xfrm>
        </p:grpSpPr>
        <p:sp>
          <p:nvSpPr>
            <p:cNvPr id="46275" name="AutoShape 134"/>
            <p:cNvSpPr>
              <a:spLocks noChangeAspect="1" noChangeArrowheads="1" noTextEdit="1"/>
            </p:cNvSpPr>
            <p:nvPr/>
          </p:nvSpPr>
          <p:spPr bwMode="auto">
            <a:xfrm>
              <a:off x="2306" y="1774"/>
              <a:ext cx="484" cy="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6" name="Freeform 136"/>
            <p:cNvSpPr>
              <a:spLocks noEditPoints="1"/>
            </p:cNvSpPr>
            <p:nvPr/>
          </p:nvSpPr>
          <p:spPr bwMode="auto">
            <a:xfrm>
              <a:off x="2306" y="1774"/>
              <a:ext cx="484" cy="484"/>
            </a:xfrm>
            <a:custGeom>
              <a:avLst/>
              <a:gdLst>
                <a:gd name="T0" fmla="*/ 740 w 1481"/>
                <a:gd name="T1" fmla="*/ 1481 h 1481"/>
                <a:gd name="T2" fmla="*/ 0 w 1481"/>
                <a:gd name="T3" fmla="*/ 741 h 1481"/>
                <a:gd name="T4" fmla="*/ 740 w 1481"/>
                <a:gd name="T5" fmla="*/ 0 h 1481"/>
                <a:gd name="T6" fmla="*/ 1481 w 1481"/>
                <a:gd name="T7" fmla="*/ 741 h 1481"/>
                <a:gd name="T8" fmla="*/ 740 w 1481"/>
                <a:gd name="T9" fmla="*/ 1481 h 1481"/>
                <a:gd name="T10" fmla="*/ 740 w 1481"/>
                <a:gd name="T11" fmla="*/ 36 h 1481"/>
                <a:gd name="T12" fmla="*/ 36 w 1481"/>
                <a:gd name="T13" fmla="*/ 741 h 1481"/>
                <a:gd name="T14" fmla="*/ 740 w 1481"/>
                <a:gd name="T15" fmla="*/ 1445 h 1481"/>
                <a:gd name="T16" fmla="*/ 1445 w 1481"/>
                <a:gd name="T17" fmla="*/ 741 h 1481"/>
                <a:gd name="T18" fmla="*/ 740 w 1481"/>
                <a:gd name="T19" fmla="*/ 36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1" h="1481">
                  <a:moveTo>
                    <a:pt x="740" y="1481"/>
                  </a:moveTo>
                  <a:cubicBezTo>
                    <a:pt x="332" y="1481"/>
                    <a:pt x="0" y="1149"/>
                    <a:pt x="0" y="741"/>
                  </a:cubicBezTo>
                  <a:cubicBezTo>
                    <a:pt x="0" y="332"/>
                    <a:pt x="332" y="0"/>
                    <a:pt x="740" y="0"/>
                  </a:cubicBezTo>
                  <a:cubicBezTo>
                    <a:pt x="1149" y="0"/>
                    <a:pt x="1481" y="332"/>
                    <a:pt x="1481" y="741"/>
                  </a:cubicBezTo>
                  <a:cubicBezTo>
                    <a:pt x="1481" y="1149"/>
                    <a:pt x="1149" y="1481"/>
                    <a:pt x="740" y="1481"/>
                  </a:cubicBezTo>
                  <a:close/>
                  <a:moveTo>
                    <a:pt x="740" y="36"/>
                  </a:moveTo>
                  <a:cubicBezTo>
                    <a:pt x="352" y="36"/>
                    <a:pt x="36" y="352"/>
                    <a:pt x="36" y="741"/>
                  </a:cubicBezTo>
                  <a:cubicBezTo>
                    <a:pt x="36" y="1129"/>
                    <a:pt x="352" y="1445"/>
                    <a:pt x="740" y="1445"/>
                  </a:cubicBezTo>
                  <a:cubicBezTo>
                    <a:pt x="1129" y="1445"/>
                    <a:pt x="1445" y="1129"/>
                    <a:pt x="1445" y="741"/>
                  </a:cubicBezTo>
                  <a:cubicBezTo>
                    <a:pt x="1445" y="352"/>
                    <a:pt x="1129" y="36"/>
                    <a:pt x="740" y="3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7" name="Freeform 137"/>
            <p:cNvSpPr>
              <a:spLocks noEditPoints="1"/>
            </p:cNvSpPr>
            <p:nvPr/>
          </p:nvSpPr>
          <p:spPr bwMode="auto">
            <a:xfrm>
              <a:off x="2372" y="1897"/>
              <a:ext cx="351" cy="240"/>
            </a:xfrm>
            <a:custGeom>
              <a:avLst/>
              <a:gdLst>
                <a:gd name="T0" fmla="*/ 934 w 1072"/>
                <a:gd name="T1" fmla="*/ 446 h 732"/>
                <a:gd name="T2" fmla="*/ 1014 w 1072"/>
                <a:gd name="T3" fmla="*/ 131 h 732"/>
                <a:gd name="T4" fmla="*/ 1060 w 1072"/>
                <a:gd name="T5" fmla="*/ 169 h 732"/>
                <a:gd name="T6" fmla="*/ 1027 w 1072"/>
                <a:gd name="T7" fmla="*/ 119 h 732"/>
                <a:gd name="T8" fmla="*/ 932 w 1072"/>
                <a:gd name="T9" fmla="*/ 0 h 732"/>
                <a:gd name="T10" fmla="*/ 830 w 1072"/>
                <a:gd name="T11" fmla="*/ 0 h 732"/>
                <a:gd name="T12" fmla="*/ 814 w 1072"/>
                <a:gd name="T13" fmla="*/ 7 h 732"/>
                <a:gd name="T14" fmla="*/ 339 w 1072"/>
                <a:gd name="T15" fmla="*/ 131 h 732"/>
                <a:gd name="T16" fmla="*/ 338 w 1072"/>
                <a:gd name="T17" fmla="*/ 130 h 732"/>
                <a:gd name="T18" fmla="*/ 279 w 1072"/>
                <a:gd name="T19" fmla="*/ 0 h 732"/>
                <a:gd name="T20" fmla="*/ 167 w 1072"/>
                <a:gd name="T21" fmla="*/ 0 h 732"/>
                <a:gd name="T22" fmla="*/ 160 w 1072"/>
                <a:gd name="T23" fmla="*/ 4 h 732"/>
                <a:gd name="T24" fmla="*/ 29 w 1072"/>
                <a:gd name="T25" fmla="*/ 151 h 732"/>
                <a:gd name="T26" fmla="*/ 41 w 1072"/>
                <a:gd name="T27" fmla="*/ 162 h 732"/>
                <a:gd name="T28" fmla="*/ 158 w 1072"/>
                <a:gd name="T29" fmla="*/ 34 h 732"/>
                <a:gd name="T30" fmla="*/ 156 w 1072"/>
                <a:gd name="T31" fmla="*/ 446 h 732"/>
                <a:gd name="T32" fmla="*/ 18 w 1072"/>
                <a:gd name="T33" fmla="*/ 455 h 732"/>
                <a:gd name="T34" fmla="*/ 156 w 1072"/>
                <a:gd name="T35" fmla="*/ 463 h 732"/>
                <a:gd name="T36" fmla="*/ 158 w 1072"/>
                <a:gd name="T37" fmla="*/ 701 h 732"/>
                <a:gd name="T38" fmla="*/ 7 w 1072"/>
                <a:gd name="T39" fmla="*/ 668 h 732"/>
                <a:gd name="T40" fmla="*/ 329 w 1072"/>
                <a:gd name="T41" fmla="*/ 653 h 732"/>
                <a:gd name="T42" fmla="*/ 547 w 1072"/>
                <a:gd name="T43" fmla="*/ 711 h 732"/>
                <a:gd name="T44" fmla="*/ 687 w 1072"/>
                <a:gd name="T45" fmla="*/ 663 h 732"/>
                <a:gd name="T46" fmla="*/ 1030 w 1072"/>
                <a:gd name="T47" fmla="*/ 657 h 732"/>
                <a:gd name="T48" fmla="*/ 934 w 1072"/>
                <a:gd name="T49" fmla="*/ 695 h 732"/>
                <a:gd name="T50" fmla="*/ 1063 w 1072"/>
                <a:gd name="T51" fmla="*/ 463 h 732"/>
                <a:gd name="T52" fmla="*/ 1063 w 1072"/>
                <a:gd name="T53" fmla="*/ 446 h 732"/>
                <a:gd name="T54" fmla="*/ 821 w 1072"/>
                <a:gd name="T55" fmla="*/ 446 h 732"/>
                <a:gd name="T56" fmla="*/ 793 w 1072"/>
                <a:gd name="T57" fmla="*/ 127 h 732"/>
                <a:gd name="T58" fmla="*/ 776 w 1072"/>
                <a:gd name="T59" fmla="*/ 158 h 732"/>
                <a:gd name="T60" fmla="*/ 696 w 1072"/>
                <a:gd name="T61" fmla="*/ 446 h 732"/>
                <a:gd name="T62" fmla="*/ 776 w 1072"/>
                <a:gd name="T63" fmla="*/ 158 h 732"/>
                <a:gd name="T64" fmla="*/ 679 w 1072"/>
                <a:gd name="T65" fmla="*/ 253 h 732"/>
                <a:gd name="T66" fmla="*/ 611 w 1072"/>
                <a:gd name="T67" fmla="*/ 446 h 732"/>
                <a:gd name="T68" fmla="*/ 594 w 1072"/>
                <a:gd name="T69" fmla="*/ 281 h 732"/>
                <a:gd name="T70" fmla="*/ 521 w 1072"/>
                <a:gd name="T71" fmla="*/ 446 h 732"/>
                <a:gd name="T72" fmla="*/ 556 w 1072"/>
                <a:gd name="T73" fmla="*/ 283 h 732"/>
                <a:gd name="T74" fmla="*/ 435 w 1072"/>
                <a:gd name="T75" fmla="*/ 251 h 732"/>
                <a:gd name="T76" fmla="*/ 504 w 1072"/>
                <a:gd name="T77" fmla="*/ 446 h 732"/>
                <a:gd name="T78" fmla="*/ 435 w 1072"/>
                <a:gd name="T79" fmla="*/ 251 h 732"/>
                <a:gd name="T80" fmla="*/ 418 w 1072"/>
                <a:gd name="T81" fmla="*/ 446 h 732"/>
                <a:gd name="T82" fmla="*/ 339 w 1072"/>
                <a:gd name="T83" fmla="*/ 161 h 732"/>
                <a:gd name="T84" fmla="*/ 322 w 1072"/>
                <a:gd name="T85" fmla="*/ 136 h 732"/>
                <a:gd name="T86" fmla="*/ 271 w 1072"/>
                <a:gd name="T87" fmla="*/ 446 h 732"/>
                <a:gd name="T88" fmla="*/ 322 w 1072"/>
                <a:gd name="T89" fmla="*/ 136 h 732"/>
                <a:gd name="T90" fmla="*/ 176 w 1072"/>
                <a:gd name="T91" fmla="*/ 697 h 732"/>
                <a:gd name="T92" fmla="*/ 254 w 1072"/>
                <a:gd name="T93" fmla="*/ 17 h 732"/>
                <a:gd name="T94" fmla="*/ 183 w 1072"/>
                <a:gd name="T95" fmla="*/ 696 h 732"/>
                <a:gd name="T96" fmla="*/ 634 w 1072"/>
                <a:gd name="T97" fmla="*/ 673 h 732"/>
                <a:gd name="T98" fmla="*/ 402 w 1072"/>
                <a:gd name="T99" fmla="*/ 664 h 732"/>
                <a:gd name="T100" fmla="*/ 271 w 1072"/>
                <a:gd name="T101" fmla="*/ 655 h 732"/>
                <a:gd name="T102" fmla="*/ 821 w 1072"/>
                <a:gd name="T103" fmla="*/ 463 h 732"/>
                <a:gd name="T104" fmla="*/ 724 w 1072"/>
                <a:gd name="T105" fmla="*/ 644 h 732"/>
                <a:gd name="T106" fmla="*/ 838 w 1072"/>
                <a:gd name="T107" fmla="*/ 688 h 732"/>
                <a:gd name="T108" fmla="*/ 916 w 1072"/>
                <a:gd name="T109" fmla="*/ 17 h 732"/>
                <a:gd name="T110" fmla="*/ 858 w 1072"/>
                <a:gd name="T111" fmla="*/ 694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72" h="732">
                  <a:moveTo>
                    <a:pt x="1063" y="446"/>
                  </a:moveTo>
                  <a:cubicBezTo>
                    <a:pt x="934" y="446"/>
                    <a:pt x="934" y="446"/>
                    <a:pt x="934" y="446"/>
                  </a:cubicBezTo>
                  <a:cubicBezTo>
                    <a:pt x="934" y="35"/>
                    <a:pt x="934" y="35"/>
                    <a:pt x="934" y="35"/>
                  </a:cubicBezTo>
                  <a:cubicBezTo>
                    <a:pt x="957" y="71"/>
                    <a:pt x="987" y="102"/>
                    <a:pt x="1014" y="131"/>
                  </a:cubicBezTo>
                  <a:cubicBezTo>
                    <a:pt x="1026" y="144"/>
                    <a:pt x="1038" y="156"/>
                    <a:pt x="1048" y="168"/>
                  </a:cubicBezTo>
                  <a:cubicBezTo>
                    <a:pt x="1051" y="171"/>
                    <a:pt x="1057" y="172"/>
                    <a:pt x="1060" y="169"/>
                  </a:cubicBezTo>
                  <a:cubicBezTo>
                    <a:pt x="1064" y="166"/>
                    <a:pt x="1064" y="160"/>
                    <a:pt x="1061" y="157"/>
                  </a:cubicBezTo>
                  <a:cubicBezTo>
                    <a:pt x="1051" y="145"/>
                    <a:pt x="1039" y="132"/>
                    <a:pt x="1027" y="119"/>
                  </a:cubicBezTo>
                  <a:cubicBezTo>
                    <a:pt x="995" y="85"/>
                    <a:pt x="958" y="47"/>
                    <a:pt x="935" y="4"/>
                  </a:cubicBezTo>
                  <a:cubicBezTo>
                    <a:pt x="932" y="0"/>
                    <a:pt x="932" y="0"/>
                    <a:pt x="932" y="0"/>
                  </a:cubicBezTo>
                  <a:cubicBezTo>
                    <a:pt x="925" y="0"/>
                    <a:pt x="925" y="0"/>
                    <a:pt x="925" y="0"/>
                  </a:cubicBezTo>
                  <a:cubicBezTo>
                    <a:pt x="830" y="0"/>
                    <a:pt x="830" y="0"/>
                    <a:pt x="830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814" y="7"/>
                    <a:pt x="814" y="7"/>
                    <a:pt x="814" y="7"/>
                  </a:cubicBezTo>
                  <a:cubicBezTo>
                    <a:pt x="813" y="10"/>
                    <a:pt x="778" y="266"/>
                    <a:pt x="556" y="266"/>
                  </a:cubicBezTo>
                  <a:cubicBezTo>
                    <a:pt x="452" y="266"/>
                    <a:pt x="382" y="198"/>
                    <a:pt x="339" y="131"/>
                  </a:cubicBezTo>
                  <a:cubicBezTo>
                    <a:pt x="339" y="130"/>
                    <a:pt x="339" y="130"/>
                    <a:pt x="339" y="130"/>
                  </a:cubicBezTo>
                  <a:cubicBezTo>
                    <a:pt x="338" y="130"/>
                    <a:pt x="338" y="130"/>
                    <a:pt x="338" y="130"/>
                  </a:cubicBezTo>
                  <a:cubicBezTo>
                    <a:pt x="298" y="68"/>
                    <a:pt x="281" y="8"/>
                    <a:pt x="281" y="6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35" y="38"/>
                    <a:pt x="114" y="60"/>
                    <a:pt x="76" y="100"/>
                  </a:cubicBezTo>
                  <a:cubicBezTo>
                    <a:pt x="63" y="115"/>
                    <a:pt x="47" y="131"/>
                    <a:pt x="29" y="151"/>
                  </a:cubicBezTo>
                  <a:cubicBezTo>
                    <a:pt x="26" y="154"/>
                    <a:pt x="26" y="160"/>
                    <a:pt x="29" y="163"/>
                  </a:cubicBezTo>
                  <a:cubicBezTo>
                    <a:pt x="33" y="166"/>
                    <a:pt x="38" y="166"/>
                    <a:pt x="41" y="162"/>
                  </a:cubicBezTo>
                  <a:cubicBezTo>
                    <a:pt x="60" y="143"/>
                    <a:pt x="75" y="126"/>
                    <a:pt x="89" y="112"/>
                  </a:cubicBezTo>
                  <a:cubicBezTo>
                    <a:pt x="118" y="81"/>
                    <a:pt x="138" y="60"/>
                    <a:pt x="158" y="34"/>
                  </a:cubicBezTo>
                  <a:cubicBezTo>
                    <a:pt x="158" y="447"/>
                    <a:pt x="158" y="447"/>
                    <a:pt x="158" y="447"/>
                  </a:cubicBezTo>
                  <a:cubicBezTo>
                    <a:pt x="158" y="446"/>
                    <a:pt x="157" y="446"/>
                    <a:pt x="156" y="446"/>
                  </a:cubicBezTo>
                  <a:cubicBezTo>
                    <a:pt x="27" y="446"/>
                    <a:pt x="27" y="446"/>
                    <a:pt x="27" y="446"/>
                  </a:cubicBezTo>
                  <a:cubicBezTo>
                    <a:pt x="22" y="446"/>
                    <a:pt x="18" y="450"/>
                    <a:pt x="18" y="455"/>
                  </a:cubicBezTo>
                  <a:cubicBezTo>
                    <a:pt x="18" y="460"/>
                    <a:pt x="22" y="463"/>
                    <a:pt x="27" y="463"/>
                  </a:cubicBezTo>
                  <a:cubicBezTo>
                    <a:pt x="156" y="463"/>
                    <a:pt x="156" y="463"/>
                    <a:pt x="156" y="463"/>
                  </a:cubicBezTo>
                  <a:cubicBezTo>
                    <a:pt x="157" y="463"/>
                    <a:pt x="158" y="463"/>
                    <a:pt x="158" y="463"/>
                  </a:cubicBezTo>
                  <a:cubicBezTo>
                    <a:pt x="158" y="701"/>
                    <a:pt x="158" y="701"/>
                    <a:pt x="158" y="701"/>
                  </a:cubicBezTo>
                  <a:cubicBezTo>
                    <a:pt x="107" y="708"/>
                    <a:pt x="55" y="697"/>
                    <a:pt x="17" y="658"/>
                  </a:cubicBezTo>
                  <a:cubicBezTo>
                    <a:pt x="11" y="651"/>
                    <a:pt x="0" y="661"/>
                    <a:pt x="7" y="668"/>
                  </a:cubicBezTo>
                  <a:cubicBezTo>
                    <a:pt x="68" y="732"/>
                    <a:pt x="159" y="727"/>
                    <a:pt x="235" y="693"/>
                  </a:cubicBezTo>
                  <a:cubicBezTo>
                    <a:pt x="264" y="679"/>
                    <a:pt x="296" y="653"/>
                    <a:pt x="329" y="653"/>
                  </a:cubicBezTo>
                  <a:cubicBezTo>
                    <a:pt x="363" y="653"/>
                    <a:pt x="393" y="678"/>
                    <a:pt x="422" y="693"/>
                  </a:cubicBezTo>
                  <a:cubicBezTo>
                    <a:pt x="461" y="712"/>
                    <a:pt x="504" y="715"/>
                    <a:pt x="547" y="711"/>
                  </a:cubicBezTo>
                  <a:cubicBezTo>
                    <a:pt x="571" y="709"/>
                    <a:pt x="595" y="707"/>
                    <a:pt x="617" y="698"/>
                  </a:cubicBezTo>
                  <a:cubicBezTo>
                    <a:pt x="641" y="688"/>
                    <a:pt x="662" y="671"/>
                    <a:pt x="687" y="663"/>
                  </a:cubicBezTo>
                  <a:cubicBezTo>
                    <a:pt x="727" y="650"/>
                    <a:pt x="758" y="674"/>
                    <a:pt x="793" y="689"/>
                  </a:cubicBezTo>
                  <a:cubicBezTo>
                    <a:pt x="872" y="722"/>
                    <a:pt x="969" y="727"/>
                    <a:pt x="1030" y="657"/>
                  </a:cubicBezTo>
                  <a:cubicBezTo>
                    <a:pt x="1036" y="650"/>
                    <a:pt x="1025" y="639"/>
                    <a:pt x="1019" y="646"/>
                  </a:cubicBezTo>
                  <a:cubicBezTo>
                    <a:pt x="996" y="673"/>
                    <a:pt x="966" y="688"/>
                    <a:pt x="934" y="695"/>
                  </a:cubicBezTo>
                  <a:cubicBezTo>
                    <a:pt x="934" y="463"/>
                    <a:pt x="934" y="463"/>
                    <a:pt x="934" y="463"/>
                  </a:cubicBezTo>
                  <a:cubicBezTo>
                    <a:pt x="1063" y="463"/>
                    <a:pt x="1063" y="463"/>
                    <a:pt x="1063" y="463"/>
                  </a:cubicBezTo>
                  <a:cubicBezTo>
                    <a:pt x="1068" y="463"/>
                    <a:pt x="1072" y="460"/>
                    <a:pt x="1072" y="455"/>
                  </a:cubicBezTo>
                  <a:cubicBezTo>
                    <a:pt x="1072" y="450"/>
                    <a:pt x="1068" y="446"/>
                    <a:pt x="1063" y="446"/>
                  </a:cubicBezTo>
                  <a:close/>
                  <a:moveTo>
                    <a:pt x="821" y="53"/>
                  </a:moveTo>
                  <a:cubicBezTo>
                    <a:pt x="821" y="446"/>
                    <a:pt x="821" y="446"/>
                    <a:pt x="821" y="446"/>
                  </a:cubicBezTo>
                  <a:cubicBezTo>
                    <a:pt x="793" y="446"/>
                    <a:pt x="793" y="446"/>
                    <a:pt x="793" y="446"/>
                  </a:cubicBezTo>
                  <a:cubicBezTo>
                    <a:pt x="793" y="127"/>
                    <a:pt x="793" y="127"/>
                    <a:pt x="793" y="127"/>
                  </a:cubicBezTo>
                  <a:cubicBezTo>
                    <a:pt x="806" y="100"/>
                    <a:pt x="815" y="74"/>
                    <a:pt x="821" y="53"/>
                  </a:cubicBezTo>
                  <a:close/>
                  <a:moveTo>
                    <a:pt x="776" y="158"/>
                  </a:moveTo>
                  <a:cubicBezTo>
                    <a:pt x="776" y="446"/>
                    <a:pt x="776" y="446"/>
                    <a:pt x="776" y="446"/>
                  </a:cubicBezTo>
                  <a:cubicBezTo>
                    <a:pt x="696" y="446"/>
                    <a:pt x="696" y="446"/>
                    <a:pt x="696" y="446"/>
                  </a:cubicBezTo>
                  <a:cubicBezTo>
                    <a:pt x="696" y="242"/>
                    <a:pt x="696" y="242"/>
                    <a:pt x="696" y="242"/>
                  </a:cubicBezTo>
                  <a:cubicBezTo>
                    <a:pt x="731" y="219"/>
                    <a:pt x="756" y="189"/>
                    <a:pt x="776" y="158"/>
                  </a:cubicBezTo>
                  <a:close/>
                  <a:moveTo>
                    <a:pt x="611" y="278"/>
                  </a:moveTo>
                  <a:cubicBezTo>
                    <a:pt x="636" y="273"/>
                    <a:pt x="659" y="264"/>
                    <a:pt x="679" y="253"/>
                  </a:cubicBezTo>
                  <a:cubicBezTo>
                    <a:pt x="679" y="446"/>
                    <a:pt x="679" y="446"/>
                    <a:pt x="679" y="446"/>
                  </a:cubicBezTo>
                  <a:cubicBezTo>
                    <a:pt x="611" y="446"/>
                    <a:pt x="611" y="446"/>
                    <a:pt x="611" y="446"/>
                  </a:cubicBezTo>
                  <a:lnTo>
                    <a:pt x="611" y="278"/>
                  </a:lnTo>
                  <a:close/>
                  <a:moveTo>
                    <a:pt x="594" y="281"/>
                  </a:moveTo>
                  <a:cubicBezTo>
                    <a:pt x="594" y="446"/>
                    <a:pt x="594" y="446"/>
                    <a:pt x="594" y="446"/>
                  </a:cubicBezTo>
                  <a:cubicBezTo>
                    <a:pt x="521" y="446"/>
                    <a:pt x="521" y="446"/>
                    <a:pt x="521" y="446"/>
                  </a:cubicBezTo>
                  <a:cubicBezTo>
                    <a:pt x="521" y="281"/>
                    <a:pt x="521" y="281"/>
                    <a:pt x="521" y="281"/>
                  </a:cubicBezTo>
                  <a:cubicBezTo>
                    <a:pt x="532" y="282"/>
                    <a:pt x="544" y="283"/>
                    <a:pt x="556" y="283"/>
                  </a:cubicBezTo>
                  <a:cubicBezTo>
                    <a:pt x="569" y="283"/>
                    <a:pt x="582" y="282"/>
                    <a:pt x="594" y="281"/>
                  </a:cubicBezTo>
                  <a:close/>
                  <a:moveTo>
                    <a:pt x="435" y="251"/>
                  </a:moveTo>
                  <a:cubicBezTo>
                    <a:pt x="456" y="263"/>
                    <a:pt x="479" y="272"/>
                    <a:pt x="504" y="278"/>
                  </a:cubicBezTo>
                  <a:cubicBezTo>
                    <a:pt x="504" y="446"/>
                    <a:pt x="504" y="446"/>
                    <a:pt x="504" y="446"/>
                  </a:cubicBezTo>
                  <a:cubicBezTo>
                    <a:pt x="435" y="446"/>
                    <a:pt x="435" y="446"/>
                    <a:pt x="435" y="446"/>
                  </a:cubicBezTo>
                  <a:lnTo>
                    <a:pt x="435" y="251"/>
                  </a:lnTo>
                  <a:close/>
                  <a:moveTo>
                    <a:pt x="418" y="240"/>
                  </a:moveTo>
                  <a:cubicBezTo>
                    <a:pt x="418" y="446"/>
                    <a:pt x="418" y="446"/>
                    <a:pt x="418" y="446"/>
                  </a:cubicBezTo>
                  <a:cubicBezTo>
                    <a:pt x="339" y="446"/>
                    <a:pt x="339" y="446"/>
                    <a:pt x="339" y="446"/>
                  </a:cubicBezTo>
                  <a:cubicBezTo>
                    <a:pt x="339" y="161"/>
                    <a:pt x="339" y="161"/>
                    <a:pt x="339" y="161"/>
                  </a:cubicBezTo>
                  <a:cubicBezTo>
                    <a:pt x="360" y="190"/>
                    <a:pt x="386" y="218"/>
                    <a:pt x="418" y="240"/>
                  </a:cubicBezTo>
                  <a:close/>
                  <a:moveTo>
                    <a:pt x="322" y="136"/>
                  </a:moveTo>
                  <a:cubicBezTo>
                    <a:pt x="322" y="446"/>
                    <a:pt x="322" y="446"/>
                    <a:pt x="322" y="446"/>
                  </a:cubicBezTo>
                  <a:cubicBezTo>
                    <a:pt x="271" y="446"/>
                    <a:pt x="271" y="446"/>
                    <a:pt x="271" y="446"/>
                  </a:cubicBezTo>
                  <a:cubicBezTo>
                    <a:pt x="271" y="32"/>
                    <a:pt x="271" y="32"/>
                    <a:pt x="271" y="32"/>
                  </a:cubicBezTo>
                  <a:cubicBezTo>
                    <a:pt x="279" y="55"/>
                    <a:pt x="296" y="95"/>
                    <a:pt x="322" y="136"/>
                  </a:cubicBezTo>
                  <a:close/>
                  <a:moveTo>
                    <a:pt x="183" y="696"/>
                  </a:moveTo>
                  <a:cubicBezTo>
                    <a:pt x="181" y="696"/>
                    <a:pt x="178" y="697"/>
                    <a:pt x="176" y="697"/>
                  </a:cubicBezTo>
                  <a:cubicBezTo>
                    <a:pt x="176" y="17"/>
                    <a:pt x="176" y="17"/>
                    <a:pt x="176" y="17"/>
                  </a:cubicBezTo>
                  <a:cubicBezTo>
                    <a:pt x="254" y="17"/>
                    <a:pt x="254" y="17"/>
                    <a:pt x="254" y="17"/>
                  </a:cubicBezTo>
                  <a:cubicBezTo>
                    <a:pt x="254" y="663"/>
                    <a:pt x="254" y="663"/>
                    <a:pt x="254" y="663"/>
                  </a:cubicBezTo>
                  <a:cubicBezTo>
                    <a:pt x="231" y="676"/>
                    <a:pt x="209" y="689"/>
                    <a:pt x="183" y="696"/>
                  </a:cubicBezTo>
                  <a:close/>
                  <a:moveTo>
                    <a:pt x="724" y="644"/>
                  </a:moveTo>
                  <a:cubicBezTo>
                    <a:pt x="690" y="639"/>
                    <a:pt x="663" y="658"/>
                    <a:pt x="634" y="673"/>
                  </a:cubicBezTo>
                  <a:cubicBezTo>
                    <a:pt x="605" y="689"/>
                    <a:pt x="578" y="693"/>
                    <a:pt x="547" y="696"/>
                  </a:cubicBezTo>
                  <a:cubicBezTo>
                    <a:pt x="492" y="701"/>
                    <a:pt x="449" y="690"/>
                    <a:pt x="402" y="664"/>
                  </a:cubicBezTo>
                  <a:cubicBezTo>
                    <a:pt x="372" y="648"/>
                    <a:pt x="340" y="632"/>
                    <a:pt x="306" y="641"/>
                  </a:cubicBezTo>
                  <a:cubicBezTo>
                    <a:pt x="294" y="644"/>
                    <a:pt x="282" y="649"/>
                    <a:pt x="271" y="655"/>
                  </a:cubicBezTo>
                  <a:cubicBezTo>
                    <a:pt x="271" y="463"/>
                    <a:pt x="271" y="463"/>
                    <a:pt x="271" y="463"/>
                  </a:cubicBezTo>
                  <a:cubicBezTo>
                    <a:pt x="821" y="463"/>
                    <a:pt x="821" y="463"/>
                    <a:pt x="821" y="463"/>
                  </a:cubicBezTo>
                  <a:cubicBezTo>
                    <a:pt x="821" y="682"/>
                    <a:pt x="821" y="682"/>
                    <a:pt x="821" y="682"/>
                  </a:cubicBezTo>
                  <a:cubicBezTo>
                    <a:pt x="789" y="668"/>
                    <a:pt x="758" y="649"/>
                    <a:pt x="724" y="644"/>
                  </a:cubicBezTo>
                  <a:close/>
                  <a:moveTo>
                    <a:pt x="858" y="694"/>
                  </a:moveTo>
                  <a:cubicBezTo>
                    <a:pt x="851" y="692"/>
                    <a:pt x="845" y="690"/>
                    <a:pt x="838" y="688"/>
                  </a:cubicBezTo>
                  <a:cubicBezTo>
                    <a:pt x="838" y="17"/>
                    <a:pt x="838" y="17"/>
                    <a:pt x="838" y="17"/>
                  </a:cubicBezTo>
                  <a:cubicBezTo>
                    <a:pt x="916" y="17"/>
                    <a:pt x="916" y="17"/>
                    <a:pt x="916" y="17"/>
                  </a:cubicBezTo>
                  <a:cubicBezTo>
                    <a:pt x="916" y="697"/>
                    <a:pt x="916" y="697"/>
                    <a:pt x="916" y="697"/>
                  </a:cubicBezTo>
                  <a:cubicBezTo>
                    <a:pt x="897" y="699"/>
                    <a:pt x="877" y="698"/>
                    <a:pt x="858" y="69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78" name="Group 140"/>
          <p:cNvGrpSpPr>
            <a:grpSpLocks noChangeAspect="1"/>
          </p:cNvGrpSpPr>
          <p:nvPr/>
        </p:nvGrpSpPr>
        <p:grpSpPr bwMode="auto">
          <a:xfrm>
            <a:off x="2601913" y="2786063"/>
            <a:ext cx="841375" cy="841375"/>
            <a:chOff x="1639" y="1755"/>
            <a:chExt cx="530" cy="530"/>
          </a:xfrm>
        </p:grpSpPr>
        <p:sp>
          <p:nvSpPr>
            <p:cNvPr id="46279" name="AutoShape 139"/>
            <p:cNvSpPr>
              <a:spLocks noChangeAspect="1" noChangeArrowheads="1" noTextEdit="1"/>
            </p:cNvSpPr>
            <p:nvPr/>
          </p:nvSpPr>
          <p:spPr bwMode="auto">
            <a:xfrm>
              <a:off x="1639" y="175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0" name="Oval 141"/>
            <p:cNvSpPr>
              <a:spLocks noChangeArrowheads="1"/>
            </p:cNvSpPr>
            <p:nvPr/>
          </p:nvSpPr>
          <p:spPr bwMode="auto">
            <a:xfrm>
              <a:off x="1639" y="1755"/>
              <a:ext cx="530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81" name="Freeform 142"/>
            <p:cNvSpPr>
              <a:spLocks noEditPoints="1"/>
            </p:cNvSpPr>
            <p:nvPr/>
          </p:nvSpPr>
          <p:spPr bwMode="auto">
            <a:xfrm>
              <a:off x="1657" y="1774"/>
              <a:ext cx="495" cy="495"/>
            </a:xfrm>
            <a:custGeom>
              <a:avLst/>
              <a:gdLst>
                <a:gd name="T0" fmla="*/ 740 w 1481"/>
                <a:gd name="T1" fmla="*/ 1481 h 1481"/>
                <a:gd name="T2" fmla="*/ 0 w 1481"/>
                <a:gd name="T3" fmla="*/ 741 h 1481"/>
                <a:gd name="T4" fmla="*/ 740 w 1481"/>
                <a:gd name="T5" fmla="*/ 0 h 1481"/>
                <a:gd name="T6" fmla="*/ 1481 w 1481"/>
                <a:gd name="T7" fmla="*/ 741 h 1481"/>
                <a:gd name="T8" fmla="*/ 740 w 1481"/>
                <a:gd name="T9" fmla="*/ 1481 h 1481"/>
                <a:gd name="T10" fmla="*/ 740 w 1481"/>
                <a:gd name="T11" fmla="*/ 36 h 1481"/>
                <a:gd name="T12" fmla="*/ 36 w 1481"/>
                <a:gd name="T13" fmla="*/ 741 h 1481"/>
                <a:gd name="T14" fmla="*/ 740 w 1481"/>
                <a:gd name="T15" fmla="*/ 1445 h 1481"/>
                <a:gd name="T16" fmla="*/ 1445 w 1481"/>
                <a:gd name="T17" fmla="*/ 741 h 1481"/>
                <a:gd name="T18" fmla="*/ 740 w 1481"/>
                <a:gd name="T19" fmla="*/ 36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1" h="1481">
                  <a:moveTo>
                    <a:pt x="740" y="1481"/>
                  </a:moveTo>
                  <a:cubicBezTo>
                    <a:pt x="332" y="1481"/>
                    <a:pt x="0" y="1149"/>
                    <a:pt x="0" y="741"/>
                  </a:cubicBezTo>
                  <a:cubicBezTo>
                    <a:pt x="0" y="332"/>
                    <a:pt x="332" y="0"/>
                    <a:pt x="740" y="0"/>
                  </a:cubicBezTo>
                  <a:cubicBezTo>
                    <a:pt x="1149" y="0"/>
                    <a:pt x="1481" y="332"/>
                    <a:pt x="1481" y="741"/>
                  </a:cubicBezTo>
                  <a:cubicBezTo>
                    <a:pt x="1481" y="1149"/>
                    <a:pt x="1149" y="1481"/>
                    <a:pt x="740" y="1481"/>
                  </a:cubicBezTo>
                  <a:close/>
                  <a:moveTo>
                    <a:pt x="740" y="36"/>
                  </a:moveTo>
                  <a:cubicBezTo>
                    <a:pt x="352" y="36"/>
                    <a:pt x="36" y="352"/>
                    <a:pt x="36" y="741"/>
                  </a:cubicBezTo>
                  <a:cubicBezTo>
                    <a:pt x="36" y="1129"/>
                    <a:pt x="352" y="1445"/>
                    <a:pt x="740" y="1445"/>
                  </a:cubicBezTo>
                  <a:cubicBezTo>
                    <a:pt x="1129" y="1445"/>
                    <a:pt x="1445" y="1129"/>
                    <a:pt x="1445" y="741"/>
                  </a:cubicBezTo>
                  <a:cubicBezTo>
                    <a:pt x="1445" y="352"/>
                    <a:pt x="1129" y="36"/>
                    <a:pt x="740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2" name="Freeform 143"/>
            <p:cNvSpPr>
              <a:spLocks noEditPoints="1"/>
            </p:cNvSpPr>
            <p:nvPr/>
          </p:nvSpPr>
          <p:spPr bwMode="auto">
            <a:xfrm>
              <a:off x="1724" y="1900"/>
              <a:ext cx="359" cy="245"/>
            </a:xfrm>
            <a:custGeom>
              <a:avLst/>
              <a:gdLst>
                <a:gd name="T0" fmla="*/ 934 w 1072"/>
                <a:gd name="T1" fmla="*/ 446 h 732"/>
                <a:gd name="T2" fmla="*/ 1014 w 1072"/>
                <a:gd name="T3" fmla="*/ 131 h 732"/>
                <a:gd name="T4" fmla="*/ 1060 w 1072"/>
                <a:gd name="T5" fmla="*/ 169 h 732"/>
                <a:gd name="T6" fmla="*/ 1027 w 1072"/>
                <a:gd name="T7" fmla="*/ 119 h 732"/>
                <a:gd name="T8" fmla="*/ 932 w 1072"/>
                <a:gd name="T9" fmla="*/ 0 h 732"/>
                <a:gd name="T10" fmla="*/ 830 w 1072"/>
                <a:gd name="T11" fmla="*/ 0 h 732"/>
                <a:gd name="T12" fmla="*/ 814 w 1072"/>
                <a:gd name="T13" fmla="*/ 7 h 732"/>
                <a:gd name="T14" fmla="*/ 339 w 1072"/>
                <a:gd name="T15" fmla="*/ 131 h 732"/>
                <a:gd name="T16" fmla="*/ 338 w 1072"/>
                <a:gd name="T17" fmla="*/ 130 h 732"/>
                <a:gd name="T18" fmla="*/ 279 w 1072"/>
                <a:gd name="T19" fmla="*/ 0 h 732"/>
                <a:gd name="T20" fmla="*/ 167 w 1072"/>
                <a:gd name="T21" fmla="*/ 0 h 732"/>
                <a:gd name="T22" fmla="*/ 160 w 1072"/>
                <a:gd name="T23" fmla="*/ 4 h 732"/>
                <a:gd name="T24" fmla="*/ 29 w 1072"/>
                <a:gd name="T25" fmla="*/ 151 h 732"/>
                <a:gd name="T26" fmla="*/ 41 w 1072"/>
                <a:gd name="T27" fmla="*/ 162 h 732"/>
                <a:gd name="T28" fmla="*/ 158 w 1072"/>
                <a:gd name="T29" fmla="*/ 34 h 732"/>
                <a:gd name="T30" fmla="*/ 156 w 1072"/>
                <a:gd name="T31" fmla="*/ 446 h 732"/>
                <a:gd name="T32" fmla="*/ 18 w 1072"/>
                <a:gd name="T33" fmla="*/ 455 h 732"/>
                <a:gd name="T34" fmla="*/ 156 w 1072"/>
                <a:gd name="T35" fmla="*/ 463 h 732"/>
                <a:gd name="T36" fmla="*/ 158 w 1072"/>
                <a:gd name="T37" fmla="*/ 701 h 732"/>
                <a:gd name="T38" fmla="*/ 7 w 1072"/>
                <a:gd name="T39" fmla="*/ 668 h 732"/>
                <a:gd name="T40" fmla="*/ 329 w 1072"/>
                <a:gd name="T41" fmla="*/ 653 h 732"/>
                <a:gd name="T42" fmla="*/ 547 w 1072"/>
                <a:gd name="T43" fmla="*/ 711 h 732"/>
                <a:gd name="T44" fmla="*/ 687 w 1072"/>
                <a:gd name="T45" fmla="*/ 663 h 732"/>
                <a:gd name="T46" fmla="*/ 1030 w 1072"/>
                <a:gd name="T47" fmla="*/ 657 h 732"/>
                <a:gd name="T48" fmla="*/ 934 w 1072"/>
                <a:gd name="T49" fmla="*/ 695 h 732"/>
                <a:gd name="T50" fmla="*/ 1063 w 1072"/>
                <a:gd name="T51" fmla="*/ 463 h 732"/>
                <a:gd name="T52" fmla="*/ 1063 w 1072"/>
                <a:gd name="T53" fmla="*/ 446 h 732"/>
                <a:gd name="T54" fmla="*/ 821 w 1072"/>
                <a:gd name="T55" fmla="*/ 446 h 732"/>
                <a:gd name="T56" fmla="*/ 793 w 1072"/>
                <a:gd name="T57" fmla="*/ 127 h 732"/>
                <a:gd name="T58" fmla="*/ 776 w 1072"/>
                <a:gd name="T59" fmla="*/ 158 h 732"/>
                <a:gd name="T60" fmla="*/ 696 w 1072"/>
                <a:gd name="T61" fmla="*/ 446 h 732"/>
                <a:gd name="T62" fmla="*/ 776 w 1072"/>
                <a:gd name="T63" fmla="*/ 158 h 732"/>
                <a:gd name="T64" fmla="*/ 679 w 1072"/>
                <a:gd name="T65" fmla="*/ 253 h 732"/>
                <a:gd name="T66" fmla="*/ 611 w 1072"/>
                <a:gd name="T67" fmla="*/ 446 h 732"/>
                <a:gd name="T68" fmla="*/ 594 w 1072"/>
                <a:gd name="T69" fmla="*/ 281 h 732"/>
                <a:gd name="T70" fmla="*/ 521 w 1072"/>
                <a:gd name="T71" fmla="*/ 446 h 732"/>
                <a:gd name="T72" fmla="*/ 556 w 1072"/>
                <a:gd name="T73" fmla="*/ 283 h 732"/>
                <a:gd name="T74" fmla="*/ 435 w 1072"/>
                <a:gd name="T75" fmla="*/ 251 h 732"/>
                <a:gd name="T76" fmla="*/ 504 w 1072"/>
                <a:gd name="T77" fmla="*/ 446 h 732"/>
                <a:gd name="T78" fmla="*/ 435 w 1072"/>
                <a:gd name="T79" fmla="*/ 251 h 732"/>
                <a:gd name="T80" fmla="*/ 418 w 1072"/>
                <a:gd name="T81" fmla="*/ 446 h 732"/>
                <a:gd name="T82" fmla="*/ 339 w 1072"/>
                <a:gd name="T83" fmla="*/ 161 h 732"/>
                <a:gd name="T84" fmla="*/ 322 w 1072"/>
                <a:gd name="T85" fmla="*/ 136 h 732"/>
                <a:gd name="T86" fmla="*/ 271 w 1072"/>
                <a:gd name="T87" fmla="*/ 446 h 732"/>
                <a:gd name="T88" fmla="*/ 322 w 1072"/>
                <a:gd name="T89" fmla="*/ 136 h 732"/>
                <a:gd name="T90" fmla="*/ 176 w 1072"/>
                <a:gd name="T91" fmla="*/ 697 h 732"/>
                <a:gd name="T92" fmla="*/ 254 w 1072"/>
                <a:gd name="T93" fmla="*/ 17 h 732"/>
                <a:gd name="T94" fmla="*/ 183 w 1072"/>
                <a:gd name="T95" fmla="*/ 696 h 732"/>
                <a:gd name="T96" fmla="*/ 634 w 1072"/>
                <a:gd name="T97" fmla="*/ 673 h 732"/>
                <a:gd name="T98" fmla="*/ 402 w 1072"/>
                <a:gd name="T99" fmla="*/ 664 h 732"/>
                <a:gd name="T100" fmla="*/ 271 w 1072"/>
                <a:gd name="T101" fmla="*/ 655 h 732"/>
                <a:gd name="T102" fmla="*/ 821 w 1072"/>
                <a:gd name="T103" fmla="*/ 463 h 732"/>
                <a:gd name="T104" fmla="*/ 724 w 1072"/>
                <a:gd name="T105" fmla="*/ 644 h 732"/>
                <a:gd name="T106" fmla="*/ 838 w 1072"/>
                <a:gd name="T107" fmla="*/ 688 h 732"/>
                <a:gd name="T108" fmla="*/ 916 w 1072"/>
                <a:gd name="T109" fmla="*/ 17 h 732"/>
                <a:gd name="T110" fmla="*/ 858 w 1072"/>
                <a:gd name="T111" fmla="*/ 694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72" h="732">
                  <a:moveTo>
                    <a:pt x="1063" y="446"/>
                  </a:moveTo>
                  <a:cubicBezTo>
                    <a:pt x="934" y="446"/>
                    <a:pt x="934" y="446"/>
                    <a:pt x="934" y="446"/>
                  </a:cubicBezTo>
                  <a:cubicBezTo>
                    <a:pt x="934" y="35"/>
                    <a:pt x="934" y="35"/>
                    <a:pt x="934" y="35"/>
                  </a:cubicBezTo>
                  <a:cubicBezTo>
                    <a:pt x="957" y="71"/>
                    <a:pt x="987" y="102"/>
                    <a:pt x="1014" y="131"/>
                  </a:cubicBezTo>
                  <a:cubicBezTo>
                    <a:pt x="1026" y="144"/>
                    <a:pt x="1038" y="156"/>
                    <a:pt x="1048" y="168"/>
                  </a:cubicBezTo>
                  <a:cubicBezTo>
                    <a:pt x="1051" y="171"/>
                    <a:pt x="1057" y="172"/>
                    <a:pt x="1060" y="169"/>
                  </a:cubicBezTo>
                  <a:cubicBezTo>
                    <a:pt x="1064" y="166"/>
                    <a:pt x="1064" y="160"/>
                    <a:pt x="1061" y="157"/>
                  </a:cubicBezTo>
                  <a:cubicBezTo>
                    <a:pt x="1051" y="145"/>
                    <a:pt x="1039" y="132"/>
                    <a:pt x="1027" y="119"/>
                  </a:cubicBezTo>
                  <a:cubicBezTo>
                    <a:pt x="995" y="85"/>
                    <a:pt x="958" y="47"/>
                    <a:pt x="935" y="4"/>
                  </a:cubicBezTo>
                  <a:cubicBezTo>
                    <a:pt x="932" y="0"/>
                    <a:pt x="932" y="0"/>
                    <a:pt x="932" y="0"/>
                  </a:cubicBezTo>
                  <a:cubicBezTo>
                    <a:pt x="925" y="0"/>
                    <a:pt x="925" y="0"/>
                    <a:pt x="925" y="0"/>
                  </a:cubicBezTo>
                  <a:cubicBezTo>
                    <a:pt x="830" y="0"/>
                    <a:pt x="830" y="0"/>
                    <a:pt x="830" y="0"/>
                  </a:cubicBezTo>
                  <a:cubicBezTo>
                    <a:pt x="815" y="0"/>
                    <a:pt x="815" y="0"/>
                    <a:pt x="815" y="0"/>
                  </a:cubicBezTo>
                  <a:cubicBezTo>
                    <a:pt x="814" y="7"/>
                    <a:pt x="814" y="7"/>
                    <a:pt x="814" y="7"/>
                  </a:cubicBezTo>
                  <a:cubicBezTo>
                    <a:pt x="813" y="10"/>
                    <a:pt x="778" y="266"/>
                    <a:pt x="556" y="266"/>
                  </a:cubicBezTo>
                  <a:cubicBezTo>
                    <a:pt x="452" y="266"/>
                    <a:pt x="382" y="198"/>
                    <a:pt x="339" y="131"/>
                  </a:cubicBezTo>
                  <a:cubicBezTo>
                    <a:pt x="339" y="130"/>
                    <a:pt x="339" y="130"/>
                    <a:pt x="339" y="130"/>
                  </a:cubicBezTo>
                  <a:cubicBezTo>
                    <a:pt x="338" y="130"/>
                    <a:pt x="338" y="130"/>
                    <a:pt x="338" y="130"/>
                  </a:cubicBezTo>
                  <a:cubicBezTo>
                    <a:pt x="298" y="68"/>
                    <a:pt x="281" y="8"/>
                    <a:pt x="281" y="6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35" y="38"/>
                    <a:pt x="114" y="60"/>
                    <a:pt x="76" y="100"/>
                  </a:cubicBezTo>
                  <a:cubicBezTo>
                    <a:pt x="63" y="115"/>
                    <a:pt x="47" y="131"/>
                    <a:pt x="29" y="151"/>
                  </a:cubicBezTo>
                  <a:cubicBezTo>
                    <a:pt x="26" y="154"/>
                    <a:pt x="26" y="160"/>
                    <a:pt x="29" y="163"/>
                  </a:cubicBezTo>
                  <a:cubicBezTo>
                    <a:pt x="33" y="166"/>
                    <a:pt x="38" y="166"/>
                    <a:pt x="41" y="162"/>
                  </a:cubicBezTo>
                  <a:cubicBezTo>
                    <a:pt x="60" y="143"/>
                    <a:pt x="75" y="126"/>
                    <a:pt x="89" y="112"/>
                  </a:cubicBezTo>
                  <a:cubicBezTo>
                    <a:pt x="118" y="81"/>
                    <a:pt x="138" y="60"/>
                    <a:pt x="158" y="34"/>
                  </a:cubicBezTo>
                  <a:cubicBezTo>
                    <a:pt x="158" y="447"/>
                    <a:pt x="158" y="447"/>
                    <a:pt x="158" y="447"/>
                  </a:cubicBezTo>
                  <a:cubicBezTo>
                    <a:pt x="158" y="446"/>
                    <a:pt x="157" y="446"/>
                    <a:pt x="156" y="446"/>
                  </a:cubicBezTo>
                  <a:cubicBezTo>
                    <a:pt x="27" y="446"/>
                    <a:pt x="27" y="446"/>
                    <a:pt x="27" y="446"/>
                  </a:cubicBezTo>
                  <a:cubicBezTo>
                    <a:pt x="22" y="446"/>
                    <a:pt x="18" y="450"/>
                    <a:pt x="18" y="455"/>
                  </a:cubicBezTo>
                  <a:cubicBezTo>
                    <a:pt x="18" y="460"/>
                    <a:pt x="22" y="463"/>
                    <a:pt x="27" y="463"/>
                  </a:cubicBezTo>
                  <a:cubicBezTo>
                    <a:pt x="156" y="463"/>
                    <a:pt x="156" y="463"/>
                    <a:pt x="156" y="463"/>
                  </a:cubicBezTo>
                  <a:cubicBezTo>
                    <a:pt x="157" y="463"/>
                    <a:pt x="158" y="463"/>
                    <a:pt x="158" y="463"/>
                  </a:cubicBezTo>
                  <a:cubicBezTo>
                    <a:pt x="158" y="701"/>
                    <a:pt x="158" y="701"/>
                    <a:pt x="158" y="701"/>
                  </a:cubicBezTo>
                  <a:cubicBezTo>
                    <a:pt x="107" y="708"/>
                    <a:pt x="55" y="697"/>
                    <a:pt x="17" y="658"/>
                  </a:cubicBezTo>
                  <a:cubicBezTo>
                    <a:pt x="11" y="651"/>
                    <a:pt x="0" y="661"/>
                    <a:pt x="7" y="668"/>
                  </a:cubicBezTo>
                  <a:cubicBezTo>
                    <a:pt x="68" y="732"/>
                    <a:pt x="159" y="727"/>
                    <a:pt x="235" y="693"/>
                  </a:cubicBezTo>
                  <a:cubicBezTo>
                    <a:pt x="264" y="679"/>
                    <a:pt x="296" y="653"/>
                    <a:pt x="329" y="653"/>
                  </a:cubicBezTo>
                  <a:cubicBezTo>
                    <a:pt x="363" y="653"/>
                    <a:pt x="393" y="678"/>
                    <a:pt x="422" y="693"/>
                  </a:cubicBezTo>
                  <a:cubicBezTo>
                    <a:pt x="461" y="712"/>
                    <a:pt x="504" y="715"/>
                    <a:pt x="547" y="711"/>
                  </a:cubicBezTo>
                  <a:cubicBezTo>
                    <a:pt x="571" y="709"/>
                    <a:pt x="595" y="707"/>
                    <a:pt x="617" y="698"/>
                  </a:cubicBezTo>
                  <a:cubicBezTo>
                    <a:pt x="641" y="688"/>
                    <a:pt x="662" y="671"/>
                    <a:pt x="687" y="663"/>
                  </a:cubicBezTo>
                  <a:cubicBezTo>
                    <a:pt x="727" y="650"/>
                    <a:pt x="758" y="674"/>
                    <a:pt x="793" y="689"/>
                  </a:cubicBezTo>
                  <a:cubicBezTo>
                    <a:pt x="872" y="722"/>
                    <a:pt x="969" y="727"/>
                    <a:pt x="1030" y="657"/>
                  </a:cubicBezTo>
                  <a:cubicBezTo>
                    <a:pt x="1036" y="650"/>
                    <a:pt x="1025" y="639"/>
                    <a:pt x="1019" y="646"/>
                  </a:cubicBezTo>
                  <a:cubicBezTo>
                    <a:pt x="996" y="673"/>
                    <a:pt x="966" y="688"/>
                    <a:pt x="934" y="695"/>
                  </a:cubicBezTo>
                  <a:cubicBezTo>
                    <a:pt x="934" y="463"/>
                    <a:pt x="934" y="463"/>
                    <a:pt x="934" y="463"/>
                  </a:cubicBezTo>
                  <a:cubicBezTo>
                    <a:pt x="1063" y="463"/>
                    <a:pt x="1063" y="463"/>
                    <a:pt x="1063" y="463"/>
                  </a:cubicBezTo>
                  <a:cubicBezTo>
                    <a:pt x="1068" y="463"/>
                    <a:pt x="1072" y="460"/>
                    <a:pt x="1072" y="455"/>
                  </a:cubicBezTo>
                  <a:cubicBezTo>
                    <a:pt x="1072" y="450"/>
                    <a:pt x="1068" y="446"/>
                    <a:pt x="1063" y="446"/>
                  </a:cubicBezTo>
                  <a:close/>
                  <a:moveTo>
                    <a:pt x="821" y="53"/>
                  </a:moveTo>
                  <a:cubicBezTo>
                    <a:pt x="821" y="446"/>
                    <a:pt x="821" y="446"/>
                    <a:pt x="821" y="446"/>
                  </a:cubicBezTo>
                  <a:cubicBezTo>
                    <a:pt x="793" y="446"/>
                    <a:pt x="793" y="446"/>
                    <a:pt x="793" y="446"/>
                  </a:cubicBezTo>
                  <a:cubicBezTo>
                    <a:pt x="793" y="127"/>
                    <a:pt x="793" y="127"/>
                    <a:pt x="793" y="127"/>
                  </a:cubicBezTo>
                  <a:cubicBezTo>
                    <a:pt x="806" y="100"/>
                    <a:pt x="815" y="74"/>
                    <a:pt x="821" y="53"/>
                  </a:cubicBezTo>
                  <a:close/>
                  <a:moveTo>
                    <a:pt x="776" y="158"/>
                  </a:moveTo>
                  <a:cubicBezTo>
                    <a:pt x="776" y="446"/>
                    <a:pt x="776" y="446"/>
                    <a:pt x="776" y="446"/>
                  </a:cubicBezTo>
                  <a:cubicBezTo>
                    <a:pt x="696" y="446"/>
                    <a:pt x="696" y="446"/>
                    <a:pt x="696" y="446"/>
                  </a:cubicBezTo>
                  <a:cubicBezTo>
                    <a:pt x="696" y="242"/>
                    <a:pt x="696" y="242"/>
                    <a:pt x="696" y="242"/>
                  </a:cubicBezTo>
                  <a:cubicBezTo>
                    <a:pt x="731" y="219"/>
                    <a:pt x="756" y="189"/>
                    <a:pt x="776" y="158"/>
                  </a:cubicBezTo>
                  <a:close/>
                  <a:moveTo>
                    <a:pt x="611" y="278"/>
                  </a:moveTo>
                  <a:cubicBezTo>
                    <a:pt x="636" y="273"/>
                    <a:pt x="659" y="264"/>
                    <a:pt x="679" y="253"/>
                  </a:cubicBezTo>
                  <a:cubicBezTo>
                    <a:pt x="679" y="446"/>
                    <a:pt x="679" y="446"/>
                    <a:pt x="679" y="446"/>
                  </a:cubicBezTo>
                  <a:cubicBezTo>
                    <a:pt x="611" y="446"/>
                    <a:pt x="611" y="446"/>
                    <a:pt x="611" y="446"/>
                  </a:cubicBezTo>
                  <a:lnTo>
                    <a:pt x="611" y="278"/>
                  </a:lnTo>
                  <a:close/>
                  <a:moveTo>
                    <a:pt x="594" y="281"/>
                  </a:moveTo>
                  <a:cubicBezTo>
                    <a:pt x="594" y="446"/>
                    <a:pt x="594" y="446"/>
                    <a:pt x="594" y="446"/>
                  </a:cubicBezTo>
                  <a:cubicBezTo>
                    <a:pt x="521" y="446"/>
                    <a:pt x="521" y="446"/>
                    <a:pt x="521" y="446"/>
                  </a:cubicBezTo>
                  <a:cubicBezTo>
                    <a:pt x="521" y="281"/>
                    <a:pt x="521" y="281"/>
                    <a:pt x="521" y="281"/>
                  </a:cubicBezTo>
                  <a:cubicBezTo>
                    <a:pt x="532" y="282"/>
                    <a:pt x="544" y="283"/>
                    <a:pt x="556" y="283"/>
                  </a:cubicBezTo>
                  <a:cubicBezTo>
                    <a:pt x="569" y="283"/>
                    <a:pt x="582" y="282"/>
                    <a:pt x="594" y="281"/>
                  </a:cubicBezTo>
                  <a:close/>
                  <a:moveTo>
                    <a:pt x="435" y="251"/>
                  </a:moveTo>
                  <a:cubicBezTo>
                    <a:pt x="456" y="263"/>
                    <a:pt x="479" y="272"/>
                    <a:pt x="504" y="278"/>
                  </a:cubicBezTo>
                  <a:cubicBezTo>
                    <a:pt x="504" y="446"/>
                    <a:pt x="504" y="446"/>
                    <a:pt x="504" y="446"/>
                  </a:cubicBezTo>
                  <a:cubicBezTo>
                    <a:pt x="435" y="446"/>
                    <a:pt x="435" y="446"/>
                    <a:pt x="435" y="446"/>
                  </a:cubicBezTo>
                  <a:lnTo>
                    <a:pt x="435" y="251"/>
                  </a:lnTo>
                  <a:close/>
                  <a:moveTo>
                    <a:pt x="418" y="240"/>
                  </a:moveTo>
                  <a:cubicBezTo>
                    <a:pt x="418" y="446"/>
                    <a:pt x="418" y="446"/>
                    <a:pt x="418" y="446"/>
                  </a:cubicBezTo>
                  <a:cubicBezTo>
                    <a:pt x="339" y="446"/>
                    <a:pt x="339" y="446"/>
                    <a:pt x="339" y="446"/>
                  </a:cubicBezTo>
                  <a:cubicBezTo>
                    <a:pt x="339" y="161"/>
                    <a:pt x="339" y="161"/>
                    <a:pt x="339" y="161"/>
                  </a:cubicBezTo>
                  <a:cubicBezTo>
                    <a:pt x="360" y="190"/>
                    <a:pt x="386" y="218"/>
                    <a:pt x="418" y="240"/>
                  </a:cubicBezTo>
                  <a:close/>
                  <a:moveTo>
                    <a:pt x="322" y="136"/>
                  </a:moveTo>
                  <a:cubicBezTo>
                    <a:pt x="322" y="446"/>
                    <a:pt x="322" y="446"/>
                    <a:pt x="322" y="446"/>
                  </a:cubicBezTo>
                  <a:cubicBezTo>
                    <a:pt x="271" y="446"/>
                    <a:pt x="271" y="446"/>
                    <a:pt x="271" y="446"/>
                  </a:cubicBezTo>
                  <a:cubicBezTo>
                    <a:pt x="271" y="32"/>
                    <a:pt x="271" y="32"/>
                    <a:pt x="271" y="32"/>
                  </a:cubicBezTo>
                  <a:cubicBezTo>
                    <a:pt x="279" y="55"/>
                    <a:pt x="296" y="95"/>
                    <a:pt x="322" y="136"/>
                  </a:cubicBezTo>
                  <a:close/>
                  <a:moveTo>
                    <a:pt x="183" y="696"/>
                  </a:moveTo>
                  <a:cubicBezTo>
                    <a:pt x="181" y="696"/>
                    <a:pt x="178" y="697"/>
                    <a:pt x="176" y="697"/>
                  </a:cubicBezTo>
                  <a:cubicBezTo>
                    <a:pt x="176" y="17"/>
                    <a:pt x="176" y="17"/>
                    <a:pt x="176" y="17"/>
                  </a:cubicBezTo>
                  <a:cubicBezTo>
                    <a:pt x="254" y="17"/>
                    <a:pt x="254" y="17"/>
                    <a:pt x="254" y="17"/>
                  </a:cubicBezTo>
                  <a:cubicBezTo>
                    <a:pt x="254" y="663"/>
                    <a:pt x="254" y="663"/>
                    <a:pt x="254" y="663"/>
                  </a:cubicBezTo>
                  <a:cubicBezTo>
                    <a:pt x="231" y="676"/>
                    <a:pt x="209" y="689"/>
                    <a:pt x="183" y="696"/>
                  </a:cubicBezTo>
                  <a:close/>
                  <a:moveTo>
                    <a:pt x="724" y="644"/>
                  </a:moveTo>
                  <a:cubicBezTo>
                    <a:pt x="690" y="639"/>
                    <a:pt x="663" y="658"/>
                    <a:pt x="634" y="673"/>
                  </a:cubicBezTo>
                  <a:cubicBezTo>
                    <a:pt x="605" y="689"/>
                    <a:pt x="578" y="693"/>
                    <a:pt x="547" y="696"/>
                  </a:cubicBezTo>
                  <a:cubicBezTo>
                    <a:pt x="492" y="701"/>
                    <a:pt x="449" y="690"/>
                    <a:pt x="402" y="664"/>
                  </a:cubicBezTo>
                  <a:cubicBezTo>
                    <a:pt x="372" y="648"/>
                    <a:pt x="340" y="632"/>
                    <a:pt x="306" y="641"/>
                  </a:cubicBezTo>
                  <a:cubicBezTo>
                    <a:pt x="294" y="644"/>
                    <a:pt x="282" y="649"/>
                    <a:pt x="271" y="655"/>
                  </a:cubicBezTo>
                  <a:cubicBezTo>
                    <a:pt x="271" y="463"/>
                    <a:pt x="271" y="463"/>
                    <a:pt x="271" y="463"/>
                  </a:cubicBezTo>
                  <a:cubicBezTo>
                    <a:pt x="821" y="463"/>
                    <a:pt x="821" y="463"/>
                    <a:pt x="821" y="463"/>
                  </a:cubicBezTo>
                  <a:cubicBezTo>
                    <a:pt x="821" y="682"/>
                    <a:pt x="821" y="682"/>
                    <a:pt x="821" y="682"/>
                  </a:cubicBezTo>
                  <a:cubicBezTo>
                    <a:pt x="789" y="668"/>
                    <a:pt x="758" y="649"/>
                    <a:pt x="724" y="644"/>
                  </a:cubicBezTo>
                  <a:close/>
                  <a:moveTo>
                    <a:pt x="858" y="694"/>
                  </a:moveTo>
                  <a:cubicBezTo>
                    <a:pt x="851" y="692"/>
                    <a:pt x="845" y="690"/>
                    <a:pt x="838" y="688"/>
                  </a:cubicBezTo>
                  <a:cubicBezTo>
                    <a:pt x="838" y="17"/>
                    <a:pt x="838" y="17"/>
                    <a:pt x="838" y="17"/>
                  </a:cubicBezTo>
                  <a:cubicBezTo>
                    <a:pt x="916" y="17"/>
                    <a:pt x="916" y="17"/>
                    <a:pt x="916" y="17"/>
                  </a:cubicBezTo>
                  <a:cubicBezTo>
                    <a:pt x="916" y="697"/>
                    <a:pt x="916" y="697"/>
                    <a:pt x="916" y="697"/>
                  </a:cubicBezTo>
                  <a:cubicBezTo>
                    <a:pt x="897" y="699"/>
                    <a:pt x="877" y="698"/>
                    <a:pt x="858" y="6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2" name="Group 70"/>
          <p:cNvGrpSpPr>
            <a:grpSpLocks noChangeAspect="1"/>
          </p:cNvGrpSpPr>
          <p:nvPr/>
        </p:nvGrpSpPr>
        <p:grpSpPr bwMode="auto">
          <a:xfrm>
            <a:off x="5816347" y="5506158"/>
            <a:ext cx="769937" cy="768350"/>
            <a:chOff x="827" y="1006"/>
            <a:chExt cx="485" cy="484"/>
          </a:xfrm>
        </p:grpSpPr>
        <p:sp>
          <p:nvSpPr>
            <p:cNvPr id="293" name="AutoShape 69"/>
            <p:cNvSpPr>
              <a:spLocks noChangeAspect="1" noChangeArrowheads="1" noTextEdit="1"/>
            </p:cNvSpPr>
            <p:nvPr/>
          </p:nvSpPr>
          <p:spPr bwMode="auto">
            <a:xfrm>
              <a:off x="827" y="1006"/>
              <a:ext cx="485" cy="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71"/>
            <p:cNvSpPr>
              <a:spLocks noEditPoints="1"/>
            </p:cNvSpPr>
            <p:nvPr/>
          </p:nvSpPr>
          <p:spPr bwMode="auto">
            <a:xfrm>
              <a:off x="827" y="1006"/>
              <a:ext cx="485" cy="484"/>
            </a:xfrm>
            <a:custGeom>
              <a:avLst/>
              <a:gdLst>
                <a:gd name="T0" fmla="*/ 723 w 1445"/>
                <a:gd name="T1" fmla="*/ 0 h 1445"/>
                <a:gd name="T2" fmla="*/ 0 w 1445"/>
                <a:gd name="T3" fmla="*/ 723 h 1445"/>
                <a:gd name="T4" fmla="*/ 723 w 1445"/>
                <a:gd name="T5" fmla="*/ 1445 h 1445"/>
                <a:gd name="T6" fmla="*/ 1445 w 1445"/>
                <a:gd name="T7" fmla="*/ 723 h 1445"/>
                <a:gd name="T8" fmla="*/ 723 w 1445"/>
                <a:gd name="T9" fmla="*/ 0 h 1445"/>
                <a:gd name="T10" fmla="*/ 1208 w 1445"/>
                <a:gd name="T11" fmla="*/ 1208 h 1445"/>
                <a:gd name="T12" fmla="*/ 723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3 h 1445"/>
                <a:gd name="T18" fmla="*/ 237 w 1445"/>
                <a:gd name="T19" fmla="*/ 237 h 1445"/>
                <a:gd name="T20" fmla="*/ 723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3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5"/>
                    <a:pt x="723" y="1445"/>
                  </a:cubicBezTo>
                  <a:cubicBezTo>
                    <a:pt x="1122" y="1445"/>
                    <a:pt x="1445" y="1122"/>
                    <a:pt x="1445" y="723"/>
                  </a:cubicBezTo>
                  <a:cubicBezTo>
                    <a:pt x="1445" y="324"/>
                    <a:pt x="1122" y="0"/>
                    <a:pt x="723" y="0"/>
                  </a:cubicBezTo>
                  <a:close/>
                  <a:moveTo>
                    <a:pt x="1208" y="1208"/>
                  </a:moveTo>
                  <a:cubicBezTo>
                    <a:pt x="1079" y="1338"/>
                    <a:pt x="906" y="1409"/>
                    <a:pt x="723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8" y="1079"/>
                    <a:pt x="36" y="906"/>
                    <a:pt x="36" y="723"/>
                  </a:cubicBezTo>
                  <a:cubicBezTo>
                    <a:pt x="36" y="539"/>
                    <a:pt x="108" y="367"/>
                    <a:pt x="237" y="237"/>
                  </a:cubicBezTo>
                  <a:cubicBezTo>
                    <a:pt x="367" y="108"/>
                    <a:pt x="539" y="36"/>
                    <a:pt x="723" y="36"/>
                  </a:cubicBezTo>
                  <a:cubicBezTo>
                    <a:pt x="906" y="36"/>
                    <a:pt x="1079" y="108"/>
                    <a:pt x="1208" y="237"/>
                  </a:cubicBezTo>
                  <a:cubicBezTo>
                    <a:pt x="1338" y="367"/>
                    <a:pt x="1409" y="539"/>
                    <a:pt x="1409" y="723"/>
                  </a:cubicBezTo>
                  <a:cubicBezTo>
                    <a:pt x="1409" y="906"/>
                    <a:pt x="1338" y="1079"/>
                    <a:pt x="1208" y="120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72"/>
            <p:cNvSpPr>
              <a:spLocks noEditPoints="1"/>
            </p:cNvSpPr>
            <p:nvPr/>
          </p:nvSpPr>
          <p:spPr bwMode="auto">
            <a:xfrm>
              <a:off x="942" y="1109"/>
              <a:ext cx="302" cy="268"/>
            </a:xfrm>
            <a:custGeom>
              <a:avLst/>
              <a:gdLst>
                <a:gd name="T0" fmla="*/ 899 w 899"/>
                <a:gd name="T1" fmla="*/ 587 h 801"/>
                <a:gd name="T2" fmla="*/ 763 w 899"/>
                <a:gd name="T3" fmla="*/ 535 h 801"/>
                <a:gd name="T4" fmla="*/ 883 w 899"/>
                <a:gd name="T5" fmla="*/ 523 h 801"/>
                <a:gd name="T6" fmla="*/ 790 w 899"/>
                <a:gd name="T7" fmla="*/ 451 h 801"/>
                <a:gd name="T8" fmla="*/ 298 w 899"/>
                <a:gd name="T9" fmla="*/ 582 h 801"/>
                <a:gd name="T10" fmla="*/ 448 w 899"/>
                <a:gd name="T11" fmla="*/ 303 h 801"/>
                <a:gd name="T12" fmla="*/ 464 w 899"/>
                <a:gd name="T13" fmla="*/ 96 h 801"/>
                <a:gd name="T14" fmla="*/ 109 w 899"/>
                <a:gd name="T15" fmla="*/ 616 h 801"/>
                <a:gd name="T16" fmla="*/ 287 w 899"/>
                <a:gd name="T17" fmla="*/ 662 h 801"/>
                <a:gd name="T18" fmla="*/ 163 w 899"/>
                <a:gd name="T19" fmla="*/ 662 h 801"/>
                <a:gd name="T20" fmla="*/ 49 w 899"/>
                <a:gd name="T21" fmla="*/ 668 h 801"/>
                <a:gd name="T22" fmla="*/ 55 w 899"/>
                <a:gd name="T23" fmla="*/ 549 h 801"/>
                <a:gd name="T24" fmla="*/ 55 w 899"/>
                <a:gd name="T25" fmla="*/ 390 h 801"/>
                <a:gd name="T26" fmla="*/ 55 w 899"/>
                <a:gd name="T27" fmla="*/ 232 h 801"/>
                <a:gd name="T28" fmla="*/ 48 w 899"/>
                <a:gd name="T29" fmla="*/ 72 h 801"/>
                <a:gd name="T30" fmla="*/ 101 w 899"/>
                <a:gd name="T31" fmla="*/ 62 h 801"/>
                <a:gd name="T32" fmla="*/ 225 w 899"/>
                <a:gd name="T33" fmla="*/ 62 h 801"/>
                <a:gd name="T34" fmla="*/ 348 w 899"/>
                <a:gd name="T35" fmla="*/ 62 h 801"/>
                <a:gd name="T36" fmla="*/ 472 w 899"/>
                <a:gd name="T37" fmla="*/ 62 h 801"/>
                <a:gd name="T38" fmla="*/ 525 w 899"/>
                <a:gd name="T39" fmla="*/ 72 h 801"/>
                <a:gd name="T40" fmla="*/ 519 w 899"/>
                <a:gd name="T41" fmla="*/ 232 h 801"/>
                <a:gd name="T42" fmla="*/ 550 w 899"/>
                <a:gd name="T43" fmla="*/ 242 h 801"/>
                <a:gd name="T44" fmla="*/ 554 w 899"/>
                <a:gd name="T45" fmla="*/ 88 h 801"/>
                <a:gd name="T46" fmla="*/ 448 w 899"/>
                <a:gd name="T47" fmla="*/ 24 h 801"/>
                <a:gd name="T48" fmla="*/ 324 w 899"/>
                <a:gd name="T49" fmla="*/ 24 h 801"/>
                <a:gd name="T50" fmla="*/ 200 w 899"/>
                <a:gd name="T51" fmla="*/ 24 h 801"/>
                <a:gd name="T52" fmla="*/ 77 w 899"/>
                <a:gd name="T53" fmla="*/ 20 h 801"/>
                <a:gd name="T54" fmla="*/ 23 w 899"/>
                <a:gd name="T55" fmla="*/ 153 h 801"/>
                <a:gd name="T56" fmla="*/ 23 w 899"/>
                <a:gd name="T57" fmla="*/ 311 h 801"/>
                <a:gd name="T58" fmla="*/ 23 w 899"/>
                <a:gd name="T59" fmla="*/ 470 h 801"/>
                <a:gd name="T60" fmla="*/ 19 w 899"/>
                <a:gd name="T61" fmla="*/ 624 h 801"/>
                <a:gd name="T62" fmla="*/ 101 w 899"/>
                <a:gd name="T63" fmla="*/ 682 h 801"/>
                <a:gd name="T64" fmla="*/ 225 w 899"/>
                <a:gd name="T65" fmla="*/ 682 h 801"/>
                <a:gd name="T66" fmla="*/ 330 w 899"/>
                <a:gd name="T67" fmla="*/ 685 h 801"/>
                <a:gd name="T68" fmla="*/ 790 w 899"/>
                <a:gd name="T69" fmla="*/ 645 h 801"/>
                <a:gd name="T70" fmla="*/ 883 w 899"/>
                <a:gd name="T71" fmla="*/ 650 h 801"/>
                <a:gd name="T72" fmla="*/ 766 w 899"/>
                <a:gd name="T73" fmla="*/ 571 h 801"/>
                <a:gd name="T74" fmla="*/ 373 w 899"/>
                <a:gd name="T75" fmla="*/ 688 h 801"/>
                <a:gd name="T76" fmla="*/ 497 w 899"/>
                <a:gd name="T77" fmla="*/ 691 h 801"/>
                <a:gd name="T78" fmla="*/ 548 w 899"/>
                <a:gd name="T79" fmla="*/ 558 h 801"/>
                <a:gd name="T80" fmla="*/ 528 w 899"/>
                <a:gd name="T81" fmla="*/ 418 h 801"/>
                <a:gd name="T82" fmla="*/ 517 w 899"/>
                <a:gd name="T83" fmla="*/ 545 h 801"/>
                <a:gd name="T84" fmla="*/ 524 w 899"/>
                <a:gd name="T85" fmla="*/ 668 h 801"/>
                <a:gd name="T86" fmla="*/ 410 w 899"/>
                <a:gd name="T87" fmla="*/ 662 h 801"/>
                <a:gd name="T88" fmla="*/ 337 w 899"/>
                <a:gd name="T89" fmla="*/ 616 h 801"/>
                <a:gd name="T90" fmla="*/ 464 w 899"/>
                <a:gd name="T91" fmla="*/ 404 h 801"/>
                <a:gd name="T92" fmla="*/ 331 w 899"/>
                <a:gd name="T93" fmla="*/ 567 h 801"/>
                <a:gd name="T94" fmla="*/ 661 w 899"/>
                <a:gd name="T95" fmla="*/ 474 h 801"/>
                <a:gd name="T96" fmla="*/ 640 w 899"/>
                <a:gd name="T97" fmla="*/ 500 h 801"/>
                <a:gd name="T98" fmla="*/ 697 w 899"/>
                <a:gd name="T99" fmla="*/ 570 h 801"/>
                <a:gd name="T100" fmla="*/ 604 w 899"/>
                <a:gd name="T101" fmla="*/ 564 h 801"/>
                <a:gd name="T102" fmla="*/ 716 w 899"/>
                <a:gd name="T103" fmla="*/ 647 h 801"/>
                <a:gd name="T104" fmla="*/ 588 w 899"/>
                <a:gd name="T105" fmla="*/ 628 h 801"/>
                <a:gd name="T106" fmla="*/ 532 w 899"/>
                <a:gd name="T107" fmla="*/ 76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9" h="801">
                  <a:moveTo>
                    <a:pt x="790" y="564"/>
                  </a:moveTo>
                  <a:cubicBezTo>
                    <a:pt x="807" y="564"/>
                    <a:pt x="815" y="571"/>
                    <a:pt x="826" y="580"/>
                  </a:cubicBezTo>
                  <a:cubicBezTo>
                    <a:pt x="838" y="590"/>
                    <a:pt x="853" y="603"/>
                    <a:pt x="883" y="603"/>
                  </a:cubicBezTo>
                  <a:cubicBezTo>
                    <a:pt x="892" y="603"/>
                    <a:pt x="899" y="596"/>
                    <a:pt x="899" y="587"/>
                  </a:cubicBezTo>
                  <a:cubicBezTo>
                    <a:pt x="899" y="578"/>
                    <a:pt x="892" y="570"/>
                    <a:pt x="883" y="570"/>
                  </a:cubicBezTo>
                  <a:cubicBezTo>
                    <a:pt x="865" y="570"/>
                    <a:pt x="858" y="564"/>
                    <a:pt x="847" y="555"/>
                  </a:cubicBezTo>
                  <a:cubicBezTo>
                    <a:pt x="835" y="544"/>
                    <a:pt x="819" y="531"/>
                    <a:pt x="790" y="531"/>
                  </a:cubicBezTo>
                  <a:cubicBezTo>
                    <a:pt x="779" y="531"/>
                    <a:pt x="771" y="533"/>
                    <a:pt x="763" y="535"/>
                  </a:cubicBezTo>
                  <a:cubicBezTo>
                    <a:pt x="762" y="523"/>
                    <a:pt x="759" y="511"/>
                    <a:pt x="755" y="499"/>
                  </a:cubicBezTo>
                  <a:cubicBezTo>
                    <a:pt x="766" y="490"/>
                    <a:pt x="773" y="484"/>
                    <a:pt x="790" y="484"/>
                  </a:cubicBezTo>
                  <a:cubicBezTo>
                    <a:pt x="807" y="484"/>
                    <a:pt x="815" y="491"/>
                    <a:pt x="826" y="500"/>
                  </a:cubicBezTo>
                  <a:cubicBezTo>
                    <a:pt x="838" y="510"/>
                    <a:pt x="853" y="523"/>
                    <a:pt x="883" y="523"/>
                  </a:cubicBezTo>
                  <a:cubicBezTo>
                    <a:pt x="892" y="523"/>
                    <a:pt x="899" y="516"/>
                    <a:pt x="899" y="506"/>
                  </a:cubicBezTo>
                  <a:cubicBezTo>
                    <a:pt x="899" y="497"/>
                    <a:pt x="892" y="490"/>
                    <a:pt x="883" y="490"/>
                  </a:cubicBezTo>
                  <a:cubicBezTo>
                    <a:pt x="865" y="490"/>
                    <a:pt x="858" y="483"/>
                    <a:pt x="847" y="474"/>
                  </a:cubicBezTo>
                  <a:cubicBezTo>
                    <a:pt x="835" y="464"/>
                    <a:pt x="819" y="451"/>
                    <a:pt x="790" y="451"/>
                  </a:cubicBezTo>
                  <a:cubicBezTo>
                    <a:pt x="768" y="451"/>
                    <a:pt x="754" y="458"/>
                    <a:pt x="743" y="466"/>
                  </a:cubicBezTo>
                  <a:cubicBezTo>
                    <a:pt x="705" y="388"/>
                    <a:pt x="625" y="333"/>
                    <a:pt x="532" y="333"/>
                  </a:cubicBezTo>
                  <a:cubicBezTo>
                    <a:pt x="403" y="333"/>
                    <a:pt x="298" y="438"/>
                    <a:pt x="298" y="567"/>
                  </a:cubicBezTo>
                  <a:cubicBezTo>
                    <a:pt x="298" y="572"/>
                    <a:pt x="298" y="577"/>
                    <a:pt x="298" y="582"/>
                  </a:cubicBezTo>
                  <a:cubicBezTo>
                    <a:pt x="125" y="582"/>
                    <a:pt x="125" y="582"/>
                    <a:pt x="125" y="582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448" y="129"/>
                    <a:pt x="448" y="129"/>
                    <a:pt x="448" y="129"/>
                  </a:cubicBezTo>
                  <a:cubicBezTo>
                    <a:pt x="448" y="303"/>
                    <a:pt x="448" y="303"/>
                    <a:pt x="448" y="303"/>
                  </a:cubicBezTo>
                  <a:cubicBezTo>
                    <a:pt x="448" y="312"/>
                    <a:pt x="455" y="319"/>
                    <a:pt x="464" y="319"/>
                  </a:cubicBezTo>
                  <a:cubicBezTo>
                    <a:pt x="474" y="319"/>
                    <a:pt x="481" y="312"/>
                    <a:pt x="481" y="303"/>
                  </a:cubicBezTo>
                  <a:cubicBezTo>
                    <a:pt x="481" y="113"/>
                    <a:pt x="481" y="113"/>
                    <a:pt x="481" y="113"/>
                  </a:cubicBezTo>
                  <a:cubicBezTo>
                    <a:pt x="481" y="104"/>
                    <a:pt x="474" y="96"/>
                    <a:pt x="464" y="96"/>
                  </a:cubicBezTo>
                  <a:cubicBezTo>
                    <a:pt x="109" y="96"/>
                    <a:pt x="109" y="96"/>
                    <a:pt x="109" y="96"/>
                  </a:cubicBezTo>
                  <a:cubicBezTo>
                    <a:pt x="100" y="96"/>
                    <a:pt x="92" y="104"/>
                    <a:pt x="92" y="113"/>
                  </a:cubicBezTo>
                  <a:cubicBezTo>
                    <a:pt x="92" y="599"/>
                    <a:pt x="92" y="599"/>
                    <a:pt x="92" y="599"/>
                  </a:cubicBezTo>
                  <a:cubicBezTo>
                    <a:pt x="92" y="608"/>
                    <a:pt x="100" y="616"/>
                    <a:pt x="109" y="616"/>
                  </a:cubicBezTo>
                  <a:cubicBezTo>
                    <a:pt x="303" y="616"/>
                    <a:pt x="303" y="616"/>
                    <a:pt x="303" y="616"/>
                  </a:cubicBezTo>
                  <a:cubicBezTo>
                    <a:pt x="305" y="629"/>
                    <a:pt x="310" y="643"/>
                    <a:pt x="315" y="655"/>
                  </a:cubicBezTo>
                  <a:cubicBezTo>
                    <a:pt x="314" y="656"/>
                    <a:pt x="312" y="656"/>
                    <a:pt x="311" y="657"/>
                  </a:cubicBezTo>
                  <a:cubicBezTo>
                    <a:pt x="304" y="660"/>
                    <a:pt x="299" y="662"/>
                    <a:pt x="287" y="662"/>
                  </a:cubicBezTo>
                  <a:cubicBezTo>
                    <a:pt x="274" y="662"/>
                    <a:pt x="269" y="660"/>
                    <a:pt x="262" y="657"/>
                  </a:cubicBezTo>
                  <a:cubicBezTo>
                    <a:pt x="254" y="654"/>
                    <a:pt x="243" y="649"/>
                    <a:pt x="225" y="649"/>
                  </a:cubicBezTo>
                  <a:cubicBezTo>
                    <a:pt x="206" y="649"/>
                    <a:pt x="196" y="654"/>
                    <a:pt x="188" y="657"/>
                  </a:cubicBezTo>
                  <a:cubicBezTo>
                    <a:pt x="181" y="660"/>
                    <a:pt x="175" y="662"/>
                    <a:pt x="163" y="662"/>
                  </a:cubicBezTo>
                  <a:cubicBezTo>
                    <a:pt x="151" y="662"/>
                    <a:pt x="145" y="660"/>
                    <a:pt x="138" y="657"/>
                  </a:cubicBezTo>
                  <a:cubicBezTo>
                    <a:pt x="130" y="654"/>
                    <a:pt x="120" y="649"/>
                    <a:pt x="101" y="649"/>
                  </a:cubicBezTo>
                  <a:cubicBezTo>
                    <a:pt x="84" y="649"/>
                    <a:pt x="70" y="657"/>
                    <a:pt x="60" y="663"/>
                  </a:cubicBezTo>
                  <a:cubicBezTo>
                    <a:pt x="57" y="665"/>
                    <a:pt x="51" y="668"/>
                    <a:pt x="49" y="668"/>
                  </a:cubicBezTo>
                  <a:cubicBezTo>
                    <a:pt x="49" y="668"/>
                    <a:pt x="48" y="667"/>
                    <a:pt x="47" y="666"/>
                  </a:cubicBezTo>
                  <a:cubicBezTo>
                    <a:pt x="39" y="656"/>
                    <a:pt x="41" y="653"/>
                    <a:pt x="48" y="640"/>
                  </a:cubicBezTo>
                  <a:cubicBezTo>
                    <a:pt x="54" y="629"/>
                    <a:pt x="62" y="614"/>
                    <a:pt x="62" y="593"/>
                  </a:cubicBezTo>
                  <a:cubicBezTo>
                    <a:pt x="62" y="571"/>
                    <a:pt x="58" y="559"/>
                    <a:pt x="55" y="549"/>
                  </a:cubicBezTo>
                  <a:cubicBezTo>
                    <a:pt x="52" y="539"/>
                    <a:pt x="49" y="531"/>
                    <a:pt x="49" y="514"/>
                  </a:cubicBezTo>
                  <a:cubicBezTo>
                    <a:pt x="49" y="497"/>
                    <a:pt x="52" y="489"/>
                    <a:pt x="55" y="480"/>
                  </a:cubicBezTo>
                  <a:cubicBezTo>
                    <a:pt x="58" y="469"/>
                    <a:pt x="62" y="457"/>
                    <a:pt x="62" y="435"/>
                  </a:cubicBezTo>
                  <a:cubicBezTo>
                    <a:pt x="62" y="413"/>
                    <a:pt x="58" y="401"/>
                    <a:pt x="55" y="390"/>
                  </a:cubicBezTo>
                  <a:cubicBezTo>
                    <a:pt x="52" y="381"/>
                    <a:pt x="49" y="373"/>
                    <a:pt x="49" y="356"/>
                  </a:cubicBezTo>
                  <a:cubicBezTo>
                    <a:pt x="49" y="339"/>
                    <a:pt x="52" y="331"/>
                    <a:pt x="55" y="321"/>
                  </a:cubicBezTo>
                  <a:cubicBezTo>
                    <a:pt x="58" y="311"/>
                    <a:pt x="62" y="299"/>
                    <a:pt x="62" y="277"/>
                  </a:cubicBezTo>
                  <a:cubicBezTo>
                    <a:pt x="62" y="254"/>
                    <a:pt x="58" y="243"/>
                    <a:pt x="55" y="232"/>
                  </a:cubicBezTo>
                  <a:cubicBezTo>
                    <a:pt x="52" y="223"/>
                    <a:pt x="49" y="215"/>
                    <a:pt x="49" y="198"/>
                  </a:cubicBezTo>
                  <a:cubicBezTo>
                    <a:pt x="49" y="181"/>
                    <a:pt x="52" y="173"/>
                    <a:pt x="55" y="163"/>
                  </a:cubicBezTo>
                  <a:cubicBezTo>
                    <a:pt x="58" y="153"/>
                    <a:pt x="62" y="141"/>
                    <a:pt x="62" y="119"/>
                  </a:cubicBezTo>
                  <a:cubicBezTo>
                    <a:pt x="62" y="98"/>
                    <a:pt x="54" y="83"/>
                    <a:pt x="48" y="72"/>
                  </a:cubicBezTo>
                  <a:cubicBezTo>
                    <a:pt x="41" y="58"/>
                    <a:pt x="39" y="55"/>
                    <a:pt x="47" y="46"/>
                  </a:cubicBezTo>
                  <a:cubicBezTo>
                    <a:pt x="48" y="44"/>
                    <a:pt x="49" y="44"/>
                    <a:pt x="49" y="43"/>
                  </a:cubicBezTo>
                  <a:cubicBezTo>
                    <a:pt x="51" y="44"/>
                    <a:pt x="57" y="47"/>
                    <a:pt x="60" y="49"/>
                  </a:cubicBezTo>
                  <a:cubicBezTo>
                    <a:pt x="70" y="55"/>
                    <a:pt x="84" y="62"/>
                    <a:pt x="101" y="62"/>
                  </a:cubicBezTo>
                  <a:cubicBezTo>
                    <a:pt x="119" y="62"/>
                    <a:pt x="130" y="58"/>
                    <a:pt x="138" y="55"/>
                  </a:cubicBezTo>
                  <a:cubicBezTo>
                    <a:pt x="145" y="52"/>
                    <a:pt x="150" y="50"/>
                    <a:pt x="163" y="50"/>
                  </a:cubicBezTo>
                  <a:cubicBezTo>
                    <a:pt x="175" y="50"/>
                    <a:pt x="180" y="52"/>
                    <a:pt x="187" y="55"/>
                  </a:cubicBezTo>
                  <a:cubicBezTo>
                    <a:pt x="196" y="58"/>
                    <a:pt x="206" y="62"/>
                    <a:pt x="225" y="62"/>
                  </a:cubicBezTo>
                  <a:cubicBezTo>
                    <a:pt x="243" y="62"/>
                    <a:pt x="254" y="58"/>
                    <a:pt x="262" y="55"/>
                  </a:cubicBezTo>
                  <a:cubicBezTo>
                    <a:pt x="269" y="52"/>
                    <a:pt x="274" y="50"/>
                    <a:pt x="286" y="50"/>
                  </a:cubicBezTo>
                  <a:cubicBezTo>
                    <a:pt x="299" y="50"/>
                    <a:pt x="304" y="52"/>
                    <a:pt x="311" y="55"/>
                  </a:cubicBezTo>
                  <a:cubicBezTo>
                    <a:pt x="319" y="58"/>
                    <a:pt x="330" y="62"/>
                    <a:pt x="348" y="62"/>
                  </a:cubicBezTo>
                  <a:cubicBezTo>
                    <a:pt x="367" y="62"/>
                    <a:pt x="377" y="58"/>
                    <a:pt x="386" y="55"/>
                  </a:cubicBezTo>
                  <a:cubicBezTo>
                    <a:pt x="393" y="52"/>
                    <a:pt x="398" y="50"/>
                    <a:pt x="410" y="50"/>
                  </a:cubicBezTo>
                  <a:cubicBezTo>
                    <a:pt x="423" y="50"/>
                    <a:pt x="428" y="52"/>
                    <a:pt x="435" y="55"/>
                  </a:cubicBezTo>
                  <a:cubicBezTo>
                    <a:pt x="443" y="58"/>
                    <a:pt x="454" y="62"/>
                    <a:pt x="472" y="62"/>
                  </a:cubicBezTo>
                  <a:cubicBezTo>
                    <a:pt x="490" y="62"/>
                    <a:pt x="503" y="55"/>
                    <a:pt x="513" y="49"/>
                  </a:cubicBezTo>
                  <a:cubicBezTo>
                    <a:pt x="517" y="47"/>
                    <a:pt x="522" y="44"/>
                    <a:pt x="524" y="43"/>
                  </a:cubicBezTo>
                  <a:cubicBezTo>
                    <a:pt x="524" y="44"/>
                    <a:pt x="525" y="44"/>
                    <a:pt x="526" y="46"/>
                  </a:cubicBezTo>
                  <a:cubicBezTo>
                    <a:pt x="534" y="55"/>
                    <a:pt x="532" y="58"/>
                    <a:pt x="525" y="72"/>
                  </a:cubicBezTo>
                  <a:cubicBezTo>
                    <a:pt x="519" y="83"/>
                    <a:pt x="511" y="98"/>
                    <a:pt x="511" y="118"/>
                  </a:cubicBezTo>
                  <a:cubicBezTo>
                    <a:pt x="511" y="141"/>
                    <a:pt x="515" y="153"/>
                    <a:pt x="519" y="163"/>
                  </a:cubicBezTo>
                  <a:cubicBezTo>
                    <a:pt x="521" y="172"/>
                    <a:pt x="524" y="180"/>
                    <a:pt x="524" y="198"/>
                  </a:cubicBezTo>
                  <a:cubicBezTo>
                    <a:pt x="524" y="215"/>
                    <a:pt x="521" y="223"/>
                    <a:pt x="519" y="232"/>
                  </a:cubicBezTo>
                  <a:cubicBezTo>
                    <a:pt x="515" y="242"/>
                    <a:pt x="511" y="254"/>
                    <a:pt x="511" y="277"/>
                  </a:cubicBezTo>
                  <a:cubicBezTo>
                    <a:pt x="511" y="286"/>
                    <a:pt x="519" y="293"/>
                    <a:pt x="528" y="293"/>
                  </a:cubicBezTo>
                  <a:cubicBezTo>
                    <a:pt x="537" y="293"/>
                    <a:pt x="545" y="286"/>
                    <a:pt x="545" y="277"/>
                  </a:cubicBezTo>
                  <a:cubicBezTo>
                    <a:pt x="545" y="259"/>
                    <a:pt x="547" y="251"/>
                    <a:pt x="550" y="242"/>
                  </a:cubicBezTo>
                  <a:cubicBezTo>
                    <a:pt x="553" y="232"/>
                    <a:pt x="557" y="220"/>
                    <a:pt x="557" y="198"/>
                  </a:cubicBezTo>
                  <a:cubicBezTo>
                    <a:pt x="557" y="175"/>
                    <a:pt x="553" y="163"/>
                    <a:pt x="550" y="153"/>
                  </a:cubicBezTo>
                  <a:cubicBezTo>
                    <a:pt x="547" y="144"/>
                    <a:pt x="545" y="136"/>
                    <a:pt x="545" y="118"/>
                  </a:cubicBezTo>
                  <a:cubicBezTo>
                    <a:pt x="545" y="106"/>
                    <a:pt x="549" y="97"/>
                    <a:pt x="554" y="88"/>
                  </a:cubicBezTo>
                  <a:cubicBezTo>
                    <a:pt x="562" y="73"/>
                    <a:pt x="573" y="52"/>
                    <a:pt x="552" y="25"/>
                  </a:cubicBezTo>
                  <a:cubicBezTo>
                    <a:pt x="532" y="0"/>
                    <a:pt x="509" y="13"/>
                    <a:pt x="497" y="20"/>
                  </a:cubicBezTo>
                  <a:cubicBezTo>
                    <a:pt x="488" y="25"/>
                    <a:pt x="481" y="29"/>
                    <a:pt x="472" y="29"/>
                  </a:cubicBezTo>
                  <a:cubicBezTo>
                    <a:pt x="460" y="29"/>
                    <a:pt x="455" y="27"/>
                    <a:pt x="448" y="24"/>
                  </a:cubicBezTo>
                  <a:cubicBezTo>
                    <a:pt x="439" y="21"/>
                    <a:pt x="429" y="16"/>
                    <a:pt x="410" y="16"/>
                  </a:cubicBezTo>
                  <a:cubicBezTo>
                    <a:pt x="392" y="16"/>
                    <a:pt x="381" y="21"/>
                    <a:pt x="373" y="24"/>
                  </a:cubicBezTo>
                  <a:cubicBezTo>
                    <a:pt x="366" y="27"/>
                    <a:pt x="361" y="29"/>
                    <a:pt x="348" y="29"/>
                  </a:cubicBezTo>
                  <a:cubicBezTo>
                    <a:pt x="336" y="29"/>
                    <a:pt x="331" y="27"/>
                    <a:pt x="324" y="24"/>
                  </a:cubicBezTo>
                  <a:cubicBezTo>
                    <a:pt x="315" y="21"/>
                    <a:pt x="305" y="16"/>
                    <a:pt x="287" y="16"/>
                  </a:cubicBezTo>
                  <a:cubicBezTo>
                    <a:pt x="268" y="16"/>
                    <a:pt x="258" y="21"/>
                    <a:pt x="249" y="24"/>
                  </a:cubicBezTo>
                  <a:cubicBezTo>
                    <a:pt x="242" y="27"/>
                    <a:pt x="237" y="29"/>
                    <a:pt x="225" y="29"/>
                  </a:cubicBezTo>
                  <a:cubicBezTo>
                    <a:pt x="212" y="29"/>
                    <a:pt x="207" y="27"/>
                    <a:pt x="200" y="24"/>
                  </a:cubicBezTo>
                  <a:cubicBezTo>
                    <a:pt x="192" y="21"/>
                    <a:pt x="181" y="16"/>
                    <a:pt x="163" y="16"/>
                  </a:cubicBezTo>
                  <a:cubicBezTo>
                    <a:pt x="144" y="16"/>
                    <a:pt x="134" y="21"/>
                    <a:pt x="125" y="24"/>
                  </a:cubicBezTo>
                  <a:cubicBezTo>
                    <a:pt x="118" y="27"/>
                    <a:pt x="113" y="29"/>
                    <a:pt x="101" y="29"/>
                  </a:cubicBezTo>
                  <a:cubicBezTo>
                    <a:pt x="92" y="29"/>
                    <a:pt x="85" y="25"/>
                    <a:pt x="77" y="20"/>
                  </a:cubicBezTo>
                  <a:cubicBezTo>
                    <a:pt x="64" y="13"/>
                    <a:pt x="41" y="0"/>
                    <a:pt x="21" y="25"/>
                  </a:cubicBezTo>
                  <a:cubicBezTo>
                    <a:pt x="0" y="52"/>
                    <a:pt x="11" y="73"/>
                    <a:pt x="19" y="88"/>
                  </a:cubicBezTo>
                  <a:cubicBezTo>
                    <a:pt x="24" y="97"/>
                    <a:pt x="29" y="106"/>
                    <a:pt x="29" y="119"/>
                  </a:cubicBezTo>
                  <a:cubicBezTo>
                    <a:pt x="29" y="136"/>
                    <a:pt x="26" y="144"/>
                    <a:pt x="23" y="153"/>
                  </a:cubicBezTo>
                  <a:cubicBezTo>
                    <a:pt x="20" y="164"/>
                    <a:pt x="16" y="175"/>
                    <a:pt x="16" y="198"/>
                  </a:cubicBezTo>
                  <a:cubicBezTo>
                    <a:pt x="16" y="220"/>
                    <a:pt x="20" y="232"/>
                    <a:pt x="23" y="242"/>
                  </a:cubicBezTo>
                  <a:cubicBezTo>
                    <a:pt x="26" y="252"/>
                    <a:pt x="29" y="260"/>
                    <a:pt x="29" y="277"/>
                  </a:cubicBezTo>
                  <a:cubicBezTo>
                    <a:pt x="29" y="294"/>
                    <a:pt x="26" y="302"/>
                    <a:pt x="23" y="311"/>
                  </a:cubicBezTo>
                  <a:cubicBezTo>
                    <a:pt x="20" y="322"/>
                    <a:pt x="16" y="334"/>
                    <a:pt x="16" y="356"/>
                  </a:cubicBezTo>
                  <a:cubicBezTo>
                    <a:pt x="16" y="378"/>
                    <a:pt x="20" y="390"/>
                    <a:pt x="23" y="401"/>
                  </a:cubicBezTo>
                  <a:cubicBezTo>
                    <a:pt x="26" y="410"/>
                    <a:pt x="29" y="418"/>
                    <a:pt x="29" y="435"/>
                  </a:cubicBezTo>
                  <a:cubicBezTo>
                    <a:pt x="29" y="452"/>
                    <a:pt x="26" y="460"/>
                    <a:pt x="23" y="470"/>
                  </a:cubicBezTo>
                  <a:cubicBezTo>
                    <a:pt x="20" y="480"/>
                    <a:pt x="16" y="492"/>
                    <a:pt x="16" y="514"/>
                  </a:cubicBezTo>
                  <a:cubicBezTo>
                    <a:pt x="16" y="536"/>
                    <a:pt x="20" y="548"/>
                    <a:pt x="23" y="559"/>
                  </a:cubicBezTo>
                  <a:cubicBezTo>
                    <a:pt x="26" y="568"/>
                    <a:pt x="29" y="576"/>
                    <a:pt x="29" y="593"/>
                  </a:cubicBezTo>
                  <a:cubicBezTo>
                    <a:pt x="29" y="606"/>
                    <a:pt x="24" y="615"/>
                    <a:pt x="19" y="624"/>
                  </a:cubicBezTo>
                  <a:cubicBezTo>
                    <a:pt x="11" y="639"/>
                    <a:pt x="0" y="660"/>
                    <a:pt x="21" y="686"/>
                  </a:cubicBezTo>
                  <a:cubicBezTo>
                    <a:pt x="30" y="698"/>
                    <a:pt x="39" y="701"/>
                    <a:pt x="48" y="701"/>
                  </a:cubicBezTo>
                  <a:cubicBezTo>
                    <a:pt x="59" y="701"/>
                    <a:pt x="70" y="695"/>
                    <a:pt x="77" y="692"/>
                  </a:cubicBezTo>
                  <a:cubicBezTo>
                    <a:pt x="85" y="687"/>
                    <a:pt x="92" y="682"/>
                    <a:pt x="101" y="682"/>
                  </a:cubicBezTo>
                  <a:cubicBezTo>
                    <a:pt x="113" y="682"/>
                    <a:pt x="119" y="685"/>
                    <a:pt x="126" y="688"/>
                  </a:cubicBezTo>
                  <a:cubicBezTo>
                    <a:pt x="134" y="691"/>
                    <a:pt x="144" y="695"/>
                    <a:pt x="163" y="695"/>
                  </a:cubicBezTo>
                  <a:cubicBezTo>
                    <a:pt x="182" y="695"/>
                    <a:pt x="192" y="691"/>
                    <a:pt x="200" y="688"/>
                  </a:cubicBezTo>
                  <a:cubicBezTo>
                    <a:pt x="207" y="685"/>
                    <a:pt x="213" y="682"/>
                    <a:pt x="225" y="682"/>
                  </a:cubicBezTo>
                  <a:cubicBezTo>
                    <a:pt x="237" y="682"/>
                    <a:pt x="242" y="685"/>
                    <a:pt x="249" y="688"/>
                  </a:cubicBezTo>
                  <a:cubicBezTo>
                    <a:pt x="258" y="691"/>
                    <a:pt x="268" y="695"/>
                    <a:pt x="287" y="695"/>
                  </a:cubicBezTo>
                  <a:cubicBezTo>
                    <a:pt x="305" y="695"/>
                    <a:pt x="316" y="691"/>
                    <a:pt x="324" y="688"/>
                  </a:cubicBezTo>
                  <a:cubicBezTo>
                    <a:pt x="326" y="687"/>
                    <a:pt x="328" y="686"/>
                    <a:pt x="330" y="685"/>
                  </a:cubicBezTo>
                  <a:cubicBezTo>
                    <a:pt x="370" y="755"/>
                    <a:pt x="446" y="801"/>
                    <a:pt x="532" y="801"/>
                  </a:cubicBezTo>
                  <a:cubicBezTo>
                    <a:pt x="624" y="801"/>
                    <a:pt x="704" y="748"/>
                    <a:pt x="742" y="670"/>
                  </a:cubicBezTo>
                  <a:cubicBezTo>
                    <a:pt x="746" y="667"/>
                    <a:pt x="750" y="663"/>
                    <a:pt x="754" y="660"/>
                  </a:cubicBezTo>
                  <a:cubicBezTo>
                    <a:pt x="765" y="651"/>
                    <a:pt x="773" y="645"/>
                    <a:pt x="790" y="645"/>
                  </a:cubicBezTo>
                  <a:cubicBezTo>
                    <a:pt x="807" y="645"/>
                    <a:pt x="815" y="651"/>
                    <a:pt x="826" y="660"/>
                  </a:cubicBezTo>
                  <a:cubicBezTo>
                    <a:pt x="838" y="671"/>
                    <a:pt x="853" y="684"/>
                    <a:pt x="883" y="684"/>
                  </a:cubicBezTo>
                  <a:cubicBezTo>
                    <a:pt x="892" y="684"/>
                    <a:pt x="899" y="676"/>
                    <a:pt x="899" y="667"/>
                  </a:cubicBezTo>
                  <a:cubicBezTo>
                    <a:pt x="899" y="658"/>
                    <a:pt x="892" y="650"/>
                    <a:pt x="883" y="650"/>
                  </a:cubicBezTo>
                  <a:cubicBezTo>
                    <a:pt x="865" y="650"/>
                    <a:pt x="858" y="644"/>
                    <a:pt x="847" y="635"/>
                  </a:cubicBezTo>
                  <a:cubicBezTo>
                    <a:pt x="835" y="624"/>
                    <a:pt x="819" y="611"/>
                    <a:pt x="790" y="611"/>
                  </a:cubicBezTo>
                  <a:cubicBezTo>
                    <a:pt x="778" y="611"/>
                    <a:pt x="768" y="614"/>
                    <a:pt x="760" y="617"/>
                  </a:cubicBezTo>
                  <a:cubicBezTo>
                    <a:pt x="763" y="602"/>
                    <a:pt x="765" y="587"/>
                    <a:pt x="766" y="571"/>
                  </a:cubicBezTo>
                  <a:cubicBezTo>
                    <a:pt x="772" y="567"/>
                    <a:pt x="779" y="564"/>
                    <a:pt x="790" y="564"/>
                  </a:cubicBezTo>
                  <a:close/>
                  <a:moveTo>
                    <a:pt x="532" y="768"/>
                  </a:moveTo>
                  <a:cubicBezTo>
                    <a:pt x="465" y="768"/>
                    <a:pt x="406" y="736"/>
                    <a:pt x="370" y="686"/>
                  </a:cubicBezTo>
                  <a:cubicBezTo>
                    <a:pt x="371" y="687"/>
                    <a:pt x="372" y="687"/>
                    <a:pt x="373" y="688"/>
                  </a:cubicBezTo>
                  <a:cubicBezTo>
                    <a:pt x="382" y="691"/>
                    <a:pt x="392" y="695"/>
                    <a:pt x="410" y="695"/>
                  </a:cubicBezTo>
                  <a:cubicBezTo>
                    <a:pt x="429" y="695"/>
                    <a:pt x="439" y="691"/>
                    <a:pt x="448" y="688"/>
                  </a:cubicBezTo>
                  <a:cubicBezTo>
                    <a:pt x="455" y="685"/>
                    <a:pt x="460" y="682"/>
                    <a:pt x="472" y="682"/>
                  </a:cubicBezTo>
                  <a:cubicBezTo>
                    <a:pt x="481" y="682"/>
                    <a:pt x="488" y="687"/>
                    <a:pt x="497" y="691"/>
                  </a:cubicBezTo>
                  <a:cubicBezTo>
                    <a:pt x="509" y="699"/>
                    <a:pt x="532" y="712"/>
                    <a:pt x="552" y="686"/>
                  </a:cubicBezTo>
                  <a:cubicBezTo>
                    <a:pt x="575" y="658"/>
                    <a:pt x="565" y="639"/>
                    <a:pt x="556" y="622"/>
                  </a:cubicBezTo>
                  <a:cubicBezTo>
                    <a:pt x="552" y="613"/>
                    <a:pt x="547" y="604"/>
                    <a:pt x="544" y="591"/>
                  </a:cubicBezTo>
                  <a:cubicBezTo>
                    <a:pt x="541" y="575"/>
                    <a:pt x="543" y="568"/>
                    <a:pt x="548" y="558"/>
                  </a:cubicBezTo>
                  <a:cubicBezTo>
                    <a:pt x="552" y="548"/>
                    <a:pt x="557" y="535"/>
                    <a:pt x="557" y="514"/>
                  </a:cubicBezTo>
                  <a:cubicBezTo>
                    <a:pt x="557" y="492"/>
                    <a:pt x="553" y="480"/>
                    <a:pt x="550" y="469"/>
                  </a:cubicBezTo>
                  <a:cubicBezTo>
                    <a:pt x="547" y="460"/>
                    <a:pt x="545" y="452"/>
                    <a:pt x="545" y="435"/>
                  </a:cubicBezTo>
                  <a:cubicBezTo>
                    <a:pt x="545" y="426"/>
                    <a:pt x="537" y="418"/>
                    <a:pt x="528" y="418"/>
                  </a:cubicBezTo>
                  <a:cubicBezTo>
                    <a:pt x="519" y="418"/>
                    <a:pt x="511" y="426"/>
                    <a:pt x="511" y="435"/>
                  </a:cubicBezTo>
                  <a:cubicBezTo>
                    <a:pt x="511" y="457"/>
                    <a:pt x="515" y="469"/>
                    <a:pt x="519" y="479"/>
                  </a:cubicBezTo>
                  <a:cubicBezTo>
                    <a:pt x="521" y="489"/>
                    <a:pt x="524" y="497"/>
                    <a:pt x="524" y="514"/>
                  </a:cubicBezTo>
                  <a:cubicBezTo>
                    <a:pt x="524" y="528"/>
                    <a:pt x="521" y="536"/>
                    <a:pt x="517" y="545"/>
                  </a:cubicBezTo>
                  <a:cubicBezTo>
                    <a:pt x="512" y="558"/>
                    <a:pt x="506" y="572"/>
                    <a:pt x="512" y="598"/>
                  </a:cubicBezTo>
                  <a:cubicBezTo>
                    <a:pt x="516" y="615"/>
                    <a:pt x="522" y="627"/>
                    <a:pt x="527" y="637"/>
                  </a:cubicBezTo>
                  <a:cubicBezTo>
                    <a:pt x="534" y="652"/>
                    <a:pt x="535" y="654"/>
                    <a:pt x="526" y="666"/>
                  </a:cubicBezTo>
                  <a:cubicBezTo>
                    <a:pt x="525" y="667"/>
                    <a:pt x="525" y="668"/>
                    <a:pt x="524" y="668"/>
                  </a:cubicBezTo>
                  <a:cubicBezTo>
                    <a:pt x="522" y="668"/>
                    <a:pt x="517" y="665"/>
                    <a:pt x="513" y="663"/>
                  </a:cubicBezTo>
                  <a:cubicBezTo>
                    <a:pt x="503" y="657"/>
                    <a:pt x="490" y="649"/>
                    <a:pt x="472" y="649"/>
                  </a:cubicBezTo>
                  <a:cubicBezTo>
                    <a:pt x="454" y="649"/>
                    <a:pt x="443" y="654"/>
                    <a:pt x="435" y="657"/>
                  </a:cubicBezTo>
                  <a:cubicBezTo>
                    <a:pt x="428" y="660"/>
                    <a:pt x="423" y="662"/>
                    <a:pt x="410" y="662"/>
                  </a:cubicBezTo>
                  <a:cubicBezTo>
                    <a:pt x="398" y="662"/>
                    <a:pt x="393" y="660"/>
                    <a:pt x="386" y="657"/>
                  </a:cubicBezTo>
                  <a:cubicBezTo>
                    <a:pt x="378" y="654"/>
                    <a:pt x="367" y="649"/>
                    <a:pt x="349" y="649"/>
                  </a:cubicBezTo>
                  <a:cubicBezTo>
                    <a:pt x="348" y="649"/>
                    <a:pt x="348" y="649"/>
                    <a:pt x="348" y="649"/>
                  </a:cubicBezTo>
                  <a:cubicBezTo>
                    <a:pt x="343" y="639"/>
                    <a:pt x="340" y="627"/>
                    <a:pt x="337" y="616"/>
                  </a:cubicBezTo>
                  <a:cubicBezTo>
                    <a:pt x="464" y="616"/>
                    <a:pt x="464" y="616"/>
                    <a:pt x="464" y="616"/>
                  </a:cubicBezTo>
                  <a:cubicBezTo>
                    <a:pt x="474" y="616"/>
                    <a:pt x="481" y="608"/>
                    <a:pt x="481" y="599"/>
                  </a:cubicBezTo>
                  <a:cubicBezTo>
                    <a:pt x="481" y="420"/>
                    <a:pt x="481" y="420"/>
                    <a:pt x="481" y="420"/>
                  </a:cubicBezTo>
                  <a:cubicBezTo>
                    <a:pt x="481" y="411"/>
                    <a:pt x="474" y="404"/>
                    <a:pt x="464" y="404"/>
                  </a:cubicBezTo>
                  <a:cubicBezTo>
                    <a:pt x="455" y="404"/>
                    <a:pt x="448" y="411"/>
                    <a:pt x="448" y="420"/>
                  </a:cubicBezTo>
                  <a:cubicBezTo>
                    <a:pt x="448" y="582"/>
                    <a:pt x="448" y="582"/>
                    <a:pt x="448" y="582"/>
                  </a:cubicBezTo>
                  <a:cubicBezTo>
                    <a:pt x="331" y="582"/>
                    <a:pt x="331" y="582"/>
                    <a:pt x="331" y="582"/>
                  </a:cubicBezTo>
                  <a:cubicBezTo>
                    <a:pt x="331" y="577"/>
                    <a:pt x="331" y="572"/>
                    <a:pt x="331" y="567"/>
                  </a:cubicBezTo>
                  <a:cubicBezTo>
                    <a:pt x="331" y="456"/>
                    <a:pt x="421" y="366"/>
                    <a:pt x="532" y="366"/>
                  </a:cubicBezTo>
                  <a:cubicBezTo>
                    <a:pt x="614" y="366"/>
                    <a:pt x="684" y="416"/>
                    <a:pt x="715" y="486"/>
                  </a:cubicBezTo>
                  <a:cubicBezTo>
                    <a:pt x="710" y="489"/>
                    <a:pt x="705" y="490"/>
                    <a:pt x="697" y="490"/>
                  </a:cubicBezTo>
                  <a:cubicBezTo>
                    <a:pt x="680" y="490"/>
                    <a:pt x="672" y="483"/>
                    <a:pt x="661" y="474"/>
                  </a:cubicBezTo>
                  <a:cubicBezTo>
                    <a:pt x="649" y="464"/>
                    <a:pt x="634" y="451"/>
                    <a:pt x="604" y="451"/>
                  </a:cubicBezTo>
                  <a:cubicBezTo>
                    <a:pt x="595" y="451"/>
                    <a:pt x="588" y="458"/>
                    <a:pt x="588" y="468"/>
                  </a:cubicBezTo>
                  <a:cubicBezTo>
                    <a:pt x="588" y="477"/>
                    <a:pt x="595" y="484"/>
                    <a:pt x="604" y="484"/>
                  </a:cubicBezTo>
                  <a:cubicBezTo>
                    <a:pt x="622" y="484"/>
                    <a:pt x="629" y="491"/>
                    <a:pt x="640" y="500"/>
                  </a:cubicBezTo>
                  <a:cubicBezTo>
                    <a:pt x="653" y="510"/>
                    <a:pt x="668" y="523"/>
                    <a:pt x="697" y="523"/>
                  </a:cubicBezTo>
                  <a:cubicBezTo>
                    <a:pt x="709" y="523"/>
                    <a:pt x="718" y="521"/>
                    <a:pt x="726" y="518"/>
                  </a:cubicBezTo>
                  <a:cubicBezTo>
                    <a:pt x="729" y="530"/>
                    <a:pt x="731" y="542"/>
                    <a:pt x="732" y="555"/>
                  </a:cubicBezTo>
                  <a:cubicBezTo>
                    <a:pt x="722" y="564"/>
                    <a:pt x="714" y="570"/>
                    <a:pt x="697" y="570"/>
                  </a:cubicBezTo>
                  <a:cubicBezTo>
                    <a:pt x="680" y="570"/>
                    <a:pt x="672" y="564"/>
                    <a:pt x="661" y="555"/>
                  </a:cubicBezTo>
                  <a:cubicBezTo>
                    <a:pt x="649" y="544"/>
                    <a:pt x="634" y="531"/>
                    <a:pt x="604" y="531"/>
                  </a:cubicBezTo>
                  <a:cubicBezTo>
                    <a:pt x="595" y="531"/>
                    <a:pt x="588" y="539"/>
                    <a:pt x="588" y="548"/>
                  </a:cubicBezTo>
                  <a:cubicBezTo>
                    <a:pt x="588" y="557"/>
                    <a:pt x="595" y="564"/>
                    <a:pt x="604" y="564"/>
                  </a:cubicBezTo>
                  <a:cubicBezTo>
                    <a:pt x="622" y="564"/>
                    <a:pt x="629" y="571"/>
                    <a:pt x="640" y="580"/>
                  </a:cubicBezTo>
                  <a:cubicBezTo>
                    <a:pt x="653" y="590"/>
                    <a:pt x="668" y="603"/>
                    <a:pt x="697" y="603"/>
                  </a:cubicBezTo>
                  <a:cubicBezTo>
                    <a:pt x="711" y="603"/>
                    <a:pt x="722" y="600"/>
                    <a:pt x="730" y="596"/>
                  </a:cubicBezTo>
                  <a:cubicBezTo>
                    <a:pt x="728" y="614"/>
                    <a:pt x="723" y="631"/>
                    <a:pt x="716" y="647"/>
                  </a:cubicBezTo>
                  <a:cubicBezTo>
                    <a:pt x="711" y="649"/>
                    <a:pt x="705" y="650"/>
                    <a:pt x="697" y="650"/>
                  </a:cubicBezTo>
                  <a:cubicBezTo>
                    <a:pt x="680" y="650"/>
                    <a:pt x="672" y="644"/>
                    <a:pt x="661" y="635"/>
                  </a:cubicBezTo>
                  <a:cubicBezTo>
                    <a:pt x="649" y="624"/>
                    <a:pt x="634" y="611"/>
                    <a:pt x="604" y="611"/>
                  </a:cubicBezTo>
                  <a:cubicBezTo>
                    <a:pt x="595" y="611"/>
                    <a:pt x="588" y="619"/>
                    <a:pt x="588" y="628"/>
                  </a:cubicBezTo>
                  <a:cubicBezTo>
                    <a:pt x="588" y="637"/>
                    <a:pt x="595" y="645"/>
                    <a:pt x="604" y="645"/>
                  </a:cubicBezTo>
                  <a:cubicBezTo>
                    <a:pt x="622" y="645"/>
                    <a:pt x="629" y="651"/>
                    <a:pt x="640" y="660"/>
                  </a:cubicBezTo>
                  <a:cubicBezTo>
                    <a:pt x="652" y="670"/>
                    <a:pt x="667" y="683"/>
                    <a:pt x="695" y="684"/>
                  </a:cubicBezTo>
                  <a:cubicBezTo>
                    <a:pt x="659" y="735"/>
                    <a:pt x="599" y="768"/>
                    <a:pt x="532" y="768"/>
                  </a:cubicBezTo>
                  <a:close/>
                  <a:moveTo>
                    <a:pt x="532" y="768"/>
                  </a:moveTo>
                  <a:cubicBezTo>
                    <a:pt x="532" y="768"/>
                    <a:pt x="532" y="768"/>
                    <a:pt x="532" y="76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6" name="Group 75"/>
          <p:cNvGrpSpPr>
            <a:grpSpLocks noChangeAspect="1"/>
          </p:cNvGrpSpPr>
          <p:nvPr/>
        </p:nvGrpSpPr>
        <p:grpSpPr bwMode="auto">
          <a:xfrm>
            <a:off x="4798759" y="5469646"/>
            <a:ext cx="841375" cy="841375"/>
            <a:chOff x="186" y="983"/>
            <a:chExt cx="530" cy="530"/>
          </a:xfrm>
        </p:grpSpPr>
        <p:sp>
          <p:nvSpPr>
            <p:cNvPr id="297" name="AutoShape 74"/>
            <p:cNvSpPr>
              <a:spLocks noChangeAspect="1" noChangeArrowheads="1" noTextEdit="1"/>
            </p:cNvSpPr>
            <p:nvPr/>
          </p:nvSpPr>
          <p:spPr bwMode="auto">
            <a:xfrm>
              <a:off x="186" y="9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76"/>
            <p:cNvSpPr>
              <a:spLocks noChangeArrowheads="1"/>
            </p:cNvSpPr>
            <p:nvPr/>
          </p:nvSpPr>
          <p:spPr bwMode="auto">
            <a:xfrm>
              <a:off x="186" y="983"/>
              <a:ext cx="530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Freeform 77"/>
            <p:cNvSpPr>
              <a:spLocks noEditPoints="1"/>
            </p:cNvSpPr>
            <p:nvPr/>
          </p:nvSpPr>
          <p:spPr bwMode="auto">
            <a:xfrm>
              <a:off x="207" y="1003"/>
              <a:ext cx="491" cy="491"/>
            </a:xfrm>
            <a:custGeom>
              <a:avLst/>
              <a:gdLst>
                <a:gd name="T0" fmla="*/ 723 w 1445"/>
                <a:gd name="T1" fmla="*/ 0 h 1445"/>
                <a:gd name="T2" fmla="*/ 0 w 1445"/>
                <a:gd name="T3" fmla="*/ 723 h 1445"/>
                <a:gd name="T4" fmla="*/ 723 w 1445"/>
                <a:gd name="T5" fmla="*/ 1445 h 1445"/>
                <a:gd name="T6" fmla="*/ 1445 w 1445"/>
                <a:gd name="T7" fmla="*/ 723 h 1445"/>
                <a:gd name="T8" fmla="*/ 723 w 1445"/>
                <a:gd name="T9" fmla="*/ 0 h 1445"/>
                <a:gd name="T10" fmla="*/ 1208 w 1445"/>
                <a:gd name="T11" fmla="*/ 1208 h 1445"/>
                <a:gd name="T12" fmla="*/ 723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3 h 1445"/>
                <a:gd name="T18" fmla="*/ 237 w 1445"/>
                <a:gd name="T19" fmla="*/ 237 h 1445"/>
                <a:gd name="T20" fmla="*/ 723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3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5"/>
                    <a:pt x="723" y="1445"/>
                  </a:cubicBezTo>
                  <a:cubicBezTo>
                    <a:pt x="1122" y="1445"/>
                    <a:pt x="1445" y="1122"/>
                    <a:pt x="1445" y="723"/>
                  </a:cubicBezTo>
                  <a:cubicBezTo>
                    <a:pt x="1445" y="324"/>
                    <a:pt x="1122" y="0"/>
                    <a:pt x="723" y="0"/>
                  </a:cubicBezTo>
                  <a:close/>
                  <a:moveTo>
                    <a:pt x="1208" y="1208"/>
                  </a:moveTo>
                  <a:cubicBezTo>
                    <a:pt x="1079" y="1338"/>
                    <a:pt x="906" y="1409"/>
                    <a:pt x="723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8" y="1079"/>
                    <a:pt x="36" y="906"/>
                    <a:pt x="36" y="723"/>
                  </a:cubicBezTo>
                  <a:cubicBezTo>
                    <a:pt x="36" y="539"/>
                    <a:pt x="108" y="367"/>
                    <a:pt x="237" y="237"/>
                  </a:cubicBezTo>
                  <a:cubicBezTo>
                    <a:pt x="367" y="108"/>
                    <a:pt x="539" y="36"/>
                    <a:pt x="723" y="36"/>
                  </a:cubicBezTo>
                  <a:cubicBezTo>
                    <a:pt x="906" y="36"/>
                    <a:pt x="1079" y="108"/>
                    <a:pt x="1208" y="237"/>
                  </a:cubicBezTo>
                  <a:cubicBezTo>
                    <a:pt x="1338" y="367"/>
                    <a:pt x="1409" y="539"/>
                    <a:pt x="1409" y="723"/>
                  </a:cubicBezTo>
                  <a:cubicBezTo>
                    <a:pt x="1409" y="906"/>
                    <a:pt x="1338" y="1079"/>
                    <a:pt x="1208" y="12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78"/>
            <p:cNvSpPr>
              <a:spLocks noEditPoints="1"/>
            </p:cNvSpPr>
            <p:nvPr/>
          </p:nvSpPr>
          <p:spPr bwMode="auto">
            <a:xfrm>
              <a:off x="323" y="1107"/>
              <a:ext cx="305" cy="272"/>
            </a:xfrm>
            <a:custGeom>
              <a:avLst/>
              <a:gdLst>
                <a:gd name="T0" fmla="*/ 899 w 899"/>
                <a:gd name="T1" fmla="*/ 587 h 801"/>
                <a:gd name="T2" fmla="*/ 763 w 899"/>
                <a:gd name="T3" fmla="*/ 535 h 801"/>
                <a:gd name="T4" fmla="*/ 883 w 899"/>
                <a:gd name="T5" fmla="*/ 523 h 801"/>
                <a:gd name="T6" fmla="*/ 790 w 899"/>
                <a:gd name="T7" fmla="*/ 451 h 801"/>
                <a:gd name="T8" fmla="*/ 298 w 899"/>
                <a:gd name="T9" fmla="*/ 582 h 801"/>
                <a:gd name="T10" fmla="*/ 448 w 899"/>
                <a:gd name="T11" fmla="*/ 303 h 801"/>
                <a:gd name="T12" fmla="*/ 464 w 899"/>
                <a:gd name="T13" fmla="*/ 96 h 801"/>
                <a:gd name="T14" fmla="*/ 109 w 899"/>
                <a:gd name="T15" fmla="*/ 616 h 801"/>
                <a:gd name="T16" fmla="*/ 287 w 899"/>
                <a:gd name="T17" fmla="*/ 662 h 801"/>
                <a:gd name="T18" fmla="*/ 163 w 899"/>
                <a:gd name="T19" fmla="*/ 662 h 801"/>
                <a:gd name="T20" fmla="*/ 49 w 899"/>
                <a:gd name="T21" fmla="*/ 668 h 801"/>
                <a:gd name="T22" fmla="*/ 55 w 899"/>
                <a:gd name="T23" fmla="*/ 549 h 801"/>
                <a:gd name="T24" fmla="*/ 55 w 899"/>
                <a:gd name="T25" fmla="*/ 390 h 801"/>
                <a:gd name="T26" fmla="*/ 55 w 899"/>
                <a:gd name="T27" fmla="*/ 232 h 801"/>
                <a:gd name="T28" fmla="*/ 48 w 899"/>
                <a:gd name="T29" fmla="*/ 72 h 801"/>
                <a:gd name="T30" fmla="*/ 101 w 899"/>
                <a:gd name="T31" fmla="*/ 62 h 801"/>
                <a:gd name="T32" fmla="*/ 225 w 899"/>
                <a:gd name="T33" fmla="*/ 62 h 801"/>
                <a:gd name="T34" fmla="*/ 348 w 899"/>
                <a:gd name="T35" fmla="*/ 62 h 801"/>
                <a:gd name="T36" fmla="*/ 472 w 899"/>
                <a:gd name="T37" fmla="*/ 62 h 801"/>
                <a:gd name="T38" fmla="*/ 525 w 899"/>
                <a:gd name="T39" fmla="*/ 72 h 801"/>
                <a:gd name="T40" fmla="*/ 519 w 899"/>
                <a:gd name="T41" fmla="*/ 232 h 801"/>
                <a:gd name="T42" fmla="*/ 550 w 899"/>
                <a:gd name="T43" fmla="*/ 242 h 801"/>
                <a:gd name="T44" fmla="*/ 554 w 899"/>
                <a:gd name="T45" fmla="*/ 88 h 801"/>
                <a:gd name="T46" fmla="*/ 448 w 899"/>
                <a:gd name="T47" fmla="*/ 24 h 801"/>
                <a:gd name="T48" fmla="*/ 324 w 899"/>
                <a:gd name="T49" fmla="*/ 24 h 801"/>
                <a:gd name="T50" fmla="*/ 200 w 899"/>
                <a:gd name="T51" fmla="*/ 24 h 801"/>
                <a:gd name="T52" fmla="*/ 77 w 899"/>
                <a:gd name="T53" fmla="*/ 20 h 801"/>
                <a:gd name="T54" fmla="*/ 23 w 899"/>
                <a:gd name="T55" fmla="*/ 153 h 801"/>
                <a:gd name="T56" fmla="*/ 23 w 899"/>
                <a:gd name="T57" fmla="*/ 311 h 801"/>
                <a:gd name="T58" fmla="*/ 23 w 899"/>
                <a:gd name="T59" fmla="*/ 470 h 801"/>
                <a:gd name="T60" fmla="*/ 19 w 899"/>
                <a:gd name="T61" fmla="*/ 624 h 801"/>
                <a:gd name="T62" fmla="*/ 101 w 899"/>
                <a:gd name="T63" fmla="*/ 682 h 801"/>
                <a:gd name="T64" fmla="*/ 225 w 899"/>
                <a:gd name="T65" fmla="*/ 682 h 801"/>
                <a:gd name="T66" fmla="*/ 330 w 899"/>
                <a:gd name="T67" fmla="*/ 685 h 801"/>
                <a:gd name="T68" fmla="*/ 790 w 899"/>
                <a:gd name="T69" fmla="*/ 645 h 801"/>
                <a:gd name="T70" fmla="*/ 883 w 899"/>
                <a:gd name="T71" fmla="*/ 650 h 801"/>
                <a:gd name="T72" fmla="*/ 766 w 899"/>
                <a:gd name="T73" fmla="*/ 571 h 801"/>
                <a:gd name="T74" fmla="*/ 373 w 899"/>
                <a:gd name="T75" fmla="*/ 688 h 801"/>
                <a:gd name="T76" fmla="*/ 497 w 899"/>
                <a:gd name="T77" fmla="*/ 691 h 801"/>
                <a:gd name="T78" fmla="*/ 548 w 899"/>
                <a:gd name="T79" fmla="*/ 558 h 801"/>
                <a:gd name="T80" fmla="*/ 528 w 899"/>
                <a:gd name="T81" fmla="*/ 418 h 801"/>
                <a:gd name="T82" fmla="*/ 517 w 899"/>
                <a:gd name="T83" fmla="*/ 545 h 801"/>
                <a:gd name="T84" fmla="*/ 524 w 899"/>
                <a:gd name="T85" fmla="*/ 668 h 801"/>
                <a:gd name="T86" fmla="*/ 410 w 899"/>
                <a:gd name="T87" fmla="*/ 662 h 801"/>
                <a:gd name="T88" fmla="*/ 337 w 899"/>
                <a:gd name="T89" fmla="*/ 616 h 801"/>
                <a:gd name="T90" fmla="*/ 464 w 899"/>
                <a:gd name="T91" fmla="*/ 404 h 801"/>
                <a:gd name="T92" fmla="*/ 331 w 899"/>
                <a:gd name="T93" fmla="*/ 567 h 801"/>
                <a:gd name="T94" fmla="*/ 661 w 899"/>
                <a:gd name="T95" fmla="*/ 474 h 801"/>
                <a:gd name="T96" fmla="*/ 640 w 899"/>
                <a:gd name="T97" fmla="*/ 500 h 801"/>
                <a:gd name="T98" fmla="*/ 697 w 899"/>
                <a:gd name="T99" fmla="*/ 570 h 801"/>
                <a:gd name="T100" fmla="*/ 604 w 899"/>
                <a:gd name="T101" fmla="*/ 564 h 801"/>
                <a:gd name="T102" fmla="*/ 716 w 899"/>
                <a:gd name="T103" fmla="*/ 647 h 801"/>
                <a:gd name="T104" fmla="*/ 588 w 899"/>
                <a:gd name="T105" fmla="*/ 628 h 801"/>
                <a:gd name="T106" fmla="*/ 532 w 899"/>
                <a:gd name="T107" fmla="*/ 76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9" h="801">
                  <a:moveTo>
                    <a:pt x="790" y="564"/>
                  </a:moveTo>
                  <a:cubicBezTo>
                    <a:pt x="807" y="564"/>
                    <a:pt x="815" y="571"/>
                    <a:pt x="826" y="580"/>
                  </a:cubicBezTo>
                  <a:cubicBezTo>
                    <a:pt x="838" y="590"/>
                    <a:pt x="853" y="603"/>
                    <a:pt x="883" y="603"/>
                  </a:cubicBezTo>
                  <a:cubicBezTo>
                    <a:pt x="892" y="603"/>
                    <a:pt x="899" y="596"/>
                    <a:pt x="899" y="587"/>
                  </a:cubicBezTo>
                  <a:cubicBezTo>
                    <a:pt x="899" y="578"/>
                    <a:pt x="892" y="570"/>
                    <a:pt x="883" y="570"/>
                  </a:cubicBezTo>
                  <a:cubicBezTo>
                    <a:pt x="865" y="570"/>
                    <a:pt x="858" y="564"/>
                    <a:pt x="847" y="555"/>
                  </a:cubicBezTo>
                  <a:cubicBezTo>
                    <a:pt x="835" y="544"/>
                    <a:pt x="819" y="531"/>
                    <a:pt x="790" y="531"/>
                  </a:cubicBezTo>
                  <a:cubicBezTo>
                    <a:pt x="779" y="531"/>
                    <a:pt x="771" y="533"/>
                    <a:pt x="763" y="535"/>
                  </a:cubicBezTo>
                  <a:cubicBezTo>
                    <a:pt x="762" y="523"/>
                    <a:pt x="759" y="511"/>
                    <a:pt x="755" y="499"/>
                  </a:cubicBezTo>
                  <a:cubicBezTo>
                    <a:pt x="766" y="490"/>
                    <a:pt x="773" y="484"/>
                    <a:pt x="790" y="484"/>
                  </a:cubicBezTo>
                  <a:cubicBezTo>
                    <a:pt x="807" y="484"/>
                    <a:pt x="815" y="491"/>
                    <a:pt x="826" y="500"/>
                  </a:cubicBezTo>
                  <a:cubicBezTo>
                    <a:pt x="838" y="510"/>
                    <a:pt x="853" y="523"/>
                    <a:pt x="883" y="523"/>
                  </a:cubicBezTo>
                  <a:cubicBezTo>
                    <a:pt x="892" y="523"/>
                    <a:pt x="899" y="516"/>
                    <a:pt x="899" y="506"/>
                  </a:cubicBezTo>
                  <a:cubicBezTo>
                    <a:pt x="899" y="497"/>
                    <a:pt x="892" y="490"/>
                    <a:pt x="883" y="490"/>
                  </a:cubicBezTo>
                  <a:cubicBezTo>
                    <a:pt x="865" y="490"/>
                    <a:pt x="858" y="483"/>
                    <a:pt x="847" y="474"/>
                  </a:cubicBezTo>
                  <a:cubicBezTo>
                    <a:pt x="835" y="464"/>
                    <a:pt x="819" y="451"/>
                    <a:pt x="790" y="451"/>
                  </a:cubicBezTo>
                  <a:cubicBezTo>
                    <a:pt x="768" y="451"/>
                    <a:pt x="754" y="458"/>
                    <a:pt x="743" y="466"/>
                  </a:cubicBezTo>
                  <a:cubicBezTo>
                    <a:pt x="705" y="388"/>
                    <a:pt x="625" y="333"/>
                    <a:pt x="532" y="333"/>
                  </a:cubicBezTo>
                  <a:cubicBezTo>
                    <a:pt x="403" y="333"/>
                    <a:pt x="298" y="438"/>
                    <a:pt x="298" y="567"/>
                  </a:cubicBezTo>
                  <a:cubicBezTo>
                    <a:pt x="298" y="572"/>
                    <a:pt x="298" y="577"/>
                    <a:pt x="298" y="582"/>
                  </a:cubicBezTo>
                  <a:cubicBezTo>
                    <a:pt x="125" y="582"/>
                    <a:pt x="125" y="582"/>
                    <a:pt x="125" y="582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448" y="129"/>
                    <a:pt x="448" y="129"/>
                    <a:pt x="448" y="129"/>
                  </a:cubicBezTo>
                  <a:cubicBezTo>
                    <a:pt x="448" y="303"/>
                    <a:pt x="448" y="303"/>
                    <a:pt x="448" y="303"/>
                  </a:cubicBezTo>
                  <a:cubicBezTo>
                    <a:pt x="448" y="312"/>
                    <a:pt x="455" y="319"/>
                    <a:pt x="464" y="319"/>
                  </a:cubicBezTo>
                  <a:cubicBezTo>
                    <a:pt x="474" y="319"/>
                    <a:pt x="481" y="312"/>
                    <a:pt x="481" y="303"/>
                  </a:cubicBezTo>
                  <a:cubicBezTo>
                    <a:pt x="481" y="113"/>
                    <a:pt x="481" y="113"/>
                    <a:pt x="481" y="113"/>
                  </a:cubicBezTo>
                  <a:cubicBezTo>
                    <a:pt x="481" y="104"/>
                    <a:pt x="474" y="96"/>
                    <a:pt x="464" y="96"/>
                  </a:cubicBezTo>
                  <a:cubicBezTo>
                    <a:pt x="109" y="96"/>
                    <a:pt x="109" y="96"/>
                    <a:pt x="109" y="96"/>
                  </a:cubicBezTo>
                  <a:cubicBezTo>
                    <a:pt x="100" y="96"/>
                    <a:pt x="92" y="104"/>
                    <a:pt x="92" y="113"/>
                  </a:cubicBezTo>
                  <a:cubicBezTo>
                    <a:pt x="92" y="599"/>
                    <a:pt x="92" y="599"/>
                    <a:pt x="92" y="599"/>
                  </a:cubicBezTo>
                  <a:cubicBezTo>
                    <a:pt x="92" y="608"/>
                    <a:pt x="100" y="616"/>
                    <a:pt x="109" y="616"/>
                  </a:cubicBezTo>
                  <a:cubicBezTo>
                    <a:pt x="303" y="616"/>
                    <a:pt x="303" y="616"/>
                    <a:pt x="303" y="616"/>
                  </a:cubicBezTo>
                  <a:cubicBezTo>
                    <a:pt x="305" y="629"/>
                    <a:pt x="310" y="643"/>
                    <a:pt x="315" y="655"/>
                  </a:cubicBezTo>
                  <a:cubicBezTo>
                    <a:pt x="314" y="656"/>
                    <a:pt x="312" y="656"/>
                    <a:pt x="311" y="657"/>
                  </a:cubicBezTo>
                  <a:cubicBezTo>
                    <a:pt x="304" y="660"/>
                    <a:pt x="299" y="662"/>
                    <a:pt x="287" y="662"/>
                  </a:cubicBezTo>
                  <a:cubicBezTo>
                    <a:pt x="274" y="662"/>
                    <a:pt x="269" y="660"/>
                    <a:pt x="262" y="657"/>
                  </a:cubicBezTo>
                  <a:cubicBezTo>
                    <a:pt x="254" y="654"/>
                    <a:pt x="243" y="649"/>
                    <a:pt x="225" y="649"/>
                  </a:cubicBezTo>
                  <a:cubicBezTo>
                    <a:pt x="206" y="649"/>
                    <a:pt x="196" y="654"/>
                    <a:pt x="188" y="657"/>
                  </a:cubicBezTo>
                  <a:cubicBezTo>
                    <a:pt x="181" y="660"/>
                    <a:pt x="175" y="662"/>
                    <a:pt x="163" y="662"/>
                  </a:cubicBezTo>
                  <a:cubicBezTo>
                    <a:pt x="151" y="662"/>
                    <a:pt x="145" y="660"/>
                    <a:pt x="138" y="657"/>
                  </a:cubicBezTo>
                  <a:cubicBezTo>
                    <a:pt x="130" y="654"/>
                    <a:pt x="120" y="649"/>
                    <a:pt x="101" y="649"/>
                  </a:cubicBezTo>
                  <a:cubicBezTo>
                    <a:pt x="84" y="649"/>
                    <a:pt x="70" y="657"/>
                    <a:pt x="60" y="663"/>
                  </a:cubicBezTo>
                  <a:cubicBezTo>
                    <a:pt x="57" y="665"/>
                    <a:pt x="51" y="668"/>
                    <a:pt x="49" y="668"/>
                  </a:cubicBezTo>
                  <a:cubicBezTo>
                    <a:pt x="49" y="668"/>
                    <a:pt x="48" y="667"/>
                    <a:pt x="47" y="666"/>
                  </a:cubicBezTo>
                  <a:cubicBezTo>
                    <a:pt x="39" y="656"/>
                    <a:pt x="41" y="653"/>
                    <a:pt x="48" y="640"/>
                  </a:cubicBezTo>
                  <a:cubicBezTo>
                    <a:pt x="54" y="629"/>
                    <a:pt x="62" y="614"/>
                    <a:pt x="62" y="593"/>
                  </a:cubicBezTo>
                  <a:cubicBezTo>
                    <a:pt x="62" y="571"/>
                    <a:pt x="58" y="559"/>
                    <a:pt x="55" y="549"/>
                  </a:cubicBezTo>
                  <a:cubicBezTo>
                    <a:pt x="52" y="539"/>
                    <a:pt x="49" y="531"/>
                    <a:pt x="49" y="514"/>
                  </a:cubicBezTo>
                  <a:cubicBezTo>
                    <a:pt x="49" y="497"/>
                    <a:pt x="52" y="489"/>
                    <a:pt x="55" y="480"/>
                  </a:cubicBezTo>
                  <a:cubicBezTo>
                    <a:pt x="58" y="469"/>
                    <a:pt x="62" y="457"/>
                    <a:pt x="62" y="435"/>
                  </a:cubicBezTo>
                  <a:cubicBezTo>
                    <a:pt x="62" y="413"/>
                    <a:pt x="58" y="401"/>
                    <a:pt x="55" y="390"/>
                  </a:cubicBezTo>
                  <a:cubicBezTo>
                    <a:pt x="52" y="381"/>
                    <a:pt x="49" y="373"/>
                    <a:pt x="49" y="356"/>
                  </a:cubicBezTo>
                  <a:cubicBezTo>
                    <a:pt x="49" y="339"/>
                    <a:pt x="52" y="331"/>
                    <a:pt x="55" y="321"/>
                  </a:cubicBezTo>
                  <a:cubicBezTo>
                    <a:pt x="58" y="311"/>
                    <a:pt x="62" y="299"/>
                    <a:pt x="62" y="277"/>
                  </a:cubicBezTo>
                  <a:cubicBezTo>
                    <a:pt x="62" y="254"/>
                    <a:pt x="58" y="243"/>
                    <a:pt x="55" y="232"/>
                  </a:cubicBezTo>
                  <a:cubicBezTo>
                    <a:pt x="52" y="223"/>
                    <a:pt x="49" y="215"/>
                    <a:pt x="49" y="198"/>
                  </a:cubicBezTo>
                  <a:cubicBezTo>
                    <a:pt x="49" y="181"/>
                    <a:pt x="52" y="173"/>
                    <a:pt x="55" y="163"/>
                  </a:cubicBezTo>
                  <a:cubicBezTo>
                    <a:pt x="58" y="153"/>
                    <a:pt x="62" y="141"/>
                    <a:pt x="62" y="119"/>
                  </a:cubicBezTo>
                  <a:cubicBezTo>
                    <a:pt x="62" y="98"/>
                    <a:pt x="54" y="83"/>
                    <a:pt x="48" y="72"/>
                  </a:cubicBezTo>
                  <a:cubicBezTo>
                    <a:pt x="41" y="58"/>
                    <a:pt x="39" y="55"/>
                    <a:pt x="47" y="46"/>
                  </a:cubicBezTo>
                  <a:cubicBezTo>
                    <a:pt x="48" y="44"/>
                    <a:pt x="49" y="44"/>
                    <a:pt x="49" y="43"/>
                  </a:cubicBezTo>
                  <a:cubicBezTo>
                    <a:pt x="51" y="44"/>
                    <a:pt x="57" y="47"/>
                    <a:pt x="60" y="49"/>
                  </a:cubicBezTo>
                  <a:cubicBezTo>
                    <a:pt x="70" y="55"/>
                    <a:pt x="84" y="62"/>
                    <a:pt x="101" y="62"/>
                  </a:cubicBezTo>
                  <a:cubicBezTo>
                    <a:pt x="119" y="62"/>
                    <a:pt x="130" y="58"/>
                    <a:pt x="138" y="55"/>
                  </a:cubicBezTo>
                  <a:cubicBezTo>
                    <a:pt x="145" y="52"/>
                    <a:pt x="150" y="50"/>
                    <a:pt x="163" y="50"/>
                  </a:cubicBezTo>
                  <a:cubicBezTo>
                    <a:pt x="175" y="50"/>
                    <a:pt x="180" y="52"/>
                    <a:pt x="187" y="55"/>
                  </a:cubicBezTo>
                  <a:cubicBezTo>
                    <a:pt x="196" y="58"/>
                    <a:pt x="206" y="62"/>
                    <a:pt x="225" y="62"/>
                  </a:cubicBezTo>
                  <a:cubicBezTo>
                    <a:pt x="243" y="62"/>
                    <a:pt x="254" y="58"/>
                    <a:pt x="262" y="55"/>
                  </a:cubicBezTo>
                  <a:cubicBezTo>
                    <a:pt x="269" y="52"/>
                    <a:pt x="274" y="50"/>
                    <a:pt x="286" y="50"/>
                  </a:cubicBezTo>
                  <a:cubicBezTo>
                    <a:pt x="299" y="50"/>
                    <a:pt x="304" y="52"/>
                    <a:pt x="311" y="55"/>
                  </a:cubicBezTo>
                  <a:cubicBezTo>
                    <a:pt x="319" y="58"/>
                    <a:pt x="330" y="62"/>
                    <a:pt x="348" y="62"/>
                  </a:cubicBezTo>
                  <a:cubicBezTo>
                    <a:pt x="367" y="62"/>
                    <a:pt x="377" y="58"/>
                    <a:pt x="386" y="55"/>
                  </a:cubicBezTo>
                  <a:cubicBezTo>
                    <a:pt x="393" y="52"/>
                    <a:pt x="398" y="50"/>
                    <a:pt x="410" y="50"/>
                  </a:cubicBezTo>
                  <a:cubicBezTo>
                    <a:pt x="423" y="50"/>
                    <a:pt x="428" y="52"/>
                    <a:pt x="435" y="55"/>
                  </a:cubicBezTo>
                  <a:cubicBezTo>
                    <a:pt x="443" y="58"/>
                    <a:pt x="454" y="62"/>
                    <a:pt x="472" y="62"/>
                  </a:cubicBezTo>
                  <a:cubicBezTo>
                    <a:pt x="490" y="62"/>
                    <a:pt x="503" y="55"/>
                    <a:pt x="513" y="49"/>
                  </a:cubicBezTo>
                  <a:cubicBezTo>
                    <a:pt x="517" y="47"/>
                    <a:pt x="522" y="44"/>
                    <a:pt x="524" y="43"/>
                  </a:cubicBezTo>
                  <a:cubicBezTo>
                    <a:pt x="524" y="44"/>
                    <a:pt x="525" y="44"/>
                    <a:pt x="526" y="46"/>
                  </a:cubicBezTo>
                  <a:cubicBezTo>
                    <a:pt x="534" y="55"/>
                    <a:pt x="532" y="58"/>
                    <a:pt x="525" y="72"/>
                  </a:cubicBezTo>
                  <a:cubicBezTo>
                    <a:pt x="519" y="83"/>
                    <a:pt x="511" y="98"/>
                    <a:pt x="511" y="118"/>
                  </a:cubicBezTo>
                  <a:cubicBezTo>
                    <a:pt x="511" y="141"/>
                    <a:pt x="515" y="153"/>
                    <a:pt x="519" y="163"/>
                  </a:cubicBezTo>
                  <a:cubicBezTo>
                    <a:pt x="521" y="172"/>
                    <a:pt x="524" y="180"/>
                    <a:pt x="524" y="198"/>
                  </a:cubicBezTo>
                  <a:cubicBezTo>
                    <a:pt x="524" y="215"/>
                    <a:pt x="521" y="223"/>
                    <a:pt x="519" y="232"/>
                  </a:cubicBezTo>
                  <a:cubicBezTo>
                    <a:pt x="515" y="242"/>
                    <a:pt x="511" y="254"/>
                    <a:pt x="511" y="277"/>
                  </a:cubicBezTo>
                  <a:cubicBezTo>
                    <a:pt x="511" y="286"/>
                    <a:pt x="519" y="293"/>
                    <a:pt x="528" y="293"/>
                  </a:cubicBezTo>
                  <a:cubicBezTo>
                    <a:pt x="537" y="293"/>
                    <a:pt x="545" y="286"/>
                    <a:pt x="545" y="277"/>
                  </a:cubicBezTo>
                  <a:cubicBezTo>
                    <a:pt x="545" y="259"/>
                    <a:pt x="547" y="251"/>
                    <a:pt x="550" y="242"/>
                  </a:cubicBezTo>
                  <a:cubicBezTo>
                    <a:pt x="553" y="232"/>
                    <a:pt x="557" y="220"/>
                    <a:pt x="557" y="198"/>
                  </a:cubicBezTo>
                  <a:cubicBezTo>
                    <a:pt x="557" y="175"/>
                    <a:pt x="553" y="163"/>
                    <a:pt x="550" y="153"/>
                  </a:cubicBezTo>
                  <a:cubicBezTo>
                    <a:pt x="547" y="144"/>
                    <a:pt x="545" y="136"/>
                    <a:pt x="545" y="118"/>
                  </a:cubicBezTo>
                  <a:cubicBezTo>
                    <a:pt x="545" y="106"/>
                    <a:pt x="549" y="97"/>
                    <a:pt x="554" y="88"/>
                  </a:cubicBezTo>
                  <a:cubicBezTo>
                    <a:pt x="562" y="73"/>
                    <a:pt x="573" y="52"/>
                    <a:pt x="552" y="25"/>
                  </a:cubicBezTo>
                  <a:cubicBezTo>
                    <a:pt x="532" y="0"/>
                    <a:pt x="509" y="13"/>
                    <a:pt x="497" y="20"/>
                  </a:cubicBezTo>
                  <a:cubicBezTo>
                    <a:pt x="488" y="25"/>
                    <a:pt x="481" y="29"/>
                    <a:pt x="472" y="29"/>
                  </a:cubicBezTo>
                  <a:cubicBezTo>
                    <a:pt x="460" y="29"/>
                    <a:pt x="455" y="27"/>
                    <a:pt x="448" y="24"/>
                  </a:cubicBezTo>
                  <a:cubicBezTo>
                    <a:pt x="439" y="21"/>
                    <a:pt x="429" y="16"/>
                    <a:pt x="410" y="16"/>
                  </a:cubicBezTo>
                  <a:cubicBezTo>
                    <a:pt x="392" y="16"/>
                    <a:pt x="381" y="21"/>
                    <a:pt x="373" y="24"/>
                  </a:cubicBezTo>
                  <a:cubicBezTo>
                    <a:pt x="366" y="27"/>
                    <a:pt x="361" y="29"/>
                    <a:pt x="348" y="29"/>
                  </a:cubicBezTo>
                  <a:cubicBezTo>
                    <a:pt x="336" y="29"/>
                    <a:pt x="331" y="27"/>
                    <a:pt x="324" y="24"/>
                  </a:cubicBezTo>
                  <a:cubicBezTo>
                    <a:pt x="315" y="21"/>
                    <a:pt x="305" y="16"/>
                    <a:pt x="287" y="16"/>
                  </a:cubicBezTo>
                  <a:cubicBezTo>
                    <a:pt x="268" y="16"/>
                    <a:pt x="258" y="21"/>
                    <a:pt x="249" y="24"/>
                  </a:cubicBezTo>
                  <a:cubicBezTo>
                    <a:pt x="242" y="27"/>
                    <a:pt x="237" y="29"/>
                    <a:pt x="225" y="29"/>
                  </a:cubicBezTo>
                  <a:cubicBezTo>
                    <a:pt x="212" y="29"/>
                    <a:pt x="207" y="27"/>
                    <a:pt x="200" y="24"/>
                  </a:cubicBezTo>
                  <a:cubicBezTo>
                    <a:pt x="192" y="21"/>
                    <a:pt x="181" y="16"/>
                    <a:pt x="163" y="16"/>
                  </a:cubicBezTo>
                  <a:cubicBezTo>
                    <a:pt x="144" y="16"/>
                    <a:pt x="134" y="21"/>
                    <a:pt x="125" y="24"/>
                  </a:cubicBezTo>
                  <a:cubicBezTo>
                    <a:pt x="118" y="27"/>
                    <a:pt x="113" y="29"/>
                    <a:pt x="101" y="29"/>
                  </a:cubicBezTo>
                  <a:cubicBezTo>
                    <a:pt x="92" y="29"/>
                    <a:pt x="85" y="25"/>
                    <a:pt x="77" y="20"/>
                  </a:cubicBezTo>
                  <a:cubicBezTo>
                    <a:pt x="64" y="13"/>
                    <a:pt x="41" y="0"/>
                    <a:pt x="21" y="25"/>
                  </a:cubicBezTo>
                  <a:cubicBezTo>
                    <a:pt x="0" y="52"/>
                    <a:pt x="11" y="73"/>
                    <a:pt x="19" y="88"/>
                  </a:cubicBezTo>
                  <a:cubicBezTo>
                    <a:pt x="24" y="97"/>
                    <a:pt x="29" y="106"/>
                    <a:pt x="29" y="119"/>
                  </a:cubicBezTo>
                  <a:cubicBezTo>
                    <a:pt x="29" y="136"/>
                    <a:pt x="26" y="144"/>
                    <a:pt x="23" y="153"/>
                  </a:cubicBezTo>
                  <a:cubicBezTo>
                    <a:pt x="20" y="164"/>
                    <a:pt x="16" y="175"/>
                    <a:pt x="16" y="198"/>
                  </a:cubicBezTo>
                  <a:cubicBezTo>
                    <a:pt x="16" y="220"/>
                    <a:pt x="20" y="232"/>
                    <a:pt x="23" y="242"/>
                  </a:cubicBezTo>
                  <a:cubicBezTo>
                    <a:pt x="26" y="252"/>
                    <a:pt x="29" y="260"/>
                    <a:pt x="29" y="277"/>
                  </a:cubicBezTo>
                  <a:cubicBezTo>
                    <a:pt x="29" y="294"/>
                    <a:pt x="26" y="302"/>
                    <a:pt x="23" y="311"/>
                  </a:cubicBezTo>
                  <a:cubicBezTo>
                    <a:pt x="20" y="322"/>
                    <a:pt x="16" y="334"/>
                    <a:pt x="16" y="356"/>
                  </a:cubicBezTo>
                  <a:cubicBezTo>
                    <a:pt x="16" y="378"/>
                    <a:pt x="20" y="390"/>
                    <a:pt x="23" y="401"/>
                  </a:cubicBezTo>
                  <a:cubicBezTo>
                    <a:pt x="26" y="410"/>
                    <a:pt x="29" y="418"/>
                    <a:pt x="29" y="435"/>
                  </a:cubicBezTo>
                  <a:cubicBezTo>
                    <a:pt x="29" y="452"/>
                    <a:pt x="26" y="460"/>
                    <a:pt x="23" y="470"/>
                  </a:cubicBezTo>
                  <a:cubicBezTo>
                    <a:pt x="20" y="480"/>
                    <a:pt x="16" y="492"/>
                    <a:pt x="16" y="514"/>
                  </a:cubicBezTo>
                  <a:cubicBezTo>
                    <a:pt x="16" y="536"/>
                    <a:pt x="20" y="548"/>
                    <a:pt x="23" y="559"/>
                  </a:cubicBezTo>
                  <a:cubicBezTo>
                    <a:pt x="26" y="568"/>
                    <a:pt x="29" y="576"/>
                    <a:pt x="29" y="593"/>
                  </a:cubicBezTo>
                  <a:cubicBezTo>
                    <a:pt x="29" y="606"/>
                    <a:pt x="24" y="615"/>
                    <a:pt x="19" y="624"/>
                  </a:cubicBezTo>
                  <a:cubicBezTo>
                    <a:pt x="11" y="639"/>
                    <a:pt x="0" y="660"/>
                    <a:pt x="21" y="686"/>
                  </a:cubicBezTo>
                  <a:cubicBezTo>
                    <a:pt x="30" y="698"/>
                    <a:pt x="39" y="701"/>
                    <a:pt x="48" y="701"/>
                  </a:cubicBezTo>
                  <a:cubicBezTo>
                    <a:pt x="59" y="701"/>
                    <a:pt x="70" y="695"/>
                    <a:pt x="77" y="692"/>
                  </a:cubicBezTo>
                  <a:cubicBezTo>
                    <a:pt x="85" y="687"/>
                    <a:pt x="92" y="682"/>
                    <a:pt x="101" y="682"/>
                  </a:cubicBezTo>
                  <a:cubicBezTo>
                    <a:pt x="113" y="682"/>
                    <a:pt x="119" y="685"/>
                    <a:pt x="126" y="688"/>
                  </a:cubicBezTo>
                  <a:cubicBezTo>
                    <a:pt x="134" y="691"/>
                    <a:pt x="144" y="695"/>
                    <a:pt x="163" y="695"/>
                  </a:cubicBezTo>
                  <a:cubicBezTo>
                    <a:pt x="182" y="695"/>
                    <a:pt x="192" y="691"/>
                    <a:pt x="200" y="688"/>
                  </a:cubicBezTo>
                  <a:cubicBezTo>
                    <a:pt x="207" y="685"/>
                    <a:pt x="213" y="682"/>
                    <a:pt x="225" y="682"/>
                  </a:cubicBezTo>
                  <a:cubicBezTo>
                    <a:pt x="237" y="682"/>
                    <a:pt x="242" y="685"/>
                    <a:pt x="249" y="688"/>
                  </a:cubicBezTo>
                  <a:cubicBezTo>
                    <a:pt x="258" y="691"/>
                    <a:pt x="268" y="695"/>
                    <a:pt x="287" y="695"/>
                  </a:cubicBezTo>
                  <a:cubicBezTo>
                    <a:pt x="305" y="695"/>
                    <a:pt x="316" y="691"/>
                    <a:pt x="324" y="688"/>
                  </a:cubicBezTo>
                  <a:cubicBezTo>
                    <a:pt x="326" y="687"/>
                    <a:pt x="328" y="686"/>
                    <a:pt x="330" y="685"/>
                  </a:cubicBezTo>
                  <a:cubicBezTo>
                    <a:pt x="370" y="755"/>
                    <a:pt x="446" y="801"/>
                    <a:pt x="532" y="801"/>
                  </a:cubicBezTo>
                  <a:cubicBezTo>
                    <a:pt x="624" y="801"/>
                    <a:pt x="704" y="748"/>
                    <a:pt x="742" y="670"/>
                  </a:cubicBezTo>
                  <a:cubicBezTo>
                    <a:pt x="746" y="667"/>
                    <a:pt x="750" y="663"/>
                    <a:pt x="754" y="660"/>
                  </a:cubicBezTo>
                  <a:cubicBezTo>
                    <a:pt x="765" y="651"/>
                    <a:pt x="773" y="645"/>
                    <a:pt x="790" y="645"/>
                  </a:cubicBezTo>
                  <a:cubicBezTo>
                    <a:pt x="807" y="645"/>
                    <a:pt x="815" y="651"/>
                    <a:pt x="826" y="660"/>
                  </a:cubicBezTo>
                  <a:cubicBezTo>
                    <a:pt x="838" y="671"/>
                    <a:pt x="853" y="684"/>
                    <a:pt x="883" y="684"/>
                  </a:cubicBezTo>
                  <a:cubicBezTo>
                    <a:pt x="892" y="684"/>
                    <a:pt x="899" y="676"/>
                    <a:pt x="899" y="667"/>
                  </a:cubicBezTo>
                  <a:cubicBezTo>
                    <a:pt x="899" y="658"/>
                    <a:pt x="892" y="650"/>
                    <a:pt x="883" y="650"/>
                  </a:cubicBezTo>
                  <a:cubicBezTo>
                    <a:pt x="865" y="650"/>
                    <a:pt x="858" y="644"/>
                    <a:pt x="847" y="635"/>
                  </a:cubicBezTo>
                  <a:cubicBezTo>
                    <a:pt x="835" y="624"/>
                    <a:pt x="819" y="611"/>
                    <a:pt x="790" y="611"/>
                  </a:cubicBezTo>
                  <a:cubicBezTo>
                    <a:pt x="778" y="611"/>
                    <a:pt x="768" y="614"/>
                    <a:pt x="760" y="617"/>
                  </a:cubicBezTo>
                  <a:cubicBezTo>
                    <a:pt x="763" y="602"/>
                    <a:pt x="765" y="587"/>
                    <a:pt x="766" y="571"/>
                  </a:cubicBezTo>
                  <a:cubicBezTo>
                    <a:pt x="772" y="567"/>
                    <a:pt x="779" y="564"/>
                    <a:pt x="790" y="564"/>
                  </a:cubicBezTo>
                  <a:close/>
                  <a:moveTo>
                    <a:pt x="532" y="768"/>
                  </a:moveTo>
                  <a:cubicBezTo>
                    <a:pt x="465" y="768"/>
                    <a:pt x="406" y="736"/>
                    <a:pt x="370" y="686"/>
                  </a:cubicBezTo>
                  <a:cubicBezTo>
                    <a:pt x="371" y="687"/>
                    <a:pt x="372" y="687"/>
                    <a:pt x="373" y="688"/>
                  </a:cubicBezTo>
                  <a:cubicBezTo>
                    <a:pt x="382" y="691"/>
                    <a:pt x="392" y="695"/>
                    <a:pt x="410" y="695"/>
                  </a:cubicBezTo>
                  <a:cubicBezTo>
                    <a:pt x="429" y="695"/>
                    <a:pt x="439" y="691"/>
                    <a:pt x="448" y="688"/>
                  </a:cubicBezTo>
                  <a:cubicBezTo>
                    <a:pt x="455" y="685"/>
                    <a:pt x="460" y="682"/>
                    <a:pt x="472" y="682"/>
                  </a:cubicBezTo>
                  <a:cubicBezTo>
                    <a:pt x="481" y="682"/>
                    <a:pt x="488" y="687"/>
                    <a:pt x="497" y="691"/>
                  </a:cubicBezTo>
                  <a:cubicBezTo>
                    <a:pt x="509" y="699"/>
                    <a:pt x="532" y="712"/>
                    <a:pt x="552" y="686"/>
                  </a:cubicBezTo>
                  <a:cubicBezTo>
                    <a:pt x="575" y="658"/>
                    <a:pt x="565" y="639"/>
                    <a:pt x="556" y="622"/>
                  </a:cubicBezTo>
                  <a:cubicBezTo>
                    <a:pt x="552" y="613"/>
                    <a:pt x="547" y="604"/>
                    <a:pt x="544" y="591"/>
                  </a:cubicBezTo>
                  <a:cubicBezTo>
                    <a:pt x="541" y="575"/>
                    <a:pt x="543" y="568"/>
                    <a:pt x="548" y="558"/>
                  </a:cubicBezTo>
                  <a:cubicBezTo>
                    <a:pt x="552" y="548"/>
                    <a:pt x="557" y="535"/>
                    <a:pt x="557" y="514"/>
                  </a:cubicBezTo>
                  <a:cubicBezTo>
                    <a:pt x="557" y="492"/>
                    <a:pt x="553" y="480"/>
                    <a:pt x="550" y="469"/>
                  </a:cubicBezTo>
                  <a:cubicBezTo>
                    <a:pt x="547" y="460"/>
                    <a:pt x="545" y="452"/>
                    <a:pt x="545" y="435"/>
                  </a:cubicBezTo>
                  <a:cubicBezTo>
                    <a:pt x="545" y="426"/>
                    <a:pt x="537" y="418"/>
                    <a:pt x="528" y="418"/>
                  </a:cubicBezTo>
                  <a:cubicBezTo>
                    <a:pt x="519" y="418"/>
                    <a:pt x="511" y="426"/>
                    <a:pt x="511" y="435"/>
                  </a:cubicBezTo>
                  <a:cubicBezTo>
                    <a:pt x="511" y="457"/>
                    <a:pt x="515" y="469"/>
                    <a:pt x="519" y="479"/>
                  </a:cubicBezTo>
                  <a:cubicBezTo>
                    <a:pt x="521" y="489"/>
                    <a:pt x="524" y="497"/>
                    <a:pt x="524" y="514"/>
                  </a:cubicBezTo>
                  <a:cubicBezTo>
                    <a:pt x="524" y="528"/>
                    <a:pt x="521" y="536"/>
                    <a:pt x="517" y="545"/>
                  </a:cubicBezTo>
                  <a:cubicBezTo>
                    <a:pt x="512" y="558"/>
                    <a:pt x="506" y="572"/>
                    <a:pt x="512" y="598"/>
                  </a:cubicBezTo>
                  <a:cubicBezTo>
                    <a:pt x="516" y="615"/>
                    <a:pt x="522" y="627"/>
                    <a:pt x="527" y="637"/>
                  </a:cubicBezTo>
                  <a:cubicBezTo>
                    <a:pt x="534" y="652"/>
                    <a:pt x="535" y="654"/>
                    <a:pt x="526" y="666"/>
                  </a:cubicBezTo>
                  <a:cubicBezTo>
                    <a:pt x="525" y="667"/>
                    <a:pt x="525" y="668"/>
                    <a:pt x="524" y="668"/>
                  </a:cubicBezTo>
                  <a:cubicBezTo>
                    <a:pt x="522" y="668"/>
                    <a:pt x="517" y="665"/>
                    <a:pt x="513" y="663"/>
                  </a:cubicBezTo>
                  <a:cubicBezTo>
                    <a:pt x="503" y="657"/>
                    <a:pt x="490" y="649"/>
                    <a:pt x="472" y="649"/>
                  </a:cubicBezTo>
                  <a:cubicBezTo>
                    <a:pt x="454" y="649"/>
                    <a:pt x="443" y="654"/>
                    <a:pt x="435" y="657"/>
                  </a:cubicBezTo>
                  <a:cubicBezTo>
                    <a:pt x="428" y="660"/>
                    <a:pt x="423" y="662"/>
                    <a:pt x="410" y="662"/>
                  </a:cubicBezTo>
                  <a:cubicBezTo>
                    <a:pt x="398" y="662"/>
                    <a:pt x="393" y="660"/>
                    <a:pt x="386" y="657"/>
                  </a:cubicBezTo>
                  <a:cubicBezTo>
                    <a:pt x="378" y="654"/>
                    <a:pt x="367" y="649"/>
                    <a:pt x="349" y="649"/>
                  </a:cubicBezTo>
                  <a:cubicBezTo>
                    <a:pt x="348" y="649"/>
                    <a:pt x="348" y="649"/>
                    <a:pt x="348" y="649"/>
                  </a:cubicBezTo>
                  <a:cubicBezTo>
                    <a:pt x="343" y="639"/>
                    <a:pt x="340" y="627"/>
                    <a:pt x="337" y="616"/>
                  </a:cubicBezTo>
                  <a:cubicBezTo>
                    <a:pt x="464" y="616"/>
                    <a:pt x="464" y="616"/>
                    <a:pt x="464" y="616"/>
                  </a:cubicBezTo>
                  <a:cubicBezTo>
                    <a:pt x="474" y="616"/>
                    <a:pt x="481" y="608"/>
                    <a:pt x="481" y="599"/>
                  </a:cubicBezTo>
                  <a:cubicBezTo>
                    <a:pt x="481" y="420"/>
                    <a:pt x="481" y="420"/>
                    <a:pt x="481" y="420"/>
                  </a:cubicBezTo>
                  <a:cubicBezTo>
                    <a:pt x="481" y="411"/>
                    <a:pt x="474" y="404"/>
                    <a:pt x="464" y="404"/>
                  </a:cubicBezTo>
                  <a:cubicBezTo>
                    <a:pt x="455" y="404"/>
                    <a:pt x="448" y="411"/>
                    <a:pt x="448" y="420"/>
                  </a:cubicBezTo>
                  <a:cubicBezTo>
                    <a:pt x="448" y="582"/>
                    <a:pt x="448" y="582"/>
                    <a:pt x="448" y="582"/>
                  </a:cubicBezTo>
                  <a:cubicBezTo>
                    <a:pt x="331" y="582"/>
                    <a:pt x="331" y="582"/>
                    <a:pt x="331" y="582"/>
                  </a:cubicBezTo>
                  <a:cubicBezTo>
                    <a:pt x="331" y="577"/>
                    <a:pt x="331" y="572"/>
                    <a:pt x="331" y="567"/>
                  </a:cubicBezTo>
                  <a:cubicBezTo>
                    <a:pt x="331" y="456"/>
                    <a:pt x="421" y="366"/>
                    <a:pt x="532" y="366"/>
                  </a:cubicBezTo>
                  <a:cubicBezTo>
                    <a:pt x="614" y="366"/>
                    <a:pt x="684" y="416"/>
                    <a:pt x="715" y="486"/>
                  </a:cubicBezTo>
                  <a:cubicBezTo>
                    <a:pt x="710" y="489"/>
                    <a:pt x="705" y="490"/>
                    <a:pt x="697" y="490"/>
                  </a:cubicBezTo>
                  <a:cubicBezTo>
                    <a:pt x="680" y="490"/>
                    <a:pt x="672" y="483"/>
                    <a:pt x="661" y="474"/>
                  </a:cubicBezTo>
                  <a:cubicBezTo>
                    <a:pt x="649" y="464"/>
                    <a:pt x="634" y="451"/>
                    <a:pt x="604" y="451"/>
                  </a:cubicBezTo>
                  <a:cubicBezTo>
                    <a:pt x="595" y="451"/>
                    <a:pt x="588" y="458"/>
                    <a:pt x="588" y="468"/>
                  </a:cubicBezTo>
                  <a:cubicBezTo>
                    <a:pt x="588" y="477"/>
                    <a:pt x="595" y="484"/>
                    <a:pt x="604" y="484"/>
                  </a:cubicBezTo>
                  <a:cubicBezTo>
                    <a:pt x="622" y="484"/>
                    <a:pt x="629" y="491"/>
                    <a:pt x="640" y="500"/>
                  </a:cubicBezTo>
                  <a:cubicBezTo>
                    <a:pt x="653" y="510"/>
                    <a:pt x="668" y="523"/>
                    <a:pt x="697" y="523"/>
                  </a:cubicBezTo>
                  <a:cubicBezTo>
                    <a:pt x="709" y="523"/>
                    <a:pt x="718" y="521"/>
                    <a:pt x="726" y="518"/>
                  </a:cubicBezTo>
                  <a:cubicBezTo>
                    <a:pt x="729" y="530"/>
                    <a:pt x="731" y="542"/>
                    <a:pt x="732" y="555"/>
                  </a:cubicBezTo>
                  <a:cubicBezTo>
                    <a:pt x="722" y="564"/>
                    <a:pt x="714" y="570"/>
                    <a:pt x="697" y="570"/>
                  </a:cubicBezTo>
                  <a:cubicBezTo>
                    <a:pt x="680" y="570"/>
                    <a:pt x="672" y="564"/>
                    <a:pt x="661" y="555"/>
                  </a:cubicBezTo>
                  <a:cubicBezTo>
                    <a:pt x="649" y="544"/>
                    <a:pt x="634" y="531"/>
                    <a:pt x="604" y="531"/>
                  </a:cubicBezTo>
                  <a:cubicBezTo>
                    <a:pt x="595" y="531"/>
                    <a:pt x="588" y="539"/>
                    <a:pt x="588" y="548"/>
                  </a:cubicBezTo>
                  <a:cubicBezTo>
                    <a:pt x="588" y="557"/>
                    <a:pt x="595" y="564"/>
                    <a:pt x="604" y="564"/>
                  </a:cubicBezTo>
                  <a:cubicBezTo>
                    <a:pt x="622" y="564"/>
                    <a:pt x="629" y="571"/>
                    <a:pt x="640" y="580"/>
                  </a:cubicBezTo>
                  <a:cubicBezTo>
                    <a:pt x="653" y="590"/>
                    <a:pt x="668" y="603"/>
                    <a:pt x="697" y="603"/>
                  </a:cubicBezTo>
                  <a:cubicBezTo>
                    <a:pt x="711" y="603"/>
                    <a:pt x="722" y="600"/>
                    <a:pt x="730" y="596"/>
                  </a:cubicBezTo>
                  <a:cubicBezTo>
                    <a:pt x="728" y="614"/>
                    <a:pt x="723" y="631"/>
                    <a:pt x="716" y="647"/>
                  </a:cubicBezTo>
                  <a:cubicBezTo>
                    <a:pt x="711" y="649"/>
                    <a:pt x="705" y="650"/>
                    <a:pt x="697" y="650"/>
                  </a:cubicBezTo>
                  <a:cubicBezTo>
                    <a:pt x="680" y="650"/>
                    <a:pt x="672" y="644"/>
                    <a:pt x="661" y="635"/>
                  </a:cubicBezTo>
                  <a:cubicBezTo>
                    <a:pt x="649" y="624"/>
                    <a:pt x="634" y="611"/>
                    <a:pt x="604" y="611"/>
                  </a:cubicBezTo>
                  <a:cubicBezTo>
                    <a:pt x="595" y="611"/>
                    <a:pt x="588" y="619"/>
                    <a:pt x="588" y="628"/>
                  </a:cubicBezTo>
                  <a:cubicBezTo>
                    <a:pt x="588" y="637"/>
                    <a:pt x="595" y="645"/>
                    <a:pt x="604" y="645"/>
                  </a:cubicBezTo>
                  <a:cubicBezTo>
                    <a:pt x="622" y="645"/>
                    <a:pt x="629" y="651"/>
                    <a:pt x="640" y="660"/>
                  </a:cubicBezTo>
                  <a:cubicBezTo>
                    <a:pt x="652" y="670"/>
                    <a:pt x="667" y="683"/>
                    <a:pt x="695" y="684"/>
                  </a:cubicBezTo>
                  <a:cubicBezTo>
                    <a:pt x="659" y="735"/>
                    <a:pt x="599" y="768"/>
                    <a:pt x="532" y="768"/>
                  </a:cubicBezTo>
                  <a:close/>
                  <a:moveTo>
                    <a:pt x="532" y="768"/>
                  </a:moveTo>
                  <a:cubicBezTo>
                    <a:pt x="532" y="768"/>
                    <a:pt x="532" y="768"/>
                    <a:pt x="532" y="76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6" name="Group 133"/>
          <p:cNvGrpSpPr>
            <a:grpSpLocks noChangeAspect="1"/>
          </p:cNvGrpSpPr>
          <p:nvPr/>
        </p:nvGrpSpPr>
        <p:grpSpPr bwMode="auto">
          <a:xfrm>
            <a:off x="1370247" y="5478058"/>
            <a:ext cx="766762" cy="768350"/>
            <a:chOff x="2243" y="220"/>
            <a:chExt cx="483" cy="484"/>
          </a:xfrm>
        </p:grpSpPr>
        <p:sp>
          <p:nvSpPr>
            <p:cNvPr id="147" name="AutoShape 132"/>
            <p:cNvSpPr>
              <a:spLocks noChangeAspect="1" noChangeArrowheads="1" noTextEdit="1"/>
            </p:cNvSpPr>
            <p:nvPr/>
          </p:nvSpPr>
          <p:spPr bwMode="auto">
            <a:xfrm>
              <a:off x="2243" y="220"/>
              <a:ext cx="483" cy="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4"/>
            <p:cNvSpPr>
              <a:spLocks noEditPoints="1"/>
            </p:cNvSpPr>
            <p:nvPr/>
          </p:nvSpPr>
          <p:spPr bwMode="auto">
            <a:xfrm>
              <a:off x="2243" y="220"/>
              <a:ext cx="483" cy="484"/>
            </a:xfrm>
            <a:custGeom>
              <a:avLst/>
              <a:gdLst>
                <a:gd name="T0" fmla="*/ 722 w 1445"/>
                <a:gd name="T1" fmla="*/ 0 h 1445"/>
                <a:gd name="T2" fmla="*/ 0 w 1445"/>
                <a:gd name="T3" fmla="*/ 722 h 1445"/>
                <a:gd name="T4" fmla="*/ 722 w 1445"/>
                <a:gd name="T5" fmla="*/ 1445 h 1445"/>
                <a:gd name="T6" fmla="*/ 1445 w 1445"/>
                <a:gd name="T7" fmla="*/ 722 h 1445"/>
                <a:gd name="T8" fmla="*/ 722 w 1445"/>
                <a:gd name="T9" fmla="*/ 0 h 1445"/>
                <a:gd name="T10" fmla="*/ 1208 w 1445"/>
                <a:gd name="T11" fmla="*/ 1208 h 1445"/>
                <a:gd name="T12" fmla="*/ 722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2 h 1445"/>
                <a:gd name="T18" fmla="*/ 237 w 1445"/>
                <a:gd name="T19" fmla="*/ 237 h 1445"/>
                <a:gd name="T20" fmla="*/ 722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2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2" y="0"/>
                  </a:moveTo>
                  <a:cubicBezTo>
                    <a:pt x="323" y="0"/>
                    <a:pt x="0" y="323"/>
                    <a:pt x="0" y="722"/>
                  </a:cubicBezTo>
                  <a:cubicBezTo>
                    <a:pt x="0" y="1122"/>
                    <a:pt x="323" y="1445"/>
                    <a:pt x="722" y="1445"/>
                  </a:cubicBezTo>
                  <a:cubicBezTo>
                    <a:pt x="1122" y="1445"/>
                    <a:pt x="1445" y="1122"/>
                    <a:pt x="1445" y="722"/>
                  </a:cubicBezTo>
                  <a:cubicBezTo>
                    <a:pt x="1445" y="323"/>
                    <a:pt x="1122" y="0"/>
                    <a:pt x="722" y="0"/>
                  </a:cubicBezTo>
                  <a:close/>
                  <a:moveTo>
                    <a:pt x="1208" y="1208"/>
                  </a:moveTo>
                  <a:cubicBezTo>
                    <a:pt x="1078" y="1338"/>
                    <a:pt x="906" y="1409"/>
                    <a:pt x="722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7" y="1078"/>
                    <a:pt x="36" y="906"/>
                    <a:pt x="36" y="722"/>
                  </a:cubicBezTo>
                  <a:cubicBezTo>
                    <a:pt x="36" y="539"/>
                    <a:pt x="107" y="367"/>
                    <a:pt x="237" y="237"/>
                  </a:cubicBezTo>
                  <a:cubicBezTo>
                    <a:pt x="367" y="107"/>
                    <a:pt x="539" y="36"/>
                    <a:pt x="722" y="36"/>
                  </a:cubicBezTo>
                  <a:cubicBezTo>
                    <a:pt x="906" y="36"/>
                    <a:pt x="1078" y="107"/>
                    <a:pt x="1208" y="237"/>
                  </a:cubicBezTo>
                  <a:cubicBezTo>
                    <a:pt x="1338" y="367"/>
                    <a:pt x="1409" y="539"/>
                    <a:pt x="1409" y="722"/>
                  </a:cubicBezTo>
                  <a:cubicBezTo>
                    <a:pt x="1409" y="906"/>
                    <a:pt x="1338" y="1078"/>
                    <a:pt x="1208" y="120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5"/>
            <p:cNvSpPr>
              <a:spLocks/>
            </p:cNvSpPr>
            <p:nvPr/>
          </p:nvSpPr>
          <p:spPr bwMode="auto">
            <a:xfrm>
              <a:off x="2452" y="321"/>
              <a:ext cx="60" cy="21"/>
            </a:xfrm>
            <a:custGeom>
              <a:avLst/>
              <a:gdLst>
                <a:gd name="T0" fmla="*/ 60 w 60"/>
                <a:gd name="T1" fmla="*/ 21 h 21"/>
                <a:gd name="T2" fmla="*/ 48 w 60"/>
                <a:gd name="T3" fmla="*/ 0 h 21"/>
                <a:gd name="T4" fmla="*/ 12 w 60"/>
                <a:gd name="T5" fmla="*/ 0 h 21"/>
                <a:gd name="T6" fmla="*/ 0 w 60"/>
                <a:gd name="T7" fmla="*/ 21 h 21"/>
                <a:gd name="T8" fmla="*/ 60 w 6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1">
                  <a:moveTo>
                    <a:pt x="60" y="21"/>
                  </a:moveTo>
                  <a:lnTo>
                    <a:pt x="48" y="0"/>
                  </a:lnTo>
                  <a:lnTo>
                    <a:pt x="12" y="0"/>
                  </a:lnTo>
                  <a:lnTo>
                    <a:pt x="0" y="21"/>
                  </a:lnTo>
                  <a:lnTo>
                    <a:pt x="60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6"/>
            <p:cNvSpPr>
              <a:spLocks/>
            </p:cNvSpPr>
            <p:nvPr/>
          </p:nvSpPr>
          <p:spPr bwMode="auto">
            <a:xfrm>
              <a:off x="2507" y="321"/>
              <a:ext cx="44" cy="21"/>
            </a:xfrm>
            <a:custGeom>
              <a:avLst/>
              <a:gdLst>
                <a:gd name="T0" fmla="*/ 44 w 44"/>
                <a:gd name="T1" fmla="*/ 21 h 21"/>
                <a:gd name="T2" fmla="*/ 23 w 44"/>
                <a:gd name="T3" fmla="*/ 0 h 21"/>
                <a:gd name="T4" fmla="*/ 0 w 44"/>
                <a:gd name="T5" fmla="*/ 0 h 21"/>
                <a:gd name="T6" fmla="*/ 12 w 44"/>
                <a:gd name="T7" fmla="*/ 21 h 21"/>
                <a:gd name="T8" fmla="*/ 44 w 4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1">
                  <a:moveTo>
                    <a:pt x="44" y="21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12" y="21"/>
                  </a:lnTo>
                  <a:lnTo>
                    <a:pt x="44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7"/>
            <p:cNvSpPr>
              <a:spLocks/>
            </p:cNvSpPr>
            <p:nvPr/>
          </p:nvSpPr>
          <p:spPr bwMode="auto">
            <a:xfrm>
              <a:off x="2413" y="321"/>
              <a:ext cx="44" cy="21"/>
            </a:xfrm>
            <a:custGeom>
              <a:avLst/>
              <a:gdLst>
                <a:gd name="T0" fmla="*/ 44 w 44"/>
                <a:gd name="T1" fmla="*/ 0 h 21"/>
                <a:gd name="T2" fmla="*/ 21 w 44"/>
                <a:gd name="T3" fmla="*/ 0 h 21"/>
                <a:gd name="T4" fmla="*/ 0 w 44"/>
                <a:gd name="T5" fmla="*/ 21 h 21"/>
                <a:gd name="T6" fmla="*/ 31 w 44"/>
                <a:gd name="T7" fmla="*/ 21 h 21"/>
                <a:gd name="T8" fmla="*/ 44 w 4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1">
                  <a:moveTo>
                    <a:pt x="44" y="0"/>
                  </a:moveTo>
                  <a:lnTo>
                    <a:pt x="21" y="0"/>
                  </a:lnTo>
                  <a:lnTo>
                    <a:pt x="0" y="21"/>
                  </a:lnTo>
                  <a:lnTo>
                    <a:pt x="31" y="2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38"/>
            <p:cNvSpPr>
              <a:spLocks/>
            </p:cNvSpPr>
            <p:nvPr/>
          </p:nvSpPr>
          <p:spPr bwMode="auto">
            <a:xfrm>
              <a:off x="2501" y="348"/>
              <a:ext cx="52" cy="39"/>
            </a:xfrm>
            <a:custGeom>
              <a:avLst/>
              <a:gdLst>
                <a:gd name="T0" fmla="*/ 13 w 52"/>
                <a:gd name="T1" fmla="*/ 39 h 39"/>
                <a:gd name="T2" fmla="*/ 52 w 52"/>
                <a:gd name="T3" fmla="*/ 0 h 39"/>
                <a:gd name="T4" fmla="*/ 18 w 52"/>
                <a:gd name="T5" fmla="*/ 0 h 39"/>
                <a:gd name="T6" fmla="*/ 0 w 52"/>
                <a:gd name="T7" fmla="*/ 39 h 39"/>
                <a:gd name="T8" fmla="*/ 13 w 52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9">
                  <a:moveTo>
                    <a:pt x="13" y="39"/>
                  </a:moveTo>
                  <a:lnTo>
                    <a:pt x="52" y="0"/>
                  </a:lnTo>
                  <a:lnTo>
                    <a:pt x="18" y="0"/>
                  </a:lnTo>
                  <a:lnTo>
                    <a:pt x="0" y="39"/>
                  </a:lnTo>
                  <a:lnTo>
                    <a:pt x="13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9"/>
            <p:cNvSpPr>
              <a:spLocks/>
            </p:cNvSpPr>
            <p:nvPr/>
          </p:nvSpPr>
          <p:spPr bwMode="auto">
            <a:xfrm>
              <a:off x="2451" y="348"/>
              <a:ext cx="61" cy="39"/>
            </a:xfrm>
            <a:custGeom>
              <a:avLst/>
              <a:gdLst>
                <a:gd name="T0" fmla="*/ 43 w 61"/>
                <a:gd name="T1" fmla="*/ 39 h 39"/>
                <a:gd name="T2" fmla="*/ 61 w 61"/>
                <a:gd name="T3" fmla="*/ 0 h 39"/>
                <a:gd name="T4" fmla="*/ 0 w 61"/>
                <a:gd name="T5" fmla="*/ 0 h 39"/>
                <a:gd name="T6" fmla="*/ 19 w 61"/>
                <a:gd name="T7" fmla="*/ 39 h 39"/>
                <a:gd name="T8" fmla="*/ 43 w 61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9">
                  <a:moveTo>
                    <a:pt x="43" y="39"/>
                  </a:moveTo>
                  <a:lnTo>
                    <a:pt x="61" y="0"/>
                  </a:lnTo>
                  <a:lnTo>
                    <a:pt x="0" y="0"/>
                  </a:lnTo>
                  <a:lnTo>
                    <a:pt x="19" y="39"/>
                  </a:lnTo>
                  <a:lnTo>
                    <a:pt x="43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40"/>
            <p:cNvSpPr>
              <a:spLocks/>
            </p:cNvSpPr>
            <p:nvPr/>
          </p:nvSpPr>
          <p:spPr bwMode="auto">
            <a:xfrm>
              <a:off x="2411" y="348"/>
              <a:ext cx="52" cy="39"/>
            </a:xfrm>
            <a:custGeom>
              <a:avLst/>
              <a:gdLst>
                <a:gd name="T0" fmla="*/ 52 w 52"/>
                <a:gd name="T1" fmla="*/ 39 h 39"/>
                <a:gd name="T2" fmla="*/ 33 w 52"/>
                <a:gd name="T3" fmla="*/ 0 h 39"/>
                <a:gd name="T4" fmla="*/ 0 w 52"/>
                <a:gd name="T5" fmla="*/ 0 h 39"/>
                <a:gd name="T6" fmla="*/ 39 w 52"/>
                <a:gd name="T7" fmla="*/ 39 h 39"/>
                <a:gd name="T8" fmla="*/ 52 w 52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9">
                  <a:moveTo>
                    <a:pt x="52" y="39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39" y="39"/>
                  </a:lnTo>
                  <a:lnTo>
                    <a:pt x="52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1"/>
            <p:cNvSpPr>
              <a:spLocks noEditPoints="1"/>
            </p:cNvSpPr>
            <p:nvPr/>
          </p:nvSpPr>
          <p:spPr bwMode="auto">
            <a:xfrm>
              <a:off x="2375" y="391"/>
              <a:ext cx="216" cy="217"/>
            </a:xfrm>
            <a:custGeom>
              <a:avLst/>
              <a:gdLst>
                <a:gd name="T0" fmla="*/ 323 w 646"/>
                <a:gd name="T1" fmla="*/ 646 h 646"/>
                <a:gd name="T2" fmla="*/ 0 w 646"/>
                <a:gd name="T3" fmla="*/ 323 h 646"/>
                <a:gd name="T4" fmla="*/ 323 w 646"/>
                <a:gd name="T5" fmla="*/ 0 h 646"/>
                <a:gd name="T6" fmla="*/ 646 w 646"/>
                <a:gd name="T7" fmla="*/ 323 h 646"/>
                <a:gd name="T8" fmla="*/ 323 w 646"/>
                <a:gd name="T9" fmla="*/ 646 h 646"/>
                <a:gd name="T10" fmla="*/ 323 w 646"/>
                <a:gd name="T11" fmla="*/ 24 h 646"/>
                <a:gd name="T12" fmla="*/ 24 w 646"/>
                <a:gd name="T13" fmla="*/ 323 h 646"/>
                <a:gd name="T14" fmla="*/ 323 w 646"/>
                <a:gd name="T15" fmla="*/ 622 h 646"/>
                <a:gd name="T16" fmla="*/ 622 w 646"/>
                <a:gd name="T17" fmla="*/ 323 h 646"/>
                <a:gd name="T18" fmla="*/ 323 w 646"/>
                <a:gd name="T19" fmla="*/ 2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646">
                  <a:moveTo>
                    <a:pt x="323" y="646"/>
                  </a:moveTo>
                  <a:cubicBezTo>
                    <a:pt x="145" y="646"/>
                    <a:pt x="0" y="501"/>
                    <a:pt x="0" y="323"/>
                  </a:cubicBezTo>
                  <a:cubicBezTo>
                    <a:pt x="0" y="145"/>
                    <a:pt x="145" y="0"/>
                    <a:pt x="323" y="0"/>
                  </a:cubicBezTo>
                  <a:cubicBezTo>
                    <a:pt x="501" y="0"/>
                    <a:pt x="646" y="145"/>
                    <a:pt x="646" y="323"/>
                  </a:cubicBezTo>
                  <a:cubicBezTo>
                    <a:pt x="646" y="501"/>
                    <a:pt x="501" y="646"/>
                    <a:pt x="323" y="646"/>
                  </a:cubicBezTo>
                  <a:close/>
                  <a:moveTo>
                    <a:pt x="323" y="24"/>
                  </a:moveTo>
                  <a:cubicBezTo>
                    <a:pt x="158" y="24"/>
                    <a:pt x="24" y="158"/>
                    <a:pt x="24" y="323"/>
                  </a:cubicBezTo>
                  <a:cubicBezTo>
                    <a:pt x="24" y="487"/>
                    <a:pt x="158" y="622"/>
                    <a:pt x="323" y="622"/>
                  </a:cubicBezTo>
                  <a:cubicBezTo>
                    <a:pt x="487" y="622"/>
                    <a:pt x="622" y="487"/>
                    <a:pt x="622" y="323"/>
                  </a:cubicBezTo>
                  <a:cubicBezTo>
                    <a:pt x="622" y="158"/>
                    <a:pt x="487" y="24"/>
                    <a:pt x="323" y="2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144"/>
          <p:cNvGrpSpPr>
            <a:grpSpLocks noChangeAspect="1"/>
          </p:cNvGrpSpPr>
          <p:nvPr/>
        </p:nvGrpSpPr>
        <p:grpSpPr bwMode="auto">
          <a:xfrm>
            <a:off x="371709" y="5441546"/>
            <a:ext cx="841375" cy="841375"/>
            <a:chOff x="1614" y="197"/>
            <a:chExt cx="530" cy="530"/>
          </a:xfrm>
        </p:grpSpPr>
        <p:sp>
          <p:nvSpPr>
            <p:cNvPr id="157" name="AutoShape 143"/>
            <p:cNvSpPr>
              <a:spLocks noChangeAspect="1" noChangeArrowheads="1" noTextEdit="1"/>
            </p:cNvSpPr>
            <p:nvPr/>
          </p:nvSpPr>
          <p:spPr bwMode="auto">
            <a:xfrm>
              <a:off x="1614" y="19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145"/>
            <p:cNvSpPr>
              <a:spLocks noChangeArrowheads="1"/>
            </p:cNvSpPr>
            <p:nvPr/>
          </p:nvSpPr>
          <p:spPr bwMode="auto">
            <a:xfrm>
              <a:off x="1614" y="197"/>
              <a:ext cx="530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6"/>
            <p:cNvSpPr>
              <a:spLocks noEditPoints="1"/>
            </p:cNvSpPr>
            <p:nvPr/>
          </p:nvSpPr>
          <p:spPr bwMode="auto">
            <a:xfrm>
              <a:off x="1634" y="217"/>
              <a:ext cx="491" cy="491"/>
            </a:xfrm>
            <a:custGeom>
              <a:avLst/>
              <a:gdLst>
                <a:gd name="T0" fmla="*/ 722 w 1445"/>
                <a:gd name="T1" fmla="*/ 0 h 1445"/>
                <a:gd name="T2" fmla="*/ 0 w 1445"/>
                <a:gd name="T3" fmla="*/ 722 h 1445"/>
                <a:gd name="T4" fmla="*/ 722 w 1445"/>
                <a:gd name="T5" fmla="*/ 1445 h 1445"/>
                <a:gd name="T6" fmla="*/ 1445 w 1445"/>
                <a:gd name="T7" fmla="*/ 722 h 1445"/>
                <a:gd name="T8" fmla="*/ 722 w 1445"/>
                <a:gd name="T9" fmla="*/ 0 h 1445"/>
                <a:gd name="T10" fmla="*/ 1208 w 1445"/>
                <a:gd name="T11" fmla="*/ 1208 h 1445"/>
                <a:gd name="T12" fmla="*/ 722 w 1445"/>
                <a:gd name="T13" fmla="*/ 1409 h 1445"/>
                <a:gd name="T14" fmla="*/ 237 w 1445"/>
                <a:gd name="T15" fmla="*/ 1208 h 1445"/>
                <a:gd name="T16" fmla="*/ 36 w 1445"/>
                <a:gd name="T17" fmla="*/ 722 h 1445"/>
                <a:gd name="T18" fmla="*/ 237 w 1445"/>
                <a:gd name="T19" fmla="*/ 237 h 1445"/>
                <a:gd name="T20" fmla="*/ 722 w 1445"/>
                <a:gd name="T21" fmla="*/ 36 h 1445"/>
                <a:gd name="T22" fmla="*/ 1208 w 1445"/>
                <a:gd name="T23" fmla="*/ 237 h 1445"/>
                <a:gd name="T24" fmla="*/ 1409 w 1445"/>
                <a:gd name="T25" fmla="*/ 722 h 1445"/>
                <a:gd name="T26" fmla="*/ 1208 w 1445"/>
                <a:gd name="T27" fmla="*/ 1208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5" h="1445">
                  <a:moveTo>
                    <a:pt x="722" y="0"/>
                  </a:moveTo>
                  <a:cubicBezTo>
                    <a:pt x="323" y="0"/>
                    <a:pt x="0" y="323"/>
                    <a:pt x="0" y="722"/>
                  </a:cubicBezTo>
                  <a:cubicBezTo>
                    <a:pt x="0" y="1122"/>
                    <a:pt x="323" y="1445"/>
                    <a:pt x="722" y="1445"/>
                  </a:cubicBezTo>
                  <a:cubicBezTo>
                    <a:pt x="1122" y="1445"/>
                    <a:pt x="1445" y="1122"/>
                    <a:pt x="1445" y="722"/>
                  </a:cubicBezTo>
                  <a:cubicBezTo>
                    <a:pt x="1445" y="323"/>
                    <a:pt x="1122" y="0"/>
                    <a:pt x="722" y="0"/>
                  </a:cubicBezTo>
                  <a:close/>
                  <a:moveTo>
                    <a:pt x="1208" y="1208"/>
                  </a:moveTo>
                  <a:cubicBezTo>
                    <a:pt x="1078" y="1338"/>
                    <a:pt x="906" y="1409"/>
                    <a:pt x="722" y="1409"/>
                  </a:cubicBezTo>
                  <a:cubicBezTo>
                    <a:pt x="539" y="1409"/>
                    <a:pt x="367" y="1338"/>
                    <a:pt x="237" y="1208"/>
                  </a:cubicBezTo>
                  <a:cubicBezTo>
                    <a:pt x="107" y="1078"/>
                    <a:pt x="36" y="906"/>
                    <a:pt x="36" y="722"/>
                  </a:cubicBezTo>
                  <a:cubicBezTo>
                    <a:pt x="36" y="539"/>
                    <a:pt x="107" y="367"/>
                    <a:pt x="237" y="237"/>
                  </a:cubicBezTo>
                  <a:cubicBezTo>
                    <a:pt x="367" y="107"/>
                    <a:pt x="539" y="36"/>
                    <a:pt x="722" y="36"/>
                  </a:cubicBezTo>
                  <a:cubicBezTo>
                    <a:pt x="906" y="36"/>
                    <a:pt x="1078" y="107"/>
                    <a:pt x="1208" y="237"/>
                  </a:cubicBezTo>
                  <a:cubicBezTo>
                    <a:pt x="1338" y="367"/>
                    <a:pt x="1409" y="539"/>
                    <a:pt x="1409" y="722"/>
                  </a:cubicBezTo>
                  <a:cubicBezTo>
                    <a:pt x="1409" y="906"/>
                    <a:pt x="1338" y="1078"/>
                    <a:pt x="1208" y="12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7"/>
            <p:cNvSpPr>
              <a:spLocks/>
            </p:cNvSpPr>
            <p:nvPr/>
          </p:nvSpPr>
          <p:spPr bwMode="auto">
            <a:xfrm>
              <a:off x="1846" y="320"/>
              <a:ext cx="62" cy="21"/>
            </a:xfrm>
            <a:custGeom>
              <a:avLst/>
              <a:gdLst>
                <a:gd name="T0" fmla="*/ 62 w 62"/>
                <a:gd name="T1" fmla="*/ 21 h 21"/>
                <a:gd name="T2" fmla="*/ 49 w 62"/>
                <a:gd name="T3" fmla="*/ 0 h 21"/>
                <a:gd name="T4" fmla="*/ 13 w 62"/>
                <a:gd name="T5" fmla="*/ 0 h 21"/>
                <a:gd name="T6" fmla="*/ 0 w 62"/>
                <a:gd name="T7" fmla="*/ 21 h 21"/>
                <a:gd name="T8" fmla="*/ 62 w 62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1">
                  <a:moveTo>
                    <a:pt x="62" y="21"/>
                  </a:moveTo>
                  <a:lnTo>
                    <a:pt x="49" y="0"/>
                  </a:lnTo>
                  <a:lnTo>
                    <a:pt x="13" y="0"/>
                  </a:lnTo>
                  <a:lnTo>
                    <a:pt x="0" y="21"/>
                  </a:lnTo>
                  <a:lnTo>
                    <a:pt x="62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48"/>
            <p:cNvSpPr>
              <a:spLocks/>
            </p:cNvSpPr>
            <p:nvPr/>
          </p:nvSpPr>
          <p:spPr bwMode="auto">
            <a:xfrm>
              <a:off x="1902" y="320"/>
              <a:ext cx="45" cy="21"/>
            </a:xfrm>
            <a:custGeom>
              <a:avLst/>
              <a:gdLst>
                <a:gd name="T0" fmla="*/ 45 w 45"/>
                <a:gd name="T1" fmla="*/ 21 h 21"/>
                <a:gd name="T2" fmla="*/ 24 w 45"/>
                <a:gd name="T3" fmla="*/ 0 h 21"/>
                <a:gd name="T4" fmla="*/ 0 w 45"/>
                <a:gd name="T5" fmla="*/ 0 h 21"/>
                <a:gd name="T6" fmla="*/ 13 w 45"/>
                <a:gd name="T7" fmla="*/ 21 h 21"/>
                <a:gd name="T8" fmla="*/ 45 w 45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1">
                  <a:moveTo>
                    <a:pt x="45" y="21"/>
                  </a:moveTo>
                  <a:lnTo>
                    <a:pt x="24" y="0"/>
                  </a:lnTo>
                  <a:lnTo>
                    <a:pt x="0" y="0"/>
                  </a:lnTo>
                  <a:lnTo>
                    <a:pt x="13" y="21"/>
                  </a:lnTo>
                  <a:lnTo>
                    <a:pt x="45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9"/>
            <p:cNvSpPr>
              <a:spLocks/>
            </p:cNvSpPr>
            <p:nvPr/>
          </p:nvSpPr>
          <p:spPr bwMode="auto">
            <a:xfrm>
              <a:off x="1807" y="320"/>
              <a:ext cx="45" cy="21"/>
            </a:xfrm>
            <a:custGeom>
              <a:avLst/>
              <a:gdLst>
                <a:gd name="T0" fmla="*/ 45 w 45"/>
                <a:gd name="T1" fmla="*/ 0 h 21"/>
                <a:gd name="T2" fmla="*/ 21 w 45"/>
                <a:gd name="T3" fmla="*/ 0 h 21"/>
                <a:gd name="T4" fmla="*/ 0 w 45"/>
                <a:gd name="T5" fmla="*/ 21 h 21"/>
                <a:gd name="T6" fmla="*/ 32 w 45"/>
                <a:gd name="T7" fmla="*/ 21 h 21"/>
                <a:gd name="T8" fmla="*/ 45 w 4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1">
                  <a:moveTo>
                    <a:pt x="45" y="0"/>
                  </a:moveTo>
                  <a:lnTo>
                    <a:pt x="21" y="0"/>
                  </a:lnTo>
                  <a:lnTo>
                    <a:pt x="0" y="21"/>
                  </a:lnTo>
                  <a:lnTo>
                    <a:pt x="32" y="21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50"/>
            <p:cNvSpPr>
              <a:spLocks/>
            </p:cNvSpPr>
            <p:nvPr/>
          </p:nvSpPr>
          <p:spPr bwMode="auto">
            <a:xfrm>
              <a:off x="1896" y="348"/>
              <a:ext cx="53" cy="39"/>
            </a:xfrm>
            <a:custGeom>
              <a:avLst/>
              <a:gdLst>
                <a:gd name="T0" fmla="*/ 14 w 53"/>
                <a:gd name="T1" fmla="*/ 39 h 39"/>
                <a:gd name="T2" fmla="*/ 53 w 53"/>
                <a:gd name="T3" fmla="*/ 0 h 39"/>
                <a:gd name="T4" fmla="*/ 19 w 53"/>
                <a:gd name="T5" fmla="*/ 0 h 39"/>
                <a:gd name="T6" fmla="*/ 0 w 53"/>
                <a:gd name="T7" fmla="*/ 39 h 39"/>
                <a:gd name="T8" fmla="*/ 14 w 53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9">
                  <a:moveTo>
                    <a:pt x="14" y="39"/>
                  </a:moveTo>
                  <a:lnTo>
                    <a:pt x="53" y="0"/>
                  </a:lnTo>
                  <a:lnTo>
                    <a:pt x="19" y="0"/>
                  </a:lnTo>
                  <a:lnTo>
                    <a:pt x="0" y="39"/>
                  </a:lnTo>
                  <a:lnTo>
                    <a:pt x="1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51"/>
            <p:cNvSpPr>
              <a:spLocks/>
            </p:cNvSpPr>
            <p:nvPr/>
          </p:nvSpPr>
          <p:spPr bwMode="auto">
            <a:xfrm>
              <a:off x="1846" y="348"/>
              <a:ext cx="62" cy="39"/>
            </a:xfrm>
            <a:custGeom>
              <a:avLst/>
              <a:gdLst>
                <a:gd name="T0" fmla="*/ 43 w 62"/>
                <a:gd name="T1" fmla="*/ 39 h 39"/>
                <a:gd name="T2" fmla="*/ 62 w 62"/>
                <a:gd name="T3" fmla="*/ 0 h 39"/>
                <a:gd name="T4" fmla="*/ 0 w 62"/>
                <a:gd name="T5" fmla="*/ 0 h 39"/>
                <a:gd name="T6" fmla="*/ 18 w 62"/>
                <a:gd name="T7" fmla="*/ 39 h 39"/>
                <a:gd name="T8" fmla="*/ 43 w 62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39">
                  <a:moveTo>
                    <a:pt x="43" y="39"/>
                  </a:moveTo>
                  <a:lnTo>
                    <a:pt x="62" y="0"/>
                  </a:lnTo>
                  <a:lnTo>
                    <a:pt x="0" y="0"/>
                  </a:lnTo>
                  <a:lnTo>
                    <a:pt x="18" y="39"/>
                  </a:lnTo>
                  <a:lnTo>
                    <a:pt x="4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52"/>
            <p:cNvSpPr>
              <a:spLocks/>
            </p:cNvSpPr>
            <p:nvPr/>
          </p:nvSpPr>
          <p:spPr bwMode="auto">
            <a:xfrm>
              <a:off x="1805" y="348"/>
              <a:ext cx="53" cy="39"/>
            </a:xfrm>
            <a:custGeom>
              <a:avLst/>
              <a:gdLst>
                <a:gd name="T0" fmla="*/ 53 w 53"/>
                <a:gd name="T1" fmla="*/ 39 h 39"/>
                <a:gd name="T2" fmla="*/ 34 w 53"/>
                <a:gd name="T3" fmla="*/ 0 h 39"/>
                <a:gd name="T4" fmla="*/ 0 w 53"/>
                <a:gd name="T5" fmla="*/ 0 h 39"/>
                <a:gd name="T6" fmla="*/ 39 w 53"/>
                <a:gd name="T7" fmla="*/ 39 h 39"/>
                <a:gd name="T8" fmla="*/ 53 w 53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9">
                  <a:moveTo>
                    <a:pt x="53" y="39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39" y="39"/>
                  </a:lnTo>
                  <a:lnTo>
                    <a:pt x="5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3"/>
            <p:cNvSpPr>
              <a:spLocks noEditPoints="1"/>
            </p:cNvSpPr>
            <p:nvPr/>
          </p:nvSpPr>
          <p:spPr bwMode="auto">
            <a:xfrm>
              <a:off x="1768" y="391"/>
              <a:ext cx="219" cy="220"/>
            </a:xfrm>
            <a:custGeom>
              <a:avLst/>
              <a:gdLst>
                <a:gd name="T0" fmla="*/ 323 w 646"/>
                <a:gd name="T1" fmla="*/ 646 h 646"/>
                <a:gd name="T2" fmla="*/ 0 w 646"/>
                <a:gd name="T3" fmla="*/ 323 h 646"/>
                <a:gd name="T4" fmla="*/ 323 w 646"/>
                <a:gd name="T5" fmla="*/ 0 h 646"/>
                <a:gd name="T6" fmla="*/ 646 w 646"/>
                <a:gd name="T7" fmla="*/ 323 h 646"/>
                <a:gd name="T8" fmla="*/ 323 w 646"/>
                <a:gd name="T9" fmla="*/ 646 h 646"/>
                <a:gd name="T10" fmla="*/ 323 w 646"/>
                <a:gd name="T11" fmla="*/ 24 h 646"/>
                <a:gd name="T12" fmla="*/ 24 w 646"/>
                <a:gd name="T13" fmla="*/ 323 h 646"/>
                <a:gd name="T14" fmla="*/ 323 w 646"/>
                <a:gd name="T15" fmla="*/ 622 h 646"/>
                <a:gd name="T16" fmla="*/ 622 w 646"/>
                <a:gd name="T17" fmla="*/ 323 h 646"/>
                <a:gd name="T18" fmla="*/ 323 w 646"/>
                <a:gd name="T19" fmla="*/ 2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646">
                  <a:moveTo>
                    <a:pt x="323" y="646"/>
                  </a:moveTo>
                  <a:cubicBezTo>
                    <a:pt x="145" y="646"/>
                    <a:pt x="0" y="501"/>
                    <a:pt x="0" y="323"/>
                  </a:cubicBezTo>
                  <a:cubicBezTo>
                    <a:pt x="0" y="145"/>
                    <a:pt x="145" y="0"/>
                    <a:pt x="323" y="0"/>
                  </a:cubicBezTo>
                  <a:cubicBezTo>
                    <a:pt x="501" y="0"/>
                    <a:pt x="646" y="145"/>
                    <a:pt x="646" y="323"/>
                  </a:cubicBezTo>
                  <a:cubicBezTo>
                    <a:pt x="646" y="501"/>
                    <a:pt x="501" y="646"/>
                    <a:pt x="323" y="646"/>
                  </a:cubicBezTo>
                  <a:close/>
                  <a:moveTo>
                    <a:pt x="323" y="24"/>
                  </a:moveTo>
                  <a:cubicBezTo>
                    <a:pt x="158" y="24"/>
                    <a:pt x="24" y="158"/>
                    <a:pt x="24" y="323"/>
                  </a:cubicBezTo>
                  <a:cubicBezTo>
                    <a:pt x="24" y="487"/>
                    <a:pt x="158" y="622"/>
                    <a:pt x="323" y="622"/>
                  </a:cubicBezTo>
                  <a:cubicBezTo>
                    <a:pt x="487" y="622"/>
                    <a:pt x="622" y="487"/>
                    <a:pt x="622" y="323"/>
                  </a:cubicBezTo>
                  <a:cubicBezTo>
                    <a:pt x="622" y="158"/>
                    <a:pt x="487" y="24"/>
                    <a:pt x="323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116A0D3-7241-4227-9F11-95873E2FED5F}"/>
              </a:ext>
            </a:extLst>
          </p:cNvPr>
          <p:cNvGrpSpPr/>
          <p:nvPr/>
        </p:nvGrpSpPr>
        <p:grpSpPr>
          <a:xfrm>
            <a:off x="5816600" y="1576388"/>
            <a:ext cx="768350" cy="768350"/>
            <a:chOff x="5816600" y="1576388"/>
            <a:chExt cx="768350" cy="7683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E46CBDE8-FE87-4198-91C0-2F435A9F3C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6600" y="1576388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32B2DB1-F3C5-4C7E-89F2-CE82604913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6600" y="1576388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55D16443-A36D-4B60-B725-72F3AD445A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6163" y="1762126"/>
              <a:ext cx="74613" cy="76200"/>
            </a:xfrm>
            <a:custGeom>
              <a:avLst/>
              <a:gdLst>
                <a:gd name="T0" fmla="*/ 72 w 143"/>
                <a:gd name="T1" fmla="*/ 144 h 144"/>
                <a:gd name="T2" fmla="*/ 143 w 143"/>
                <a:gd name="T3" fmla="*/ 72 h 144"/>
                <a:gd name="T4" fmla="*/ 72 w 143"/>
                <a:gd name="T5" fmla="*/ 0 h 144"/>
                <a:gd name="T6" fmla="*/ 0 w 143"/>
                <a:gd name="T7" fmla="*/ 72 h 144"/>
                <a:gd name="T8" fmla="*/ 72 w 143"/>
                <a:gd name="T9" fmla="*/ 144 h 144"/>
                <a:gd name="T10" fmla="*/ 72 w 143"/>
                <a:gd name="T11" fmla="*/ 22 h 144"/>
                <a:gd name="T12" fmla="*/ 121 w 143"/>
                <a:gd name="T13" fmla="*/ 72 h 144"/>
                <a:gd name="T14" fmla="*/ 72 w 143"/>
                <a:gd name="T15" fmla="*/ 122 h 144"/>
                <a:gd name="T16" fmla="*/ 22 w 143"/>
                <a:gd name="T17" fmla="*/ 72 h 144"/>
                <a:gd name="T18" fmla="*/ 72 w 143"/>
                <a:gd name="T19" fmla="*/ 2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44">
                  <a:moveTo>
                    <a:pt x="72" y="144"/>
                  </a:moveTo>
                  <a:cubicBezTo>
                    <a:pt x="111" y="144"/>
                    <a:pt x="143" y="111"/>
                    <a:pt x="143" y="72"/>
                  </a:cubicBezTo>
                  <a:cubicBezTo>
                    <a:pt x="143" y="32"/>
                    <a:pt x="111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111"/>
                    <a:pt x="32" y="144"/>
                    <a:pt x="72" y="144"/>
                  </a:cubicBezTo>
                  <a:close/>
                  <a:moveTo>
                    <a:pt x="72" y="22"/>
                  </a:moveTo>
                  <a:cubicBezTo>
                    <a:pt x="99" y="22"/>
                    <a:pt x="121" y="44"/>
                    <a:pt x="121" y="72"/>
                  </a:cubicBezTo>
                  <a:cubicBezTo>
                    <a:pt x="121" y="99"/>
                    <a:pt x="99" y="122"/>
                    <a:pt x="72" y="122"/>
                  </a:cubicBezTo>
                  <a:cubicBezTo>
                    <a:pt x="44" y="122"/>
                    <a:pt x="22" y="99"/>
                    <a:pt x="22" y="72"/>
                  </a:cubicBezTo>
                  <a:cubicBezTo>
                    <a:pt x="22" y="44"/>
                    <a:pt x="44" y="22"/>
                    <a:pt x="72" y="2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1CD8B503-5C08-4D01-BA1C-FA958B339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7900" y="1747838"/>
              <a:ext cx="354013" cy="481013"/>
            </a:xfrm>
            <a:custGeom>
              <a:avLst/>
              <a:gdLst>
                <a:gd name="T0" fmla="*/ 545 w 681"/>
                <a:gd name="T1" fmla="*/ 32 h 922"/>
                <a:gd name="T2" fmla="*/ 544 w 681"/>
                <a:gd name="T3" fmla="*/ 61 h 922"/>
                <a:gd name="T4" fmla="*/ 446 w 681"/>
                <a:gd name="T5" fmla="*/ 297 h 922"/>
                <a:gd name="T6" fmla="*/ 422 w 681"/>
                <a:gd name="T7" fmla="*/ 301 h 922"/>
                <a:gd name="T8" fmla="*/ 269 w 681"/>
                <a:gd name="T9" fmla="*/ 301 h 922"/>
                <a:gd name="T10" fmla="*/ 207 w 681"/>
                <a:gd name="T11" fmla="*/ 206 h 922"/>
                <a:gd name="T12" fmla="*/ 105 w 681"/>
                <a:gd name="T13" fmla="*/ 176 h 922"/>
                <a:gd name="T14" fmla="*/ 12 w 681"/>
                <a:gd name="T15" fmla="*/ 422 h 922"/>
                <a:gd name="T16" fmla="*/ 13 w 681"/>
                <a:gd name="T17" fmla="*/ 492 h 922"/>
                <a:gd name="T18" fmla="*/ 135 w 681"/>
                <a:gd name="T19" fmla="*/ 885 h 922"/>
                <a:gd name="T20" fmla="*/ 232 w 681"/>
                <a:gd name="T21" fmla="*/ 887 h 922"/>
                <a:gd name="T22" fmla="*/ 237 w 681"/>
                <a:gd name="T23" fmla="*/ 651 h 922"/>
                <a:gd name="T24" fmla="*/ 156 w 681"/>
                <a:gd name="T25" fmla="*/ 492 h 922"/>
                <a:gd name="T26" fmla="*/ 338 w 681"/>
                <a:gd name="T27" fmla="*/ 430 h 922"/>
                <a:gd name="T28" fmla="*/ 453 w 681"/>
                <a:gd name="T29" fmla="*/ 338 h 922"/>
                <a:gd name="T30" fmla="*/ 461 w 681"/>
                <a:gd name="T31" fmla="*/ 313 h 922"/>
                <a:gd name="T32" fmla="*/ 636 w 681"/>
                <a:gd name="T33" fmla="*/ 122 h 922"/>
                <a:gd name="T34" fmla="*/ 591 w 681"/>
                <a:gd name="T35" fmla="*/ 1 h 922"/>
                <a:gd name="T36" fmla="*/ 438 w 681"/>
                <a:gd name="T37" fmla="*/ 321 h 922"/>
                <a:gd name="T38" fmla="*/ 203 w 681"/>
                <a:gd name="T39" fmla="*/ 307 h 922"/>
                <a:gd name="T40" fmla="*/ 186 w 681"/>
                <a:gd name="T41" fmla="*/ 313 h 922"/>
                <a:gd name="T42" fmla="*/ 134 w 681"/>
                <a:gd name="T43" fmla="*/ 498 h 922"/>
                <a:gd name="T44" fmla="*/ 211 w 681"/>
                <a:gd name="T45" fmla="*/ 883 h 922"/>
                <a:gd name="T46" fmla="*/ 184 w 681"/>
                <a:gd name="T47" fmla="*/ 900 h 922"/>
                <a:gd name="T48" fmla="*/ 157 w 681"/>
                <a:gd name="T49" fmla="*/ 693 h 922"/>
                <a:gd name="T50" fmla="*/ 32 w 681"/>
                <a:gd name="T51" fmla="*/ 482 h 922"/>
                <a:gd name="T52" fmla="*/ 33 w 681"/>
                <a:gd name="T53" fmla="*/ 429 h 922"/>
                <a:gd name="T54" fmla="*/ 91 w 681"/>
                <a:gd name="T55" fmla="*/ 230 h 922"/>
                <a:gd name="T56" fmla="*/ 149 w 681"/>
                <a:gd name="T57" fmla="*/ 194 h 922"/>
                <a:gd name="T58" fmla="*/ 190 w 681"/>
                <a:gd name="T59" fmla="*/ 220 h 922"/>
                <a:gd name="T60" fmla="*/ 253 w 681"/>
                <a:gd name="T61" fmla="*/ 317 h 922"/>
                <a:gd name="T62" fmla="*/ 352 w 681"/>
                <a:gd name="T63" fmla="*/ 387 h 922"/>
                <a:gd name="T64" fmla="*/ 436 w 681"/>
                <a:gd name="T65" fmla="*/ 318 h 922"/>
                <a:gd name="T66" fmla="*/ 440 w 681"/>
                <a:gd name="T67" fmla="*/ 319 h 922"/>
                <a:gd name="T68" fmla="*/ 624 w 681"/>
                <a:gd name="T69" fmla="*/ 101 h 922"/>
                <a:gd name="T70" fmla="*/ 564 w 681"/>
                <a:gd name="T71" fmla="*/ 43 h 922"/>
                <a:gd name="T72" fmla="*/ 647 w 681"/>
                <a:gd name="T73" fmla="*/ 6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1" h="922">
                  <a:moveTo>
                    <a:pt x="591" y="1"/>
                  </a:moveTo>
                  <a:cubicBezTo>
                    <a:pt x="561" y="4"/>
                    <a:pt x="545" y="31"/>
                    <a:pt x="545" y="32"/>
                  </a:cubicBezTo>
                  <a:cubicBezTo>
                    <a:pt x="545" y="33"/>
                    <a:pt x="545" y="33"/>
                    <a:pt x="544" y="33"/>
                  </a:cubicBezTo>
                  <a:cubicBezTo>
                    <a:pt x="540" y="42"/>
                    <a:pt x="540" y="51"/>
                    <a:pt x="544" y="61"/>
                  </a:cubicBezTo>
                  <a:cubicBezTo>
                    <a:pt x="553" y="86"/>
                    <a:pt x="589" y="108"/>
                    <a:pt x="609" y="118"/>
                  </a:cubicBezTo>
                  <a:cubicBezTo>
                    <a:pt x="446" y="297"/>
                    <a:pt x="446" y="297"/>
                    <a:pt x="446" y="297"/>
                  </a:cubicBezTo>
                  <a:cubicBezTo>
                    <a:pt x="438" y="294"/>
                    <a:pt x="430" y="295"/>
                    <a:pt x="423" y="300"/>
                  </a:cubicBezTo>
                  <a:cubicBezTo>
                    <a:pt x="423" y="300"/>
                    <a:pt x="423" y="300"/>
                    <a:pt x="422" y="301"/>
                  </a:cubicBezTo>
                  <a:cubicBezTo>
                    <a:pt x="345" y="364"/>
                    <a:pt x="345" y="364"/>
                    <a:pt x="345" y="364"/>
                  </a:cubicBezTo>
                  <a:cubicBezTo>
                    <a:pt x="269" y="301"/>
                    <a:pt x="269" y="301"/>
                    <a:pt x="269" y="301"/>
                  </a:cubicBezTo>
                  <a:cubicBezTo>
                    <a:pt x="208" y="208"/>
                    <a:pt x="208" y="208"/>
                    <a:pt x="208" y="208"/>
                  </a:cubicBezTo>
                  <a:cubicBezTo>
                    <a:pt x="208" y="207"/>
                    <a:pt x="207" y="207"/>
                    <a:pt x="207" y="206"/>
                  </a:cubicBezTo>
                  <a:cubicBezTo>
                    <a:pt x="182" y="178"/>
                    <a:pt x="160" y="173"/>
                    <a:pt x="155" y="172"/>
                  </a:cubicBezTo>
                  <a:cubicBezTo>
                    <a:pt x="136" y="167"/>
                    <a:pt x="119" y="168"/>
                    <a:pt x="105" y="176"/>
                  </a:cubicBezTo>
                  <a:cubicBezTo>
                    <a:pt x="80" y="191"/>
                    <a:pt x="71" y="221"/>
                    <a:pt x="70" y="225"/>
                  </a:cubicBezTo>
                  <a:cubicBezTo>
                    <a:pt x="12" y="422"/>
                    <a:pt x="12" y="422"/>
                    <a:pt x="12" y="422"/>
                  </a:cubicBezTo>
                  <a:cubicBezTo>
                    <a:pt x="0" y="448"/>
                    <a:pt x="10" y="486"/>
                    <a:pt x="12" y="490"/>
                  </a:cubicBezTo>
                  <a:cubicBezTo>
                    <a:pt x="12" y="491"/>
                    <a:pt x="12" y="492"/>
                    <a:pt x="13" y="492"/>
                  </a:cubicBezTo>
                  <a:cubicBezTo>
                    <a:pt x="135" y="696"/>
                    <a:pt x="135" y="696"/>
                    <a:pt x="135" y="696"/>
                  </a:cubicBezTo>
                  <a:cubicBezTo>
                    <a:pt x="135" y="885"/>
                    <a:pt x="135" y="885"/>
                    <a:pt x="135" y="885"/>
                  </a:cubicBezTo>
                  <a:cubicBezTo>
                    <a:pt x="135" y="906"/>
                    <a:pt x="157" y="922"/>
                    <a:pt x="184" y="922"/>
                  </a:cubicBezTo>
                  <a:cubicBezTo>
                    <a:pt x="210" y="922"/>
                    <a:pt x="231" y="907"/>
                    <a:pt x="232" y="887"/>
                  </a:cubicBezTo>
                  <a:cubicBezTo>
                    <a:pt x="233" y="886"/>
                    <a:pt x="233" y="886"/>
                    <a:pt x="233" y="885"/>
                  </a:cubicBezTo>
                  <a:cubicBezTo>
                    <a:pt x="237" y="651"/>
                    <a:pt x="237" y="651"/>
                    <a:pt x="237" y="651"/>
                  </a:cubicBezTo>
                  <a:cubicBezTo>
                    <a:pt x="237" y="649"/>
                    <a:pt x="236" y="647"/>
                    <a:pt x="235" y="646"/>
                  </a:cubicBezTo>
                  <a:cubicBezTo>
                    <a:pt x="156" y="492"/>
                    <a:pt x="156" y="492"/>
                    <a:pt x="156" y="492"/>
                  </a:cubicBezTo>
                  <a:cubicBezTo>
                    <a:pt x="203" y="334"/>
                    <a:pt x="203" y="334"/>
                    <a:pt x="203" y="334"/>
                  </a:cubicBezTo>
                  <a:cubicBezTo>
                    <a:pt x="338" y="430"/>
                    <a:pt x="338" y="430"/>
                    <a:pt x="338" y="430"/>
                  </a:cubicBezTo>
                  <a:cubicBezTo>
                    <a:pt x="342" y="432"/>
                    <a:pt x="348" y="432"/>
                    <a:pt x="352" y="429"/>
                  </a:cubicBezTo>
                  <a:cubicBezTo>
                    <a:pt x="453" y="338"/>
                    <a:pt x="453" y="338"/>
                    <a:pt x="453" y="338"/>
                  </a:cubicBezTo>
                  <a:cubicBezTo>
                    <a:pt x="458" y="333"/>
                    <a:pt x="461" y="328"/>
                    <a:pt x="461" y="322"/>
                  </a:cubicBezTo>
                  <a:cubicBezTo>
                    <a:pt x="462" y="319"/>
                    <a:pt x="461" y="316"/>
                    <a:pt x="461" y="313"/>
                  </a:cubicBezTo>
                  <a:cubicBezTo>
                    <a:pt x="635" y="122"/>
                    <a:pt x="635" y="122"/>
                    <a:pt x="635" y="122"/>
                  </a:cubicBezTo>
                  <a:cubicBezTo>
                    <a:pt x="635" y="122"/>
                    <a:pt x="635" y="122"/>
                    <a:pt x="636" y="122"/>
                  </a:cubicBezTo>
                  <a:cubicBezTo>
                    <a:pt x="650" y="107"/>
                    <a:pt x="681" y="68"/>
                    <a:pt x="665" y="47"/>
                  </a:cubicBezTo>
                  <a:cubicBezTo>
                    <a:pt x="640" y="15"/>
                    <a:pt x="615" y="0"/>
                    <a:pt x="591" y="1"/>
                  </a:cubicBezTo>
                  <a:close/>
                  <a:moveTo>
                    <a:pt x="439" y="321"/>
                  </a:moveTo>
                  <a:cubicBezTo>
                    <a:pt x="439" y="321"/>
                    <a:pt x="439" y="321"/>
                    <a:pt x="438" y="321"/>
                  </a:cubicBezTo>
                  <a:cubicBezTo>
                    <a:pt x="344" y="406"/>
                    <a:pt x="344" y="406"/>
                    <a:pt x="344" y="406"/>
                  </a:cubicBezTo>
                  <a:cubicBezTo>
                    <a:pt x="203" y="307"/>
                    <a:pt x="203" y="307"/>
                    <a:pt x="203" y="307"/>
                  </a:cubicBezTo>
                  <a:cubicBezTo>
                    <a:pt x="200" y="305"/>
                    <a:pt x="196" y="304"/>
                    <a:pt x="193" y="305"/>
                  </a:cubicBezTo>
                  <a:cubicBezTo>
                    <a:pt x="189" y="307"/>
                    <a:pt x="187" y="309"/>
                    <a:pt x="186" y="313"/>
                  </a:cubicBezTo>
                  <a:cubicBezTo>
                    <a:pt x="134" y="490"/>
                    <a:pt x="134" y="490"/>
                    <a:pt x="134" y="490"/>
                  </a:cubicBezTo>
                  <a:cubicBezTo>
                    <a:pt x="133" y="493"/>
                    <a:pt x="133" y="496"/>
                    <a:pt x="134" y="498"/>
                  </a:cubicBezTo>
                  <a:cubicBezTo>
                    <a:pt x="214" y="653"/>
                    <a:pt x="214" y="653"/>
                    <a:pt x="214" y="653"/>
                  </a:cubicBezTo>
                  <a:cubicBezTo>
                    <a:pt x="211" y="883"/>
                    <a:pt x="211" y="883"/>
                    <a:pt x="211" y="883"/>
                  </a:cubicBezTo>
                  <a:cubicBezTo>
                    <a:pt x="211" y="884"/>
                    <a:pt x="211" y="884"/>
                    <a:pt x="211" y="885"/>
                  </a:cubicBezTo>
                  <a:cubicBezTo>
                    <a:pt x="211" y="892"/>
                    <a:pt x="200" y="900"/>
                    <a:pt x="184" y="900"/>
                  </a:cubicBezTo>
                  <a:cubicBezTo>
                    <a:pt x="168" y="900"/>
                    <a:pt x="157" y="892"/>
                    <a:pt x="157" y="885"/>
                  </a:cubicBezTo>
                  <a:cubicBezTo>
                    <a:pt x="157" y="693"/>
                    <a:pt x="157" y="693"/>
                    <a:pt x="157" y="693"/>
                  </a:cubicBezTo>
                  <a:cubicBezTo>
                    <a:pt x="157" y="691"/>
                    <a:pt x="157" y="689"/>
                    <a:pt x="156" y="687"/>
                  </a:cubicBezTo>
                  <a:cubicBezTo>
                    <a:pt x="32" y="482"/>
                    <a:pt x="32" y="482"/>
                    <a:pt x="32" y="482"/>
                  </a:cubicBezTo>
                  <a:cubicBezTo>
                    <a:pt x="29" y="472"/>
                    <a:pt x="25" y="446"/>
                    <a:pt x="32" y="431"/>
                  </a:cubicBezTo>
                  <a:cubicBezTo>
                    <a:pt x="32" y="430"/>
                    <a:pt x="32" y="430"/>
                    <a:pt x="33" y="429"/>
                  </a:cubicBezTo>
                  <a:cubicBezTo>
                    <a:pt x="91" y="231"/>
                    <a:pt x="91" y="231"/>
                    <a:pt x="91" y="231"/>
                  </a:cubicBezTo>
                  <a:cubicBezTo>
                    <a:pt x="91" y="231"/>
                    <a:pt x="91" y="231"/>
                    <a:pt x="91" y="230"/>
                  </a:cubicBezTo>
                  <a:cubicBezTo>
                    <a:pt x="91" y="230"/>
                    <a:pt x="98" y="206"/>
                    <a:pt x="116" y="196"/>
                  </a:cubicBezTo>
                  <a:cubicBezTo>
                    <a:pt x="125" y="190"/>
                    <a:pt x="136" y="190"/>
                    <a:pt x="149" y="194"/>
                  </a:cubicBezTo>
                  <a:cubicBezTo>
                    <a:pt x="150" y="194"/>
                    <a:pt x="151" y="194"/>
                    <a:pt x="151" y="194"/>
                  </a:cubicBezTo>
                  <a:cubicBezTo>
                    <a:pt x="151" y="194"/>
                    <a:pt x="169" y="196"/>
                    <a:pt x="190" y="220"/>
                  </a:cubicBezTo>
                  <a:cubicBezTo>
                    <a:pt x="251" y="315"/>
                    <a:pt x="251" y="315"/>
                    <a:pt x="251" y="315"/>
                  </a:cubicBezTo>
                  <a:cubicBezTo>
                    <a:pt x="252" y="316"/>
                    <a:pt x="252" y="317"/>
                    <a:pt x="253" y="317"/>
                  </a:cubicBezTo>
                  <a:cubicBezTo>
                    <a:pt x="338" y="387"/>
                    <a:pt x="338" y="387"/>
                    <a:pt x="338" y="387"/>
                  </a:cubicBezTo>
                  <a:cubicBezTo>
                    <a:pt x="342" y="390"/>
                    <a:pt x="348" y="390"/>
                    <a:pt x="352" y="387"/>
                  </a:cubicBezTo>
                  <a:cubicBezTo>
                    <a:pt x="436" y="318"/>
                    <a:pt x="436" y="318"/>
                    <a:pt x="436" y="318"/>
                  </a:cubicBezTo>
                  <a:cubicBezTo>
                    <a:pt x="436" y="318"/>
                    <a:pt x="436" y="318"/>
                    <a:pt x="436" y="318"/>
                  </a:cubicBezTo>
                  <a:cubicBezTo>
                    <a:pt x="437" y="317"/>
                    <a:pt x="438" y="317"/>
                    <a:pt x="439" y="318"/>
                  </a:cubicBezTo>
                  <a:cubicBezTo>
                    <a:pt x="440" y="318"/>
                    <a:pt x="440" y="319"/>
                    <a:pt x="440" y="319"/>
                  </a:cubicBezTo>
                  <a:cubicBezTo>
                    <a:pt x="440" y="320"/>
                    <a:pt x="439" y="320"/>
                    <a:pt x="439" y="321"/>
                  </a:cubicBezTo>
                  <a:close/>
                  <a:moveTo>
                    <a:pt x="624" y="101"/>
                  </a:moveTo>
                  <a:cubicBezTo>
                    <a:pt x="606" y="92"/>
                    <a:pt x="571" y="72"/>
                    <a:pt x="564" y="53"/>
                  </a:cubicBezTo>
                  <a:cubicBezTo>
                    <a:pt x="563" y="49"/>
                    <a:pt x="563" y="46"/>
                    <a:pt x="564" y="43"/>
                  </a:cubicBezTo>
                  <a:cubicBezTo>
                    <a:pt x="566" y="40"/>
                    <a:pt x="576" y="25"/>
                    <a:pt x="593" y="23"/>
                  </a:cubicBezTo>
                  <a:cubicBezTo>
                    <a:pt x="609" y="22"/>
                    <a:pt x="628" y="35"/>
                    <a:pt x="647" y="60"/>
                  </a:cubicBezTo>
                  <a:cubicBezTo>
                    <a:pt x="649" y="66"/>
                    <a:pt x="638" y="84"/>
                    <a:pt x="624" y="10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BBD3B58E-82F1-4360-870B-9C8C2E70E8B9}"/>
              </a:ext>
            </a:extLst>
          </p:cNvPr>
          <p:cNvGrpSpPr/>
          <p:nvPr/>
        </p:nvGrpSpPr>
        <p:grpSpPr>
          <a:xfrm>
            <a:off x="4822825" y="1539875"/>
            <a:ext cx="841375" cy="839788"/>
            <a:chOff x="4822825" y="1539875"/>
            <a:chExt cx="841375" cy="839788"/>
          </a:xfrm>
        </p:grpSpPr>
        <p:sp>
          <p:nvSpPr>
            <p:cNvPr id="9" name="AutoShape 9">
              <a:extLst>
                <a:ext uri="{FF2B5EF4-FFF2-40B4-BE49-F238E27FC236}">
                  <a16:creationId xmlns:a16="http://schemas.microsoft.com/office/drawing/2014/main" id="{6F5CB139-9D5D-4CB1-99D1-26A8C7EF0D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22825" y="1539875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11">
              <a:extLst>
                <a:ext uri="{FF2B5EF4-FFF2-40B4-BE49-F238E27FC236}">
                  <a16:creationId xmlns:a16="http://schemas.microsoft.com/office/drawing/2014/main" id="{D24DCBB6-D5D2-4AC8-8501-115C704EA0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825" y="1539875"/>
              <a:ext cx="841375" cy="83978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E47438B1-01A1-4277-9EE0-42F1E4455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6163" y="1573213"/>
              <a:ext cx="774700" cy="77470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1" name="Freeform 13">
              <a:extLst>
                <a:ext uri="{FF2B5EF4-FFF2-40B4-BE49-F238E27FC236}">
                  <a16:creationId xmlns:a16="http://schemas.microsoft.com/office/drawing/2014/main" id="{22E004DC-A3CE-41B8-AC7F-18703392E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7313" y="1760538"/>
              <a:ext cx="76200" cy="76200"/>
            </a:xfrm>
            <a:custGeom>
              <a:avLst/>
              <a:gdLst>
                <a:gd name="T0" fmla="*/ 72 w 143"/>
                <a:gd name="T1" fmla="*/ 144 h 144"/>
                <a:gd name="T2" fmla="*/ 143 w 143"/>
                <a:gd name="T3" fmla="*/ 72 h 144"/>
                <a:gd name="T4" fmla="*/ 72 w 143"/>
                <a:gd name="T5" fmla="*/ 0 h 144"/>
                <a:gd name="T6" fmla="*/ 0 w 143"/>
                <a:gd name="T7" fmla="*/ 72 h 144"/>
                <a:gd name="T8" fmla="*/ 72 w 143"/>
                <a:gd name="T9" fmla="*/ 144 h 144"/>
                <a:gd name="T10" fmla="*/ 72 w 143"/>
                <a:gd name="T11" fmla="*/ 22 h 144"/>
                <a:gd name="T12" fmla="*/ 121 w 143"/>
                <a:gd name="T13" fmla="*/ 72 h 144"/>
                <a:gd name="T14" fmla="*/ 72 w 143"/>
                <a:gd name="T15" fmla="*/ 122 h 144"/>
                <a:gd name="T16" fmla="*/ 22 w 143"/>
                <a:gd name="T17" fmla="*/ 72 h 144"/>
                <a:gd name="T18" fmla="*/ 72 w 143"/>
                <a:gd name="T19" fmla="*/ 2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44">
                  <a:moveTo>
                    <a:pt x="72" y="144"/>
                  </a:moveTo>
                  <a:cubicBezTo>
                    <a:pt x="111" y="144"/>
                    <a:pt x="143" y="111"/>
                    <a:pt x="143" y="72"/>
                  </a:cubicBezTo>
                  <a:cubicBezTo>
                    <a:pt x="143" y="32"/>
                    <a:pt x="111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111"/>
                    <a:pt x="32" y="144"/>
                    <a:pt x="72" y="144"/>
                  </a:cubicBezTo>
                  <a:close/>
                  <a:moveTo>
                    <a:pt x="72" y="22"/>
                  </a:moveTo>
                  <a:cubicBezTo>
                    <a:pt x="99" y="22"/>
                    <a:pt x="121" y="44"/>
                    <a:pt x="121" y="72"/>
                  </a:cubicBezTo>
                  <a:cubicBezTo>
                    <a:pt x="121" y="99"/>
                    <a:pt x="99" y="122"/>
                    <a:pt x="72" y="122"/>
                  </a:cubicBezTo>
                  <a:cubicBezTo>
                    <a:pt x="44" y="122"/>
                    <a:pt x="22" y="99"/>
                    <a:pt x="22" y="72"/>
                  </a:cubicBezTo>
                  <a:cubicBezTo>
                    <a:pt x="22" y="44"/>
                    <a:pt x="44" y="22"/>
                    <a:pt x="7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2" name="Freeform 14">
              <a:extLst>
                <a:ext uri="{FF2B5EF4-FFF2-40B4-BE49-F238E27FC236}">
                  <a16:creationId xmlns:a16="http://schemas.microsoft.com/office/drawing/2014/main" id="{71835F11-9EFC-49D8-ACBD-24C20FC874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9050" y="1746250"/>
              <a:ext cx="358775" cy="484188"/>
            </a:xfrm>
            <a:custGeom>
              <a:avLst/>
              <a:gdLst>
                <a:gd name="T0" fmla="*/ 545 w 681"/>
                <a:gd name="T1" fmla="*/ 32 h 922"/>
                <a:gd name="T2" fmla="*/ 544 w 681"/>
                <a:gd name="T3" fmla="*/ 61 h 922"/>
                <a:gd name="T4" fmla="*/ 446 w 681"/>
                <a:gd name="T5" fmla="*/ 297 h 922"/>
                <a:gd name="T6" fmla="*/ 422 w 681"/>
                <a:gd name="T7" fmla="*/ 301 h 922"/>
                <a:gd name="T8" fmla="*/ 269 w 681"/>
                <a:gd name="T9" fmla="*/ 301 h 922"/>
                <a:gd name="T10" fmla="*/ 207 w 681"/>
                <a:gd name="T11" fmla="*/ 206 h 922"/>
                <a:gd name="T12" fmla="*/ 105 w 681"/>
                <a:gd name="T13" fmla="*/ 176 h 922"/>
                <a:gd name="T14" fmla="*/ 12 w 681"/>
                <a:gd name="T15" fmla="*/ 422 h 922"/>
                <a:gd name="T16" fmla="*/ 13 w 681"/>
                <a:gd name="T17" fmla="*/ 492 h 922"/>
                <a:gd name="T18" fmla="*/ 135 w 681"/>
                <a:gd name="T19" fmla="*/ 885 h 922"/>
                <a:gd name="T20" fmla="*/ 232 w 681"/>
                <a:gd name="T21" fmla="*/ 887 h 922"/>
                <a:gd name="T22" fmla="*/ 237 w 681"/>
                <a:gd name="T23" fmla="*/ 651 h 922"/>
                <a:gd name="T24" fmla="*/ 156 w 681"/>
                <a:gd name="T25" fmla="*/ 492 h 922"/>
                <a:gd name="T26" fmla="*/ 338 w 681"/>
                <a:gd name="T27" fmla="*/ 430 h 922"/>
                <a:gd name="T28" fmla="*/ 453 w 681"/>
                <a:gd name="T29" fmla="*/ 338 h 922"/>
                <a:gd name="T30" fmla="*/ 461 w 681"/>
                <a:gd name="T31" fmla="*/ 313 h 922"/>
                <a:gd name="T32" fmla="*/ 636 w 681"/>
                <a:gd name="T33" fmla="*/ 122 h 922"/>
                <a:gd name="T34" fmla="*/ 591 w 681"/>
                <a:gd name="T35" fmla="*/ 1 h 922"/>
                <a:gd name="T36" fmla="*/ 438 w 681"/>
                <a:gd name="T37" fmla="*/ 321 h 922"/>
                <a:gd name="T38" fmla="*/ 203 w 681"/>
                <a:gd name="T39" fmla="*/ 307 h 922"/>
                <a:gd name="T40" fmla="*/ 186 w 681"/>
                <a:gd name="T41" fmla="*/ 313 h 922"/>
                <a:gd name="T42" fmla="*/ 134 w 681"/>
                <a:gd name="T43" fmla="*/ 498 h 922"/>
                <a:gd name="T44" fmla="*/ 211 w 681"/>
                <a:gd name="T45" fmla="*/ 883 h 922"/>
                <a:gd name="T46" fmla="*/ 184 w 681"/>
                <a:gd name="T47" fmla="*/ 900 h 922"/>
                <a:gd name="T48" fmla="*/ 157 w 681"/>
                <a:gd name="T49" fmla="*/ 693 h 922"/>
                <a:gd name="T50" fmla="*/ 32 w 681"/>
                <a:gd name="T51" fmla="*/ 482 h 922"/>
                <a:gd name="T52" fmla="*/ 33 w 681"/>
                <a:gd name="T53" fmla="*/ 429 h 922"/>
                <a:gd name="T54" fmla="*/ 91 w 681"/>
                <a:gd name="T55" fmla="*/ 230 h 922"/>
                <a:gd name="T56" fmla="*/ 149 w 681"/>
                <a:gd name="T57" fmla="*/ 194 h 922"/>
                <a:gd name="T58" fmla="*/ 190 w 681"/>
                <a:gd name="T59" fmla="*/ 220 h 922"/>
                <a:gd name="T60" fmla="*/ 253 w 681"/>
                <a:gd name="T61" fmla="*/ 317 h 922"/>
                <a:gd name="T62" fmla="*/ 352 w 681"/>
                <a:gd name="T63" fmla="*/ 387 h 922"/>
                <a:gd name="T64" fmla="*/ 436 w 681"/>
                <a:gd name="T65" fmla="*/ 318 h 922"/>
                <a:gd name="T66" fmla="*/ 440 w 681"/>
                <a:gd name="T67" fmla="*/ 319 h 922"/>
                <a:gd name="T68" fmla="*/ 624 w 681"/>
                <a:gd name="T69" fmla="*/ 101 h 922"/>
                <a:gd name="T70" fmla="*/ 564 w 681"/>
                <a:gd name="T71" fmla="*/ 43 h 922"/>
                <a:gd name="T72" fmla="*/ 647 w 681"/>
                <a:gd name="T73" fmla="*/ 6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1" h="922">
                  <a:moveTo>
                    <a:pt x="591" y="1"/>
                  </a:moveTo>
                  <a:cubicBezTo>
                    <a:pt x="561" y="4"/>
                    <a:pt x="545" y="31"/>
                    <a:pt x="545" y="32"/>
                  </a:cubicBezTo>
                  <a:cubicBezTo>
                    <a:pt x="545" y="33"/>
                    <a:pt x="545" y="33"/>
                    <a:pt x="544" y="33"/>
                  </a:cubicBezTo>
                  <a:cubicBezTo>
                    <a:pt x="540" y="42"/>
                    <a:pt x="540" y="51"/>
                    <a:pt x="544" y="61"/>
                  </a:cubicBezTo>
                  <a:cubicBezTo>
                    <a:pt x="553" y="86"/>
                    <a:pt x="589" y="108"/>
                    <a:pt x="609" y="118"/>
                  </a:cubicBezTo>
                  <a:cubicBezTo>
                    <a:pt x="446" y="297"/>
                    <a:pt x="446" y="297"/>
                    <a:pt x="446" y="297"/>
                  </a:cubicBezTo>
                  <a:cubicBezTo>
                    <a:pt x="438" y="294"/>
                    <a:pt x="430" y="295"/>
                    <a:pt x="423" y="300"/>
                  </a:cubicBezTo>
                  <a:cubicBezTo>
                    <a:pt x="423" y="300"/>
                    <a:pt x="423" y="300"/>
                    <a:pt x="422" y="301"/>
                  </a:cubicBezTo>
                  <a:cubicBezTo>
                    <a:pt x="345" y="364"/>
                    <a:pt x="345" y="364"/>
                    <a:pt x="345" y="364"/>
                  </a:cubicBezTo>
                  <a:cubicBezTo>
                    <a:pt x="269" y="301"/>
                    <a:pt x="269" y="301"/>
                    <a:pt x="269" y="301"/>
                  </a:cubicBezTo>
                  <a:cubicBezTo>
                    <a:pt x="208" y="208"/>
                    <a:pt x="208" y="208"/>
                    <a:pt x="208" y="208"/>
                  </a:cubicBezTo>
                  <a:cubicBezTo>
                    <a:pt x="208" y="207"/>
                    <a:pt x="207" y="207"/>
                    <a:pt x="207" y="206"/>
                  </a:cubicBezTo>
                  <a:cubicBezTo>
                    <a:pt x="182" y="178"/>
                    <a:pt x="160" y="173"/>
                    <a:pt x="155" y="172"/>
                  </a:cubicBezTo>
                  <a:cubicBezTo>
                    <a:pt x="136" y="167"/>
                    <a:pt x="119" y="168"/>
                    <a:pt x="105" y="176"/>
                  </a:cubicBezTo>
                  <a:cubicBezTo>
                    <a:pt x="80" y="191"/>
                    <a:pt x="71" y="221"/>
                    <a:pt x="70" y="225"/>
                  </a:cubicBezTo>
                  <a:cubicBezTo>
                    <a:pt x="12" y="422"/>
                    <a:pt x="12" y="422"/>
                    <a:pt x="12" y="422"/>
                  </a:cubicBezTo>
                  <a:cubicBezTo>
                    <a:pt x="0" y="448"/>
                    <a:pt x="10" y="486"/>
                    <a:pt x="12" y="490"/>
                  </a:cubicBezTo>
                  <a:cubicBezTo>
                    <a:pt x="12" y="491"/>
                    <a:pt x="12" y="492"/>
                    <a:pt x="13" y="492"/>
                  </a:cubicBezTo>
                  <a:cubicBezTo>
                    <a:pt x="135" y="696"/>
                    <a:pt x="135" y="696"/>
                    <a:pt x="135" y="696"/>
                  </a:cubicBezTo>
                  <a:cubicBezTo>
                    <a:pt x="135" y="885"/>
                    <a:pt x="135" y="885"/>
                    <a:pt x="135" y="885"/>
                  </a:cubicBezTo>
                  <a:cubicBezTo>
                    <a:pt x="135" y="906"/>
                    <a:pt x="157" y="922"/>
                    <a:pt x="184" y="922"/>
                  </a:cubicBezTo>
                  <a:cubicBezTo>
                    <a:pt x="210" y="922"/>
                    <a:pt x="231" y="907"/>
                    <a:pt x="232" y="887"/>
                  </a:cubicBezTo>
                  <a:cubicBezTo>
                    <a:pt x="233" y="886"/>
                    <a:pt x="233" y="886"/>
                    <a:pt x="233" y="885"/>
                  </a:cubicBezTo>
                  <a:cubicBezTo>
                    <a:pt x="237" y="651"/>
                    <a:pt x="237" y="651"/>
                    <a:pt x="237" y="651"/>
                  </a:cubicBezTo>
                  <a:cubicBezTo>
                    <a:pt x="237" y="649"/>
                    <a:pt x="236" y="647"/>
                    <a:pt x="235" y="646"/>
                  </a:cubicBezTo>
                  <a:cubicBezTo>
                    <a:pt x="156" y="492"/>
                    <a:pt x="156" y="492"/>
                    <a:pt x="156" y="492"/>
                  </a:cubicBezTo>
                  <a:cubicBezTo>
                    <a:pt x="203" y="334"/>
                    <a:pt x="203" y="334"/>
                    <a:pt x="203" y="334"/>
                  </a:cubicBezTo>
                  <a:cubicBezTo>
                    <a:pt x="338" y="430"/>
                    <a:pt x="338" y="430"/>
                    <a:pt x="338" y="430"/>
                  </a:cubicBezTo>
                  <a:cubicBezTo>
                    <a:pt x="342" y="432"/>
                    <a:pt x="348" y="432"/>
                    <a:pt x="352" y="429"/>
                  </a:cubicBezTo>
                  <a:cubicBezTo>
                    <a:pt x="453" y="338"/>
                    <a:pt x="453" y="338"/>
                    <a:pt x="453" y="338"/>
                  </a:cubicBezTo>
                  <a:cubicBezTo>
                    <a:pt x="458" y="333"/>
                    <a:pt x="461" y="328"/>
                    <a:pt x="461" y="322"/>
                  </a:cubicBezTo>
                  <a:cubicBezTo>
                    <a:pt x="462" y="319"/>
                    <a:pt x="461" y="316"/>
                    <a:pt x="461" y="313"/>
                  </a:cubicBezTo>
                  <a:cubicBezTo>
                    <a:pt x="635" y="122"/>
                    <a:pt x="635" y="122"/>
                    <a:pt x="635" y="122"/>
                  </a:cubicBezTo>
                  <a:cubicBezTo>
                    <a:pt x="635" y="122"/>
                    <a:pt x="635" y="122"/>
                    <a:pt x="636" y="122"/>
                  </a:cubicBezTo>
                  <a:cubicBezTo>
                    <a:pt x="650" y="107"/>
                    <a:pt x="681" y="68"/>
                    <a:pt x="665" y="47"/>
                  </a:cubicBezTo>
                  <a:cubicBezTo>
                    <a:pt x="640" y="15"/>
                    <a:pt x="615" y="0"/>
                    <a:pt x="591" y="1"/>
                  </a:cubicBezTo>
                  <a:close/>
                  <a:moveTo>
                    <a:pt x="439" y="321"/>
                  </a:moveTo>
                  <a:cubicBezTo>
                    <a:pt x="439" y="321"/>
                    <a:pt x="439" y="321"/>
                    <a:pt x="438" y="321"/>
                  </a:cubicBezTo>
                  <a:cubicBezTo>
                    <a:pt x="344" y="406"/>
                    <a:pt x="344" y="406"/>
                    <a:pt x="344" y="406"/>
                  </a:cubicBezTo>
                  <a:cubicBezTo>
                    <a:pt x="203" y="307"/>
                    <a:pt x="203" y="307"/>
                    <a:pt x="203" y="307"/>
                  </a:cubicBezTo>
                  <a:cubicBezTo>
                    <a:pt x="200" y="305"/>
                    <a:pt x="196" y="304"/>
                    <a:pt x="193" y="305"/>
                  </a:cubicBezTo>
                  <a:cubicBezTo>
                    <a:pt x="189" y="307"/>
                    <a:pt x="187" y="309"/>
                    <a:pt x="186" y="313"/>
                  </a:cubicBezTo>
                  <a:cubicBezTo>
                    <a:pt x="134" y="490"/>
                    <a:pt x="134" y="490"/>
                    <a:pt x="134" y="490"/>
                  </a:cubicBezTo>
                  <a:cubicBezTo>
                    <a:pt x="133" y="493"/>
                    <a:pt x="133" y="496"/>
                    <a:pt x="134" y="498"/>
                  </a:cubicBezTo>
                  <a:cubicBezTo>
                    <a:pt x="214" y="653"/>
                    <a:pt x="214" y="653"/>
                    <a:pt x="214" y="653"/>
                  </a:cubicBezTo>
                  <a:cubicBezTo>
                    <a:pt x="211" y="883"/>
                    <a:pt x="211" y="883"/>
                    <a:pt x="211" y="883"/>
                  </a:cubicBezTo>
                  <a:cubicBezTo>
                    <a:pt x="211" y="884"/>
                    <a:pt x="211" y="884"/>
                    <a:pt x="211" y="885"/>
                  </a:cubicBezTo>
                  <a:cubicBezTo>
                    <a:pt x="211" y="892"/>
                    <a:pt x="200" y="900"/>
                    <a:pt x="184" y="900"/>
                  </a:cubicBezTo>
                  <a:cubicBezTo>
                    <a:pt x="168" y="900"/>
                    <a:pt x="157" y="892"/>
                    <a:pt x="157" y="885"/>
                  </a:cubicBezTo>
                  <a:cubicBezTo>
                    <a:pt x="157" y="693"/>
                    <a:pt x="157" y="693"/>
                    <a:pt x="157" y="693"/>
                  </a:cubicBezTo>
                  <a:cubicBezTo>
                    <a:pt x="157" y="691"/>
                    <a:pt x="157" y="689"/>
                    <a:pt x="156" y="687"/>
                  </a:cubicBezTo>
                  <a:cubicBezTo>
                    <a:pt x="32" y="482"/>
                    <a:pt x="32" y="482"/>
                    <a:pt x="32" y="482"/>
                  </a:cubicBezTo>
                  <a:cubicBezTo>
                    <a:pt x="29" y="472"/>
                    <a:pt x="25" y="446"/>
                    <a:pt x="32" y="431"/>
                  </a:cubicBezTo>
                  <a:cubicBezTo>
                    <a:pt x="32" y="430"/>
                    <a:pt x="32" y="430"/>
                    <a:pt x="33" y="429"/>
                  </a:cubicBezTo>
                  <a:cubicBezTo>
                    <a:pt x="91" y="231"/>
                    <a:pt x="91" y="231"/>
                    <a:pt x="91" y="231"/>
                  </a:cubicBezTo>
                  <a:cubicBezTo>
                    <a:pt x="91" y="231"/>
                    <a:pt x="91" y="231"/>
                    <a:pt x="91" y="230"/>
                  </a:cubicBezTo>
                  <a:cubicBezTo>
                    <a:pt x="91" y="230"/>
                    <a:pt x="98" y="206"/>
                    <a:pt x="116" y="196"/>
                  </a:cubicBezTo>
                  <a:cubicBezTo>
                    <a:pt x="125" y="190"/>
                    <a:pt x="136" y="190"/>
                    <a:pt x="149" y="194"/>
                  </a:cubicBezTo>
                  <a:cubicBezTo>
                    <a:pt x="150" y="194"/>
                    <a:pt x="151" y="194"/>
                    <a:pt x="151" y="194"/>
                  </a:cubicBezTo>
                  <a:cubicBezTo>
                    <a:pt x="151" y="194"/>
                    <a:pt x="169" y="196"/>
                    <a:pt x="190" y="220"/>
                  </a:cubicBezTo>
                  <a:cubicBezTo>
                    <a:pt x="251" y="315"/>
                    <a:pt x="251" y="315"/>
                    <a:pt x="251" y="315"/>
                  </a:cubicBezTo>
                  <a:cubicBezTo>
                    <a:pt x="252" y="316"/>
                    <a:pt x="252" y="317"/>
                    <a:pt x="253" y="317"/>
                  </a:cubicBezTo>
                  <a:cubicBezTo>
                    <a:pt x="338" y="387"/>
                    <a:pt x="338" y="387"/>
                    <a:pt x="338" y="387"/>
                  </a:cubicBezTo>
                  <a:cubicBezTo>
                    <a:pt x="342" y="390"/>
                    <a:pt x="348" y="390"/>
                    <a:pt x="352" y="387"/>
                  </a:cubicBezTo>
                  <a:cubicBezTo>
                    <a:pt x="436" y="318"/>
                    <a:pt x="436" y="318"/>
                    <a:pt x="436" y="318"/>
                  </a:cubicBezTo>
                  <a:cubicBezTo>
                    <a:pt x="436" y="318"/>
                    <a:pt x="436" y="318"/>
                    <a:pt x="436" y="318"/>
                  </a:cubicBezTo>
                  <a:cubicBezTo>
                    <a:pt x="437" y="317"/>
                    <a:pt x="438" y="317"/>
                    <a:pt x="439" y="318"/>
                  </a:cubicBezTo>
                  <a:cubicBezTo>
                    <a:pt x="440" y="318"/>
                    <a:pt x="440" y="319"/>
                    <a:pt x="440" y="319"/>
                  </a:cubicBezTo>
                  <a:cubicBezTo>
                    <a:pt x="440" y="320"/>
                    <a:pt x="439" y="320"/>
                    <a:pt x="439" y="321"/>
                  </a:cubicBezTo>
                  <a:close/>
                  <a:moveTo>
                    <a:pt x="624" y="101"/>
                  </a:moveTo>
                  <a:cubicBezTo>
                    <a:pt x="606" y="92"/>
                    <a:pt x="571" y="72"/>
                    <a:pt x="564" y="53"/>
                  </a:cubicBezTo>
                  <a:cubicBezTo>
                    <a:pt x="563" y="49"/>
                    <a:pt x="563" y="46"/>
                    <a:pt x="564" y="43"/>
                  </a:cubicBezTo>
                  <a:cubicBezTo>
                    <a:pt x="566" y="40"/>
                    <a:pt x="576" y="25"/>
                    <a:pt x="593" y="23"/>
                  </a:cubicBezTo>
                  <a:cubicBezTo>
                    <a:pt x="609" y="22"/>
                    <a:pt x="628" y="35"/>
                    <a:pt x="647" y="60"/>
                  </a:cubicBezTo>
                  <a:cubicBezTo>
                    <a:pt x="649" y="66"/>
                    <a:pt x="638" y="84"/>
                    <a:pt x="624" y="10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276">
            <a:extLst>
              <a:ext uri="{FF2B5EF4-FFF2-40B4-BE49-F238E27FC236}">
                <a16:creationId xmlns:a16="http://schemas.microsoft.com/office/drawing/2014/main" id="{FC3A179E-2A81-46D2-B41F-5C9705AAA046}"/>
              </a:ext>
            </a:extLst>
          </p:cNvPr>
          <p:cNvGrpSpPr/>
          <p:nvPr/>
        </p:nvGrpSpPr>
        <p:grpSpPr>
          <a:xfrm>
            <a:off x="3660775" y="1562100"/>
            <a:ext cx="768350" cy="768350"/>
            <a:chOff x="3660775" y="1562100"/>
            <a:chExt cx="768350" cy="768350"/>
          </a:xfrm>
        </p:grpSpPr>
        <p:sp>
          <p:nvSpPr>
            <p:cNvPr id="272" name="AutoShape 16">
              <a:extLst>
                <a:ext uri="{FF2B5EF4-FFF2-40B4-BE49-F238E27FC236}">
                  <a16:creationId xmlns:a16="http://schemas.microsoft.com/office/drawing/2014/main" id="{49DF5DB2-9C59-4F64-A108-0D4CCDE4967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0775" y="1562100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18">
              <a:extLst>
                <a:ext uri="{FF2B5EF4-FFF2-40B4-BE49-F238E27FC236}">
                  <a16:creationId xmlns:a16="http://schemas.microsoft.com/office/drawing/2014/main" id="{7201F47D-0EF4-4075-8551-00E55B8DB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0775" y="1562100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19">
              <a:extLst>
                <a:ext uri="{FF2B5EF4-FFF2-40B4-BE49-F238E27FC236}">
                  <a16:creationId xmlns:a16="http://schemas.microsoft.com/office/drawing/2014/main" id="{6CFF557B-511C-4743-BE15-4CD140E3E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9688" y="1704975"/>
              <a:ext cx="460375" cy="447675"/>
            </a:xfrm>
            <a:custGeom>
              <a:avLst/>
              <a:gdLst>
                <a:gd name="T0" fmla="*/ 668 w 885"/>
                <a:gd name="T1" fmla="*/ 266 h 858"/>
                <a:gd name="T2" fmla="*/ 661 w 885"/>
                <a:gd name="T3" fmla="*/ 291 h 858"/>
                <a:gd name="T4" fmla="*/ 177 w 885"/>
                <a:gd name="T5" fmla="*/ 151 h 858"/>
                <a:gd name="T6" fmla="*/ 233 w 885"/>
                <a:gd name="T7" fmla="*/ 62 h 858"/>
                <a:gd name="T8" fmla="*/ 241 w 885"/>
                <a:gd name="T9" fmla="*/ 53 h 858"/>
                <a:gd name="T10" fmla="*/ 165 w 885"/>
                <a:gd name="T11" fmla="*/ 0 h 858"/>
                <a:gd name="T12" fmla="*/ 159 w 885"/>
                <a:gd name="T13" fmla="*/ 7 h 858"/>
                <a:gd name="T14" fmla="*/ 69 w 885"/>
                <a:gd name="T15" fmla="*/ 358 h 858"/>
                <a:gd name="T16" fmla="*/ 69 w 885"/>
                <a:gd name="T17" fmla="*/ 362 h 858"/>
                <a:gd name="T18" fmla="*/ 69 w 885"/>
                <a:gd name="T19" fmla="*/ 635 h 858"/>
                <a:gd name="T20" fmla="*/ 0 w 885"/>
                <a:gd name="T21" fmla="*/ 635 h 858"/>
                <a:gd name="T22" fmla="*/ 0 w 885"/>
                <a:gd name="T23" fmla="*/ 835 h 858"/>
                <a:gd name="T24" fmla="*/ 162 w 885"/>
                <a:gd name="T25" fmla="*/ 835 h 858"/>
                <a:gd name="T26" fmla="*/ 162 w 885"/>
                <a:gd name="T27" fmla="*/ 635 h 858"/>
                <a:gd name="T28" fmla="*/ 91 w 885"/>
                <a:gd name="T29" fmla="*/ 635 h 858"/>
                <a:gd name="T30" fmla="*/ 91 w 885"/>
                <a:gd name="T31" fmla="*/ 365 h 858"/>
                <a:gd name="T32" fmla="*/ 107 w 885"/>
                <a:gd name="T33" fmla="*/ 362 h 858"/>
                <a:gd name="T34" fmla="*/ 158 w 885"/>
                <a:gd name="T35" fmla="*/ 350 h 858"/>
                <a:gd name="T36" fmla="*/ 156 w 885"/>
                <a:gd name="T37" fmla="*/ 340 h 858"/>
                <a:gd name="T38" fmla="*/ 155 w 885"/>
                <a:gd name="T39" fmla="*/ 222 h 858"/>
                <a:gd name="T40" fmla="*/ 404 w 885"/>
                <a:gd name="T41" fmla="*/ 295 h 858"/>
                <a:gd name="T42" fmla="*/ 179 w 885"/>
                <a:gd name="T43" fmla="*/ 831 h 858"/>
                <a:gd name="T44" fmla="*/ 250 w 885"/>
                <a:gd name="T45" fmla="*/ 857 h 858"/>
                <a:gd name="T46" fmla="*/ 335 w 885"/>
                <a:gd name="T47" fmla="*/ 650 h 858"/>
                <a:gd name="T48" fmla="*/ 626 w 885"/>
                <a:gd name="T49" fmla="*/ 773 h 858"/>
                <a:gd name="T50" fmla="*/ 664 w 885"/>
                <a:gd name="T51" fmla="*/ 858 h 858"/>
                <a:gd name="T52" fmla="*/ 727 w 885"/>
                <a:gd name="T53" fmla="*/ 827 h 858"/>
                <a:gd name="T54" fmla="*/ 515 w 885"/>
                <a:gd name="T55" fmla="*/ 325 h 858"/>
                <a:gd name="T56" fmla="*/ 640 w 885"/>
                <a:gd name="T57" fmla="*/ 361 h 858"/>
                <a:gd name="T58" fmla="*/ 631 w 885"/>
                <a:gd name="T59" fmla="*/ 396 h 858"/>
                <a:gd name="T60" fmla="*/ 839 w 885"/>
                <a:gd name="T61" fmla="*/ 476 h 858"/>
                <a:gd name="T62" fmla="*/ 885 w 885"/>
                <a:gd name="T63" fmla="*/ 305 h 858"/>
                <a:gd name="T64" fmla="*/ 668 w 885"/>
                <a:gd name="T65" fmla="*/ 266 h 858"/>
                <a:gd name="T66" fmla="*/ 140 w 885"/>
                <a:gd name="T67" fmla="*/ 657 h 858"/>
                <a:gd name="T68" fmla="*/ 140 w 885"/>
                <a:gd name="T69" fmla="*/ 813 h 858"/>
                <a:gd name="T70" fmla="*/ 22 w 885"/>
                <a:gd name="T71" fmla="*/ 813 h 858"/>
                <a:gd name="T72" fmla="*/ 22 w 885"/>
                <a:gd name="T73" fmla="*/ 657 h 858"/>
                <a:gd name="T74" fmla="*/ 140 w 885"/>
                <a:gd name="T75" fmla="*/ 657 h 858"/>
                <a:gd name="T76" fmla="*/ 824 w 885"/>
                <a:gd name="T77" fmla="*/ 447 h 858"/>
                <a:gd name="T78" fmla="*/ 657 w 885"/>
                <a:gd name="T79" fmla="*/ 382 h 858"/>
                <a:gd name="T80" fmla="*/ 666 w 885"/>
                <a:gd name="T81" fmla="*/ 345 h 858"/>
                <a:gd name="T82" fmla="*/ 477 w 885"/>
                <a:gd name="T83" fmla="*/ 291 h 858"/>
                <a:gd name="T84" fmla="*/ 699 w 885"/>
                <a:gd name="T85" fmla="*/ 816 h 858"/>
                <a:gd name="T86" fmla="*/ 674 w 885"/>
                <a:gd name="T87" fmla="*/ 828 h 858"/>
                <a:gd name="T88" fmla="*/ 642 w 885"/>
                <a:gd name="T89" fmla="*/ 756 h 858"/>
                <a:gd name="T90" fmla="*/ 323 w 885"/>
                <a:gd name="T91" fmla="*/ 621 h 858"/>
                <a:gd name="T92" fmla="*/ 237 w 885"/>
                <a:gd name="T93" fmla="*/ 829 h 858"/>
                <a:gd name="T94" fmla="*/ 209 w 885"/>
                <a:gd name="T95" fmla="*/ 818 h 858"/>
                <a:gd name="T96" fmla="*/ 433 w 885"/>
                <a:gd name="T97" fmla="*/ 280 h 858"/>
                <a:gd name="T98" fmla="*/ 136 w 885"/>
                <a:gd name="T99" fmla="*/ 193 h 858"/>
                <a:gd name="T100" fmla="*/ 135 w 885"/>
                <a:gd name="T101" fmla="*/ 206 h 858"/>
                <a:gd name="T102" fmla="*/ 133 w 885"/>
                <a:gd name="T103" fmla="*/ 333 h 858"/>
                <a:gd name="T104" fmla="*/ 103 w 885"/>
                <a:gd name="T105" fmla="*/ 340 h 858"/>
                <a:gd name="T106" fmla="*/ 88 w 885"/>
                <a:gd name="T107" fmla="*/ 343 h 858"/>
                <a:gd name="T108" fmla="*/ 169 w 885"/>
                <a:gd name="T109" fmla="*/ 29 h 858"/>
                <a:gd name="T110" fmla="*/ 209 w 885"/>
                <a:gd name="T111" fmla="*/ 57 h 858"/>
                <a:gd name="T112" fmla="*/ 152 w 885"/>
                <a:gd name="T113" fmla="*/ 154 h 858"/>
                <a:gd name="T114" fmla="*/ 148 w 885"/>
                <a:gd name="T115" fmla="*/ 165 h 858"/>
                <a:gd name="T116" fmla="*/ 675 w 885"/>
                <a:gd name="T117" fmla="*/ 318 h 858"/>
                <a:gd name="T118" fmla="*/ 683 w 885"/>
                <a:gd name="T119" fmla="*/ 291 h 858"/>
                <a:gd name="T120" fmla="*/ 857 w 885"/>
                <a:gd name="T121" fmla="*/ 322 h 858"/>
                <a:gd name="T122" fmla="*/ 824 w 885"/>
                <a:gd name="T123" fmla="*/ 447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5" h="858">
                  <a:moveTo>
                    <a:pt x="668" y="266"/>
                  </a:moveTo>
                  <a:cubicBezTo>
                    <a:pt x="661" y="291"/>
                    <a:pt x="661" y="291"/>
                    <a:pt x="661" y="291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99" y="102"/>
                    <a:pt x="232" y="63"/>
                    <a:pt x="233" y="62"/>
                  </a:cubicBezTo>
                  <a:cubicBezTo>
                    <a:pt x="241" y="53"/>
                    <a:pt x="241" y="53"/>
                    <a:pt x="241" y="53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33" y="149"/>
                    <a:pt x="65" y="337"/>
                    <a:pt x="69" y="358"/>
                  </a:cubicBezTo>
                  <a:cubicBezTo>
                    <a:pt x="69" y="362"/>
                    <a:pt x="69" y="362"/>
                    <a:pt x="69" y="362"/>
                  </a:cubicBezTo>
                  <a:cubicBezTo>
                    <a:pt x="69" y="635"/>
                    <a:pt x="69" y="635"/>
                    <a:pt x="69" y="635"/>
                  </a:cubicBezTo>
                  <a:cubicBezTo>
                    <a:pt x="0" y="635"/>
                    <a:pt x="0" y="635"/>
                    <a:pt x="0" y="635"/>
                  </a:cubicBezTo>
                  <a:cubicBezTo>
                    <a:pt x="0" y="835"/>
                    <a:pt x="0" y="835"/>
                    <a:pt x="0" y="835"/>
                  </a:cubicBezTo>
                  <a:cubicBezTo>
                    <a:pt x="162" y="835"/>
                    <a:pt x="162" y="835"/>
                    <a:pt x="162" y="835"/>
                  </a:cubicBezTo>
                  <a:cubicBezTo>
                    <a:pt x="162" y="635"/>
                    <a:pt x="162" y="635"/>
                    <a:pt x="162" y="635"/>
                  </a:cubicBezTo>
                  <a:cubicBezTo>
                    <a:pt x="91" y="635"/>
                    <a:pt x="91" y="635"/>
                    <a:pt x="91" y="635"/>
                  </a:cubicBezTo>
                  <a:cubicBezTo>
                    <a:pt x="91" y="365"/>
                    <a:pt x="91" y="365"/>
                    <a:pt x="91" y="365"/>
                  </a:cubicBezTo>
                  <a:cubicBezTo>
                    <a:pt x="107" y="362"/>
                    <a:pt x="107" y="362"/>
                    <a:pt x="107" y="362"/>
                  </a:cubicBezTo>
                  <a:cubicBezTo>
                    <a:pt x="158" y="350"/>
                    <a:pt x="158" y="350"/>
                    <a:pt x="158" y="350"/>
                  </a:cubicBezTo>
                  <a:cubicBezTo>
                    <a:pt x="156" y="340"/>
                    <a:pt x="156" y="340"/>
                    <a:pt x="156" y="340"/>
                  </a:cubicBezTo>
                  <a:cubicBezTo>
                    <a:pt x="149" y="304"/>
                    <a:pt x="153" y="247"/>
                    <a:pt x="155" y="222"/>
                  </a:cubicBezTo>
                  <a:cubicBezTo>
                    <a:pt x="404" y="295"/>
                    <a:pt x="404" y="295"/>
                    <a:pt x="404" y="295"/>
                  </a:cubicBezTo>
                  <a:cubicBezTo>
                    <a:pt x="179" y="831"/>
                    <a:pt x="179" y="831"/>
                    <a:pt x="179" y="831"/>
                  </a:cubicBezTo>
                  <a:cubicBezTo>
                    <a:pt x="250" y="857"/>
                    <a:pt x="250" y="857"/>
                    <a:pt x="250" y="857"/>
                  </a:cubicBezTo>
                  <a:cubicBezTo>
                    <a:pt x="335" y="650"/>
                    <a:pt x="335" y="650"/>
                    <a:pt x="335" y="650"/>
                  </a:cubicBezTo>
                  <a:cubicBezTo>
                    <a:pt x="626" y="773"/>
                    <a:pt x="626" y="773"/>
                    <a:pt x="626" y="773"/>
                  </a:cubicBezTo>
                  <a:cubicBezTo>
                    <a:pt x="664" y="858"/>
                    <a:pt x="664" y="858"/>
                    <a:pt x="664" y="858"/>
                  </a:cubicBezTo>
                  <a:cubicBezTo>
                    <a:pt x="727" y="827"/>
                    <a:pt x="727" y="827"/>
                    <a:pt x="727" y="827"/>
                  </a:cubicBezTo>
                  <a:cubicBezTo>
                    <a:pt x="515" y="325"/>
                    <a:pt x="515" y="325"/>
                    <a:pt x="515" y="325"/>
                  </a:cubicBezTo>
                  <a:cubicBezTo>
                    <a:pt x="640" y="361"/>
                    <a:pt x="640" y="361"/>
                    <a:pt x="640" y="361"/>
                  </a:cubicBezTo>
                  <a:cubicBezTo>
                    <a:pt x="631" y="396"/>
                    <a:pt x="631" y="396"/>
                    <a:pt x="631" y="396"/>
                  </a:cubicBezTo>
                  <a:cubicBezTo>
                    <a:pt x="839" y="476"/>
                    <a:pt x="839" y="476"/>
                    <a:pt x="839" y="476"/>
                  </a:cubicBezTo>
                  <a:cubicBezTo>
                    <a:pt x="885" y="305"/>
                    <a:pt x="885" y="305"/>
                    <a:pt x="885" y="305"/>
                  </a:cubicBezTo>
                  <a:lnTo>
                    <a:pt x="668" y="266"/>
                  </a:lnTo>
                  <a:close/>
                  <a:moveTo>
                    <a:pt x="140" y="657"/>
                  </a:moveTo>
                  <a:cubicBezTo>
                    <a:pt x="140" y="813"/>
                    <a:pt x="140" y="813"/>
                    <a:pt x="140" y="813"/>
                  </a:cubicBezTo>
                  <a:cubicBezTo>
                    <a:pt x="22" y="813"/>
                    <a:pt x="22" y="813"/>
                    <a:pt x="22" y="813"/>
                  </a:cubicBezTo>
                  <a:cubicBezTo>
                    <a:pt x="22" y="657"/>
                    <a:pt x="22" y="657"/>
                    <a:pt x="22" y="657"/>
                  </a:cubicBezTo>
                  <a:lnTo>
                    <a:pt x="140" y="657"/>
                  </a:lnTo>
                  <a:close/>
                  <a:moveTo>
                    <a:pt x="824" y="447"/>
                  </a:moveTo>
                  <a:cubicBezTo>
                    <a:pt x="657" y="382"/>
                    <a:pt x="657" y="382"/>
                    <a:pt x="657" y="382"/>
                  </a:cubicBezTo>
                  <a:cubicBezTo>
                    <a:pt x="666" y="345"/>
                    <a:pt x="666" y="345"/>
                    <a:pt x="666" y="345"/>
                  </a:cubicBezTo>
                  <a:cubicBezTo>
                    <a:pt x="477" y="291"/>
                    <a:pt x="477" y="291"/>
                    <a:pt x="477" y="291"/>
                  </a:cubicBezTo>
                  <a:cubicBezTo>
                    <a:pt x="699" y="816"/>
                    <a:pt x="699" y="816"/>
                    <a:pt x="699" y="816"/>
                  </a:cubicBezTo>
                  <a:cubicBezTo>
                    <a:pt x="674" y="828"/>
                    <a:pt x="674" y="828"/>
                    <a:pt x="674" y="828"/>
                  </a:cubicBezTo>
                  <a:cubicBezTo>
                    <a:pt x="642" y="756"/>
                    <a:pt x="642" y="756"/>
                    <a:pt x="642" y="756"/>
                  </a:cubicBezTo>
                  <a:cubicBezTo>
                    <a:pt x="323" y="621"/>
                    <a:pt x="323" y="621"/>
                    <a:pt x="323" y="621"/>
                  </a:cubicBezTo>
                  <a:cubicBezTo>
                    <a:pt x="237" y="829"/>
                    <a:pt x="237" y="829"/>
                    <a:pt x="237" y="829"/>
                  </a:cubicBezTo>
                  <a:cubicBezTo>
                    <a:pt x="209" y="818"/>
                    <a:pt x="209" y="818"/>
                    <a:pt x="209" y="818"/>
                  </a:cubicBezTo>
                  <a:cubicBezTo>
                    <a:pt x="433" y="280"/>
                    <a:pt x="433" y="280"/>
                    <a:pt x="433" y="280"/>
                  </a:cubicBezTo>
                  <a:cubicBezTo>
                    <a:pt x="136" y="193"/>
                    <a:pt x="136" y="193"/>
                    <a:pt x="136" y="193"/>
                  </a:cubicBezTo>
                  <a:cubicBezTo>
                    <a:pt x="135" y="206"/>
                    <a:pt x="135" y="206"/>
                    <a:pt x="135" y="206"/>
                  </a:cubicBezTo>
                  <a:cubicBezTo>
                    <a:pt x="134" y="210"/>
                    <a:pt x="126" y="283"/>
                    <a:pt x="133" y="333"/>
                  </a:cubicBezTo>
                  <a:cubicBezTo>
                    <a:pt x="103" y="340"/>
                    <a:pt x="103" y="340"/>
                    <a:pt x="103" y="340"/>
                  </a:cubicBezTo>
                  <a:cubicBezTo>
                    <a:pt x="88" y="343"/>
                    <a:pt x="88" y="343"/>
                    <a:pt x="88" y="343"/>
                  </a:cubicBezTo>
                  <a:cubicBezTo>
                    <a:pt x="82" y="299"/>
                    <a:pt x="69" y="148"/>
                    <a:pt x="169" y="29"/>
                  </a:cubicBezTo>
                  <a:cubicBezTo>
                    <a:pt x="209" y="57"/>
                    <a:pt x="209" y="57"/>
                    <a:pt x="209" y="57"/>
                  </a:cubicBezTo>
                  <a:cubicBezTo>
                    <a:pt x="196" y="74"/>
                    <a:pt x="169" y="111"/>
                    <a:pt x="152" y="154"/>
                  </a:cubicBezTo>
                  <a:cubicBezTo>
                    <a:pt x="148" y="165"/>
                    <a:pt x="148" y="165"/>
                    <a:pt x="148" y="165"/>
                  </a:cubicBezTo>
                  <a:cubicBezTo>
                    <a:pt x="675" y="318"/>
                    <a:pt x="675" y="318"/>
                    <a:pt x="675" y="318"/>
                  </a:cubicBezTo>
                  <a:cubicBezTo>
                    <a:pt x="683" y="291"/>
                    <a:pt x="683" y="291"/>
                    <a:pt x="683" y="291"/>
                  </a:cubicBezTo>
                  <a:cubicBezTo>
                    <a:pt x="857" y="322"/>
                    <a:pt x="857" y="322"/>
                    <a:pt x="857" y="322"/>
                  </a:cubicBezTo>
                  <a:lnTo>
                    <a:pt x="824" y="4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0">
              <a:extLst>
                <a:ext uri="{FF2B5EF4-FFF2-40B4-BE49-F238E27FC236}">
                  <a16:creationId xmlns:a16="http://schemas.microsoft.com/office/drawing/2014/main" id="{CAA690E2-5475-4D53-8366-F48122B16D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7488" y="1865313"/>
              <a:ext cx="98425" cy="136525"/>
            </a:xfrm>
            <a:custGeom>
              <a:avLst/>
              <a:gdLst>
                <a:gd name="T0" fmla="*/ 0 w 62"/>
                <a:gd name="T1" fmla="*/ 86 h 86"/>
                <a:gd name="T2" fmla="*/ 62 w 62"/>
                <a:gd name="T3" fmla="*/ 62 h 86"/>
                <a:gd name="T4" fmla="*/ 37 w 62"/>
                <a:gd name="T5" fmla="*/ 0 h 86"/>
                <a:gd name="T6" fmla="*/ 0 w 62"/>
                <a:gd name="T7" fmla="*/ 86 h 86"/>
                <a:gd name="T8" fmla="*/ 14 w 62"/>
                <a:gd name="T9" fmla="*/ 73 h 86"/>
                <a:gd name="T10" fmla="*/ 37 w 62"/>
                <a:gd name="T11" fmla="*/ 19 h 86"/>
                <a:gd name="T12" fmla="*/ 53 w 62"/>
                <a:gd name="T13" fmla="*/ 58 h 86"/>
                <a:gd name="T14" fmla="*/ 14 w 62"/>
                <a:gd name="T15" fmla="*/ 7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86">
                  <a:moveTo>
                    <a:pt x="0" y="86"/>
                  </a:moveTo>
                  <a:lnTo>
                    <a:pt x="62" y="62"/>
                  </a:lnTo>
                  <a:lnTo>
                    <a:pt x="37" y="0"/>
                  </a:lnTo>
                  <a:lnTo>
                    <a:pt x="0" y="86"/>
                  </a:lnTo>
                  <a:close/>
                  <a:moveTo>
                    <a:pt x="14" y="73"/>
                  </a:moveTo>
                  <a:lnTo>
                    <a:pt x="37" y="19"/>
                  </a:lnTo>
                  <a:lnTo>
                    <a:pt x="53" y="58"/>
                  </a:lnTo>
                  <a:lnTo>
                    <a:pt x="14" y="7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1">
              <a:extLst>
                <a:ext uri="{FF2B5EF4-FFF2-40B4-BE49-F238E27FC236}">
                  <a16:creationId xmlns:a16="http://schemas.microsoft.com/office/drawing/2014/main" id="{F5C3D586-27CA-4260-A8DF-331031E2C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0663" y="1978025"/>
              <a:ext cx="146050" cy="101600"/>
            </a:xfrm>
            <a:custGeom>
              <a:avLst/>
              <a:gdLst>
                <a:gd name="T0" fmla="*/ 92 w 92"/>
                <a:gd name="T1" fmla="*/ 64 h 64"/>
                <a:gd name="T2" fmla="*/ 64 w 92"/>
                <a:gd name="T3" fmla="*/ 0 h 64"/>
                <a:gd name="T4" fmla="*/ 0 w 92"/>
                <a:gd name="T5" fmla="*/ 26 h 64"/>
                <a:gd name="T6" fmla="*/ 92 w 92"/>
                <a:gd name="T7" fmla="*/ 64 h 64"/>
                <a:gd name="T8" fmla="*/ 78 w 92"/>
                <a:gd name="T9" fmla="*/ 50 h 64"/>
                <a:gd name="T10" fmla="*/ 19 w 92"/>
                <a:gd name="T11" fmla="*/ 26 h 64"/>
                <a:gd name="T12" fmla="*/ 60 w 92"/>
                <a:gd name="T13" fmla="*/ 10 h 64"/>
                <a:gd name="T14" fmla="*/ 78 w 92"/>
                <a:gd name="T15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4">
                  <a:moveTo>
                    <a:pt x="92" y="64"/>
                  </a:moveTo>
                  <a:lnTo>
                    <a:pt x="64" y="0"/>
                  </a:lnTo>
                  <a:lnTo>
                    <a:pt x="0" y="26"/>
                  </a:lnTo>
                  <a:lnTo>
                    <a:pt x="92" y="64"/>
                  </a:lnTo>
                  <a:close/>
                  <a:moveTo>
                    <a:pt x="78" y="50"/>
                  </a:moveTo>
                  <a:lnTo>
                    <a:pt x="19" y="26"/>
                  </a:lnTo>
                  <a:lnTo>
                    <a:pt x="60" y="10"/>
                  </a:lnTo>
                  <a:lnTo>
                    <a:pt x="78" y="5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B02F590A-6F16-4BE6-A6A2-5AB44786FFCB}"/>
              </a:ext>
            </a:extLst>
          </p:cNvPr>
          <p:cNvGrpSpPr/>
          <p:nvPr/>
        </p:nvGrpSpPr>
        <p:grpSpPr>
          <a:xfrm>
            <a:off x="2630488" y="1554163"/>
            <a:ext cx="841375" cy="838200"/>
            <a:chOff x="2630488" y="1554163"/>
            <a:chExt cx="841375" cy="838200"/>
          </a:xfrm>
        </p:grpSpPr>
        <p:sp>
          <p:nvSpPr>
            <p:cNvPr id="279" name="AutoShape 23">
              <a:extLst>
                <a:ext uri="{FF2B5EF4-FFF2-40B4-BE49-F238E27FC236}">
                  <a16:creationId xmlns:a16="http://schemas.microsoft.com/office/drawing/2014/main" id="{EE815AAB-D323-41BA-9164-F8E208F34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30488" y="1554163"/>
              <a:ext cx="841375" cy="83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25">
              <a:extLst>
                <a:ext uri="{FF2B5EF4-FFF2-40B4-BE49-F238E27FC236}">
                  <a16:creationId xmlns:a16="http://schemas.microsoft.com/office/drawing/2014/main" id="{4FE0813E-D735-49A4-B390-C363CEF2FA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0488" y="1554163"/>
              <a:ext cx="841375" cy="83820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6">
              <a:extLst>
                <a:ext uri="{FF2B5EF4-FFF2-40B4-BE49-F238E27FC236}">
                  <a16:creationId xmlns:a16="http://schemas.microsoft.com/office/drawing/2014/main" id="{01D7F654-2E4A-4920-8ADF-BA99706C3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3826" y="1587501"/>
              <a:ext cx="774700" cy="773113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7">
              <a:extLst>
                <a:ext uri="{FF2B5EF4-FFF2-40B4-BE49-F238E27FC236}">
                  <a16:creationId xmlns:a16="http://schemas.microsoft.com/office/drawing/2014/main" id="{CA954E45-FBEC-4B28-9988-BB5752262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4326" y="1731963"/>
              <a:ext cx="463550" cy="449263"/>
            </a:xfrm>
            <a:custGeom>
              <a:avLst/>
              <a:gdLst>
                <a:gd name="T0" fmla="*/ 668 w 885"/>
                <a:gd name="T1" fmla="*/ 266 h 858"/>
                <a:gd name="T2" fmla="*/ 661 w 885"/>
                <a:gd name="T3" fmla="*/ 291 h 858"/>
                <a:gd name="T4" fmla="*/ 177 w 885"/>
                <a:gd name="T5" fmla="*/ 151 h 858"/>
                <a:gd name="T6" fmla="*/ 233 w 885"/>
                <a:gd name="T7" fmla="*/ 62 h 858"/>
                <a:gd name="T8" fmla="*/ 241 w 885"/>
                <a:gd name="T9" fmla="*/ 53 h 858"/>
                <a:gd name="T10" fmla="*/ 165 w 885"/>
                <a:gd name="T11" fmla="*/ 0 h 858"/>
                <a:gd name="T12" fmla="*/ 159 w 885"/>
                <a:gd name="T13" fmla="*/ 7 h 858"/>
                <a:gd name="T14" fmla="*/ 69 w 885"/>
                <a:gd name="T15" fmla="*/ 358 h 858"/>
                <a:gd name="T16" fmla="*/ 69 w 885"/>
                <a:gd name="T17" fmla="*/ 362 h 858"/>
                <a:gd name="T18" fmla="*/ 69 w 885"/>
                <a:gd name="T19" fmla="*/ 635 h 858"/>
                <a:gd name="T20" fmla="*/ 0 w 885"/>
                <a:gd name="T21" fmla="*/ 635 h 858"/>
                <a:gd name="T22" fmla="*/ 0 w 885"/>
                <a:gd name="T23" fmla="*/ 835 h 858"/>
                <a:gd name="T24" fmla="*/ 162 w 885"/>
                <a:gd name="T25" fmla="*/ 835 h 858"/>
                <a:gd name="T26" fmla="*/ 162 w 885"/>
                <a:gd name="T27" fmla="*/ 635 h 858"/>
                <a:gd name="T28" fmla="*/ 91 w 885"/>
                <a:gd name="T29" fmla="*/ 635 h 858"/>
                <a:gd name="T30" fmla="*/ 91 w 885"/>
                <a:gd name="T31" fmla="*/ 365 h 858"/>
                <a:gd name="T32" fmla="*/ 107 w 885"/>
                <a:gd name="T33" fmla="*/ 362 h 858"/>
                <a:gd name="T34" fmla="*/ 158 w 885"/>
                <a:gd name="T35" fmla="*/ 350 h 858"/>
                <a:gd name="T36" fmla="*/ 156 w 885"/>
                <a:gd name="T37" fmla="*/ 340 h 858"/>
                <a:gd name="T38" fmla="*/ 155 w 885"/>
                <a:gd name="T39" fmla="*/ 222 h 858"/>
                <a:gd name="T40" fmla="*/ 404 w 885"/>
                <a:gd name="T41" fmla="*/ 295 h 858"/>
                <a:gd name="T42" fmla="*/ 179 w 885"/>
                <a:gd name="T43" fmla="*/ 831 h 858"/>
                <a:gd name="T44" fmla="*/ 250 w 885"/>
                <a:gd name="T45" fmla="*/ 857 h 858"/>
                <a:gd name="T46" fmla="*/ 335 w 885"/>
                <a:gd name="T47" fmla="*/ 650 h 858"/>
                <a:gd name="T48" fmla="*/ 626 w 885"/>
                <a:gd name="T49" fmla="*/ 773 h 858"/>
                <a:gd name="T50" fmla="*/ 664 w 885"/>
                <a:gd name="T51" fmla="*/ 858 h 858"/>
                <a:gd name="T52" fmla="*/ 727 w 885"/>
                <a:gd name="T53" fmla="*/ 827 h 858"/>
                <a:gd name="T54" fmla="*/ 515 w 885"/>
                <a:gd name="T55" fmla="*/ 325 h 858"/>
                <a:gd name="T56" fmla="*/ 640 w 885"/>
                <a:gd name="T57" fmla="*/ 361 h 858"/>
                <a:gd name="T58" fmla="*/ 631 w 885"/>
                <a:gd name="T59" fmla="*/ 396 h 858"/>
                <a:gd name="T60" fmla="*/ 839 w 885"/>
                <a:gd name="T61" fmla="*/ 476 h 858"/>
                <a:gd name="T62" fmla="*/ 885 w 885"/>
                <a:gd name="T63" fmla="*/ 305 h 858"/>
                <a:gd name="T64" fmla="*/ 668 w 885"/>
                <a:gd name="T65" fmla="*/ 266 h 858"/>
                <a:gd name="T66" fmla="*/ 140 w 885"/>
                <a:gd name="T67" fmla="*/ 657 h 858"/>
                <a:gd name="T68" fmla="*/ 140 w 885"/>
                <a:gd name="T69" fmla="*/ 813 h 858"/>
                <a:gd name="T70" fmla="*/ 22 w 885"/>
                <a:gd name="T71" fmla="*/ 813 h 858"/>
                <a:gd name="T72" fmla="*/ 22 w 885"/>
                <a:gd name="T73" fmla="*/ 657 h 858"/>
                <a:gd name="T74" fmla="*/ 140 w 885"/>
                <a:gd name="T75" fmla="*/ 657 h 858"/>
                <a:gd name="T76" fmla="*/ 824 w 885"/>
                <a:gd name="T77" fmla="*/ 447 h 858"/>
                <a:gd name="T78" fmla="*/ 657 w 885"/>
                <a:gd name="T79" fmla="*/ 382 h 858"/>
                <a:gd name="T80" fmla="*/ 666 w 885"/>
                <a:gd name="T81" fmla="*/ 345 h 858"/>
                <a:gd name="T82" fmla="*/ 477 w 885"/>
                <a:gd name="T83" fmla="*/ 291 h 858"/>
                <a:gd name="T84" fmla="*/ 699 w 885"/>
                <a:gd name="T85" fmla="*/ 816 h 858"/>
                <a:gd name="T86" fmla="*/ 674 w 885"/>
                <a:gd name="T87" fmla="*/ 828 h 858"/>
                <a:gd name="T88" fmla="*/ 642 w 885"/>
                <a:gd name="T89" fmla="*/ 756 h 858"/>
                <a:gd name="T90" fmla="*/ 323 w 885"/>
                <a:gd name="T91" fmla="*/ 621 h 858"/>
                <a:gd name="T92" fmla="*/ 237 w 885"/>
                <a:gd name="T93" fmla="*/ 829 h 858"/>
                <a:gd name="T94" fmla="*/ 209 w 885"/>
                <a:gd name="T95" fmla="*/ 818 h 858"/>
                <a:gd name="T96" fmla="*/ 433 w 885"/>
                <a:gd name="T97" fmla="*/ 280 h 858"/>
                <a:gd name="T98" fmla="*/ 136 w 885"/>
                <a:gd name="T99" fmla="*/ 193 h 858"/>
                <a:gd name="T100" fmla="*/ 135 w 885"/>
                <a:gd name="T101" fmla="*/ 206 h 858"/>
                <a:gd name="T102" fmla="*/ 133 w 885"/>
                <a:gd name="T103" fmla="*/ 333 h 858"/>
                <a:gd name="T104" fmla="*/ 103 w 885"/>
                <a:gd name="T105" fmla="*/ 340 h 858"/>
                <a:gd name="T106" fmla="*/ 88 w 885"/>
                <a:gd name="T107" fmla="*/ 343 h 858"/>
                <a:gd name="T108" fmla="*/ 169 w 885"/>
                <a:gd name="T109" fmla="*/ 29 h 858"/>
                <a:gd name="T110" fmla="*/ 209 w 885"/>
                <a:gd name="T111" fmla="*/ 57 h 858"/>
                <a:gd name="T112" fmla="*/ 152 w 885"/>
                <a:gd name="T113" fmla="*/ 154 h 858"/>
                <a:gd name="T114" fmla="*/ 148 w 885"/>
                <a:gd name="T115" fmla="*/ 165 h 858"/>
                <a:gd name="T116" fmla="*/ 675 w 885"/>
                <a:gd name="T117" fmla="*/ 318 h 858"/>
                <a:gd name="T118" fmla="*/ 683 w 885"/>
                <a:gd name="T119" fmla="*/ 291 h 858"/>
                <a:gd name="T120" fmla="*/ 857 w 885"/>
                <a:gd name="T121" fmla="*/ 322 h 858"/>
                <a:gd name="T122" fmla="*/ 824 w 885"/>
                <a:gd name="T123" fmla="*/ 447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5" h="858">
                  <a:moveTo>
                    <a:pt x="668" y="266"/>
                  </a:moveTo>
                  <a:cubicBezTo>
                    <a:pt x="661" y="291"/>
                    <a:pt x="661" y="291"/>
                    <a:pt x="661" y="291"/>
                  </a:cubicBezTo>
                  <a:cubicBezTo>
                    <a:pt x="177" y="151"/>
                    <a:pt x="177" y="151"/>
                    <a:pt x="177" y="151"/>
                  </a:cubicBezTo>
                  <a:cubicBezTo>
                    <a:pt x="199" y="102"/>
                    <a:pt x="232" y="63"/>
                    <a:pt x="233" y="62"/>
                  </a:cubicBezTo>
                  <a:cubicBezTo>
                    <a:pt x="241" y="53"/>
                    <a:pt x="241" y="53"/>
                    <a:pt x="241" y="53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33" y="149"/>
                    <a:pt x="65" y="337"/>
                    <a:pt x="69" y="358"/>
                  </a:cubicBezTo>
                  <a:cubicBezTo>
                    <a:pt x="69" y="362"/>
                    <a:pt x="69" y="362"/>
                    <a:pt x="69" y="362"/>
                  </a:cubicBezTo>
                  <a:cubicBezTo>
                    <a:pt x="69" y="635"/>
                    <a:pt x="69" y="635"/>
                    <a:pt x="69" y="635"/>
                  </a:cubicBezTo>
                  <a:cubicBezTo>
                    <a:pt x="0" y="635"/>
                    <a:pt x="0" y="635"/>
                    <a:pt x="0" y="635"/>
                  </a:cubicBezTo>
                  <a:cubicBezTo>
                    <a:pt x="0" y="835"/>
                    <a:pt x="0" y="835"/>
                    <a:pt x="0" y="835"/>
                  </a:cubicBezTo>
                  <a:cubicBezTo>
                    <a:pt x="162" y="835"/>
                    <a:pt x="162" y="835"/>
                    <a:pt x="162" y="835"/>
                  </a:cubicBezTo>
                  <a:cubicBezTo>
                    <a:pt x="162" y="635"/>
                    <a:pt x="162" y="635"/>
                    <a:pt x="162" y="635"/>
                  </a:cubicBezTo>
                  <a:cubicBezTo>
                    <a:pt x="91" y="635"/>
                    <a:pt x="91" y="635"/>
                    <a:pt x="91" y="635"/>
                  </a:cubicBezTo>
                  <a:cubicBezTo>
                    <a:pt x="91" y="365"/>
                    <a:pt x="91" y="365"/>
                    <a:pt x="91" y="365"/>
                  </a:cubicBezTo>
                  <a:cubicBezTo>
                    <a:pt x="107" y="362"/>
                    <a:pt x="107" y="362"/>
                    <a:pt x="107" y="362"/>
                  </a:cubicBezTo>
                  <a:cubicBezTo>
                    <a:pt x="158" y="350"/>
                    <a:pt x="158" y="350"/>
                    <a:pt x="158" y="350"/>
                  </a:cubicBezTo>
                  <a:cubicBezTo>
                    <a:pt x="156" y="340"/>
                    <a:pt x="156" y="340"/>
                    <a:pt x="156" y="340"/>
                  </a:cubicBezTo>
                  <a:cubicBezTo>
                    <a:pt x="149" y="304"/>
                    <a:pt x="153" y="247"/>
                    <a:pt x="155" y="222"/>
                  </a:cubicBezTo>
                  <a:cubicBezTo>
                    <a:pt x="404" y="295"/>
                    <a:pt x="404" y="295"/>
                    <a:pt x="404" y="295"/>
                  </a:cubicBezTo>
                  <a:cubicBezTo>
                    <a:pt x="179" y="831"/>
                    <a:pt x="179" y="831"/>
                    <a:pt x="179" y="831"/>
                  </a:cubicBezTo>
                  <a:cubicBezTo>
                    <a:pt x="250" y="857"/>
                    <a:pt x="250" y="857"/>
                    <a:pt x="250" y="857"/>
                  </a:cubicBezTo>
                  <a:cubicBezTo>
                    <a:pt x="335" y="650"/>
                    <a:pt x="335" y="650"/>
                    <a:pt x="335" y="650"/>
                  </a:cubicBezTo>
                  <a:cubicBezTo>
                    <a:pt x="626" y="773"/>
                    <a:pt x="626" y="773"/>
                    <a:pt x="626" y="773"/>
                  </a:cubicBezTo>
                  <a:cubicBezTo>
                    <a:pt x="664" y="858"/>
                    <a:pt x="664" y="858"/>
                    <a:pt x="664" y="858"/>
                  </a:cubicBezTo>
                  <a:cubicBezTo>
                    <a:pt x="727" y="827"/>
                    <a:pt x="727" y="827"/>
                    <a:pt x="727" y="827"/>
                  </a:cubicBezTo>
                  <a:cubicBezTo>
                    <a:pt x="515" y="325"/>
                    <a:pt x="515" y="325"/>
                    <a:pt x="515" y="325"/>
                  </a:cubicBezTo>
                  <a:cubicBezTo>
                    <a:pt x="640" y="361"/>
                    <a:pt x="640" y="361"/>
                    <a:pt x="640" y="361"/>
                  </a:cubicBezTo>
                  <a:cubicBezTo>
                    <a:pt x="631" y="396"/>
                    <a:pt x="631" y="396"/>
                    <a:pt x="631" y="396"/>
                  </a:cubicBezTo>
                  <a:cubicBezTo>
                    <a:pt x="839" y="476"/>
                    <a:pt x="839" y="476"/>
                    <a:pt x="839" y="476"/>
                  </a:cubicBezTo>
                  <a:cubicBezTo>
                    <a:pt x="885" y="305"/>
                    <a:pt x="885" y="305"/>
                    <a:pt x="885" y="305"/>
                  </a:cubicBezTo>
                  <a:lnTo>
                    <a:pt x="668" y="266"/>
                  </a:lnTo>
                  <a:close/>
                  <a:moveTo>
                    <a:pt x="140" y="657"/>
                  </a:moveTo>
                  <a:cubicBezTo>
                    <a:pt x="140" y="813"/>
                    <a:pt x="140" y="813"/>
                    <a:pt x="140" y="813"/>
                  </a:cubicBezTo>
                  <a:cubicBezTo>
                    <a:pt x="22" y="813"/>
                    <a:pt x="22" y="813"/>
                    <a:pt x="22" y="813"/>
                  </a:cubicBezTo>
                  <a:cubicBezTo>
                    <a:pt x="22" y="657"/>
                    <a:pt x="22" y="657"/>
                    <a:pt x="22" y="657"/>
                  </a:cubicBezTo>
                  <a:lnTo>
                    <a:pt x="140" y="657"/>
                  </a:lnTo>
                  <a:close/>
                  <a:moveTo>
                    <a:pt x="824" y="447"/>
                  </a:moveTo>
                  <a:cubicBezTo>
                    <a:pt x="657" y="382"/>
                    <a:pt x="657" y="382"/>
                    <a:pt x="657" y="382"/>
                  </a:cubicBezTo>
                  <a:cubicBezTo>
                    <a:pt x="666" y="345"/>
                    <a:pt x="666" y="345"/>
                    <a:pt x="666" y="345"/>
                  </a:cubicBezTo>
                  <a:cubicBezTo>
                    <a:pt x="477" y="291"/>
                    <a:pt x="477" y="291"/>
                    <a:pt x="477" y="291"/>
                  </a:cubicBezTo>
                  <a:cubicBezTo>
                    <a:pt x="699" y="816"/>
                    <a:pt x="699" y="816"/>
                    <a:pt x="699" y="816"/>
                  </a:cubicBezTo>
                  <a:cubicBezTo>
                    <a:pt x="674" y="828"/>
                    <a:pt x="674" y="828"/>
                    <a:pt x="674" y="828"/>
                  </a:cubicBezTo>
                  <a:cubicBezTo>
                    <a:pt x="642" y="756"/>
                    <a:pt x="642" y="756"/>
                    <a:pt x="642" y="756"/>
                  </a:cubicBezTo>
                  <a:cubicBezTo>
                    <a:pt x="323" y="621"/>
                    <a:pt x="323" y="621"/>
                    <a:pt x="323" y="621"/>
                  </a:cubicBezTo>
                  <a:cubicBezTo>
                    <a:pt x="237" y="829"/>
                    <a:pt x="237" y="829"/>
                    <a:pt x="237" y="829"/>
                  </a:cubicBezTo>
                  <a:cubicBezTo>
                    <a:pt x="209" y="818"/>
                    <a:pt x="209" y="818"/>
                    <a:pt x="209" y="818"/>
                  </a:cubicBezTo>
                  <a:cubicBezTo>
                    <a:pt x="433" y="280"/>
                    <a:pt x="433" y="280"/>
                    <a:pt x="433" y="280"/>
                  </a:cubicBezTo>
                  <a:cubicBezTo>
                    <a:pt x="136" y="193"/>
                    <a:pt x="136" y="193"/>
                    <a:pt x="136" y="193"/>
                  </a:cubicBezTo>
                  <a:cubicBezTo>
                    <a:pt x="135" y="206"/>
                    <a:pt x="135" y="206"/>
                    <a:pt x="135" y="206"/>
                  </a:cubicBezTo>
                  <a:cubicBezTo>
                    <a:pt x="134" y="210"/>
                    <a:pt x="126" y="283"/>
                    <a:pt x="133" y="333"/>
                  </a:cubicBezTo>
                  <a:cubicBezTo>
                    <a:pt x="103" y="340"/>
                    <a:pt x="103" y="340"/>
                    <a:pt x="103" y="340"/>
                  </a:cubicBezTo>
                  <a:cubicBezTo>
                    <a:pt x="88" y="343"/>
                    <a:pt x="88" y="343"/>
                    <a:pt x="88" y="343"/>
                  </a:cubicBezTo>
                  <a:cubicBezTo>
                    <a:pt x="82" y="299"/>
                    <a:pt x="69" y="148"/>
                    <a:pt x="169" y="29"/>
                  </a:cubicBezTo>
                  <a:cubicBezTo>
                    <a:pt x="209" y="57"/>
                    <a:pt x="209" y="57"/>
                    <a:pt x="209" y="57"/>
                  </a:cubicBezTo>
                  <a:cubicBezTo>
                    <a:pt x="196" y="74"/>
                    <a:pt x="169" y="111"/>
                    <a:pt x="152" y="154"/>
                  </a:cubicBezTo>
                  <a:cubicBezTo>
                    <a:pt x="148" y="165"/>
                    <a:pt x="148" y="165"/>
                    <a:pt x="148" y="165"/>
                  </a:cubicBezTo>
                  <a:cubicBezTo>
                    <a:pt x="675" y="318"/>
                    <a:pt x="675" y="318"/>
                    <a:pt x="675" y="318"/>
                  </a:cubicBezTo>
                  <a:cubicBezTo>
                    <a:pt x="683" y="291"/>
                    <a:pt x="683" y="291"/>
                    <a:pt x="683" y="291"/>
                  </a:cubicBezTo>
                  <a:cubicBezTo>
                    <a:pt x="857" y="322"/>
                    <a:pt x="857" y="322"/>
                    <a:pt x="857" y="322"/>
                  </a:cubicBezTo>
                  <a:lnTo>
                    <a:pt x="824" y="4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8">
              <a:extLst>
                <a:ext uri="{FF2B5EF4-FFF2-40B4-BE49-F238E27FC236}">
                  <a16:creationId xmlns:a16="http://schemas.microsoft.com/office/drawing/2014/main" id="{5ACC42C7-2DA6-476A-B59E-84EB19640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3713" y="1893888"/>
              <a:ext cx="100013" cy="136525"/>
            </a:xfrm>
            <a:custGeom>
              <a:avLst/>
              <a:gdLst>
                <a:gd name="T0" fmla="*/ 0 w 63"/>
                <a:gd name="T1" fmla="*/ 86 h 86"/>
                <a:gd name="T2" fmla="*/ 63 w 63"/>
                <a:gd name="T3" fmla="*/ 62 h 86"/>
                <a:gd name="T4" fmla="*/ 37 w 63"/>
                <a:gd name="T5" fmla="*/ 0 h 86"/>
                <a:gd name="T6" fmla="*/ 0 w 63"/>
                <a:gd name="T7" fmla="*/ 86 h 86"/>
                <a:gd name="T8" fmla="*/ 14 w 63"/>
                <a:gd name="T9" fmla="*/ 73 h 86"/>
                <a:gd name="T10" fmla="*/ 37 w 63"/>
                <a:gd name="T11" fmla="*/ 18 h 86"/>
                <a:gd name="T12" fmla="*/ 53 w 63"/>
                <a:gd name="T13" fmla="*/ 57 h 86"/>
                <a:gd name="T14" fmla="*/ 14 w 63"/>
                <a:gd name="T15" fmla="*/ 7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86">
                  <a:moveTo>
                    <a:pt x="0" y="86"/>
                  </a:moveTo>
                  <a:lnTo>
                    <a:pt x="63" y="62"/>
                  </a:lnTo>
                  <a:lnTo>
                    <a:pt x="37" y="0"/>
                  </a:lnTo>
                  <a:lnTo>
                    <a:pt x="0" y="86"/>
                  </a:lnTo>
                  <a:close/>
                  <a:moveTo>
                    <a:pt x="14" y="73"/>
                  </a:moveTo>
                  <a:lnTo>
                    <a:pt x="37" y="18"/>
                  </a:lnTo>
                  <a:lnTo>
                    <a:pt x="53" y="57"/>
                  </a:lnTo>
                  <a:lnTo>
                    <a:pt x="14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9">
              <a:extLst>
                <a:ext uri="{FF2B5EF4-FFF2-40B4-BE49-F238E27FC236}">
                  <a16:creationId xmlns:a16="http://schemas.microsoft.com/office/drawing/2014/main" id="{10A6280D-5613-4D1C-854F-E11CED588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6888" y="2006601"/>
              <a:ext cx="146050" cy="101600"/>
            </a:xfrm>
            <a:custGeom>
              <a:avLst/>
              <a:gdLst>
                <a:gd name="T0" fmla="*/ 92 w 92"/>
                <a:gd name="T1" fmla="*/ 64 h 64"/>
                <a:gd name="T2" fmla="*/ 64 w 92"/>
                <a:gd name="T3" fmla="*/ 0 h 64"/>
                <a:gd name="T4" fmla="*/ 0 w 92"/>
                <a:gd name="T5" fmla="*/ 25 h 64"/>
                <a:gd name="T6" fmla="*/ 92 w 92"/>
                <a:gd name="T7" fmla="*/ 64 h 64"/>
                <a:gd name="T8" fmla="*/ 78 w 92"/>
                <a:gd name="T9" fmla="*/ 50 h 64"/>
                <a:gd name="T10" fmla="*/ 20 w 92"/>
                <a:gd name="T11" fmla="*/ 26 h 64"/>
                <a:gd name="T12" fmla="*/ 60 w 92"/>
                <a:gd name="T13" fmla="*/ 9 h 64"/>
                <a:gd name="T14" fmla="*/ 78 w 92"/>
                <a:gd name="T15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4">
                  <a:moveTo>
                    <a:pt x="92" y="64"/>
                  </a:moveTo>
                  <a:lnTo>
                    <a:pt x="64" y="0"/>
                  </a:lnTo>
                  <a:lnTo>
                    <a:pt x="0" y="25"/>
                  </a:lnTo>
                  <a:lnTo>
                    <a:pt x="92" y="64"/>
                  </a:lnTo>
                  <a:close/>
                  <a:moveTo>
                    <a:pt x="78" y="50"/>
                  </a:moveTo>
                  <a:lnTo>
                    <a:pt x="20" y="26"/>
                  </a:lnTo>
                  <a:lnTo>
                    <a:pt x="60" y="9"/>
                  </a:lnTo>
                  <a:lnTo>
                    <a:pt x="78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9" name="AutoShape 31">
            <a:extLst>
              <a:ext uri="{FF2B5EF4-FFF2-40B4-BE49-F238E27FC236}">
                <a16:creationId xmlns:a16="http://schemas.microsoft.com/office/drawing/2014/main" id="{F7154295-264E-4C99-9364-9B33A8C8874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25450" y="2825750"/>
            <a:ext cx="8413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Oval 33">
            <a:extLst>
              <a:ext uri="{FF2B5EF4-FFF2-40B4-BE49-F238E27FC236}">
                <a16:creationId xmlns:a16="http://schemas.microsoft.com/office/drawing/2014/main" id="{ACBDB5C4-4894-45AD-BBBF-D76097E1F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450" y="2825750"/>
            <a:ext cx="841375" cy="838200"/>
          </a:xfrm>
          <a:prstGeom prst="ellipse">
            <a:avLst/>
          </a:prstGeom>
          <a:solidFill>
            <a:srgbClr val="0091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34">
            <a:extLst>
              <a:ext uri="{FF2B5EF4-FFF2-40B4-BE49-F238E27FC236}">
                <a16:creationId xmlns:a16="http://schemas.microsoft.com/office/drawing/2014/main" id="{254E37DE-15E9-4139-A2B9-0FF34515DA4D}"/>
              </a:ext>
            </a:extLst>
          </p:cNvPr>
          <p:cNvSpPr>
            <a:spLocks noEditPoints="1"/>
          </p:cNvSpPr>
          <p:nvPr/>
        </p:nvSpPr>
        <p:spPr bwMode="auto">
          <a:xfrm>
            <a:off x="458788" y="2859088"/>
            <a:ext cx="774700" cy="773113"/>
          </a:xfrm>
          <a:custGeom>
            <a:avLst/>
            <a:gdLst>
              <a:gd name="T0" fmla="*/ 738 w 1476"/>
              <a:gd name="T1" fmla="*/ 0 h 1476"/>
              <a:gd name="T2" fmla="*/ 0 w 1476"/>
              <a:gd name="T3" fmla="*/ 738 h 1476"/>
              <a:gd name="T4" fmla="*/ 738 w 1476"/>
              <a:gd name="T5" fmla="*/ 1476 h 1476"/>
              <a:gd name="T6" fmla="*/ 1476 w 1476"/>
              <a:gd name="T7" fmla="*/ 738 h 1476"/>
              <a:gd name="T8" fmla="*/ 738 w 1476"/>
              <a:gd name="T9" fmla="*/ 0 h 1476"/>
              <a:gd name="T10" fmla="*/ 738 w 1476"/>
              <a:gd name="T11" fmla="*/ 1440 h 1476"/>
              <a:gd name="T12" fmla="*/ 36 w 1476"/>
              <a:gd name="T13" fmla="*/ 738 h 1476"/>
              <a:gd name="T14" fmla="*/ 738 w 1476"/>
              <a:gd name="T15" fmla="*/ 36 h 1476"/>
              <a:gd name="T16" fmla="*/ 1440 w 1476"/>
              <a:gd name="T17" fmla="*/ 738 h 1476"/>
              <a:gd name="T18" fmla="*/ 738 w 1476"/>
              <a:gd name="T19" fmla="*/ 1440 h 1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76" h="1476">
                <a:moveTo>
                  <a:pt x="738" y="0"/>
                </a:moveTo>
                <a:cubicBezTo>
                  <a:pt x="331" y="0"/>
                  <a:pt x="0" y="331"/>
                  <a:pt x="0" y="738"/>
                </a:cubicBezTo>
                <a:cubicBezTo>
                  <a:pt x="0" y="1145"/>
                  <a:pt x="331" y="1476"/>
                  <a:pt x="738" y="1476"/>
                </a:cubicBezTo>
                <a:cubicBezTo>
                  <a:pt x="1144" y="1476"/>
                  <a:pt x="1476" y="1145"/>
                  <a:pt x="1476" y="738"/>
                </a:cubicBezTo>
                <a:cubicBezTo>
                  <a:pt x="1476" y="331"/>
                  <a:pt x="1144" y="0"/>
                  <a:pt x="738" y="0"/>
                </a:cubicBezTo>
                <a:close/>
                <a:moveTo>
                  <a:pt x="738" y="1440"/>
                </a:moveTo>
                <a:cubicBezTo>
                  <a:pt x="350" y="1440"/>
                  <a:pt x="36" y="1125"/>
                  <a:pt x="36" y="738"/>
                </a:cubicBezTo>
                <a:cubicBezTo>
                  <a:pt x="36" y="351"/>
                  <a:pt x="350" y="36"/>
                  <a:pt x="738" y="36"/>
                </a:cubicBezTo>
                <a:cubicBezTo>
                  <a:pt x="1125" y="36"/>
                  <a:pt x="1440" y="351"/>
                  <a:pt x="1440" y="738"/>
                </a:cubicBezTo>
                <a:cubicBezTo>
                  <a:pt x="1440" y="1125"/>
                  <a:pt x="1125" y="1440"/>
                  <a:pt x="738" y="14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35">
            <a:extLst>
              <a:ext uri="{FF2B5EF4-FFF2-40B4-BE49-F238E27FC236}">
                <a16:creationId xmlns:a16="http://schemas.microsoft.com/office/drawing/2014/main" id="{1D101811-1B51-4910-B902-8656D63BC16C}"/>
              </a:ext>
            </a:extLst>
          </p:cNvPr>
          <p:cNvSpPr>
            <a:spLocks noEditPoints="1"/>
          </p:cNvSpPr>
          <p:nvPr/>
        </p:nvSpPr>
        <p:spPr bwMode="auto">
          <a:xfrm>
            <a:off x="688975" y="2974975"/>
            <a:ext cx="365125" cy="511175"/>
          </a:xfrm>
          <a:custGeom>
            <a:avLst/>
            <a:gdLst>
              <a:gd name="T0" fmla="*/ 554 w 695"/>
              <a:gd name="T1" fmla="*/ 399 h 973"/>
              <a:gd name="T2" fmla="*/ 549 w 695"/>
              <a:gd name="T3" fmla="*/ 240 h 973"/>
              <a:gd name="T4" fmla="*/ 493 w 695"/>
              <a:gd name="T5" fmla="*/ 113 h 973"/>
              <a:gd name="T6" fmla="*/ 411 w 695"/>
              <a:gd name="T7" fmla="*/ 52 h 973"/>
              <a:gd name="T8" fmla="*/ 296 w 695"/>
              <a:gd name="T9" fmla="*/ 0 h 973"/>
              <a:gd name="T10" fmla="*/ 177 w 695"/>
              <a:gd name="T11" fmla="*/ 0 h 973"/>
              <a:gd name="T12" fmla="*/ 99 w 695"/>
              <a:gd name="T13" fmla="*/ 88 h 973"/>
              <a:gd name="T14" fmla="*/ 0 w 695"/>
              <a:gd name="T15" fmla="*/ 170 h 973"/>
              <a:gd name="T16" fmla="*/ 37 w 695"/>
              <a:gd name="T17" fmla="*/ 263 h 973"/>
              <a:gd name="T18" fmla="*/ 100 w 695"/>
              <a:gd name="T19" fmla="*/ 973 h 973"/>
              <a:gd name="T20" fmla="*/ 554 w 695"/>
              <a:gd name="T21" fmla="*/ 910 h 973"/>
              <a:gd name="T22" fmla="*/ 657 w 695"/>
              <a:gd name="T23" fmla="*/ 774 h 973"/>
              <a:gd name="T24" fmla="*/ 695 w 695"/>
              <a:gd name="T25" fmla="*/ 449 h 973"/>
              <a:gd name="T26" fmla="*/ 22 w 695"/>
              <a:gd name="T27" fmla="*/ 170 h 973"/>
              <a:gd name="T28" fmla="*/ 112 w 695"/>
              <a:gd name="T29" fmla="*/ 114 h 973"/>
              <a:gd name="T30" fmla="*/ 126 w 695"/>
              <a:gd name="T31" fmla="*/ 98 h 973"/>
              <a:gd name="T32" fmla="*/ 177 w 695"/>
              <a:gd name="T33" fmla="*/ 22 h 973"/>
              <a:gd name="T34" fmla="*/ 236 w 695"/>
              <a:gd name="T35" fmla="*/ 54 h 973"/>
              <a:gd name="T36" fmla="*/ 296 w 695"/>
              <a:gd name="T37" fmla="*/ 22 h 973"/>
              <a:gd name="T38" fmla="*/ 353 w 695"/>
              <a:gd name="T39" fmla="*/ 80 h 973"/>
              <a:gd name="T40" fmla="*/ 371 w 695"/>
              <a:gd name="T41" fmla="*/ 89 h 973"/>
              <a:gd name="T42" fmla="*/ 469 w 695"/>
              <a:gd name="T43" fmla="*/ 125 h 973"/>
              <a:gd name="T44" fmla="*/ 482 w 695"/>
              <a:gd name="T45" fmla="*/ 136 h 973"/>
              <a:gd name="T46" fmla="*/ 551 w 695"/>
              <a:gd name="T47" fmla="*/ 187 h 973"/>
              <a:gd name="T48" fmla="*/ 457 w 695"/>
              <a:gd name="T49" fmla="*/ 228 h 973"/>
              <a:gd name="T50" fmla="*/ 405 w 695"/>
              <a:gd name="T51" fmla="*/ 242 h 973"/>
              <a:gd name="T52" fmla="*/ 359 w 695"/>
              <a:gd name="T53" fmla="*/ 237 h 973"/>
              <a:gd name="T54" fmla="*/ 266 w 695"/>
              <a:gd name="T55" fmla="*/ 239 h 973"/>
              <a:gd name="T56" fmla="*/ 258 w 695"/>
              <a:gd name="T57" fmla="*/ 236 h 973"/>
              <a:gd name="T58" fmla="*/ 200 w 695"/>
              <a:gd name="T59" fmla="*/ 260 h 973"/>
              <a:gd name="T60" fmla="*/ 133 w 695"/>
              <a:gd name="T61" fmla="*/ 219 h 973"/>
              <a:gd name="T62" fmla="*/ 88 w 695"/>
              <a:gd name="T63" fmla="*/ 230 h 973"/>
              <a:gd name="T64" fmla="*/ 532 w 695"/>
              <a:gd name="T65" fmla="*/ 910 h 973"/>
              <a:gd name="T66" fmla="*/ 100 w 695"/>
              <a:gd name="T67" fmla="*/ 951 h 973"/>
              <a:gd name="T68" fmla="*/ 59 w 695"/>
              <a:gd name="T69" fmla="*/ 263 h 973"/>
              <a:gd name="T70" fmla="*/ 88 w 695"/>
              <a:gd name="T71" fmla="*/ 252 h 973"/>
              <a:gd name="T72" fmla="*/ 200 w 695"/>
              <a:gd name="T73" fmla="*/ 282 h 973"/>
              <a:gd name="T74" fmla="*/ 312 w 695"/>
              <a:gd name="T75" fmla="*/ 282 h 973"/>
              <a:gd name="T76" fmla="*/ 405 w 695"/>
              <a:gd name="T77" fmla="*/ 264 h 973"/>
              <a:gd name="T78" fmla="*/ 493 w 695"/>
              <a:gd name="T79" fmla="*/ 262 h 973"/>
              <a:gd name="T80" fmla="*/ 532 w 695"/>
              <a:gd name="T81" fmla="*/ 263 h 973"/>
              <a:gd name="T82" fmla="*/ 673 w 695"/>
              <a:gd name="T83" fmla="*/ 724 h 973"/>
              <a:gd name="T84" fmla="*/ 554 w 695"/>
              <a:gd name="T85" fmla="*/ 752 h 973"/>
              <a:gd name="T86" fmla="*/ 657 w 695"/>
              <a:gd name="T87" fmla="*/ 421 h 973"/>
              <a:gd name="T88" fmla="*/ 673 w 695"/>
              <a:gd name="T89" fmla="*/ 724 h 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95" h="973">
                <a:moveTo>
                  <a:pt x="657" y="399"/>
                </a:moveTo>
                <a:cubicBezTo>
                  <a:pt x="554" y="399"/>
                  <a:pt x="554" y="399"/>
                  <a:pt x="554" y="399"/>
                </a:cubicBezTo>
                <a:cubicBezTo>
                  <a:pt x="554" y="263"/>
                  <a:pt x="554" y="263"/>
                  <a:pt x="554" y="263"/>
                </a:cubicBezTo>
                <a:cubicBezTo>
                  <a:pt x="554" y="255"/>
                  <a:pt x="552" y="247"/>
                  <a:pt x="549" y="240"/>
                </a:cubicBezTo>
                <a:cubicBezTo>
                  <a:pt x="564" y="226"/>
                  <a:pt x="573" y="208"/>
                  <a:pt x="573" y="187"/>
                </a:cubicBezTo>
                <a:cubicBezTo>
                  <a:pt x="573" y="146"/>
                  <a:pt x="537" y="113"/>
                  <a:pt x="493" y="113"/>
                </a:cubicBezTo>
                <a:cubicBezTo>
                  <a:pt x="492" y="113"/>
                  <a:pt x="491" y="113"/>
                  <a:pt x="490" y="113"/>
                </a:cubicBezTo>
                <a:cubicBezTo>
                  <a:pt x="483" y="78"/>
                  <a:pt x="450" y="52"/>
                  <a:pt x="411" y="52"/>
                </a:cubicBezTo>
                <a:cubicBezTo>
                  <a:pt x="398" y="52"/>
                  <a:pt x="385" y="55"/>
                  <a:pt x="374" y="61"/>
                </a:cubicBezTo>
                <a:cubicBezTo>
                  <a:pt x="367" y="26"/>
                  <a:pt x="334" y="0"/>
                  <a:pt x="296" y="0"/>
                </a:cubicBezTo>
                <a:cubicBezTo>
                  <a:pt x="273" y="0"/>
                  <a:pt x="251" y="10"/>
                  <a:pt x="236" y="25"/>
                </a:cubicBezTo>
                <a:cubicBezTo>
                  <a:pt x="221" y="10"/>
                  <a:pt x="200" y="0"/>
                  <a:pt x="177" y="0"/>
                </a:cubicBezTo>
                <a:cubicBezTo>
                  <a:pt x="133" y="0"/>
                  <a:pt x="97" y="34"/>
                  <a:pt x="97" y="75"/>
                </a:cubicBezTo>
                <a:cubicBezTo>
                  <a:pt x="97" y="79"/>
                  <a:pt x="98" y="84"/>
                  <a:pt x="99" y="88"/>
                </a:cubicBezTo>
                <a:cubicBezTo>
                  <a:pt x="95" y="88"/>
                  <a:pt x="92" y="88"/>
                  <a:pt x="88" y="88"/>
                </a:cubicBezTo>
                <a:cubicBezTo>
                  <a:pt x="39" y="88"/>
                  <a:pt x="0" y="125"/>
                  <a:pt x="0" y="170"/>
                </a:cubicBezTo>
                <a:cubicBezTo>
                  <a:pt x="0" y="199"/>
                  <a:pt x="16" y="225"/>
                  <a:pt x="41" y="240"/>
                </a:cubicBezTo>
                <a:cubicBezTo>
                  <a:pt x="38" y="247"/>
                  <a:pt x="37" y="255"/>
                  <a:pt x="37" y="263"/>
                </a:cubicBezTo>
                <a:cubicBezTo>
                  <a:pt x="37" y="910"/>
                  <a:pt x="37" y="910"/>
                  <a:pt x="37" y="910"/>
                </a:cubicBezTo>
                <a:cubicBezTo>
                  <a:pt x="37" y="945"/>
                  <a:pt x="65" y="973"/>
                  <a:pt x="100" y="973"/>
                </a:cubicBezTo>
                <a:cubicBezTo>
                  <a:pt x="491" y="973"/>
                  <a:pt x="491" y="973"/>
                  <a:pt x="491" y="973"/>
                </a:cubicBezTo>
                <a:cubicBezTo>
                  <a:pt x="526" y="973"/>
                  <a:pt x="554" y="945"/>
                  <a:pt x="554" y="910"/>
                </a:cubicBezTo>
                <a:cubicBezTo>
                  <a:pt x="554" y="774"/>
                  <a:pt x="554" y="774"/>
                  <a:pt x="554" y="774"/>
                </a:cubicBezTo>
                <a:cubicBezTo>
                  <a:pt x="657" y="774"/>
                  <a:pt x="657" y="774"/>
                  <a:pt x="657" y="774"/>
                </a:cubicBezTo>
                <a:cubicBezTo>
                  <a:pt x="678" y="774"/>
                  <a:pt x="695" y="752"/>
                  <a:pt x="695" y="724"/>
                </a:cubicBezTo>
                <a:cubicBezTo>
                  <a:pt x="695" y="449"/>
                  <a:pt x="695" y="449"/>
                  <a:pt x="695" y="449"/>
                </a:cubicBezTo>
                <a:cubicBezTo>
                  <a:pt x="695" y="421"/>
                  <a:pt x="678" y="399"/>
                  <a:pt x="657" y="399"/>
                </a:cubicBezTo>
                <a:close/>
                <a:moveTo>
                  <a:pt x="22" y="170"/>
                </a:moveTo>
                <a:cubicBezTo>
                  <a:pt x="22" y="137"/>
                  <a:pt x="52" y="110"/>
                  <a:pt x="88" y="110"/>
                </a:cubicBezTo>
                <a:cubicBezTo>
                  <a:pt x="96" y="110"/>
                  <a:pt x="104" y="111"/>
                  <a:pt x="112" y="114"/>
                </a:cubicBezTo>
                <a:cubicBezTo>
                  <a:pt x="117" y="116"/>
                  <a:pt x="121" y="114"/>
                  <a:pt x="124" y="111"/>
                </a:cubicBezTo>
                <a:cubicBezTo>
                  <a:pt x="127" y="107"/>
                  <a:pt x="128" y="102"/>
                  <a:pt x="126" y="98"/>
                </a:cubicBezTo>
                <a:cubicBezTo>
                  <a:pt x="122" y="91"/>
                  <a:pt x="119" y="83"/>
                  <a:pt x="119" y="75"/>
                </a:cubicBezTo>
                <a:cubicBezTo>
                  <a:pt x="119" y="46"/>
                  <a:pt x="145" y="22"/>
                  <a:pt x="177" y="22"/>
                </a:cubicBezTo>
                <a:cubicBezTo>
                  <a:pt x="198" y="22"/>
                  <a:pt x="217" y="32"/>
                  <a:pt x="227" y="49"/>
                </a:cubicBezTo>
                <a:cubicBezTo>
                  <a:pt x="229" y="52"/>
                  <a:pt x="233" y="54"/>
                  <a:pt x="236" y="54"/>
                </a:cubicBezTo>
                <a:cubicBezTo>
                  <a:pt x="240" y="54"/>
                  <a:pt x="244" y="52"/>
                  <a:pt x="246" y="49"/>
                </a:cubicBezTo>
                <a:cubicBezTo>
                  <a:pt x="256" y="32"/>
                  <a:pt x="275" y="22"/>
                  <a:pt x="296" y="22"/>
                </a:cubicBezTo>
                <a:cubicBezTo>
                  <a:pt x="327" y="22"/>
                  <a:pt x="353" y="46"/>
                  <a:pt x="353" y="75"/>
                </a:cubicBezTo>
                <a:cubicBezTo>
                  <a:pt x="353" y="76"/>
                  <a:pt x="353" y="78"/>
                  <a:pt x="353" y="80"/>
                </a:cubicBezTo>
                <a:cubicBezTo>
                  <a:pt x="352" y="84"/>
                  <a:pt x="355" y="89"/>
                  <a:pt x="359" y="91"/>
                </a:cubicBezTo>
                <a:cubicBezTo>
                  <a:pt x="363" y="93"/>
                  <a:pt x="368" y="92"/>
                  <a:pt x="371" y="89"/>
                </a:cubicBezTo>
                <a:cubicBezTo>
                  <a:pt x="382" y="79"/>
                  <a:pt x="396" y="74"/>
                  <a:pt x="411" y="74"/>
                </a:cubicBezTo>
                <a:cubicBezTo>
                  <a:pt x="442" y="74"/>
                  <a:pt x="468" y="97"/>
                  <a:pt x="469" y="125"/>
                </a:cubicBezTo>
                <a:cubicBezTo>
                  <a:pt x="469" y="129"/>
                  <a:pt x="470" y="132"/>
                  <a:pt x="473" y="134"/>
                </a:cubicBezTo>
                <a:cubicBezTo>
                  <a:pt x="475" y="136"/>
                  <a:pt x="479" y="137"/>
                  <a:pt x="482" y="136"/>
                </a:cubicBezTo>
                <a:cubicBezTo>
                  <a:pt x="486" y="135"/>
                  <a:pt x="489" y="135"/>
                  <a:pt x="493" y="135"/>
                </a:cubicBezTo>
                <a:cubicBezTo>
                  <a:pt x="525" y="135"/>
                  <a:pt x="551" y="158"/>
                  <a:pt x="551" y="187"/>
                </a:cubicBezTo>
                <a:cubicBezTo>
                  <a:pt x="551" y="216"/>
                  <a:pt x="525" y="240"/>
                  <a:pt x="493" y="240"/>
                </a:cubicBezTo>
                <a:cubicBezTo>
                  <a:pt x="480" y="240"/>
                  <a:pt x="467" y="236"/>
                  <a:pt x="457" y="228"/>
                </a:cubicBezTo>
                <a:cubicBezTo>
                  <a:pt x="453" y="225"/>
                  <a:pt x="447" y="226"/>
                  <a:pt x="444" y="229"/>
                </a:cubicBezTo>
                <a:cubicBezTo>
                  <a:pt x="433" y="238"/>
                  <a:pt x="419" y="242"/>
                  <a:pt x="405" y="242"/>
                </a:cubicBezTo>
                <a:cubicBezTo>
                  <a:pt x="394" y="242"/>
                  <a:pt x="383" y="240"/>
                  <a:pt x="374" y="234"/>
                </a:cubicBezTo>
                <a:cubicBezTo>
                  <a:pt x="369" y="231"/>
                  <a:pt x="363" y="233"/>
                  <a:pt x="359" y="237"/>
                </a:cubicBezTo>
                <a:cubicBezTo>
                  <a:pt x="349" y="251"/>
                  <a:pt x="331" y="260"/>
                  <a:pt x="312" y="260"/>
                </a:cubicBezTo>
                <a:cubicBezTo>
                  <a:pt x="294" y="260"/>
                  <a:pt x="277" y="253"/>
                  <a:pt x="266" y="239"/>
                </a:cubicBezTo>
                <a:cubicBezTo>
                  <a:pt x="264" y="237"/>
                  <a:pt x="261" y="236"/>
                  <a:pt x="258" y="236"/>
                </a:cubicBezTo>
                <a:cubicBezTo>
                  <a:pt x="258" y="236"/>
                  <a:pt x="258" y="236"/>
                  <a:pt x="258" y="236"/>
                </a:cubicBezTo>
                <a:cubicBezTo>
                  <a:pt x="255" y="236"/>
                  <a:pt x="252" y="237"/>
                  <a:pt x="250" y="239"/>
                </a:cubicBezTo>
                <a:cubicBezTo>
                  <a:pt x="237" y="252"/>
                  <a:pt x="219" y="260"/>
                  <a:pt x="200" y="260"/>
                </a:cubicBezTo>
                <a:cubicBezTo>
                  <a:pt x="174" y="260"/>
                  <a:pt x="150" y="246"/>
                  <a:pt x="140" y="225"/>
                </a:cubicBezTo>
                <a:cubicBezTo>
                  <a:pt x="138" y="222"/>
                  <a:pt x="136" y="220"/>
                  <a:pt x="133" y="219"/>
                </a:cubicBezTo>
                <a:cubicBezTo>
                  <a:pt x="130" y="218"/>
                  <a:pt x="127" y="219"/>
                  <a:pt x="124" y="220"/>
                </a:cubicBezTo>
                <a:cubicBezTo>
                  <a:pt x="113" y="227"/>
                  <a:pt x="101" y="230"/>
                  <a:pt x="88" y="230"/>
                </a:cubicBezTo>
                <a:cubicBezTo>
                  <a:pt x="52" y="230"/>
                  <a:pt x="22" y="203"/>
                  <a:pt x="22" y="170"/>
                </a:cubicBezTo>
                <a:close/>
                <a:moveTo>
                  <a:pt x="532" y="910"/>
                </a:moveTo>
                <a:cubicBezTo>
                  <a:pt x="532" y="933"/>
                  <a:pt x="513" y="951"/>
                  <a:pt x="491" y="951"/>
                </a:cubicBezTo>
                <a:cubicBezTo>
                  <a:pt x="100" y="951"/>
                  <a:pt x="100" y="951"/>
                  <a:pt x="100" y="951"/>
                </a:cubicBezTo>
                <a:cubicBezTo>
                  <a:pt x="77" y="951"/>
                  <a:pt x="59" y="933"/>
                  <a:pt x="59" y="910"/>
                </a:cubicBezTo>
                <a:cubicBezTo>
                  <a:pt x="59" y="263"/>
                  <a:pt x="59" y="263"/>
                  <a:pt x="59" y="263"/>
                </a:cubicBezTo>
                <a:cubicBezTo>
                  <a:pt x="59" y="258"/>
                  <a:pt x="60" y="253"/>
                  <a:pt x="61" y="249"/>
                </a:cubicBezTo>
                <a:cubicBezTo>
                  <a:pt x="70" y="251"/>
                  <a:pt x="79" y="252"/>
                  <a:pt x="88" y="252"/>
                </a:cubicBezTo>
                <a:cubicBezTo>
                  <a:pt x="101" y="252"/>
                  <a:pt x="114" y="250"/>
                  <a:pt x="126" y="244"/>
                </a:cubicBezTo>
                <a:cubicBezTo>
                  <a:pt x="142" y="268"/>
                  <a:pt x="170" y="282"/>
                  <a:pt x="200" y="282"/>
                </a:cubicBezTo>
                <a:cubicBezTo>
                  <a:pt x="221" y="282"/>
                  <a:pt x="241" y="275"/>
                  <a:pt x="257" y="262"/>
                </a:cubicBezTo>
                <a:cubicBezTo>
                  <a:pt x="272" y="275"/>
                  <a:pt x="291" y="282"/>
                  <a:pt x="312" y="282"/>
                </a:cubicBezTo>
                <a:cubicBezTo>
                  <a:pt x="335" y="282"/>
                  <a:pt x="356" y="273"/>
                  <a:pt x="371" y="257"/>
                </a:cubicBezTo>
                <a:cubicBezTo>
                  <a:pt x="382" y="262"/>
                  <a:pt x="393" y="264"/>
                  <a:pt x="405" y="264"/>
                </a:cubicBezTo>
                <a:cubicBezTo>
                  <a:pt x="421" y="264"/>
                  <a:pt x="438" y="260"/>
                  <a:pt x="451" y="251"/>
                </a:cubicBezTo>
                <a:cubicBezTo>
                  <a:pt x="464" y="258"/>
                  <a:pt x="478" y="262"/>
                  <a:pt x="493" y="262"/>
                </a:cubicBezTo>
                <a:cubicBezTo>
                  <a:pt x="507" y="262"/>
                  <a:pt x="519" y="259"/>
                  <a:pt x="531" y="253"/>
                </a:cubicBezTo>
                <a:cubicBezTo>
                  <a:pt x="532" y="256"/>
                  <a:pt x="532" y="260"/>
                  <a:pt x="532" y="263"/>
                </a:cubicBezTo>
                <a:lnTo>
                  <a:pt x="532" y="910"/>
                </a:lnTo>
                <a:close/>
                <a:moveTo>
                  <a:pt x="673" y="724"/>
                </a:moveTo>
                <a:cubicBezTo>
                  <a:pt x="673" y="740"/>
                  <a:pt x="664" y="752"/>
                  <a:pt x="657" y="752"/>
                </a:cubicBezTo>
                <a:cubicBezTo>
                  <a:pt x="554" y="752"/>
                  <a:pt x="554" y="752"/>
                  <a:pt x="554" y="752"/>
                </a:cubicBezTo>
                <a:cubicBezTo>
                  <a:pt x="554" y="421"/>
                  <a:pt x="554" y="421"/>
                  <a:pt x="554" y="421"/>
                </a:cubicBezTo>
                <a:cubicBezTo>
                  <a:pt x="657" y="421"/>
                  <a:pt x="657" y="421"/>
                  <a:pt x="657" y="421"/>
                </a:cubicBezTo>
                <a:cubicBezTo>
                  <a:pt x="664" y="421"/>
                  <a:pt x="673" y="433"/>
                  <a:pt x="673" y="449"/>
                </a:cubicBezTo>
                <a:lnTo>
                  <a:pt x="673" y="7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36">
            <a:extLst>
              <a:ext uri="{FF2B5EF4-FFF2-40B4-BE49-F238E27FC236}">
                <a16:creationId xmlns:a16="http://schemas.microsoft.com/office/drawing/2014/main" id="{A7D17B49-5ED6-4A68-AC02-3B811CAFA3AB}"/>
              </a:ext>
            </a:extLst>
          </p:cNvPr>
          <p:cNvSpPr>
            <a:spLocks noEditPoints="1"/>
          </p:cNvSpPr>
          <p:nvPr/>
        </p:nvSpPr>
        <p:spPr bwMode="auto">
          <a:xfrm>
            <a:off x="731838" y="3130550"/>
            <a:ext cx="225425" cy="334963"/>
          </a:xfrm>
          <a:custGeom>
            <a:avLst/>
            <a:gdLst>
              <a:gd name="T0" fmla="*/ 0 w 431"/>
              <a:gd name="T1" fmla="*/ 570 h 637"/>
              <a:gd name="T2" fmla="*/ 63 w 431"/>
              <a:gd name="T3" fmla="*/ 637 h 637"/>
              <a:gd name="T4" fmla="*/ 367 w 431"/>
              <a:gd name="T5" fmla="*/ 637 h 637"/>
              <a:gd name="T6" fmla="*/ 431 w 431"/>
              <a:gd name="T7" fmla="*/ 570 h 637"/>
              <a:gd name="T8" fmla="*/ 431 w 431"/>
              <a:gd name="T9" fmla="*/ 0 h 637"/>
              <a:gd name="T10" fmla="*/ 0 w 431"/>
              <a:gd name="T11" fmla="*/ 0 h 637"/>
              <a:gd name="T12" fmla="*/ 0 w 431"/>
              <a:gd name="T13" fmla="*/ 570 h 637"/>
              <a:gd name="T14" fmla="*/ 22 w 431"/>
              <a:gd name="T15" fmla="*/ 22 h 637"/>
              <a:gd name="T16" fmla="*/ 409 w 431"/>
              <a:gd name="T17" fmla="*/ 22 h 637"/>
              <a:gd name="T18" fmla="*/ 409 w 431"/>
              <a:gd name="T19" fmla="*/ 570 h 637"/>
              <a:gd name="T20" fmla="*/ 367 w 431"/>
              <a:gd name="T21" fmla="*/ 615 h 637"/>
              <a:gd name="T22" fmla="*/ 63 w 431"/>
              <a:gd name="T23" fmla="*/ 615 h 637"/>
              <a:gd name="T24" fmla="*/ 22 w 431"/>
              <a:gd name="T25" fmla="*/ 570 h 637"/>
              <a:gd name="T26" fmla="*/ 22 w 431"/>
              <a:gd name="T27" fmla="*/ 22 h 6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31" h="637">
                <a:moveTo>
                  <a:pt x="0" y="570"/>
                </a:moveTo>
                <a:cubicBezTo>
                  <a:pt x="0" y="607"/>
                  <a:pt x="28" y="637"/>
                  <a:pt x="63" y="637"/>
                </a:cubicBezTo>
                <a:cubicBezTo>
                  <a:pt x="367" y="637"/>
                  <a:pt x="367" y="637"/>
                  <a:pt x="367" y="637"/>
                </a:cubicBezTo>
                <a:cubicBezTo>
                  <a:pt x="402" y="637"/>
                  <a:pt x="431" y="607"/>
                  <a:pt x="431" y="570"/>
                </a:cubicBezTo>
                <a:cubicBezTo>
                  <a:pt x="431" y="0"/>
                  <a:pt x="431" y="0"/>
                  <a:pt x="431" y="0"/>
                </a:cubicBezTo>
                <a:cubicBezTo>
                  <a:pt x="0" y="0"/>
                  <a:pt x="0" y="0"/>
                  <a:pt x="0" y="0"/>
                </a:cubicBezTo>
                <a:lnTo>
                  <a:pt x="0" y="570"/>
                </a:lnTo>
                <a:close/>
                <a:moveTo>
                  <a:pt x="22" y="22"/>
                </a:moveTo>
                <a:cubicBezTo>
                  <a:pt x="409" y="22"/>
                  <a:pt x="409" y="22"/>
                  <a:pt x="409" y="22"/>
                </a:cubicBezTo>
                <a:cubicBezTo>
                  <a:pt x="409" y="570"/>
                  <a:pt x="409" y="570"/>
                  <a:pt x="409" y="570"/>
                </a:cubicBezTo>
                <a:cubicBezTo>
                  <a:pt x="409" y="595"/>
                  <a:pt x="390" y="615"/>
                  <a:pt x="367" y="615"/>
                </a:cubicBezTo>
                <a:cubicBezTo>
                  <a:pt x="63" y="615"/>
                  <a:pt x="63" y="615"/>
                  <a:pt x="63" y="615"/>
                </a:cubicBezTo>
                <a:cubicBezTo>
                  <a:pt x="40" y="615"/>
                  <a:pt x="22" y="595"/>
                  <a:pt x="22" y="570"/>
                </a:cubicBezTo>
                <a:lnTo>
                  <a:pt x="22" y="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7C1591E5-3A57-467A-BDC1-C38EDF248173}"/>
              </a:ext>
            </a:extLst>
          </p:cNvPr>
          <p:cNvGrpSpPr/>
          <p:nvPr/>
        </p:nvGrpSpPr>
        <p:grpSpPr>
          <a:xfrm>
            <a:off x="1455738" y="2855913"/>
            <a:ext cx="768350" cy="768350"/>
            <a:chOff x="1455738" y="2855913"/>
            <a:chExt cx="768350" cy="768350"/>
          </a:xfrm>
        </p:grpSpPr>
        <p:sp>
          <p:nvSpPr>
            <p:cNvPr id="310" name="AutoShape 38">
              <a:extLst>
                <a:ext uri="{FF2B5EF4-FFF2-40B4-BE49-F238E27FC236}">
                  <a16:creationId xmlns:a16="http://schemas.microsoft.com/office/drawing/2014/main" id="{4A130D2F-B77E-4BA3-BD53-5E7F86D3CC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55738" y="285591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40">
              <a:extLst>
                <a:ext uri="{FF2B5EF4-FFF2-40B4-BE49-F238E27FC236}">
                  <a16:creationId xmlns:a16="http://schemas.microsoft.com/office/drawing/2014/main" id="{7E06AC33-5EE7-4041-A158-7B7E716E5A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5738" y="2855913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41">
              <a:extLst>
                <a:ext uri="{FF2B5EF4-FFF2-40B4-BE49-F238E27FC236}">
                  <a16:creationId xmlns:a16="http://schemas.microsoft.com/office/drawing/2014/main" id="{F494CA76-E3DF-49D7-85D0-B84172B58E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4338" y="2971801"/>
              <a:ext cx="361950" cy="506413"/>
            </a:xfrm>
            <a:custGeom>
              <a:avLst/>
              <a:gdLst>
                <a:gd name="T0" fmla="*/ 554 w 695"/>
                <a:gd name="T1" fmla="*/ 399 h 973"/>
                <a:gd name="T2" fmla="*/ 549 w 695"/>
                <a:gd name="T3" fmla="*/ 240 h 973"/>
                <a:gd name="T4" fmla="*/ 493 w 695"/>
                <a:gd name="T5" fmla="*/ 113 h 973"/>
                <a:gd name="T6" fmla="*/ 411 w 695"/>
                <a:gd name="T7" fmla="*/ 52 h 973"/>
                <a:gd name="T8" fmla="*/ 296 w 695"/>
                <a:gd name="T9" fmla="*/ 0 h 973"/>
                <a:gd name="T10" fmla="*/ 177 w 695"/>
                <a:gd name="T11" fmla="*/ 0 h 973"/>
                <a:gd name="T12" fmla="*/ 99 w 695"/>
                <a:gd name="T13" fmla="*/ 88 h 973"/>
                <a:gd name="T14" fmla="*/ 0 w 695"/>
                <a:gd name="T15" fmla="*/ 170 h 973"/>
                <a:gd name="T16" fmla="*/ 37 w 695"/>
                <a:gd name="T17" fmla="*/ 263 h 973"/>
                <a:gd name="T18" fmla="*/ 100 w 695"/>
                <a:gd name="T19" fmla="*/ 973 h 973"/>
                <a:gd name="T20" fmla="*/ 554 w 695"/>
                <a:gd name="T21" fmla="*/ 910 h 973"/>
                <a:gd name="T22" fmla="*/ 657 w 695"/>
                <a:gd name="T23" fmla="*/ 774 h 973"/>
                <a:gd name="T24" fmla="*/ 695 w 695"/>
                <a:gd name="T25" fmla="*/ 449 h 973"/>
                <a:gd name="T26" fmla="*/ 22 w 695"/>
                <a:gd name="T27" fmla="*/ 170 h 973"/>
                <a:gd name="T28" fmla="*/ 112 w 695"/>
                <a:gd name="T29" fmla="*/ 114 h 973"/>
                <a:gd name="T30" fmla="*/ 126 w 695"/>
                <a:gd name="T31" fmla="*/ 98 h 973"/>
                <a:gd name="T32" fmla="*/ 177 w 695"/>
                <a:gd name="T33" fmla="*/ 22 h 973"/>
                <a:gd name="T34" fmla="*/ 236 w 695"/>
                <a:gd name="T35" fmla="*/ 54 h 973"/>
                <a:gd name="T36" fmla="*/ 296 w 695"/>
                <a:gd name="T37" fmla="*/ 22 h 973"/>
                <a:gd name="T38" fmla="*/ 353 w 695"/>
                <a:gd name="T39" fmla="*/ 80 h 973"/>
                <a:gd name="T40" fmla="*/ 371 w 695"/>
                <a:gd name="T41" fmla="*/ 89 h 973"/>
                <a:gd name="T42" fmla="*/ 469 w 695"/>
                <a:gd name="T43" fmla="*/ 125 h 973"/>
                <a:gd name="T44" fmla="*/ 482 w 695"/>
                <a:gd name="T45" fmla="*/ 136 h 973"/>
                <a:gd name="T46" fmla="*/ 551 w 695"/>
                <a:gd name="T47" fmla="*/ 187 h 973"/>
                <a:gd name="T48" fmla="*/ 457 w 695"/>
                <a:gd name="T49" fmla="*/ 228 h 973"/>
                <a:gd name="T50" fmla="*/ 405 w 695"/>
                <a:gd name="T51" fmla="*/ 242 h 973"/>
                <a:gd name="T52" fmla="*/ 359 w 695"/>
                <a:gd name="T53" fmla="*/ 237 h 973"/>
                <a:gd name="T54" fmla="*/ 266 w 695"/>
                <a:gd name="T55" fmla="*/ 239 h 973"/>
                <a:gd name="T56" fmla="*/ 258 w 695"/>
                <a:gd name="T57" fmla="*/ 236 h 973"/>
                <a:gd name="T58" fmla="*/ 200 w 695"/>
                <a:gd name="T59" fmla="*/ 260 h 973"/>
                <a:gd name="T60" fmla="*/ 133 w 695"/>
                <a:gd name="T61" fmla="*/ 219 h 973"/>
                <a:gd name="T62" fmla="*/ 88 w 695"/>
                <a:gd name="T63" fmla="*/ 230 h 973"/>
                <a:gd name="T64" fmla="*/ 532 w 695"/>
                <a:gd name="T65" fmla="*/ 910 h 973"/>
                <a:gd name="T66" fmla="*/ 100 w 695"/>
                <a:gd name="T67" fmla="*/ 951 h 973"/>
                <a:gd name="T68" fmla="*/ 59 w 695"/>
                <a:gd name="T69" fmla="*/ 263 h 973"/>
                <a:gd name="T70" fmla="*/ 88 w 695"/>
                <a:gd name="T71" fmla="*/ 252 h 973"/>
                <a:gd name="T72" fmla="*/ 200 w 695"/>
                <a:gd name="T73" fmla="*/ 282 h 973"/>
                <a:gd name="T74" fmla="*/ 312 w 695"/>
                <a:gd name="T75" fmla="*/ 282 h 973"/>
                <a:gd name="T76" fmla="*/ 405 w 695"/>
                <a:gd name="T77" fmla="*/ 264 h 973"/>
                <a:gd name="T78" fmla="*/ 493 w 695"/>
                <a:gd name="T79" fmla="*/ 262 h 973"/>
                <a:gd name="T80" fmla="*/ 532 w 695"/>
                <a:gd name="T81" fmla="*/ 263 h 973"/>
                <a:gd name="T82" fmla="*/ 673 w 695"/>
                <a:gd name="T83" fmla="*/ 724 h 973"/>
                <a:gd name="T84" fmla="*/ 554 w 695"/>
                <a:gd name="T85" fmla="*/ 752 h 973"/>
                <a:gd name="T86" fmla="*/ 657 w 695"/>
                <a:gd name="T87" fmla="*/ 421 h 973"/>
                <a:gd name="T88" fmla="*/ 673 w 695"/>
                <a:gd name="T89" fmla="*/ 72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973">
                  <a:moveTo>
                    <a:pt x="657" y="399"/>
                  </a:moveTo>
                  <a:cubicBezTo>
                    <a:pt x="554" y="399"/>
                    <a:pt x="554" y="399"/>
                    <a:pt x="554" y="399"/>
                  </a:cubicBezTo>
                  <a:cubicBezTo>
                    <a:pt x="554" y="263"/>
                    <a:pt x="554" y="263"/>
                    <a:pt x="554" y="263"/>
                  </a:cubicBezTo>
                  <a:cubicBezTo>
                    <a:pt x="554" y="255"/>
                    <a:pt x="552" y="247"/>
                    <a:pt x="549" y="240"/>
                  </a:cubicBezTo>
                  <a:cubicBezTo>
                    <a:pt x="564" y="226"/>
                    <a:pt x="573" y="208"/>
                    <a:pt x="573" y="187"/>
                  </a:cubicBezTo>
                  <a:cubicBezTo>
                    <a:pt x="573" y="146"/>
                    <a:pt x="537" y="113"/>
                    <a:pt x="493" y="113"/>
                  </a:cubicBezTo>
                  <a:cubicBezTo>
                    <a:pt x="492" y="113"/>
                    <a:pt x="491" y="113"/>
                    <a:pt x="490" y="113"/>
                  </a:cubicBezTo>
                  <a:cubicBezTo>
                    <a:pt x="483" y="78"/>
                    <a:pt x="450" y="52"/>
                    <a:pt x="411" y="52"/>
                  </a:cubicBezTo>
                  <a:cubicBezTo>
                    <a:pt x="398" y="52"/>
                    <a:pt x="385" y="55"/>
                    <a:pt x="374" y="61"/>
                  </a:cubicBezTo>
                  <a:cubicBezTo>
                    <a:pt x="367" y="26"/>
                    <a:pt x="334" y="0"/>
                    <a:pt x="296" y="0"/>
                  </a:cubicBezTo>
                  <a:cubicBezTo>
                    <a:pt x="273" y="0"/>
                    <a:pt x="251" y="10"/>
                    <a:pt x="236" y="25"/>
                  </a:cubicBezTo>
                  <a:cubicBezTo>
                    <a:pt x="221" y="10"/>
                    <a:pt x="200" y="0"/>
                    <a:pt x="177" y="0"/>
                  </a:cubicBezTo>
                  <a:cubicBezTo>
                    <a:pt x="133" y="0"/>
                    <a:pt x="97" y="34"/>
                    <a:pt x="97" y="75"/>
                  </a:cubicBezTo>
                  <a:cubicBezTo>
                    <a:pt x="97" y="79"/>
                    <a:pt x="98" y="84"/>
                    <a:pt x="99" y="88"/>
                  </a:cubicBezTo>
                  <a:cubicBezTo>
                    <a:pt x="95" y="88"/>
                    <a:pt x="92" y="88"/>
                    <a:pt x="88" y="88"/>
                  </a:cubicBezTo>
                  <a:cubicBezTo>
                    <a:pt x="39" y="88"/>
                    <a:pt x="0" y="125"/>
                    <a:pt x="0" y="170"/>
                  </a:cubicBezTo>
                  <a:cubicBezTo>
                    <a:pt x="0" y="199"/>
                    <a:pt x="16" y="225"/>
                    <a:pt x="41" y="240"/>
                  </a:cubicBezTo>
                  <a:cubicBezTo>
                    <a:pt x="38" y="247"/>
                    <a:pt x="37" y="255"/>
                    <a:pt x="37" y="263"/>
                  </a:cubicBezTo>
                  <a:cubicBezTo>
                    <a:pt x="37" y="910"/>
                    <a:pt x="37" y="910"/>
                    <a:pt x="37" y="910"/>
                  </a:cubicBezTo>
                  <a:cubicBezTo>
                    <a:pt x="37" y="945"/>
                    <a:pt x="65" y="973"/>
                    <a:pt x="100" y="973"/>
                  </a:cubicBezTo>
                  <a:cubicBezTo>
                    <a:pt x="491" y="973"/>
                    <a:pt x="491" y="973"/>
                    <a:pt x="491" y="973"/>
                  </a:cubicBezTo>
                  <a:cubicBezTo>
                    <a:pt x="526" y="973"/>
                    <a:pt x="554" y="945"/>
                    <a:pt x="554" y="910"/>
                  </a:cubicBezTo>
                  <a:cubicBezTo>
                    <a:pt x="554" y="774"/>
                    <a:pt x="554" y="774"/>
                    <a:pt x="554" y="774"/>
                  </a:cubicBezTo>
                  <a:cubicBezTo>
                    <a:pt x="657" y="774"/>
                    <a:pt x="657" y="774"/>
                    <a:pt x="657" y="774"/>
                  </a:cubicBezTo>
                  <a:cubicBezTo>
                    <a:pt x="678" y="774"/>
                    <a:pt x="695" y="752"/>
                    <a:pt x="695" y="724"/>
                  </a:cubicBezTo>
                  <a:cubicBezTo>
                    <a:pt x="695" y="449"/>
                    <a:pt x="695" y="449"/>
                    <a:pt x="695" y="449"/>
                  </a:cubicBezTo>
                  <a:cubicBezTo>
                    <a:pt x="695" y="421"/>
                    <a:pt x="678" y="399"/>
                    <a:pt x="657" y="399"/>
                  </a:cubicBezTo>
                  <a:close/>
                  <a:moveTo>
                    <a:pt x="22" y="170"/>
                  </a:moveTo>
                  <a:cubicBezTo>
                    <a:pt x="22" y="137"/>
                    <a:pt x="52" y="110"/>
                    <a:pt x="88" y="110"/>
                  </a:cubicBezTo>
                  <a:cubicBezTo>
                    <a:pt x="96" y="110"/>
                    <a:pt x="104" y="111"/>
                    <a:pt x="112" y="114"/>
                  </a:cubicBezTo>
                  <a:cubicBezTo>
                    <a:pt x="117" y="116"/>
                    <a:pt x="121" y="114"/>
                    <a:pt x="124" y="111"/>
                  </a:cubicBezTo>
                  <a:cubicBezTo>
                    <a:pt x="127" y="107"/>
                    <a:pt x="128" y="102"/>
                    <a:pt x="126" y="98"/>
                  </a:cubicBezTo>
                  <a:cubicBezTo>
                    <a:pt x="122" y="91"/>
                    <a:pt x="119" y="83"/>
                    <a:pt x="119" y="75"/>
                  </a:cubicBezTo>
                  <a:cubicBezTo>
                    <a:pt x="119" y="46"/>
                    <a:pt x="145" y="22"/>
                    <a:pt x="177" y="22"/>
                  </a:cubicBezTo>
                  <a:cubicBezTo>
                    <a:pt x="198" y="22"/>
                    <a:pt x="217" y="32"/>
                    <a:pt x="227" y="49"/>
                  </a:cubicBezTo>
                  <a:cubicBezTo>
                    <a:pt x="229" y="52"/>
                    <a:pt x="233" y="54"/>
                    <a:pt x="236" y="54"/>
                  </a:cubicBezTo>
                  <a:cubicBezTo>
                    <a:pt x="240" y="54"/>
                    <a:pt x="244" y="52"/>
                    <a:pt x="246" y="49"/>
                  </a:cubicBezTo>
                  <a:cubicBezTo>
                    <a:pt x="256" y="32"/>
                    <a:pt x="275" y="22"/>
                    <a:pt x="296" y="22"/>
                  </a:cubicBezTo>
                  <a:cubicBezTo>
                    <a:pt x="327" y="22"/>
                    <a:pt x="353" y="46"/>
                    <a:pt x="353" y="75"/>
                  </a:cubicBezTo>
                  <a:cubicBezTo>
                    <a:pt x="353" y="76"/>
                    <a:pt x="353" y="78"/>
                    <a:pt x="353" y="80"/>
                  </a:cubicBezTo>
                  <a:cubicBezTo>
                    <a:pt x="352" y="84"/>
                    <a:pt x="355" y="89"/>
                    <a:pt x="359" y="91"/>
                  </a:cubicBezTo>
                  <a:cubicBezTo>
                    <a:pt x="363" y="93"/>
                    <a:pt x="368" y="92"/>
                    <a:pt x="371" y="89"/>
                  </a:cubicBezTo>
                  <a:cubicBezTo>
                    <a:pt x="382" y="79"/>
                    <a:pt x="396" y="74"/>
                    <a:pt x="411" y="74"/>
                  </a:cubicBezTo>
                  <a:cubicBezTo>
                    <a:pt x="442" y="74"/>
                    <a:pt x="468" y="97"/>
                    <a:pt x="469" y="125"/>
                  </a:cubicBezTo>
                  <a:cubicBezTo>
                    <a:pt x="469" y="129"/>
                    <a:pt x="470" y="132"/>
                    <a:pt x="473" y="134"/>
                  </a:cubicBezTo>
                  <a:cubicBezTo>
                    <a:pt x="475" y="136"/>
                    <a:pt x="479" y="137"/>
                    <a:pt x="482" y="136"/>
                  </a:cubicBezTo>
                  <a:cubicBezTo>
                    <a:pt x="486" y="135"/>
                    <a:pt x="489" y="135"/>
                    <a:pt x="493" y="135"/>
                  </a:cubicBezTo>
                  <a:cubicBezTo>
                    <a:pt x="525" y="135"/>
                    <a:pt x="551" y="158"/>
                    <a:pt x="551" y="187"/>
                  </a:cubicBezTo>
                  <a:cubicBezTo>
                    <a:pt x="551" y="216"/>
                    <a:pt x="525" y="240"/>
                    <a:pt x="493" y="240"/>
                  </a:cubicBezTo>
                  <a:cubicBezTo>
                    <a:pt x="480" y="240"/>
                    <a:pt x="467" y="236"/>
                    <a:pt x="457" y="228"/>
                  </a:cubicBezTo>
                  <a:cubicBezTo>
                    <a:pt x="453" y="225"/>
                    <a:pt x="447" y="226"/>
                    <a:pt x="444" y="229"/>
                  </a:cubicBezTo>
                  <a:cubicBezTo>
                    <a:pt x="433" y="238"/>
                    <a:pt x="419" y="242"/>
                    <a:pt x="405" y="242"/>
                  </a:cubicBezTo>
                  <a:cubicBezTo>
                    <a:pt x="394" y="242"/>
                    <a:pt x="383" y="240"/>
                    <a:pt x="374" y="234"/>
                  </a:cubicBezTo>
                  <a:cubicBezTo>
                    <a:pt x="369" y="231"/>
                    <a:pt x="363" y="233"/>
                    <a:pt x="359" y="237"/>
                  </a:cubicBezTo>
                  <a:cubicBezTo>
                    <a:pt x="349" y="251"/>
                    <a:pt x="331" y="260"/>
                    <a:pt x="312" y="260"/>
                  </a:cubicBezTo>
                  <a:cubicBezTo>
                    <a:pt x="294" y="260"/>
                    <a:pt x="277" y="253"/>
                    <a:pt x="266" y="239"/>
                  </a:cubicBezTo>
                  <a:cubicBezTo>
                    <a:pt x="264" y="237"/>
                    <a:pt x="261" y="236"/>
                    <a:pt x="258" y="236"/>
                  </a:cubicBezTo>
                  <a:cubicBezTo>
                    <a:pt x="258" y="236"/>
                    <a:pt x="258" y="236"/>
                    <a:pt x="258" y="236"/>
                  </a:cubicBezTo>
                  <a:cubicBezTo>
                    <a:pt x="255" y="236"/>
                    <a:pt x="252" y="237"/>
                    <a:pt x="250" y="239"/>
                  </a:cubicBezTo>
                  <a:cubicBezTo>
                    <a:pt x="237" y="252"/>
                    <a:pt x="219" y="260"/>
                    <a:pt x="200" y="260"/>
                  </a:cubicBezTo>
                  <a:cubicBezTo>
                    <a:pt x="174" y="260"/>
                    <a:pt x="150" y="246"/>
                    <a:pt x="140" y="225"/>
                  </a:cubicBezTo>
                  <a:cubicBezTo>
                    <a:pt x="138" y="222"/>
                    <a:pt x="136" y="220"/>
                    <a:pt x="133" y="219"/>
                  </a:cubicBezTo>
                  <a:cubicBezTo>
                    <a:pt x="130" y="218"/>
                    <a:pt x="127" y="219"/>
                    <a:pt x="124" y="220"/>
                  </a:cubicBezTo>
                  <a:cubicBezTo>
                    <a:pt x="113" y="227"/>
                    <a:pt x="101" y="230"/>
                    <a:pt x="88" y="230"/>
                  </a:cubicBezTo>
                  <a:cubicBezTo>
                    <a:pt x="52" y="230"/>
                    <a:pt x="22" y="203"/>
                    <a:pt x="22" y="170"/>
                  </a:cubicBezTo>
                  <a:close/>
                  <a:moveTo>
                    <a:pt x="532" y="910"/>
                  </a:moveTo>
                  <a:cubicBezTo>
                    <a:pt x="532" y="933"/>
                    <a:pt x="513" y="951"/>
                    <a:pt x="491" y="951"/>
                  </a:cubicBezTo>
                  <a:cubicBezTo>
                    <a:pt x="100" y="951"/>
                    <a:pt x="100" y="951"/>
                    <a:pt x="100" y="951"/>
                  </a:cubicBezTo>
                  <a:cubicBezTo>
                    <a:pt x="77" y="951"/>
                    <a:pt x="59" y="933"/>
                    <a:pt x="59" y="910"/>
                  </a:cubicBezTo>
                  <a:cubicBezTo>
                    <a:pt x="59" y="263"/>
                    <a:pt x="59" y="263"/>
                    <a:pt x="59" y="263"/>
                  </a:cubicBezTo>
                  <a:cubicBezTo>
                    <a:pt x="59" y="258"/>
                    <a:pt x="60" y="253"/>
                    <a:pt x="61" y="249"/>
                  </a:cubicBezTo>
                  <a:cubicBezTo>
                    <a:pt x="70" y="251"/>
                    <a:pt x="79" y="252"/>
                    <a:pt x="88" y="252"/>
                  </a:cubicBezTo>
                  <a:cubicBezTo>
                    <a:pt x="101" y="252"/>
                    <a:pt x="114" y="250"/>
                    <a:pt x="126" y="244"/>
                  </a:cubicBezTo>
                  <a:cubicBezTo>
                    <a:pt x="142" y="268"/>
                    <a:pt x="170" y="282"/>
                    <a:pt x="200" y="282"/>
                  </a:cubicBezTo>
                  <a:cubicBezTo>
                    <a:pt x="221" y="282"/>
                    <a:pt x="241" y="275"/>
                    <a:pt x="257" y="262"/>
                  </a:cubicBezTo>
                  <a:cubicBezTo>
                    <a:pt x="272" y="275"/>
                    <a:pt x="291" y="282"/>
                    <a:pt x="312" y="282"/>
                  </a:cubicBezTo>
                  <a:cubicBezTo>
                    <a:pt x="335" y="282"/>
                    <a:pt x="356" y="273"/>
                    <a:pt x="371" y="257"/>
                  </a:cubicBezTo>
                  <a:cubicBezTo>
                    <a:pt x="382" y="262"/>
                    <a:pt x="393" y="264"/>
                    <a:pt x="405" y="264"/>
                  </a:cubicBezTo>
                  <a:cubicBezTo>
                    <a:pt x="421" y="264"/>
                    <a:pt x="438" y="260"/>
                    <a:pt x="451" y="251"/>
                  </a:cubicBezTo>
                  <a:cubicBezTo>
                    <a:pt x="464" y="258"/>
                    <a:pt x="478" y="262"/>
                    <a:pt x="493" y="262"/>
                  </a:cubicBezTo>
                  <a:cubicBezTo>
                    <a:pt x="507" y="262"/>
                    <a:pt x="519" y="259"/>
                    <a:pt x="531" y="253"/>
                  </a:cubicBezTo>
                  <a:cubicBezTo>
                    <a:pt x="532" y="256"/>
                    <a:pt x="532" y="260"/>
                    <a:pt x="532" y="263"/>
                  </a:cubicBezTo>
                  <a:lnTo>
                    <a:pt x="532" y="910"/>
                  </a:lnTo>
                  <a:close/>
                  <a:moveTo>
                    <a:pt x="673" y="724"/>
                  </a:moveTo>
                  <a:cubicBezTo>
                    <a:pt x="673" y="740"/>
                    <a:pt x="664" y="752"/>
                    <a:pt x="657" y="752"/>
                  </a:cubicBezTo>
                  <a:cubicBezTo>
                    <a:pt x="554" y="752"/>
                    <a:pt x="554" y="752"/>
                    <a:pt x="554" y="752"/>
                  </a:cubicBezTo>
                  <a:cubicBezTo>
                    <a:pt x="554" y="421"/>
                    <a:pt x="554" y="421"/>
                    <a:pt x="554" y="421"/>
                  </a:cubicBezTo>
                  <a:cubicBezTo>
                    <a:pt x="657" y="421"/>
                    <a:pt x="657" y="421"/>
                    <a:pt x="657" y="421"/>
                  </a:cubicBezTo>
                  <a:cubicBezTo>
                    <a:pt x="664" y="421"/>
                    <a:pt x="673" y="433"/>
                    <a:pt x="673" y="449"/>
                  </a:cubicBezTo>
                  <a:lnTo>
                    <a:pt x="673" y="7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42">
              <a:extLst>
                <a:ext uri="{FF2B5EF4-FFF2-40B4-BE49-F238E27FC236}">
                  <a16:creationId xmlns:a16="http://schemas.microsoft.com/office/drawing/2014/main" id="{AE3902C3-3BBC-4AB0-AB7C-127B687682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125788"/>
              <a:ext cx="223838" cy="331788"/>
            </a:xfrm>
            <a:custGeom>
              <a:avLst/>
              <a:gdLst>
                <a:gd name="T0" fmla="*/ 0 w 431"/>
                <a:gd name="T1" fmla="*/ 570 h 637"/>
                <a:gd name="T2" fmla="*/ 63 w 431"/>
                <a:gd name="T3" fmla="*/ 637 h 637"/>
                <a:gd name="T4" fmla="*/ 367 w 431"/>
                <a:gd name="T5" fmla="*/ 637 h 637"/>
                <a:gd name="T6" fmla="*/ 431 w 431"/>
                <a:gd name="T7" fmla="*/ 570 h 637"/>
                <a:gd name="T8" fmla="*/ 431 w 431"/>
                <a:gd name="T9" fmla="*/ 0 h 637"/>
                <a:gd name="T10" fmla="*/ 0 w 431"/>
                <a:gd name="T11" fmla="*/ 0 h 637"/>
                <a:gd name="T12" fmla="*/ 0 w 431"/>
                <a:gd name="T13" fmla="*/ 570 h 637"/>
                <a:gd name="T14" fmla="*/ 22 w 431"/>
                <a:gd name="T15" fmla="*/ 22 h 637"/>
                <a:gd name="T16" fmla="*/ 409 w 431"/>
                <a:gd name="T17" fmla="*/ 22 h 637"/>
                <a:gd name="T18" fmla="*/ 409 w 431"/>
                <a:gd name="T19" fmla="*/ 570 h 637"/>
                <a:gd name="T20" fmla="*/ 367 w 431"/>
                <a:gd name="T21" fmla="*/ 615 h 637"/>
                <a:gd name="T22" fmla="*/ 63 w 431"/>
                <a:gd name="T23" fmla="*/ 615 h 637"/>
                <a:gd name="T24" fmla="*/ 22 w 431"/>
                <a:gd name="T25" fmla="*/ 570 h 637"/>
                <a:gd name="T26" fmla="*/ 22 w 431"/>
                <a:gd name="T27" fmla="*/ 22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1" h="637">
                  <a:moveTo>
                    <a:pt x="0" y="570"/>
                  </a:moveTo>
                  <a:cubicBezTo>
                    <a:pt x="0" y="607"/>
                    <a:pt x="28" y="637"/>
                    <a:pt x="63" y="637"/>
                  </a:cubicBezTo>
                  <a:cubicBezTo>
                    <a:pt x="367" y="637"/>
                    <a:pt x="367" y="637"/>
                    <a:pt x="367" y="637"/>
                  </a:cubicBezTo>
                  <a:cubicBezTo>
                    <a:pt x="402" y="637"/>
                    <a:pt x="431" y="607"/>
                    <a:pt x="431" y="57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70"/>
                  </a:lnTo>
                  <a:close/>
                  <a:moveTo>
                    <a:pt x="22" y="22"/>
                  </a:moveTo>
                  <a:cubicBezTo>
                    <a:pt x="409" y="22"/>
                    <a:pt x="409" y="22"/>
                    <a:pt x="409" y="22"/>
                  </a:cubicBezTo>
                  <a:cubicBezTo>
                    <a:pt x="409" y="570"/>
                    <a:pt x="409" y="570"/>
                    <a:pt x="409" y="570"/>
                  </a:cubicBezTo>
                  <a:cubicBezTo>
                    <a:pt x="409" y="595"/>
                    <a:pt x="390" y="615"/>
                    <a:pt x="367" y="615"/>
                  </a:cubicBezTo>
                  <a:cubicBezTo>
                    <a:pt x="63" y="615"/>
                    <a:pt x="63" y="615"/>
                    <a:pt x="63" y="615"/>
                  </a:cubicBezTo>
                  <a:cubicBezTo>
                    <a:pt x="40" y="615"/>
                    <a:pt x="22" y="595"/>
                    <a:pt x="22" y="570"/>
                  </a:cubicBezTo>
                  <a:lnTo>
                    <a:pt x="22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72" name="Group 46271">
            <a:extLst>
              <a:ext uri="{FF2B5EF4-FFF2-40B4-BE49-F238E27FC236}">
                <a16:creationId xmlns:a16="http://schemas.microsoft.com/office/drawing/2014/main" id="{DE389390-E43A-40B3-9407-AD83AB7536F4}"/>
              </a:ext>
            </a:extLst>
          </p:cNvPr>
          <p:cNvGrpSpPr/>
          <p:nvPr/>
        </p:nvGrpSpPr>
        <p:grpSpPr>
          <a:xfrm>
            <a:off x="4784725" y="2808288"/>
            <a:ext cx="841375" cy="839787"/>
            <a:chOff x="4784725" y="2808288"/>
            <a:chExt cx="841375" cy="839787"/>
          </a:xfrm>
        </p:grpSpPr>
        <p:sp>
          <p:nvSpPr>
            <p:cNvPr id="316" name="AutoShape 44">
              <a:extLst>
                <a:ext uri="{FF2B5EF4-FFF2-40B4-BE49-F238E27FC236}">
                  <a16:creationId xmlns:a16="http://schemas.microsoft.com/office/drawing/2014/main" id="{80E1C70D-1992-47C8-B6EC-9F73446E14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84725" y="2808288"/>
              <a:ext cx="841375" cy="839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46">
              <a:extLst>
                <a:ext uri="{FF2B5EF4-FFF2-40B4-BE49-F238E27FC236}">
                  <a16:creationId xmlns:a16="http://schemas.microsoft.com/office/drawing/2014/main" id="{11F65624-CACB-44B8-849F-F8477DFC5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4725" y="2808288"/>
              <a:ext cx="841375" cy="83978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47">
              <a:extLst>
                <a:ext uri="{FF2B5EF4-FFF2-40B4-BE49-F238E27FC236}">
                  <a16:creationId xmlns:a16="http://schemas.microsoft.com/office/drawing/2014/main" id="{CED37A8A-08B8-47CB-B162-71A5E3B8C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8063" y="2841625"/>
              <a:ext cx="774700" cy="77470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48">
              <a:extLst>
                <a:ext uri="{FF2B5EF4-FFF2-40B4-BE49-F238E27FC236}">
                  <a16:creationId xmlns:a16="http://schemas.microsoft.com/office/drawing/2014/main" id="{B5266AB6-7EC6-480B-8534-316D634930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3036888"/>
              <a:ext cx="469900" cy="388937"/>
            </a:xfrm>
            <a:custGeom>
              <a:avLst/>
              <a:gdLst>
                <a:gd name="T0" fmla="*/ 883 w 892"/>
                <a:gd name="T1" fmla="*/ 85 h 740"/>
                <a:gd name="T2" fmla="*/ 596 w 892"/>
                <a:gd name="T3" fmla="*/ 1 h 740"/>
                <a:gd name="T4" fmla="*/ 593 w 892"/>
                <a:gd name="T5" fmla="*/ 0 h 740"/>
                <a:gd name="T6" fmla="*/ 529 w 892"/>
                <a:gd name="T7" fmla="*/ 0 h 740"/>
                <a:gd name="T8" fmla="*/ 518 w 892"/>
                <a:gd name="T9" fmla="*/ 9 h 740"/>
                <a:gd name="T10" fmla="*/ 444 w 892"/>
                <a:gd name="T11" fmla="*/ 70 h 740"/>
                <a:gd name="T12" fmla="*/ 371 w 892"/>
                <a:gd name="T13" fmla="*/ 9 h 740"/>
                <a:gd name="T14" fmla="*/ 360 w 892"/>
                <a:gd name="T15" fmla="*/ 0 h 740"/>
                <a:gd name="T16" fmla="*/ 295 w 892"/>
                <a:gd name="T17" fmla="*/ 0 h 740"/>
                <a:gd name="T18" fmla="*/ 291 w 892"/>
                <a:gd name="T19" fmla="*/ 1 h 740"/>
                <a:gd name="T20" fmla="*/ 8 w 892"/>
                <a:gd name="T21" fmla="*/ 83 h 740"/>
                <a:gd name="T22" fmla="*/ 2 w 892"/>
                <a:gd name="T23" fmla="*/ 89 h 740"/>
                <a:gd name="T24" fmla="*/ 1 w 892"/>
                <a:gd name="T25" fmla="*/ 97 h 740"/>
                <a:gd name="T26" fmla="*/ 56 w 892"/>
                <a:gd name="T27" fmla="*/ 271 h 740"/>
                <a:gd name="T28" fmla="*/ 69 w 892"/>
                <a:gd name="T29" fmla="*/ 278 h 740"/>
                <a:gd name="T30" fmla="*/ 196 w 892"/>
                <a:gd name="T31" fmla="*/ 243 h 740"/>
                <a:gd name="T32" fmla="*/ 196 w 892"/>
                <a:gd name="T33" fmla="*/ 729 h 740"/>
                <a:gd name="T34" fmla="*/ 207 w 892"/>
                <a:gd name="T35" fmla="*/ 740 h 740"/>
                <a:gd name="T36" fmla="*/ 690 w 892"/>
                <a:gd name="T37" fmla="*/ 740 h 740"/>
                <a:gd name="T38" fmla="*/ 701 w 892"/>
                <a:gd name="T39" fmla="*/ 729 h 740"/>
                <a:gd name="T40" fmla="*/ 701 w 892"/>
                <a:gd name="T41" fmla="*/ 243 h 740"/>
                <a:gd name="T42" fmla="*/ 826 w 892"/>
                <a:gd name="T43" fmla="*/ 280 h 740"/>
                <a:gd name="T44" fmla="*/ 834 w 892"/>
                <a:gd name="T45" fmla="*/ 279 h 740"/>
                <a:gd name="T46" fmla="*/ 839 w 892"/>
                <a:gd name="T47" fmla="*/ 272 h 740"/>
                <a:gd name="T48" fmla="*/ 890 w 892"/>
                <a:gd name="T49" fmla="*/ 99 h 740"/>
                <a:gd name="T50" fmla="*/ 883 w 892"/>
                <a:gd name="T51" fmla="*/ 85 h 740"/>
                <a:gd name="T52" fmla="*/ 821 w 892"/>
                <a:gd name="T53" fmla="*/ 256 h 740"/>
                <a:gd name="T54" fmla="*/ 693 w 892"/>
                <a:gd name="T55" fmla="*/ 218 h 740"/>
                <a:gd name="T56" fmla="*/ 684 w 892"/>
                <a:gd name="T57" fmla="*/ 220 h 740"/>
                <a:gd name="T58" fmla="*/ 679 w 892"/>
                <a:gd name="T59" fmla="*/ 228 h 740"/>
                <a:gd name="T60" fmla="*/ 679 w 892"/>
                <a:gd name="T61" fmla="*/ 718 h 740"/>
                <a:gd name="T62" fmla="*/ 218 w 892"/>
                <a:gd name="T63" fmla="*/ 718 h 740"/>
                <a:gd name="T64" fmla="*/ 218 w 892"/>
                <a:gd name="T65" fmla="*/ 228 h 740"/>
                <a:gd name="T66" fmla="*/ 214 w 892"/>
                <a:gd name="T67" fmla="*/ 220 h 740"/>
                <a:gd name="T68" fmla="*/ 204 w 892"/>
                <a:gd name="T69" fmla="*/ 218 h 740"/>
                <a:gd name="T70" fmla="*/ 74 w 892"/>
                <a:gd name="T71" fmla="*/ 254 h 740"/>
                <a:gd name="T72" fmla="*/ 25 w 892"/>
                <a:gd name="T73" fmla="*/ 101 h 740"/>
                <a:gd name="T74" fmla="*/ 296 w 892"/>
                <a:gd name="T75" fmla="*/ 22 h 740"/>
                <a:gd name="T76" fmla="*/ 351 w 892"/>
                <a:gd name="T77" fmla="*/ 22 h 740"/>
                <a:gd name="T78" fmla="*/ 444 w 892"/>
                <a:gd name="T79" fmla="*/ 92 h 740"/>
                <a:gd name="T80" fmla="*/ 538 w 892"/>
                <a:gd name="T81" fmla="*/ 22 h 740"/>
                <a:gd name="T82" fmla="*/ 591 w 892"/>
                <a:gd name="T83" fmla="*/ 22 h 740"/>
                <a:gd name="T84" fmla="*/ 866 w 892"/>
                <a:gd name="T85" fmla="*/ 103 h 740"/>
                <a:gd name="T86" fmla="*/ 821 w 892"/>
                <a:gd name="T87" fmla="*/ 256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92" h="740">
                  <a:moveTo>
                    <a:pt x="883" y="85"/>
                  </a:moveTo>
                  <a:cubicBezTo>
                    <a:pt x="596" y="1"/>
                    <a:pt x="596" y="1"/>
                    <a:pt x="596" y="1"/>
                  </a:cubicBezTo>
                  <a:cubicBezTo>
                    <a:pt x="595" y="0"/>
                    <a:pt x="594" y="0"/>
                    <a:pt x="593" y="0"/>
                  </a:cubicBezTo>
                  <a:cubicBezTo>
                    <a:pt x="529" y="0"/>
                    <a:pt x="529" y="0"/>
                    <a:pt x="529" y="0"/>
                  </a:cubicBezTo>
                  <a:cubicBezTo>
                    <a:pt x="524" y="0"/>
                    <a:pt x="519" y="4"/>
                    <a:pt x="518" y="9"/>
                  </a:cubicBezTo>
                  <a:cubicBezTo>
                    <a:pt x="511" y="44"/>
                    <a:pt x="480" y="70"/>
                    <a:pt x="444" y="70"/>
                  </a:cubicBezTo>
                  <a:cubicBezTo>
                    <a:pt x="408" y="70"/>
                    <a:pt x="377" y="44"/>
                    <a:pt x="371" y="9"/>
                  </a:cubicBezTo>
                  <a:cubicBezTo>
                    <a:pt x="370" y="4"/>
                    <a:pt x="365" y="0"/>
                    <a:pt x="360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4" y="0"/>
                    <a:pt x="292" y="0"/>
                    <a:pt x="291" y="1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6" y="84"/>
                    <a:pt x="3" y="86"/>
                    <a:pt x="2" y="89"/>
                  </a:cubicBezTo>
                  <a:cubicBezTo>
                    <a:pt x="0" y="91"/>
                    <a:pt x="0" y="94"/>
                    <a:pt x="1" y="9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58" y="276"/>
                    <a:pt x="64" y="280"/>
                    <a:pt x="69" y="278"/>
                  </a:cubicBezTo>
                  <a:cubicBezTo>
                    <a:pt x="196" y="243"/>
                    <a:pt x="196" y="243"/>
                    <a:pt x="196" y="243"/>
                  </a:cubicBezTo>
                  <a:cubicBezTo>
                    <a:pt x="196" y="729"/>
                    <a:pt x="196" y="729"/>
                    <a:pt x="196" y="729"/>
                  </a:cubicBezTo>
                  <a:cubicBezTo>
                    <a:pt x="196" y="735"/>
                    <a:pt x="201" y="740"/>
                    <a:pt x="207" y="740"/>
                  </a:cubicBezTo>
                  <a:cubicBezTo>
                    <a:pt x="690" y="740"/>
                    <a:pt x="690" y="740"/>
                    <a:pt x="690" y="740"/>
                  </a:cubicBezTo>
                  <a:cubicBezTo>
                    <a:pt x="696" y="740"/>
                    <a:pt x="701" y="735"/>
                    <a:pt x="701" y="729"/>
                  </a:cubicBezTo>
                  <a:cubicBezTo>
                    <a:pt x="701" y="243"/>
                    <a:pt x="701" y="243"/>
                    <a:pt x="701" y="243"/>
                  </a:cubicBezTo>
                  <a:cubicBezTo>
                    <a:pt x="826" y="280"/>
                    <a:pt x="826" y="280"/>
                    <a:pt x="826" y="280"/>
                  </a:cubicBezTo>
                  <a:cubicBezTo>
                    <a:pt x="828" y="281"/>
                    <a:pt x="831" y="280"/>
                    <a:pt x="834" y="279"/>
                  </a:cubicBezTo>
                  <a:cubicBezTo>
                    <a:pt x="837" y="278"/>
                    <a:pt x="838" y="275"/>
                    <a:pt x="839" y="272"/>
                  </a:cubicBezTo>
                  <a:cubicBezTo>
                    <a:pt x="890" y="99"/>
                    <a:pt x="890" y="99"/>
                    <a:pt x="890" y="99"/>
                  </a:cubicBezTo>
                  <a:cubicBezTo>
                    <a:pt x="892" y="93"/>
                    <a:pt x="889" y="87"/>
                    <a:pt x="883" y="85"/>
                  </a:cubicBezTo>
                  <a:close/>
                  <a:moveTo>
                    <a:pt x="821" y="256"/>
                  </a:moveTo>
                  <a:cubicBezTo>
                    <a:pt x="693" y="218"/>
                    <a:pt x="693" y="218"/>
                    <a:pt x="693" y="218"/>
                  </a:cubicBezTo>
                  <a:cubicBezTo>
                    <a:pt x="690" y="217"/>
                    <a:pt x="686" y="218"/>
                    <a:pt x="684" y="220"/>
                  </a:cubicBezTo>
                  <a:cubicBezTo>
                    <a:pt x="681" y="222"/>
                    <a:pt x="679" y="225"/>
                    <a:pt x="679" y="228"/>
                  </a:cubicBezTo>
                  <a:cubicBezTo>
                    <a:pt x="679" y="718"/>
                    <a:pt x="679" y="718"/>
                    <a:pt x="679" y="718"/>
                  </a:cubicBezTo>
                  <a:cubicBezTo>
                    <a:pt x="218" y="718"/>
                    <a:pt x="218" y="718"/>
                    <a:pt x="218" y="718"/>
                  </a:cubicBezTo>
                  <a:cubicBezTo>
                    <a:pt x="218" y="228"/>
                    <a:pt x="218" y="228"/>
                    <a:pt x="218" y="228"/>
                  </a:cubicBezTo>
                  <a:cubicBezTo>
                    <a:pt x="218" y="225"/>
                    <a:pt x="216" y="222"/>
                    <a:pt x="214" y="220"/>
                  </a:cubicBezTo>
                  <a:cubicBezTo>
                    <a:pt x="211" y="218"/>
                    <a:pt x="207" y="217"/>
                    <a:pt x="204" y="218"/>
                  </a:cubicBezTo>
                  <a:cubicBezTo>
                    <a:pt x="74" y="254"/>
                    <a:pt x="74" y="254"/>
                    <a:pt x="74" y="254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296" y="22"/>
                    <a:pt x="296" y="22"/>
                    <a:pt x="296" y="22"/>
                  </a:cubicBezTo>
                  <a:cubicBezTo>
                    <a:pt x="351" y="22"/>
                    <a:pt x="351" y="22"/>
                    <a:pt x="351" y="22"/>
                  </a:cubicBezTo>
                  <a:cubicBezTo>
                    <a:pt x="363" y="63"/>
                    <a:pt x="401" y="92"/>
                    <a:pt x="444" y="92"/>
                  </a:cubicBezTo>
                  <a:cubicBezTo>
                    <a:pt x="488" y="92"/>
                    <a:pt x="526" y="63"/>
                    <a:pt x="538" y="22"/>
                  </a:cubicBezTo>
                  <a:cubicBezTo>
                    <a:pt x="591" y="22"/>
                    <a:pt x="591" y="22"/>
                    <a:pt x="591" y="22"/>
                  </a:cubicBezTo>
                  <a:cubicBezTo>
                    <a:pt x="866" y="103"/>
                    <a:pt x="866" y="103"/>
                    <a:pt x="866" y="103"/>
                  </a:cubicBezTo>
                  <a:lnTo>
                    <a:pt x="821" y="2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86" name="Group 46285">
            <a:extLst>
              <a:ext uri="{FF2B5EF4-FFF2-40B4-BE49-F238E27FC236}">
                <a16:creationId xmlns:a16="http://schemas.microsoft.com/office/drawing/2014/main" id="{4CB452F6-1DD6-4841-9EEB-CF6007E2E681}"/>
              </a:ext>
            </a:extLst>
          </p:cNvPr>
          <p:cNvGrpSpPr/>
          <p:nvPr/>
        </p:nvGrpSpPr>
        <p:grpSpPr>
          <a:xfrm>
            <a:off x="5868988" y="2808288"/>
            <a:ext cx="768350" cy="768350"/>
            <a:chOff x="5868988" y="2808288"/>
            <a:chExt cx="768350" cy="768350"/>
          </a:xfrm>
        </p:grpSpPr>
        <p:sp>
          <p:nvSpPr>
            <p:cNvPr id="46283" name="AutoShape 50">
              <a:extLst>
                <a:ext uri="{FF2B5EF4-FFF2-40B4-BE49-F238E27FC236}">
                  <a16:creationId xmlns:a16="http://schemas.microsoft.com/office/drawing/2014/main" id="{E09E494A-4F20-436E-B5B4-CD3A6A505A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8988" y="2808288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4" name="Freeform 52">
              <a:extLst>
                <a:ext uri="{FF2B5EF4-FFF2-40B4-BE49-F238E27FC236}">
                  <a16:creationId xmlns:a16="http://schemas.microsoft.com/office/drawing/2014/main" id="{CFC3B0BC-AEDF-4B2C-8321-993D9A694F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8988" y="2808288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5" name="Freeform 53">
              <a:extLst>
                <a:ext uri="{FF2B5EF4-FFF2-40B4-BE49-F238E27FC236}">
                  <a16:creationId xmlns:a16="http://schemas.microsoft.com/office/drawing/2014/main" id="{36BDE7BA-49CD-4736-AFD1-90EEC28E3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1388" y="3001963"/>
              <a:ext cx="463550" cy="385763"/>
            </a:xfrm>
            <a:custGeom>
              <a:avLst/>
              <a:gdLst>
                <a:gd name="T0" fmla="*/ 883 w 892"/>
                <a:gd name="T1" fmla="*/ 85 h 740"/>
                <a:gd name="T2" fmla="*/ 596 w 892"/>
                <a:gd name="T3" fmla="*/ 1 h 740"/>
                <a:gd name="T4" fmla="*/ 593 w 892"/>
                <a:gd name="T5" fmla="*/ 0 h 740"/>
                <a:gd name="T6" fmla="*/ 529 w 892"/>
                <a:gd name="T7" fmla="*/ 0 h 740"/>
                <a:gd name="T8" fmla="*/ 518 w 892"/>
                <a:gd name="T9" fmla="*/ 9 h 740"/>
                <a:gd name="T10" fmla="*/ 444 w 892"/>
                <a:gd name="T11" fmla="*/ 70 h 740"/>
                <a:gd name="T12" fmla="*/ 371 w 892"/>
                <a:gd name="T13" fmla="*/ 9 h 740"/>
                <a:gd name="T14" fmla="*/ 360 w 892"/>
                <a:gd name="T15" fmla="*/ 0 h 740"/>
                <a:gd name="T16" fmla="*/ 295 w 892"/>
                <a:gd name="T17" fmla="*/ 0 h 740"/>
                <a:gd name="T18" fmla="*/ 291 w 892"/>
                <a:gd name="T19" fmla="*/ 1 h 740"/>
                <a:gd name="T20" fmla="*/ 8 w 892"/>
                <a:gd name="T21" fmla="*/ 83 h 740"/>
                <a:gd name="T22" fmla="*/ 2 w 892"/>
                <a:gd name="T23" fmla="*/ 89 h 740"/>
                <a:gd name="T24" fmla="*/ 1 w 892"/>
                <a:gd name="T25" fmla="*/ 97 h 740"/>
                <a:gd name="T26" fmla="*/ 56 w 892"/>
                <a:gd name="T27" fmla="*/ 271 h 740"/>
                <a:gd name="T28" fmla="*/ 69 w 892"/>
                <a:gd name="T29" fmla="*/ 278 h 740"/>
                <a:gd name="T30" fmla="*/ 196 w 892"/>
                <a:gd name="T31" fmla="*/ 243 h 740"/>
                <a:gd name="T32" fmla="*/ 196 w 892"/>
                <a:gd name="T33" fmla="*/ 729 h 740"/>
                <a:gd name="T34" fmla="*/ 207 w 892"/>
                <a:gd name="T35" fmla="*/ 740 h 740"/>
                <a:gd name="T36" fmla="*/ 690 w 892"/>
                <a:gd name="T37" fmla="*/ 740 h 740"/>
                <a:gd name="T38" fmla="*/ 701 w 892"/>
                <a:gd name="T39" fmla="*/ 729 h 740"/>
                <a:gd name="T40" fmla="*/ 701 w 892"/>
                <a:gd name="T41" fmla="*/ 243 h 740"/>
                <a:gd name="T42" fmla="*/ 826 w 892"/>
                <a:gd name="T43" fmla="*/ 280 h 740"/>
                <a:gd name="T44" fmla="*/ 834 w 892"/>
                <a:gd name="T45" fmla="*/ 279 h 740"/>
                <a:gd name="T46" fmla="*/ 839 w 892"/>
                <a:gd name="T47" fmla="*/ 272 h 740"/>
                <a:gd name="T48" fmla="*/ 890 w 892"/>
                <a:gd name="T49" fmla="*/ 99 h 740"/>
                <a:gd name="T50" fmla="*/ 883 w 892"/>
                <a:gd name="T51" fmla="*/ 85 h 740"/>
                <a:gd name="T52" fmla="*/ 821 w 892"/>
                <a:gd name="T53" fmla="*/ 256 h 740"/>
                <a:gd name="T54" fmla="*/ 693 w 892"/>
                <a:gd name="T55" fmla="*/ 218 h 740"/>
                <a:gd name="T56" fmla="*/ 684 w 892"/>
                <a:gd name="T57" fmla="*/ 220 h 740"/>
                <a:gd name="T58" fmla="*/ 679 w 892"/>
                <a:gd name="T59" fmla="*/ 228 h 740"/>
                <a:gd name="T60" fmla="*/ 679 w 892"/>
                <a:gd name="T61" fmla="*/ 718 h 740"/>
                <a:gd name="T62" fmla="*/ 218 w 892"/>
                <a:gd name="T63" fmla="*/ 718 h 740"/>
                <a:gd name="T64" fmla="*/ 218 w 892"/>
                <a:gd name="T65" fmla="*/ 228 h 740"/>
                <a:gd name="T66" fmla="*/ 214 w 892"/>
                <a:gd name="T67" fmla="*/ 220 h 740"/>
                <a:gd name="T68" fmla="*/ 204 w 892"/>
                <a:gd name="T69" fmla="*/ 218 h 740"/>
                <a:gd name="T70" fmla="*/ 74 w 892"/>
                <a:gd name="T71" fmla="*/ 254 h 740"/>
                <a:gd name="T72" fmla="*/ 25 w 892"/>
                <a:gd name="T73" fmla="*/ 101 h 740"/>
                <a:gd name="T74" fmla="*/ 296 w 892"/>
                <a:gd name="T75" fmla="*/ 22 h 740"/>
                <a:gd name="T76" fmla="*/ 351 w 892"/>
                <a:gd name="T77" fmla="*/ 22 h 740"/>
                <a:gd name="T78" fmla="*/ 444 w 892"/>
                <a:gd name="T79" fmla="*/ 92 h 740"/>
                <a:gd name="T80" fmla="*/ 538 w 892"/>
                <a:gd name="T81" fmla="*/ 22 h 740"/>
                <a:gd name="T82" fmla="*/ 591 w 892"/>
                <a:gd name="T83" fmla="*/ 22 h 740"/>
                <a:gd name="T84" fmla="*/ 866 w 892"/>
                <a:gd name="T85" fmla="*/ 103 h 740"/>
                <a:gd name="T86" fmla="*/ 821 w 892"/>
                <a:gd name="T87" fmla="*/ 256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92" h="740">
                  <a:moveTo>
                    <a:pt x="883" y="85"/>
                  </a:moveTo>
                  <a:cubicBezTo>
                    <a:pt x="596" y="1"/>
                    <a:pt x="596" y="1"/>
                    <a:pt x="596" y="1"/>
                  </a:cubicBezTo>
                  <a:cubicBezTo>
                    <a:pt x="595" y="0"/>
                    <a:pt x="594" y="0"/>
                    <a:pt x="593" y="0"/>
                  </a:cubicBezTo>
                  <a:cubicBezTo>
                    <a:pt x="529" y="0"/>
                    <a:pt x="529" y="0"/>
                    <a:pt x="529" y="0"/>
                  </a:cubicBezTo>
                  <a:cubicBezTo>
                    <a:pt x="524" y="0"/>
                    <a:pt x="519" y="4"/>
                    <a:pt x="518" y="9"/>
                  </a:cubicBezTo>
                  <a:cubicBezTo>
                    <a:pt x="511" y="44"/>
                    <a:pt x="480" y="70"/>
                    <a:pt x="444" y="70"/>
                  </a:cubicBezTo>
                  <a:cubicBezTo>
                    <a:pt x="408" y="70"/>
                    <a:pt x="377" y="44"/>
                    <a:pt x="371" y="9"/>
                  </a:cubicBezTo>
                  <a:cubicBezTo>
                    <a:pt x="370" y="4"/>
                    <a:pt x="365" y="0"/>
                    <a:pt x="360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4" y="0"/>
                    <a:pt x="292" y="0"/>
                    <a:pt x="291" y="1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6" y="84"/>
                    <a:pt x="3" y="86"/>
                    <a:pt x="2" y="89"/>
                  </a:cubicBezTo>
                  <a:cubicBezTo>
                    <a:pt x="0" y="91"/>
                    <a:pt x="0" y="94"/>
                    <a:pt x="1" y="9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58" y="276"/>
                    <a:pt x="64" y="280"/>
                    <a:pt x="69" y="278"/>
                  </a:cubicBezTo>
                  <a:cubicBezTo>
                    <a:pt x="196" y="243"/>
                    <a:pt x="196" y="243"/>
                    <a:pt x="196" y="243"/>
                  </a:cubicBezTo>
                  <a:cubicBezTo>
                    <a:pt x="196" y="729"/>
                    <a:pt x="196" y="729"/>
                    <a:pt x="196" y="729"/>
                  </a:cubicBezTo>
                  <a:cubicBezTo>
                    <a:pt x="196" y="735"/>
                    <a:pt x="201" y="740"/>
                    <a:pt x="207" y="740"/>
                  </a:cubicBezTo>
                  <a:cubicBezTo>
                    <a:pt x="690" y="740"/>
                    <a:pt x="690" y="740"/>
                    <a:pt x="690" y="740"/>
                  </a:cubicBezTo>
                  <a:cubicBezTo>
                    <a:pt x="696" y="740"/>
                    <a:pt x="701" y="735"/>
                    <a:pt x="701" y="729"/>
                  </a:cubicBezTo>
                  <a:cubicBezTo>
                    <a:pt x="701" y="243"/>
                    <a:pt x="701" y="243"/>
                    <a:pt x="701" y="243"/>
                  </a:cubicBezTo>
                  <a:cubicBezTo>
                    <a:pt x="826" y="280"/>
                    <a:pt x="826" y="280"/>
                    <a:pt x="826" y="280"/>
                  </a:cubicBezTo>
                  <a:cubicBezTo>
                    <a:pt x="828" y="281"/>
                    <a:pt x="831" y="280"/>
                    <a:pt x="834" y="279"/>
                  </a:cubicBezTo>
                  <a:cubicBezTo>
                    <a:pt x="837" y="278"/>
                    <a:pt x="838" y="275"/>
                    <a:pt x="839" y="272"/>
                  </a:cubicBezTo>
                  <a:cubicBezTo>
                    <a:pt x="890" y="99"/>
                    <a:pt x="890" y="99"/>
                    <a:pt x="890" y="99"/>
                  </a:cubicBezTo>
                  <a:cubicBezTo>
                    <a:pt x="892" y="93"/>
                    <a:pt x="889" y="87"/>
                    <a:pt x="883" y="85"/>
                  </a:cubicBezTo>
                  <a:close/>
                  <a:moveTo>
                    <a:pt x="821" y="256"/>
                  </a:moveTo>
                  <a:cubicBezTo>
                    <a:pt x="693" y="218"/>
                    <a:pt x="693" y="218"/>
                    <a:pt x="693" y="218"/>
                  </a:cubicBezTo>
                  <a:cubicBezTo>
                    <a:pt x="690" y="217"/>
                    <a:pt x="686" y="218"/>
                    <a:pt x="684" y="220"/>
                  </a:cubicBezTo>
                  <a:cubicBezTo>
                    <a:pt x="681" y="222"/>
                    <a:pt x="679" y="225"/>
                    <a:pt x="679" y="228"/>
                  </a:cubicBezTo>
                  <a:cubicBezTo>
                    <a:pt x="679" y="718"/>
                    <a:pt x="679" y="718"/>
                    <a:pt x="679" y="718"/>
                  </a:cubicBezTo>
                  <a:cubicBezTo>
                    <a:pt x="218" y="718"/>
                    <a:pt x="218" y="718"/>
                    <a:pt x="218" y="718"/>
                  </a:cubicBezTo>
                  <a:cubicBezTo>
                    <a:pt x="218" y="228"/>
                    <a:pt x="218" y="228"/>
                    <a:pt x="218" y="228"/>
                  </a:cubicBezTo>
                  <a:cubicBezTo>
                    <a:pt x="218" y="225"/>
                    <a:pt x="216" y="222"/>
                    <a:pt x="214" y="220"/>
                  </a:cubicBezTo>
                  <a:cubicBezTo>
                    <a:pt x="211" y="218"/>
                    <a:pt x="207" y="217"/>
                    <a:pt x="204" y="218"/>
                  </a:cubicBezTo>
                  <a:cubicBezTo>
                    <a:pt x="74" y="254"/>
                    <a:pt x="74" y="254"/>
                    <a:pt x="74" y="254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296" y="22"/>
                    <a:pt x="296" y="22"/>
                    <a:pt x="296" y="22"/>
                  </a:cubicBezTo>
                  <a:cubicBezTo>
                    <a:pt x="351" y="22"/>
                    <a:pt x="351" y="22"/>
                    <a:pt x="351" y="22"/>
                  </a:cubicBezTo>
                  <a:cubicBezTo>
                    <a:pt x="363" y="63"/>
                    <a:pt x="401" y="92"/>
                    <a:pt x="444" y="92"/>
                  </a:cubicBezTo>
                  <a:cubicBezTo>
                    <a:pt x="488" y="92"/>
                    <a:pt x="526" y="63"/>
                    <a:pt x="538" y="22"/>
                  </a:cubicBezTo>
                  <a:cubicBezTo>
                    <a:pt x="591" y="22"/>
                    <a:pt x="591" y="22"/>
                    <a:pt x="591" y="22"/>
                  </a:cubicBezTo>
                  <a:cubicBezTo>
                    <a:pt x="866" y="103"/>
                    <a:pt x="866" y="103"/>
                    <a:pt x="866" y="103"/>
                  </a:cubicBezTo>
                  <a:lnTo>
                    <a:pt x="821" y="2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93" name="Group 46292">
            <a:extLst>
              <a:ext uri="{FF2B5EF4-FFF2-40B4-BE49-F238E27FC236}">
                <a16:creationId xmlns:a16="http://schemas.microsoft.com/office/drawing/2014/main" id="{B836BC5E-D316-4BFF-A69B-ABED9DDB0412}"/>
              </a:ext>
            </a:extLst>
          </p:cNvPr>
          <p:cNvGrpSpPr/>
          <p:nvPr/>
        </p:nvGrpSpPr>
        <p:grpSpPr>
          <a:xfrm>
            <a:off x="7035800" y="2819400"/>
            <a:ext cx="842963" cy="841375"/>
            <a:chOff x="7035800" y="2819400"/>
            <a:chExt cx="842963" cy="841375"/>
          </a:xfrm>
        </p:grpSpPr>
        <p:sp>
          <p:nvSpPr>
            <p:cNvPr id="46288" name="AutoShape 55">
              <a:extLst>
                <a:ext uri="{FF2B5EF4-FFF2-40B4-BE49-F238E27FC236}">
                  <a16:creationId xmlns:a16="http://schemas.microsoft.com/office/drawing/2014/main" id="{4A1C6179-7532-407F-B611-6E8E7860F0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35800" y="2819400"/>
              <a:ext cx="842963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9" name="Oval 57">
              <a:extLst>
                <a:ext uri="{FF2B5EF4-FFF2-40B4-BE49-F238E27FC236}">
                  <a16:creationId xmlns:a16="http://schemas.microsoft.com/office/drawing/2014/main" id="{EF2FD6B0-490B-45F2-B30E-E4EA802CEF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5800" y="2819400"/>
              <a:ext cx="842963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0" name="Freeform 58">
              <a:extLst>
                <a:ext uri="{FF2B5EF4-FFF2-40B4-BE49-F238E27FC236}">
                  <a16:creationId xmlns:a16="http://schemas.microsoft.com/office/drawing/2014/main" id="{973E8A02-7C71-4AFB-8483-B4E9331590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69138" y="2852738"/>
              <a:ext cx="776288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1" name="Freeform 59">
              <a:extLst>
                <a:ext uri="{FF2B5EF4-FFF2-40B4-BE49-F238E27FC236}">
                  <a16:creationId xmlns:a16="http://schemas.microsoft.com/office/drawing/2014/main" id="{8B083194-ED17-41EE-B410-681AD61BF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6138" y="3003550"/>
              <a:ext cx="474663" cy="506413"/>
            </a:xfrm>
            <a:custGeom>
              <a:avLst/>
              <a:gdLst>
                <a:gd name="T0" fmla="*/ 867 w 901"/>
                <a:gd name="T1" fmla="*/ 486 h 963"/>
                <a:gd name="T2" fmla="*/ 760 w 901"/>
                <a:gd name="T3" fmla="*/ 386 h 963"/>
                <a:gd name="T4" fmla="*/ 765 w 901"/>
                <a:gd name="T5" fmla="*/ 307 h 963"/>
                <a:gd name="T6" fmla="*/ 785 w 901"/>
                <a:gd name="T7" fmla="*/ 107 h 963"/>
                <a:gd name="T8" fmla="*/ 770 w 901"/>
                <a:gd name="T9" fmla="*/ 17 h 963"/>
                <a:gd name="T10" fmla="*/ 739 w 901"/>
                <a:gd name="T11" fmla="*/ 0 h 963"/>
                <a:gd name="T12" fmla="*/ 563 w 901"/>
                <a:gd name="T13" fmla="*/ 177 h 963"/>
                <a:gd name="T14" fmla="*/ 448 w 901"/>
                <a:gd name="T15" fmla="*/ 33 h 963"/>
                <a:gd name="T16" fmla="*/ 372 w 901"/>
                <a:gd name="T17" fmla="*/ 46 h 963"/>
                <a:gd name="T18" fmla="*/ 327 w 901"/>
                <a:gd name="T19" fmla="*/ 266 h 963"/>
                <a:gd name="T20" fmla="*/ 1 w 901"/>
                <a:gd name="T21" fmla="*/ 540 h 963"/>
                <a:gd name="T22" fmla="*/ 103 w 901"/>
                <a:gd name="T23" fmla="*/ 574 h 963"/>
                <a:gd name="T24" fmla="*/ 115 w 901"/>
                <a:gd name="T25" fmla="*/ 607 h 963"/>
                <a:gd name="T26" fmla="*/ 474 w 901"/>
                <a:gd name="T27" fmla="*/ 962 h 963"/>
                <a:gd name="T28" fmla="*/ 483 w 901"/>
                <a:gd name="T29" fmla="*/ 962 h 963"/>
                <a:gd name="T30" fmla="*/ 636 w 901"/>
                <a:gd name="T31" fmla="*/ 617 h 963"/>
                <a:gd name="T32" fmla="*/ 835 w 901"/>
                <a:gd name="T33" fmla="*/ 589 h 963"/>
                <a:gd name="T34" fmla="*/ 894 w 901"/>
                <a:gd name="T35" fmla="*/ 513 h 963"/>
                <a:gd name="T36" fmla="*/ 651 w 901"/>
                <a:gd name="T37" fmla="*/ 593 h 963"/>
                <a:gd name="T38" fmla="*/ 626 w 901"/>
                <a:gd name="T39" fmla="*/ 597 h 963"/>
                <a:gd name="T40" fmla="*/ 582 w 901"/>
                <a:gd name="T41" fmla="*/ 751 h 963"/>
                <a:gd name="T42" fmla="*/ 178 w 901"/>
                <a:gd name="T43" fmla="*/ 724 h 963"/>
                <a:gd name="T44" fmla="*/ 118 w 901"/>
                <a:gd name="T45" fmla="*/ 558 h 963"/>
                <a:gd name="T46" fmla="*/ 348 w 901"/>
                <a:gd name="T47" fmla="*/ 275 h 963"/>
                <a:gd name="T48" fmla="*/ 370 w 901"/>
                <a:gd name="T49" fmla="*/ 144 h 963"/>
                <a:gd name="T50" fmla="*/ 391 w 901"/>
                <a:gd name="T51" fmla="*/ 56 h 963"/>
                <a:gd name="T52" fmla="*/ 407 w 901"/>
                <a:gd name="T53" fmla="*/ 41 h 963"/>
                <a:gd name="T54" fmla="*/ 564 w 901"/>
                <a:gd name="T55" fmla="*/ 199 h 963"/>
                <a:gd name="T56" fmla="*/ 581 w 901"/>
                <a:gd name="T57" fmla="*/ 194 h 963"/>
                <a:gd name="T58" fmla="*/ 742 w 901"/>
                <a:gd name="T59" fmla="*/ 22 h 963"/>
                <a:gd name="T60" fmla="*/ 705 w 901"/>
                <a:gd name="T61" fmla="*/ 238 h 963"/>
                <a:gd name="T62" fmla="*/ 702 w 901"/>
                <a:gd name="T63" fmla="*/ 256 h 963"/>
                <a:gd name="T64" fmla="*/ 739 w 901"/>
                <a:gd name="T65" fmla="*/ 393 h 963"/>
                <a:gd name="T66" fmla="*/ 841 w 901"/>
                <a:gd name="T67" fmla="*/ 491 h 963"/>
                <a:gd name="T68" fmla="*/ 814 w 901"/>
                <a:gd name="T69" fmla="*/ 579 h 963"/>
                <a:gd name="T70" fmla="*/ 870 w 901"/>
                <a:gd name="T71" fmla="*/ 542 h 963"/>
                <a:gd name="T72" fmla="*/ 829 w 901"/>
                <a:gd name="T73" fmla="*/ 537 h 963"/>
                <a:gd name="T74" fmla="*/ 874 w 901"/>
                <a:gd name="T75" fmla="*/ 522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1" h="963">
                  <a:moveTo>
                    <a:pt x="891" y="508"/>
                  </a:moveTo>
                  <a:cubicBezTo>
                    <a:pt x="867" y="486"/>
                    <a:pt x="867" y="486"/>
                    <a:pt x="867" y="486"/>
                  </a:cubicBezTo>
                  <a:cubicBezTo>
                    <a:pt x="867" y="486"/>
                    <a:pt x="867" y="486"/>
                    <a:pt x="867" y="486"/>
                  </a:cubicBezTo>
                  <a:cubicBezTo>
                    <a:pt x="760" y="386"/>
                    <a:pt x="760" y="386"/>
                    <a:pt x="760" y="386"/>
                  </a:cubicBezTo>
                  <a:cubicBezTo>
                    <a:pt x="760" y="374"/>
                    <a:pt x="762" y="339"/>
                    <a:pt x="765" y="308"/>
                  </a:cubicBezTo>
                  <a:cubicBezTo>
                    <a:pt x="765" y="308"/>
                    <a:pt x="765" y="308"/>
                    <a:pt x="765" y="307"/>
                  </a:cubicBezTo>
                  <a:cubicBezTo>
                    <a:pt x="765" y="291"/>
                    <a:pt x="742" y="265"/>
                    <a:pt x="726" y="249"/>
                  </a:cubicBezTo>
                  <a:cubicBezTo>
                    <a:pt x="758" y="216"/>
                    <a:pt x="780" y="126"/>
                    <a:pt x="785" y="107"/>
                  </a:cubicBezTo>
                  <a:cubicBezTo>
                    <a:pt x="785" y="106"/>
                    <a:pt x="785" y="106"/>
                    <a:pt x="785" y="105"/>
                  </a:cubicBezTo>
                  <a:cubicBezTo>
                    <a:pt x="790" y="65"/>
                    <a:pt x="785" y="35"/>
                    <a:pt x="770" y="17"/>
                  </a:cubicBezTo>
                  <a:cubicBezTo>
                    <a:pt x="758" y="2"/>
                    <a:pt x="744" y="0"/>
                    <a:pt x="743" y="0"/>
                  </a:cubicBezTo>
                  <a:cubicBezTo>
                    <a:pt x="742" y="0"/>
                    <a:pt x="740" y="0"/>
                    <a:pt x="739" y="0"/>
                  </a:cubicBezTo>
                  <a:cubicBezTo>
                    <a:pt x="703" y="10"/>
                    <a:pt x="596" y="142"/>
                    <a:pt x="570" y="174"/>
                  </a:cubicBezTo>
                  <a:cubicBezTo>
                    <a:pt x="563" y="177"/>
                    <a:pt x="563" y="177"/>
                    <a:pt x="563" y="177"/>
                  </a:cubicBezTo>
                  <a:cubicBezTo>
                    <a:pt x="536" y="171"/>
                    <a:pt x="482" y="92"/>
                    <a:pt x="451" y="36"/>
                  </a:cubicBezTo>
                  <a:cubicBezTo>
                    <a:pt x="450" y="35"/>
                    <a:pt x="449" y="34"/>
                    <a:pt x="448" y="33"/>
                  </a:cubicBezTo>
                  <a:cubicBezTo>
                    <a:pt x="432" y="20"/>
                    <a:pt x="416" y="16"/>
                    <a:pt x="402" y="20"/>
                  </a:cubicBezTo>
                  <a:cubicBezTo>
                    <a:pt x="382" y="24"/>
                    <a:pt x="373" y="43"/>
                    <a:pt x="372" y="46"/>
                  </a:cubicBezTo>
                  <a:cubicBezTo>
                    <a:pt x="357" y="75"/>
                    <a:pt x="351" y="125"/>
                    <a:pt x="349" y="136"/>
                  </a:cubicBezTo>
                  <a:cubicBezTo>
                    <a:pt x="324" y="189"/>
                    <a:pt x="326" y="250"/>
                    <a:pt x="327" y="266"/>
                  </a:cubicBezTo>
                  <a:cubicBezTo>
                    <a:pt x="158" y="511"/>
                    <a:pt x="12" y="528"/>
                    <a:pt x="11" y="528"/>
                  </a:cubicBezTo>
                  <a:cubicBezTo>
                    <a:pt x="5" y="529"/>
                    <a:pt x="0" y="534"/>
                    <a:pt x="1" y="540"/>
                  </a:cubicBezTo>
                  <a:cubicBezTo>
                    <a:pt x="1" y="546"/>
                    <a:pt x="7" y="551"/>
                    <a:pt x="13" y="550"/>
                  </a:cubicBezTo>
                  <a:cubicBezTo>
                    <a:pt x="30" y="549"/>
                    <a:pt x="80" y="551"/>
                    <a:pt x="103" y="574"/>
                  </a:cubicBezTo>
                  <a:cubicBezTo>
                    <a:pt x="111" y="582"/>
                    <a:pt x="115" y="593"/>
                    <a:pt x="115" y="606"/>
                  </a:cubicBezTo>
                  <a:cubicBezTo>
                    <a:pt x="115" y="607"/>
                    <a:pt x="115" y="607"/>
                    <a:pt x="115" y="607"/>
                  </a:cubicBezTo>
                  <a:cubicBezTo>
                    <a:pt x="114" y="609"/>
                    <a:pt x="114" y="663"/>
                    <a:pt x="159" y="734"/>
                  </a:cubicBezTo>
                  <a:cubicBezTo>
                    <a:pt x="199" y="798"/>
                    <a:pt x="287" y="890"/>
                    <a:pt x="474" y="962"/>
                  </a:cubicBezTo>
                  <a:cubicBezTo>
                    <a:pt x="475" y="963"/>
                    <a:pt x="477" y="963"/>
                    <a:pt x="478" y="963"/>
                  </a:cubicBezTo>
                  <a:cubicBezTo>
                    <a:pt x="480" y="963"/>
                    <a:pt x="482" y="963"/>
                    <a:pt x="483" y="962"/>
                  </a:cubicBezTo>
                  <a:cubicBezTo>
                    <a:pt x="489" y="958"/>
                    <a:pt x="618" y="884"/>
                    <a:pt x="604" y="748"/>
                  </a:cubicBezTo>
                  <a:cubicBezTo>
                    <a:pt x="599" y="699"/>
                    <a:pt x="628" y="635"/>
                    <a:pt x="636" y="617"/>
                  </a:cubicBezTo>
                  <a:cubicBezTo>
                    <a:pt x="646" y="615"/>
                    <a:pt x="646" y="615"/>
                    <a:pt x="646" y="615"/>
                  </a:cubicBezTo>
                  <a:cubicBezTo>
                    <a:pt x="775" y="665"/>
                    <a:pt x="823" y="607"/>
                    <a:pt x="835" y="589"/>
                  </a:cubicBezTo>
                  <a:cubicBezTo>
                    <a:pt x="862" y="581"/>
                    <a:pt x="880" y="569"/>
                    <a:pt x="889" y="552"/>
                  </a:cubicBezTo>
                  <a:cubicBezTo>
                    <a:pt x="901" y="532"/>
                    <a:pt x="894" y="514"/>
                    <a:pt x="894" y="513"/>
                  </a:cubicBezTo>
                  <a:cubicBezTo>
                    <a:pt x="894" y="511"/>
                    <a:pt x="893" y="510"/>
                    <a:pt x="891" y="508"/>
                  </a:cubicBezTo>
                  <a:close/>
                  <a:moveTo>
                    <a:pt x="651" y="593"/>
                  </a:moveTo>
                  <a:cubicBezTo>
                    <a:pt x="649" y="592"/>
                    <a:pt x="647" y="592"/>
                    <a:pt x="644" y="593"/>
                  </a:cubicBezTo>
                  <a:cubicBezTo>
                    <a:pt x="626" y="597"/>
                    <a:pt x="626" y="597"/>
                    <a:pt x="626" y="597"/>
                  </a:cubicBezTo>
                  <a:cubicBezTo>
                    <a:pt x="623" y="598"/>
                    <a:pt x="620" y="600"/>
                    <a:pt x="619" y="603"/>
                  </a:cubicBezTo>
                  <a:cubicBezTo>
                    <a:pt x="617" y="606"/>
                    <a:pt x="576" y="687"/>
                    <a:pt x="582" y="751"/>
                  </a:cubicBezTo>
                  <a:cubicBezTo>
                    <a:pt x="593" y="858"/>
                    <a:pt x="498" y="926"/>
                    <a:pt x="477" y="940"/>
                  </a:cubicBezTo>
                  <a:cubicBezTo>
                    <a:pt x="300" y="871"/>
                    <a:pt x="217" y="784"/>
                    <a:pt x="178" y="724"/>
                  </a:cubicBezTo>
                  <a:cubicBezTo>
                    <a:pt x="137" y="660"/>
                    <a:pt x="137" y="610"/>
                    <a:pt x="136" y="607"/>
                  </a:cubicBezTo>
                  <a:cubicBezTo>
                    <a:pt x="138" y="588"/>
                    <a:pt x="131" y="571"/>
                    <a:pt x="118" y="558"/>
                  </a:cubicBezTo>
                  <a:cubicBezTo>
                    <a:pt x="105" y="545"/>
                    <a:pt x="87" y="538"/>
                    <a:pt x="69" y="534"/>
                  </a:cubicBezTo>
                  <a:cubicBezTo>
                    <a:pt x="130" y="508"/>
                    <a:pt x="234" y="442"/>
                    <a:pt x="348" y="275"/>
                  </a:cubicBezTo>
                  <a:cubicBezTo>
                    <a:pt x="349" y="273"/>
                    <a:pt x="350" y="270"/>
                    <a:pt x="350" y="268"/>
                  </a:cubicBezTo>
                  <a:cubicBezTo>
                    <a:pt x="350" y="267"/>
                    <a:pt x="343" y="199"/>
                    <a:pt x="370" y="144"/>
                  </a:cubicBezTo>
                  <a:cubicBezTo>
                    <a:pt x="370" y="143"/>
                    <a:pt x="371" y="142"/>
                    <a:pt x="371" y="140"/>
                  </a:cubicBezTo>
                  <a:cubicBezTo>
                    <a:pt x="371" y="140"/>
                    <a:pt x="377" y="84"/>
                    <a:pt x="391" y="56"/>
                  </a:cubicBezTo>
                  <a:cubicBezTo>
                    <a:pt x="391" y="56"/>
                    <a:pt x="391" y="55"/>
                    <a:pt x="391" y="55"/>
                  </a:cubicBezTo>
                  <a:cubicBezTo>
                    <a:pt x="392" y="55"/>
                    <a:pt x="397" y="43"/>
                    <a:pt x="407" y="41"/>
                  </a:cubicBezTo>
                  <a:cubicBezTo>
                    <a:pt x="414" y="39"/>
                    <a:pt x="423" y="42"/>
                    <a:pt x="432" y="49"/>
                  </a:cubicBezTo>
                  <a:cubicBezTo>
                    <a:pt x="449" y="78"/>
                    <a:pt x="517" y="196"/>
                    <a:pt x="564" y="199"/>
                  </a:cubicBezTo>
                  <a:cubicBezTo>
                    <a:pt x="565" y="199"/>
                    <a:pt x="567" y="199"/>
                    <a:pt x="569" y="198"/>
                  </a:cubicBezTo>
                  <a:cubicBezTo>
                    <a:pt x="581" y="194"/>
                    <a:pt x="581" y="194"/>
                    <a:pt x="581" y="194"/>
                  </a:cubicBezTo>
                  <a:cubicBezTo>
                    <a:pt x="583" y="193"/>
                    <a:pt x="584" y="192"/>
                    <a:pt x="585" y="190"/>
                  </a:cubicBezTo>
                  <a:cubicBezTo>
                    <a:pt x="637" y="126"/>
                    <a:pt x="718" y="33"/>
                    <a:pt x="742" y="22"/>
                  </a:cubicBezTo>
                  <a:cubicBezTo>
                    <a:pt x="753" y="26"/>
                    <a:pt x="770" y="46"/>
                    <a:pt x="763" y="102"/>
                  </a:cubicBezTo>
                  <a:cubicBezTo>
                    <a:pt x="752" y="149"/>
                    <a:pt x="727" y="226"/>
                    <a:pt x="705" y="238"/>
                  </a:cubicBezTo>
                  <a:cubicBezTo>
                    <a:pt x="701" y="240"/>
                    <a:pt x="699" y="243"/>
                    <a:pt x="699" y="246"/>
                  </a:cubicBezTo>
                  <a:cubicBezTo>
                    <a:pt x="698" y="250"/>
                    <a:pt x="700" y="253"/>
                    <a:pt x="702" y="256"/>
                  </a:cubicBezTo>
                  <a:cubicBezTo>
                    <a:pt x="723" y="276"/>
                    <a:pt x="742" y="300"/>
                    <a:pt x="743" y="307"/>
                  </a:cubicBezTo>
                  <a:cubicBezTo>
                    <a:pt x="741" y="330"/>
                    <a:pt x="737" y="384"/>
                    <a:pt x="739" y="393"/>
                  </a:cubicBezTo>
                  <a:cubicBezTo>
                    <a:pt x="739" y="395"/>
                    <a:pt x="740" y="398"/>
                    <a:pt x="742" y="399"/>
                  </a:cubicBezTo>
                  <a:cubicBezTo>
                    <a:pt x="841" y="491"/>
                    <a:pt x="841" y="491"/>
                    <a:pt x="841" y="491"/>
                  </a:cubicBezTo>
                  <a:cubicBezTo>
                    <a:pt x="823" y="502"/>
                    <a:pt x="812" y="515"/>
                    <a:pt x="808" y="531"/>
                  </a:cubicBezTo>
                  <a:cubicBezTo>
                    <a:pt x="802" y="551"/>
                    <a:pt x="810" y="570"/>
                    <a:pt x="814" y="579"/>
                  </a:cubicBezTo>
                  <a:cubicBezTo>
                    <a:pt x="804" y="594"/>
                    <a:pt x="762" y="637"/>
                    <a:pt x="651" y="593"/>
                  </a:cubicBezTo>
                  <a:close/>
                  <a:moveTo>
                    <a:pt x="870" y="542"/>
                  </a:moveTo>
                  <a:cubicBezTo>
                    <a:pt x="864" y="552"/>
                    <a:pt x="851" y="561"/>
                    <a:pt x="833" y="566"/>
                  </a:cubicBezTo>
                  <a:cubicBezTo>
                    <a:pt x="830" y="559"/>
                    <a:pt x="826" y="548"/>
                    <a:pt x="829" y="537"/>
                  </a:cubicBezTo>
                  <a:cubicBezTo>
                    <a:pt x="832" y="525"/>
                    <a:pt x="842" y="515"/>
                    <a:pt x="858" y="507"/>
                  </a:cubicBezTo>
                  <a:cubicBezTo>
                    <a:pt x="874" y="522"/>
                    <a:pt x="874" y="522"/>
                    <a:pt x="874" y="522"/>
                  </a:cubicBezTo>
                  <a:cubicBezTo>
                    <a:pt x="874" y="526"/>
                    <a:pt x="875" y="534"/>
                    <a:pt x="870" y="5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2" name="Oval 60">
              <a:extLst>
                <a:ext uri="{FF2B5EF4-FFF2-40B4-BE49-F238E27FC236}">
                  <a16:creationId xmlns:a16="http://schemas.microsoft.com/office/drawing/2014/main" id="{E60F1B0E-0397-48AA-A8D4-F20CF21A8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0463" y="3187700"/>
              <a:ext cx="20638" cy="206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00" name="Group 46299">
            <a:extLst>
              <a:ext uri="{FF2B5EF4-FFF2-40B4-BE49-F238E27FC236}">
                <a16:creationId xmlns:a16="http://schemas.microsoft.com/office/drawing/2014/main" id="{95812D90-7CDE-4340-98C2-56E725BA5D9D}"/>
              </a:ext>
            </a:extLst>
          </p:cNvPr>
          <p:cNvGrpSpPr/>
          <p:nvPr/>
        </p:nvGrpSpPr>
        <p:grpSpPr>
          <a:xfrm>
            <a:off x="8043863" y="2835275"/>
            <a:ext cx="768350" cy="768350"/>
            <a:chOff x="8043863" y="2835275"/>
            <a:chExt cx="768350" cy="768350"/>
          </a:xfrm>
        </p:grpSpPr>
        <p:sp>
          <p:nvSpPr>
            <p:cNvPr id="46295" name="AutoShape 62">
              <a:extLst>
                <a:ext uri="{FF2B5EF4-FFF2-40B4-BE49-F238E27FC236}">
                  <a16:creationId xmlns:a16="http://schemas.microsoft.com/office/drawing/2014/main" id="{88A96245-38F2-48FE-BF13-22355FF6A5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43863" y="283527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6" name="Freeform 64">
              <a:extLst>
                <a:ext uri="{FF2B5EF4-FFF2-40B4-BE49-F238E27FC236}">
                  <a16:creationId xmlns:a16="http://schemas.microsoft.com/office/drawing/2014/main" id="{9F54ED17-7E22-4A6D-8D38-065308D4AC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43863" y="2835275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7" name="Freeform 65">
              <a:extLst>
                <a:ext uri="{FF2B5EF4-FFF2-40B4-BE49-F238E27FC236}">
                  <a16:creationId xmlns:a16="http://schemas.microsoft.com/office/drawing/2014/main" id="{CB452112-A2B4-422B-B78A-6EC0B200B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626" y="2989263"/>
              <a:ext cx="461963" cy="490538"/>
            </a:xfrm>
            <a:custGeom>
              <a:avLst/>
              <a:gdLst>
                <a:gd name="T0" fmla="*/ 581 w 887"/>
                <a:gd name="T1" fmla="*/ 740 h 943"/>
                <a:gd name="T2" fmla="*/ 617 w 887"/>
                <a:gd name="T3" fmla="*/ 599 h 943"/>
                <a:gd name="T4" fmla="*/ 635 w 887"/>
                <a:gd name="T5" fmla="*/ 594 h 943"/>
                <a:gd name="T6" fmla="*/ 815 w 887"/>
                <a:gd name="T7" fmla="*/ 570 h 943"/>
                <a:gd name="T8" fmla="*/ 872 w 887"/>
                <a:gd name="T9" fmla="*/ 507 h 943"/>
                <a:gd name="T10" fmla="*/ 737 w 887"/>
                <a:gd name="T11" fmla="*/ 382 h 943"/>
                <a:gd name="T12" fmla="*/ 742 w 887"/>
                <a:gd name="T13" fmla="*/ 298 h 943"/>
                <a:gd name="T14" fmla="*/ 698 w 887"/>
                <a:gd name="T15" fmla="*/ 239 h 943"/>
                <a:gd name="T16" fmla="*/ 762 w 887"/>
                <a:gd name="T17" fmla="*/ 95 h 943"/>
                <a:gd name="T18" fmla="*/ 730 w 887"/>
                <a:gd name="T19" fmla="*/ 2 h 943"/>
                <a:gd name="T20" fmla="*/ 565 w 887"/>
                <a:gd name="T21" fmla="*/ 175 h 943"/>
                <a:gd name="T22" fmla="*/ 553 w 887"/>
                <a:gd name="T23" fmla="*/ 179 h 943"/>
                <a:gd name="T24" fmla="*/ 429 w 887"/>
                <a:gd name="T25" fmla="*/ 33 h 943"/>
                <a:gd name="T26" fmla="*/ 369 w 887"/>
                <a:gd name="T27" fmla="*/ 42 h 943"/>
                <a:gd name="T28" fmla="*/ 348 w 887"/>
                <a:gd name="T29" fmla="*/ 130 h 943"/>
                <a:gd name="T30" fmla="*/ 327 w 887"/>
                <a:gd name="T31" fmla="*/ 260 h 943"/>
                <a:gd name="T32" fmla="*/ 0 w 887"/>
                <a:gd name="T33" fmla="*/ 530 h 943"/>
                <a:gd name="T34" fmla="*/ 114 w 887"/>
                <a:gd name="T35" fmla="*/ 598 h 943"/>
                <a:gd name="T36" fmla="*/ 466 w 887"/>
                <a:gd name="T37" fmla="*/ 943 h 943"/>
                <a:gd name="T38" fmla="*/ 581 w 887"/>
                <a:gd name="T39" fmla="*/ 74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7" h="943">
                  <a:moveTo>
                    <a:pt x="581" y="740"/>
                  </a:moveTo>
                  <a:cubicBezTo>
                    <a:pt x="575" y="679"/>
                    <a:pt x="617" y="599"/>
                    <a:pt x="617" y="599"/>
                  </a:cubicBezTo>
                  <a:cubicBezTo>
                    <a:pt x="635" y="594"/>
                    <a:pt x="635" y="594"/>
                    <a:pt x="635" y="594"/>
                  </a:cubicBezTo>
                  <a:cubicBezTo>
                    <a:pt x="777" y="651"/>
                    <a:pt x="815" y="570"/>
                    <a:pt x="815" y="570"/>
                  </a:cubicBezTo>
                  <a:cubicBezTo>
                    <a:pt x="887" y="553"/>
                    <a:pt x="872" y="507"/>
                    <a:pt x="872" y="507"/>
                  </a:cubicBezTo>
                  <a:cubicBezTo>
                    <a:pt x="737" y="382"/>
                    <a:pt x="737" y="382"/>
                    <a:pt x="737" y="382"/>
                  </a:cubicBezTo>
                  <a:cubicBezTo>
                    <a:pt x="736" y="373"/>
                    <a:pt x="742" y="298"/>
                    <a:pt x="742" y="298"/>
                  </a:cubicBezTo>
                  <a:cubicBezTo>
                    <a:pt x="742" y="281"/>
                    <a:pt x="698" y="239"/>
                    <a:pt x="698" y="239"/>
                  </a:cubicBezTo>
                  <a:cubicBezTo>
                    <a:pt x="733" y="220"/>
                    <a:pt x="762" y="95"/>
                    <a:pt x="762" y="95"/>
                  </a:cubicBezTo>
                  <a:cubicBezTo>
                    <a:pt x="773" y="7"/>
                    <a:pt x="730" y="2"/>
                    <a:pt x="730" y="2"/>
                  </a:cubicBezTo>
                  <a:cubicBezTo>
                    <a:pt x="695" y="11"/>
                    <a:pt x="565" y="175"/>
                    <a:pt x="565" y="175"/>
                  </a:cubicBezTo>
                  <a:cubicBezTo>
                    <a:pt x="553" y="179"/>
                    <a:pt x="553" y="179"/>
                    <a:pt x="553" y="179"/>
                  </a:cubicBezTo>
                  <a:cubicBezTo>
                    <a:pt x="508" y="176"/>
                    <a:pt x="429" y="33"/>
                    <a:pt x="429" y="33"/>
                  </a:cubicBezTo>
                  <a:cubicBezTo>
                    <a:pt x="388" y="0"/>
                    <a:pt x="369" y="42"/>
                    <a:pt x="369" y="42"/>
                  </a:cubicBezTo>
                  <a:cubicBezTo>
                    <a:pt x="354" y="72"/>
                    <a:pt x="348" y="130"/>
                    <a:pt x="348" y="130"/>
                  </a:cubicBezTo>
                  <a:cubicBezTo>
                    <a:pt x="319" y="188"/>
                    <a:pt x="327" y="260"/>
                    <a:pt x="327" y="260"/>
                  </a:cubicBezTo>
                  <a:cubicBezTo>
                    <a:pt x="151" y="517"/>
                    <a:pt x="0" y="530"/>
                    <a:pt x="0" y="530"/>
                  </a:cubicBezTo>
                  <a:cubicBezTo>
                    <a:pt x="0" y="530"/>
                    <a:pt x="118" y="523"/>
                    <a:pt x="114" y="598"/>
                  </a:cubicBezTo>
                  <a:cubicBezTo>
                    <a:pt x="114" y="598"/>
                    <a:pt x="110" y="806"/>
                    <a:pt x="466" y="943"/>
                  </a:cubicBezTo>
                  <a:cubicBezTo>
                    <a:pt x="466" y="943"/>
                    <a:pt x="594" y="870"/>
                    <a:pt x="581" y="740"/>
                  </a:cubicBezTo>
                  <a:close/>
                </a:path>
              </a:pathLst>
            </a:custGeom>
            <a:noFill/>
            <a:ln w="11113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8" name="Oval 66">
              <a:extLst>
                <a:ext uri="{FF2B5EF4-FFF2-40B4-BE49-F238E27FC236}">
                  <a16:creationId xmlns:a16="http://schemas.microsoft.com/office/drawing/2014/main" id="{166B28EA-F870-428B-A9EB-BEBA69B87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0426" y="3167063"/>
              <a:ext cx="20638" cy="206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9" name="Freeform 67">
              <a:extLst>
                <a:ext uri="{FF2B5EF4-FFF2-40B4-BE49-F238E27FC236}">
                  <a16:creationId xmlns:a16="http://schemas.microsoft.com/office/drawing/2014/main" id="{73362F34-0733-405E-976E-19551530C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3241675"/>
              <a:ext cx="36513" cy="44450"/>
            </a:xfrm>
            <a:custGeom>
              <a:avLst/>
              <a:gdLst>
                <a:gd name="T0" fmla="*/ 38 w 71"/>
                <a:gd name="T1" fmla="*/ 85 h 85"/>
                <a:gd name="T2" fmla="*/ 71 w 71"/>
                <a:gd name="T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" h="85">
                  <a:moveTo>
                    <a:pt x="38" y="85"/>
                  </a:moveTo>
                  <a:cubicBezTo>
                    <a:pt x="38" y="85"/>
                    <a:pt x="0" y="31"/>
                    <a:pt x="71" y="0"/>
                  </a:cubicBezTo>
                </a:path>
              </a:pathLst>
            </a:custGeom>
            <a:noFill/>
            <a:ln w="11113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514978C9-CAB1-4F16-A09C-6570721F40A4}"/>
              </a:ext>
            </a:extLst>
          </p:cNvPr>
          <p:cNvGrpSpPr/>
          <p:nvPr/>
        </p:nvGrpSpPr>
        <p:grpSpPr>
          <a:xfrm>
            <a:off x="401638" y="4108450"/>
            <a:ext cx="842962" cy="841375"/>
            <a:chOff x="401638" y="4108450"/>
            <a:chExt cx="842962" cy="841375"/>
          </a:xfrm>
        </p:grpSpPr>
        <p:sp>
          <p:nvSpPr>
            <p:cNvPr id="46302" name="AutoShape 69">
              <a:extLst>
                <a:ext uri="{FF2B5EF4-FFF2-40B4-BE49-F238E27FC236}">
                  <a16:creationId xmlns:a16="http://schemas.microsoft.com/office/drawing/2014/main" id="{9D8EDAC8-27DB-41AD-A492-26C2A4CA623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1638" y="4108450"/>
              <a:ext cx="842962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3" name="Oval 71">
              <a:extLst>
                <a:ext uri="{FF2B5EF4-FFF2-40B4-BE49-F238E27FC236}">
                  <a16:creationId xmlns:a16="http://schemas.microsoft.com/office/drawing/2014/main" id="{AC26772B-D92D-449C-8528-2F86872DD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638" y="4108450"/>
              <a:ext cx="842962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Line 72">
              <a:extLst>
                <a:ext uri="{FF2B5EF4-FFF2-40B4-BE49-F238E27FC236}">
                  <a16:creationId xmlns:a16="http://schemas.microsoft.com/office/drawing/2014/main" id="{8C50FECD-6E23-4AD5-9249-26FBBE5785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3450" y="4779963"/>
              <a:ext cx="0" cy="0"/>
            </a:xfrm>
            <a:prstGeom prst="line">
              <a:avLst/>
            </a:prstGeom>
            <a:noFill/>
            <a:ln w="11113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73">
              <a:extLst>
                <a:ext uri="{FF2B5EF4-FFF2-40B4-BE49-F238E27FC236}">
                  <a16:creationId xmlns:a16="http://schemas.microsoft.com/office/drawing/2014/main" id="{7B34D5FD-9EC9-443A-92CC-84EC6B9FB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0" y="4267200"/>
              <a:ext cx="339725" cy="522288"/>
            </a:xfrm>
            <a:custGeom>
              <a:avLst/>
              <a:gdLst>
                <a:gd name="T0" fmla="*/ 565 w 645"/>
                <a:gd name="T1" fmla="*/ 632 h 990"/>
                <a:gd name="T2" fmla="*/ 474 w 645"/>
                <a:gd name="T3" fmla="*/ 686 h 990"/>
                <a:gd name="T4" fmla="*/ 444 w 645"/>
                <a:gd name="T5" fmla="*/ 672 h 990"/>
                <a:gd name="T6" fmla="*/ 345 w 645"/>
                <a:gd name="T7" fmla="*/ 461 h 990"/>
                <a:gd name="T8" fmla="*/ 218 w 645"/>
                <a:gd name="T9" fmla="*/ 193 h 990"/>
                <a:gd name="T10" fmla="*/ 239 w 645"/>
                <a:gd name="T11" fmla="*/ 26 h 990"/>
                <a:gd name="T12" fmla="*/ 197 w 645"/>
                <a:gd name="T13" fmla="*/ 7 h 990"/>
                <a:gd name="T14" fmla="*/ 7 w 645"/>
                <a:gd name="T15" fmla="*/ 132 h 990"/>
                <a:gd name="T16" fmla="*/ 33 w 645"/>
                <a:gd name="T17" fmla="*/ 154 h 990"/>
                <a:gd name="T18" fmla="*/ 280 w 645"/>
                <a:gd name="T19" fmla="*/ 484 h 990"/>
                <a:gd name="T20" fmla="*/ 392 w 645"/>
                <a:gd name="T21" fmla="*/ 697 h 990"/>
                <a:gd name="T22" fmla="*/ 384 w 645"/>
                <a:gd name="T23" fmla="*/ 730 h 990"/>
                <a:gd name="T24" fmla="*/ 279 w 645"/>
                <a:gd name="T25" fmla="*/ 774 h 990"/>
                <a:gd name="T26" fmla="*/ 410 w 645"/>
                <a:gd name="T27" fmla="*/ 937 h 990"/>
                <a:gd name="T28" fmla="*/ 563 w 645"/>
                <a:gd name="T29" fmla="*/ 982 h 990"/>
                <a:gd name="T30" fmla="*/ 574 w 645"/>
                <a:gd name="T31" fmla="*/ 631 h 990"/>
                <a:gd name="T32" fmla="*/ 431 w 645"/>
                <a:gd name="T33" fmla="*/ 712 h 990"/>
                <a:gd name="T34" fmla="*/ 414 w 645"/>
                <a:gd name="T35" fmla="*/ 699 h 990"/>
                <a:gd name="T36" fmla="*/ 452 w 645"/>
                <a:gd name="T37" fmla="*/ 700 h 990"/>
                <a:gd name="T38" fmla="*/ 29 w 645"/>
                <a:gd name="T39" fmla="*/ 128 h 990"/>
                <a:gd name="T40" fmla="*/ 30 w 645"/>
                <a:gd name="T41" fmla="*/ 112 h 990"/>
                <a:gd name="T42" fmla="*/ 217 w 645"/>
                <a:gd name="T43" fmla="*/ 30 h 990"/>
                <a:gd name="T44" fmla="*/ 219 w 645"/>
                <a:gd name="T45" fmla="*/ 43 h 990"/>
                <a:gd name="T46" fmla="*/ 56 w 645"/>
                <a:gd name="T47" fmla="*/ 147 h 990"/>
                <a:gd name="T48" fmla="*/ 197 w 645"/>
                <a:gd name="T49" fmla="*/ 185 h 990"/>
                <a:gd name="T50" fmla="*/ 56 w 645"/>
                <a:gd name="T51" fmla="*/ 147 h 990"/>
                <a:gd name="T52" fmla="*/ 201 w 645"/>
                <a:gd name="T53" fmla="*/ 208 h 990"/>
                <a:gd name="T54" fmla="*/ 295 w 645"/>
                <a:gd name="T55" fmla="*/ 464 h 990"/>
                <a:gd name="T56" fmla="*/ 311 w 645"/>
                <a:gd name="T57" fmla="*/ 481 h 990"/>
                <a:gd name="T58" fmla="*/ 419 w 645"/>
                <a:gd name="T59" fmla="*/ 672 h 990"/>
                <a:gd name="T60" fmla="*/ 311 w 645"/>
                <a:gd name="T61" fmla="*/ 481 h 990"/>
                <a:gd name="T62" fmla="*/ 423 w 645"/>
                <a:gd name="T63" fmla="*/ 920 h 990"/>
                <a:gd name="T64" fmla="*/ 440 w 645"/>
                <a:gd name="T65" fmla="*/ 732 h 990"/>
                <a:gd name="T66" fmla="*/ 566 w 645"/>
                <a:gd name="T67" fmla="*/ 657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5" h="990">
                  <a:moveTo>
                    <a:pt x="574" y="631"/>
                  </a:moveTo>
                  <a:cubicBezTo>
                    <a:pt x="571" y="630"/>
                    <a:pt x="568" y="630"/>
                    <a:pt x="565" y="632"/>
                  </a:cubicBezTo>
                  <a:cubicBezTo>
                    <a:pt x="475" y="686"/>
                    <a:pt x="475" y="686"/>
                    <a:pt x="475" y="686"/>
                  </a:cubicBezTo>
                  <a:cubicBezTo>
                    <a:pt x="475" y="686"/>
                    <a:pt x="475" y="686"/>
                    <a:pt x="474" y="686"/>
                  </a:cubicBezTo>
                  <a:cubicBezTo>
                    <a:pt x="444" y="672"/>
                    <a:pt x="444" y="672"/>
                    <a:pt x="444" y="672"/>
                  </a:cubicBezTo>
                  <a:cubicBezTo>
                    <a:pt x="444" y="672"/>
                    <a:pt x="444" y="672"/>
                    <a:pt x="444" y="672"/>
                  </a:cubicBezTo>
                  <a:cubicBezTo>
                    <a:pt x="343" y="465"/>
                    <a:pt x="343" y="465"/>
                    <a:pt x="343" y="465"/>
                  </a:cubicBezTo>
                  <a:cubicBezTo>
                    <a:pt x="344" y="464"/>
                    <a:pt x="345" y="462"/>
                    <a:pt x="345" y="461"/>
                  </a:cubicBezTo>
                  <a:cubicBezTo>
                    <a:pt x="346" y="458"/>
                    <a:pt x="346" y="455"/>
                    <a:pt x="345" y="453"/>
                  </a:cubicBezTo>
                  <a:cubicBezTo>
                    <a:pt x="218" y="193"/>
                    <a:pt x="218" y="193"/>
                    <a:pt x="218" y="193"/>
                  </a:cubicBezTo>
                  <a:cubicBezTo>
                    <a:pt x="244" y="134"/>
                    <a:pt x="242" y="83"/>
                    <a:pt x="238" y="54"/>
                  </a:cubicBezTo>
                  <a:cubicBezTo>
                    <a:pt x="243" y="46"/>
                    <a:pt x="244" y="35"/>
                    <a:pt x="239" y="26"/>
                  </a:cubicBezTo>
                  <a:cubicBezTo>
                    <a:pt x="236" y="21"/>
                    <a:pt x="236" y="21"/>
                    <a:pt x="236" y="21"/>
                  </a:cubicBezTo>
                  <a:cubicBezTo>
                    <a:pt x="229" y="6"/>
                    <a:pt x="211" y="0"/>
                    <a:pt x="197" y="7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6" y="100"/>
                    <a:pt x="0" y="117"/>
                    <a:pt x="7" y="132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4" y="147"/>
                    <a:pt x="23" y="153"/>
                    <a:pt x="33" y="154"/>
                  </a:cubicBezTo>
                  <a:cubicBezTo>
                    <a:pt x="52" y="175"/>
                    <a:pt x="92" y="209"/>
                    <a:pt x="154" y="224"/>
                  </a:cubicBezTo>
                  <a:cubicBezTo>
                    <a:pt x="280" y="484"/>
                    <a:pt x="280" y="484"/>
                    <a:pt x="280" y="484"/>
                  </a:cubicBezTo>
                  <a:cubicBezTo>
                    <a:pt x="282" y="488"/>
                    <a:pt x="287" y="490"/>
                    <a:pt x="291" y="490"/>
                  </a:cubicBezTo>
                  <a:cubicBezTo>
                    <a:pt x="392" y="697"/>
                    <a:pt x="392" y="697"/>
                    <a:pt x="392" y="697"/>
                  </a:cubicBezTo>
                  <a:cubicBezTo>
                    <a:pt x="384" y="730"/>
                    <a:pt x="384" y="730"/>
                    <a:pt x="384" y="730"/>
                  </a:cubicBezTo>
                  <a:cubicBezTo>
                    <a:pt x="384" y="730"/>
                    <a:pt x="384" y="730"/>
                    <a:pt x="384" y="730"/>
                  </a:cubicBezTo>
                  <a:cubicBezTo>
                    <a:pt x="285" y="768"/>
                    <a:pt x="285" y="768"/>
                    <a:pt x="285" y="768"/>
                  </a:cubicBezTo>
                  <a:cubicBezTo>
                    <a:pt x="283" y="769"/>
                    <a:pt x="280" y="772"/>
                    <a:pt x="279" y="774"/>
                  </a:cubicBezTo>
                  <a:cubicBezTo>
                    <a:pt x="278" y="777"/>
                    <a:pt x="278" y="781"/>
                    <a:pt x="279" y="783"/>
                  </a:cubicBezTo>
                  <a:cubicBezTo>
                    <a:pt x="306" y="837"/>
                    <a:pt x="356" y="896"/>
                    <a:pt x="410" y="937"/>
                  </a:cubicBezTo>
                  <a:cubicBezTo>
                    <a:pt x="438" y="959"/>
                    <a:pt x="486" y="990"/>
                    <a:pt x="529" y="990"/>
                  </a:cubicBezTo>
                  <a:cubicBezTo>
                    <a:pt x="541" y="990"/>
                    <a:pt x="552" y="987"/>
                    <a:pt x="563" y="982"/>
                  </a:cubicBezTo>
                  <a:cubicBezTo>
                    <a:pt x="645" y="943"/>
                    <a:pt x="632" y="742"/>
                    <a:pt x="581" y="637"/>
                  </a:cubicBezTo>
                  <a:cubicBezTo>
                    <a:pt x="580" y="634"/>
                    <a:pt x="577" y="632"/>
                    <a:pt x="574" y="631"/>
                  </a:cubicBezTo>
                  <a:close/>
                  <a:moveTo>
                    <a:pt x="452" y="700"/>
                  </a:moveTo>
                  <a:cubicBezTo>
                    <a:pt x="431" y="712"/>
                    <a:pt x="431" y="712"/>
                    <a:pt x="431" y="712"/>
                  </a:cubicBezTo>
                  <a:cubicBezTo>
                    <a:pt x="409" y="721"/>
                    <a:pt x="409" y="721"/>
                    <a:pt x="409" y="721"/>
                  </a:cubicBezTo>
                  <a:cubicBezTo>
                    <a:pt x="414" y="699"/>
                    <a:pt x="414" y="699"/>
                    <a:pt x="414" y="699"/>
                  </a:cubicBezTo>
                  <a:cubicBezTo>
                    <a:pt x="431" y="691"/>
                    <a:pt x="431" y="691"/>
                    <a:pt x="431" y="691"/>
                  </a:cubicBezTo>
                  <a:lnTo>
                    <a:pt x="452" y="700"/>
                  </a:lnTo>
                  <a:close/>
                  <a:moveTo>
                    <a:pt x="35" y="132"/>
                  </a:moveTo>
                  <a:cubicBezTo>
                    <a:pt x="33" y="132"/>
                    <a:pt x="31" y="130"/>
                    <a:pt x="29" y="128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5" y="119"/>
                    <a:pt x="27" y="114"/>
                    <a:pt x="30" y="112"/>
                  </a:cubicBezTo>
                  <a:cubicBezTo>
                    <a:pt x="206" y="27"/>
                    <a:pt x="206" y="27"/>
                    <a:pt x="206" y="27"/>
                  </a:cubicBezTo>
                  <a:cubicBezTo>
                    <a:pt x="210" y="25"/>
                    <a:pt x="215" y="26"/>
                    <a:pt x="217" y="30"/>
                  </a:cubicBezTo>
                  <a:cubicBezTo>
                    <a:pt x="219" y="36"/>
                    <a:pt x="219" y="36"/>
                    <a:pt x="219" y="36"/>
                  </a:cubicBezTo>
                  <a:cubicBezTo>
                    <a:pt x="220" y="38"/>
                    <a:pt x="220" y="41"/>
                    <a:pt x="219" y="43"/>
                  </a:cubicBezTo>
                  <a:lnTo>
                    <a:pt x="35" y="132"/>
                  </a:lnTo>
                  <a:close/>
                  <a:moveTo>
                    <a:pt x="56" y="147"/>
                  </a:moveTo>
                  <a:cubicBezTo>
                    <a:pt x="217" y="68"/>
                    <a:pt x="217" y="68"/>
                    <a:pt x="217" y="68"/>
                  </a:cubicBezTo>
                  <a:cubicBezTo>
                    <a:pt x="220" y="95"/>
                    <a:pt x="219" y="137"/>
                    <a:pt x="197" y="185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10" y="191"/>
                    <a:pt x="76" y="166"/>
                    <a:pt x="56" y="147"/>
                  </a:cubicBezTo>
                  <a:close/>
                  <a:moveTo>
                    <a:pt x="176" y="220"/>
                  </a:moveTo>
                  <a:cubicBezTo>
                    <a:pt x="201" y="208"/>
                    <a:pt x="201" y="208"/>
                    <a:pt x="201" y="208"/>
                  </a:cubicBezTo>
                  <a:cubicBezTo>
                    <a:pt x="320" y="452"/>
                    <a:pt x="320" y="452"/>
                    <a:pt x="320" y="452"/>
                  </a:cubicBezTo>
                  <a:cubicBezTo>
                    <a:pt x="295" y="464"/>
                    <a:pt x="295" y="464"/>
                    <a:pt x="295" y="464"/>
                  </a:cubicBezTo>
                  <a:lnTo>
                    <a:pt x="176" y="220"/>
                  </a:lnTo>
                  <a:close/>
                  <a:moveTo>
                    <a:pt x="311" y="481"/>
                  </a:moveTo>
                  <a:cubicBezTo>
                    <a:pt x="323" y="475"/>
                    <a:pt x="323" y="475"/>
                    <a:pt x="323" y="475"/>
                  </a:cubicBezTo>
                  <a:cubicBezTo>
                    <a:pt x="419" y="672"/>
                    <a:pt x="419" y="672"/>
                    <a:pt x="419" y="672"/>
                  </a:cubicBezTo>
                  <a:cubicBezTo>
                    <a:pt x="407" y="678"/>
                    <a:pt x="407" y="678"/>
                    <a:pt x="407" y="678"/>
                  </a:cubicBezTo>
                  <a:lnTo>
                    <a:pt x="311" y="481"/>
                  </a:lnTo>
                  <a:close/>
                  <a:moveTo>
                    <a:pt x="553" y="963"/>
                  </a:moveTo>
                  <a:cubicBezTo>
                    <a:pt x="525" y="976"/>
                    <a:pt x="476" y="960"/>
                    <a:pt x="423" y="920"/>
                  </a:cubicBezTo>
                  <a:cubicBezTo>
                    <a:pt x="375" y="883"/>
                    <a:pt x="331" y="832"/>
                    <a:pt x="305" y="784"/>
                  </a:cubicBezTo>
                  <a:cubicBezTo>
                    <a:pt x="440" y="732"/>
                    <a:pt x="440" y="732"/>
                    <a:pt x="440" y="732"/>
                  </a:cubicBezTo>
                  <a:cubicBezTo>
                    <a:pt x="441" y="732"/>
                    <a:pt x="441" y="732"/>
                    <a:pt x="442" y="731"/>
                  </a:cubicBezTo>
                  <a:cubicBezTo>
                    <a:pt x="566" y="657"/>
                    <a:pt x="566" y="657"/>
                    <a:pt x="566" y="657"/>
                  </a:cubicBezTo>
                  <a:cubicBezTo>
                    <a:pt x="612" y="763"/>
                    <a:pt x="614" y="933"/>
                    <a:pt x="553" y="9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74">
              <a:extLst>
                <a:ext uri="{FF2B5EF4-FFF2-40B4-BE49-F238E27FC236}">
                  <a16:creationId xmlns:a16="http://schemas.microsoft.com/office/drawing/2014/main" id="{E633F2EE-B6AF-4DAE-84EC-4184180299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975" y="4141788"/>
              <a:ext cx="776287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665247F4-9F3B-4B94-AE19-7913A9158B94}"/>
              </a:ext>
            </a:extLst>
          </p:cNvPr>
          <p:cNvGrpSpPr/>
          <p:nvPr/>
        </p:nvGrpSpPr>
        <p:grpSpPr>
          <a:xfrm>
            <a:off x="1455738" y="4146550"/>
            <a:ext cx="768350" cy="768350"/>
            <a:chOff x="1455738" y="4146550"/>
            <a:chExt cx="768350" cy="768350"/>
          </a:xfrm>
        </p:grpSpPr>
        <p:sp>
          <p:nvSpPr>
            <p:cNvPr id="133" name="AutoShape 76">
              <a:extLst>
                <a:ext uri="{FF2B5EF4-FFF2-40B4-BE49-F238E27FC236}">
                  <a16:creationId xmlns:a16="http://schemas.microsoft.com/office/drawing/2014/main" id="{9E1CCB73-F079-4D4A-B486-9DFA2F30D0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55738" y="4146550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Line 78">
              <a:extLst>
                <a:ext uri="{FF2B5EF4-FFF2-40B4-BE49-F238E27FC236}">
                  <a16:creationId xmlns:a16="http://schemas.microsoft.com/office/drawing/2014/main" id="{97694D18-0D07-4221-A6CD-86BCC10C4D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49451" y="4776788"/>
              <a:ext cx="0" cy="0"/>
            </a:xfrm>
            <a:prstGeom prst="line">
              <a:avLst/>
            </a:prstGeom>
            <a:noFill/>
            <a:ln w="11113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9">
              <a:extLst>
                <a:ext uri="{FF2B5EF4-FFF2-40B4-BE49-F238E27FC236}">
                  <a16:creationId xmlns:a16="http://schemas.microsoft.com/office/drawing/2014/main" id="{68FEF39B-55A3-4AE8-8662-CBA9AD3B78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0526" y="4271963"/>
              <a:ext cx="336550" cy="514350"/>
            </a:xfrm>
            <a:custGeom>
              <a:avLst/>
              <a:gdLst>
                <a:gd name="T0" fmla="*/ 565 w 645"/>
                <a:gd name="T1" fmla="*/ 632 h 990"/>
                <a:gd name="T2" fmla="*/ 474 w 645"/>
                <a:gd name="T3" fmla="*/ 686 h 990"/>
                <a:gd name="T4" fmla="*/ 444 w 645"/>
                <a:gd name="T5" fmla="*/ 672 h 990"/>
                <a:gd name="T6" fmla="*/ 345 w 645"/>
                <a:gd name="T7" fmla="*/ 461 h 990"/>
                <a:gd name="T8" fmla="*/ 218 w 645"/>
                <a:gd name="T9" fmla="*/ 193 h 990"/>
                <a:gd name="T10" fmla="*/ 239 w 645"/>
                <a:gd name="T11" fmla="*/ 26 h 990"/>
                <a:gd name="T12" fmla="*/ 197 w 645"/>
                <a:gd name="T13" fmla="*/ 7 h 990"/>
                <a:gd name="T14" fmla="*/ 7 w 645"/>
                <a:gd name="T15" fmla="*/ 132 h 990"/>
                <a:gd name="T16" fmla="*/ 33 w 645"/>
                <a:gd name="T17" fmla="*/ 154 h 990"/>
                <a:gd name="T18" fmla="*/ 280 w 645"/>
                <a:gd name="T19" fmla="*/ 484 h 990"/>
                <a:gd name="T20" fmla="*/ 392 w 645"/>
                <a:gd name="T21" fmla="*/ 697 h 990"/>
                <a:gd name="T22" fmla="*/ 384 w 645"/>
                <a:gd name="T23" fmla="*/ 730 h 990"/>
                <a:gd name="T24" fmla="*/ 279 w 645"/>
                <a:gd name="T25" fmla="*/ 774 h 990"/>
                <a:gd name="T26" fmla="*/ 410 w 645"/>
                <a:gd name="T27" fmla="*/ 937 h 990"/>
                <a:gd name="T28" fmla="*/ 563 w 645"/>
                <a:gd name="T29" fmla="*/ 982 h 990"/>
                <a:gd name="T30" fmla="*/ 574 w 645"/>
                <a:gd name="T31" fmla="*/ 631 h 990"/>
                <a:gd name="T32" fmla="*/ 431 w 645"/>
                <a:gd name="T33" fmla="*/ 712 h 990"/>
                <a:gd name="T34" fmla="*/ 414 w 645"/>
                <a:gd name="T35" fmla="*/ 699 h 990"/>
                <a:gd name="T36" fmla="*/ 452 w 645"/>
                <a:gd name="T37" fmla="*/ 700 h 990"/>
                <a:gd name="T38" fmla="*/ 29 w 645"/>
                <a:gd name="T39" fmla="*/ 128 h 990"/>
                <a:gd name="T40" fmla="*/ 30 w 645"/>
                <a:gd name="T41" fmla="*/ 112 h 990"/>
                <a:gd name="T42" fmla="*/ 217 w 645"/>
                <a:gd name="T43" fmla="*/ 30 h 990"/>
                <a:gd name="T44" fmla="*/ 219 w 645"/>
                <a:gd name="T45" fmla="*/ 43 h 990"/>
                <a:gd name="T46" fmla="*/ 56 w 645"/>
                <a:gd name="T47" fmla="*/ 147 h 990"/>
                <a:gd name="T48" fmla="*/ 197 w 645"/>
                <a:gd name="T49" fmla="*/ 185 h 990"/>
                <a:gd name="T50" fmla="*/ 56 w 645"/>
                <a:gd name="T51" fmla="*/ 147 h 990"/>
                <a:gd name="T52" fmla="*/ 201 w 645"/>
                <a:gd name="T53" fmla="*/ 208 h 990"/>
                <a:gd name="T54" fmla="*/ 295 w 645"/>
                <a:gd name="T55" fmla="*/ 464 h 990"/>
                <a:gd name="T56" fmla="*/ 311 w 645"/>
                <a:gd name="T57" fmla="*/ 481 h 990"/>
                <a:gd name="T58" fmla="*/ 419 w 645"/>
                <a:gd name="T59" fmla="*/ 672 h 990"/>
                <a:gd name="T60" fmla="*/ 311 w 645"/>
                <a:gd name="T61" fmla="*/ 481 h 990"/>
                <a:gd name="T62" fmla="*/ 423 w 645"/>
                <a:gd name="T63" fmla="*/ 920 h 990"/>
                <a:gd name="T64" fmla="*/ 440 w 645"/>
                <a:gd name="T65" fmla="*/ 732 h 990"/>
                <a:gd name="T66" fmla="*/ 566 w 645"/>
                <a:gd name="T67" fmla="*/ 657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5" h="990">
                  <a:moveTo>
                    <a:pt x="574" y="631"/>
                  </a:moveTo>
                  <a:cubicBezTo>
                    <a:pt x="571" y="630"/>
                    <a:pt x="568" y="630"/>
                    <a:pt x="565" y="632"/>
                  </a:cubicBezTo>
                  <a:cubicBezTo>
                    <a:pt x="475" y="686"/>
                    <a:pt x="475" y="686"/>
                    <a:pt x="475" y="686"/>
                  </a:cubicBezTo>
                  <a:cubicBezTo>
                    <a:pt x="475" y="686"/>
                    <a:pt x="475" y="686"/>
                    <a:pt x="474" y="686"/>
                  </a:cubicBezTo>
                  <a:cubicBezTo>
                    <a:pt x="444" y="672"/>
                    <a:pt x="444" y="672"/>
                    <a:pt x="444" y="672"/>
                  </a:cubicBezTo>
                  <a:cubicBezTo>
                    <a:pt x="444" y="672"/>
                    <a:pt x="444" y="672"/>
                    <a:pt x="444" y="672"/>
                  </a:cubicBezTo>
                  <a:cubicBezTo>
                    <a:pt x="343" y="465"/>
                    <a:pt x="343" y="465"/>
                    <a:pt x="343" y="465"/>
                  </a:cubicBezTo>
                  <a:cubicBezTo>
                    <a:pt x="344" y="464"/>
                    <a:pt x="345" y="462"/>
                    <a:pt x="345" y="461"/>
                  </a:cubicBezTo>
                  <a:cubicBezTo>
                    <a:pt x="346" y="458"/>
                    <a:pt x="346" y="455"/>
                    <a:pt x="345" y="453"/>
                  </a:cubicBezTo>
                  <a:cubicBezTo>
                    <a:pt x="218" y="193"/>
                    <a:pt x="218" y="193"/>
                    <a:pt x="218" y="193"/>
                  </a:cubicBezTo>
                  <a:cubicBezTo>
                    <a:pt x="244" y="134"/>
                    <a:pt x="242" y="83"/>
                    <a:pt x="238" y="54"/>
                  </a:cubicBezTo>
                  <a:cubicBezTo>
                    <a:pt x="243" y="46"/>
                    <a:pt x="244" y="35"/>
                    <a:pt x="239" y="26"/>
                  </a:cubicBezTo>
                  <a:cubicBezTo>
                    <a:pt x="236" y="21"/>
                    <a:pt x="236" y="21"/>
                    <a:pt x="236" y="21"/>
                  </a:cubicBezTo>
                  <a:cubicBezTo>
                    <a:pt x="229" y="6"/>
                    <a:pt x="211" y="0"/>
                    <a:pt x="197" y="7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6" y="100"/>
                    <a:pt x="0" y="117"/>
                    <a:pt x="7" y="132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4" y="147"/>
                    <a:pt x="23" y="153"/>
                    <a:pt x="33" y="154"/>
                  </a:cubicBezTo>
                  <a:cubicBezTo>
                    <a:pt x="52" y="175"/>
                    <a:pt x="92" y="209"/>
                    <a:pt x="154" y="224"/>
                  </a:cubicBezTo>
                  <a:cubicBezTo>
                    <a:pt x="280" y="484"/>
                    <a:pt x="280" y="484"/>
                    <a:pt x="280" y="484"/>
                  </a:cubicBezTo>
                  <a:cubicBezTo>
                    <a:pt x="282" y="488"/>
                    <a:pt x="287" y="490"/>
                    <a:pt x="291" y="490"/>
                  </a:cubicBezTo>
                  <a:cubicBezTo>
                    <a:pt x="392" y="697"/>
                    <a:pt x="392" y="697"/>
                    <a:pt x="392" y="697"/>
                  </a:cubicBezTo>
                  <a:cubicBezTo>
                    <a:pt x="384" y="730"/>
                    <a:pt x="384" y="730"/>
                    <a:pt x="384" y="730"/>
                  </a:cubicBezTo>
                  <a:cubicBezTo>
                    <a:pt x="384" y="730"/>
                    <a:pt x="384" y="730"/>
                    <a:pt x="384" y="730"/>
                  </a:cubicBezTo>
                  <a:cubicBezTo>
                    <a:pt x="285" y="768"/>
                    <a:pt x="285" y="768"/>
                    <a:pt x="285" y="768"/>
                  </a:cubicBezTo>
                  <a:cubicBezTo>
                    <a:pt x="283" y="769"/>
                    <a:pt x="280" y="772"/>
                    <a:pt x="279" y="774"/>
                  </a:cubicBezTo>
                  <a:cubicBezTo>
                    <a:pt x="278" y="777"/>
                    <a:pt x="278" y="781"/>
                    <a:pt x="279" y="783"/>
                  </a:cubicBezTo>
                  <a:cubicBezTo>
                    <a:pt x="306" y="837"/>
                    <a:pt x="356" y="896"/>
                    <a:pt x="410" y="937"/>
                  </a:cubicBezTo>
                  <a:cubicBezTo>
                    <a:pt x="438" y="959"/>
                    <a:pt x="486" y="990"/>
                    <a:pt x="529" y="990"/>
                  </a:cubicBezTo>
                  <a:cubicBezTo>
                    <a:pt x="541" y="990"/>
                    <a:pt x="552" y="987"/>
                    <a:pt x="563" y="982"/>
                  </a:cubicBezTo>
                  <a:cubicBezTo>
                    <a:pt x="645" y="943"/>
                    <a:pt x="632" y="742"/>
                    <a:pt x="581" y="637"/>
                  </a:cubicBezTo>
                  <a:cubicBezTo>
                    <a:pt x="580" y="634"/>
                    <a:pt x="577" y="632"/>
                    <a:pt x="574" y="631"/>
                  </a:cubicBezTo>
                  <a:close/>
                  <a:moveTo>
                    <a:pt x="452" y="700"/>
                  </a:moveTo>
                  <a:cubicBezTo>
                    <a:pt x="431" y="712"/>
                    <a:pt x="431" y="712"/>
                    <a:pt x="431" y="712"/>
                  </a:cubicBezTo>
                  <a:cubicBezTo>
                    <a:pt x="409" y="721"/>
                    <a:pt x="409" y="721"/>
                    <a:pt x="409" y="721"/>
                  </a:cubicBezTo>
                  <a:cubicBezTo>
                    <a:pt x="414" y="699"/>
                    <a:pt x="414" y="699"/>
                    <a:pt x="414" y="699"/>
                  </a:cubicBezTo>
                  <a:cubicBezTo>
                    <a:pt x="431" y="691"/>
                    <a:pt x="431" y="691"/>
                    <a:pt x="431" y="691"/>
                  </a:cubicBezTo>
                  <a:lnTo>
                    <a:pt x="452" y="700"/>
                  </a:lnTo>
                  <a:close/>
                  <a:moveTo>
                    <a:pt x="35" y="132"/>
                  </a:moveTo>
                  <a:cubicBezTo>
                    <a:pt x="33" y="132"/>
                    <a:pt x="31" y="130"/>
                    <a:pt x="29" y="128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5" y="119"/>
                    <a:pt x="27" y="114"/>
                    <a:pt x="30" y="112"/>
                  </a:cubicBezTo>
                  <a:cubicBezTo>
                    <a:pt x="206" y="27"/>
                    <a:pt x="206" y="27"/>
                    <a:pt x="206" y="27"/>
                  </a:cubicBezTo>
                  <a:cubicBezTo>
                    <a:pt x="210" y="25"/>
                    <a:pt x="215" y="26"/>
                    <a:pt x="217" y="30"/>
                  </a:cubicBezTo>
                  <a:cubicBezTo>
                    <a:pt x="219" y="36"/>
                    <a:pt x="219" y="36"/>
                    <a:pt x="219" y="36"/>
                  </a:cubicBezTo>
                  <a:cubicBezTo>
                    <a:pt x="220" y="38"/>
                    <a:pt x="220" y="41"/>
                    <a:pt x="219" y="43"/>
                  </a:cubicBezTo>
                  <a:lnTo>
                    <a:pt x="35" y="132"/>
                  </a:lnTo>
                  <a:close/>
                  <a:moveTo>
                    <a:pt x="56" y="147"/>
                  </a:moveTo>
                  <a:cubicBezTo>
                    <a:pt x="217" y="68"/>
                    <a:pt x="217" y="68"/>
                    <a:pt x="217" y="68"/>
                  </a:cubicBezTo>
                  <a:cubicBezTo>
                    <a:pt x="220" y="95"/>
                    <a:pt x="219" y="137"/>
                    <a:pt x="197" y="185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10" y="191"/>
                    <a:pt x="76" y="166"/>
                    <a:pt x="56" y="147"/>
                  </a:cubicBezTo>
                  <a:close/>
                  <a:moveTo>
                    <a:pt x="176" y="220"/>
                  </a:moveTo>
                  <a:cubicBezTo>
                    <a:pt x="201" y="208"/>
                    <a:pt x="201" y="208"/>
                    <a:pt x="201" y="208"/>
                  </a:cubicBezTo>
                  <a:cubicBezTo>
                    <a:pt x="320" y="452"/>
                    <a:pt x="320" y="452"/>
                    <a:pt x="320" y="452"/>
                  </a:cubicBezTo>
                  <a:cubicBezTo>
                    <a:pt x="295" y="464"/>
                    <a:pt x="295" y="464"/>
                    <a:pt x="295" y="464"/>
                  </a:cubicBezTo>
                  <a:lnTo>
                    <a:pt x="176" y="220"/>
                  </a:lnTo>
                  <a:close/>
                  <a:moveTo>
                    <a:pt x="311" y="481"/>
                  </a:moveTo>
                  <a:cubicBezTo>
                    <a:pt x="323" y="475"/>
                    <a:pt x="323" y="475"/>
                    <a:pt x="323" y="475"/>
                  </a:cubicBezTo>
                  <a:cubicBezTo>
                    <a:pt x="419" y="672"/>
                    <a:pt x="419" y="672"/>
                    <a:pt x="419" y="672"/>
                  </a:cubicBezTo>
                  <a:cubicBezTo>
                    <a:pt x="407" y="678"/>
                    <a:pt x="407" y="678"/>
                    <a:pt x="407" y="678"/>
                  </a:cubicBezTo>
                  <a:lnTo>
                    <a:pt x="311" y="481"/>
                  </a:lnTo>
                  <a:close/>
                  <a:moveTo>
                    <a:pt x="553" y="963"/>
                  </a:moveTo>
                  <a:cubicBezTo>
                    <a:pt x="525" y="976"/>
                    <a:pt x="476" y="960"/>
                    <a:pt x="423" y="920"/>
                  </a:cubicBezTo>
                  <a:cubicBezTo>
                    <a:pt x="375" y="883"/>
                    <a:pt x="331" y="832"/>
                    <a:pt x="305" y="784"/>
                  </a:cubicBezTo>
                  <a:cubicBezTo>
                    <a:pt x="440" y="732"/>
                    <a:pt x="440" y="732"/>
                    <a:pt x="440" y="732"/>
                  </a:cubicBezTo>
                  <a:cubicBezTo>
                    <a:pt x="441" y="732"/>
                    <a:pt x="441" y="732"/>
                    <a:pt x="442" y="731"/>
                  </a:cubicBezTo>
                  <a:cubicBezTo>
                    <a:pt x="566" y="657"/>
                    <a:pt x="566" y="657"/>
                    <a:pt x="566" y="657"/>
                  </a:cubicBezTo>
                  <a:cubicBezTo>
                    <a:pt x="612" y="763"/>
                    <a:pt x="614" y="933"/>
                    <a:pt x="553" y="96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80">
              <a:extLst>
                <a:ext uri="{FF2B5EF4-FFF2-40B4-BE49-F238E27FC236}">
                  <a16:creationId xmlns:a16="http://schemas.microsoft.com/office/drawing/2014/main" id="{71E9C9E4-FE36-4D15-B8DB-C14F374226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5738" y="4146550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34AFD4EA-9589-454D-8784-2B2C0B09FC26}"/>
              </a:ext>
            </a:extLst>
          </p:cNvPr>
          <p:cNvGrpSpPr/>
          <p:nvPr/>
        </p:nvGrpSpPr>
        <p:grpSpPr>
          <a:xfrm>
            <a:off x="2600325" y="4144963"/>
            <a:ext cx="842963" cy="841375"/>
            <a:chOff x="2600325" y="4144963"/>
            <a:chExt cx="842963" cy="841375"/>
          </a:xfrm>
        </p:grpSpPr>
        <p:sp>
          <p:nvSpPr>
            <p:cNvPr id="139" name="AutoShape 82">
              <a:extLst>
                <a:ext uri="{FF2B5EF4-FFF2-40B4-BE49-F238E27FC236}">
                  <a16:creationId xmlns:a16="http://schemas.microsoft.com/office/drawing/2014/main" id="{2E74D6C4-02E4-44CC-BD08-3B8FFAE1F9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0325" y="4144963"/>
              <a:ext cx="842963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Oval 84">
              <a:extLst>
                <a:ext uri="{FF2B5EF4-FFF2-40B4-BE49-F238E27FC236}">
                  <a16:creationId xmlns:a16="http://schemas.microsoft.com/office/drawing/2014/main" id="{7D378CFE-8299-4994-B991-C0FA7FEBD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325" y="4144963"/>
              <a:ext cx="842963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85">
              <a:extLst>
                <a:ext uri="{FF2B5EF4-FFF2-40B4-BE49-F238E27FC236}">
                  <a16:creationId xmlns:a16="http://schemas.microsoft.com/office/drawing/2014/main" id="{3B6990B5-7968-4BD3-8767-0C831F9F8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3663" y="4178301"/>
              <a:ext cx="776288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86">
              <a:extLst>
                <a:ext uri="{FF2B5EF4-FFF2-40B4-BE49-F238E27FC236}">
                  <a16:creationId xmlns:a16="http://schemas.microsoft.com/office/drawing/2014/main" id="{3C19DB03-BC99-480E-9C89-06C9421EC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8450" y="4583113"/>
              <a:ext cx="365125" cy="184150"/>
            </a:xfrm>
            <a:custGeom>
              <a:avLst/>
              <a:gdLst>
                <a:gd name="T0" fmla="*/ 424 w 695"/>
                <a:gd name="T1" fmla="*/ 1 h 351"/>
                <a:gd name="T2" fmla="*/ 420 w 695"/>
                <a:gd name="T3" fmla="*/ 0 h 351"/>
                <a:gd name="T4" fmla="*/ 417 w 695"/>
                <a:gd name="T5" fmla="*/ 2 h 351"/>
                <a:gd name="T6" fmla="*/ 348 w 695"/>
                <a:gd name="T7" fmla="*/ 20 h 351"/>
                <a:gd name="T8" fmla="*/ 278 w 695"/>
                <a:gd name="T9" fmla="*/ 2 h 351"/>
                <a:gd name="T10" fmla="*/ 275 w 695"/>
                <a:gd name="T11" fmla="*/ 0 h 351"/>
                <a:gd name="T12" fmla="*/ 271 w 695"/>
                <a:gd name="T13" fmla="*/ 1 h 351"/>
                <a:gd name="T14" fmla="*/ 77 w 695"/>
                <a:gd name="T15" fmla="*/ 122 h 351"/>
                <a:gd name="T16" fmla="*/ 0 w 695"/>
                <a:gd name="T17" fmla="*/ 340 h 351"/>
                <a:gd name="T18" fmla="*/ 0 w 695"/>
                <a:gd name="T19" fmla="*/ 351 h 351"/>
                <a:gd name="T20" fmla="*/ 695 w 695"/>
                <a:gd name="T21" fmla="*/ 351 h 351"/>
                <a:gd name="T22" fmla="*/ 695 w 695"/>
                <a:gd name="T23" fmla="*/ 340 h 351"/>
                <a:gd name="T24" fmla="*/ 618 w 695"/>
                <a:gd name="T25" fmla="*/ 122 h 351"/>
                <a:gd name="T26" fmla="*/ 424 w 695"/>
                <a:gd name="T27" fmla="*/ 1 h 351"/>
                <a:gd name="T28" fmla="*/ 22 w 695"/>
                <a:gd name="T29" fmla="*/ 329 h 351"/>
                <a:gd name="T30" fmla="*/ 272 w 695"/>
                <a:gd name="T31" fmla="*/ 24 h 351"/>
                <a:gd name="T32" fmla="*/ 348 w 695"/>
                <a:gd name="T33" fmla="*/ 42 h 351"/>
                <a:gd name="T34" fmla="*/ 423 w 695"/>
                <a:gd name="T35" fmla="*/ 24 h 351"/>
                <a:gd name="T36" fmla="*/ 673 w 695"/>
                <a:gd name="T37" fmla="*/ 329 h 351"/>
                <a:gd name="T38" fmla="*/ 22 w 695"/>
                <a:gd name="T39" fmla="*/ 329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5" h="351">
                  <a:moveTo>
                    <a:pt x="424" y="1"/>
                  </a:moveTo>
                  <a:cubicBezTo>
                    <a:pt x="420" y="0"/>
                    <a:pt x="420" y="0"/>
                    <a:pt x="420" y="0"/>
                  </a:cubicBezTo>
                  <a:cubicBezTo>
                    <a:pt x="417" y="2"/>
                    <a:pt x="417" y="2"/>
                    <a:pt x="417" y="2"/>
                  </a:cubicBezTo>
                  <a:cubicBezTo>
                    <a:pt x="396" y="14"/>
                    <a:pt x="372" y="20"/>
                    <a:pt x="348" y="20"/>
                  </a:cubicBezTo>
                  <a:cubicBezTo>
                    <a:pt x="323" y="20"/>
                    <a:pt x="299" y="14"/>
                    <a:pt x="278" y="2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1" y="1"/>
                    <a:pt x="271" y="1"/>
                    <a:pt x="271" y="1"/>
                  </a:cubicBezTo>
                  <a:cubicBezTo>
                    <a:pt x="195" y="18"/>
                    <a:pt x="126" y="61"/>
                    <a:pt x="77" y="122"/>
                  </a:cubicBezTo>
                  <a:cubicBezTo>
                    <a:pt x="27" y="183"/>
                    <a:pt x="0" y="261"/>
                    <a:pt x="0" y="34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695" y="351"/>
                    <a:pt x="695" y="351"/>
                    <a:pt x="695" y="351"/>
                  </a:cubicBezTo>
                  <a:cubicBezTo>
                    <a:pt x="695" y="340"/>
                    <a:pt x="695" y="340"/>
                    <a:pt x="695" y="340"/>
                  </a:cubicBezTo>
                  <a:cubicBezTo>
                    <a:pt x="695" y="261"/>
                    <a:pt x="668" y="183"/>
                    <a:pt x="618" y="122"/>
                  </a:cubicBezTo>
                  <a:cubicBezTo>
                    <a:pt x="569" y="61"/>
                    <a:pt x="500" y="18"/>
                    <a:pt x="424" y="1"/>
                  </a:cubicBezTo>
                  <a:close/>
                  <a:moveTo>
                    <a:pt x="22" y="329"/>
                  </a:moveTo>
                  <a:cubicBezTo>
                    <a:pt x="27" y="182"/>
                    <a:pt x="128" y="58"/>
                    <a:pt x="272" y="24"/>
                  </a:cubicBezTo>
                  <a:cubicBezTo>
                    <a:pt x="295" y="36"/>
                    <a:pt x="321" y="42"/>
                    <a:pt x="348" y="42"/>
                  </a:cubicBezTo>
                  <a:cubicBezTo>
                    <a:pt x="374" y="42"/>
                    <a:pt x="400" y="36"/>
                    <a:pt x="423" y="24"/>
                  </a:cubicBezTo>
                  <a:cubicBezTo>
                    <a:pt x="567" y="58"/>
                    <a:pt x="668" y="182"/>
                    <a:pt x="673" y="329"/>
                  </a:cubicBezTo>
                  <a:lnTo>
                    <a:pt x="22" y="3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87">
              <a:extLst>
                <a:ext uri="{FF2B5EF4-FFF2-40B4-BE49-F238E27FC236}">
                  <a16:creationId xmlns:a16="http://schemas.microsoft.com/office/drawing/2014/main" id="{B751781A-042E-44A2-BEFF-5CB012851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2900" y="4306888"/>
              <a:ext cx="269875" cy="273050"/>
            </a:xfrm>
            <a:custGeom>
              <a:avLst/>
              <a:gdLst>
                <a:gd name="T0" fmla="*/ 92 w 514"/>
                <a:gd name="T1" fmla="*/ 225 h 519"/>
                <a:gd name="T2" fmla="*/ 108 w 514"/>
                <a:gd name="T3" fmla="*/ 224 h 519"/>
                <a:gd name="T4" fmla="*/ 108 w 514"/>
                <a:gd name="T5" fmla="*/ 283 h 519"/>
                <a:gd name="T6" fmla="*/ 94 w 514"/>
                <a:gd name="T7" fmla="*/ 350 h 519"/>
                <a:gd name="T8" fmla="*/ 263 w 514"/>
                <a:gd name="T9" fmla="*/ 519 h 519"/>
                <a:gd name="T10" fmla="*/ 431 w 514"/>
                <a:gd name="T11" fmla="*/ 350 h 519"/>
                <a:gd name="T12" fmla="*/ 417 w 514"/>
                <a:gd name="T13" fmla="*/ 283 h 519"/>
                <a:gd name="T14" fmla="*/ 417 w 514"/>
                <a:gd name="T15" fmla="*/ 220 h 519"/>
                <a:gd name="T16" fmla="*/ 444 w 514"/>
                <a:gd name="T17" fmla="*/ 225 h 519"/>
                <a:gd name="T18" fmla="*/ 514 w 514"/>
                <a:gd name="T19" fmla="*/ 159 h 519"/>
                <a:gd name="T20" fmla="*/ 444 w 514"/>
                <a:gd name="T21" fmla="*/ 92 h 519"/>
                <a:gd name="T22" fmla="*/ 438 w 514"/>
                <a:gd name="T23" fmla="*/ 92 h 519"/>
                <a:gd name="T24" fmla="*/ 273 w 514"/>
                <a:gd name="T25" fmla="*/ 0 h 519"/>
                <a:gd name="T26" fmla="*/ 124 w 514"/>
                <a:gd name="T27" fmla="*/ 58 h 519"/>
                <a:gd name="T28" fmla="*/ 92 w 514"/>
                <a:gd name="T29" fmla="*/ 53 h 519"/>
                <a:gd name="T30" fmla="*/ 0 w 514"/>
                <a:gd name="T31" fmla="*/ 139 h 519"/>
                <a:gd name="T32" fmla="*/ 92 w 514"/>
                <a:gd name="T33" fmla="*/ 225 h 519"/>
                <a:gd name="T34" fmla="*/ 263 w 514"/>
                <a:gd name="T35" fmla="*/ 497 h 519"/>
                <a:gd name="T36" fmla="*/ 116 w 514"/>
                <a:gd name="T37" fmla="*/ 350 h 519"/>
                <a:gd name="T38" fmla="*/ 120 w 514"/>
                <a:gd name="T39" fmla="*/ 315 h 519"/>
                <a:gd name="T40" fmla="*/ 122 w 514"/>
                <a:gd name="T41" fmla="*/ 314 h 519"/>
                <a:gd name="T42" fmla="*/ 403 w 514"/>
                <a:gd name="T43" fmla="*/ 314 h 519"/>
                <a:gd name="T44" fmla="*/ 405 w 514"/>
                <a:gd name="T45" fmla="*/ 315 h 519"/>
                <a:gd name="T46" fmla="*/ 409 w 514"/>
                <a:gd name="T47" fmla="*/ 350 h 519"/>
                <a:gd name="T48" fmla="*/ 263 w 514"/>
                <a:gd name="T49" fmla="*/ 497 h 519"/>
                <a:gd name="T50" fmla="*/ 395 w 514"/>
                <a:gd name="T51" fmla="*/ 289 h 519"/>
                <a:gd name="T52" fmla="*/ 130 w 514"/>
                <a:gd name="T53" fmla="*/ 290 h 519"/>
                <a:gd name="T54" fmla="*/ 130 w 514"/>
                <a:gd name="T55" fmla="*/ 217 h 519"/>
                <a:gd name="T56" fmla="*/ 170 w 514"/>
                <a:gd name="T57" fmla="*/ 185 h 519"/>
                <a:gd name="T58" fmla="*/ 273 w 514"/>
                <a:gd name="T59" fmla="*/ 207 h 519"/>
                <a:gd name="T60" fmla="*/ 379 w 514"/>
                <a:gd name="T61" fmla="*/ 183 h 519"/>
                <a:gd name="T62" fmla="*/ 395 w 514"/>
                <a:gd name="T63" fmla="*/ 206 h 519"/>
                <a:gd name="T64" fmla="*/ 395 w 514"/>
                <a:gd name="T65" fmla="*/ 289 h 519"/>
                <a:gd name="T66" fmla="*/ 92 w 514"/>
                <a:gd name="T67" fmla="*/ 75 h 519"/>
                <a:gd name="T68" fmla="*/ 123 w 514"/>
                <a:gd name="T69" fmla="*/ 81 h 519"/>
                <a:gd name="T70" fmla="*/ 132 w 514"/>
                <a:gd name="T71" fmla="*/ 85 h 519"/>
                <a:gd name="T72" fmla="*/ 137 w 514"/>
                <a:gd name="T73" fmla="*/ 77 h 519"/>
                <a:gd name="T74" fmla="*/ 273 w 514"/>
                <a:gd name="T75" fmla="*/ 22 h 519"/>
                <a:gd name="T76" fmla="*/ 417 w 514"/>
                <a:gd name="T77" fmla="*/ 103 h 519"/>
                <a:gd name="T78" fmla="*/ 417 w 514"/>
                <a:gd name="T79" fmla="*/ 120 h 519"/>
                <a:gd name="T80" fmla="*/ 431 w 514"/>
                <a:gd name="T81" fmla="*/ 116 h 519"/>
                <a:gd name="T82" fmla="*/ 444 w 514"/>
                <a:gd name="T83" fmla="*/ 114 h 519"/>
                <a:gd name="T84" fmla="*/ 492 w 514"/>
                <a:gd name="T85" fmla="*/ 159 h 519"/>
                <a:gd name="T86" fmla="*/ 444 w 514"/>
                <a:gd name="T87" fmla="*/ 203 h 519"/>
                <a:gd name="T88" fmla="*/ 397 w 514"/>
                <a:gd name="T89" fmla="*/ 165 h 519"/>
                <a:gd name="T90" fmla="*/ 394 w 514"/>
                <a:gd name="T91" fmla="*/ 149 h 519"/>
                <a:gd name="T92" fmla="*/ 380 w 514"/>
                <a:gd name="T93" fmla="*/ 158 h 519"/>
                <a:gd name="T94" fmla="*/ 273 w 514"/>
                <a:gd name="T95" fmla="*/ 185 h 519"/>
                <a:gd name="T96" fmla="*/ 172 w 514"/>
                <a:gd name="T97" fmla="*/ 161 h 519"/>
                <a:gd name="T98" fmla="*/ 162 w 514"/>
                <a:gd name="T99" fmla="*/ 155 h 519"/>
                <a:gd name="T100" fmla="*/ 156 w 514"/>
                <a:gd name="T101" fmla="*/ 165 h 519"/>
                <a:gd name="T102" fmla="*/ 92 w 514"/>
                <a:gd name="T103" fmla="*/ 203 h 519"/>
                <a:gd name="T104" fmla="*/ 22 w 514"/>
                <a:gd name="T105" fmla="*/ 139 h 519"/>
                <a:gd name="T106" fmla="*/ 92 w 514"/>
                <a:gd name="T107" fmla="*/ 7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4" h="519">
                  <a:moveTo>
                    <a:pt x="92" y="225"/>
                  </a:moveTo>
                  <a:cubicBezTo>
                    <a:pt x="98" y="225"/>
                    <a:pt x="103" y="224"/>
                    <a:pt x="108" y="224"/>
                  </a:cubicBezTo>
                  <a:cubicBezTo>
                    <a:pt x="108" y="283"/>
                    <a:pt x="108" y="283"/>
                    <a:pt x="108" y="283"/>
                  </a:cubicBezTo>
                  <a:cubicBezTo>
                    <a:pt x="99" y="304"/>
                    <a:pt x="94" y="327"/>
                    <a:pt x="94" y="350"/>
                  </a:cubicBezTo>
                  <a:cubicBezTo>
                    <a:pt x="94" y="443"/>
                    <a:pt x="169" y="519"/>
                    <a:pt x="263" y="519"/>
                  </a:cubicBezTo>
                  <a:cubicBezTo>
                    <a:pt x="356" y="519"/>
                    <a:pt x="431" y="443"/>
                    <a:pt x="431" y="350"/>
                  </a:cubicBezTo>
                  <a:cubicBezTo>
                    <a:pt x="431" y="327"/>
                    <a:pt x="427" y="304"/>
                    <a:pt x="417" y="283"/>
                  </a:cubicBezTo>
                  <a:cubicBezTo>
                    <a:pt x="417" y="220"/>
                    <a:pt x="417" y="220"/>
                    <a:pt x="417" y="220"/>
                  </a:cubicBezTo>
                  <a:cubicBezTo>
                    <a:pt x="425" y="223"/>
                    <a:pt x="434" y="225"/>
                    <a:pt x="444" y="225"/>
                  </a:cubicBezTo>
                  <a:cubicBezTo>
                    <a:pt x="483" y="225"/>
                    <a:pt x="514" y="195"/>
                    <a:pt x="514" y="159"/>
                  </a:cubicBezTo>
                  <a:cubicBezTo>
                    <a:pt x="514" y="122"/>
                    <a:pt x="483" y="92"/>
                    <a:pt x="444" y="92"/>
                  </a:cubicBezTo>
                  <a:cubicBezTo>
                    <a:pt x="442" y="92"/>
                    <a:pt x="440" y="92"/>
                    <a:pt x="438" y="92"/>
                  </a:cubicBezTo>
                  <a:cubicBezTo>
                    <a:pt x="430" y="40"/>
                    <a:pt x="360" y="0"/>
                    <a:pt x="273" y="0"/>
                  </a:cubicBezTo>
                  <a:cubicBezTo>
                    <a:pt x="208" y="0"/>
                    <a:pt x="151" y="22"/>
                    <a:pt x="124" y="58"/>
                  </a:cubicBezTo>
                  <a:cubicBezTo>
                    <a:pt x="114" y="54"/>
                    <a:pt x="103" y="53"/>
                    <a:pt x="92" y="53"/>
                  </a:cubicBezTo>
                  <a:cubicBezTo>
                    <a:pt x="42" y="53"/>
                    <a:pt x="0" y="91"/>
                    <a:pt x="0" y="139"/>
                  </a:cubicBezTo>
                  <a:cubicBezTo>
                    <a:pt x="0" y="186"/>
                    <a:pt x="42" y="225"/>
                    <a:pt x="92" y="225"/>
                  </a:cubicBezTo>
                  <a:close/>
                  <a:moveTo>
                    <a:pt x="263" y="497"/>
                  </a:moveTo>
                  <a:cubicBezTo>
                    <a:pt x="182" y="497"/>
                    <a:pt x="116" y="431"/>
                    <a:pt x="116" y="350"/>
                  </a:cubicBezTo>
                  <a:cubicBezTo>
                    <a:pt x="116" y="338"/>
                    <a:pt x="117" y="326"/>
                    <a:pt x="120" y="315"/>
                  </a:cubicBezTo>
                  <a:cubicBezTo>
                    <a:pt x="122" y="314"/>
                    <a:pt x="122" y="314"/>
                    <a:pt x="122" y="314"/>
                  </a:cubicBezTo>
                  <a:cubicBezTo>
                    <a:pt x="123" y="314"/>
                    <a:pt x="266" y="276"/>
                    <a:pt x="403" y="314"/>
                  </a:cubicBezTo>
                  <a:cubicBezTo>
                    <a:pt x="405" y="315"/>
                    <a:pt x="405" y="315"/>
                    <a:pt x="405" y="315"/>
                  </a:cubicBezTo>
                  <a:cubicBezTo>
                    <a:pt x="408" y="326"/>
                    <a:pt x="409" y="338"/>
                    <a:pt x="409" y="350"/>
                  </a:cubicBezTo>
                  <a:cubicBezTo>
                    <a:pt x="409" y="431"/>
                    <a:pt x="343" y="497"/>
                    <a:pt x="263" y="497"/>
                  </a:cubicBezTo>
                  <a:close/>
                  <a:moveTo>
                    <a:pt x="395" y="289"/>
                  </a:moveTo>
                  <a:cubicBezTo>
                    <a:pt x="280" y="262"/>
                    <a:pt x="168" y="281"/>
                    <a:pt x="130" y="290"/>
                  </a:cubicBezTo>
                  <a:cubicBezTo>
                    <a:pt x="130" y="217"/>
                    <a:pt x="130" y="217"/>
                    <a:pt x="130" y="217"/>
                  </a:cubicBezTo>
                  <a:cubicBezTo>
                    <a:pt x="146" y="210"/>
                    <a:pt x="161" y="199"/>
                    <a:pt x="170" y="185"/>
                  </a:cubicBezTo>
                  <a:cubicBezTo>
                    <a:pt x="200" y="199"/>
                    <a:pt x="236" y="207"/>
                    <a:pt x="273" y="207"/>
                  </a:cubicBezTo>
                  <a:cubicBezTo>
                    <a:pt x="313" y="207"/>
                    <a:pt x="350" y="199"/>
                    <a:pt x="379" y="183"/>
                  </a:cubicBezTo>
                  <a:cubicBezTo>
                    <a:pt x="383" y="192"/>
                    <a:pt x="388" y="200"/>
                    <a:pt x="395" y="206"/>
                  </a:cubicBezTo>
                  <a:lnTo>
                    <a:pt x="395" y="289"/>
                  </a:lnTo>
                  <a:close/>
                  <a:moveTo>
                    <a:pt x="92" y="75"/>
                  </a:moveTo>
                  <a:cubicBezTo>
                    <a:pt x="103" y="75"/>
                    <a:pt x="114" y="77"/>
                    <a:pt x="123" y="81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58" y="44"/>
                    <a:pt x="212" y="22"/>
                    <a:pt x="273" y="22"/>
                  </a:cubicBezTo>
                  <a:cubicBezTo>
                    <a:pt x="351" y="22"/>
                    <a:pt x="417" y="59"/>
                    <a:pt x="417" y="103"/>
                  </a:cubicBezTo>
                  <a:cubicBezTo>
                    <a:pt x="417" y="120"/>
                    <a:pt x="417" y="120"/>
                    <a:pt x="417" y="120"/>
                  </a:cubicBezTo>
                  <a:cubicBezTo>
                    <a:pt x="431" y="116"/>
                    <a:pt x="431" y="116"/>
                    <a:pt x="431" y="116"/>
                  </a:cubicBezTo>
                  <a:cubicBezTo>
                    <a:pt x="435" y="115"/>
                    <a:pt x="440" y="114"/>
                    <a:pt x="444" y="114"/>
                  </a:cubicBezTo>
                  <a:cubicBezTo>
                    <a:pt x="470" y="114"/>
                    <a:pt x="492" y="134"/>
                    <a:pt x="492" y="159"/>
                  </a:cubicBezTo>
                  <a:cubicBezTo>
                    <a:pt x="492" y="183"/>
                    <a:pt x="470" y="203"/>
                    <a:pt x="444" y="203"/>
                  </a:cubicBezTo>
                  <a:cubicBezTo>
                    <a:pt x="420" y="203"/>
                    <a:pt x="400" y="187"/>
                    <a:pt x="397" y="165"/>
                  </a:cubicBezTo>
                  <a:cubicBezTo>
                    <a:pt x="394" y="149"/>
                    <a:pt x="394" y="149"/>
                    <a:pt x="394" y="149"/>
                  </a:cubicBezTo>
                  <a:cubicBezTo>
                    <a:pt x="380" y="158"/>
                    <a:pt x="380" y="158"/>
                    <a:pt x="380" y="158"/>
                  </a:cubicBezTo>
                  <a:cubicBezTo>
                    <a:pt x="352" y="175"/>
                    <a:pt x="314" y="185"/>
                    <a:pt x="273" y="185"/>
                  </a:cubicBezTo>
                  <a:cubicBezTo>
                    <a:pt x="235" y="185"/>
                    <a:pt x="199" y="176"/>
                    <a:pt x="172" y="161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56" y="165"/>
                    <a:pt x="156" y="165"/>
                    <a:pt x="156" y="165"/>
                  </a:cubicBezTo>
                  <a:cubicBezTo>
                    <a:pt x="145" y="188"/>
                    <a:pt x="120" y="203"/>
                    <a:pt x="92" y="203"/>
                  </a:cubicBezTo>
                  <a:cubicBezTo>
                    <a:pt x="54" y="203"/>
                    <a:pt x="22" y="174"/>
                    <a:pt x="22" y="139"/>
                  </a:cubicBezTo>
                  <a:cubicBezTo>
                    <a:pt x="22" y="103"/>
                    <a:pt x="54" y="75"/>
                    <a:pt x="92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084" name="Group 46083">
            <a:extLst>
              <a:ext uri="{FF2B5EF4-FFF2-40B4-BE49-F238E27FC236}">
                <a16:creationId xmlns:a16="http://schemas.microsoft.com/office/drawing/2014/main" id="{F1FD62E1-0622-4339-AF35-C8CDB488EFCA}"/>
              </a:ext>
            </a:extLst>
          </p:cNvPr>
          <p:cNvGrpSpPr/>
          <p:nvPr/>
        </p:nvGrpSpPr>
        <p:grpSpPr>
          <a:xfrm>
            <a:off x="3663950" y="4144963"/>
            <a:ext cx="768350" cy="768350"/>
            <a:chOff x="3663950" y="4144963"/>
            <a:chExt cx="768350" cy="768350"/>
          </a:xfrm>
        </p:grpSpPr>
        <p:sp>
          <p:nvSpPr>
            <p:cNvPr id="46080" name="AutoShape 89">
              <a:extLst>
                <a:ext uri="{FF2B5EF4-FFF2-40B4-BE49-F238E27FC236}">
                  <a16:creationId xmlns:a16="http://schemas.microsoft.com/office/drawing/2014/main" id="{ED97483D-1189-4941-AAE2-56FF04485BC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3950" y="414496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1" name="Freeform 91">
              <a:extLst>
                <a:ext uri="{FF2B5EF4-FFF2-40B4-BE49-F238E27FC236}">
                  <a16:creationId xmlns:a16="http://schemas.microsoft.com/office/drawing/2014/main" id="{F6387270-3B55-414F-9A5B-68ABB00C4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3950" y="4144963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2" name="Freeform 92">
              <a:extLst>
                <a:ext uri="{FF2B5EF4-FFF2-40B4-BE49-F238E27FC236}">
                  <a16:creationId xmlns:a16="http://schemas.microsoft.com/office/drawing/2014/main" id="{548E1F14-40B8-442D-9B31-DA3B0EB18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7150" y="4545013"/>
              <a:ext cx="361950" cy="184150"/>
            </a:xfrm>
            <a:custGeom>
              <a:avLst/>
              <a:gdLst>
                <a:gd name="T0" fmla="*/ 424 w 695"/>
                <a:gd name="T1" fmla="*/ 1 h 351"/>
                <a:gd name="T2" fmla="*/ 420 w 695"/>
                <a:gd name="T3" fmla="*/ 0 h 351"/>
                <a:gd name="T4" fmla="*/ 417 w 695"/>
                <a:gd name="T5" fmla="*/ 2 h 351"/>
                <a:gd name="T6" fmla="*/ 348 w 695"/>
                <a:gd name="T7" fmla="*/ 20 h 351"/>
                <a:gd name="T8" fmla="*/ 278 w 695"/>
                <a:gd name="T9" fmla="*/ 2 h 351"/>
                <a:gd name="T10" fmla="*/ 275 w 695"/>
                <a:gd name="T11" fmla="*/ 0 h 351"/>
                <a:gd name="T12" fmla="*/ 271 w 695"/>
                <a:gd name="T13" fmla="*/ 1 h 351"/>
                <a:gd name="T14" fmla="*/ 77 w 695"/>
                <a:gd name="T15" fmla="*/ 122 h 351"/>
                <a:gd name="T16" fmla="*/ 0 w 695"/>
                <a:gd name="T17" fmla="*/ 340 h 351"/>
                <a:gd name="T18" fmla="*/ 0 w 695"/>
                <a:gd name="T19" fmla="*/ 351 h 351"/>
                <a:gd name="T20" fmla="*/ 695 w 695"/>
                <a:gd name="T21" fmla="*/ 351 h 351"/>
                <a:gd name="T22" fmla="*/ 695 w 695"/>
                <a:gd name="T23" fmla="*/ 340 h 351"/>
                <a:gd name="T24" fmla="*/ 618 w 695"/>
                <a:gd name="T25" fmla="*/ 122 h 351"/>
                <a:gd name="T26" fmla="*/ 424 w 695"/>
                <a:gd name="T27" fmla="*/ 1 h 351"/>
                <a:gd name="T28" fmla="*/ 22 w 695"/>
                <a:gd name="T29" fmla="*/ 329 h 351"/>
                <a:gd name="T30" fmla="*/ 272 w 695"/>
                <a:gd name="T31" fmla="*/ 24 h 351"/>
                <a:gd name="T32" fmla="*/ 348 w 695"/>
                <a:gd name="T33" fmla="*/ 42 h 351"/>
                <a:gd name="T34" fmla="*/ 423 w 695"/>
                <a:gd name="T35" fmla="*/ 24 h 351"/>
                <a:gd name="T36" fmla="*/ 673 w 695"/>
                <a:gd name="T37" fmla="*/ 329 h 351"/>
                <a:gd name="T38" fmla="*/ 22 w 695"/>
                <a:gd name="T39" fmla="*/ 329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5" h="351">
                  <a:moveTo>
                    <a:pt x="424" y="1"/>
                  </a:moveTo>
                  <a:cubicBezTo>
                    <a:pt x="420" y="0"/>
                    <a:pt x="420" y="0"/>
                    <a:pt x="420" y="0"/>
                  </a:cubicBezTo>
                  <a:cubicBezTo>
                    <a:pt x="417" y="2"/>
                    <a:pt x="417" y="2"/>
                    <a:pt x="417" y="2"/>
                  </a:cubicBezTo>
                  <a:cubicBezTo>
                    <a:pt x="396" y="14"/>
                    <a:pt x="372" y="20"/>
                    <a:pt x="348" y="20"/>
                  </a:cubicBezTo>
                  <a:cubicBezTo>
                    <a:pt x="323" y="20"/>
                    <a:pt x="299" y="14"/>
                    <a:pt x="278" y="2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1" y="1"/>
                    <a:pt x="271" y="1"/>
                    <a:pt x="271" y="1"/>
                  </a:cubicBezTo>
                  <a:cubicBezTo>
                    <a:pt x="195" y="18"/>
                    <a:pt x="126" y="61"/>
                    <a:pt x="77" y="122"/>
                  </a:cubicBezTo>
                  <a:cubicBezTo>
                    <a:pt x="27" y="183"/>
                    <a:pt x="0" y="261"/>
                    <a:pt x="0" y="340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695" y="351"/>
                    <a:pt x="695" y="351"/>
                    <a:pt x="695" y="351"/>
                  </a:cubicBezTo>
                  <a:cubicBezTo>
                    <a:pt x="695" y="340"/>
                    <a:pt x="695" y="340"/>
                    <a:pt x="695" y="340"/>
                  </a:cubicBezTo>
                  <a:cubicBezTo>
                    <a:pt x="695" y="261"/>
                    <a:pt x="668" y="183"/>
                    <a:pt x="618" y="122"/>
                  </a:cubicBezTo>
                  <a:cubicBezTo>
                    <a:pt x="569" y="61"/>
                    <a:pt x="500" y="18"/>
                    <a:pt x="424" y="1"/>
                  </a:cubicBezTo>
                  <a:close/>
                  <a:moveTo>
                    <a:pt x="22" y="329"/>
                  </a:moveTo>
                  <a:cubicBezTo>
                    <a:pt x="27" y="182"/>
                    <a:pt x="128" y="58"/>
                    <a:pt x="272" y="24"/>
                  </a:cubicBezTo>
                  <a:cubicBezTo>
                    <a:pt x="295" y="36"/>
                    <a:pt x="321" y="42"/>
                    <a:pt x="348" y="42"/>
                  </a:cubicBezTo>
                  <a:cubicBezTo>
                    <a:pt x="374" y="42"/>
                    <a:pt x="400" y="36"/>
                    <a:pt x="423" y="24"/>
                  </a:cubicBezTo>
                  <a:cubicBezTo>
                    <a:pt x="567" y="58"/>
                    <a:pt x="668" y="182"/>
                    <a:pt x="673" y="329"/>
                  </a:cubicBezTo>
                  <a:lnTo>
                    <a:pt x="22" y="3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3" name="Freeform 93">
              <a:extLst>
                <a:ext uri="{FF2B5EF4-FFF2-40B4-BE49-F238E27FC236}">
                  <a16:creationId xmlns:a16="http://schemas.microsoft.com/office/drawing/2014/main" id="{AE5AC528-5EA8-4A8E-BC58-D5BA0EE10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013" y="4271963"/>
              <a:ext cx="268288" cy="271463"/>
            </a:xfrm>
            <a:custGeom>
              <a:avLst/>
              <a:gdLst>
                <a:gd name="T0" fmla="*/ 92 w 514"/>
                <a:gd name="T1" fmla="*/ 225 h 519"/>
                <a:gd name="T2" fmla="*/ 108 w 514"/>
                <a:gd name="T3" fmla="*/ 224 h 519"/>
                <a:gd name="T4" fmla="*/ 108 w 514"/>
                <a:gd name="T5" fmla="*/ 283 h 519"/>
                <a:gd name="T6" fmla="*/ 94 w 514"/>
                <a:gd name="T7" fmla="*/ 350 h 519"/>
                <a:gd name="T8" fmla="*/ 263 w 514"/>
                <a:gd name="T9" fmla="*/ 519 h 519"/>
                <a:gd name="T10" fmla="*/ 431 w 514"/>
                <a:gd name="T11" fmla="*/ 350 h 519"/>
                <a:gd name="T12" fmla="*/ 417 w 514"/>
                <a:gd name="T13" fmla="*/ 283 h 519"/>
                <a:gd name="T14" fmla="*/ 417 w 514"/>
                <a:gd name="T15" fmla="*/ 220 h 519"/>
                <a:gd name="T16" fmla="*/ 444 w 514"/>
                <a:gd name="T17" fmla="*/ 225 h 519"/>
                <a:gd name="T18" fmla="*/ 514 w 514"/>
                <a:gd name="T19" fmla="*/ 159 h 519"/>
                <a:gd name="T20" fmla="*/ 444 w 514"/>
                <a:gd name="T21" fmla="*/ 92 h 519"/>
                <a:gd name="T22" fmla="*/ 438 w 514"/>
                <a:gd name="T23" fmla="*/ 92 h 519"/>
                <a:gd name="T24" fmla="*/ 273 w 514"/>
                <a:gd name="T25" fmla="*/ 0 h 519"/>
                <a:gd name="T26" fmla="*/ 124 w 514"/>
                <a:gd name="T27" fmla="*/ 58 h 519"/>
                <a:gd name="T28" fmla="*/ 92 w 514"/>
                <a:gd name="T29" fmla="*/ 53 h 519"/>
                <a:gd name="T30" fmla="*/ 0 w 514"/>
                <a:gd name="T31" fmla="*/ 139 h 519"/>
                <a:gd name="T32" fmla="*/ 92 w 514"/>
                <a:gd name="T33" fmla="*/ 225 h 519"/>
                <a:gd name="T34" fmla="*/ 263 w 514"/>
                <a:gd name="T35" fmla="*/ 497 h 519"/>
                <a:gd name="T36" fmla="*/ 116 w 514"/>
                <a:gd name="T37" fmla="*/ 350 h 519"/>
                <a:gd name="T38" fmla="*/ 120 w 514"/>
                <a:gd name="T39" fmla="*/ 315 h 519"/>
                <a:gd name="T40" fmla="*/ 122 w 514"/>
                <a:gd name="T41" fmla="*/ 314 h 519"/>
                <a:gd name="T42" fmla="*/ 403 w 514"/>
                <a:gd name="T43" fmla="*/ 314 h 519"/>
                <a:gd name="T44" fmla="*/ 405 w 514"/>
                <a:gd name="T45" fmla="*/ 315 h 519"/>
                <a:gd name="T46" fmla="*/ 409 w 514"/>
                <a:gd name="T47" fmla="*/ 350 h 519"/>
                <a:gd name="T48" fmla="*/ 263 w 514"/>
                <a:gd name="T49" fmla="*/ 497 h 519"/>
                <a:gd name="T50" fmla="*/ 395 w 514"/>
                <a:gd name="T51" fmla="*/ 289 h 519"/>
                <a:gd name="T52" fmla="*/ 130 w 514"/>
                <a:gd name="T53" fmla="*/ 290 h 519"/>
                <a:gd name="T54" fmla="*/ 130 w 514"/>
                <a:gd name="T55" fmla="*/ 217 h 519"/>
                <a:gd name="T56" fmla="*/ 170 w 514"/>
                <a:gd name="T57" fmla="*/ 185 h 519"/>
                <a:gd name="T58" fmla="*/ 273 w 514"/>
                <a:gd name="T59" fmla="*/ 207 h 519"/>
                <a:gd name="T60" fmla="*/ 379 w 514"/>
                <a:gd name="T61" fmla="*/ 183 h 519"/>
                <a:gd name="T62" fmla="*/ 395 w 514"/>
                <a:gd name="T63" fmla="*/ 206 h 519"/>
                <a:gd name="T64" fmla="*/ 395 w 514"/>
                <a:gd name="T65" fmla="*/ 289 h 519"/>
                <a:gd name="T66" fmla="*/ 92 w 514"/>
                <a:gd name="T67" fmla="*/ 75 h 519"/>
                <a:gd name="T68" fmla="*/ 123 w 514"/>
                <a:gd name="T69" fmla="*/ 81 h 519"/>
                <a:gd name="T70" fmla="*/ 132 w 514"/>
                <a:gd name="T71" fmla="*/ 85 h 519"/>
                <a:gd name="T72" fmla="*/ 137 w 514"/>
                <a:gd name="T73" fmla="*/ 77 h 519"/>
                <a:gd name="T74" fmla="*/ 273 w 514"/>
                <a:gd name="T75" fmla="*/ 22 h 519"/>
                <a:gd name="T76" fmla="*/ 417 w 514"/>
                <a:gd name="T77" fmla="*/ 103 h 519"/>
                <a:gd name="T78" fmla="*/ 417 w 514"/>
                <a:gd name="T79" fmla="*/ 120 h 519"/>
                <a:gd name="T80" fmla="*/ 431 w 514"/>
                <a:gd name="T81" fmla="*/ 116 h 519"/>
                <a:gd name="T82" fmla="*/ 444 w 514"/>
                <a:gd name="T83" fmla="*/ 114 h 519"/>
                <a:gd name="T84" fmla="*/ 492 w 514"/>
                <a:gd name="T85" fmla="*/ 159 h 519"/>
                <a:gd name="T86" fmla="*/ 444 w 514"/>
                <a:gd name="T87" fmla="*/ 203 h 519"/>
                <a:gd name="T88" fmla="*/ 397 w 514"/>
                <a:gd name="T89" fmla="*/ 165 h 519"/>
                <a:gd name="T90" fmla="*/ 394 w 514"/>
                <a:gd name="T91" fmla="*/ 149 h 519"/>
                <a:gd name="T92" fmla="*/ 380 w 514"/>
                <a:gd name="T93" fmla="*/ 158 h 519"/>
                <a:gd name="T94" fmla="*/ 273 w 514"/>
                <a:gd name="T95" fmla="*/ 185 h 519"/>
                <a:gd name="T96" fmla="*/ 172 w 514"/>
                <a:gd name="T97" fmla="*/ 161 h 519"/>
                <a:gd name="T98" fmla="*/ 162 w 514"/>
                <a:gd name="T99" fmla="*/ 155 h 519"/>
                <a:gd name="T100" fmla="*/ 156 w 514"/>
                <a:gd name="T101" fmla="*/ 165 h 519"/>
                <a:gd name="T102" fmla="*/ 92 w 514"/>
                <a:gd name="T103" fmla="*/ 203 h 519"/>
                <a:gd name="T104" fmla="*/ 22 w 514"/>
                <a:gd name="T105" fmla="*/ 139 h 519"/>
                <a:gd name="T106" fmla="*/ 92 w 514"/>
                <a:gd name="T107" fmla="*/ 7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4" h="519">
                  <a:moveTo>
                    <a:pt x="92" y="225"/>
                  </a:moveTo>
                  <a:cubicBezTo>
                    <a:pt x="98" y="225"/>
                    <a:pt x="103" y="224"/>
                    <a:pt x="108" y="224"/>
                  </a:cubicBezTo>
                  <a:cubicBezTo>
                    <a:pt x="108" y="283"/>
                    <a:pt x="108" y="283"/>
                    <a:pt x="108" y="283"/>
                  </a:cubicBezTo>
                  <a:cubicBezTo>
                    <a:pt x="99" y="304"/>
                    <a:pt x="94" y="327"/>
                    <a:pt x="94" y="350"/>
                  </a:cubicBezTo>
                  <a:cubicBezTo>
                    <a:pt x="94" y="443"/>
                    <a:pt x="169" y="519"/>
                    <a:pt x="263" y="519"/>
                  </a:cubicBezTo>
                  <a:cubicBezTo>
                    <a:pt x="356" y="519"/>
                    <a:pt x="431" y="443"/>
                    <a:pt x="431" y="350"/>
                  </a:cubicBezTo>
                  <a:cubicBezTo>
                    <a:pt x="431" y="327"/>
                    <a:pt x="427" y="304"/>
                    <a:pt x="417" y="283"/>
                  </a:cubicBezTo>
                  <a:cubicBezTo>
                    <a:pt x="417" y="220"/>
                    <a:pt x="417" y="220"/>
                    <a:pt x="417" y="220"/>
                  </a:cubicBezTo>
                  <a:cubicBezTo>
                    <a:pt x="425" y="223"/>
                    <a:pt x="434" y="225"/>
                    <a:pt x="444" y="225"/>
                  </a:cubicBezTo>
                  <a:cubicBezTo>
                    <a:pt x="483" y="225"/>
                    <a:pt x="514" y="195"/>
                    <a:pt x="514" y="159"/>
                  </a:cubicBezTo>
                  <a:cubicBezTo>
                    <a:pt x="514" y="122"/>
                    <a:pt x="483" y="92"/>
                    <a:pt x="444" y="92"/>
                  </a:cubicBezTo>
                  <a:cubicBezTo>
                    <a:pt x="442" y="92"/>
                    <a:pt x="440" y="92"/>
                    <a:pt x="438" y="92"/>
                  </a:cubicBezTo>
                  <a:cubicBezTo>
                    <a:pt x="430" y="40"/>
                    <a:pt x="360" y="0"/>
                    <a:pt x="273" y="0"/>
                  </a:cubicBezTo>
                  <a:cubicBezTo>
                    <a:pt x="208" y="0"/>
                    <a:pt x="151" y="22"/>
                    <a:pt x="124" y="58"/>
                  </a:cubicBezTo>
                  <a:cubicBezTo>
                    <a:pt x="114" y="54"/>
                    <a:pt x="103" y="53"/>
                    <a:pt x="92" y="53"/>
                  </a:cubicBezTo>
                  <a:cubicBezTo>
                    <a:pt x="42" y="53"/>
                    <a:pt x="0" y="91"/>
                    <a:pt x="0" y="139"/>
                  </a:cubicBezTo>
                  <a:cubicBezTo>
                    <a:pt x="0" y="186"/>
                    <a:pt x="42" y="225"/>
                    <a:pt x="92" y="225"/>
                  </a:cubicBezTo>
                  <a:close/>
                  <a:moveTo>
                    <a:pt x="263" y="497"/>
                  </a:moveTo>
                  <a:cubicBezTo>
                    <a:pt x="182" y="497"/>
                    <a:pt x="116" y="431"/>
                    <a:pt x="116" y="350"/>
                  </a:cubicBezTo>
                  <a:cubicBezTo>
                    <a:pt x="116" y="338"/>
                    <a:pt x="117" y="326"/>
                    <a:pt x="120" y="315"/>
                  </a:cubicBezTo>
                  <a:cubicBezTo>
                    <a:pt x="122" y="314"/>
                    <a:pt x="122" y="314"/>
                    <a:pt x="122" y="314"/>
                  </a:cubicBezTo>
                  <a:cubicBezTo>
                    <a:pt x="123" y="314"/>
                    <a:pt x="266" y="276"/>
                    <a:pt x="403" y="314"/>
                  </a:cubicBezTo>
                  <a:cubicBezTo>
                    <a:pt x="405" y="315"/>
                    <a:pt x="405" y="315"/>
                    <a:pt x="405" y="315"/>
                  </a:cubicBezTo>
                  <a:cubicBezTo>
                    <a:pt x="408" y="326"/>
                    <a:pt x="409" y="338"/>
                    <a:pt x="409" y="350"/>
                  </a:cubicBezTo>
                  <a:cubicBezTo>
                    <a:pt x="409" y="431"/>
                    <a:pt x="343" y="497"/>
                    <a:pt x="263" y="497"/>
                  </a:cubicBezTo>
                  <a:close/>
                  <a:moveTo>
                    <a:pt x="395" y="289"/>
                  </a:moveTo>
                  <a:cubicBezTo>
                    <a:pt x="280" y="262"/>
                    <a:pt x="168" y="281"/>
                    <a:pt x="130" y="290"/>
                  </a:cubicBezTo>
                  <a:cubicBezTo>
                    <a:pt x="130" y="217"/>
                    <a:pt x="130" y="217"/>
                    <a:pt x="130" y="217"/>
                  </a:cubicBezTo>
                  <a:cubicBezTo>
                    <a:pt x="146" y="210"/>
                    <a:pt x="161" y="199"/>
                    <a:pt x="170" y="185"/>
                  </a:cubicBezTo>
                  <a:cubicBezTo>
                    <a:pt x="200" y="199"/>
                    <a:pt x="236" y="207"/>
                    <a:pt x="273" y="207"/>
                  </a:cubicBezTo>
                  <a:cubicBezTo>
                    <a:pt x="313" y="207"/>
                    <a:pt x="350" y="199"/>
                    <a:pt x="379" y="183"/>
                  </a:cubicBezTo>
                  <a:cubicBezTo>
                    <a:pt x="383" y="192"/>
                    <a:pt x="388" y="200"/>
                    <a:pt x="395" y="206"/>
                  </a:cubicBezTo>
                  <a:lnTo>
                    <a:pt x="395" y="289"/>
                  </a:lnTo>
                  <a:close/>
                  <a:moveTo>
                    <a:pt x="92" y="75"/>
                  </a:moveTo>
                  <a:cubicBezTo>
                    <a:pt x="103" y="75"/>
                    <a:pt x="114" y="77"/>
                    <a:pt x="123" y="81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58" y="44"/>
                    <a:pt x="212" y="22"/>
                    <a:pt x="273" y="22"/>
                  </a:cubicBezTo>
                  <a:cubicBezTo>
                    <a:pt x="351" y="22"/>
                    <a:pt x="417" y="59"/>
                    <a:pt x="417" y="103"/>
                  </a:cubicBezTo>
                  <a:cubicBezTo>
                    <a:pt x="417" y="120"/>
                    <a:pt x="417" y="120"/>
                    <a:pt x="417" y="120"/>
                  </a:cubicBezTo>
                  <a:cubicBezTo>
                    <a:pt x="431" y="116"/>
                    <a:pt x="431" y="116"/>
                    <a:pt x="431" y="116"/>
                  </a:cubicBezTo>
                  <a:cubicBezTo>
                    <a:pt x="435" y="115"/>
                    <a:pt x="440" y="114"/>
                    <a:pt x="444" y="114"/>
                  </a:cubicBezTo>
                  <a:cubicBezTo>
                    <a:pt x="470" y="114"/>
                    <a:pt x="492" y="134"/>
                    <a:pt x="492" y="159"/>
                  </a:cubicBezTo>
                  <a:cubicBezTo>
                    <a:pt x="492" y="183"/>
                    <a:pt x="470" y="203"/>
                    <a:pt x="444" y="203"/>
                  </a:cubicBezTo>
                  <a:cubicBezTo>
                    <a:pt x="420" y="203"/>
                    <a:pt x="400" y="187"/>
                    <a:pt x="397" y="165"/>
                  </a:cubicBezTo>
                  <a:cubicBezTo>
                    <a:pt x="394" y="149"/>
                    <a:pt x="394" y="149"/>
                    <a:pt x="394" y="149"/>
                  </a:cubicBezTo>
                  <a:cubicBezTo>
                    <a:pt x="380" y="158"/>
                    <a:pt x="380" y="158"/>
                    <a:pt x="380" y="158"/>
                  </a:cubicBezTo>
                  <a:cubicBezTo>
                    <a:pt x="352" y="175"/>
                    <a:pt x="314" y="185"/>
                    <a:pt x="273" y="185"/>
                  </a:cubicBezTo>
                  <a:cubicBezTo>
                    <a:pt x="235" y="185"/>
                    <a:pt x="199" y="176"/>
                    <a:pt x="172" y="161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56" y="165"/>
                    <a:pt x="156" y="165"/>
                    <a:pt x="156" y="165"/>
                  </a:cubicBezTo>
                  <a:cubicBezTo>
                    <a:pt x="145" y="188"/>
                    <a:pt x="120" y="203"/>
                    <a:pt x="92" y="203"/>
                  </a:cubicBezTo>
                  <a:cubicBezTo>
                    <a:pt x="54" y="203"/>
                    <a:pt x="22" y="174"/>
                    <a:pt x="22" y="139"/>
                  </a:cubicBezTo>
                  <a:cubicBezTo>
                    <a:pt x="22" y="103"/>
                    <a:pt x="54" y="75"/>
                    <a:pt x="92" y="7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090" name="Group 46089">
            <a:extLst>
              <a:ext uri="{FF2B5EF4-FFF2-40B4-BE49-F238E27FC236}">
                <a16:creationId xmlns:a16="http://schemas.microsoft.com/office/drawing/2014/main" id="{6041DF5D-E286-401B-BD07-C4746E2DEF76}"/>
              </a:ext>
            </a:extLst>
          </p:cNvPr>
          <p:cNvGrpSpPr/>
          <p:nvPr/>
        </p:nvGrpSpPr>
        <p:grpSpPr>
          <a:xfrm>
            <a:off x="4800600" y="4110038"/>
            <a:ext cx="841375" cy="841375"/>
            <a:chOff x="4800600" y="4110038"/>
            <a:chExt cx="841375" cy="841375"/>
          </a:xfrm>
        </p:grpSpPr>
        <p:sp>
          <p:nvSpPr>
            <p:cNvPr id="46086" name="AutoShape 95">
              <a:extLst>
                <a:ext uri="{FF2B5EF4-FFF2-40B4-BE49-F238E27FC236}">
                  <a16:creationId xmlns:a16="http://schemas.microsoft.com/office/drawing/2014/main" id="{51863339-85BD-4CA9-95C8-E2D5F0C9887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00600" y="41100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7" name="Oval 97">
              <a:extLst>
                <a:ext uri="{FF2B5EF4-FFF2-40B4-BE49-F238E27FC236}">
                  <a16:creationId xmlns:a16="http://schemas.microsoft.com/office/drawing/2014/main" id="{89686205-DE0A-41A2-A01A-82699C6A0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0600" y="4110038"/>
              <a:ext cx="841375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8" name="Freeform 98">
              <a:extLst>
                <a:ext uri="{FF2B5EF4-FFF2-40B4-BE49-F238E27FC236}">
                  <a16:creationId xmlns:a16="http://schemas.microsoft.com/office/drawing/2014/main" id="{35482455-DE9C-4588-BC90-BB931DDF4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3938" y="4143376"/>
              <a:ext cx="776288" cy="776288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89" name="Freeform 99">
              <a:extLst>
                <a:ext uri="{FF2B5EF4-FFF2-40B4-BE49-F238E27FC236}">
                  <a16:creationId xmlns:a16="http://schemas.microsoft.com/office/drawing/2014/main" id="{34242E11-71D4-470B-8833-8ADF5585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2050" y="4360863"/>
              <a:ext cx="488950" cy="379413"/>
            </a:xfrm>
            <a:custGeom>
              <a:avLst/>
              <a:gdLst>
                <a:gd name="T0" fmla="*/ 785 w 931"/>
                <a:gd name="T1" fmla="*/ 25 h 722"/>
                <a:gd name="T2" fmla="*/ 466 w 931"/>
                <a:gd name="T3" fmla="*/ 0 h 722"/>
                <a:gd name="T4" fmla="*/ 146 w 931"/>
                <a:gd name="T5" fmla="*/ 25 h 722"/>
                <a:gd name="T6" fmla="*/ 0 w 931"/>
                <a:gd name="T7" fmla="*/ 102 h 722"/>
                <a:gd name="T8" fmla="*/ 52 w 931"/>
                <a:gd name="T9" fmla="*/ 154 h 722"/>
                <a:gd name="T10" fmla="*/ 52 w 931"/>
                <a:gd name="T11" fmla="*/ 608 h 722"/>
                <a:gd name="T12" fmla="*/ 70 w 931"/>
                <a:gd name="T13" fmla="*/ 625 h 722"/>
                <a:gd name="T14" fmla="*/ 88 w 931"/>
                <a:gd name="T15" fmla="*/ 608 h 722"/>
                <a:gd name="T16" fmla="*/ 88 w 931"/>
                <a:gd name="T17" fmla="*/ 166 h 722"/>
                <a:gd name="T18" fmla="*/ 146 w 931"/>
                <a:gd name="T19" fmla="*/ 179 h 722"/>
                <a:gd name="T20" fmla="*/ 358 w 931"/>
                <a:gd name="T21" fmla="*/ 202 h 722"/>
                <a:gd name="T22" fmla="*/ 358 w 931"/>
                <a:gd name="T23" fmla="*/ 705 h 722"/>
                <a:gd name="T24" fmla="*/ 376 w 931"/>
                <a:gd name="T25" fmla="*/ 722 h 722"/>
                <a:gd name="T26" fmla="*/ 393 w 931"/>
                <a:gd name="T27" fmla="*/ 705 h 722"/>
                <a:gd name="T28" fmla="*/ 393 w 931"/>
                <a:gd name="T29" fmla="*/ 266 h 722"/>
                <a:gd name="T30" fmla="*/ 504 w 931"/>
                <a:gd name="T31" fmla="*/ 204 h 722"/>
                <a:gd name="T32" fmla="*/ 529 w 931"/>
                <a:gd name="T33" fmla="*/ 204 h 722"/>
                <a:gd name="T34" fmla="*/ 529 w 931"/>
                <a:gd name="T35" fmla="*/ 548 h 722"/>
                <a:gd name="T36" fmla="*/ 546 w 931"/>
                <a:gd name="T37" fmla="*/ 566 h 722"/>
                <a:gd name="T38" fmla="*/ 564 w 931"/>
                <a:gd name="T39" fmla="*/ 548 h 722"/>
                <a:gd name="T40" fmla="*/ 564 w 931"/>
                <a:gd name="T41" fmla="*/ 202 h 722"/>
                <a:gd name="T42" fmla="*/ 763 w 931"/>
                <a:gd name="T43" fmla="*/ 183 h 722"/>
                <a:gd name="T44" fmla="*/ 843 w 931"/>
                <a:gd name="T45" fmla="*/ 219 h 722"/>
                <a:gd name="T46" fmla="*/ 843 w 931"/>
                <a:gd name="T47" fmla="*/ 651 h 722"/>
                <a:gd name="T48" fmla="*/ 861 w 931"/>
                <a:gd name="T49" fmla="*/ 668 h 722"/>
                <a:gd name="T50" fmla="*/ 879 w 931"/>
                <a:gd name="T51" fmla="*/ 651 h 722"/>
                <a:gd name="T52" fmla="*/ 879 w 931"/>
                <a:gd name="T53" fmla="*/ 154 h 722"/>
                <a:gd name="T54" fmla="*/ 931 w 931"/>
                <a:gd name="T55" fmla="*/ 102 h 722"/>
                <a:gd name="T56" fmla="*/ 785 w 931"/>
                <a:gd name="T57" fmla="*/ 25 h 722"/>
                <a:gd name="T58" fmla="*/ 393 w 931"/>
                <a:gd name="T59" fmla="*/ 225 h 722"/>
                <a:gd name="T60" fmla="*/ 393 w 931"/>
                <a:gd name="T61" fmla="*/ 203 h 722"/>
                <a:gd name="T62" fmla="*/ 431 w 931"/>
                <a:gd name="T63" fmla="*/ 204 h 722"/>
                <a:gd name="T64" fmla="*/ 393 w 931"/>
                <a:gd name="T65" fmla="*/ 225 h 722"/>
                <a:gd name="T66" fmla="*/ 843 w 931"/>
                <a:gd name="T67" fmla="*/ 180 h 722"/>
                <a:gd name="T68" fmla="*/ 823 w 931"/>
                <a:gd name="T69" fmla="*/ 171 h 722"/>
                <a:gd name="T70" fmla="*/ 843 w 931"/>
                <a:gd name="T71" fmla="*/ 166 h 722"/>
                <a:gd name="T72" fmla="*/ 843 w 931"/>
                <a:gd name="T73" fmla="*/ 180 h 722"/>
                <a:gd name="T74" fmla="*/ 771 w 931"/>
                <a:gd name="T75" fmla="*/ 146 h 722"/>
                <a:gd name="T76" fmla="*/ 466 w 931"/>
                <a:gd name="T77" fmla="*/ 169 h 722"/>
                <a:gd name="T78" fmla="*/ 160 w 931"/>
                <a:gd name="T79" fmla="*/ 146 h 722"/>
                <a:gd name="T80" fmla="*/ 36 w 931"/>
                <a:gd name="T81" fmla="*/ 102 h 722"/>
                <a:gd name="T82" fmla="*/ 160 w 931"/>
                <a:gd name="T83" fmla="*/ 59 h 722"/>
                <a:gd name="T84" fmla="*/ 466 w 931"/>
                <a:gd name="T85" fmla="*/ 36 h 722"/>
                <a:gd name="T86" fmla="*/ 771 w 931"/>
                <a:gd name="T87" fmla="*/ 59 h 722"/>
                <a:gd name="T88" fmla="*/ 895 w 931"/>
                <a:gd name="T89" fmla="*/ 102 h 722"/>
                <a:gd name="T90" fmla="*/ 771 w 931"/>
                <a:gd name="T91" fmla="*/ 14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31" h="722">
                  <a:moveTo>
                    <a:pt x="785" y="25"/>
                  </a:moveTo>
                  <a:cubicBezTo>
                    <a:pt x="700" y="9"/>
                    <a:pt x="586" y="0"/>
                    <a:pt x="466" y="0"/>
                  </a:cubicBezTo>
                  <a:cubicBezTo>
                    <a:pt x="345" y="0"/>
                    <a:pt x="231" y="9"/>
                    <a:pt x="146" y="25"/>
                  </a:cubicBezTo>
                  <a:cubicBezTo>
                    <a:pt x="15" y="50"/>
                    <a:pt x="0" y="81"/>
                    <a:pt x="0" y="102"/>
                  </a:cubicBezTo>
                  <a:cubicBezTo>
                    <a:pt x="0" y="117"/>
                    <a:pt x="7" y="136"/>
                    <a:pt x="52" y="154"/>
                  </a:cubicBezTo>
                  <a:cubicBezTo>
                    <a:pt x="52" y="608"/>
                    <a:pt x="52" y="608"/>
                    <a:pt x="52" y="608"/>
                  </a:cubicBezTo>
                  <a:cubicBezTo>
                    <a:pt x="52" y="617"/>
                    <a:pt x="60" y="625"/>
                    <a:pt x="70" y="625"/>
                  </a:cubicBezTo>
                  <a:cubicBezTo>
                    <a:pt x="80" y="625"/>
                    <a:pt x="88" y="617"/>
                    <a:pt x="88" y="608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4" y="171"/>
                    <a:pt x="123" y="175"/>
                    <a:pt x="146" y="179"/>
                  </a:cubicBezTo>
                  <a:cubicBezTo>
                    <a:pt x="205" y="191"/>
                    <a:pt x="278" y="198"/>
                    <a:pt x="358" y="202"/>
                  </a:cubicBezTo>
                  <a:cubicBezTo>
                    <a:pt x="358" y="705"/>
                    <a:pt x="358" y="705"/>
                    <a:pt x="358" y="705"/>
                  </a:cubicBezTo>
                  <a:cubicBezTo>
                    <a:pt x="358" y="714"/>
                    <a:pt x="366" y="722"/>
                    <a:pt x="376" y="722"/>
                  </a:cubicBezTo>
                  <a:cubicBezTo>
                    <a:pt x="385" y="722"/>
                    <a:pt x="393" y="714"/>
                    <a:pt x="393" y="705"/>
                  </a:cubicBezTo>
                  <a:cubicBezTo>
                    <a:pt x="393" y="266"/>
                    <a:pt x="393" y="266"/>
                    <a:pt x="393" y="266"/>
                  </a:cubicBezTo>
                  <a:cubicBezTo>
                    <a:pt x="504" y="204"/>
                    <a:pt x="504" y="204"/>
                    <a:pt x="504" y="204"/>
                  </a:cubicBezTo>
                  <a:cubicBezTo>
                    <a:pt x="512" y="204"/>
                    <a:pt x="521" y="204"/>
                    <a:pt x="529" y="204"/>
                  </a:cubicBezTo>
                  <a:cubicBezTo>
                    <a:pt x="529" y="548"/>
                    <a:pt x="529" y="548"/>
                    <a:pt x="529" y="548"/>
                  </a:cubicBezTo>
                  <a:cubicBezTo>
                    <a:pt x="529" y="558"/>
                    <a:pt x="537" y="566"/>
                    <a:pt x="546" y="566"/>
                  </a:cubicBezTo>
                  <a:cubicBezTo>
                    <a:pt x="556" y="566"/>
                    <a:pt x="564" y="558"/>
                    <a:pt x="564" y="548"/>
                  </a:cubicBezTo>
                  <a:cubicBezTo>
                    <a:pt x="564" y="202"/>
                    <a:pt x="564" y="202"/>
                    <a:pt x="564" y="202"/>
                  </a:cubicBezTo>
                  <a:cubicBezTo>
                    <a:pt x="637" y="199"/>
                    <a:pt x="705" y="193"/>
                    <a:pt x="763" y="183"/>
                  </a:cubicBezTo>
                  <a:cubicBezTo>
                    <a:pt x="843" y="219"/>
                    <a:pt x="843" y="219"/>
                    <a:pt x="843" y="219"/>
                  </a:cubicBezTo>
                  <a:cubicBezTo>
                    <a:pt x="843" y="651"/>
                    <a:pt x="843" y="651"/>
                    <a:pt x="843" y="651"/>
                  </a:cubicBezTo>
                  <a:cubicBezTo>
                    <a:pt x="843" y="660"/>
                    <a:pt x="851" y="668"/>
                    <a:pt x="861" y="668"/>
                  </a:cubicBezTo>
                  <a:cubicBezTo>
                    <a:pt x="871" y="668"/>
                    <a:pt x="879" y="660"/>
                    <a:pt x="879" y="651"/>
                  </a:cubicBezTo>
                  <a:cubicBezTo>
                    <a:pt x="879" y="154"/>
                    <a:pt x="879" y="154"/>
                    <a:pt x="879" y="154"/>
                  </a:cubicBezTo>
                  <a:cubicBezTo>
                    <a:pt x="924" y="136"/>
                    <a:pt x="931" y="117"/>
                    <a:pt x="931" y="102"/>
                  </a:cubicBezTo>
                  <a:cubicBezTo>
                    <a:pt x="931" y="81"/>
                    <a:pt x="916" y="50"/>
                    <a:pt x="785" y="25"/>
                  </a:cubicBezTo>
                  <a:close/>
                  <a:moveTo>
                    <a:pt x="393" y="225"/>
                  </a:moveTo>
                  <a:cubicBezTo>
                    <a:pt x="393" y="203"/>
                    <a:pt x="393" y="203"/>
                    <a:pt x="393" y="203"/>
                  </a:cubicBezTo>
                  <a:cubicBezTo>
                    <a:pt x="406" y="204"/>
                    <a:pt x="418" y="204"/>
                    <a:pt x="431" y="204"/>
                  </a:cubicBezTo>
                  <a:lnTo>
                    <a:pt x="393" y="225"/>
                  </a:lnTo>
                  <a:close/>
                  <a:moveTo>
                    <a:pt x="843" y="180"/>
                  </a:moveTo>
                  <a:cubicBezTo>
                    <a:pt x="823" y="171"/>
                    <a:pt x="823" y="171"/>
                    <a:pt x="823" y="171"/>
                  </a:cubicBezTo>
                  <a:cubicBezTo>
                    <a:pt x="830" y="170"/>
                    <a:pt x="837" y="168"/>
                    <a:pt x="843" y="166"/>
                  </a:cubicBezTo>
                  <a:lnTo>
                    <a:pt x="843" y="180"/>
                  </a:lnTo>
                  <a:close/>
                  <a:moveTo>
                    <a:pt x="771" y="146"/>
                  </a:moveTo>
                  <a:cubicBezTo>
                    <a:pt x="689" y="161"/>
                    <a:pt x="580" y="169"/>
                    <a:pt x="466" y="169"/>
                  </a:cubicBezTo>
                  <a:cubicBezTo>
                    <a:pt x="351" y="169"/>
                    <a:pt x="242" y="161"/>
                    <a:pt x="160" y="146"/>
                  </a:cubicBezTo>
                  <a:cubicBezTo>
                    <a:pt x="65" y="129"/>
                    <a:pt x="38" y="108"/>
                    <a:pt x="36" y="102"/>
                  </a:cubicBezTo>
                  <a:cubicBezTo>
                    <a:pt x="38" y="96"/>
                    <a:pt x="65" y="76"/>
                    <a:pt x="160" y="59"/>
                  </a:cubicBezTo>
                  <a:cubicBezTo>
                    <a:pt x="242" y="44"/>
                    <a:pt x="351" y="36"/>
                    <a:pt x="466" y="36"/>
                  </a:cubicBezTo>
                  <a:cubicBezTo>
                    <a:pt x="580" y="36"/>
                    <a:pt x="689" y="44"/>
                    <a:pt x="771" y="59"/>
                  </a:cubicBezTo>
                  <a:cubicBezTo>
                    <a:pt x="866" y="76"/>
                    <a:pt x="893" y="96"/>
                    <a:pt x="895" y="102"/>
                  </a:cubicBezTo>
                  <a:cubicBezTo>
                    <a:pt x="893" y="108"/>
                    <a:pt x="866" y="129"/>
                    <a:pt x="771" y="1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67BAE1C9-4AF5-4D57-8B68-53D6F39922B4}"/>
              </a:ext>
            </a:extLst>
          </p:cNvPr>
          <p:cNvGrpSpPr/>
          <p:nvPr/>
        </p:nvGrpSpPr>
        <p:grpSpPr>
          <a:xfrm>
            <a:off x="5868988" y="4140200"/>
            <a:ext cx="768350" cy="766763"/>
            <a:chOff x="5868988" y="4140200"/>
            <a:chExt cx="768350" cy="766763"/>
          </a:xfrm>
        </p:grpSpPr>
        <p:sp>
          <p:nvSpPr>
            <p:cNvPr id="167" name="AutoShape 101">
              <a:extLst>
                <a:ext uri="{FF2B5EF4-FFF2-40B4-BE49-F238E27FC236}">
                  <a16:creationId xmlns:a16="http://schemas.microsoft.com/office/drawing/2014/main" id="{C08B62AA-A76D-41F3-9692-7CA483724C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8988" y="4140200"/>
              <a:ext cx="768350" cy="766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03">
              <a:extLst>
                <a:ext uri="{FF2B5EF4-FFF2-40B4-BE49-F238E27FC236}">
                  <a16:creationId xmlns:a16="http://schemas.microsoft.com/office/drawing/2014/main" id="{4517A04A-98E5-4BD7-9AFA-7FBC1F326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8988" y="4140200"/>
              <a:ext cx="768350" cy="766763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04">
              <a:extLst>
                <a:ext uri="{FF2B5EF4-FFF2-40B4-BE49-F238E27FC236}">
                  <a16:creationId xmlns:a16="http://schemas.microsoft.com/office/drawing/2014/main" id="{16FB2F2D-3F16-4D8C-9436-6B1B1B517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4354513"/>
              <a:ext cx="484188" cy="374650"/>
            </a:xfrm>
            <a:custGeom>
              <a:avLst/>
              <a:gdLst>
                <a:gd name="T0" fmla="*/ 785 w 931"/>
                <a:gd name="T1" fmla="*/ 25 h 722"/>
                <a:gd name="T2" fmla="*/ 466 w 931"/>
                <a:gd name="T3" fmla="*/ 0 h 722"/>
                <a:gd name="T4" fmla="*/ 146 w 931"/>
                <a:gd name="T5" fmla="*/ 25 h 722"/>
                <a:gd name="T6" fmla="*/ 0 w 931"/>
                <a:gd name="T7" fmla="*/ 102 h 722"/>
                <a:gd name="T8" fmla="*/ 52 w 931"/>
                <a:gd name="T9" fmla="*/ 154 h 722"/>
                <a:gd name="T10" fmla="*/ 52 w 931"/>
                <a:gd name="T11" fmla="*/ 608 h 722"/>
                <a:gd name="T12" fmla="*/ 70 w 931"/>
                <a:gd name="T13" fmla="*/ 625 h 722"/>
                <a:gd name="T14" fmla="*/ 88 w 931"/>
                <a:gd name="T15" fmla="*/ 608 h 722"/>
                <a:gd name="T16" fmla="*/ 88 w 931"/>
                <a:gd name="T17" fmla="*/ 166 h 722"/>
                <a:gd name="T18" fmla="*/ 146 w 931"/>
                <a:gd name="T19" fmla="*/ 179 h 722"/>
                <a:gd name="T20" fmla="*/ 358 w 931"/>
                <a:gd name="T21" fmla="*/ 202 h 722"/>
                <a:gd name="T22" fmla="*/ 358 w 931"/>
                <a:gd name="T23" fmla="*/ 705 h 722"/>
                <a:gd name="T24" fmla="*/ 376 w 931"/>
                <a:gd name="T25" fmla="*/ 722 h 722"/>
                <a:gd name="T26" fmla="*/ 393 w 931"/>
                <a:gd name="T27" fmla="*/ 705 h 722"/>
                <a:gd name="T28" fmla="*/ 393 w 931"/>
                <a:gd name="T29" fmla="*/ 266 h 722"/>
                <a:gd name="T30" fmla="*/ 504 w 931"/>
                <a:gd name="T31" fmla="*/ 204 h 722"/>
                <a:gd name="T32" fmla="*/ 529 w 931"/>
                <a:gd name="T33" fmla="*/ 204 h 722"/>
                <a:gd name="T34" fmla="*/ 529 w 931"/>
                <a:gd name="T35" fmla="*/ 548 h 722"/>
                <a:gd name="T36" fmla="*/ 546 w 931"/>
                <a:gd name="T37" fmla="*/ 566 h 722"/>
                <a:gd name="T38" fmla="*/ 564 w 931"/>
                <a:gd name="T39" fmla="*/ 548 h 722"/>
                <a:gd name="T40" fmla="*/ 564 w 931"/>
                <a:gd name="T41" fmla="*/ 202 h 722"/>
                <a:gd name="T42" fmla="*/ 763 w 931"/>
                <a:gd name="T43" fmla="*/ 183 h 722"/>
                <a:gd name="T44" fmla="*/ 843 w 931"/>
                <a:gd name="T45" fmla="*/ 219 h 722"/>
                <a:gd name="T46" fmla="*/ 843 w 931"/>
                <a:gd name="T47" fmla="*/ 651 h 722"/>
                <a:gd name="T48" fmla="*/ 861 w 931"/>
                <a:gd name="T49" fmla="*/ 668 h 722"/>
                <a:gd name="T50" fmla="*/ 879 w 931"/>
                <a:gd name="T51" fmla="*/ 651 h 722"/>
                <a:gd name="T52" fmla="*/ 879 w 931"/>
                <a:gd name="T53" fmla="*/ 154 h 722"/>
                <a:gd name="T54" fmla="*/ 931 w 931"/>
                <a:gd name="T55" fmla="*/ 102 h 722"/>
                <a:gd name="T56" fmla="*/ 785 w 931"/>
                <a:gd name="T57" fmla="*/ 25 h 722"/>
                <a:gd name="T58" fmla="*/ 393 w 931"/>
                <a:gd name="T59" fmla="*/ 225 h 722"/>
                <a:gd name="T60" fmla="*/ 393 w 931"/>
                <a:gd name="T61" fmla="*/ 203 h 722"/>
                <a:gd name="T62" fmla="*/ 431 w 931"/>
                <a:gd name="T63" fmla="*/ 204 h 722"/>
                <a:gd name="T64" fmla="*/ 393 w 931"/>
                <a:gd name="T65" fmla="*/ 225 h 722"/>
                <a:gd name="T66" fmla="*/ 843 w 931"/>
                <a:gd name="T67" fmla="*/ 180 h 722"/>
                <a:gd name="T68" fmla="*/ 823 w 931"/>
                <a:gd name="T69" fmla="*/ 171 h 722"/>
                <a:gd name="T70" fmla="*/ 843 w 931"/>
                <a:gd name="T71" fmla="*/ 166 h 722"/>
                <a:gd name="T72" fmla="*/ 843 w 931"/>
                <a:gd name="T73" fmla="*/ 180 h 722"/>
                <a:gd name="T74" fmla="*/ 771 w 931"/>
                <a:gd name="T75" fmla="*/ 146 h 722"/>
                <a:gd name="T76" fmla="*/ 466 w 931"/>
                <a:gd name="T77" fmla="*/ 169 h 722"/>
                <a:gd name="T78" fmla="*/ 160 w 931"/>
                <a:gd name="T79" fmla="*/ 146 h 722"/>
                <a:gd name="T80" fmla="*/ 36 w 931"/>
                <a:gd name="T81" fmla="*/ 102 h 722"/>
                <a:gd name="T82" fmla="*/ 160 w 931"/>
                <a:gd name="T83" fmla="*/ 59 h 722"/>
                <a:gd name="T84" fmla="*/ 466 w 931"/>
                <a:gd name="T85" fmla="*/ 36 h 722"/>
                <a:gd name="T86" fmla="*/ 771 w 931"/>
                <a:gd name="T87" fmla="*/ 59 h 722"/>
                <a:gd name="T88" fmla="*/ 895 w 931"/>
                <a:gd name="T89" fmla="*/ 102 h 722"/>
                <a:gd name="T90" fmla="*/ 771 w 931"/>
                <a:gd name="T91" fmla="*/ 146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31" h="722">
                  <a:moveTo>
                    <a:pt x="785" y="25"/>
                  </a:moveTo>
                  <a:cubicBezTo>
                    <a:pt x="700" y="9"/>
                    <a:pt x="586" y="0"/>
                    <a:pt x="466" y="0"/>
                  </a:cubicBezTo>
                  <a:cubicBezTo>
                    <a:pt x="345" y="0"/>
                    <a:pt x="231" y="9"/>
                    <a:pt x="146" y="25"/>
                  </a:cubicBezTo>
                  <a:cubicBezTo>
                    <a:pt x="15" y="50"/>
                    <a:pt x="0" y="81"/>
                    <a:pt x="0" y="102"/>
                  </a:cubicBezTo>
                  <a:cubicBezTo>
                    <a:pt x="0" y="117"/>
                    <a:pt x="7" y="136"/>
                    <a:pt x="52" y="154"/>
                  </a:cubicBezTo>
                  <a:cubicBezTo>
                    <a:pt x="52" y="608"/>
                    <a:pt x="52" y="608"/>
                    <a:pt x="52" y="608"/>
                  </a:cubicBezTo>
                  <a:cubicBezTo>
                    <a:pt x="52" y="617"/>
                    <a:pt x="60" y="625"/>
                    <a:pt x="70" y="625"/>
                  </a:cubicBezTo>
                  <a:cubicBezTo>
                    <a:pt x="80" y="625"/>
                    <a:pt x="88" y="617"/>
                    <a:pt x="88" y="608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4" y="171"/>
                    <a:pt x="123" y="175"/>
                    <a:pt x="146" y="179"/>
                  </a:cubicBezTo>
                  <a:cubicBezTo>
                    <a:pt x="205" y="191"/>
                    <a:pt x="278" y="198"/>
                    <a:pt x="358" y="202"/>
                  </a:cubicBezTo>
                  <a:cubicBezTo>
                    <a:pt x="358" y="705"/>
                    <a:pt x="358" y="705"/>
                    <a:pt x="358" y="705"/>
                  </a:cubicBezTo>
                  <a:cubicBezTo>
                    <a:pt x="358" y="714"/>
                    <a:pt x="366" y="722"/>
                    <a:pt x="376" y="722"/>
                  </a:cubicBezTo>
                  <a:cubicBezTo>
                    <a:pt x="385" y="722"/>
                    <a:pt x="393" y="714"/>
                    <a:pt x="393" y="705"/>
                  </a:cubicBezTo>
                  <a:cubicBezTo>
                    <a:pt x="393" y="266"/>
                    <a:pt x="393" y="266"/>
                    <a:pt x="393" y="266"/>
                  </a:cubicBezTo>
                  <a:cubicBezTo>
                    <a:pt x="504" y="204"/>
                    <a:pt x="504" y="204"/>
                    <a:pt x="504" y="204"/>
                  </a:cubicBezTo>
                  <a:cubicBezTo>
                    <a:pt x="512" y="204"/>
                    <a:pt x="521" y="204"/>
                    <a:pt x="529" y="204"/>
                  </a:cubicBezTo>
                  <a:cubicBezTo>
                    <a:pt x="529" y="548"/>
                    <a:pt x="529" y="548"/>
                    <a:pt x="529" y="548"/>
                  </a:cubicBezTo>
                  <a:cubicBezTo>
                    <a:pt x="529" y="558"/>
                    <a:pt x="537" y="566"/>
                    <a:pt x="546" y="566"/>
                  </a:cubicBezTo>
                  <a:cubicBezTo>
                    <a:pt x="556" y="566"/>
                    <a:pt x="564" y="558"/>
                    <a:pt x="564" y="548"/>
                  </a:cubicBezTo>
                  <a:cubicBezTo>
                    <a:pt x="564" y="202"/>
                    <a:pt x="564" y="202"/>
                    <a:pt x="564" y="202"/>
                  </a:cubicBezTo>
                  <a:cubicBezTo>
                    <a:pt x="637" y="199"/>
                    <a:pt x="705" y="193"/>
                    <a:pt x="763" y="183"/>
                  </a:cubicBezTo>
                  <a:cubicBezTo>
                    <a:pt x="843" y="219"/>
                    <a:pt x="843" y="219"/>
                    <a:pt x="843" y="219"/>
                  </a:cubicBezTo>
                  <a:cubicBezTo>
                    <a:pt x="843" y="651"/>
                    <a:pt x="843" y="651"/>
                    <a:pt x="843" y="651"/>
                  </a:cubicBezTo>
                  <a:cubicBezTo>
                    <a:pt x="843" y="660"/>
                    <a:pt x="851" y="668"/>
                    <a:pt x="861" y="668"/>
                  </a:cubicBezTo>
                  <a:cubicBezTo>
                    <a:pt x="871" y="668"/>
                    <a:pt x="879" y="660"/>
                    <a:pt x="879" y="651"/>
                  </a:cubicBezTo>
                  <a:cubicBezTo>
                    <a:pt x="879" y="154"/>
                    <a:pt x="879" y="154"/>
                    <a:pt x="879" y="154"/>
                  </a:cubicBezTo>
                  <a:cubicBezTo>
                    <a:pt x="924" y="136"/>
                    <a:pt x="931" y="117"/>
                    <a:pt x="931" y="102"/>
                  </a:cubicBezTo>
                  <a:cubicBezTo>
                    <a:pt x="931" y="81"/>
                    <a:pt x="916" y="50"/>
                    <a:pt x="785" y="25"/>
                  </a:cubicBezTo>
                  <a:close/>
                  <a:moveTo>
                    <a:pt x="393" y="225"/>
                  </a:moveTo>
                  <a:cubicBezTo>
                    <a:pt x="393" y="203"/>
                    <a:pt x="393" y="203"/>
                    <a:pt x="393" y="203"/>
                  </a:cubicBezTo>
                  <a:cubicBezTo>
                    <a:pt x="406" y="204"/>
                    <a:pt x="418" y="204"/>
                    <a:pt x="431" y="204"/>
                  </a:cubicBezTo>
                  <a:lnTo>
                    <a:pt x="393" y="225"/>
                  </a:lnTo>
                  <a:close/>
                  <a:moveTo>
                    <a:pt x="843" y="180"/>
                  </a:moveTo>
                  <a:cubicBezTo>
                    <a:pt x="823" y="171"/>
                    <a:pt x="823" y="171"/>
                    <a:pt x="823" y="171"/>
                  </a:cubicBezTo>
                  <a:cubicBezTo>
                    <a:pt x="830" y="170"/>
                    <a:pt x="837" y="168"/>
                    <a:pt x="843" y="166"/>
                  </a:cubicBezTo>
                  <a:lnTo>
                    <a:pt x="843" y="180"/>
                  </a:lnTo>
                  <a:close/>
                  <a:moveTo>
                    <a:pt x="771" y="146"/>
                  </a:moveTo>
                  <a:cubicBezTo>
                    <a:pt x="689" y="161"/>
                    <a:pt x="580" y="169"/>
                    <a:pt x="466" y="169"/>
                  </a:cubicBezTo>
                  <a:cubicBezTo>
                    <a:pt x="351" y="169"/>
                    <a:pt x="242" y="161"/>
                    <a:pt x="160" y="146"/>
                  </a:cubicBezTo>
                  <a:cubicBezTo>
                    <a:pt x="65" y="129"/>
                    <a:pt x="38" y="108"/>
                    <a:pt x="36" y="102"/>
                  </a:cubicBezTo>
                  <a:cubicBezTo>
                    <a:pt x="38" y="96"/>
                    <a:pt x="65" y="76"/>
                    <a:pt x="160" y="59"/>
                  </a:cubicBezTo>
                  <a:cubicBezTo>
                    <a:pt x="242" y="44"/>
                    <a:pt x="351" y="36"/>
                    <a:pt x="466" y="36"/>
                  </a:cubicBezTo>
                  <a:cubicBezTo>
                    <a:pt x="580" y="36"/>
                    <a:pt x="689" y="44"/>
                    <a:pt x="771" y="59"/>
                  </a:cubicBezTo>
                  <a:cubicBezTo>
                    <a:pt x="866" y="76"/>
                    <a:pt x="893" y="96"/>
                    <a:pt x="895" y="102"/>
                  </a:cubicBezTo>
                  <a:cubicBezTo>
                    <a:pt x="893" y="108"/>
                    <a:pt x="866" y="129"/>
                    <a:pt x="771" y="14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BB3A9B1-0D7E-48D9-863E-2BE384BA1B8B}"/>
              </a:ext>
            </a:extLst>
          </p:cNvPr>
          <p:cNvGrpSpPr/>
          <p:nvPr/>
        </p:nvGrpSpPr>
        <p:grpSpPr>
          <a:xfrm>
            <a:off x="7037388" y="4146550"/>
            <a:ext cx="841375" cy="839788"/>
            <a:chOff x="7037388" y="4146550"/>
            <a:chExt cx="841375" cy="839788"/>
          </a:xfrm>
        </p:grpSpPr>
        <p:sp>
          <p:nvSpPr>
            <p:cNvPr id="172" name="AutoShape 106">
              <a:extLst>
                <a:ext uri="{FF2B5EF4-FFF2-40B4-BE49-F238E27FC236}">
                  <a16:creationId xmlns:a16="http://schemas.microsoft.com/office/drawing/2014/main" id="{633B1271-E5C4-4432-BB6A-239ADA38D1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37388" y="414655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08">
              <a:extLst>
                <a:ext uri="{FF2B5EF4-FFF2-40B4-BE49-F238E27FC236}">
                  <a16:creationId xmlns:a16="http://schemas.microsoft.com/office/drawing/2014/main" id="{0AEDE6FF-4827-43FB-996F-0C5AD36D8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388" y="4146550"/>
              <a:ext cx="841375" cy="83978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09">
              <a:extLst>
                <a:ext uri="{FF2B5EF4-FFF2-40B4-BE49-F238E27FC236}">
                  <a16:creationId xmlns:a16="http://schemas.microsoft.com/office/drawing/2014/main" id="{72777189-4E35-4E5A-A6DF-A3D137B17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0726" y="4179888"/>
              <a:ext cx="774700" cy="77470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10">
              <a:extLst>
                <a:ext uri="{FF2B5EF4-FFF2-40B4-BE49-F238E27FC236}">
                  <a16:creationId xmlns:a16="http://schemas.microsoft.com/office/drawing/2014/main" id="{D067D92D-8711-4FE3-8708-E055A60C5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7126" y="4354513"/>
              <a:ext cx="201613" cy="104775"/>
            </a:xfrm>
            <a:custGeom>
              <a:avLst/>
              <a:gdLst>
                <a:gd name="T0" fmla="*/ 93 w 385"/>
                <a:gd name="T1" fmla="*/ 5 h 198"/>
                <a:gd name="T2" fmla="*/ 91 w 385"/>
                <a:gd name="T3" fmla="*/ 5 h 198"/>
                <a:gd name="T4" fmla="*/ 89 w 385"/>
                <a:gd name="T5" fmla="*/ 4 h 198"/>
                <a:gd name="T6" fmla="*/ 45 w 385"/>
                <a:gd name="T7" fmla="*/ 10 h 198"/>
                <a:gd name="T8" fmla="*/ 34 w 385"/>
                <a:gd name="T9" fmla="*/ 30 h 198"/>
                <a:gd name="T10" fmla="*/ 12 w 385"/>
                <a:gd name="T11" fmla="*/ 44 h 198"/>
                <a:gd name="T12" fmla="*/ 0 w 385"/>
                <a:gd name="T13" fmla="*/ 42 h 198"/>
                <a:gd name="T14" fmla="*/ 0 w 385"/>
                <a:gd name="T15" fmla="*/ 182 h 198"/>
                <a:gd name="T16" fmla="*/ 5 w 385"/>
                <a:gd name="T17" fmla="*/ 185 h 198"/>
                <a:gd name="T18" fmla="*/ 60 w 385"/>
                <a:gd name="T19" fmla="*/ 197 h 198"/>
                <a:gd name="T20" fmla="*/ 79 w 385"/>
                <a:gd name="T21" fmla="*/ 198 h 198"/>
                <a:gd name="T22" fmla="*/ 159 w 385"/>
                <a:gd name="T23" fmla="*/ 163 h 198"/>
                <a:gd name="T24" fmla="*/ 216 w 385"/>
                <a:gd name="T25" fmla="*/ 170 h 198"/>
                <a:gd name="T26" fmla="*/ 254 w 385"/>
                <a:gd name="T27" fmla="*/ 131 h 198"/>
                <a:gd name="T28" fmla="*/ 283 w 385"/>
                <a:gd name="T29" fmla="*/ 131 h 198"/>
                <a:gd name="T30" fmla="*/ 284 w 385"/>
                <a:gd name="T31" fmla="*/ 131 h 198"/>
                <a:gd name="T32" fmla="*/ 314 w 385"/>
                <a:gd name="T33" fmla="*/ 103 h 198"/>
                <a:gd name="T34" fmla="*/ 333 w 385"/>
                <a:gd name="T35" fmla="*/ 103 h 198"/>
                <a:gd name="T36" fmla="*/ 334 w 385"/>
                <a:gd name="T37" fmla="*/ 103 h 198"/>
                <a:gd name="T38" fmla="*/ 384 w 385"/>
                <a:gd name="T39" fmla="*/ 50 h 198"/>
                <a:gd name="T40" fmla="*/ 385 w 385"/>
                <a:gd name="T41" fmla="*/ 38 h 198"/>
                <a:gd name="T42" fmla="*/ 373 w 385"/>
                <a:gd name="T43" fmla="*/ 38 h 198"/>
                <a:gd name="T44" fmla="*/ 93 w 385"/>
                <a:gd name="T45" fmla="*/ 5 h 198"/>
                <a:gd name="T46" fmla="*/ 333 w 385"/>
                <a:gd name="T47" fmla="*/ 81 h 198"/>
                <a:gd name="T48" fmla="*/ 293 w 385"/>
                <a:gd name="T49" fmla="*/ 81 h 198"/>
                <a:gd name="T50" fmla="*/ 293 w 385"/>
                <a:gd name="T51" fmla="*/ 92 h 198"/>
                <a:gd name="T52" fmla="*/ 282 w 385"/>
                <a:gd name="T53" fmla="*/ 109 h 198"/>
                <a:gd name="T54" fmla="*/ 238 w 385"/>
                <a:gd name="T55" fmla="*/ 109 h 198"/>
                <a:gd name="T56" fmla="*/ 236 w 385"/>
                <a:gd name="T57" fmla="*/ 118 h 198"/>
                <a:gd name="T58" fmla="*/ 209 w 385"/>
                <a:gd name="T59" fmla="*/ 149 h 198"/>
                <a:gd name="T60" fmla="*/ 209 w 385"/>
                <a:gd name="T61" fmla="*/ 150 h 198"/>
                <a:gd name="T62" fmla="*/ 162 w 385"/>
                <a:gd name="T63" fmla="*/ 139 h 198"/>
                <a:gd name="T64" fmla="*/ 152 w 385"/>
                <a:gd name="T65" fmla="*/ 132 h 198"/>
                <a:gd name="T66" fmla="*/ 146 w 385"/>
                <a:gd name="T67" fmla="*/ 143 h 198"/>
                <a:gd name="T68" fmla="*/ 63 w 385"/>
                <a:gd name="T69" fmla="*/ 175 h 198"/>
                <a:gd name="T70" fmla="*/ 22 w 385"/>
                <a:gd name="T71" fmla="*/ 168 h 198"/>
                <a:gd name="T72" fmla="*/ 22 w 385"/>
                <a:gd name="T73" fmla="*/ 66 h 198"/>
                <a:gd name="T74" fmla="*/ 56 w 385"/>
                <a:gd name="T75" fmla="*/ 33 h 198"/>
                <a:gd name="T76" fmla="*/ 56 w 385"/>
                <a:gd name="T77" fmla="*/ 33 h 198"/>
                <a:gd name="T78" fmla="*/ 56 w 385"/>
                <a:gd name="T79" fmla="*/ 32 h 198"/>
                <a:gd name="T80" fmla="*/ 59 w 385"/>
                <a:gd name="T81" fmla="*/ 27 h 198"/>
                <a:gd name="T82" fmla="*/ 84 w 385"/>
                <a:gd name="T83" fmla="*/ 25 h 198"/>
                <a:gd name="T84" fmla="*/ 357 w 385"/>
                <a:gd name="T85" fmla="*/ 60 h 198"/>
                <a:gd name="T86" fmla="*/ 358 w 385"/>
                <a:gd name="T87" fmla="*/ 60 h 198"/>
                <a:gd name="T88" fmla="*/ 333 w 385"/>
                <a:gd name="T89" fmla="*/ 8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5" h="198">
                  <a:moveTo>
                    <a:pt x="93" y="5"/>
                  </a:moveTo>
                  <a:cubicBezTo>
                    <a:pt x="91" y="5"/>
                    <a:pt x="91" y="5"/>
                    <a:pt x="91" y="5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70" y="0"/>
                    <a:pt x="55" y="2"/>
                    <a:pt x="45" y="10"/>
                  </a:cubicBezTo>
                  <a:cubicBezTo>
                    <a:pt x="36" y="17"/>
                    <a:pt x="35" y="26"/>
                    <a:pt x="34" y="30"/>
                  </a:cubicBezTo>
                  <a:cubicBezTo>
                    <a:pt x="32" y="45"/>
                    <a:pt x="17" y="45"/>
                    <a:pt x="12" y="4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5" y="185"/>
                    <a:pt x="5" y="185"/>
                    <a:pt x="5" y="185"/>
                  </a:cubicBezTo>
                  <a:cubicBezTo>
                    <a:pt x="12" y="190"/>
                    <a:pt x="39" y="194"/>
                    <a:pt x="60" y="197"/>
                  </a:cubicBezTo>
                  <a:cubicBezTo>
                    <a:pt x="67" y="198"/>
                    <a:pt x="73" y="198"/>
                    <a:pt x="79" y="198"/>
                  </a:cubicBezTo>
                  <a:cubicBezTo>
                    <a:pt x="124" y="198"/>
                    <a:pt x="148" y="176"/>
                    <a:pt x="159" y="163"/>
                  </a:cubicBezTo>
                  <a:cubicBezTo>
                    <a:pt x="189" y="179"/>
                    <a:pt x="212" y="172"/>
                    <a:pt x="216" y="170"/>
                  </a:cubicBezTo>
                  <a:cubicBezTo>
                    <a:pt x="239" y="163"/>
                    <a:pt x="250" y="143"/>
                    <a:pt x="254" y="131"/>
                  </a:cubicBezTo>
                  <a:cubicBezTo>
                    <a:pt x="283" y="131"/>
                    <a:pt x="283" y="131"/>
                    <a:pt x="283" y="131"/>
                  </a:cubicBezTo>
                  <a:cubicBezTo>
                    <a:pt x="284" y="131"/>
                    <a:pt x="284" y="131"/>
                    <a:pt x="284" y="131"/>
                  </a:cubicBezTo>
                  <a:cubicBezTo>
                    <a:pt x="303" y="130"/>
                    <a:pt x="311" y="115"/>
                    <a:pt x="314" y="103"/>
                  </a:cubicBezTo>
                  <a:cubicBezTo>
                    <a:pt x="333" y="103"/>
                    <a:pt x="333" y="103"/>
                    <a:pt x="333" y="103"/>
                  </a:cubicBezTo>
                  <a:cubicBezTo>
                    <a:pt x="334" y="103"/>
                    <a:pt x="334" y="103"/>
                    <a:pt x="334" y="103"/>
                  </a:cubicBezTo>
                  <a:cubicBezTo>
                    <a:pt x="368" y="100"/>
                    <a:pt x="382" y="67"/>
                    <a:pt x="384" y="50"/>
                  </a:cubicBezTo>
                  <a:cubicBezTo>
                    <a:pt x="385" y="38"/>
                    <a:pt x="385" y="38"/>
                    <a:pt x="385" y="38"/>
                  </a:cubicBezTo>
                  <a:cubicBezTo>
                    <a:pt x="373" y="38"/>
                    <a:pt x="373" y="38"/>
                    <a:pt x="373" y="38"/>
                  </a:cubicBezTo>
                  <a:cubicBezTo>
                    <a:pt x="155" y="39"/>
                    <a:pt x="93" y="6"/>
                    <a:pt x="93" y="5"/>
                  </a:cubicBezTo>
                  <a:close/>
                  <a:moveTo>
                    <a:pt x="333" y="81"/>
                  </a:moveTo>
                  <a:cubicBezTo>
                    <a:pt x="293" y="81"/>
                    <a:pt x="293" y="81"/>
                    <a:pt x="293" y="81"/>
                  </a:cubicBezTo>
                  <a:cubicBezTo>
                    <a:pt x="293" y="92"/>
                    <a:pt x="293" y="92"/>
                    <a:pt x="293" y="92"/>
                  </a:cubicBezTo>
                  <a:cubicBezTo>
                    <a:pt x="293" y="93"/>
                    <a:pt x="293" y="108"/>
                    <a:pt x="282" y="109"/>
                  </a:cubicBezTo>
                  <a:cubicBezTo>
                    <a:pt x="238" y="109"/>
                    <a:pt x="238" y="109"/>
                    <a:pt x="238" y="109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6" y="118"/>
                    <a:pt x="230" y="143"/>
                    <a:pt x="209" y="149"/>
                  </a:cubicBezTo>
                  <a:cubicBezTo>
                    <a:pt x="209" y="150"/>
                    <a:pt x="209" y="150"/>
                    <a:pt x="209" y="150"/>
                  </a:cubicBezTo>
                  <a:cubicBezTo>
                    <a:pt x="208" y="150"/>
                    <a:pt x="188" y="157"/>
                    <a:pt x="162" y="139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46" y="143"/>
                    <a:pt x="146" y="143"/>
                    <a:pt x="146" y="143"/>
                  </a:cubicBezTo>
                  <a:cubicBezTo>
                    <a:pt x="145" y="145"/>
                    <a:pt x="124" y="182"/>
                    <a:pt x="63" y="175"/>
                  </a:cubicBezTo>
                  <a:cubicBezTo>
                    <a:pt x="48" y="173"/>
                    <a:pt x="31" y="170"/>
                    <a:pt x="22" y="168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37" y="64"/>
                    <a:pt x="53" y="55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1"/>
                    <a:pt x="57" y="29"/>
                    <a:pt x="59" y="27"/>
                  </a:cubicBezTo>
                  <a:cubicBezTo>
                    <a:pt x="62" y="25"/>
                    <a:pt x="68" y="23"/>
                    <a:pt x="84" y="25"/>
                  </a:cubicBezTo>
                  <a:cubicBezTo>
                    <a:pt x="95" y="31"/>
                    <a:pt x="162" y="60"/>
                    <a:pt x="357" y="60"/>
                  </a:cubicBezTo>
                  <a:cubicBezTo>
                    <a:pt x="358" y="60"/>
                    <a:pt x="358" y="60"/>
                    <a:pt x="358" y="60"/>
                  </a:cubicBezTo>
                  <a:cubicBezTo>
                    <a:pt x="355" y="69"/>
                    <a:pt x="347" y="80"/>
                    <a:pt x="333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11">
              <a:extLst>
                <a:ext uri="{FF2B5EF4-FFF2-40B4-BE49-F238E27FC236}">
                  <a16:creationId xmlns:a16="http://schemas.microsoft.com/office/drawing/2014/main" id="{F21D8C7A-9EAF-4395-8F7B-1FF02E535A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35826" y="4318000"/>
              <a:ext cx="333375" cy="520700"/>
            </a:xfrm>
            <a:custGeom>
              <a:avLst/>
              <a:gdLst>
                <a:gd name="T0" fmla="*/ 451 w 636"/>
                <a:gd name="T1" fmla="*/ 315 h 992"/>
                <a:gd name="T2" fmla="*/ 394 w 636"/>
                <a:gd name="T3" fmla="*/ 111 h 992"/>
                <a:gd name="T4" fmla="*/ 322 w 636"/>
                <a:gd name="T5" fmla="*/ 267 h 992"/>
                <a:gd name="T6" fmla="*/ 373 w 636"/>
                <a:gd name="T7" fmla="*/ 114 h 992"/>
                <a:gd name="T8" fmla="*/ 293 w 636"/>
                <a:gd name="T9" fmla="*/ 75 h 992"/>
                <a:gd name="T10" fmla="*/ 71 w 636"/>
                <a:gd name="T11" fmla="*/ 173 h 992"/>
                <a:gd name="T12" fmla="*/ 298 w 636"/>
                <a:gd name="T13" fmla="*/ 268 h 992"/>
                <a:gd name="T14" fmla="*/ 282 w 636"/>
                <a:gd name="T15" fmla="*/ 479 h 992"/>
                <a:gd name="T16" fmla="*/ 346 w 636"/>
                <a:gd name="T17" fmla="*/ 695 h 992"/>
                <a:gd name="T18" fmla="*/ 385 w 636"/>
                <a:gd name="T19" fmla="*/ 872 h 992"/>
                <a:gd name="T20" fmla="*/ 400 w 636"/>
                <a:gd name="T21" fmla="*/ 899 h 992"/>
                <a:gd name="T22" fmla="*/ 449 w 636"/>
                <a:gd name="T23" fmla="*/ 977 h 992"/>
                <a:gd name="T24" fmla="*/ 519 w 636"/>
                <a:gd name="T25" fmla="*/ 894 h 992"/>
                <a:gd name="T26" fmla="*/ 499 w 636"/>
                <a:gd name="T27" fmla="*/ 700 h 992"/>
                <a:gd name="T28" fmla="*/ 548 w 636"/>
                <a:gd name="T29" fmla="*/ 443 h 992"/>
                <a:gd name="T30" fmla="*/ 559 w 636"/>
                <a:gd name="T31" fmla="*/ 339 h 992"/>
                <a:gd name="T32" fmla="*/ 454 w 636"/>
                <a:gd name="T33" fmla="*/ 349 h 992"/>
                <a:gd name="T34" fmla="*/ 385 w 636"/>
                <a:gd name="T35" fmla="*/ 59 h 992"/>
                <a:gd name="T36" fmla="*/ 416 w 636"/>
                <a:gd name="T37" fmla="*/ 378 h 992"/>
                <a:gd name="T38" fmla="*/ 394 w 636"/>
                <a:gd name="T39" fmla="*/ 384 h 992"/>
                <a:gd name="T40" fmla="*/ 289 w 636"/>
                <a:gd name="T41" fmla="*/ 338 h 992"/>
                <a:gd name="T42" fmla="*/ 223 w 636"/>
                <a:gd name="T43" fmla="*/ 209 h 992"/>
                <a:gd name="T44" fmla="*/ 103 w 636"/>
                <a:gd name="T45" fmla="*/ 179 h 992"/>
                <a:gd name="T46" fmla="*/ 28 w 636"/>
                <a:gd name="T47" fmla="*/ 130 h 992"/>
                <a:gd name="T48" fmla="*/ 329 w 636"/>
                <a:gd name="T49" fmla="*/ 103 h 992"/>
                <a:gd name="T50" fmla="*/ 245 w 636"/>
                <a:gd name="T51" fmla="*/ 367 h 992"/>
                <a:gd name="T52" fmla="*/ 310 w 636"/>
                <a:gd name="T53" fmla="*/ 320 h 992"/>
                <a:gd name="T54" fmla="*/ 245 w 636"/>
                <a:gd name="T55" fmla="*/ 367 h 992"/>
                <a:gd name="T56" fmla="*/ 376 w 636"/>
                <a:gd name="T57" fmla="*/ 491 h 992"/>
                <a:gd name="T58" fmla="*/ 453 w 636"/>
                <a:gd name="T59" fmla="*/ 462 h 992"/>
                <a:gd name="T60" fmla="*/ 429 w 636"/>
                <a:gd name="T61" fmla="*/ 476 h 992"/>
                <a:gd name="T62" fmla="*/ 431 w 636"/>
                <a:gd name="T63" fmla="*/ 645 h 992"/>
                <a:gd name="T64" fmla="*/ 453 w 636"/>
                <a:gd name="T65" fmla="*/ 624 h 992"/>
                <a:gd name="T66" fmla="*/ 435 w 636"/>
                <a:gd name="T67" fmla="*/ 729 h 992"/>
                <a:gd name="T68" fmla="*/ 432 w 636"/>
                <a:gd name="T69" fmla="*/ 722 h 992"/>
                <a:gd name="T70" fmla="*/ 460 w 636"/>
                <a:gd name="T71" fmla="*/ 728 h 992"/>
                <a:gd name="T72" fmla="*/ 387 w 636"/>
                <a:gd name="T73" fmla="*/ 828 h 992"/>
                <a:gd name="T74" fmla="*/ 457 w 636"/>
                <a:gd name="T75" fmla="*/ 850 h 992"/>
                <a:gd name="T76" fmla="*/ 457 w 636"/>
                <a:gd name="T77" fmla="*/ 850 h 992"/>
                <a:gd name="T78" fmla="*/ 428 w 636"/>
                <a:gd name="T79" fmla="*/ 820 h 992"/>
                <a:gd name="T80" fmla="*/ 429 w 636"/>
                <a:gd name="T81" fmla="*/ 900 h 992"/>
                <a:gd name="T82" fmla="*/ 460 w 636"/>
                <a:gd name="T83" fmla="*/ 878 h 992"/>
                <a:gd name="T84" fmla="*/ 381 w 636"/>
                <a:gd name="T85" fmla="*/ 752 h 992"/>
                <a:gd name="T86" fmla="*/ 413 w 636"/>
                <a:gd name="T87" fmla="*/ 682 h 992"/>
                <a:gd name="T88" fmla="*/ 529 w 636"/>
                <a:gd name="T89" fmla="*/ 526 h 992"/>
                <a:gd name="T90" fmla="*/ 326 w 636"/>
                <a:gd name="T91" fmla="*/ 611 h 992"/>
                <a:gd name="T92" fmla="*/ 529 w 636"/>
                <a:gd name="T93" fmla="*/ 526 h 992"/>
                <a:gd name="T94" fmla="*/ 417 w 636"/>
                <a:gd name="T95" fmla="*/ 442 h 992"/>
                <a:gd name="T96" fmla="*/ 304 w 636"/>
                <a:gd name="T97" fmla="*/ 481 h 992"/>
                <a:gd name="T98" fmla="*/ 558 w 636"/>
                <a:gd name="T99" fmla="*/ 373 h 992"/>
                <a:gd name="T100" fmla="*/ 535 w 636"/>
                <a:gd name="T101" fmla="*/ 323 h 992"/>
                <a:gd name="T102" fmla="*/ 581 w 636"/>
                <a:gd name="T103" fmla="*/ 303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6" h="992">
                  <a:moveTo>
                    <a:pt x="592" y="285"/>
                  </a:moveTo>
                  <a:cubicBezTo>
                    <a:pt x="556" y="260"/>
                    <a:pt x="504" y="271"/>
                    <a:pt x="502" y="272"/>
                  </a:cubicBezTo>
                  <a:cubicBezTo>
                    <a:pt x="502" y="272"/>
                    <a:pt x="501" y="272"/>
                    <a:pt x="501" y="272"/>
                  </a:cubicBezTo>
                  <a:cubicBezTo>
                    <a:pt x="479" y="278"/>
                    <a:pt x="463" y="290"/>
                    <a:pt x="455" y="305"/>
                  </a:cubicBezTo>
                  <a:cubicBezTo>
                    <a:pt x="453" y="308"/>
                    <a:pt x="452" y="311"/>
                    <a:pt x="451" y="315"/>
                  </a:cubicBezTo>
                  <a:cubicBezTo>
                    <a:pt x="451" y="110"/>
                    <a:pt x="451" y="110"/>
                    <a:pt x="451" y="110"/>
                  </a:cubicBezTo>
                  <a:cubicBezTo>
                    <a:pt x="469" y="100"/>
                    <a:pt x="481" y="81"/>
                    <a:pt x="481" y="59"/>
                  </a:cubicBezTo>
                  <a:cubicBezTo>
                    <a:pt x="481" y="26"/>
                    <a:pt x="454" y="0"/>
                    <a:pt x="422" y="0"/>
                  </a:cubicBezTo>
                  <a:cubicBezTo>
                    <a:pt x="389" y="0"/>
                    <a:pt x="363" y="26"/>
                    <a:pt x="363" y="59"/>
                  </a:cubicBezTo>
                  <a:cubicBezTo>
                    <a:pt x="363" y="81"/>
                    <a:pt x="375" y="101"/>
                    <a:pt x="394" y="111"/>
                  </a:cubicBezTo>
                  <a:cubicBezTo>
                    <a:pt x="394" y="310"/>
                    <a:pt x="394" y="310"/>
                    <a:pt x="394" y="310"/>
                  </a:cubicBezTo>
                  <a:cubicBezTo>
                    <a:pt x="393" y="307"/>
                    <a:pt x="392" y="305"/>
                    <a:pt x="391" y="303"/>
                  </a:cubicBezTo>
                  <a:cubicBezTo>
                    <a:pt x="383" y="288"/>
                    <a:pt x="367" y="276"/>
                    <a:pt x="345" y="270"/>
                  </a:cubicBezTo>
                  <a:cubicBezTo>
                    <a:pt x="344" y="270"/>
                    <a:pt x="344" y="270"/>
                    <a:pt x="344" y="270"/>
                  </a:cubicBezTo>
                  <a:cubicBezTo>
                    <a:pt x="343" y="269"/>
                    <a:pt x="334" y="268"/>
                    <a:pt x="322" y="267"/>
                  </a:cubicBezTo>
                  <a:cubicBezTo>
                    <a:pt x="323" y="267"/>
                    <a:pt x="324" y="267"/>
                    <a:pt x="325" y="267"/>
                  </a:cubicBezTo>
                  <a:cubicBezTo>
                    <a:pt x="346" y="264"/>
                    <a:pt x="373" y="260"/>
                    <a:pt x="381" y="255"/>
                  </a:cubicBezTo>
                  <a:cubicBezTo>
                    <a:pt x="385" y="252"/>
                    <a:pt x="385" y="252"/>
                    <a:pt x="385" y="252"/>
                  </a:cubicBezTo>
                  <a:cubicBezTo>
                    <a:pt x="385" y="112"/>
                    <a:pt x="385" y="112"/>
                    <a:pt x="385" y="112"/>
                  </a:cubicBezTo>
                  <a:cubicBezTo>
                    <a:pt x="373" y="114"/>
                    <a:pt x="373" y="114"/>
                    <a:pt x="373" y="114"/>
                  </a:cubicBezTo>
                  <a:cubicBezTo>
                    <a:pt x="370" y="115"/>
                    <a:pt x="354" y="116"/>
                    <a:pt x="351" y="100"/>
                  </a:cubicBezTo>
                  <a:cubicBezTo>
                    <a:pt x="351" y="96"/>
                    <a:pt x="349" y="87"/>
                    <a:pt x="340" y="80"/>
                  </a:cubicBezTo>
                  <a:cubicBezTo>
                    <a:pt x="330" y="72"/>
                    <a:pt x="315" y="70"/>
                    <a:pt x="296" y="74"/>
                  </a:cubicBezTo>
                  <a:cubicBezTo>
                    <a:pt x="294" y="75"/>
                    <a:pt x="294" y="75"/>
                    <a:pt x="294" y="75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92" y="76"/>
                    <a:pt x="230" y="109"/>
                    <a:pt x="12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4" y="137"/>
                    <a:pt x="17" y="170"/>
                    <a:pt x="51" y="173"/>
                  </a:cubicBezTo>
                  <a:cubicBezTo>
                    <a:pt x="71" y="173"/>
                    <a:pt x="71" y="173"/>
                    <a:pt x="71" y="173"/>
                  </a:cubicBezTo>
                  <a:cubicBezTo>
                    <a:pt x="74" y="185"/>
                    <a:pt x="82" y="200"/>
                    <a:pt x="102" y="201"/>
                  </a:cubicBezTo>
                  <a:cubicBezTo>
                    <a:pt x="131" y="201"/>
                    <a:pt x="131" y="201"/>
                    <a:pt x="131" y="201"/>
                  </a:cubicBezTo>
                  <a:cubicBezTo>
                    <a:pt x="135" y="213"/>
                    <a:pt x="146" y="233"/>
                    <a:pt x="169" y="240"/>
                  </a:cubicBezTo>
                  <a:cubicBezTo>
                    <a:pt x="173" y="242"/>
                    <a:pt x="197" y="249"/>
                    <a:pt x="226" y="233"/>
                  </a:cubicBezTo>
                  <a:cubicBezTo>
                    <a:pt x="236" y="245"/>
                    <a:pt x="258" y="265"/>
                    <a:pt x="298" y="268"/>
                  </a:cubicBezTo>
                  <a:cubicBezTo>
                    <a:pt x="283" y="269"/>
                    <a:pt x="267" y="274"/>
                    <a:pt x="253" y="283"/>
                  </a:cubicBezTo>
                  <a:cubicBezTo>
                    <a:pt x="234" y="295"/>
                    <a:pt x="203" y="332"/>
                    <a:pt x="226" y="377"/>
                  </a:cubicBezTo>
                  <a:cubicBezTo>
                    <a:pt x="226" y="377"/>
                    <a:pt x="226" y="378"/>
                    <a:pt x="226" y="378"/>
                  </a:cubicBezTo>
                  <a:cubicBezTo>
                    <a:pt x="227" y="379"/>
                    <a:pt x="250" y="418"/>
                    <a:pt x="299" y="438"/>
                  </a:cubicBezTo>
                  <a:cubicBezTo>
                    <a:pt x="285" y="457"/>
                    <a:pt x="283" y="476"/>
                    <a:pt x="282" y="479"/>
                  </a:cubicBezTo>
                  <a:cubicBezTo>
                    <a:pt x="276" y="530"/>
                    <a:pt x="310" y="560"/>
                    <a:pt x="332" y="570"/>
                  </a:cubicBezTo>
                  <a:cubicBezTo>
                    <a:pt x="313" y="586"/>
                    <a:pt x="306" y="601"/>
                    <a:pt x="306" y="602"/>
                  </a:cubicBezTo>
                  <a:cubicBezTo>
                    <a:pt x="306" y="603"/>
                    <a:pt x="306" y="603"/>
                    <a:pt x="305" y="603"/>
                  </a:cubicBezTo>
                  <a:cubicBezTo>
                    <a:pt x="289" y="650"/>
                    <a:pt x="324" y="683"/>
                    <a:pt x="346" y="695"/>
                  </a:cubicBezTo>
                  <a:cubicBezTo>
                    <a:pt x="346" y="695"/>
                    <a:pt x="346" y="695"/>
                    <a:pt x="346" y="695"/>
                  </a:cubicBezTo>
                  <a:cubicBezTo>
                    <a:pt x="331" y="717"/>
                    <a:pt x="325" y="738"/>
                    <a:pt x="329" y="757"/>
                  </a:cubicBezTo>
                  <a:cubicBezTo>
                    <a:pt x="334" y="778"/>
                    <a:pt x="350" y="789"/>
                    <a:pt x="354" y="792"/>
                  </a:cubicBezTo>
                  <a:cubicBezTo>
                    <a:pt x="353" y="793"/>
                    <a:pt x="353" y="793"/>
                    <a:pt x="353" y="793"/>
                  </a:cubicBezTo>
                  <a:cubicBezTo>
                    <a:pt x="335" y="830"/>
                    <a:pt x="363" y="860"/>
                    <a:pt x="381" y="871"/>
                  </a:cubicBezTo>
                  <a:cubicBezTo>
                    <a:pt x="382" y="871"/>
                    <a:pt x="384" y="872"/>
                    <a:pt x="385" y="872"/>
                  </a:cubicBezTo>
                  <a:cubicBezTo>
                    <a:pt x="365" y="887"/>
                    <a:pt x="347" y="898"/>
                    <a:pt x="346" y="898"/>
                  </a:cubicBezTo>
                  <a:cubicBezTo>
                    <a:pt x="341" y="901"/>
                    <a:pt x="340" y="908"/>
                    <a:pt x="342" y="913"/>
                  </a:cubicBezTo>
                  <a:cubicBezTo>
                    <a:pt x="344" y="917"/>
                    <a:pt x="348" y="919"/>
                    <a:pt x="352" y="919"/>
                  </a:cubicBezTo>
                  <a:cubicBezTo>
                    <a:pt x="353" y="919"/>
                    <a:pt x="355" y="918"/>
                    <a:pt x="356" y="918"/>
                  </a:cubicBezTo>
                  <a:cubicBezTo>
                    <a:pt x="400" y="899"/>
                    <a:pt x="400" y="899"/>
                    <a:pt x="400" y="899"/>
                  </a:cubicBezTo>
                  <a:cubicBezTo>
                    <a:pt x="405" y="978"/>
                    <a:pt x="405" y="978"/>
                    <a:pt x="405" y="978"/>
                  </a:cubicBezTo>
                  <a:cubicBezTo>
                    <a:pt x="405" y="981"/>
                    <a:pt x="407" y="984"/>
                    <a:pt x="409" y="986"/>
                  </a:cubicBezTo>
                  <a:cubicBezTo>
                    <a:pt x="416" y="991"/>
                    <a:pt x="422" y="992"/>
                    <a:pt x="427" y="992"/>
                  </a:cubicBezTo>
                  <a:cubicBezTo>
                    <a:pt x="436" y="992"/>
                    <a:pt x="442" y="988"/>
                    <a:pt x="446" y="985"/>
                  </a:cubicBezTo>
                  <a:cubicBezTo>
                    <a:pt x="448" y="983"/>
                    <a:pt x="449" y="980"/>
                    <a:pt x="449" y="977"/>
                  </a:cubicBezTo>
                  <a:cubicBezTo>
                    <a:pt x="452" y="899"/>
                    <a:pt x="452" y="899"/>
                    <a:pt x="452" y="899"/>
                  </a:cubicBezTo>
                  <a:cubicBezTo>
                    <a:pt x="480" y="914"/>
                    <a:pt x="500" y="916"/>
                    <a:pt x="510" y="916"/>
                  </a:cubicBezTo>
                  <a:cubicBezTo>
                    <a:pt x="515" y="916"/>
                    <a:pt x="517" y="916"/>
                    <a:pt x="518" y="915"/>
                  </a:cubicBezTo>
                  <a:cubicBezTo>
                    <a:pt x="523" y="914"/>
                    <a:pt x="527" y="910"/>
                    <a:pt x="527" y="905"/>
                  </a:cubicBezTo>
                  <a:cubicBezTo>
                    <a:pt x="527" y="900"/>
                    <a:pt x="524" y="895"/>
                    <a:pt x="519" y="894"/>
                  </a:cubicBezTo>
                  <a:cubicBezTo>
                    <a:pt x="514" y="892"/>
                    <a:pt x="497" y="876"/>
                    <a:pt x="482" y="860"/>
                  </a:cubicBezTo>
                  <a:cubicBezTo>
                    <a:pt x="491" y="852"/>
                    <a:pt x="498" y="843"/>
                    <a:pt x="501" y="833"/>
                  </a:cubicBezTo>
                  <a:cubicBezTo>
                    <a:pt x="507" y="811"/>
                    <a:pt x="496" y="792"/>
                    <a:pt x="495" y="791"/>
                  </a:cubicBezTo>
                  <a:cubicBezTo>
                    <a:pt x="494" y="790"/>
                    <a:pt x="493" y="788"/>
                    <a:pt x="491" y="787"/>
                  </a:cubicBezTo>
                  <a:cubicBezTo>
                    <a:pt x="517" y="755"/>
                    <a:pt x="508" y="717"/>
                    <a:pt x="499" y="700"/>
                  </a:cubicBezTo>
                  <a:cubicBezTo>
                    <a:pt x="525" y="683"/>
                    <a:pt x="534" y="659"/>
                    <a:pt x="535" y="655"/>
                  </a:cubicBezTo>
                  <a:cubicBezTo>
                    <a:pt x="549" y="614"/>
                    <a:pt x="525" y="583"/>
                    <a:pt x="509" y="570"/>
                  </a:cubicBezTo>
                  <a:cubicBezTo>
                    <a:pt x="532" y="556"/>
                    <a:pt x="545" y="541"/>
                    <a:pt x="546" y="540"/>
                  </a:cubicBezTo>
                  <a:cubicBezTo>
                    <a:pt x="546" y="540"/>
                    <a:pt x="546" y="540"/>
                    <a:pt x="546" y="540"/>
                  </a:cubicBezTo>
                  <a:cubicBezTo>
                    <a:pt x="576" y="502"/>
                    <a:pt x="561" y="461"/>
                    <a:pt x="548" y="443"/>
                  </a:cubicBezTo>
                  <a:cubicBezTo>
                    <a:pt x="609" y="419"/>
                    <a:pt x="619" y="383"/>
                    <a:pt x="621" y="377"/>
                  </a:cubicBezTo>
                  <a:cubicBezTo>
                    <a:pt x="636" y="327"/>
                    <a:pt x="609" y="295"/>
                    <a:pt x="592" y="285"/>
                  </a:cubicBezTo>
                  <a:close/>
                  <a:moveTo>
                    <a:pt x="454" y="349"/>
                  </a:moveTo>
                  <a:cubicBezTo>
                    <a:pt x="493" y="380"/>
                    <a:pt x="542" y="345"/>
                    <a:pt x="548" y="341"/>
                  </a:cubicBezTo>
                  <a:cubicBezTo>
                    <a:pt x="549" y="340"/>
                    <a:pt x="555" y="337"/>
                    <a:pt x="559" y="339"/>
                  </a:cubicBezTo>
                  <a:cubicBezTo>
                    <a:pt x="559" y="339"/>
                    <a:pt x="560" y="340"/>
                    <a:pt x="560" y="341"/>
                  </a:cubicBezTo>
                  <a:cubicBezTo>
                    <a:pt x="560" y="343"/>
                    <a:pt x="557" y="348"/>
                    <a:pt x="547" y="354"/>
                  </a:cubicBezTo>
                  <a:cubicBezTo>
                    <a:pt x="543" y="357"/>
                    <a:pt x="502" y="379"/>
                    <a:pt x="451" y="384"/>
                  </a:cubicBezTo>
                  <a:cubicBezTo>
                    <a:pt x="451" y="344"/>
                    <a:pt x="451" y="344"/>
                    <a:pt x="451" y="344"/>
                  </a:cubicBezTo>
                  <a:cubicBezTo>
                    <a:pt x="452" y="346"/>
                    <a:pt x="453" y="347"/>
                    <a:pt x="454" y="349"/>
                  </a:cubicBezTo>
                  <a:close/>
                  <a:moveTo>
                    <a:pt x="422" y="22"/>
                  </a:moveTo>
                  <a:cubicBezTo>
                    <a:pt x="442" y="22"/>
                    <a:pt x="459" y="39"/>
                    <a:pt x="459" y="59"/>
                  </a:cubicBezTo>
                  <a:cubicBezTo>
                    <a:pt x="459" y="74"/>
                    <a:pt x="450" y="86"/>
                    <a:pt x="437" y="92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397" y="91"/>
                    <a:pt x="385" y="76"/>
                    <a:pt x="385" y="59"/>
                  </a:cubicBezTo>
                  <a:cubicBezTo>
                    <a:pt x="385" y="39"/>
                    <a:pt x="401" y="22"/>
                    <a:pt x="422" y="22"/>
                  </a:cubicBezTo>
                  <a:close/>
                  <a:moveTo>
                    <a:pt x="422" y="118"/>
                  </a:moveTo>
                  <a:cubicBezTo>
                    <a:pt x="424" y="118"/>
                    <a:pt x="427" y="117"/>
                    <a:pt x="429" y="117"/>
                  </a:cubicBezTo>
                  <a:cubicBezTo>
                    <a:pt x="429" y="376"/>
                    <a:pt x="429" y="376"/>
                    <a:pt x="429" y="376"/>
                  </a:cubicBezTo>
                  <a:cubicBezTo>
                    <a:pt x="416" y="378"/>
                    <a:pt x="416" y="378"/>
                    <a:pt x="416" y="378"/>
                  </a:cubicBezTo>
                  <a:cubicBezTo>
                    <a:pt x="416" y="117"/>
                    <a:pt x="416" y="117"/>
                    <a:pt x="416" y="117"/>
                  </a:cubicBezTo>
                  <a:cubicBezTo>
                    <a:pt x="418" y="118"/>
                    <a:pt x="420" y="118"/>
                    <a:pt x="422" y="118"/>
                  </a:cubicBezTo>
                  <a:close/>
                  <a:moveTo>
                    <a:pt x="392" y="347"/>
                  </a:moveTo>
                  <a:cubicBezTo>
                    <a:pt x="393" y="346"/>
                    <a:pt x="393" y="345"/>
                    <a:pt x="394" y="344"/>
                  </a:cubicBezTo>
                  <a:cubicBezTo>
                    <a:pt x="394" y="384"/>
                    <a:pt x="394" y="384"/>
                    <a:pt x="394" y="384"/>
                  </a:cubicBezTo>
                  <a:cubicBezTo>
                    <a:pt x="391" y="384"/>
                    <a:pt x="387" y="384"/>
                    <a:pt x="384" y="385"/>
                  </a:cubicBezTo>
                  <a:cubicBezTo>
                    <a:pt x="383" y="380"/>
                    <a:pt x="379" y="376"/>
                    <a:pt x="374" y="375"/>
                  </a:cubicBezTo>
                  <a:cubicBezTo>
                    <a:pt x="355" y="374"/>
                    <a:pt x="298" y="364"/>
                    <a:pt x="289" y="339"/>
                  </a:cubicBezTo>
                  <a:cubicBezTo>
                    <a:pt x="289" y="339"/>
                    <a:pt x="289" y="338"/>
                    <a:pt x="289" y="338"/>
                  </a:cubicBezTo>
                  <a:cubicBezTo>
                    <a:pt x="289" y="338"/>
                    <a:pt x="289" y="338"/>
                    <a:pt x="289" y="338"/>
                  </a:cubicBezTo>
                  <a:cubicBezTo>
                    <a:pt x="289" y="338"/>
                    <a:pt x="293" y="336"/>
                    <a:pt x="298" y="339"/>
                  </a:cubicBezTo>
                  <a:cubicBezTo>
                    <a:pt x="305" y="344"/>
                    <a:pt x="353" y="378"/>
                    <a:pt x="392" y="347"/>
                  </a:cubicBezTo>
                  <a:close/>
                  <a:moveTo>
                    <a:pt x="239" y="213"/>
                  </a:moveTo>
                  <a:cubicBezTo>
                    <a:pt x="234" y="202"/>
                    <a:pt x="234" y="202"/>
                    <a:pt x="234" y="202"/>
                  </a:cubicBezTo>
                  <a:cubicBezTo>
                    <a:pt x="223" y="209"/>
                    <a:pt x="223" y="209"/>
                    <a:pt x="223" y="209"/>
                  </a:cubicBezTo>
                  <a:cubicBezTo>
                    <a:pt x="197" y="227"/>
                    <a:pt x="177" y="220"/>
                    <a:pt x="177" y="220"/>
                  </a:cubicBezTo>
                  <a:cubicBezTo>
                    <a:pt x="176" y="219"/>
                    <a:pt x="176" y="219"/>
                    <a:pt x="176" y="219"/>
                  </a:cubicBezTo>
                  <a:cubicBezTo>
                    <a:pt x="156" y="213"/>
                    <a:pt x="150" y="188"/>
                    <a:pt x="149" y="188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92" y="178"/>
                    <a:pt x="92" y="164"/>
                    <a:pt x="92" y="162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52" y="151"/>
                    <a:pt x="52" y="151"/>
                    <a:pt x="52" y="151"/>
                  </a:cubicBezTo>
                  <a:cubicBezTo>
                    <a:pt x="38" y="150"/>
                    <a:pt x="31" y="139"/>
                    <a:pt x="27" y="130"/>
                  </a:cubicBezTo>
                  <a:cubicBezTo>
                    <a:pt x="27" y="130"/>
                    <a:pt x="28" y="130"/>
                    <a:pt x="28" y="130"/>
                  </a:cubicBezTo>
                  <a:cubicBezTo>
                    <a:pt x="223" y="130"/>
                    <a:pt x="290" y="101"/>
                    <a:pt x="302" y="95"/>
                  </a:cubicBezTo>
                  <a:cubicBezTo>
                    <a:pt x="317" y="93"/>
                    <a:pt x="323" y="95"/>
                    <a:pt x="326" y="97"/>
                  </a:cubicBezTo>
                  <a:cubicBezTo>
                    <a:pt x="328" y="99"/>
                    <a:pt x="329" y="101"/>
                    <a:pt x="329" y="101"/>
                  </a:cubicBezTo>
                  <a:cubicBezTo>
                    <a:pt x="329" y="102"/>
                    <a:pt x="329" y="102"/>
                    <a:pt x="329" y="102"/>
                  </a:cubicBezTo>
                  <a:cubicBezTo>
                    <a:pt x="329" y="103"/>
                    <a:pt x="329" y="103"/>
                    <a:pt x="329" y="103"/>
                  </a:cubicBezTo>
                  <a:cubicBezTo>
                    <a:pt x="332" y="125"/>
                    <a:pt x="349" y="134"/>
                    <a:pt x="363" y="136"/>
                  </a:cubicBezTo>
                  <a:cubicBezTo>
                    <a:pt x="363" y="238"/>
                    <a:pt x="363" y="238"/>
                    <a:pt x="363" y="238"/>
                  </a:cubicBezTo>
                  <a:cubicBezTo>
                    <a:pt x="354" y="240"/>
                    <a:pt x="337" y="243"/>
                    <a:pt x="322" y="245"/>
                  </a:cubicBezTo>
                  <a:cubicBezTo>
                    <a:pt x="261" y="252"/>
                    <a:pt x="240" y="215"/>
                    <a:pt x="239" y="213"/>
                  </a:cubicBezTo>
                  <a:close/>
                  <a:moveTo>
                    <a:pt x="245" y="367"/>
                  </a:moveTo>
                  <a:cubicBezTo>
                    <a:pt x="226" y="328"/>
                    <a:pt x="264" y="302"/>
                    <a:pt x="265" y="301"/>
                  </a:cubicBezTo>
                  <a:cubicBezTo>
                    <a:pt x="293" y="283"/>
                    <a:pt x="335" y="290"/>
                    <a:pt x="339" y="291"/>
                  </a:cubicBezTo>
                  <a:cubicBezTo>
                    <a:pt x="375" y="302"/>
                    <a:pt x="376" y="323"/>
                    <a:pt x="375" y="332"/>
                  </a:cubicBezTo>
                  <a:cubicBezTo>
                    <a:pt x="348" y="349"/>
                    <a:pt x="312" y="322"/>
                    <a:pt x="311" y="321"/>
                  </a:cubicBezTo>
                  <a:cubicBezTo>
                    <a:pt x="311" y="321"/>
                    <a:pt x="310" y="321"/>
                    <a:pt x="310" y="320"/>
                  </a:cubicBezTo>
                  <a:cubicBezTo>
                    <a:pt x="294" y="311"/>
                    <a:pt x="280" y="318"/>
                    <a:pt x="279" y="318"/>
                  </a:cubicBezTo>
                  <a:cubicBezTo>
                    <a:pt x="267" y="324"/>
                    <a:pt x="265" y="337"/>
                    <a:pt x="268" y="346"/>
                  </a:cubicBezTo>
                  <a:cubicBezTo>
                    <a:pt x="277" y="371"/>
                    <a:pt x="307" y="384"/>
                    <a:pt x="332" y="390"/>
                  </a:cubicBezTo>
                  <a:cubicBezTo>
                    <a:pt x="318" y="399"/>
                    <a:pt x="308" y="409"/>
                    <a:pt x="302" y="416"/>
                  </a:cubicBezTo>
                  <a:cubicBezTo>
                    <a:pt x="266" y="399"/>
                    <a:pt x="247" y="370"/>
                    <a:pt x="245" y="367"/>
                  </a:cubicBezTo>
                  <a:close/>
                  <a:moveTo>
                    <a:pt x="376" y="491"/>
                  </a:moveTo>
                  <a:cubicBezTo>
                    <a:pt x="376" y="491"/>
                    <a:pt x="376" y="478"/>
                    <a:pt x="394" y="470"/>
                  </a:cubicBezTo>
                  <a:cubicBezTo>
                    <a:pt x="394" y="514"/>
                    <a:pt x="394" y="514"/>
                    <a:pt x="394" y="514"/>
                  </a:cubicBezTo>
                  <a:cubicBezTo>
                    <a:pt x="375" y="505"/>
                    <a:pt x="375" y="493"/>
                    <a:pt x="375" y="492"/>
                  </a:cubicBezTo>
                  <a:cubicBezTo>
                    <a:pt x="376" y="492"/>
                    <a:pt x="376" y="492"/>
                    <a:pt x="376" y="491"/>
                  </a:cubicBezTo>
                  <a:close/>
                  <a:moveTo>
                    <a:pt x="456" y="470"/>
                  </a:moveTo>
                  <a:cubicBezTo>
                    <a:pt x="470" y="483"/>
                    <a:pt x="467" y="491"/>
                    <a:pt x="467" y="494"/>
                  </a:cubicBezTo>
                  <a:cubicBezTo>
                    <a:pt x="465" y="500"/>
                    <a:pt x="459" y="507"/>
                    <a:pt x="451" y="513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52" y="462"/>
                    <a:pt x="452" y="462"/>
                    <a:pt x="453" y="462"/>
                  </a:cubicBezTo>
                  <a:cubicBezTo>
                    <a:pt x="453" y="465"/>
                    <a:pt x="454" y="468"/>
                    <a:pt x="456" y="470"/>
                  </a:cubicBezTo>
                  <a:close/>
                  <a:moveTo>
                    <a:pt x="429" y="510"/>
                  </a:moveTo>
                  <a:cubicBezTo>
                    <a:pt x="416" y="515"/>
                    <a:pt x="416" y="515"/>
                    <a:pt x="416" y="515"/>
                  </a:cubicBezTo>
                  <a:cubicBezTo>
                    <a:pt x="416" y="478"/>
                    <a:pt x="416" y="478"/>
                    <a:pt x="416" y="478"/>
                  </a:cubicBezTo>
                  <a:cubicBezTo>
                    <a:pt x="429" y="476"/>
                    <a:pt x="429" y="476"/>
                    <a:pt x="429" y="476"/>
                  </a:cubicBezTo>
                  <a:lnTo>
                    <a:pt x="429" y="510"/>
                  </a:lnTo>
                  <a:close/>
                  <a:moveTo>
                    <a:pt x="418" y="649"/>
                  </a:moveTo>
                  <a:cubicBezTo>
                    <a:pt x="418" y="617"/>
                    <a:pt x="418" y="617"/>
                    <a:pt x="418" y="617"/>
                  </a:cubicBezTo>
                  <a:cubicBezTo>
                    <a:pt x="431" y="615"/>
                    <a:pt x="431" y="615"/>
                    <a:pt x="431" y="615"/>
                  </a:cubicBezTo>
                  <a:cubicBezTo>
                    <a:pt x="431" y="645"/>
                    <a:pt x="431" y="645"/>
                    <a:pt x="431" y="645"/>
                  </a:cubicBezTo>
                  <a:lnTo>
                    <a:pt x="418" y="649"/>
                  </a:lnTo>
                  <a:close/>
                  <a:moveTo>
                    <a:pt x="453" y="624"/>
                  </a:moveTo>
                  <a:cubicBezTo>
                    <a:pt x="457" y="628"/>
                    <a:pt x="459" y="632"/>
                    <a:pt x="458" y="634"/>
                  </a:cubicBezTo>
                  <a:cubicBezTo>
                    <a:pt x="458" y="637"/>
                    <a:pt x="456" y="639"/>
                    <a:pt x="453" y="641"/>
                  </a:cubicBezTo>
                  <a:lnTo>
                    <a:pt x="453" y="624"/>
                  </a:lnTo>
                  <a:close/>
                  <a:moveTo>
                    <a:pt x="396" y="630"/>
                  </a:moveTo>
                  <a:cubicBezTo>
                    <a:pt x="394" y="626"/>
                    <a:pt x="394" y="623"/>
                    <a:pt x="395" y="620"/>
                  </a:cubicBezTo>
                  <a:cubicBezTo>
                    <a:pt x="395" y="619"/>
                    <a:pt x="396" y="618"/>
                    <a:pt x="396" y="617"/>
                  </a:cubicBezTo>
                  <a:lnTo>
                    <a:pt x="396" y="630"/>
                  </a:lnTo>
                  <a:close/>
                  <a:moveTo>
                    <a:pt x="435" y="729"/>
                  </a:moveTo>
                  <a:cubicBezTo>
                    <a:pt x="438" y="733"/>
                    <a:pt x="441" y="738"/>
                    <a:pt x="440" y="741"/>
                  </a:cubicBezTo>
                  <a:cubicBezTo>
                    <a:pt x="437" y="748"/>
                    <a:pt x="419" y="755"/>
                    <a:pt x="406" y="758"/>
                  </a:cubicBezTo>
                  <a:cubicBezTo>
                    <a:pt x="406" y="756"/>
                    <a:pt x="406" y="753"/>
                    <a:pt x="405" y="752"/>
                  </a:cubicBezTo>
                  <a:cubicBezTo>
                    <a:pt x="401" y="744"/>
                    <a:pt x="402" y="740"/>
                    <a:pt x="403" y="738"/>
                  </a:cubicBezTo>
                  <a:cubicBezTo>
                    <a:pt x="407" y="730"/>
                    <a:pt x="420" y="725"/>
                    <a:pt x="432" y="722"/>
                  </a:cubicBezTo>
                  <a:cubicBezTo>
                    <a:pt x="432" y="724"/>
                    <a:pt x="433" y="727"/>
                    <a:pt x="435" y="729"/>
                  </a:cubicBezTo>
                  <a:close/>
                  <a:moveTo>
                    <a:pt x="373" y="803"/>
                  </a:moveTo>
                  <a:cubicBezTo>
                    <a:pt x="373" y="803"/>
                    <a:pt x="383" y="784"/>
                    <a:pt x="409" y="780"/>
                  </a:cubicBezTo>
                  <a:cubicBezTo>
                    <a:pt x="416" y="778"/>
                    <a:pt x="452" y="771"/>
                    <a:pt x="460" y="748"/>
                  </a:cubicBezTo>
                  <a:cubicBezTo>
                    <a:pt x="462" y="743"/>
                    <a:pt x="463" y="736"/>
                    <a:pt x="460" y="728"/>
                  </a:cubicBezTo>
                  <a:cubicBezTo>
                    <a:pt x="483" y="719"/>
                    <a:pt x="483" y="719"/>
                    <a:pt x="483" y="719"/>
                  </a:cubicBezTo>
                  <a:cubicBezTo>
                    <a:pt x="487" y="732"/>
                    <a:pt x="491" y="756"/>
                    <a:pt x="471" y="778"/>
                  </a:cubicBezTo>
                  <a:cubicBezTo>
                    <a:pt x="471" y="778"/>
                    <a:pt x="470" y="778"/>
                    <a:pt x="470" y="778"/>
                  </a:cubicBezTo>
                  <a:cubicBezTo>
                    <a:pt x="470" y="778"/>
                    <a:pt x="456" y="793"/>
                    <a:pt x="418" y="799"/>
                  </a:cubicBezTo>
                  <a:cubicBezTo>
                    <a:pt x="407" y="801"/>
                    <a:pt x="389" y="809"/>
                    <a:pt x="387" y="828"/>
                  </a:cubicBezTo>
                  <a:cubicBezTo>
                    <a:pt x="387" y="828"/>
                    <a:pt x="387" y="828"/>
                    <a:pt x="387" y="829"/>
                  </a:cubicBezTo>
                  <a:cubicBezTo>
                    <a:pt x="387" y="848"/>
                    <a:pt x="387" y="848"/>
                    <a:pt x="387" y="848"/>
                  </a:cubicBezTo>
                  <a:cubicBezTo>
                    <a:pt x="387" y="848"/>
                    <a:pt x="387" y="848"/>
                    <a:pt x="387" y="848"/>
                  </a:cubicBezTo>
                  <a:cubicBezTo>
                    <a:pt x="378" y="840"/>
                    <a:pt x="362" y="824"/>
                    <a:pt x="373" y="803"/>
                  </a:cubicBezTo>
                  <a:close/>
                  <a:moveTo>
                    <a:pt x="457" y="850"/>
                  </a:moveTo>
                  <a:cubicBezTo>
                    <a:pt x="433" y="860"/>
                    <a:pt x="433" y="860"/>
                    <a:pt x="433" y="860"/>
                  </a:cubicBezTo>
                  <a:cubicBezTo>
                    <a:pt x="442" y="850"/>
                    <a:pt x="449" y="840"/>
                    <a:pt x="451" y="830"/>
                  </a:cubicBezTo>
                  <a:cubicBezTo>
                    <a:pt x="459" y="829"/>
                    <a:pt x="470" y="826"/>
                    <a:pt x="481" y="818"/>
                  </a:cubicBezTo>
                  <a:cubicBezTo>
                    <a:pt x="481" y="821"/>
                    <a:pt x="480" y="824"/>
                    <a:pt x="479" y="827"/>
                  </a:cubicBezTo>
                  <a:cubicBezTo>
                    <a:pt x="477" y="836"/>
                    <a:pt x="469" y="844"/>
                    <a:pt x="457" y="850"/>
                  </a:cubicBezTo>
                  <a:close/>
                  <a:moveTo>
                    <a:pt x="430" y="825"/>
                  </a:moveTo>
                  <a:cubicBezTo>
                    <a:pt x="430" y="825"/>
                    <a:pt x="431" y="833"/>
                    <a:pt x="409" y="853"/>
                  </a:cubicBezTo>
                  <a:cubicBezTo>
                    <a:pt x="409" y="830"/>
                    <a:pt x="409" y="830"/>
                    <a:pt x="409" y="830"/>
                  </a:cubicBezTo>
                  <a:cubicBezTo>
                    <a:pt x="410" y="823"/>
                    <a:pt x="422" y="821"/>
                    <a:pt x="422" y="821"/>
                  </a:cubicBezTo>
                  <a:cubicBezTo>
                    <a:pt x="424" y="820"/>
                    <a:pt x="426" y="820"/>
                    <a:pt x="428" y="820"/>
                  </a:cubicBezTo>
                  <a:cubicBezTo>
                    <a:pt x="428" y="822"/>
                    <a:pt x="429" y="824"/>
                    <a:pt x="430" y="825"/>
                  </a:cubicBezTo>
                  <a:close/>
                  <a:moveTo>
                    <a:pt x="427" y="970"/>
                  </a:moveTo>
                  <a:cubicBezTo>
                    <a:pt x="427" y="970"/>
                    <a:pt x="427" y="970"/>
                    <a:pt x="426" y="970"/>
                  </a:cubicBezTo>
                  <a:cubicBezTo>
                    <a:pt x="422" y="903"/>
                    <a:pt x="422" y="903"/>
                    <a:pt x="422" y="903"/>
                  </a:cubicBezTo>
                  <a:cubicBezTo>
                    <a:pt x="429" y="900"/>
                    <a:pt x="429" y="900"/>
                    <a:pt x="429" y="900"/>
                  </a:cubicBezTo>
                  <a:lnTo>
                    <a:pt x="427" y="970"/>
                  </a:lnTo>
                  <a:close/>
                  <a:moveTo>
                    <a:pt x="460" y="878"/>
                  </a:moveTo>
                  <a:cubicBezTo>
                    <a:pt x="466" y="875"/>
                    <a:pt x="466" y="875"/>
                    <a:pt x="466" y="875"/>
                  </a:cubicBezTo>
                  <a:cubicBezTo>
                    <a:pt x="469" y="879"/>
                    <a:pt x="473" y="882"/>
                    <a:pt x="476" y="886"/>
                  </a:cubicBezTo>
                  <a:cubicBezTo>
                    <a:pt x="471" y="884"/>
                    <a:pt x="466" y="881"/>
                    <a:pt x="460" y="878"/>
                  </a:cubicBezTo>
                  <a:close/>
                  <a:moveTo>
                    <a:pt x="514" y="648"/>
                  </a:moveTo>
                  <a:cubicBezTo>
                    <a:pt x="514" y="648"/>
                    <a:pt x="514" y="649"/>
                    <a:pt x="514" y="649"/>
                  </a:cubicBezTo>
                  <a:cubicBezTo>
                    <a:pt x="513" y="650"/>
                    <a:pt x="502" y="686"/>
                    <a:pt x="452" y="695"/>
                  </a:cubicBezTo>
                  <a:cubicBezTo>
                    <a:pt x="444" y="696"/>
                    <a:pt x="398" y="702"/>
                    <a:pt x="384" y="727"/>
                  </a:cubicBezTo>
                  <a:cubicBezTo>
                    <a:pt x="381" y="733"/>
                    <a:pt x="379" y="741"/>
                    <a:pt x="381" y="752"/>
                  </a:cubicBezTo>
                  <a:cubicBezTo>
                    <a:pt x="371" y="758"/>
                    <a:pt x="363" y="763"/>
                    <a:pt x="359" y="767"/>
                  </a:cubicBezTo>
                  <a:cubicBezTo>
                    <a:pt x="355" y="764"/>
                    <a:pt x="352" y="758"/>
                    <a:pt x="351" y="752"/>
                  </a:cubicBezTo>
                  <a:cubicBezTo>
                    <a:pt x="348" y="739"/>
                    <a:pt x="352" y="724"/>
                    <a:pt x="364" y="708"/>
                  </a:cubicBezTo>
                  <a:cubicBezTo>
                    <a:pt x="365" y="706"/>
                    <a:pt x="382" y="686"/>
                    <a:pt x="412" y="682"/>
                  </a:cubicBezTo>
                  <a:cubicBezTo>
                    <a:pt x="413" y="682"/>
                    <a:pt x="413" y="682"/>
                    <a:pt x="413" y="682"/>
                  </a:cubicBezTo>
                  <a:cubicBezTo>
                    <a:pt x="423" y="680"/>
                    <a:pt x="475" y="667"/>
                    <a:pt x="480" y="638"/>
                  </a:cubicBezTo>
                  <a:cubicBezTo>
                    <a:pt x="482" y="624"/>
                    <a:pt x="473" y="612"/>
                    <a:pt x="463" y="603"/>
                  </a:cubicBezTo>
                  <a:cubicBezTo>
                    <a:pt x="498" y="590"/>
                    <a:pt x="498" y="590"/>
                    <a:pt x="498" y="590"/>
                  </a:cubicBezTo>
                  <a:cubicBezTo>
                    <a:pt x="507" y="598"/>
                    <a:pt x="525" y="618"/>
                    <a:pt x="514" y="648"/>
                  </a:cubicBezTo>
                  <a:close/>
                  <a:moveTo>
                    <a:pt x="529" y="526"/>
                  </a:moveTo>
                  <a:cubicBezTo>
                    <a:pt x="527" y="529"/>
                    <a:pt x="488" y="569"/>
                    <a:pt x="425" y="579"/>
                  </a:cubicBezTo>
                  <a:cubicBezTo>
                    <a:pt x="421" y="580"/>
                    <a:pt x="381" y="588"/>
                    <a:pt x="374" y="614"/>
                  </a:cubicBezTo>
                  <a:cubicBezTo>
                    <a:pt x="370" y="626"/>
                    <a:pt x="374" y="639"/>
                    <a:pt x="385" y="653"/>
                  </a:cubicBezTo>
                  <a:cubicBezTo>
                    <a:pt x="374" y="657"/>
                    <a:pt x="359" y="664"/>
                    <a:pt x="350" y="672"/>
                  </a:cubicBezTo>
                  <a:cubicBezTo>
                    <a:pt x="338" y="663"/>
                    <a:pt x="315" y="642"/>
                    <a:pt x="326" y="611"/>
                  </a:cubicBezTo>
                  <a:cubicBezTo>
                    <a:pt x="328" y="607"/>
                    <a:pt x="343" y="577"/>
                    <a:pt x="394" y="560"/>
                  </a:cubicBezTo>
                  <a:cubicBezTo>
                    <a:pt x="404" y="558"/>
                    <a:pt x="477" y="538"/>
                    <a:pt x="488" y="500"/>
                  </a:cubicBezTo>
                  <a:cubicBezTo>
                    <a:pt x="490" y="493"/>
                    <a:pt x="490" y="483"/>
                    <a:pt x="484" y="471"/>
                  </a:cubicBezTo>
                  <a:cubicBezTo>
                    <a:pt x="498" y="470"/>
                    <a:pt x="517" y="466"/>
                    <a:pt x="533" y="461"/>
                  </a:cubicBezTo>
                  <a:cubicBezTo>
                    <a:pt x="540" y="473"/>
                    <a:pt x="550" y="499"/>
                    <a:pt x="529" y="526"/>
                  </a:cubicBezTo>
                  <a:close/>
                  <a:moveTo>
                    <a:pt x="600" y="371"/>
                  </a:moveTo>
                  <a:cubicBezTo>
                    <a:pt x="600" y="371"/>
                    <a:pt x="599" y="372"/>
                    <a:pt x="599" y="372"/>
                  </a:cubicBezTo>
                  <a:cubicBezTo>
                    <a:pt x="599" y="373"/>
                    <a:pt x="588" y="421"/>
                    <a:pt x="484" y="436"/>
                  </a:cubicBezTo>
                  <a:cubicBezTo>
                    <a:pt x="454" y="440"/>
                    <a:pt x="418" y="442"/>
                    <a:pt x="417" y="442"/>
                  </a:cubicBezTo>
                  <a:cubicBezTo>
                    <a:pt x="417" y="442"/>
                    <a:pt x="417" y="442"/>
                    <a:pt x="417" y="442"/>
                  </a:cubicBezTo>
                  <a:cubicBezTo>
                    <a:pt x="367" y="446"/>
                    <a:pt x="354" y="476"/>
                    <a:pt x="354" y="491"/>
                  </a:cubicBezTo>
                  <a:cubicBezTo>
                    <a:pt x="353" y="495"/>
                    <a:pt x="354" y="513"/>
                    <a:pt x="374" y="528"/>
                  </a:cubicBezTo>
                  <a:cubicBezTo>
                    <a:pt x="338" y="548"/>
                    <a:pt x="338" y="548"/>
                    <a:pt x="338" y="548"/>
                  </a:cubicBezTo>
                  <a:cubicBezTo>
                    <a:pt x="327" y="542"/>
                    <a:pt x="299" y="523"/>
                    <a:pt x="304" y="482"/>
                  </a:cubicBezTo>
                  <a:cubicBezTo>
                    <a:pt x="304" y="481"/>
                    <a:pt x="304" y="481"/>
                    <a:pt x="304" y="481"/>
                  </a:cubicBezTo>
                  <a:cubicBezTo>
                    <a:pt x="304" y="481"/>
                    <a:pt x="306" y="454"/>
                    <a:pt x="334" y="434"/>
                  </a:cubicBezTo>
                  <a:cubicBezTo>
                    <a:pt x="334" y="434"/>
                    <a:pt x="334" y="434"/>
                    <a:pt x="335" y="433"/>
                  </a:cubicBezTo>
                  <a:cubicBezTo>
                    <a:pt x="344" y="425"/>
                    <a:pt x="371" y="405"/>
                    <a:pt x="397" y="405"/>
                  </a:cubicBezTo>
                  <a:cubicBezTo>
                    <a:pt x="399" y="405"/>
                    <a:pt x="401" y="406"/>
                    <a:pt x="403" y="406"/>
                  </a:cubicBezTo>
                  <a:cubicBezTo>
                    <a:pt x="482" y="416"/>
                    <a:pt x="555" y="375"/>
                    <a:pt x="558" y="373"/>
                  </a:cubicBezTo>
                  <a:cubicBezTo>
                    <a:pt x="559" y="373"/>
                    <a:pt x="559" y="373"/>
                    <a:pt x="559" y="373"/>
                  </a:cubicBezTo>
                  <a:cubicBezTo>
                    <a:pt x="574" y="363"/>
                    <a:pt x="582" y="352"/>
                    <a:pt x="582" y="341"/>
                  </a:cubicBezTo>
                  <a:cubicBezTo>
                    <a:pt x="582" y="329"/>
                    <a:pt x="573" y="322"/>
                    <a:pt x="571" y="321"/>
                  </a:cubicBezTo>
                  <a:cubicBezTo>
                    <a:pt x="571" y="321"/>
                    <a:pt x="571" y="321"/>
                    <a:pt x="571" y="321"/>
                  </a:cubicBezTo>
                  <a:cubicBezTo>
                    <a:pt x="557" y="312"/>
                    <a:pt x="542" y="318"/>
                    <a:pt x="535" y="323"/>
                  </a:cubicBezTo>
                  <a:cubicBezTo>
                    <a:pt x="535" y="323"/>
                    <a:pt x="535" y="323"/>
                    <a:pt x="535" y="323"/>
                  </a:cubicBezTo>
                  <a:cubicBezTo>
                    <a:pt x="534" y="323"/>
                    <a:pt x="498" y="351"/>
                    <a:pt x="471" y="334"/>
                  </a:cubicBezTo>
                  <a:cubicBezTo>
                    <a:pt x="470" y="325"/>
                    <a:pt x="471" y="304"/>
                    <a:pt x="507" y="293"/>
                  </a:cubicBezTo>
                  <a:cubicBezTo>
                    <a:pt x="511" y="292"/>
                    <a:pt x="553" y="285"/>
                    <a:pt x="581" y="303"/>
                  </a:cubicBezTo>
                  <a:cubicBezTo>
                    <a:pt x="581" y="303"/>
                    <a:pt x="581" y="303"/>
                    <a:pt x="581" y="303"/>
                  </a:cubicBezTo>
                  <a:cubicBezTo>
                    <a:pt x="581" y="303"/>
                    <a:pt x="614" y="324"/>
                    <a:pt x="600" y="3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C10D947-559C-45B4-9AD8-E51E219FEE5F}"/>
              </a:ext>
            </a:extLst>
          </p:cNvPr>
          <p:cNvGrpSpPr/>
          <p:nvPr/>
        </p:nvGrpSpPr>
        <p:grpSpPr>
          <a:xfrm>
            <a:off x="8067675" y="4181475"/>
            <a:ext cx="768350" cy="768350"/>
            <a:chOff x="8067675" y="4181475"/>
            <a:chExt cx="768350" cy="768350"/>
          </a:xfrm>
        </p:grpSpPr>
        <p:sp>
          <p:nvSpPr>
            <p:cNvPr id="179" name="AutoShape 113">
              <a:extLst>
                <a:ext uri="{FF2B5EF4-FFF2-40B4-BE49-F238E27FC236}">
                  <a16:creationId xmlns:a16="http://schemas.microsoft.com/office/drawing/2014/main" id="{79E8BEB6-CA47-4BA6-BD5E-3342EB6180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67675" y="418147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15">
              <a:extLst>
                <a:ext uri="{FF2B5EF4-FFF2-40B4-BE49-F238E27FC236}">
                  <a16:creationId xmlns:a16="http://schemas.microsoft.com/office/drawing/2014/main" id="{E6152130-C699-4AC6-900C-2720E68103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7675" y="4181475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16">
              <a:extLst>
                <a:ext uri="{FF2B5EF4-FFF2-40B4-BE49-F238E27FC236}">
                  <a16:creationId xmlns:a16="http://schemas.microsoft.com/office/drawing/2014/main" id="{A3B7CFD8-ED0E-4D93-8210-71718A3E63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9313" y="4356100"/>
              <a:ext cx="201613" cy="101600"/>
            </a:xfrm>
            <a:custGeom>
              <a:avLst/>
              <a:gdLst>
                <a:gd name="T0" fmla="*/ 93 w 385"/>
                <a:gd name="T1" fmla="*/ 5 h 198"/>
                <a:gd name="T2" fmla="*/ 91 w 385"/>
                <a:gd name="T3" fmla="*/ 5 h 198"/>
                <a:gd name="T4" fmla="*/ 89 w 385"/>
                <a:gd name="T5" fmla="*/ 4 h 198"/>
                <a:gd name="T6" fmla="*/ 45 w 385"/>
                <a:gd name="T7" fmla="*/ 10 h 198"/>
                <a:gd name="T8" fmla="*/ 34 w 385"/>
                <a:gd name="T9" fmla="*/ 30 h 198"/>
                <a:gd name="T10" fmla="*/ 12 w 385"/>
                <a:gd name="T11" fmla="*/ 44 h 198"/>
                <a:gd name="T12" fmla="*/ 0 w 385"/>
                <a:gd name="T13" fmla="*/ 42 h 198"/>
                <a:gd name="T14" fmla="*/ 0 w 385"/>
                <a:gd name="T15" fmla="*/ 182 h 198"/>
                <a:gd name="T16" fmla="*/ 5 w 385"/>
                <a:gd name="T17" fmla="*/ 185 h 198"/>
                <a:gd name="T18" fmla="*/ 60 w 385"/>
                <a:gd name="T19" fmla="*/ 197 h 198"/>
                <a:gd name="T20" fmla="*/ 79 w 385"/>
                <a:gd name="T21" fmla="*/ 198 h 198"/>
                <a:gd name="T22" fmla="*/ 159 w 385"/>
                <a:gd name="T23" fmla="*/ 163 h 198"/>
                <a:gd name="T24" fmla="*/ 216 w 385"/>
                <a:gd name="T25" fmla="*/ 170 h 198"/>
                <a:gd name="T26" fmla="*/ 254 w 385"/>
                <a:gd name="T27" fmla="*/ 131 h 198"/>
                <a:gd name="T28" fmla="*/ 283 w 385"/>
                <a:gd name="T29" fmla="*/ 131 h 198"/>
                <a:gd name="T30" fmla="*/ 284 w 385"/>
                <a:gd name="T31" fmla="*/ 131 h 198"/>
                <a:gd name="T32" fmla="*/ 314 w 385"/>
                <a:gd name="T33" fmla="*/ 103 h 198"/>
                <a:gd name="T34" fmla="*/ 333 w 385"/>
                <a:gd name="T35" fmla="*/ 103 h 198"/>
                <a:gd name="T36" fmla="*/ 334 w 385"/>
                <a:gd name="T37" fmla="*/ 103 h 198"/>
                <a:gd name="T38" fmla="*/ 384 w 385"/>
                <a:gd name="T39" fmla="*/ 50 h 198"/>
                <a:gd name="T40" fmla="*/ 385 w 385"/>
                <a:gd name="T41" fmla="*/ 38 h 198"/>
                <a:gd name="T42" fmla="*/ 373 w 385"/>
                <a:gd name="T43" fmla="*/ 38 h 198"/>
                <a:gd name="T44" fmla="*/ 93 w 385"/>
                <a:gd name="T45" fmla="*/ 5 h 198"/>
                <a:gd name="T46" fmla="*/ 333 w 385"/>
                <a:gd name="T47" fmla="*/ 81 h 198"/>
                <a:gd name="T48" fmla="*/ 293 w 385"/>
                <a:gd name="T49" fmla="*/ 81 h 198"/>
                <a:gd name="T50" fmla="*/ 293 w 385"/>
                <a:gd name="T51" fmla="*/ 92 h 198"/>
                <a:gd name="T52" fmla="*/ 282 w 385"/>
                <a:gd name="T53" fmla="*/ 109 h 198"/>
                <a:gd name="T54" fmla="*/ 238 w 385"/>
                <a:gd name="T55" fmla="*/ 109 h 198"/>
                <a:gd name="T56" fmla="*/ 236 w 385"/>
                <a:gd name="T57" fmla="*/ 118 h 198"/>
                <a:gd name="T58" fmla="*/ 209 w 385"/>
                <a:gd name="T59" fmla="*/ 149 h 198"/>
                <a:gd name="T60" fmla="*/ 209 w 385"/>
                <a:gd name="T61" fmla="*/ 150 h 198"/>
                <a:gd name="T62" fmla="*/ 162 w 385"/>
                <a:gd name="T63" fmla="*/ 139 h 198"/>
                <a:gd name="T64" fmla="*/ 152 w 385"/>
                <a:gd name="T65" fmla="*/ 132 h 198"/>
                <a:gd name="T66" fmla="*/ 146 w 385"/>
                <a:gd name="T67" fmla="*/ 143 h 198"/>
                <a:gd name="T68" fmla="*/ 63 w 385"/>
                <a:gd name="T69" fmla="*/ 175 h 198"/>
                <a:gd name="T70" fmla="*/ 22 w 385"/>
                <a:gd name="T71" fmla="*/ 168 h 198"/>
                <a:gd name="T72" fmla="*/ 22 w 385"/>
                <a:gd name="T73" fmla="*/ 66 h 198"/>
                <a:gd name="T74" fmla="*/ 56 w 385"/>
                <a:gd name="T75" fmla="*/ 33 h 198"/>
                <a:gd name="T76" fmla="*/ 56 w 385"/>
                <a:gd name="T77" fmla="*/ 33 h 198"/>
                <a:gd name="T78" fmla="*/ 56 w 385"/>
                <a:gd name="T79" fmla="*/ 32 h 198"/>
                <a:gd name="T80" fmla="*/ 59 w 385"/>
                <a:gd name="T81" fmla="*/ 27 h 198"/>
                <a:gd name="T82" fmla="*/ 84 w 385"/>
                <a:gd name="T83" fmla="*/ 25 h 198"/>
                <a:gd name="T84" fmla="*/ 357 w 385"/>
                <a:gd name="T85" fmla="*/ 60 h 198"/>
                <a:gd name="T86" fmla="*/ 358 w 385"/>
                <a:gd name="T87" fmla="*/ 60 h 198"/>
                <a:gd name="T88" fmla="*/ 333 w 385"/>
                <a:gd name="T89" fmla="*/ 8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5" h="198">
                  <a:moveTo>
                    <a:pt x="93" y="5"/>
                  </a:moveTo>
                  <a:cubicBezTo>
                    <a:pt x="91" y="5"/>
                    <a:pt x="91" y="5"/>
                    <a:pt x="91" y="5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70" y="0"/>
                    <a:pt x="55" y="2"/>
                    <a:pt x="45" y="10"/>
                  </a:cubicBezTo>
                  <a:cubicBezTo>
                    <a:pt x="36" y="17"/>
                    <a:pt x="35" y="26"/>
                    <a:pt x="34" y="30"/>
                  </a:cubicBezTo>
                  <a:cubicBezTo>
                    <a:pt x="32" y="45"/>
                    <a:pt x="17" y="45"/>
                    <a:pt x="12" y="4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5" y="185"/>
                    <a:pt x="5" y="185"/>
                    <a:pt x="5" y="185"/>
                  </a:cubicBezTo>
                  <a:cubicBezTo>
                    <a:pt x="12" y="190"/>
                    <a:pt x="39" y="194"/>
                    <a:pt x="60" y="197"/>
                  </a:cubicBezTo>
                  <a:cubicBezTo>
                    <a:pt x="67" y="198"/>
                    <a:pt x="73" y="198"/>
                    <a:pt x="79" y="198"/>
                  </a:cubicBezTo>
                  <a:cubicBezTo>
                    <a:pt x="124" y="198"/>
                    <a:pt x="148" y="176"/>
                    <a:pt x="159" y="163"/>
                  </a:cubicBezTo>
                  <a:cubicBezTo>
                    <a:pt x="189" y="179"/>
                    <a:pt x="212" y="172"/>
                    <a:pt x="216" y="170"/>
                  </a:cubicBezTo>
                  <a:cubicBezTo>
                    <a:pt x="239" y="163"/>
                    <a:pt x="250" y="143"/>
                    <a:pt x="254" y="131"/>
                  </a:cubicBezTo>
                  <a:cubicBezTo>
                    <a:pt x="283" y="131"/>
                    <a:pt x="283" y="131"/>
                    <a:pt x="283" y="131"/>
                  </a:cubicBezTo>
                  <a:cubicBezTo>
                    <a:pt x="284" y="131"/>
                    <a:pt x="284" y="131"/>
                    <a:pt x="284" y="131"/>
                  </a:cubicBezTo>
                  <a:cubicBezTo>
                    <a:pt x="303" y="130"/>
                    <a:pt x="311" y="115"/>
                    <a:pt x="314" y="103"/>
                  </a:cubicBezTo>
                  <a:cubicBezTo>
                    <a:pt x="333" y="103"/>
                    <a:pt x="333" y="103"/>
                    <a:pt x="333" y="103"/>
                  </a:cubicBezTo>
                  <a:cubicBezTo>
                    <a:pt x="334" y="103"/>
                    <a:pt x="334" y="103"/>
                    <a:pt x="334" y="103"/>
                  </a:cubicBezTo>
                  <a:cubicBezTo>
                    <a:pt x="368" y="100"/>
                    <a:pt x="382" y="67"/>
                    <a:pt x="384" y="50"/>
                  </a:cubicBezTo>
                  <a:cubicBezTo>
                    <a:pt x="385" y="38"/>
                    <a:pt x="385" y="38"/>
                    <a:pt x="385" y="38"/>
                  </a:cubicBezTo>
                  <a:cubicBezTo>
                    <a:pt x="373" y="38"/>
                    <a:pt x="373" y="38"/>
                    <a:pt x="373" y="38"/>
                  </a:cubicBezTo>
                  <a:cubicBezTo>
                    <a:pt x="155" y="39"/>
                    <a:pt x="93" y="6"/>
                    <a:pt x="93" y="5"/>
                  </a:cubicBezTo>
                  <a:close/>
                  <a:moveTo>
                    <a:pt x="333" y="81"/>
                  </a:moveTo>
                  <a:cubicBezTo>
                    <a:pt x="293" y="81"/>
                    <a:pt x="293" y="81"/>
                    <a:pt x="293" y="81"/>
                  </a:cubicBezTo>
                  <a:cubicBezTo>
                    <a:pt x="293" y="92"/>
                    <a:pt x="293" y="92"/>
                    <a:pt x="293" y="92"/>
                  </a:cubicBezTo>
                  <a:cubicBezTo>
                    <a:pt x="293" y="93"/>
                    <a:pt x="293" y="108"/>
                    <a:pt x="282" y="109"/>
                  </a:cubicBezTo>
                  <a:cubicBezTo>
                    <a:pt x="238" y="109"/>
                    <a:pt x="238" y="109"/>
                    <a:pt x="238" y="109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6" y="118"/>
                    <a:pt x="230" y="143"/>
                    <a:pt x="209" y="149"/>
                  </a:cubicBezTo>
                  <a:cubicBezTo>
                    <a:pt x="209" y="150"/>
                    <a:pt x="209" y="150"/>
                    <a:pt x="209" y="150"/>
                  </a:cubicBezTo>
                  <a:cubicBezTo>
                    <a:pt x="208" y="150"/>
                    <a:pt x="188" y="157"/>
                    <a:pt x="162" y="139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146" y="143"/>
                    <a:pt x="146" y="143"/>
                    <a:pt x="146" y="143"/>
                  </a:cubicBezTo>
                  <a:cubicBezTo>
                    <a:pt x="145" y="145"/>
                    <a:pt x="124" y="182"/>
                    <a:pt x="63" y="175"/>
                  </a:cubicBezTo>
                  <a:cubicBezTo>
                    <a:pt x="48" y="173"/>
                    <a:pt x="31" y="170"/>
                    <a:pt x="22" y="168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37" y="64"/>
                    <a:pt x="53" y="55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1"/>
                    <a:pt x="57" y="29"/>
                    <a:pt x="59" y="27"/>
                  </a:cubicBezTo>
                  <a:cubicBezTo>
                    <a:pt x="62" y="25"/>
                    <a:pt x="68" y="23"/>
                    <a:pt x="84" y="25"/>
                  </a:cubicBezTo>
                  <a:cubicBezTo>
                    <a:pt x="95" y="31"/>
                    <a:pt x="162" y="60"/>
                    <a:pt x="357" y="60"/>
                  </a:cubicBezTo>
                  <a:cubicBezTo>
                    <a:pt x="358" y="60"/>
                    <a:pt x="358" y="60"/>
                    <a:pt x="358" y="60"/>
                  </a:cubicBezTo>
                  <a:cubicBezTo>
                    <a:pt x="355" y="69"/>
                    <a:pt x="347" y="80"/>
                    <a:pt x="333" y="8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17">
              <a:extLst>
                <a:ext uri="{FF2B5EF4-FFF2-40B4-BE49-F238E27FC236}">
                  <a16:creationId xmlns:a16="http://schemas.microsoft.com/office/drawing/2014/main" id="{C7172667-EC68-4FA6-818C-CB332D3845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1188" y="4319588"/>
              <a:ext cx="331788" cy="515938"/>
            </a:xfrm>
            <a:custGeom>
              <a:avLst/>
              <a:gdLst>
                <a:gd name="T0" fmla="*/ 451 w 636"/>
                <a:gd name="T1" fmla="*/ 315 h 992"/>
                <a:gd name="T2" fmla="*/ 394 w 636"/>
                <a:gd name="T3" fmla="*/ 111 h 992"/>
                <a:gd name="T4" fmla="*/ 322 w 636"/>
                <a:gd name="T5" fmla="*/ 267 h 992"/>
                <a:gd name="T6" fmla="*/ 373 w 636"/>
                <a:gd name="T7" fmla="*/ 114 h 992"/>
                <a:gd name="T8" fmla="*/ 293 w 636"/>
                <a:gd name="T9" fmla="*/ 75 h 992"/>
                <a:gd name="T10" fmla="*/ 71 w 636"/>
                <a:gd name="T11" fmla="*/ 173 h 992"/>
                <a:gd name="T12" fmla="*/ 298 w 636"/>
                <a:gd name="T13" fmla="*/ 268 h 992"/>
                <a:gd name="T14" fmla="*/ 282 w 636"/>
                <a:gd name="T15" fmla="*/ 479 h 992"/>
                <a:gd name="T16" fmla="*/ 346 w 636"/>
                <a:gd name="T17" fmla="*/ 695 h 992"/>
                <a:gd name="T18" fmla="*/ 385 w 636"/>
                <a:gd name="T19" fmla="*/ 872 h 992"/>
                <a:gd name="T20" fmla="*/ 400 w 636"/>
                <a:gd name="T21" fmla="*/ 899 h 992"/>
                <a:gd name="T22" fmla="*/ 449 w 636"/>
                <a:gd name="T23" fmla="*/ 977 h 992"/>
                <a:gd name="T24" fmla="*/ 519 w 636"/>
                <a:gd name="T25" fmla="*/ 894 h 992"/>
                <a:gd name="T26" fmla="*/ 499 w 636"/>
                <a:gd name="T27" fmla="*/ 700 h 992"/>
                <a:gd name="T28" fmla="*/ 548 w 636"/>
                <a:gd name="T29" fmla="*/ 443 h 992"/>
                <a:gd name="T30" fmla="*/ 559 w 636"/>
                <a:gd name="T31" fmla="*/ 339 h 992"/>
                <a:gd name="T32" fmla="*/ 454 w 636"/>
                <a:gd name="T33" fmla="*/ 349 h 992"/>
                <a:gd name="T34" fmla="*/ 385 w 636"/>
                <a:gd name="T35" fmla="*/ 59 h 992"/>
                <a:gd name="T36" fmla="*/ 416 w 636"/>
                <a:gd name="T37" fmla="*/ 378 h 992"/>
                <a:gd name="T38" fmla="*/ 394 w 636"/>
                <a:gd name="T39" fmla="*/ 384 h 992"/>
                <a:gd name="T40" fmla="*/ 289 w 636"/>
                <a:gd name="T41" fmla="*/ 338 h 992"/>
                <a:gd name="T42" fmla="*/ 223 w 636"/>
                <a:gd name="T43" fmla="*/ 209 h 992"/>
                <a:gd name="T44" fmla="*/ 103 w 636"/>
                <a:gd name="T45" fmla="*/ 179 h 992"/>
                <a:gd name="T46" fmla="*/ 28 w 636"/>
                <a:gd name="T47" fmla="*/ 130 h 992"/>
                <a:gd name="T48" fmla="*/ 329 w 636"/>
                <a:gd name="T49" fmla="*/ 103 h 992"/>
                <a:gd name="T50" fmla="*/ 245 w 636"/>
                <a:gd name="T51" fmla="*/ 367 h 992"/>
                <a:gd name="T52" fmla="*/ 310 w 636"/>
                <a:gd name="T53" fmla="*/ 320 h 992"/>
                <a:gd name="T54" fmla="*/ 245 w 636"/>
                <a:gd name="T55" fmla="*/ 367 h 992"/>
                <a:gd name="T56" fmla="*/ 376 w 636"/>
                <a:gd name="T57" fmla="*/ 491 h 992"/>
                <a:gd name="T58" fmla="*/ 453 w 636"/>
                <a:gd name="T59" fmla="*/ 462 h 992"/>
                <a:gd name="T60" fmla="*/ 429 w 636"/>
                <a:gd name="T61" fmla="*/ 476 h 992"/>
                <a:gd name="T62" fmla="*/ 431 w 636"/>
                <a:gd name="T63" fmla="*/ 645 h 992"/>
                <a:gd name="T64" fmla="*/ 453 w 636"/>
                <a:gd name="T65" fmla="*/ 624 h 992"/>
                <a:gd name="T66" fmla="*/ 435 w 636"/>
                <a:gd name="T67" fmla="*/ 729 h 992"/>
                <a:gd name="T68" fmla="*/ 432 w 636"/>
                <a:gd name="T69" fmla="*/ 722 h 992"/>
                <a:gd name="T70" fmla="*/ 460 w 636"/>
                <a:gd name="T71" fmla="*/ 728 h 992"/>
                <a:gd name="T72" fmla="*/ 387 w 636"/>
                <a:gd name="T73" fmla="*/ 828 h 992"/>
                <a:gd name="T74" fmla="*/ 457 w 636"/>
                <a:gd name="T75" fmla="*/ 850 h 992"/>
                <a:gd name="T76" fmla="*/ 457 w 636"/>
                <a:gd name="T77" fmla="*/ 850 h 992"/>
                <a:gd name="T78" fmla="*/ 428 w 636"/>
                <a:gd name="T79" fmla="*/ 820 h 992"/>
                <a:gd name="T80" fmla="*/ 429 w 636"/>
                <a:gd name="T81" fmla="*/ 900 h 992"/>
                <a:gd name="T82" fmla="*/ 460 w 636"/>
                <a:gd name="T83" fmla="*/ 878 h 992"/>
                <a:gd name="T84" fmla="*/ 381 w 636"/>
                <a:gd name="T85" fmla="*/ 752 h 992"/>
                <a:gd name="T86" fmla="*/ 413 w 636"/>
                <a:gd name="T87" fmla="*/ 682 h 992"/>
                <a:gd name="T88" fmla="*/ 529 w 636"/>
                <a:gd name="T89" fmla="*/ 526 h 992"/>
                <a:gd name="T90" fmla="*/ 326 w 636"/>
                <a:gd name="T91" fmla="*/ 611 h 992"/>
                <a:gd name="T92" fmla="*/ 529 w 636"/>
                <a:gd name="T93" fmla="*/ 526 h 992"/>
                <a:gd name="T94" fmla="*/ 417 w 636"/>
                <a:gd name="T95" fmla="*/ 442 h 992"/>
                <a:gd name="T96" fmla="*/ 304 w 636"/>
                <a:gd name="T97" fmla="*/ 481 h 992"/>
                <a:gd name="T98" fmla="*/ 558 w 636"/>
                <a:gd name="T99" fmla="*/ 373 h 992"/>
                <a:gd name="T100" fmla="*/ 535 w 636"/>
                <a:gd name="T101" fmla="*/ 323 h 992"/>
                <a:gd name="T102" fmla="*/ 581 w 636"/>
                <a:gd name="T103" fmla="*/ 303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6" h="992">
                  <a:moveTo>
                    <a:pt x="592" y="285"/>
                  </a:moveTo>
                  <a:cubicBezTo>
                    <a:pt x="556" y="260"/>
                    <a:pt x="504" y="271"/>
                    <a:pt x="502" y="272"/>
                  </a:cubicBezTo>
                  <a:cubicBezTo>
                    <a:pt x="502" y="272"/>
                    <a:pt x="501" y="272"/>
                    <a:pt x="501" y="272"/>
                  </a:cubicBezTo>
                  <a:cubicBezTo>
                    <a:pt x="479" y="278"/>
                    <a:pt x="463" y="290"/>
                    <a:pt x="455" y="305"/>
                  </a:cubicBezTo>
                  <a:cubicBezTo>
                    <a:pt x="453" y="308"/>
                    <a:pt x="452" y="311"/>
                    <a:pt x="451" y="315"/>
                  </a:cubicBezTo>
                  <a:cubicBezTo>
                    <a:pt x="451" y="110"/>
                    <a:pt x="451" y="110"/>
                    <a:pt x="451" y="110"/>
                  </a:cubicBezTo>
                  <a:cubicBezTo>
                    <a:pt x="469" y="100"/>
                    <a:pt x="481" y="81"/>
                    <a:pt x="481" y="59"/>
                  </a:cubicBezTo>
                  <a:cubicBezTo>
                    <a:pt x="481" y="26"/>
                    <a:pt x="454" y="0"/>
                    <a:pt x="422" y="0"/>
                  </a:cubicBezTo>
                  <a:cubicBezTo>
                    <a:pt x="389" y="0"/>
                    <a:pt x="363" y="26"/>
                    <a:pt x="363" y="59"/>
                  </a:cubicBezTo>
                  <a:cubicBezTo>
                    <a:pt x="363" y="81"/>
                    <a:pt x="375" y="101"/>
                    <a:pt x="394" y="111"/>
                  </a:cubicBezTo>
                  <a:cubicBezTo>
                    <a:pt x="394" y="310"/>
                    <a:pt x="394" y="310"/>
                    <a:pt x="394" y="310"/>
                  </a:cubicBezTo>
                  <a:cubicBezTo>
                    <a:pt x="393" y="307"/>
                    <a:pt x="392" y="305"/>
                    <a:pt x="391" y="303"/>
                  </a:cubicBezTo>
                  <a:cubicBezTo>
                    <a:pt x="383" y="288"/>
                    <a:pt x="367" y="276"/>
                    <a:pt x="345" y="270"/>
                  </a:cubicBezTo>
                  <a:cubicBezTo>
                    <a:pt x="344" y="270"/>
                    <a:pt x="344" y="270"/>
                    <a:pt x="344" y="270"/>
                  </a:cubicBezTo>
                  <a:cubicBezTo>
                    <a:pt x="343" y="269"/>
                    <a:pt x="334" y="268"/>
                    <a:pt x="322" y="267"/>
                  </a:cubicBezTo>
                  <a:cubicBezTo>
                    <a:pt x="323" y="267"/>
                    <a:pt x="324" y="267"/>
                    <a:pt x="325" y="267"/>
                  </a:cubicBezTo>
                  <a:cubicBezTo>
                    <a:pt x="346" y="264"/>
                    <a:pt x="373" y="260"/>
                    <a:pt x="381" y="255"/>
                  </a:cubicBezTo>
                  <a:cubicBezTo>
                    <a:pt x="385" y="252"/>
                    <a:pt x="385" y="252"/>
                    <a:pt x="385" y="252"/>
                  </a:cubicBezTo>
                  <a:cubicBezTo>
                    <a:pt x="385" y="112"/>
                    <a:pt x="385" y="112"/>
                    <a:pt x="385" y="112"/>
                  </a:cubicBezTo>
                  <a:cubicBezTo>
                    <a:pt x="373" y="114"/>
                    <a:pt x="373" y="114"/>
                    <a:pt x="373" y="114"/>
                  </a:cubicBezTo>
                  <a:cubicBezTo>
                    <a:pt x="370" y="115"/>
                    <a:pt x="354" y="116"/>
                    <a:pt x="351" y="100"/>
                  </a:cubicBezTo>
                  <a:cubicBezTo>
                    <a:pt x="351" y="96"/>
                    <a:pt x="349" y="87"/>
                    <a:pt x="340" y="80"/>
                  </a:cubicBezTo>
                  <a:cubicBezTo>
                    <a:pt x="330" y="72"/>
                    <a:pt x="315" y="70"/>
                    <a:pt x="296" y="74"/>
                  </a:cubicBezTo>
                  <a:cubicBezTo>
                    <a:pt x="294" y="75"/>
                    <a:pt x="294" y="75"/>
                    <a:pt x="294" y="75"/>
                  </a:cubicBezTo>
                  <a:cubicBezTo>
                    <a:pt x="293" y="75"/>
                    <a:pt x="293" y="75"/>
                    <a:pt x="293" y="75"/>
                  </a:cubicBezTo>
                  <a:cubicBezTo>
                    <a:pt x="292" y="76"/>
                    <a:pt x="230" y="109"/>
                    <a:pt x="12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4" y="137"/>
                    <a:pt x="17" y="170"/>
                    <a:pt x="51" y="173"/>
                  </a:cubicBezTo>
                  <a:cubicBezTo>
                    <a:pt x="71" y="173"/>
                    <a:pt x="71" y="173"/>
                    <a:pt x="71" y="173"/>
                  </a:cubicBezTo>
                  <a:cubicBezTo>
                    <a:pt x="74" y="185"/>
                    <a:pt x="82" y="200"/>
                    <a:pt x="102" y="201"/>
                  </a:cubicBezTo>
                  <a:cubicBezTo>
                    <a:pt x="131" y="201"/>
                    <a:pt x="131" y="201"/>
                    <a:pt x="131" y="201"/>
                  </a:cubicBezTo>
                  <a:cubicBezTo>
                    <a:pt x="135" y="213"/>
                    <a:pt x="146" y="233"/>
                    <a:pt x="169" y="240"/>
                  </a:cubicBezTo>
                  <a:cubicBezTo>
                    <a:pt x="173" y="242"/>
                    <a:pt x="197" y="249"/>
                    <a:pt x="226" y="233"/>
                  </a:cubicBezTo>
                  <a:cubicBezTo>
                    <a:pt x="236" y="245"/>
                    <a:pt x="258" y="265"/>
                    <a:pt x="298" y="268"/>
                  </a:cubicBezTo>
                  <a:cubicBezTo>
                    <a:pt x="283" y="269"/>
                    <a:pt x="267" y="274"/>
                    <a:pt x="253" y="283"/>
                  </a:cubicBezTo>
                  <a:cubicBezTo>
                    <a:pt x="234" y="295"/>
                    <a:pt x="203" y="332"/>
                    <a:pt x="226" y="377"/>
                  </a:cubicBezTo>
                  <a:cubicBezTo>
                    <a:pt x="226" y="377"/>
                    <a:pt x="226" y="378"/>
                    <a:pt x="226" y="378"/>
                  </a:cubicBezTo>
                  <a:cubicBezTo>
                    <a:pt x="227" y="379"/>
                    <a:pt x="250" y="418"/>
                    <a:pt x="299" y="438"/>
                  </a:cubicBezTo>
                  <a:cubicBezTo>
                    <a:pt x="285" y="457"/>
                    <a:pt x="283" y="476"/>
                    <a:pt x="282" y="479"/>
                  </a:cubicBezTo>
                  <a:cubicBezTo>
                    <a:pt x="276" y="530"/>
                    <a:pt x="310" y="560"/>
                    <a:pt x="332" y="570"/>
                  </a:cubicBezTo>
                  <a:cubicBezTo>
                    <a:pt x="313" y="586"/>
                    <a:pt x="306" y="601"/>
                    <a:pt x="306" y="602"/>
                  </a:cubicBezTo>
                  <a:cubicBezTo>
                    <a:pt x="306" y="603"/>
                    <a:pt x="306" y="603"/>
                    <a:pt x="305" y="603"/>
                  </a:cubicBezTo>
                  <a:cubicBezTo>
                    <a:pt x="289" y="650"/>
                    <a:pt x="324" y="683"/>
                    <a:pt x="346" y="695"/>
                  </a:cubicBezTo>
                  <a:cubicBezTo>
                    <a:pt x="346" y="695"/>
                    <a:pt x="346" y="695"/>
                    <a:pt x="346" y="695"/>
                  </a:cubicBezTo>
                  <a:cubicBezTo>
                    <a:pt x="331" y="717"/>
                    <a:pt x="325" y="738"/>
                    <a:pt x="329" y="757"/>
                  </a:cubicBezTo>
                  <a:cubicBezTo>
                    <a:pt x="334" y="778"/>
                    <a:pt x="350" y="789"/>
                    <a:pt x="354" y="792"/>
                  </a:cubicBezTo>
                  <a:cubicBezTo>
                    <a:pt x="353" y="793"/>
                    <a:pt x="353" y="793"/>
                    <a:pt x="353" y="793"/>
                  </a:cubicBezTo>
                  <a:cubicBezTo>
                    <a:pt x="335" y="830"/>
                    <a:pt x="363" y="860"/>
                    <a:pt x="381" y="871"/>
                  </a:cubicBezTo>
                  <a:cubicBezTo>
                    <a:pt x="382" y="871"/>
                    <a:pt x="384" y="872"/>
                    <a:pt x="385" y="872"/>
                  </a:cubicBezTo>
                  <a:cubicBezTo>
                    <a:pt x="365" y="887"/>
                    <a:pt x="347" y="898"/>
                    <a:pt x="346" y="898"/>
                  </a:cubicBezTo>
                  <a:cubicBezTo>
                    <a:pt x="341" y="901"/>
                    <a:pt x="340" y="908"/>
                    <a:pt x="342" y="913"/>
                  </a:cubicBezTo>
                  <a:cubicBezTo>
                    <a:pt x="344" y="917"/>
                    <a:pt x="348" y="919"/>
                    <a:pt x="352" y="919"/>
                  </a:cubicBezTo>
                  <a:cubicBezTo>
                    <a:pt x="353" y="919"/>
                    <a:pt x="355" y="918"/>
                    <a:pt x="356" y="918"/>
                  </a:cubicBezTo>
                  <a:cubicBezTo>
                    <a:pt x="400" y="899"/>
                    <a:pt x="400" y="899"/>
                    <a:pt x="400" y="899"/>
                  </a:cubicBezTo>
                  <a:cubicBezTo>
                    <a:pt x="405" y="978"/>
                    <a:pt x="405" y="978"/>
                    <a:pt x="405" y="978"/>
                  </a:cubicBezTo>
                  <a:cubicBezTo>
                    <a:pt x="405" y="981"/>
                    <a:pt x="407" y="984"/>
                    <a:pt x="409" y="986"/>
                  </a:cubicBezTo>
                  <a:cubicBezTo>
                    <a:pt x="416" y="991"/>
                    <a:pt x="422" y="992"/>
                    <a:pt x="427" y="992"/>
                  </a:cubicBezTo>
                  <a:cubicBezTo>
                    <a:pt x="436" y="992"/>
                    <a:pt x="442" y="988"/>
                    <a:pt x="446" y="985"/>
                  </a:cubicBezTo>
                  <a:cubicBezTo>
                    <a:pt x="448" y="983"/>
                    <a:pt x="449" y="980"/>
                    <a:pt x="449" y="977"/>
                  </a:cubicBezTo>
                  <a:cubicBezTo>
                    <a:pt x="452" y="899"/>
                    <a:pt x="452" y="899"/>
                    <a:pt x="452" y="899"/>
                  </a:cubicBezTo>
                  <a:cubicBezTo>
                    <a:pt x="480" y="914"/>
                    <a:pt x="500" y="916"/>
                    <a:pt x="510" y="916"/>
                  </a:cubicBezTo>
                  <a:cubicBezTo>
                    <a:pt x="515" y="916"/>
                    <a:pt x="517" y="916"/>
                    <a:pt x="518" y="915"/>
                  </a:cubicBezTo>
                  <a:cubicBezTo>
                    <a:pt x="523" y="914"/>
                    <a:pt x="527" y="910"/>
                    <a:pt x="527" y="905"/>
                  </a:cubicBezTo>
                  <a:cubicBezTo>
                    <a:pt x="527" y="900"/>
                    <a:pt x="524" y="895"/>
                    <a:pt x="519" y="894"/>
                  </a:cubicBezTo>
                  <a:cubicBezTo>
                    <a:pt x="514" y="892"/>
                    <a:pt x="497" y="876"/>
                    <a:pt x="482" y="860"/>
                  </a:cubicBezTo>
                  <a:cubicBezTo>
                    <a:pt x="491" y="852"/>
                    <a:pt x="498" y="843"/>
                    <a:pt x="501" y="833"/>
                  </a:cubicBezTo>
                  <a:cubicBezTo>
                    <a:pt x="507" y="811"/>
                    <a:pt x="496" y="792"/>
                    <a:pt x="495" y="791"/>
                  </a:cubicBezTo>
                  <a:cubicBezTo>
                    <a:pt x="494" y="790"/>
                    <a:pt x="493" y="788"/>
                    <a:pt x="491" y="787"/>
                  </a:cubicBezTo>
                  <a:cubicBezTo>
                    <a:pt x="517" y="755"/>
                    <a:pt x="508" y="717"/>
                    <a:pt x="499" y="700"/>
                  </a:cubicBezTo>
                  <a:cubicBezTo>
                    <a:pt x="525" y="683"/>
                    <a:pt x="534" y="659"/>
                    <a:pt x="535" y="655"/>
                  </a:cubicBezTo>
                  <a:cubicBezTo>
                    <a:pt x="549" y="614"/>
                    <a:pt x="525" y="583"/>
                    <a:pt x="509" y="570"/>
                  </a:cubicBezTo>
                  <a:cubicBezTo>
                    <a:pt x="532" y="556"/>
                    <a:pt x="545" y="541"/>
                    <a:pt x="546" y="540"/>
                  </a:cubicBezTo>
                  <a:cubicBezTo>
                    <a:pt x="546" y="540"/>
                    <a:pt x="546" y="540"/>
                    <a:pt x="546" y="540"/>
                  </a:cubicBezTo>
                  <a:cubicBezTo>
                    <a:pt x="576" y="502"/>
                    <a:pt x="561" y="461"/>
                    <a:pt x="548" y="443"/>
                  </a:cubicBezTo>
                  <a:cubicBezTo>
                    <a:pt x="609" y="419"/>
                    <a:pt x="619" y="383"/>
                    <a:pt x="621" y="377"/>
                  </a:cubicBezTo>
                  <a:cubicBezTo>
                    <a:pt x="636" y="327"/>
                    <a:pt x="609" y="295"/>
                    <a:pt x="592" y="285"/>
                  </a:cubicBezTo>
                  <a:close/>
                  <a:moveTo>
                    <a:pt x="454" y="349"/>
                  </a:moveTo>
                  <a:cubicBezTo>
                    <a:pt x="493" y="380"/>
                    <a:pt x="542" y="345"/>
                    <a:pt x="548" y="341"/>
                  </a:cubicBezTo>
                  <a:cubicBezTo>
                    <a:pt x="549" y="340"/>
                    <a:pt x="555" y="337"/>
                    <a:pt x="559" y="339"/>
                  </a:cubicBezTo>
                  <a:cubicBezTo>
                    <a:pt x="559" y="339"/>
                    <a:pt x="560" y="340"/>
                    <a:pt x="560" y="341"/>
                  </a:cubicBezTo>
                  <a:cubicBezTo>
                    <a:pt x="560" y="343"/>
                    <a:pt x="557" y="348"/>
                    <a:pt x="547" y="354"/>
                  </a:cubicBezTo>
                  <a:cubicBezTo>
                    <a:pt x="543" y="357"/>
                    <a:pt x="502" y="379"/>
                    <a:pt x="451" y="384"/>
                  </a:cubicBezTo>
                  <a:cubicBezTo>
                    <a:pt x="451" y="344"/>
                    <a:pt x="451" y="344"/>
                    <a:pt x="451" y="344"/>
                  </a:cubicBezTo>
                  <a:cubicBezTo>
                    <a:pt x="452" y="346"/>
                    <a:pt x="453" y="347"/>
                    <a:pt x="454" y="349"/>
                  </a:cubicBezTo>
                  <a:close/>
                  <a:moveTo>
                    <a:pt x="422" y="22"/>
                  </a:moveTo>
                  <a:cubicBezTo>
                    <a:pt x="442" y="22"/>
                    <a:pt x="459" y="39"/>
                    <a:pt x="459" y="59"/>
                  </a:cubicBezTo>
                  <a:cubicBezTo>
                    <a:pt x="459" y="74"/>
                    <a:pt x="450" y="86"/>
                    <a:pt x="437" y="92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397" y="91"/>
                    <a:pt x="385" y="76"/>
                    <a:pt x="385" y="59"/>
                  </a:cubicBezTo>
                  <a:cubicBezTo>
                    <a:pt x="385" y="39"/>
                    <a:pt x="401" y="22"/>
                    <a:pt x="422" y="22"/>
                  </a:cubicBezTo>
                  <a:close/>
                  <a:moveTo>
                    <a:pt x="422" y="118"/>
                  </a:moveTo>
                  <a:cubicBezTo>
                    <a:pt x="424" y="118"/>
                    <a:pt x="427" y="117"/>
                    <a:pt x="429" y="117"/>
                  </a:cubicBezTo>
                  <a:cubicBezTo>
                    <a:pt x="429" y="376"/>
                    <a:pt x="429" y="376"/>
                    <a:pt x="429" y="376"/>
                  </a:cubicBezTo>
                  <a:cubicBezTo>
                    <a:pt x="416" y="378"/>
                    <a:pt x="416" y="378"/>
                    <a:pt x="416" y="378"/>
                  </a:cubicBezTo>
                  <a:cubicBezTo>
                    <a:pt x="416" y="117"/>
                    <a:pt x="416" y="117"/>
                    <a:pt x="416" y="117"/>
                  </a:cubicBezTo>
                  <a:cubicBezTo>
                    <a:pt x="418" y="118"/>
                    <a:pt x="420" y="118"/>
                    <a:pt x="422" y="118"/>
                  </a:cubicBezTo>
                  <a:close/>
                  <a:moveTo>
                    <a:pt x="392" y="347"/>
                  </a:moveTo>
                  <a:cubicBezTo>
                    <a:pt x="393" y="346"/>
                    <a:pt x="393" y="345"/>
                    <a:pt x="394" y="344"/>
                  </a:cubicBezTo>
                  <a:cubicBezTo>
                    <a:pt x="394" y="384"/>
                    <a:pt x="394" y="384"/>
                    <a:pt x="394" y="384"/>
                  </a:cubicBezTo>
                  <a:cubicBezTo>
                    <a:pt x="391" y="384"/>
                    <a:pt x="387" y="384"/>
                    <a:pt x="384" y="385"/>
                  </a:cubicBezTo>
                  <a:cubicBezTo>
                    <a:pt x="383" y="380"/>
                    <a:pt x="379" y="376"/>
                    <a:pt x="374" y="375"/>
                  </a:cubicBezTo>
                  <a:cubicBezTo>
                    <a:pt x="355" y="374"/>
                    <a:pt x="298" y="364"/>
                    <a:pt x="289" y="339"/>
                  </a:cubicBezTo>
                  <a:cubicBezTo>
                    <a:pt x="289" y="339"/>
                    <a:pt x="289" y="338"/>
                    <a:pt x="289" y="338"/>
                  </a:cubicBezTo>
                  <a:cubicBezTo>
                    <a:pt x="289" y="338"/>
                    <a:pt x="289" y="338"/>
                    <a:pt x="289" y="338"/>
                  </a:cubicBezTo>
                  <a:cubicBezTo>
                    <a:pt x="289" y="338"/>
                    <a:pt x="293" y="336"/>
                    <a:pt x="298" y="339"/>
                  </a:cubicBezTo>
                  <a:cubicBezTo>
                    <a:pt x="305" y="344"/>
                    <a:pt x="353" y="378"/>
                    <a:pt x="392" y="347"/>
                  </a:cubicBezTo>
                  <a:close/>
                  <a:moveTo>
                    <a:pt x="239" y="213"/>
                  </a:moveTo>
                  <a:cubicBezTo>
                    <a:pt x="234" y="202"/>
                    <a:pt x="234" y="202"/>
                    <a:pt x="234" y="202"/>
                  </a:cubicBezTo>
                  <a:cubicBezTo>
                    <a:pt x="223" y="209"/>
                    <a:pt x="223" y="209"/>
                    <a:pt x="223" y="209"/>
                  </a:cubicBezTo>
                  <a:cubicBezTo>
                    <a:pt x="197" y="227"/>
                    <a:pt x="177" y="220"/>
                    <a:pt x="177" y="220"/>
                  </a:cubicBezTo>
                  <a:cubicBezTo>
                    <a:pt x="176" y="219"/>
                    <a:pt x="176" y="219"/>
                    <a:pt x="176" y="219"/>
                  </a:cubicBezTo>
                  <a:cubicBezTo>
                    <a:pt x="156" y="213"/>
                    <a:pt x="150" y="188"/>
                    <a:pt x="149" y="188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92" y="178"/>
                    <a:pt x="92" y="164"/>
                    <a:pt x="92" y="162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52" y="151"/>
                    <a:pt x="52" y="151"/>
                    <a:pt x="52" y="151"/>
                  </a:cubicBezTo>
                  <a:cubicBezTo>
                    <a:pt x="38" y="150"/>
                    <a:pt x="31" y="139"/>
                    <a:pt x="27" y="130"/>
                  </a:cubicBezTo>
                  <a:cubicBezTo>
                    <a:pt x="27" y="130"/>
                    <a:pt x="28" y="130"/>
                    <a:pt x="28" y="130"/>
                  </a:cubicBezTo>
                  <a:cubicBezTo>
                    <a:pt x="223" y="130"/>
                    <a:pt x="290" y="101"/>
                    <a:pt x="302" y="95"/>
                  </a:cubicBezTo>
                  <a:cubicBezTo>
                    <a:pt x="317" y="93"/>
                    <a:pt x="323" y="95"/>
                    <a:pt x="326" y="97"/>
                  </a:cubicBezTo>
                  <a:cubicBezTo>
                    <a:pt x="328" y="99"/>
                    <a:pt x="329" y="101"/>
                    <a:pt x="329" y="101"/>
                  </a:cubicBezTo>
                  <a:cubicBezTo>
                    <a:pt x="329" y="102"/>
                    <a:pt x="329" y="102"/>
                    <a:pt x="329" y="102"/>
                  </a:cubicBezTo>
                  <a:cubicBezTo>
                    <a:pt x="329" y="103"/>
                    <a:pt x="329" y="103"/>
                    <a:pt x="329" y="103"/>
                  </a:cubicBezTo>
                  <a:cubicBezTo>
                    <a:pt x="332" y="125"/>
                    <a:pt x="349" y="134"/>
                    <a:pt x="363" y="136"/>
                  </a:cubicBezTo>
                  <a:cubicBezTo>
                    <a:pt x="363" y="238"/>
                    <a:pt x="363" y="238"/>
                    <a:pt x="363" y="238"/>
                  </a:cubicBezTo>
                  <a:cubicBezTo>
                    <a:pt x="354" y="240"/>
                    <a:pt x="337" y="243"/>
                    <a:pt x="322" y="245"/>
                  </a:cubicBezTo>
                  <a:cubicBezTo>
                    <a:pt x="261" y="252"/>
                    <a:pt x="240" y="215"/>
                    <a:pt x="239" y="213"/>
                  </a:cubicBezTo>
                  <a:close/>
                  <a:moveTo>
                    <a:pt x="245" y="367"/>
                  </a:moveTo>
                  <a:cubicBezTo>
                    <a:pt x="226" y="328"/>
                    <a:pt x="264" y="302"/>
                    <a:pt x="265" y="301"/>
                  </a:cubicBezTo>
                  <a:cubicBezTo>
                    <a:pt x="293" y="283"/>
                    <a:pt x="335" y="290"/>
                    <a:pt x="339" y="291"/>
                  </a:cubicBezTo>
                  <a:cubicBezTo>
                    <a:pt x="375" y="302"/>
                    <a:pt x="376" y="323"/>
                    <a:pt x="375" y="332"/>
                  </a:cubicBezTo>
                  <a:cubicBezTo>
                    <a:pt x="348" y="349"/>
                    <a:pt x="312" y="322"/>
                    <a:pt x="311" y="321"/>
                  </a:cubicBezTo>
                  <a:cubicBezTo>
                    <a:pt x="311" y="321"/>
                    <a:pt x="310" y="321"/>
                    <a:pt x="310" y="320"/>
                  </a:cubicBezTo>
                  <a:cubicBezTo>
                    <a:pt x="294" y="311"/>
                    <a:pt x="280" y="318"/>
                    <a:pt x="279" y="318"/>
                  </a:cubicBezTo>
                  <a:cubicBezTo>
                    <a:pt x="267" y="324"/>
                    <a:pt x="265" y="337"/>
                    <a:pt x="268" y="346"/>
                  </a:cubicBezTo>
                  <a:cubicBezTo>
                    <a:pt x="277" y="371"/>
                    <a:pt x="307" y="384"/>
                    <a:pt x="332" y="390"/>
                  </a:cubicBezTo>
                  <a:cubicBezTo>
                    <a:pt x="318" y="399"/>
                    <a:pt x="308" y="409"/>
                    <a:pt x="302" y="416"/>
                  </a:cubicBezTo>
                  <a:cubicBezTo>
                    <a:pt x="266" y="399"/>
                    <a:pt x="247" y="370"/>
                    <a:pt x="245" y="367"/>
                  </a:cubicBezTo>
                  <a:close/>
                  <a:moveTo>
                    <a:pt x="376" y="491"/>
                  </a:moveTo>
                  <a:cubicBezTo>
                    <a:pt x="376" y="491"/>
                    <a:pt x="376" y="478"/>
                    <a:pt x="394" y="470"/>
                  </a:cubicBezTo>
                  <a:cubicBezTo>
                    <a:pt x="394" y="514"/>
                    <a:pt x="394" y="514"/>
                    <a:pt x="394" y="514"/>
                  </a:cubicBezTo>
                  <a:cubicBezTo>
                    <a:pt x="375" y="505"/>
                    <a:pt x="375" y="493"/>
                    <a:pt x="375" y="492"/>
                  </a:cubicBezTo>
                  <a:cubicBezTo>
                    <a:pt x="376" y="492"/>
                    <a:pt x="376" y="492"/>
                    <a:pt x="376" y="491"/>
                  </a:cubicBezTo>
                  <a:close/>
                  <a:moveTo>
                    <a:pt x="456" y="470"/>
                  </a:moveTo>
                  <a:cubicBezTo>
                    <a:pt x="470" y="483"/>
                    <a:pt x="467" y="491"/>
                    <a:pt x="467" y="494"/>
                  </a:cubicBezTo>
                  <a:cubicBezTo>
                    <a:pt x="465" y="500"/>
                    <a:pt x="459" y="507"/>
                    <a:pt x="451" y="513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52" y="462"/>
                    <a:pt x="452" y="462"/>
                    <a:pt x="453" y="462"/>
                  </a:cubicBezTo>
                  <a:cubicBezTo>
                    <a:pt x="453" y="465"/>
                    <a:pt x="454" y="468"/>
                    <a:pt x="456" y="470"/>
                  </a:cubicBezTo>
                  <a:close/>
                  <a:moveTo>
                    <a:pt x="429" y="510"/>
                  </a:moveTo>
                  <a:cubicBezTo>
                    <a:pt x="416" y="515"/>
                    <a:pt x="416" y="515"/>
                    <a:pt x="416" y="515"/>
                  </a:cubicBezTo>
                  <a:cubicBezTo>
                    <a:pt x="416" y="478"/>
                    <a:pt x="416" y="478"/>
                    <a:pt x="416" y="478"/>
                  </a:cubicBezTo>
                  <a:cubicBezTo>
                    <a:pt x="429" y="476"/>
                    <a:pt x="429" y="476"/>
                    <a:pt x="429" y="476"/>
                  </a:cubicBezTo>
                  <a:lnTo>
                    <a:pt x="429" y="510"/>
                  </a:lnTo>
                  <a:close/>
                  <a:moveTo>
                    <a:pt x="418" y="649"/>
                  </a:moveTo>
                  <a:cubicBezTo>
                    <a:pt x="418" y="617"/>
                    <a:pt x="418" y="617"/>
                    <a:pt x="418" y="617"/>
                  </a:cubicBezTo>
                  <a:cubicBezTo>
                    <a:pt x="431" y="615"/>
                    <a:pt x="431" y="615"/>
                    <a:pt x="431" y="615"/>
                  </a:cubicBezTo>
                  <a:cubicBezTo>
                    <a:pt x="431" y="645"/>
                    <a:pt x="431" y="645"/>
                    <a:pt x="431" y="645"/>
                  </a:cubicBezTo>
                  <a:lnTo>
                    <a:pt x="418" y="649"/>
                  </a:lnTo>
                  <a:close/>
                  <a:moveTo>
                    <a:pt x="453" y="624"/>
                  </a:moveTo>
                  <a:cubicBezTo>
                    <a:pt x="457" y="628"/>
                    <a:pt x="459" y="632"/>
                    <a:pt x="458" y="634"/>
                  </a:cubicBezTo>
                  <a:cubicBezTo>
                    <a:pt x="458" y="637"/>
                    <a:pt x="456" y="639"/>
                    <a:pt x="453" y="641"/>
                  </a:cubicBezTo>
                  <a:lnTo>
                    <a:pt x="453" y="624"/>
                  </a:lnTo>
                  <a:close/>
                  <a:moveTo>
                    <a:pt x="396" y="630"/>
                  </a:moveTo>
                  <a:cubicBezTo>
                    <a:pt x="394" y="626"/>
                    <a:pt x="394" y="623"/>
                    <a:pt x="395" y="620"/>
                  </a:cubicBezTo>
                  <a:cubicBezTo>
                    <a:pt x="395" y="619"/>
                    <a:pt x="396" y="618"/>
                    <a:pt x="396" y="617"/>
                  </a:cubicBezTo>
                  <a:lnTo>
                    <a:pt x="396" y="630"/>
                  </a:lnTo>
                  <a:close/>
                  <a:moveTo>
                    <a:pt x="435" y="729"/>
                  </a:moveTo>
                  <a:cubicBezTo>
                    <a:pt x="438" y="733"/>
                    <a:pt x="441" y="738"/>
                    <a:pt x="440" y="741"/>
                  </a:cubicBezTo>
                  <a:cubicBezTo>
                    <a:pt x="437" y="748"/>
                    <a:pt x="419" y="755"/>
                    <a:pt x="406" y="758"/>
                  </a:cubicBezTo>
                  <a:cubicBezTo>
                    <a:pt x="406" y="756"/>
                    <a:pt x="406" y="753"/>
                    <a:pt x="405" y="752"/>
                  </a:cubicBezTo>
                  <a:cubicBezTo>
                    <a:pt x="401" y="744"/>
                    <a:pt x="402" y="740"/>
                    <a:pt x="403" y="738"/>
                  </a:cubicBezTo>
                  <a:cubicBezTo>
                    <a:pt x="407" y="730"/>
                    <a:pt x="420" y="725"/>
                    <a:pt x="432" y="722"/>
                  </a:cubicBezTo>
                  <a:cubicBezTo>
                    <a:pt x="432" y="724"/>
                    <a:pt x="433" y="727"/>
                    <a:pt x="435" y="729"/>
                  </a:cubicBezTo>
                  <a:close/>
                  <a:moveTo>
                    <a:pt x="373" y="803"/>
                  </a:moveTo>
                  <a:cubicBezTo>
                    <a:pt x="373" y="803"/>
                    <a:pt x="383" y="784"/>
                    <a:pt x="409" y="780"/>
                  </a:cubicBezTo>
                  <a:cubicBezTo>
                    <a:pt x="416" y="778"/>
                    <a:pt x="452" y="771"/>
                    <a:pt x="460" y="748"/>
                  </a:cubicBezTo>
                  <a:cubicBezTo>
                    <a:pt x="462" y="743"/>
                    <a:pt x="463" y="736"/>
                    <a:pt x="460" y="728"/>
                  </a:cubicBezTo>
                  <a:cubicBezTo>
                    <a:pt x="483" y="719"/>
                    <a:pt x="483" y="719"/>
                    <a:pt x="483" y="719"/>
                  </a:cubicBezTo>
                  <a:cubicBezTo>
                    <a:pt x="487" y="732"/>
                    <a:pt x="491" y="756"/>
                    <a:pt x="471" y="778"/>
                  </a:cubicBezTo>
                  <a:cubicBezTo>
                    <a:pt x="471" y="778"/>
                    <a:pt x="470" y="778"/>
                    <a:pt x="470" y="778"/>
                  </a:cubicBezTo>
                  <a:cubicBezTo>
                    <a:pt x="470" y="778"/>
                    <a:pt x="456" y="793"/>
                    <a:pt x="418" y="799"/>
                  </a:cubicBezTo>
                  <a:cubicBezTo>
                    <a:pt x="407" y="801"/>
                    <a:pt x="389" y="809"/>
                    <a:pt x="387" y="828"/>
                  </a:cubicBezTo>
                  <a:cubicBezTo>
                    <a:pt x="387" y="828"/>
                    <a:pt x="387" y="828"/>
                    <a:pt x="387" y="829"/>
                  </a:cubicBezTo>
                  <a:cubicBezTo>
                    <a:pt x="387" y="848"/>
                    <a:pt x="387" y="848"/>
                    <a:pt x="387" y="848"/>
                  </a:cubicBezTo>
                  <a:cubicBezTo>
                    <a:pt x="387" y="848"/>
                    <a:pt x="387" y="848"/>
                    <a:pt x="387" y="848"/>
                  </a:cubicBezTo>
                  <a:cubicBezTo>
                    <a:pt x="378" y="840"/>
                    <a:pt x="362" y="824"/>
                    <a:pt x="373" y="803"/>
                  </a:cubicBezTo>
                  <a:close/>
                  <a:moveTo>
                    <a:pt x="457" y="850"/>
                  </a:moveTo>
                  <a:cubicBezTo>
                    <a:pt x="433" y="860"/>
                    <a:pt x="433" y="860"/>
                    <a:pt x="433" y="860"/>
                  </a:cubicBezTo>
                  <a:cubicBezTo>
                    <a:pt x="442" y="850"/>
                    <a:pt x="449" y="840"/>
                    <a:pt x="451" y="830"/>
                  </a:cubicBezTo>
                  <a:cubicBezTo>
                    <a:pt x="459" y="829"/>
                    <a:pt x="470" y="826"/>
                    <a:pt x="481" y="818"/>
                  </a:cubicBezTo>
                  <a:cubicBezTo>
                    <a:pt x="481" y="821"/>
                    <a:pt x="480" y="824"/>
                    <a:pt x="479" y="827"/>
                  </a:cubicBezTo>
                  <a:cubicBezTo>
                    <a:pt x="477" y="836"/>
                    <a:pt x="469" y="844"/>
                    <a:pt x="457" y="850"/>
                  </a:cubicBezTo>
                  <a:close/>
                  <a:moveTo>
                    <a:pt x="430" y="825"/>
                  </a:moveTo>
                  <a:cubicBezTo>
                    <a:pt x="430" y="825"/>
                    <a:pt x="431" y="833"/>
                    <a:pt x="409" y="853"/>
                  </a:cubicBezTo>
                  <a:cubicBezTo>
                    <a:pt x="409" y="830"/>
                    <a:pt x="409" y="830"/>
                    <a:pt x="409" y="830"/>
                  </a:cubicBezTo>
                  <a:cubicBezTo>
                    <a:pt x="410" y="823"/>
                    <a:pt x="422" y="821"/>
                    <a:pt x="422" y="821"/>
                  </a:cubicBezTo>
                  <a:cubicBezTo>
                    <a:pt x="424" y="820"/>
                    <a:pt x="426" y="820"/>
                    <a:pt x="428" y="820"/>
                  </a:cubicBezTo>
                  <a:cubicBezTo>
                    <a:pt x="428" y="822"/>
                    <a:pt x="429" y="824"/>
                    <a:pt x="430" y="825"/>
                  </a:cubicBezTo>
                  <a:close/>
                  <a:moveTo>
                    <a:pt x="427" y="970"/>
                  </a:moveTo>
                  <a:cubicBezTo>
                    <a:pt x="427" y="970"/>
                    <a:pt x="427" y="970"/>
                    <a:pt x="426" y="970"/>
                  </a:cubicBezTo>
                  <a:cubicBezTo>
                    <a:pt x="422" y="903"/>
                    <a:pt x="422" y="903"/>
                    <a:pt x="422" y="903"/>
                  </a:cubicBezTo>
                  <a:cubicBezTo>
                    <a:pt x="429" y="900"/>
                    <a:pt x="429" y="900"/>
                    <a:pt x="429" y="900"/>
                  </a:cubicBezTo>
                  <a:lnTo>
                    <a:pt x="427" y="970"/>
                  </a:lnTo>
                  <a:close/>
                  <a:moveTo>
                    <a:pt x="460" y="878"/>
                  </a:moveTo>
                  <a:cubicBezTo>
                    <a:pt x="466" y="875"/>
                    <a:pt x="466" y="875"/>
                    <a:pt x="466" y="875"/>
                  </a:cubicBezTo>
                  <a:cubicBezTo>
                    <a:pt x="469" y="879"/>
                    <a:pt x="473" y="882"/>
                    <a:pt x="476" y="886"/>
                  </a:cubicBezTo>
                  <a:cubicBezTo>
                    <a:pt x="471" y="884"/>
                    <a:pt x="466" y="881"/>
                    <a:pt x="460" y="878"/>
                  </a:cubicBezTo>
                  <a:close/>
                  <a:moveTo>
                    <a:pt x="514" y="648"/>
                  </a:moveTo>
                  <a:cubicBezTo>
                    <a:pt x="514" y="648"/>
                    <a:pt x="514" y="649"/>
                    <a:pt x="514" y="649"/>
                  </a:cubicBezTo>
                  <a:cubicBezTo>
                    <a:pt x="513" y="650"/>
                    <a:pt x="502" y="686"/>
                    <a:pt x="452" y="695"/>
                  </a:cubicBezTo>
                  <a:cubicBezTo>
                    <a:pt x="444" y="696"/>
                    <a:pt x="398" y="702"/>
                    <a:pt x="384" y="727"/>
                  </a:cubicBezTo>
                  <a:cubicBezTo>
                    <a:pt x="381" y="733"/>
                    <a:pt x="379" y="741"/>
                    <a:pt x="381" y="752"/>
                  </a:cubicBezTo>
                  <a:cubicBezTo>
                    <a:pt x="371" y="758"/>
                    <a:pt x="363" y="763"/>
                    <a:pt x="359" y="767"/>
                  </a:cubicBezTo>
                  <a:cubicBezTo>
                    <a:pt x="355" y="764"/>
                    <a:pt x="352" y="758"/>
                    <a:pt x="351" y="752"/>
                  </a:cubicBezTo>
                  <a:cubicBezTo>
                    <a:pt x="348" y="739"/>
                    <a:pt x="352" y="724"/>
                    <a:pt x="364" y="708"/>
                  </a:cubicBezTo>
                  <a:cubicBezTo>
                    <a:pt x="365" y="706"/>
                    <a:pt x="382" y="686"/>
                    <a:pt x="412" y="682"/>
                  </a:cubicBezTo>
                  <a:cubicBezTo>
                    <a:pt x="413" y="682"/>
                    <a:pt x="413" y="682"/>
                    <a:pt x="413" y="682"/>
                  </a:cubicBezTo>
                  <a:cubicBezTo>
                    <a:pt x="423" y="680"/>
                    <a:pt x="475" y="667"/>
                    <a:pt x="480" y="638"/>
                  </a:cubicBezTo>
                  <a:cubicBezTo>
                    <a:pt x="482" y="624"/>
                    <a:pt x="473" y="612"/>
                    <a:pt x="463" y="603"/>
                  </a:cubicBezTo>
                  <a:cubicBezTo>
                    <a:pt x="498" y="590"/>
                    <a:pt x="498" y="590"/>
                    <a:pt x="498" y="590"/>
                  </a:cubicBezTo>
                  <a:cubicBezTo>
                    <a:pt x="507" y="598"/>
                    <a:pt x="525" y="618"/>
                    <a:pt x="514" y="648"/>
                  </a:cubicBezTo>
                  <a:close/>
                  <a:moveTo>
                    <a:pt x="529" y="526"/>
                  </a:moveTo>
                  <a:cubicBezTo>
                    <a:pt x="527" y="529"/>
                    <a:pt x="488" y="569"/>
                    <a:pt x="425" y="579"/>
                  </a:cubicBezTo>
                  <a:cubicBezTo>
                    <a:pt x="421" y="580"/>
                    <a:pt x="381" y="588"/>
                    <a:pt x="374" y="614"/>
                  </a:cubicBezTo>
                  <a:cubicBezTo>
                    <a:pt x="370" y="626"/>
                    <a:pt x="374" y="639"/>
                    <a:pt x="385" y="653"/>
                  </a:cubicBezTo>
                  <a:cubicBezTo>
                    <a:pt x="374" y="657"/>
                    <a:pt x="359" y="664"/>
                    <a:pt x="350" y="672"/>
                  </a:cubicBezTo>
                  <a:cubicBezTo>
                    <a:pt x="338" y="663"/>
                    <a:pt x="315" y="642"/>
                    <a:pt x="326" y="611"/>
                  </a:cubicBezTo>
                  <a:cubicBezTo>
                    <a:pt x="328" y="607"/>
                    <a:pt x="343" y="577"/>
                    <a:pt x="394" y="560"/>
                  </a:cubicBezTo>
                  <a:cubicBezTo>
                    <a:pt x="404" y="558"/>
                    <a:pt x="477" y="538"/>
                    <a:pt x="488" y="500"/>
                  </a:cubicBezTo>
                  <a:cubicBezTo>
                    <a:pt x="490" y="493"/>
                    <a:pt x="490" y="483"/>
                    <a:pt x="484" y="471"/>
                  </a:cubicBezTo>
                  <a:cubicBezTo>
                    <a:pt x="498" y="470"/>
                    <a:pt x="517" y="466"/>
                    <a:pt x="533" y="461"/>
                  </a:cubicBezTo>
                  <a:cubicBezTo>
                    <a:pt x="540" y="473"/>
                    <a:pt x="550" y="499"/>
                    <a:pt x="529" y="526"/>
                  </a:cubicBezTo>
                  <a:close/>
                  <a:moveTo>
                    <a:pt x="600" y="371"/>
                  </a:moveTo>
                  <a:cubicBezTo>
                    <a:pt x="600" y="371"/>
                    <a:pt x="599" y="372"/>
                    <a:pt x="599" y="372"/>
                  </a:cubicBezTo>
                  <a:cubicBezTo>
                    <a:pt x="599" y="373"/>
                    <a:pt x="588" y="421"/>
                    <a:pt x="484" y="436"/>
                  </a:cubicBezTo>
                  <a:cubicBezTo>
                    <a:pt x="454" y="440"/>
                    <a:pt x="418" y="442"/>
                    <a:pt x="417" y="442"/>
                  </a:cubicBezTo>
                  <a:cubicBezTo>
                    <a:pt x="417" y="442"/>
                    <a:pt x="417" y="442"/>
                    <a:pt x="417" y="442"/>
                  </a:cubicBezTo>
                  <a:cubicBezTo>
                    <a:pt x="367" y="446"/>
                    <a:pt x="354" y="476"/>
                    <a:pt x="354" y="491"/>
                  </a:cubicBezTo>
                  <a:cubicBezTo>
                    <a:pt x="353" y="495"/>
                    <a:pt x="354" y="513"/>
                    <a:pt x="374" y="528"/>
                  </a:cubicBezTo>
                  <a:cubicBezTo>
                    <a:pt x="338" y="548"/>
                    <a:pt x="338" y="548"/>
                    <a:pt x="338" y="548"/>
                  </a:cubicBezTo>
                  <a:cubicBezTo>
                    <a:pt x="327" y="542"/>
                    <a:pt x="299" y="523"/>
                    <a:pt x="304" y="482"/>
                  </a:cubicBezTo>
                  <a:cubicBezTo>
                    <a:pt x="304" y="481"/>
                    <a:pt x="304" y="481"/>
                    <a:pt x="304" y="481"/>
                  </a:cubicBezTo>
                  <a:cubicBezTo>
                    <a:pt x="304" y="481"/>
                    <a:pt x="306" y="454"/>
                    <a:pt x="334" y="434"/>
                  </a:cubicBezTo>
                  <a:cubicBezTo>
                    <a:pt x="334" y="434"/>
                    <a:pt x="334" y="434"/>
                    <a:pt x="335" y="433"/>
                  </a:cubicBezTo>
                  <a:cubicBezTo>
                    <a:pt x="344" y="425"/>
                    <a:pt x="371" y="405"/>
                    <a:pt x="397" y="405"/>
                  </a:cubicBezTo>
                  <a:cubicBezTo>
                    <a:pt x="399" y="405"/>
                    <a:pt x="401" y="406"/>
                    <a:pt x="403" y="406"/>
                  </a:cubicBezTo>
                  <a:cubicBezTo>
                    <a:pt x="482" y="416"/>
                    <a:pt x="555" y="375"/>
                    <a:pt x="558" y="373"/>
                  </a:cubicBezTo>
                  <a:cubicBezTo>
                    <a:pt x="559" y="373"/>
                    <a:pt x="559" y="373"/>
                    <a:pt x="559" y="373"/>
                  </a:cubicBezTo>
                  <a:cubicBezTo>
                    <a:pt x="574" y="363"/>
                    <a:pt x="582" y="352"/>
                    <a:pt x="582" y="341"/>
                  </a:cubicBezTo>
                  <a:cubicBezTo>
                    <a:pt x="582" y="329"/>
                    <a:pt x="573" y="322"/>
                    <a:pt x="571" y="321"/>
                  </a:cubicBezTo>
                  <a:cubicBezTo>
                    <a:pt x="571" y="321"/>
                    <a:pt x="571" y="321"/>
                    <a:pt x="571" y="321"/>
                  </a:cubicBezTo>
                  <a:cubicBezTo>
                    <a:pt x="557" y="312"/>
                    <a:pt x="542" y="318"/>
                    <a:pt x="535" y="323"/>
                  </a:cubicBezTo>
                  <a:cubicBezTo>
                    <a:pt x="535" y="323"/>
                    <a:pt x="535" y="323"/>
                    <a:pt x="535" y="323"/>
                  </a:cubicBezTo>
                  <a:cubicBezTo>
                    <a:pt x="534" y="323"/>
                    <a:pt x="498" y="351"/>
                    <a:pt x="471" y="334"/>
                  </a:cubicBezTo>
                  <a:cubicBezTo>
                    <a:pt x="470" y="325"/>
                    <a:pt x="471" y="304"/>
                    <a:pt x="507" y="293"/>
                  </a:cubicBezTo>
                  <a:cubicBezTo>
                    <a:pt x="511" y="292"/>
                    <a:pt x="553" y="285"/>
                    <a:pt x="581" y="303"/>
                  </a:cubicBezTo>
                  <a:cubicBezTo>
                    <a:pt x="581" y="303"/>
                    <a:pt x="581" y="303"/>
                    <a:pt x="581" y="303"/>
                  </a:cubicBezTo>
                  <a:cubicBezTo>
                    <a:pt x="581" y="303"/>
                    <a:pt x="614" y="324"/>
                    <a:pt x="600" y="37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12" name="Group 46311">
            <a:extLst>
              <a:ext uri="{FF2B5EF4-FFF2-40B4-BE49-F238E27FC236}">
                <a16:creationId xmlns:a16="http://schemas.microsoft.com/office/drawing/2014/main" id="{CF99FA20-D9C8-4C91-8A7C-5E3FF9EB4268}"/>
              </a:ext>
            </a:extLst>
          </p:cNvPr>
          <p:cNvGrpSpPr/>
          <p:nvPr/>
        </p:nvGrpSpPr>
        <p:grpSpPr>
          <a:xfrm>
            <a:off x="2570163" y="5478463"/>
            <a:ext cx="841375" cy="838200"/>
            <a:chOff x="2570163" y="5478463"/>
            <a:chExt cx="841375" cy="838200"/>
          </a:xfrm>
        </p:grpSpPr>
        <p:sp>
          <p:nvSpPr>
            <p:cNvPr id="185" name="AutoShape 119">
              <a:extLst>
                <a:ext uri="{FF2B5EF4-FFF2-40B4-BE49-F238E27FC236}">
                  <a16:creationId xmlns:a16="http://schemas.microsoft.com/office/drawing/2014/main" id="{C25753C9-7E9E-43A6-AE8F-070C64932B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70163" y="5478463"/>
              <a:ext cx="841375" cy="83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121">
              <a:extLst>
                <a:ext uri="{FF2B5EF4-FFF2-40B4-BE49-F238E27FC236}">
                  <a16:creationId xmlns:a16="http://schemas.microsoft.com/office/drawing/2014/main" id="{685FBA6B-F344-41A7-B05D-747B2319B4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163" y="5478463"/>
              <a:ext cx="841375" cy="83820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22">
              <a:extLst>
                <a:ext uri="{FF2B5EF4-FFF2-40B4-BE49-F238E27FC236}">
                  <a16:creationId xmlns:a16="http://schemas.microsoft.com/office/drawing/2014/main" id="{1358D49E-DBF9-40D6-812C-A041B03E69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1" y="5511801"/>
              <a:ext cx="774700" cy="773113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23">
              <a:extLst>
                <a:ext uri="{FF2B5EF4-FFF2-40B4-BE49-F238E27FC236}">
                  <a16:creationId xmlns:a16="http://schemas.microsoft.com/office/drawing/2014/main" id="{FC4374B0-6665-4D59-B180-94761D7A9C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4638" y="5713413"/>
              <a:ext cx="87313" cy="182563"/>
            </a:xfrm>
            <a:custGeom>
              <a:avLst/>
              <a:gdLst>
                <a:gd name="T0" fmla="*/ 13 w 168"/>
                <a:gd name="T1" fmla="*/ 187 h 347"/>
                <a:gd name="T2" fmla="*/ 25 w 168"/>
                <a:gd name="T3" fmla="*/ 186 h 347"/>
                <a:gd name="T4" fmla="*/ 11 w 168"/>
                <a:gd name="T5" fmla="*/ 235 h 347"/>
                <a:gd name="T6" fmla="*/ 50 w 168"/>
                <a:gd name="T7" fmla="*/ 235 h 347"/>
                <a:gd name="T8" fmla="*/ 50 w 168"/>
                <a:gd name="T9" fmla="*/ 329 h 347"/>
                <a:gd name="T10" fmla="*/ 67 w 168"/>
                <a:gd name="T11" fmla="*/ 347 h 347"/>
                <a:gd name="T12" fmla="*/ 84 w 168"/>
                <a:gd name="T13" fmla="*/ 336 h 347"/>
                <a:gd name="T14" fmla="*/ 100 w 168"/>
                <a:gd name="T15" fmla="*/ 347 h 347"/>
                <a:gd name="T16" fmla="*/ 118 w 168"/>
                <a:gd name="T17" fmla="*/ 329 h 347"/>
                <a:gd name="T18" fmla="*/ 118 w 168"/>
                <a:gd name="T19" fmla="*/ 235 h 347"/>
                <a:gd name="T20" fmla="*/ 158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4 w 168"/>
                <a:gd name="T39" fmla="*/ 31 h 347"/>
                <a:gd name="T40" fmla="*/ 68 w 168"/>
                <a:gd name="T41" fmla="*/ 56 h 347"/>
                <a:gd name="T42" fmla="*/ 51 w 168"/>
                <a:gd name="T43" fmla="*/ 61 h 347"/>
                <a:gd name="T44" fmla="*/ 20 w 168"/>
                <a:gd name="T45" fmla="*/ 116 h 347"/>
                <a:gd name="T46" fmla="*/ 2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3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2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3 w 168"/>
                <a:gd name="T67" fmla="*/ 72 h 347"/>
                <a:gd name="T68" fmla="*/ 113 w 168"/>
                <a:gd name="T69" fmla="*/ 72 h 347"/>
                <a:gd name="T70" fmla="*/ 138 w 168"/>
                <a:gd name="T71" fmla="*/ 122 h 347"/>
                <a:gd name="T72" fmla="*/ 155 w 168"/>
                <a:gd name="T73" fmla="*/ 169 h 347"/>
                <a:gd name="T74" fmla="*/ 151 w 168"/>
                <a:gd name="T75" fmla="*/ 177 h 347"/>
                <a:gd name="T76" fmla="*/ 150 w 168"/>
                <a:gd name="T77" fmla="*/ 177 h 347"/>
                <a:gd name="T78" fmla="*/ 144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4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0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8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7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7 w 168"/>
                <a:gd name="T113" fmla="*/ 104 h 347"/>
                <a:gd name="T114" fmla="*/ 23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2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5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50" y="339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9"/>
                    <a:pt x="118" y="329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8" y="68"/>
                    <a:pt x="121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4" y="14"/>
                    <a:pt x="54" y="31"/>
                  </a:cubicBezTo>
                  <a:cubicBezTo>
                    <a:pt x="54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9" y="68"/>
                    <a:pt x="20" y="116"/>
                  </a:cubicBezTo>
                  <a:cubicBezTo>
                    <a:pt x="11" y="141"/>
                    <a:pt x="2" y="166"/>
                    <a:pt x="2" y="167"/>
                  </a:cubicBezTo>
                  <a:cubicBezTo>
                    <a:pt x="0" y="175"/>
                    <a:pt x="4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3" y="20"/>
                    <a:pt x="103" y="31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2" y="170"/>
                  </a:move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3"/>
                    <a:pt x="122" y="79"/>
                    <a:pt x="138" y="122"/>
                  </a:cubicBezTo>
                  <a:cubicBezTo>
                    <a:pt x="147" y="146"/>
                    <a:pt x="155" y="169"/>
                    <a:pt x="155" y="169"/>
                  </a:cubicBezTo>
                  <a:cubicBezTo>
                    <a:pt x="156" y="173"/>
                    <a:pt x="155" y="176"/>
                    <a:pt x="151" y="177"/>
                  </a:cubicBezTo>
                  <a:cubicBezTo>
                    <a:pt x="151" y="177"/>
                    <a:pt x="150" y="177"/>
                    <a:pt x="150" y="177"/>
                  </a:cubicBezTo>
                  <a:cubicBezTo>
                    <a:pt x="147" y="177"/>
                    <a:pt x="145" y="176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8" y="230"/>
                    <a:pt x="78" y="230"/>
                    <a:pt x="78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3" y="176"/>
                    <a:pt x="20" y="178"/>
                    <a:pt x="18" y="178"/>
                  </a:cubicBezTo>
                  <a:cubicBezTo>
                    <a:pt x="17" y="178"/>
                    <a:pt x="17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24">
              <a:extLst>
                <a:ext uri="{FF2B5EF4-FFF2-40B4-BE49-F238E27FC236}">
                  <a16:creationId xmlns:a16="http://schemas.microsoft.com/office/drawing/2014/main" id="{8A5242A2-267F-4027-A864-A847A8140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3201" y="5705476"/>
              <a:ext cx="68263" cy="190500"/>
            </a:xfrm>
            <a:custGeom>
              <a:avLst/>
              <a:gdLst>
                <a:gd name="T0" fmla="*/ 16 w 130"/>
                <a:gd name="T1" fmla="*/ 212 h 363"/>
                <a:gd name="T2" fmla="*/ 25 w 130"/>
                <a:gd name="T3" fmla="*/ 210 h 363"/>
                <a:gd name="T4" fmla="*/ 24 w 130"/>
                <a:gd name="T5" fmla="*/ 340 h 363"/>
                <a:gd name="T6" fmla="*/ 45 w 130"/>
                <a:gd name="T7" fmla="*/ 363 h 363"/>
                <a:gd name="T8" fmla="*/ 65 w 130"/>
                <a:gd name="T9" fmla="*/ 348 h 363"/>
                <a:gd name="T10" fmla="*/ 84 w 130"/>
                <a:gd name="T11" fmla="*/ 363 h 363"/>
                <a:gd name="T12" fmla="*/ 105 w 130"/>
                <a:gd name="T13" fmla="*/ 341 h 363"/>
                <a:gd name="T14" fmla="*/ 105 w 130"/>
                <a:gd name="T15" fmla="*/ 210 h 363"/>
                <a:gd name="T16" fmla="*/ 113 w 130"/>
                <a:gd name="T17" fmla="*/ 212 h 363"/>
                <a:gd name="T18" fmla="*/ 130 w 130"/>
                <a:gd name="T19" fmla="*/ 195 h 363"/>
                <a:gd name="T20" fmla="*/ 127 w 130"/>
                <a:gd name="T21" fmla="*/ 101 h 363"/>
                <a:gd name="T22" fmla="*/ 127 w 130"/>
                <a:gd name="T23" fmla="*/ 101 h 363"/>
                <a:gd name="T24" fmla="*/ 81 w 130"/>
                <a:gd name="T25" fmla="*/ 58 h 363"/>
                <a:gd name="T26" fmla="*/ 96 w 130"/>
                <a:gd name="T27" fmla="*/ 31 h 363"/>
                <a:gd name="T28" fmla="*/ 65 w 130"/>
                <a:gd name="T29" fmla="*/ 0 h 363"/>
                <a:gd name="T30" fmla="*/ 34 w 130"/>
                <a:gd name="T31" fmla="*/ 31 h 363"/>
                <a:gd name="T32" fmla="*/ 49 w 130"/>
                <a:gd name="T33" fmla="*/ 58 h 363"/>
                <a:gd name="T34" fmla="*/ 4 w 130"/>
                <a:gd name="T35" fmla="*/ 100 h 363"/>
                <a:gd name="T36" fmla="*/ 0 w 130"/>
                <a:gd name="T37" fmla="*/ 190 h 363"/>
                <a:gd name="T38" fmla="*/ 0 w 130"/>
                <a:gd name="T39" fmla="*/ 195 h 363"/>
                <a:gd name="T40" fmla="*/ 16 w 130"/>
                <a:gd name="T41" fmla="*/ 212 h 363"/>
                <a:gd name="T42" fmla="*/ 44 w 130"/>
                <a:gd name="T43" fmla="*/ 31 h 363"/>
                <a:gd name="T44" fmla="*/ 65 w 130"/>
                <a:gd name="T45" fmla="*/ 10 h 363"/>
                <a:gd name="T46" fmla="*/ 86 w 130"/>
                <a:gd name="T47" fmla="*/ 31 h 363"/>
                <a:gd name="T48" fmla="*/ 65 w 130"/>
                <a:gd name="T49" fmla="*/ 52 h 363"/>
                <a:gd name="T50" fmla="*/ 44 w 130"/>
                <a:gd name="T51" fmla="*/ 31 h 363"/>
                <a:gd name="T52" fmla="*/ 10 w 130"/>
                <a:gd name="T53" fmla="*/ 190 h 363"/>
                <a:gd name="T54" fmla="*/ 14 w 130"/>
                <a:gd name="T55" fmla="*/ 100 h 363"/>
                <a:gd name="T56" fmla="*/ 14 w 130"/>
                <a:gd name="T57" fmla="*/ 100 h 363"/>
                <a:gd name="T58" fmla="*/ 66 w 130"/>
                <a:gd name="T59" fmla="*/ 67 h 363"/>
                <a:gd name="T60" fmla="*/ 116 w 130"/>
                <a:gd name="T61" fmla="*/ 102 h 363"/>
                <a:gd name="T62" fmla="*/ 120 w 130"/>
                <a:gd name="T63" fmla="*/ 195 h 363"/>
                <a:gd name="T64" fmla="*/ 113 w 130"/>
                <a:gd name="T65" fmla="*/ 202 h 363"/>
                <a:gd name="T66" fmla="*/ 106 w 130"/>
                <a:gd name="T67" fmla="*/ 195 h 363"/>
                <a:gd name="T68" fmla="*/ 103 w 130"/>
                <a:gd name="T69" fmla="*/ 120 h 363"/>
                <a:gd name="T70" fmla="*/ 93 w 130"/>
                <a:gd name="T71" fmla="*/ 120 h 363"/>
                <a:gd name="T72" fmla="*/ 95 w 130"/>
                <a:gd name="T73" fmla="*/ 191 h 363"/>
                <a:gd name="T74" fmla="*/ 95 w 130"/>
                <a:gd name="T75" fmla="*/ 341 h 363"/>
                <a:gd name="T76" fmla="*/ 84 w 130"/>
                <a:gd name="T77" fmla="*/ 352 h 363"/>
                <a:gd name="T78" fmla="*/ 74 w 130"/>
                <a:gd name="T79" fmla="*/ 341 h 363"/>
                <a:gd name="T80" fmla="*/ 70 w 130"/>
                <a:gd name="T81" fmla="*/ 223 h 363"/>
                <a:gd name="T82" fmla="*/ 59 w 130"/>
                <a:gd name="T83" fmla="*/ 223 h 363"/>
                <a:gd name="T84" fmla="*/ 56 w 130"/>
                <a:gd name="T85" fmla="*/ 341 h 363"/>
                <a:gd name="T86" fmla="*/ 56 w 130"/>
                <a:gd name="T87" fmla="*/ 341 h 363"/>
                <a:gd name="T88" fmla="*/ 45 w 130"/>
                <a:gd name="T89" fmla="*/ 352 h 363"/>
                <a:gd name="T90" fmla="*/ 34 w 130"/>
                <a:gd name="T91" fmla="*/ 340 h 363"/>
                <a:gd name="T92" fmla="*/ 36 w 130"/>
                <a:gd name="T93" fmla="*/ 120 h 363"/>
                <a:gd name="T94" fmla="*/ 26 w 130"/>
                <a:gd name="T95" fmla="*/ 120 h 363"/>
                <a:gd name="T96" fmla="*/ 24 w 130"/>
                <a:gd name="T97" fmla="*/ 195 h 363"/>
                <a:gd name="T98" fmla="*/ 16 w 130"/>
                <a:gd name="T99" fmla="*/ 202 h 363"/>
                <a:gd name="T100" fmla="*/ 10 w 130"/>
                <a:gd name="T101" fmla="*/ 195 h 363"/>
                <a:gd name="T102" fmla="*/ 10 w 130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" h="363">
                  <a:moveTo>
                    <a:pt x="16" y="212"/>
                  </a:moveTo>
                  <a:cubicBezTo>
                    <a:pt x="19" y="212"/>
                    <a:pt x="22" y="211"/>
                    <a:pt x="25" y="210"/>
                  </a:cubicBezTo>
                  <a:cubicBezTo>
                    <a:pt x="24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5" y="363"/>
                    <a:pt x="84" y="363"/>
                  </a:cubicBezTo>
                  <a:cubicBezTo>
                    <a:pt x="96" y="363"/>
                    <a:pt x="105" y="353"/>
                    <a:pt x="105" y="341"/>
                  </a:cubicBezTo>
                  <a:cubicBezTo>
                    <a:pt x="105" y="210"/>
                    <a:pt x="105" y="210"/>
                    <a:pt x="105" y="210"/>
                  </a:cubicBezTo>
                  <a:cubicBezTo>
                    <a:pt x="108" y="211"/>
                    <a:pt x="110" y="212"/>
                    <a:pt x="113" y="212"/>
                  </a:cubicBezTo>
                  <a:cubicBezTo>
                    <a:pt x="123" y="212"/>
                    <a:pt x="130" y="204"/>
                    <a:pt x="130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6" y="42"/>
                    <a:pt x="96" y="31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0" y="52"/>
                    <a:pt x="49" y="58"/>
                  </a:cubicBezTo>
                  <a:cubicBezTo>
                    <a:pt x="13" y="64"/>
                    <a:pt x="4" y="90"/>
                    <a:pt x="4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7" y="212"/>
                    <a:pt x="16" y="212"/>
                  </a:cubicBezTo>
                  <a:close/>
                  <a:moveTo>
                    <a:pt x="44" y="31"/>
                  </a:moveTo>
                  <a:cubicBezTo>
                    <a:pt x="44" y="19"/>
                    <a:pt x="54" y="10"/>
                    <a:pt x="65" y="10"/>
                  </a:cubicBezTo>
                  <a:cubicBezTo>
                    <a:pt x="77" y="10"/>
                    <a:pt x="86" y="19"/>
                    <a:pt x="86" y="31"/>
                  </a:cubicBezTo>
                  <a:cubicBezTo>
                    <a:pt x="86" y="42"/>
                    <a:pt x="77" y="52"/>
                    <a:pt x="65" y="52"/>
                  </a:cubicBezTo>
                  <a:cubicBezTo>
                    <a:pt x="54" y="52"/>
                    <a:pt x="44" y="42"/>
                    <a:pt x="44" y="31"/>
                  </a:cubicBezTo>
                  <a:close/>
                  <a:moveTo>
                    <a:pt x="10" y="190"/>
                  </a:move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6" y="67"/>
                    <a:pt x="66" y="67"/>
                  </a:cubicBezTo>
                  <a:cubicBezTo>
                    <a:pt x="110" y="67"/>
                    <a:pt x="116" y="99"/>
                    <a:pt x="116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09" y="202"/>
                    <a:pt x="106" y="199"/>
                    <a:pt x="106" y="195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341"/>
                    <a:pt x="95" y="341"/>
                    <a:pt x="95" y="341"/>
                  </a:cubicBezTo>
                  <a:cubicBezTo>
                    <a:pt x="95" y="347"/>
                    <a:pt x="90" y="352"/>
                    <a:pt x="84" y="352"/>
                  </a:cubicBezTo>
                  <a:cubicBezTo>
                    <a:pt x="79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4" y="347"/>
                    <a:pt x="34" y="340"/>
                  </a:cubicBezTo>
                  <a:cubicBezTo>
                    <a:pt x="34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4" y="200"/>
                    <a:pt x="19" y="202"/>
                    <a:pt x="16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25">
              <a:extLst>
                <a:ext uri="{FF2B5EF4-FFF2-40B4-BE49-F238E27FC236}">
                  <a16:creationId xmlns:a16="http://schemas.microsoft.com/office/drawing/2014/main" id="{E629D99A-CA8A-4033-8FC3-85B701F35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4501" y="5713413"/>
              <a:ext cx="88900" cy="182563"/>
            </a:xfrm>
            <a:custGeom>
              <a:avLst/>
              <a:gdLst>
                <a:gd name="T0" fmla="*/ 13 w 168"/>
                <a:gd name="T1" fmla="*/ 187 h 347"/>
                <a:gd name="T2" fmla="*/ 25 w 168"/>
                <a:gd name="T3" fmla="*/ 186 h 347"/>
                <a:gd name="T4" fmla="*/ 12 w 168"/>
                <a:gd name="T5" fmla="*/ 235 h 347"/>
                <a:gd name="T6" fmla="*/ 50 w 168"/>
                <a:gd name="T7" fmla="*/ 235 h 347"/>
                <a:gd name="T8" fmla="*/ 50 w 168"/>
                <a:gd name="T9" fmla="*/ 329 h 347"/>
                <a:gd name="T10" fmla="*/ 68 w 168"/>
                <a:gd name="T11" fmla="*/ 347 h 347"/>
                <a:gd name="T12" fmla="*/ 84 w 168"/>
                <a:gd name="T13" fmla="*/ 336 h 347"/>
                <a:gd name="T14" fmla="*/ 101 w 168"/>
                <a:gd name="T15" fmla="*/ 347 h 347"/>
                <a:gd name="T16" fmla="*/ 119 w 168"/>
                <a:gd name="T17" fmla="*/ 329 h 347"/>
                <a:gd name="T18" fmla="*/ 119 w 168"/>
                <a:gd name="T19" fmla="*/ 235 h 347"/>
                <a:gd name="T20" fmla="*/ 159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4 w 168"/>
                <a:gd name="T39" fmla="*/ 31 h 347"/>
                <a:gd name="T40" fmla="*/ 69 w 168"/>
                <a:gd name="T41" fmla="*/ 56 h 347"/>
                <a:gd name="T42" fmla="*/ 52 w 168"/>
                <a:gd name="T43" fmla="*/ 61 h 347"/>
                <a:gd name="T44" fmla="*/ 21 w 168"/>
                <a:gd name="T45" fmla="*/ 116 h 347"/>
                <a:gd name="T46" fmla="*/ 3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4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3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4 w 168"/>
                <a:gd name="T67" fmla="*/ 72 h 347"/>
                <a:gd name="T68" fmla="*/ 114 w 168"/>
                <a:gd name="T69" fmla="*/ 72 h 347"/>
                <a:gd name="T70" fmla="*/ 139 w 168"/>
                <a:gd name="T71" fmla="*/ 122 h 347"/>
                <a:gd name="T72" fmla="*/ 156 w 168"/>
                <a:gd name="T73" fmla="*/ 169 h 347"/>
                <a:gd name="T74" fmla="*/ 152 w 168"/>
                <a:gd name="T75" fmla="*/ 177 h 347"/>
                <a:gd name="T76" fmla="*/ 150 w 168"/>
                <a:gd name="T77" fmla="*/ 177 h 347"/>
                <a:gd name="T78" fmla="*/ 145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5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1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9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8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8 w 168"/>
                <a:gd name="T113" fmla="*/ 104 h 347"/>
                <a:gd name="T114" fmla="*/ 24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3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50" y="339"/>
                    <a:pt x="58" y="347"/>
                    <a:pt x="68" y="347"/>
                  </a:cubicBezTo>
                  <a:cubicBezTo>
                    <a:pt x="75" y="347"/>
                    <a:pt x="82" y="342"/>
                    <a:pt x="84" y="336"/>
                  </a:cubicBezTo>
                  <a:cubicBezTo>
                    <a:pt x="87" y="342"/>
                    <a:pt x="93" y="347"/>
                    <a:pt x="101" y="347"/>
                  </a:cubicBezTo>
                  <a:cubicBezTo>
                    <a:pt x="111" y="347"/>
                    <a:pt x="119" y="339"/>
                    <a:pt x="119" y="329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9" y="68"/>
                    <a:pt x="121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7" y="0"/>
                    <a:pt x="54" y="14"/>
                    <a:pt x="54" y="31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6"/>
                  </a:cubicBezTo>
                  <a:cubicBezTo>
                    <a:pt x="11" y="141"/>
                    <a:pt x="3" y="166"/>
                    <a:pt x="3" y="167"/>
                  </a:cubicBezTo>
                  <a:cubicBezTo>
                    <a:pt x="0" y="175"/>
                    <a:pt x="5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4" y="20"/>
                    <a:pt x="104" y="31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3" y="170"/>
                  </a:move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3"/>
                    <a:pt x="122" y="79"/>
                    <a:pt x="139" y="122"/>
                  </a:cubicBezTo>
                  <a:cubicBezTo>
                    <a:pt x="148" y="146"/>
                    <a:pt x="155" y="169"/>
                    <a:pt x="156" y="169"/>
                  </a:cubicBezTo>
                  <a:cubicBezTo>
                    <a:pt x="157" y="173"/>
                    <a:pt x="155" y="176"/>
                    <a:pt x="152" y="177"/>
                  </a:cubicBez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6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8"/>
                    <a:pt x="18" y="178"/>
                  </a:cubicBezTo>
                  <a:cubicBezTo>
                    <a:pt x="18" y="178"/>
                    <a:pt x="17" y="177"/>
                    <a:pt x="16" y="177"/>
                  </a:cubicBezTo>
                  <a:cubicBezTo>
                    <a:pt x="13" y="176"/>
                    <a:pt x="12" y="173"/>
                    <a:pt x="13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26">
              <a:extLst>
                <a:ext uri="{FF2B5EF4-FFF2-40B4-BE49-F238E27FC236}">
                  <a16:creationId xmlns:a16="http://schemas.microsoft.com/office/drawing/2014/main" id="{A36C51AE-EBA0-40EB-8ABA-B520AB3158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063" y="5705476"/>
              <a:ext cx="68263" cy="190500"/>
            </a:xfrm>
            <a:custGeom>
              <a:avLst/>
              <a:gdLst>
                <a:gd name="T0" fmla="*/ 17 w 131"/>
                <a:gd name="T1" fmla="*/ 212 h 363"/>
                <a:gd name="T2" fmla="*/ 25 w 131"/>
                <a:gd name="T3" fmla="*/ 210 h 363"/>
                <a:gd name="T4" fmla="*/ 24 w 131"/>
                <a:gd name="T5" fmla="*/ 340 h 363"/>
                <a:gd name="T6" fmla="*/ 45 w 131"/>
                <a:gd name="T7" fmla="*/ 363 h 363"/>
                <a:gd name="T8" fmla="*/ 65 w 131"/>
                <a:gd name="T9" fmla="*/ 348 h 363"/>
                <a:gd name="T10" fmla="*/ 85 w 131"/>
                <a:gd name="T11" fmla="*/ 363 h 363"/>
                <a:gd name="T12" fmla="*/ 106 w 131"/>
                <a:gd name="T13" fmla="*/ 341 h 363"/>
                <a:gd name="T14" fmla="*/ 106 w 131"/>
                <a:gd name="T15" fmla="*/ 210 h 363"/>
                <a:gd name="T16" fmla="*/ 113 w 131"/>
                <a:gd name="T17" fmla="*/ 212 h 363"/>
                <a:gd name="T18" fmla="*/ 131 w 131"/>
                <a:gd name="T19" fmla="*/ 195 h 363"/>
                <a:gd name="T20" fmla="*/ 127 w 131"/>
                <a:gd name="T21" fmla="*/ 101 h 363"/>
                <a:gd name="T22" fmla="*/ 127 w 131"/>
                <a:gd name="T23" fmla="*/ 101 h 363"/>
                <a:gd name="T24" fmla="*/ 81 w 131"/>
                <a:gd name="T25" fmla="*/ 58 h 363"/>
                <a:gd name="T26" fmla="*/ 97 w 131"/>
                <a:gd name="T27" fmla="*/ 31 h 363"/>
                <a:gd name="T28" fmla="*/ 65 w 131"/>
                <a:gd name="T29" fmla="*/ 0 h 363"/>
                <a:gd name="T30" fmla="*/ 34 w 131"/>
                <a:gd name="T31" fmla="*/ 31 h 363"/>
                <a:gd name="T32" fmla="*/ 50 w 131"/>
                <a:gd name="T33" fmla="*/ 58 h 363"/>
                <a:gd name="T34" fmla="*/ 5 w 131"/>
                <a:gd name="T35" fmla="*/ 100 h 363"/>
                <a:gd name="T36" fmla="*/ 0 w 131"/>
                <a:gd name="T37" fmla="*/ 190 h 363"/>
                <a:gd name="T38" fmla="*/ 0 w 131"/>
                <a:gd name="T39" fmla="*/ 195 h 363"/>
                <a:gd name="T40" fmla="*/ 17 w 131"/>
                <a:gd name="T41" fmla="*/ 212 h 363"/>
                <a:gd name="T42" fmla="*/ 45 w 131"/>
                <a:gd name="T43" fmla="*/ 31 h 363"/>
                <a:gd name="T44" fmla="*/ 65 w 131"/>
                <a:gd name="T45" fmla="*/ 10 h 363"/>
                <a:gd name="T46" fmla="*/ 86 w 131"/>
                <a:gd name="T47" fmla="*/ 31 h 363"/>
                <a:gd name="T48" fmla="*/ 65 w 131"/>
                <a:gd name="T49" fmla="*/ 52 h 363"/>
                <a:gd name="T50" fmla="*/ 45 w 131"/>
                <a:gd name="T51" fmla="*/ 31 h 363"/>
                <a:gd name="T52" fmla="*/ 10 w 131"/>
                <a:gd name="T53" fmla="*/ 190 h 363"/>
                <a:gd name="T54" fmla="*/ 15 w 131"/>
                <a:gd name="T55" fmla="*/ 100 h 363"/>
                <a:gd name="T56" fmla="*/ 15 w 131"/>
                <a:gd name="T57" fmla="*/ 100 h 363"/>
                <a:gd name="T58" fmla="*/ 66 w 131"/>
                <a:gd name="T59" fmla="*/ 67 h 363"/>
                <a:gd name="T60" fmla="*/ 117 w 131"/>
                <a:gd name="T61" fmla="*/ 102 h 363"/>
                <a:gd name="T62" fmla="*/ 120 w 131"/>
                <a:gd name="T63" fmla="*/ 195 h 363"/>
                <a:gd name="T64" fmla="*/ 113 w 131"/>
                <a:gd name="T65" fmla="*/ 202 h 363"/>
                <a:gd name="T66" fmla="*/ 106 w 131"/>
                <a:gd name="T67" fmla="*/ 195 h 363"/>
                <a:gd name="T68" fmla="*/ 104 w 131"/>
                <a:gd name="T69" fmla="*/ 120 h 363"/>
                <a:gd name="T70" fmla="*/ 93 w 131"/>
                <a:gd name="T71" fmla="*/ 120 h 363"/>
                <a:gd name="T72" fmla="*/ 96 w 131"/>
                <a:gd name="T73" fmla="*/ 191 h 363"/>
                <a:gd name="T74" fmla="*/ 96 w 131"/>
                <a:gd name="T75" fmla="*/ 341 h 363"/>
                <a:gd name="T76" fmla="*/ 85 w 131"/>
                <a:gd name="T77" fmla="*/ 352 h 363"/>
                <a:gd name="T78" fmla="*/ 74 w 131"/>
                <a:gd name="T79" fmla="*/ 341 h 363"/>
                <a:gd name="T80" fmla="*/ 70 w 131"/>
                <a:gd name="T81" fmla="*/ 223 h 363"/>
                <a:gd name="T82" fmla="*/ 60 w 131"/>
                <a:gd name="T83" fmla="*/ 223 h 363"/>
                <a:gd name="T84" fmla="*/ 56 w 131"/>
                <a:gd name="T85" fmla="*/ 341 h 363"/>
                <a:gd name="T86" fmla="*/ 56 w 131"/>
                <a:gd name="T87" fmla="*/ 341 h 363"/>
                <a:gd name="T88" fmla="*/ 45 w 131"/>
                <a:gd name="T89" fmla="*/ 352 h 363"/>
                <a:gd name="T90" fmla="*/ 35 w 131"/>
                <a:gd name="T91" fmla="*/ 340 h 363"/>
                <a:gd name="T92" fmla="*/ 36 w 131"/>
                <a:gd name="T93" fmla="*/ 120 h 363"/>
                <a:gd name="T94" fmla="*/ 26 w 131"/>
                <a:gd name="T95" fmla="*/ 120 h 363"/>
                <a:gd name="T96" fmla="*/ 24 w 131"/>
                <a:gd name="T97" fmla="*/ 195 h 363"/>
                <a:gd name="T98" fmla="*/ 17 w 131"/>
                <a:gd name="T99" fmla="*/ 202 h 363"/>
                <a:gd name="T100" fmla="*/ 10 w 131"/>
                <a:gd name="T101" fmla="*/ 195 h 363"/>
                <a:gd name="T102" fmla="*/ 10 w 131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1" h="363">
                  <a:moveTo>
                    <a:pt x="17" y="212"/>
                  </a:moveTo>
                  <a:cubicBezTo>
                    <a:pt x="20" y="212"/>
                    <a:pt x="23" y="211"/>
                    <a:pt x="25" y="210"/>
                  </a:cubicBezTo>
                  <a:cubicBezTo>
                    <a:pt x="25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6" y="363"/>
                    <a:pt x="85" y="363"/>
                  </a:cubicBezTo>
                  <a:cubicBezTo>
                    <a:pt x="96" y="363"/>
                    <a:pt x="106" y="353"/>
                    <a:pt x="106" y="341"/>
                  </a:cubicBezTo>
                  <a:cubicBezTo>
                    <a:pt x="106" y="210"/>
                    <a:pt x="106" y="210"/>
                    <a:pt x="106" y="210"/>
                  </a:cubicBezTo>
                  <a:cubicBezTo>
                    <a:pt x="108" y="211"/>
                    <a:pt x="111" y="212"/>
                    <a:pt x="113" y="212"/>
                  </a:cubicBezTo>
                  <a:cubicBezTo>
                    <a:pt x="123" y="212"/>
                    <a:pt x="131" y="204"/>
                    <a:pt x="131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7" y="42"/>
                    <a:pt x="97" y="31"/>
                  </a:cubicBezTo>
                  <a:cubicBezTo>
                    <a:pt x="97" y="14"/>
                    <a:pt x="83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1" y="52"/>
                    <a:pt x="50" y="58"/>
                  </a:cubicBezTo>
                  <a:cubicBezTo>
                    <a:pt x="14" y="64"/>
                    <a:pt x="5" y="90"/>
                    <a:pt x="5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8" y="212"/>
                    <a:pt x="17" y="212"/>
                  </a:cubicBezTo>
                  <a:close/>
                  <a:moveTo>
                    <a:pt x="45" y="31"/>
                  </a:moveTo>
                  <a:cubicBezTo>
                    <a:pt x="45" y="19"/>
                    <a:pt x="54" y="10"/>
                    <a:pt x="65" y="10"/>
                  </a:cubicBezTo>
                  <a:cubicBezTo>
                    <a:pt x="77" y="10"/>
                    <a:pt x="86" y="19"/>
                    <a:pt x="86" y="31"/>
                  </a:cubicBezTo>
                  <a:cubicBezTo>
                    <a:pt x="86" y="42"/>
                    <a:pt x="77" y="52"/>
                    <a:pt x="65" y="52"/>
                  </a:cubicBezTo>
                  <a:cubicBezTo>
                    <a:pt x="54" y="52"/>
                    <a:pt x="45" y="42"/>
                    <a:pt x="45" y="31"/>
                  </a:cubicBezTo>
                  <a:close/>
                  <a:moveTo>
                    <a:pt x="10" y="19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7" y="67"/>
                    <a:pt x="66" y="67"/>
                  </a:cubicBezTo>
                  <a:cubicBezTo>
                    <a:pt x="111" y="67"/>
                    <a:pt x="116" y="99"/>
                    <a:pt x="117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10" y="202"/>
                    <a:pt x="106" y="199"/>
                    <a:pt x="106" y="195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96" y="341"/>
                    <a:pt x="96" y="341"/>
                    <a:pt x="96" y="341"/>
                  </a:cubicBezTo>
                  <a:cubicBezTo>
                    <a:pt x="96" y="347"/>
                    <a:pt x="91" y="352"/>
                    <a:pt x="85" y="352"/>
                  </a:cubicBezTo>
                  <a:cubicBezTo>
                    <a:pt x="79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5" y="347"/>
                    <a:pt x="35" y="340"/>
                  </a:cubicBezTo>
                  <a:cubicBezTo>
                    <a:pt x="35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4" y="200"/>
                    <a:pt x="19" y="202"/>
                    <a:pt x="17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4" name="Freeform 127">
              <a:extLst>
                <a:ext uri="{FF2B5EF4-FFF2-40B4-BE49-F238E27FC236}">
                  <a16:creationId xmlns:a16="http://schemas.microsoft.com/office/drawing/2014/main" id="{DDF91F61-72AB-40A2-B0AE-1ED19108B7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188" y="5713413"/>
              <a:ext cx="87313" cy="182563"/>
            </a:xfrm>
            <a:custGeom>
              <a:avLst/>
              <a:gdLst>
                <a:gd name="T0" fmla="*/ 13 w 168"/>
                <a:gd name="T1" fmla="*/ 187 h 347"/>
                <a:gd name="T2" fmla="*/ 24 w 168"/>
                <a:gd name="T3" fmla="*/ 186 h 347"/>
                <a:gd name="T4" fmla="*/ 11 w 168"/>
                <a:gd name="T5" fmla="*/ 235 h 347"/>
                <a:gd name="T6" fmla="*/ 49 w 168"/>
                <a:gd name="T7" fmla="*/ 235 h 347"/>
                <a:gd name="T8" fmla="*/ 49 w 168"/>
                <a:gd name="T9" fmla="*/ 329 h 347"/>
                <a:gd name="T10" fmla="*/ 67 w 168"/>
                <a:gd name="T11" fmla="*/ 347 h 347"/>
                <a:gd name="T12" fmla="*/ 84 w 168"/>
                <a:gd name="T13" fmla="*/ 336 h 347"/>
                <a:gd name="T14" fmla="*/ 100 w 168"/>
                <a:gd name="T15" fmla="*/ 347 h 347"/>
                <a:gd name="T16" fmla="*/ 118 w 168"/>
                <a:gd name="T17" fmla="*/ 329 h 347"/>
                <a:gd name="T18" fmla="*/ 118 w 168"/>
                <a:gd name="T19" fmla="*/ 235 h 347"/>
                <a:gd name="T20" fmla="*/ 158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3 w 168"/>
                <a:gd name="T39" fmla="*/ 31 h 347"/>
                <a:gd name="T40" fmla="*/ 68 w 168"/>
                <a:gd name="T41" fmla="*/ 56 h 347"/>
                <a:gd name="T42" fmla="*/ 51 w 168"/>
                <a:gd name="T43" fmla="*/ 61 h 347"/>
                <a:gd name="T44" fmla="*/ 20 w 168"/>
                <a:gd name="T45" fmla="*/ 116 h 347"/>
                <a:gd name="T46" fmla="*/ 2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3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2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3 w 168"/>
                <a:gd name="T67" fmla="*/ 72 h 347"/>
                <a:gd name="T68" fmla="*/ 113 w 168"/>
                <a:gd name="T69" fmla="*/ 72 h 347"/>
                <a:gd name="T70" fmla="*/ 138 w 168"/>
                <a:gd name="T71" fmla="*/ 122 h 347"/>
                <a:gd name="T72" fmla="*/ 155 w 168"/>
                <a:gd name="T73" fmla="*/ 169 h 347"/>
                <a:gd name="T74" fmla="*/ 151 w 168"/>
                <a:gd name="T75" fmla="*/ 177 h 347"/>
                <a:gd name="T76" fmla="*/ 149 w 168"/>
                <a:gd name="T77" fmla="*/ 177 h 347"/>
                <a:gd name="T78" fmla="*/ 144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4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0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8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7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7 w 168"/>
                <a:gd name="T113" fmla="*/ 104 h 347"/>
                <a:gd name="T114" fmla="*/ 23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2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4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49" y="235"/>
                    <a:pt x="49" y="235"/>
                    <a:pt x="49" y="235"/>
                  </a:cubicBezTo>
                  <a:cubicBezTo>
                    <a:pt x="49" y="329"/>
                    <a:pt x="49" y="329"/>
                    <a:pt x="49" y="329"/>
                  </a:cubicBezTo>
                  <a:cubicBezTo>
                    <a:pt x="49" y="339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9"/>
                    <a:pt x="118" y="329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8" y="68"/>
                    <a:pt x="120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3" y="14"/>
                    <a:pt x="53" y="31"/>
                  </a:cubicBezTo>
                  <a:cubicBezTo>
                    <a:pt x="53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8" y="68"/>
                    <a:pt x="20" y="116"/>
                  </a:cubicBezTo>
                  <a:cubicBezTo>
                    <a:pt x="11" y="141"/>
                    <a:pt x="2" y="166"/>
                    <a:pt x="2" y="167"/>
                  </a:cubicBezTo>
                  <a:cubicBezTo>
                    <a:pt x="0" y="175"/>
                    <a:pt x="4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3" y="20"/>
                    <a:pt x="103" y="31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2" y="170"/>
                  </a:move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3"/>
                    <a:pt x="122" y="79"/>
                    <a:pt x="138" y="122"/>
                  </a:cubicBezTo>
                  <a:cubicBezTo>
                    <a:pt x="147" y="146"/>
                    <a:pt x="155" y="169"/>
                    <a:pt x="155" y="169"/>
                  </a:cubicBezTo>
                  <a:cubicBezTo>
                    <a:pt x="156" y="173"/>
                    <a:pt x="154" y="176"/>
                    <a:pt x="151" y="177"/>
                  </a:cubicBezTo>
                  <a:cubicBezTo>
                    <a:pt x="151" y="177"/>
                    <a:pt x="150" y="177"/>
                    <a:pt x="149" y="177"/>
                  </a:cubicBezTo>
                  <a:cubicBezTo>
                    <a:pt x="147" y="177"/>
                    <a:pt x="145" y="176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8" y="230"/>
                    <a:pt x="78" y="230"/>
                    <a:pt x="78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2" y="176"/>
                    <a:pt x="20" y="178"/>
                    <a:pt x="18" y="178"/>
                  </a:cubicBezTo>
                  <a:cubicBezTo>
                    <a:pt x="17" y="178"/>
                    <a:pt x="16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5" name="Freeform 128">
              <a:extLst>
                <a:ext uri="{FF2B5EF4-FFF2-40B4-BE49-F238E27FC236}">
                  <a16:creationId xmlns:a16="http://schemas.microsoft.com/office/drawing/2014/main" id="{230BB4ED-6587-4E87-9343-508928CBD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9751" y="5705476"/>
              <a:ext cx="68263" cy="190500"/>
            </a:xfrm>
            <a:custGeom>
              <a:avLst/>
              <a:gdLst>
                <a:gd name="T0" fmla="*/ 16 w 130"/>
                <a:gd name="T1" fmla="*/ 212 h 363"/>
                <a:gd name="T2" fmla="*/ 25 w 130"/>
                <a:gd name="T3" fmla="*/ 210 h 363"/>
                <a:gd name="T4" fmla="*/ 24 w 130"/>
                <a:gd name="T5" fmla="*/ 340 h 363"/>
                <a:gd name="T6" fmla="*/ 45 w 130"/>
                <a:gd name="T7" fmla="*/ 363 h 363"/>
                <a:gd name="T8" fmla="*/ 65 w 130"/>
                <a:gd name="T9" fmla="*/ 348 h 363"/>
                <a:gd name="T10" fmla="*/ 84 w 130"/>
                <a:gd name="T11" fmla="*/ 363 h 363"/>
                <a:gd name="T12" fmla="*/ 105 w 130"/>
                <a:gd name="T13" fmla="*/ 341 h 363"/>
                <a:gd name="T14" fmla="*/ 105 w 130"/>
                <a:gd name="T15" fmla="*/ 210 h 363"/>
                <a:gd name="T16" fmla="*/ 113 w 130"/>
                <a:gd name="T17" fmla="*/ 212 h 363"/>
                <a:gd name="T18" fmla="*/ 130 w 130"/>
                <a:gd name="T19" fmla="*/ 195 h 363"/>
                <a:gd name="T20" fmla="*/ 127 w 130"/>
                <a:gd name="T21" fmla="*/ 101 h 363"/>
                <a:gd name="T22" fmla="*/ 127 w 130"/>
                <a:gd name="T23" fmla="*/ 101 h 363"/>
                <a:gd name="T24" fmla="*/ 81 w 130"/>
                <a:gd name="T25" fmla="*/ 58 h 363"/>
                <a:gd name="T26" fmla="*/ 96 w 130"/>
                <a:gd name="T27" fmla="*/ 31 h 363"/>
                <a:gd name="T28" fmla="*/ 65 w 130"/>
                <a:gd name="T29" fmla="*/ 0 h 363"/>
                <a:gd name="T30" fmla="*/ 34 w 130"/>
                <a:gd name="T31" fmla="*/ 31 h 363"/>
                <a:gd name="T32" fmla="*/ 49 w 130"/>
                <a:gd name="T33" fmla="*/ 58 h 363"/>
                <a:gd name="T34" fmla="*/ 4 w 130"/>
                <a:gd name="T35" fmla="*/ 100 h 363"/>
                <a:gd name="T36" fmla="*/ 0 w 130"/>
                <a:gd name="T37" fmla="*/ 190 h 363"/>
                <a:gd name="T38" fmla="*/ 0 w 130"/>
                <a:gd name="T39" fmla="*/ 195 h 363"/>
                <a:gd name="T40" fmla="*/ 16 w 130"/>
                <a:gd name="T41" fmla="*/ 212 h 363"/>
                <a:gd name="T42" fmla="*/ 44 w 130"/>
                <a:gd name="T43" fmla="*/ 31 h 363"/>
                <a:gd name="T44" fmla="*/ 65 w 130"/>
                <a:gd name="T45" fmla="*/ 10 h 363"/>
                <a:gd name="T46" fmla="*/ 86 w 130"/>
                <a:gd name="T47" fmla="*/ 31 h 363"/>
                <a:gd name="T48" fmla="*/ 65 w 130"/>
                <a:gd name="T49" fmla="*/ 52 h 363"/>
                <a:gd name="T50" fmla="*/ 44 w 130"/>
                <a:gd name="T51" fmla="*/ 31 h 363"/>
                <a:gd name="T52" fmla="*/ 10 w 130"/>
                <a:gd name="T53" fmla="*/ 190 h 363"/>
                <a:gd name="T54" fmla="*/ 14 w 130"/>
                <a:gd name="T55" fmla="*/ 100 h 363"/>
                <a:gd name="T56" fmla="*/ 14 w 130"/>
                <a:gd name="T57" fmla="*/ 100 h 363"/>
                <a:gd name="T58" fmla="*/ 66 w 130"/>
                <a:gd name="T59" fmla="*/ 67 h 363"/>
                <a:gd name="T60" fmla="*/ 116 w 130"/>
                <a:gd name="T61" fmla="*/ 102 h 363"/>
                <a:gd name="T62" fmla="*/ 120 w 130"/>
                <a:gd name="T63" fmla="*/ 195 h 363"/>
                <a:gd name="T64" fmla="*/ 113 w 130"/>
                <a:gd name="T65" fmla="*/ 202 h 363"/>
                <a:gd name="T66" fmla="*/ 106 w 130"/>
                <a:gd name="T67" fmla="*/ 195 h 363"/>
                <a:gd name="T68" fmla="*/ 103 w 130"/>
                <a:gd name="T69" fmla="*/ 120 h 363"/>
                <a:gd name="T70" fmla="*/ 93 w 130"/>
                <a:gd name="T71" fmla="*/ 120 h 363"/>
                <a:gd name="T72" fmla="*/ 95 w 130"/>
                <a:gd name="T73" fmla="*/ 191 h 363"/>
                <a:gd name="T74" fmla="*/ 95 w 130"/>
                <a:gd name="T75" fmla="*/ 341 h 363"/>
                <a:gd name="T76" fmla="*/ 84 w 130"/>
                <a:gd name="T77" fmla="*/ 352 h 363"/>
                <a:gd name="T78" fmla="*/ 74 w 130"/>
                <a:gd name="T79" fmla="*/ 341 h 363"/>
                <a:gd name="T80" fmla="*/ 70 w 130"/>
                <a:gd name="T81" fmla="*/ 223 h 363"/>
                <a:gd name="T82" fmla="*/ 59 w 130"/>
                <a:gd name="T83" fmla="*/ 223 h 363"/>
                <a:gd name="T84" fmla="*/ 56 w 130"/>
                <a:gd name="T85" fmla="*/ 341 h 363"/>
                <a:gd name="T86" fmla="*/ 56 w 130"/>
                <a:gd name="T87" fmla="*/ 341 h 363"/>
                <a:gd name="T88" fmla="*/ 45 w 130"/>
                <a:gd name="T89" fmla="*/ 352 h 363"/>
                <a:gd name="T90" fmla="*/ 34 w 130"/>
                <a:gd name="T91" fmla="*/ 340 h 363"/>
                <a:gd name="T92" fmla="*/ 36 w 130"/>
                <a:gd name="T93" fmla="*/ 120 h 363"/>
                <a:gd name="T94" fmla="*/ 26 w 130"/>
                <a:gd name="T95" fmla="*/ 120 h 363"/>
                <a:gd name="T96" fmla="*/ 24 w 130"/>
                <a:gd name="T97" fmla="*/ 195 h 363"/>
                <a:gd name="T98" fmla="*/ 16 w 130"/>
                <a:gd name="T99" fmla="*/ 202 h 363"/>
                <a:gd name="T100" fmla="*/ 10 w 130"/>
                <a:gd name="T101" fmla="*/ 195 h 363"/>
                <a:gd name="T102" fmla="*/ 10 w 130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" h="363">
                  <a:moveTo>
                    <a:pt x="16" y="212"/>
                  </a:moveTo>
                  <a:cubicBezTo>
                    <a:pt x="19" y="212"/>
                    <a:pt x="22" y="211"/>
                    <a:pt x="25" y="210"/>
                  </a:cubicBezTo>
                  <a:cubicBezTo>
                    <a:pt x="24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5" y="363"/>
                    <a:pt x="84" y="363"/>
                  </a:cubicBezTo>
                  <a:cubicBezTo>
                    <a:pt x="96" y="363"/>
                    <a:pt x="105" y="353"/>
                    <a:pt x="105" y="341"/>
                  </a:cubicBezTo>
                  <a:cubicBezTo>
                    <a:pt x="105" y="210"/>
                    <a:pt x="105" y="210"/>
                    <a:pt x="105" y="210"/>
                  </a:cubicBezTo>
                  <a:cubicBezTo>
                    <a:pt x="108" y="211"/>
                    <a:pt x="110" y="212"/>
                    <a:pt x="113" y="212"/>
                  </a:cubicBezTo>
                  <a:cubicBezTo>
                    <a:pt x="123" y="212"/>
                    <a:pt x="130" y="204"/>
                    <a:pt x="130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6" y="42"/>
                    <a:pt x="96" y="31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0" y="52"/>
                    <a:pt x="49" y="58"/>
                  </a:cubicBezTo>
                  <a:cubicBezTo>
                    <a:pt x="13" y="64"/>
                    <a:pt x="4" y="90"/>
                    <a:pt x="4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7" y="212"/>
                    <a:pt x="16" y="212"/>
                  </a:cubicBezTo>
                  <a:close/>
                  <a:moveTo>
                    <a:pt x="44" y="31"/>
                  </a:moveTo>
                  <a:cubicBezTo>
                    <a:pt x="44" y="19"/>
                    <a:pt x="53" y="10"/>
                    <a:pt x="65" y="10"/>
                  </a:cubicBezTo>
                  <a:cubicBezTo>
                    <a:pt x="76" y="10"/>
                    <a:pt x="86" y="19"/>
                    <a:pt x="86" y="31"/>
                  </a:cubicBezTo>
                  <a:cubicBezTo>
                    <a:pt x="86" y="42"/>
                    <a:pt x="76" y="52"/>
                    <a:pt x="65" y="52"/>
                  </a:cubicBezTo>
                  <a:cubicBezTo>
                    <a:pt x="53" y="52"/>
                    <a:pt x="44" y="42"/>
                    <a:pt x="44" y="31"/>
                  </a:cubicBezTo>
                  <a:close/>
                  <a:moveTo>
                    <a:pt x="10" y="190"/>
                  </a:move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6" y="67"/>
                    <a:pt x="66" y="67"/>
                  </a:cubicBezTo>
                  <a:cubicBezTo>
                    <a:pt x="110" y="67"/>
                    <a:pt x="116" y="99"/>
                    <a:pt x="116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09" y="202"/>
                    <a:pt x="106" y="199"/>
                    <a:pt x="106" y="195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341"/>
                    <a:pt x="95" y="341"/>
                    <a:pt x="95" y="341"/>
                  </a:cubicBezTo>
                  <a:cubicBezTo>
                    <a:pt x="95" y="347"/>
                    <a:pt x="90" y="352"/>
                    <a:pt x="84" y="352"/>
                  </a:cubicBezTo>
                  <a:cubicBezTo>
                    <a:pt x="78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4" y="347"/>
                    <a:pt x="34" y="340"/>
                  </a:cubicBezTo>
                  <a:cubicBezTo>
                    <a:pt x="34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3" y="200"/>
                    <a:pt x="19" y="202"/>
                    <a:pt x="16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6" name="Freeform 129">
              <a:extLst>
                <a:ext uri="{FF2B5EF4-FFF2-40B4-BE49-F238E27FC236}">
                  <a16:creationId xmlns:a16="http://schemas.microsoft.com/office/drawing/2014/main" id="{9620A352-CF53-43B0-9372-09D247CA9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4638" y="5913438"/>
              <a:ext cx="88900" cy="182563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9 w 168"/>
                <a:gd name="T13" fmla="*/ 56 h 347"/>
                <a:gd name="T14" fmla="*/ 52 w 168"/>
                <a:gd name="T15" fmla="*/ 61 h 347"/>
                <a:gd name="T16" fmla="*/ 21 w 168"/>
                <a:gd name="T17" fmla="*/ 115 h 347"/>
                <a:gd name="T18" fmla="*/ 3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2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8 w 168"/>
                <a:gd name="T31" fmla="*/ 347 h 347"/>
                <a:gd name="T32" fmla="*/ 85 w 168"/>
                <a:gd name="T33" fmla="*/ 336 h 347"/>
                <a:gd name="T34" fmla="*/ 101 w 168"/>
                <a:gd name="T35" fmla="*/ 347 h 347"/>
                <a:gd name="T36" fmla="*/ 119 w 168"/>
                <a:gd name="T37" fmla="*/ 328 h 347"/>
                <a:gd name="T38" fmla="*/ 119 w 168"/>
                <a:gd name="T39" fmla="*/ 235 h 347"/>
                <a:gd name="T40" fmla="*/ 159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6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4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2 w 168"/>
                <a:gd name="T61" fmla="*/ 177 h 347"/>
                <a:gd name="T62" fmla="*/ 150 w 168"/>
                <a:gd name="T63" fmla="*/ 177 h 347"/>
                <a:gd name="T64" fmla="*/ 145 w 168"/>
                <a:gd name="T65" fmla="*/ 173 h 347"/>
                <a:gd name="T66" fmla="*/ 117 w 168"/>
                <a:gd name="T67" fmla="*/ 103 h 347"/>
                <a:gd name="T68" fmla="*/ 108 w 168"/>
                <a:gd name="T69" fmla="*/ 107 h 347"/>
                <a:gd name="T70" fmla="*/ 145 w 168"/>
                <a:gd name="T71" fmla="*/ 225 h 347"/>
                <a:gd name="T72" fmla="*/ 109 w 168"/>
                <a:gd name="T73" fmla="*/ 225 h 347"/>
                <a:gd name="T74" fmla="*/ 109 w 168"/>
                <a:gd name="T75" fmla="*/ 328 h 347"/>
                <a:gd name="T76" fmla="*/ 101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6 w 168"/>
                <a:gd name="T85" fmla="*/ 328 h 347"/>
                <a:gd name="T86" fmla="*/ 76 w 168"/>
                <a:gd name="T87" fmla="*/ 328 h 347"/>
                <a:gd name="T88" fmla="*/ 68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8 w 168"/>
                <a:gd name="T97" fmla="*/ 106 h 347"/>
                <a:gd name="T98" fmla="*/ 48 w 168"/>
                <a:gd name="T99" fmla="*/ 103 h 347"/>
                <a:gd name="T100" fmla="*/ 24 w 168"/>
                <a:gd name="T101" fmla="*/ 173 h 347"/>
                <a:gd name="T102" fmla="*/ 18 w 168"/>
                <a:gd name="T103" fmla="*/ 177 h 347"/>
                <a:gd name="T104" fmla="*/ 17 w 168"/>
                <a:gd name="T105" fmla="*/ 177 h 347"/>
                <a:gd name="T106" fmla="*/ 13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4 w 168"/>
                <a:gd name="T113" fmla="*/ 72 h 347"/>
                <a:gd name="T114" fmla="*/ 114 w 168"/>
                <a:gd name="T115" fmla="*/ 72 h 347"/>
                <a:gd name="T116" fmla="*/ 139 w 168"/>
                <a:gd name="T117" fmla="*/ 122 h 347"/>
                <a:gd name="T118" fmla="*/ 156 w 168"/>
                <a:gd name="T119" fmla="*/ 169 h 347"/>
                <a:gd name="T120" fmla="*/ 152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9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8" y="0"/>
                    <a:pt x="54" y="14"/>
                    <a:pt x="54" y="30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5"/>
                  </a:cubicBezTo>
                  <a:cubicBezTo>
                    <a:pt x="11" y="141"/>
                    <a:pt x="3" y="166"/>
                    <a:pt x="3" y="166"/>
                  </a:cubicBezTo>
                  <a:cubicBezTo>
                    <a:pt x="0" y="175"/>
                    <a:pt x="5" y="184"/>
                    <a:pt x="13" y="187"/>
                  </a:cubicBezTo>
                  <a:cubicBezTo>
                    <a:pt x="17" y="188"/>
                    <a:pt x="22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8" y="347"/>
                  </a:cubicBezTo>
                  <a:cubicBezTo>
                    <a:pt x="75" y="347"/>
                    <a:pt x="82" y="342"/>
                    <a:pt x="85" y="336"/>
                  </a:cubicBezTo>
                  <a:cubicBezTo>
                    <a:pt x="87" y="342"/>
                    <a:pt x="94" y="347"/>
                    <a:pt x="101" y="347"/>
                  </a:cubicBezTo>
                  <a:cubicBezTo>
                    <a:pt x="111" y="347"/>
                    <a:pt x="119" y="338"/>
                    <a:pt x="119" y="328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4"/>
                    <a:pt x="166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4" y="19"/>
                    <a:pt x="104" y="30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2" y="177"/>
                  </a:move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5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9" y="225"/>
                    <a:pt x="109" y="225"/>
                    <a:pt x="109" y="225"/>
                  </a:cubicBezTo>
                  <a:cubicBezTo>
                    <a:pt x="109" y="328"/>
                    <a:pt x="109" y="328"/>
                    <a:pt x="109" y="328"/>
                  </a:cubicBezTo>
                  <a:cubicBezTo>
                    <a:pt x="109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7"/>
                    <a:pt x="18" y="177"/>
                  </a:cubicBezTo>
                  <a:cubicBezTo>
                    <a:pt x="18" y="177"/>
                    <a:pt x="17" y="177"/>
                    <a:pt x="17" y="177"/>
                  </a:cubicBezTo>
                  <a:cubicBezTo>
                    <a:pt x="13" y="176"/>
                    <a:pt x="12" y="173"/>
                    <a:pt x="13" y="170"/>
                  </a:cubicBez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2"/>
                    <a:pt x="122" y="79"/>
                    <a:pt x="139" y="122"/>
                  </a:cubicBezTo>
                  <a:cubicBezTo>
                    <a:pt x="148" y="145"/>
                    <a:pt x="156" y="169"/>
                    <a:pt x="156" y="169"/>
                  </a:cubicBezTo>
                  <a:cubicBezTo>
                    <a:pt x="157" y="172"/>
                    <a:pt x="155" y="176"/>
                    <a:pt x="152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7" name="Freeform 130">
              <a:extLst>
                <a:ext uri="{FF2B5EF4-FFF2-40B4-BE49-F238E27FC236}">
                  <a16:creationId xmlns:a16="http://schemas.microsoft.com/office/drawing/2014/main" id="{F7D73588-4BC5-4661-BDF9-E68147C204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3201" y="5903913"/>
              <a:ext cx="68263" cy="192088"/>
            </a:xfrm>
            <a:custGeom>
              <a:avLst/>
              <a:gdLst>
                <a:gd name="T0" fmla="*/ 127 w 131"/>
                <a:gd name="T1" fmla="*/ 102 h 364"/>
                <a:gd name="T2" fmla="*/ 81 w 131"/>
                <a:gd name="T3" fmla="*/ 59 h 364"/>
                <a:gd name="T4" fmla="*/ 97 w 131"/>
                <a:gd name="T5" fmla="*/ 32 h 364"/>
                <a:gd name="T6" fmla="*/ 66 w 131"/>
                <a:gd name="T7" fmla="*/ 0 h 364"/>
                <a:gd name="T8" fmla="*/ 34 w 131"/>
                <a:gd name="T9" fmla="*/ 32 h 364"/>
                <a:gd name="T10" fmla="*/ 50 w 131"/>
                <a:gd name="T11" fmla="*/ 59 h 364"/>
                <a:gd name="T12" fmla="*/ 5 w 131"/>
                <a:gd name="T13" fmla="*/ 101 h 364"/>
                <a:gd name="T14" fmla="*/ 0 w 131"/>
                <a:gd name="T15" fmla="*/ 190 h 364"/>
                <a:gd name="T16" fmla="*/ 0 w 131"/>
                <a:gd name="T17" fmla="*/ 196 h 364"/>
                <a:gd name="T18" fmla="*/ 17 w 131"/>
                <a:gd name="T19" fmla="*/ 213 h 364"/>
                <a:gd name="T20" fmla="*/ 25 w 131"/>
                <a:gd name="T21" fmla="*/ 211 h 364"/>
                <a:gd name="T22" fmla="*/ 24 w 131"/>
                <a:gd name="T23" fmla="*/ 341 h 364"/>
                <a:gd name="T24" fmla="*/ 45 w 131"/>
                <a:gd name="T25" fmla="*/ 364 h 364"/>
                <a:gd name="T26" fmla="*/ 65 w 131"/>
                <a:gd name="T27" fmla="*/ 349 h 364"/>
                <a:gd name="T28" fmla="*/ 85 w 131"/>
                <a:gd name="T29" fmla="*/ 364 h 364"/>
                <a:gd name="T30" fmla="*/ 106 w 131"/>
                <a:gd name="T31" fmla="*/ 342 h 364"/>
                <a:gd name="T32" fmla="*/ 106 w 131"/>
                <a:gd name="T33" fmla="*/ 211 h 364"/>
                <a:gd name="T34" fmla="*/ 114 w 131"/>
                <a:gd name="T35" fmla="*/ 213 h 364"/>
                <a:gd name="T36" fmla="*/ 131 w 131"/>
                <a:gd name="T37" fmla="*/ 196 h 364"/>
                <a:gd name="T38" fmla="*/ 127 w 131"/>
                <a:gd name="T39" fmla="*/ 102 h 364"/>
                <a:gd name="T40" fmla="*/ 45 w 131"/>
                <a:gd name="T41" fmla="*/ 32 h 364"/>
                <a:gd name="T42" fmla="*/ 66 w 131"/>
                <a:gd name="T43" fmla="*/ 11 h 364"/>
                <a:gd name="T44" fmla="*/ 86 w 131"/>
                <a:gd name="T45" fmla="*/ 32 h 364"/>
                <a:gd name="T46" fmla="*/ 66 w 131"/>
                <a:gd name="T47" fmla="*/ 53 h 364"/>
                <a:gd name="T48" fmla="*/ 45 w 131"/>
                <a:gd name="T49" fmla="*/ 32 h 364"/>
                <a:gd name="T50" fmla="*/ 114 w 131"/>
                <a:gd name="T51" fmla="*/ 202 h 364"/>
                <a:gd name="T52" fmla="*/ 107 w 131"/>
                <a:gd name="T53" fmla="*/ 196 h 364"/>
                <a:gd name="T54" fmla="*/ 104 w 131"/>
                <a:gd name="T55" fmla="*/ 120 h 364"/>
                <a:gd name="T56" fmla="*/ 93 w 131"/>
                <a:gd name="T57" fmla="*/ 121 h 364"/>
                <a:gd name="T58" fmla="*/ 96 w 131"/>
                <a:gd name="T59" fmla="*/ 192 h 364"/>
                <a:gd name="T60" fmla="*/ 96 w 131"/>
                <a:gd name="T61" fmla="*/ 342 h 364"/>
                <a:gd name="T62" fmla="*/ 85 w 131"/>
                <a:gd name="T63" fmla="*/ 353 h 364"/>
                <a:gd name="T64" fmla="*/ 74 w 131"/>
                <a:gd name="T65" fmla="*/ 342 h 364"/>
                <a:gd name="T66" fmla="*/ 70 w 131"/>
                <a:gd name="T67" fmla="*/ 224 h 364"/>
                <a:gd name="T68" fmla="*/ 60 w 131"/>
                <a:gd name="T69" fmla="*/ 224 h 364"/>
                <a:gd name="T70" fmla="*/ 56 w 131"/>
                <a:gd name="T71" fmla="*/ 342 h 364"/>
                <a:gd name="T72" fmla="*/ 56 w 131"/>
                <a:gd name="T73" fmla="*/ 342 h 364"/>
                <a:gd name="T74" fmla="*/ 45 w 131"/>
                <a:gd name="T75" fmla="*/ 353 h 364"/>
                <a:gd name="T76" fmla="*/ 35 w 131"/>
                <a:gd name="T77" fmla="*/ 341 h 364"/>
                <a:gd name="T78" fmla="*/ 37 w 131"/>
                <a:gd name="T79" fmla="*/ 121 h 364"/>
                <a:gd name="T80" fmla="*/ 26 w 131"/>
                <a:gd name="T81" fmla="*/ 120 h 364"/>
                <a:gd name="T82" fmla="*/ 24 w 131"/>
                <a:gd name="T83" fmla="*/ 196 h 364"/>
                <a:gd name="T84" fmla="*/ 17 w 131"/>
                <a:gd name="T85" fmla="*/ 202 h 364"/>
                <a:gd name="T86" fmla="*/ 11 w 131"/>
                <a:gd name="T87" fmla="*/ 196 h 364"/>
                <a:gd name="T88" fmla="*/ 11 w 131"/>
                <a:gd name="T89" fmla="*/ 191 h 364"/>
                <a:gd name="T90" fmla="*/ 15 w 131"/>
                <a:gd name="T91" fmla="*/ 101 h 364"/>
                <a:gd name="T92" fmla="*/ 15 w 131"/>
                <a:gd name="T93" fmla="*/ 101 h 364"/>
                <a:gd name="T94" fmla="*/ 66 w 131"/>
                <a:gd name="T95" fmla="*/ 68 h 364"/>
                <a:gd name="T96" fmla="*/ 117 w 131"/>
                <a:gd name="T97" fmla="*/ 103 h 364"/>
                <a:gd name="T98" fmla="*/ 121 w 131"/>
                <a:gd name="T99" fmla="*/ 196 h 364"/>
                <a:gd name="T100" fmla="*/ 114 w 131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1" h="364">
                  <a:moveTo>
                    <a:pt x="127" y="102"/>
                  </a:moveTo>
                  <a:cubicBezTo>
                    <a:pt x="127" y="101"/>
                    <a:pt x="123" y="66"/>
                    <a:pt x="81" y="59"/>
                  </a:cubicBezTo>
                  <a:cubicBezTo>
                    <a:pt x="91" y="53"/>
                    <a:pt x="97" y="43"/>
                    <a:pt x="97" y="32"/>
                  </a:cubicBezTo>
                  <a:cubicBezTo>
                    <a:pt x="97" y="14"/>
                    <a:pt x="83" y="0"/>
                    <a:pt x="66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1" y="53"/>
                    <a:pt x="50" y="59"/>
                  </a:cubicBezTo>
                  <a:cubicBezTo>
                    <a:pt x="14" y="65"/>
                    <a:pt x="5" y="91"/>
                    <a:pt x="5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8" y="213"/>
                    <a:pt x="17" y="213"/>
                  </a:cubicBezTo>
                  <a:cubicBezTo>
                    <a:pt x="20" y="213"/>
                    <a:pt x="23" y="212"/>
                    <a:pt x="25" y="211"/>
                  </a:cubicBezTo>
                  <a:cubicBezTo>
                    <a:pt x="25" y="261"/>
                    <a:pt x="24" y="317"/>
                    <a:pt x="24" y="341"/>
                  </a:cubicBezTo>
                  <a:cubicBezTo>
                    <a:pt x="24" y="354"/>
                    <a:pt x="34" y="364"/>
                    <a:pt x="45" y="364"/>
                  </a:cubicBezTo>
                  <a:cubicBezTo>
                    <a:pt x="55" y="364"/>
                    <a:pt x="62" y="358"/>
                    <a:pt x="65" y="349"/>
                  </a:cubicBezTo>
                  <a:cubicBezTo>
                    <a:pt x="68" y="358"/>
                    <a:pt x="76" y="364"/>
                    <a:pt x="85" y="364"/>
                  </a:cubicBezTo>
                  <a:cubicBezTo>
                    <a:pt x="97" y="364"/>
                    <a:pt x="106" y="354"/>
                    <a:pt x="106" y="342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8" y="212"/>
                    <a:pt x="111" y="213"/>
                    <a:pt x="114" y="213"/>
                  </a:cubicBezTo>
                  <a:cubicBezTo>
                    <a:pt x="123" y="213"/>
                    <a:pt x="131" y="205"/>
                    <a:pt x="131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5" y="32"/>
                  </a:moveTo>
                  <a:cubicBezTo>
                    <a:pt x="45" y="20"/>
                    <a:pt x="54" y="11"/>
                    <a:pt x="66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6" y="53"/>
                  </a:cubicBezTo>
                  <a:cubicBezTo>
                    <a:pt x="54" y="53"/>
                    <a:pt x="45" y="43"/>
                    <a:pt x="45" y="32"/>
                  </a:cubicBezTo>
                  <a:close/>
                  <a:moveTo>
                    <a:pt x="114" y="202"/>
                  </a:moveTo>
                  <a:cubicBezTo>
                    <a:pt x="110" y="202"/>
                    <a:pt x="107" y="200"/>
                    <a:pt x="107" y="196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342"/>
                    <a:pt x="96" y="342"/>
                    <a:pt x="96" y="342"/>
                  </a:cubicBezTo>
                  <a:cubicBezTo>
                    <a:pt x="96" y="348"/>
                    <a:pt x="91" y="353"/>
                    <a:pt x="85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5" y="348"/>
                    <a:pt x="35" y="341"/>
                  </a:cubicBezTo>
                  <a:cubicBezTo>
                    <a:pt x="35" y="294"/>
                    <a:pt x="37" y="122"/>
                    <a:pt x="37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20" y="202"/>
                    <a:pt x="17" y="202"/>
                  </a:cubicBezTo>
                  <a:cubicBezTo>
                    <a:pt x="13" y="202"/>
                    <a:pt x="11" y="200"/>
                    <a:pt x="11" y="196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7" y="68"/>
                    <a:pt x="66" y="68"/>
                  </a:cubicBezTo>
                  <a:cubicBezTo>
                    <a:pt x="111" y="68"/>
                    <a:pt x="117" y="100"/>
                    <a:pt x="117" y="103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200"/>
                    <a:pt x="117" y="202"/>
                    <a:pt x="114" y="2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8" name="Freeform 131">
              <a:extLst>
                <a:ext uri="{FF2B5EF4-FFF2-40B4-BE49-F238E27FC236}">
                  <a16:creationId xmlns:a16="http://schemas.microsoft.com/office/drawing/2014/main" id="{6E1E2D13-936E-4242-880D-549791F3B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6088" y="5913438"/>
              <a:ext cx="87313" cy="182563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8 w 168"/>
                <a:gd name="T13" fmla="*/ 56 h 347"/>
                <a:gd name="T14" fmla="*/ 51 w 168"/>
                <a:gd name="T15" fmla="*/ 61 h 347"/>
                <a:gd name="T16" fmla="*/ 20 w 168"/>
                <a:gd name="T17" fmla="*/ 115 h 347"/>
                <a:gd name="T18" fmla="*/ 2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1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7 w 168"/>
                <a:gd name="T31" fmla="*/ 347 h 347"/>
                <a:gd name="T32" fmla="*/ 84 w 168"/>
                <a:gd name="T33" fmla="*/ 336 h 347"/>
                <a:gd name="T34" fmla="*/ 100 w 168"/>
                <a:gd name="T35" fmla="*/ 347 h 347"/>
                <a:gd name="T36" fmla="*/ 118 w 168"/>
                <a:gd name="T37" fmla="*/ 328 h 347"/>
                <a:gd name="T38" fmla="*/ 118 w 168"/>
                <a:gd name="T39" fmla="*/ 235 h 347"/>
                <a:gd name="T40" fmla="*/ 158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5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3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1 w 168"/>
                <a:gd name="T61" fmla="*/ 177 h 347"/>
                <a:gd name="T62" fmla="*/ 150 w 168"/>
                <a:gd name="T63" fmla="*/ 177 h 347"/>
                <a:gd name="T64" fmla="*/ 144 w 168"/>
                <a:gd name="T65" fmla="*/ 173 h 347"/>
                <a:gd name="T66" fmla="*/ 117 w 168"/>
                <a:gd name="T67" fmla="*/ 103 h 347"/>
                <a:gd name="T68" fmla="*/ 107 w 168"/>
                <a:gd name="T69" fmla="*/ 107 h 347"/>
                <a:gd name="T70" fmla="*/ 144 w 168"/>
                <a:gd name="T71" fmla="*/ 225 h 347"/>
                <a:gd name="T72" fmla="*/ 108 w 168"/>
                <a:gd name="T73" fmla="*/ 225 h 347"/>
                <a:gd name="T74" fmla="*/ 108 w 168"/>
                <a:gd name="T75" fmla="*/ 328 h 347"/>
                <a:gd name="T76" fmla="*/ 100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5 w 168"/>
                <a:gd name="T85" fmla="*/ 328 h 347"/>
                <a:gd name="T86" fmla="*/ 75 w 168"/>
                <a:gd name="T87" fmla="*/ 328 h 347"/>
                <a:gd name="T88" fmla="*/ 67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7 w 168"/>
                <a:gd name="T97" fmla="*/ 106 h 347"/>
                <a:gd name="T98" fmla="*/ 47 w 168"/>
                <a:gd name="T99" fmla="*/ 103 h 347"/>
                <a:gd name="T100" fmla="*/ 23 w 168"/>
                <a:gd name="T101" fmla="*/ 173 h 347"/>
                <a:gd name="T102" fmla="*/ 18 w 168"/>
                <a:gd name="T103" fmla="*/ 177 h 347"/>
                <a:gd name="T104" fmla="*/ 16 w 168"/>
                <a:gd name="T105" fmla="*/ 177 h 347"/>
                <a:gd name="T106" fmla="*/ 12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3 w 168"/>
                <a:gd name="T113" fmla="*/ 72 h 347"/>
                <a:gd name="T114" fmla="*/ 113 w 168"/>
                <a:gd name="T115" fmla="*/ 72 h 347"/>
                <a:gd name="T116" fmla="*/ 138 w 168"/>
                <a:gd name="T117" fmla="*/ 122 h 347"/>
                <a:gd name="T118" fmla="*/ 155 w 168"/>
                <a:gd name="T119" fmla="*/ 169 h 347"/>
                <a:gd name="T120" fmla="*/ 151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8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4" y="14"/>
                    <a:pt x="54" y="30"/>
                  </a:cubicBezTo>
                  <a:cubicBezTo>
                    <a:pt x="54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9" y="68"/>
                    <a:pt x="20" y="115"/>
                  </a:cubicBezTo>
                  <a:cubicBezTo>
                    <a:pt x="11" y="141"/>
                    <a:pt x="2" y="166"/>
                    <a:pt x="2" y="166"/>
                  </a:cubicBezTo>
                  <a:cubicBezTo>
                    <a:pt x="0" y="175"/>
                    <a:pt x="4" y="184"/>
                    <a:pt x="13" y="187"/>
                  </a:cubicBezTo>
                  <a:cubicBezTo>
                    <a:pt x="17" y="188"/>
                    <a:pt x="21" y="188"/>
                    <a:pt x="25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8"/>
                    <a:pt x="118" y="328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4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3" y="19"/>
                    <a:pt x="103" y="30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1" y="177"/>
                  </a:moveTo>
                  <a:cubicBezTo>
                    <a:pt x="151" y="177"/>
                    <a:pt x="150" y="177"/>
                    <a:pt x="150" y="177"/>
                  </a:cubicBezTo>
                  <a:cubicBezTo>
                    <a:pt x="147" y="177"/>
                    <a:pt x="145" y="175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5" y="328"/>
                    <a:pt x="75" y="328"/>
                    <a:pt x="75" y="328"/>
                  </a:cubicBezTo>
                  <a:cubicBezTo>
                    <a:pt x="75" y="328"/>
                    <a:pt x="75" y="328"/>
                    <a:pt x="75" y="328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3" y="176"/>
                    <a:pt x="20" y="177"/>
                    <a:pt x="18" y="177"/>
                  </a:cubicBezTo>
                  <a:cubicBezTo>
                    <a:pt x="17" y="177"/>
                    <a:pt x="17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2"/>
                    <a:pt x="122" y="79"/>
                    <a:pt x="138" y="122"/>
                  </a:cubicBezTo>
                  <a:cubicBezTo>
                    <a:pt x="147" y="145"/>
                    <a:pt x="155" y="169"/>
                    <a:pt x="155" y="169"/>
                  </a:cubicBezTo>
                  <a:cubicBezTo>
                    <a:pt x="156" y="172"/>
                    <a:pt x="155" y="176"/>
                    <a:pt x="151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9" name="Freeform 132">
              <a:extLst>
                <a:ext uri="{FF2B5EF4-FFF2-40B4-BE49-F238E27FC236}">
                  <a16:creationId xmlns:a16="http://schemas.microsoft.com/office/drawing/2014/main" id="{122C6E10-D8D5-4333-A915-0B22FC01C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063" y="5903913"/>
              <a:ext cx="68263" cy="192088"/>
            </a:xfrm>
            <a:custGeom>
              <a:avLst/>
              <a:gdLst>
                <a:gd name="T0" fmla="*/ 127 w 130"/>
                <a:gd name="T1" fmla="*/ 102 h 364"/>
                <a:gd name="T2" fmla="*/ 81 w 130"/>
                <a:gd name="T3" fmla="*/ 59 h 364"/>
                <a:gd name="T4" fmla="*/ 96 w 130"/>
                <a:gd name="T5" fmla="*/ 32 h 364"/>
                <a:gd name="T6" fmla="*/ 65 w 130"/>
                <a:gd name="T7" fmla="*/ 0 h 364"/>
                <a:gd name="T8" fmla="*/ 34 w 130"/>
                <a:gd name="T9" fmla="*/ 32 h 364"/>
                <a:gd name="T10" fmla="*/ 49 w 130"/>
                <a:gd name="T11" fmla="*/ 59 h 364"/>
                <a:gd name="T12" fmla="*/ 4 w 130"/>
                <a:gd name="T13" fmla="*/ 101 h 364"/>
                <a:gd name="T14" fmla="*/ 0 w 130"/>
                <a:gd name="T15" fmla="*/ 190 h 364"/>
                <a:gd name="T16" fmla="*/ 0 w 130"/>
                <a:gd name="T17" fmla="*/ 196 h 364"/>
                <a:gd name="T18" fmla="*/ 16 w 130"/>
                <a:gd name="T19" fmla="*/ 213 h 364"/>
                <a:gd name="T20" fmla="*/ 25 w 130"/>
                <a:gd name="T21" fmla="*/ 211 h 364"/>
                <a:gd name="T22" fmla="*/ 24 w 130"/>
                <a:gd name="T23" fmla="*/ 341 h 364"/>
                <a:gd name="T24" fmla="*/ 45 w 130"/>
                <a:gd name="T25" fmla="*/ 364 h 364"/>
                <a:gd name="T26" fmla="*/ 65 w 130"/>
                <a:gd name="T27" fmla="*/ 349 h 364"/>
                <a:gd name="T28" fmla="*/ 84 w 130"/>
                <a:gd name="T29" fmla="*/ 364 h 364"/>
                <a:gd name="T30" fmla="*/ 105 w 130"/>
                <a:gd name="T31" fmla="*/ 342 h 364"/>
                <a:gd name="T32" fmla="*/ 105 w 130"/>
                <a:gd name="T33" fmla="*/ 211 h 364"/>
                <a:gd name="T34" fmla="*/ 113 w 130"/>
                <a:gd name="T35" fmla="*/ 213 h 364"/>
                <a:gd name="T36" fmla="*/ 130 w 130"/>
                <a:gd name="T37" fmla="*/ 196 h 364"/>
                <a:gd name="T38" fmla="*/ 127 w 130"/>
                <a:gd name="T39" fmla="*/ 102 h 364"/>
                <a:gd name="T40" fmla="*/ 44 w 130"/>
                <a:gd name="T41" fmla="*/ 32 h 364"/>
                <a:gd name="T42" fmla="*/ 65 w 130"/>
                <a:gd name="T43" fmla="*/ 11 h 364"/>
                <a:gd name="T44" fmla="*/ 86 w 130"/>
                <a:gd name="T45" fmla="*/ 32 h 364"/>
                <a:gd name="T46" fmla="*/ 65 w 130"/>
                <a:gd name="T47" fmla="*/ 53 h 364"/>
                <a:gd name="T48" fmla="*/ 44 w 130"/>
                <a:gd name="T49" fmla="*/ 32 h 364"/>
                <a:gd name="T50" fmla="*/ 113 w 130"/>
                <a:gd name="T51" fmla="*/ 202 h 364"/>
                <a:gd name="T52" fmla="*/ 106 w 130"/>
                <a:gd name="T53" fmla="*/ 196 h 364"/>
                <a:gd name="T54" fmla="*/ 103 w 130"/>
                <a:gd name="T55" fmla="*/ 120 h 364"/>
                <a:gd name="T56" fmla="*/ 93 w 130"/>
                <a:gd name="T57" fmla="*/ 121 h 364"/>
                <a:gd name="T58" fmla="*/ 95 w 130"/>
                <a:gd name="T59" fmla="*/ 192 h 364"/>
                <a:gd name="T60" fmla="*/ 95 w 130"/>
                <a:gd name="T61" fmla="*/ 342 h 364"/>
                <a:gd name="T62" fmla="*/ 84 w 130"/>
                <a:gd name="T63" fmla="*/ 353 h 364"/>
                <a:gd name="T64" fmla="*/ 74 w 130"/>
                <a:gd name="T65" fmla="*/ 342 h 364"/>
                <a:gd name="T66" fmla="*/ 70 w 130"/>
                <a:gd name="T67" fmla="*/ 224 h 364"/>
                <a:gd name="T68" fmla="*/ 59 w 130"/>
                <a:gd name="T69" fmla="*/ 224 h 364"/>
                <a:gd name="T70" fmla="*/ 56 w 130"/>
                <a:gd name="T71" fmla="*/ 342 h 364"/>
                <a:gd name="T72" fmla="*/ 56 w 130"/>
                <a:gd name="T73" fmla="*/ 342 h 364"/>
                <a:gd name="T74" fmla="*/ 45 w 130"/>
                <a:gd name="T75" fmla="*/ 353 h 364"/>
                <a:gd name="T76" fmla="*/ 34 w 130"/>
                <a:gd name="T77" fmla="*/ 341 h 364"/>
                <a:gd name="T78" fmla="*/ 36 w 130"/>
                <a:gd name="T79" fmla="*/ 121 h 364"/>
                <a:gd name="T80" fmla="*/ 26 w 130"/>
                <a:gd name="T81" fmla="*/ 120 h 364"/>
                <a:gd name="T82" fmla="*/ 24 w 130"/>
                <a:gd name="T83" fmla="*/ 196 h 364"/>
                <a:gd name="T84" fmla="*/ 16 w 130"/>
                <a:gd name="T85" fmla="*/ 202 h 364"/>
                <a:gd name="T86" fmla="*/ 10 w 130"/>
                <a:gd name="T87" fmla="*/ 196 h 364"/>
                <a:gd name="T88" fmla="*/ 10 w 130"/>
                <a:gd name="T89" fmla="*/ 191 h 364"/>
                <a:gd name="T90" fmla="*/ 14 w 130"/>
                <a:gd name="T91" fmla="*/ 101 h 364"/>
                <a:gd name="T92" fmla="*/ 15 w 130"/>
                <a:gd name="T93" fmla="*/ 101 h 364"/>
                <a:gd name="T94" fmla="*/ 66 w 130"/>
                <a:gd name="T95" fmla="*/ 68 h 364"/>
                <a:gd name="T96" fmla="*/ 116 w 130"/>
                <a:gd name="T97" fmla="*/ 103 h 364"/>
                <a:gd name="T98" fmla="*/ 120 w 130"/>
                <a:gd name="T99" fmla="*/ 196 h 364"/>
                <a:gd name="T100" fmla="*/ 113 w 130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0" h="364">
                  <a:moveTo>
                    <a:pt x="127" y="102"/>
                  </a:moveTo>
                  <a:cubicBezTo>
                    <a:pt x="127" y="101"/>
                    <a:pt x="122" y="66"/>
                    <a:pt x="81" y="59"/>
                  </a:cubicBezTo>
                  <a:cubicBezTo>
                    <a:pt x="90" y="53"/>
                    <a:pt x="96" y="43"/>
                    <a:pt x="96" y="32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0" y="53"/>
                    <a:pt x="49" y="59"/>
                  </a:cubicBezTo>
                  <a:cubicBezTo>
                    <a:pt x="13" y="65"/>
                    <a:pt x="4" y="91"/>
                    <a:pt x="4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7" y="213"/>
                    <a:pt x="16" y="213"/>
                  </a:cubicBezTo>
                  <a:cubicBezTo>
                    <a:pt x="19" y="213"/>
                    <a:pt x="22" y="212"/>
                    <a:pt x="25" y="211"/>
                  </a:cubicBezTo>
                  <a:cubicBezTo>
                    <a:pt x="24" y="261"/>
                    <a:pt x="24" y="317"/>
                    <a:pt x="24" y="341"/>
                  </a:cubicBezTo>
                  <a:cubicBezTo>
                    <a:pt x="24" y="354"/>
                    <a:pt x="33" y="364"/>
                    <a:pt x="45" y="364"/>
                  </a:cubicBezTo>
                  <a:cubicBezTo>
                    <a:pt x="54" y="364"/>
                    <a:pt x="62" y="358"/>
                    <a:pt x="65" y="349"/>
                  </a:cubicBezTo>
                  <a:cubicBezTo>
                    <a:pt x="68" y="358"/>
                    <a:pt x="75" y="364"/>
                    <a:pt x="84" y="364"/>
                  </a:cubicBezTo>
                  <a:cubicBezTo>
                    <a:pt x="96" y="364"/>
                    <a:pt x="105" y="354"/>
                    <a:pt x="105" y="342"/>
                  </a:cubicBezTo>
                  <a:cubicBezTo>
                    <a:pt x="105" y="211"/>
                    <a:pt x="105" y="211"/>
                    <a:pt x="105" y="211"/>
                  </a:cubicBezTo>
                  <a:cubicBezTo>
                    <a:pt x="108" y="212"/>
                    <a:pt x="110" y="213"/>
                    <a:pt x="113" y="213"/>
                  </a:cubicBezTo>
                  <a:cubicBezTo>
                    <a:pt x="123" y="213"/>
                    <a:pt x="130" y="205"/>
                    <a:pt x="130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4" y="32"/>
                  </a:moveTo>
                  <a:cubicBezTo>
                    <a:pt x="44" y="20"/>
                    <a:pt x="54" y="11"/>
                    <a:pt x="65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5" y="53"/>
                  </a:cubicBezTo>
                  <a:cubicBezTo>
                    <a:pt x="54" y="53"/>
                    <a:pt x="44" y="43"/>
                    <a:pt x="44" y="32"/>
                  </a:cubicBezTo>
                  <a:close/>
                  <a:moveTo>
                    <a:pt x="113" y="202"/>
                  </a:moveTo>
                  <a:cubicBezTo>
                    <a:pt x="109" y="202"/>
                    <a:pt x="106" y="200"/>
                    <a:pt x="106" y="196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342"/>
                    <a:pt x="95" y="342"/>
                    <a:pt x="95" y="342"/>
                  </a:cubicBezTo>
                  <a:cubicBezTo>
                    <a:pt x="95" y="348"/>
                    <a:pt x="90" y="353"/>
                    <a:pt x="84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59" y="224"/>
                    <a:pt x="59" y="224"/>
                    <a:pt x="59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4" y="348"/>
                    <a:pt x="34" y="341"/>
                  </a:cubicBezTo>
                  <a:cubicBezTo>
                    <a:pt x="34" y="294"/>
                    <a:pt x="36" y="122"/>
                    <a:pt x="36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19" y="202"/>
                    <a:pt x="16" y="202"/>
                  </a:cubicBezTo>
                  <a:cubicBezTo>
                    <a:pt x="13" y="202"/>
                    <a:pt x="10" y="200"/>
                    <a:pt x="10" y="196"/>
                  </a:cubicBezTo>
                  <a:cubicBezTo>
                    <a:pt x="10" y="191"/>
                    <a:pt x="10" y="191"/>
                    <a:pt x="10" y="19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6" y="68"/>
                    <a:pt x="66" y="68"/>
                  </a:cubicBezTo>
                  <a:cubicBezTo>
                    <a:pt x="110" y="68"/>
                    <a:pt x="116" y="100"/>
                    <a:pt x="116" y="103"/>
                  </a:cubicBezTo>
                  <a:cubicBezTo>
                    <a:pt x="120" y="196"/>
                    <a:pt x="120" y="196"/>
                    <a:pt x="120" y="196"/>
                  </a:cubicBezTo>
                  <a:cubicBezTo>
                    <a:pt x="120" y="200"/>
                    <a:pt x="117" y="202"/>
                    <a:pt x="113" y="2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0" name="Freeform 133">
              <a:extLst>
                <a:ext uri="{FF2B5EF4-FFF2-40B4-BE49-F238E27FC236}">
                  <a16:creationId xmlns:a16="http://schemas.microsoft.com/office/drawing/2014/main" id="{DA296167-E388-45EE-A28C-D7F153F0E9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188" y="5913438"/>
              <a:ext cx="88900" cy="182563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9 w 168"/>
                <a:gd name="T13" fmla="*/ 56 h 347"/>
                <a:gd name="T14" fmla="*/ 52 w 168"/>
                <a:gd name="T15" fmla="*/ 61 h 347"/>
                <a:gd name="T16" fmla="*/ 21 w 168"/>
                <a:gd name="T17" fmla="*/ 115 h 347"/>
                <a:gd name="T18" fmla="*/ 3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2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8 w 168"/>
                <a:gd name="T31" fmla="*/ 347 h 347"/>
                <a:gd name="T32" fmla="*/ 84 w 168"/>
                <a:gd name="T33" fmla="*/ 336 h 347"/>
                <a:gd name="T34" fmla="*/ 101 w 168"/>
                <a:gd name="T35" fmla="*/ 347 h 347"/>
                <a:gd name="T36" fmla="*/ 119 w 168"/>
                <a:gd name="T37" fmla="*/ 328 h 347"/>
                <a:gd name="T38" fmla="*/ 119 w 168"/>
                <a:gd name="T39" fmla="*/ 235 h 347"/>
                <a:gd name="T40" fmla="*/ 159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5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4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2 w 168"/>
                <a:gd name="T61" fmla="*/ 177 h 347"/>
                <a:gd name="T62" fmla="*/ 150 w 168"/>
                <a:gd name="T63" fmla="*/ 177 h 347"/>
                <a:gd name="T64" fmla="*/ 145 w 168"/>
                <a:gd name="T65" fmla="*/ 173 h 347"/>
                <a:gd name="T66" fmla="*/ 117 w 168"/>
                <a:gd name="T67" fmla="*/ 103 h 347"/>
                <a:gd name="T68" fmla="*/ 108 w 168"/>
                <a:gd name="T69" fmla="*/ 107 h 347"/>
                <a:gd name="T70" fmla="*/ 145 w 168"/>
                <a:gd name="T71" fmla="*/ 225 h 347"/>
                <a:gd name="T72" fmla="*/ 108 w 168"/>
                <a:gd name="T73" fmla="*/ 225 h 347"/>
                <a:gd name="T74" fmla="*/ 108 w 168"/>
                <a:gd name="T75" fmla="*/ 328 h 347"/>
                <a:gd name="T76" fmla="*/ 101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6 w 168"/>
                <a:gd name="T85" fmla="*/ 328 h 347"/>
                <a:gd name="T86" fmla="*/ 76 w 168"/>
                <a:gd name="T87" fmla="*/ 328 h 347"/>
                <a:gd name="T88" fmla="*/ 68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8 w 168"/>
                <a:gd name="T97" fmla="*/ 106 h 347"/>
                <a:gd name="T98" fmla="*/ 48 w 168"/>
                <a:gd name="T99" fmla="*/ 103 h 347"/>
                <a:gd name="T100" fmla="*/ 24 w 168"/>
                <a:gd name="T101" fmla="*/ 173 h 347"/>
                <a:gd name="T102" fmla="*/ 18 w 168"/>
                <a:gd name="T103" fmla="*/ 177 h 347"/>
                <a:gd name="T104" fmla="*/ 16 w 168"/>
                <a:gd name="T105" fmla="*/ 177 h 347"/>
                <a:gd name="T106" fmla="*/ 13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4 w 168"/>
                <a:gd name="T113" fmla="*/ 72 h 347"/>
                <a:gd name="T114" fmla="*/ 114 w 168"/>
                <a:gd name="T115" fmla="*/ 72 h 347"/>
                <a:gd name="T116" fmla="*/ 139 w 168"/>
                <a:gd name="T117" fmla="*/ 122 h 347"/>
                <a:gd name="T118" fmla="*/ 156 w 168"/>
                <a:gd name="T119" fmla="*/ 169 h 347"/>
                <a:gd name="T120" fmla="*/ 152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9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8" y="0"/>
                    <a:pt x="54" y="14"/>
                    <a:pt x="54" y="30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5"/>
                  </a:cubicBezTo>
                  <a:cubicBezTo>
                    <a:pt x="11" y="141"/>
                    <a:pt x="3" y="166"/>
                    <a:pt x="3" y="166"/>
                  </a:cubicBezTo>
                  <a:cubicBezTo>
                    <a:pt x="0" y="175"/>
                    <a:pt x="5" y="184"/>
                    <a:pt x="13" y="187"/>
                  </a:cubicBezTo>
                  <a:cubicBezTo>
                    <a:pt x="17" y="188"/>
                    <a:pt x="22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8" y="347"/>
                  </a:cubicBezTo>
                  <a:cubicBezTo>
                    <a:pt x="75" y="347"/>
                    <a:pt x="82" y="342"/>
                    <a:pt x="84" y="336"/>
                  </a:cubicBezTo>
                  <a:cubicBezTo>
                    <a:pt x="87" y="342"/>
                    <a:pt x="94" y="347"/>
                    <a:pt x="101" y="347"/>
                  </a:cubicBezTo>
                  <a:cubicBezTo>
                    <a:pt x="111" y="347"/>
                    <a:pt x="119" y="338"/>
                    <a:pt x="119" y="328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4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4" y="19"/>
                    <a:pt x="104" y="30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2" y="177"/>
                  </a:move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5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08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7"/>
                    <a:pt x="18" y="177"/>
                  </a:cubicBezTo>
                  <a:cubicBezTo>
                    <a:pt x="18" y="177"/>
                    <a:pt x="17" y="177"/>
                    <a:pt x="16" y="177"/>
                  </a:cubicBezTo>
                  <a:cubicBezTo>
                    <a:pt x="13" y="176"/>
                    <a:pt x="12" y="173"/>
                    <a:pt x="13" y="170"/>
                  </a:cubicBez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2"/>
                    <a:pt x="122" y="79"/>
                    <a:pt x="139" y="122"/>
                  </a:cubicBezTo>
                  <a:cubicBezTo>
                    <a:pt x="148" y="145"/>
                    <a:pt x="156" y="169"/>
                    <a:pt x="156" y="169"/>
                  </a:cubicBezTo>
                  <a:cubicBezTo>
                    <a:pt x="157" y="172"/>
                    <a:pt x="155" y="176"/>
                    <a:pt x="152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1" name="Freeform 134">
              <a:extLst>
                <a:ext uri="{FF2B5EF4-FFF2-40B4-BE49-F238E27FC236}">
                  <a16:creationId xmlns:a16="http://schemas.microsoft.com/office/drawing/2014/main" id="{A59F57B9-46A3-405A-BC17-0F70A7586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9751" y="5903913"/>
              <a:ext cx="68263" cy="192088"/>
            </a:xfrm>
            <a:custGeom>
              <a:avLst/>
              <a:gdLst>
                <a:gd name="T0" fmla="*/ 127 w 131"/>
                <a:gd name="T1" fmla="*/ 102 h 364"/>
                <a:gd name="T2" fmla="*/ 81 w 131"/>
                <a:gd name="T3" fmla="*/ 59 h 364"/>
                <a:gd name="T4" fmla="*/ 97 w 131"/>
                <a:gd name="T5" fmla="*/ 32 h 364"/>
                <a:gd name="T6" fmla="*/ 66 w 131"/>
                <a:gd name="T7" fmla="*/ 0 h 364"/>
                <a:gd name="T8" fmla="*/ 34 w 131"/>
                <a:gd name="T9" fmla="*/ 32 h 364"/>
                <a:gd name="T10" fmla="*/ 50 w 131"/>
                <a:gd name="T11" fmla="*/ 59 h 364"/>
                <a:gd name="T12" fmla="*/ 5 w 131"/>
                <a:gd name="T13" fmla="*/ 101 h 364"/>
                <a:gd name="T14" fmla="*/ 0 w 131"/>
                <a:gd name="T15" fmla="*/ 190 h 364"/>
                <a:gd name="T16" fmla="*/ 0 w 131"/>
                <a:gd name="T17" fmla="*/ 196 h 364"/>
                <a:gd name="T18" fmla="*/ 17 w 131"/>
                <a:gd name="T19" fmla="*/ 213 h 364"/>
                <a:gd name="T20" fmla="*/ 25 w 131"/>
                <a:gd name="T21" fmla="*/ 211 h 364"/>
                <a:gd name="T22" fmla="*/ 24 w 131"/>
                <a:gd name="T23" fmla="*/ 341 h 364"/>
                <a:gd name="T24" fmla="*/ 45 w 131"/>
                <a:gd name="T25" fmla="*/ 364 h 364"/>
                <a:gd name="T26" fmla="*/ 65 w 131"/>
                <a:gd name="T27" fmla="*/ 349 h 364"/>
                <a:gd name="T28" fmla="*/ 85 w 131"/>
                <a:gd name="T29" fmla="*/ 364 h 364"/>
                <a:gd name="T30" fmla="*/ 106 w 131"/>
                <a:gd name="T31" fmla="*/ 342 h 364"/>
                <a:gd name="T32" fmla="*/ 106 w 131"/>
                <a:gd name="T33" fmla="*/ 211 h 364"/>
                <a:gd name="T34" fmla="*/ 114 w 131"/>
                <a:gd name="T35" fmla="*/ 213 h 364"/>
                <a:gd name="T36" fmla="*/ 131 w 131"/>
                <a:gd name="T37" fmla="*/ 196 h 364"/>
                <a:gd name="T38" fmla="*/ 127 w 131"/>
                <a:gd name="T39" fmla="*/ 102 h 364"/>
                <a:gd name="T40" fmla="*/ 45 w 131"/>
                <a:gd name="T41" fmla="*/ 32 h 364"/>
                <a:gd name="T42" fmla="*/ 66 w 131"/>
                <a:gd name="T43" fmla="*/ 11 h 364"/>
                <a:gd name="T44" fmla="*/ 86 w 131"/>
                <a:gd name="T45" fmla="*/ 32 h 364"/>
                <a:gd name="T46" fmla="*/ 66 w 131"/>
                <a:gd name="T47" fmla="*/ 53 h 364"/>
                <a:gd name="T48" fmla="*/ 45 w 131"/>
                <a:gd name="T49" fmla="*/ 32 h 364"/>
                <a:gd name="T50" fmla="*/ 114 w 131"/>
                <a:gd name="T51" fmla="*/ 202 h 364"/>
                <a:gd name="T52" fmla="*/ 106 w 131"/>
                <a:gd name="T53" fmla="*/ 196 h 364"/>
                <a:gd name="T54" fmla="*/ 104 w 131"/>
                <a:gd name="T55" fmla="*/ 120 h 364"/>
                <a:gd name="T56" fmla="*/ 93 w 131"/>
                <a:gd name="T57" fmla="*/ 121 h 364"/>
                <a:gd name="T58" fmla="*/ 96 w 131"/>
                <a:gd name="T59" fmla="*/ 192 h 364"/>
                <a:gd name="T60" fmla="*/ 96 w 131"/>
                <a:gd name="T61" fmla="*/ 342 h 364"/>
                <a:gd name="T62" fmla="*/ 85 w 131"/>
                <a:gd name="T63" fmla="*/ 353 h 364"/>
                <a:gd name="T64" fmla="*/ 74 w 131"/>
                <a:gd name="T65" fmla="*/ 342 h 364"/>
                <a:gd name="T66" fmla="*/ 70 w 131"/>
                <a:gd name="T67" fmla="*/ 224 h 364"/>
                <a:gd name="T68" fmla="*/ 60 w 131"/>
                <a:gd name="T69" fmla="*/ 224 h 364"/>
                <a:gd name="T70" fmla="*/ 56 w 131"/>
                <a:gd name="T71" fmla="*/ 342 h 364"/>
                <a:gd name="T72" fmla="*/ 56 w 131"/>
                <a:gd name="T73" fmla="*/ 342 h 364"/>
                <a:gd name="T74" fmla="*/ 45 w 131"/>
                <a:gd name="T75" fmla="*/ 353 h 364"/>
                <a:gd name="T76" fmla="*/ 35 w 131"/>
                <a:gd name="T77" fmla="*/ 341 h 364"/>
                <a:gd name="T78" fmla="*/ 37 w 131"/>
                <a:gd name="T79" fmla="*/ 121 h 364"/>
                <a:gd name="T80" fmla="*/ 26 w 131"/>
                <a:gd name="T81" fmla="*/ 120 h 364"/>
                <a:gd name="T82" fmla="*/ 24 w 131"/>
                <a:gd name="T83" fmla="*/ 196 h 364"/>
                <a:gd name="T84" fmla="*/ 17 w 131"/>
                <a:gd name="T85" fmla="*/ 202 h 364"/>
                <a:gd name="T86" fmla="*/ 11 w 131"/>
                <a:gd name="T87" fmla="*/ 196 h 364"/>
                <a:gd name="T88" fmla="*/ 11 w 131"/>
                <a:gd name="T89" fmla="*/ 191 h 364"/>
                <a:gd name="T90" fmla="*/ 15 w 131"/>
                <a:gd name="T91" fmla="*/ 101 h 364"/>
                <a:gd name="T92" fmla="*/ 15 w 131"/>
                <a:gd name="T93" fmla="*/ 101 h 364"/>
                <a:gd name="T94" fmla="*/ 66 w 131"/>
                <a:gd name="T95" fmla="*/ 68 h 364"/>
                <a:gd name="T96" fmla="*/ 117 w 131"/>
                <a:gd name="T97" fmla="*/ 103 h 364"/>
                <a:gd name="T98" fmla="*/ 121 w 131"/>
                <a:gd name="T99" fmla="*/ 196 h 364"/>
                <a:gd name="T100" fmla="*/ 114 w 131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1" h="364">
                  <a:moveTo>
                    <a:pt x="127" y="102"/>
                  </a:moveTo>
                  <a:cubicBezTo>
                    <a:pt x="127" y="101"/>
                    <a:pt x="122" y="66"/>
                    <a:pt x="81" y="59"/>
                  </a:cubicBezTo>
                  <a:cubicBezTo>
                    <a:pt x="91" y="53"/>
                    <a:pt x="97" y="43"/>
                    <a:pt x="97" y="32"/>
                  </a:cubicBezTo>
                  <a:cubicBezTo>
                    <a:pt x="97" y="14"/>
                    <a:pt x="83" y="0"/>
                    <a:pt x="66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1" y="53"/>
                    <a:pt x="50" y="59"/>
                  </a:cubicBezTo>
                  <a:cubicBezTo>
                    <a:pt x="14" y="65"/>
                    <a:pt x="5" y="91"/>
                    <a:pt x="5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8" y="213"/>
                    <a:pt x="17" y="213"/>
                  </a:cubicBezTo>
                  <a:cubicBezTo>
                    <a:pt x="20" y="213"/>
                    <a:pt x="23" y="212"/>
                    <a:pt x="25" y="211"/>
                  </a:cubicBezTo>
                  <a:cubicBezTo>
                    <a:pt x="25" y="261"/>
                    <a:pt x="24" y="317"/>
                    <a:pt x="24" y="341"/>
                  </a:cubicBezTo>
                  <a:cubicBezTo>
                    <a:pt x="24" y="354"/>
                    <a:pt x="34" y="364"/>
                    <a:pt x="45" y="364"/>
                  </a:cubicBezTo>
                  <a:cubicBezTo>
                    <a:pt x="54" y="364"/>
                    <a:pt x="62" y="358"/>
                    <a:pt x="65" y="349"/>
                  </a:cubicBezTo>
                  <a:cubicBezTo>
                    <a:pt x="68" y="358"/>
                    <a:pt x="76" y="364"/>
                    <a:pt x="85" y="364"/>
                  </a:cubicBezTo>
                  <a:cubicBezTo>
                    <a:pt x="97" y="364"/>
                    <a:pt x="106" y="354"/>
                    <a:pt x="106" y="342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8" y="212"/>
                    <a:pt x="111" y="213"/>
                    <a:pt x="114" y="213"/>
                  </a:cubicBezTo>
                  <a:cubicBezTo>
                    <a:pt x="123" y="213"/>
                    <a:pt x="131" y="205"/>
                    <a:pt x="131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5" y="32"/>
                  </a:moveTo>
                  <a:cubicBezTo>
                    <a:pt x="45" y="20"/>
                    <a:pt x="54" y="11"/>
                    <a:pt x="66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6" y="53"/>
                  </a:cubicBezTo>
                  <a:cubicBezTo>
                    <a:pt x="54" y="53"/>
                    <a:pt x="45" y="43"/>
                    <a:pt x="45" y="32"/>
                  </a:cubicBezTo>
                  <a:close/>
                  <a:moveTo>
                    <a:pt x="114" y="202"/>
                  </a:moveTo>
                  <a:cubicBezTo>
                    <a:pt x="110" y="202"/>
                    <a:pt x="106" y="200"/>
                    <a:pt x="106" y="196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342"/>
                    <a:pt x="96" y="342"/>
                    <a:pt x="96" y="342"/>
                  </a:cubicBezTo>
                  <a:cubicBezTo>
                    <a:pt x="96" y="348"/>
                    <a:pt x="91" y="353"/>
                    <a:pt x="85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5" y="348"/>
                    <a:pt x="35" y="341"/>
                  </a:cubicBezTo>
                  <a:cubicBezTo>
                    <a:pt x="35" y="294"/>
                    <a:pt x="37" y="122"/>
                    <a:pt x="37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19" y="202"/>
                    <a:pt x="17" y="202"/>
                  </a:cubicBezTo>
                  <a:cubicBezTo>
                    <a:pt x="13" y="202"/>
                    <a:pt x="11" y="200"/>
                    <a:pt x="11" y="196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7" y="68"/>
                    <a:pt x="66" y="68"/>
                  </a:cubicBezTo>
                  <a:cubicBezTo>
                    <a:pt x="111" y="68"/>
                    <a:pt x="117" y="100"/>
                    <a:pt x="117" y="103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0" y="200"/>
                    <a:pt x="117" y="202"/>
                    <a:pt x="114" y="2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28" name="Group 46327">
            <a:extLst>
              <a:ext uri="{FF2B5EF4-FFF2-40B4-BE49-F238E27FC236}">
                <a16:creationId xmlns:a16="http://schemas.microsoft.com/office/drawing/2014/main" id="{DB25867C-B735-4916-B2D4-0A34E589C9B3}"/>
              </a:ext>
            </a:extLst>
          </p:cNvPr>
          <p:cNvGrpSpPr/>
          <p:nvPr/>
        </p:nvGrpSpPr>
        <p:grpSpPr>
          <a:xfrm>
            <a:off x="3466279" y="5510288"/>
            <a:ext cx="768350" cy="768350"/>
            <a:chOff x="3614738" y="5514975"/>
            <a:chExt cx="768350" cy="768350"/>
          </a:xfrm>
        </p:grpSpPr>
        <p:sp>
          <p:nvSpPr>
            <p:cNvPr id="46314" name="AutoShape 136">
              <a:extLst>
                <a:ext uri="{FF2B5EF4-FFF2-40B4-BE49-F238E27FC236}">
                  <a16:creationId xmlns:a16="http://schemas.microsoft.com/office/drawing/2014/main" id="{ACB5C41D-EEF3-42F1-A42E-DEACA679AD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4738" y="551497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6" name="Freeform 139">
              <a:extLst>
                <a:ext uri="{FF2B5EF4-FFF2-40B4-BE49-F238E27FC236}">
                  <a16:creationId xmlns:a16="http://schemas.microsoft.com/office/drawing/2014/main" id="{3BE3D39D-E403-40DA-BD9D-100B93011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4288" y="5715000"/>
              <a:ext cx="87313" cy="180975"/>
            </a:xfrm>
            <a:custGeom>
              <a:avLst/>
              <a:gdLst>
                <a:gd name="T0" fmla="*/ 13 w 168"/>
                <a:gd name="T1" fmla="*/ 187 h 347"/>
                <a:gd name="T2" fmla="*/ 25 w 168"/>
                <a:gd name="T3" fmla="*/ 186 h 347"/>
                <a:gd name="T4" fmla="*/ 11 w 168"/>
                <a:gd name="T5" fmla="*/ 235 h 347"/>
                <a:gd name="T6" fmla="*/ 50 w 168"/>
                <a:gd name="T7" fmla="*/ 235 h 347"/>
                <a:gd name="T8" fmla="*/ 50 w 168"/>
                <a:gd name="T9" fmla="*/ 329 h 347"/>
                <a:gd name="T10" fmla="*/ 67 w 168"/>
                <a:gd name="T11" fmla="*/ 347 h 347"/>
                <a:gd name="T12" fmla="*/ 84 w 168"/>
                <a:gd name="T13" fmla="*/ 336 h 347"/>
                <a:gd name="T14" fmla="*/ 100 w 168"/>
                <a:gd name="T15" fmla="*/ 347 h 347"/>
                <a:gd name="T16" fmla="*/ 118 w 168"/>
                <a:gd name="T17" fmla="*/ 329 h 347"/>
                <a:gd name="T18" fmla="*/ 118 w 168"/>
                <a:gd name="T19" fmla="*/ 235 h 347"/>
                <a:gd name="T20" fmla="*/ 158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4 w 168"/>
                <a:gd name="T39" fmla="*/ 31 h 347"/>
                <a:gd name="T40" fmla="*/ 68 w 168"/>
                <a:gd name="T41" fmla="*/ 56 h 347"/>
                <a:gd name="T42" fmla="*/ 51 w 168"/>
                <a:gd name="T43" fmla="*/ 61 h 347"/>
                <a:gd name="T44" fmla="*/ 20 w 168"/>
                <a:gd name="T45" fmla="*/ 116 h 347"/>
                <a:gd name="T46" fmla="*/ 2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3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2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3 w 168"/>
                <a:gd name="T67" fmla="*/ 72 h 347"/>
                <a:gd name="T68" fmla="*/ 113 w 168"/>
                <a:gd name="T69" fmla="*/ 72 h 347"/>
                <a:gd name="T70" fmla="*/ 138 w 168"/>
                <a:gd name="T71" fmla="*/ 122 h 347"/>
                <a:gd name="T72" fmla="*/ 155 w 168"/>
                <a:gd name="T73" fmla="*/ 169 h 347"/>
                <a:gd name="T74" fmla="*/ 151 w 168"/>
                <a:gd name="T75" fmla="*/ 177 h 347"/>
                <a:gd name="T76" fmla="*/ 150 w 168"/>
                <a:gd name="T77" fmla="*/ 177 h 347"/>
                <a:gd name="T78" fmla="*/ 144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4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0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8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7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7 w 168"/>
                <a:gd name="T113" fmla="*/ 104 h 347"/>
                <a:gd name="T114" fmla="*/ 23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2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5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50" y="339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9"/>
                    <a:pt x="118" y="329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8" y="68"/>
                    <a:pt x="121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4" y="14"/>
                    <a:pt x="54" y="31"/>
                  </a:cubicBezTo>
                  <a:cubicBezTo>
                    <a:pt x="54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9" y="68"/>
                    <a:pt x="20" y="116"/>
                  </a:cubicBezTo>
                  <a:cubicBezTo>
                    <a:pt x="11" y="141"/>
                    <a:pt x="2" y="166"/>
                    <a:pt x="2" y="167"/>
                  </a:cubicBezTo>
                  <a:cubicBezTo>
                    <a:pt x="0" y="175"/>
                    <a:pt x="4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3" y="20"/>
                    <a:pt x="103" y="31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2" y="170"/>
                  </a:move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3"/>
                    <a:pt x="122" y="79"/>
                    <a:pt x="138" y="122"/>
                  </a:cubicBezTo>
                  <a:cubicBezTo>
                    <a:pt x="147" y="146"/>
                    <a:pt x="155" y="169"/>
                    <a:pt x="155" y="169"/>
                  </a:cubicBezTo>
                  <a:cubicBezTo>
                    <a:pt x="156" y="173"/>
                    <a:pt x="155" y="176"/>
                    <a:pt x="151" y="177"/>
                  </a:cubicBezTo>
                  <a:cubicBezTo>
                    <a:pt x="151" y="177"/>
                    <a:pt x="150" y="177"/>
                    <a:pt x="150" y="177"/>
                  </a:cubicBezTo>
                  <a:cubicBezTo>
                    <a:pt x="147" y="177"/>
                    <a:pt x="145" y="176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8" y="230"/>
                    <a:pt x="78" y="230"/>
                    <a:pt x="78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3" y="176"/>
                    <a:pt x="20" y="178"/>
                    <a:pt x="18" y="178"/>
                  </a:cubicBezTo>
                  <a:cubicBezTo>
                    <a:pt x="17" y="178"/>
                    <a:pt x="17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7" name="Freeform 140">
              <a:extLst>
                <a:ext uri="{FF2B5EF4-FFF2-40B4-BE49-F238E27FC236}">
                  <a16:creationId xmlns:a16="http://schemas.microsoft.com/office/drawing/2014/main" id="{4B761CDA-3450-4B63-AFF4-1AD0AE992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851" y="5707063"/>
              <a:ext cx="68263" cy="188913"/>
            </a:xfrm>
            <a:custGeom>
              <a:avLst/>
              <a:gdLst>
                <a:gd name="T0" fmla="*/ 16 w 130"/>
                <a:gd name="T1" fmla="*/ 212 h 363"/>
                <a:gd name="T2" fmla="*/ 25 w 130"/>
                <a:gd name="T3" fmla="*/ 210 h 363"/>
                <a:gd name="T4" fmla="*/ 24 w 130"/>
                <a:gd name="T5" fmla="*/ 340 h 363"/>
                <a:gd name="T6" fmla="*/ 45 w 130"/>
                <a:gd name="T7" fmla="*/ 363 h 363"/>
                <a:gd name="T8" fmla="*/ 65 w 130"/>
                <a:gd name="T9" fmla="*/ 348 h 363"/>
                <a:gd name="T10" fmla="*/ 84 w 130"/>
                <a:gd name="T11" fmla="*/ 363 h 363"/>
                <a:gd name="T12" fmla="*/ 105 w 130"/>
                <a:gd name="T13" fmla="*/ 341 h 363"/>
                <a:gd name="T14" fmla="*/ 105 w 130"/>
                <a:gd name="T15" fmla="*/ 210 h 363"/>
                <a:gd name="T16" fmla="*/ 113 w 130"/>
                <a:gd name="T17" fmla="*/ 212 h 363"/>
                <a:gd name="T18" fmla="*/ 130 w 130"/>
                <a:gd name="T19" fmla="*/ 195 h 363"/>
                <a:gd name="T20" fmla="*/ 127 w 130"/>
                <a:gd name="T21" fmla="*/ 101 h 363"/>
                <a:gd name="T22" fmla="*/ 127 w 130"/>
                <a:gd name="T23" fmla="*/ 101 h 363"/>
                <a:gd name="T24" fmla="*/ 81 w 130"/>
                <a:gd name="T25" fmla="*/ 58 h 363"/>
                <a:gd name="T26" fmla="*/ 96 w 130"/>
                <a:gd name="T27" fmla="*/ 31 h 363"/>
                <a:gd name="T28" fmla="*/ 65 w 130"/>
                <a:gd name="T29" fmla="*/ 0 h 363"/>
                <a:gd name="T30" fmla="*/ 34 w 130"/>
                <a:gd name="T31" fmla="*/ 31 h 363"/>
                <a:gd name="T32" fmla="*/ 49 w 130"/>
                <a:gd name="T33" fmla="*/ 58 h 363"/>
                <a:gd name="T34" fmla="*/ 4 w 130"/>
                <a:gd name="T35" fmla="*/ 100 h 363"/>
                <a:gd name="T36" fmla="*/ 0 w 130"/>
                <a:gd name="T37" fmla="*/ 190 h 363"/>
                <a:gd name="T38" fmla="*/ 0 w 130"/>
                <a:gd name="T39" fmla="*/ 195 h 363"/>
                <a:gd name="T40" fmla="*/ 16 w 130"/>
                <a:gd name="T41" fmla="*/ 212 h 363"/>
                <a:gd name="T42" fmla="*/ 44 w 130"/>
                <a:gd name="T43" fmla="*/ 31 h 363"/>
                <a:gd name="T44" fmla="*/ 65 w 130"/>
                <a:gd name="T45" fmla="*/ 10 h 363"/>
                <a:gd name="T46" fmla="*/ 86 w 130"/>
                <a:gd name="T47" fmla="*/ 31 h 363"/>
                <a:gd name="T48" fmla="*/ 65 w 130"/>
                <a:gd name="T49" fmla="*/ 52 h 363"/>
                <a:gd name="T50" fmla="*/ 44 w 130"/>
                <a:gd name="T51" fmla="*/ 31 h 363"/>
                <a:gd name="T52" fmla="*/ 10 w 130"/>
                <a:gd name="T53" fmla="*/ 190 h 363"/>
                <a:gd name="T54" fmla="*/ 14 w 130"/>
                <a:gd name="T55" fmla="*/ 100 h 363"/>
                <a:gd name="T56" fmla="*/ 14 w 130"/>
                <a:gd name="T57" fmla="*/ 100 h 363"/>
                <a:gd name="T58" fmla="*/ 66 w 130"/>
                <a:gd name="T59" fmla="*/ 67 h 363"/>
                <a:gd name="T60" fmla="*/ 116 w 130"/>
                <a:gd name="T61" fmla="*/ 102 h 363"/>
                <a:gd name="T62" fmla="*/ 120 w 130"/>
                <a:gd name="T63" fmla="*/ 195 h 363"/>
                <a:gd name="T64" fmla="*/ 113 w 130"/>
                <a:gd name="T65" fmla="*/ 202 h 363"/>
                <a:gd name="T66" fmla="*/ 106 w 130"/>
                <a:gd name="T67" fmla="*/ 195 h 363"/>
                <a:gd name="T68" fmla="*/ 103 w 130"/>
                <a:gd name="T69" fmla="*/ 120 h 363"/>
                <a:gd name="T70" fmla="*/ 93 w 130"/>
                <a:gd name="T71" fmla="*/ 120 h 363"/>
                <a:gd name="T72" fmla="*/ 95 w 130"/>
                <a:gd name="T73" fmla="*/ 191 h 363"/>
                <a:gd name="T74" fmla="*/ 95 w 130"/>
                <a:gd name="T75" fmla="*/ 341 h 363"/>
                <a:gd name="T76" fmla="*/ 84 w 130"/>
                <a:gd name="T77" fmla="*/ 352 h 363"/>
                <a:gd name="T78" fmla="*/ 74 w 130"/>
                <a:gd name="T79" fmla="*/ 341 h 363"/>
                <a:gd name="T80" fmla="*/ 70 w 130"/>
                <a:gd name="T81" fmla="*/ 223 h 363"/>
                <a:gd name="T82" fmla="*/ 59 w 130"/>
                <a:gd name="T83" fmla="*/ 223 h 363"/>
                <a:gd name="T84" fmla="*/ 56 w 130"/>
                <a:gd name="T85" fmla="*/ 341 h 363"/>
                <a:gd name="T86" fmla="*/ 56 w 130"/>
                <a:gd name="T87" fmla="*/ 341 h 363"/>
                <a:gd name="T88" fmla="*/ 45 w 130"/>
                <a:gd name="T89" fmla="*/ 352 h 363"/>
                <a:gd name="T90" fmla="*/ 34 w 130"/>
                <a:gd name="T91" fmla="*/ 340 h 363"/>
                <a:gd name="T92" fmla="*/ 36 w 130"/>
                <a:gd name="T93" fmla="*/ 120 h 363"/>
                <a:gd name="T94" fmla="*/ 26 w 130"/>
                <a:gd name="T95" fmla="*/ 120 h 363"/>
                <a:gd name="T96" fmla="*/ 24 w 130"/>
                <a:gd name="T97" fmla="*/ 195 h 363"/>
                <a:gd name="T98" fmla="*/ 16 w 130"/>
                <a:gd name="T99" fmla="*/ 202 h 363"/>
                <a:gd name="T100" fmla="*/ 10 w 130"/>
                <a:gd name="T101" fmla="*/ 195 h 363"/>
                <a:gd name="T102" fmla="*/ 10 w 130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" h="363">
                  <a:moveTo>
                    <a:pt x="16" y="212"/>
                  </a:moveTo>
                  <a:cubicBezTo>
                    <a:pt x="19" y="212"/>
                    <a:pt x="22" y="211"/>
                    <a:pt x="25" y="210"/>
                  </a:cubicBezTo>
                  <a:cubicBezTo>
                    <a:pt x="24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5" y="363"/>
                    <a:pt x="84" y="363"/>
                  </a:cubicBezTo>
                  <a:cubicBezTo>
                    <a:pt x="96" y="363"/>
                    <a:pt x="105" y="353"/>
                    <a:pt x="105" y="341"/>
                  </a:cubicBezTo>
                  <a:cubicBezTo>
                    <a:pt x="105" y="210"/>
                    <a:pt x="105" y="210"/>
                    <a:pt x="105" y="210"/>
                  </a:cubicBezTo>
                  <a:cubicBezTo>
                    <a:pt x="108" y="211"/>
                    <a:pt x="110" y="212"/>
                    <a:pt x="113" y="212"/>
                  </a:cubicBezTo>
                  <a:cubicBezTo>
                    <a:pt x="123" y="212"/>
                    <a:pt x="130" y="204"/>
                    <a:pt x="130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6" y="42"/>
                    <a:pt x="96" y="31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0" y="52"/>
                    <a:pt x="49" y="58"/>
                  </a:cubicBezTo>
                  <a:cubicBezTo>
                    <a:pt x="13" y="64"/>
                    <a:pt x="4" y="90"/>
                    <a:pt x="4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7" y="212"/>
                    <a:pt x="16" y="212"/>
                  </a:cubicBezTo>
                  <a:close/>
                  <a:moveTo>
                    <a:pt x="44" y="31"/>
                  </a:moveTo>
                  <a:cubicBezTo>
                    <a:pt x="44" y="19"/>
                    <a:pt x="54" y="10"/>
                    <a:pt x="65" y="10"/>
                  </a:cubicBezTo>
                  <a:cubicBezTo>
                    <a:pt x="77" y="10"/>
                    <a:pt x="86" y="19"/>
                    <a:pt x="86" y="31"/>
                  </a:cubicBezTo>
                  <a:cubicBezTo>
                    <a:pt x="86" y="42"/>
                    <a:pt x="77" y="52"/>
                    <a:pt x="65" y="52"/>
                  </a:cubicBezTo>
                  <a:cubicBezTo>
                    <a:pt x="54" y="52"/>
                    <a:pt x="44" y="42"/>
                    <a:pt x="44" y="31"/>
                  </a:cubicBezTo>
                  <a:close/>
                  <a:moveTo>
                    <a:pt x="10" y="190"/>
                  </a:move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6" y="67"/>
                    <a:pt x="66" y="67"/>
                  </a:cubicBezTo>
                  <a:cubicBezTo>
                    <a:pt x="110" y="67"/>
                    <a:pt x="116" y="99"/>
                    <a:pt x="116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09" y="202"/>
                    <a:pt x="106" y="199"/>
                    <a:pt x="106" y="195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341"/>
                    <a:pt x="95" y="341"/>
                    <a:pt x="95" y="341"/>
                  </a:cubicBezTo>
                  <a:cubicBezTo>
                    <a:pt x="95" y="347"/>
                    <a:pt x="90" y="352"/>
                    <a:pt x="84" y="352"/>
                  </a:cubicBezTo>
                  <a:cubicBezTo>
                    <a:pt x="79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4" y="347"/>
                    <a:pt x="34" y="340"/>
                  </a:cubicBezTo>
                  <a:cubicBezTo>
                    <a:pt x="34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4" y="200"/>
                    <a:pt x="19" y="202"/>
                    <a:pt x="16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8" name="Freeform 141">
              <a:extLst>
                <a:ext uri="{FF2B5EF4-FFF2-40B4-BE49-F238E27FC236}">
                  <a16:creationId xmlns:a16="http://schemas.microsoft.com/office/drawing/2014/main" id="{325A5D28-4379-447F-8618-725D1A0DD6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2563" y="5715000"/>
              <a:ext cx="87313" cy="180975"/>
            </a:xfrm>
            <a:custGeom>
              <a:avLst/>
              <a:gdLst>
                <a:gd name="T0" fmla="*/ 13 w 168"/>
                <a:gd name="T1" fmla="*/ 187 h 347"/>
                <a:gd name="T2" fmla="*/ 25 w 168"/>
                <a:gd name="T3" fmla="*/ 186 h 347"/>
                <a:gd name="T4" fmla="*/ 12 w 168"/>
                <a:gd name="T5" fmla="*/ 235 h 347"/>
                <a:gd name="T6" fmla="*/ 50 w 168"/>
                <a:gd name="T7" fmla="*/ 235 h 347"/>
                <a:gd name="T8" fmla="*/ 50 w 168"/>
                <a:gd name="T9" fmla="*/ 329 h 347"/>
                <a:gd name="T10" fmla="*/ 68 w 168"/>
                <a:gd name="T11" fmla="*/ 347 h 347"/>
                <a:gd name="T12" fmla="*/ 84 w 168"/>
                <a:gd name="T13" fmla="*/ 336 h 347"/>
                <a:gd name="T14" fmla="*/ 101 w 168"/>
                <a:gd name="T15" fmla="*/ 347 h 347"/>
                <a:gd name="T16" fmla="*/ 119 w 168"/>
                <a:gd name="T17" fmla="*/ 329 h 347"/>
                <a:gd name="T18" fmla="*/ 119 w 168"/>
                <a:gd name="T19" fmla="*/ 235 h 347"/>
                <a:gd name="T20" fmla="*/ 159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4 w 168"/>
                <a:gd name="T39" fmla="*/ 31 h 347"/>
                <a:gd name="T40" fmla="*/ 69 w 168"/>
                <a:gd name="T41" fmla="*/ 56 h 347"/>
                <a:gd name="T42" fmla="*/ 52 w 168"/>
                <a:gd name="T43" fmla="*/ 61 h 347"/>
                <a:gd name="T44" fmla="*/ 21 w 168"/>
                <a:gd name="T45" fmla="*/ 116 h 347"/>
                <a:gd name="T46" fmla="*/ 3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4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3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4 w 168"/>
                <a:gd name="T67" fmla="*/ 72 h 347"/>
                <a:gd name="T68" fmla="*/ 114 w 168"/>
                <a:gd name="T69" fmla="*/ 72 h 347"/>
                <a:gd name="T70" fmla="*/ 139 w 168"/>
                <a:gd name="T71" fmla="*/ 122 h 347"/>
                <a:gd name="T72" fmla="*/ 156 w 168"/>
                <a:gd name="T73" fmla="*/ 169 h 347"/>
                <a:gd name="T74" fmla="*/ 152 w 168"/>
                <a:gd name="T75" fmla="*/ 177 h 347"/>
                <a:gd name="T76" fmla="*/ 150 w 168"/>
                <a:gd name="T77" fmla="*/ 177 h 347"/>
                <a:gd name="T78" fmla="*/ 145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5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1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9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8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8 w 168"/>
                <a:gd name="T113" fmla="*/ 104 h 347"/>
                <a:gd name="T114" fmla="*/ 24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3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50" y="339"/>
                    <a:pt x="58" y="347"/>
                    <a:pt x="68" y="347"/>
                  </a:cubicBezTo>
                  <a:cubicBezTo>
                    <a:pt x="75" y="347"/>
                    <a:pt x="82" y="342"/>
                    <a:pt x="84" y="336"/>
                  </a:cubicBezTo>
                  <a:cubicBezTo>
                    <a:pt x="87" y="342"/>
                    <a:pt x="93" y="347"/>
                    <a:pt x="101" y="347"/>
                  </a:cubicBezTo>
                  <a:cubicBezTo>
                    <a:pt x="111" y="347"/>
                    <a:pt x="119" y="339"/>
                    <a:pt x="119" y="329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9" y="68"/>
                    <a:pt x="121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7" y="0"/>
                    <a:pt x="54" y="14"/>
                    <a:pt x="54" y="31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6"/>
                  </a:cubicBezTo>
                  <a:cubicBezTo>
                    <a:pt x="11" y="141"/>
                    <a:pt x="3" y="166"/>
                    <a:pt x="3" y="167"/>
                  </a:cubicBezTo>
                  <a:cubicBezTo>
                    <a:pt x="0" y="175"/>
                    <a:pt x="5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4" y="20"/>
                    <a:pt x="104" y="31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3" y="170"/>
                  </a:move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3"/>
                    <a:pt x="122" y="79"/>
                    <a:pt x="139" y="122"/>
                  </a:cubicBezTo>
                  <a:cubicBezTo>
                    <a:pt x="148" y="146"/>
                    <a:pt x="155" y="169"/>
                    <a:pt x="156" y="169"/>
                  </a:cubicBezTo>
                  <a:cubicBezTo>
                    <a:pt x="157" y="173"/>
                    <a:pt x="155" y="176"/>
                    <a:pt x="152" y="177"/>
                  </a:cubicBez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6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8"/>
                    <a:pt x="18" y="178"/>
                  </a:cubicBezTo>
                  <a:cubicBezTo>
                    <a:pt x="18" y="178"/>
                    <a:pt x="17" y="177"/>
                    <a:pt x="16" y="177"/>
                  </a:cubicBezTo>
                  <a:cubicBezTo>
                    <a:pt x="13" y="176"/>
                    <a:pt x="12" y="173"/>
                    <a:pt x="13" y="17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9" name="Freeform 142">
              <a:extLst>
                <a:ext uri="{FF2B5EF4-FFF2-40B4-BE49-F238E27FC236}">
                  <a16:creationId xmlns:a16="http://schemas.microsoft.com/office/drawing/2014/main" id="{A1D3B68F-B36A-4021-A28A-93AF2C154B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1126" y="5707063"/>
              <a:ext cx="68263" cy="188913"/>
            </a:xfrm>
            <a:custGeom>
              <a:avLst/>
              <a:gdLst>
                <a:gd name="T0" fmla="*/ 17 w 131"/>
                <a:gd name="T1" fmla="*/ 212 h 363"/>
                <a:gd name="T2" fmla="*/ 25 w 131"/>
                <a:gd name="T3" fmla="*/ 210 h 363"/>
                <a:gd name="T4" fmla="*/ 24 w 131"/>
                <a:gd name="T5" fmla="*/ 340 h 363"/>
                <a:gd name="T6" fmla="*/ 45 w 131"/>
                <a:gd name="T7" fmla="*/ 363 h 363"/>
                <a:gd name="T8" fmla="*/ 65 w 131"/>
                <a:gd name="T9" fmla="*/ 348 h 363"/>
                <a:gd name="T10" fmla="*/ 85 w 131"/>
                <a:gd name="T11" fmla="*/ 363 h 363"/>
                <a:gd name="T12" fmla="*/ 106 w 131"/>
                <a:gd name="T13" fmla="*/ 341 h 363"/>
                <a:gd name="T14" fmla="*/ 106 w 131"/>
                <a:gd name="T15" fmla="*/ 210 h 363"/>
                <a:gd name="T16" fmla="*/ 113 w 131"/>
                <a:gd name="T17" fmla="*/ 212 h 363"/>
                <a:gd name="T18" fmla="*/ 131 w 131"/>
                <a:gd name="T19" fmla="*/ 195 h 363"/>
                <a:gd name="T20" fmla="*/ 127 w 131"/>
                <a:gd name="T21" fmla="*/ 101 h 363"/>
                <a:gd name="T22" fmla="*/ 127 w 131"/>
                <a:gd name="T23" fmla="*/ 101 h 363"/>
                <a:gd name="T24" fmla="*/ 81 w 131"/>
                <a:gd name="T25" fmla="*/ 58 h 363"/>
                <a:gd name="T26" fmla="*/ 97 w 131"/>
                <a:gd name="T27" fmla="*/ 31 h 363"/>
                <a:gd name="T28" fmla="*/ 65 w 131"/>
                <a:gd name="T29" fmla="*/ 0 h 363"/>
                <a:gd name="T30" fmla="*/ 34 w 131"/>
                <a:gd name="T31" fmla="*/ 31 h 363"/>
                <a:gd name="T32" fmla="*/ 50 w 131"/>
                <a:gd name="T33" fmla="*/ 58 h 363"/>
                <a:gd name="T34" fmla="*/ 5 w 131"/>
                <a:gd name="T35" fmla="*/ 100 h 363"/>
                <a:gd name="T36" fmla="*/ 0 w 131"/>
                <a:gd name="T37" fmla="*/ 190 h 363"/>
                <a:gd name="T38" fmla="*/ 0 w 131"/>
                <a:gd name="T39" fmla="*/ 195 h 363"/>
                <a:gd name="T40" fmla="*/ 17 w 131"/>
                <a:gd name="T41" fmla="*/ 212 h 363"/>
                <a:gd name="T42" fmla="*/ 45 w 131"/>
                <a:gd name="T43" fmla="*/ 31 h 363"/>
                <a:gd name="T44" fmla="*/ 65 w 131"/>
                <a:gd name="T45" fmla="*/ 10 h 363"/>
                <a:gd name="T46" fmla="*/ 86 w 131"/>
                <a:gd name="T47" fmla="*/ 31 h 363"/>
                <a:gd name="T48" fmla="*/ 65 w 131"/>
                <a:gd name="T49" fmla="*/ 52 h 363"/>
                <a:gd name="T50" fmla="*/ 45 w 131"/>
                <a:gd name="T51" fmla="*/ 31 h 363"/>
                <a:gd name="T52" fmla="*/ 10 w 131"/>
                <a:gd name="T53" fmla="*/ 190 h 363"/>
                <a:gd name="T54" fmla="*/ 15 w 131"/>
                <a:gd name="T55" fmla="*/ 100 h 363"/>
                <a:gd name="T56" fmla="*/ 15 w 131"/>
                <a:gd name="T57" fmla="*/ 100 h 363"/>
                <a:gd name="T58" fmla="*/ 66 w 131"/>
                <a:gd name="T59" fmla="*/ 67 h 363"/>
                <a:gd name="T60" fmla="*/ 117 w 131"/>
                <a:gd name="T61" fmla="*/ 102 h 363"/>
                <a:gd name="T62" fmla="*/ 120 w 131"/>
                <a:gd name="T63" fmla="*/ 195 h 363"/>
                <a:gd name="T64" fmla="*/ 113 w 131"/>
                <a:gd name="T65" fmla="*/ 202 h 363"/>
                <a:gd name="T66" fmla="*/ 106 w 131"/>
                <a:gd name="T67" fmla="*/ 195 h 363"/>
                <a:gd name="T68" fmla="*/ 104 w 131"/>
                <a:gd name="T69" fmla="*/ 120 h 363"/>
                <a:gd name="T70" fmla="*/ 93 w 131"/>
                <a:gd name="T71" fmla="*/ 120 h 363"/>
                <a:gd name="T72" fmla="*/ 96 w 131"/>
                <a:gd name="T73" fmla="*/ 191 h 363"/>
                <a:gd name="T74" fmla="*/ 96 w 131"/>
                <a:gd name="T75" fmla="*/ 341 h 363"/>
                <a:gd name="T76" fmla="*/ 85 w 131"/>
                <a:gd name="T77" fmla="*/ 352 h 363"/>
                <a:gd name="T78" fmla="*/ 74 w 131"/>
                <a:gd name="T79" fmla="*/ 341 h 363"/>
                <a:gd name="T80" fmla="*/ 70 w 131"/>
                <a:gd name="T81" fmla="*/ 223 h 363"/>
                <a:gd name="T82" fmla="*/ 60 w 131"/>
                <a:gd name="T83" fmla="*/ 223 h 363"/>
                <a:gd name="T84" fmla="*/ 56 w 131"/>
                <a:gd name="T85" fmla="*/ 341 h 363"/>
                <a:gd name="T86" fmla="*/ 56 w 131"/>
                <a:gd name="T87" fmla="*/ 341 h 363"/>
                <a:gd name="T88" fmla="*/ 45 w 131"/>
                <a:gd name="T89" fmla="*/ 352 h 363"/>
                <a:gd name="T90" fmla="*/ 35 w 131"/>
                <a:gd name="T91" fmla="*/ 340 h 363"/>
                <a:gd name="T92" fmla="*/ 36 w 131"/>
                <a:gd name="T93" fmla="*/ 120 h 363"/>
                <a:gd name="T94" fmla="*/ 26 w 131"/>
                <a:gd name="T95" fmla="*/ 120 h 363"/>
                <a:gd name="T96" fmla="*/ 24 w 131"/>
                <a:gd name="T97" fmla="*/ 195 h 363"/>
                <a:gd name="T98" fmla="*/ 17 w 131"/>
                <a:gd name="T99" fmla="*/ 202 h 363"/>
                <a:gd name="T100" fmla="*/ 10 w 131"/>
                <a:gd name="T101" fmla="*/ 195 h 363"/>
                <a:gd name="T102" fmla="*/ 10 w 131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1" h="363">
                  <a:moveTo>
                    <a:pt x="17" y="212"/>
                  </a:moveTo>
                  <a:cubicBezTo>
                    <a:pt x="20" y="212"/>
                    <a:pt x="23" y="211"/>
                    <a:pt x="25" y="210"/>
                  </a:cubicBezTo>
                  <a:cubicBezTo>
                    <a:pt x="25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6" y="363"/>
                    <a:pt x="85" y="363"/>
                  </a:cubicBezTo>
                  <a:cubicBezTo>
                    <a:pt x="96" y="363"/>
                    <a:pt x="106" y="353"/>
                    <a:pt x="106" y="341"/>
                  </a:cubicBezTo>
                  <a:cubicBezTo>
                    <a:pt x="106" y="210"/>
                    <a:pt x="106" y="210"/>
                    <a:pt x="106" y="210"/>
                  </a:cubicBezTo>
                  <a:cubicBezTo>
                    <a:pt x="108" y="211"/>
                    <a:pt x="111" y="212"/>
                    <a:pt x="113" y="212"/>
                  </a:cubicBezTo>
                  <a:cubicBezTo>
                    <a:pt x="123" y="212"/>
                    <a:pt x="131" y="204"/>
                    <a:pt x="131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7" y="42"/>
                    <a:pt x="97" y="31"/>
                  </a:cubicBezTo>
                  <a:cubicBezTo>
                    <a:pt x="97" y="14"/>
                    <a:pt x="83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1" y="52"/>
                    <a:pt x="50" y="58"/>
                  </a:cubicBezTo>
                  <a:cubicBezTo>
                    <a:pt x="14" y="64"/>
                    <a:pt x="5" y="90"/>
                    <a:pt x="5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8" y="212"/>
                    <a:pt x="17" y="212"/>
                  </a:cubicBezTo>
                  <a:close/>
                  <a:moveTo>
                    <a:pt x="45" y="31"/>
                  </a:moveTo>
                  <a:cubicBezTo>
                    <a:pt x="45" y="19"/>
                    <a:pt x="54" y="10"/>
                    <a:pt x="65" y="10"/>
                  </a:cubicBezTo>
                  <a:cubicBezTo>
                    <a:pt x="77" y="10"/>
                    <a:pt x="86" y="19"/>
                    <a:pt x="86" y="31"/>
                  </a:cubicBezTo>
                  <a:cubicBezTo>
                    <a:pt x="86" y="42"/>
                    <a:pt x="77" y="52"/>
                    <a:pt x="65" y="52"/>
                  </a:cubicBezTo>
                  <a:cubicBezTo>
                    <a:pt x="54" y="52"/>
                    <a:pt x="45" y="42"/>
                    <a:pt x="45" y="31"/>
                  </a:cubicBezTo>
                  <a:close/>
                  <a:moveTo>
                    <a:pt x="10" y="19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7" y="67"/>
                    <a:pt x="66" y="67"/>
                  </a:cubicBezTo>
                  <a:cubicBezTo>
                    <a:pt x="111" y="67"/>
                    <a:pt x="116" y="99"/>
                    <a:pt x="117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10" y="202"/>
                    <a:pt x="106" y="199"/>
                    <a:pt x="106" y="195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96" y="341"/>
                    <a:pt x="96" y="341"/>
                    <a:pt x="96" y="341"/>
                  </a:cubicBezTo>
                  <a:cubicBezTo>
                    <a:pt x="96" y="347"/>
                    <a:pt x="91" y="352"/>
                    <a:pt x="85" y="352"/>
                  </a:cubicBezTo>
                  <a:cubicBezTo>
                    <a:pt x="79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5" y="347"/>
                    <a:pt x="35" y="340"/>
                  </a:cubicBezTo>
                  <a:cubicBezTo>
                    <a:pt x="35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4" y="200"/>
                    <a:pt x="19" y="202"/>
                    <a:pt x="17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0" name="Freeform 143">
              <a:extLst>
                <a:ext uri="{FF2B5EF4-FFF2-40B4-BE49-F238E27FC236}">
                  <a16:creationId xmlns:a16="http://schemas.microsoft.com/office/drawing/2014/main" id="{62545152-760F-4AF6-B28A-2A302CB0C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7663" y="5715000"/>
              <a:ext cx="87313" cy="180975"/>
            </a:xfrm>
            <a:custGeom>
              <a:avLst/>
              <a:gdLst>
                <a:gd name="T0" fmla="*/ 13 w 168"/>
                <a:gd name="T1" fmla="*/ 187 h 347"/>
                <a:gd name="T2" fmla="*/ 24 w 168"/>
                <a:gd name="T3" fmla="*/ 186 h 347"/>
                <a:gd name="T4" fmla="*/ 11 w 168"/>
                <a:gd name="T5" fmla="*/ 235 h 347"/>
                <a:gd name="T6" fmla="*/ 49 w 168"/>
                <a:gd name="T7" fmla="*/ 235 h 347"/>
                <a:gd name="T8" fmla="*/ 49 w 168"/>
                <a:gd name="T9" fmla="*/ 329 h 347"/>
                <a:gd name="T10" fmla="*/ 67 w 168"/>
                <a:gd name="T11" fmla="*/ 347 h 347"/>
                <a:gd name="T12" fmla="*/ 84 w 168"/>
                <a:gd name="T13" fmla="*/ 336 h 347"/>
                <a:gd name="T14" fmla="*/ 100 w 168"/>
                <a:gd name="T15" fmla="*/ 347 h 347"/>
                <a:gd name="T16" fmla="*/ 118 w 168"/>
                <a:gd name="T17" fmla="*/ 329 h 347"/>
                <a:gd name="T18" fmla="*/ 118 w 168"/>
                <a:gd name="T19" fmla="*/ 235 h 347"/>
                <a:gd name="T20" fmla="*/ 158 w 168"/>
                <a:gd name="T21" fmla="*/ 235 h 347"/>
                <a:gd name="T22" fmla="*/ 143 w 168"/>
                <a:gd name="T23" fmla="*/ 186 h 347"/>
                <a:gd name="T24" fmla="*/ 155 w 168"/>
                <a:gd name="T25" fmla="*/ 187 h 347"/>
                <a:gd name="T26" fmla="*/ 165 w 168"/>
                <a:gd name="T27" fmla="*/ 166 h 347"/>
                <a:gd name="T28" fmla="*/ 147 w 168"/>
                <a:gd name="T29" fmla="*/ 115 h 347"/>
                <a:gd name="T30" fmla="*/ 115 w 168"/>
                <a:gd name="T31" fmla="*/ 61 h 347"/>
                <a:gd name="T32" fmla="*/ 99 w 168"/>
                <a:gd name="T33" fmla="*/ 57 h 347"/>
                <a:gd name="T34" fmla="*/ 114 w 168"/>
                <a:gd name="T35" fmla="*/ 31 h 347"/>
                <a:gd name="T36" fmla="*/ 84 w 168"/>
                <a:gd name="T37" fmla="*/ 0 h 347"/>
                <a:gd name="T38" fmla="*/ 53 w 168"/>
                <a:gd name="T39" fmla="*/ 31 h 347"/>
                <a:gd name="T40" fmla="*/ 68 w 168"/>
                <a:gd name="T41" fmla="*/ 56 h 347"/>
                <a:gd name="T42" fmla="*/ 51 w 168"/>
                <a:gd name="T43" fmla="*/ 61 h 347"/>
                <a:gd name="T44" fmla="*/ 20 w 168"/>
                <a:gd name="T45" fmla="*/ 116 h 347"/>
                <a:gd name="T46" fmla="*/ 2 w 168"/>
                <a:gd name="T47" fmla="*/ 167 h 347"/>
                <a:gd name="T48" fmla="*/ 13 w 168"/>
                <a:gd name="T49" fmla="*/ 187 h 347"/>
                <a:gd name="T50" fmla="*/ 64 w 168"/>
                <a:gd name="T51" fmla="*/ 31 h 347"/>
                <a:gd name="T52" fmla="*/ 84 w 168"/>
                <a:gd name="T53" fmla="*/ 11 h 347"/>
                <a:gd name="T54" fmla="*/ 103 w 168"/>
                <a:gd name="T55" fmla="*/ 31 h 347"/>
                <a:gd name="T56" fmla="*/ 84 w 168"/>
                <a:gd name="T57" fmla="*/ 50 h 347"/>
                <a:gd name="T58" fmla="*/ 64 w 168"/>
                <a:gd name="T59" fmla="*/ 31 h 347"/>
                <a:gd name="T60" fmla="*/ 12 w 168"/>
                <a:gd name="T61" fmla="*/ 170 h 347"/>
                <a:gd name="T62" fmla="*/ 53 w 168"/>
                <a:gd name="T63" fmla="*/ 72 h 347"/>
                <a:gd name="T64" fmla="*/ 83 w 168"/>
                <a:gd name="T65" fmla="*/ 63 h 347"/>
                <a:gd name="T66" fmla="*/ 113 w 168"/>
                <a:gd name="T67" fmla="*/ 72 h 347"/>
                <a:gd name="T68" fmla="*/ 113 w 168"/>
                <a:gd name="T69" fmla="*/ 72 h 347"/>
                <a:gd name="T70" fmla="*/ 138 w 168"/>
                <a:gd name="T71" fmla="*/ 122 h 347"/>
                <a:gd name="T72" fmla="*/ 155 w 168"/>
                <a:gd name="T73" fmla="*/ 169 h 347"/>
                <a:gd name="T74" fmla="*/ 151 w 168"/>
                <a:gd name="T75" fmla="*/ 177 h 347"/>
                <a:gd name="T76" fmla="*/ 149 w 168"/>
                <a:gd name="T77" fmla="*/ 177 h 347"/>
                <a:gd name="T78" fmla="*/ 144 w 168"/>
                <a:gd name="T79" fmla="*/ 173 h 347"/>
                <a:gd name="T80" fmla="*/ 117 w 168"/>
                <a:gd name="T81" fmla="*/ 103 h 347"/>
                <a:gd name="T82" fmla="*/ 107 w 168"/>
                <a:gd name="T83" fmla="*/ 107 h 347"/>
                <a:gd name="T84" fmla="*/ 144 w 168"/>
                <a:gd name="T85" fmla="*/ 225 h 347"/>
                <a:gd name="T86" fmla="*/ 108 w 168"/>
                <a:gd name="T87" fmla="*/ 225 h 347"/>
                <a:gd name="T88" fmla="*/ 108 w 168"/>
                <a:gd name="T89" fmla="*/ 329 h 347"/>
                <a:gd name="T90" fmla="*/ 100 w 168"/>
                <a:gd name="T91" fmla="*/ 336 h 347"/>
                <a:gd name="T92" fmla="*/ 93 w 168"/>
                <a:gd name="T93" fmla="*/ 329 h 347"/>
                <a:gd name="T94" fmla="*/ 89 w 168"/>
                <a:gd name="T95" fmla="*/ 230 h 347"/>
                <a:gd name="T96" fmla="*/ 78 w 168"/>
                <a:gd name="T97" fmla="*/ 230 h 347"/>
                <a:gd name="T98" fmla="*/ 75 w 168"/>
                <a:gd name="T99" fmla="*/ 329 h 347"/>
                <a:gd name="T100" fmla="*/ 75 w 168"/>
                <a:gd name="T101" fmla="*/ 329 h 347"/>
                <a:gd name="T102" fmla="*/ 67 w 168"/>
                <a:gd name="T103" fmla="*/ 336 h 347"/>
                <a:gd name="T104" fmla="*/ 60 w 168"/>
                <a:gd name="T105" fmla="*/ 329 h 347"/>
                <a:gd name="T106" fmla="*/ 60 w 168"/>
                <a:gd name="T107" fmla="*/ 225 h 347"/>
                <a:gd name="T108" fmla="*/ 25 w 168"/>
                <a:gd name="T109" fmla="*/ 225 h 347"/>
                <a:gd name="T110" fmla="*/ 57 w 168"/>
                <a:gd name="T111" fmla="*/ 107 h 347"/>
                <a:gd name="T112" fmla="*/ 47 w 168"/>
                <a:gd name="T113" fmla="*/ 104 h 347"/>
                <a:gd name="T114" fmla="*/ 23 w 168"/>
                <a:gd name="T115" fmla="*/ 173 h 347"/>
                <a:gd name="T116" fmla="*/ 18 w 168"/>
                <a:gd name="T117" fmla="*/ 178 h 347"/>
                <a:gd name="T118" fmla="*/ 16 w 168"/>
                <a:gd name="T119" fmla="*/ 177 h 347"/>
                <a:gd name="T120" fmla="*/ 12 w 168"/>
                <a:gd name="T12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3" y="187"/>
                  </a:moveTo>
                  <a:cubicBezTo>
                    <a:pt x="17" y="188"/>
                    <a:pt x="21" y="188"/>
                    <a:pt x="24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49" y="235"/>
                    <a:pt x="49" y="235"/>
                    <a:pt x="49" y="235"/>
                  </a:cubicBezTo>
                  <a:cubicBezTo>
                    <a:pt x="49" y="329"/>
                    <a:pt x="49" y="329"/>
                    <a:pt x="49" y="329"/>
                  </a:cubicBezTo>
                  <a:cubicBezTo>
                    <a:pt x="49" y="339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9"/>
                    <a:pt x="118" y="329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5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ubicBezTo>
                    <a:pt x="128" y="68"/>
                    <a:pt x="120" y="62"/>
                    <a:pt x="115" y="61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8" y="51"/>
                    <a:pt x="114" y="42"/>
                    <a:pt x="114" y="31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3" y="14"/>
                    <a:pt x="53" y="31"/>
                  </a:cubicBezTo>
                  <a:cubicBezTo>
                    <a:pt x="53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8" y="68"/>
                    <a:pt x="20" y="116"/>
                  </a:cubicBezTo>
                  <a:cubicBezTo>
                    <a:pt x="11" y="141"/>
                    <a:pt x="2" y="166"/>
                    <a:pt x="2" y="167"/>
                  </a:cubicBezTo>
                  <a:cubicBezTo>
                    <a:pt x="0" y="175"/>
                    <a:pt x="4" y="184"/>
                    <a:pt x="13" y="187"/>
                  </a:cubicBezTo>
                  <a:close/>
                  <a:moveTo>
                    <a:pt x="64" y="31"/>
                  </a:moveTo>
                  <a:cubicBezTo>
                    <a:pt x="64" y="20"/>
                    <a:pt x="73" y="11"/>
                    <a:pt x="84" y="11"/>
                  </a:cubicBezTo>
                  <a:cubicBezTo>
                    <a:pt x="95" y="11"/>
                    <a:pt x="103" y="20"/>
                    <a:pt x="103" y="31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1"/>
                  </a:cubicBezTo>
                  <a:close/>
                  <a:moveTo>
                    <a:pt x="12" y="170"/>
                  </a:move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3"/>
                    <a:pt x="122" y="79"/>
                    <a:pt x="138" y="122"/>
                  </a:cubicBezTo>
                  <a:cubicBezTo>
                    <a:pt x="147" y="146"/>
                    <a:pt x="155" y="169"/>
                    <a:pt x="155" y="169"/>
                  </a:cubicBezTo>
                  <a:cubicBezTo>
                    <a:pt x="156" y="173"/>
                    <a:pt x="154" y="176"/>
                    <a:pt x="151" y="177"/>
                  </a:cubicBezTo>
                  <a:cubicBezTo>
                    <a:pt x="151" y="177"/>
                    <a:pt x="150" y="177"/>
                    <a:pt x="149" y="177"/>
                  </a:cubicBezTo>
                  <a:cubicBezTo>
                    <a:pt x="147" y="177"/>
                    <a:pt x="145" y="176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9"/>
                    <a:pt x="108" y="329"/>
                    <a:pt x="108" y="329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9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8" y="230"/>
                    <a:pt x="78" y="230"/>
                    <a:pt x="78" y="230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29"/>
                    <a:pt x="75" y="329"/>
                    <a:pt x="75" y="329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9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2" y="176"/>
                    <a:pt x="20" y="178"/>
                    <a:pt x="18" y="178"/>
                  </a:cubicBezTo>
                  <a:cubicBezTo>
                    <a:pt x="17" y="178"/>
                    <a:pt x="16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1" name="Freeform 144">
              <a:extLst>
                <a:ext uri="{FF2B5EF4-FFF2-40B4-BE49-F238E27FC236}">
                  <a16:creationId xmlns:a16="http://schemas.microsoft.com/office/drawing/2014/main" id="{9000E97D-3793-43E4-929B-A23FA0A98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86226" y="5707063"/>
              <a:ext cx="68263" cy="188913"/>
            </a:xfrm>
            <a:custGeom>
              <a:avLst/>
              <a:gdLst>
                <a:gd name="T0" fmla="*/ 16 w 130"/>
                <a:gd name="T1" fmla="*/ 212 h 363"/>
                <a:gd name="T2" fmla="*/ 25 w 130"/>
                <a:gd name="T3" fmla="*/ 210 h 363"/>
                <a:gd name="T4" fmla="*/ 24 w 130"/>
                <a:gd name="T5" fmla="*/ 340 h 363"/>
                <a:gd name="T6" fmla="*/ 45 w 130"/>
                <a:gd name="T7" fmla="*/ 363 h 363"/>
                <a:gd name="T8" fmla="*/ 65 w 130"/>
                <a:gd name="T9" fmla="*/ 348 h 363"/>
                <a:gd name="T10" fmla="*/ 84 w 130"/>
                <a:gd name="T11" fmla="*/ 363 h 363"/>
                <a:gd name="T12" fmla="*/ 105 w 130"/>
                <a:gd name="T13" fmla="*/ 341 h 363"/>
                <a:gd name="T14" fmla="*/ 105 w 130"/>
                <a:gd name="T15" fmla="*/ 210 h 363"/>
                <a:gd name="T16" fmla="*/ 113 w 130"/>
                <a:gd name="T17" fmla="*/ 212 h 363"/>
                <a:gd name="T18" fmla="*/ 130 w 130"/>
                <a:gd name="T19" fmla="*/ 195 h 363"/>
                <a:gd name="T20" fmla="*/ 127 w 130"/>
                <a:gd name="T21" fmla="*/ 101 h 363"/>
                <a:gd name="T22" fmla="*/ 127 w 130"/>
                <a:gd name="T23" fmla="*/ 101 h 363"/>
                <a:gd name="T24" fmla="*/ 81 w 130"/>
                <a:gd name="T25" fmla="*/ 58 h 363"/>
                <a:gd name="T26" fmla="*/ 96 w 130"/>
                <a:gd name="T27" fmla="*/ 31 h 363"/>
                <a:gd name="T28" fmla="*/ 65 w 130"/>
                <a:gd name="T29" fmla="*/ 0 h 363"/>
                <a:gd name="T30" fmla="*/ 34 w 130"/>
                <a:gd name="T31" fmla="*/ 31 h 363"/>
                <a:gd name="T32" fmla="*/ 49 w 130"/>
                <a:gd name="T33" fmla="*/ 58 h 363"/>
                <a:gd name="T34" fmla="*/ 4 w 130"/>
                <a:gd name="T35" fmla="*/ 100 h 363"/>
                <a:gd name="T36" fmla="*/ 0 w 130"/>
                <a:gd name="T37" fmla="*/ 190 h 363"/>
                <a:gd name="T38" fmla="*/ 0 w 130"/>
                <a:gd name="T39" fmla="*/ 195 h 363"/>
                <a:gd name="T40" fmla="*/ 16 w 130"/>
                <a:gd name="T41" fmla="*/ 212 h 363"/>
                <a:gd name="T42" fmla="*/ 44 w 130"/>
                <a:gd name="T43" fmla="*/ 31 h 363"/>
                <a:gd name="T44" fmla="*/ 65 w 130"/>
                <a:gd name="T45" fmla="*/ 10 h 363"/>
                <a:gd name="T46" fmla="*/ 86 w 130"/>
                <a:gd name="T47" fmla="*/ 31 h 363"/>
                <a:gd name="T48" fmla="*/ 65 w 130"/>
                <a:gd name="T49" fmla="*/ 52 h 363"/>
                <a:gd name="T50" fmla="*/ 44 w 130"/>
                <a:gd name="T51" fmla="*/ 31 h 363"/>
                <a:gd name="T52" fmla="*/ 10 w 130"/>
                <a:gd name="T53" fmla="*/ 190 h 363"/>
                <a:gd name="T54" fmla="*/ 14 w 130"/>
                <a:gd name="T55" fmla="*/ 100 h 363"/>
                <a:gd name="T56" fmla="*/ 14 w 130"/>
                <a:gd name="T57" fmla="*/ 100 h 363"/>
                <a:gd name="T58" fmla="*/ 66 w 130"/>
                <a:gd name="T59" fmla="*/ 67 h 363"/>
                <a:gd name="T60" fmla="*/ 116 w 130"/>
                <a:gd name="T61" fmla="*/ 102 h 363"/>
                <a:gd name="T62" fmla="*/ 120 w 130"/>
                <a:gd name="T63" fmla="*/ 195 h 363"/>
                <a:gd name="T64" fmla="*/ 113 w 130"/>
                <a:gd name="T65" fmla="*/ 202 h 363"/>
                <a:gd name="T66" fmla="*/ 106 w 130"/>
                <a:gd name="T67" fmla="*/ 195 h 363"/>
                <a:gd name="T68" fmla="*/ 103 w 130"/>
                <a:gd name="T69" fmla="*/ 120 h 363"/>
                <a:gd name="T70" fmla="*/ 93 w 130"/>
                <a:gd name="T71" fmla="*/ 120 h 363"/>
                <a:gd name="T72" fmla="*/ 95 w 130"/>
                <a:gd name="T73" fmla="*/ 191 h 363"/>
                <a:gd name="T74" fmla="*/ 95 w 130"/>
                <a:gd name="T75" fmla="*/ 341 h 363"/>
                <a:gd name="T76" fmla="*/ 84 w 130"/>
                <a:gd name="T77" fmla="*/ 352 h 363"/>
                <a:gd name="T78" fmla="*/ 74 w 130"/>
                <a:gd name="T79" fmla="*/ 341 h 363"/>
                <a:gd name="T80" fmla="*/ 70 w 130"/>
                <a:gd name="T81" fmla="*/ 223 h 363"/>
                <a:gd name="T82" fmla="*/ 59 w 130"/>
                <a:gd name="T83" fmla="*/ 223 h 363"/>
                <a:gd name="T84" fmla="*/ 56 w 130"/>
                <a:gd name="T85" fmla="*/ 341 h 363"/>
                <a:gd name="T86" fmla="*/ 56 w 130"/>
                <a:gd name="T87" fmla="*/ 341 h 363"/>
                <a:gd name="T88" fmla="*/ 45 w 130"/>
                <a:gd name="T89" fmla="*/ 352 h 363"/>
                <a:gd name="T90" fmla="*/ 34 w 130"/>
                <a:gd name="T91" fmla="*/ 340 h 363"/>
                <a:gd name="T92" fmla="*/ 36 w 130"/>
                <a:gd name="T93" fmla="*/ 120 h 363"/>
                <a:gd name="T94" fmla="*/ 26 w 130"/>
                <a:gd name="T95" fmla="*/ 120 h 363"/>
                <a:gd name="T96" fmla="*/ 24 w 130"/>
                <a:gd name="T97" fmla="*/ 195 h 363"/>
                <a:gd name="T98" fmla="*/ 16 w 130"/>
                <a:gd name="T99" fmla="*/ 202 h 363"/>
                <a:gd name="T100" fmla="*/ 10 w 130"/>
                <a:gd name="T101" fmla="*/ 195 h 363"/>
                <a:gd name="T102" fmla="*/ 10 w 130"/>
                <a:gd name="T103" fmla="*/ 1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" h="363">
                  <a:moveTo>
                    <a:pt x="16" y="212"/>
                  </a:moveTo>
                  <a:cubicBezTo>
                    <a:pt x="19" y="212"/>
                    <a:pt x="22" y="211"/>
                    <a:pt x="25" y="210"/>
                  </a:cubicBezTo>
                  <a:cubicBezTo>
                    <a:pt x="24" y="260"/>
                    <a:pt x="24" y="316"/>
                    <a:pt x="24" y="340"/>
                  </a:cubicBezTo>
                  <a:cubicBezTo>
                    <a:pt x="24" y="353"/>
                    <a:pt x="33" y="363"/>
                    <a:pt x="45" y="363"/>
                  </a:cubicBezTo>
                  <a:cubicBezTo>
                    <a:pt x="54" y="363"/>
                    <a:pt x="62" y="357"/>
                    <a:pt x="65" y="348"/>
                  </a:cubicBezTo>
                  <a:cubicBezTo>
                    <a:pt x="68" y="357"/>
                    <a:pt x="75" y="363"/>
                    <a:pt x="84" y="363"/>
                  </a:cubicBezTo>
                  <a:cubicBezTo>
                    <a:pt x="96" y="363"/>
                    <a:pt x="105" y="353"/>
                    <a:pt x="105" y="341"/>
                  </a:cubicBezTo>
                  <a:cubicBezTo>
                    <a:pt x="105" y="210"/>
                    <a:pt x="105" y="210"/>
                    <a:pt x="105" y="210"/>
                  </a:cubicBezTo>
                  <a:cubicBezTo>
                    <a:pt x="108" y="211"/>
                    <a:pt x="110" y="212"/>
                    <a:pt x="113" y="212"/>
                  </a:cubicBezTo>
                  <a:cubicBezTo>
                    <a:pt x="123" y="212"/>
                    <a:pt x="130" y="204"/>
                    <a:pt x="130" y="195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1"/>
                    <a:pt x="122" y="65"/>
                    <a:pt x="81" y="58"/>
                  </a:cubicBezTo>
                  <a:cubicBezTo>
                    <a:pt x="90" y="52"/>
                    <a:pt x="96" y="42"/>
                    <a:pt x="96" y="31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1"/>
                  </a:cubicBezTo>
                  <a:cubicBezTo>
                    <a:pt x="34" y="42"/>
                    <a:pt x="40" y="52"/>
                    <a:pt x="49" y="58"/>
                  </a:cubicBezTo>
                  <a:cubicBezTo>
                    <a:pt x="13" y="64"/>
                    <a:pt x="4" y="90"/>
                    <a:pt x="4" y="10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04"/>
                    <a:pt x="7" y="212"/>
                    <a:pt x="16" y="212"/>
                  </a:cubicBezTo>
                  <a:close/>
                  <a:moveTo>
                    <a:pt x="44" y="31"/>
                  </a:moveTo>
                  <a:cubicBezTo>
                    <a:pt x="44" y="19"/>
                    <a:pt x="53" y="10"/>
                    <a:pt x="65" y="10"/>
                  </a:cubicBezTo>
                  <a:cubicBezTo>
                    <a:pt x="76" y="10"/>
                    <a:pt x="86" y="19"/>
                    <a:pt x="86" y="31"/>
                  </a:cubicBezTo>
                  <a:cubicBezTo>
                    <a:pt x="86" y="42"/>
                    <a:pt x="76" y="52"/>
                    <a:pt x="65" y="52"/>
                  </a:cubicBezTo>
                  <a:cubicBezTo>
                    <a:pt x="53" y="52"/>
                    <a:pt x="44" y="42"/>
                    <a:pt x="44" y="31"/>
                  </a:cubicBezTo>
                  <a:close/>
                  <a:moveTo>
                    <a:pt x="10" y="190"/>
                  </a:move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6" y="67"/>
                    <a:pt x="66" y="67"/>
                  </a:cubicBezTo>
                  <a:cubicBezTo>
                    <a:pt x="110" y="67"/>
                    <a:pt x="116" y="99"/>
                    <a:pt x="116" y="102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9"/>
                    <a:pt x="117" y="202"/>
                    <a:pt x="113" y="202"/>
                  </a:cubicBezTo>
                  <a:cubicBezTo>
                    <a:pt x="109" y="202"/>
                    <a:pt x="106" y="199"/>
                    <a:pt x="106" y="195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341"/>
                    <a:pt x="95" y="341"/>
                    <a:pt x="95" y="341"/>
                  </a:cubicBezTo>
                  <a:cubicBezTo>
                    <a:pt x="95" y="347"/>
                    <a:pt x="90" y="352"/>
                    <a:pt x="84" y="352"/>
                  </a:cubicBezTo>
                  <a:cubicBezTo>
                    <a:pt x="78" y="352"/>
                    <a:pt x="74" y="347"/>
                    <a:pt x="74" y="341"/>
                  </a:cubicBezTo>
                  <a:cubicBezTo>
                    <a:pt x="70" y="223"/>
                    <a:pt x="70" y="223"/>
                    <a:pt x="70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1"/>
                    <a:pt x="56" y="341"/>
                    <a:pt x="56" y="341"/>
                  </a:cubicBezTo>
                  <a:cubicBezTo>
                    <a:pt x="56" y="347"/>
                    <a:pt x="51" y="352"/>
                    <a:pt x="45" y="352"/>
                  </a:cubicBezTo>
                  <a:cubicBezTo>
                    <a:pt x="39" y="352"/>
                    <a:pt x="34" y="347"/>
                    <a:pt x="34" y="340"/>
                  </a:cubicBezTo>
                  <a:cubicBezTo>
                    <a:pt x="34" y="293"/>
                    <a:pt x="36" y="122"/>
                    <a:pt x="3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5"/>
                    <a:pt x="24" y="195"/>
                    <a:pt x="24" y="195"/>
                  </a:cubicBezTo>
                  <a:cubicBezTo>
                    <a:pt x="23" y="200"/>
                    <a:pt x="19" y="202"/>
                    <a:pt x="16" y="202"/>
                  </a:cubicBezTo>
                  <a:cubicBezTo>
                    <a:pt x="13" y="202"/>
                    <a:pt x="10" y="199"/>
                    <a:pt x="10" y="195"/>
                  </a:cubicBezTo>
                  <a:lnTo>
                    <a:pt x="10" y="19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2" name="Freeform 145">
              <a:extLst>
                <a:ext uri="{FF2B5EF4-FFF2-40B4-BE49-F238E27FC236}">
                  <a16:creationId xmlns:a16="http://schemas.microsoft.com/office/drawing/2014/main" id="{F222D2DD-7122-48E4-8B30-48C3CEF84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4288" y="5913438"/>
              <a:ext cx="87313" cy="180975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9 w 168"/>
                <a:gd name="T13" fmla="*/ 56 h 347"/>
                <a:gd name="T14" fmla="*/ 52 w 168"/>
                <a:gd name="T15" fmla="*/ 61 h 347"/>
                <a:gd name="T16" fmla="*/ 21 w 168"/>
                <a:gd name="T17" fmla="*/ 115 h 347"/>
                <a:gd name="T18" fmla="*/ 3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2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8 w 168"/>
                <a:gd name="T31" fmla="*/ 347 h 347"/>
                <a:gd name="T32" fmla="*/ 85 w 168"/>
                <a:gd name="T33" fmla="*/ 336 h 347"/>
                <a:gd name="T34" fmla="*/ 101 w 168"/>
                <a:gd name="T35" fmla="*/ 347 h 347"/>
                <a:gd name="T36" fmla="*/ 119 w 168"/>
                <a:gd name="T37" fmla="*/ 328 h 347"/>
                <a:gd name="T38" fmla="*/ 119 w 168"/>
                <a:gd name="T39" fmla="*/ 235 h 347"/>
                <a:gd name="T40" fmla="*/ 159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6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4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2 w 168"/>
                <a:gd name="T61" fmla="*/ 177 h 347"/>
                <a:gd name="T62" fmla="*/ 150 w 168"/>
                <a:gd name="T63" fmla="*/ 177 h 347"/>
                <a:gd name="T64" fmla="*/ 145 w 168"/>
                <a:gd name="T65" fmla="*/ 173 h 347"/>
                <a:gd name="T66" fmla="*/ 117 w 168"/>
                <a:gd name="T67" fmla="*/ 103 h 347"/>
                <a:gd name="T68" fmla="*/ 108 w 168"/>
                <a:gd name="T69" fmla="*/ 107 h 347"/>
                <a:gd name="T70" fmla="*/ 145 w 168"/>
                <a:gd name="T71" fmla="*/ 225 h 347"/>
                <a:gd name="T72" fmla="*/ 109 w 168"/>
                <a:gd name="T73" fmla="*/ 225 h 347"/>
                <a:gd name="T74" fmla="*/ 109 w 168"/>
                <a:gd name="T75" fmla="*/ 328 h 347"/>
                <a:gd name="T76" fmla="*/ 101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6 w 168"/>
                <a:gd name="T85" fmla="*/ 328 h 347"/>
                <a:gd name="T86" fmla="*/ 76 w 168"/>
                <a:gd name="T87" fmla="*/ 328 h 347"/>
                <a:gd name="T88" fmla="*/ 68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8 w 168"/>
                <a:gd name="T97" fmla="*/ 106 h 347"/>
                <a:gd name="T98" fmla="*/ 48 w 168"/>
                <a:gd name="T99" fmla="*/ 103 h 347"/>
                <a:gd name="T100" fmla="*/ 24 w 168"/>
                <a:gd name="T101" fmla="*/ 173 h 347"/>
                <a:gd name="T102" fmla="*/ 18 w 168"/>
                <a:gd name="T103" fmla="*/ 177 h 347"/>
                <a:gd name="T104" fmla="*/ 17 w 168"/>
                <a:gd name="T105" fmla="*/ 177 h 347"/>
                <a:gd name="T106" fmla="*/ 13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4 w 168"/>
                <a:gd name="T113" fmla="*/ 72 h 347"/>
                <a:gd name="T114" fmla="*/ 114 w 168"/>
                <a:gd name="T115" fmla="*/ 72 h 347"/>
                <a:gd name="T116" fmla="*/ 139 w 168"/>
                <a:gd name="T117" fmla="*/ 122 h 347"/>
                <a:gd name="T118" fmla="*/ 156 w 168"/>
                <a:gd name="T119" fmla="*/ 169 h 347"/>
                <a:gd name="T120" fmla="*/ 152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9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8" y="0"/>
                    <a:pt x="54" y="14"/>
                    <a:pt x="54" y="30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5"/>
                  </a:cubicBezTo>
                  <a:cubicBezTo>
                    <a:pt x="11" y="141"/>
                    <a:pt x="3" y="166"/>
                    <a:pt x="3" y="166"/>
                  </a:cubicBezTo>
                  <a:cubicBezTo>
                    <a:pt x="0" y="175"/>
                    <a:pt x="5" y="184"/>
                    <a:pt x="13" y="187"/>
                  </a:cubicBezTo>
                  <a:cubicBezTo>
                    <a:pt x="17" y="188"/>
                    <a:pt x="22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8" y="347"/>
                  </a:cubicBezTo>
                  <a:cubicBezTo>
                    <a:pt x="75" y="347"/>
                    <a:pt x="82" y="342"/>
                    <a:pt x="85" y="336"/>
                  </a:cubicBezTo>
                  <a:cubicBezTo>
                    <a:pt x="87" y="342"/>
                    <a:pt x="94" y="347"/>
                    <a:pt x="101" y="347"/>
                  </a:cubicBezTo>
                  <a:cubicBezTo>
                    <a:pt x="111" y="347"/>
                    <a:pt x="119" y="338"/>
                    <a:pt x="119" y="328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4"/>
                    <a:pt x="166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4" y="19"/>
                    <a:pt x="104" y="30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2" y="177"/>
                  </a:move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5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9" y="225"/>
                    <a:pt x="109" y="225"/>
                    <a:pt x="109" y="225"/>
                  </a:cubicBezTo>
                  <a:cubicBezTo>
                    <a:pt x="109" y="328"/>
                    <a:pt x="109" y="328"/>
                    <a:pt x="109" y="328"/>
                  </a:cubicBezTo>
                  <a:cubicBezTo>
                    <a:pt x="109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7"/>
                    <a:pt x="18" y="177"/>
                  </a:cubicBezTo>
                  <a:cubicBezTo>
                    <a:pt x="18" y="177"/>
                    <a:pt x="17" y="177"/>
                    <a:pt x="17" y="177"/>
                  </a:cubicBezTo>
                  <a:cubicBezTo>
                    <a:pt x="13" y="176"/>
                    <a:pt x="12" y="173"/>
                    <a:pt x="13" y="170"/>
                  </a:cubicBez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2"/>
                    <a:pt x="122" y="79"/>
                    <a:pt x="139" y="122"/>
                  </a:cubicBezTo>
                  <a:cubicBezTo>
                    <a:pt x="148" y="145"/>
                    <a:pt x="156" y="169"/>
                    <a:pt x="156" y="169"/>
                  </a:cubicBezTo>
                  <a:cubicBezTo>
                    <a:pt x="157" y="172"/>
                    <a:pt x="155" y="176"/>
                    <a:pt x="152" y="17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3" name="Freeform 146">
              <a:extLst>
                <a:ext uri="{FF2B5EF4-FFF2-40B4-BE49-F238E27FC236}">
                  <a16:creationId xmlns:a16="http://schemas.microsoft.com/office/drawing/2014/main" id="{77EA3F87-CE58-4428-B141-57743F7E2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851" y="5905500"/>
              <a:ext cx="68263" cy="188913"/>
            </a:xfrm>
            <a:custGeom>
              <a:avLst/>
              <a:gdLst>
                <a:gd name="T0" fmla="*/ 127 w 131"/>
                <a:gd name="T1" fmla="*/ 102 h 364"/>
                <a:gd name="T2" fmla="*/ 81 w 131"/>
                <a:gd name="T3" fmla="*/ 59 h 364"/>
                <a:gd name="T4" fmla="*/ 97 w 131"/>
                <a:gd name="T5" fmla="*/ 32 h 364"/>
                <a:gd name="T6" fmla="*/ 66 w 131"/>
                <a:gd name="T7" fmla="*/ 0 h 364"/>
                <a:gd name="T8" fmla="*/ 34 w 131"/>
                <a:gd name="T9" fmla="*/ 32 h 364"/>
                <a:gd name="T10" fmla="*/ 50 w 131"/>
                <a:gd name="T11" fmla="*/ 59 h 364"/>
                <a:gd name="T12" fmla="*/ 5 w 131"/>
                <a:gd name="T13" fmla="*/ 101 h 364"/>
                <a:gd name="T14" fmla="*/ 0 w 131"/>
                <a:gd name="T15" fmla="*/ 190 h 364"/>
                <a:gd name="T16" fmla="*/ 0 w 131"/>
                <a:gd name="T17" fmla="*/ 196 h 364"/>
                <a:gd name="T18" fmla="*/ 17 w 131"/>
                <a:gd name="T19" fmla="*/ 213 h 364"/>
                <a:gd name="T20" fmla="*/ 25 w 131"/>
                <a:gd name="T21" fmla="*/ 211 h 364"/>
                <a:gd name="T22" fmla="*/ 24 w 131"/>
                <a:gd name="T23" fmla="*/ 341 h 364"/>
                <a:gd name="T24" fmla="*/ 45 w 131"/>
                <a:gd name="T25" fmla="*/ 364 h 364"/>
                <a:gd name="T26" fmla="*/ 65 w 131"/>
                <a:gd name="T27" fmla="*/ 349 h 364"/>
                <a:gd name="T28" fmla="*/ 85 w 131"/>
                <a:gd name="T29" fmla="*/ 364 h 364"/>
                <a:gd name="T30" fmla="*/ 106 w 131"/>
                <a:gd name="T31" fmla="*/ 342 h 364"/>
                <a:gd name="T32" fmla="*/ 106 w 131"/>
                <a:gd name="T33" fmla="*/ 211 h 364"/>
                <a:gd name="T34" fmla="*/ 114 w 131"/>
                <a:gd name="T35" fmla="*/ 213 h 364"/>
                <a:gd name="T36" fmla="*/ 131 w 131"/>
                <a:gd name="T37" fmla="*/ 196 h 364"/>
                <a:gd name="T38" fmla="*/ 127 w 131"/>
                <a:gd name="T39" fmla="*/ 102 h 364"/>
                <a:gd name="T40" fmla="*/ 45 w 131"/>
                <a:gd name="T41" fmla="*/ 32 h 364"/>
                <a:gd name="T42" fmla="*/ 66 w 131"/>
                <a:gd name="T43" fmla="*/ 11 h 364"/>
                <a:gd name="T44" fmla="*/ 86 w 131"/>
                <a:gd name="T45" fmla="*/ 32 h 364"/>
                <a:gd name="T46" fmla="*/ 66 w 131"/>
                <a:gd name="T47" fmla="*/ 53 h 364"/>
                <a:gd name="T48" fmla="*/ 45 w 131"/>
                <a:gd name="T49" fmla="*/ 32 h 364"/>
                <a:gd name="T50" fmla="*/ 114 w 131"/>
                <a:gd name="T51" fmla="*/ 202 h 364"/>
                <a:gd name="T52" fmla="*/ 107 w 131"/>
                <a:gd name="T53" fmla="*/ 196 h 364"/>
                <a:gd name="T54" fmla="*/ 104 w 131"/>
                <a:gd name="T55" fmla="*/ 120 h 364"/>
                <a:gd name="T56" fmla="*/ 93 w 131"/>
                <a:gd name="T57" fmla="*/ 121 h 364"/>
                <a:gd name="T58" fmla="*/ 96 w 131"/>
                <a:gd name="T59" fmla="*/ 192 h 364"/>
                <a:gd name="T60" fmla="*/ 96 w 131"/>
                <a:gd name="T61" fmla="*/ 342 h 364"/>
                <a:gd name="T62" fmla="*/ 85 w 131"/>
                <a:gd name="T63" fmla="*/ 353 h 364"/>
                <a:gd name="T64" fmla="*/ 74 w 131"/>
                <a:gd name="T65" fmla="*/ 342 h 364"/>
                <a:gd name="T66" fmla="*/ 70 w 131"/>
                <a:gd name="T67" fmla="*/ 224 h 364"/>
                <a:gd name="T68" fmla="*/ 60 w 131"/>
                <a:gd name="T69" fmla="*/ 224 h 364"/>
                <a:gd name="T70" fmla="*/ 56 w 131"/>
                <a:gd name="T71" fmla="*/ 342 h 364"/>
                <a:gd name="T72" fmla="*/ 56 w 131"/>
                <a:gd name="T73" fmla="*/ 342 h 364"/>
                <a:gd name="T74" fmla="*/ 45 w 131"/>
                <a:gd name="T75" fmla="*/ 353 h 364"/>
                <a:gd name="T76" fmla="*/ 35 w 131"/>
                <a:gd name="T77" fmla="*/ 341 h 364"/>
                <a:gd name="T78" fmla="*/ 37 w 131"/>
                <a:gd name="T79" fmla="*/ 121 h 364"/>
                <a:gd name="T80" fmla="*/ 26 w 131"/>
                <a:gd name="T81" fmla="*/ 120 h 364"/>
                <a:gd name="T82" fmla="*/ 24 w 131"/>
                <a:gd name="T83" fmla="*/ 196 h 364"/>
                <a:gd name="T84" fmla="*/ 17 w 131"/>
                <a:gd name="T85" fmla="*/ 202 h 364"/>
                <a:gd name="T86" fmla="*/ 11 w 131"/>
                <a:gd name="T87" fmla="*/ 196 h 364"/>
                <a:gd name="T88" fmla="*/ 11 w 131"/>
                <a:gd name="T89" fmla="*/ 191 h 364"/>
                <a:gd name="T90" fmla="*/ 15 w 131"/>
                <a:gd name="T91" fmla="*/ 101 h 364"/>
                <a:gd name="T92" fmla="*/ 15 w 131"/>
                <a:gd name="T93" fmla="*/ 101 h 364"/>
                <a:gd name="T94" fmla="*/ 66 w 131"/>
                <a:gd name="T95" fmla="*/ 68 h 364"/>
                <a:gd name="T96" fmla="*/ 117 w 131"/>
                <a:gd name="T97" fmla="*/ 103 h 364"/>
                <a:gd name="T98" fmla="*/ 121 w 131"/>
                <a:gd name="T99" fmla="*/ 196 h 364"/>
                <a:gd name="T100" fmla="*/ 114 w 131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1" h="364">
                  <a:moveTo>
                    <a:pt x="127" y="102"/>
                  </a:moveTo>
                  <a:cubicBezTo>
                    <a:pt x="127" y="101"/>
                    <a:pt x="123" y="66"/>
                    <a:pt x="81" y="59"/>
                  </a:cubicBezTo>
                  <a:cubicBezTo>
                    <a:pt x="91" y="53"/>
                    <a:pt x="97" y="43"/>
                    <a:pt x="97" y="32"/>
                  </a:cubicBezTo>
                  <a:cubicBezTo>
                    <a:pt x="97" y="14"/>
                    <a:pt x="83" y="0"/>
                    <a:pt x="66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1" y="53"/>
                    <a:pt x="50" y="59"/>
                  </a:cubicBezTo>
                  <a:cubicBezTo>
                    <a:pt x="14" y="65"/>
                    <a:pt x="5" y="91"/>
                    <a:pt x="5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8" y="213"/>
                    <a:pt x="17" y="213"/>
                  </a:cubicBezTo>
                  <a:cubicBezTo>
                    <a:pt x="20" y="213"/>
                    <a:pt x="23" y="212"/>
                    <a:pt x="25" y="211"/>
                  </a:cubicBezTo>
                  <a:cubicBezTo>
                    <a:pt x="25" y="261"/>
                    <a:pt x="24" y="317"/>
                    <a:pt x="24" y="341"/>
                  </a:cubicBezTo>
                  <a:cubicBezTo>
                    <a:pt x="24" y="354"/>
                    <a:pt x="34" y="364"/>
                    <a:pt x="45" y="364"/>
                  </a:cubicBezTo>
                  <a:cubicBezTo>
                    <a:pt x="55" y="364"/>
                    <a:pt x="62" y="358"/>
                    <a:pt x="65" y="349"/>
                  </a:cubicBezTo>
                  <a:cubicBezTo>
                    <a:pt x="68" y="358"/>
                    <a:pt x="76" y="364"/>
                    <a:pt x="85" y="364"/>
                  </a:cubicBezTo>
                  <a:cubicBezTo>
                    <a:pt x="97" y="364"/>
                    <a:pt x="106" y="354"/>
                    <a:pt x="106" y="342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8" y="212"/>
                    <a:pt x="111" y="213"/>
                    <a:pt x="114" y="213"/>
                  </a:cubicBezTo>
                  <a:cubicBezTo>
                    <a:pt x="123" y="213"/>
                    <a:pt x="131" y="205"/>
                    <a:pt x="131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5" y="32"/>
                  </a:moveTo>
                  <a:cubicBezTo>
                    <a:pt x="45" y="20"/>
                    <a:pt x="54" y="11"/>
                    <a:pt x="66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6" y="53"/>
                  </a:cubicBezTo>
                  <a:cubicBezTo>
                    <a:pt x="54" y="53"/>
                    <a:pt x="45" y="43"/>
                    <a:pt x="45" y="32"/>
                  </a:cubicBezTo>
                  <a:close/>
                  <a:moveTo>
                    <a:pt x="114" y="202"/>
                  </a:moveTo>
                  <a:cubicBezTo>
                    <a:pt x="110" y="202"/>
                    <a:pt x="107" y="200"/>
                    <a:pt x="107" y="196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342"/>
                    <a:pt x="96" y="342"/>
                    <a:pt x="96" y="342"/>
                  </a:cubicBezTo>
                  <a:cubicBezTo>
                    <a:pt x="96" y="348"/>
                    <a:pt x="91" y="353"/>
                    <a:pt x="85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5" y="348"/>
                    <a:pt x="35" y="341"/>
                  </a:cubicBezTo>
                  <a:cubicBezTo>
                    <a:pt x="35" y="294"/>
                    <a:pt x="37" y="122"/>
                    <a:pt x="37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20" y="202"/>
                    <a:pt x="17" y="202"/>
                  </a:cubicBezTo>
                  <a:cubicBezTo>
                    <a:pt x="13" y="202"/>
                    <a:pt x="11" y="200"/>
                    <a:pt x="11" y="196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7" y="68"/>
                    <a:pt x="66" y="68"/>
                  </a:cubicBezTo>
                  <a:cubicBezTo>
                    <a:pt x="111" y="68"/>
                    <a:pt x="117" y="100"/>
                    <a:pt x="117" y="103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200"/>
                    <a:pt x="117" y="202"/>
                    <a:pt x="114" y="20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4" name="Freeform 147">
              <a:extLst>
                <a:ext uri="{FF2B5EF4-FFF2-40B4-BE49-F238E27FC236}">
                  <a16:creationId xmlns:a16="http://schemas.microsoft.com/office/drawing/2014/main" id="{148D6CBD-5B60-42F1-A1D1-BBE25D75B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4151" y="5913438"/>
              <a:ext cx="87313" cy="180975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8 w 168"/>
                <a:gd name="T13" fmla="*/ 56 h 347"/>
                <a:gd name="T14" fmla="*/ 51 w 168"/>
                <a:gd name="T15" fmla="*/ 61 h 347"/>
                <a:gd name="T16" fmla="*/ 20 w 168"/>
                <a:gd name="T17" fmla="*/ 115 h 347"/>
                <a:gd name="T18" fmla="*/ 2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1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7 w 168"/>
                <a:gd name="T31" fmla="*/ 347 h 347"/>
                <a:gd name="T32" fmla="*/ 84 w 168"/>
                <a:gd name="T33" fmla="*/ 336 h 347"/>
                <a:gd name="T34" fmla="*/ 100 w 168"/>
                <a:gd name="T35" fmla="*/ 347 h 347"/>
                <a:gd name="T36" fmla="*/ 118 w 168"/>
                <a:gd name="T37" fmla="*/ 328 h 347"/>
                <a:gd name="T38" fmla="*/ 118 w 168"/>
                <a:gd name="T39" fmla="*/ 235 h 347"/>
                <a:gd name="T40" fmla="*/ 158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5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3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1 w 168"/>
                <a:gd name="T61" fmla="*/ 177 h 347"/>
                <a:gd name="T62" fmla="*/ 150 w 168"/>
                <a:gd name="T63" fmla="*/ 177 h 347"/>
                <a:gd name="T64" fmla="*/ 144 w 168"/>
                <a:gd name="T65" fmla="*/ 173 h 347"/>
                <a:gd name="T66" fmla="*/ 117 w 168"/>
                <a:gd name="T67" fmla="*/ 103 h 347"/>
                <a:gd name="T68" fmla="*/ 107 w 168"/>
                <a:gd name="T69" fmla="*/ 107 h 347"/>
                <a:gd name="T70" fmla="*/ 144 w 168"/>
                <a:gd name="T71" fmla="*/ 225 h 347"/>
                <a:gd name="T72" fmla="*/ 108 w 168"/>
                <a:gd name="T73" fmla="*/ 225 h 347"/>
                <a:gd name="T74" fmla="*/ 108 w 168"/>
                <a:gd name="T75" fmla="*/ 328 h 347"/>
                <a:gd name="T76" fmla="*/ 100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5 w 168"/>
                <a:gd name="T85" fmla="*/ 328 h 347"/>
                <a:gd name="T86" fmla="*/ 75 w 168"/>
                <a:gd name="T87" fmla="*/ 328 h 347"/>
                <a:gd name="T88" fmla="*/ 67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7 w 168"/>
                <a:gd name="T97" fmla="*/ 106 h 347"/>
                <a:gd name="T98" fmla="*/ 47 w 168"/>
                <a:gd name="T99" fmla="*/ 103 h 347"/>
                <a:gd name="T100" fmla="*/ 23 w 168"/>
                <a:gd name="T101" fmla="*/ 173 h 347"/>
                <a:gd name="T102" fmla="*/ 18 w 168"/>
                <a:gd name="T103" fmla="*/ 177 h 347"/>
                <a:gd name="T104" fmla="*/ 16 w 168"/>
                <a:gd name="T105" fmla="*/ 177 h 347"/>
                <a:gd name="T106" fmla="*/ 12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3 w 168"/>
                <a:gd name="T113" fmla="*/ 72 h 347"/>
                <a:gd name="T114" fmla="*/ 113 w 168"/>
                <a:gd name="T115" fmla="*/ 72 h 347"/>
                <a:gd name="T116" fmla="*/ 138 w 168"/>
                <a:gd name="T117" fmla="*/ 122 h 347"/>
                <a:gd name="T118" fmla="*/ 155 w 168"/>
                <a:gd name="T119" fmla="*/ 169 h 347"/>
                <a:gd name="T120" fmla="*/ 151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8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0" y="0"/>
                    <a:pt x="84" y="0"/>
                  </a:cubicBezTo>
                  <a:cubicBezTo>
                    <a:pt x="67" y="0"/>
                    <a:pt x="54" y="14"/>
                    <a:pt x="54" y="30"/>
                  </a:cubicBezTo>
                  <a:cubicBezTo>
                    <a:pt x="54" y="41"/>
                    <a:pt x="59" y="51"/>
                    <a:pt x="68" y="56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6" y="62"/>
                    <a:pt x="39" y="68"/>
                    <a:pt x="20" y="115"/>
                  </a:cubicBezTo>
                  <a:cubicBezTo>
                    <a:pt x="11" y="141"/>
                    <a:pt x="2" y="166"/>
                    <a:pt x="2" y="166"/>
                  </a:cubicBezTo>
                  <a:cubicBezTo>
                    <a:pt x="0" y="175"/>
                    <a:pt x="4" y="184"/>
                    <a:pt x="13" y="187"/>
                  </a:cubicBezTo>
                  <a:cubicBezTo>
                    <a:pt x="17" y="188"/>
                    <a:pt x="21" y="188"/>
                    <a:pt x="25" y="186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7" y="347"/>
                  </a:cubicBezTo>
                  <a:cubicBezTo>
                    <a:pt x="75" y="347"/>
                    <a:pt x="81" y="342"/>
                    <a:pt x="84" y="336"/>
                  </a:cubicBezTo>
                  <a:cubicBezTo>
                    <a:pt x="87" y="342"/>
                    <a:pt x="93" y="347"/>
                    <a:pt x="100" y="347"/>
                  </a:cubicBezTo>
                  <a:cubicBezTo>
                    <a:pt x="110" y="347"/>
                    <a:pt x="118" y="338"/>
                    <a:pt x="118" y="328"/>
                  </a:cubicBezTo>
                  <a:cubicBezTo>
                    <a:pt x="118" y="235"/>
                    <a:pt x="118" y="235"/>
                    <a:pt x="118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6" y="188"/>
                    <a:pt x="151" y="188"/>
                    <a:pt x="155" y="187"/>
                  </a:cubicBezTo>
                  <a:cubicBezTo>
                    <a:pt x="163" y="184"/>
                    <a:pt x="168" y="174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3" y="19"/>
                    <a:pt x="103" y="30"/>
                  </a:cubicBezTo>
                  <a:cubicBezTo>
                    <a:pt x="103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1" y="177"/>
                  </a:moveTo>
                  <a:cubicBezTo>
                    <a:pt x="151" y="177"/>
                    <a:pt x="150" y="177"/>
                    <a:pt x="150" y="177"/>
                  </a:cubicBezTo>
                  <a:cubicBezTo>
                    <a:pt x="147" y="177"/>
                    <a:pt x="145" y="175"/>
                    <a:pt x="144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44" y="225"/>
                    <a:pt x="144" y="225"/>
                    <a:pt x="144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08" y="333"/>
                    <a:pt x="105" y="336"/>
                    <a:pt x="100" y="336"/>
                  </a:cubicBezTo>
                  <a:cubicBezTo>
                    <a:pt x="96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5" y="328"/>
                    <a:pt x="75" y="328"/>
                    <a:pt x="75" y="328"/>
                  </a:cubicBezTo>
                  <a:cubicBezTo>
                    <a:pt x="75" y="328"/>
                    <a:pt x="75" y="328"/>
                    <a:pt x="75" y="328"/>
                  </a:cubicBezTo>
                  <a:cubicBezTo>
                    <a:pt x="75" y="333"/>
                    <a:pt x="72" y="336"/>
                    <a:pt x="67" y="336"/>
                  </a:cubicBezTo>
                  <a:cubicBezTo>
                    <a:pt x="63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23" y="173"/>
                    <a:pt x="23" y="173"/>
                    <a:pt x="23" y="173"/>
                  </a:cubicBezTo>
                  <a:cubicBezTo>
                    <a:pt x="23" y="176"/>
                    <a:pt x="20" y="177"/>
                    <a:pt x="18" y="177"/>
                  </a:cubicBezTo>
                  <a:cubicBezTo>
                    <a:pt x="17" y="177"/>
                    <a:pt x="17" y="177"/>
                    <a:pt x="16" y="177"/>
                  </a:cubicBezTo>
                  <a:cubicBezTo>
                    <a:pt x="13" y="176"/>
                    <a:pt x="11" y="173"/>
                    <a:pt x="12" y="170"/>
                  </a:cubicBezTo>
                  <a:cubicBezTo>
                    <a:pt x="26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5" y="72"/>
                    <a:pt x="122" y="79"/>
                    <a:pt x="138" y="122"/>
                  </a:cubicBezTo>
                  <a:cubicBezTo>
                    <a:pt x="147" y="145"/>
                    <a:pt x="155" y="169"/>
                    <a:pt x="155" y="169"/>
                  </a:cubicBezTo>
                  <a:cubicBezTo>
                    <a:pt x="156" y="172"/>
                    <a:pt x="155" y="176"/>
                    <a:pt x="151" y="17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5" name="Freeform 148">
              <a:extLst>
                <a:ext uri="{FF2B5EF4-FFF2-40B4-BE49-F238E27FC236}">
                  <a16:creationId xmlns:a16="http://schemas.microsoft.com/office/drawing/2014/main" id="{BF2E5DEF-5B3A-47D3-BFC3-952EEC865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713" y="5905500"/>
              <a:ext cx="66675" cy="188913"/>
            </a:xfrm>
            <a:custGeom>
              <a:avLst/>
              <a:gdLst>
                <a:gd name="T0" fmla="*/ 127 w 130"/>
                <a:gd name="T1" fmla="*/ 102 h 364"/>
                <a:gd name="T2" fmla="*/ 81 w 130"/>
                <a:gd name="T3" fmla="*/ 59 h 364"/>
                <a:gd name="T4" fmla="*/ 96 w 130"/>
                <a:gd name="T5" fmla="*/ 32 h 364"/>
                <a:gd name="T6" fmla="*/ 65 w 130"/>
                <a:gd name="T7" fmla="*/ 0 h 364"/>
                <a:gd name="T8" fmla="*/ 34 w 130"/>
                <a:gd name="T9" fmla="*/ 32 h 364"/>
                <a:gd name="T10" fmla="*/ 49 w 130"/>
                <a:gd name="T11" fmla="*/ 59 h 364"/>
                <a:gd name="T12" fmla="*/ 4 w 130"/>
                <a:gd name="T13" fmla="*/ 101 h 364"/>
                <a:gd name="T14" fmla="*/ 0 w 130"/>
                <a:gd name="T15" fmla="*/ 190 h 364"/>
                <a:gd name="T16" fmla="*/ 0 w 130"/>
                <a:gd name="T17" fmla="*/ 196 h 364"/>
                <a:gd name="T18" fmla="*/ 16 w 130"/>
                <a:gd name="T19" fmla="*/ 213 h 364"/>
                <a:gd name="T20" fmla="*/ 25 w 130"/>
                <a:gd name="T21" fmla="*/ 211 h 364"/>
                <a:gd name="T22" fmla="*/ 24 w 130"/>
                <a:gd name="T23" fmla="*/ 341 h 364"/>
                <a:gd name="T24" fmla="*/ 45 w 130"/>
                <a:gd name="T25" fmla="*/ 364 h 364"/>
                <a:gd name="T26" fmla="*/ 65 w 130"/>
                <a:gd name="T27" fmla="*/ 349 h 364"/>
                <a:gd name="T28" fmla="*/ 84 w 130"/>
                <a:gd name="T29" fmla="*/ 364 h 364"/>
                <a:gd name="T30" fmla="*/ 105 w 130"/>
                <a:gd name="T31" fmla="*/ 342 h 364"/>
                <a:gd name="T32" fmla="*/ 105 w 130"/>
                <a:gd name="T33" fmla="*/ 211 h 364"/>
                <a:gd name="T34" fmla="*/ 113 w 130"/>
                <a:gd name="T35" fmla="*/ 213 h 364"/>
                <a:gd name="T36" fmla="*/ 130 w 130"/>
                <a:gd name="T37" fmla="*/ 196 h 364"/>
                <a:gd name="T38" fmla="*/ 127 w 130"/>
                <a:gd name="T39" fmla="*/ 102 h 364"/>
                <a:gd name="T40" fmla="*/ 44 w 130"/>
                <a:gd name="T41" fmla="*/ 32 h 364"/>
                <a:gd name="T42" fmla="*/ 65 w 130"/>
                <a:gd name="T43" fmla="*/ 11 h 364"/>
                <a:gd name="T44" fmla="*/ 86 w 130"/>
                <a:gd name="T45" fmla="*/ 32 h 364"/>
                <a:gd name="T46" fmla="*/ 65 w 130"/>
                <a:gd name="T47" fmla="*/ 53 h 364"/>
                <a:gd name="T48" fmla="*/ 44 w 130"/>
                <a:gd name="T49" fmla="*/ 32 h 364"/>
                <a:gd name="T50" fmla="*/ 113 w 130"/>
                <a:gd name="T51" fmla="*/ 202 h 364"/>
                <a:gd name="T52" fmla="*/ 106 w 130"/>
                <a:gd name="T53" fmla="*/ 196 h 364"/>
                <a:gd name="T54" fmla="*/ 103 w 130"/>
                <a:gd name="T55" fmla="*/ 120 h 364"/>
                <a:gd name="T56" fmla="*/ 93 w 130"/>
                <a:gd name="T57" fmla="*/ 121 h 364"/>
                <a:gd name="T58" fmla="*/ 95 w 130"/>
                <a:gd name="T59" fmla="*/ 192 h 364"/>
                <a:gd name="T60" fmla="*/ 95 w 130"/>
                <a:gd name="T61" fmla="*/ 342 h 364"/>
                <a:gd name="T62" fmla="*/ 84 w 130"/>
                <a:gd name="T63" fmla="*/ 353 h 364"/>
                <a:gd name="T64" fmla="*/ 74 w 130"/>
                <a:gd name="T65" fmla="*/ 342 h 364"/>
                <a:gd name="T66" fmla="*/ 70 w 130"/>
                <a:gd name="T67" fmla="*/ 224 h 364"/>
                <a:gd name="T68" fmla="*/ 59 w 130"/>
                <a:gd name="T69" fmla="*/ 224 h 364"/>
                <a:gd name="T70" fmla="*/ 56 w 130"/>
                <a:gd name="T71" fmla="*/ 342 h 364"/>
                <a:gd name="T72" fmla="*/ 56 w 130"/>
                <a:gd name="T73" fmla="*/ 342 h 364"/>
                <a:gd name="T74" fmla="*/ 45 w 130"/>
                <a:gd name="T75" fmla="*/ 353 h 364"/>
                <a:gd name="T76" fmla="*/ 34 w 130"/>
                <a:gd name="T77" fmla="*/ 341 h 364"/>
                <a:gd name="T78" fmla="*/ 36 w 130"/>
                <a:gd name="T79" fmla="*/ 121 h 364"/>
                <a:gd name="T80" fmla="*/ 26 w 130"/>
                <a:gd name="T81" fmla="*/ 120 h 364"/>
                <a:gd name="T82" fmla="*/ 24 w 130"/>
                <a:gd name="T83" fmla="*/ 196 h 364"/>
                <a:gd name="T84" fmla="*/ 16 w 130"/>
                <a:gd name="T85" fmla="*/ 202 h 364"/>
                <a:gd name="T86" fmla="*/ 10 w 130"/>
                <a:gd name="T87" fmla="*/ 196 h 364"/>
                <a:gd name="T88" fmla="*/ 10 w 130"/>
                <a:gd name="T89" fmla="*/ 191 h 364"/>
                <a:gd name="T90" fmla="*/ 14 w 130"/>
                <a:gd name="T91" fmla="*/ 101 h 364"/>
                <a:gd name="T92" fmla="*/ 15 w 130"/>
                <a:gd name="T93" fmla="*/ 101 h 364"/>
                <a:gd name="T94" fmla="*/ 66 w 130"/>
                <a:gd name="T95" fmla="*/ 68 h 364"/>
                <a:gd name="T96" fmla="*/ 116 w 130"/>
                <a:gd name="T97" fmla="*/ 103 h 364"/>
                <a:gd name="T98" fmla="*/ 120 w 130"/>
                <a:gd name="T99" fmla="*/ 196 h 364"/>
                <a:gd name="T100" fmla="*/ 113 w 130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0" h="364">
                  <a:moveTo>
                    <a:pt x="127" y="102"/>
                  </a:moveTo>
                  <a:cubicBezTo>
                    <a:pt x="127" y="101"/>
                    <a:pt x="122" y="66"/>
                    <a:pt x="81" y="59"/>
                  </a:cubicBezTo>
                  <a:cubicBezTo>
                    <a:pt x="90" y="53"/>
                    <a:pt x="96" y="43"/>
                    <a:pt x="96" y="32"/>
                  </a:cubicBezTo>
                  <a:cubicBezTo>
                    <a:pt x="96" y="14"/>
                    <a:pt x="82" y="0"/>
                    <a:pt x="65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0" y="53"/>
                    <a:pt x="49" y="59"/>
                  </a:cubicBezTo>
                  <a:cubicBezTo>
                    <a:pt x="13" y="65"/>
                    <a:pt x="4" y="91"/>
                    <a:pt x="4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7" y="213"/>
                    <a:pt x="16" y="213"/>
                  </a:cubicBezTo>
                  <a:cubicBezTo>
                    <a:pt x="19" y="213"/>
                    <a:pt x="22" y="212"/>
                    <a:pt x="25" y="211"/>
                  </a:cubicBezTo>
                  <a:cubicBezTo>
                    <a:pt x="24" y="261"/>
                    <a:pt x="24" y="317"/>
                    <a:pt x="24" y="341"/>
                  </a:cubicBezTo>
                  <a:cubicBezTo>
                    <a:pt x="24" y="354"/>
                    <a:pt x="33" y="364"/>
                    <a:pt x="45" y="364"/>
                  </a:cubicBezTo>
                  <a:cubicBezTo>
                    <a:pt x="54" y="364"/>
                    <a:pt x="62" y="358"/>
                    <a:pt x="65" y="349"/>
                  </a:cubicBezTo>
                  <a:cubicBezTo>
                    <a:pt x="68" y="358"/>
                    <a:pt x="75" y="364"/>
                    <a:pt x="84" y="364"/>
                  </a:cubicBezTo>
                  <a:cubicBezTo>
                    <a:pt x="96" y="364"/>
                    <a:pt x="105" y="354"/>
                    <a:pt x="105" y="342"/>
                  </a:cubicBezTo>
                  <a:cubicBezTo>
                    <a:pt x="105" y="211"/>
                    <a:pt x="105" y="211"/>
                    <a:pt x="105" y="211"/>
                  </a:cubicBezTo>
                  <a:cubicBezTo>
                    <a:pt x="108" y="212"/>
                    <a:pt x="110" y="213"/>
                    <a:pt x="113" y="213"/>
                  </a:cubicBezTo>
                  <a:cubicBezTo>
                    <a:pt x="123" y="213"/>
                    <a:pt x="130" y="205"/>
                    <a:pt x="130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4" y="32"/>
                  </a:moveTo>
                  <a:cubicBezTo>
                    <a:pt x="44" y="20"/>
                    <a:pt x="54" y="11"/>
                    <a:pt x="65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5" y="53"/>
                  </a:cubicBezTo>
                  <a:cubicBezTo>
                    <a:pt x="54" y="53"/>
                    <a:pt x="44" y="43"/>
                    <a:pt x="44" y="32"/>
                  </a:cubicBezTo>
                  <a:close/>
                  <a:moveTo>
                    <a:pt x="113" y="202"/>
                  </a:moveTo>
                  <a:cubicBezTo>
                    <a:pt x="109" y="202"/>
                    <a:pt x="106" y="200"/>
                    <a:pt x="106" y="196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342"/>
                    <a:pt x="95" y="342"/>
                    <a:pt x="95" y="342"/>
                  </a:cubicBezTo>
                  <a:cubicBezTo>
                    <a:pt x="95" y="348"/>
                    <a:pt x="90" y="353"/>
                    <a:pt x="84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59" y="224"/>
                    <a:pt x="59" y="224"/>
                    <a:pt x="59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4" y="348"/>
                    <a:pt x="34" y="341"/>
                  </a:cubicBezTo>
                  <a:cubicBezTo>
                    <a:pt x="34" y="294"/>
                    <a:pt x="36" y="122"/>
                    <a:pt x="36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19" y="202"/>
                    <a:pt x="16" y="202"/>
                  </a:cubicBezTo>
                  <a:cubicBezTo>
                    <a:pt x="13" y="202"/>
                    <a:pt x="10" y="200"/>
                    <a:pt x="10" y="196"/>
                  </a:cubicBezTo>
                  <a:cubicBezTo>
                    <a:pt x="10" y="191"/>
                    <a:pt x="10" y="191"/>
                    <a:pt x="10" y="19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6" y="68"/>
                    <a:pt x="66" y="68"/>
                  </a:cubicBezTo>
                  <a:cubicBezTo>
                    <a:pt x="110" y="68"/>
                    <a:pt x="116" y="100"/>
                    <a:pt x="116" y="103"/>
                  </a:cubicBezTo>
                  <a:cubicBezTo>
                    <a:pt x="120" y="196"/>
                    <a:pt x="120" y="196"/>
                    <a:pt x="120" y="196"/>
                  </a:cubicBezTo>
                  <a:cubicBezTo>
                    <a:pt x="120" y="200"/>
                    <a:pt x="117" y="202"/>
                    <a:pt x="113" y="20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6" name="Freeform 149">
              <a:extLst>
                <a:ext uri="{FF2B5EF4-FFF2-40B4-BE49-F238E27FC236}">
                  <a16:creationId xmlns:a16="http://schemas.microsoft.com/office/drawing/2014/main" id="{BB78CEEC-9569-4149-9479-067EC98CBF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7663" y="5913438"/>
              <a:ext cx="87313" cy="180975"/>
            </a:xfrm>
            <a:custGeom>
              <a:avLst/>
              <a:gdLst>
                <a:gd name="T0" fmla="*/ 147 w 168"/>
                <a:gd name="T1" fmla="*/ 115 h 347"/>
                <a:gd name="T2" fmla="*/ 115 w 168"/>
                <a:gd name="T3" fmla="*/ 61 h 347"/>
                <a:gd name="T4" fmla="*/ 99 w 168"/>
                <a:gd name="T5" fmla="*/ 56 h 347"/>
                <a:gd name="T6" fmla="*/ 114 w 168"/>
                <a:gd name="T7" fmla="*/ 30 h 347"/>
                <a:gd name="T8" fmla="*/ 84 w 168"/>
                <a:gd name="T9" fmla="*/ 0 h 347"/>
                <a:gd name="T10" fmla="*/ 54 w 168"/>
                <a:gd name="T11" fmla="*/ 30 h 347"/>
                <a:gd name="T12" fmla="*/ 69 w 168"/>
                <a:gd name="T13" fmla="*/ 56 h 347"/>
                <a:gd name="T14" fmla="*/ 52 w 168"/>
                <a:gd name="T15" fmla="*/ 61 h 347"/>
                <a:gd name="T16" fmla="*/ 21 w 168"/>
                <a:gd name="T17" fmla="*/ 115 h 347"/>
                <a:gd name="T18" fmla="*/ 3 w 168"/>
                <a:gd name="T19" fmla="*/ 166 h 347"/>
                <a:gd name="T20" fmla="*/ 13 w 168"/>
                <a:gd name="T21" fmla="*/ 187 h 347"/>
                <a:gd name="T22" fmla="*/ 25 w 168"/>
                <a:gd name="T23" fmla="*/ 186 h 347"/>
                <a:gd name="T24" fmla="*/ 12 w 168"/>
                <a:gd name="T25" fmla="*/ 235 h 347"/>
                <a:gd name="T26" fmla="*/ 50 w 168"/>
                <a:gd name="T27" fmla="*/ 235 h 347"/>
                <a:gd name="T28" fmla="*/ 50 w 168"/>
                <a:gd name="T29" fmla="*/ 328 h 347"/>
                <a:gd name="T30" fmla="*/ 68 w 168"/>
                <a:gd name="T31" fmla="*/ 347 h 347"/>
                <a:gd name="T32" fmla="*/ 84 w 168"/>
                <a:gd name="T33" fmla="*/ 336 h 347"/>
                <a:gd name="T34" fmla="*/ 101 w 168"/>
                <a:gd name="T35" fmla="*/ 347 h 347"/>
                <a:gd name="T36" fmla="*/ 119 w 168"/>
                <a:gd name="T37" fmla="*/ 328 h 347"/>
                <a:gd name="T38" fmla="*/ 119 w 168"/>
                <a:gd name="T39" fmla="*/ 235 h 347"/>
                <a:gd name="T40" fmla="*/ 159 w 168"/>
                <a:gd name="T41" fmla="*/ 235 h 347"/>
                <a:gd name="T42" fmla="*/ 143 w 168"/>
                <a:gd name="T43" fmla="*/ 186 h 347"/>
                <a:gd name="T44" fmla="*/ 155 w 168"/>
                <a:gd name="T45" fmla="*/ 187 h 347"/>
                <a:gd name="T46" fmla="*/ 165 w 168"/>
                <a:gd name="T47" fmla="*/ 166 h 347"/>
                <a:gd name="T48" fmla="*/ 147 w 168"/>
                <a:gd name="T49" fmla="*/ 115 h 347"/>
                <a:gd name="T50" fmla="*/ 64 w 168"/>
                <a:gd name="T51" fmla="*/ 30 h 347"/>
                <a:gd name="T52" fmla="*/ 84 w 168"/>
                <a:gd name="T53" fmla="*/ 10 h 347"/>
                <a:gd name="T54" fmla="*/ 104 w 168"/>
                <a:gd name="T55" fmla="*/ 30 h 347"/>
                <a:gd name="T56" fmla="*/ 84 w 168"/>
                <a:gd name="T57" fmla="*/ 50 h 347"/>
                <a:gd name="T58" fmla="*/ 64 w 168"/>
                <a:gd name="T59" fmla="*/ 30 h 347"/>
                <a:gd name="T60" fmla="*/ 152 w 168"/>
                <a:gd name="T61" fmla="*/ 177 h 347"/>
                <a:gd name="T62" fmla="*/ 150 w 168"/>
                <a:gd name="T63" fmla="*/ 177 h 347"/>
                <a:gd name="T64" fmla="*/ 145 w 168"/>
                <a:gd name="T65" fmla="*/ 173 h 347"/>
                <a:gd name="T66" fmla="*/ 117 w 168"/>
                <a:gd name="T67" fmla="*/ 103 h 347"/>
                <a:gd name="T68" fmla="*/ 108 w 168"/>
                <a:gd name="T69" fmla="*/ 107 h 347"/>
                <a:gd name="T70" fmla="*/ 145 w 168"/>
                <a:gd name="T71" fmla="*/ 225 h 347"/>
                <a:gd name="T72" fmla="*/ 108 w 168"/>
                <a:gd name="T73" fmla="*/ 225 h 347"/>
                <a:gd name="T74" fmla="*/ 108 w 168"/>
                <a:gd name="T75" fmla="*/ 328 h 347"/>
                <a:gd name="T76" fmla="*/ 101 w 168"/>
                <a:gd name="T77" fmla="*/ 336 h 347"/>
                <a:gd name="T78" fmla="*/ 93 w 168"/>
                <a:gd name="T79" fmla="*/ 328 h 347"/>
                <a:gd name="T80" fmla="*/ 89 w 168"/>
                <a:gd name="T81" fmla="*/ 230 h 347"/>
                <a:gd name="T82" fmla="*/ 79 w 168"/>
                <a:gd name="T83" fmla="*/ 230 h 347"/>
                <a:gd name="T84" fmla="*/ 76 w 168"/>
                <a:gd name="T85" fmla="*/ 328 h 347"/>
                <a:gd name="T86" fmla="*/ 76 w 168"/>
                <a:gd name="T87" fmla="*/ 328 h 347"/>
                <a:gd name="T88" fmla="*/ 68 w 168"/>
                <a:gd name="T89" fmla="*/ 336 h 347"/>
                <a:gd name="T90" fmla="*/ 60 w 168"/>
                <a:gd name="T91" fmla="*/ 328 h 347"/>
                <a:gd name="T92" fmla="*/ 60 w 168"/>
                <a:gd name="T93" fmla="*/ 225 h 347"/>
                <a:gd name="T94" fmla="*/ 25 w 168"/>
                <a:gd name="T95" fmla="*/ 225 h 347"/>
                <a:gd name="T96" fmla="*/ 58 w 168"/>
                <a:gd name="T97" fmla="*/ 106 h 347"/>
                <a:gd name="T98" fmla="*/ 48 w 168"/>
                <a:gd name="T99" fmla="*/ 103 h 347"/>
                <a:gd name="T100" fmla="*/ 24 w 168"/>
                <a:gd name="T101" fmla="*/ 173 h 347"/>
                <a:gd name="T102" fmla="*/ 18 w 168"/>
                <a:gd name="T103" fmla="*/ 177 h 347"/>
                <a:gd name="T104" fmla="*/ 16 w 168"/>
                <a:gd name="T105" fmla="*/ 177 h 347"/>
                <a:gd name="T106" fmla="*/ 13 w 168"/>
                <a:gd name="T107" fmla="*/ 170 h 347"/>
                <a:gd name="T108" fmla="*/ 53 w 168"/>
                <a:gd name="T109" fmla="*/ 72 h 347"/>
                <a:gd name="T110" fmla="*/ 83 w 168"/>
                <a:gd name="T111" fmla="*/ 63 h 347"/>
                <a:gd name="T112" fmla="*/ 114 w 168"/>
                <a:gd name="T113" fmla="*/ 72 h 347"/>
                <a:gd name="T114" fmla="*/ 114 w 168"/>
                <a:gd name="T115" fmla="*/ 72 h 347"/>
                <a:gd name="T116" fmla="*/ 139 w 168"/>
                <a:gd name="T117" fmla="*/ 122 h 347"/>
                <a:gd name="T118" fmla="*/ 156 w 168"/>
                <a:gd name="T119" fmla="*/ 169 h 347"/>
                <a:gd name="T120" fmla="*/ 152 w 168"/>
                <a:gd name="T121" fmla="*/ 1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8" h="347">
                  <a:moveTo>
                    <a:pt x="147" y="115"/>
                  </a:moveTo>
                  <a:cubicBezTo>
                    <a:pt x="129" y="68"/>
                    <a:pt x="121" y="62"/>
                    <a:pt x="115" y="61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8" y="51"/>
                    <a:pt x="114" y="41"/>
                    <a:pt x="114" y="30"/>
                  </a:cubicBezTo>
                  <a:cubicBezTo>
                    <a:pt x="114" y="14"/>
                    <a:pt x="101" y="0"/>
                    <a:pt x="84" y="0"/>
                  </a:cubicBezTo>
                  <a:cubicBezTo>
                    <a:pt x="68" y="0"/>
                    <a:pt x="54" y="14"/>
                    <a:pt x="54" y="30"/>
                  </a:cubicBezTo>
                  <a:cubicBezTo>
                    <a:pt x="54" y="41"/>
                    <a:pt x="60" y="51"/>
                    <a:pt x="69" y="56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46" y="62"/>
                    <a:pt x="39" y="68"/>
                    <a:pt x="21" y="115"/>
                  </a:cubicBezTo>
                  <a:cubicBezTo>
                    <a:pt x="11" y="141"/>
                    <a:pt x="3" y="166"/>
                    <a:pt x="3" y="166"/>
                  </a:cubicBezTo>
                  <a:cubicBezTo>
                    <a:pt x="0" y="175"/>
                    <a:pt x="5" y="184"/>
                    <a:pt x="13" y="187"/>
                  </a:cubicBezTo>
                  <a:cubicBezTo>
                    <a:pt x="17" y="188"/>
                    <a:pt x="22" y="188"/>
                    <a:pt x="25" y="186"/>
                  </a:cubicBezTo>
                  <a:cubicBezTo>
                    <a:pt x="12" y="235"/>
                    <a:pt x="12" y="235"/>
                    <a:pt x="12" y="235"/>
                  </a:cubicBezTo>
                  <a:cubicBezTo>
                    <a:pt x="50" y="235"/>
                    <a:pt x="50" y="235"/>
                    <a:pt x="50" y="235"/>
                  </a:cubicBezTo>
                  <a:cubicBezTo>
                    <a:pt x="50" y="328"/>
                    <a:pt x="50" y="328"/>
                    <a:pt x="50" y="328"/>
                  </a:cubicBezTo>
                  <a:cubicBezTo>
                    <a:pt x="50" y="338"/>
                    <a:pt x="58" y="347"/>
                    <a:pt x="68" y="347"/>
                  </a:cubicBezTo>
                  <a:cubicBezTo>
                    <a:pt x="75" y="347"/>
                    <a:pt x="82" y="342"/>
                    <a:pt x="84" y="336"/>
                  </a:cubicBezTo>
                  <a:cubicBezTo>
                    <a:pt x="87" y="342"/>
                    <a:pt x="94" y="347"/>
                    <a:pt x="101" y="347"/>
                  </a:cubicBezTo>
                  <a:cubicBezTo>
                    <a:pt x="111" y="347"/>
                    <a:pt x="119" y="338"/>
                    <a:pt x="119" y="328"/>
                  </a:cubicBezTo>
                  <a:cubicBezTo>
                    <a:pt x="119" y="235"/>
                    <a:pt x="119" y="235"/>
                    <a:pt x="119" y="235"/>
                  </a:cubicBezTo>
                  <a:cubicBezTo>
                    <a:pt x="159" y="235"/>
                    <a:pt x="159" y="235"/>
                    <a:pt x="159" y="23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7" y="188"/>
                    <a:pt x="151" y="188"/>
                    <a:pt x="155" y="187"/>
                  </a:cubicBezTo>
                  <a:cubicBezTo>
                    <a:pt x="164" y="184"/>
                    <a:pt x="168" y="174"/>
                    <a:pt x="165" y="166"/>
                  </a:cubicBezTo>
                  <a:cubicBezTo>
                    <a:pt x="165" y="166"/>
                    <a:pt x="157" y="140"/>
                    <a:pt x="147" y="115"/>
                  </a:cubicBezTo>
                  <a:close/>
                  <a:moveTo>
                    <a:pt x="64" y="30"/>
                  </a:moveTo>
                  <a:cubicBezTo>
                    <a:pt x="64" y="19"/>
                    <a:pt x="73" y="10"/>
                    <a:pt x="84" y="10"/>
                  </a:cubicBezTo>
                  <a:cubicBezTo>
                    <a:pt x="95" y="10"/>
                    <a:pt x="104" y="19"/>
                    <a:pt x="104" y="30"/>
                  </a:cubicBezTo>
                  <a:cubicBezTo>
                    <a:pt x="104" y="41"/>
                    <a:pt x="95" y="50"/>
                    <a:pt x="84" y="50"/>
                  </a:cubicBezTo>
                  <a:cubicBezTo>
                    <a:pt x="73" y="50"/>
                    <a:pt x="64" y="41"/>
                    <a:pt x="64" y="30"/>
                  </a:cubicBezTo>
                  <a:close/>
                  <a:moveTo>
                    <a:pt x="152" y="177"/>
                  </a:moveTo>
                  <a:cubicBezTo>
                    <a:pt x="151" y="177"/>
                    <a:pt x="151" y="177"/>
                    <a:pt x="150" y="177"/>
                  </a:cubicBezTo>
                  <a:cubicBezTo>
                    <a:pt x="148" y="177"/>
                    <a:pt x="145" y="175"/>
                    <a:pt x="145" y="173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45" y="225"/>
                    <a:pt x="145" y="225"/>
                    <a:pt x="145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8" y="328"/>
                    <a:pt x="108" y="328"/>
                    <a:pt x="108" y="328"/>
                  </a:cubicBezTo>
                  <a:cubicBezTo>
                    <a:pt x="108" y="333"/>
                    <a:pt x="105" y="336"/>
                    <a:pt x="101" y="336"/>
                  </a:cubicBezTo>
                  <a:cubicBezTo>
                    <a:pt x="97" y="336"/>
                    <a:pt x="93" y="333"/>
                    <a:pt x="93" y="328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79" y="230"/>
                    <a:pt x="79" y="230"/>
                    <a:pt x="79" y="230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28"/>
                    <a:pt x="76" y="328"/>
                    <a:pt x="76" y="328"/>
                  </a:cubicBezTo>
                  <a:cubicBezTo>
                    <a:pt x="76" y="333"/>
                    <a:pt x="72" y="336"/>
                    <a:pt x="68" y="336"/>
                  </a:cubicBezTo>
                  <a:cubicBezTo>
                    <a:pt x="64" y="336"/>
                    <a:pt x="60" y="333"/>
                    <a:pt x="60" y="328"/>
                  </a:cubicBezTo>
                  <a:cubicBezTo>
                    <a:pt x="60" y="225"/>
                    <a:pt x="60" y="225"/>
                    <a:pt x="60" y="225"/>
                  </a:cubicBezTo>
                  <a:cubicBezTo>
                    <a:pt x="25" y="225"/>
                    <a:pt x="25" y="225"/>
                    <a:pt x="25" y="22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24" y="173"/>
                    <a:pt x="24" y="173"/>
                    <a:pt x="24" y="173"/>
                  </a:cubicBezTo>
                  <a:cubicBezTo>
                    <a:pt x="23" y="176"/>
                    <a:pt x="21" y="177"/>
                    <a:pt x="18" y="177"/>
                  </a:cubicBezTo>
                  <a:cubicBezTo>
                    <a:pt x="18" y="177"/>
                    <a:pt x="17" y="177"/>
                    <a:pt x="16" y="177"/>
                  </a:cubicBezTo>
                  <a:cubicBezTo>
                    <a:pt x="13" y="176"/>
                    <a:pt x="12" y="173"/>
                    <a:pt x="13" y="170"/>
                  </a:cubicBezTo>
                  <a:cubicBezTo>
                    <a:pt x="27" y="126"/>
                    <a:pt x="46" y="77"/>
                    <a:pt x="53" y="72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2"/>
                    <a:pt x="122" y="79"/>
                    <a:pt x="139" y="122"/>
                  </a:cubicBezTo>
                  <a:cubicBezTo>
                    <a:pt x="148" y="145"/>
                    <a:pt x="156" y="169"/>
                    <a:pt x="156" y="169"/>
                  </a:cubicBezTo>
                  <a:cubicBezTo>
                    <a:pt x="157" y="172"/>
                    <a:pt x="155" y="176"/>
                    <a:pt x="152" y="17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7" name="Freeform 150">
              <a:extLst>
                <a:ext uri="{FF2B5EF4-FFF2-40B4-BE49-F238E27FC236}">
                  <a16:creationId xmlns:a16="http://schemas.microsoft.com/office/drawing/2014/main" id="{930B90FA-FD32-4719-A212-A48E047E4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86226" y="5905500"/>
              <a:ext cx="68263" cy="188913"/>
            </a:xfrm>
            <a:custGeom>
              <a:avLst/>
              <a:gdLst>
                <a:gd name="T0" fmla="*/ 127 w 131"/>
                <a:gd name="T1" fmla="*/ 102 h 364"/>
                <a:gd name="T2" fmla="*/ 81 w 131"/>
                <a:gd name="T3" fmla="*/ 59 h 364"/>
                <a:gd name="T4" fmla="*/ 97 w 131"/>
                <a:gd name="T5" fmla="*/ 32 h 364"/>
                <a:gd name="T6" fmla="*/ 66 w 131"/>
                <a:gd name="T7" fmla="*/ 0 h 364"/>
                <a:gd name="T8" fmla="*/ 34 w 131"/>
                <a:gd name="T9" fmla="*/ 32 h 364"/>
                <a:gd name="T10" fmla="*/ 50 w 131"/>
                <a:gd name="T11" fmla="*/ 59 h 364"/>
                <a:gd name="T12" fmla="*/ 5 w 131"/>
                <a:gd name="T13" fmla="*/ 101 h 364"/>
                <a:gd name="T14" fmla="*/ 0 w 131"/>
                <a:gd name="T15" fmla="*/ 190 h 364"/>
                <a:gd name="T16" fmla="*/ 0 w 131"/>
                <a:gd name="T17" fmla="*/ 196 h 364"/>
                <a:gd name="T18" fmla="*/ 17 w 131"/>
                <a:gd name="T19" fmla="*/ 213 h 364"/>
                <a:gd name="T20" fmla="*/ 25 w 131"/>
                <a:gd name="T21" fmla="*/ 211 h 364"/>
                <a:gd name="T22" fmla="*/ 24 w 131"/>
                <a:gd name="T23" fmla="*/ 341 h 364"/>
                <a:gd name="T24" fmla="*/ 45 w 131"/>
                <a:gd name="T25" fmla="*/ 364 h 364"/>
                <a:gd name="T26" fmla="*/ 65 w 131"/>
                <a:gd name="T27" fmla="*/ 349 h 364"/>
                <a:gd name="T28" fmla="*/ 85 w 131"/>
                <a:gd name="T29" fmla="*/ 364 h 364"/>
                <a:gd name="T30" fmla="*/ 106 w 131"/>
                <a:gd name="T31" fmla="*/ 342 h 364"/>
                <a:gd name="T32" fmla="*/ 106 w 131"/>
                <a:gd name="T33" fmla="*/ 211 h 364"/>
                <a:gd name="T34" fmla="*/ 114 w 131"/>
                <a:gd name="T35" fmla="*/ 213 h 364"/>
                <a:gd name="T36" fmla="*/ 131 w 131"/>
                <a:gd name="T37" fmla="*/ 196 h 364"/>
                <a:gd name="T38" fmla="*/ 127 w 131"/>
                <a:gd name="T39" fmla="*/ 102 h 364"/>
                <a:gd name="T40" fmla="*/ 45 w 131"/>
                <a:gd name="T41" fmla="*/ 32 h 364"/>
                <a:gd name="T42" fmla="*/ 66 w 131"/>
                <a:gd name="T43" fmla="*/ 11 h 364"/>
                <a:gd name="T44" fmla="*/ 86 w 131"/>
                <a:gd name="T45" fmla="*/ 32 h 364"/>
                <a:gd name="T46" fmla="*/ 66 w 131"/>
                <a:gd name="T47" fmla="*/ 53 h 364"/>
                <a:gd name="T48" fmla="*/ 45 w 131"/>
                <a:gd name="T49" fmla="*/ 32 h 364"/>
                <a:gd name="T50" fmla="*/ 114 w 131"/>
                <a:gd name="T51" fmla="*/ 202 h 364"/>
                <a:gd name="T52" fmla="*/ 106 w 131"/>
                <a:gd name="T53" fmla="*/ 196 h 364"/>
                <a:gd name="T54" fmla="*/ 104 w 131"/>
                <a:gd name="T55" fmla="*/ 120 h 364"/>
                <a:gd name="T56" fmla="*/ 93 w 131"/>
                <a:gd name="T57" fmla="*/ 121 h 364"/>
                <a:gd name="T58" fmla="*/ 96 w 131"/>
                <a:gd name="T59" fmla="*/ 192 h 364"/>
                <a:gd name="T60" fmla="*/ 96 w 131"/>
                <a:gd name="T61" fmla="*/ 342 h 364"/>
                <a:gd name="T62" fmla="*/ 85 w 131"/>
                <a:gd name="T63" fmla="*/ 353 h 364"/>
                <a:gd name="T64" fmla="*/ 74 w 131"/>
                <a:gd name="T65" fmla="*/ 342 h 364"/>
                <a:gd name="T66" fmla="*/ 70 w 131"/>
                <a:gd name="T67" fmla="*/ 224 h 364"/>
                <a:gd name="T68" fmla="*/ 60 w 131"/>
                <a:gd name="T69" fmla="*/ 224 h 364"/>
                <a:gd name="T70" fmla="*/ 56 w 131"/>
                <a:gd name="T71" fmla="*/ 342 h 364"/>
                <a:gd name="T72" fmla="*/ 56 w 131"/>
                <a:gd name="T73" fmla="*/ 342 h 364"/>
                <a:gd name="T74" fmla="*/ 45 w 131"/>
                <a:gd name="T75" fmla="*/ 353 h 364"/>
                <a:gd name="T76" fmla="*/ 35 w 131"/>
                <a:gd name="T77" fmla="*/ 341 h 364"/>
                <a:gd name="T78" fmla="*/ 37 w 131"/>
                <a:gd name="T79" fmla="*/ 121 h 364"/>
                <a:gd name="T80" fmla="*/ 26 w 131"/>
                <a:gd name="T81" fmla="*/ 120 h 364"/>
                <a:gd name="T82" fmla="*/ 24 w 131"/>
                <a:gd name="T83" fmla="*/ 196 h 364"/>
                <a:gd name="T84" fmla="*/ 17 w 131"/>
                <a:gd name="T85" fmla="*/ 202 h 364"/>
                <a:gd name="T86" fmla="*/ 11 w 131"/>
                <a:gd name="T87" fmla="*/ 196 h 364"/>
                <a:gd name="T88" fmla="*/ 11 w 131"/>
                <a:gd name="T89" fmla="*/ 191 h 364"/>
                <a:gd name="T90" fmla="*/ 15 w 131"/>
                <a:gd name="T91" fmla="*/ 101 h 364"/>
                <a:gd name="T92" fmla="*/ 15 w 131"/>
                <a:gd name="T93" fmla="*/ 101 h 364"/>
                <a:gd name="T94" fmla="*/ 66 w 131"/>
                <a:gd name="T95" fmla="*/ 68 h 364"/>
                <a:gd name="T96" fmla="*/ 117 w 131"/>
                <a:gd name="T97" fmla="*/ 103 h 364"/>
                <a:gd name="T98" fmla="*/ 121 w 131"/>
                <a:gd name="T99" fmla="*/ 196 h 364"/>
                <a:gd name="T100" fmla="*/ 114 w 131"/>
                <a:gd name="T101" fmla="*/ 20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1" h="364">
                  <a:moveTo>
                    <a:pt x="127" y="102"/>
                  </a:moveTo>
                  <a:cubicBezTo>
                    <a:pt x="127" y="101"/>
                    <a:pt x="122" y="66"/>
                    <a:pt x="81" y="59"/>
                  </a:cubicBezTo>
                  <a:cubicBezTo>
                    <a:pt x="91" y="53"/>
                    <a:pt x="97" y="43"/>
                    <a:pt x="97" y="32"/>
                  </a:cubicBezTo>
                  <a:cubicBezTo>
                    <a:pt x="97" y="14"/>
                    <a:pt x="83" y="0"/>
                    <a:pt x="66" y="0"/>
                  </a:cubicBezTo>
                  <a:cubicBezTo>
                    <a:pt x="48" y="0"/>
                    <a:pt x="34" y="14"/>
                    <a:pt x="34" y="32"/>
                  </a:cubicBezTo>
                  <a:cubicBezTo>
                    <a:pt x="34" y="43"/>
                    <a:pt x="41" y="53"/>
                    <a:pt x="50" y="59"/>
                  </a:cubicBezTo>
                  <a:cubicBezTo>
                    <a:pt x="14" y="65"/>
                    <a:pt x="5" y="91"/>
                    <a:pt x="5" y="101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05"/>
                    <a:pt x="8" y="213"/>
                    <a:pt x="17" y="213"/>
                  </a:cubicBezTo>
                  <a:cubicBezTo>
                    <a:pt x="20" y="213"/>
                    <a:pt x="23" y="212"/>
                    <a:pt x="25" y="211"/>
                  </a:cubicBezTo>
                  <a:cubicBezTo>
                    <a:pt x="25" y="261"/>
                    <a:pt x="24" y="317"/>
                    <a:pt x="24" y="341"/>
                  </a:cubicBezTo>
                  <a:cubicBezTo>
                    <a:pt x="24" y="354"/>
                    <a:pt x="34" y="364"/>
                    <a:pt x="45" y="364"/>
                  </a:cubicBezTo>
                  <a:cubicBezTo>
                    <a:pt x="54" y="364"/>
                    <a:pt x="62" y="358"/>
                    <a:pt x="65" y="349"/>
                  </a:cubicBezTo>
                  <a:cubicBezTo>
                    <a:pt x="68" y="358"/>
                    <a:pt x="76" y="364"/>
                    <a:pt x="85" y="364"/>
                  </a:cubicBezTo>
                  <a:cubicBezTo>
                    <a:pt x="97" y="364"/>
                    <a:pt x="106" y="354"/>
                    <a:pt x="106" y="342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8" y="212"/>
                    <a:pt x="111" y="213"/>
                    <a:pt x="114" y="213"/>
                  </a:cubicBezTo>
                  <a:cubicBezTo>
                    <a:pt x="123" y="213"/>
                    <a:pt x="131" y="205"/>
                    <a:pt x="131" y="196"/>
                  </a:cubicBezTo>
                  <a:cubicBezTo>
                    <a:pt x="127" y="102"/>
                    <a:pt x="127" y="102"/>
                    <a:pt x="127" y="102"/>
                  </a:cubicBezTo>
                  <a:close/>
                  <a:moveTo>
                    <a:pt x="45" y="32"/>
                  </a:moveTo>
                  <a:cubicBezTo>
                    <a:pt x="45" y="20"/>
                    <a:pt x="54" y="11"/>
                    <a:pt x="66" y="11"/>
                  </a:cubicBezTo>
                  <a:cubicBezTo>
                    <a:pt x="77" y="11"/>
                    <a:pt x="86" y="20"/>
                    <a:pt x="86" y="32"/>
                  </a:cubicBezTo>
                  <a:cubicBezTo>
                    <a:pt x="86" y="43"/>
                    <a:pt x="77" y="53"/>
                    <a:pt x="66" y="53"/>
                  </a:cubicBezTo>
                  <a:cubicBezTo>
                    <a:pt x="54" y="53"/>
                    <a:pt x="45" y="43"/>
                    <a:pt x="45" y="32"/>
                  </a:cubicBezTo>
                  <a:close/>
                  <a:moveTo>
                    <a:pt x="114" y="202"/>
                  </a:moveTo>
                  <a:cubicBezTo>
                    <a:pt x="110" y="202"/>
                    <a:pt x="106" y="200"/>
                    <a:pt x="106" y="196"/>
                  </a:cubicBezTo>
                  <a:cubicBezTo>
                    <a:pt x="104" y="120"/>
                    <a:pt x="104" y="120"/>
                    <a:pt x="104" y="120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96" y="342"/>
                    <a:pt x="96" y="342"/>
                    <a:pt x="96" y="342"/>
                  </a:cubicBezTo>
                  <a:cubicBezTo>
                    <a:pt x="96" y="348"/>
                    <a:pt x="91" y="353"/>
                    <a:pt x="85" y="353"/>
                  </a:cubicBezTo>
                  <a:cubicBezTo>
                    <a:pt x="79" y="353"/>
                    <a:pt x="74" y="348"/>
                    <a:pt x="74" y="342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8"/>
                    <a:pt x="51" y="353"/>
                    <a:pt x="45" y="353"/>
                  </a:cubicBezTo>
                  <a:cubicBezTo>
                    <a:pt x="39" y="353"/>
                    <a:pt x="35" y="348"/>
                    <a:pt x="35" y="341"/>
                  </a:cubicBezTo>
                  <a:cubicBezTo>
                    <a:pt x="35" y="294"/>
                    <a:pt x="37" y="122"/>
                    <a:pt x="37" y="121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201"/>
                    <a:pt x="19" y="202"/>
                    <a:pt x="17" y="202"/>
                  </a:cubicBezTo>
                  <a:cubicBezTo>
                    <a:pt x="13" y="202"/>
                    <a:pt x="11" y="200"/>
                    <a:pt x="11" y="196"/>
                  </a:cubicBezTo>
                  <a:cubicBezTo>
                    <a:pt x="11" y="191"/>
                    <a:pt x="11" y="191"/>
                    <a:pt x="11" y="19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0"/>
                    <a:pt x="17" y="68"/>
                    <a:pt x="66" y="68"/>
                  </a:cubicBezTo>
                  <a:cubicBezTo>
                    <a:pt x="111" y="68"/>
                    <a:pt x="117" y="100"/>
                    <a:pt x="117" y="103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0" y="200"/>
                    <a:pt x="117" y="202"/>
                    <a:pt x="114" y="20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34" name="Group 46333">
            <a:extLst>
              <a:ext uri="{FF2B5EF4-FFF2-40B4-BE49-F238E27FC236}">
                <a16:creationId xmlns:a16="http://schemas.microsoft.com/office/drawing/2014/main" id="{669AA2DF-EF44-4AB5-B90F-DAF7BF1B9FDB}"/>
              </a:ext>
            </a:extLst>
          </p:cNvPr>
          <p:cNvGrpSpPr/>
          <p:nvPr/>
        </p:nvGrpSpPr>
        <p:grpSpPr>
          <a:xfrm>
            <a:off x="7016750" y="5464175"/>
            <a:ext cx="841375" cy="838200"/>
            <a:chOff x="7016750" y="5464175"/>
            <a:chExt cx="841375" cy="838200"/>
          </a:xfrm>
        </p:grpSpPr>
        <p:sp>
          <p:nvSpPr>
            <p:cNvPr id="46330" name="AutoShape 152">
              <a:extLst>
                <a:ext uri="{FF2B5EF4-FFF2-40B4-BE49-F238E27FC236}">
                  <a16:creationId xmlns:a16="http://schemas.microsoft.com/office/drawing/2014/main" id="{60F16DB4-8E62-4E57-97E5-077A284039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16750" y="5464175"/>
              <a:ext cx="841375" cy="83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1" name="Oval 154">
              <a:extLst>
                <a:ext uri="{FF2B5EF4-FFF2-40B4-BE49-F238E27FC236}">
                  <a16:creationId xmlns:a16="http://schemas.microsoft.com/office/drawing/2014/main" id="{18D6EDF3-0992-49BF-89BB-9FEF436D2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6750" y="5464175"/>
              <a:ext cx="841375" cy="83820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32" name="Freeform 155">
              <a:extLst>
                <a:ext uri="{FF2B5EF4-FFF2-40B4-BE49-F238E27FC236}">
                  <a16:creationId xmlns:a16="http://schemas.microsoft.com/office/drawing/2014/main" id="{E1012D5E-4996-4A98-B698-DFCFC5C8D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0088" y="5497513"/>
              <a:ext cx="774700" cy="773113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3" name="Freeform 156">
              <a:extLst>
                <a:ext uri="{FF2B5EF4-FFF2-40B4-BE49-F238E27FC236}">
                  <a16:creationId xmlns:a16="http://schemas.microsoft.com/office/drawing/2014/main" id="{92BDE178-0414-401C-B35A-31C15F23E0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7725" y="5675313"/>
              <a:ext cx="482600" cy="385763"/>
            </a:xfrm>
            <a:custGeom>
              <a:avLst/>
              <a:gdLst>
                <a:gd name="T0" fmla="*/ 688 w 917"/>
                <a:gd name="T1" fmla="*/ 539 h 738"/>
                <a:gd name="T2" fmla="*/ 575 w 917"/>
                <a:gd name="T3" fmla="*/ 553 h 738"/>
                <a:gd name="T4" fmla="*/ 425 w 917"/>
                <a:gd name="T5" fmla="*/ 454 h 738"/>
                <a:gd name="T6" fmla="*/ 307 w 917"/>
                <a:gd name="T7" fmla="*/ 226 h 738"/>
                <a:gd name="T8" fmla="*/ 136 w 917"/>
                <a:gd name="T9" fmla="*/ 2 h 738"/>
                <a:gd name="T10" fmla="*/ 34 w 917"/>
                <a:gd name="T11" fmla="*/ 126 h 738"/>
                <a:gd name="T12" fmla="*/ 61 w 917"/>
                <a:gd name="T13" fmla="*/ 350 h 738"/>
                <a:gd name="T14" fmla="*/ 78 w 917"/>
                <a:gd name="T15" fmla="*/ 726 h 738"/>
                <a:gd name="T16" fmla="*/ 103 w 917"/>
                <a:gd name="T17" fmla="*/ 738 h 738"/>
                <a:gd name="T18" fmla="*/ 128 w 917"/>
                <a:gd name="T19" fmla="*/ 726 h 738"/>
                <a:gd name="T20" fmla="*/ 126 w 917"/>
                <a:gd name="T21" fmla="*/ 361 h 738"/>
                <a:gd name="T22" fmla="*/ 135 w 917"/>
                <a:gd name="T23" fmla="*/ 351 h 738"/>
                <a:gd name="T24" fmla="*/ 293 w 917"/>
                <a:gd name="T25" fmla="*/ 495 h 738"/>
                <a:gd name="T26" fmla="*/ 508 w 917"/>
                <a:gd name="T27" fmla="*/ 732 h 738"/>
                <a:gd name="T28" fmla="*/ 887 w 917"/>
                <a:gd name="T29" fmla="*/ 694 h 738"/>
                <a:gd name="T30" fmla="*/ 913 w 917"/>
                <a:gd name="T31" fmla="*/ 675 h 738"/>
                <a:gd name="T32" fmla="*/ 782 w 917"/>
                <a:gd name="T33" fmla="*/ 578 h 738"/>
                <a:gd name="T34" fmla="*/ 884 w 917"/>
                <a:gd name="T35" fmla="*/ 672 h 738"/>
                <a:gd name="T36" fmla="*/ 427 w 917"/>
                <a:gd name="T37" fmla="*/ 659 h 738"/>
                <a:gd name="T38" fmla="*/ 220 w 917"/>
                <a:gd name="T39" fmla="*/ 362 h 738"/>
                <a:gd name="T40" fmla="*/ 127 w 917"/>
                <a:gd name="T41" fmla="*/ 330 h 738"/>
                <a:gd name="T42" fmla="*/ 105 w 917"/>
                <a:gd name="T43" fmla="*/ 355 h 738"/>
                <a:gd name="T44" fmla="*/ 106 w 917"/>
                <a:gd name="T45" fmla="*/ 716 h 738"/>
                <a:gd name="T46" fmla="*/ 97 w 917"/>
                <a:gd name="T47" fmla="*/ 507 h 738"/>
                <a:gd name="T48" fmla="*/ 83 w 917"/>
                <a:gd name="T49" fmla="*/ 346 h 738"/>
                <a:gd name="T50" fmla="*/ 54 w 917"/>
                <a:gd name="T51" fmla="*/ 134 h 738"/>
                <a:gd name="T52" fmla="*/ 213 w 917"/>
                <a:gd name="T53" fmla="*/ 121 h 738"/>
                <a:gd name="T54" fmla="*/ 288 w 917"/>
                <a:gd name="T55" fmla="*/ 237 h 738"/>
                <a:gd name="T56" fmla="*/ 579 w 917"/>
                <a:gd name="T57" fmla="*/ 575 h 738"/>
                <a:gd name="T58" fmla="*/ 775 w 917"/>
                <a:gd name="T59" fmla="*/ 599 h 738"/>
                <a:gd name="T60" fmla="*/ 891 w 917"/>
                <a:gd name="T61" fmla="*/ 661 h 738"/>
                <a:gd name="T62" fmla="*/ 893 w 917"/>
                <a:gd name="T63" fmla="*/ 667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17" h="738">
                  <a:moveTo>
                    <a:pt x="782" y="578"/>
                  </a:moveTo>
                  <a:cubicBezTo>
                    <a:pt x="761" y="571"/>
                    <a:pt x="705" y="550"/>
                    <a:pt x="688" y="539"/>
                  </a:cubicBezTo>
                  <a:cubicBezTo>
                    <a:pt x="686" y="537"/>
                    <a:pt x="683" y="536"/>
                    <a:pt x="680" y="537"/>
                  </a:cubicBezTo>
                  <a:cubicBezTo>
                    <a:pt x="575" y="553"/>
                    <a:pt x="575" y="553"/>
                    <a:pt x="575" y="553"/>
                  </a:cubicBezTo>
                  <a:cubicBezTo>
                    <a:pt x="575" y="554"/>
                    <a:pt x="574" y="554"/>
                    <a:pt x="574" y="554"/>
                  </a:cubicBezTo>
                  <a:cubicBezTo>
                    <a:pt x="573" y="554"/>
                    <a:pt x="487" y="576"/>
                    <a:pt x="425" y="454"/>
                  </a:cubicBezTo>
                  <a:cubicBezTo>
                    <a:pt x="307" y="226"/>
                    <a:pt x="307" y="226"/>
                    <a:pt x="307" y="226"/>
                  </a:cubicBezTo>
                  <a:cubicBezTo>
                    <a:pt x="307" y="226"/>
                    <a:pt x="307" y="226"/>
                    <a:pt x="307" y="226"/>
                  </a:cubicBezTo>
                  <a:cubicBezTo>
                    <a:pt x="304" y="222"/>
                    <a:pt x="249" y="130"/>
                    <a:pt x="230" y="107"/>
                  </a:cubicBezTo>
                  <a:cubicBezTo>
                    <a:pt x="218" y="91"/>
                    <a:pt x="159" y="13"/>
                    <a:pt x="136" y="2"/>
                  </a:cubicBezTo>
                  <a:cubicBezTo>
                    <a:pt x="132" y="0"/>
                    <a:pt x="127" y="1"/>
                    <a:pt x="124" y="4"/>
                  </a:cubicBezTo>
                  <a:cubicBezTo>
                    <a:pt x="121" y="6"/>
                    <a:pt x="55" y="70"/>
                    <a:pt x="34" y="126"/>
                  </a:cubicBezTo>
                  <a:cubicBezTo>
                    <a:pt x="32" y="130"/>
                    <a:pt x="0" y="212"/>
                    <a:pt x="28" y="267"/>
                  </a:cubicBezTo>
                  <a:cubicBezTo>
                    <a:pt x="28" y="267"/>
                    <a:pt x="56" y="322"/>
                    <a:pt x="61" y="350"/>
                  </a:cubicBezTo>
                  <a:cubicBezTo>
                    <a:pt x="62" y="358"/>
                    <a:pt x="75" y="480"/>
                    <a:pt x="75" y="507"/>
                  </a:cubicBezTo>
                  <a:cubicBezTo>
                    <a:pt x="78" y="726"/>
                    <a:pt x="78" y="726"/>
                    <a:pt x="78" y="726"/>
                  </a:cubicBezTo>
                  <a:cubicBezTo>
                    <a:pt x="78" y="731"/>
                    <a:pt x="81" y="735"/>
                    <a:pt x="86" y="736"/>
                  </a:cubicBezTo>
                  <a:cubicBezTo>
                    <a:pt x="87" y="736"/>
                    <a:pt x="93" y="738"/>
                    <a:pt x="103" y="738"/>
                  </a:cubicBezTo>
                  <a:cubicBezTo>
                    <a:pt x="108" y="738"/>
                    <a:pt x="114" y="738"/>
                    <a:pt x="120" y="736"/>
                  </a:cubicBezTo>
                  <a:cubicBezTo>
                    <a:pt x="125" y="735"/>
                    <a:pt x="129" y="731"/>
                    <a:pt x="128" y="726"/>
                  </a:cubicBezTo>
                  <a:cubicBezTo>
                    <a:pt x="126" y="528"/>
                    <a:pt x="126" y="528"/>
                    <a:pt x="126" y="528"/>
                  </a:cubicBezTo>
                  <a:cubicBezTo>
                    <a:pt x="124" y="455"/>
                    <a:pt x="124" y="372"/>
                    <a:pt x="126" y="361"/>
                  </a:cubicBezTo>
                  <a:cubicBezTo>
                    <a:pt x="126" y="360"/>
                    <a:pt x="127" y="360"/>
                    <a:pt x="127" y="359"/>
                  </a:cubicBezTo>
                  <a:cubicBezTo>
                    <a:pt x="127" y="358"/>
                    <a:pt x="128" y="354"/>
                    <a:pt x="135" y="351"/>
                  </a:cubicBezTo>
                  <a:cubicBezTo>
                    <a:pt x="139" y="350"/>
                    <a:pt x="174" y="343"/>
                    <a:pt x="204" y="377"/>
                  </a:cubicBezTo>
                  <a:cubicBezTo>
                    <a:pt x="240" y="417"/>
                    <a:pt x="292" y="495"/>
                    <a:pt x="293" y="495"/>
                  </a:cubicBezTo>
                  <a:cubicBezTo>
                    <a:pt x="408" y="670"/>
                    <a:pt x="408" y="670"/>
                    <a:pt x="408" y="670"/>
                  </a:cubicBezTo>
                  <a:cubicBezTo>
                    <a:pt x="410" y="673"/>
                    <a:pt x="445" y="728"/>
                    <a:pt x="508" y="732"/>
                  </a:cubicBezTo>
                  <a:cubicBezTo>
                    <a:pt x="509" y="732"/>
                    <a:pt x="509" y="732"/>
                    <a:pt x="510" y="732"/>
                  </a:cubicBezTo>
                  <a:cubicBezTo>
                    <a:pt x="887" y="694"/>
                    <a:pt x="887" y="694"/>
                    <a:pt x="887" y="694"/>
                  </a:cubicBezTo>
                  <a:cubicBezTo>
                    <a:pt x="888" y="694"/>
                    <a:pt x="888" y="694"/>
                    <a:pt x="889" y="693"/>
                  </a:cubicBezTo>
                  <a:cubicBezTo>
                    <a:pt x="892" y="693"/>
                    <a:pt x="908" y="688"/>
                    <a:pt x="913" y="675"/>
                  </a:cubicBezTo>
                  <a:cubicBezTo>
                    <a:pt x="915" y="671"/>
                    <a:pt x="917" y="663"/>
                    <a:pt x="912" y="653"/>
                  </a:cubicBezTo>
                  <a:cubicBezTo>
                    <a:pt x="908" y="644"/>
                    <a:pt x="888" y="605"/>
                    <a:pt x="782" y="578"/>
                  </a:cubicBezTo>
                  <a:close/>
                  <a:moveTo>
                    <a:pt x="893" y="667"/>
                  </a:moveTo>
                  <a:cubicBezTo>
                    <a:pt x="892" y="668"/>
                    <a:pt x="888" y="671"/>
                    <a:pt x="884" y="672"/>
                  </a:cubicBezTo>
                  <a:cubicBezTo>
                    <a:pt x="509" y="710"/>
                    <a:pt x="509" y="710"/>
                    <a:pt x="509" y="710"/>
                  </a:cubicBezTo>
                  <a:cubicBezTo>
                    <a:pt x="457" y="706"/>
                    <a:pt x="427" y="659"/>
                    <a:pt x="427" y="659"/>
                  </a:cubicBezTo>
                  <a:cubicBezTo>
                    <a:pt x="311" y="483"/>
                    <a:pt x="311" y="483"/>
                    <a:pt x="311" y="483"/>
                  </a:cubicBezTo>
                  <a:cubicBezTo>
                    <a:pt x="309" y="480"/>
                    <a:pt x="257" y="404"/>
                    <a:pt x="220" y="362"/>
                  </a:cubicBezTo>
                  <a:cubicBezTo>
                    <a:pt x="180" y="316"/>
                    <a:pt x="130" y="329"/>
                    <a:pt x="128" y="330"/>
                  </a:cubicBezTo>
                  <a:cubicBezTo>
                    <a:pt x="128" y="330"/>
                    <a:pt x="128" y="330"/>
                    <a:pt x="127" y="330"/>
                  </a:cubicBezTo>
                  <a:cubicBezTo>
                    <a:pt x="109" y="337"/>
                    <a:pt x="105" y="353"/>
                    <a:pt x="105" y="355"/>
                  </a:cubicBezTo>
                  <a:cubicBezTo>
                    <a:pt x="105" y="355"/>
                    <a:pt x="105" y="355"/>
                    <a:pt x="105" y="355"/>
                  </a:cubicBezTo>
                  <a:cubicBezTo>
                    <a:pt x="103" y="363"/>
                    <a:pt x="101" y="393"/>
                    <a:pt x="104" y="529"/>
                  </a:cubicBezTo>
                  <a:cubicBezTo>
                    <a:pt x="106" y="716"/>
                    <a:pt x="106" y="716"/>
                    <a:pt x="106" y="716"/>
                  </a:cubicBezTo>
                  <a:cubicBezTo>
                    <a:pt x="104" y="716"/>
                    <a:pt x="102" y="716"/>
                    <a:pt x="100" y="716"/>
                  </a:cubicBezTo>
                  <a:cubicBezTo>
                    <a:pt x="97" y="507"/>
                    <a:pt x="97" y="507"/>
                    <a:pt x="97" y="507"/>
                  </a:cubicBezTo>
                  <a:cubicBezTo>
                    <a:pt x="97" y="478"/>
                    <a:pt x="84" y="352"/>
                    <a:pt x="83" y="347"/>
                  </a:cubicBezTo>
                  <a:cubicBezTo>
                    <a:pt x="83" y="347"/>
                    <a:pt x="83" y="346"/>
                    <a:pt x="83" y="346"/>
                  </a:cubicBezTo>
                  <a:cubicBezTo>
                    <a:pt x="78" y="315"/>
                    <a:pt x="49" y="259"/>
                    <a:pt x="48" y="257"/>
                  </a:cubicBezTo>
                  <a:cubicBezTo>
                    <a:pt x="24" y="211"/>
                    <a:pt x="54" y="135"/>
                    <a:pt x="54" y="134"/>
                  </a:cubicBezTo>
                  <a:cubicBezTo>
                    <a:pt x="70" y="92"/>
                    <a:pt x="116" y="43"/>
                    <a:pt x="133" y="26"/>
                  </a:cubicBezTo>
                  <a:cubicBezTo>
                    <a:pt x="150" y="41"/>
                    <a:pt x="188" y="88"/>
                    <a:pt x="213" y="121"/>
                  </a:cubicBezTo>
                  <a:cubicBezTo>
                    <a:pt x="213" y="121"/>
                    <a:pt x="213" y="121"/>
                    <a:pt x="213" y="121"/>
                  </a:cubicBezTo>
                  <a:cubicBezTo>
                    <a:pt x="230" y="141"/>
                    <a:pt x="284" y="231"/>
                    <a:pt x="288" y="237"/>
                  </a:cubicBezTo>
                  <a:cubicBezTo>
                    <a:pt x="405" y="464"/>
                    <a:pt x="405" y="464"/>
                    <a:pt x="405" y="464"/>
                  </a:cubicBezTo>
                  <a:cubicBezTo>
                    <a:pt x="472" y="595"/>
                    <a:pt x="569" y="577"/>
                    <a:pt x="579" y="575"/>
                  </a:cubicBezTo>
                  <a:cubicBezTo>
                    <a:pt x="679" y="559"/>
                    <a:pt x="679" y="559"/>
                    <a:pt x="679" y="559"/>
                  </a:cubicBezTo>
                  <a:cubicBezTo>
                    <a:pt x="705" y="575"/>
                    <a:pt x="768" y="596"/>
                    <a:pt x="775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877" y="624"/>
                    <a:pt x="891" y="661"/>
                    <a:pt x="891" y="661"/>
                  </a:cubicBezTo>
                  <a:cubicBezTo>
                    <a:pt x="891" y="662"/>
                    <a:pt x="892" y="662"/>
                    <a:pt x="892" y="663"/>
                  </a:cubicBezTo>
                  <a:cubicBezTo>
                    <a:pt x="893" y="665"/>
                    <a:pt x="893" y="666"/>
                    <a:pt x="893" y="6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39" name="Group 46338">
            <a:extLst>
              <a:ext uri="{FF2B5EF4-FFF2-40B4-BE49-F238E27FC236}">
                <a16:creationId xmlns:a16="http://schemas.microsoft.com/office/drawing/2014/main" id="{7D1DB7C6-38C2-4C3C-B62F-E9BD18CEF373}"/>
              </a:ext>
            </a:extLst>
          </p:cNvPr>
          <p:cNvGrpSpPr/>
          <p:nvPr/>
        </p:nvGrpSpPr>
        <p:grpSpPr>
          <a:xfrm>
            <a:off x="8069263" y="5505450"/>
            <a:ext cx="768350" cy="768350"/>
            <a:chOff x="8069263" y="5505450"/>
            <a:chExt cx="768350" cy="768350"/>
          </a:xfrm>
        </p:grpSpPr>
        <p:sp>
          <p:nvSpPr>
            <p:cNvPr id="46336" name="AutoShape 158">
              <a:extLst>
                <a:ext uri="{FF2B5EF4-FFF2-40B4-BE49-F238E27FC236}">
                  <a16:creationId xmlns:a16="http://schemas.microsoft.com/office/drawing/2014/main" id="{5F8A255F-0539-4929-9761-683F5267823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69263" y="5505450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37" name="Freeform 160">
              <a:extLst>
                <a:ext uri="{FF2B5EF4-FFF2-40B4-BE49-F238E27FC236}">
                  <a16:creationId xmlns:a16="http://schemas.microsoft.com/office/drawing/2014/main" id="{767C28C1-5375-438F-9B87-C6FBA60DF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63" y="5505450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8" name="Freeform 161">
              <a:extLst>
                <a:ext uri="{FF2B5EF4-FFF2-40B4-BE49-F238E27FC236}">
                  <a16:creationId xmlns:a16="http://schemas.microsoft.com/office/drawing/2014/main" id="{487571BC-F0F1-45B3-954D-096442AB7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16901" y="5681663"/>
              <a:ext cx="476250" cy="384175"/>
            </a:xfrm>
            <a:custGeom>
              <a:avLst/>
              <a:gdLst>
                <a:gd name="T0" fmla="*/ 688 w 917"/>
                <a:gd name="T1" fmla="*/ 539 h 738"/>
                <a:gd name="T2" fmla="*/ 575 w 917"/>
                <a:gd name="T3" fmla="*/ 553 h 738"/>
                <a:gd name="T4" fmla="*/ 425 w 917"/>
                <a:gd name="T5" fmla="*/ 454 h 738"/>
                <a:gd name="T6" fmla="*/ 307 w 917"/>
                <a:gd name="T7" fmla="*/ 226 h 738"/>
                <a:gd name="T8" fmla="*/ 136 w 917"/>
                <a:gd name="T9" fmla="*/ 2 h 738"/>
                <a:gd name="T10" fmla="*/ 34 w 917"/>
                <a:gd name="T11" fmla="*/ 126 h 738"/>
                <a:gd name="T12" fmla="*/ 61 w 917"/>
                <a:gd name="T13" fmla="*/ 350 h 738"/>
                <a:gd name="T14" fmla="*/ 78 w 917"/>
                <a:gd name="T15" fmla="*/ 726 h 738"/>
                <a:gd name="T16" fmla="*/ 103 w 917"/>
                <a:gd name="T17" fmla="*/ 738 h 738"/>
                <a:gd name="T18" fmla="*/ 128 w 917"/>
                <a:gd name="T19" fmla="*/ 726 h 738"/>
                <a:gd name="T20" fmla="*/ 126 w 917"/>
                <a:gd name="T21" fmla="*/ 361 h 738"/>
                <a:gd name="T22" fmla="*/ 135 w 917"/>
                <a:gd name="T23" fmla="*/ 351 h 738"/>
                <a:gd name="T24" fmla="*/ 293 w 917"/>
                <a:gd name="T25" fmla="*/ 495 h 738"/>
                <a:gd name="T26" fmla="*/ 508 w 917"/>
                <a:gd name="T27" fmla="*/ 732 h 738"/>
                <a:gd name="T28" fmla="*/ 887 w 917"/>
                <a:gd name="T29" fmla="*/ 694 h 738"/>
                <a:gd name="T30" fmla="*/ 913 w 917"/>
                <a:gd name="T31" fmla="*/ 675 h 738"/>
                <a:gd name="T32" fmla="*/ 782 w 917"/>
                <a:gd name="T33" fmla="*/ 578 h 738"/>
                <a:gd name="T34" fmla="*/ 884 w 917"/>
                <a:gd name="T35" fmla="*/ 672 h 738"/>
                <a:gd name="T36" fmla="*/ 427 w 917"/>
                <a:gd name="T37" fmla="*/ 659 h 738"/>
                <a:gd name="T38" fmla="*/ 220 w 917"/>
                <a:gd name="T39" fmla="*/ 362 h 738"/>
                <a:gd name="T40" fmla="*/ 127 w 917"/>
                <a:gd name="T41" fmla="*/ 330 h 738"/>
                <a:gd name="T42" fmla="*/ 105 w 917"/>
                <a:gd name="T43" fmla="*/ 355 h 738"/>
                <a:gd name="T44" fmla="*/ 106 w 917"/>
                <a:gd name="T45" fmla="*/ 716 h 738"/>
                <a:gd name="T46" fmla="*/ 97 w 917"/>
                <a:gd name="T47" fmla="*/ 507 h 738"/>
                <a:gd name="T48" fmla="*/ 83 w 917"/>
                <a:gd name="T49" fmla="*/ 346 h 738"/>
                <a:gd name="T50" fmla="*/ 54 w 917"/>
                <a:gd name="T51" fmla="*/ 134 h 738"/>
                <a:gd name="T52" fmla="*/ 213 w 917"/>
                <a:gd name="T53" fmla="*/ 121 h 738"/>
                <a:gd name="T54" fmla="*/ 288 w 917"/>
                <a:gd name="T55" fmla="*/ 237 h 738"/>
                <a:gd name="T56" fmla="*/ 579 w 917"/>
                <a:gd name="T57" fmla="*/ 575 h 738"/>
                <a:gd name="T58" fmla="*/ 775 w 917"/>
                <a:gd name="T59" fmla="*/ 599 h 738"/>
                <a:gd name="T60" fmla="*/ 891 w 917"/>
                <a:gd name="T61" fmla="*/ 661 h 738"/>
                <a:gd name="T62" fmla="*/ 893 w 917"/>
                <a:gd name="T63" fmla="*/ 667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17" h="738">
                  <a:moveTo>
                    <a:pt x="782" y="578"/>
                  </a:moveTo>
                  <a:cubicBezTo>
                    <a:pt x="761" y="571"/>
                    <a:pt x="705" y="550"/>
                    <a:pt x="688" y="539"/>
                  </a:cubicBezTo>
                  <a:cubicBezTo>
                    <a:pt x="686" y="537"/>
                    <a:pt x="683" y="536"/>
                    <a:pt x="680" y="537"/>
                  </a:cubicBezTo>
                  <a:cubicBezTo>
                    <a:pt x="575" y="553"/>
                    <a:pt x="575" y="553"/>
                    <a:pt x="575" y="553"/>
                  </a:cubicBezTo>
                  <a:cubicBezTo>
                    <a:pt x="575" y="554"/>
                    <a:pt x="574" y="554"/>
                    <a:pt x="574" y="554"/>
                  </a:cubicBezTo>
                  <a:cubicBezTo>
                    <a:pt x="573" y="554"/>
                    <a:pt x="487" y="576"/>
                    <a:pt x="425" y="454"/>
                  </a:cubicBezTo>
                  <a:cubicBezTo>
                    <a:pt x="307" y="226"/>
                    <a:pt x="307" y="226"/>
                    <a:pt x="307" y="226"/>
                  </a:cubicBezTo>
                  <a:cubicBezTo>
                    <a:pt x="307" y="226"/>
                    <a:pt x="307" y="226"/>
                    <a:pt x="307" y="226"/>
                  </a:cubicBezTo>
                  <a:cubicBezTo>
                    <a:pt x="304" y="222"/>
                    <a:pt x="249" y="130"/>
                    <a:pt x="230" y="107"/>
                  </a:cubicBezTo>
                  <a:cubicBezTo>
                    <a:pt x="218" y="91"/>
                    <a:pt x="159" y="13"/>
                    <a:pt x="136" y="2"/>
                  </a:cubicBezTo>
                  <a:cubicBezTo>
                    <a:pt x="132" y="0"/>
                    <a:pt x="127" y="1"/>
                    <a:pt x="124" y="4"/>
                  </a:cubicBezTo>
                  <a:cubicBezTo>
                    <a:pt x="121" y="6"/>
                    <a:pt x="55" y="70"/>
                    <a:pt x="34" y="126"/>
                  </a:cubicBezTo>
                  <a:cubicBezTo>
                    <a:pt x="32" y="130"/>
                    <a:pt x="0" y="212"/>
                    <a:pt x="28" y="267"/>
                  </a:cubicBezTo>
                  <a:cubicBezTo>
                    <a:pt x="28" y="267"/>
                    <a:pt x="56" y="322"/>
                    <a:pt x="61" y="350"/>
                  </a:cubicBezTo>
                  <a:cubicBezTo>
                    <a:pt x="62" y="358"/>
                    <a:pt x="75" y="480"/>
                    <a:pt x="75" y="507"/>
                  </a:cubicBezTo>
                  <a:cubicBezTo>
                    <a:pt x="78" y="726"/>
                    <a:pt x="78" y="726"/>
                    <a:pt x="78" y="726"/>
                  </a:cubicBezTo>
                  <a:cubicBezTo>
                    <a:pt x="78" y="731"/>
                    <a:pt x="81" y="735"/>
                    <a:pt x="86" y="736"/>
                  </a:cubicBezTo>
                  <a:cubicBezTo>
                    <a:pt x="87" y="736"/>
                    <a:pt x="93" y="738"/>
                    <a:pt x="103" y="738"/>
                  </a:cubicBezTo>
                  <a:cubicBezTo>
                    <a:pt x="108" y="738"/>
                    <a:pt x="114" y="738"/>
                    <a:pt x="120" y="736"/>
                  </a:cubicBezTo>
                  <a:cubicBezTo>
                    <a:pt x="125" y="735"/>
                    <a:pt x="129" y="731"/>
                    <a:pt x="128" y="726"/>
                  </a:cubicBezTo>
                  <a:cubicBezTo>
                    <a:pt x="126" y="528"/>
                    <a:pt x="126" y="528"/>
                    <a:pt x="126" y="528"/>
                  </a:cubicBezTo>
                  <a:cubicBezTo>
                    <a:pt x="124" y="455"/>
                    <a:pt x="124" y="372"/>
                    <a:pt x="126" y="361"/>
                  </a:cubicBezTo>
                  <a:cubicBezTo>
                    <a:pt x="126" y="360"/>
                    <a:pt x="127" y="360"/>
                    <a:pt x="127" y="359"/>
                  </a:cubicBezTo>
                  <a:cubicBezTo>
                    <a:pt x="127" y="358"/>
                    <a:pt x="128" y="354"/>
                    <a:pt x="135" y="351"/>
                  </a:cubicBezTo>
                  <a:cubicBezTo>
                    <a:pt x="139" y="350"/>
                    <a:pt x="174" y="343"/>
                    <a:pt x="204" y="377"/>
                  </a:cubicBezTo>
                  <a:cubicBezTo>
                    <a:pt x="240" y="417"/>
                    <a:pt x="292" y="495"/>
                    <a:pt x="293" y="495"/>
                  </a:cubicBezTo>
                  <a:cubicBezTo>
                    <a:pt x="408" y="670"/>
                    <a:pt x="408" y="670"/>
                    <a:pt x="408" y="670"/>
                  </a:cubicBezTo>
                  <a:cubicBezTo>
                    <a:pt x="410" y="673"/>
                    <a:pt x="445" y="728"/>
                    <a:pt x="508" y="732"/>
                  </a:cubicBezTo>
                  <a:cubicBezTo>
                    <a:pt x="509" y="732"/>
                    <a:pt x="509" y="732"/>
                    <a:pt x="510" y="732"/>
                  </a:cubicBezTo>
                  <a:cubicBezTo>
                    <a:pt x="887" y="694"/>
                    <a:pt x="887" y="694"/>
                    <a:pt x="887" y="694"/>
                  </a:cubicBezTo>
                  <a:cubicBezTo>
                    <a:pt x="888" y="694"/>
                    <a:pt x="888" y="694"/>
                    <a:pt x="889" y="693"/>
                  </a:cubicBezTo>
                  <a:cubicBezTo>
                    <a:pt x="892" y="693"/>
                    <a:pt x="908" y="688"/>
                    <a:pt x="913" y="675"/>
                  </a:cubicBezTo>
                  <a:cubicBezTo>
                    <a:pt x="915" y="671"/>
                    <a:pt x="917" y="663"/>
                    <a:pt x="912" y="653"/>
                  </a:cubicBezTo>
                  <a:cubicBezTo>
                    <a:pt x="908" y="644"/>
                    <a:pt x="888" y="605"/>
                    <a:pt x="782" y="578"/>
                  </a:cubicBezTo>
                  <a:close/>
                  <a:moveTo>
                    <a:pt x="893" y="667"/>
                  </a:moveTo>
                  <a:cubicBezTo>
                    <a:pt x="892" y="668"/>
                    <a:pt x="888" y="671"/>
                    <a:pt x="884" y="672"/>
                  </a:cubicBezTo>
                  <a:cubicBezTo>
                    <a:pt x="509" y="710"/>
                    <a:pt x="509" y="710"/>
                    <a:pt x="509" y="710"/>
                  </a:cubicBezTo>
                  <a:cubicBezTo>
                    <a:pt x="457" y="706"/>
                    <a:pt x="427" y="659"/>
                    <a:pt x="427" y="659"/>
                  </a:cubicBezTo>
                  <a:cubicBezTo>
                    <a:pt x="311" y="483"/>
                    <a:pt x="311" y="483"/>
                    <a:pt x="311" y="483"/>
                  </a:cubicBezTo>
                  <a:cubicBezTo>
                    <a:pt x="309" y="480"/>
                    <a:pt x="257" y="404"/>
                    <a:pt x="220" y="362"/>
                  </a:cubicBezTo>
                  <a:cubicBezTo>
                    <a:pt x="180" y="316"/>
                    <a:pt x="130" y="329"/>
                    <a:pt x="128" y="330"/>
                  </a:cubicBezTo>
                  <a:cubicBezTo>
                    <a:pt x="128" y="330"/>
                    <a:pt x="128" y="330"/>
                    <a:pt x="127" y="330"/>
                  </a:cubicBezTo>
                  <a:cubicBezTo>
                    <a:pt x="109" y="337"/>
                    <a:pt x="105" y="353"/>
                    <a:pt x="105" y="355"/>
                  </a:cubicBezTo>
                  <a:cubicBezTo>
                    <a:pt x="105" y="355"/>
                    <a:pt x="105" y="355"/>
                    <a:pt x="105" y="355"/>
                  </a:cubicBezTo>
                  <a:cubicBezTo>
                    <a:pt x="103" y="363"/>
                    <a:pt x="101" y="393"/>
                    <a:pt x="104" y="529"/>
                  </a:cubicBezTo>
                  <a:cubicBezTo>
                    <a:pt x="106" y="716"/>
                    <a:pt x="106" y="716"/>
                    <a:pt x="106" y="716"/>
                  </a:cubicBezTo>
                  <a:cubicBezTo>
                    <a:pt x="104" y="716"/>
                    <a:pt x="102" y="716"/>
                    <a:pt x="100" y="716"/>
                  </a:cubicBezTo>
                  <a:cubicBezTo>
                    <a:pt x="97" y="507"/>
                    <a:pt x="97" y="507"/>
                    <a:pt x="97" y="507"/>
                  </a:cubicBezTo>
                  <a:cubicBezTo>
                    <a:pt x="97" y="478"/>
                    <a:pt x="84" y="352"/>
                    <a:pt x="83" y="347"/>
                  </a:cubicBezTo>
                  <a:cubicBezTo>
                    <a:pt x="83" y="347"/>
                    <a:pt x="83" y="346"/>
                    <a:pt x="83" y="346"/>
                  </a:cubicBezTo>
                  <a:cubicBezTo>
                    <a:pt x="78" y="315"/>
                    <a:pt x="49" y="259"/>
                    <a:pt x="48" y="257"/>
                  </a:cubicBezTo>
                  <a:cubicBezTo>
                    <a:pt x="24" y="211"/>
                    <a:pt x="54" y="135"/>
                    <a:pt x="54" y="134"/>
                  </a:cubicBezTo>
                  <a:cubicBezTo>
                    <a:pt x="70" y="92"/>
                    <a:pt x="116" y="43"/>
                    <a:pt x="133" y="26"/>
                  </a:cubicBezTo>
                  <a:cubicBezTo>
                    <a:pt x="150" y="41"/>
                    <a:pt x="188" y="88"/>
                    <a:pt x="213" y="121"/>
                  </a:cubicBezTo>
                  <a:cubicBezTo>
                    <a:pt x="213" y="121"/>
                    <a:pt x="213" y="121"/>
                    <a:pt x="213" y="121"/>
                  </a:cubicBezTo>
                  <a:cubicBezTo>
                    <a:pt x="230" y="141"/>
                    <a:pt x="284" y="231"/>
                    <a:pt x="288" y="237"/>
                  </a:cubicBezTo>
                  <a:cubicBezTo>
                    <a:pt x="405" y="464"/>
                    <a:pt x="405" y="464"/>
                    <a:pt x="405" y="464"/>
                  </a:cubicBezTo>
                  <a:cubicBezTo>
                    <a:pt x="472" y="595"/>
                    <a:pt x="569" y="577"/>
                    <a:pt x="579" y="575"/>
                  </a:cubicBezTo>
                  <a:cubicBezTo>
                    <a:pt x="679" y="559"/>
                    <a:pt x="679" y="559"/>
                    <a:pt x="679" y="559"/>
                  </a:cubicBezTo>
                  <a:cubicBezTo>
                    <a:pt x="705" y="575"/>
                    <a:pt x="768" y="596"/>
                    <a:pt x="775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877" y="624"/>
                    <a:pt x="891" y="661"/>
                    <a:pt x="891" y="661"/>
                  </a:cubicBezTo>
                  <a:cubicBezTo>
                    <a:pt x="891" y="662"/>
                    <a:pt x="892" y="662"/>
                    <a:pt x="892" y="663"/>
                  </a:cubicBezTo>
                  <a:cubicBezTo>
                    <a:pt x="893" y="665"/>
                    <a:pt x="893" y="666"/>
                    <a:pt x="893" y="66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97410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2" name="Table 581">
            <a:extLst>
              <a:ext uri="{FF2B5EF4-FFF2-40B4-BE49-F238E27FC236}">
                <a16:creationId xmlns:a16="http://schemas.microsoft.com/office/drawing/2014/main" id="{89AAC24B-184E-4F72-8028-A6BA23CAF1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760665"/>
              </p:ext>
            </p:extLst>
          </p:nvPr>
        </p:nvGraphicFramePr>
        <p:xfrm>
          <a:off x="181778" y="125456"/>
          <a:ext cx="8780444" cy="6407106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54591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43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unglass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cyc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mographic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5251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9318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ase Expir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ased Vs. Owne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rket Comparis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orkspace Scenario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Planning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6218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7971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ir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aching/Managing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Team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naging Employee Chang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ferring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a Colleague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2946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821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reer Chang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ur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clam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inocular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2946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6216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er Educ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Knowledge Work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repreneurshi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levato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9C704860-877C-49B4-8D68-6D77D48E4E4C}"/>
              </a:ext>
            </a:extLst>
          </p:cNvPr>
          <p:cNvGrpSpPr/>
          <p:nvPr/>
        </p:nvGrpSpPr>
        <p:grpSpPr>
          <a:xfrm>
            <a:off x="403225" y="293688"/>
            <a:ext cx="839788" cy="841375"/>
            <a:chOff x="403225" y="293688"/>
            <a:chExt cx="839788" cy="841375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9003E618-B99A-4740-8018-26A839777B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3225" y="293688"/>
              <a:ext cx="839788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70E92D6B-2462-4FDE-BFDE-5FC4322F8C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" y="293688"/>
              <a:ext cx="839788" cy="84137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C91089B-40AF-42FC-8999-62A02BE41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388" y="322263"/>
              <a:ext cx="785813" cy="78740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174358C-3FF6-4BA9-881F-7D4236270A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575" y="600076"/>
              <a:ext cx="576263" cy="238125"/>
            </a:xfrm>
            <a:custGeom>
              <a:avLst/>
              <a:gdLst>
                <a:gd name="T0" fmla="*/ 1069 w 1081"/>
                <a:gd name="T1" fmla="*/ 57 h 444"/>
                <a:gd name="T2" fmla="*/ 586 w 1081"/>
                <a:gd name="T3" fmla="*/ 80 h 444"/>
                <a:gd name="T4" fmla="*/ 493 w 1081"/>
                <a:gd name="T5" fmla="*/ 80 h 444"/>
                <a:gd name="T6" fmla="*/ 11 w 1081"/>
                <a:gd name="T7" fmla="*/ 59 h 444"/>
                <a:gd name="T8" fmla="*/ 0 w 1081"/>
                <a:gd name="T9" fmla="*/ 61 h 444"/>
                <a:gd name="T10" fmla="*/ 6 w 1081"/>
                <a:gd name="T11" fmla="*/ 133 h 444"/>
                <a:gd name="T12" fmla="*/ 6 w 1081"/>
                <a:gd name="T13" fmla="*/ 144 h 444"/>
                <a:gd name="T14" fmla="*/ 18 w 1081"/>
                <a:gd name="T15" fmla="*/ 145 h 444"/>
                <a:gd name="T16" fmla="*/ 43 w 1081"/>
                <a:gd name="T17" fmla="*/ 179 h 444"/>
                <a:gd name="T18" fmla="*/ 43 w 1081"/>
                <a:gd name="T19" fmla="*/ 181 h 444"/>
                <a:gd name="T20" fmla="*/ 49 w 1081"/>
                <a:gd name="T21" fmla="*/ 220 h 444"/>
                <a:gd name="T22" fmla="*/ 82 w 1081"/>
                <a:gd name="T23" fmla="*/ 331 h 444"/>
                <a:gd name="T24" fmla="*/ 185 w 1081"/>
                <a:gd name="T25" fmla="*/ 404 h 444"/>
                <a:gd name="T26" fmla="*/ 185 w 1081"/>
                <a:gd name="T27" fmla="*/ 404 h 444"/>
                <a:gd name="T28" fmla="*/ 461 w 1081"/>
                <a:gd name="T29" fmla="*/ 314 h 444"/>
                <a:gd name="T30" fmla="*/ 492 w 1081"/>
                <a:gd name="T31" fmla="*/ 253 h 444"/>
                <a:gd name="T32" fmla="*/ 515 w 1081"/>
                <a:gd name="T33" fmla="*/ 187 h 444"/>
                <a:gd name="T34" fmla="*/ 515 w 1081"/>
                <a:gd name="T35" fmla="*/ 186 h 444"/>
                <a:gd name="T36" fmla="*/ 541 w 1081"/>
                <a:gd name="T37" fmla="*/ 172 h 444"/>
                <a:gd name="T38" fmla="*/ 542 w 1081"/>
                <a:gd name="T39" fmla="*/ 172 h 444"/>
                <a:gd name="T40" fmla="*/ 567 w 1081"/>
                <a:gd name="T41" fmla="*/ 192 h 444"/>
                <a:gd name="T42" fmla="*/ 634 w 1081"/>
                <a:gd name="T43" fmla="*/ 332 h 444"/>
                <a:gd name="T44" fmla="*/ 825 w 1081"/>
                <a:gd name="T45" fmla="*/ 411 h 444"/>
                <a:gd name="T46" fmla="*/ 903 w 1081"/>
                <a:gd name="T47" fmla="*/ 402 h 444"/>
                <a:gd name="T48" fmla="*/ 1035 w 1081"/>
                <a:gd name="T49" fmla="*/ 203 h 444"/>
                <a:gd name="T50" fmla="*/ 1063 w 1081"/>
                <a:gd name="T51" fmla="*/ 144 h 444"/>
                <a:gd name="T52" fmla="*/ 1074 w 1081"/>
                <a:gd name="T53" fmla="*/ 144 h 444"/>
                <a:gd name="T54" fmla="*/ 1081 w 1081"/>
                <a:gd name="T55" fmla="*/ 59 h 444"/>
                <a:gd name="T56" fmla="*/ 1069 w 1081"/>
                <a:gd name="T57" fmla="*/ 57 h 444"/>
                <a:gd name="T58" fmla="*/ 1050 w 1081"/>
                <a:gd name="T59" fmla="*/ 121 h 444"/>
                <a:gd name="T60" fmla="*/ 1009 w 1081"/>
                <a:gd name="T61" fmla="*/ 201 h 444"/>
                <a:gd name="T62" fmla="*/ 1009 w 1081"/>
                <a:gd name="T63" fmla="*/ 203 h 444"/>
                <a:gd name="T64" fmla="*/ 897 w 1081"/>
                <a:gd name="T65" fmla="*/ 377 h 444"/>
                <a:gd name="T66" fmla="*/ 654 w 1081"/>
                <a:gd name="T67" fmla="*/ 315 h 444"/>
                <a:gd name="T68" fmla="*/ 593 w 1081"/>
                <a:gd name="T69" fmla="*/ 186 h 444"/>
                <a:gd name="T70" fmla="*/ 545 w 1081"/>
                <a:gd name="T71" fmla="*/ 146 h 444"/>
                <a:gd name="T72" fmla="*/ 540 w 1081"/>
                <a:gd name="T73" fmla="*/ 146 h 444"/>
                <a:gd name="T74" fmla="*/ 490 w 1081"/>
                <a:gd name="T75" fmla="*/ 179 h 444"/>
                <a:gd name="T76" fmla="*/ 468 w 1081"/>
                <a:gd name="T77" fmla="*/ 243 h 444"/>
                <a:gd name="T78" fmla="*/ 439 w 1081"/>
                <a:gd name="T79" fmla="*/ 300 h 444"/>
                <a:gd name="T80" fmla="*/ 191 w 1081"/>
                <a:gd name="T81" fmla="*/ 378 h 444"/>
                <a:gd name="T82" fmla="*/ 104 w 1081"/>
                <a:gd name="T83" fmla="*/ 318 h 444"/>
                <a:gd name="T84" fmla="*/ 104 w 1081"/>
                <a:gd name="T85" fmla="*/ 317 h 444"/>
                <a:gd name="T86" fmla="*/ 75 w 1081"/>
                <a:gd name="T87" fmla="*/ 217 h 444"/>
                <a:gd name="T88" fmla="*/ 69 w 1081"/>
                <a:gd name="T89" fmla="*/ 176 h 444"/>
                <a:gd name="T90" fmla="*/ 68 w 1081"/>
                <a:gd name="T91" fmla="*/ 173 h 444"/>
                <a:gd name="T92" fmla="*/ 31 w 1081"/>
                <a:gd name="T93" fmla="*/ 122 h 444"/>
                <a:gd name="T94" fmla="*/ 28 w 1081"/>
                <a:gd name="T95" fmla="*/ 82 h 444"/>
                <a:gd name="T96" fmla="*/ 484 w 1081"/>
                <a:gd name="T97" fmla="*/ 104 h 444"/>
                <a:gd name="T98" fmla="*/ 484 w 1081"/>
                <a:gd name="T99" fmla="*/ 104 h 444"/>
                <a:gd name="T100" fmla="*/ 596 w 1081"/>
                <a:gd name="T101" fmla="*/ 104 h 444"/>
                <a:gd name="T102" fmla="*/ 597 w 1081"/>
                <a:gd name="T103" fmla="*/ 104 h 444"/>
                <a:gd name="T104" fmla="*/ 1053 w 1081"/>
                <a:gd name="T105" fmla="*/ 81 h 444"/>
                <a:gd name="T106" fmla="*/ 1050 w 1081"/>
                <a:gd name="T107" fmla="*/ 121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1" h="444">
                  <a:moveTo>
                    <a:pt x="1069" y="57"/>
                  </a:moveTo>
                  <a:cubicBezTo>
                    <a:pt x="761" y="5"/>
                    <a:pt x="598" y="75"/>
                    <a:pt x="586" y="80"/>
                  </a:cubicBezTo>
                  <a:cubicBezTo>
                    <a:pt x="544" y="96"/>
                    <a:pt x="497" y="81"/>
                    <a:pt x="493" y="80"/>
                  </a:cubicBezTo>
                  <a:cubicBezTo>
                    <a:pt x="290" y="0"/>
                    <a:pt x="23" y="56"/>
                    <a:pt x="11" y="5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35" y="147"/>
                    <a:pt x="43" y="179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6" y="193"/>
                    <a:pt x="47" y="206"/>
                    <a:pt x="49" y="220"/>
                  </a:cubicBezTo>
                  <a:cubicBezTo>
                    <a:pt x="53" y="254"/>
                    <a:pt x="57" y="293"/>
                    <a:pt x="82" y="331"/>
                  </a:cubicBezTo>
                  <a:cubicBezTo>
                    <a:pt x="85" y="336"/>
                    <a:pt x="115" y="386"/>
                    <a:pt x="185" y="404"/>
                  </a:cubicBezTo>
                  <a:cubicBezTo>
                    <a:pt x="185" y="404"/>
                    <a:pt x="185" y="404"/>
                    <a:pt x="185" y="404"/>
                  </a:cubicBezTo>
                  <a:cubicBezTo>
                    <a:pt x="193" y="405"/>
                    <a:pt x="377" y="444"/>
                    <a:pt x="461" y="314"/>
                  </a:cubicBezTo>
                  <a:cubicBezTo>
                    <a:pt x="462" y="312"/>
                    <a:pt x="478" y="286"/>
                    <a:pt x="492" y="253"/>
                  </a:cubicBezTo>
                  <a:cubicBezTo>
                    <a:pt x="515" y="187"/>
                    <a:pt x="515" y="187"/>
                    <a:pt x="515" y="187"/>
                  </a:cubicBezTo>
                  <a:cubicBezTo>
                    <a:pt x="515" y="186"/>
                    <a:pt x="515" y="186"/>
                    <a:pt x="515" y="186"/>
                  </a:cubicBezTo>
                  <a:cubicBezTo>
                    <a:pt x="516" y="186"/>
                    <a:pt x="519" y="172"/>
                    <a:pt x="541" y="172"/>
                  </a:cubicBezTo>
                  <a:cubicBezTo>
                    <a:pt x="542" y="172"/>
                    <a:pt x="542" y="172"/>
                    <a:pt x="542" y="172"/>
                  </a:cubicBezTo>
                  <a:cubicBezTo>
                    <a:pt x="545" y="171"/>
                    <a:pt x="563" y="169"/>
                    <a:pt x="567" y="192"/>
                  </a:cubicBezTo>
                  <a:cubicBezTo>
                    <a:pt x="584" y="270"/>
                    <a:pt x="632" y="329"/>
                    <a:pt x="634" y="332"/>
                  </a:cubicBezTo>
                  <a:cubicBezTo>
                    <a:pt x="689" y="397"/>
                    <a:pt x="767" y="411"/>
                    <a:pt x="825" y="411"/>
                  </a:cubicBezTo>
                  <a:cubicBezTo>
                    <a:pt x="868" y="411"/>
                    <a:pt x="900" y="403"/>
                    <a:pt x="903" y="402"/>
                  </a:cubicBezTo>
                  <a:cubicBezTo>
                    <a:pt x="1028" y="372"/>
                    <a:pt x="1035" y="217"/>
                    <a:pt x="1035" y="203"/>
                  </a:cubicBezTo>
                  <a:cubicBezTo>
                    <a:pt x="1042" y="152"/>
                    <a:pt x="1060" y="145"/>
                    <a:pt x="1063" y="144"/>
                  </a:cubicBezTo>
                  <a:cubicBezTo>
                    <a:pt x="1074" y="144"/>
                    <a:pt x="1074" y="144"/>
                    <a:pt x="1074" y="144"/>
                  </a:cubicBezTo>
                  <a:cubicBezTo>
                    <a:pt x="1081" y="59"/>
                    <a:pt x="1081" y="59"/>
                    <a:pt x="1081" y="59"/>
                  </a:cubicBezTo>
                  <a:lnTo>
                    <a:pt x="1069" y="57"/>
                  </a:lnTo>
                  <a:close/>
                  <a:moveTo>
                    <a:pt x="1050" y="121"/>
                  </a:moveTo>
                  <a:cubicBezTo>
                    <a:pt x="1036" y="128"/>
                    <a:pt x="1016" y="147"/>
                    <a:pt x="1009" y="201"/>
                  </a:cubicBezTo>
                  <a:cubicBezTo>
                    <a:pt x="1009" y="203"/>
                    <a:pt x="1009" y="203"/>
                    <a:pt x="1009" y="203"/>
                  </a:cubicBezTo>
                  <a:cubicBezTo>
                    <a:pt x="1009" y="204"/>
                    <a:pt x="1007" y="350"/>
                    <a:pt x="897" y="377"/>
                  </a:cubicBezTo>
                  <a:cubicBezTo>
                    <a:pt x="895" y="378"/>
                    <a:pt x="738" y="416"/>
                    <a:pt x="654" y="315"/>
                  </a:cubicBezTo>
                  <a:cubicBezTo>
                    <a:pt x="654" y="315"/>
                    <a:pt x="608" y="258"/>
                    <a:pt x="593" y="186"/>
                  </a:cubicBezTo>
                  <a:cubicBezTo>
                    <a:pt x="586" y="154"/>
                    <a:pt x="561" y="146"/>
                    <a:pt x="545" y="146"/>
                  </a:cubicBezTo>
                  <a:cubicBezTo>
                    <a:pt x="543" y="146"/>
                    <a:pt x="541" y="146"/>
                    <a:pt x="540" y="146"/>
                  </a:cubicBezTo>
                  <a:cubicBezTo>
                    <a:pt x="508" y="146"/>
                    <a:pt x="494" y="167"/>
                    <a:pt x="490" y="179"/>
                  </a:cubicBezTo>
                  <a:cubicBezTo>
                    <a:pt x="468" y="243"/>
                    <a:pt x="468" y="243"/>
                    <a:pt x="468" y="243"/>
                  </a:cubicBezTo>
                  <a:cubicBezTo>
                    <a:pt x="455" y="274"/>
                    <a:pt x="439" y="300"/>
                    <a:pt x="439" y="300"/>
                  </a:cubicBezTo>
                  <a:cubicBezTo>
                    <a:pt x="366" y="413"/>
                    <a:pt x="198" y="380"/>
                    <a:pt x="191" y="378"/>
                  </a:cubicBezTo>
                  <a:cubicBezTo>
                    <a:pt x="130" y="363"/>
                    <a:pt x="104" y="318"/>
                    <a:pt x="104" y="318"/>
                  </a:cubicBezTo>
                  <a:cubicBezTo>
                    <a:pt x="104" y="317"/>
                    <a:pt x="104" y="317"/>
                    <a:pt x="104" y="317"/>
                  </a:cubicBezTo>
                  <a:cubicBezTo>
                    <a:pt x="82" y="284"/>
                    <a:pt x="78" y="250"/>
                    <a:pt x="75" y="217"/>
                  </a:cubicBezTo>
                  <a:cubicBezTo>
                    <a:pt x="73" y="203"/>
                    <a:pt x="71" y="189"/>
                    <a:pt x="69" y="176"/>
                  </a:cubicBezTo>
                  <a:cubicBezTo>
                    <a:pt x="68" y="175"/>
                    <a:pt x="68" y="174"/>
                    <a:pt x="68" y="173"/>
                  </a:cubicBezTo>
                  <a:cubicBezTo>
                    <a:pt x="60" y="140"/>
                    <a:pt x="43" y="127"/>
                    <a:pt x="31" y="12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81" y="72"/>
                    <a:pt x="311" y="36"/>
                    <a:pt x="484" y="104"/>
                  </a:cubicBezTo>
                  <a:cubicBezTo>
                    <a:pt x="484" y="104"/>
                    <a:pt x="484" y="104"/>
                    <a:pt x="484" y="104"/>
                  </a:cubicBezTo>
                  <a:cubicBezTo>
                    <a:pt x="487" y="105"/>
                    <a:pt x="543" y="124"/>
                    <a:pt x="596" y="104"/>
                  </a:cubicBezTo>
                  <a:cubicBezTo>
                    <a:pt x="597" y="104"/>
                    <a:pt x="597" y="104"/>
                    <a:pt x="597" y="104"/>
                  </a:cubicBezTo>
                  <a:cubicBezTo>
                    <a:pt x="598" y="103"/>
                    <a:pt x="755" y="33"/>
                    <a:pt x="1053" y="81"/>
                  </a:cubicBezTo>
                  <a:lnTo>
                    <a:pt x="1050" y="1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C37B584-8810-42A5-9BDB-A6BDB5E3C8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963" y="644526"/>
              <a:ext cx="180975" cy="149225"/>
            </a:xfrm>
            <a:custGeom>
              <a:avLst/>
              <a:gdLst>
                <a:gd name="T0" fmla="*/ 263 w 338"/>
                <a:gd name="T1" fmla="*/ 17 h 279"/>
                <a:gd name="T2" fmla="*/ 120 w 338"/>
                <a:gd name="T3" fmla="*/ 6 h 279"/>
                <a:gd name="T4" fmla="*/ 26 w 338"/>
                <a:gd name="T5" fmla="*/ 44 h 279"/>
                <a:gd name="T6" fmla="*/ 4 w 338"/>
                <a:gd name="T7" fmla="*/ 124 h 279"/>
                <a:gd name="T8" fmla="*/ 82 w 338"/>
                <a:gd name="T9" fmla="*/ 263 h 279"/>
                <a:gd name="T10" fmla="*/ 83 w 338"/>
                <a:gd name="T11" fmla="*/ 264 h 279"/>
                <a:gd name="T12" fmla="*/ 158 w 338"/>
                <a:gd name="T13" fmla="*/ 279 h 279"/>
                <a:gd name="T14" fmla="*/ 257 w 338"/>
                <a:gd name="T15" fmla="*/ 254 h 279"/>
                <a:gd name="T16" fmla="*/ 335 w 338"/>
                <a:gd name="T17" fmla="*/ 97 h 279"/>
                <a:gd name="T18" fmla="*/ 263 w 338"/>
                <a:gd name="T19" fmla="*/ 17 h 279"/>
                <a:gd name="T20" fmla="*/ 309 w 338"/>
                <a:gd name="T21" fmla="*/ 96 h 279"/>
                <a:gd name="T22" fmla="*/ 309 w 338"/>
                <a:gd name="T23" fmla="*/ 96 h 279"/>
                <a:gd name="T24" fmla="*/ 309 w 338"/>
                <a:gd name="T25" fmla="*/ 97 h 279"/>
                <a:gd name="T26" fmla="*/ 244 w 338"/>
                <a:gd name="T27" fmla="*/ 232 h 279"/>
                <a:gd name="T28" fmla="*/ 94 w 338"/>
                <a:gd name="T29" fmla="*/ 240 h 279"/>
                <a:gd name="T30" fmla="*/ 30 w 338"/>
                <a:gd name="T31" fmla="*/ 121 h 279"/>
                <a:gd name="T32" fmla="*/ 46 w 338"/>
                <a:gd name="T33" fmla="*/ 61 h 279"/>
                <a:gd name="T34" fmla="*/ 46 w 338"/>
                <a:gd name="T35" fmla="*/ 61 h 279"/>
                <a:gd name="T36" fmla="*/ 122 w 338"/>
                <a:gd name="T37" fmla="*/ 32 h 279"/>
                <a:gd name="T38" fmla="*/ 255 w 338"/>
                <a:gd name="T39" fmla="*/ 42 h 279"/>
                <a:gd name="T40" fmla="*/ 256 w 338"/>
                <a:gd name="T41" fmla="*/ 43 h 279"/>
                <a:gd name="T42" fmla="*/ 309 w 338"/>
                <a:gd name="T43" fmla="*/ 9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279">
                  <a:moveTo>
                    <a:pt x="263" y="17"/>
                  </a:moveTo>
                  <a:cubicBezTo>
                    <a:pt x="211" y="0"/>
                    <a:pt x="124" y="5"/>
                    <a:pt x="120" y="6"/>
                  </a:cubicBezTo>
                  <a:cubicBezTo>
                    <a:pt x="57" y="9"/>
                    <a:pt x="28" y="41"/>
                    <a:pt x="26" y="44"/>
                  </a:cubicBezTo>
                  <a:cubicBezTo>
                    <a:pt x="0" y="73"/>
                    <a:pt x="4" y="120"/>
                    <a:pt x="4" y="124"/>
                  </a:cubicBezTo>
                  <a:cubicBezTo>
                    <a:pt x="12" y="226"/>
                    <a:pt x="79" y="262"/>
                    <a:pt x="82" y="263"/>
                  </a:cubicBezTo>
                  <a:cubicBezTo>
                    <a:pt x="83" y="264"/>
                    <a:pt x="83" y="264"/>
                    <a:pt x="83" y="264"/>
                  </a:cubicBezTo>
                  <a:cubicBezTo>
                    <a:pt x="110" y="275"/>
                    <a:pt x="135" y="279"/>
                    <a:pt x="158" y="279"/>
                  </a:cubicBezTo>
                  <a:cubicBezTo>
                    <a:pt x="213" y="279"/>
                    <a:pt x="253" y="256"/>
                    <a:pt x="257" y="254"/>
                  </a:cubicBezTo>
                  <a:cubicBezTo>
                    <a:pt x="334" y="211"/>
                    <a:pt x="335" y="105"/>
                    <a:pt x="335" y="97"/>
                  </a:cubicBezTo>
                  <a:cubicBezTo>
                    <a:pt x="338" y="38"/>
                    <a:pt x="271" y="19"/>
                    <a:pt x="263" y="17"/>
                  </a:cubicBezTo>
                  <a:close/>
                  <a:moveTo>
                    <a:pt x="309" y="96"/>
                  </a:moveTo>
                  <a:cubicBezTo>
                    <a:pt x="309" y="96"/>
                    <a:pt x="309" y="96"/>
                    <a:pt x="309" y="96"/>
                  </a:cubicBezTo>
                  <a:cubicBezTo>
                    <a:pt x="309" y="97"/>
                    <a:pt x="309" y="97"/>
                    <a:pt x="309" y="97"/>
                  </a:cubicBezTo>
                  <a:cubicBezTo>
                    <a:pt x="309" y="98"/>
                    <a:pt x="310" y="195"/>
                    <a:pt x="244" y="232"/>
                  </a:cubicBezTo>
                  <a:cubicBezTo>
                    <a:pt x="243" y="232"/>
                    <a:pt x="172" y="274"/>
                    <a:pt x="94" y="240"/>
                  </a:cubicBezTo>
                  <a:cubicBezTo>
                    <a:pt x="89" y="237"/>
                    <a:pt x="36" y="206"/>
                    <a:pt x="30" y="121"/>
                  </a:cubicBezTo>
                  <a:cubicBezTo>
                    <a:pt x="30" y="121"/>
                    <a:pt x="27" y="83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0"/>
                    <a:pt x="69" y="34"/>
                    <a:pt x="122" y="32"/>
                  </a:cubicBezTo>
                  <a:cubicBezTo>
                    <a:pt x="123" y="31"/>
                    <a:pt x="208" y="27"/>
                    <a:pt x="255" y="42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257" y="43"/>
                    <a:pt x="311" y="56"/>
                    <a:pt x="309" y="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9EFD5BAF-7A7A-484B-B460-41BAF2F05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475" y="644526"/>
              <a:ext cx="179388" cy="149225"/>
            </a:xfrm>
            <a:custGeom>
              <a:avLst/>
              <a:gdLst>
                <a:gd name="T0" fmla="*/ 75 w 338"/>
                <a:gd name="T1" fmla="*/ 17 h 279"/>
                <a:gd name="T2" fmla="*/ 3 w 338"/>
                <a:gd name="T3" fmla="*/ 97 h 279"/>
                <a:gd name="T4" fmla="*/ 81 w 338"/>
                <a:gd name="T5" fmla="*/ 254 h 279"/>
                <a:gd name="T6" fmla="*/ 180 w 338"/>
                <a:gd name="T7" fmla="*/ 279 h 279"/>
                <a:gd name="T8" fmla="*/ 255 w 338"/>
                <a:gd name="T9" fmla="*/ 264 h 279"/>
                <a:gd name="T10" fmla="*/ 256 w 338"/>
                <a:gd name="T11" fmla="*/ 263 h 279"/>
                <a:gd name="T12" fmla="*/ 334 w 338"/>
                <a:gd name="T13" fmla="*/ 124 h 279"/>
                <a:gd name="T14" fmla="*/ 312 w 338"/>
                <a:gd name="T15" fmla="*/ 44 h 279"/>
                <a:gd name="T16" fmla="*/ 218 w 338"/>
                <a:gd name="T17" fmla="*/ 6 h 279"/>
                <a:gd name="T18" fmla="*/ 75 w 338"/>
                <a:gd name="T19" fmla="*/ 17 h 279"/>
                <a:gd name="T20" fmla="*/ 216 w 338"/>
                <a:gd name="T21" fmla="*/ 32 h 279"/>
                <a:gd name="T22" fmla="*/ 292 w 338"/>
                <a:gd name="T23" fmla="*/ 61 h 279"/>
                <a:gd name="T24" fmla="*/ 292 w 338"/>
                <a:gd name="T25" fmla="*/ 61 h 279"/>
                <a:gd name="T26" fmla="*/ 308 w 338"/>
                <a:gd name="T27" fmla="*/ 121 h 279"/>
                <a:gd name="T28" fmla="*/ 308 w 338"/>
                <a:gd name="T29" fmla="*/ 122 h 279"/>
                <a:gd name="T30" fmla="*/ 244 w 338"/>
                <a:gd name="T31" fmla="*/ 240 h 279"/>
                <a:gd name="T32" fmla="*/ 94 w 338"/>
                <a:gd name="T33" fmla="*/ 232 h 279"/>
                <a:gd name="T34" fmla="*/ 94 w 338"/>
                <a:gd name="T35" fmla="*/ 231 h 279"/>
                <a:gd name="T36" fmla="*/ 29 w 338"/>
                <a:gd name="T37" fmla="*/ 97 h 279"/>
                <a:gd name="T38" fmla="*/ 29 w 338"/>
                <a:gd name="T39" fmla="*/ 96 h 279"/>
                <a:gd name="T40" fmla="*/ 29 w 338"/>
                <a:gd name="T41" fmla="*/ 96 h 279"/>
                <a:gd name="T42" fmla="*/ 82 w 338"/>
                <a:gd name="T43" fmla="*/ 43 h 279"/>
                <a:gd name="T44" fmla="*/ 83 w 338"/>
                <a:gd name="T45" fmla="*/ 42 h 279"/>
                <a:gd name="T46" fmla="*/ 185 w 338"/>
                <a:gd name="T47" fmla="*/ 31 h 279"/>
                <a:gd name="T48" fmla="*/ 216 w 338"/>
                <a:gd name="T49" fmla="*/ 32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8" h="279">
                  <a:moveTo>
                    <a:pt x="75" y="17"/>
                  </a:moveTo>
                  <a:cubicBezTo>
                    <a:pt x="67" y="19"/>
                    <a:pt x="0" y="38"/>
                    <a:pt x="3" y="97"/>
                  </a:cubicBezTo>
                  <a:cubicBezTo>
                    <a:pt x="3" y="105"/>
                    <a:pt x="4" y="211"/>
                    <a:pt x="81" y="254"/>
                  </a:cubicBezTo>
                  <a:cubicBezTo>
                    <a:pt x="85" y="256"/>
                    <a:pt x="125" y="279"/>
                    <a:pt x="180" y="279"/>
                  </a:cubicBezTo>
                  <a:cubicBezTo>
                    <a:pt x="203" y="279"/>
                    <a:pt x="228" y="275"/>
                    <a:pt x="255" y="264"/>
                  </a:cubicBezTo>
                  <a:cubicBezTo>
                    <a:pt x="256" y="263"/>
                    <a:pt x="256" y="263"/>
                    <a:pt x="256" y="263"/>
                  </a:cubicBezTo>
                  <a:cubicBezTo>
                    <a:pt x="258" y="262"/>
                    <a:pt x="326" y="226"/>
                    <a:pt x="334" y="124"/>
                  </a:cubicBezTo>
                  <a:cubicBezTo>
                    <a:pt x="334" y="120"/>
                    <a:pt x="338" y="73"/>
                    <a:pt x="312" y="44"/>
                  </a:cubicBezTo>
                  <a:cubicBezTo>
                    <a:pt x="309" y="41"/>
                    <a:pt x="280" y="9"/>
                    <a:pt x="218" y="6"/>
                  </a:cubicBezTo>
                  <a:cubicBezTo>
                    <a:pt x="214" y="5"/>
                    <a:pt x="127" y="0"/>
                    <a:pt x="75" y="17"/>
                  </a:cubicBezTo>
                  <a:close/>
                  <a:moveTo>
                    <a:pt x="216" y="32"/>
                  </a:moveTo>
                  <a:cubicBezTo>
                    <a:pt x="268" y="34"/>
                    <a:pt x="291" y="59"/>
                    <a:pt x="292" y="61"/>
                  </a:cubicBezTo>
                  <a:cubicBezTo>
                    <a:pt x="292" y="61"/>
                    <a:pt x="292" y="61"/>
                    <a:pt x="292" y="61"/>
                  </a:cubicBezTo>
                  <a:cubicBezTo>
                    <a:pt x="311" y="83"/>
                    <a:pt x="308" y="121"/>
                    <a:pt x="308" y="121"/>
                  </a:cubicBezTo>
                  <a:cubicBezTo>
                    <a:pt x="308" y="122"/>
                    <a:pt x="308" y="122"/>
                    <a:pt x="308" y="122"/>
                  </a:cubicBezTo>
                  <a:cubicBezTo>
                    <a:pt x="302" y="207"/>
                    <a:pt x="249" y="237"/>
                    <a:pt x="244" y="240"/>
                  </a:cubicBezTo>
                  <a:cubicBezTo>
                    <a:pt x="166" y="274"/>
                    <a:pt x="95" y="232"/>
                    <a:pt x="94" y="232"/>
                  </a:cubicBezTo>
                  <a:cubicBezTo>
                    <a:pt x="94" y="231"/>
                    <a:pt x="94" y="231"/>
                    <a:pt x="94" y="231"/>
                  </a:cubicBezTo>
                  <a:cubicBezTo>
                    <a:pt x="28" y="195"/>
                    <a:pt x="29" y="98"/>
                    <a:pt x="29" y="97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7" y="56"/>
                    <a:pt x="81" y="43"/>
                    <a:pt x="82" y="43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112" y="33"/>
                    <a:pt x="155" y="31"/>
                    <a:pt x="185" y="31"/>
                  </a:cubicBezTo>
                  <a:cubicBezTo>
                    <a:pt x="203" y="31"/>
                    <a:pt x="216" y="31"/>
                    <a:pt x="216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443D8D3E-7733-41A5-B47E-BFB6587DD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563" y="649288"/>
              <a:ext cx="31750" cy="79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DC05B81F-BB3F-4D79-89A5-7CC237A7D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688" y="649288"/>
              <a:ext cx="31750" cy="79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7F3E63C-2763-411B-8B79-680C16677BF4}"/>
              </a:ext>
            </a:extLst>
          </p:cNvPr>
          <p:cNvGrpSpPr/>
          <p:nvPr/>
        </p:nvGrpSpPr>
        <p:grpSpPr>
          <a:xfrm>
            <a:off x="1411288" y="330200"/>
            <a:ext cx="768350" cy="768350"/>
            <a:chOff x="1411288" y="330200"/>
            <a:chExt cx="768350" cy="768350"/>
          </a:xfrm>
        </p:grpSpPr>
        <p:sp>
          <p:nvSpPr>
            <p:cNvPr id="17" name="AutoShape 13">
              <a:extLst>
                <a:ext uri="{FF2B5EF4-FFF2-40B4-BE49-F238E27FC236}">
                  <a16:creationId xmlns:a16="http://schemas.microsoft.com/office/drawing/2014/main" id="{DEB7EF3B-68BC-4519-8B0E-F0FB106079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1288" y="330200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7267FFA3-4F84-4B93-9EF4-3AF5383102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1288" y="330200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5" y="1476"/>
                    <a:pt x="1476" y="1145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1" y="1440"/>
                    <a:pt x="36" y="1125"/>
                    <a:pt x="36" y="738"/>
                  </a:cubicBezTo>
                  <a:cubicBezTo>
                    <a:pt x="36" y="351"/>
                    <a:pt x="351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C499F721-0DBA-409F-8705-403A043E0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2888" y="601663"/>
              <a:ext cx="561975" cy="231775"/>
            </a:xfrm>
            <a:custGeom>
              <a:avLst/>
              <a:gdLst>
                <a:gd name="T0" fmla="*/ 1069 w 1081"/>
                <a:gd name="T1" fmla="*/ 57 h 444"/>
                <a:gd name="T2" fmla="*/ 586 w 1081"/>
                <a:gd name="T3" fmla="*/ 80 h 444"/>
                <a:gd name="T4" fmla="*/ 493 w 1081"/>
                <a:gd name="T5" fmla="*/ 80 h 444"/>
                <a:gd name="T6" fmla="*/ 11 w 1081"/>
                <a:gd name="T7" fmla="*/ 59 h 444"/>
                <a:gd name="T8" fmla="*/ 0 w 1081"/>
                <a:gd name="T9" fmla="*/ 61 h 444"/>
                <a:gd name="T10" fmla="*/ 6 w 1081"/>
                <a:gd name="T11" fmla="*/ 133 h 444"/>
                <a:gd name="T12" fmla="*/ 6 w 1081"/>
                <a:gd name="T13" fmla="*/ 144 h 444"/>
                <a:gd name="T14" fmla="*/ 18 w 1081"/>
                <a:gd name="T15" fmla="*/ 145 h 444"/>
                <a:gd name="T16" fmla="*/ 43 w 1081"/>
                <a:gd name="T17" fmla="*/ 179 h 444"/>
                <a:gd name="T18" fmla="*/ 43 w 1081"/>
                <a:gd name="T19" fmla="*/ 181 h 444"/>
                <a:gd name="T20" fmla="*/ 49 w 1081"/>
                <a:gd name="T21" fmla="*/ 220 h 444"/>
                <a:gd name="T22" fmla="*/ 82 w 1081"/>
                <a:gd name="T23" fmla="*/ 331 h 444"/>
                <a:gd name="T24" fmla="*/ 185 w 1081"/>
                <a:gd name="T25" fmla="*/ 404 h 444"/>
                <a:gd name="T26" fmla="*/ 185 w 1081"/>
                <a:gd name="T27" fmla="*/ 404 h 444"/>
                <a:gd name="T28" fmla="*/ 461 w 1081"/>
                <a:gd name="T29" fmla="*/ 314 h 444"/>
                <a:gd name="T30" fmla="*/ 492 w 1081"/>
                <a:gd name="T31" fmla="*/ 253 h 444"/>
                <a:gd name="T32" fmla="*/ 515 w 1081"/>
                <a:gd name="T33" fmla="*/ 187 h 444"/>
                <a:gd name="T34" fmla="*/ 515 w 1081"/>
                <a:gd name="T35" fmla="*/ 186 h 444"/>
                <a:gd name="T36" fmla="*/ 541 w 1081"/>
                <a:gd name="T37" fmla="*/ 172 h 444"/>
                <a:gd name="T38" fmla="*/ 542 w 1081"/>
                <a:gd name="T39" fmla="*/ 172 h 444"/>
                <a:gd name="T40" fmla="*/ 567 w 1081"/>
                <a:gd name="T41" fmla="*/ 192 h 444"/>
                <a:gd name="T42" fmla="*/ 634 w 1081"/>
                <a:gd name="T43" fmla="*/ 332 h 444"/>
                <a:gd name="T44" fmla="*/ 825 w 1081"/>
                <a:gd name="T45" fmla="*/ 411 h 444"/>
                <a:gd name="T46" fmla="*/ 903 w 1081"/>
                <a:gd name="T47" fmla="*/ 402 h 444"/>
                <a:gd name="T48" fmla="*/ 1035 w 1081"/>
                <a:gd name="T49" fmla="*/ 203 h 444"/>
                <a:gd name="T50" fmla="*/ 1063 w 1081"/>
                <a:gd name="T51" fmla="*/ 144 h 444"/>
                <a:gd name="T52" fmla="*/ 1074 w 1081"/>
                <a:gd name="T53" fmla="*/ 144 h 444"/>
                <a:gd name="T54" fmla="*/ 1081 w 1081"/>
                <a:gd name="T55" fmla="*/ 59 h 444"/>
                <a:gd name="T56" fmla="*/ 1069 w 1081"/>
                <a:gd name="T57" fmla="*/ 57 h 444"/>
                <a:gd name="T58" fmla="*/ 1050 w 1081"/>
                <a:gd name="T59" fmla="*/ 121 h 444"/>
                <a:gd name="T60" fmla="*/ 1009 w 1081"/>
                <a:gd name="T61" fmla="*/ 201 h 444"/>
                <a:gd name="T62" fmla="*/ 1009 w 1081"/>
                <a:gd name="T63" fmla="*/ 203 h 444"/>
                <a:gd name="T64" fmla="*/ 897 w 1081"/>
                <a:gd name="T65" fmla="*/ 377 h 444"/>
                <a:gd name="T66" fmla="*/ 654 w 1081"/>
                <a:gd name="T67" fmla="*/ 315 h 444"/>
                <a:gd name="T68" fmla="*/ 593 w 1081"/>
                <a:gd name="T69" fmla="*/ 186 h 444"/>
                <a:gd name="T70" fmla="*/ 545 w 1081"/>
                <a:gd name="T71" fmla="*/ 146 h 444"/>
                <a:gd name="T72" fmla="*/ 540 w 1081"/>
                <a:gd name="T73" fmla="*/ 146 h 444"/>
                <a:gd name="T74" fmla="*/ 490 w 1081"/>
                <a:gd name="T75" fmla="*/ 179 h 444"/>
                <a:gd name="T76" fmla="*/ 468 w 1081"/>
                <a:gd name="T77" fmla="*/ 243 h 444"/>
                <a:gd name="T78" fmla="*/ 439 w 1081"/>
                <a:gd name="T79" fmla="*/ 300 h 444"/>
                <a:gd name="T80" fmla="*/ 191 w 1081"/>
                <a:gd name="T81" fmla="*/ 378 h 444"/>
                <a:gd name="T82" fmla="*/ 104 w 1081"/>
                <a:gd name="T83" fmla="*/ 318 h 444"/>
                <a:gd name="T84" fmla="*/ 104 w 1081"/>
                <a:gd name="T85" fmla="*/ 317 h 444"/>
                <a:gd name="T86" fmla="*/ 75 w 1081"/>
                <a:gd name="T87" fmla="*/ 217 h 444"/>
                <a:gd name="T88" fmla="*/ 69 w 1081"/>
                <a:gd name="T89" fmla="*/ 176 h 444"/>
                <a:gd name="T90" fmla="*/ 68 w 1081"/>
                <a:gd name="T91" fmla="*/ 173 h 444"/>
                <a:gd name="T92" fmla="*/ 31 w 1081"/>
                <a:gd name="T93" fmla="*/ 122 h 444"/>
                <a:gd name="T94" fmla="*/ 28 w 1081"/>
                <a:gd name="T95" fmla="*/ 82 h 444"/>
                <a:gd name="T96" fmla="*/ 484 w 1081"/>
                <a:gd name="T97" fmla="*/ 104 h 444"/>
                <a:gd name="T98" fmla="*/ 484 w 1081"/>
                <a:gd name="T99" fmla="*/ 104 h 444"/>
                <a:gd name="T100" fmla="*/ 596 w 1081"/>
                <a:gd name="T101" fmla="*/ 104 h 444"/>
                <a:gd name="T102" fmla="*/ 597 w 1081"/>
                <a:gd name="T103" fmla="*/ 104 h 444"/>
                <a:gd name="T104" fmla="*/ 1053 w 1081"/>
                <a:gd name="T105" fmla="*/ 81 h 444"/>
                <a:gd name="T106" fmla="*/ 1050 w 1081"/>
                <a:gd name="T107" fmla="*/ 121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1" h="444">
                  <a:moveTo>
                    <a:pt x="1069" y="57"/>
                  </a:moveTo>
                  <a:cubicBezTo>
                    <a:pt x="761" y="5"/>
                    <a:pt x="598" y="75"/>
                    <a:pt x="586" y="80"/>
                  </a:cubicBezTo>
                  <a:cubicBezTo>
                    <a:pt x="544" y="96"/>
                    <a:pt x="497" y="81"/>
                    <a:pt x="493" y="80"/>
                  </a:cubicBezTo>
                  <a:cubicBezTo>
                    <a:pt x="290" y="0"/>
                    <a:pt x="23" y="56"/>
                    <a:pt x="11" y="5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" y="133"/>
                    <a:pt x="6" y="133"/>
                    <a:pt x="6" y="133"/>
                  </a:cubicBezTo>
                  <a:cubicBezTo>
                    <a:pt x="6" y="144"/>
                    <a:pt x="6" y="144"/>
                    <a:pt x="6" y="144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35" y="147"/>
                    <a:pt x="43" y="179"/>
                  </a:cubicBezTo>
                  <a:cubicBezTo>
                    <a:pt x="43" y="181"/>
                    <a:pt x="43" y="181"/>
                    <a:pt x="43" y="181"/>
                  </a:cubicBezTo>
                  <a:cubicBezTo>
                    <a:pt x="46" y="193"/>
                    <a:pt x="47" y="206"/>
                    <a:pt x="49" y="220"/>
                  </a:cubicBezTo>
                  <a:cubicBezTo>
                    <a:pt x="53" y="254"/>
                    <a:pt x="57" y="293"/>
                    <a:pt x="82" y="331"/>
                  </a:cubicBezTo>
                  <a:cubicBezTo>
                    <a:pt x="85" y="336"/>
                    <a:pt x="115" y="386"/>
                    <a:pt x="185" y="404"/>
                  </a:cubicBezTo>
                  <a:cubicBezTo>
                    <a:pt x="185" y="404"/>
                    <a:pt x="185" y="404"/>
                    <a:pt x="185" y="404"/>
                  </a:cubicBezTo>
                  <a:cubicBezTo>
                    <a:pt x="193" y="405"/>
                    <a:pt x="377" y="444"/>
                    <a:pt x="461" y="314"/>
                  </a:cubicBezTo>
                  <a:cubicBezTo>
                    <a:pt x="462" y="312"/>
                    <a:pt x="478" y="286"/>
                    <a:pt x="492" y="253"/>
                  </a:cubicBezTo>
                  <a:cubicBezTo>
                    <a:pt x="515" y="187"/>
                    <a:pt x="515" y="187"/>
                    <a:pt x="515" y="187"/>
                  </a:cubicBezTo>
                  <a:cubicBezTo>
                    <a:pt x="515" y="186"/>
                    <a:pt x="515" y="186"/>
                    <a:pt x="515" y="186"/>
                  </a:cubicBezTo>
                  <a:cubicBezTo>
                    <a:pt x="516" y="186"/>
                    <a:pt x="519" y="172"/>
                    <a:pt x="541" y="172"/>
                  </a:cubicBezTo>
                  <a:cubicBezTo>
                    <a:pt x="542" y="172"/>
                    <a:pt x="542" y="172"/>
                    <a:pt x="542" y="172"/>
                  </a:cubicBezTo>
                  <a:cubicBezTo>
                    <a:pt x="545" y="171"/>
                    <a:pt x="563" y="169"/>
                    <a:pt x="567" y="192"/>
                  </a:cubicBezTo>
                  <a:cubicBezTo>
                    <a:pt x="584" y="270"/>
                    <a:pt x="632" y="329"/>
                    <a:pt x="634" y="332"/>
                  </a:cubicBezTo>
                  <a:cubicBezTo>
                    <a:pt x="689" y="397"/>
                    <a:pt x="767" y="411"/>
                    <a:pt x="825" y="411"/>
                  </a:cubicBezTo>
                  <a:cubicBezTo>
                    <a:pt x="868" y="411"/>
                    <a:pt x="900" y="403"/>
                    <a:pt x="903" y="402"/>
                  </a:cubicBezTo>
                  <a:cubicBezTo>
                    <a:pt x="1028" y="372"/>
                    <a:pt x="1035" y="217"/>
                    <a:pt x="1035" y="203"/>
                  </a:cubicBezTo>
                  <a:cubicBezTo>
                    <a:pt x="1042" y="152"/>
                    <a:pt x="1060" y="145"/>
                    <a:pt x="1063" y="144"/>
                  </a:cubicBezTo>
                  <a:cubicBezTo>
                    <a:pt x="1074" y="144"/>
                    <a:pt x="1074" y="144"/>
                    <a:pt x="1074" y="144"/>
                  </a:cubicBezTo>
                  <a:cubicBezTo>
                    <a:pt x="1081" y="59"/>
                    <a:pt x="1081" y="59"/>
                    <a:pt x="1081" y="59"/>
                  </a:cubicBezTo>
                  <a:lnTo>
                    <a:pt x="1069" y="57"/>
                  </a:lnTo>
                  <a:close/>
                  <a:moveTo>
                    <a:pt x="1050" y="121"/>
                  </a:moveTo>
                  <a:cubicBezTo>
                    <a:pt x="1036" y="128"/>
                    <a:pt x="1016" y="147"/>
                    <a:pt x="1009" y="201"/>
                  </a:cubicBezTo>
                  <a:cubicBezTo>
                    <a:pt x="1009" y="203"/>
                    <a:pt x="1009" y="203"/>
                    <a:pt x="1009" y="203"/>
                  </a:cubicBezTo>
                  <a:cubicBezTo>
                    <a:pt x="1009" y="204"/>
                    <a:pt x="1007" y="350"/>
                    <a:pt x="897" y="377"/>
                  </a:cubicBezTo>
                  <a:cubicBezTo>
                    <a:pt x="895" y="378"/>
                    <a:pt x="738" y="416"/>
                    <a:pt x="654" y="315"/>
                  </a:cubicBezTo>
                  <a:cubicBezTo>
                    <a:pt x="654" y="315"/>
                    <a:pt x="608" y="258"/>
                    <a:pt x="593" y="186"/>
                  </a:cubicBezTo>
                  <a:cubicBezTo>
                    <a:pt x="586" y="154"/>
                    <a:pt x="561" y="146"/>
                    <a:pt x="545" y="146"/>
                  </a:cubicBezTo>
                  <a:cubicBezTo>
                    <a:pt x="543" y="146"/>
                    <a:pt x="541" y="146"/>
                    <a:pt x="540" y="146"/>
                  </a:cubicBezTo>
                  <a:cubicBezTo>
                    <a:pt x="508" y="146"/>
                    <a:pt x="494" y="167"/>
                    <a:pt x="490" y="179"/>
                  </a:cubicBezTo>
                  <a:cubicBezTo>
                    <a:pt x="468" y="243"/>
                    <a:pt x="468" y="243"/>
                    <a:pt x="468" y="243"/>
                  </a:cubicBezTo>
                  <a:cubicBezTo>
                    <a:pt x="455" y="274"/>
                    <a:pt x="439" y="300"/>
                    <a:pt x="439" y="300"/>
                  </a:cubicBezTo>
                  <a:cubicBezTo>
                    <a:pt x="366" y="413"/>
                    <a:pt x="198" y="380"/>
                    <a:pt x="191" y="378"/>
                  </a:cubicBezTo>
                  <a:cubicBezTo>
                    <a:pt x="130" y="363"/>
                    <a:pt x="104" y="318"/>
                    <a:pt x="104" y="318"/>
                  </a:cubicBezTo>
                  <a:cubicBezTo>
                    <a:pt x="104" y="317"/>
                    <a:pt x="104" y="317"/>
                    <a:pt x="104" y="317"/>
                  </a:cubicBezTo>
                  <a:cubicBezTo>
                    <a:pt x="82" y="284"/>
                    <a:pt x="78" y="250"/>
                    <a:pt x="75" y="217"/>
                  </a:cubicBezTo>
                  <a:cubicBezTo>
                    <a:pt x="73" y="203"/>
                    <a:pt x="71" y="189"/>
                    <a:pt x="69" y="176"/>
                  </a:cubicBezTo>
                  <a:cubicBezTo>
                    <a:pt x="68" y="175"/>
                    <a:pt x="68" y="174"/>
                    <a:pt x="68" y="173"/>
                  </a:cubicBezTo>
                  <a:cubicBezTo>
                    <a:pt x="60" y="140"/>
                    <a:pt x="43" y="127"/>
                    <a:pt x="31" y="12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81" y="72"/>
                    <a:pt x="311" y="36"/>
                    <a:pt x="484" y="104"/>
                  </a:cubicBezTo>
                  <a:cubicBezTo>
                    <a:pt x="484" y="104"/>
                    <a:pt x="484" y="104"/>
                    <a:pt x="484" y="104"/>
                  </a:cubicBezTo>
                  <a:cubicBezTo>
                    <a:pt x="487" y="105"/>
                    <a:pt x="543" y="124"/>
                    <a:pt x="596" y="104"/>
                  </a:cubicBezTo>
                  <a:cubicBezTo>
                    <a:pt x="597" y="104"/>
                    <a:pt x="597" y="104"/>
                    <a:pt x="597" y="104"/>
                  </a:cubicBezTo>
                  <a:cubicBezTo>
                    <a:pt x="598" y="103"/>
                    <a:pt x="755" y="33"/>
                    <a:pt x="1053" y="81"/>
                  </a:cubicBezTo>
                  <a:lnTo>
                    <a:pt x="1050" y="1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A5A3075F-5E02-484C-BACC-A63B16D995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3688" y="644525"/>
              <a:ext cx="176213" cy="146050"/>
            </a:xfrm>
            <a:custGeom>
              <a:avLst/>
              <a:gdLst>
                <a:gd name="T0" fmla="*/ 263 w 338"/>
                <a:gd name="T1" fmla="*/ 17 h 279"/>
                <a:gd name="T2" fmla="*/ 120 w 338"/>
                <a:gd name="T3" fmla="*/ 6 h 279"/>
                <a:gd name="T4" fmla="*/ 26 w 338"/>
                <a:gd name="T5" fmla="*/ 44 h 279"/>
                <a:gd name="T6" fmla="*/ 4 w 338"/>
                <a:gd name="T7" fmla="*/ 124 h 279"/>
                <a:gd name="T8" fmla="*/ 82 w 338"/>
                <a:gd name="T9" fmla="*/ 263 h 279"/>
                <a:gd name="T10" fmla="*/ 83 w 338"/>
                <a:gd name="T11" fmla="*/ 264 h 279"/>
                <a:gd name="T12" fmla="*/ 158 w 338"/>
                <a:gd name="T13" fmla="*/ 279 h 279"/>
                <a:gd name="T14" fmla="*/ 257 w 338"/>
                <a:gd name="T15" fmla="*/ 254 h 279"/>
                <a:gd name="T16" fmla="*/ 335 w 338"/>
                <a:gd name="T17" fmla="*/ 97 h 279"/>
                <a:gd name="T18" fmla="*/ 263 w 338"/>
                <a:gd name="T19" fmla="*/ 17 h 279"/>
                <a:gd name="T20" fmla="*/ 309 w 338"/>
                <a:gd name="T21" fmla="*/ 96 h 279"/>
                <a:gd name="T22" fmla="*/ 309 w 338"/>
                <a:gd name="T23" fmla="*/ 96 h 279"/>
                <a:gd name="T24" fmla="*/ 309 w 338"/>
                <a:gd name="T25" fmla="*/ 97 h 279"/>
                <a:gd name="T26" fmla="*/ 244 w 338"/>
                <a:gd name="T27" fmla="*/ 232 h 279"/>
                <a:gd name="T28" fmla="*/ 94 w 338"/>
                <a:gd name="T29" fmla="*/ 240 h 279"/>
                <a:gd name="T30" fmla="*/ 30 w 338"/>
                <a:gd name="T31" fmla="*/ 121 h 279"/>
                <a:gd name="T32" fmla="*/ 46 w 338"/>
                <a:gd name="T33" fmla="*/ 61 h 279"/>
                <a:gd name="T34" fmla="*/ 46 w 338"/>
                <a:gd name="T35" fmla="*/ 61 h 279"/>
                <a:gd name="T36" fmla="*/ 122 w 338"/>
                <a:gd name="T37" fmla="*/ 32 h 279"/>
                <a:gd name="T38" fmla="*/ 255 w 338"/>
                <a:gd name="T39" fmla="*/ 42 h 279"/>
                <a:gd name="T40" fmla="*/ 256 w 338"/>
                <a:gd name="T41" fmla="*/ 43 h 279"/>
                <a:gd name="T42" fmla="*/ 309 w 338"/>
                <a:gd name="T43" fmla="*/ 9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279">
                  <a:moveTo>
                    <a:pt x="263" y="17"/>
                  </a:moveTo>
                  <a:cubicBezTo>
                    <a:pt x="211" y="0"/>
                    <a:pt x="124" y="5"/>
                    <a:pt x="120" y="6"/>
                  </a:cubicBezTo>
                  <a:cubicBezTo>
                    <a:pt x="57" y="9"/>
                    <a:pt x="28" y="41"/>
                    <a:pt x="26" y="44"/>
                  </a:cubicBezTo>
                  <a:cubicBezTo>
                    <a:pt x="0" y="73"/>
                    <a:pt x="4" y="120"/>
                    <a:pt x="4" y="124"/>
                  </a:cubicBezTo>
                  <a:cubicBezTo>
                    <a:pt x="12" y="226"/>
                    <a:pt x="79" y="262"/>
                    <a:pt x="82" y="263"/>
                  </a:cubicBezTo>
                  <a:cubicBezTo>
                    <a:pt x="83" y="264"/>
                    <a:pt x="83" y="264"/>
                    <a:pt x="83" y="264"/>
                  </a:cubicBezTo>
                  <a:cubicBezTo>
                    <a:pt x="110" y="275"/>
                    <a:pt x="135" y="279"/>
                    <a:pt x="158" y="279"/>
                  </a:cubicBezTo>
                  <a:cubicBezTo>
                    <a:pt x="213" y="279"/>
                    <a:pt x="253" y="256"/>
                    <a:pt x="257" y="254"/>
                  </a:cubicBezTo>
                  <a:cubicBezTo>
                    <a:pt x="334" y="211"/>
                    <a:pt x="335" y="105"/>
                    <a:pt x="335" y="97"/>
                  </a:cubicBezTo>
                  <a:cubicBezTo>
                    <a:pt x="338" y="38"/>
                    <a:pt x="271" y="19"/>
                    <a:pt x="263" y="17"/>
                  </a:cubicBezTo>
                  <a:close/>
                  <a:moveTo>
                    <a:pt x="309" y="96"/>
                  </a:moveTo>
                  <a:cubicBezTo>
                    <a:pt x="309" y="96"/>
                    <a:pt x="309" y="96"/>
                    <a:pt x="309" y="96"/>
                  </a:cubicBezTo>
                  <a:cubicBezTo>
                    <a:pt x="309" y="97"/>
                    <a:pt x="309" y="97"/>
                    <a:pt x="309" y="97"/>
                  </a:cubicBezTo>
                  <a:cubicBezTo>
                    <a:pt x="309" y="98"/>
                    <a:pt x="310" y="195"/>
                    <a:pt x="244" y="232"/>
                  </a:cubicBezTo>
                  <a:cubicBezTo>
                    <a:pt x="243" y="232"/>
                    <a:pt x="172" y="274"/>
                    <a:pt x="94" y="240"/>
                  </a:cubicBezTo>
                  <a:cubicBezTo>
                    <a:pt x="89" y="237"/>
                    <a:pt x="36" y="206"/>
                    <a:pt x="30" y="121"/>
                  </a:cubicBezTo>
                  <a:cubicBezTo>
                    <a:pt x="30" y="121"/>
                    <a:pt x="27" y="83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0"/>
                    <a:pt x="69" y="34"/>
                    <a:pt x="122" y="32"/>
                  </a:cubicBezTo>
                  <a:cubicBezTo>
                    <a:pt x="123" y="31"/>
                    <a:pt x="208" y="27"/>
                    <a:pt x="255" y="42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257" y="43"/>
                    <a:pt x="311" y="56"/>
                    <a:pt x="309" y="9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C3A9C1B7-4732-4884-8839-7DAA6C9E9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1" y="644525"/>
              <a:ext cx="176213" cy="146050"/>
            </a:xfrm>
            <a:custGeom>
              <a:avLst/>
              <a:gdLst>
                <a:gd name="T0" fmla="*/ 75 w 338"/>
                <a:gd name="T1" fmla="*/ 17 h 279"/>
                <a:gd name="T2" fmla="*/ 3 w 338"/>
                <a:gd name="T3" fmla="*/ 97 h 279"/>
                <a:gd name="T4" fmla="*/ 81 w 338"/>
                <a:gd name="T5" fmla="*/ 254 h 279"/>
                <a:gd name="T6" fmla="*/ 180 w 338"/>
                <a:gd name="T7" fmla="*/ 279 h 279"/>
                <a:gd name="T8" fmla="*/ 255 w 338"/>
                <a:gd name="T9" fmla="*/ 264 h 279"/>
                <a:gd name="T10" fmla="*/ 256 w 338"/>
                <a:gd name="T11" fmla="*/ 263 h 279"/>
                <a:gd name="T12" fmla="*/ 334 w 338"/>
                <a:gd name="T13" fmla="*/ 124 h 279"/>
                <a:gd name="T14" fmla="*/ 312 w 338"/>
                <a:gd name="T15" fmla="*/ 44 h 279"/>
                <a:gd name="T16" fmla="*/ 218 w 338"/>
                <a:gd name="T17" fmla="*/ 6 h 279"/>
                <a:gd name="T18" fmla="*/ 75 w 338"/>
                <a:gd name="T19" fmla="*/ 17 h 279"/>
                <a:gd name="T20" fmla="*/ 216 w 338"/>
                <a:gd name="T21" fmla="*/ 32 h 279"/>
                <a:gd name="T22" fmla="*/ 292 w 338"/>
                <a:gd name="T23" fmla="*/ 61 h 279"/>
                <a:gd name="T24" fmla="*/ 292 w 338"/>
                <a:gd name="T25" fmla="*/ 61 h 279"/>
                <a:gd name="T26" fmla="*/ 308 w 338"/>
                <a:gd name="T27" fmla="*/ 121 h 279"/>
                <a:gd name="T28" fmla="*/ 308 w 338"/>
                <a:gd name="T29" fmla="*/ 122 h 279"/>
                <a:gd name="T30" fmla="*/ 244 w 338"/>
                <a:gd name="T31" fmla="*/ 240 h 279"/>
                <a:gd name="T32" fmla="*/ 94 w 338"/>
                <a:gd name="T33" fmla="*/ 232 h 279"/>
                <a:gd name="T34" fmla="*/ 94 w 338"/>
                <a:gd name="T35" fmla="*/ 231 h 279"/>
                <a:gd name="T36" fmla="*/ 29 w 338"/>
                <a:gd name="T37" fmla="*/ 97 h 279"/>
                <a:gd name="T38" fmla="*/ 29 w 338"/>
                <a:gd name="T39" fmla="*/ 96 h 279"/>
                <a:gd name="T40" fmla="*/ 29 w 338"/>
                <a:gd name="T41" fmla="*/ 96 h 279"/>
                <a:gd name="T42" fmla="*/ 82 w 338"/>
                <a:gd name="T43" fmla="*/ 43 h 279"/>
                <a:gd name="T44" fmla="*/ 83 w 338"/>
                <a:gd name="T45" fmla="*/ 42 h 279"/>
                <a:gd name="T46" fmla="*/ 185 w 338"/>
                <a:gd name="T47" fmla="*/ 31 h 279"/>
                <a:gd name="T48" fmla="*/ 216 w 338"/>
                <a:gd name="T49" fmla="*/ 32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8" h="279">
                  <a:moveTo>
                    <a:pt x="75" y="17"/>
                  </a:moveTo>
                  <a:cubicBezTo>
                    <a:pt x="67" y="19"/>
                    <a:pt x="0" y="38"/>
                    <a:pt x="3" y="97"/>
                  </a:cubicBezTo>
                  <a:cubicBezTo>
                    <a:pt x="3" y="105"/>
                    <a:pt x="4" y="211"/>
                    <a:pt x="81" y="254"/>
                  </a:cubicBezTo>
                  <a:cubicBezTo>
                    <a:pt x="85" y="256"/>
                    <a:pt x="125" y="279"/>
                    <a:pt x="180" y="279"/>
                  </a:cubicBezTo>
                  <a:cubicBezTo>
                    <a:pt x="203" y="279"/>
                    <a:pt x="228" y="275"/>
                    <a:pt x="255" y="264"/>
                  </a:cubicBezTo>
                  <a:cubicBezTo>
                    <a:pt x="256" y="263"/>
                    <a:pt x="256" y="263"/>
                    <a:pt x="256" y="263"/>
                  </a:cubicBezTo>
                  <a:cubicBezTo>
                    <a:pt x="258" y="262"/>
                    <a:pt x="326" y="226"/>
                    <a:pt x="334" y="124"/>
                  </a:cubicBezTo>
                  <a:cubicBezTo>
                    <a:pt x="334" y="120"/>
                    <a:pt x="338" y="73"/>
                    <a:pt x="312" y="44"/>
                  </a:cubicBezTo>
                  <a:cubicBezTo>
                    <a:pt x="309" y="41"/>
                    <a:pt x="280" y="9"/>
                    <a:pt x="218" y="6"/>
                  </a:cubicBezTo>
                  <a:cubicBezTo>
                    <a:pt x="214" y="5"/>
                    <a:pt x="127" y="0"/>
                    <a:pt x="75" y="17"/>
                  </a:cubicBezTo>
                  <a:close/>
                  <a:moveTo>
                    <a:pt x="216" y="32"/>
                  </a:moveTo>
                  <a:cubicBezTo>
                    <a:pt x="268" y="34"/>
                    <a:pt x="291" y="59"/>
                    <a:pt x="292" y="61"/>
                  </a:cubicBezTo>
                  <a:cubicBezTo>
                    <a:pt x="292" y="61"/>
                    <a:pt x="292" y="61"/>
                    <a:pt x="292" y="61"/>
                  </a:cubicBezTo>
                  <a:cubicBezTo>
                    <a:pt x="311" y="83"/>
                    <a:pt x="308" y="121"/>
                    <a:pt x="308" y="121"/>
                  </a:cubicBezTo>
                  <a:cubicBezTo>
                    <a:pt x="308" y="122"/>
                    <a:pt x="308" y="122"/>
                    <a:pt x="308" y="122"/>
                  </a:cubicBezTo>
                  <a:cubicBezTo>
                    <a:pt x="302" y="207"/>
                    <a:pt x="249" y="237"/>
                    <a:pt x="244" y="240"/>
                  </a:cubicBezTo>
                  <a:cubicBezTo>
                    <a:pt x="166" y="274"/>
                    <a:pt x="95" y="232"/>
                    <a:pt x="94" y="232"/>
                  </a:cubicBezTo>
                  <a:cubicBezTo>
                    <a:pt x="94" y="231"/>
                    <a:pt x="94" y="231"/>
                    <a:pt x="94" y="231"/>
                  </a:cubicBezTo>
                  <a:cubicBezTo>
                    <a:pt x="28" y="195"/>
                    <a:pt x="29" y="98"/>
                    <a:pt x="29" y="97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7" y="56"/>
                    <a:pt x="81" y="43"/>
                    <a:pt x="82" y="43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112" y="33"/>
                    <a:pt x="155" y="31"/>
                    <a:pt x="185" y="31"/>
                  </a:cubicBezTo>
                  <a:cubicBezTo>
                    <a:pt x="203" y="31"/>
                    <a:pt x="216" y="31"/>
                    <a:pt x="216" y="3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9">
              <a:extLst>
                <a:ext uri="{FF2B5EF4-FFF2-40B4-BE49-F238E27FC236}">
                  <a16:creationId xmlns:a16="http://schemas.microsoft.com/office/drawing/2014/main" id="{0A636070-4845-4FCC-ACCC-99903225E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8288" y="649288"/>
              <a:ext cx="31750" cy="79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F9794E12-1D14-4539-92F5-BB57C4BAA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0888" y="649288"/>
              <a:ext cx="30163" cy="79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E588636-3D32-4DB6-89D1-3B882EC78588}"/>
              </a:ext>
            </a:extLst>
          </p:cNvPr>
          <p:cNvGrpSpPr/>
          <p:nvPr/>
        </p:nvGrpSpPr>
        <p:grpSpPr>
          <a:xfrm>
            <a:off x="2603500" y="293688"/>
            <a:ext cx="839788" cy="841375"/>
            <a:chOff x="2603500" y="293688"/>
            <a:chExt cx="839788" cy="841375"/>
          </a:xfrm>
        </p:grpSpPr>
        <p:sp>
          <p:nvSpPr>
            <p:cNvPr id="26" name="AutoShape 22">
              <a:extLst>
                <a:ext uri="{FF2B5EF4-FFF2-40B4-BE49-F238E27FC236}">
                  <a16:creationId xmlns:a16="http://schemas.microsoft.com/office/drawing/2014/main" id="{F071C58F-9900-4000-AA10-667B596DB3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3500" y="293688"/>
              <a:ext cx="839788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466EDF28-E6B9-4E15-BBD3-C416511FA2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1600" y="328613"/>
              <a:ext cx="769938" cy="771525"/>
            </a:xfrm>
            <a:custGeom>
              <a:avLst/>
              <a:gdLst>
                <a:gd name="T0" fmla="*/ 723 w 1446"/>
                <a:gd name="T1" fmla="*/ 1438 h 1446"/>
                <a:gd name="T2" fmla="*/ 445 w 1446"/>
                <a:gd name="T3" fmla="*/ 1381 h 1446"/>
                <a:gd name="T4" fmla="*/ 218 w 1446"/>
                <a:gd name="T5" fmla="*/ 1228 h 1446"/>
                <a:gd name="T6" fmla="*/ 65 w 1446"/>
                <a:gd name="T7" fmla="*/ 1001 h 1446"/>
                <a:gd name="T8" fmla="*/ 8 w 1446"/>
                <a:gd name="T9" fmla="*/ 723 h 1446"/>
                <a:gd name="T10" fmla="*/ 65 w 1446"/>
                <a:gd name="T11" fmla="*/ 445 h 1446"/>
                <a:gd name="T12" fmla="*/ 218 w 1446"/>
                <a:gd name="T13" fmla="*/ 218 h 1446"/>
                <a:gd name="T14" fmla="*/ 445 w 1446"/>
                <a:gd name="T15" fmla="*/ 65 h 1446"/>
                <a:gd name="T16" fmla="*/ 723 w 1446"/>
                <a:gd name="T17" fmla="*/ 8 h 1446"/>
                <a:gd name="T18" fmla="*/ 1001 w 1446"/>
                <a:gd name="T19" fmla="*/ 65 h 1446"/>
                <a:gd name="T20" fmla="*/ 1228 w 1446"/>
                <a:gd name="T21" fmla="*/ 218 h 1446"/>
                <a:gd name="T22" fmla="*/ 1381 w 1446"/>
                <a:gd name="T23" fmla="*/ 445 h 1446"/>
                <a:gd name="T24" fmla="*/ 1438 w 1446"/>
                <a:gd name="T25" fmla="*/ 723 h 1446"/>
                <a:gd name="T26" fmla="*/ 1381 w 1446"/>
                <a:gd name="T27" fmla="*/ 1001 h 1446"/>
                <a:gd name="T28" fmla="*/ 1228 w 1446"/>
                <a:gd name="T29" fmla="*/ 1228 h 1446"/>
                <a:gd name="T30" fmla="*/ 1001 w 1446"/>
                <a:gd name="T31" fmla="*/ 1381 h 1446"/>
                <a:gd name="T32" fmla="*/ 723 w 1446"/>
                <a:gd name="T33" fmla="*/ 1438 h 1446"/>
                <a:gd name="T34" fmla="*/ 723 w 1446"/>
                <a:gd name="T35" fmla="*/ 0 h 1446"/>
                <a:gd name="T36" fmla="*/ 0 w 1446"/>
                <a:gd name="T37" fmla="*/ 723 h 1446"/>
                <a:gd name="T38" fmla="*/ 723 w 1446"/>
                <a:gd name="T39" fmla="*/ 1446 h 1446"/>
                <a:gd name="T40" fmla="*/ 1446 w 1446"/>
                <a:gd name="T41" fmla="*/ 723 h 1446"/>
                <a:gd name="T42" fmla="*/ 723 w 1446"/>
                <a:gd name="T43" fmla="*/ 0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6" h="1446">
                  <a:moveTo>
                    <a:pt x="723" y="1438"/>
                  </a:moveTo>
                  <a:cubicBezTo>
                    <a:pt x="627" y="1438"/>
                    <a:pt x="533" y="1419"/>
                    <a:pt x="445" y="1381"/>
                  </a:cubicBezTo>
                  <a:cubicBezTo>
                    <a:pt x="360" y="1346"/>
                    <a:pt x="283" y="1294"/>
                    <a:pt x="218" y="1228"/>
                  </a:cubicBezTo>
                  <a:cubicBezTo>
                    <a:pt x="152" y="1163"/>
                    <a:pt x="100" y="1086"/>
                    <a:pt x="65" y="1001"/>
                  </a:cubicBezTo>
                  <a:cubicBezTo>
                    <a:pt x="27" y="913"/>
                    <a:pt x="8" y="819"/>
                    <a:pt x="8" y="723"/>
                  </a:cubicBezTo>
                  <a:cubicBezTo>
                    <a:pt x="8" y="627"/>
                    <a:pt x="27" y="533"/>
                    <a:pt x="65" y="445"/>
                  </a:cubicBezTo>
                  <a:cubicBezTo>
                    <a:pt x="100" y="360"/>
                    <a:pt x="152" y="283"/>
                    <a:pt x="218" y="218"/>
                  </a:cubicBezTo>
                  <a:cubicBezTo>
                    <a:pt x="283" y="152"/>
                    <a:pt x="360" y="100"/>
                    <a:pt x="445" y="65"/>
                  </a:cubicBezTo>
                  <a:cubicBezTo>
                    <a:pt x="533" y="27"/>
                    <a:pt x="627" y="8"/>
                    <a:pt x="723" y="8"/>
                  </a:cubicBezTo>
                  <a:cubicBezTo>
                    <a:pt x="819" y="8"/>
                    <a:pt x="913" y="27"/>
                    <a:pt x="1001" y="65"/>
                  </a:cubicBezTo>
                  <a:cubicBezTo>
                    <a:pt x="1086" y="100"/>
                    <a:pt x="1163" y="152"/>
                    <a:pt x="1228" y="218"/>
                  </a:cubicBezTo>
                  <a:cubicBezTo>
                    <a:pt x="1294" y="283"/>
                    <a:pt x="1346" y="360"/>
                    <a:pt x="1381" y="445"/>
                  </a:cubicBezTo>
                  <a:cubicBezTo>
                    <a:pt x="1419" y="533"/>
                    <a:pt x="1438" y="627"/>
                    <a:pt x="1438" y="723"/>
                  </a:cubicBezTo>
                  <a:cubicBezTo>
                    <a:pt x="1438" y="819"/>
                    <a:pt x="1419" y="913"/>
                    <a:pt x="1381" y="1001"/>
                  </a:cubicBezTo>
                  <a:cubicBezTo>
                    <a:pt x="1346" y="1086"/>
                    <a:pt x="1294" y="1163"/>
                    <a:pt x="1228" y="1228"/>
                  </a:cubicBezTo>
                  <a:cubicBezTo>
                    <a:pt x="1163" y="1294"/>
                    <a:pt x="1086" y="1346"/>
                    <a:pt x="1001" y="1381"/>
                  </a:cubicBezTo>
                  <a:cubicBezTo>
                    <a:pt x="913" y="1419"/>
                    <a:pt x="819" y="1438"/>
                    <a:pt x="723" y="1438"/>
                  </a:cubicBezTo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6"/>
                    <a:pt x="723" y="1446"/>
                  </a:cubicBezTo>
                  <a:cubicBezTo>
                    <a:pt x="1122" y="1446"/>
                    <a:pt x="1446" y="1122"/>
                    <a:pt x="1446" y="723"/>
                  </a:cubicBezTo>
                  <a:cubicBezTo>
                    <a:pt x="1446" y="324"/>
                    <a:pt x="1122" y="0"/>
                    <a:pt x="723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F86053EC-8FE6-450E-B367-3C0B48276B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2725" y="439738"/>
              <a:ext cx="544513" cy="546100"/>
            </a:xfrm>
            <a:custGeom>
              <a:avLst/>
              <a:gdLst>
                <a:gd name="T0" fmla="*/ 872 w 1023"/>
                <a:gd name="T1" fmla="*/ 863 h 1023"/>
                <a:gd name="T2" fmla="*/ 868 w 1023"/>
                <a:gd name="T3" fmla="*/ 868 h 1023"/>
                <a:gd name="T4" fmla="*/ 862 w 1023"/>
                <a:gd name="T5" fmla="*/ 873 h 1023"/>
                <a:gd name="T6" fmla="*/ 868 w 1023"/>
                <a:gd name="T7" fmla="*/ 868 h 1023"/>
                <a:gd name="T8" fmla="*/ 872 w 1023"/>
                <a:gd name="T9" fmla="*/ 863 h 1023"/>
                <a:gd name="T10" fmla="*/ 1023 w 1023"/>
                <a:gd name="T11" fmla="*/ 512 h 1023"/>
                <a:gd name="T12" fmla="*/ 1023 w 1023"/>
                <a:gd name="T13" fmla="*/ 512 h 1023"/>
                <a:gd name="T14" fmla="*/ 1023 w 1023"/>
                <a:gd name="T15" fmla="*/ 512 h 1023"/>
                <a:gd name="T16" fmla="*/ 512 w 1023"/>
                <a:gd name="T17" fmla="*/ 0 h 1023"/>
                <a:gd name="T18" fmla="*/ 0 w 1023"/>
                <a:gd name="T19" fmla="*/ 512 h 1023"/>
                <a:gd name="T20" fmla="*/ 512 w 1023"/>
                <a:gd name="T21" fmla="*/ 1023 h 1023"/>
                <a:gd name="T22" fmla="*/ 1023 w 1023"/>
                <a:gd name="T23" fmla="*/ 512 h 1023"/>
                <a:gd name="T24" fmla="*/ 1019 w 1023"/>
                <a:gd name="T25" fmla="*/ 512 h 1023"/>
                <a:gd name="T26" fmla="*/ 1015 w 1023"/>
                <a:gd name="T27" fmla="*/ 512 h 1023"/>
                <a:gd name="T28" fmla="*/ 903 w 1023"/>
                <a:gd name="T29" fmla="*/ 828 h 1023"/>
                <a:gd name="T30" fmla="*/ 828 w 1023"/>
                <a:gd name="T31" fmla="*/ 904 h 1023"/>
                <a:gd name="T32" fmla="*/ 512 w 1023"/>
                <a:gd name="T33" fmla="*/ 1015 h 1023"/>
                <a:gd name="T34" fmla="*/ 192 w 1023"/>
                <a:gd name="T35" fmla="*/ 901 h 1023"/>
                <a:gd name="T36" fmla="*/ 124 w 1023"/>
                <a:gd name="T37" fmla="*/ 834 h 1023"/>
                <a:gd name="T38" fmla="*/ 8 w 1023"/>
                <a:gd name="T39" fmla="*/ 512 h 1023"/>
                <a:gd name="T40" fmla="*/ 126 w 1023"/>
                <a:gd name="T41" fmla="*/ 188 h 1023"/>
                <a:gd name="T42" fmla="*/ 189 w 1023"/>
                <a:gd name="T43" fmla="*/ 125 h 1023"/>
                <a:gd name="T44" fmla="*/ 512 w 1023"/>
                <a:gd name="T45" fmla="*/ 8 h 1023"/>
                <a:gd name="T46" fmla="*/ 830 w 1023"/>
                <a:gd name="T47" fmla="*/ 122 h 1023"/>
                <a:gd name="T48" fmla="*/ 902 w 1023"/>
                <a:gd name="T49" fmla="*/ 193 h 1023"/>
                <a:gd name="T50" fmla="*/ 1015 w 1023"/>
                <a:gd name="T51" fmla="*/ 512 h 1023"/>
                <a:gd name="T52" fmla="*/ 1019 w 1023"/>
                <a:gd name="T53" fmla="*/ 512 h 1023"/>
                <a:gd name="T54" fmla="*/ 1023 w 1023"/>
                <a:gd name="T55" fmla="*/ 512 h 1023"/>
                <a:gd name="T56" fmla="*/ 1023 w 1023"/>
                <a:gd name="T57" fmla="*/ 512 h 1023"/>
                <a:gd name="T58" fmla="*/ 512 w 1023"/>
                <a:gd name="T59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23" h="1023">
                  <a:moveTo>
                    <a:pt x="872" y="863"/>
                  </a:moveTo>
                  <a:cubicBezTo>
                    <a:pt x="871" y="865"/>
                    <a:pt x="869" y="866"/>
                    <a:pt x="868" y="868"/>
                  </a:cubicBezTo>
                  <a:cubicBezTo>
                    <a:pt x="866" y="869"/>
                    <a:pt x="864" y="871"/>
                    <a:pt x="862" y="873"/>
                  </a:cubicBezTo>
                  <a:cubicBezTo>
                    <a:pt x="864" y="871"/>
                    <a:pt x="866" y="870"/>
                    <a:pt x="868" y="868"/>
                  </a:cubicBezTo>
                  <a:cubicBezTo>
                    <a:pt x="869" y="866"/>
                    <a:pt x="871" y="865"/>
                    <a:pt x="872" y="863"/>
                  </a:cubicBezTo>
                  <a:moveTo>
                    <a:pt x="1023" y="512"/>
                  </a:move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moveTo>
                    <a:pt x="512" y="0"/>
                  </a:moveTo>
                  <a:cubicBezTo>
                    <a:pt x="229" y="0"/>
                    <a:pt x="0" y="229"/>
                    <a:pt x="0" y="512"/>
                  </a:cubicBezTo>
                  <a:cubicBezTo>
                    <a:pt x="0" y="794"/>
                    <a:pt x="229" y="1023"/>
                    <a:pt x="512" y="1023"/>
                  </a:cubicBezTo>
                  <a:cubicBezTo>
                    <a:pt x="794" y="1023"/>
                    <a:pt x="1023" y="794"/>
                    <a:pt x="1023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15" y="512"/>
                    <a:pt x="1015" y="512"/>
                    <a:pt x="1015" y="512"/>
                  </a:cubicBezTo>
                  <a:cubicBezTo>
                    <a:pt x="1015" y="632"/>
                    <a:pt x="973" y="742"/>
                    <a:pt x="903" y="828"/>
                  </a:cubicBezTo>
                  <a:cubicBezTo>
                    <a:pt x="885" y="859"/>
                    <a:pt x="859" y="886"/>
                    <a:pt x="828" y="904"/>
                  </a:cubicBezTo>
                  <a:cubicBezTo>
                    <a:pt x="741" y="974"/>
                    <a:pt x="631" y="1015"/>
                    <a:pt x="512" y="1015"/>
                  </a:cubicBezTo>
                  <a:cubicBezTo>
                    <a:pt x="390" y="1015"/>
                    <a:pt x="279" y="972"/>
                    <a:pt x="192" y="901"/>
                  </a:cubicBezTo>
                  <a:cubicBezTo>
                    <a:pt x="165" y="884"/>
                    <a:pt x="142" y="861"/>
                    <a:pt x="124" y="834"/>
                  </a:cubicBezTo>
                  <a:cubicBezTo>
                    <a:pt x="52" y="746"/>
                    <a:pt x="8" y="634"/>
                    <a:pt x="8" y="512"/>
                  </a:cubicBezTo>
                  <a:cubicBezTo>
                    <a:pt x="8" y="388"/>
                    <a:pt x="52" y="275"/>
                    <a:pt x="126" y="188"/>
                  </a:cubicBezTo>
                  <a:cubicBezTo>
                    <a:pt x="142" y="162"/>
                    <a:pt x="164" y="141"/>
                    <a:pt x="189" y="125"/>
                  </a:cubicBezTo>
                  <a:cubicBezTo>
                    <a:pt x="276" y="52"/>
                    <a:pt x="389" y="8"/>
                    <a:pt x="512" y="8"/>
                  </a:cubicBezTo>
                  <a:cubicBezTo>
                    <a:pt x="633" y="8"/>
                    <a:pt x="744" y="51"/>
                    <a:pt x="830" y="122"/>
                  </a:cubicBezTo>
                  <a:cubicBezTo>
                    <a:pt x="860" y="139"/>
                    <a:pt x="884" y="164"/>
                    <a:pt x="902" y="193"/>
                  </a:cubicBezTo>
                  <a:cubicBezTo>
                    <a:pt x="973" y="280"/>
                    <a:pt x="1015" y="391"/>
                    <a:pt x="1015" y="512"/>
                  </a:cubicBezTo>
                  <a:cubicBezTo>
                    <a:pt x="1019" y="512"/>
                    <a:pt x="1019" y="512"/>
                    <a:pt x="1019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512"/>
                    <a:pt x="1023" y="512"/>
                    <a:pt x="1023" y="512"/>
                  </a:cubicBezTo>
                  <a:cubicBezTo>
                    <a:pt x="1023" y="229"/>
                    <a:pt x="794" y="0"/>
                    <a:pt x="512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3BCB9A0A-A4B9-45C0-84AD-632DD7D82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938" y="488951"/>
              <a:ext cx="223838" cy="223838"/>
            </a:xfrm>
            <a:custGeom>
              <a:avLst/>
              <a:gdLst>
                <a:gd name="T0" fmla="*/ 127 w 420"/>
                <a:gd name="T1" fmla="*/ 398 h 420"/>
                <a:gd name="T2" fmla="*/ 126 w 420"/>
                <a:gd name="T3" fmla="*/ 402 h 420"/>
                <a:gd name="T4" fmla="*/ 209 w 420"/>
                <a:gd name="T5" fmla="*/ 420 h 420"/>
                <a:gd name="T6" fmla="*/ 209 w 420"/>
                <a:gd name="T7" fmla="*/ 416 h 420"/>
                <a:gd name="T8" fmla="*/ 127 w 420"/>
                <a:gd name="T9" fmla="*/ 398 h 420"/>
                <a:gd name="T10" fmla="*/ 419 w 420"/>
                <a:gd name="T11" fmla="*/ 216 h 420"/>
                <a:gd name="T12" fmla="*/ 416 w 420"/>
                <a:gd name="T13" fmla="*/ 216 h 420"/>
                <a:gd name="T14" fmla="*/ 356 w 420"/>
                <a:gd name="T15" fmla="*/ 355 h 420"/>
                <a:gd name="T16" fmla="*/ 213 w 420"/>
                <a:gd name="T17" fmla="*/ 416 h 420"/>
                <a:gd name="T18" fmla="*/ 213 w 420"/>
                <a:gd name="T19" fmla="*/ 420 h 420"/>
                <a:gd name="T20" fmla="*/ 420 w 420"/>
                <a:gd name="T21" fmla="*/ 222 h 420"/>
                <a:gd name="T22" fmla="*/ 420 w 420"/>
                <a:gd name="T23" fmla="*/ 216 h 420"/>
                <a:gd name="T24" fmla="*/ 419 w 420"/>
                <a:gd name="T25" fmla="*/ 216 h 420"/>
                <a:gd name="T26" fmla="*/ 420 w 420"/>
                <a:gd name="T27" fmla="*/ 210 h 420"/>
                <a:gd name="T28" fmla="*/ 419 w 420"/>
                <a:gd name="T29" fmla="*/ 210 h 420"/>
                <a:gd name="T30" fmla="*/ 417 w 420"/>
                <a:gd name="T31" fmla="*/ 210 h 420"/>
                <a:gd name="T32" fmla="*/ 417 w 420"/>
                <a:gd name="T33" fmla="*/ 212 h 420"/>
                <a:gd name="T34" fmla="*/ 419 w 420"/>
                <a:gd name="T35" fmla="*/ 212 h 420"/>
                <a:gd name="T36" fmla="*/ 420 w 420"/>
                <a:gd name="T37" fmla="*/ 212 h 420"/>
                <a:gd name="T38" fmla="*/ 420 w 420"/>
                <a:gd name="T39" fmla="*/ 210 h 420"/>
                <a:gd name="T40" fmla="*/ 403 w 420"/>
                <a:gd name="T41" fmla="*/ 125 h 420"/>
                <a:gd name="T42" fmla="*/ 399 w 420"/>
                <a:gd name="T43" fmla="*/ 125 h 420"/>
                <a:gd name="T44" fmla="*/ 417 w 420"/>
                <a:gd name="T45" fmla="*/ 210 h 420"/>
                <a:gd name="T46" fmla="*/ 419 w 420"/>
                <a:gd name="T47" fmla="*/ 210 h 420"/>
                <a:gd name="T48" fmla="*/ 420 w 420"/>
                <a:gd name="T49" fmla="*/ 210 h 420"/>
                <a:gd name="T50" fmla="*/ 420 w 420"/>
                <a:gd name="T51" fmla="*/ 210 h 420"/>
                <a:gd name="T52" fmla="*/ 420 w 420"/>
                <a:gd name="T53" fmla="*/ 197 h 420"/>
                <a:gd name="T54" fmla="*/ 403 w 420"/>
                <a:gd name="T55" fmla="*/ 125 h 420"/>
                <a:gd name="T56" fmla="*/ 210 w 420"/>
                <a:gd name="T57" fmla="*/ 0 h 420"/>
                <a:gd name="T58" fmla="*/ 97 w 420"/>
                <a:gd name="T59" fmla="*/ 33 h 420"/>
                <a:gd name="T60" fmla="*/ 63 w 420"/>
                <a:gd name="T61" fmla="*/ 63 h 420"/>
                <a:gd name="T62" fmla="*/ 34 w 420"/>
                <a:gd name="T63" fmla="*/ 96 h 420"/>
                <a:gd name="T64" fmla="*/ 0 w 420"/>
                <a:gd name="T65" fmla="*/ 210 h 420"/>
                <a:gd name="T66" fmla="*/ 122 w 420"/>
                <a:gd name="T67" fmla="*/ 400 h 420"/>
                <a:gd name="T68" fmla="*/ 123 w 420"/>
                <a:gd name="T69" fmla="*/ 396 h 420"/>
                <a:gd name="T70" fmla="*/ 65 w 420"/>
                <a:gd name="T71" fmla="*/ 355 h 420"/>
                <a:gd name="T72" fmla="*/ 4 w 420"/>
                <a:gd name="T73" fmla="*/ 210 h 420"/>
                <a:gd name="T74" fmla="*/ 65 w 420"/>
                <a:gd name="T75" fmla="*/ 64 h 420"/>
                <a:gd name="T76" fmla="*/ 210 w 420"/>
                <a:gd name="T77" fmla="*/ 4 h 420"/>
                <a:gd name="T78" fmla="*/ 356 w 420"/>
                <a:gd name="T79" fmla="*/ 64 h 420"/>
                <a:gd name="T80" fmla="*/ 397 w 420"/>
                <a:gd name="T81" fmla="*/ 122 h 420"/>
                <a:gd name="T82" fmla="*/ 401 w 420"/>
                <a:gd name="T83" fmla="*/ 121 h 420"/>
                <a:gd name="T84" fmla="*/ 210 w 420"/>
                <a:gd name="T85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0" h="420">
                  <a:moveTo>
                    <a:pt x="127" y="398"/>
                  </a:moveTo>
                  <a:cubicBezTo>
                    <a:pt x="126" y="399"/>
                    <a:pt x="126" y="401"/>
                    <a:pt x="126" y="402"/>
                  </a:cubicBezTo>
                  <a:cubicBezTo>
                    <a:pt x="151" y="413"/>
                    <a:pt x="179" y="419"/>
                    <a:pt x="209" y="420"/>
                  </a:cubicBezTo>
                  <a:cubicBezTo>
                    <a:pt x="209" y="418"/>
                    <a:pt x="209" y="417"/>
                    <a:pt x="209" y="416"/>
                  </a:cubicBezTo>
                  <a:cubicBezTo>
                    <a:pt x="179" y="415"/>
                    <a:pt x="152" y="409"/>
                    <a:pt x="127" y="398"/>
                  </a:cubicBezTo>
                  <a:moveTo>
                    <a:pt x="419" y="216"/>
                  </a:moveTo>
                  <a:cubicBezTo>
                    <a:pt x="418" y="216"/>
                    <a:pt x="417" y="216"/>
                    <a:pt x="416" y="216"/>
                  </a:cubicBezTo>
                  <a:cubicBezTo>
                    <a:pt x="415" y="270"/>
                    <a:pt x="392" y="319"/>
                    <a:pt x="356" y="355"/>
                  </a:cubicBezTo>
                  <a:cubicBezTo>
                    <a:pt x="319" y="392"/>
                    <a:pt x="269" y="415"/>
                    <a:pt x="213" y="416"/>
                  </a:cubicBezTo>
                  <a:cubicBezTo>
                    <a:pt x="213" y="417"/>
                    <a:pt x="213" y="418"/>
                    <a:pt x="213" y="420"/>
                  </a:cubicBezTo>
                  <a:cubicBezTo>
                    <a:pt x="324" y="419"/>
                    <a:pt x="414" y="332"/>
                    <a:pt x="420" y="222"/>
                  </a:cubicBezTo>
                  <a:cubicBezTo>
                    <a:pt x="420" y="220"/>
                    <a:pt x="420" y="218"/>
                    <a:pt x="420" y="216"/>
                  </a:cubicBezTo>
                  <a:cubicBezTo>
                    <a:pt x="420" y="216"/>
                    <a:pt x="419" y="216"/>
                    <a:pt x="419" y="216"/>
                  </a:cubicBezTo>
                  <a:moveTo>
                    <a:pt x="420" y="210"/>
                  </a:moveTo>
                  <a:cubicBezTo>
                    <a:pt x="419" y="210"/>
                    <a:pt x="419" y="210"/>
                    <a:pt x="419" y="210"/>
                  </a:cubicBezTo>
                  <a:cubicBezTo>
                    <a:pt x="417" y="210"/>
                    <a:pt x="417" y="210"/>
                    <a:pt x="417" y="210"/>
                  </a:cubicBezTo>
                  <a:cubicBezTo>
                    <a:pt x="417" y="210"/>
                    <a:pt x="417" y="211"/>
                    <a:pt x="417" y="212"/>
                  </a:cubicBezTo>
                  <a:cubicBezTo>
                    <a:pt x="417" y="212"/>
                    <a:pt x="418" y="212"/>
                    <a:pt x="419" y="212"/>
                  </a:cubicBezTo>
                  <a:cubicBezTo>
                    <a:pt x="419" y="212"/>
                    <a:pt x="419" y="212"/>
                    <a:pt x="420" y="212"/>
                  </a:cubicBezTo>
                  <a:cubicBezTo>
                    <a:pt x="420" y="211"/>
                    <a:pt x="420" y="210"/>
                    <a:pt x="420" y="210"/>
                  </a:cubicBezTo>
                  <a:moveTo>
                    <a:pt x="403" y="125"/>
                  </a:moveTo>
                  <a:cubicBezTo>
                    <a:pt x="401" y="125"/>
                    <a:pt x="400" y="125"/>
                    <a:pt x="399" y="125"/>
                  </a:cubicBezTo>
                  <a:cubicBezTo>
                    <a:pt x="410" y="151"/>
                    <a:pt x="417" y="180"/>
                    <a:pt x="417" y="210"/>
                  </a:cubicBezTo>
                  <a:cubicBezTo>
                    <a:pt x="419" y="210"/>
                    <a:pt x="419" y="210"/>
                    <a:pt x="419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05"/>
                    <a:pt x="420" y="201"/>
                    <a:pt x="420" y="197"/>
                  </a:cubicBezTo>
                  <a:cubicBezTo>
                    <a:pt x="419" y="172"/>
                    <a:pt x="413" y="147"/>
                    <a:pt x="403" y="125"/>
                  </a:cubicBezTo>
                  <a:moveTo>
                    <a:pt x="210" y="0"/>
                  </a:moveTo>
                  <a:cubicBezTo>
                    <a:pt x="169" y="0"/>
                    <a:pt x="130" y="12"/>
                    <a:pt x="97" y="33"/>
                  </a:cubicBezTo>
                  <a:cubicBezTo>
                    <a:pt x="85" y="43"/>
                    <a:pt x="74" y="53"/>
                    <a:pt x="63" y="63"/>
                  </a:cubicBezTo>
                  <a:cubicBezTo>
                    <a:pt x="53" y="74"/>
                    <a:pt x="43" y="84"/>
                    <a:pt x="34" y="96"/>
                  </a:cubicBezTo>
                  <a:cubicBezTo>
                    <a:pt x="13" y="128"/>
                    <a:pt x="0" y="168"/>
                    <a:pt x="0" y="210"/>
                  </a:cubicBezTo>
                  <a:cubicBezTo>
                    <a:pt x="0" y="294"/>
                    <a:pt x="50" y="367"/>
                    <a:pt x="122" y="400"/>
                  </a:cubicBezTo>
                  <a:cubicBezTo>
                    <a:pt x="122" y="399"/>
                    <a:pt x="123" y="398"/>
                    <a:pt x="123" y="396"/>
                  </a:cubicBezTo>
                  <a:cubicBezTo>
                    <a:pt x="101" y="386"/>
                    <a:pt x="81" y="372"/>
                    <a:pt x="65" y="355"/>
                  </a:cubicBezTo>
                  <a:cubicBezTo>
                    <a:pt x="27" y="318"/>
                    <a:pt x="4" y="267"/>
                    <a:pt x="4" y="210"/>
                  </a:cubicBezTo>
                  <a:cubicBezTo>
                    <a:pt x="4" y="153"/>
                    <a:pt x="27" y="101"/>
                    <a:pt x="65" y="64"/>
                  </a:cubicBezTo>
                  <a:cubicBezTo>
                    <a:pt x="102" y="27"/>
                    <a:pt x="154" y="4"/>
                    <a:pt x="210" y="4"/>
                  </a:cubicBezTo>
                  <a:cubicBezTo>
                    <a:pt x="267" y="4"/>
                    <a:pt x="319" y="27"/>
                    <a:pt x="356" y="64"/>
                  </a:cubicBezTo>
                  <a:cubicBezTo>
                    <a:pt x="373" y="81"/>
                    <a:pt x="387" y="100"/>
                    <a:pt x="397" y="122"/>
                  </a:cubicBezTo>
                  <a:cubicBezTo>
                    <a:pt x="398" y="121"/>
                    <a:pt x="400" y="121"/>
                    <a:pt x="401" y="121"/>
                  </a:cubicBezTo>
                  <a:cubicBezTo>
                    <a:pt x="368" y="49"/>
                    <a:pt x="295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F456ADB7-3DEE-4A70-9E2A-CE6324F7E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506413"/>
              <a:ext cx="34925" cy="34925"/>
            </a:xfrm>
            <a:custGeom>
              <a:avLst/>
              <a:gdLst>
                <a:gd name="T0" fmla="*/ 63 w 63"/>
                <a:gd name="T1" fmla="*/ 0 h 63"/>
                <a:gd name="T2" fmla="*/ 0 w 63"/>
                <a:gd name="T3" fmla="*/ 63 h 63"/>
                <a:gd name="T4" fmla="*/ 29 w 63"/>
                <a:gd name="T5" fmla="*/ 30 h 63"/>
                <a:gd name="T6" fmla="*/ 63 w 63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3">
                  <a:moveTo>
                    <a:pt x="63" y="0"/>
                  </a:moveTo>
                  <a:cubicBezTo>
                    <a:pt x="38" y="16"/>
                    <a:pt x="16" y="37"/>
                    <a:pt x="0" y="63"/>
                  </a:cubicBezTo>
                  <a:cubicBezTo>
                    <a:pt x="9" y="51"/>
                    <a:pt x="19" y="41"/>
                    <a:pt x="29" y="30"/>
                  </a:cubicBezTo>
                  <a:cubicBezTo>
                    <a:pt x="40" y="20"/>
                    <a:pt x="51" y="10"/>
                    <a:pt x="6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40F551BC-1D71-4CA8-923C-2FFD7780B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063" y="601663"/>
              <a:ext cx="223838" cy="225425"/>
            </a:xfrm>
            <a:custGeom>
              <a:avLst/>
              <a:gdLst>
                <a:gd name="T0" fmla="*/ 420 w 420"/>
                <a:gd name="T1" fmla="*/ 212 h 420"/>
                <a:gd name="T2" fmla="*/ 416 w 420"/>
                <a:gd name="T3" fmla="*/ 212 h 420"/>
                <a:gd name="T4" fmla="*/ 355 w 420"/>
                <a:gd name="T5" fmla="*/ 356 h 420"/>
                <a:gd name="T6" fmla="*/ 215 w 420"/>
                <a:gd name="T7" fmla="*/ 416 h 420"/>
                <a:gd name="T8" fmla="*/ 215 w 420"/>
                <a:gd name="T9" fmla="*/ 418 h 420"/>
                <a:gd name="T10" fmla="*/ 215 w 420"/>
                <a:gd name="T11" fmla="*/ 420 h 420"/>
                <a:gd name="T12" fmla="*/ 420 w 420"/>
                <a:gd name="T13" fmla="*/ 212 h 420"/>
                <a:gd name="T14" fmla="*/ 1 w 420"/>
                <a:gd name="T15" fmla="*/ 212 h 420"/>
                <a:gd name="T16" fmla="*/ 0 w 420"/>
                <a:gd name="T17" fmla="*/ 212 h 420"/>
                <a:gd name="T18" fmla="*/ 208 w 420"/>
                <a:gd name="T19" fmla="*/ 420 h 420"/>
                <a:gd name="T20" fmla="*/ 208 w 420"/>
                <a:gd name="T21" fmla="*/ 418 h 420"/>
                <a:gd name="T22" fmla="*/ 210 w 420"/>
                <a:gd name="T23" fmla="*/ 418 h 420"/>
                <a:gd name="T24" fmla="*/ 211 w 420"/>
                <a:gd name="T25" fmla="*/ 418 h 420"/>
                <a:gd name="T26" fmla="*/ 211 w 420"/>
                <a:gd name="T27" fmla="*/ 418 h 420"/>
                <a:gd name="T28" fmla="*/ 210 w 420"/>
                <a:gd name="T29" fmla="*/ 418 h 420"/>
                <a:gd name="T30" fmla="*/ 208 w 420"/>
                <a:gd name="T31" fmla="*/ 418 h 420"/>
                <a:gd name="T32" fmla="*/ 208 w 420"/>
                <a:gd name="T33" fmla="*/ 416 h 420"/>
                <a:gd name="T34" fmla="*/ 64 w 420"/>
                <a:gd name="T35" fmla="*/ 356 h 420"/>
                <a:gd name="T36" fmla="*/ 4 w 420"/>
                <a:gd name="T37" fmla="*/ 212 h 420"/>
                <a:gd name="T38" fmla="*/ 1 w 420"/>
                <a:gd name="T39" fmla="*/ 212 h 420"/>
                <a:gd name="T40" fmla="*/ 4 w 420"/>
                <a:gd name="T41" fmla="*/ 208 h 420"/>
                <a:gd name="T42" fmla="*/ 1 w 420"/>
                <a:gd name="T43" fmla="*/ 208 h 420"/>
                <a:gd name="T44" fmla="*/ 0 w 420"/>
                <a:gd name="T45" fmla="*/ 208 h 420"/>
                <a:gd name="T46" fmla="*/ 0 w 420"/>
                <a:gd name="T47" fmla="*/ 208 h 420"/>
                <a:gd name="T48" fmla="*/ 1 w 420"/>
                <a:gd name="T49" fmla="*/ 208 h 420"/>
                <a:gd name="T50" fmla="*/ 4 w 420"/>
                <a:gd name="T51" fmla="*/ 208 h 420"/>
                <a:gd name="T52" fmla="*/ 4 w 420"/>
                <a:gd name="T53" fmla="*/ 208 h 420"/>
                <a:gd name="T54" fmla="*/ 416 w 420"/>
                <a:gd name="T55" fmla="*/ 208 h 420"/>
                <a:gd name="T56" fmla="*/ 416 w 420"/>
                <a:gd name="T57" fmla="*/ 208 h 420"/>
                <a:gd name="T58" fmla="*/ 420 w 420"/>
                <a:gd name="T59" fmla="*/ 208 h 420"/>
                <a:gd name="T60" fmla="*/ 420 w 420"/>
                <a:gd name="T61" fmla="*/ 208 h 420"/>
                <a:gd name="T62" fmla="*/ 416 w 420"/>
                <a:gd name="T63" fmla="*/ 208 h 420"/>
                <a:gd name="T64" fmla="*/ 215 w 420"/>
                <a:gd name="T65" fmla="*/ 0 h 420"/>
                <a:gd name="T66" fmla="*/ 215 w 420"/>
                <a:gd name="T67" fmla="*/ 4 h 420"/>
                <a:gd name="T68" fmla="*/ 355 w 420"/>
                <a:gd name="T69" fmla="*/ 64 h 420"/>
                <a:gd name="T70" fmla="*/ 416 w 420"/>
                <a:gd name="T71" fmla="*/ 204 h 420"/>
                <a:gd name="T72" fmla="*/ 420 w 420"/>
                <a:gd name="T73" fmla="*/ 204 h 420"/>
                <a:gd name="T74" fmla="*/ 215 w 420"/>
                <a:gd name="T75" fmla="*/ 0 h 420"/>
                <a:gd name="T76" fmla="*/ 208 w 420"/>
                <a:gd name="T77" fmla="*/ 0 h 420"/>
                <a:gd name="T78" fmla="*/ 0 w 420"/>
                <a:gd name="T79" fmla="*/ 204 h 420"/>
                <a:gd name="T80" fmla="*/ 1 w 420"/>
                <a:gd name="T81" fmla="*/ 204 h 420"/>
                <a:gd name="T82" fmla="*/ 4 w 420"/>
                <a:gd name="T83" fmla="*/ 204 h 420"/>
                <a:gd name="T84" fmla="*/ 64 w 420"/>
                <a:gd name="T85" fmla="*/ 64 h 420"/>
                <a:gd name="T86" fmla="*/ 207 w 420"/>
                <a:gd name="T87" fmla="*/ 4 h 420"/>
                <a:gd name="T88" fmla="*/ 208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420" y="212"/>
                  </a:moveTo>
                  <a:cubicBezTo>
                    <a:pt x="418" y="212"/>
                    <a:pt x="417" y="212"/>
                    <a:pt x="416" y="212"/>
                  </a:cubicBezTo>
                  <a:cubicBezTo>
                    <a:pt x="415" y="268"/>
                    <a:pt x="392" y="319"/>
                    <a:pt x="355" y="356"/>
                  </a:cubicBezTo>
                  <a:cubicBezTo>
                    <a:pt x="319" y="392"/>
                    <a:pt x="270" y="415"/>
                    <a:pt x="215" y="416"/>
                  </a:cubicBezTo>
                  <a:cubicBezTo>
                    <a:pt x="215" y="417"/>
                    <a:pt x="215" y="418"/>
                    <a:pt x="215" y="418"/>
                  </a:cubicBezTo>
                  <a:cubicBezTo>
                    <a:pt x="215" y="419"/>
                    <a:pt x="215" y="419"/>
                    <a:pt x="215" y="420"/>
                  </a:cubicBezTo>
                  <a:cubicBezTo>
                    <a:pt x="328" y="417"/>
                    <a:pt x="419" y="326"/>
                    <a:pt x="420" y="212"/>
                  </a:cubicBezTo>
                  <a:moveTo>
                    <a:pt x="1" y="212"/>
                  </a:moveTo>
                  <a:cubicBezTo>
                    <a:pt x="1" y="212"/>
                    <a:pt x="0" y="212"/>
                    <a:pt x="0" y="212"/>
                  </a:cubicBezTo>
                  <a:cubicBezTo>
                    <a:pt x="1" y="327"/>
                    <a:pt x="93" y="419"/>
                    <a:pt x="208" y="420"/>
                  </a:cubicBezTo>
                  <a:cubicBezTo>
                    <a:pt x="208" y="420"/>
                    <a:pt x="208" y="419"/>
                    <a:pt x="208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1" y="418"/>
                    <a:pt x="211" y="418"/>
                    <a:pt x="211" y="418"/>
                  </a:cubicBezTo>
                  <a:cubicBezTo>
                    <a:pt x="210" y="418"/>
                    <a:pt x="210" y="418"/>
                    <a:pt x="210" y="418"/>
                  </a:cubicBezTo>
                  <a:cubicBezTo>
                    <a:pt x="208" y="418"/>
                    <a:pt x="208" y="418"/>
                    <a:pt x="208" y="418"/>
                  </a:cubicBezTo>
                  <a:cubicBezTo>
                    <a:pt x="208" y="418"/>
                    <a:pt x="208" y="417"/>
                    <a:pt x="208" y="416"/>
                  </a:cubicBezTo>
                  <a:cubicBezTo>
                    <a:pt x="151" y="416"/>
                    <a:pt x="101" y="393"/>
                    <a:pt x="64" y="356"/>
                  </a:cubicBezTo>
                  <a:cubicBezTo>
                    <a:pt x="27" y="319"/>
                    <a:pt x="4" y="268"/>
                    <a:pt x="4" y="212"/>
                  </a:cubicBezTo>
                  <a:cubicBezTo>
                    <a:pt x="3" y="212"/>
                    <a:pt x="2" y="212"/>
                    <a:pt x="1" y="212"/>
                  </a:cubicBezTo>
                  <a:moveTo>
                    <a:pt x="4" y="208"/>
                  </a:moveTo>
                  <a:cubicBezTo>
                    <a:pt x="3" y="208"/>
                    <a:pt x="2" y="208"/>
                    <a:pt x="1" y="208"/>
                  </a:cubicBezTo>
                  <a:cubicBezTo>
                    <a:pt x="1" y="208"/>
                    <a:pt x="0" y="208"/>
                    <a:pt x="0" y="208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8"/>
                    <a:pt x="4" y="208"/>
                    <a:pt x="4" y="208"/>
                  </a:cubicBezTo>
                  <a:moveTo>
                    <a:pt x="416" y="208"/>
                  </a:moveTo>
                  <a:cubicBezTo>
                    <a:pt x="416" y="208"/>
                    <a:pt x="416" y="208"/>
                    <a:pt x="416" y="208"/>
                  </a:cubicBezTo>
                  <a:cubicBezTo>
                    <a:pt x="417" y="208"/>
                    <a:pt x="418" y="208"/>
                    <a:pt x="420" y="208"/>
                  </a:cubicBezTo>
                  <a:cubicBezTo>
                    <a:pt x="420" y="208"/>
                    <a:pt x="420" y="208"/>
                    <a:pt x="420" y="208"/>
                  </a:cubicBezTo>
                  <a:cubicBezTo>
                    <a:pt x="418" y="208"/>
                    <a:pt x="417" y="208"/>
                    <a:pt x="416" y="208"/>
                  </a:cubicBezTo>
                  <a:moveTo>
                    <a:pt x="215" y="0"/>
                  </a:moveTo>
                  <a:cubicBezTo>
                    <a:pt x="215" y="1"/>
                    <a:pt x="215" y="3"/>
                    <a:pt x="215" y="4"/>
                  </a:cubicBezTo>
                  <a:cubicBezTo>
                    <a:pt x="270" y="6"/>
                    <a:pt x="319" y="28"/>
                    <a:pt x="355" y="64"/>
                  </a:cubicBezTo>
                  <a:cubicBezTo>
                    <a:pt x="391" y="100"/>
                    <a:pt x="414" y="149"/>
                    <a:pt x="416" y="204"/>
                  </a:cubicBezTo>
                  <a:cubicBezTo>
                    <a:pt x="417" y="204"/>
                    <a:pt x="418" y="204"/>
                    <a:pt x="420" y="204"/>
                  </a:cubicBezTo>
                  <a:cubicBezTo>
                    <a:pt x="416" y="92"/>
                    <a:pt x="326" y="3"/>
                    <a:pt x="215" y="0"/>
                  </a:cubicBezTo>
                  <a:moveTo>
                    <a:pt x="208" y="0"/>
                  </a:moveTo>
                  <a:cubicBezTo>
                    <a:pt x="95" y="1"/>
                    <a:pt x="3" y="91"/>
                    <a:pt x="0" y="204"/>
                  </a:cubicBezTo>
                  <a:cubicBezTo>
                    <a:pt x="0" y="204"/>
                    <a:pt x="1" y="204"/>
                    <a:pt x="1" y="204"/>
                  </a:cubicBezTo>
                  <a:cubicBezTo>
                    <a:pt x="2" y="204"/>
                    <a:pt x="3" y="204"/>
                    <a:pt x="4" y="204"/>
                  </a:cubicBezTo>
                  <a:cubicBezTo>
                    <a:pt x="5" y="149"/>
                    <a:pt x="28" y="100"/>
                    <a:pt x="64" y="64"/>
                  </a:cubicBezTo>
                  <a:cubicBezTo>
                    <a:pt x="101" y="28"/>
                    <a:pt x="151" y="5"/>
                    <a:pt x="207" y="4"/>
                  </a:cubicBezTo>
                  <a:cubicBezTo>
                    <a:pt x="207" y="3"/>
                    <a:pt x="208" y="1"/>
                    <a:pt x="208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F091C7EC-75A1-43D5-82C4-8ECBECF785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063" y="601663"/>
              <a:ext cx="112713" cy="111125"/>
            </a:xfrm>
            <a:custGeom>
              <a:avLst/>
              <a:gdLst>
                <a:gd name="T0" fmla="*/ 4 w 211"/>
                <a:gd name="T1" fmla="*/ 204 h 208"/>
                <a:gd name="T2" fmla="*/ 1 w 211"/>
                <a:gd name="T3" fmla="*/ 204 h 208"/>
                <a:gd name="T4" fmla="*/ 0 w 211"/>
                <a:gd name="T5" fmla="*/ 204 h 208"/>
                <a:gd name="T6" fmla="*/ 0 w 211"/>
                <a:gd name="T7" fmla="*/ 208 h 208"/>
                <a:gd name="T8" fmla="*/ 1 w 211"/>
                <a:gd name="T9" fmla="*/ 208 h 208"/>
                <a:gd name="T10" fmla="*/ 4 w 211"/>
                <a:gd name="T11" fmla="*/ 208 h 208"/>
                <a:gd name="T12" fmla="*/ 4 w 211"/>
                <a:gd name="T13" fmla="*/ 204 h 208"/>
                <a:gd name="T14" fmla="*/ 210 w 211"/>
                <a:gd name="T15" fmla="*/ 0 h 208"/>
                <a:gd name="T16" fmla="*/ 208 w 211"/>
                <a:gd name="T17" fmla="*/ 0 h 208"/>
                <a:gd name="T18" fmla="*/ 207 w 211"/>
                <a:gd name="T19" fmla="*/ 4 h 208"/>
                <a:gd name="T20" fmla="*/ 210 w 211"/>
                <a:gd name="T21" fmla="*/ 4 h 208"/>
                <a:gd name="T22" fmla="*/ 211 w 211"/>
                <a:gd name="T23" fmla="*/ 4 h 208"/>
                <a:gd name="T24" fmla="*/ 211 w 211"/>
                <a:gd name="T25" fmla="*/ 0 h 208"/>
                <a:gd name="T26" fmla="*/ 210 w 211"/>
                <a:gd name="T2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1" h="208">
                  <a:moveTo>
                    <a:pt x="4" y="204"/>
                  </a:moveTo>
                  <a:cubicBezTo>
                    <a:pt x="3" y="204"/>
                    <a:pt x="2" y="204"/>
                    <a:pt x="1" y="204"/>
                  </a:cubicBezTo>
                  <a:cubicBezTo>
                    <a:pt x="1" y="204"/>
                    <a:pt x="0" y="204"/>
                    <a:pt x="0" y="204"/>
                  </a:cubicBezTo>
                  <a:cubicBezTo>
                    <a:pt x="0" y="205"/>
                    <a:pt x="0" y="206"/>
                    <a:pt x="0" y="208"/>
                  </a:cubicBezTo>
                  <a:cubicBezTo>
                    <a:pt x="0" y="208"/>
                    <a:pt x="1" y="208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206"/>
                    <a:pt x="4" y="205"/>
                    <a:pt x="4" y="204"/>
                  </a:cubicBezTo>
                  <a:moveTo>
                    <a:pt x="210" y="0"/>
                  </a:moveTo>
                  <a:cubicBezTo>
                    <a:pt x="209" y="0"/>
                    <a:pt x="208" y="0"/>
                    <a:pt x="208" y="0"/>
                  </a:cubicBezTo>
                  <a:cubicBezTo>
                    <a:pt x="208" y="1"/>
                    <a:pt x="207" y="3"/>
                    <a:pt x="207" y="4"/>
                  </a:cubicBezTo>
                  <a:cubicBezTo>
                    <a:pt x="208" y="4"/>
                    <a:pt x="209" y="4"/>
                    <a:pt x="210" y="4"/>
                  </a:cubicBezTo>
                  <a:cubicBezTo>
                    <a:pt x="210" y="4"/>
                    <a:pt x="211" y="4"/>
                    <a:pt x="211" y="4"/>
                  </a:cubicBezTo>
                  <a:cubicBezTo>
                    <a:pt x="211" y="3"/>
                    <a:pt x="211" y="1"/>
                    <a:pt x="211" y="0"/>
                  </a:cubicBezTo>
                  <a:cubicBezTo>
                    <a:pt x="210" y="0"/>
                    <a:pt x="210" y="0"/>
                    <a:pt x="21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55C1C2B0-463E-466B-806D-F0EA451A2A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7025" y="554038"/>
              <a:ext cx="315913" cy="317500"/>
            </a:xfrm>
            <a:custGeom>
              <a:avLst/>
              <a:gdLst>
                <a:gd name="T0" fmla="*/ 314 w 595"/>
                <a:gd name="T1" fmla="*/ 590 h 595"/>
                <a:gd name="T2" fmla="*/ 297 w 595"/>
                <a:gd name="T3" fmla="*/ 591 h 595"/>
                <a:gd name="T4" fmla="*/ 282 w 595"/>
                <a:gd name="T5" fmla="*/ 590 h 595"/>
                <a:gd name="T6" fmla="*/ 281 w 595"/>
                <a:gd name="T7" fmla="*/ 594 h 595"/>
                <a:gd name="T8" fmla="*/ 297 w 595"/>
                <a:gd name="T9" fmla="*/ 595 h 595"/>
                <a:gd name="T10" fmla="*/ 316 w 595"/>
                <a:gd name="T11" fmla="*/ 594 h 595"/>
                <a:gd name="T12" fmla="*/ 314 w 595"/>
                <a:gd name="T13" fmla="*/ 590 h 595"/>
                <a:gd name="T14" fmla="*/ 5 w 595"/>
                <a:gd name="T15" fmla="*/ 321 h 595"/>
                <a:gd name="T16" fmla="*/ 1 w 595"/>
                <a:gd name="T17" fmla="*/ 323 h 595"/>
                <a:gd name="T18" fmla="*/ 276 w 595"/>
                <a:gd name="T19" fmla="*/ 594 h 595"/>
                <a:gd name="T20" fmla="*/ 278 w 595"/>
                <a:gd name="T21" fmla="*/ 590 h 595"/>
                <a:gd name="T22" fmla="*/ 90 w 595"/>
                <a:gd name="T23" fmla="*/ 505 h 595"/>
                <a:gd name="T24" fmla="*/ 5 w 595"/>
                <a:gd name="T25" fmla="*/ 321 h 595"/>
                <a:gd name="T26" fmla="*/ 590 w 595"/>
                <a:gd name="T27" fmla="*/ 320 h 595"/>
                <a:gd name="T28" fmla="*/ 505 w 595"/>
                <a:gd name="T29" fmla="*/ 505 h 595"/>
                <a:gd name="T30" fmla="*/ 318 w 595"/>
                <a:gd name="T31" fmla="*/ 590 h 595"/>
                <a:gd name="T32" fmla="*/ 320 w 595"/>
                <a:gd name="T33" fmla="*/ 594 h 595"/>
                <a:gd name="T34" fmla="*/ 594 w 595"/>
                <a:gd name="T35" fmla="*/ 322 h 595"/>
                <a:gd name="T36" fmla="*/ 590 w 595"/>
                <a:gd name="T37" fmla="*/ 320 h 595"/>
                <a:gd name="T38" fmla="*/ 595 w 595"/>
                <a:gd name="T39" fmla="*/ 297 h 595"/>
                <a:gd name="T40" fmla="*/ 593 w 595"/>
                <a:gd name="T41" fmla="*/ 297 h 595"/>
                <a:gd name="T42" fmla="*/ 591 w 595"/>
                <a:gd name="T43" fmla="*/ 297 h 595"/>
                <a:gd name="T44" fmla="*/ 590 w 595"/>
                <a:gd name="T45" fmla="*/ 316 h 595"/>
                <a:gd name="T46" fmla="*/ 594 w 595"/>
                <a:gd name="T47" fmla="*/ 318 h 595"/>
                <a:gd name="T48" fmla="*/ 595 w 595"/>
                <a:gd name="T49" fmla="*/ 297 h 595"/>
                <a:gd name="T50" fmla="*/ 594 w 595"/>
                <a:gd name="T51" fmla="*/ 280 h 595"/>
                <a:gd name="T52" fmla="*/ 591 w 595"/>
                <a:gd name="T53" fmla="*/ 282 h 595"/>
                <a:gd name="T54" fmla="*/ 591 w 595"/>
                <a:gd name="T55" fmla="*/ 297 h 595"/>
                <a:gd name="T56" fmla="*/ 593 w 595"/>
                <a:gd name="T57" fmla="*/ 297 h 595"/>
                <a:gd name="T58" fmla="*/ 595 w 595"/>
                <a:gd name="T59" fmla="*/ 297 h 595"/>
                <a:gd name="T60" fmla="*/ 595 w 595"/>
                <a:gd name="T61" fmla="*/ 297 h 595"/>
                <a:gd name="T62" fmla="*/ 594 w 595"/>
                <a:gd name="T63" fmla="*/ 280 h 595"/>
                <a:gd name="T64" fmla="*/ 0 w 595"/>
                <a:gd name="T65" fmla="*/ 279 h 595"/>
                <a:gd name="T66" fmla="*/ 0 w 595"/>
                <a:gd name="T67" fmla="*/ 297 h 595"/>
                <a:gd name="T68" fmla="*/ 1 w 595"/>
                <a:gd name="T69" fmla="*/ 318 h 595"/>
                <a:gd name="T70" fmla="*/ 4 w 595"/>
                <a:gd name="T71" fmla="*/ 317 h 595"/>
                <a:gd name="T72" fmla="*/ 4 w 595"/>
                <a:gd name="T73" fmla="*/ 297 h 595"/>
                <a:gd name="T74" fmla="*/ 4 w 595"/>
                <a:gd name="T75" fmla="*/ 281 h 595"/>
                <a:gd name="T76" fmla="*/ 0 w 595"/>
                <a:gd name="T77" fmla="*/ 279 h 595"/>
                <a:gd name="T78" fmla="*/ 322 w 595"/>
                <a:gd name="T79" fmla="*/ 1 h 595"/>
                <a:gd name="T80" fmla="*/ 320 w 595"/>
                <a:gd name="T81" fmla="*/ 5 h 595"/>
                <a:gd name="T82" fmla="*/ 505 w 595"/>
                <a:gd name="T83" fmla="*/ 90 h 595"/>
                <a:gd name="T84" fmla="*/ 590 w 595"/>
                <a:gd name="T85" fmla="*/ 278 h 595"/>
                <a:gd name="T86" fmla="*/ 594 w 595"/>
                <a:gd name="T87" fmla="*/ 276 h 595"/>
                <a:gd name="T88" fmla="*/ 322 w 595"/>
                <a:gd name="T89" fmla="*/ 1 h 595"/>
                <a:gd name="T90" fmla="*/ 275 w 595"/>
                <a:gd name="T91" fmla="*/ 1 h 595"/>
                <a:gd name="T92" fmla="*/ 1 w 595"/>
                <a:gd name="T93" fmla="*/ 275 h 595"/>
                <a:gd name="T94" fmla="*/ 5 w 595"/>
                <a:gd name="T95" fmla="*/ 277 h 595"/>
                <a:gd name="T96" fmla="*/ 90 w 595"/>
                <a:gd name="T97" fmla="*/ 90 h 595"/>
                <a:gd name="T98" fmla="*/ 277 w 595"/>
                <a:gd name="T99" fmla="*/ 4 h 595"/>
                <a:gd name="T100" fmla="*/ 275 w 595"/>
                <a:gd name="T101" fmla="*/ 1 h 595"/>
                <a:gd name="T102" fmla="*/ 297 w 595"/>
                <a:gd name="T103" fmla="*/ 0 h 595"/>
                <a:gd name="T104" fmla="*/ 279 w 595"/>
                <a:gd name="T105" fmla="*/ 0 h 595"/>
                <a:gd name="T106" fmla="*/ 281 w 595"/>
                <a:gd name="T107" fmla="*/ 4 h 595"/>
                <a:gd name="T108" fmla="*/ 297 w 595"/>
                <a:gd name="T109" fmla="*/ 4 h 595"/>
                <a:gd name="T110" fmla="*/ 315 w 595"/>
                <a:gd name="T111" fmla="*/ 4 h 595"/>
                <a:gd name="T112" fmla="*/ 317 w 595"/>
                <a:gd name="T113" fmla="*/ 0 h 595"/>
                <a:gd name="T114" fmla="*/ 297 w 595"/>
                <a:gd name="T115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5" h="595">
                  <a:moveTo>
                    <a:pt x="314" y="590"/>
                  </a:moveTo>
                  <a:cubicBezTo>
                    <a:pt x="309" y="591"/>
                    <a:pt x="303" y="591"/>
                    <a:pt x="297" y="591"/>
                  </a:cubicBezTo>
                  <a:cubicBezTo>
                    <a:pt x="292" y="591"/>
                    <a:pt x="287" y="591"/>
                    <a:pt x="282" y="590"/>
                  </a:cubicBezTo>
                  <a:cubicBezTo>
                    <a:pt x="282" y="592"/>
                    <a:pt x="281" y="593"/>
                    <a:pt x="281" y="594"/>
                  </a:cubicBezTo>
                  <a:cubicBezTo>
                    <a:pt x="286" y="595"/>
                    <a:pt x="292" y="595"/>
                    <a:pt x="297" y="595"/>
                  </a:cubicBezTo>
                  <a:cubicBezTo>
                    <a:pt x="304" y="595"/>
                    <a:pt x="310" y="595"/>
                    <a:pt x="316" y="594"/>
                  </a:cubicBezTo>
                  <a:cubicBezTo>
                    <a:pt x="315" y="593"/>
                    <a:pt x="315" y="592"/>
                    <a:pt x="314" y="590"/>
                  </a:cubicBezTo>
                  <a:moveTo>
                    <a:pt x="5" y="321"/>
                  </a:moveTo>
                  <a:cubicBezTo>
                    <a:pt x="3" y="321"/>
                    <a:pt x="2" y="322"/>
                    <a:pt x="1" y="323"/>
                  </a:cubicBezTo>
                  <a:cubicBezTo>
                    <a:pt x="13" y="468"/>
                    <a:pt x="130" y="584"/>
                    <a:pt x="276" y="594"/>
                  </a:cubicBezTo>
                  <a:cubicBezTo>
                    <a:pt x="277" y="593"/>
                    <a:pt x="277" y="592"/>
                    <a:pt x="278" y="590"/>
                  </a:cubicBezTo>
                  <a:cubicBezTo>
                    <a:pt x="205" y="585"/>
                    <a:pt x="139" y="554"/>
                    <a:pt x="90" y="505"/>
                  </a:cubicBezTo>
                  <a:cubicBezTo>
                    <a:pt x="42" y="457"/>
                    <a:pt x="10" y="393"/>
                    <a:pt x="5" y="321"/>
                  </a:cubicBezTo>
                  <a:moveTo>
                    <a:pt x="590" y="320"/>
                  </a:moveTo>
                  <a:cubicBezTo>
                    <a:pt x="585" y="392"/>
                    <a:pt x="553" y="457"/>
                    <a:pt x="505" y="505"/>
                  </a:cubicBezTo>
                  <a:cubicBezTo>
                    <a:pt x="456" y="553"/>
                    <a:pt x="391" y="585"/>
                    <a:pt x="318" y="590"/>
                  </a:cubicBezTo>
                  <a:cubicBezTo>
                    <a:pt x="319" y="591"/>
                    <a:pt x="319" y="593"/>
                    <a:pt x="320" y="594"/>
                  </a:cubicBezTo>
                  <a:cubicBezTo>
                    <a:pt x="466" y="583"/>
                    <a:pt x="582" y="467"/>
                    <a:pt x="594" y="322"/>
                  </a:cubicBezTo>
                  <a:cubicBezTo>
                    <a:pt x="593" y="321"/>
                    <a:pt x="591" y="321"/>
                    <a:pt x="590" y="320"/>
                  </a:cubicBezTo>
                  <a:moveTo>
                    <a:pt x="595" y="297"/>
                  </a:moveTo>
                  <a:cubicBezTo>
                    <a:pt x="593" y="297"/>
                    <a:pt x="593" y="297"/>
                    <a:pt x="593" y="297"/>
                  </a:cubicBezTo>
                  <a:cubicBezTo>
                    <a:pt x="591" y="297"/>
                    <a:pt x="591" y="297"/>
                    <a:pt x="591" y="297"/>
                  </a:cubicBezTo>
                  <a:cubicBezTo>
                    <a:pt x="591" y="304"/>
                    <a:pt x="591" y="310"/>
                    <a:pt x="590" y="316"/>
                  </a:cubicBezTo>
                  <a:cubicBezTo>
                    <a:pt x="592" y="317"/>
                    <a:pt x="593" y="317"/>
                    <a:pt x="594" y="318"/>
                  </a:cubicBezTo>
                  <a:cubicBezTo>
                    <a:pt x="595" y="311"/>
                    <a:pt x="595" y="304"/>
                    <a:pt x="595" y="297"/>
                  </a:cubicBezTo>
                  <a:moveTo>
                    <a:pt x="594" y="280"/>
                  </a:moveTo>
                  <a:cubicBezTo>
                    <a:pt x="593" y="281"/>
                    <a:pt x="592" y="281"/>
                    <a:pt x="591" y="282"/>
                  </a:cubicBezTo>
                  <a:cubicBezTo>
                    <a:pt x="591" y="287"/>
                    <a:pt x="591" y="292"/>
                    <a:pt x="591" y="297"/>
                  </a:cubicBezTo>
                  <a:cubicBezTo>
                    <a:pt x="593" y="297"/>
                    <a:pt x="593" y="297"/>
                    <a:pt x="59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91"/>
                    <a:pt x="595" y="286"/>
                    <a:pt x="594" y="280"/>
                  </a:cubicBezTo>
                  <a:moveTo>
                    <a:pt x="0" y="279"/>
                  </a:moveTo>
                  <a:cubicBezTo>
                    <a:pt x="0" y="285"/>
                    <a:pt x="0" y="291"/>
                    <a:pt x="0" y="297"/>
                  </a:cubicBezTo>
                  <a:cubicBezTo>
                    <a:pt x="0" y="304"/>
                    <a:pt x="0" y="311"/>
                    <a:pt x="1" y="318"/>
                  </a:cubicBezTo>
                  <a:cubicBezTo>
                    <a:pt x="2" y="318"/>
                    <a:pt x="3" y="317"/>
                    <a:pt x="4" y="317"/>
                  </a:cubicBezTo>
                  <a:cubicBezTo>
                    <a:pt x="4" y="310"/>
                    <a:pt x="4" y="304"/>
                    <a:pt x="4" y="297"/>
                  </a:cubicBezTo>
                  <a:cubicBezTo>
                    <a:pt x="4" y="292"/>
                    <a:pt x="4" y="286"/>
                    <a:pt x="4" y="281"/>
                  </a:cubicBezTo>
                  <a:cubicBezTo>
                    <a:pt x="3" y="281"/>
                    <a:pt x="2" y="280"/>
                    <a:pt x="0" y="279"/>
                  </a:cubicBezTo>
                  <a:moveTo>
                    <a:pt x="322" y="1"/>
                  </a:moveTo>
                  <a:cubicBezTo>
                    <a:pt x="321" y="2"/>
                    <a:pt x="320" y="3"/>
                    <a:pt x="320" y="5"/>
                  </a:cubicBezTo>
                  <a:cubicBezTo>
                    <a:pt x="392" y="10"/>
                    <a:pt x="457" y="41"/>
                    <a:pt x="505" y="90"/>
                  </a:cubicBezTo>
                  <a:cubicBezTo>
                    <a:pt x="554" y="138"/>
                    <a:pt x="585" y="204"/>
                    <a:pt x="590" y="278"/>
                  </a:cubicBezTo>
                  <a:cubicBezTo>
                    <a:pt x="592" y="277"/>
                    <a:pt x="593" y="276"/>
                    <a:pt x="594" y="276"/>
                  </a:cubicBezTo>
                  <a:cubicBezTo>
                    <a:pt x="584" y="129"/>
                    <a:pt x="468" y="12"/>
                    <a:pt x="322" y="1"/>
                  </a:cubicBezTo>
                  <a:moveTo>
                    <a:pt x="275" y="1"/>
                  </a:moveTo>
                  <a:cubicBezTo>
                    <a:pt x="128" y="12"/>
                    <a:pt x="11" y="129"/>
                    <a:pt x="1" y="275"/>
                  </a:cubicBezTo>
                  <a:cubicBezTo>
                    <a:pt x="2" y="276"/>
                    <a:pt x="3" y="276"/>
                    <a:pt x="5" y="277"/>
                  </a:cubicBezTo>
                  <a:cubicBezTo>
                    <a:pt x="10" y="204"/>
                    <a:pt x="41" y="138"/>
                    <a:pt x="90" y="90"/>
                  </a:cubicBezTo>
                  <a:cubicBezTo>
                    <a:pt x="138" y="41"/>
                    <a:pt x="204" y="9"/>
                    <a:pt x="277" y="4"/>
                  </a:cubicBezTo>
                  <a:cubicBezTo>
                    <a:pt x="276" y="3"/>
                    <a:pt x="275" y="2"/>
                    <a:pt x="275" y="1"/>
                  </a:cubicBezTo>
                  <a:moveTo>
                    <a:pt x="297" y="0"/>
                  </a:moveTo>
                  <a:cubicBezTo>
                    <a:pt x="291" y="0"/>
                    <a:pt x="285" y="0"/>
                    <a:pt x="279" y="0"/>
                  </a:cubicBezTo>
                  <a:cubicBezTo>
                    <a:pt x="280" y="2"/>
                    <a:pt x="280" y="3"/>
                    <a:pt x="281" y="4"/>
                  </a:cubicBezTo>
                  <a:cubicBezTo>
                    <a:pt x="286" y="4"/>
                    <a:pt x="292" y="4"/>
                    <a:pt x="297" y="4"/>
                  </a:cubicBezTo>
                  <a:cubicBezTo>
                    <a:pt x="303" y="4"/>
                    <a:pt x="310" y="4"/>
                    <a:pt x="315" y="4"/>
                  </a:cubicBezTo>
                  <a:cubicBezTo>
                    <a:pt x="316" y="3"/>
                    <a:pt x="317" y="2"/>
                    <a:pt x="317" y="0"/>
                  </a:cubicBezTo>
                  <a:cubicBezTo>
                    <a:pt x="311" y="0"/>
                    <a:pt x="304" y="0"/>
                    <a:pt x="297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C4F79A6-0476-4D6E-B568-07B743B3B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7025" y="554038"/>
              <a:ext cx="149225" cy="149225"/>
            </a:xfrm>
            <a:custGeom>
              <a:avLst/>
              <a:gdLst>
                <a:gd name="T0" fmla="*/ 1 w 281"/>
                <a:gd name="T1" fmla="*/ 275 h 281"/>
                <a:gd name="T2" fmla="*/ 0 w 281"/>
                <a:gd name="T3" fmla="*/ 279 h 281"/>
                <a:gd name="T4" fmla="*/ 4 w 281"/>
                <a:gd name="T5" fmla="*/ 281 h 281"/>
                <a:gd name="T6" fmla="*/ 5 w 281"/>
                <a:gd name="T7" fmla="*/ 277 h 281"/>
                <a:gd name="T8" fmla="*/ 1 w 281"/>
                <a:gd name="T9" fmla="*/ 275 h 281"/>
                <a:gd name="T10" fmla="*/ 279 w 281"/>
                <a:gd name="T11" fmla="*/ 0 h 281"/>
                <a:gd name="T12" fmla="*/ 275 w 281"/>
                <a:gd name="T13" fmla="*/ 1 h 281"/>
                <a:gd name="T14" fmla="*/ 277 w 281"/>
                <a:gd name="T15" fmla="*/ 4 h 281"/>
                <a:gd name="T16" fmla="*/ 281 w 281"/>
                <a:gd name="T17" fmla="*/ 4 h 281"/>
                <a:gd name="T18" fmla="*/ 279 w 281"/>
                <a:gd name="T1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1">
                  <a:moveTo>
                    <a:pt x="1" y="275"/>
                  </a:moveTo>
                  <a:cubicBezTo>
                    <a:pt x="1" y="277"/>
                    <a:pt x="0" y="278"/>
                    <a:pt x="0" y="279"/>
                  </a:cubicBezTo>
                  <a:cubicBezTo>
                    <a:pt x="2" y="280"/>
                    <a:pt x="3" y="281"/>
                    <a:pt x="4" y="281"/>
                  </a:cubicBezTo>
                  <a:cubicBezTo>
                    <a:pt x="4" y="280"/>
                    <a:pt x="4" y="278"/>
                    <a:pt x="5" y="277"/>
                  </a:cubicBezTo>
                  <a:cubicBezTo>
                    <a:pt x="3" y="276"/>
                    <a:pt x="2" y="276"/>
                    <a:pt x="1" y="275"/>
                  </a:cubicBezTo>
                  <a:moveTo>
                    <a:pt x="279" y="0"/>
                  </a:moveTo>
                  <a:cubicBezTo>
                    <a:pt x="278" y="0"/>
                    <a:pt x="276" y="0"/>
                    <a:pt x="275" y="1"/>
                  </a:cubicBezTo>
                  <a:cubicBezTo>
                    <a:pt x="275" y="2"/>
                    <a:pt x="276" y="3"/>
                    <a:pt x="277" y="4"/>
                  </a:cubicBezTo>
                  <a:cubicBezTo>
                    <a:pt x="278" y="4"/>
                    <a:pt x="279" y="4"/>
                    <a:pt x="281" y="4"/>
                  </a:cubicBezTo>
                  <a:cubicBezTo>
                    <a:pt x="280" y="3"/>
                    <a:pt x="280" y="2"/>
                    <a:pt x="279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4CE850D2-11F6-42CB-95BD-C27D13F92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488951"/>
              <a:ext cx="223838" cy="223838"/>
            </a:xfrm>
            <a:custGeom>
              <a:avLst/>
              <a:gdLst>
                <a:gd name="T0" fmla="*/ 292 w 420"/>
                <a:gd name="T1" fmla="*/ 399 h 420"/>
                <a:gd name="T2" fmla="*/ 210 w 420"/>
                <a:gd name="T3" fmla="*/ 416 h 420"/>
                <a:gd name="T4" fmla="*/ 209 w 420"/>
                <a:gd name="T5" fmla="*/ 416 h 420"/>
                <a:gd name="T6" fmla="*/ 209 w 420"/>
                <a:gd name="T7" fmla="*/ 420 h 420"/>
                <a:gd name="T8" fmla="*/ 210 w 420"/>
                <a:gd name="T9" fmla="*/ 420 h 420"/>
                <a:gd name="T10" fmla="*/ 293 w 420"/>
                <a:gd name="T11" fmla="*/ 403 h 420"/>
                <a:gd name="T12" fmla="*/ 292 w 420"/>
                <a:gd name="T13" fmla="*/ 399 h 420"/>
                <a:gd name="T14" fmla="*/ 0 w 420"/>
                <a:gd name="T15" fmla="*/ 216 h 420"/>
                <a:gd name="T16" fmla="*/ 0 w 420"/>
                <a:gd name="T17" fmla="*/ 222 h 420"/>
                <a:gd name="T18" fmla="*/ 205 w 420"/>
                <a:gd name="T19" fmla="*/ 420 h 420"/>
                <a:gd name="T20" fmla="*/ 205 w 420"/>
                <a:gd name="T21" fmla="*/ 416 h 420"/>
                <a:gd name="T22" fmla="*/ 64 w 420"/>
                <a:gd name="T23" fmla="*/ 355 h 420"/>
                <a:gd name="T24" fmla="*/ 4 w 420"/>
                <a:gd name="T25" fmla="*/ 216 h 420"/>
                <a:gd name="T26" fmla="*/ 0 w 420"/>
                <a:gd name="T27" fmla="*/ 216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56 w 420"/>
                <a:gd name="T35" fmla="*/ 355 h 420"/>
                <a:gd name="T36" fmla="*/ 296 w 420"/>
                <a:gd name="T37" fmla="*/ 397 h 420"/>
                <a:gd name="T38" fmla="*/ 296 w 420"/>
                <a:gd name="T39" fmla="*/ 401 h 420"/>
                <a:gd name="T40" fmla="*/ 420 w 420"/>
                <a:gd name="T41" fmla="*/ 210 h 420"/>
                <a:gd name="T42" fmla="*/ 17 w 420"/>
                <a:gd name="T43" fmla="*/ 125 h 420"/>
                <a:gd name="T44" fmla="*/ 0 w 420"/>
                <a:gd name="T45" fmla="*/ 197 h 420"/>
                <a:gd name="T46" fmla="*/ 1 w 420"/>
                <a:gd name="T47" fmla="*/ 210 h 420"/>
                <a:gd name="T48" fmla="*/ 1 w 420"/>
                <a:gd name="T49" fmla="*/ 210 h 420"/>
                <a:gd name="T50" fmla="*/ 1 w 420"/>
                <a:gd name="T51" fmla="*/ 210 h 420"/>
                <a:gd name="T52" fmla="*/ 1 w 420"/>
                <a:gd name="T53" fmla="*/ 212 h 420"/>
                <a:gd name="T54" fmla="*/ 4 w 420"/>
                <a:gd name="T55" fmla="*/ 212 h 420"/>
                <a:gd name="T56" fmla="*/ 4 w 420"/>
                <a:gd name="T57" fmla="*/ 210 h 420"/>
                <a:gd name="T58" fmla="*/ 22 w 420"/>
                <a:gd name="T59" fmla="*/ 126 h 420"/>
                <a:gd name="T60" fmla="*/ 17 w 420"/>
                <a:gd name="T61" fmla="*/ 125 h 420"/>
                <a:gd name="T62" fmla="*/ 210 w 420"/>
                <a:gd name="T63" fmla="*/ 0 h 420"/>
                <a:gd name="T64" fmla="*/ 19 w 420"/>
                <a:gd name="T65" fmla="*/ 121 h 420"/>
                <a:gd name="T66" fmla="*/ 24 w 420"/>
                <a:gd name="T67" fmla="*/ 122 h 420"/>
                <a:gd name="T68" fmla="*/ 64 w 420"/>
                <a:gd name="T69" fmla="*/ 64 h 420"/>
                <a:gd name="T70" fmla="*/ 210 w 420"/>
                <a:gd name="T71" fmla="*/ 4 h 420"/>
                <a:gd name="T72" fmla="*/ 356 w 420"/>
                <a:gd name="T73" fmla="*/ 64 h 420"/>
                <a:gd name="T74" fmla="*/ 416 w 420"/>
                <a:gd name="T75" fmla="*/ 210 h 420"/>
                <a:gd name="T76" fmla="*/ 418 w 420"/>
                <a:gd name="T77" fmla="*/ 210 h 420"/>
                <a:gd name="T78" fmla="*/ 420 w 420"/>
                <a:gd name="T79" fmla="*/ 210 h 420"/>
                <a:gd name="T80" fmla="*/ 420 w 420"/>
                <a:gd name="T81" fmla="*/ 210 h 420"/>
                <a:gd name="T82" fmla="*/ 390 w 420"/>
                <a:gd name="T83" fmla="*/ 101 h 420"/>
                <a:gd name="T84" fmla="*/ 356 w 420"/>
                <a:gd name="T85" fmla="*/ 63 h 420"/>
                <a:gd name="T86" fmla="*/ 318 w 420"/>
                <a:gd name="T87" fmla="*/ 30 h 420"/>
                <a:gd name="T88" fmla="*/ 210 w 420"/>
                <a:gd name="T89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0" h="420">
                  <a:moveTo>
                    <a:pt x="292" y="399"/>
                  </a:moveTo>
                  <a:cubicBezTo>
                    <a:pt x="267" y="410"/>
                    <a:pt x="239" y="416"/>
                    <a:pt x="210" y="416"/>
                  </a:cubicBezTo>
                  <a:cubicBezTo>
                    <a:pt x="209" y="416"/>
                    <a:pt x="209" y="416"/>
                    <a:pt x="209" y="416"/>
                  </a:cubicBezTo>
                  <a:cubicBezTo>
                    <a:pt x="209" y="417"/>
                    <a:pt x="209" y="418"/>
                    <a:pt x="209" y="420"/>
                  </a:cubicBezTo>
                  <a:cubicBezTo>
                    <a:pt x="209" y="420"/>
                    <a:pt x="210" y="420"/>
                    <a:pt x="210" y="420"/>
                  </a:cubicBezTo>
                  <a:cubicBezTo>
                    <a:pt x="239" y="420"/>
                    <a:pt x="267" y="414"/>
                    <a:pt x="293" y="403"/>
                  </a:cubicBezTo>
                  <a:cubicBezTo>
                    <a:pt x="293" y="401"/>
                    <a:pt x="292" y="400"/>
                    <a:pt x="292" y="399"/>
                  </a:cubicBezTo>
                  <a:moveTo>
                    <a:pt x="0" y="216"/>
                  </a:moveTo>
                  <a:cubicBezTo>
                    <a:pt x="0" y="218"/>
                    <a:pt x="0" y="220"/>
                    <a:pt x="0" y="222"/>
                  </a:cubicBezTo>
                  <a:cubicBezTo>
                    <a:pt x="6" y="331"/>
                    <a:pt x="95" y="417"/>
                    <a:pt x="205" y="420"/>
                  </a:cubicBezTo>
                  <a:cubicBezTo>
                    <a:pt x="205" y="418"/>
                    <a:pt x="205" y="417"/>
                    <a:pt x="205" y="416"/>
                  </a:cubicBezTo>
                  <a:cubicBezTo>
                    <a:pt x="150" y="414"/>
                    <a:pt x="100" y="391"/>
                    <a:pt x="64" y="355"/>
                  </a:cubicBezTo>
                  <a:cubicBezTo>
                    <a:pt x="28" y="319"/>
                    <a:pt x="6" y="270"/>
                    <a:pt x="4" y="216"/>
                  </a:cubicBezTo>
                  <a:cubicBezTo>
                    <a:pt x="3" y="216"/>
                    <a:pt x="2" y="216"/>
                    <a:pt x="0" y="216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7"/>
                    <a:pt x="393" y="318"/>
                    <a:pt x="356" y="355"/>
                  </a:cubicBezTo>
                  <a:cubicBezTo>
                    <a:pt x="339" y="372"/>
                    <a:pt x="318" y="387"/>
                    <a:pt x="296" y="397"/>
                  </a:cubicBezTo>
                  <a:cubicBezTo>
                    <a:pt x="296" y="398"/>
                    <a:pt x="296" y="400"/>
                    <a:pt x="296" y="401"/>
                  </a:cubicBezTo>
                  <a:cubicBezTo>
                    <a:pt x="369" y="368"/>
                    <a:pt x="420" y="295"/>
                    <a:pt x="420" y="210"/>
                  </a:cubicBezTo>
                  <a:moveTo>
                    <a:pt x="17" y="125"/>
                  </a:moveTo>
                  <a:cubicBezTo>
                    <a:pt x="8" y="147"/>
                    <a:pt x="2" y="172"/>
                    <a:pt x="0" y="197"/>
                  </a:cubicBezTo>
                  <a:cubicBezTo>
                    <a:pt x="0" y="201"/>
                    <a:pt x="1" y="205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" y="210"/>
                    <a:pt x="1" y="211"/>
                    <a:pt x="1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211"/>
                    <a:pt x="4" y="210"/>
                    <a:pt x="4" y="210"/>
                  </a:cubicBezTo>
                  <a:cubicBezTo>
                    <a:pt x="4" y="180"/>
                    <a:pt x="10" y="151"/>
                    <a:pt x="22" y="126"/>
                  </a:cubicBezTo>
                  <a:cubicBezTo>
                    <a:pt x="20" y="125"/>
                    <a:pt x="19" y="125"/>
                    <a:pt x="17" y="125"/>
                  </a:cubicBezTo>
                  <a:moveTo>
                    <a:pt x="210" y="0"/>
                  </a:moveTo>
                  <a:cubicBezTo>
                    <a:pt x="125" y="0"/>
                    <a:pt x="53" y="49"/>
                    <a:pt x="19" y="121"/>
                  </a:cubicBezTo>
                  <a:cubicBezTo>
                    <a:pt x="21" y="121"/>
                    <a:pt x="22" y="122"/>
                    <a:pt x="24" y="122"/>
                  </a:cubicBezTo>
                  <a:cubicBezTo>
                    <a:pt x="34" y="100"/>
                    <a:pt x="48" y="81"/>
                    <a:pt x="64" y="64"/>
                  </a:cubicBezTo>
                  <a:cubicBezTo>
                    <a:pt x="101" y="27"/>
                    <a:pt x="153" y="4"/>
                    <a:pt x="210" y="4"/>
                  </a:cubicBezTo>
                  <a:cubicBezTo>
                    <a:pt x="267" y="4"/>
                    <a:pt x="318" y="27"/>
                    <a:pt x="356" y="64"/>
                  </a:cubicBezTo>
                  <a:cubicBezTo>
                    <a:pt x="393" y="101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70"/>
                    <a:pt x="409" y="133"/>
                    <a:pt x="390" y="101"/>
                  </a:cubicBezTo>
                  <a:cubicBezTo>
                    <a:pt x="379" y="88"/>
                    <a:pt x="368" y="76"/>
                    <a:pt x="356" y="63"/>
                  </a:cubicBezTo>
                  <a:cubicBezTo>
                    <a:pt x="344" y="52"/>
                    <a:pt x="331" y="40"/>
                    <a:pt x="318" y="30"/>
                  </a:cubicBezTo>
                  <a:cubicBezTo>
                    <a:pt x="287" y="11"/>
                    <a:pt x="250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94053A02-7A06-4318-83DA-13F6DD13C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4050" y="504826"/>
              <a:ext cx="39688" cy="38100"/>
            </a:xfrm>
            <a:custGeom>
              <a:avLst/>
              <a:gdLst>
                <a:gd name="T0" fmla="*/ 0 w 72"/>
                <a:gd name="T1" fmla="*/ 0 h 71"/>
                <a:gd name="T2" fmla="*/ 38 w 72"/>
                <a:gd name="T3" fmla="*/ 33 h 71"/>
                <a:gd name="T4" fmla="*/ 72 w 72"/>
                <a:gd name="T5" fmla="*/ 71 h 71"/>
                <a:gd name="T6" fmla="*/ 0 w 72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1">
                  <a:moveTo>
                    <a:pt x="0" y="0"/>
                  </a:moveTo>
                  <a:cubicBezTo>
                    <a:pt x="13" y="10"/>
                    <a:pt x="26" y="22"/>
                    <a:pt x="38" y="33"/>
                  </a:cubicBezTo>
                  <a:cubicBezTo>
                    <a:pt x="50" y="46"/>
                    <a:pt x="61" y="58"/>
                    <a:pt x="72" y="71"/>
                  </a:cubicBezTo>
                  <a:cubicBezTo>
                    <a:pt x="54" y="42"/>
                    <a:pt x="30" y="17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0F6477DA-2EBE-41FE-9BA1-02CA19864C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593726"/>
              <a:ext cx="0" cy="14288"/>
            </a:xfrm>
            <a:custGeom>
              <a:avLst/>
              <a:gdLst>
                <a:gd name="T0" fmla="*/ 0 w 1"/>
                <a:gd name="T1" fmla="*/ 19 h 25"/>
                <a:gd name="T2" fmla="*/ 0 w 1"/>
                <a:gd name="T3" fmla="*/ 25 h 25"/>
                <a:gd name="T4" fmla="*/ 0 w 1"/>
                <a:gd name="T5" fmla="*/ 19 h 25"/>
                <a:gd name="T6" fmla="*/ 0 w 1"/>
                <a:gd name="T7" fmla="*/ 19 h 25"/>
                <a:gd name="T8" fmla="*/ 1 w 1"/>
                <a:gd name="T9" fmla="*/ 13 h 25"/>
                <a:gd name="T10" fmla="*/ 0 w 1"/>
                <a:gd name="T11" fmla="*/ 13 h 25"/>
                <a:gd name="T12" fmla="*/ 0 w 1"/>
                <a:gd name="T13" fmla="*/ 15 h 25"/>
                <a:gd name="T14" fmla="*/ 1 w 1"/>
                <a:gd name="T15" fmla="*/ 15 h 25"/>
                <a:gd name="T16" fmla="*/ 1 w 1"/>
                <a:gd name="T17" fmla="*/ 13 h 25"/>
                <a:gd name="T18" fmla="*/ 1 w 1"/>
                <a:gd name="T19" fmla="*/ 13 h 25"/>
                <a:gd name="T20" fmla="*/ 1 w 1"/>
                <a:gd name="T21" fmla="*/ 13 h 25"/>
                <a:gd name="T22" fmla="*/ 1 w 1"/>
                <a:gd name="T23" fmla="*/ 13 h 25"/>
                <a:gd name="T24" fmla="*/ 0 w 1"/>
                <a:gd name="T25" fmla="*/ 0 h 25"/>
                <a:gd name="T26" fmla="*/ 0 w 1"/>
                <a:gd name="T27" fmla="*/ 13 h 25"/>
                <a:gd name="T28" fmla="*/ 0 w 1"/>
                <a:gd name="T29" fmla="*/ 13 h 25"/>
                <a:gd name="T30" fmla="*/ 1 w 1"/>
                <a:gd name="T31" fmla="*/ 13 h 25"/>
                <a:gd name="T32" fmla="*/ 1 w 1"/>
                <a:gd name="T33" fmla="*/ 13 h 25"/>
                <a:gd name="T34" fmla="*/ 0 w 1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" h="25">
                  <a:moveTo>
                    <a:pt x="0" y="19"/>
                  </a:moveTo>
                  <a:cubicBezTo>
                    <a:pt x="0" y="21"/>
                    <a:pt x="0" y="23"/>
                    <a:pt x="0" y="25"/>
                  </a:cubicBezTo>
                  <a:cubicBezTo>
                    <a:pt x="0" y="23"/>
                    <a:pt x="0" y="21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moveTo>
                    <a:pt x="1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1" y="14"/>
                    <a:pt x="1" y="13"/>
                    <a:pt x="1" y="13"/>
                  </a:cubicBezTo>
                  <a:moveTo>
                    <a:pt x="1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moveTo>
                    <a:pt x="0" y="0"/>
                  </a:moveTo>
                  <a:cubicBezTo>
                    <a:pt x="0" y="4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8"/>
                    <a:pt x="0" y="4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D482B088-E48D-4C53-9FCA-85AA91337A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601663"/>
              <a:ext cx="111125" cy="111125"/>
            </a:xfrm>
            <a:custGeom>
              <a:avLst/>
              <a:gdLst>
                <a:gd name="T0" fmla="*/ 205 w 209"/>
                <a:gd name="T1" fmla="*/ 204 h 208"/>
                <a:gd name="T2" fmla="*/ 205 w 209"/>
                <a:gd name="T3" fmla="*/ 208 h 208"/>
                <a:gd name="T4" fmla="*/ 209 w 209"/>
                <a:gd name="T5" fmla="*/ 208 h 208"/>
                <a:gd name="T6" fmla="*/ 209 w 209"/>
                <a:gd name="T7" fmla="*/ 204 h 208"/>
                <a:gd name="T8" fmla="*/ 205 w 209"/>
                <a:gd name="T9" fmla="*/ 204 h 208"/>
                <a:gd name="T10" fmla="*/ 1 w 209"/>
                <a:gd name="T11" fmla="*/ 0 h 208"/>
                <a:gd name="T12" fmla="*/ 0 w 209"/>
                <a:gd name="T13" fmla="*/ 4 h 208"/>
                <a:gd name="T14" fmla="*/ 4 w 209"/>
                <a:gd name="T15" fmla="*/ 4 h 208"/>
                <a:gd name="T16" fmla="*/ 4 w 209"/>
                <a:gd name="T17" fmla="*/ 0 h 208"/>
                <a:gd name="T18" fmla="*/ 1 w 209"/>
                <a:gd name="T1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" h="208">
                  <a:moveTo>
                    <a:pt x="205" y="204"/>
                  </a:moveTo>
                  <a:cubicBezTo>
                    <a:pt x="205" y="205"/>
                    <a:pt x="205" y="206"/>
                    <a:pt x="205" y="208"/>
                  </a:cubicBezTo>
                  <a:cubicBezTo>
                    <a:pt x="206" y="208"/>
                    <a:pt x="207" y="208"/>
                    <a:pt x="209" y="208"/>
                  </a:cubicBezTo>
                  <a:cubicBezTo>
                    <a:pt x="209" y="206"/>
                    <a:pt x="209" y="205"/>
                    <a:pt x="209" y="204"/>
                  </a:cubicBezTo>
                  <a:cubicBezTo>
                    <a:pt x="207" y="204"/>
                    <a:pt x="206" y="204"/>
                    <a:pt x="205" y="204"/>
                  </a:cubicBezTo>
                  <a:moveTo>
                    <a:pt x="1" y="0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601B1916-82BE-4870-98B0-2C5B8DB08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601663"/>
              <a:ext cx="0" cy="3175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4 h 4"/>
                <a:gd name="T4" fmla="*/ 0 w 1"/>
                <a:gd name="T5" fmla="*/ 4 h 4"/>
                <a:gd name="T6" fmla="*/ 1 w 1"/>
                <a:gd name="T7" fmla="*/ 0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CB133977-F833-41CC-AAAD-75430C095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5300" y="554038"/>
              <a:ext cx="147638" cy="150813"/>
            </a:xfrm>
            <a:custGeom>
              <a:avLst/>
              <a:gdLst>
                <a:gd name="T0" fmla="*/ 279 w 279"/>
                <a:gd name="T1" fmla="*/ 276 h 282"/>
                <a:gd name="T2" fmla="*/ 275 w 279"/>
                <a:gd name="T3" fmla="*/ 278 h 282"/>
                <a:gd name="T4" fmla="*/ 276 w 279"/>
                <a:gd name="T5" fmla="*/ 282 h 282"/>
                <a:gd name="T6" fmla="*/ 279 w 279"/>
                <a:gd name="T7" fmla="*/ 280 h 282"/>
                <a:gd name="T8" fmla="*/ 279 w 279"/>
                <a:gd name="T9" fmla="*/ 276 h 282"/>
                <a:gd name="T10" fmla="*/ 2 w 279"/>
                <a:gd name="T11" fmla="*/ 0 h 282"/>
                <a:gd name="T12" fmla="*/ 0 w 279"/>
                <a:gd name="T13" fmla="*/ 4 h 282"/>
                <a:gd name="T14" fmla="*/ 5 w 279"/>
                <a:gd name="T15" fmla="*/ 5 h 282"/>
                <a:gd name="T16" fmla="*/ 7 w 279"/>
                <a:gd name="T17" fmla="*/ 1 h 282"/>
                <a:gd name="T18" fmla="*/ 2 w 279"/>
                <a:gd name="T1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" h="282">
                  <a:moveTo>
                    <a:pt x="279" y="276"/>
                  </a:moveTo>
                  <a:cubicBezTo>
                    <a:pt x="278" y="276"/>
                    <a:pt x="277" y="277"/>
                    <a:pt x="275" y="278"/>
                  </a:cubicBezTo>
                  <a:cubicBezTo>
                    <a:pt x="275" y="279"/>
                    <a:pt x="276" y="280"/>
                    <a:pt x="276" y="282"/>
                  </a:cubicBezTo>
                  <a:cubicBezTo>
                    <a:pt x="277" y="281"/>
                    <a:pt x="278" y="281"/>
                    <a:pt x="279" y="280"/>
                  </a:cubicBezTo>
                  <a:cubicBezTo>
                    <a:pt x="279" y="279"/>
                    <a:pt x="279" y="277"/>
                    <a:pt x="279" y="276"/>
                  </a:cubicBezTo>
                  <a:moveTo>
                    <a:pt x="2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2" y="4"/>
                    <a:pt x="3" y="4"/>
                    <a:pt x="5" y="5"/>
                  </a:cubicBezTo>
                  <a:cubicBezTo>
                    <a:pt x="5" y="3"/>
                    <a:pt x="6" y="2"/>
                    <a:pt x="7" y="1"/>
                  </a:cubicBezTo>
                  <a:cubicBezTo>
                    <a:pt x="5" y="1"/>
                    <a:pt x="4" y="0"/>
                    <a:pt x="2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E132A93B-C716-40DA-9F6D-D85264651D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938" y="712788"/>
              <a:ext cx="223838" cy="223838"/>
            </a:xfrm>
            <a:custGeom>
              <a:avLst/>
              <a:gdLst>
                <a:gd name="T0" fmla="*/ 417 w 420"/>
                <a:gd name="T1" fmla="*/ 212 h 420"/>
                <a:gd name="T2" fmla="*/ 400 w 420"/>
                <a:gd name="T3" fmla="*/ 291 h 420"/>
                <a:gd name="T4" fmla="*/ 404 w 420"/>
                <a:gd name="T5" fmla="*/ 291 h 420"/>
                <a:gd name="T6" fmla="*/ 420 w 420"/>
                <a:gd name="T7" fmla="*/ 223 h 420"/>
                <a:gd name="T8" fmla="*/ 420 w 420"/>
                <a:gd name="T9" fmla="*/ 212 h 420"/>
                <a:gd name="T10" fmla="*/ 419 w 420"/>
                <a:gd name="T11" fmla="*/ 212 h 420"/>
                <a:gd name="T12" fmla="*/ 417 w 420"/>
                <a:gd name="T13" fmla="*/ 212 h 420"/>
                <a:gd name="T14" fmla="*/ 123 w 420"/>
                <a:gd name="T15" fmla="*/ 19 h 420"/>
                <a:gd name="T16" fmla="*/ 0 w 420"/>
                <a:gd name="T17" fmla="*/ 210 h 420"/>
                <a:gd name="T18" fmla="*/ 32 w 420"/>
                <a:gd name="T19" fmla="*/ 322 h 420"/>
                <a:gd name="T20" fmla="*/ 63 w 420"/>
                <a:gd name="T21" fmla="*/ 356 h 420"/>
                <a:gd name="T22" fmla="*/ 100 w 420"/>
                <a:gd name="T23" fmla="*/ 389 h 420"/>
                <a:gd name="T24" fmla="*/ 210 w 420"/>
                <a:gd name="T25" fmla="*/ 420 h 420"/>
                <a:gd name="T26" fmla="*/ 403 w 420"/>
                <a:gd name="T27" fmla="*/ 295 h 420"/>
                <a:gd name="T28" fmla="*/ 398 w 420"/>
                <a:gd name="T29" fmla="*/ 295 h 420"/>
                <a:gd name="T30" fmla="*/ 356 w 420"/>
                <a:gd name="T31" fmla="*/ 356 h 420"/>
                <a:gd name="T32" fmla="*/ 210 w 420"/>
                <a:gd name="T33" fmla="*/ 416 h 420"/>
                <a:gd name="T34" fmla="*/ 65 w 420"/>
                <a:gd name="T35" fmla="*/ 356 h 420"/>
                <a:gd name="T36" fmla="*/ 4 w 420"/>
                <a:gd name="T37" fmla="*/ 210 h 420"/>
                <a:gd name="T38" fmla="*/ 65 w 420"/>
                <a:gd name="T39" fmla="*/ 64 h 420"/>
                <a:gd name="T40" fmla="*/ 123 w 420"/>
                <a:gd name="T41" fmla="*/ 24 h 420"/>
                <a:gd name="T42" fmla="*/ 123 w 420"/>
                <a:gd name="T43" fmla="*/ 19 h 420"/>
                <a:gd name="T44" fmla="*/ 213 w 420"/>
                <a:gd name="T45" fmla="*/ 0 h 420"/>
                <a:gd name="T46" fmla="*/ 213 w 420"/>
                <a:gd name="T47" fmla="*/ 2 h 420"/>
                <a:gd name="T48" fmla="*/ 213 w 420"/>
                <a:gd name="T49" fmla="*/ 4 h 420"/>
                <a:gd name="T50" fmla="*/ 356 w 420"/>
                <a:gd name="T51" fmla="*/ 64 h 420"/>
                <a:gd name="T52" fmla="*/ 417 w 420"/>
                <a:gd name="T53" fmla="*/ 208 h 420"/>
                <a:gd name="T54" fmla="*/ 419 w 420"/>
                <a:gd name="T55" fmla="*/ 208 h 420"/>
                <a:gd name="T56" fmla="*/ 420 w 420"/>
                <a:gd name="T57" fmla="*/ 208 h 420"/>
                <a:gd name="T58" fmla="*/ 420 w 420"/>
                <a:gd name="T59" fmla="*/ 198 h 420"/>
                <a:gd name="T60" fmla="*/ 213 w 420"/>
                <a:gd name="T61" fmla="*/ 0 h 420"/>
                <a:gd name="T62" fmla="*/ 209 w 420"/>
                <a:gd name="T63" fmla="*/ 0 h 420"/>
                <a:gd name="T64" fmla="*/ 126 w 420"/>
                <a:gd name="T65" fmla="*/ 18 h 420"/>
                <a:gd name="T66" fmla="*/ 127 w 420"/>
                <a:gd name="T67" fmla="*/ 22 h 420"/>
                <a:gd name="T68" fmla="*/ 209 w 420"/>
                <a:gd name="T69" fmla="*/ 4 h 420"/>
                <a:gd name="T70" fmla="*/ 209 w 420"/>
                <a:gd name="T71" fmla="*/ 2 h 420"/>
                <a:gd name="T72" fmla="*/ 209 w 420"/>
                <a:gd name="T73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0" h="420">
                  <a:moveTo>
                    <a:pt x="417" y="212"/>
                  </a:moveTo>
                  <a:cubicBezTo>
                    <a:pt x="416" y="240"/>
                    <a:pt x="410" y="267"/>
                    <a:pt x="400" y="291"/>
                  </a:cubicBezTo>
                  <a:cubicBezTo>
                    <a:pt x="401" y="291"/>
                    <a:pt x="403" y="291"/>
                    <a:pt x="404" y="291"/>
                  </a:cubicBezTo>
                  <a:cubicBezTo>
                    <a:pt x="413" y="270"/>
                    <a:pt x="419" y="247"/>
                    <a:pt x="420" y="223"/>
                  </a:cubicBezTo>
                  <a:cubicBezTo>
                    <a:pt x="420" y="219"/>
                    <a:pt x="420" y="216"/>
                    <a:pt x="420" y="212"/>
                  </a:cubicBezTo>
                  <a:cubicBezTo>
                    <a:pt x="419" y="212"/>
                    <a:pt x="419" y="212"/>
                    <a:pt x="419" y="212"/>
                  </a:cubicBezTo>
                  <a:cubicBezTo>
                    <a:pt x="418" y="212"/>
                    <a:pt x="417" y="212"/>
                    <a:pt x="417" y="212"/>
                  </a:cubicBezTo>
                  <a:moveTo>
                    <a:pt x="123" y="19"/>
                  </a:moveTo>
                  <a:cubicBezTo>
                    <a:pt x="50" y="53"/>
                    <a:pt x="0" y="126"/>
                    <a:pt x="0" y="210"/>
                  </a:cubicBezTo>
                  <a:cubicBezTo>
                    <a:pt x="0" y="251"/>
                    <a:pt x="12" y="289"/>
                    <a:pt x="32" y="322"/>
                  </a:cubicBezTo>
                  <a:cubicBezTo>
                    <a:pt x="42" y="333"/>
                    <a:pt x="53" y="345"/>
                    <a:pt x="63" y="356"/>
                  </a:cubicBezTo>
                  <a:cubicBezTo>
                    <a:pt x="75" y="367"/>
                    <a:pt x="87" y="379"/>
                    <a:pt x="100" y="389"/>
                  </a:cubicBezTo>
                  <a:cubicBezTo>
                    <a:pt x="132" y="409"/>
                    <a:pt x="170" y="420"/>
                    <a:pt x="210" y="420"/>
                  </a:cubicBezTo>
                  <a:cubicBezTo>
                    <a:pt x="296" y="420"/>
                    <a:pt x="370" y="369"/>
                    <a:pt x="403" y="295"/>
                  </a:cubicBezTo>
                  <a:cubicBezTo>
                    <a:pt x="401" y="295"/>
                    <a:pt x="400" y="295"/>
                    <a:pt x="398" y="295"/>
                  </a:cubicBezTo>
                  <a:cubicBezTo>
                    <a:pt x="388" y="318"/>
                    <a:pt x="374" y="338"/>
                    <a:pt x="356" y="356"/>
                  </a:cubicBezTo>
                  <a:cubicBezTo>
                    <a:pt x="319" y="393"/>
                    <a:pt x="267" y="416"/>
                    <a:pt x="210" y="416"/>
                  </a:cubicBezTo>
                  <a:cubicBezTo>
                    <a:pt x="154" y="416"/>
                    <a:pt x="102" y="393"/>
                    <a:pt x="65" y="356"/>
                  </a:cubicBezTo>
                  <a:cubicBezTo>
                    <a:pt x="27" y="319"/>
                    <a:pt x="4" y="267"/>
                    <a:pt x="4" y="210"/>
                  </a:cubicBezTo>
                  <a:cubicBezTo>
                    <a:pt x="4" y="153"/>
                    <a:pt x="27" y="102"/>
                    <a:pt x="65" y="64"/>
                  </a:cubicBezTo>
                  <a:cubicBezTo>
                    <a:pt x="82" y="48"/>
                    <a:pt x="101" y="34"/>
                    <a:pt x="123" y="24"/>
                  </a:cubicBezTo>
                  <a:cubicBezTo>
                    <a:pt x="123" y="22"/>
                    <a:pt x="123" y="21"/>
                    <a:pt x="123" y="19"/>
                  </a:cubicBezTo>
                  <a:moveTo>
                    <a:pt x="213" y="0"/>
                  </a:moveTo>
                  <a:cubicBezTo>
                    <a:pt x="213" y="1"/>
                    <a:pt x="213" y="1"/>
                    <a:pt x="213" y="2"/>
                  </a:cubicBezTo>
                  <a:cubicBezTo>
                    <a:pt x="213" y="3"/>
                    <a:pt x="213" y="3"/>
                    <a:pt x="213" y="4"/>
                  </a:cubicBezTo>
                  <a:cubicBezTo>
                    <a:pt x="269" y="5"/>
                    <a:pt x="319" y="28"/>
                    <a:pt x="356" y="64"/>
                  </a:cubicBezTo>
                  <a:cubicBezTo>
                    <a:pt x="393" y="101"/>
                    <a:pt x="416" y="152"/>
                    <a:pt x="417" y="208"/>
                  </a:cubicBezTo>
                  <a:cubicBezTo>
                    <a:pt x="417" y="208"/>
                    <a:pt x="418" y="208"/>
                    <a:pt x="419" y="208"/>
                  </a:cubicBezTo>
                  <a:cubicBezTo>
                    <a:pt x="419" y="208"/>
                    <a:pt x="419" y="208"/>
                    <a:pt x="420" y="208"/>
                  </a:cubicBezTo>
                  <a:cubicBezTo>
                    <a:pt x="420" y="205"/>
                    <a:pt x="420" y="201"/>
                    <a:pt x="420" y="198"/>
                  </a:cubicBezTo>
                  <a:cubicBezTo>
                    <a:pt x="414" y="88"/>
                    <a:pt x="324" y="1"/>
                    <a:pt x="213" y="0"/>
                  </a:cubicBezTo>
                  <a:moveTo>
                    <a:pt x="209" y="0"/>
                  </a:moveTo>
                  <a:cubicBezTo>
                    <a:pt x="179" y="0"/>
                    <a:pt x="152" y="7"/>
                    <a:pt x="126" y="18"/>
                  </a:cubicBezTo>
                  <a:cubicBezTo>
                    <a:pt x="127" y="19"/>
                    <a:pt x="127" y="20"/>
                    <a:pt x="127" y="22"/>
                  </a:cubicBezTo>
                  <a:cubicBezTo>
                    <a:pt x="152" y="11"/>
                    <a:pt x="179" y="4"/>
                    <a:pt x="209" y="4"/>
                  </a:cubicBezTo>
                  <a:cubicBezTo>
                    <a:pt x="209" y="3"/>
                    <a:pt x="209" y="3"/>
                    <a:pt x="209" y="2"/>
                  </a:cubicBezTo>
                  <a:cubicBezTo>
                    <a:pt x="209" y="1"/>
                    <a:pt x="209" y="1"/>
                    <a:pt x="209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DEAD947E-2E07-4F96-8201-9D7290DEE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884238"/>
              <a:ext cx="36513" cy="36513"/>
            </a:xfrm>
            <a:custGeom>
              <a:avLst/>
              <a:gdLst>
                <a:gd name="T0" fmla="*/ 0 w 68"/>
                <a:gd name="T1" fmla="*/ 0 h 67"/>
                <a:gd name="T2" fmla="*/ 68 w 68"/>
                <a:gd name="T3" fmla="*/ 67 h 67"/>
                <a:gd name="T4" fmla="*/ 31 w 68"/>
                <a:gd name="T5" fmla="*/ 34 h 67"/>
                <a:gd name="T6" fmla="*/ 0 w 68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67">
                  <a:moveTo>
                    <a:pt x="0" y="0"/>
                  </a:moveTo>
                  <a:cubicBezTo>
                    <a:pt x="18" y="27"/>
                    <a:pt x="41" y="50"/>
                    <a:pt x="68" y="67"/>
                  </a:cubicBezTo>
                  <a:cubicBezTo>
                    <a:pt x="55" y="57"/>
                    <a:pt x="43" y="45"/>
                    <a:pt x="31" y="34"/>
                  </a:cubicBezTo>
                  <a:cubicBezTo>
                    <a:pt x="21" y="23"/>
                    <a:pt x="10" y="11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A1467CE3-E7F9-4B7F-AB7A-244083A2A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3063" y="712788"/>
              <a:ext cx="112713" cy="114300"/>
            </a:xfrm>
            <a:custGeom>
              <a:avLst/>
              <a:gdLst>
                <a:gd name="T0" fmla="*/ 211 w 211"/>
                <a:gd name="T1" fmla="*/ 210 h 212"/>
                <a:gd name="T2" fmla="*/ 210 w 211"/>
                <a:gd name="T3" fmla="*/ 210 h 212"/>
                <a:gd name="T4" fmla="*/ 208 w 211"/>
                <a:gd name="T5" fmla="*/ 210 h 212"/>
                <a:gd name="T6" fmla="*/ 208 w 211"/>
                <a:gd name="T7" fmla="*/ 212 h 212"/>
                <a:gd name="T8" fmla="*/ 210 w 211"/>
                <a:gd name="T9" fmla="*/ 212 h 212"/>
                <a:gd name="T10" fmla="*/ 211 w 211"/>
                <a:gd name="T11" fmla="*/ 212 h 212"/>
                <a:gd name="T12" fmla="*/ 211 w 211"/>
                <a:gd name="T13" fmla="*/ 210 h 212"/>
                <a:gd name="T14" fmla="*/ 208 w 211"/>
                <a:gd name="T15" fmla="*/ 208 h 212"/>
                <a:gd name="T16" fmla="*/ 208 w 211"/>
                <a:gd name="T17" fmla="*/ 210 h 212"/>
                <a:gd name="T18" fmla="*/ 210 w 211"/>
                <a:gd name="T19" fmla="*/ 210 h 212"/>
                <a:gd name="T20" fmla="*/ 211 w 211"/>
                <a:gd name="T21" fmla="*/ 210 h 212"/>
                <a:gd name="T22" fmla="*/ 211 w 211"/>
                <a:gd name="T23" fmla="*/ 210 h 212"/>
                <a:gd name="T24" fmla="*/ 211 w 211"/>
                <a:gd name="T25" fmla="*/ 208 h 212"/>
                <a:gd name="T26" fmla="*/ 210 w 211"/>
                <a:gd name="T27" fmla="*/ 208 h 212"/>
                <a:gd name="T28" fmla="*/ 208 w 211"/>
                <a:gd name="T29" fmla="*/ 208 h 212"/>
                <a:gd name="T30" fmla="*/ 1 w 211"/>
                <a:gd name="T31" fmla="*/ 0 h 212"/>
                <a:gd name="T32" fmla="*/ 0 w 211"/>
                <a:gd name="T33" fmla="*/ 0 h 212"/>
                <a:gd name="T34" fmla="*/ 0 w 211"/>
                <a:gd name="T35" fmla="*/ 2 h 212"/>
                <a:gd name="T36" fmla="*/ 0 w 211"/>
                <a:gd name="T37" fmla="*/ 4 h 212"/>
                <a:gd name="T38" fmla="*/ 1 w 211"/>
                <a:gd name="T39" fmla="*/ 4 h 212"/>
                <a:gd name="T40" fmla="*/ 4 w 211"/>
                <a:gd name="T41" fmla="*/ 4 h 212"/>
                <a:gd name="T42" fmla="*/ 4 w 211"/>
                <a:gd name="T43" fmla="*/ 2 h 212"/>
                <a:gd name="T44" fmla="*/ 4 w 211"/>
                <a:gd name="T45" fmla="*/ 0 h 212"/>
                <a:gd name="T46" fmla="*/ 1 w 211"/>
                <a:gd name="T47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1" h="212">
                  <a:moveTo>
                    <a:pt x="211" y="210"/>
                  </a:moveTo>
                  <a:cubicBezTo>
                    <a:pt x="210" y="210"/>
                    <a:pt x="210" y="210"/>
                    <a:pt x="210" y="210"/>
                  </a:cubicBezTo>
                  <a:cubicBezTo>
                    <a:pt x="208" y="210"/>
                    <a:pt x="208" y="210"/>
                    <a:pt x="208" y="210"/>
                  </a:cubicBezTo>
                  <a:cubicBezTo>
                    <a:pt x="208" y="211"/>
                    <a:pt x="208" y="212"/>
                    <a:pt x="208" y="212"/>
                  </a:cubicBezTo>
                  <a:cubicBezTo>
                    <a:pt x="208" y="212"/>
                    <a:pt x="209" y="212"/>
                    <a:pt x="210" y="212"/>
                  </a:cubicBezTo>
                  <a:cubicBezTo>
                    <a:pt x="210" y="212"/>
                    <a:pt x="210" y="212"/>
                    <a:pt x="211" y="212"/>
                  </a:cubicBezTo>
                  <a:cubicBezTo>
                    <a:pt x="211" y="212"/>
                    <a:pt x="211" y="211"/>
                    <a:pt x="211" y="210"/>
                  </a:cubicBezTo>
                  <a:moveTo>
                    <a:pt x="208" y="208"/>
                  </a:moveTo>
                  <a:cubicBezTo>
                    <a:pt x="208" y="209"/>
                    <a:pt x="208" y="210"/>
                    <a:pt x="208" y="210"/>
                  </a:cubicBezTo>
                  <a:cubicBezTo>
                    <a:pt x="210" y="210"/>
                    <a:pt x="210" y="210"/>
                    <a:pt x="210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1" y="209"/>
                    <a:pt x="211" y="208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09" y="208"/>
                    <a:pt x="208" y="208"/>
                    <a:pt x="208" y="208"/>
                  </a:cubicBezTo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F9081E5B-D462-4E6F-B35F-033CEA6F00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7025" y="722313"/>
              <a:ext cx="149225" cy="147638"/>
            </a:xfrm>
            <a:custGeom>
              <a:avLst/>
              <a:gdLst>
                <a:gd name="T0" fmla="*/ 277 w 281"/>
                <a:gd name="T1" fmla="*/ 273 h 277"/>
                <a:gd name="T2" fmla="*/ 275 w 281"/>
                <a:gd name="T3" fmla="*/ 277 h 277"/>
                <a:gd name="T4" fmla="*/ 280 w 281"/>
                <a:gd name="T5" fmla="*/ 277 h 277"/>
                <a:gd name="T6" fmla="*/ 281 w 281"/>
                <a:gd name="T7" fmla="*/ 273 h 277"/>
                <a:gd name="T8" fmla="*/ 277 w 281"/>
                <a:gd name="T9" fmla="*/ 273 h 277"/>
                <a:gd name="T10" fmla="*/ 3 w 281"/>
                <a:gd name="T11" fmla="*/ 0 h 277"/>
                <a:gd name="T12" fmla="*/ 0 w 281"/>
                <a:gd name="T13" fmla="*/ 1 h 277"/>
                <a:gd name="T14" fmla="*/ 0 w 281"/>
                <a:gd name="T15" fmla="*/ 6 h 277"/>
                <a:gd name="T16" fmla="*/ 4 w 281"/>
                <a:gd name="T17" fmla="*/ 4 h 277"/>
                <a:gd name="T18" fmla="*/ 3 w 281"/>
                <a:gd name="T1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77">
                  <a:moveTo>
                    <a:pt x="277" y="273"/>
                  </a:moveTo>
                  <a:cubicBezTo>
                    <a:pt x="276" y="275"/>
                    <a:pt x="276" y="276"/>
                    <a:pt x="275" y="277"/>
                  </a:cubicBezTo>
                  <a:cubicBezTo>
                    <a:pt x="277" y="277"/>
                    <a:pt x="278" y="277"/>
                    <a:pt x="280" y="277"/>
                  </a:cubicBezTo>
                  <a:cubicBezTo>
                    <a:pt x="280" y="276"/>
                    <a:pt x="281" y="275"/>
                    <a:pt x="281" y="273"/>
                  </a:cubicBezTo>
                  <a:cubicBezTo>
                    <a:pt x="280" y="273"/>
                    <a:pt x="278" y="273"/>
                    <a:pt x="277" y="273"/>
                  </a:cubicBezTo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1" y="5"/>
                    <a:pt x="2" y="4"/>
                    <a:pt x="4" y="4"/>
                  </a:cubicBezTo>
                  <a:cubicBezTo>
                    <a:pt x="4" y="2"/>
                    <a:pt x="4" y="1"/>
                    <a:pt x="3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BAB0028F-7002-49A4-B58E-BE3CFFAD9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712788"/>
              <a:ext cx="223838" cy="223838"/>
            </a:xfrm>
            <a:custGeom>
              <a:avLst/>
              <a:gdLst>
                <a:gd name="T0" fmla="*/ 22 w 420"/>
                <a:gd name="T1" fmla="*/ 295 h 420"/>
                <a:gd name="T2" fmla="*/ 18 w 420"/>
                <a:gd name="T3" fmla="*/ 295 h 420"/>
                <a:gd name="T4" fmla="*/ 210 w 420"/>
                <a:gd name="T5" fmla="*/ 420 h 420"/>
                <a:gd name="T6" fmla="*/ 316 w 420"/>
                <a:gd name="T7" fmla="*/ 392 h 420"/>
                <a:gd name="T8" fmla="*/ 350 w 420"/>
                <a:gd name="T9" fmla="*/ 361 h 420"/>
                <a:gd name="T10" fmla="*/ 210 w 420"/>
                <a:gd name="T11" fmla="*/ 416 h 420"/>
                <a:gd name="T12" fmla="*/ 64 w 420"/>
                <a:gd name="T13" fmla="*/ 356 h 420"/>
                <a:gd name="T14" fmla="*/ 22 w 420"/>
                <a:gd name="T15" fmla="*/ 295 h 420"/>
                <a:gd name="T16" fmla="*/ 4 w 420"/>
                <a:gd name="T17" fmla="*/ 212 h 420"/>
                <a:gd name="T18" fmla="*/ 1 w 420"/>
                <a:gd name="T19" fmla="*/ 212 h 420"/>
                <a:gd name="T20" fmla="*/ 0 w 420"/>
                <a:gd name="T21" fmla="*/ 223 h 420"/>
                <a:gd name="T22" fmla="*/ 16 w 420"/>
                <a:gd name="T23" fmla="*/ 291 h 420"/>
                <a:gd name="T24" fmla="*/ 20 w 420"/>
                <a:gd name="T25" fmla="*/ 291 h 420"/>
                <a:gd name="T26" fmla="*/ 4 w 420"/>
                <a:gd name="T27" fmla="*/ 212 h 420"/>
                <a:gd name="T28" fmla="*/ 420 w 420"/>
                <a:gd name="T29" fmla="*/ 210 h 420"/>
                <a:gd name="T30" fmla="*/ 418 w 420"/>
                <a:gd name="T31" fmla="*/ 210 h 420"/>
                <a:gd name="T32" fmla="*/ 416 w 420"/>
                <a:gd name="T33" fmla="*/ 210 h 420"/>
                <a:gd name="T34" fmla="*/ 360 w 420"/>
                <a:gd name="T35" fmla="*/ 351 h 420"/>
                <a:gd name="T36" fmla="*/ 391 w 420"/>
                <a:gd name="T37" fmla="*/ 316 h 420"/>
                <a:gd name="T38" fmla="*/ 420 w 420"/>
                <a:gd name="T39" fmla="*/ 210 h 420"/>
                <a:gd name="T40" fmla="*/ 296 w 420"/>
                <a:gd name="T41" fmla="*/ 19 h 420"/>
                <a:gd name="T42" fmla="*/ 296 w 420"/>
                <a:gd name="T43" fmla="*/ 23 h 420"/>
                <a:gd name="T44" fmla="*/ 356 w 420"/>
                <a:gd name="T45" fmla="*/ 64 h 420"/>
                <a:gd name="T46" fmla="*/ 416 w 420"/>
                <a:gd name="T47" fmla="*/ 210 h 420"/>
                <a:gd name="T48" fmla="*/ 418 w 420"/>
                <a:gd name="T49" fmla="*/ 210 h 420"/>
                <a:gd name="T50" fmla="*/ 420 w 420"/>
                <a:gd name="T51" fmla="*/ 210 h 420"/>
                <a:gd name="T52" fmla="*/ 420 w 420"/>
                <a:gd name="T53" fmla="*/ 210 h 420"/>
                <a:gd name="T54" fmla="*/ 296 w 420"/>
                <a:gd name="T55" fmla="*/ 19 h 420"/>
                <a:gd name="T56" fmla="*/ 205 w 420"/>
                <a:gd name="T57" fmla="*/ 0 h 420"/>
                <a:gd name="T58" fmla="*/ 0 w 420"/>
                <a:gd name="T59" fmla="*/ 198 h 420"/>
                <a:gd name="T60" fmla="*/ 1 w 420"/>
                <a:gd name="T61" fmla="*/ 208 h 420"/>
                <a:gd name="T62" fmla="*/ 4 w 420"/>
                <a:gd name="T63" fmla="*/ 208 h 420"/>
                <a:gd name="T64" fmla="*/ 64 w 420"/>
                <a:gd name="T65" fmla="*/ 64 h 420"/>
                <a:gd name="T66" fmla="*/ 205 w 420"/>
                <a:gd name="T67" fmla="*/ 4 h 420"/>
                <a:gd name="T68" fmla="*/ 205 w 420"/>
                <a:gd name="T69" fmla="*/ 2 h 420"/>
                <a:gd name="T70" fmla="*/ 207 w 420"/>
                <a:gd name="T71" fmla="*/ 2 h 420"/>
                <a:gd name="T72" fmla="*/ 209 w 420"/>
                <a:gd name="T73" fmla="*/ 2 h 420"/>
                <a:gd name="T74" fmla="*/ 209 w 420"/>
                <a:gd name="T75" fmla="*/ 2 h 420"/>
                <a:gd name="T76" fmla="*/ 207 w 420"/>
                <a:gd name="T77" fmla="*/ 2 h 420"/>
                <a:gd name="T78" fmla="*/ 205 w 420"/>
                <a:gd name="T79" fmla="*/ 2 h 420"/>
                <a:gd name="T80" fmla="*/ 205 w 420"/>
                <a:gd name="T81" fmla="*/ 0 h 420"/>
                <a:gd name="T82" fmla="*/ 210 w 420"/>
                <a:gd name="T83" fmla="*/ 0 h 420"/>
                <a:gd name="T84" fmla="*/ 209 w 420"/>
                <a:gd name="T85" fmla="*/ 0 h 420"/>
                <a:gd name="T86" fmla="*/ 209 w 420"/>
                <a:gd name="T87" fmla="*/ 2 h 420"/>
                <a:gd name="T88" fmla="*/ 209 w 420"/>
                <a:gd name="T89" fmla="*/ 2 h 420"/>
                <a:gd name="T90" fmla="*/ 209 w 420"/>
                <a:gd name="T91" fmla="*/ 2 h 420"/>
                <a:gd name="T92" fmla="*/ 209 w 420"/>
                <a:gd name="T93" fmla="*/ 4 h 420"/>
                <a:gd name="T94" fmla="*/ 210 w 420"/>
                <a:gd name="T95" fmla="*/ 4 h 420"/>
                <a:gd name="T96" fmla="*/ 292 w 420"/>
                <a:gd name="T97" fmla="*/ 21 h 420"/>
                <a:gd name="T98" fmla="*/ 292 w 420"/>
                <a:gd name="T99" fmla="*/ 17 h 420"/>
                <a:gd name="T100" fmla="*/ 210 w 420"/>
                <a:gd name="T101" fmla="*/ 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0" h="420">
                  <a:moveTo>
                    <a:pt x="22" y="295"/>
                  </a:moveTo>
                  <a:cubicBezTo>
                    <a:pt x="21" y="295"/>
                    <a:pt x="19" y="295"/>
                    <a:pt x="18" y="295"/>
                  </a:cubicBezTo>
                  <a:cubicBezTo>
                    <a:pt x="50" y="369"/>
                    <a:pt x="124" y="420"/>
                    <a:pt x="210" y="420"/>
                  </a:cubicBezTo>
                  <a:cubicBezTo>
                    <a:pt x="248" y="420"/>
                    <a:pt x="285" y="410"/>
                    <a:pt x="316" y="392"/>
                  </a:cubicBezTo>
                  <a:cubicBezTo>
                    <a:pt x="328" y="382"/>
                    <a:pt x="339" y="372"/>
                    <a:pt x="350" y="361"/>
                  </a:cubicBezTo>
                  <a:cubicBezTo>
                    <a:pt x="314" y="395"/>
                    <a:pt x="264" y="416"/>
                    <a:pt x="210" y="416"/>
                  </a:cubicBezTo>
                  <a:cubicBezTo>
                    <a:pt x="153" y="416"/>
                    <a:pt x="101" y="393"/>
                    <a:pt x="64" y="356"/>
                  </a:cubicBezTo>
                  <a:cubicBezTo>
                    <a:pt x="47" y="338"/>
                    <a:pt x="32" y="318"/>
                    <a:pt x="22" y="295"/>
                  </a:cubicBezTo>
                  <a:moveTo>
                    <a:pt x="4" y="212"/>
                  </a:moveTo>
                  <a:cubicBezTo>
                    <a:pt x="3" y="212"/>
                    <a:pt x="2" y="212"/>
                    <a:pt x="1" y="212"/>
                  </a:cubicBezTo>
                  <a:cubicBezTo>
                    <a:pt x="1" y="216"/>
                    <a:pt x="0" y="219"/>
                    <a:pt x="0" y="223"/>
                  </a:cubicBezTo>
                  <a:cubicBezTo>
                    <a:pt x="2" y="247"/>
                    <a:pt x="7" y="270"/>
                    <a:pt x="16" y="291"/>
                  </a:cubicBezTo>
                  <a:cubicBezTo>
                    <a:pt x="18" y="291"/>
                    <a:pt x="19" y="291"/>
                    <a:pt x="20" y="291"/>
                  </a:cubicBezTo>
                  <a:cubicBezTo>
                    <a:pt x="10" y="267"/>
                    <a:pt x="4" y="240"/>
                    <a:pt x="4" y="212"/>
                  </a:cubicBezTo>
                  <a:moveTo>
                    <a:pt x="420" y="210"/>
                  </a:moveTo>
                  <a:cubicBezTo>
                    <a:pt x="418" y="210"/>
                    <a:pt x="418" y="210"/>
                    <a:pt x="418" y="210"/>
                  </a:cubicBezTo>
                  <a:cubicBezTo>
                    <a:pt x="416" y="210"/>
                    <a:pt x="416" y="210"/>
                    <a:pt x="416" y="210"/>
                  </a:cubicBezTo>
                  <a:cubicBezTo>
                    <a:pt x="416" y="265"/>
                    <a:pt x="395" y="314"/>
                    <a:pt x="360" y="351"/>
                  </a:cubicBezTo>
                  <a:cubicBezTo>
                    <a:pt x="371" y="340"/>
                    <a:pt x="382" y="328"/>
                    <a:pt x="391" y="316"/>
                  </a:cubicBezTo>
                  <a:cubicBezTo>
                    <a:pt x="410" y="285"/>
                    <a:pt x="420" y="249"/>
                    <a:pt x="420" y="210"/>
                  </a:cubicBezTo>
                  <a:moveTo>
                    <a:pt x="296" y="19"/>
                  </a:moveTo>
                  <a:cubicBezTo>
                    <a:pt x="296" y="20"/>
                    <a:pt x="296" y="21"/>
                    <a:pt x="296" y="23"/>
                  </a:cubicBezTo>
                  <a:cubicBezTo>
                    <a:pt x="318" y="33"/>
                    <a:pt x="338" y="47"/>
                    <a:pt x="356" y="64"/>
                  </a:cubicBezTo>
                  <a:cubicBezTo>
                    <a:pt x="393" y="102"/>
                    <a:pt x="416" y="153"/>
                    <a:pt x="416" y="210"/>
                  </a:cubicBezTo>
                  <a:cubicBezTo>
                    <a:pt x="418" y="210"/>
                    <a:pt x="418" y="210"/>
                    <a:pt x="418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210"/>
                    <a:pt x="420" y="210"/>
                    <a:pt x="420" y="210"/>
                  </a:cubicBezTo>
                  <a:cubicBezTo>
                    <a:pt x="420" y="125"/>
                    <a:pt x="369" y="52"/>
                    <a:pt x="296" y="19"/>
                  </a:cubicBezTo>
                  <a:moveTo>
                    <a:pt x="205" y="0"/>
                  </a:moveTo>
                  <a:cubicBezTo>
                    <a:pt x="95" y="3"/>
                    <a:pt x="6" y="89"/>
                    <a:pt x="0" y="198"/>
                  </a:cubicBezTo>
                  <a:cubicBezTo>
                    <a:pt x="0" y="201"/>
                    <a:pt x="1" y="205"/>
                    <a:pt x="1" y="208"/>
                  </a:cubicBezTo>
                  <a:cubicBezTo>
                    <a:pt x="2" y="208"/>
                    <a:pt x="3" y="208"/>
                    <a:pt x="4" y="208"/>
                  </a:cubicBezTo>
                  <a:cubicBezTo>
                    <a:pt x="4" y="152"/>
                    <a:pt x="27" y="101"/>
                    <a:pt x="64" y="64"/>
                  </a:cubicBezTo>
                  <a:cubicBezTo>
                    <a:pt x="100" y="28"/>
                    <a:pt x="150" y="6"/>
                    <a:pt x="205" y="4"/>
                  </a:cubicBezTo>
                  <a:cubicBezTo>
                    <a:pt x="205" y="4"/>
                    <a:pt x="205" y="3"/>
                    <a:pt x="205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5" y="1"/>
                    <a:pt x="205" y="1"/>
                    <a:pt x="205" y="0"/>
                  </a:cubicBezTo>
                  <a:moveTo>
                    <a:pt x="210" y="0"/>
                  </a:moveTo>
                  <a:cubicBezTo>
                    <a:pt x="210" y="0"/>
                    <a:pt x="209" y="0"/>
                    <a:pt x="209" y="0"/>
                  </a:cubicBezTo>
                  <a:cubicBezTo>
                    <a:pt x="209" y="1"/>
                    <a:pt x="209" y="1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209" y="3"/>
                    <a:pt x="209" y="3"/>
                    <a:pt x="209" y="4"/>
                  </a:cubicBezTo>
                  <a:cubicBezTo>
                    <a:pt x="209" y="4"/>
                    <a:pt x="210" y="4"/>
                    <a:pt x="210" y="4"/>
                  </a:cubicBezTo>
                  <a:cubicBezTo>
                    <a:pt x="239" y="4"/>
                    <a:pt x="267" y="10"/>
                    <a:pt x="292" y="21"/>
                  </a:cubicBezTo>
                  <a:cubicBezTo>
                    <a:pt x="292" y="20"/>
                    <a:pt x="292" y="18"/>
                    <a:pt x="292" y="17"/>
                  </a:cubicBezTo>
                  <a:cubicBezTo>
                    <a:pt x="267" y="6"/>
                    <a:pt x="239" y="0"/>
                    <a:pt x="210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40586BCA-B322-4C58-8F4E-89307470A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4050" y="881063"/>
              <a:ext cx="39688" cy="41275"/>
            </a:xfrm>
            <a:custGeom>
              <a:avLst/>
              <a:gdLst>
                <a:gd name="T0" fmla="*/ 75 w 75"/>
                <a:gd name="T1" fmla="*/ 0 h 76"/>
                <a:gd name="T2" fmla="*/ 44 w 75"/>
                <a:gd name="T3" fmla="*/ 35 h 76"/>
                <a:gd name="T4" fmla="*/ 40 w 75"/>
                <a:gd name="T5" fmla="*/ 40 h 76"/>
                <a:gd name="T6" fmla="*/ 34 w 75"/>
                <a:gd name="T7" fmla="*/ 45 h 76"/>
                <a:gd name="T8" fmla="*/ 0 w 75"/>
                <a:gd name="T9" fmla="*/ 76 h 76"/>
                <a:gd name="T10" fmla="*/ 75 w 75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6">
                  <a:moveTo>
                    <a:pt x="75" y="0"/>
                  </a:moveTo>
                  <a:cubicBezTo>
                    <a:pt x="66" y="12"/>
                    <a:pt x="55" y="24"/>
                    <a:pt x="44" y="35"/>
                  </a:cubicBezTo>
                  <a:cubicBezTo>
                    <a:pt x="43" y="37"/>
                    <a:pt x="41" y="38"/>
                    <a:pt x="40" y="40"/>
                  </a:cubicBezTo>
                  <a:cubicBezTo>
                    <a:pt x="38" y="42"/>
                    <a:pt x="36" y="43"/>
                    <a:pt x="34" y="45"/>
                  </a:cubicBezTo>
                  <a:cubicBezTo>
                    <a:pt x="23" y="56"/>
                    <a:pt x="12" y="66"/>
                    <a:pt x="0" y="76"/>
                  </a:cubicBezTo>
                  <a:cubicBezTo>
                    <a:pt x="31" y="58"/>
                    <a:pt x="57" y="31"/>
                    <a:pt x="75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121A0CB6-0315-48CD-9D05-EC4ED4A661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712788"/>
              <a:ext cx="111125" cy="114300"/>
            </a:xfrm>
            <a:custGeom>
              <a:avLst/>
              <a:gdLst>
                <a:gd name="T0" fmla="*/ 3 w 208"/>
                <a:gd name="T1" fmla="*/ 208 h 212"/>
                <a:gd name="T2" fmla="*/ 0 w 208"/>
                <a:gd name="T3" fmla="*/ 208 h 212"/>
                <a:gd name="T4" fmla="*/ 0 w 208"/>
                <a:gd name="T5" fmla="*/ 210 h 212"/>
                <a:gd name="T6" fmla="*/ 0 w 208"/>
                <a:gd name="T7" fmla="*/ 210 h 212"/>
                <a:gd name="T8" fmla="*/ 0 w 208"/>
                <a:gd name="T9" fmla="*/ 210 h 212"/>
                <a:gd name="T10" fmla="*/ 0 w 208"/>
                <a:gd name="T11" fmla="*/ 212 h 212"/>
                <a:gd name="T12" fmla="*/ 3 w 208"/>
                <a:gd name="T13" fmla="*/ 212 h 212"/>
                <a:gd name="T14" fmla="*/ 3 w 208"/>
                <a:gd name="T15" fmla="*/ 210 h 212"/>
                <a:gd name="T16" fmla="*/ 3 w 208"/>
                <a:gd name="T17" fmla="*/ 208 h 212"/>
                <a:gd name="T18" fmla="*/ 208 w 208"/>
                <a:gd name="T19" fmla="*/ 2 h 212"/>
                <a:gd name="T20" fmla="*/ 206 w 208"/>
                <a:gd name="T21" fmla="*/ 2 h 212"/>
                <a:gd name="T22" fmla="*/ 204 w 208"/>
                <a:gd name="T23" fmla="*/ 2 h 212"/>
                <a:gd name="T24" fmla="*/ 204 w 208"/>
                <a:gd name="T25" fmla="*/ 4 h 212"/>
                <a:gd name="T26" fmla="*/ 208 w 208"/>
                <a:gd name="T27" fmla="*/ 4 h 212"/>
                <a:gd name="T28" fmla="*/ 208 w 208"/>
                <a:gd name="T29" fmla="*/ 2 h 212"/>
                <a:gd name="T30" fmla="*/ 208 w 208"/>
                <a:gd name="T31" fmla="*/ 2 h 212"/>
                <a:gd name="T32" fmla="*/ 208 w 208"/>
                <a:gd name="T33" fmla="*/ 2 h 212"/>
                <a:gd name="T34" fmla="*/ 208 w 208"/>
                <a:gd name="T35" fmla="*/ 2 h 212"/>
                <a:gd name="T36" fmla="*/ 208 w 208"/>
                <a:gd name="T37" fmla="*/ 0 h 212"/>
                <a:gd name="T38" fmla="*/ 204 w 208"/>
                <a:gd name="T39" fmla="*/ 0 h 212"/>
                <a:gd name="T40" fmla="*/ 204 w 208"/>
                <a:gd name="T41" fmla="*/ 2 h 212"/>
                <a:gd name="T42" fmla="*/ 206 w 208"/>
                <a:gd name="T43" fmla="*/ 2 h 212"/>
                <a:gd name="T44" fmla="*/ 208 w 208"/>
                <a:gd name="T45" fmla="*/ 2 h 212"/>
                <a:gd name="T46" fmla="*/ 208 w 208"/>
                <a:gd name="T47" fmla="*/ 2 h 212"/>
                <a:gd name="T48" fmla="*/ 208 w 208"/>
                <a:gd name="T4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" h="212">
                  <a:moveTo>
                    <a:pt x="3" y="208"/>
                  </a:moveTo>
                  <a:cubicBezTo>
                    <a:pt x="2" y="208"/>
                    <a:pt x="1" y="208"/>
                    <a:pt x="0" y="208"/>
                  </a:cubicBezTo>
                  <a:cubicBezTo>
                    <a:pt x="0" y="209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11"/>
                    <a:pt x="0" y="212"/>
                    <a:pt x="0" y="212"/>
                  </a:cubicBezTo>
                  <a:cubicBezTo>
                    <a:pt x="1" y="212"/>
                    <a:pt x="2" y="212"/>
                    <a:pt x="3" y="212"/>
                  </a:cubicBezTo>
                  <a:cubicBezTo>
                    <a:pt x="3" y="211"/>
                    <a:pt x="3" y="211"/>
                    <a:pt x="3" y="210"/>
                  </a:cubicBezTo>
                  <a:cubicBezTo>
                    <a:pt x="3" y="210"/>
                    <a:pt x="3" y="209"/>
                    <a:pt x="3" y="208"/>
                  </a:cubicBezTo>
                  <a:moveTo>
                    <a:pt x="208" y="2"/>
                  </a:moveTo>
                  <a:cubicBezTo>
                    <a:pt x="206" y="2"/>
                    <a:pt x="206" y="2"/>
                    <a:pt x="206" y="2"/>
                  </a:cubicBezTo>
                  <a:cubicBezTo>
                    <a:pt x="204" y="2"/>
                    <a:pt x="204" y="2"/>
                    <a:pt x="204" y="2"/>
                  </a:cubicBezTo>
                  <a:cubicBezTo>
                    <a:pt x="204" y="3"/>
                    <a:pt x="204" y="4"/>
                    <a:pt x="204" y="4"/>
                  </a:cubicBezTo>
                  <a:cubicBezTo>
                    <a:pt x="205" y="4"/>
                    <a:pt x="206" y="4"/>
                    <a:pt x="208" y="4"/>
                  </a:cubicBezTo>
                  <a:cubicBezTo>
                    <a:pt x="208" y="3"/>
                    <a:pt x="208" y="3"/>
                    <a:pt x="208" y="2"/>
                  </a:cubicBezTo>
                  <a:moveTo>
                    <a:pt x="208" y="2"/>
                  </a:move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moveTo>
                    <a:pt x="208" y="0"/>
                  </a:moveTo>
                  <a:cubicBezTo>
                    <a:pt x="206" y="0"/>
                    <a:pt x="205" y="0"/>
                    <a:pt x="204" y="0"/>
                  </a:cubicBezTo>
                  <a:cubicBezTo>
                    <a:pt x="204" y="1"/>
                    <a:pt x="204" y="1"/>
                    <a:pt x="204" y="2"/>
                  </a:cubicBezTo>
                  <a:cubicBezTo>
                    <a:pt x="206" y="2"/>
                    <a:pt x="206" y="2"/>
                    <a:pt x="206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08" y="1"/>
                    <a:pt x="208" y="1"/>
                    <a:pt x="208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FFFE88A6-A118-4513-9786-7695B5FC12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3713" y="722313"/>
              <a:ext cx="149225" cy="147638"/>
            </a:xfrm>
            <a:custGeom>
              <a:avLst/>
              <a:gdLst>
                <a:gd name="T0" fmla="*/ 4 w 280"/>
                <a:gd name="T1" fmla="*/ 274 h 278"/>
                <a:gd name="T2" fmla="*/ 0 w 280"/>
                <a:gd name="T3" fmla="*/ 274 h 278"/>
                <a:gd name="T4" fmla="*/ 2 w 280"/>
                <a:gd name="T5" fmla="*/ 278 h 278"/>
                <a:gd name="T6" fmla="*/ 6 w 280"/>
                <a:gd name="T7" fmla="*/ 278 h 278"/>
                <a:gd name="T8" fmla="*/ 4 w 280"/>
                <a:gd name="T9" fmla="*/ 274 h 278"/>
                <a:gd name="T10" fmla="*/ 276 w 280"/>
                <a:gd name="T11" fmla="*/ 0 h 278"/>
                <a:gd name="T12" fmla="*/ 276 w 280"/>
                <a:gd name="T13" fmla="*/ 4 h 278"/>
                <a:gd name="T14" fmla="*/ 280 w 280"/>
                <a:gd name="T15" fmla="*/ 6 h 278"/>
                <a:gd name="T16" fmla="*/ 280 w 280"/>
                <a:gd name="T17" fmla="*/ 2 h 278"/>
                <a:gd name="T18" fmla="*/ 276 w 280"/>
                <a:gd name="T19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0" h="278">
                  <a:moveTo>
                    <a:pt x="4" y="274"/>
                  </a:moveTo>
                  <a:cubicBezTo>
                    <a:pt x="3" y="274"/>
                    <a:pt x="2" y="274"/>
                    <a:pt x="0" y="274"/>
                  </a:cubicBezTo>
                  <a:cubicBezTo>
                    <a:pt x="1" y="276"/>
                    <a:pt x="1" y="277"/>
                    <a:pt x="2" y="278"/>
                  </a:cubicBezTo>
                  <a:cubicBezTo>
                    <a:pt x="3" y="278"/>
                    <a:pt x="5" y="278"/>
                    <a:pt x="6" y="278"/>
                  </a:cubicBezTo>
                  <a:cubicBezTo>
                    <a:pt x="5" y="277"/>
                    <a:pt x="5" y="275"/>
                    <a:pt x="4" y="274"/>
                  </a:cubicBezTo>
                  <a:moveTo>
                    <a:pt x="276" y="0"/>
                  </a:moveTo>
                  <a:cubicBezTo>
                    <a:pt x="276" y="1"/>
                    <a:pt x="276" y="3"/>
                    <a:pt x="276" y="4"/>
                  </a:cubicBezTo>
                  <a:cubicBezTo>
                    <a:pt x="277" y="5"/>
                    <a:pt x="279" y="5"/>
                    <a:pt x="280" y="6"/>
                  </a:cubicBezTo>
                  <a:cubicBezTo>
                    <a:pt x="280" y="4"/>
                    <a:pt x="280" y="3"/>
                    <a:pt x="280" y="2"/>
                  </a:cubicBezTo>
                  <a:cubicBezTo>
                    <a:pt x="279" y="1"/>
                    <a:pt x="278" y="1"/>
                    <a:pt x="276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CA361C15-DF56-44B7-943A-196D550C9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819151"/>
              <a:ext cx="0" cy="4763"/>
            </a:xfrm>
            <a:custGeom>
              <a:avLst/>
              <a:gdLst>
                <a:gd name="T0" fmla="*/ 0 w 1"/>
                <a:gd name="T1" fmla="*/ 0 h 10"/>
                <a:gd name="T2" fmla="*/ 0 w 1"/>
                <a:gd name="T3" fmla="*/ 10 h 10"/>
                <a:gd name="T4" fmla="*/ 1 w 1"/>
                <a:gd name="T5" fmla="*/ 10 h 10"/>
                <a:gd name="T6" fmla="*/ 0 w 1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0">
                  <a:moveTo>
                    <a:pt x="0" y="0"/>
                  </a:moveTo>
                  <a:cubicBezTo>
                    <a:pt x="0" y="3"/>
                    <a:pt x="0" y="7"/>
                    <a:pt x="0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7"/>
                    <a:pt x="0" y="3"/>
                    <a:pt x="0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012B3232-6FD4-47DE-BFEE-A7678C3186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775" y="823913"/>
              <a:ext cx="0" cy="1588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2 h 2"/>
                <a:gd name="T12" fmla="*/ 0 w 1"/>
                <a:gd name="T13" fmla="*/ 2 h 2"/>
                <a:gd name="T14" fmla="*/ 1 w 1"/>
                <a:gd name="T15" fmla="*/ 2 h 2"/>
                <a:gd name="T16" fmla="*/ 1 w 1"/>
                <a:gd name="T17" fmla="*/ 2 h 2"/>
                <a:gd name="T18" fmla="*/ 1 w 1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A04DD236-DCC9-4D97-854E-14B3E8905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827088"/>
              <a:ext cx="0" cy="4763"/>
            </a:xfrm>
            <a:custGeom>
              <a:avLst/>
              <a:gdLst>
                <a:gd name="T0" fmla="*/ 1 w 1"/>
                <a:gd name="T1" fmla="*/ 0 h 11"/>
                <a:gd name="T2" fmla="*/ 0 w 1"/>
                <a:gd name="T3" fmla="*/ 0 h 11"/>
                <a:gd name="T4" fmla="*/ 0 w 1"/>
                <a:gd name="T5" fmla="*/ 11 h 11"/>
                <a:gd name="T6" fmla="*/ 1 w 1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1" y="4"/>
                    <a:pt x="1" y="0"/>
                  </a:cubicBezTo>
                </a:path>
              </a:pathLst>
            </a:custGeom>
            <a:solidFill>
              <a:srgbClr val="6CC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E26C70A5-5014-4A02-A7B6-F1D6896FE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825501"/>
              <a:ext cx="0" cy="1588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1 w 1"/>
                <a:gd name="T7" fmla="*/ 2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</a:path>
              </a:pathLst>
            </a:custGeom>
            <a:solidFill>
              <a:srgbClr val="64CA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50">
              <a:extLst>
                <a:ext uri="{FF2B5EF4-FFF2-40B4-BE49-F238E27FC236}">
                  <a16:creationId xmlns:a16="http://schemas.microsoft.com/office/drawing/2014/main" id="{DC8754DB-9198-4CF7-B64A-8BC5FE934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3500" y="293688"/>
              <a:ext cx="839788" cy="841375"/>
            </a:xfrm>
            <a:prstGeom prst="ellipse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A44F32F6-F85B-487A-AFDB-B07F798D83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7038" y="458788"/>
              <a:ext cx="228600" cy="153988"/>
            </a:xfrm>
            <a:custGeom>
              <a:avLst/>
              <a:gdLst>
                <a:gd name="T0" fmla="*/ 182 w 429"/>
                <a:gd name="T1" fmla="*/ 260 h 289"/>
                <a:gd name="T2" fmla="*/ 178 w 429"/>
                <a:gd name="T3" fmla="*/ 274 h 289"/>
                <a:gd name="T4" fmla="*/ 190 w 429"/>
                <a:gd name="T5" fmla="*/ 283 h 289"/>
                <a:gd name="T6" fmla="*/ 353 w 429"/>
                <a:gd name="T7" fmla="*/ 289 h 289"/>
                <a:gd name="T8" fmla="*/ 354 w 429"/>
                <a:gd name="T9" fmla="*/ 289 h 289"/>
                <a:gd name="T10" fmla="*/ 366 w 429"/>
                <a:gd name="T11" fmla="*/ 280 h 289"/>
                <a:gd name="T12" fmla="*/ 427 w 429"/>
                <a:gd name="T13" fmla="*/ 123 h 289"/>
                <a:gd name="T14" fmla="*/ 423 w 429"/>
                <a:gd name="T15" fmla="*/ 108 h 289"/>
                <a:gd name="T16" fmla="*/ 407 w 429"/>
                <a:gd name="T17" fmla="*/ 108 h 289"/>
                <a:gd name="T18" fmla="*/ 392 w 429"/>
                <a:gd name="T19" fmla="*/ 120 h 289"/>
                <a:gd name="T20" fmla="*/ 344 w 429"/>
                <a:gd name="T21" fmla="*/ 39 h 289"/>
                <a:gd name="T22" fmla="*/ 277 w 429"/>
                <a:gd name="T23" fmla="*/ 0 h 289"/>
                <a:gd name="T24" fmla="*/ 275 w 429"/>
                <a:gd name="T25" fmla="*/ 0 h 289"/>
                <a:gd name="T26" fmla="*/ 14 w 429"/>
                <a:gd name="T27" fmla="*/ 0 h 289"/>
                <a:gd name="T28" fmla="*/ 1 w 429"/>
                <a:gd name="T29" fmla="*/ 11 h 289"/>
                <a:gd name="T30" fmla="*/ 10 w 429"/>
                <a:gd name="T31" fmla="*/ 25 h 289"/>
                <a:gd name="T32" fmla="*/ 99 w 429"/>
                <a:gd name="T33" fmla="*/ 87 h 289"/>
                <a:gd name="T34" fmla="*/ 100 w 429"/>
                <a:gd name="T35" fmla="*/ 88 h 289"/>
                <a:gd name="T36" fmla="*/ 197 w 429"/>
                <a:gd name="T37" fmla="*/ 249 h 289"/>
                <a:gd name="T38" fmla="*/ 182 w 429"/>
                <a:gd name="T39" fmla="*/ 260 h 289"/>
                <a:gd name="T40" fmla="*/ 122 w 429"/>
                <a:gd name="T41" fmla="*/ 75 h 289"/>
                <a:gd name="T42" fmla="*/ 72 w 429"/>
                <a:gd name="T43" fmla="*/ 26 h 289"/>
                <a:gd name="T44" fmla="*/ 275 w 429"/>
                <a:gd name="T45" fmla="*/ 26 h 289"/>
                <a:gd name="T46" fmla="*/ 322 w 429"/>
                <a:gd name="T47" fmla="*/ 52 h 289"/>
                <a:gd name="T48" fmla="*/ 377 w 429"/>
                <a:gd name="T49" fmla="*/ 145 h 289"/>
                <a:gd name="T50" fmla="*/ 385 w 429"/>
                <a:gd name="T51" fmla="*/ 152 h 289"/>
                <a:gd name="T52" fmla="*/ 388 w 429"/>
                <a:gd name="T53" fmla="*/ 152 h 289"/>
                <a:gd name="T54" fmla="*/ 345 w 429"/>
                <a:gd name="T55" fmla="*/ 262 h 289"/>
                <a:gd name="T56" fmla="*/ 226 w 429"/>
                <a:gd name="T57" fmla="*/ 258 h 289"/>
                <a:gd name="T58" fmla="*/ 225 w 429"/>
                <a:gd name="T59" fmla="*/ 245 h 289"/>
                <a:gd name="T60" fmla="*/ 122 w 429"/>
                <a:gd name="T61" fmla="*/ 7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9" h="289">
                  <a:moveTo>
                    <a:pt x="182" y="260"/>
                  </a:moveTo>
                  <a:cubicBezTo>
                    <a:pt x="178" y="263"/>
                    <a:pt x="176" y="269"/>
                    <a:pt x="178" y="274"/>
                  </a:cubicBezTo>
                  <a:cubicBezTo>
                    <a:pt x="179" y="279"/>
                    <a:pt x="184" y="283"/>
                    <a:pt x="190" y="283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4" y="289"/>
                    <a:pt x="354" y="289"/>
                    <a:pt x="354" y="289"/>
                  </a:cubicBezTo>
                  <a:cubicBezTo>
                    <a:pt x="359" y="289"/>
                    <a:pt x="364" y="285"/>
                    <a:pt x="366" y="280"/>
                  </a:cubicBezTo>
                  <a:cubicBezTo>
                    <a:pt x="427" y="123"/>
                    <a:pt x="427" y="123"/>
                    <a:pt x="427" y="123"/>
                  </a:cubicBezTo>
                  <a:cubicBezTo>
                    <a:pt x="429" y="117"/>
                    <a:pt x="427" y="111"/>
                    <a:pt x="423" y="108"/>
                  </a:cubicBezTo>
                  <a:cubicBezTo>
                    <a:pt x="418" y="104"/>
                    <a:pt x="411" y="104"/>
                    <a:pt x="407" y="108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24" y="6"/>
                    <a:pt x="279" y="0"/>
                    <a:pt x="277" y="0"/>
                  </a:cubicBezTo>
                  <a:cubicBezTo>
                    <a:pt x="276" y="0"/>
                    <a:pt x="276" y="0"/>
                    <a:pt x="2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2" y="5"/>
                    <a:pt x="1" y="11"/>
                  </a:cubicBezTo>
                  <a:cubicBezTo>
                    <a:pt x="0" y="17"/>
                    <a:pt x="4" y="23"/>
                    <a:pt x="10" y="25"/>
                  </a:cubicBezTo>
                  <a:cubicBezTo>
                    <a:pt x="79" y="48"/>
                    <a:pt x="99" y="87"/>
                    <a:pt x="99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97" y="249"/>
                    <a:pt x="197" y="249"/>
                    <a:pt x="197" y="249"/>
                  </a:cubicBezTo>
                  <a:lnTo>
                    <a:pt x="182" y="260"/>
                  </a:lnTo>
                  <a:close/>
                  <a:moveTo>
                    <a:pt x="122" y="75"/>
                  </a:moveTo>
                  <a:cubicBezTo>
                    <a:pt x="120" y="70"/>
                    <a:pt x="107" y="48"/>
                    <a:pt x="72" y="26"/>
                  </a:cubicBezTo>
                  <a:cubicBezTo>
                    <a:pt x="275" y="26"/>
                    <a:pt x="275" y="26"/>
                    <a:pt x="275" y="26"/>
                  </a:cubicBezTo>
                  <a:cubicBezTo>
                    <a:pt x="279" y="27"/>
                    <a:pt x="309" y="32"/>
                    <a:pt x="322" y="52"/>
                  </a:cubicBezTo>
                  <a:cubicBezTo>
                    <a:pt x="377" y="145"/>
                    <a:pt x="377" y="145"/>
                    <a:pt x="377" y="145"/>
                  </a:cubicBezTo>
                  <a:cubicBezTo>
                    <a:pt x="378" y="149"/>
                    <a:pt x="382" y="151"/>
                    <a:pt x="385" y="152"/>
                  </a:cubicBezTo>
                  <a:cubicBezTo>
                    <a:pt x="386" y="152"/>
                    <a:pt x="387" y="152"/>
                    <a:pt x="388" y="152"/>
                  </a:cubicBezTo>
                  <a:cubicBezTo>
                    <a:pt x="345" y="262"/>
                    <a:pt x="345" y="262"/>
                    <a:pt x="345" y="262"/>
                  </a:cubicBezTo>
                  <a:cubicBezTo>
                    <a:pt x="226" y="258"/>
                    <a:pt x="226" y="258"/>
                    <a:pt x="226" y="258"/>
                  </a:cubicBezTo>
                  <a:cubicBezTo>
                    <a:pt x="228" y="254"/>
                    <a:pt x="228" y="249"/>
                    <a:pt x="225" y="245"/>
                  </a:cubicBezTo>
                  <a:lnTo>
                    <a:pt x="12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74B2545B-588A-4B12-9712-CCE3C4031C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3688" y="477838"/>
              <a:ext cx="185738" cy="177800"/>
            </a:xfrm>
            <a:custGeom>
              <a:avLst/>
              <a:gdLst>
                <a:gd name="T0" fmla="*/ 197 w 349"/>
                <a:gd name="T1" fmla="*/ 2 h 335"/>
                <a:gd name="T2" fmla="*/ 104 w 349"/>
                <a:gd name="T3" fmla="*/ 42 h 335"/>
                <a:gd name="T4" fmla="*/ 2 w 349"/>
                <a:gd name="T5" fmla="*/ 208 h 335"/>
                <a:gd name="T6" fmla="*/ 0 w 349"/>
                <a:gd name="T7" fmla="*/ 217 h 335"/>
                <a:gd name="T8" fmla="*/ 6 w 349"/>
                <a:gd name="T9" fmla="*/ 226 h 335"/>
                <a:gd name="T10" fmla="*/ 186 w 349"/>
                <a:gd name="T11" fmla="*/ 333 h 335"/>
                <a:gd name="T12" fmla="*/ 193 w 349"/>
                <a:gd name="T13" fmla="*/ 335 h 335"/>
                <a:gd name="T14" fmla="*/ 204 w 349"/>
                <a:gd name="T15" fmla="*/ 328 h 335"/>
                <a:gd name="T16" fmla="*/ 346 w 349"/>
                <a:gd name="T17" fmla="*/ 95 h 335"/>
                <a:gd name="T18" fmla="*/ 347 w 349"/>
                <a:gd name="T19" fmla="*/ 83 h 335"/>
                <a:gd name="T20" fmla="*/ 197 w 349"/>
                <a:gd name="T21" fmla="*/ 2 h 335"/>
                <a:gd name="T22" fmla="*/ 188 w 349"/>
                <a:gd name="T23" fmla="*/ 304 h 335"/>
                <a:gd name="T24" fmla="*/ 31 w 349"/>
                <a:gd name="T25" fmla="*/ 210 h 335"/>
                <a:gd name="T26" fmla="*/ 126 w 349"/>
                <a:gd name="T27" fmla="*/ 56 h 335"/>
                <a:gd name="T28" fmla="*/ 196 w 349"/>
                <a:gd name="T29" fmla="*/ 28 h 335"/>
                <a:gd name="T30" fmla="*/ 197 w 349"/>
                <a:gd name="T31" fmla="*/ 28 h 335"/>
                <a:gd name="T32" fmla="*/ 320 w 349"/>
                <a:gd name="T33" fmla="*/ 88 h 335"/>
                <a:gd name="T34" fmla="*/ 188 w 349"/>
                <a:gd name="T35" fmla="*/ 30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9" h="335">
                  <a:moveTo>
                    <a:pt x="197" y="2"/>
                  </a:moveTo>
                  <a:cubicBezTo>
                    <a:pt x="191" y="2"/>
                    <a:pt x="131" y="0"/>
                    <a:pt x="104" y="42"/>
                  </a:cubicBezTo>
                  <a:cubicBezTo>
                    <a:pt x="2" y="208"/>
                    <a:pt x="2" y="208"/>
                    <a:pt x="2" y="208"/>
                  </a:cubicBezTo>
                  <a:cubicBezTo>
                    <a:pt x="0" y="211"/>
                    <a:pt x="0" y="214"/>
                    <a:pt x="0" y="217"/>
                  </a:cubicBezTo>
                  <a:cubicBezTo>
                    <a:pt x="1" y="221"/>
                    <a:pt x="3" y="224"/>
                    <a:pt x="6" y="226"/>
                  </a:cubicBezTo>
                  <a:cubicBezTo>
                    <a:pt x="186" y="333"/>
                    <a:pt x="186" y="333"/>
                    <a:pt x="186" y="333"/>
                  </a:cubicBezTo>
                  <a:cubicBezTo>
                    <a:pt x="188" y="334"/>
                    <a:pt x="191" y="335"/>
                    <a:pt x="193" y="335"/>
                  </a:cubicBezTo>
                  <a:cubicBezTo>
                    <a:pt x="197" y="335"/>
                    <a:pt x="201" y="332"/>
                    <a:pt x="204" y="328"/>
                  </a:cubicBezTo>
                  <a:cubicBezTo>
                    <a:pt x="346" y="95"/>
                    <a:pt x="346" y="95"/>
                    <a:pt x="346" y="95"/>
                  </a:cubicBezTo>
                  <a:cubicBezTo>
                    <a:pt x="349" y="91"/>
                    <a:pt x="349" y="87"/>
                    <a:pt x="347" y="83"/>
                  </a:cubicBezTo>
                  <a:cubicBezTo>
                    <a:pt x="346" y="79"/>
                    <a:pt x="309" y="2"/>
                    <a:pt x="197" y="2"/>
                  </a:cubicBezTo>
                  <a:close/>
                  <a:moveTo>
                    <a:pt x="188" y="304"/>
                  </a:moveTo>
                  <a:cubicBezTo>
                    <a:pt x="31" y="210"/>
                    <a:pt x="31" y="210"/>
                    <a:pt x="31" y="210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45" y="26"/>
                    <a:pt x="195" y="28"/>
                    <a:pt x="196" y="28"/>
                  </a:cubicBezTo>
                  <a:cubicBezTo>
                    <a:pt x="197" y="28"/>
                    <a:pt x="197" y="28"/>
                    <a:pt x="197" y="28"/>
                  </a:cubicBezTo>
                  <a:cubicBezTo>
                    <a:pt x="276" y="28"/>
                    <a:pt x="310" y="72"/>
                    <a:pt x="320" y="88"/>
                  </a:cubicBezTo>
                  <a:lnTo>
                    <a:pt x="188" y="3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DE44B53E-78B4-4B04-924D-22C48343DD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7525" y="785813"/>
              <a:ext cx="227013" cy="169863"/>
            </a:xfrm>
            <a:custGeom>
              <a:avLst/>
              <a:gdLst>
                <a:gd name="T0" fmla="*/ 420 w 426"/>
                <a:gd name="T1" fmla="*/ 4 h 321"/>
                <a:gd name="T2" fmla="*/ 403 w 426"/>
                <a:gd name="T3" fmla="*/ 4 h 321"/>
                <a:gd name="T4" fmla="*/ 305 w 426"/>
                <a:gd name="T5" fmla="*/ 51 h 321"/>
                <a:gd name="T6" fmla="*/ 304 w 426"/>
                <a:gd name="T7" fmla="*/ 51 h 321"/>
                <a:gd name="T8" fmla="*/ 116 w 426"/>
                <a:gd name="T9" fmla="*/ 54 h 321"/>
                <a:gd name="T10" fmla="*/ 114 w 426"/>
                <a:gd name="T11" fmla="*/ 36 h 321"/>
                <a:gd name="T12" fmla="*/ 104 w 426"/>
                <a:gd name="T13" fmla="*/ 25 h 321"/>
                <a:gd name="T14" fmla="*/ 90 w 426"/>
                <a:gd name="T15" fmla="*/ 31 h 321"/>
                <a:gd name="T16" fmla="*/ 3 w 426"/>
                <a:gd name="T17" fmla="*/ 170 h 321"/>
                <a:gd name="T18" fmla="*/ 4 w 426"/>
                <a:gd name="T19" fmla="*/ 185 h 321"/>
                <a:gd name="T20" fmla="*/ 110 w 426"/>
                <a:gd name="T21" fmla="*/ 316 h 321"/>
                <a:gd name="T22" fmla="*/ 120 w 426"/>
                <a:gd name="T23" fmla="*/ 321 h 321"/>
                <a:gd name="T24" fmla="*/ 125 w 426"/>
                <a:gd name="T25" fmla="*/ 320 h 321"/>
                <a:gd name="T26" fmla="*/ 133 w 426"/>
                <a:gd name="T27" fmla="*/ 307 h 321"/>
                <a:gd name="T28" fmla="*/ 130 w 426"/>
                <a:gd name="T29" fmla="*/ 287 h 321"/>
                <a:gd name="T30" fmla="*/ 224 w 426"/>
                <a:gd name="T31" fmla="*/ 287 h 321"/>
                <a:gd name="T32" fmla="*/ 291 w 426"/>
                <a:gd name="T33" fmla="*/ 248 h 321"/>
                <a:gd name="T34" fmla="*/ 292 w 426"/>
                <a:gd name="T35" fmla="*/ 247 h 321"/>
                <a:gd name="T36" fmla="*/ 423 w 426"/>
                <a:gd name="T37" fmla="*/ 20 h 321"/>
                <a:gd name="T38" fmla="*/ 420 w 426"/>
                <a:gd name="T39" fmla="*/ 4 h 321"/>
                <a:gd name="T40" fmla="*/ 270 w 426"/>
                <a:gd name="T41" fmla="*/ 233 h 321"/>
                <a:gd name="T42" fmla="*/ 224 w 426"/>
                <a:gd name="T43" fmla="*/ 261 h 321"/>
                <a:gd name="T44" fmla="*/ 115 w 426"/>
                <a:gd name="T45" fmla="*/ 262 h 321"/>
                <a:gd name="T46" fmla="*/ 106 w 426"/>
                <a:gd name="T47" fmla="*/ 266 h 321"/>
                <a:gd name="T48" fmla="*/ 104 w 426"/>
                <a:gd name="T49" fmla="*/ 268 h 321"/>
                <a:gd name="T50" fmla="*/ 30 w 426"/>
                <a:gd name="T51" fmla="*/ 176 h 321"/>
                <a:gd name="T52" fmla="*/ 93 w 426"/>
                <a:gd name="T53" fmla="*/ 74 h 321"/>
                <a:gd name="T54" fmla="*/ 104 w 426"/>
                <a:gd name="T55" fmla="*/ 81 h 321"/>
                <a:gd name="T56" fmla="*/ 104 w 426"/>
                <a:gd name="T57" fmla="*/ 81 h 321"/>
                <a:gd name="T58" fmla="*/ 304 w 426"/>
                <a:gd name="T59" fmla="*/ 77 h 321"/>
                <a:gd name="T60" fmla="*/ 371 w 426"/>
                <a:gd name="T61" fmla="*/ 58 h 321"/>
                <a:gd name="T62" fmla="*/ 270 w 426"/>
                <a:gd name="T63" fmla="*/ 23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6" h="321">
                  <a:moveTo>
                    <a:pt x="420" y="4"/>
                  </a:moveTo>
                  <a:cubicBezTo>
                    <a:pt x="415" y="0"/>
                    <a:pt x="408" y="0"/>
                    <a:pt x="403" y="4"/>
                  </a:cubicBezTo>
                  <a:cubicBezTo>
                    <a:pt x="348" y="53"/>
                    <a:pt x="305" y="51"/>
                    <a:pt x="305" y="51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3" y="31"/>
                    <a:pt x="109" y="26"/>
                    <a:pt x="104" y="25"/>
                  </a:cubicBezTo>
                  <a:cubicBezTo>
                    <a:pt x="98" y="24"/>
                    <a:pt x="93" y="26"/>
                    <a:pt x="90" y="31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0" y="174"/>
                    <a:pt x="1" y="180"/>
                    <a:pt x="4" y="185"/>
                  </a:cubicBezTo>
                  <a:cubicBezTo>
                    <a:pt x="110" y="316"/>
                    <a:pt x="110" y="316"/>
                    <a:pt x="110" y="316"/>
                  </a:cubicBezTo>
                  <a:cubicBezTo>
                    <a:pt x="112" y="320"/>
                    <a:pt x="116" y="321"/>
                    <a:pt x="120" y="321"/>
                  </a:cubicBezTo>
                  <a:cubicBezTo>
                    <a:pt x="121" y="321"/>
                    <a:pt x="123" y="321"/>
                    <a:pt x="125" y="320"/>
                  </a:cubicBezTo>
                  <a:cubicBezTo>
                    <a:pt x="130" y="318"/>
                    <a:pt x="133" y="312"/>
                    <a:pt x="133" y="307"/>
                  </a:cubicBezTo>
                  <a:cubicBezTo>
                    <a:pt x="130" y="287"/>
                    <a:pt x="130" y="287"/>
                    <a:pt x="130" y="287"/>
                  </a:cubicBezTo>
                  <a:cubicBezTo>
                    <a:pt x="224" y="287"/>
                    <a:pt x="224" y="287"/>
                    <a:pt x="224" y="287"/>
                  </a:cubicBezTo>
                  <a:cubicBezTo>
                    <a:pt x="263" y="286"/>
                    <a:pt x="290" y="249"/>
                    <a:pt x="291" y="248"/>
                  </a:cubicBezTo>
                  <a:cubicBezTo>
                    <a:pt x="291" y="248"/>
                    <a:pt x="292" y="247"/>
                    <a:pt x="292" y="247"/>
                  </a:cubicBezTo>
                  <a:cubicBezTo>
                    <a:pt x="423" y="20"/>
                    <a:pt x="423" y="20"/>
                    <a:pt x="423" y="20"/>
                  </a:cubicBezTo>
                  <a:cubicBezTo>
                    <a:pt x="426" y="15"/>
                    <a:pt x="425" y="8"/>
                    <a:pt x="420" y="4"/>
                  </a:cubicBezTo>
                  <a:close/>
                  <a:moveTo>
                    <a:pt x="270" y="233"/>
                  </a:moveTo>
                  <a:cubicBezTo>
                    <a:pt x="267" y="237"/>
                    <a:pt x="247" y="260"/>
                    <a:pt x="224" y="261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2" y="262"/>
                    <a:pt x="108" y="263"/>
                    <a:pt x="106" y="266"/>
                  </a:cubicBezTo>
                  <a:cubicBezTo>
                    <a:pt x="105" y="267"/>
                    <a:pt x="105" y="267"/>
                    <a:pt x="104" y="268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5" y="78"/>
                    <a:pt x="99" y="81"/>
                    <a:pt x="104" y="8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9" y="77"/>
                    <a:pt x="335" y="77"/>
                    <a:pt x="371" y="58"/>
                  </a:cubicBezTo>
                  <a:lnTo>
                    <a:pt x="270" y="2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24BF8688-A3D1-4BDD-A1EE-45166E23D4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788" y="606426"/>
              <a:ext cx="174625" cy="198438"/>
            </a:xfrm>
            <a:custGeom>
              <a:avLst/>
              <a:gdLst>
                <a:gd name="T0" fmla="*/ 304 w 329"/>
                <a:gd name="T1" fmla="*/ 172 h 371"/>
                <a:gd name="T2" fmla="*/ 202 w 329"/>
                <a:gd name="T3" fmla="*/ 7 h 371"/>
                <a:gd name="T4" fmla="*/ 194 w 329"/>
                <a:gd name="T5" fmla="*/ 1 h 371"/>
                <a:gd name="T6" fmla="*/ 184 w 329"/>
                <a:gd name="T7" fmla="*/ 2 h 371"/>
                <a:gd name="T8" fmla="*/ 8 w 329"/>
                <a:gd name="T9" fmla="*/ 115 h 371"/>
                <a:gd name="T10" fmla="*/ 4 w 329"/>
                <a:gd name="T11" fmla="*/ 133 h 371"/>
                <a:gd name="T12" fmla="*/ 148 w 329"/>
                <a:gd name="T13" fmla="*/ 365 h 371"/>
                <a:gd name="T14" fmla="*/ 159 w 329"/>
                <a:gd name="T15" fmla="*/ 371 h 371"/>
                <a:gd name="T16" fmla="*/ 160 w 329"/>
                <a:gd name="T17" fmla="*/ 371 h 371"/>
                <a:gd name="T18" fmla="*/ 298 w 329"/>
                <a:gd name="T19" fmla="*/ 273 h 371"/>
                <a:gd name="T20" fmla="*/ 304 w 329"/>
                <a:gd name="T21" fmla="*/ 172 h 371"/>
                <a:gd name="T22" fmla="*/ 276 w 329"/>
                <a:gd name="T23" fmla="*/ 261 h 371"/>
                <a:gd name="T24" fmla="*/ 275 w 329"/>
                <a:gd name="T25" fmla="*/ 261 h 371"/>
                <a:gd name="T26" fmla="*/ 166 w 329"/>
                <a:gd name="T27" fmla="*/ 345 h 371"/>
                <a:gd name="T28" fmla="*/ 32 w 329"/>
                <a:gd name="T29" fmla="*/ 130 h 371"/>
                <a:gd name="T30" fmla="*/ 187 w 329"/>
                <a:gd name="T31" fmla="*/ 31 h 371"/>
                <a:gd name="T32" fmla="*/ 282 w 329"/>
                <a:gd name="T33" fmla="*/ 185 h 371"/>
                <a:gd name="T34" fmla="*/ 276 w 329"/>
                <a:gd name="T35" fmla="*/ 26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9" h="371">
                  <a:moveTo>
                    <a:pt x="304" y="172"/>
                  </a:moveTo>
                  <a:cubicBezTo>
                    <a:pt x="202" y="7"/>
                    <a:pt x="202" y="7"/>
                    <a:pt x="202" y="7"/>
                  </a:cubicBezTo>
                  <a:cubicBezTo>
                    <a:pt x="200" y="4"/>
                    <a:pt x="197" y="1"/>
                    <a:pt x="194" y="1"/>
                  </a:cubicBezTo>
                  <a:cubicBezTo>
                    <a:pt x="191" y="0"/>
                    <a:pt x="187" y="1"/>
                    <a:pt x="184" y="2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2" y="119"/>
                    <a:pt x="0" y="127"/>
                    <a:pt x="4" y="133"/>
                  </a:cubicBezTo>
                  <a:cubicBezTo>
                    <a:pt x="148" y="365"/>
                    <a:pt x="148" y="365"/>
                    <a:pt x="148" y="365"/>
                  </a:cubicBezTo>
                  <a:cubicBezTo>
                    <a:pt x="150" y="368"/>
                    <a:pt x="154" y="371"/>
                    <a:pt x="159" y="371"/>
                  </a:cubicBezTo>
                  <a:cubicBezTo>
                    <a:pt x="159" y="371"/>
                    <a:pt x="159" y="371"/>
                    <a:pt x="160" y="371"/>
                  </a:cubicBezTo>
                  <a:cubicBezTo>
                    <a:pt x="172" y="371"/>
                    <a:pt x="251" y="367"/>
                    <a:pt x="298" y="273"/>
                  </a:cubicBezTo>
                  <a:cubicBezTo>
                    <a:pt x="301" y="268"/>
                    <a:pt x="329" y="215"/>
                    <a:pt x="304" y="172"/>
                  </a:cubicBezTo>
                  <a:close/>
                  <a:moveTo>
                    <a:pt x="276" y="261"/>
                  </a:moveTo>
                  <a:cubicBezTo>
                    <a:pt x="275" y="261"/>
                    <a:pt x="275" y="261"/>
                    <a:pt x="275" y="261"/>
                  </a:cubicBezTo>
                  <a:cubicBezTo>
                    <a:pt x="240" y="332"/>
                    <a:pt x="185" y="343"/>
                    <a:pt x="166" y="345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282" y="185"/>
                    <a:pt x="282" y="185"/>
                    <a:pt x="282" y="185"/>
                  </a:cubicBezTo>
                  <a:cubicBezTo>
                    <a:pt x="300" y="216"/>
                    <a:pt x="276" y="260"/>
                    <a:pt x="276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9A7253E9-2C24-4BF2-AB5C-9AC9AAA7AC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550" y="646113"/>
              <a:ext cx="165100" cy="241300"/>
            </a:xfrm>
            <a:custGeom>
              <a:avLst/>
              <a:gdLst>
                <a:gd name="T0" fmla="*/ 291 w 311"/>
                <a:gd name="T1" fmla="*/ 171 h 452"/>
                <a:gd name="T2" fmla="*/ 306 w 311"/>
                <a:gd name="T3" fmla="*/ 168 h 452"/>
                <a:gd name="T4" fmla="*/ 308 w 311"/>
                <a:gd name="T5" fmla="*/ 153 h 452"/>
                <a:gd name="T6" fmla="*/ 233 w 311"/>
                <a:gd name="T7" fmla="*/ 8 h 452"/>
                <a:gd name="T8" fmla="*/ 219 w 311"/>
                <a:gd name="T9" fmla="*/ 1 h 452"/>
                <a:gd name="T10" fmla="*/ 52 w 311"/>
                <a:gd name="T11" fmla="*/ 24 h 452"/>
                <a:gd name="T12" fmla="*/ 41 w 311"/>
                <a:gd name="T13" fmla="*/ 36 h 452"/>
                <a:gd name="T14" fmla="*/ 49 w 311"/>
                <a:gd name="T15" fmla="*/ 49 h 452"/>
                <a:gd name="T16" fmla="*/ 67 w 311"/>
                <a:gd name="T17" fmla="*/ 57 h 452"/>
                <a:gd name="T18" fmla="*/ 19 w 311"/>
                <a:gd name="T19" fmla="*/ 138 h 452"/>
                <a:gd name="T20" fmla="*/ 18 w 311"/>
                <a:gd name="T21" fmla="*/ 215 h 452"/>
                <a:gd name="T22" fmla="*/ 19 w 311"/>
                <a:gd name="T23" fmla="*/ 217 h 452"/>
                <a:gd name="T24" fmla="*/ 147 w 311"/>
                <a:gd name="T25" fmla="*/ 445 h 452"/>
                <a:gd name="T26" fmla="*/ 158 w 311"/>
                <a:gd name="T27" fmla="*/ 452 h 452"/>
                <a:gd name="T28" fmla="*/ 162 w 311"/>
                <a:gd name="T29" fmla="*/ 451 h 452"/>
                <a:gd name="T30" fmla="*/ 171 w 311"/>
                <a:gd name="T31" fmla="*/ 436 h 452"/>
                <a:gd name="T32" fmla="*/ 181 w 311"/>
                <a:gd name="T33" fmla="*/ 328 h 452"/>
                <a:gd name="T34" fmla="*/ 181 w 311"/>
                <a:gd name="T35" fmla="*/ 327 h 452"/>
                <a:gd name="T36" fmla="*/ 274 w 311"/>
                <a:gd name="T37" fmla="*/ 164 h 452"/>
                <a:gd name="T38" fmla="*/ 291 w 311"/>
                <a:gd name="T39" fmla="*/ 171 h 452"/>
                <a:gd name="T40" fmla="*/ 258 w 311"/>
                <a:gd name="T41" fmla="*/ 141 h 452"/>
                <a:gd name="T42" fmla="*/ 159 w 311"/>
                <a:gd name="T43" fmla="*/ 314 h 452"/>
                <a:gd name="T44" fmla="*/ 141 w 311"/>
                <a:gd name="T45" fmla="*/ 381 h 452"/>
                <a:gd name="T46" fmla="*/ 42 w 311"/>
                <a:gd name="T47" fmla="*/ 205 h 452"/>
                <a:gd name="T48" fmla="*/ 42 w 311"/>
                <a:gd name="T49" fmla="*/ 151 h 452"/>
                <a:gd name="T50" fmla="*/ 96 w 311"/>
                <a:gd name="T51" fmla="*/ 57 h 452"/>
                <a:gd name="T52" fmla="*/ 98 w 311"/>
                <a:gd name="T53" fmla="*/ 47 h 452"/>
                <a:gd name="T54" fmla="*/ 97 w 311"/>
                <a:gd name="T55" fmla="*/ 44 h 452"/>
                <a:gd name="T56" fmla="*/ 214 w 311"/>
                <a:gd name="T57" fmla="*/ 28 h 452"/>
                <a:gd name="T58" fmla="*/ 269 w 311"/>
                <a:gd name="T59" fmla="*/ 134 h 452"/>
                <a:gd name="T60" fmla="*/ 258 w 311"/>
                <a:gd name="T61" fmla="*/ 1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452">
                  <a:moveTo>
                    <a:pt x="291" y="171"/>
                  </a:moveTo>
                  <a:cubicBezTo>
                    <a:pt x="296" y="173"/>
                    <a:pt x="302" y="172"/>
                    <a:pt x="306" y="168"/>
                  </a:cubicBezTo>
                  <a:cubicBezTo>
                    <a:pt x="310" y="164"/>
                    <a:pt x="311" y="158"/>
                    <a:pt x="308" y="153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0" y="3"/>
                    <a:pt x="225" y="0"/>
                    <a:pt x="219" y="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6" y="25"/>
                    <a:pt x="42" y="30"/>
                    <a:pt x="41" y="36"/>
                  </a:cubicBezTo>
                  <a:cubicBezTo>
                    <a:pt x="40" y="41"/>
                    <a:pt x="44" y="47"/>
                    <a:pt x="49" y="49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72"/>
                    <a:pt x="18" y="214"/>
                    <a:pt x="18" y="215"/>
                  </a:cubicBezTo>
                  <a:cubicBezTo>
                    <a:pt x="18" y="216"/>
                    <a:pt x="19" y="216"/>
                    <a:pt x="19" y="217"/>
                  </a:cubicBezTo>
                  <a:cubicBezTo>
                    <a:pt x="147" y="445"/>
                    <a:pt x="147" y="445"/>
                    <a:pt x="147" y="445"/>
                  </a:cubicBezTo>
                  <a:cubicBezTo>
                    <a:pt x="149" y="449"/>
                    <a:pt x="153" y="452"/>
                    <a:pt x="158" y="452"/>
                  </a:cubicBezTo>
                  <a:cubicBezTo>
                    <a:pt x="159" y="452"/>
                    <a:pt x="161" y="451"/>
                    <a:pt x="162" y="451"/>
                  </a:cubicBezTo>
                  <a:cubicBezTo>
                    <a:pt x="168" y="449"/>
                    <a:pt x="172" y="442"/>
                    <a:pt x="171" y="436"/>
                  </a:cubicBezTo>
                  <a:cubicBezTo>
                    <a:pt x="157" y="365"/>
                    <a:pt x="181" y="328"/>
                    <a:pt x="181" y="328"/>
                  </a:cubicBezTo>
                  <a:cubicBezTo>
                    <a:pt x="181" y="328"/>
                    <a:pt x="181" y="327"/>
                    <a:pt x="181" y="327"/>
                  </a:cubicBezTo>
                  <a:cubicBezTo>
                    <a:pt x="274" y="164"/>
                    <a:pt x="274" y="164"/>
                    <a:pt x="274" y="164"/>
                  </a:cubicBezTo>
                  <a:lnTo>
                    <a:pt x="291" y="171"/>
                  </a:lnTo>
                  <a:close/>
                  <a:moveTo>
                    <a:pt x="258" y="141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6" y="318"/>
                    <a:pt x="143" y="340"/>
                    <a:pt x="141" y="381"/>
                  </a:cubicBezTo>
                  <a:cubicBezTo>
                    <a:pt x="42" y="205"/>
                    <a:pt x="42" y="205"/>
                    <a:pt x="42" y="205"/>
                  </a:cubicBezTo>
                  <a:cubicBezTo>
                    <a:pt x="40" y="200"/>
                    <a:pt x="30" y="171"/>
                    <a:pt x="42" y="151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4"/>
                    <a:pt x="99" y="50"/>
                    <a:pt x="98" y="47"/>
                  </a:cubicBezTo>
                  <a:cubicBezTo>
                    <a:pt x="97" y="46"/>
                    <a:pt x="97" y="45"/>
                    <a:pt x="97" y="44"/>
                  </a:cubicBezTo>
                  <a:cubicBezTo>
                    <a:pt x="214" y="28"/>
                    <a:pt x="214" y="28"/>
                    <a:pt x="214" y="28"/>
                  </a:cubicBezTo>
                  <a:cubicBezTo>
                    <a:pt x="269" y="134"/>
                    <a:pt x="269" y="134"/>
                    <a:pt x="269" y="134"/>
                  </a:cubicBezTo>
                  <a:cubicBezTo>
                    <a:pt x="264" y="134"/>
                    <a:pt x="260" y="136"/>
                    <a:pt x="258" y="1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E20279B0-8948-4CB8-A984-5DFABB808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2100" y="817563"/>
              <a:ext cx="185738" cy="125413"/>
            </a:xfrm>
            <a:custGeom>
              <a:avLst/>
              <a:gdLst>
                <a:gd name="T0" fmla="*/ 334 w 348"/>
                <a:gd name="T1" fmla="*/ 0 h 236"/>
                <a:gd name="T2" fmla="*/ 60 w 348"/>
                <a:gd name="T3" fmla="*/ 0 h 236"/>
                <a:gd name="T4" fmla="*/ 60 w 348"/>
                <a:gd name="T5" fmla="*/ 0 h 236"/>
                <a:gd name="T6" fmla="*/ 49 w 348"/>
                <a:gd name="T7" fmla="*/ 5 h 236"/>
                <a:gd name="T8" fmla="*/ 58 w 348"/>
                <a:gd name="T9" fmla="*/ 176 h 236"/>
                <a:gd name="T10" fmla="*/ 140 w 348"/>
                <a:gd name="T11" fmla="*/ 234 h 236"/>
                <a:gd name="T12" fmla="*/ 335 w 348"/>
                <a:gd name="T13" fmla="*/ 236 h 236"/>
                <a:gd name="T14" fmla="*/ 335 w 348"/>
                <a:gd name="T15" fmla="*/ 236 h 236"/>
                <a:gd name="T16" fmla="*/ 344 w 348"/>
                <a:gd name="T17" fmla="*/ 232 h 236"/>
                <a:gd name="T18" fmla="*/ 348 w 348"/>
                <a:gd name="T19" fmla="*/ 223 h 236"/>
                <a:gd name="T20" fmla="*/ 346 w 348"/>
                <a:gd name="T21" fmla="*/ 13 h 236"/>
                <a:gd name="T22" fmla="*/ 334 w 348"/>
                <a:gd name="T23" fmla="*/ 0 h 236"/>
                <a:gd name="T24" fmla="*/ 141 w 348"/>
                <a:gd name="T25" fmla="*/ 208 h 236"/>
                <a:gd name="T26" fmla="*/ 81 w 348"/>
                <a:gd name="T27" fmla="*/ 163 h 236"/>
                <a:gd name="T28" fmla="*/ 80 w 348"/>
                <a:gd name="T29" fmla="*/ 163 h 236"/>
                <a:gd name="T30" fmla="*/ 68 w 348"/>
                <a:gd name="T31" fmla="*/ 26 h 236"/>
                <a:gd name="T32" fmla="*/ 321 w 348"/>
                <a:gd name="T33" fmla="*/ 26 h 236"/>
                <a:gd name="T34" fmla="*/ 322 w 348"/>
                <a:gd name="T35" fmla="*/ 210 h 236"/>
                <a:gd name="T36" fmla="*/ 141 w 348"/>
                <a:gd name="T37" fmla="*/ 20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8" h="236">
                  <a:moveTo>
                    <a:pt x="33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6" y="0"/>
                    <a:pt x="52" y="2"/>
                    <a:pt x="49" y="5"/>
                  </a:cubicBezTo>
                  <a:cubicBezTo>
                    <a:pt x="47" y="8"/>
                    <a:pt x="0" y="80"/>
                    <a:pt x="58" y="176"/>
                  </a:cubicBezTo>
                  <a:cubicBezTo>
                    <a:pt x="61" y="181"/>
                    <a:pt x="91" y="233"/>
                    <a:pt x="140" y="234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8" y="236"/>
                    <a:pt x="342" y="234"/>
                    <a:pt x="344" y="232"/>
                  </a:cubicBezTo>
                  <a:cubicBezTo>
                    <a:pt x="347" y="230"/>
                    <a:pt x="348" y="226"/>
                    <a:pt x="348" y="223"/>
                  </a:cubicBezTo>
                  <a:cubicBezTo>
                    <a:pt x="346" y="13"/>
                    <a:pt x="346" y="13"/>
                    <a:pt x="346" y="13"/>
                  </a:cubicBezTo>
                  <a:cubicBezTo>
                    <a:pt x="346" y="6"/>
                    <a:pt x="341" y="1"/>
                    <a:pt x="334" y="0"/>
                  </a:cubicBezTo>
                  <a:close/>
                  <a:moveTo>
                    <a:pt x="141" y="208"/>
                  </a:moveTo>
                  <a:cubicBezTo>
                    <a:pt x="105" y="207"/>
                    <a:pt x="81" y="163"/>
                    <a:pt x="81" y="163"/>
                  </a:cubicBezTo>
                  <a:cubicBezTo>
                    <a:pt x="80" y="163"/>
                    <a:pt x="80" y="163"/>
                    <a:pt x="80" y="163"/>
                  </a:cubicBezTo>
                  <a:cubicBezTo>
                    <a:pt x="39" y="95"/>
                    <a:pt x="59" y="42"/>
                    <a:pt x="68" y="26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2" y="210"/>
                    <a:pt x="322" y="210"/>
                    <a:pt x="322" y="210"/>
                  </a:cubicBezTo>
                  <a:lnTo>
                    <a:pt x="141" y="2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0061E3E2-7146-4BD3-8DF4-41E1DD14F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2075" y="320676"/>
              <a:ext cx="785813" cy="78740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05" name="Group 45104">
            <a:extLst>
              <a:ext uri="{FF2B5EF4-FFF2-40B4-BE49-F238E27FC236}">
                <a16:creationId xmlns:a16="http://schemas.microsoft.com/office/drawing/2014/main" id="{32B18F4B-267E-4C63-A861-FF4B71F48DE1}"/>
              </a:ext>
            </a:extLst>
          </p:cNvPr>
          <p:cNvGrpSpPr/>
          <p:nvPr/>
        </p:nvGrpSpPr>
        <p:grpSpPr>
          <a:xfrm>
            <a:off x="3633788" y="330200"/>
            <a:ext cx="768350" cy="768350"/>
            <a:chOff x="3633788" y="330200"/>
            <a:chExt cx="768350" cy="768350"/>
          </a:xfrm>
        </p:grpSpPr>
        <p:sp>
          <p:nvSpPr>
            <p:cNvPr id="45089" name="AutoShape 59">
              <a:extLst>
                <a:ext uri="{FF2B5EF4-FFF2-40B4-BE49-F238E27FC236}">
                  <a16:creationId xmlns:a16="http://schemas.microsoft.com/office/drawing/2014/main" id="{939FB18A-41AB-4338-A5FC-ECF54C7868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3788" y="330200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8" name="Freeform 61">
              <a:extLst>
                <a:ext uri="{FF2B5EF4-FFF2-40B4-BE49-F238E27FC236}">
                  <a16:creationId xmlns:a16="http://schemas.microsoft.com/office/drawing/2014/main" id="{9DD89F3A-75E3-4B23-A272-55FC7DDD9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2401" y="465138"/>
              <a:ext cx="222250" cy="150813"/>
            </a:xfrm>
            <a:custGeom>
              <a:avLst/>
              <a:gdLst>
                <a:gd name="T0" fmla="*/ 182 w 429"/>
                <a:gd name="T1" fmla="*/ 260 h 289"/>
                <a:gd name="T2" fmla="*/ 178 w 429"/>
                <a:gd name="T3" fmla="*/ 274 h 289"/>
                <a:gd name="T4" fmla="*/ 190 w 429"/>
                <a:gd name="T5" fmla="*/ 283 h 289"/>
                <a:gd name="T6" fmla="*/ 353 w 429"/>
                <a:gd name="T7" fmla="*/ 289 h 289"/>
                <a:gd name="T8" fmla="*/ 354 w 429"/>
                <a:gd name="T9" fmla="*/ 289 h 289"/>
                <a:gd name="T10" fmla="*/ 366 w 429"/>
                <a:gd name="T11" fmla="*/ 280 h 289"/>
                <a:gd name="T12" fmla="*/ 427 w 429"/>
                <a:gd name="T13" fmla="*/ 123 h 289"/>
                <a:gd name="T14" fmla="*/ 423 w 429"/>
                <a:gd name="T15" fmla="*/ 108 h 289"/>
                <a:gd name="T16" fmla="*/ 407 w 429"/>
                <a:gd name="T17" fmla="*/ 108 h 289"/>
                <a:gd name="T18" fmla="*/ 392 w 429"/>
                <a:gd name="T19" fmla="*/ 120 h 289"/>
                <a:gd name="T20" fmla="*/ 344 w 429"/>
                <a:gd name="T21" fmla="*/ 39 h 289"/>
                <a:gd name="T22" fmla="*/ 277 w 429"/>
                <a:gd name="T23" fmla="*/ 0 h 289"/>
                <a:gd name="T24" fmla="*/ 275 w 429"/>
                <a:gd name="T25" fmla="*/ 0 h 289"/>
                <a:gd name="T26" fmla="*/ 14 w 429"/>
                <a:gd name="T27" fmla="*/ 0 h 289"/>
                <a:gd name="T28" fmla="*/ 1 w 429"/>
                <a:gd name="T29" fmla="*/ 11 h 289"/>
                <a:gd name="T30" fmla="*/ 10 w 429"/>
                <a:gd name="T31" fmla="*/ 25 h 289"/>
                <a:gd name="T32" fmla="*/ 99 w 429"/>
                <a:gd name="T33" fmla="*/ 87 h 289"/>
                <a:gd name="T34" fmla="*/ 100 w 429"/>
                <a:gd name="T35" fmla="*/ 88 h 289"/>
                <a:gd name="T36" fmla="*/ 197 w 429"/>
                <a:gd name="T37" fmla="*/ 249 h 289"/>
                <a:gd name="T38" fmla="*/ 182 w 429"/>
                <a:gd name="T39" fmla="*/ 260 h 289"/>
                <a:gd name="T40" fmla="*/ 122 w 429"/>
                <a:gd name="T41" fmla="*/ 75 h 289"/>
                <a:gd name="T42" fmla="*/ 72 w 429"/>
                <a:gd name="T43" fmla="*/ 26 h 289"/>
                <a:gd name="T44" fmla="*/ 275 w 429"/>
                <a:gd name="T45" fmla="*/ 26 h 289"/>
                <a:gd name="T46" fmla="*/ 322 w 429"/>
                <a:gd name="T47" fmla="*/ 52 h 289"/>
                <a:gd name="T48" fmla="*/ 377 w 429"/>
                <a:gd name="T49" fmla="*/ 145 h 289"/>
                <a:gd name="T50" fmla="*/ 385 w 429"/>
                <a:gd name="T51" fmla="*/ 152 h 289"/>
                <a:gd name="T52" fmla="*/ 388 w 429"/>
                <a:gd name="T53" fmla="*/ 152 h 289"/>
                <a:gd name="T54" fmla="*/ 345 w 429"/>
                <a:gd name="T55" fmla="*/ 262 h 289"/>
                <a:gd name="T56" fmla="*/ 226 w 429"/>
                <a:gd name="T57" fmla="*/ 258 h 289"/>
                <a:gd name="T58" fmla="*/ 225 w 429"/>
                <a:gd name="T59" fmla="*/ 245 h 289"/>
                <a:gd name="T60" fmla="*/ 122 w 429"/>
                <a:gd name="T61" fmla="*/ 7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9" h="289">
                  <a:moveTo>
                    <a:pt x="182" y="260"/>
                  </a:moveTo>
                  <a:cubicBezTo>
                    <a:pt x="178" y="263"/>
                    <a:pt x="176" y="269"/>
                    <a:pt x="178" y="274"/>
                  </a:cubicBezTo>
                  <a:cubicBezTo>
                    <a:pt x="179" y="279"/>
                    <a:pt x="184" y="283"/>
                    <a:pt x="190" y="283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89"/>
                    <a:pt x="353" y="289"/>
                    <a:pt x="354" y="289"/>
                  </a:cubicBezTo>
                  <a:cubicBezTo>
                    <a:pt x="359" y="289"/>
                    <a:pt x="364" y="285"/>
                    <a:pt x="366" y="280"/>
                  </a:cubicBezTo>
                  <a:cubicBezTo>
                    <a:pt x="427" y="123"/>
                    <a:pt x="427" y="123"/>
                    <a:pt x="427" y="123"/>
                  </a:cubicBezTo>
                  <a:cubicBezTo>
                    <a:pt x="429" y="117"/>
                    <a:pt x="427" y="111"/>
                    <a:pt x="423" y="108"/>
                  </a:cubicBezTo>
                  <a:cubicBezTo>
                    <a:pt x="418" y="104"/>
                    <a:pt x="411" y="104"/>
                    <a:pt x="407" y="108"/>
                  </a:cubicBezTo>
                  <a:cubicBezTo>
                    <a:pt x="392" y="120"/>
                    <a:pt x="392" y="120"/>
                    <a:pt x="392" y="12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24" y="6"/>
                    <a:pt x="279" y="0"/>
                    <a:pt x="277" y="0"/>
                  </a:cubicBezTo>
                  <a:cubicBezTo>
                    <a:pt x="276" y="0"/>
                    <a:pt x="276" y="0"/>
                    <a:pt x="27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2" y="5"/>
                    <a:pt x="1" y="11"/>
                  </a:cubicBezTo>
                  <a:cubicBezTo>
                    <a:pt x="0" y="17"/>
                    <a:pt x="4" y="23"/>
                    <a:pt x="10" y="25"/>
                  </a:cubicBezTo>
                  <a:cubicBezTo>
                    <a:pt x="79" y="48"/>
                    <a:pt x="99" y="87"/>
                    <a:pt x="99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97" y="249"/>
                    <a:pt x="197" y="249"/>
                    <a:pt x="197" y="249"/>
                  </a:cubicBezTo>
                  <a:lnTo>
                    <a:pt x="182" y="260"/>
                  </a:lnTo>
                  <a:close/>
                  <a:moveTo>
                    <a:pt x="122" y="75"/>
                  </a:moveTo>
                  <a:cubicBezTo>
                    <a:pt x="120" y="70"/>
                    <a:pt x="107" y="48"/>
                    <a:pt x="72" y="26"/>
                  </a:cubicBezTo>
                  <a:cubicBezTo>
                    <a:pt x="275" y="26"/>
                    <a:pt x="275" y="26"/>
                    <a:pt x="275" y="26"/>
                  </a:cubicBezTo>
                  <a:cubicBezTo>
                    <a:pt x="279" y="27"/>
                    <a:pt x="309" y="32"/>
                    <a:pt x="322" y="52"/>
                  </a:cubicBezTo>
                  <a:cubicBezTo>
                    <a:pt x="377" y="145"/>
                    <a:pt x="377" y="145"/>
                    <a:pt x="377" y="145"/>
                  </a:cubicBezTo>
                  <a:cubicBezTo>
                    <a:pt x="378" y="149"/>
                    <a:pt x="382" y="151"/>
                    <a:pt x="385" y="152"/>
                  </a:cubicBezTo>
                  <a:cubicBezTo>
                    <a:pt x="386" y="152"/>
                    <a:pt x="387" y="152"/>
                    <a:pt x="388" y="152"/>
                  </a:cubicBezTo>
                  <a:cubicBezTo>
                    <a:pt x="345" y="262"/>
                    <a:pt x="345" y="262"/>
                    <a:pt x="345" y="262"/>
                  </a:cubicBezTo>
                  <a:cubicBezTo>
                    <a:pt x="226" y="258"/>
                    <a:pt x="226" y="258"/>
                    <a:pt x="226" y="258"/>
                  </a:cubicBezTo>
                  <a:cubicBezTo>
                    <a:pt x="228" y="254"/>
                    <a:pt x="228" y="249"/>
                    <a:pt x="225" y="245"/>
                  </a:cubicBezTo>
                  <a:lnTo>
                    <a:pt x="122" y="7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9" name="Freeform 62">
              <a:extLst>
                <a:ext uri="{FF2B5EF4-FFF2-40B4-BE49-F238E27FC236}">
                  <a16:creationId xmlns:a16="http://schemas.microsoft.com/office/drawing/2014/main" id="{13E22BC9-A32F-45CA-89E8-4FB6493504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638" y="482600"/>
              <a:ext cx="182563" cy="174625"/>
            </a:xfrm>
            <a:custGeom>
              <a:avLst/>
              <a:gdLst>
                <a:gd name="T0" fmla="*/ 197 w 349"/>
                <a:gd name="T1" fmla="*/ 2 h 335"/>
                <a:gd name="T2" fmla="*/ 104 w 349"/>
                <a:gd name="T3" fmla="*/ 42 h 335"/>
                <a:gd name="T4" fmla="*/ 2 w 349"/>
                <a:gd name="T5" fmla="*/ 208 h 335"/>
                <a:gd name="T6" fmla="*/ 0 w 349"/>
                <a:gd name="T7" fmla="*/ 217 h 335"/>
                <a:gd name="T8" fmla="*/ 6 w 349"/>
                <a:gd name="T9" fmla="*/ 226 h 335"/>
                <a:gd name="T10" fmla="*/ 186 w 349"/>
                <a:gd name="T11" fmla="*/ 333 h 335"/>
                <a:gd name="T12" fmla="*/ 193 w 349"/>
                <a:gd name="T13" fmla="*/ 335 h 335"/>
                <a:gd name="T14" fmla="*/ 204 w 349"/>
                <a:gd name="T15" fmla="*/ 328 h 335"/>
                <a:gd name="T16" fmla="*/ 346 w 349"/>
                <a:gd name="T17" fmla="*/ 95 h 335"/>
                <a:gd name="T18" fmla="*/ 347 w 349"/>
                <a:gd name="T19" fmla="*/ 83 h 335"/>
                <a:gd name="T20" fmla="*/ 197 w 349"/>
                <a:gd name="T21" fmla="*/ 2 h 335"/>
                <a:gd name="T22" fmla="*/ 188 w 349"/>
                <a:gd name="T23" fmla="*/ 304 h 335"/>
                <a:gd name="T24" fmla="*/ 31 w 349"/>
                <a:gd name="T25" fmla="*/ 210 h 335"/>
                <a:gd name="T26" fmla="*/ 126 w 349"/>
                <a:gd name="T27" fmla="*/ 56 h 335"/>
                <a:gd name="T28" fmla="*/ 196 w 349"/>
                <a:gd name="T29" fmla="*/ 28 h 335"/>
                <a:gd name="T30" fmla="*/ 197 w 349"/>
                <a:gd name="T31" fmla="*/ 28 h 335"/>
                <a:gd name="T32" fmla="*/ 320 w 349"/>
                <a:gd name="T33" fmla="*/ 88 h 335"/>
                <a:gd name="T34" fmla="*/ 188 w 349"/>
                <a:gd name="T35" fmla="*/ 304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9" h="335">
                  <a:moveTo>
                    <a:pt x="197" y="2"/>
                  </a:moveTo>
                  <a:cubicBezTo>
                    <a:pt x="191" y="2"/>
                    <a:pt x="131" y="0"/>
                    <a:pt x="104" y="42"/>
                  </a:cubicBezTo>
                  <a:cubicBezTo>
                    <a:pt x="2" y="208"/>
                    <a:pt x="2" y="208"/>
                    <a:pt x="2" y="208"/>
                  </a:cubicBezTo>
                  <a:cubicBezTo>
                    <a:pt x="0" y="211"/>
                    <a:pt x="0" y="214"/>
                    <a:pt x="0" y="217"/>
                  </a:cubicBezTo>
                  <a:cubicBezTo>
                    <a:pt x="1" y="221"/>
                    <a:pt x="3" y="224"/>
                    <a:pt x="6" y="226"/>
                  </a:cubicBezTo>
                  <a:cubicBezTo>
                    <a:pt x="186" y="333"/>
                    <a:pt x="186" y="333"/>
                    <a:pt x="186" y="333"/>
                  </a:cubicBezTo>
                  <a:cubicBezTo>
                    <a:pt x="188" y="334"/>
                    <a:pt x="191" y="335"/>
                    <a:pt x="193" y="335"/>
                  </a:cubicBezTo>
                  <a:cubicBezTo>
                    <a:pt x="197" y="335"/>
                    <a:pt x="201" y="332"/>
                    <a:pt x="204" y="328"/>
                  </a:cubicBezTo>
                  <a:cubicBezTo>
                    <a:pt x="346" y="95"/>
                    <a:pt x="346" y="95"/>
                    <a:pt x="346" y="95"/>
                  </a:cubicBezTo>
                  <a:cubicBezTo>
                    <a:pt x="349" y="91"/>
                    <a:pt x="349" y="87"/>
                    <a:pt x="347" y="83"/>
                  </a:cubicBezTo>
                  <a:cubicBezTo>
                    <a:pt x="346" y="79"/>
                    <a:pt x="309" y="2"/>
                    <a:pt x="197" y="2"/>
                  </a:cubicBezTo>
                  <a:close/>
                  <a:moveTo>
                    <a:pt x="188" y="304"/>
                  </a:moveTo>
                  <a:cubicBezTo>
                    <a:pt x="31" y="210"/>
                    <a:pt x="31" y="210"/>
                    <a:pt x="31" y="210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45" y="26"/>
                    <a:pt x="195" y="28"/>
                    <a:pt x="196" y="28"/>
                  </a:cubicBezTo>
                  <a:cubicBezTo>
                    <a:pt x="196" y="28"/>
                    <a:pt x="196" y="28"/>
                    <a:pt x="197" y="28"/>
                  </a:cubicBezTo>
                  <a:cubicBezTo>
                    <a:pt x="276" y="28"/>
                    <a:pt x="310" y="72"/>
                    <a:pt x="320" y="88"/>
                  </a:cubicBezTo>
                  <a:lnTo>
                    <a:pt x="188" y="30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0" name="Freeform 63">
              <a:extLst>
                <a:ext uri="{FF2B5EF4-FFF2-40B4-BE49-F238E27FC236}">
                  <a16:creationId xmlns:a16="http://schemas.microsoft.com/office/drawing/2014/main" id="{8CDC35A8-B957-4A06-AF9B-064B9AA555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9713" y="784225"/>
              <a:ext cx="222250" cy="166688"/>
            </a:xfrm>
            <a:custGeom>
              <a:avLst/>
              <a:gdLst>
                <a:gd name="T0" fmla="*/ 420 w 426"/>
                <a:gd name="T1" fmla="*/ 4 h 321"/>
                <a:gd name="T2" fmla="*/ 403 w 426"/>
                <a:gd name="T3" fmla="*/ 4 h 321"/>
                <a:gd name="T4" fmla="*/ 305 w 426"/>
                <a:gd name="T5" fmla="*/ 51 h 321"/>
                <a:gd name="T6" fmla="*/ 304 w 426"/>
                <a:gd name="T7" fmla="*/ 51 h 321"/>
                <a:gd name="T8" fmla="*/ 116 w 426"/>
                <a:gd name="T9" fmla="*/ 54 h 321"/>
                <a:gd name="T10" fmla="*/ 114 w 426"/>
                <a:gd name="T11" fmla="*/ 36 h 321"/>
                <a:gd name="T12" fmla="*/ 104 w 426"/>
                <a:gd name="T13" fmla="*/ 25 h 321"/>
                <a:gd name="T14" fmla="*/ 90 w 426"/>
                <a:gd name="T15" fmla="*/ 31 h 321"/>
                <a:gd name="T16" fmla="*/ 3 w 426"/>
                <a:gd name="T17" fmla="*/ 170 h 321"/>
                <a:gd name="T18" fmla="*/ 4 w 426"/>
                <a:gd name="T19" fmla="*/ 185 h 321"/>
                <a:gd name="T20" fmla="*/ 110 w 426"/>
                <a:gd name="T21" fmla="*/ 316 h 321"/>
                <a:gd name="T22" fmla="*/ 120 w 426"/>
                <a:gd name="T23" fmla="*/ 321 h 321"/>
                <a:gd name="T24" fmla="*/ 125 w 426"/>
                <a:gd name="T25" fmla="*/ 320 h 321"/>
                <a:gd name="T26" fmla="*/ 133 w 426"/>
                <a:gd name="T27" fmla="*/ 307 h 321"/>
                <a:gd name="T28" fmla="*/ 130 w 426"/>
                <a:gd name="T29" fmla="*/ 287 h 321"/>
                <a:gd name="T30" fmla="*/ 224 w 426"/>
                <a:gd name="T31" fmla="*/ 287 h 321"/>
                <a:gd name="T32" fmla="*/ 291 w 426"/>
                <a:gd name="T33" fmla="*/ 248 h 321"/>
                <a:gd name="T34" fmla="*/ 292 w 426"/>
                <a:gd name="T35" fmla="*/ 247 h 321"/>
                <a:gd name="T36" fmla="*/ 423 w 426"/>
                <a:gd name="T37" fmla="*/ 20 h 321"/>
                <a:gd name="T38" fmla="*/ 420 w 426"/>
                <a:gd name="T39" fmla="*/ 4 h 321"/>
                <a:gd name="T40" fmla="*/ 270 w 426"/>
                <a:gd name="T41" fmla="*/ 233 h 321"/>
                <a:gd name="T42" fmla="*/ 224 w 426"/>
                <a:gd name="T43" fmla="*/ 261 h 321"/>
                <a:gd name="T44" fmla="*/ 115 w 426"/>
                <a:gd name="T45" fmla="*/ 262 h 321"/>
                <a:gd name="T46" fmla="*/ 106 w 426"/>
                <a:gd name="T47" fmla="*/ 266 h 321"/>
                <a:gd name="T48" fmla="*/ 104 w 426"/>
                <a:gd name="T49" fmla="*/ 268 h 321"/>
                <a:gd name="T50" fmla="*/ 30 w 426"/>
                <a:gd name="T51" fmla="*/ 176 h 321"/>
                <a:gd name="T52" fmla="*/ 93 w 426"/>
                <a:gd name="T53" fmla="*/ 74 h 321"/>
                <a:gd name="T54" fmla="*/ 104 w 426"/>
                <a:gd name="T55" fmla="*/ 81 h 321"/>
                <a:gd name="T56" fmla="*/ 104 w 426"/>
                <a:gd name="T57" fmla="*/ 81 h 321"/>
                <a:gd name="T58" fmla="*/ 304 w 426"/>
                <a:gd name="T59" fmla="*/ 77 h 321"/>
                <a:gd name="T60" fmla="*/ 371 w 426"/>
                <a:gd name="T61" fmla="*/ 58 h 321"/>
                <a:gd name="T62" fmla="*/ 270 w 426"/>
                <a:gd name="T63" fmla="*/ 23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6" h="321">
                  <a:moveTo>
                    <a:pt x="420" y="4"/>
                  </a:moveTo>
                  <a:cubicBezTo>
                    <a:pt x="415" y="0"/>
                    <a:pt x="408" y="0"/>
                    <a:pt x="403" y="4"/>
                  </a:cubicBezTo>
                  <a:cubicBezTo>
                    <a:pt x="348" y="53"/>
                    <a:pt x="305" y="51"/>
                    <a:pt x="305" y="51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3" y="31"/>
                    <a:pt x="109" y="26"/>
                    <a:pt x="104" y="25"/>
                  </a:cubicBezTo>
                  <a:cubicBezTo>
                    <a:pt x="98" y="24"/>
                    <a:pt x="93" y="26"/>
                    <a:pt x="90" y="31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0" y="174"/>
                    <a:pt x="1" y="180"/>
                    <a:pt x="4" y="185"/>
                  </a:cubicBezTo>
                  <a:cubicBezTo>
                    <a:pt x="110" y="316"/>
                    <a:pt x="110" y="316"/>
                    <a:pt x="110" y="316"/>
                  </a:cubicBezTo>
                  <a:cubicBezTo>
                    <a:pt x="112" y="320"/>
                    <a:pt x="116" y="321"/>
                    <a:pt x="120" y="321"/>
                  </a:cubicBezTo>
                  <a:cubicBezTo>
                    <a:pt x="121" y="321"/>
                    <a:pt x="123" y="321"/>
                    <a:pt x="125" y="320"/>
                  </a:cubicBezTo>
                  <a:cubicBezTo>
                    <a:pt x="130" y="318"/>
                    <a:pt x="133" y="312"/>
                    <a:pt x="133" y="307"/>
                  </a:cubicBezTo>
                  <a:cubicBezTo>
                    <a:pt x="130" y="287"/>
                    <a:pt x="130" y="287"/>
                    <a:pt x="130" y="287"/>
                  </a:cubicBezTo>
                  <a:cubicBezTo>
                    <a:pt x="224" y="287"/>
                    <a:pt x="224" y="287"/>
                    <a:pt x="224" y="287"/>
                  </a:cubicBezTo>
                  <a:cubicBezTo>
                    <a:pt x="263" y="286"/>
                    <a:pt x="290" y="249"/>
                    <a:pt x="291" y="248"/>
                  </a:cubicBezTo>
                  <a:cubicBezTo>
                    <a:pt x="291" y="248"/>
                    <a:pt x="292" y="247"/>
                    <a:pt x="292" y="247"/>
                  </a:cubicBezTo>
                  <a:cubicBezTo>
                    <a:pt x="423" y="20"/>
                    <a:pt x="423" y="20"/>
                    <a:pt x="423" y="20"/>
                  </a:cubicBezTo>
                  <a:cubicBezTo>
                    <a:pt x="426" y="15"/>
                    <a:pt x="425" y="8"/>
                    <a:pt x="420" y="4"/>
                  </a:cubicBezTo>
                  <a:close/>
                  <a:moveTo>
                    <a:pt x="270" y="233"/>
                  </a:moveTo>
                  <a:cubicBezTo>
                    <a:pt x="267" y="237"/>
                    <a:pt x="247" y="260"/>
                    <a:pt x="224" y="261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2" y="262"/>
                    <a:pt x="108" y="263"/>
                    <a:pt x="106" y="266"/>
                  </a:cubicBezTo>
                  <a:cubicBezTo>
                    <a:pt x="105" y="267"/>
                    <a:pt x="105" y="267"/>
                    <a:pt x="104" y="268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5" y="78"/>
                    <a:pt x="99" y="81"/>
                    <a:pt x="104" y="8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9" y="77"/>
                    <a:pt x="335" y="77"/>
                    <a:pt x="371" y="58"/>
                  </a:cubicBezTo>
                  <a:lnTo>
                    <a:pt x="270" y="2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1" name="Freeform 64">
              <a:extLst>
                <a:ext uri="{FF2B5EF4-FFF2-40B4-BE49-F238E27FC236}">
                  <a16:creationId xmlns:a16="http://schemas.microsoft.com/office/drawing/2014/main" id="{53E294AE-0FF2-4177-900E-ED4508056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6388" y="609600"/>
              <a:ext cx="171450" cy="193675"/>
            </a:xfrm>
            <a:custGeom>
              <a:avLst/>
              <a:gdLst>
                <a:gd name="T0" fmla="*/ 304 w 329"/>
                <a:gd name="T1" fmla="*/ 172 h 371"/>
                <a:gd name="T2" fmla="*/ 202 w 329"/>
                <a:gd name="T3" fmla="*/ 7 h 371"/>
                <a:gd name="T4" fmla="*/ 194 w 329"/>
                <a:gd name="T5" fmla="*/ 1 h 371"/>
                <a:gd name="T6" fmla="*/ 184 w 329"/>
                <a:gd name="T7" fmla="*/ 2 h 371"/>
                <a:gd name="T8" fmla="*/ 8 w 329"/>
                <a:gd name="T9" fmla="*/ 115 h 371"/>
                <a:gd name="T10" fmla="*/ 4 w 329"/>
                <a:gd name="T11" fmla="*/ 133 h 371"/>
                <a:gd name="T12" fmla="*/ 148 w 329"/>
                <a:gd name="T13" fmla="*/ 365 h 371"/>
                <a:gd name="T14" fmla="*/ 159 w 329"/>
                <a:gd name="T15" fmla="*/ 371 h 371"/>
                <a:gd name="T16" fmla="*/ 160 w 329"/>
                <a:gd name="T17" fmla="*/ 371 h 371"/>
                <a:gd name="T18" fmla="*/ 298 w 329"/>
                <a:gd name="T19" fmla="*/ 273 h 371"/>
                <a:gd name="T20" fmla="*/ 304 w 329"/>
                <a:gd name="T21" fmla="*/ 172 h 371"/>
                <a:gd name="T22" fmla="*/ 276 w 329"/>
                <a:gd name="T23" fmla="*/ 261 h 371"/>
                <a:gd name="T24" fmla="*/ 275 w 329"/>
                <a:gd name="T25" fmla="*/ 261 h 371"/>
                <a:gd name="T26" fmla="*/ 166 w 329"/>
                <a:gd name="T27" fmla="*/ 345 h 371"/>
                <a:gd name="T28" fmla="*/ 32 w 329"/>
                <a:gd name="T29" fmla="*/ 130 h 371"/>
                <a:gd name="T30" fmla="*/ 187 w 329"/>
                <a:gd name="T31" fmla="*/ 31 h 371"/>
                <a:gd name="T32" fmla="*/ 282 w 329"/>
                <a:gd name="T33" fmla="*/ 185 h 371"/>
                <a:gd name="T34" fmla="*/ 276 w 329"/>
                <a:gd name="T35" fmla="*/ 26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9" h="371">
                  <a:moveTo>
                    <a:pt x="304" y="172"/>
                  </a:moveTo>
                  <a:cubicBezTo>
                    <a:pt x="202" y="7"/>
                    <a:pt x="202" y="7"/>
                    <a:pt x="202" y="7"/>
                  </a:cubicBezTo>
                  <a:cubicBezTo>
                    <a:pt x="200" y="4"/>
                    <a:pt x="197" y="1"/>
                    <a:pt x="194" y="1"/>
                  </a:cubicBezTo>
                  <a:cubicBezTo>
                    <a:pt x="191" y="0"/>
                    <a:pt x="187" y="1"/>
                    <a:pt x="184" y="2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2" y="119"/>
                    <a:pt x="0" y="127"/>
                    <a:pt x="4" y="133"/>
                  </a:cubicBezTo>
                  <a:cubicBezTo>
                    <a:pt x="148" y="365"/>
                    <a:pt x="148" y="365"/>
                    <a:pt x="148" y="365"/>
                  </a:cubicBezTo>
                  <a:cubicBezTo>
                    <a:pt x="150" y="368"/>
                    <a:pt x="154" y="371"/>
                    <a:pt x="159" y="371"/>
                  </a:cubicBezTo>
                  <a:cubicBezTo>
                    <a:pt x="159" y="371"/>
                    <a:pt x="159" y="371"/>
                    <a:pt x="160" y="371"/>
                  </a:cubicBezTo>
                  <a:cubicBezTo>
                    <a:pt x="172" y="371"/>
                    <a:pt x="251" y="367"/>
                    <a:pt x="298" y="273"/>
                  </a:cubicBezTo>
                  <a:cubicBezTo>
                    <a:pt x="301" y="268"/>
                    <a:pt x="329" y="215"/>
                    <a:pt x="304" y="172"/>
                  </a:cubicBezTo>
                  <a:close/>
                  <a:moveTo>
                    <a:pt x="276" y="261"/>
                  </a:moveTo>
                  <a:cubicBezTo>
                    <a:pt x="275" y="261"/>
                    <a:pt x="275" y="261"/>
                    <a:pt x="275" y="261"/>
                  </a:cubicBezTo>
                  <a:cubicBezTo>
                    <a:pt x="240" y="332"/>
                    <a:pt x="185" y="343"/>
                    <a:pt x="166" y="345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187" y="31"/>
                    <a:pt x="187" y="31"/>
                    <a:pt x="187" y="31"/>
                  </a:cubicBezTo>
                  <a:cubicBezTo>
                    <a:pt x="282" y="185"/>
                    <a:pt x="282" y="185"/>
                    <a:pt x="282" y="185"/>
                  </a:cubicBezTo>
                  <a:cubicBezTo>
                    <a:pt x="300" y="216"/>
                    <a:pt x="276" y="260"/>
                    <a:pt x="276" y="26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2" name="Freeform 65">
              <a:extLst>
                <a:ext uri="{FF2B5EF4-FFF2-40B4-BE49-F238E27FC236}">
                  <a16:creationId xmlns:a16="http://schemas.microsoft.com/office/drawing/2014/main" id="{4FD2C051-5855-4FE9-A2CB-574424EC12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8088" y="647700"/>
              <a:ext cx="161925" cy="236538"/>
            </a:xfrm>
            <a:custGeom>
              <a:avLst/>
              <a:gdLst>
                <a:gd name="T0" fmla="*/ 291 w 311"/>
                <a:gd name="T1" fmla="*/ 171 h 452"/>
                <a:gd name="T2" fmla="*/ 306 w 311"/>
                <a:gd name="T3" fmla="*/ 168 h 452"/>
                <a:gd name="T4" fmla="*/ 308 w 311"/>
                <a:gd name="T5" fmla="*/ 153 h 452"/>
                <a:gd name="T6" fmla="*/ 233 w 311"/>
                <a:gd name="T7" fmla="*/ 8 h 452"/>
                <a:gd name="T8" fmla="*/ 219 w 311"/>
                <a:gd name="T9" fmla="*/ 1 h 452"/>
                <a:gd name="T10" fmla="*/ 52 w 311"/>
                <a:gd name="T11" fmla="*/ 24 h 452"/>
                <a:gd name="T12" fmla="*/ 41 w 311"/>
                <a:gd name="T13" fmla="*/ 36 h 452"/>
                <a:gd name="T14" fmla="*/ 49 w 311"/>
                <a:gd name="T15" fmla="*/ 49 h 452"/>
                <a:gd name="T16" fmla="*/ 67 w 311"/>
                <a:gd name="T17" fmla="*/ 57 h 452"/>
                <a:gd name="T18" fmla="*/ 19 w 311"/>
                <a:gd name="T19" fmla="*/ 138 h 452"/>
                <a:gd name="T20" fmla="*/ 18 w 311"/>
                <a:gd name="T21" fmla="*/ 215 h 452"/>
                <a:gd name="T22" fmla="*/ 19 w 311"/>
                <a:gd name="T23" fmla="*/ 217 h 452"/>
                <a:gd name="T24" fmla="*/ 147 w 311"/>
                <a:gd name="T25" fmla="*/ 445 h 452"/>
                <a:gd name="T26" fmla="*/ 158 w 311"/>
                <a:gd name="T27" fmla="*/ 452 h 452"/>
                <a:gd name="T28" fmla="*/ 162 w 311"/>
                <a:gd name="T29" fmla="*/ 451 h 452"/>
                <a:gd name="T30" fmla="*/ 171 w 311"/>
                <a:gd name="T31" fmla="*/ 436 h 452"/>
                <a:gd name="T32" fmla="*/ 181 w 311"/>
                <a:gd name="T33" fmla="*/ 328 h 452"/>
                <a:gd name="T34" fmla="*/ 181 w 311"/>
                <a:gd name="T35" fmla="*/ 327 h 452"/>
                <a:gd name="T36" fmla="*/ 274 w 311"/>
                <a:gd name="T37" fmla="*/ 164 h 452"/>
                <a:gd name="T38" fmla="*/ 291 w 311"/>
                <a:gd name="T39" fmla="*/ 171 h 452"/>
                <a:gd name="T40" fmla="*/ 258 w 311"/>
                <a:gd name="T41" fmla="*/ 141 h 452"/>
                <a:gd name="T42" fmla="*/ 159 w 311"/>
                <a:gd name="T43" fmla="*/ 314 h 452"/>
                <a:gd name="T44" fmla="*/ 141 w 311"/>
                <a:gd name="T45" fmla="*/ 381 h 452"/>
                <a:gd name="T46" fmla="*/ 42 w 311"/>
                <a:gd name="T47" fmla="*/ 205 h 452"/>
                <a:gd name="T48" fmla="*/ 42 w 311"/>
                <a:gd name="T49" fmla="*/ 151 h 452"/>
                <a:gd name="T50" fmla="*/ 96 w 311"/>
                <a:gd name="T51" fmla="*/ 57 h 452"/>
                <a:gd name="T52" fmla="*/ 98 w 311"/>
                <a:gd name="T53" fmla="*/ 47 h 452"/>
                <a:gd name="T54" fmla="*/ 97 w 311"/>
                <a:gd name="T55" fmla="*/ 44 h 452"/>
                <a:gd name="T56" fmla="*/ 214 w 311"/>
                <a:gd name="T57" fmla="*/ 28 h 452"/>
                <a:gd name="T58" fmla="*/ 269 w 311"/>
                <a:gd name="T59" fmla="*/ 134 h 452"/>
                <a:gd name="T60" fmla="*/ 258 w 311"/>
                <a:gd name="T61" fmla="*/ 1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452">
                  <a:moveTo>
                    <a:pt x="291" y="171"/>
                  </a:moveTo>
                  <a:cubicBezTo>
                    <a:pt x="296" y="173"/>
                    <a:pt x="302" y="172"/>
                    <a:pt x="306" y="168"/>
                  </a:cubicBezTo>
                  <a:cubicBezTo>
                    <a:pt x="310" y="164"/>
                    <a:pt x="311" y="158"/>
                    <a:pt x="308" y="153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0" y="3"/>
                    <a:pt x="225" y="0"/>
                    <a:pt x="219" y="1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6" y="25"/>
                    <a:pt x="42" y="30"/>
                    <a:pt x="41" y="36"/>
                  </a:cubicBezTo>
                  <a:cubicBezTo>
                    <a:pt x="40" y="41"/>
                    <a:pt x="44" y="47"/>
                    <a:pt x="49" y="49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72"/>
                    <a:pt x="18" y="214"/>
                    <a:pt x="18" y="215"/>
                  </a:cubicBezTo>
                  <a:cubicBezTo>
                    <a:pt x="18" y="216"/>
                    <a:pt x="19" y="216"/>
                    <a:pt x="19" y="217"/>
                  </a:cubicBezTo>
                  <a:cubicBezTo>
                    <a:pt x="147" y="445"/>
                    <a:pt x="147" y="445"/>
                    <a:pt x="147" y="445"/>
                  </a:cubicBezTo>
                  <a:cubicBezTo>
                    <a:pt x="149" y="449"/>
                    <a:pt x="153" y="452"/>
                    <a:pt x="158" y="452"/>
                  </a:cubicBezTo>
                  <a:cubicBezTo>
                    <a:pt x="159" y="452"/>
                    <a:pt x="161" y="451"/>
                    <a:pt x="162" y="451"/>
                  </a:cubicBezTo>
                  <a:cubicBezTo>
                    <a:pt x="168" y="449"/>
                    <a:pt x="172" y="442"/>
                    <a:pt x="171" y="436"/>
                  </a:cubicBezTo>
                  <a:cubicBezTo>
                    <a:pt x="157" y="365"/>
                    <a:pt x="181" y="328"/>
                    <a:pt x="181" y="328"/>
                  </a:cubicBezTo>
                  <a:cubicBezTo>
                    <a:pt x="181" y="328"/>
                    <a:pt x="181" y="327"/>
                    <a:pt x="181" y="327"/>
                  </a:cubicBezTo>
                  <a:cubicBezTo>
                    <a:pt x="274" y="164"/>
                    <a:pt x="274" y="164"/>
                    <a:pt x="274" y="164"/>
                  </a:cubicBezTo>
                  <a:lnTo>
                    <a:pt x="291" y="171"/>
                  </a:lnTo>
                  <a:close/>
                  <a:moveTo>
                    <a:pt x="258" y="141"/>
                  </a:moveTo>
                  <a:cubicBezTo>
                    <a:pt x="159" y="314"/>
                    <a:pt x="159" y="314"/>
                    <a:pt x="159" y="314"/>
                  </a:cubicBezTo>
                  <a:cubicBezTo>
                    <a:pt x="156" y="318"/>
                    <a:pt x="143" y="340"/>
                    <a:pt x="141" y="381"/>
                  </a:cubicBezTo>
                  <a:cubicBezTo>
                    <a:pt x="42" y="205"/>
                    <a:pt x="42" y="205"/>
                    <a:pt x="42" y="205"/>
                  </a:cubicBezTo>
                  <a:cubicBezTo>
                    <a:pt x="40" y="200"/>
                    <a:pt x="30" y="171"/>
                    <a:pt x="42" y="151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4"/>
                    <a:pt x="99" y="50"/>
                    <a:pt x="98" y="47"/>
                  </a:cubicBezTo>
                  <a:cubicBezTo>
                    <a:pt x="97" y="46"/>
                    <a:pt x="97" y="45"/>
                    <a:pt x="97" y="44"/>
                  </a:cubicBezTo>
                  <a:cubicBezTo>
                    <a:pt x="214" y="28"/>
                    <a:pt x="214" y="28"/>
                    <a:pt x="214" y="28"/>
                  </a:cubicBezTo>
                  <a:cubicBezTo>
                    <a:pt x="269" y="134"/>
                    <a:pt x="269" y="134"/>
                    <a:pt x="269" y="134"/>
                  </a:cubicBezTo>
                  <a:cubicBezTo>
                    <a:pt x="264" y="134"/>
                    <a:pt x="260" y="136"/>
                    <a:pt x="258" y="14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3" name="Freeform 66">
              <a:extLst>
                <a:ext uri="{FF2B5EF4-FFF2-40B4-BE49-F238E27FC236}">
                  <a16:creationId xmlns:a16="http://schemas.microsoft.com/office/drawing/2014/main" id="{EE5CC8B9-0B03-4305-AA64-61A47CB1E5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9051" y="815975"/>
              <a:ext cx="180975" cy="122238"/>
            </a:xfrm>
            <a:custGeom>
              <a:avLst/>
              <a:gdLst>
                <a:gd name="T0" fmla="*/ 334 w 348"/>
                <a:gd name="T1" fmla="*/ 0 h 236"/>
                <a:gd name="T2" fmla="*/ 60 w 348"/>
                <a:gd name="T3" fmla="*/ 0 h 236"/>
                <a:gd name="T4" fmla="*/ 60 w 348"/>
                <a:gd name="T5" fmla="*/ 0 h 236"/>
                <a:gd name="T6" fmla="*/ 49 w 348"/>
                <a:gd name="T7" fmla="*/ 5 h 236"/>
                <a:gd name="T8" fmla="*/ 58 w 348"/>
                <a:gd name="T9" fmla="*/ 176 h 236"/>
                <a:gd name="T10" fmla="*/ 140 w 348"/>
                <a:gd name="T11" fmla="*/ 234 h 236"/>
                <a:gd name="T12" fmla="*/ 335 w 348"/>
                <a:gd name="T13" fmla="*/ 236 h 236"/>
                <a:gd name="T14" fmla="*/ 335 w 348"/>
                <a:gd name="T15" fmla="*/ 236 h 236"/>
                <a:gd name="T16" fmla="*/ 344 w 348"/>
                <a:gd name="T17" fmla="*/ 232 h 236"/>
                <a:gd name="T18" fmla="*/ 348 w 348"/>
                <a:gd name="T19" fmla="*/ 223 h 236"/>
                <a:gd name="T20" fmla="*/ 346 w 348"/>
                <a:gd name="T21" fmla="*/ 13 h 236"/>
                <a:gd name="T22" fmla="*/ 334 w 348"/>
                <a:gd name="T23" fmla="*/ 0 h 236"/>
                <a:gd name="T24" fmla="*/ 141 w 348"/>
                <a:gd name="T25" fmla="*/ 208 h 236"/>
                <a:gd name="T26" fmla="*/ 81 w 348"/>
                <a:gd name="T27" fmla="*/ 163 h 236"/>
                <a:gd name="T28" fmla="*/ 80 w 348"/>
                <a:gd name="T29" fmla="*/ 163 h 236"/>
                <a:gd name="T30" fmla="*/ 68 w 348"/>
                <a:gd name="T31" fmla="*/ 26 h 236"/>
                <a:gd name="T32" fmla="*/ 321 w 348"/>
                <a:gd name="T33" fmla="*/ 26 h 236"/>
                <a:gd name="T34" fmla="*/ 322 w 348"/>
                <a:gd name="T35" fmla="*/ 210 h 236"/>
                <a:gd name="T36" fmla="*/ 141 w 348"/>
                <a:gd name="T37" fmla="*/ 20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8" h="236">
                  <a:moveTo>
                    <a:pt x="33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6" y="0"/>
                    <a:pt x="52" y="2"/>
                    <a:pt x="49" y="5"/>
                  </a:cubicBezTo>
                  <a:cubicBezTo>
                    <a:pt x="47" y="8"/>
                    <a:pt x="0" y="80"/>
                    <a:pt x="58" y="176"/>
                  </a:cubicBezTo>
                  <a:cubicBezTo>
                    <a:pt x="61" y="181"/>
                    <a:pt x="91" y="233"/>
                    <a:pt x="140" y="234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38" y="236"/>
                    <a:pt x="342" y="234"/>
                    <a:pt x="344" y="232"/>
                  </a:cubicBezTo>
                  <a:cubicBezTo>
                    <a:pt x="347" y="230"/>
                    <a:pt x="348" y="226"/>
                    <a:pt x="348" y="223"/>
                  </a:cubicBezTo>
                  <a:cubicBezTo>
                    <a:pt x="346" y="13"/>
                    <a:pt x="346" y="13"/>
                    <a:pt x="346" y="13"/>
                  </a:cubicBezTo>
                  <a:cubicBezTo>
                    <a:pt x="346" y="6"/>
                    <a:pt x="341" y="1"/>
                    <a:pt x="334" y="0"/>
                  </a:cubicBezTo>
                  <a:close/>
                  <a:moveTo>
                    <a:pt x="141" y="208"/>
                  </a:moveTo>
                  <a:cubicBezTo>
                    <a:pt x="105" y="207"/>
                    <a:pt x="81" y="163"/>
                    <a:pt x="81" y="163"/>
                  </a:cubicBezTo>
                  <a:cubicBezTo>
                    <a:pt x="81" y="163"/>
                    <a:pt x="80" y="163"/>
                    <a:pt x="80" y="163"/>
                  </a:cubicBezTo>
                  <a:cubicBezTo>
                    <a:pt x="39" y="95"/>
                    <a:pt x="59" y="42"/>
                    <a:pt x="68" y="26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2" y="210"/>
                    <a:pt x="322" y="210"/>
                    <a:pt x="322" y="210"/>
                  </a:cubicBezTo>
                  <a:lnTo>
                    <a:pt x="141" y="20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4" name="Freeform 67">
              <a:extLst>
                <a:ext uri="{FF2B5EF4-FFF2-40B4-BE49-F238E27FC236}">
                  <a16:creationId xmlns:a16="http://schemas.microsoft.com/office/drawing/2014/main" id="{AEF735A7-A594-4BEE-86D6-8CF7B7E08B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3788" y="330200"/>
              <a:ext cx="768350" cy="768350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738 w 1476"/>
                <a:gd name="T11" fmla="*/ 1440 h 1476"/>
                <a:gd name="T12" fmla="*/ 36 w 1476"/>
                <a:gd name="T13" fmla="*/ 738 h 1476"/>
                <a:gd name="T14" fmla="*/ 738 w 1476"/>
                <a:gd name="T15" fmla="*/ 36 h 1476"/>
                <a:gd name="T16" fmla="*/ 1440 w 1476"/>
                <a:gd name="T17" fmla="*/ 738 h 1476"/>
                <a:gd name="T18" fmla="*/ 738 w 1476"/>
                <a:gd name="T19" fmla="*/ 1440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1" y="0"/>
                    <a:pt x="0" y="331"/>
                    <a:pt x="0" y="738"/>
                  </a:cubicBezTo>
                  <a:cubicBezTo>
                    <a:pt x="0" y="1145"/>
                    <a:pt x="331" y="1476"/>
                    <a:pt x="738" y="1476"/>
                  </a:cubicBezTo>
                  <a:cubicBezTo>
                    <a:pt x="1144" y="1476"/>
                    <a:pt x="1476" y="1145"/>
                    <a:pt x="1476" y="738"/>
                  </a:cubicBezTo>
                  <a:cubicBezTo>
                    <a:pt x="1476" y="331"/>
                    <a:pt x="1144" y="0"/>
                    <a:pt x="738" y="0"/>
                  </a:cubicBezTo>
                  <a:close/>
                  <a:moveTo>
                    <a:pt x="738" y="1440"/>
                  </a:moveTo>
                  <a:cubicBezTo>
                    <a:pt x="350" y="1440"/>
                    <a:pt x="36" y="1125"/>
                    <a:pt x="36" y="738"/>
                  </a:cubicBezTo>
                  <a:cubicBezTo>
                    <a:pt x="36" y="351"/>
                    <a:pt x="350" y="36"/>
                    <a:pt x="738" y="36"/>
                  </a:cubicBezTo>
                  <a:cubicBezTo>
                    <a:pt x="1125" y="36"/>
                    <a:pt x="1440" y="351"/>
                    <a:pt x="1440" y="738"/>
                  </a:cubicBezTo>
                  <a:cubicBezTo>
                    <a:pt x="1440" y="1125"/>
                    <a:pt x="1125" y="1440"/>
                    <a:pt x="738" y="14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38" name="Group 45137">
            <a:extLst>
              <a:ext uri="{FF2B5EF4-FFF2-40B4-BE49-F238E27FC236}">
                <a16:creationId xmlns:a16="http://schemas.microsoft.com/office/drawing/2014/main" id="{E2441C27-9066-4DC5-99BD-63BAF724168F}"/>
              </a:ext>
            </a:extLst>
          </p:cNvPr>
          <p:cNvGrpSpPr/>
          <p:nvPr/>
        </p:nvGrpSpPr>
        <p:grpSpPr>
          <a:xfrm>
            <a:off x="4768850" y="293688"/>
            <a:ext cx="844550" cy="841375"/>
            <a:chOff x="4768850" y="293688"/>
            <a:chExt cx="844550" cy="841375"/>
          </a:xfrm>
        </p:grpSpPr>
        <p:sp>
          <p:nvSpPr>
            <p:cNvPr id="45107" name="AutoShape 69">
              <a:extLst>
                <a:ext uri="{FF2B5EF4-FFF2-40B4-BE49-F238E27FC236}">
                  <a16:creationId xmlns:a16="http://schemas.microsoft.com/office/drawing/2014/main" id="{2E3C9524-7B77-4DF3-B78B-F96585E9B0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8850" y="2936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8" name="Oval 71">
              <a:extLst>
                <a:ext uri="{FF2B5EF4-FFF2-40B4-BE49-F238E27FC236}">
                  <a16:creationId xmlns:a16="http://schemas.microsoft.com/office/drawing/2014/main" id="{4B395396-B5E8-491E-AEA3-08DBC6C0AF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8850" y="2968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9" name="Freeform 72">
              <a:extLst>
                <a:ext uri="{FF2B5EF4-FFF2-40B4-BE49-F238E27FC236}">
                  <a16:creationId xmlns:a16="http://schemas.microsoft.com/office/drawing/2014/main" id="{A406EA3F-9699-4FB3-A6A9-847A97D74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7425" y="3254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0" name="Freeform 73">
              <a:extLst>
                <a:ext uri="{FF2B5EF4-FFF2-40B4-BE49-F238E27FC236}">
                  <a16:creationId xmlns:a16="http://schemas.microsoft.com/office/drawing/2014/main" id="{6C57BE1A-ECFB-46A6-86AC-40EBF9C903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4113" y="625476"/>
              <a:ext cx="438150" cy="304800"/>
            </a:xfrm>
            <a:custGeom>
              <a:avLst/>
              <a:gdLst>
                <a:gd name="T0" fmla="*/ 13 w 276"/>
                <a:gd name="T1" fmla="*/ 182 h 192"/>
                <a:gd name="T2" fmla="*/ 264 w 276"/>
                <a:gd name="T3" fmla="*/ 182 h 192"/>
                <a:gd name="T4" fmla="*/ 264 w 276"/>
                <a:gd name="T5" fmla="*/ 13 h 192"/>
                <a:gd name="T6" fmla="*/ 13 w 276"/>
                <a:gd name="T7" fmla="*/ 13 h 192"/>
                <a:gd name="T8" fmla="*/ 13 w 276"/>
                <a:gd name="T9" fmla="*/ 182 h 192"/>
                <a:gd name="T10" fmla="*/ 276 w 276"/>
                <a:gd name="T11" fmla="*/ 192 h 192"/>
                <a:gd name="T12" fmla="*/ 0 w 276"/>
                <a:gd name="T13" fmla="*/ 192 h 192"/>
                <a:gd name="T14" fmla="*/ 0 w 276"/>
                <a:gd name="T15" fmla="*/ 0 h 192"/>
                <a:gd name="T16" fmla="*/ 276 w 276"/>
                <a:gd name="T17" fmla="*/ 0 h 192"/>
                <a:gd name="T18" fmla="*/ 276 w 276"/>
                <a:gd name="T1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192">
                  <a:moveTo>
                    <a:pt x="13" y="182"/>
                  </a:moveTo>
                  <a:lnTo>
                    <a:pt x="264" y="182"/>
                  </a:lnTo>
                  <a:lnTo>
                    <a:pt x="264" y="13"/>
                  </a:lnTo>
                  <a:lnTo>
                    <a:pt x="13" y="13"/>
                  </a:lnTo>
                  <a:lnTo>
                    <a:pt x="13" y="182"/>
                  </a:lnTo>
                  <a:close/>
                  <a:moveTo>
                    <a:pt x="276" y="192"/>
                  </a:moveTo>
                  <a:lnTo>
                    <a:pt x="0" y="192"/>
                  </a:lnTo>
                  <a:lnTo>
                    <a:pt x="0" y="0"/>
                  </a:lnTo>
                  <a:lnTo>
                    <a:pt x="276" y="0"/>
                  </a:lnTo>
                  <a:lnTo>
                    <a:pt x="276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3" name="Freeform 74">
              <a:extLst>
                <a:ext uri="{FF2B5EF4-FFF2-40B4-BE49-F238E27FC236}">
                  <a16:creationId xmlns:a16="http://schemas.microsoft.com/office/drawing/2014/main" id="{7E11B0A4-3F10-45EC-B33E-5F4755D64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838" y="635001"/>
              <a:ext cx="120650" cy="66675"/>
            </a:xfrm>
            <a:custGeom>
              <a:avLst/>
              <a:gdLst>
                <a:gd name="T0" fmla="*/ 76 w 76"/>
                <a:gd name="T1" fmla="*/ 0 h 42"/>
                <a:gd name="T2" fmla="*/ 41 w 76"/>
                <a:gd name="T3" fmla="*/ 0 h 42"/>
                <a:gd name="T4" fmla="*/ 0 w 76"/>
                <a:gd name="T5" fmla="*/ 42 h 42"/>
                <a:gd name="T6" fmla="*/ 35 w 76"/>
                <a:gd name="T7" fmla="*/ 42 h 42"/>
                <a:gd name="T8" fmla="*/ 76 w 76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2">
                  <a:moveTo>
                    <a:pt x="76" y="0"/>
                  </a:moveTo>
                  <a:lnTo>
                    <a:pt x="41" y="0"/>
                  </a:lnTo>
                  <a:lnTo>
                    <a:pt x="0" y="42"/>
                  </a:lnTo>
                  <a:lnTo>
                    <a:pt x="35" y="4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0" name="Freeform 75">
              <a:extLst>
                <a:ext uri="{FF2B5EF4-FFF2-40B4-BE49-F238E27FC236}">
                  <a16:creationId xmlns:a16="http://schemas.microsoft.com/office/drawing/2014/main" id="{2F645A2A-2F1D-4BBD-81C2-8731CB585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88" y="635001"/>
              <a:ext cx="82550" cy="66675"/>
            </a:xfrm>
            <a:custGeom>
              <a:avLst/>
              <a:gdLst>
                <a:gd name="T0" fmla="*/ 52 w 52"/>
                <a:gd name="T1" fmla="*/ 0 h 42"/>
                <a:gd name="T2" fmla="*/ 0 w 52"/>
                <a:gd name="T3" fmla="*/ 0 h 42"/>
                <a:gd name="T4" fmla="*/ 3 w 52"/>
                <a:gd name="T5" fmla="*/ 42 h 42"/>
                <a:gd name="T6" fmla="*/ 11 w 52"/>
                <a:gd name="T7" fmla="*/ 42 h 42"/>
                <a:gd name="T8" fmla="*/ 52 w 52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52" y="0"/>
                  </a:moveTo>
                  <a:lnTo>
                    <a:pt x="0" y="0"/>
                  </a:lnTo>
                  <a:lnTo>
                    <a:pt x="3" y="42"/>
                  </a:lnTo>
                  <a:lnTo>
                    <a:pt x="11" y="42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1" name="Freeform 76">
              <a:extLst>
                <a:ext uri="{FF2B5EF4-FFF2-40B4-BE49-F238E27FC236}">
                  <a16:creationId xmlns:a16="http://schemas.microsoft.com/office/drawing/2014/main" id="{1107AEA2-8624-4A5B-A9D3-5B8369CF8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635001"/>
              <a:ext cx="122238" cy="66675"/>
            </a:xfrm>
            <a:custGeom>
              <a:avLst/>
              <a:gdLst>
                <a:gd name="T0" fmla="*/ 77 w 77"/>
                <a:gd name="T1" fmla="*/ 0 h 42"/>
                <a:gd name="T2" fmla="*/ 39 w 77"/>
                <a:gd name="T3" fmla="*/ 0 h 42"/>
                <a:gd name="T4" fmla="*/ 0 w 77"/>
                <a:gd name="T5" fmla="*/ 42 h 42"/>
                <a:gd name="T6" fmla="*/ 36 w 77"/>
                <a:gd name="T7" fmla="*/ 42 h 42"/>
                <a:gd name="T8" fmla="*/ 77 w 77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42">
                  <a:moveTo>
                    <a:pt x="77" y="0"/>
                  </a:moveTo>
                  <a:lnTo>
                    <a:pt x="39" y="0"/>
                  </a:lnTo>
                  <a:lnTo>
                    <a:pt x="0" y="42"/>
                  </a:lnTo>
                  <a:lnTo>
                    <a:pt x="36" y="42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2" name="Freeform 77">
              <a:extLst>
                <a:ext uri="{FF2B5EF4-FFF2-40B4-BE49-F238E27FC236}">
                  <a16:creationId xmlns:a16="http://schemas.microsoft.com/office/drawing/2014/main" id="{3FFE0E0E-03BF-433A-BCC5-C06618E48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425" y="635001"/>
              <a:ext cx="88900" cy="66675"/>
            </a:xfrm>
            <a:custGeom>
              <a:avLst/>
              <a:gdLst>
                <a:gd name="T0" fmla="*/ 54 w 56"/>
                <a:gd name="T1" fmla="*/ 0 h 42"/>
                <a:gd name="T2" fmla="*/ 38 w 56"/>
                <a:gd name="T3" fmla="*/ 0 h 42"/>
                <a:gd name="T4" fmla="*/ 0 w 56"/>
                <a:gd name="T5" fmla="*/ 42 h 42"/>
                <a:gd name="T6" fmla="*/ 56 w 56"/>
                <a:gd name="T7" fmla="*/ 42 h 42"/>
                <a:gd name="T8" fmla="*/ 54 w 56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2">
                  <a:moveTo>
                    <a:pt x="54" y="0"/>
                  </a:moveTo>
                  <a:lnTo>
                    <a:pt x="38" y="0"/>
                  </a:lnTo>
                  <a:lnTo>
                    <a:pt x="0" y="42"/>
                  </a:lnTo>
                  <a:lnTo>
                    <a:pt x="56" y="42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3" name="Freeform 78">
              <a:extLst>
                <a:ext uri="{FF2B5EF4-FFF2-40B4-BE49-F238E27FC236}">
                  <a16:creationId xmlns:a16="http://schemas.microsoft.com/office/drawing/2014/main" id="{BCD645DE-AE6E-4E75-83FF-F2E24CCCA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313" y="514351"/>
              <a:ext cx="93663" cy="95250"/>
            </a:xfrm>
            <a:custGeom>
              <a:avLst/>
              <a:gdLst>
                <a:gd name="T0" fmla="*/ 59 w 59"/>
                <a:gd name="T1" fmla="*/ 0 h 60"/>
                <a:gd name="T2" fmla="*/ 26 w 59"/>
                <a:gd name="T3" fmla="*/ 10 h 60"/>
                <a:gd name="T4" fmla="*/ 0 w 59"/>
                <a:gd name="T5" fmla="*/ 60 h 60"/>
                <a:gd name="T6" fmla="*/ 34 w 59"/>
                <a:gd name="T7" fmla="*/ 50 h 60"/>
                <a:gd name="T8" fmla="*/ 59 w 59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0">
                  <a:moveTo>
                    <a:pt x="59" y="0"/>
                  </a:moveTo>
                  <a:lnTo>
                    <a:pt x="26" y="10"/>
                  </a:lnTo>
                  <a:lnTo>
                    <a:pt x="0" y="60"/>
                  </a:lnTo>
                  <a:lnTo>
                    <a:pt x="34" y="5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4" name="Freeform 79">
              <a:extLst>
                <a:ext uri="{FF2B5EF4-FFF2-40B4-BE49-F238E27FC236}">
                  <a16:creationId xmlns:a16="http://schemas.microsoft.com/office/drawing/2014/main" id="{F160C3C5-DAF7-4C30-B4EA-38591773C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175" y="549276"/>
              <a:ext cx="65088" cy="85725"/>
            </a:xfrm>
            <a:custGeom>
              <a:avLst/>
              <a:gdLst>
                <a:gd name="T0" fmla="*/ 41 w 41"/>
                <a:gd name="T1" fmla="*/ 0 h 54"/>
                <a:gd name="T2" fmla="*/ 0 w 41"/>
                <a:gd name="T3" fmla="*/ 13 h 54"/>
                <a:gd name="T4" fmla="*/ 7 w 41"/>
                <a:gd name="T5" fmla="*/ 54 h 54"/>
                <a:gd name="T6" fmla="*/ 15 w 41"/>
                <a:gd name="T7" fmla="*/ 51 h 54"/>
                <a:gd name="T8" fmla="*/ 41 w 41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4">
                  <a:moveTo>
                    <a:pt x="41" y="0"/>
                  </a:moveTo>
                  <a:lnTo>
                    <a:pt x="0" y="13"/>
                  </a:lnTo>
                  <a:lnTo>
                    <a:pt x="7" y="54"/>
                  </a:lnTo>
                  <a:lnTo>
                    <a:pt x="15" y="5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5" name="Freeform 80">
              <a:extLst>
                <a:ext uri="{FF2B5EF4-FFF2-40B4-BE49-F238E27FC236}">
                  <a16:creationId xmlns:a16="http://schemas.microsoft.com/office/drawing/2014/main" id="{363B7783-3CCD-481A-AECA-D3BB80D5F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477838"/>
              <a:ext cx="93663" cy="96838"/>
            </a:xfrm>
            <a:custGeom>
              <a:avLst/>
              <a:gdLst>
                <a:gd name="T0" fmla="*/ 59 w 59"/>
                <a:gd name="T1" fmla="*/ 0 h 61"/>
                <a:gd name="T2" fmla="*/ 23 w 59"/>
                <a:gd name="T3" fmla="*/ 10 h 61"/>
                <a:gd name="T4" fmla="*/ 0 w 59"/>
                <a:gd name="T5" fmla="*/ 61 h 61"/>
                <a:gd name="T6" fmla="*/ 33 w 59"/>
                <a:gd name="T7" fmla="*/ 51 h 61"/>
                <a:gd name="T8" fmla="*/ 59 w 59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1">
                  <a:moveTo>
                    <a:pt x="59" y="0"/>
                  </a:moveTo>
                  <a:lnTo>
                    <a:pt x="23" y="10"/>
                  </a:lnTo>
                  <a:lnTo>
                    <a:pt x="0" y="61"/>
                  </a:lnTo>
                  <a:lnTo>
                    <a:pt x="33" y="51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6" name="Freeform 81">
              <a:extLst>
                <a:ext uri="{FF2B5EF4-FFF2-40B4-BE49-F238E27FC236}">
                  <a16:creationId xmlns:a16="http://schemas.microsoft.com/office/drawing/2014/main" id="{F0DE19C9-55AB-4874-9362-85A72FA45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2088" y="449263"/>
              <a:ext cx="98425" cy="92075"/>
            </a:xfrm>
            <a:custGeom>
              <a:avLst/>
              <a:gdLst>
                <a:gd name="T0" fmla="*/ 46 w 62"/>
                <a:gd name="T1" fmla="*/ 0 h 58"/>
                <a:gd name="T2" fmla="*/ 26 w 62"/>
                <a:gd name="T3" fmla="*/ 8 h 58"/>
                <a:gd name="T4" fmla="*/ 0 w 62"/>
                <a:gd name="T5" fmla="*/ 58 h 58"/>
                <a:gd name="T6" fmla="*/ 62 w 62"/>
                <a:gd name="T7" fmla="*/ 38 h 58"/>
                <a:gd name="T8" fmla="*/ 46 w 62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8">
                  <a:moveTo>
                    <a:pt x="46" y="0"/>
                  </a:moveTo>
                  <a:lnTo>
                    <a:pt x="26" y="8"/>
                  </a:lnTo>
                  <a:lnTo>
                    <a:pt x="0" y="58"/>
                  </a:lnTo>
                  <a:lnTo>
                    <a:pt x="62" y="3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7" name="Freeform 82">
              <a:extLst>
                <a:ext uri="{FF2B5EF4-FFF2-40B4-BE49-F238E27FC236}">
                  <a16:creationId xmlns:a16="http://schemas.microsoft.com/office/drawing/2014/main" id="{556AB130-7EF8-4345-B03C-F35247A3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413" y="441326"/>
              <a:ext cx="398463" cy="136525"/>
            </a:xfrm>
            <a:custGeom>
              <a:avLst/>
              <a:gdLst>
                <a:gd name="T0" fmla="*/ 3 w 251"/>
                <a:gd name="T1" fmla="*/ 86 h 86"/>
                <a:gd name="T2" fmla="*/ 0 w 251"/>
                <a:gd name="T3" fmla="*/ 74 h 86"/>
                <a:gd name="T4" fmla="*/ 248 w 251"/>
                <a:gd name="T5" fmla="*/ 0 h 86"/>
                <a:gd name="T6" fmla="*/ 251 w 251"/>
                <a:gd name="T7" fmla="*/ 10 h 86"/>
                <a:gd name="T8" fmla="*/ 3 w 251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86">
                  <a:moveTo>
                    <a:pt x="3" y="86"/>
                  </a:moveTo>
                  <a:lnTo>
                    <a:pt x="0" y="74"/>
                  </a:lnTo>
                  <a:lnTo>
                    <a:pt x="248" y="0"/>
                  </a:lnTo>
                  <a:lnTo>
                    <a:pt x="251" y="10"/>
                  </a:lnTo>
                  <a:lnTo>
                    <a:pt x="3" y="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60" name="Group 45159">
            <a:extLst>
              <a:ext uri="{FF2B5EF4-FFF2-40B4-BE49-F238E27FC236}">
                <a16:creationId xmlns:a16="http://schemas.microsoft.com/office/drawing/2014/main" id="{FEF9D94A-09DA-4629-AF4D-7EBC60E63D00}"/>
              </a:ext>
            </a:extLst>
          </p:cNvPr>
          <p:cNvGrpSpPr/>
          <p:nvPr/>
        </p:nvGrpSpPr>
        <p:grpSpPr>
          <a:xfrm>
            <a:off x="5810250" y="361951"/>
            <a:ext cx="766763" cy="776288"/>
            <a:chOff x="5810250" y="361951"/>
            <a:chExt cx="766763" cy="776288"/>
          </a:xfrm>
        </p:grpSpPr>
        <p:sp>
          <p:nvSpPr>
            <p:cNvPr id="45140" name="AutoShape 84">
              <a:extLst>
                <a:ext uri="{FF2B5EF4-FFF2-40B4-BE49-F238E27FC236}">
                  <a16:creationId xmlns:a16="http://schemas.microsoft.com/office/drawing/2014/main" id="{36A5D712-3DF5-44D4-A666-C0E3E62F24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0250" y="366713"/>
              <a:ext cx="766763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1" name="Freeform 86">
              <a:extLst>
                <a:ext uri="{FF2B5EF4-FFF2-40B4-BE49-F238E27FC236}">
                  <a16:creationId xmlns:a16="http://schemas.microsoft.com/office/drawing/2014/main" id="{51C85E2A-B970-44ED-AD39-2EBEA5449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425" y="36195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2" name="Freeform 87">
              <a:extLst>
                <a:ext uri="{FF2B5EF4-FFF2-40B4-BE49-F238E27FC236}">
                  <a16:creationId xmlns:a16="http://schemas.microsoft.com/office/drawing/2014/main" id="{1DCA72F4-E7D0-4B29-9035-8DA4BAA9E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5350" y="661988"/>
              <a:ext cx="425450" cy="304800"/>
            </a:xfrm>
            <a:custGeom>
              <a:avLst/>
              <a:gdLst>
                <a:gd name="T0" fmla="*/ 12 w 268"/>
                <a:gd name="T1" fmla="*/ 182 h 192"/>
                <a:gd name="T2" fmla="*/ 255 w 268"/>
                <a:gd name="T3" fmla="*/ 182 h 192"/>
                <a:gd name="T4" fmla="*/ 255 w 268"/>
                <a:gd name="T5" fmla="*/ 13 h 192"/>
                <a:gd name="T6" fmla="*/ 12 w 268"/>
                <a:gd name="T7" fmla="*/ 13 h 192"/>
                <a:gd name="T8" fmla="*/ 12 w 268"/>
                <a:gd name="T9" fmla="*/ 182 h 192"/>
                <a:gd name="T10" fmla="*/ 268 w 268"/>
                <a:gd name="T11" fmla="*/ 192 h 192"/>
                <a:gd name="T12" fmla="*/ 0 w 268"/>
                <a:gd name="T13" fmla="*/ 192 h 192"/>
                <a:gd name="T14" fmla="*/ 0 w 268"/>
                <a:gd name="T15" fmla="*/ 0 h 192"/>
                <a:gd name="T16" fmla="*/ 268 w 268"/>
                <a:gd name="T17" fmla="*/ 0 h 192"/>
                <a:gd name="T18" fmla="*/ 268 w 268"/>
                <a:gd name="T1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8" h="192">
                  <a:moveTo>
                    <a:pt x="12" y="182"/>
                  </a:moveTo>
                  <a:lnTo>
                    <a:pt x="255" y="182"/>
                  </a:lnTo>
                  <a:lnTo>
                    <a:pt x="255" y="13"/>
                  </a:lnTo>
                  <a:lnTo>
                    <a:pt x="12" y="13"/>
                  </a:lnTo>
                  <a:lnTo>
                    <a:pt x="12" y="182"/>
                  </a:lnTo>
                  <a:close/>
                  <a:moveTo>
                    <a:pt x="268" y="192"/>
                  </a:moveTo>
                  <a:lnTo>
                    <a:pt x="0" y="192"/>
                  </a:lnTo>
                  <a:lnTo>
                    <a:pt x="0" y="0"/>
                  </a:lnTo>
                  <a:lnTo>
                    <a:pt x="268" y="0"/>
                  </a:lnTo>
                  <a:lnTo>
                    <a:pt x="268" y="19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3" name="Freeform 88">
              <a:extLst>
                <a:ext uri="{FF2B5EF4-FFF2-40B4-BE49-F238E27FC236}">
                  <a16:creationId xmlns:a16="http://schemas.microsoft.com/office/drawing/2014/main" id="{264BFAD1-604F-455E-AA80-88BBBB59A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7900" y="669926"/>
              <a:ext cx="117475" cy="68263"/>
            </a:xfrm>
            <a:custGeom>
              <a:avLst/>
              <a:gdLst>
                <a:gd name="T0" fmla="*/ 74 w 74"/>
                <a:gd name="T1" fmla="*/ 0 h 43"/>
                <a:gd name="T2" fmla="*/ 40 w 74"/>
                <a:gd name="T3" fmla="*/ 0 h 43"/>
                <a:gd name="T4" fmla="*/ 0 w 74"/>
                <a:gd name="T5" fmla="*/ 43 h 43"/>
                <a:gd name="T6" fmla="*/ 35 w 74"/>
                <a:gd name="T7" fmla="*/ 43 h 43"/>
                <a:gd name="T8" fmla="*/ 74 w 74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3">
                  <a:moveTo>
                    <a:pt x="74" y="0"/>
                  </a:moveTo>
                  <a:lnTo>
                    <a:pt x="40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4" name="Freeform 89">
              <a:extLst>
                <a:ext uri="{FF2B5EF4-FFF2-40B4-BE49-F238E27FC236}">
                  <a16:creationId xmlns:a16="http://schemas.microsoft.com/office/drawing/2014/main" id="{CD0480F9-4E8C-4980-AD47-E55F49AA5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525" y="669926"/>
              <a:ext cx="79375" cy="68263"/>
            </a:xfrm>
            <a:custGeom>
              <a:avLst/>
              <a:gdLst>
                <a:gd name="T0" fmla="*/ 50 w 50"/>
                <a:gd name="T1" fmla="*/ 0 h 43"/>
                <a:gd name="T2" fmla="*/ 0 w 50"/>
                <a:gd name="T3" fmla="*/ 0 h 43"/>
                <a:gd name="T4" fmla="*/ 3 w 50"/>
                <a:gd name="T5" fmla="*/ 43 h 43"/>
                <a:gd name="T6" fmla="*/ 10 w 50"/>
                <a:gd name="T7" fmla="*/ 43 h 43"/>
                <a:gd name="T8" fmla="*/ 50 w 50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3">
                  <a:moveTo>
                    <a:pt x="50" y="0"/>
                  </a:moveTo>
                  <a:lnTo>
                    <a:pt x="0" y="0"/>
                  </a:lnTo>
                  <a:lnTo>
                    <a:pt x="3" y="43"/>
                  </a:lnTo>
                  <a:lnTo>
                    <a:pt x="10" y="43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5" name="Freeform 90">
              <a:extLst>
                <a:ext uri="{FF2B5EF4-FFF2-40B4-BE49-F238E27FC236}">
                  <a16:creationId xmlns:a16="http://schemas.microsoft.com/office/drawing/2014/main" id="{F7FBE1ED-F924-4B2B-9EAB-76F7E6FEE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5375" y="669926"/>
              <a:ext cx="119063" cy="68263"/>
            </a:xfrm>
            <a:custGeom>
              <a:avLst/>
              <a:gdLst>
                <a:gd name="T0" fmla="*/ 75 w 75"/>
                <a:gd name="T1" fmla="*/ 0 h 43"/>
                <a:gd name="T2" fmla="*/ 38 w 75"/>
                <a:gd name="T3" fmla="*/ 0 h 43"/>
                <a:gd name="T4" fmla="*/ 0 w 75"/>
                <a:gd name="T5" fmla="*/ 43 h 43"/>
                <a:gd name="T6" fmla="*/ 35 w 75"/>
                <a:gd name="T7" fmla="*/ 43 h 43"/>
                <a:gd name="T8" fmla="*/ 75 w 7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3">
                  <a:moveTo>
                    <a:pt x="75" y="0"/>
                  </a:moveTo>
                  <a:lnTo>
                    <a:pt x="38" y="0"/>
                  </a:lnTo>
                  <a:lnTo>
                    <a:pt x="0" y="43"/>
                  </a:lnTo>
                  <a:lnTo>
                    <a:pt x="35" y="43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6" name="Freeform 91">
              <a:extLst>
                <a:ext uri="{FF2B5EF4-FFF2-40B4-BE49-F238E27FC236}">
                  <a16:creationId xmlns:a16="http://schemas.microsoft.com/office/drawing/2014/main" id="{D30A9AFD-FB8F-48DD-B8DC-F1E817BF7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669926"/>
              <a:ext cx="87313" cy="68263"/>
            </a:xfrm>
            <a:custGeom>
              <a:avLst/>
              <a:gdLst>
                <a:gd name="T0" fmla="*/ 52 w 55"/>
                <a:gd name="T1" fmla="*/ 0 h 43"/>
                <a:gd name="T2" fmla="*/ 37 w 55"/>
                <a:gd name="T3" fmla="*/ 0 h 43"/>
                <a:gd name="T4" fmla="*/ 0 w 55"/>
                <a:gd name="T5" fmla="*/ 43 h 43"/>
                <a:gd name="T6" fmla="*/ 55 w 55"/>
                <a:gd name="T7" fmla="*/ 43 h 43"/>
                <a:gd name="T8" fmla="*/ 52 w 5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3">
                  <a:moveTo>
                    <a:pt x="52" y="0"/>
                  </a:moveTo>
                  <a:lnTo>
                    <a:pt x="37" y="0"/>
                  </a:lnTo>
                  <a:lnTo>
                    <a:pt x="0" y="43"/>
                  </a:lnTo>
                  <a:lnTo>
                    <a:pt x="55" y="43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7" name="Freeform 92">
              <a:extLst>
                <a:ext uri="{FF2B5EF4-FFF2-40B4-BE49-F238E27FC236}">
                  <a16:creationId xmlns:a16="http://schemas.microsoft.com/office/drawing/2014/main" id="{7B71ED28-8754-47F2-B0E7-E68456A7A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963" y="550863"/>
              <a:ext cx="90488" cy="95250"/>
            </a:xfrm>
            <a:custGeom>
              <a:avLst/>
              <a:gdLst>
                <a:gd name="T0" fmla="*/ 57 w 57"/>
                <a:gd name="T1" fmla="*/ 0 h 60"/>
                <a:gd name="T2" fmla="*/ 25 w 57"/>
                <a:gd name="T3" fmla="*/ 10 h 60"/>
                <a:gd name="T4" fmla="*/ 0 w 57"/>
                <a:gd name="T5" fmla="*/ 60 h 60"/>
                <a:gd name="T6" fmla="*/ 32 w 57"/>
                <a:gd name="T7" fmla="*/ 50 h 60"/>
                <a:gd name="T8" fmla="*/ 57 w 57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0">
                  <a:moveTo>
                    <a:pt x="57" y="0"/>
                  </a:moveTo>
                  <a:lnTo>
                    <a:pt x="25" y="10"/>
                  </a:lnTo>
                  <a:lnTo>
                    <a:pt x="0" y="60"/>
                  </a:lnTo>
                  <a:lnTo>
                    <a:pt x="32" y="50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6" name="Freeform 93">
              <a:extLst>
                <a:ext uri="{FF2B5EF4-FFF2-40B4-BE49-F238E27FC236}">
                  <a16:creationId xmlns:a16="http://schemas.microsoft.com/office/drawing/2014/main" id="{62D04170-4B5B-428B-BD56-DB1A6E332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13" y="587376"/>
              <a:ext cx="63500" cy="82550"/>
            </a:xfrm>
            <a:custGeom>
              <a:avLst/>
              <a:gdLst>
                <a:gd name="T0" fmla="*/ 40 w 40"/>
                <a:gd name="T1" fmla="*/ 0 h 52"/>
                <a:gd name="T2" fmla="*/ 0 w 40"/>
                <a:gd name="T3" fmla="*/ 12 h 52"/>
                <a:gd name="T4" fmla="*/ 7 w 40"/>
                <a:gd name="T5" fmla="*/ 52 h 52"/>
                <a:gd name="T6" fmla="*/ 15 w 40"/>
                <a:gd name="T7" fmla="*/ 50 h 52"/>
                <a:gd name="T8" fmla="*/ 40 w 4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2">
                  <a:moveTo>
                    <a:pt x="40" y="0"/>
                  </a:moveTo>
                  <a:lnTo>
                    <a:pt x="0" y="12"/>
                  </a:lnTo>
                  <a:lnTo>
                    <a:pt x="7" y="52"/>
                  </a:lnTo>
                  <a:lnTo>
                    <a:pt x="15" y="5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7" name="Freeform 94">
              <a:extLst>
                <a:ext uri="{FF2B5EF4-FFF2-40B4-BE49-F238E27FC236}">
                  <a16:creationId xmlns:a16="http://schemas.microsoft.com/office/drawing/2014/main" id="{73A9EF19-F2A6-42CF-8247-155E8FF68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3" y="514351"/>
              <a:ext cx="90488" cy="96838"/>
            </a:xfrm>
            <a:custGeom>
              <a:avLst/>
              <a:gdLst>
                <a:gd name="T0" fmla="*/ 57 w 57"/>
                <a:gd name="T1" fmla="*/ 0 h 61"/>
                <a:gd name="T2" fmla="*/ 22 w 57"/>
                <a:gd name="T3" fmla="*/ 10 h 61"/>
                <a:gd name="T4" fmla="*/ 0 w 57"/>
                <a:gd name="T5" fmla="*/ 61 h 61"/>
                <a:gd name="T6" fmla="*/ 32 w 57"/>
                <a:gd name="T7" fmla="*/ 51 h 61"/>
                <a:gd name="T8" fmla="*/ 57 w 57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1">
                  <a:moveTo>
                    <a:pt x="57" y="0"/>
                  </a:moveTo>
                  <a:lnTo>
                    <a:pt x="22" y="10"/>
                  </a:lnTo>
                  <a:lnTo>
                    <a:pt x="0" y="61"/>
                  </a:lnTo>
                  <a:lnTo>
                    <a:pt x="32" y="51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8" name="Freeform 95">
              <a:extLst>
                <a:ext uri="{FF2B5EF4-FFF2-40B4-BE49-F238E27FC236}">
                  <a16:creationId xmlns:a16="http://schemas.microsoft.com/office/drawing/2014/main" id="{CB9CA667-7534-48B5-9389-EC714C372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800" y="487363"/>
              <a:ext cx="95250" cy="90488"/>
            </a:xfrm>
            <a:custGeom>
              <a:avLst/>
              <a:gdLst>
                <a:gd name="T0" fmla="*/ 45 w 60"/>
                <a:gd name="T1" fmla="*/ 0 h 57"/>
                <a:gd name="T2" fmla="*/ 25 w 60"/>
                <a:gd name="T3" fmla="*/ 7 h 57"/>
                <a:gd name="T4" fmla="*/ 0 w 60"/>
                <a:gd name="T5" fmla="*/ 57 h 57"/>
                <a:gd name="T6" fmla="*/ 60 w 60"/>
                <a:gd name="T7" fmla="*/ 37 h 57"/>
                <a:gd name="T8" fmla="*/ 45 w 60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7">
                  <a:moveTo>
                    <a:pt x="45" y="0"/>
                  </a:moveTo>
                  <a:lnTo>
                    <a:pt x="25" y="7"/>
                  </a:lnTo>
                  <a:lnTo>
                    <a:pt x="0" y="57"/>
                  </a:lnTo>
                  <a:lnTo>
                    <a:pt x="60" y="37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9" name="Freeform 96">
              <a:extLst>
                <a:ext uri="{FF2B5EF4-FFF2-40B4-BE49-F238E27FC236}">
                  <a16:creationId xmlns:a16="http://schemas.microsoft.com/office/drawing/2014/main" id="{67059E3C-D421-45FE-823D-14FA7D4C7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477838"/>
              <a:ext cx="384175" cy="136525"/>
            </a:xfrm>
            <a:custGeom>
              <a:avLst/>
              <a:gdLst>
                <a:gd name="T0" fmla="*/ 2 w 242"/>
                <a:gd name="T1" fmla="*/ 86 h 86"/>
                <a:gd name="T2" fmla="*/ 0 w 242"/>
                <a:gd name="T3" fmla="*/ 74 h 86"/>
                <a:gd name="T4" fmla="*/ 240 w 242"/>
                <a:gd name="T5" fmla="*/ 0 h 86"/>
                <a:gd name="T6" fmla="*/ 242 w 242"/>
                <a:gd name="T7" fmla="*/ 11 h 86"/>
                <a:gd name="T8" fmla="*/ 2 w 242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86">
                  <a:moveTo>
                    <a:pt x="2" y="86"/>
                  </a:moveTo>
                  <a:lnTo>
                    <a:pt x="0" y="74"/>
                  </a:lnTo>
                  <a:lnTo>
                    <a:pt x="240" y="0"/>
                  </a:lnTo>
                  <a:lnTo>
                    <a:pt x="242" y="11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67" name="Group 45166">
            <a:extLst>
              <a:ext uri="{FF2B5EF4-FFF2-40B4-BE49-F238E27FC236}">
                <a16:creationId xmlns:a16="http://schemas.microsoft.com/office/drawing/2014/main" id="{BA043788-E9E9-469F-B552-F38BC857F576}"/>
              </a:ext>
            </a:extLst>
          </p:cNvPr>
          <p:cNvGrpSpPr/>
          <p:nvPr/>
        </p:nvGrpSpPr>
        <p:grpSpPr>
          <a:xfrm>
            <a:off x="7069138" y="293688"/>
            <a:ext cx="844550" cy="841375"/>
            <a:chOff x="7069138" y="293688"/>
            <a:chExt cx="844550" cy="841375"/>
          </a:xfrm>
        </p:grpSpPr>
        <p:sp>
          <p:nvSpPr>
            <p:cNvPr id="45162" name="AutoShape 98">
              <a:extLst>
                <a:ext uri="{FF2B5EF4-FFF2-40B4-BE49-F238E27FC236}">
                  <a16:creationId xmlns:a16="http://schemas.microsoft.com/office/drawing/2014/main" id="{9E547222-B530-42A0-A24F-231A059750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69138" y="2936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3" name="Oval 100">
              <a:extLst>
                <a:ext uri="{FF2B5EF4-FFF2-40B4-BE49-F238E27FC236}">
                  <a16:creationId xmlns:a16="http://schemas.microsoft.com/office/drawing/2014/main" id="{93A6937D-9AEC-48A6-8DE3-B1AEDCD95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9138" y="2968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4" name="Freeform 101">
              <a:extLst>
                <a:ext uri="{FF2B5EF4-FFF2-40B4-BE49-F238E27FC236}">
                  <a16:creationId xmlns:a16="http://schemas.microsoft.com/office/drawing/2014/main" id="{2E212944-69A7-4EFE-A26A-133A575B88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7713" y="3254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5" name="Freeform 102">
              <a:extLst>
                <a:ext uri="{FF2B5EF4-FFF2-40B4-BE49-F238E27FC236}">
                  <a16:creationId xmlns:a16="http://schemas.microsoft.com/office/drawing/2014/main" id="{D89F7961-F361-4E9D-8BAC-D3D494C005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8213" y="501651"/>
              <a:ext cx="406400" cy="465138"/>
            </a:xfrm>
            <a:custGeom>
              <a:avLst/>
              <a:gdLst>
                <a:gd name="T0" fmla="*/ 63 w 100"/>
                <a:gd name="T1" fmla="*/ 78 h 116"/>
                <a:gd name="T2" fmla="*/ 72 w 100"/>
                <a:gd name="T3" fmla="*/ 73 h 116"/>
                <a:gd name="T4" fmla="*/ 97 w 100"/>
                <a:gd name="T5" fmla="*/ 94 h 116"/>
                <a:gd name="T6" fmla="*/ 89 w 100"/>
                <a:gd name="T7" fmla="*/ 113 h 116"/>
                <a:gd name="T8" fmla="*/ 43 w 100"/>
                <a:gd name="T9" fmla="*/ 80 h 116"/>
                <a:gd name="T10" fmla="*/ 59 w 100"/>
                <a:gd name="T11" fmla="*/ 80 h 116"/>
                <a:gd name="T12" fmla="*/ 3 w 100"/>
                <a:gd name="T13" fmla="*/ 94 h 116"/>
                <a:gd name="T14" fmla="*/ 28 w 100"/>
                <a:gd name="T15" fmla="*/ 73 h 116"/>
                <a:gd name="T16" fmla="*/ 39 w 100"/>
                <a:gd name="T17" fmla="*/ 78 h 116"/>
                <a:gd name="T18" fmla="*/ 3 w 100"/>
                <a:gd name="T19" fmla="*/ 94 h 116"/>
                <a:gd name="T20" fmla="*/ 28 w 100"/>
                <a:gd name="T21" fmla="*/ 43 h 116"/>
                <a:gd name="T22" fmla="*/ 28 w 100"/>
                <a:gd name="T23" fmla="*/ 58 h 116"/>
                <a:gd name="T24" fmla="*/ 28 w 100"/>
                <a:gd name="T25" fmla="*/ 70 h 116"/>
                <a:gd name="T26" fmla="*/ 23 w 100"/>
                <a:gd name="T27" fmla="*/ 69 h 116"/>
                <a:gd name="T28" fmla="*/ 31 w 100"/>
                <a:gd name="T29" fmla="*/ 26 h 116"/>
                <a:gd name="T30" fmla="*/ 28 w 100"/>
                <a:gd name="T31" fmla="*/ 40 h 116"/>
                <a:gd name="T32" fmla="*/ 17 w 100"/>
                <a:gd name="T33" fmla="*/ 26 h 116"/>
                <a:gd name="T34" fmla="*/ 55 w 100"/>
                <a:gd name="T35" fmla="*/ 81 h 116"/>
                <a:gd name="T36" fmla="*/ 48 w 100"/>
                <a:gd name="T37" fmla="*/ 81 h 116"/>
                <a:gd name="T38" fmla="*/ 51 w 100"/>
                <a:gd name="T39" fmla="*/ 37 h 116"/>
                <a:gd name="T40" fmla="*/ 59 w 100"/>
                <a:gd name="T41" fmla="*/ 77 h 116"/>
                <a:gd name="T42" fmla="*/ 44 w 100"/>
                <a:gd name="T43" fmla="*/ 77 h 116"/>
                <a:gd name="T44" fmla="*/ 30 w 100"/>
                <a:gd name="T45" fmla="*/ 58 h 116"/>
                <a:gd name="T46" fmla="*/ 43 w 100"/>
                <a:gd name="T47" fmla="*/ 14 h 116"/>
                <a:gd name="T48" fmla="*/ 58 w 100"/>
                <a:gd name="T49" fmla="*/ 35 h 116"/>
                <a:gd name="T50" fmla="*/ 43 w 100"/>
                <a:gd name="T51" fmla="*/ 36 h 116"/>
                <a:gd name="T52" fmla="*/ 70 w 100"/>
                <a:gd name="T53" fmla="*/ 2 h 116"/>
                <a:gd name="T54" fmla="*/ 85 w 100"/>
                <a:gd name="T55" fmla="*/ 47 h 116"/>
                <a:gd name="T56" fmla="*/ 70 w 100"/>
                <a:gd name="T57" fmla="*/ 40 h 116"/>
                <a:gd name="T58" fmla="*/ 76 w 100"/>
                <a:gd name="T59" fmla="*/ 69 h 116"/>
                <a:gd name="T60" fmla="*/ 72 w 100"/>
                <a:gd name="T61" fmla="*/ 70 h 116"/>
                <a:gd name="T62" fmla="*/ 75 w 100"/>
                <a:gd name="T63" fmla="*/ 58 h 116"/>
                <a:gd name="T64" fmla="*/ 72 w 100"/>
                <a:gd name="T65" fmla="*/ 43 h 116"/>
                <a:gd name="T66" fmla="*/ 76 w 100"/>
                <a:gd name="T67" fmla="*/ 69 h 116"/>
                <a:gd name="T68" fmla="*/ 81 w 100"/>
                <a:gd name="T69" fmla="*/ 70 h 116"/>
                <a:gd name="T70" fmla="*/ 87 w 100"/>
                <a:gd name="T71" fmla="*/ 52 h 116"/>
                <a:gd name="T72" fmla="*/ 87 w 100"/>
                <a:gd name="T73" fmla="*/ 0 h 116"/>
                <a:gd name="T74" fmla="*/ 70 w 100"/>
                <a:gd name="T75" fmla="*/ 0 h 116"/>
                <a:gd name="T76" fmla="*/ 68 w 100"/>
                <a:gd name="T77" fmla="*/ 2 h 116"/>
                <a:gd name="T78" fmla="*/ 67 w 100"/>
                <a:gd name="T79" fmla="*/ 41 h 116"/>
                <a:gd name="T80" fmla="*/ 60 w 100"/>
                <a:gd name="T81" fmla="*/ 14 h 116"/>
                <a:gd name="T82" fmla="*/ 58 w 100"/>
                <a:gd name="T83" fmla="*/ 12 h 116"/>
                <a:gd name="T84" fmla="*/ 41 w 100"/>
                <a:gd name="T85" fmla="*/ 12 h 116"/>
                <a:gd name="T86" fmla="*/ 41 w 100"/>
                <a:gd name="T87" fmla="*/ 37 h 116"/>
                <a:gd name="T88" fmla="*/ 34 w 100"/>
                <a:gd name="T89" fmla="*/ 41 h 116"/>
                <a:gd name="T90" fmla="*/ 34 w 100"/>
                <a:gd name="T91" fmla="*/ 24 h 116"/>
                <a:gd name="T92" fmla="*/ 17 w 100"/>
                <a:gd name="T93" fmla="*/ 24 h 116"/>
                <a:gd name="T94" fmla="*/ 14 w 100"/>
                <a:gd name="T95" fmla="*/ 26 h 116"/>
                <a:gd name="T96" fmla="*/ 12 w 100"/>
                <a:gd name="T97" fmla="*/ 57 h 116"/>
                <a:gd name="T98" fmla="*/ 0 w 100"/>
                <a:gd name="T99" fmla="*/ 95 h 116"/>
                <a:gd name="T100" fmla="*/ 16 w 100"/>
                <a:gd name="T101" fmla="*/ 97 h 116"/>
                <a:gd name="T102" fmla="*/ 10 w 100"/>
                <a:gd name="T103" fmla="*/ 116 h 116"/>
                <a:gd name="T104" fmla="*/ 92 w 100"/>
                <a:gd name="T105" fmla="*/ 115 h 116"/>
                <a:gd name="T106" fmla="*/ 100 w 100"/>
                <a:gd name="T107" fmla="*/ 9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" h="116">
                  <a:moveTo>
                    <a:pt x="85" y="94"/>
                  </a:moveTo>
                  <a:cubicBezTo>
                    <a:pt x="79" y="86"/>
                    <a:pt x="72" y="81"/>
                    <a:pt x="63" y="78"/>
                  </a:cubicBezTo>
                  <a:cubicBezTo>
                    <a:pt x="66" y="77"/>
                    <a:pt x="68" y="75"/>
                    <a:pt x="70" y="73"/>
                  </a:cubicBezTo>
                  <a:cubicBezTo>
                    <a:pt x="70" y="73"/>
                    <a:pt x="71" y="73"/>
                    <a:pt x="72" y="73"/>
                  </a:cubicBezTo>
                  <a:cubicBezTo>
                    <a:pt x="74" y="73"/>
                    <a:pt x="75" y="73"/>
                    <a:pt x="77" y="72"/>
                  </a:cubicBezTo>
                  <a:cubicBezTo>
                    <a:pt x="87" y="74"/>
                    <a:pt x="95" y="83"/>
                    <a:pt x="97" y="94"/>
                  </a:cubicBezTo>
                  <a:lnTo>
                    <a:pt x="85" y="94"/>
                  </a:lnTo>
                  <a:close/>
                  <a:moveTo>
                    <a:pt x="89" y="113"/>
                  </a:moveTo>
                  <a:cubicBezTo>
                    <a:pt x="13" y="113"/>
                    <a:pt x="13" y="113"/>
                    <a:pt x="13" y="113"/>
                  </a:cubicBezTo>
                  <a:cubicBezTo>
                    <a:pt x="15" y="97"/>
                    <a:pt x="27" y="84"/>
                    <a:pt x="43" y="80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75" y="84"/>
                    <a:pt x="87" y="97"/>
                    <a:pt x="89" y="113"/>
                  </a:cubicBezTo>
                  <a:moveTo>
                    <a:pt x="3" y="94"/>
                  </a:moveTo>
                  <a:cubicBezTo>
                    <a:pt x="4" y="83"/>
                    <a:pt x="12" y="74"/>
                    <a:pt x="23" y="72"/>
                  </a:cubicBezTo>
                  <a:cubicBezTo>
                    <a:pt x="24" y="73"/>
                    <a:pt x="26" y="73"/>
                    <a:pt x="28" y="73"/>
                  </a:cubicBezTo>
                  <a:cubicBezTo>
                    <a:pt x="30" y="73"/>
                    <a:pt x="31" y="73"/>
                    <a:pt x="33" y="72"/>
                  </a:cubicBezTo>
                  <a:cubicBezTo>
                    <a:pt x="34" y="75"/>
                    <a:pt x="37" y="77"/>
                    <a:pt x="39" y="78"/>
                  </a:cubicBezTo>
                  <a:cubicBezTo>
                    <a:pt x="30" y="81"/>
                    <a:pt x="23" y="86"/>
                    <a:pt x="18" y="94"/>
                  </a:cubicBezTo>
                  <a:lnTo>
                    <a:pt x="3" y="94"/>
                  </a:lnTo>
                  <a:close/>
                  <a:moveTo>
                    <a:pt x="15" y="57"/>
                  </a:moveTo>
                  <a:cubicBezTo>
                    <a:pt x="15" y="49"/>
                    <a:pt x="21" y="43"/>
                    <a:pt x="28" y="43"/>
                  </a:cubicBezTo>
                  <a:cubicBezTo>
                    <a:pt x="30" y="43"/>
                    <a:pt x="31" y="43"/>
                    <a:pt x="32" y="44"/>
                  </a:cubicBezTo>
                  <a:cubicBezTo>
                    <a:pt x="29" y="48"/>
                    <a:pt x="28" y="53"/>
                    <a:pt x="28" y="58"/>
                  </a:cubicBezTo>
                  <a:cubicBezTo>
                    <a:pt x="28" y="62"/>
                    <a:pt x="29" y="66"/>
                    <a:pt x="31" y="70"/>
                  </a:cubicBezTo>
                  <a:cubicBezTo>
                    <a:pt x="30" y="70"/>
                    <a:pt x="29" y="70"/>
                    <a:pt x="28" y="70"/>
                  </a:cubicBezTo>
                  <a:cubicBezTo>
                    <a:pt x="27" y="70"/>
                    <a:pt x="25" y="70"/>
                    <a:pt x="24" y="70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18" y="67"/>
                    <a:pt x="15" y="62"/>
                    <a:pt x="15" y="57"/>
                  </a:cubicBezTo>
                  <a:moveTo>
                    <a:pt x="31" y="26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0" y="40"/>
                    <a:pt x="29" y="40"/>
                    <a:pt x="28" y="40"/>
                  </a:cubicBezTo>
                  <a:cubicBezTo>
                    <a:pt x="24" y="40"/>
                    <a:pt x="19" y="42"/>
                    <a:pt x="17" y="45"/>
                  </a:cubicBezTo>
                  <a:cubicBezTo>
                    <a:pt x="17" y="26"/>
                    <a:pt x="17" y="26"/>
                    <a:pt x="17" y="26"/>
                  </a:cubicBezTo>
                  <a:lnTo>
                    <a:pt x="31" y="26"/>
                  </a:lnTo>
                  <a:close/>
                  <a:moveTo>
                    <a:pt x="55" y="81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50" y="82"/>
                    <a:pt x="52" y="82"/>
                    <a:pt x="55" y="81"/>
                  </a:cubicBezTo>
                  <a:moveTo>
                    <a:pt x="51" y="37"/>
                  </a:moveTo>
                  <a:cubicBezTo>
                    <a:pt x="63" y="37"/>
                    <a:pt x="72" y="47"/>
                    <a:pt x="72" y="58"/>
                  </a:cubicBezTo>
                  <a:cubicBezTo>
                    <a:pt x="72" y="66"/>
                    <a:pt x="67" y="74"/>
                    <a:pt x="59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3" y="79"/>
                    <a:pt x="49" y="79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36" y="74"/>
                    <a:pt x="30" y="66"/>
                    <a:pt x="30" y="58"/>
                  </a:cubicBezTo>
                  <a:cubicBezTo>
                    <a:pt x="30" y="47"/>
                    <a:pt x="40" y="37"/>
                    <a:pt x="51" y="37"/>
                  </a:cubicBezTo>
                  <a:moveTo>
                    <a:pt x="43" y="14"/>
                  </a:moveTo>
                  <a:cubicBezTo>
                    <a:pt x="58" y="14"/>
                    <a:pt x="58" y="14"/>
                    <a:pt x="58" y="14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6" y="35"/>
                    <a:pt x="54" y="34"/>
                    <a:pt x="51" y="34"/>
                  </a:cubicBezTo>
                  <a:cubicBezTo>
                    <a:pt x="48" y="34"/>
                    <a:pt x="46" y="35"/>
                    <a:pt x="43" y="36"/>
                  </a:cubicBezTo>
                  <a:lnTo>
                    <a:pt x="43" y="14"/>
                  </a:lnTo>
                  <a:close/>
                  <a:moveTo>
                    <a:pt x="70" y="2"/>
                  </a:moveTo>
                  <a:cubicBezTo>
                    <a:pt x="85" y="2"/>
                    <a:pt x="85" y="2"/>
                    <a:pt x="85" y="2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2" y="43"/>
                    <a:pt x="77" y="40"/>
                    <a:pt x="72" y="40"/>
                  </a:cubicBezTo>
                  <a:cubicBezTo>
                    <a:pt x="71" y="40"/>
                    <a:pt x="71" y="40"/>
                    <a:pt x="70" y="40"/>
                  </a:cubicBezTo>
                  <a:lnTo>
                    <a:pt x="70" y="2"/>
                  </a:lnTo>
                  <a:close/>
                  <a:moveTo>
                    <a:pt x="76" y="69"/>
                  </a:moveTo>
                  <a:cubicBezTo>
                    <a:pt x="76" y="69"/>
                    <a:pt x="76" y="69"/>
                    <a:pt x="76" y="69"/>
                  </a:cubicBezTo>
                  <a:cubicBezTo>
                    <a:pt x="75" y="70"/>
                    <a:pt x="73" y="70"/>
                    <a:pt x="72" y="70"/>
                  </a:cubicBezTo>
                  <a:cubicBezTo>
                    <a:pt x="72" y="70"/>
                    <a:pt x="72" y="70"/>
                    <a:pt x="71" y="70"/>
                  </a:cubicBezTo>
                  <a:cubicBezTo>
                    <a:pt x="74" y="67"/>
                    <a:pt x="75" y="62"/>
                    <a:pt x="75" y="58"/>
                  </a:cubicBezTo>
                  <a:cubicBezTo>
                    <a:pt x="75" y="52"/>
                    <a:pt x="73" y="47"/>
                    <a:pt x="70" y="43"/>
                  </a:cubicBezTo>
                  <a:cubicBezTo>
                    <a:pt x="70" y="43"/>
                    <a:pt x="71" y="43"/>
                    <a:pt x="72" y="43"/>
                  </a:cubicBezTo>
                  <a:cubicBezTo>
                    <a:pt x="79" y="43"/>
                    <a:pt x="85" y="49"/>
                    <a:pt x="85" y="57"/>
                  </a:cubicBezTo>
                  <a:cubicBezTo>
                    <a:pt x="85" y="62"/>
                    <a:pt x="82" y="67"/>
                    <a:pt x="76" y="69"/>
                  </a:cubicBezTo>
                  <a:moveTo>
                    <a:pt x="100" y="95"/>
                  </a:moveTo>
                  <a:cubicBezTo>
                    <a:pt x="99" y="84"/>
                    <a:pt x="91" y="74"/>
                    <a:pt x="81" y="70"/>
                  </a:cubicBezTo>
                  <a:cubicBezTo>
                    <a:pt x="85" y="67"/>
                    <a:pt x="88" y="62"/>
                    <a:pt x="88" y="57"/>
                  </a:cubicBezTo>
                  <a:cubicBezTo>
                    <a:pt x="88" y="55"/>
                    <a:pt x="88" y="53"/>
                    <a:pt x="87" y="5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5" y="39"/>
                    <a:pt x="63" y="37"/>
                    <a:pt x="60" y="36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38" y="38"/>
                    <a:pt x="36" y="39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2" y="51"/>
                    <a:pt x="12" y="54"/>
                    <a:pt x="12" y="57"/>
                  </a:cubicBezTo>
                  <a:cubicBezTo>
                    <a:pt x="12" y="62"/>
                    <a:pt x="14" y="67"/>
                    <a:pt x="19" y="70"/>
                  </a:cubicBezTo>
                  <a:cubicBezTo>
                    <a:pt x="8" y="74"/>
                    <a:pt x="1" y="84"/>
                    <a:pt x="0" y="95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3" y="102"/>
                    <a:pt x="11" y="108"/>
                    <a:pt x="10" y="115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92" y="108"/>
                    <a:pt x="90" y="102"/>
                    <a:pt x="86" y="97"/>
                  </a:cubicBezTo>
                  <a:cubicBezTo>
                    <a:pt x="100" y="97"/>
                    <a:pt x="100" y="97"/>
                    <a:pt x="100" y="97"/>
                  </a:cubicBezTo>
                  <a:lnTo>
                    <a:pt x="100" y="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6" name="Freeform 103">
              <a:extLst>
                <a:ext uri="{FF2B5EF4-FFF2-40B4-BE49-F238E27FC236}">
                  <a16:creationId xmlns:a16="http://schemas.microsoft.com/office/drawing/2014/main" id="{241A8EE7-D2D4-45F6-99E7-592B607B6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0601" y="398463"/>
              <a:ext cx="268288" cy="147638"/>
            </a:xfrm>
            <a:custGeom>
              <a:avLst/>
              <a:gdLst>
                <a:gd name="T0" fmla="*/ 37 w 66"/>
                <a:gd name="T1" fmla="*/ 29 h 37"/>
                <a:gd name="T2" fmla="*/ 61 w 66"/>
                <a:gd name="T3" fmla="*/ 5 h 37"/>
                <a:gd name="T4" fmla="*/ 63 w 66"/>
                <a:gd name="T5" fmla="*/ 12 h 37"/>
                <a:gd name="T6" fmla="*/ 66 w 66"/>
                <a:gd name="T7" fmla="*/ 11 h 37"/>
                <a:gd name="T8" fmla="*/ 63 w 66"/>
                <a:gd name="T9" fmla="*/ 1 h 37"/>
                <a:gd name="T10" fmla="*/ 61 w 66"/>
                <a:gd name="T11" fmla="*/ 0 h 37"/>
                <a:gd name="T12" fmla="*/ 51 w 66"/>
                <a:gd name="T13" fmla="*/ 3 h 37"/>
                <a:gd name="T14" fmla="*/ 52 w 66"/>
                <a:gd name="T15" fmla="*/ 5 h 37"/>
                <a:gd name="T16" fmla="*/ 59 w 66"/>
                <a:gd name="T17" fmla="*/ 3 h 37"/>
                <a:gd name="T18" fmla="*/ 0 w 66"/>
                <a:gd name="T19" fmla="*/ 34 h 37"/>
                <a:gd name="T20" fmla="*/ 0 w 66"/>
                <a:gd name="T21" fmla="*/ 36 h 37"/>
                <a:gd name="T22" fmla="*/ 4 w 66"/>
                <a:gd name="T23" fmla="*/ 37 h 37"/>
                <a:gd name="T24" fmla="*/ 37 w 66"/>
                <a:gd name="T25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37">
                  <a:moveTo>
                    <a:pt x="37" y="29"/>
                  </a:moveTo>
                  <a:cubicBezTo>
                    <a:pt x="47" y="23"/>
                    <a:pt x="55" y="15"/>
                    <a:pt x="61" y="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47" y="24"/>
                    <a:pt x="25" y="35"/>
                    <a:pt x="0" y="3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7"/>
                    <a:pt x="3" y="37"/>
                    <a:pt x="4" y="37"/>
                  </a:cubicBezTo>
                  <a:cubicBezTo>
                    <a:pt x="16" y="37"/>
                    <a:pt x="27" y="34"/>
                    <a:pt x="37" y="2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73" name="Group 45172">
            <a:extLst>
              <a:ext uri="{FF2B5EF4-FFF2-40B4-BE49-F238E27FC236}">
                <a16:creationId xmlns:a16="http://schemas.microsoft.com/office/drawing/2014/main" id="{8A287910-6106-4EF6-8958-8171ED8FF932}"/>
              </a:ext>
            </a:extLst>
          </p:cNvPr>
          <p:cNvGrpSpPr/>
          <p:nvPr/>
        </p:nvGrpSpPr>
        <p:grpSpPr>
          <a:xfrm>
            <a:off x="8132763" y="328613"/>
            <a:ext cx="768351" cy="776288"/>
            <a:chOff x="8132763" y="328613"/>
            <a:chExt cx="768351" cy="776288"/>
          </a:xfrm>
        </p:grpSpPr>
        <p:sp>
          <p:nvSpPr>
            <p:cNvPr id="45169" name="AutoShape 105">
              <a:extLst>
                <a:ext uri="{FF2B5EF4-FFF2-40B4-BE49-F238E27FC236}">
                  <a16:creationId xmlns:a16="http://schemas.microsoft.com/office/drawing/2014/main" id="{1BEAF5E0-CDFA-486E-9FD7-81B1286346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32763" y="33337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0" name="Freeform 107">
              <a:extLst>
                <a:ext uri="{FF2B5EF4-FFF2-40B4-BE49-F238E27FC236}">
                  <a16:creationId xmlns:a16="http://schemas.microsoft.com/office/drawing/2014/main" id="{67994A24-7D5F-47B7-9882-FD880FB0C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7526" y="328613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1" name="Freeform 108">
              <a:extLst>
                <a:ext uri="{FF2B5EF4-FFF2-40B4-BE49-F238E27FC236}">
                  <a16:creationId xmlns:a16="http://schemas.microsoft.com/office/drawing/2014/main" id="{BA7E539F-9DDA-4A36-A90B-85C443B46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676" y="504825"/>
              <a:ext cx="393700" cy="465138"/>
            </a:xfrm>
            <a:custGeom>
              <a:avLst/>
              <a:gdLst>
                <a:gd name="T0" fmla="*/ 63 w 100"/>
                <a:gd name="T1" fmla="*/ 78 h 116"/>
                <a:gd name="T2" fmla="*/ 72 w 100"/>
                <a:gd name="T3" fmla="*/ 73 h 116"/>
                <a:gd name="T4" fmla="*/ 97 w 100"/>
                <a:gd name="T5" fmla="*/ 94 h 116"/>
                <a:gd name="T6" fmla="*/ 89 w 100"/>
                <a:gd name="T7" fmla="*/ 113 h 116"/>
                <a:gd name="T8" fmla="*/ 43 w 100"/>
                <a:gd name="T9" fmla="*/ 80 h 116"/>
                <a:gd name="T10" fmla="*/ 59 w 100"/>
                <a:gd name="T11" fmla="*/ 80 h 116"/>
                <a:gd name="T12" fmla="*/ 3 w 100"/>
                <a:gd name="T13" fmla="*/ 94 h 116"/>
                <a:gd name="T14" fmla="*/ 28 w 100"/>
                <a:gd name="T15" fmla="*/ 73 h 116"/>
                <a:gd name="T16" fmla="*/ 39 w 100"/>
                <a:gd name="T17" fmla="*/ 78 h 116"/>
                <a:gd name="T18" fmla="*/ 3 w 100"/>
                <a:gd name="T19" fmla="*/ 94 h 116"/>
                <a:gd name="T20" fmla="*/ 28 w 100"/>
                <a:gd name="T21" fmla="*/ 43 h 116"/>
                <a:gd name="T22" fmla="*/ 28 w 100"/>
                <a:gd name="T23" fmla="*/ 58 h 116"/>
                <a:gd name="T24" fmla="*/ 28 w 100"/>
                <a:gd name="T25" fmla="*/ 70 h 116"/>
                <a:gd name="T26" fmla="*/ 23 w 100"/>
                <a:gd name="T27" fmla="*/ 69 h 116"/>
                <a:gd name="T28" fmla="*/ 31 w 100"/>
                <a:gd name="T29" fmla="*/ 26 h 116"/>
                <a:gd name="T30" fmla="*/ 28 w 100"/>
                <a:gd name="T31" fmla="*/ 40 h 116"/>
                <a:gd name="T32" fmla="*/ 17 w 100"/>
                <a:gd name="T33" fmla="*/ 26 h 116"/>
                <a:gd name="T34" fmla="*/ 55 w 100"/>
                <a:gd name="T35" fmla="*/ 81 h 116"/>
                <a:gd name="T36" fmla="*/ 48 w 100"/>
                <a:gd name="T37" fmla="*/ 81 h 116"/>
                <a:gd name="T38" fmla="*/ 51 w 100"/>
                <a:gd name="T39" fmla="*/ 37 h 116"/>
                <a:gd name="T40" fmla="*/ 59 w 100"/>
                <a:gd name="T41" fmla="*/ 77 h 116"/>
                <a:gd name="T42" fmla="*/ 44 w 100"/>
                <a:gd name="T43" fmla="*/ 77 h 116"/>
                <a:gd name="T44" fmla="*/ 30 w 100"/>
                <a:gd name="T45" fmla="*/ 58 h 116"/>
                <a:gd name="T46" fmla="*/ 43 w 100"/>
                <a:gd name="T47" fmla="*/ 14 h 116"/>
                <a:gd name="T48" fmla="*/ 58 w 100"/>
                <a:gd name="T49" fmla="*/ 35 h 116"/>
                <a:gd name="T50" fmla="*/ 43 w 100"/>
                <a:gd name="T51" fmla="*/ 36 h 116"/>
                <a:gd name="T52" fmla="*/ 70 w 100"/>
                <a:gd name="T53" fmla="*/ 2 h 116"/>
                <a:gd name="T54" fmla="*/ 85 w 100"/>
                <a:gd name="T55" fmla="*/ 47 h 116"/>
                <a:gd name="T56" fmla="*/ 70 w 100"/>
                <a:gd name="T57" fmla="*/ 40 h 116"/>
                <a:gd name="T58" fmla="*/ 76 w 100"/>
                <a:gd name="T59" fmla="*/ 69 h 116"/>
                <a:gd name="T60" fmla="*/ 72 w 100"/>
                <a:gd name="T61" fmla="*/ 70 h 116"/>
                <a:gd name="T62" fmla="*/ 75 w 100"/>
                <a:gd name="T63" fmla="*/ 58 h 116"/>
                <a:gd name="T64" fmla="*/ 72 w 100"/>
                <a:gd name="T65" fmla="*/ 43 h 116"/>
                <a:gd name="T66" fmla="*/ 76 w 100"/>
                <a:gd name="T67" fmla="*/ 69 h 116"/>
                <a:gd name="T68" fmla="*/ 81 w 100"/>
                <a:gd name="T69" fmla="*/ 70 h 116"/>
                <a:gd name="T70" fmla="*/ 87 w 100"/>
                <a:gd name="T71" fmla="*/ 52 h 116"/>
                <a:gd name="T72" fmla="*/ 87 w 100"/>
                <a:gd name="T73" fmla="*/ 0 h 116"/>
                <a:gd name="T74" fmla="*/ 70 w 100"/>
                <a:gd name="T75" fmla="*/ 0 h 116"/>
                <a:gd name="T76" fmla="*/ 68 w 100"/>
                <a:gd name="T77" fmla="*/ 2 h 116"/>
                <a:gd name="T78" fmla="*/ 67 w 100"/>
                <a:gd name="T79" fmla="*/ 41 h 116"/>
                <a:gd name="T80" fmla="*/ 60 w 100"/>
                <a:gd name="T81" fmla="*/ 14 h 116"/>
                <a:gd name="T82" fmla="*/ 58 w 100"/>
                <a:gd name="T83" fmla="*/ 12 h 116"/>
                <a:gd name="T84" fmla="*/ 41 w 100"/>
                <a:gd name="T85" fmla="*/ 12 h 116"/>
                <a:gd name="T86" fmla="*/ 41 w 100"/>
                <a:gd name="T87" fmla="*/ 37 h 116"/>
                <a:gd name="T88" fmla="*/ 34 w 100"/>
                <a:gd name="T89" fmla="*/ 41 h 116"/>
                <a:gd name="T90" fmla="*/ 34 w 100"/>
                <a:gd name="T91" fmla="*/ 24 h 116"/>
                <a:gd name="T92" fmla="*/ 17 w 100"/>
                <a:gd name="T93" fmla="*/ 24 h 116"/>
                <a:gd name="T94" fmla="*/ 14 w 100"/>
                <a:gd name="T95" fmla="*/ 26 h 116"/>
                <a:gd name="T96" fmla="*/ 12 w 100"/>
                <a:gd name="T97" fmla="*/ 57 h 116"/>
                <a:gd name="T98" fmla="*/ 0 w 100"/>
                <a:gd name="T99" fmla="*/ 95 h 116"/>
                <a:gd name="T100" fmla="*/ 16 w 100"/>
                <a:gd name="T101" fmla="*/ 97 h 116"/>
                <a:gd name="T102" fmla="*/ 10 w 100"/>
                <a:gd name="T103" fmla="*/ 116 h 116"/>
                <a:gd name="T104" fmla="*/ 92 w 100"/>
                <a:gd name="T105" fmla="*/ 115 h 116"/>
                <a:gd name="T106" fmla="*/ 100 w 100"/>
                <a:gd name="T107" fmla="*/ 9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" h="116">
                  <a:moveTo>
                    <a:pt x="85" y="94"/>
                  </a:moveTo>
                  <a:cubicBezTo>
                    <a:pt x="79" y="86"/>
                    <a:pt x="72" y="81"/>
                    <a:pt x="63" y="78"/>
                  </a:cubicBezTo>
                  <a:cubicBezTo>
                    <a:pt x="66" y="77"/>
                    <a:pt x="68" y="75"/>
                    <a:pt x="70" y="73"/>
                  </a:cubicBezTo>
                  <a:cubicBezTo>
                    <a:pt x="70" y="73"/>
                    <a:pt x="71" y="73"/>
                    <a:pt x="72" y="73"/>
                  </a:cubicBezTo>
                  <a:cubicBezTo>
                    <a:pt x="74" y="73"/>
                    <a:pt x="75" y="73"/>
                    <a:pt x="77" y="72"/>
                  </a:cubicBezTo>
                  <a:cubicBezTo>
                    <a:pt x="87" y="74"/>
                    <a:pt x="95" y="83"/>
                    <a:pt x="97" y="94"/>
                  </a:cubicBezTo>
                  <a:lnTo>
                    <a:pt x="85" y="94"/>
                  </a:lnTo>
                  <a:close/>
                  <a:moveTo>
                    <a:pt x="89" y="113"/>
                  </a:moveTo>
                  <a:cubicBezTo>
                    <a:pt x="13" y="113"/>
                    <a:pt x="13" y="113"/>
                    <a:pt x="13" y="113"/>
                  </a:cubicBezTo>
                  <a:cubicBezTo>
                    <a:pt x="15" y="97"/>
                    <a:pt x="27" y="84"/>
                    <a:pt x="43" y="80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75" y="84"/>
                    <a:pt x="87" y="97"/>
                    <a:pt x="89" y="113"/>
                  </a:cubicBezTo>
                  <a:moveTo>
                    <a:pt x="3" y="94"/>
                  </a:moveTo>
                  <a:cubicBezTo>
                    <a:pt x="4" y="83"/>
                    <a:pt x="12" y="74"/>
                    <a:pt x="23" y="72"/>
                  </a:cubicBezTo>
                  <a:cubicBezTo>
                    <a:pt x="24" y="73"/>
                    <a:pt x="26" y="73"/>
                    <a:pt x="28" y="73"/>
                  </a:cubicBezTo>
                  <a:cubicBezTo>
                    <a:pt x="30" y="73"/>
                    <a:pt x="31" y="73"/>
                    <a:pt x="33" y="72"/>
                  </a:cubicBezTo>
                  <a:cubicBezTo>
                    <a:pt x="34" y="75"/>
                    <a:pt x="37" y="77"/>
                    <a:pt x="39" y="78"/>
                  </a:cubicBezTo>
                  <a:cubicBezTo>
                    <a:pt x="30" y="81"/>
                    <a:pt x="23" y="86"/>
                    <a:pt x="18" y="94"/>
                  </a:cubicBezTo>
                  <a:lnTo>
                    <a:pt x="3" y="94"/>
                  </a:lnTo>
                  <a:close/>
                  <a:moveTo>
                    <a:pt x="15" y="57"/>
                  </a:moveTo>
                  <a:cubicBezTo>
                    <a:pt x="15" y="49"/>
                    <a:pt x="21" y="43"/>
                    <a:pt x="28" y="43"/>
                  </a:cubicBezTo>
                  <a:cubicBezTo>
                    <a:pt x="30" y="43"/>
                    <a:pt x="31" y="43"/>
                    <a:pt x="32" y="44"/>
                  </a:cubicBezTo>
                  <a:cubicBezTo>
                    <a:pt x="29" y="48"/>
                    <a:pt x="28" y="53"/>
                    <a:pt x="28" y="58"/>
                  </a:cubicBezTo>
                  <a:cubicBezTo>
                    <a:pt x="28" y="62"/>
                    <a:pt x="29" y="66"/>
                    <a:pt x="31" y="70"/>
                  </a:cubicBezTo>
                  <a:cubicBezTo>
                    <a:pt x="30" y="70"/>
                    <a:pt x="29" y="70"/>
                    <a:pt x="28" y="70"/>
                  </a:cubicBezTo>
                  <a:cubicBezTo>
                    <a:pt x="27" y="70"/>
                    <a:pt x="25" y="70"/>
                    <a:pt x="24" y="70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18" y="67"/>
                    <a:pt x="15" y="62"/>
                    <a:pt x="15" y="57"/>
                  </a:cubicBezTo>
                  <a:moveTo>
                    <a:pt x="31" y="26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0" y="40"/>
                    <a:pt x="29" y="40"/>
                    <a:pt x="28" y="40"/>
                  </a:cubicBezTo>
                  <a:cubicBezTo>
                    <a:pt x="24" y="40"/>
                    <a:pt x="19" y="42"/>
                    <a:pt x="17" y="45"/>
                  </a:cubicBezTo>
                  <a:cubicBezTo>
                    <a:pt x="17" y="26"/>
                    <a:pt x="17" y="26"/>
                    <a:pt x="17" y="26"/>
                  </a:cubicBezTo>
                  <a:lnTo>
                    <a:pt x="31" y="26"/>
                  </a:lnTo>
                  <a:close/>
                  <a:moveTo>
                    <a:pt x="55" y="81"/>
                  </a:moveTo>
                  <a:cubicBezTo>
                    <a:pt x="51" y="85"/>
                    <a:pt x="51" y="85"/>
                    <a:pt x="51" y="85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50" y="82"/>
                    <a:pt x="52" y="82"/>
                    <a:pt x="55" y="81"/>
                  </a:cubicBezTo>
                  <a:moveTo>
                    <a:pt x="51" y="37"/>
                  </a:moveTo>
                  <a:cubicBezTo>
                    <a:pt x="63" y="37"/>
                    <a:pt x="72" y="47"/>
                    <a:pt x="72" y="58"/>
                  </a:cubicBezTo>
                  <a:cubicBezTo>
                    <a:pt x="72" y="66"/>
                    <a:pt x="67" y="74"/>
                    <a:pt x="59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3" y="79"/>
                    <a:pt x="49" y="79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36" y="74"/>
                    <a:pt x="30" y="66"/>
                    <a:pt x="30" y="58"/>
                  </a:cubicBezTo>
                  <a:cubicBezTo>
                    <a:pt x="30" y="47"/>
                    <a:pt x="40" y="37"/>
                    <a:pt x="51" y="37"/>
                  </a:cubicBezTo>
                  <a:moveTo>
                    <a:pt x="43" y="14"/>
                  </a:moveTo>
                  <a:cubicBezTo>
                    <a:pt x="58" y="14"/>
                    <a:pt x="58" y="14"/>
                    <a:pt x="58" y="14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6" y="35"/>
                    <a:pt x="54" y="34"/>
                    <a:pt x="51" y="34"/>
                  </a:cubicBezTo>
                  <a:cubicBezTo>
                    <a:pt x="48" y="34"/>
                    <a:pt x="46" y="35"/>
                    <a:pt x="43" y="36"/>
                  </a:cubicBezTo>
                  <a:lnTo>
                    <a:pt x="43" y="14"/>
                  </a:lnTo>
                  <a:close/>
                  <a:moveTo>
                    <a:pt x="70" y="2"/>
                  </a:moveTo>
                  <a:cubicBezTo>
                    <a:pt x="85" y="2"/>
                    <a:pt x="85" y="2"/>
                    <a:pt x="85" y="2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2" y="43"/>
                    <a:pt x="77" y="40"/>
                    <a:pt x="72" y="40"/>
                  </a:cubicBezTo>
                  <a:cubicBezTo>
                    <a:pt x="71" y="40"/>
                    <a:pt x="71" y="40"/>
                    <a:pt x="70" y="40"/>
                  </a:cubicBezTo>
                  <a:lnTo>
                    <a:pt x="70" y="2"/>
                  </a:lnTo>
                  <a:close/>
                  <a:moveTo>
                    <a:pt x="76" y="69"/>
                  </a:moveTo>
                  <a:cubicBezTo>
                    <a:pt x="76" y="69"/>
                    <a:pt x="76" y="69"/>
                    <a:pt x="76" y="69"/>
                  </a:cubicBezTo>
                  <a:cubicBezTo>
                    <a:pt x="75" y="70"/>
                    <a:pt x="73" y="70"/>
                    <a:pt x="72" y="70"/>
                  </a:cubicBezTo>
                  <a:cubicBezTo>
                    <a:pt x="72" y="70"/>
                    <a:pt x="72" y="70"/>
                    <a:pt x="71" y="70"/>
                  </a:cubicBezTo>
                  <a:cubicBezTo>
                    <a:pt x="74" y="67"/>
                    <a:pt x="75" y="62"/>
                    <a:pt x="75" y="58"/>
                  </a:cubicBezTo>
                  <a:cubicBezTo>
                    <a:pt x="75" y="52"/>
                    <a:pt x="73" y="47"/>
                    <a:pt x="70" y="43"/>
                  </a:cubicBezTo>
                  <a:cubicBezTo>
                    <a:pt x="70" y="43"/>
                    <a:pt x="71" y="43"/>
                    <a:pt x="72" y="43"/>
                  </a:cubicBezTo>
                  <a:cubicBezTo>
                    <a:pt x="79" y="43"/>
                    <a:pt x="85" y="49"/>
                    <a:pt x="85" y="57"/>
                  </a:cubicBezTo>
                  <a:cubicBezTo>
                    <a:pt x="85" y="62"/>
                    <a:pt x="82" y="67"/>
                    <a:pt x="76" y="69"/>
                  </a:cubicBezTo>
                  <a:moveTo>
                    <a:pt x="100" y="95"/>
                  </a:moveTo>
                  <a:cubicBezTo>
                    <a:pt x="99" y="84"/>
                    <a:pt x="91" y="74"/>
                    <a:pt x="81" y="70"/>
                  </a:cubicBezTo>
                  <a:cubicBezTo>
                    <a:pt x="85" y="67"/>
                    <a:pt x="88" y="62"/>
                    <a:pt x="88" y="57"/>
                  </a:cubicBezTo>
                  <a:cubicBezTo>
                    <a:pt x="88" y="55"/>
                    <a:pt x="88" y="53"/>
                    <a:pt x="87" y="5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5" y="39"/>
                    <a:pt x="63" y="37"/>
                    <a:pt x="60" y="36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38" y="38"/>
                    <a:pt x="36" y="39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2" y="51"/>
                    <a:pt x="12" y="54"/>
                    <a:pt x="12" y="57"/>
                  </a:cubicBezTo>
                  <a:cubicBezTo>
                    <a:pt x="12" y="62"/>
                    <a:pt x="14" y="67"/>
                    <a:pt x="19" y="70"/>
                  </a:cubicBezTo>
                  <a:cubicBezTo>
                    <a:pt x="8" y="74"/>
                    <a:pt x="1" y="84"/>
                    <a:pt x="0" y="95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3" y="102"/>
                    <a:pt x="11" y="108"/>
                    <a:pt x="10" y="115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92" y="116"/>
                    <a:pt x="92" y="116"/>
                    <a:pt x="92" y="116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92" y="108"/>
                    <a:pt x="90" y="102"/>
                    <a:pt x="86" y="97"/>
                  </a:cubicBezTo>
                  <a:cubicBezTo>
                    <a:pt x="100" y="97"/>
                    <a:pt x="100" y="97"/>
                    <a:pt x="100" y="97"/>
                  </a:cubicBezTo>
                  <a:lnTo>
                    <a:pt x="100" y="9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2" name="Freeform 109">
              <a:extLst>
                <a:ext uri="{FF2B5EF4-FFF2-40B4-BE49-F238E27FC236}">
                  <a16:creationId xmlns:a16="http://schemas.microsoft.com/office/drawing/2014/main" id="{49161B65-8611-48AA-A836-219D30641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476" y="401638"/>
              <a:ext cx="260350" cy="147638"/>
            </a:xfrm>
            <a:custGeom>
              <a:avLst/>
              <a:gdLst>
                <a:gd name="T0" fmla="*/ 37 w 66"/>
                <a:gd name="T1" fmla="*/ 29 h 37"/>
                <a:gd name="T2" fmla="*/ 61 w 66"/>
                <a:gd name="T3" fmla="*/ 5 h 37"/>
                <a:gd name="T4" fmla="*/ 63 w 66"/>
                <a:gd name="T5" fmla="*/ 12 h 37"/>
                <a:gd name="T6" fmla="*/ 66 w 66"/>
                <a:gd name="T7" fmla="*/ 11 h 37"/>
                <a:gd name="T8" fmla="*/ 63 w 66"/>
                <a:gd name="T9" fmla="*/ 1 h 37"/>
                <a:gd name="T10" fmla="*/ 61 w 66"/>
                <a:gd name="T11" fmla="*/ 0 h 37"/>
                <a:gd name="T12" fmla="*/ 51 w 66"/>
                <a:gd name="T13" fmla="*/ 3 h 37"/>
                <a:gd name="T14" fmla="*/ 52 w 66"/>
                <a:gd name="T15" fmla="*/ 5 h 37"/>
                <a:gd name="T16" fmla="*/ 59 w 66"/>
                <a:gd name="T17" fmla="*/ 3 h 37"/>
                <a:gd name="T18" fmla="*/ 0 w 66"/>
                <a:gd name="T19" fmla="*/ 34 h 37"/>
                <a:gd name="T20" fmla="*/ 0 w 66"/>
                <a:gd name="T21" fmla="*/ 36 h 37"/>
                <a:gd name="T22" fmla="*/ 4 w 66"/>
                <a:gd name="T23" fmla="*/ 37 h 37"/>
                <a:gd name="T24" fmla="*/ 37 w 66"/>
                <a:gd name="T25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37">
                  <a:moveTo>
                    <a:pt x="37" y="29"/>
                  </a:moveTo>
                  <a:cubicBezTo>
                    <a:pt x="47" y="23"/>
                    <a:pt x="55" y="15"/>
                    <a:pt x="61" y="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47" y="24"/>
                    <a:pt x="25" y="35"/>
                    <a:pt x="0" y="3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7"/>
                    <a:pt x="3" y="37"/>
                    <a:pt x="4" y="37"/>
                  </a:cubicBezTo>
                  <a:cubicBezTo>
                    <a:pt x="16" y="37"/>
                    <a:pt x="27" y="34"/>
                    <a:pt x="37" y="2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96" name="Group 45195">
            <a:extLst>
              <a:ext uri="{FF2B5EF4-FFF2-40B4-BE49-F238E27FC236}">
                <a16:creationId xmlns:a16="http://schemas.microsoft.com/office/drawing/2014/main" id="{CC0C8CB9-9A84-4E66-A0C6-7616D569C09C}"/>
              </a:ext>
            </a:extLst>
          </p:cNvPr>
          <p:cNvGrpSpPr/>
          <p:nvPr/>
        </p:nvGrpSpPr>
        <p:grpSpPr>
          <a:xfrm>
            <a:off x="393700" y="1577975"/>
            <a:ext cx="844550" cy="841375"/>
            <a:chOff x="393700" y="1577975"/>
            <a:chExt cx="844550" cy="841375"/>
          </a:xfrm>
        </p:grpSpPr>
        <p:sp>
          <p:nvSpPr>
            <p:cNvPr id="45175" name="AutoShape 111">
              <a:extLst>
                <a:ext uri="{FF2B5EF4-FFF2-40B4-BE49-F238E27FC236}">
                  <a16:creationId xmlns:a16="http://schemas.microsoft.com/office/drawing/2014/main" id="{B04852F3-FD77-4AA2-B4A8-4E2B209AC7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3700" y="1577975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6" name="Oval 113">
              <a:extLst>
                <a:ext uri="{FF2B5EF4-FFF2-40B4-BE49-F238E27FC236}">
                  <a16:creationId xmlns:a16="http://schemas.microsoft.com/office/drawing/2014/main" id="{81A07BA3-D451-40ED-91B3-0B7FE75FE9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00" y="1581150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7" name="Freeform 114">
              <a:extLst>
                <a:ext uri="{FF2B5EF4-FFF2-40B4-BE49-F238E27FC236}">
                  <a16:creationId xmlns:a16="http://schemas.microsoft.com/office/drawing/2014/main" id="{4D7EFB82-DF8B-4BDD-BDDD-F4462498E5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275" y="1609725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8" name="Freeform 115">
              <a:extLst>
                <a:ext uri="{FF2B5EF4-FFF2-40B4-BE49-F238E27FC236}">
                  <a16:creationId xmlns:a16="http://schemas.microsoft.com/office/drawing/2014/main" id="{EDE96F87-2504-4C3F-BDCD-FE8688D952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650" y="1762125"/>
              <a:ext cx="419100" cy="468313"/>
            </a:xfrm>
            <a:custGeom>
              <a:avLst/>
              <a:gdLst>
                <a:gd name="T0" fmla="*/ 99 w 103"/>
                <a:gd name="T1" fmla="*/ 112 h 117"/>
                <a:gd name="T2" fmla="*/ 97 w 103"/>
                <a:gd name="T3" fmla="*/ 114 h 117"/>
                <a:gd name="T4" fmla="*/ 46 w 103"/>
                <a:gd name="T5" fmla="*/ 114 h 117"/>
                <a:gd name="T6" fmla="*/ 43 w 103"/>
                <a:gd name="T7" fmla="*/ 112 h 117"/>
                <a:gd name="T8" fmla="*/ 44 w 103"/>
                <a:gd name="T9" fmla="*/ 110 h 117"/>
                <a:gd name="T10" fmla="*/ 69 w 103"/>
                <a:gd name="T11" fmla="*/ 64 h 117"/>
                <a:gd name="T12" fmla="*/ 71 w 103"/>
                <a:gd name="T13" fmla="*/ 62 h 117"/>
                <a:gd name="T14" fmla="*/ 74 w 103"/>
                <a:gd name="T15" fmla="*/ 64 h 117"/>
                <a:gd name="T16" fmla="*/ 99 w 103"/>
                <a:gd name="T17" fmla="*/ 110 h 117"/>
                <a:gd name="T18" fmla="*/ 99 w 103"/>
                <a:gd name="T19" fmla="*/ 112 h 117"/>
                <a:gd name="T20" fmla="*/ 4 w 103"/>
                <a:gd name="T21" fmla="*/ 107 h 117"/>
                <a:gd name="T22" fmla="*/ 4 w 103"/>
                <a:gd name="T23" fmla="*/ 4 h 117"/>
                <a:gd name="T24" fmla="*/ 4 w 103"/>
                <a:gd name="T25" fmla="*/ 4 h 117"/>
                <a:gd name="T26" fmla="*/ 79 w 103"/>
                <a:gd name="T27" fmla="*/ 4 h 117"/>
                <a:gd name="T28" fmla="*/ 79 w 103"/>
                <a:gd name="T29" fmla="*/ 4 h 117"/>
                <a:gd name="T30" fmla="*/ 79 w 103"/>
                <a:gd name="T31" fmla="*/ 66 h 117"/>
                <a:gd name="T32" fmla="*/ 77 w 103"/>
                <a:gd name="T33" fmla="*/ 62 h 117"/>
                <a:gd name="T34" fmla="*/ 71 w 103"/>
                <a:gd name="T35" fmla="*/ 59 h 117"/>
                <a:gd name="T36" fmla="*/ 67 w 103"/>
                <a:gd name="T37" fmla="*/ 62 h 117"/>
                <a:gd name="T38" fmla="*/ 11 w 103"/>
                <a:gd name="T39" fmla="*/ 62 h 117"/>
                <a:gd name="T40" fmla="*/ 11 w 103"/>
                <a:gd name="T41" fmla="*/ 65 h 117"/>
                <a:gd name="T42" fmla="*/ 65 w 103"/>
                <a:gd name="T43" fmla="*/ 65 h 117"/>
                <a:gd name="T44" fmla="*/ 60 w 103"/>
                <a:gd name="T45" fmla="*/ 73 h 117"/>
                <a:gd name="T46" fmla="*/ 11 w 103"/>
                <a:gd name="T47" fmla="*/ 73 h 117"/>
                <a:gd name="T48" fmla="*/ 11 w 103"/>
                <a:gd name="T49" fmla="*/ 76 h 117"/>
                <a:gd name="T50" fmla="*/ 58 w 103"/>
                <a:gd name="T51" fmla="*/ 76 h 117"/>
                <a:gd name="T52" fmla="*/ 54 w 103"/>
                <a:gd name="T53" fmla="*/ 84 h 117"/>
                <a:gd name="T54" fmla="*/ 11 w 103"/>
                <a:gd name="T55" fmla="*/ 84 h 117"/>
                <a:gd name="T56" fmla="*/ 11 w 103"/>
                <a:gd name="T57" fmla="*/ 88 h 117"/>
                <a:gd name="T58" fmla="*/ 52 w 103"/>
                <a:gd name="T59" fmla="*/ 88 h 117"/>
                <a:gd name="T60" fmla="*/ 48 w 103"/>
                <a:gd name="T61" fmla="*/ 96 h 117"/>
                <a:gd name="T62" fmla="*/ 11 w 103"/>
                <a:gd name="T63" fmla="*/ 96 h 117"/>
                <a:gd name="T64" fmla="*/ 11 w 103"/>
                <a:gd name="T65" fmla="*/ 99 h 117"/>
                <a:gd name="T66" fmla="*/ 46 w 103"/>
                <a:gd name="T67" fmla="*/ 99 h 117"/>
                <a:gd name="T68" fmla="*/ 42 w 103"/>
                <a:gd name="T69" fmla="*/ 107 h 117"/>
                <a:gd name="T70" fmla="*/ 4 w 103"/>
                <a:gd name="T71" fmla="*/ 107 h 117"/>
                <a:gd name="T72" fmla="*/ 4 w 103"/>
                <a:gd name="T73" fmla="*/ 107 h 117"/>
                <a:gd name="T74" fmla="*/ 82 w 103"/>
                <a:gd name="T75" fmla="*/ 72 h 117"/>
                <a:gd name="T76" fmla="*/ 82 w 103"/>
                <a:gd name="T77" fmla="*/ 4 h 117"/>
                <a:gd name="T78" fmla="*/ 79 w 103"/>
                <a:gd name="T79" fmla="*/ 0 h 117"/>
                <a:gd name="T80" fmla="*/ 4 w 103"/>
                <a:gd name="T81" fmla="*/ 0 h 117"/>
                <a:gd name="T82" fmla="*/ 0 w 103"/>
                <a:gd name="T83" fmla="*/ 4 h 117"/>
                <a:gd name="T84" fmla="*/ 0 w 103"/>
                <a:gd name="T85" fmla="*/ 107 h 117"/>
                <a:gd name="T86" fmla="*/ 4 w 103"/>
                <a:gd name="T87" fmla="*/ 110 h 117"/>
                <a:gd name="T88" fmla="*/ 40 w 103"/>
                <a:gd name="T89" fmla="*/ 110 h 117"/>
                <a:gd name="T90" fmla="*/ 41 w 103"/>
                <a:gd name="T91" fmla="*/ 114 h 117"/>
                <a:gd name="T92" fmla="*/ 46 w 103"/>
                <a:gd name="T93" fmla="*/ 117 h 117"/>
                <a:gd name="T94" fmla="*/ 97 w 103"/>
                <a:gd name="T95" fmla="*/ 117 h 117"/>
                <a:gd name="T96" fmla="*/ 102 w 103"/>
                <a:gd name="T97" fmla="*/ 114 h 117"/>
                <a:gd name="T98" fmla="*/ 102 w 103"/>
                <a:gd name="T99" fmla="*/ 108 h 117"/>
                <a:gd name="T100" fmla="*/ 82 w 103"/>
                <a:gd name="T101" fmla="*/ 7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" h="117">
                  <a:moveTo>
                    <a:pt x="99" y="112"/>
                  </a:moveTo>
                  <a:cubicBezTo>
                    <a:pt x="99" y="113"/>
                    <a:pt x="98" y="114"/>
                    <a:pt x="97" y="114"/>
                  </a:cubicBezTo>
                  <a:cubicBezTo>
                    <a:pt x="46" y="114"/>
                    <a:pt x="46" y="114"/>
                    <a:pt x="46" y="114"/>
                  </a:cubicBezTo>
                  <a:cubicBezTo>
                    <a:pt x="45" y="114"/>
                    <a:pt x="44" y="113"/>
                    <a:pt x="43" y="112"/>
                  </a:cubicBezTo>
                  <a:cubicBezTo>
                    <a:pt x="43" y="112"/>
                    <a:pt x="43" y="111"/>
                    <a:pt x="44" y="110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3"/>
                    <a:pt x="71" y="62"/>
                    <a:pt x="71" y="62"/>
                  </a:cubicBezTo>
                  <a:cubicBezTo>
                    <a:pt x="72" y="62"/>
                    <a:pt x="73" y="63"/>
                    <a:pt x="74" y="64"/>
                  </a:cubicBezTo>
                  <a:cubicBezTo>
                    <a:pt x="99" y="110"/>
                    <a:pt x="99" y="110"/>
                    <a:pt x="99" y="110"/>
                  </a:cubicBezTo>
                  <a:cubicBezTo>
                    <a:pt x="100" y="111"/>
                    <a:pt x="100" y="112"/>
                    <a:pt x="99" y="112"/>
                  </a:cubicBezTo>
                  <a:moveTo>
                    <a:pt x="4" y="107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5" y="60"/>
                    <a:pt x="73" y="59"/>
                    <a:pt x="71" y="59"/>
                  </a:cubicBezTo>
                  <a:cubicBezTo>
                    <a:pt x="70" y="59"/>
                    <a:pt x="68" y="60"/>
                    <a:pt x="67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4" y="107"/>
                    <a:pt x="4" y="107"/>
                    <a:pt x="4" y="107"/>
                  </a:cubicBezTo>
                  <a:moveTo>
                    <a:pt x="82" y="72"/>
                  </a:moveTo>
                  <a:cubicBezTo>
                    <a:pt x="82" y="4"/>
                    <a:pt x="82" y="4"/>
                    <a:pt x="82" y="4"/>
                  </a:cubicBezTo>
                  <a:cubicBezTo>
                    <a:pt x="82" y="2"/>
                    <a:pt x="81" y="0"/>
                    <a:pt x="7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2" y="110"/>
                    <a:pt x="4" y="110"/>
                  </a:cubicBezTo>
                  <a:cubicBezTo>
                    <a:pt x="40" y="110"/>
                    <a:pt x="40" y="110"/>
                    <a:pt x="40" y="110"/>
                  </a:cubicBezTo>
                  <a:cubicBezTo>
                    <a:pt x="40" y="112"/>
                    <a:pt x="40" y="113"/>
                    <a:pt x="41" y="114"/>
                  </a:cubicBezTo>
                  <a:cubicBezTo>
                    <a:pt x="42" y="116"/>
                    <a:pt x="44" y="117"/>
                    <a:pt x="46" y="117"/>
                  </a:cubicBezTo>
                  <a:cubicBezTo>
                    <a:pt x="97" y="117"/>
                    <a:pt x="97" y="117"/>
                    <a:pt x="97" y="117"/>
                  </a:cubicBezTo>
                  <a:cubicBezTo>
                    <a:pt x="99" y="117"/>
                    <a:pt x="101" y="116"/>
                    <a:pt x="102" y="114"/>
                  </a:cubicBezTo>
                  <a:cubicBezTo>
                    <a:pt x="103" y="112"/>
                    <a:pt x="103" y="110"/>
                    <a:pt x="102" y="108"/>
                  </a:cubicBezTo>
                  <a:lnTo>
                    <a:pt x="82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9" name="Freeform 116">
              <a:extLst>
                <a:ext uri="{FF2B5EF4-FFF2-40B4-BE49-F238E27FC236}">
                  <a16:creationId xmlns:a16="http://schemas.microsoft.com/office/drawing/2014/main" id="{B2B22636-81AA-4A8E-AE4D-5C28D15DF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700" y="2066925"/>
              <a:ext cx="31750" cy="92075"/>
            </a:xfrm>
            <a:custGeom>
              <a:avLst/>
              <a:gdLst>
                <a:gd name="T0" fmla="*/ 18 w 20"/>
                <a:gd name="T1" fmla="*/ 58 h 58"/>
                <a:gd name="T2" fmla="*/ 20 w 20"/>
                <a:gd name="T3" fmla="*/ 0 h 58"/>
                <a:gd name="T4" fmla="*/ 0 w 20"/>
                <a:gd name="T5" fmla="*/ 0 h 58"/>
                <a:gd name="T6" fmla="*/ 5 w 20"/>
                <a:gd name="T7" fmla="*/ 58 h 58"/>
                <a:gd name="T8" fmla="*/ 18 w 20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8">
                  <a:moveTo>
                    <a:pt x="18" y="5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5" y="58"/>
                  </a:lnTo>
                  <a:lnTo>
                    <a:pt x="1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0" name="Oval 117">
              <a:extLst>
                <a:ext uri="{FF2B5EF4-FFF2-40B4-BE49-F238E27FC236}">
                  <a16:creationId xmlns:a16="http://schemas.microsoft.com/office/drawing/2014/main" id="{FA73B905-2249-4D4C-A53E-D8B3FCCD8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1700" y="2171700"/>
              <a:ext cx="36513" cy="349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1" name="Freeform 118">
              <a:extLst>
                <a:ext uri="{FF2B5EF4-FFF2-40B4-BE49-F238E27FC236}">
                  <a16:creationId xmlns:a16="http://schemas.microsoft.com/office/drawing/2014/main" id="{6D9242C3-7B95-4831-8340-29F71A2AA4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863" y="1801813"/>
              <a:ext cx="109538" cy="188913"/>
            </a:xfrm>
            <a:custGeom>
              <a:avLst/>
              <a:gdLst>
                <a:gd name="T0" fmla="*/ 64 w 69"/>
                <a:gd name="T1" fmla="*/ 114 h 119"/>
                <a:gd name="T2" fmla="*/ 39 w 69"/>
                <a:gd name="T3" fmla="*/ 114 h 119"/>
                <a:gd name="T4" fmla="*/ 39 w 69"/>
                <a:gd name="T5" fmla="*/ 99 h 119"/>
                <a:gd name="T6" fmla="*/ 31 w 69"/>
                <a:gd name="T7" fmla="*/ 99 h 119"/>
                <a:gd name="T8" fmla="*/ 31 w 69"/>
                <a:gd name="T9" fmla="*/ 114 h 119"/>
                <a:gd name="T10" fmla="*/ 5 w 69"/>
                <a:gd name="T11" fmla="*/ 114 h 119"/>
                <a:gd name="T12" fmla="*/ 5 w 69"/>
                <a:gd name="T13" fmla="*/ 15 h 119"/>
                <a:gd name="T14" fmla="*/ 8 w 69"/>
                <a:gd name="T15" fmla="*/ 15 h 119"/>
                <a:gd name="T16" fmla="*/ 39 w 69"/>
                <a:gd name="T17" fmla="*/ 15 h 119"/>
                <a:gd name="T18" fmla="*/ 64 w 69"/>
                <a:gd name="T19" fmla="*/ 15 h 119"/>
                <a:gd name="T20" fmla="*/ 64 w 69"/>
                <a:gd name="T21" fmla="*/ 114 h 119"/>
                <a:gd name="T22" fmla="*/ 13 w 69"/>
                <a:gd name="T23" fmla="*/ 5 h 119"/>
                <a:gd name="T24" fmla="*/ 33 w 69"/>
                <a:gd name="T25" fmla="*/ 5 h 119"/>
                <a:gd name="T26" fmla="*/ 33 w 69"/>
                <a:gd name="T27" fmla="*/ 10 h 119"/>
                <a:gd name="T28" fmla="*/ 13 w 69"/>
                <a:gd name="T29" fmla="*/ 10 h 119"/>
                <a:gd name="T30" fmla="*/ 13 w 69"/>
                <a:gd name="T31" fmla="*/ 5 h 119"/>
                <a:gd name="T32" fmla="*/ 69 w 69"/>
                <a:gd name="T33" fmla="*/ 10 h 119"/>
                <a:gd name="T34" fmla="*/ 39 w 69"/>
                <a:gd name="T35" fmla="*/ 10 h 119"/>
                <a:gd name="T36" fmla="*/ 39 w 69"/>
                <a:gd name="T37" fmla="*/ 0 h 119"/>
                <a:gd name="T38" fmla="*/ 8 w 69"/>
                <a:gd name="T39" fmla="*/ 0 h 119"/>
                <a:gd name="T40" fmla="*/ 8 w 69"/>
                <a:gd name="T41" fmla="*/ 10 h 119"/>
                <a:gd name="T42" fmla="*/ 0 w 69"/>
                <a:gd name="T43" fmla="*/ 10 h 119"/>
                <a:gd name="T44" fmla="*/ 0 w 69"/>
                <a:gd name="T45" fmla="*/ 119 h 119"/>
                <a:gd name="T46" fmla="*/ 69 w 69"/>
                <a:gd name="T47" fmla="*/ 119 h 119"/>
                <a:gd name="T48" fmla="*/ 69 w 69"/>
                <a:gd name="T49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" h="119">
                  <a:moveTo>
                    <a:pt x="64" y="114"/>
                  </a:moveTo>
                  <a:lnTo>
                    <a:pt x="39" y="114"/>
                  </a:lnTo>
                  <a:lnTo>
                    <a:pt x="39" y="99"/>
                  </a:lnTo>
                  <a:lnTo>
                    <a:pt x="31" y="99"/>
                  </a:lnTo>
                  <a:lnTo>
                    <a:pt x="31" y="114"/>
                  </a:lnTo>
                  <a:lnTo>
                    <a:pt x="5" y="114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39" y="15"/>
                  </a:lnTo>
                  <a:lnTo>
                    <a:pt x="64" y="15"/>
                  </a:lnTo>
                  <a:lnTo>
                    <a:pt x="64" y="114"/>
                  </a:lnTo>
                  <a:close/>
                  <a:moveTo>
                    <a:pt x="13" y="5"/>
                  </a:moveTo>
                  <a:lnTo>
                    <a:pt x="33" y="5"/>
                  </a:lnTo>
                  <a:lnTo>
                    <a:pt x="33" y="10"/>
                  </a:lnTo>
                  <a:lnTo>
                    <a:pt x="13" y="10"/>
                  </a:lnTo>
                  <a:lnTo>
                    <a:pt x="13" y="5"/>
                  </a:lnTo>
                  <a:close/>
                  <a:moveTo>
                    <a:pt x="69" y="10"/>
                  </a:moveTo>
                  <a:lnTo>
                    <a:pt x="39" y="10"/>
                  </a:lnTo>
                  <a:lnTo>
                    <a:pt x="39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0"/>
                  </a:lnTo>
                  <a:lnTo>
                    <a:pt x="0" y="119"/>
                  </a:lnTo>
                  <a:lnTo>
                    <a:pt x="69" y="119"/>
                  </a:lnTo>
                  <a:lnTo>
                    <a:pt x="69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2" name="Rectangle 119">
              <a:extLst>
                <a:ext uri="{FF2B5EF4-FFF2-40B4-BE49-F238E27FC236}">
                  <a16:creationId xmlns:a16="http://schemas.microsoft.com/office/drawing/2014/main" id="{BFC970B6-5048-4359-BD44-25AD05379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1846263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3" name="Rectangle 120">
              <a:extLst>
                <a:ext uri="{FF2B5EF4-FFF2-40B4-BE49-F238E27FC236}">
                  <a16:creationId xmlns:a16="http://schemas.microsoft.com/office/drawing/2014/main" id="{E7A415DE-DB00-4A24-A57F-92ABEA12C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1866900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4" name="Rectangle 121">
              <a:extLst>
                <a:ext uri="{FF2B5EF4-FFF2-40B4-BE49-F238E27FC236}">
                  <a16:creationId xmlns:a16="http://schemas.microsoft.com/office/drawing/2014/main" id="{B8B02B93-C35F-43E9-887B-6AC49D965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1890713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5" name="Rectangle 122">
              <a:extLst>
                <a:ext uri="{FF2B5EF4-FFF2-40B4-BE49-F238E27FC236}">
                  <a16:creationId xmlns:a16="http://schemas.microsoft.com/office/drawing/2014/main" id="{F86AF147-7BE3-40C4-8CA0-CF4306F6A7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1914525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6" name="Rectangle 123">
              <a:extLst>
                <a:ext uri="{FF2B5EF4-FFF2-40B4-BE49-F238E27FC236}">
                  <a16:creationId xmlns:a16="http://schemas.microsoft.com/office/drawing/2014/main" id="{C6C30332-55F4-4394-A986-99402DAFD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" y="1938338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7" name="Rectangle 124">
              <a:extLst>
                <a:ext uri="{FF2B5EF4-FFF2-40B4-BE49-F238E27FC236}">
                  <a16:creationId xmlns:a16="http://schemas.microsoft.com/office/drawing/2014/main" id="{9F3CA709-0212-4D26-93E2-00C0CA998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1846263"/>
              <a:ext cx="26988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8" name="Rectangle 125">
              <a:extLst>
                <a:ext uri="{FF2B5EF4-FFF2-40B4-BE49-F238E27FC236}">
                  <a16:creationId xmlns:a16="http://schemas.microsoft.com/office/drawing/2014/main" id="{6B9A7E35-79C9-4B5F-9EBA-E9C8F8AA3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1866900"/>
              <a:ext cx="26988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9" name="Rectangle 126">
              <a:extLst>
                <a:ext uri="{FF2B5EF4-FFF2-40B4-BE49-F238E27FC236}">
                  <a16:creationId xmlns:a16="http://schemas.microsoft.com/office/drawing/2014/main" id="{D5F57533-EEC4-43A9-8AB6-B9D5A94C0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1890713"/>
              <a:ext cx="26988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0" name="Rectangle 127">
              <a:extLst>
                <a:ext uri="{FF2B5EF4-FFF2-40B4-BE49-F238E27FC236}">
                  <a16:creationId xmlns:a16="http://schemas.microsoft.com/office/drawing/2014/main" id="{F11FA7FC-296C-432E-BA58-E4AD5A252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1914525"/>
              <a:ext cx="26988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1" name="Rectangle 128">
              <a:extLst>
                <a:ext uri="{FF2B5EF4-FFF2-40B4-BE49-F238E27FC236}">
                  <a16:creationId xmlns:a16="http://schemas.microsoft.com/office/drawing/2014/main" id="{55321102-CF0C-45C0-BBAA-8501A9E38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" y="1938338"/>
              <a:ext cx="26988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2" name="Rectangle 129">
              <a:extLst>
                <a:ext uri="{FF2B5EF4-FFF2-40B4-BE49-F238E27FC236}">
                  <a16:creationId xmlns:a16="http://schemas.microsoft.com/office/drawing/2014/main" id="{1E706547-97CB-4F56-9673-467F36200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800" y="1825625"/>
              <a:ext cx="1047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3" name="Rectangle 130">
              <a:extLst>
                <a:ext uri="{FF2B5EF4-FFF2-40B4-BE49-F238E27FC236}">
                  <a16:creationId xmlns:a16="http://schemas.microsoft.com/office/drawing/2014/main" id="{034D0764-FEC1-4728-837E-852B1AC981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800" y="1870075"/>
              <a:ext cx="10477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4" name="Rectangle 131">
              <a:extLst>
                <a:ext uri="{FF2B5EF4-FFF2-40B4-BE49-F238E27FC236}">
                  <a16:creationId xmlns:a16="http://schemas.microsoft.com/office/drawing/2014/main" id="{FB7CD123-2EE2-4586-8C39-517B8A8BA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800" y="1919288"/>
              <a:ext cx="104775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5" name="Rectangle 132">
              <a:extLst>
                <a:ext uri="{FF2B5EF4-FFF2-40B4-BE49-F238E27FC236}">
                  <a16:creationId xmlns:a16="http://schemas.microsoft.com/office/drawing/2014/main" id="{48F30FD4-0DC8-4FC5-9480-03BABE5927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800" y="1962150"/>
              <a:ext cx="10477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18" name="Group 45217">
            <a:extLst>
              <a:ext uri="{FF2B5EF4-FFF2-40B4-BE49-F238E27FC236}">
                <a16:creationId xmlns:a16="http://schemas.microsoft.com/office/drawing/2014/main" id="{287BA3F7-953D-4BD2-A0AC-EC9BAB56442C}"/>
              </a:ext>
            </a:extLst>
          </p:cNvPr>
          <p:cNvGrpSpPr/>
          <p:nvPr/>
        </p:nvGrpSpPr>
        <p:grpSpPr>
          <a:xfrm>
            <a:off x="1414463" y="1611313"/>
            <a:ext cx="768351" cy="776288"/>
            <a:chOff x="1414463" y="1611313"/>
            <a:chExt cx="768351" cy="776288"/>
          </a:xfrm>
        </p:grpSpPr>
        <p:sp>
          <p:nvSpPr>
            <p:cNvPr id="45198" name="AutoShape 134">
              <a:extLst>
                <a:ext uri="{FF2B5EF4-FFF2-40B4-BE49-F238E27FC236}">
                  <a16:creationId xmlns:a16="http://schemas.microsoft.com/office/drawing/2014/main" id="{2C16CE29-3958-4E9B-A978-9766B60FCA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4463" y="1616075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9" name="Freeform 136">
              <a:extLst>
                <a:ext uri="{FF2B5EF4-FFF2-40B4-BE49-F238E27FC236}">
                  <a16:creationId xmlns:a16="http://schemas.microsoft.com/office/drawing/2014/main" id="{9EF0362C-EBE1-41A7-94EB-887228CDC3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9226" y="1611313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0" name="Freeform 137">
              <a:extLst>
                <a:ext uri="{FF2B5EF4-FFF2-40B4-BE49-F238E27FC236}">
                  <a16:creationId xmlns:a16="http://schemas.microsoft.com/office/drawing/2014/main" id="{A1B71D16-6B40-46D3-83A6-D6B47509C3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9251" y="1763713"/>
              <a:ext cx="406400" cy="468313"/>
            </a:xfrm>
            <a:custGeom>
              <a:avLst/>
              <a:gdLst>
                <a:gd name="T0" fmla="*/ 99 w 103"/>
                <a:gd name="T1" fmla="*/ 112 h 117"/>
                <a:gd name="T2" fmla="*/ 97 w 103"/>
                <a:gd name="T3" fmla="*/ 114 h 117"/>
                <a:gd name="T4" fmla="*/ 46 w 103"/>
                <a:gd name="T5" fmla="*/ 114 h 117"/>
                <a:gd name="T6" fmla="*/ 43 w 103"/>
                <a:gd name="T7" fmla="*/ 112 h 117"/>
                <a:gd name="T8" fmla="*/ 44 w 103"/>
                <a:gd name="T9" fmla="*/ 110 h 117"/>
                <a:gd name="T10" fmla="*/ 69 w 103"/>
                <a:gd name="T11" fmla="*/ 64 h 117"/>
                <a:gd name="T12" fmla="*/ 71 w 103"/>
                <a:gd name="T13" fmla="*/ 62 h 117"/>
                <a:gd name="T14" fmla="*/ 74 w 103"/>
                <a:gd name="T15" fmla="*/ 64 h 117"/>
                <a:gd name="T16" fmla="*/ 99 w 103"/>
                <a:gd name="T17" fmla="*/ 110 h 117"/>
                <a:gd name="T18" fmla="*/ 99 w 103"/>
                <a:gd name="T19" fmla="*/ 112 h 117"/>
                <a:gd name="T20" fmla="*/ 4 w 103"/>
                <a:gd name="T21" fmla="*/ 107 h 117"/>
                <a:gd name="T22" fmla="*/ 4 w 103"/>
                <a:gd name="T23" fmla="*/ 4 h 117"/>
                <a:gd name="T24" fmla="*/ 4 w 103"/>
                <a:gd name="T25" fmla="*/ 4 h 117"/>
                <a:gd name="T26" fmla="*/ 79 w 103"/>
                <a:gd name="T27" fmla="*/ 4 h 117"/>
                <a:gd name="T28" fmla="*/ 79 w 103"/>
                <a:gd name="T29" fmla="*/ 4 h 117"/>
                <a:gd name="T30" fmla="*/ 79 w 103"/>
                <a:gd name="T31" fmla="*/ 66 h 117"/>
                <a:gd name="T32" fmla="*/ 77 w 103"/>
                <a:gd name="T33" fmla="*/ 62 h 117"/>
                <a:gd name="T34" fmla="*/ 71 w 103"/>
                <a:gd name="T35" fmla="*/ 59 h 117"/>
                <a:gd name="T36" fmla="*/ 67 w 103"/>
                <a:gd name="T37" fmla="*/ 62 h 117"/>
                <a:gd name="T38" fmla="*/ 11 w 103"/>
                <a:gd name="T39" fmla="*/ 62 h 117"/>
                <a:gd name="T40" fmla="*/ 11 w 103"/>
                <a:gd name="T41" fmla="*/ 65 h 117"/>
                <a:gd name="T42" fmla="*/ 65 w 103"/>
                <a:gd name="T43" fmla="*/ 65 h 117"/>
                <a:gd name="T44" fmla="*/ 60 w 103"/>
                <a:gd name="T45" fmla="*/ 73 h 117"/>
                <a:gd name="T46" fmla="*/ 11 w 103"/>
                <a:gd name="T47" fmla="*/ 73 h 117"/>
                <a:gd name="T48" fmla="*/ 11 w 103"/>
                <a:gd name="T49" fmla="*/ 76 h 117"/>
                <a:gd name="T50" fmla="*/ 58 w 103"/>
                <a:gd name="T51" fmla="*/ 76 h 117"/>
                <a:gd name="T52" fmla="*/ 54 w 103"/>
                <a:gd name="T53" fmla="*/ 84 h 117"/>
                <a:gd name="T54" fmla="*/ 11 w 103"/>
                <a:gd name="T55" fmla="*/ 84 h 117"/>
                <a:gd name="T56" fmla="*/ 11 w 103"/>
                <a:gd name="T57" fmla="*/ 88 h 117"/>
                <a:gd name="T58" fmla="*/ 52 w 103"/>
                <a:gd name="T59" fmla="*/ 88 h 117"/>
                <a:gd name="T60" fmla="*/ 48 w 103"/>
                <a:gd name="T61" fmla="*/ 96 h 117"/>
                <a:gd name="T62" fmla="*/ 11 w 103"/>
                <a:gd name="T63" fmla="*/ 96 h 117"/>
                <a:gd name="T64" fmla="*/ 11 w 103"/>
                <a:gd name="T65" fmla="*/ 99 h 117"/>
                <a:gd name="T66" fmla="*/ 46 w 103"/>
                <a:gd name="T67" fmla="*/ 99 h 117"/>
                <a:gd name="T68" fmla="*/ 42 w 103"/>
                <a:gd name="T69" fmla="*/ 107 h 117"/>
                <a:gd name="T70" fmla="*/ 4 w 103"/>
                <a:gd name="T71" fmla="*/ 107 h 117"/>
                <a:gd name="T72" fmla="*/ 4 w 103"/>
                <a:gd name="T73" fmla="*/ 107 h 117"/>
                <a:gd name="T74" fmla="*/ 82 w 103"/>
                <a:gd name="T75" fmla="*/ 72 h 117"/>
                <a:gd name="T76" fmla="*/ 82 w 103"/>
                <a:gd name="T77" fmla="*/ 4 h 117"/>
                <a:gd name="T78" fmla="*/ 79 w 103"/>
                <a:gd name="T79" fmla="*/ 0 h 117"/>
                <a:gd name="T80" fmla="*/ 4 w 103"/>
                <a:gd name="T81" fmla="*/ 0 h 117"/>
                <a:gd name="T82" fmla="*/ 0 w 103"/>
                <a:gd name="T83" fmla="*/ 4 h 117"/>
                <a:gd name="T84" fmla="*/ 0 w 103"/>
                <a:gd name="T85" fmla="*/ 107 h 117"/>
                <a:gd name="T86" fmla="*/ 4 w 103"/>
                <a:gd name="T87" fmla="*/ 110 h 117"/>
                <a:gd name="T88" fmla="*/ 40 w 103"/>
                <a:gd name="T89" fmla="*/ 110 h 117"/>
                <a:gd name="T90" fmla="*/ 41 w 103"/>
                <a:gd name="T91" fmla="*/ 114 h 117"/>
                <a:gd name="T92" fmla="*/ 46 w 103"/>
                <a:gd name="T93" fmla="*/ 117 h 117"/>
                <a:gd name="T94" fmla="*/ 97 w 103"/>
                <a:gd name="T95" fmla="*/ 117 h 117"/>
                <a:gd name="T96" fmla="*/ 102 w 103"/>
                <a:gd name="T97" fmla="*/ 114 h 117"/>
                <a:gd name="T98" fmla="*/ 102 w 103"/>
                <a:gd name="T99" fmla="*/ 108 h 117"/>
                <a:gd name="T100" fmla="*/ 82 w 103"/>
                <a:gd name="T101" fmla="*/ 7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" h="117">
                  <a:moveTo>
                    <a:pt x="99" y="112"/>
                  </a:moveTo>
                  <a:cubicBezTo>
                    <a:pt x="99" y="113"/>
                    <a:pt x="98" y="114"/>
                    <a:pt x="97" y="114"/>
                  </a:cubicBezTo>
                  <a:cubicBezTo>
                    <a:pt x="46" y="114"/>
                    <a:pt x="46" y="114"/>
                    <a:pt x="46" y="114"/>
                  </a:cubicBezTo>
                  <a:cubicBezTo>
                    <a:pt x="45" y="114"/>
                    <a:pt x="44" y="113"/>
                    <a:pt x="43" y="112"/>
                  </a:cubicBezTo>
                  <a:cubicBezTo>
                    <a:pt x="43" y="112"/>
                    <a:pt x="43" y="111"/>
                    <a:pt x="44" y="110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3"/>
                    <a:pt x="71" y="62"/>
                    <a:pt x="71" y="62"/>
                  </a:cubicBezTo>
                  <a:cubicBezTo>
                    <a:pt x="72" y="62"/>
                    <a:pt x="73" y="63"/>
                    <a:pt x="74" y="64"/>
                  </a:cubicBezTo>
                  <a:cubicBezTo>
                    <a:pt x="99" y="110"/>
                    <a:pt x="99" y="110"/>
                    <a:pt x="99" y="110"/>
                  </a:cubicBezTo>
                  <a:cubicBezTo>
                    <a:pt x="100" y="111"/>
                    <a:pt x="100" y="112"/>
                    <a:pt x="99" y="112"/>
                  </a:cubicBezTo>
                  <a:moveTo>
                    <a:pt x="4" y="107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5" y="60"/>
                    <a:pt x="73" y="59"/>
                    <a:pt x="71" y="59"/>
                  </a:cubicBezTo>
                  <a:cubicBezTo>
                    <a:pt x="70" y="59"/>
                    <a:pt x="68" y="60"/>
                    <a:pt x="67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4" y="107"/>
                    <a:pt x="4" y="107"/>
                    <a:pt x="4" y="107"/>
                  </a:cubicBezTo>
                  <a:moveTo>
                    <a:pt x="82" y="72"/>
                  </a:moveTo>
                  <a:cubicBezTo>
                    <a:pt x="82" y="4"/>
                    <a:pt x="82" y="4"/>
                    <a:pt x="82" y="4"/>
                  </a:cubicBezTo>
                  <a:cubicBezTo>
                    <a:pt x="82" y="2"/>
                    <a:pt x="81" y="0"/>
                    <a:pt x="7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2" y="110"/>
                    <a:pt x="4" y="110"/>
                  </a:cubicBezTo>
                  <a:cubicBezTo>
                    <a:pt x="40" y="110"/>
                    <a:pt x="40" y="110"/>
                    <a:pt x="40" y="110"/>
                  </a:cubicBezTo>
                  <a:cubicBezTo>
                    <a:pt x="40" y="112"/>
                    <a:pt x="40" y="113"/>
                    <a:pt x="41" y="114"/>
                  </a:cubicBezTo>
                  <a:cubicBezTo>
                    <a:pt x="42" y="116"/>
                    <a:pt x="44" y="117"/>
                    <a:pt x="46" y="117"/>
                  </a:cubicBezTo>
                  <a:cubicBezTo>
                    <a:pt x="97" y="117"/>
                    <a:pt x="97" y="117"/>
                    <a:pt x="97" y="117"/>
                  </a:cubicBezTo>
                  <a:cubicBezTo>
                    <a:pt x="99" y="117"/>
                    <a:pt x="101" y="116"/>
                    <a:pt x="102" y="114"/>
                  </a:cubicBezTo>
                  <a:cubicBezTo>
                    <a:pt x="103" y="112"/>
                    <a:pt x="103" y="110"/>
                    <a:pt x="102" y="108"/>
                  </a:cubicBezTo>
                  <a:lnTo>
                    <a:pt x="82" y="7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1" name="Freeform 138">
              <a:extLst>
                <a:ext uri="{FF2B5EF4-FFF2-40B4-BE49-F238E27FC236}">
                  <a16:creationId xmlns:a16="http://schemas.microsoft.com/office/drawing/2014/main" id="{134CFC8C-C714-40B4-B3F5-C8C308EC3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776" y="2068513"/>
              <a:ext cx="31750" cy="92075"/>
            </a:xfrm>
            <a:custGeom>
              <a:avLst/>
              <a:gdLst>
                <a:gd name="T0" fmla="*/ 18 w 20"/>
                <a:gd name="T1" fmla="*/ 58 h 58"/>
                <a:gd name="T2" fmla="*/ 20 w 20"/>
                <a:gd name="T3" fmla="*/ 0 h 58"/>
                <a:gd name="T4" fmla="*/ 0 w 20"/>
                <a:gd name="T5" fmla="*/ 0 h 58"/>
                <a:gd name="T6" fmla="*/ 5 w 20"/>
                <a:gd name="T7" fmla="*/ 58 h 58"/>
                <a:gd name="T8" fmla="*/ 18 w 20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8">
                  <a:moveTo>
                    <a:pt x="18" y="5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5" y="58"/>
                  </a:lnTo>
                  <a:lnTo>
                    <a:pt x="18" y="5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2" name="Oval 139">
              <a:extLst>
                <a:ext uri="{FF2B5EF4-FFF2-40B4-BE49-F238E27FC236}">
                  <a16:creationId xmlns:a16="http://schemas.microsoft.com/office/drawing/2014/main" id="{9D3C4878-70D7-41AD-B03C-842519A45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2776" y="2171700"/>
              <a:ext cx="36513" cy="3651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3" name="Freeform 140">
              <a:extLst>
                <a:ext uri="{FF2B5EF4-FFF2-40B4-BE49-F238E27FC236}">
                  <a16:creationId xmlns:a16="http://schemas.microsoft.com/office/drawing/2014/main" id="{84FB7F09-6B09-42CC-B838-C8223C021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6876" y="1803400"/>
              <a:ext cx="106363" cy="188913"/>
            </a:xfrm>
            <a:custGeom>
              <a:avLst/>
              <a:gdLst>
                <a:gd name="T0" fmla="*/ 62 w 67"/>
                <a:gd name="T1" fmla="*/ 114 h 119"/>
                <a:gd name="T2" fmla="*/ 37 w 67"/>
                <a:gd name="T3" fmla="*/ 114 h 119"/>
                <a:gd name="T4" fmla="*/ 37 w 67"/>
                <a:gd name="T5" fmla="*/ 99 h 119"/>
                <a:gd name="T6" fmla="*/ 30 w 67"/>
                <a:gd name="T7" fmla="*/ 99 h 119"/>
                <a:gd name="T8" fmla="*/ 30 w 67"/>
                <a:gd name="T9" fmla="*/ 114 h 119"/>
                <a:gd name="T10" fmla="*/ 5 w 67"/>
                <a:gd name="T11" fmla="*/ 114 h 119"/>
                <a:gd name="T12" fmla="*/ 5 w 67"/>
                <a:gd name="T13" fmla="*/ 15 h 119"/>
                <a:gd name="T14" fmla="*/ 7 w 67"/>
                <a:gd name="T15" fmla="*/ 15 h 119"/>
                <a:gd name="T16" fmla="*/ 37 w 67"/>
                <a:gd name="T17" fmla="*/ 15 h 119"/>
                <a:gd name="T18" fmla="*/ 62 w 67"/>
                <a:gd name="T19" fmla="*/ 15 h 119"/>
                <a:gd name="T20" fmla="*/ 62 w 67"/>
                <a:gd name="T21" fmla="*/ 114 h 119"/>
                <a:gd name="T22" fmla="*/ 12 w 67"/>
                <a:gd name="T23" fmla="*/ 5 h 119"/>
                <a:gd name="T24" fmla="*/ 32 w 67"/>
                <a:gd name="T25" fmla="*/ 5 h 119"/>
                <a:gd name="T26" fmla="*/ 32 w 67"/>
                <a:gd name="T27" fmla="*/ 10 h 119"/>
                <a:gd name="T28" fmla="*/ 12 w 67"/>
                <a:gd name="T29" fmla="*/ 10 h 119"/>
                <a:gd name="T30" fmla="*/ 12 w 67"/>
                <a:gd name="T31" fmla="*/ 5 h 119"/>
                <a:gd name="T32" fmla="*/ 67 w 67"/>
                <a:gd name="T33" fmla="*/ 10 h 119"/>
                <a:gd name="T34" fmla="*/ 37 w 67"/>
                <a:gd name="T35" fmla="*/ 10 h 119"/>
                <a:gd name="T36" fmla="*/ 37 w 67"/>
                <a:gd name="T37" fmla="*/ 0 h 119"/>
                <a:gd name="T38" fmla="*/ 7 w 67"/>
                <a:gd name="T39" fmla="*/ 0 h 119"/>
                <a:gd name="T40" fmla="*/ 7 w 67"/>
                <a:gd name="T41" fmla="*/ 10 h 119"/>
                <a:gd name="T42" fmla="*/ 0 w 67"/>
                <a:gd name="T43" fmla="*/ 10 h 119"/>
                <a:gd name="T44" fmla="*/ 0 w 67"/>
                <a:gd name="T45" fmla="*/ 119 h 119"/>
                <a:gd name="T46" fmla="*/ 67 w 67"/>
                <a:gd name="T47" fmla="*/ 119 h 119"/>
                <a:gd name="T48" fmla="*/ 67 w 67"/>
                <a:gd name="T49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7" h="119">
                  <a:moveTo>
                    <a:pt x="62" y="114"/>
                  </a:moveTo>
                  <a:lnTo>
                    <a:pt x="37" y="114"/>
                  </a:lnTo>
                  <a:lnTo>
                    <a:pt x="37" y="99"/>
                  </a:lnTo>
                  <a:lnTo>
                    <a:pt x="30" y="99"/>
                  </a:lnTo>
                  <a:lnTo>
                    <a:pt x="30" y="114"/>
                  </a:lnTo>
                  <a:lnTo>
                    <a:pt x="5" y="114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37" y="15"/>
                  </a:lnTo>
                  <a:lnTo>
                    <a:pt x="62" y="15"/>
                  </a:lnTo>
                  <a:lnTo>
                    <a:pt x="62" y="114"/>
                  </a:lnTo>
                  <a:close/>
                  <a:moveTo>
                    <a:pt x="12" y="5"/>
                  </a:moveTo>
                  <a:lnTo>
                    <a:pt x="32" y="5"/>
                  </a:lnTo>
                  <a:lnTo>
                    <a:pt x="32" y="10"/>
                  </a:lnTo>
                  <a:lnTo>
                    <a:pt x="12" y="10"/>
                  </a:lnTo>
                  <a:lnTo>
                    <a:pt x="12" y="5"/>
                  </a:lnTo>
                  <a:close/>
                  <a:moveTo>
                    <a:pt x="67" y="10"/>
                  </a:moveTo>
                  <a:lnTo>
                    <a:pt x="37" y="10"/>
                  </a:lnTo>
                  <a:lnTo>
                    <a:pt x="37" y="0"/>
                  </a:lnTo>
                  <a:lnTo>
                    <a:pt x="7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19"/>
                  </a:lnTo>
                  <a:lnTo>
                    <a:pt x="67" y="119"/>
                  </a:lnTo>
                  <a:lnTo>
                    <a:pt x="67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4" name="Rectangle 141">
              <a:extLst>
                <a:ext uri="{FF2B5EF4-FFF2-40B4-BE49-F238E27FC236}">
                  <a16:creationId xmlns:a16="http://schemas.microsoft.com/office/drawing/2014/main" id="{E26D8AEB-FE7E-44C6-85C8-B3AE66D64D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5926" y="1847850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5" name="Rectangle 142">
              <a:extLst>
                <a:ext uri="{FF2B5EF4-FFF2-40B4-BE49-F238E27FC236}">
                  <a16:creationId xmlns:a16="http://schemas.microsoft.com/office/drawing/2014/main" id="{10FBFFB1-3264-4992-8CCA-581D18776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5926" y="1868488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6" name="Rectangle 143">
              <a:extLst>
                <a:ext uri="{FF2B5EF4-FFF2-40B4-BE49-F238E27FC236}">
                  <a16:creationId xmlns:a16="http://schemas.microsoft.com/office/drawing/2014/main" id="{7807B88F-F9BA-4575-85AF-B3A2E0DA9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5926" y="1892300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7" name="Rectangle 144">
              <a:extLst>
                <a:ext uri="{FF2B5EF4-FFF2-40B4-BE49-F238E27FC236}">
                  <a16:creationId xmlns:a16="http://schemas.microsoft.com/office/drawing/2014/main" id="{FF4B091A-215F-40FA-B67A-7E5189A8B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5926" y="1916113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8" name="Rectangle 145">
              <a:extLst>
                <a:ext uri="{FF2B5EF4-FFF2-40B4-BE49-F238E27FC236}">
                  <a16:creationId xmlns:a16="http://schemas.microsoft.com/office/drawing/2014/main" id="{CE1E4A8A-480F-4065-B55A-CF33B8A91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5926" y="1939925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9" name="Rectangle 146">
              <a:extLst>
                <a:ext uri="{FF2B5EF4-FFF2-40B4-BE49-F238E27FC236}">
                  <a16:creationId xmlns:a16="http://schemas.microsoft.com/office/drawing/2014/main" id="{612B87A5-8282-4F00-BA9A-B17D48BAB0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613" y="1847850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0" name="Rectangle 147">
              <a:extLst>
                <a:ext uri="{FF2B5EF4-FFF2-40B4-BE49-F238E27FC236}">
                  <a16:creationId xmlns:a16="http://schemas.microsoft.com/office/drawing/2014/main" id="{C54D283B-ED94-41F2-B122-1E2940E92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613" y="1868488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1" name="Rectangle 148">
              <a:extLst>
                <a:ext uri="{FF2B5EF4-FFF2-40B4-BE49-F238E27FC236}">
                  <a16:creationId xmlns:a16="http://schemas.microsoft.com/office/drawing/2014/main" id="{D90FDF19-5C1A-4B84-BE0D-CC1146A8B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613" y="1892300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2" name="Rectangle 149">
              <a:extLst>
                <a:ext uri="{FF2B5EF4-FFF2-40B4-BE49-F238E27FC236}">
                  <a16:creationId xmlns:a16="http://schemas.microsoft.com/office/drawing/2014/main" id="{D868AC43-37CF-4DD2-8FFB-2CC9AC37A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613" y="1916113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3" name="Rectangle 150">
              <a:extLst>
                <a:ext uri="{FF2B5EF4-FFF2-40B4-BE49-F238E27FC236}">
                  <a16:creationId xmlns:a16="http://schemas.microsoft.com/office/drawing/2014/main" id="{5806FE2C-5363-4170-B7BD-AA8FB00C0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5613" y="1939925"/>
              <a:ext cx="28575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4" name="Rectangle 151">
              <a:extLst>
                <a:ext uri="{FF2B5EF4-FFF2-40B4-BE49-F238E27FC236}">
                  <a16:creationId xmlns:a16="http://schemas.microsoft.com/office/drawing/2014/main" id="{9FD510F7-F0A7-499B-A514-0FE183C55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7051" y="1827213"/>
              <a:ext cx="101600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5" name="Rectangle 152">
              <a:extLst>
                <a:ext uri="{FF2B5EF4-FFF2-40B4-BE49-F238E27FC236}">
                  <a16:creationId xmlns:a16="http://schemas.microsoft.com/office/drawing/2014/main" id="{A3F44E20-B309-4017-BC3A-22DEB14E4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7051" y="1871663"/>
              <a:ext cx="101600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6" name="Rectangle 153">
              <a:extLst>
                <a:ext uri="{FF2B5EF4-FFF2-40B4-BE49-F238E27FC236}">
                  <a16:creationId xmlns:a16="http://schemas.microsoft.com/office/drawing/2014/main" id="{0CB1B2FD-6048-4138-AC84-FBBB7A4223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7051" y="1919288"/>
              <a:ext cx="101600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7" name="Rectangle 154">
              <a:extLst>
                <a:ext uri="{FF2B5EF4-FFF2-40B4-BE49-F238E27FC236}">
                  <a16:creationId xmlns:a16="http://schemas.microsoft.com/office/drawing/2014/main" id="{20CD7683-4E10-4D61-B2D7-A08AFB0DC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7051" y="1963738"/>
              <a:ext cx="101600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53" name="Group 45252">
            <a:extLst>
              <a:ext uri="{FF2B5EF4-FFF2-40B4-BE49-F238E27FC236}">
                <a16:creationId xmlns:a16="http://schemas.microsoft.com/office/drawing/2014/main" id="{7A1AC376-580C-4D7B-B18F-AE6AF7761EDB}"/>
              </a:ext>
            </a:extLst>
          </p:cNvPr>
          <p:cNvGrpSpPr/>
          <p:nvPr/>
        </p:nvGrpSpPr>
        <p:grpSpPr>
          <a:xfrm>
            <a:off x="2633663" y="1590675"/>
            <a:ext cx="844550" cy="841375"/>
            <a:chOff x="2633663" y="1590675"/>
            <a:chExt cx="844550" cy="841375"/>
          </a:xfrm>
        </p:grpSpPr>
        <p:sp>
          <p:nvSpPr>
            <p:cNvPr id="45220" name="AutoShape 156">
              <a:extLst>
                <a:ext uri="{FF2B5EF4-FFF2-40B4-BE49-F238E27FC236}">
                  <a16:creationId xmlns:a16="http://schemas.microsoft.com/office/drawing/2014/main" id="{4740FD17-2A77-4E2D-9011-F94449F223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33663" y="1590675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1" name="Oval 158">
              <a:extLst>
                <a:ext uri="{FF2B5EF4-FFF2-40B4-BE49-F238E27FC236}">
                  <a16:creationId xmlns:a16="http://schemas.microsoft.com/office/drawing/2014/main" id="{44BD6EF3-BD8B-4313-9EAA-5064F3033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3663" y="1593850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2" name="Freeform 159">
              <a:extLst>
                <a:ext uri="{FF2B5EF4-FFF2-40B4-BE49-F238E27FC236}">
                  <a16:creationId xmlns:a16="http://schemas.microsoft.com/office/drawing/2014/main" id="{CE90AF88-4FB1-4CA3-81BC-5E6EBA0B3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2238" y="1622425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3" name="Freeform 160">
              <a:extLst>
                <a:ext uri="{FF2B5EF4-FFF2-40B4-BE49-F238E27FC236}">
                  <a16:creationId xmlns:a16="http://schemas.microsoft.com/office/drawing/2014/main" id="{A5FB230E-A1F8-4CC3-A661-287832759E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1776" y="1814513"/>
              <a:ext cx="565150" cy="388938"/>
            </a:xfrm>
            <a:custGeom>
              <a:avLst/>
              <a:gdLst>
                <a:gd name="T0" fmla="*/ 118 w 139"/>
                <a:gd name="T1" fmla="*/ 84 h 97"/>
                <a:gd name="T2" fmla="*/ 111 w 139"/>
                <a:gd name="T3" fmla="*/ 74 h 97"/>
                <a:gd name="T4" fmla="*/ 107 w 139"/>
                <a:gd name="T5" fmla="*/ 84 h 97"/>
                <a:gd name="T6" fmla="*/ 98 w 139"/>
                <a:gd name="T7" fmla="*/ 57 h 97"/>
                <a:gd name="T8" fmla="*/ 94 w 139"/>
                <a:gd name="T9" fmla="*/ 17 h 97"/>
                <a:gd name="T10" fmla="*/ 116 w 139"/>
                <a:gd name="T11" fmla="*/ 17 h 97"/>
                <a:gd name="T12" fmla="*/ 135 w 139"/>
                <a:gd name="T13" fmla="*/ 84 h 97"/>
                <a:gd name="T14" fmla="*/ 72 w 139"/>
                <a:gd name="T15" fmla="*/ 76 h 97"/>
                <a:gd name="T16" fmla="*/ 84 w 139"/>
                <a:gd name="T17" fmla="*/ 82 h 97"/>
                <a:gd name="T18" fmla="*/ 86 w 139"/>
                <a:gd name="T19" fmla="*/ 82 h 97"/>
                <a:gd name="T20" fmla="*/ 104 w 139"/>
                <a:gd name="T21" fmla="*/ 88 h 97"/>
                <a:gd name="T22" fmla="*/ 91 w 139"/>
                <a:gd name="T23" fmla="*/ 72 h 97"/>
                <a:gd name="T24" fmla="*/ 79 w 139"/>
                <a:gd name="T25" fmla="*/ 72 h 97"/>
                <a:gd name="T26" fmla="*/ 91 w 139"/>
                <a:gd name="T27" fmla="*/ 72 h 97"/>
                <a:gd name="T28" fmla="*/ 85 w 139"/>
                <a:gd name="T29" fmla="*/ 48 h 97"/>
                <a:gd name="T30" fmla="*/ 85 w 139"/>
                <a:gd name="T31" fmla="*/ 67 h 97"/>
                <a:gd name="T32" fmla="*/ 99 w 139"/>
                <a:gd name="T33" fmla="*/ 9 h 97"/>
                <a:gd name="T34" fmla="*/ 113 w 139"/>
                <a:gd name="T35" fmla="*/ 14 h 97"/>
                <a:gd name="T36" fmla="*/ 99 w 139"/>
                <a:gd name="T37" fmla="*/ 9 h 97"/>
                <a:gd name="T38" fmla="*/ 4 w 139"/>
                <a:gd name="T39" fmla="*/ 94 h 97"/>
                <a:gd name="T40" fmla="*/ 69 w 139"/>
                <a:gd name="T41" fmla="*/ 4 h 97"/>
                <a:gd name="T42" fmla="*/ 116 w 139"/>
                <a:gd name="T43" fmla="*/ 14 h 97"/>
                <a:gd name="T44" fmla="*/ 96 w 139"/>
                <a:gd name="T45" fmla="*/ 6 h 97"/>
                <a:gd name="T46" fmla="*/ 90 w 139"/>
                <a:gd name="T47" fmla="*/ 14 h 97"/>
                <a:gd name="T48" fmla="*/ 85 w 139"/>
                <a:gd name="T49" fmla="*/ 45 h 97"/>
                <a:gd name="T50" fmla="*/ 79 w 139"/>
                <a:gd name="T51" fmla="*/ 68 h 97"/>
                <a:gd name="T52" fmla="*/ 72 w 139"/>
                <a:gd name="T53" fmla="*/ 4 h 97"/>
                <a:gd name="T54" fmla="*/ 3 w 139"/>
                <a:gd name="T55" fmla="*/ 0 h 97"/>
                <a:gd name="T56" fmla="*/ 0 w 139"/>
                <a:gd name="T57" fmla="*/ 94 h 97"/>
                <a:gd name="T58" fmla="*/ 69 w 139"/>
                <a:gd name="T59" fmla="*/ 97 h 97"/>
                <a:gd name="T60" fmla="*/ 72 w 139"/>
                <a:gd name="T61" fmla="*/ 91 h 97"/>
                <a:gd name="T62" fmla="*/ 108 w 139"/>
                <a:gd name="T63" fmla="*/ 89 h 97"/>
                <a:gd name="T64" fmla="*/ 139 w 139"/>
                <a:gd name="T65" fmla="*/ 88 h 97"/>
                <a:gd name="T66" fmla="*/ 116 w 139"/>
                <a:gd name="T67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97">
                  <a:moveTo>
                    <a:pt x="135" y="84"/>
                  </a:moveTo>
                  <a:cubicBezTo>
                    <a:pt x="118" y="84"/>
                    <a:pt x="118" y="84"/>
                    <a:pt x="118" y="8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1" y="84"/>
                    <a:pt x="111" y="84"/>
                    <a:pt x="111" y="84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5" y="76"/>
                    <a:pt x="99" y="70"/>
                    <a:pt x="91" y="68"/>
                  </a:cubicBezTo>
                  <a:cubicBezTo>
                    <a:pt x="95" y="66"/>
                    <a:pt x="98" y="62"/>
                    <a:pt x="98" y="57"/>
                  </a:cubicBezTo>
                  <a:cubicBezTo>
                    <a:pt x="98" y="54"/>
                    <a:pt x="96" y="51"/>
                    <a:pt x="94" y="48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35" y="17"/>
                    <a:pt x="135" y="17"/>
                    <a:pt x="135" y="17"/>
                  </a:cubicBezTo>
                  <a:lnTo>
                    <a:pt x="135" y="84"/>
                  </a:lnTo>
                  <a:close/>
                  <a:moveTo>
                    <a:pt x="72" y="88"/>
                  </a:moveTo>
                  <a:cubicBezTo>
                    <a:pt x="72" y="76"/>
                    <a:pt x="72" y="76"/>
                    <a:pt x="72" y="76"/>
                  </a:cubicBezTo>
                  <a:cubicBezTo>
                    <a:pt x="73" y="75"/>
                    <a:pt x="74" y="74"/>
                    <a:pt x="76" y="74"/>
                  </a:cubicBezTo>
                  <a:cubicBezTo>
                    <a:pt x="84" y="82"/>
                    <a:pt x="84" y="82"/>
                    <a:pt x="84" y="82"/>
                  </a:cubicBezTo>
                  <a:cubicBezTo>
                    <a:pt x="84" y="82"/>
                    <a:pt x="85" y="82"/>
                    <a:pt x="85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100" y="76"/>
                    <a:pt x="104" y="82"/>
                    <a:pt x="104" y="88"/>
                  </a:cubicBezTo>
                  <a:lnTo>
                    <a:pt x="72" y="88"/>
                  </a:lnTo>
                  <a:close/>
                  <a:moveTo>
                    <a:pt x="91" y="72"/>
                  </a:moveTo>
                  <a:cubicBezTo>
                    <a:pt x="85" y="78"/>
                    <a:pt x="85" y="78"/>
                    <a:pt x="85" y="78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1" y="71"/>
                    <a:pt x="83" y="71"/>
                    <a:pt x="85" y="71"/>
                  </a:cubicBezTo>
                  <a:cubicBezTo>
                    <a:pt x="87" y="71"/>
                    <a:pt x="89" y="71"/>
                    <a:pt x="91" y="72"/>
                  </a:cubicBezTo>
                  <a:moveTo>
                    <a:pt x="76" y="57"/>
                  </a:moveTo>
                  <a:cubicBezTo>
                    <a:pt x="76" y="52"/>
                    <a:pt x="80" y="48"/>
                    <a:pt x="85" y="48"/>
                  </a:cubicBezTo>
                  <a:cubicBezTo>
                    <a:pt x="90" y="48"/>
                    <a:pt x="94" y="52"/>
                    <a:pt x="94" y="57"/>
                  </a:cubicBezTo>
                  <a:cubicBezTo>
                    <a:pt x="94" y="62"/>
                    <a:pt x="90" y="67"/>
                    <a:pt x="85" y="67"/>
                  </a:cubicBezTo>
                  <a:cubicBezTo>
                    <a:pt x="80" y="67"/>
                    <a:pt x="76" y="62"/>
                    <a:pt x="76" y="57"/>
                  </a:cubicBezTo>
                  <a:moveTo>
                    <a:pt x="99" y="9"/>
                  </a:moveTo>
                  <a:cubicBezTo>
                    <a:pt x="113" y="9"/>
                    <a:pt x="113" y="9"/>
                    <a:pt x="113" y="9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99" y="14"/>
                    <a:pt x="99" y="14"/>
                    <a:pt x="99" y="14"/>
                  </a:cubicBezTo>
                  <a:lnTo>
                    <a:pt x="99" y="9"/>
                  </a:lnTo>
                  <a:close/>
                  <a:moveTo>
                    <a:pt x="69" y="94"/>
                  </a:moveTo>
                  <a:cubicBezTo>
                    <a:pt x="4" y="94"/>
                    <a:pt x="4" y="94"/>
                    <a:pt x="4" y="9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9" y="4"/>
                    <a:pt x="69" y="4"/>
                    <a:pt x="69" y="4"/>
                  </a:cubicBezTo>
                  <a:lnTo>
                    <a:pt x="69" y="94"/>
                  </a:lnTo>
                  <a:close/>
                  <a:moveTo>
                    <a:pt x="116" y="14"/>
                  </a:moveTo>
                  <a:cubicBezTo>
                    <a:pt x="116" y="6"/>
                    <a:pt x="116" y="6"/>
                    <a:pt x="116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89" y="45"/>
                    <a:pt x="87" y="45"/>
                    <a:pt x="85" y="45"/>
                  </a:cubicBezTo>
                  <a:cubicBezTo>
                    <a:pt x="78" y="45"/>
                    <a:pt x="73" y="50"/>
                    <a:pt x="73" y="57"/>
                  </a:cubicBezTo>
                  <a:cubicBezTo>
                    <a:pt x="73" y="62"/>
                    <a:pt x="75" y="66"/>
                    <a:pt x="79" y="68"/>
                  </a:cubicBezTo>
                  <a:cubicBezTo>
                    <a:pt x="77" y="69"/>
                    <a:pt x="74" y="70"/>
                    <a:pt x="72" y="71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2"/>
                    <a:pt x="71" y="0"/>
                    <a:pt x="6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6"/>
                    <a:pt x="2" y="97"/>
                    <a:pt x="3" y="9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71" y="97"/>
                    <a:pt x="72" y="96"/>
                    <a:pt x="72" y="94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8" y="89"/>
                    <a:pt x="108" y="88"/>
                    <a:pt x="108" y="88"/>
                  </a:cubicBezTo>
                  <a:cubicBezTo>
                    <a:pt x="139" y="88"/>
                    <a:pt x="139" y="88"/>
                    <a:pt x="139" y="88"/>
                  </a:cubicBezTo>
                  <a:cubicBezTo>
                    <a:pt x="139" y="14"/>
                    <a:pt x="139" y="14"/>
                    <a:pt x="139" y="14"/>
                  </a:cubicBezTo>
                  <a:lnTo>
                    <a:pt x="116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4" name="Rectangle 161">
              <a:extLst>
                <a:ext uri="{FF2B5EF4-FFF2-40B4-BE49-F238E27FC236}">
                  <a16:creationId xmlns:a16="http://schemas.microsoft.com/office/drawing/2014/main" id="{0D5DD8DA-DE19-46E4-BFCB-EEF3ADFE7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413" y="1911350"/>
              <a:ext cx="5397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5" name="Rectangle 162">
              <a:extLst>
                <a:ext uri="{FF2B5EF4-FFF2-40B4-BE49-F238E27FC236}">
                  <a16:creationId xmlns:a16="http://schemas.microsoft.com/office/drawing/2014/main" id="{ADA9B749-2EA2-40D1-A49A-4F2EAC44C7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413" y="1955800"/>
              <a:ext cx="53975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6" name="Rectangle 163">
              <a:extLst>
                <a:ext uri="{FF2B5EF4-FFF2-40B4-BE49-F238E27FC236}">
                  <a16:creationId xmlns:a16="http://schemas.microsoft.com/office/drawing/2014/main" id="{8B87C773-4305-42B7-835D-E1AE08CC0A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413" y="1995488"/>
              <a:ext cx="53975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7" name="Rectangle 164">
              <a:extLst>
                <a:ext uri="{FF2B5EF4-FFF2-40B4-BE49-F238E27FC236}">
                  <a16:creationId xmlns:a16="http://schemas.microsoft.com/office/drawing/2014/main" id="{48768263-1D99-490B-87F8-9C8C791C2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413" y="2035175"/>
              <a:ext cx="539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8" name="Rectangle 165">
              <a:extLst>
                <a:ext uri="{FF2B5EF4-FFF2-40B4-BE49-F238E27FC236}">
                  <a16:creationId xmlns:a16="http://schemas.microsoft.com/office/drawing/2014/main" id="{067740C0-A319-472A-B684-AE644842E5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413" y="2074863"/>
              <a:ext cx="539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9" name="Rectangle 166">
              <a:extLst>
                <a:ext uri="{FF2B5EF4-FFF2-40B4-BE49-F238E27FC236}">
                  <a16:creationId xmlns:a16="http://schemas.microsoft.com/office/drawing/2014/main" id="{867B5DC3-A3BE-439B-AD9C-73345AFE9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263" y="1911350"/>
              <a:ext cx="57150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0" name="Rectangle 167">
              <a:extLst>
                <a:ext uri="{FF2B5EF4-FFF2-40B4-BE49-F238E27FC236}">
                  <a16:creationId xmlns:a16="http://schemas.microsoft.com/office/drawing/2014/main" id="{F299A555-35AC-4882-8FD2-C4ED04EE7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263" y="1955800"/>
              <a:ext cx="57150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1" name="Rectangle 168">
              <a:extLst>
                <a:ext uri="{FF2B5EF4-FFF2-40B4-BE49-F238E27FC236}">
                  <a16:creationId xmlns:a16="http://schemas.microsoft.com/office/drawing/2014/main" id="{B2C9E214-AF0A-4C8D-96AF-B55B2ABE4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263" y="1995488"/>
              <a:ext cx="57150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2" name="Rectangle 169">
              <a:extLst>
                <a:ext uri="{FF2B5EF4-FFF2-40B4-BE49-F238E27FC236}">
                  <a16:creationId xmlns:a16="http://schemas.microsoft.com/office/drawing/2014/main" id="{E70BBD1B-5C01-4B5E-A82B-631A256D0F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263" y="2035175"/>
              <a:ext cx="5715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3" name="Rectangle 170">
              <a:extLst>
                <a:ext uri="{FF2B5EF4-FFF2-40B4-BE49-F238E27FC236}">
                  <a16:creationId xmlns:a16="http://schemas.microsoft.com/office/drawing/2014/main" id="{163AADB0-1610-4151-BD15-A9DBDE1BC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3263" y="2074863"/>
              <a:ext cx="5715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4" name="Freeform 171">
              <a:extLst>
                <a:ext uri="{FF2B5EF4-FFF2-40B4-BE49-F238E27FC236}">
                  <a16:creationId xmlns:a16="http://schemas.microsoft.com/office/drawing/2014/main" id="{B3EC0E01-FE1D-454D-9AA0-FA57E02165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051" y="1846263"/>
              <a:ext cx="101600" cy="169863"/>
            </a:xfrm>
            <a:custGeom>
              <a:avLst/>
              <a:gdLst>
                <a:gd name="T0" fmla="*/ 58 w 64"/>
                <a:gd name="T1" fmla="*/ 101 h 107"/>
                <a:gd name="T2" fmla="*/ 35 w 64"/>
                <a:gd name="T3" fmla="*/ 101 h 107"/>
                <a:gd name="T4" fmla="*/ 35 w 64"/>
                <a:gd name="T5" fmla="*/ 89 h 107"/>
                <a:gd name="T6" fmla="*/ 28 w 64"/>
                <a:gd name="T7" fmla="*/ 89 h 107"/>
                <a:gd name="T8" fmla="*/ 28 w 64"/>
                <a:gd name="T9" fmla="*/ 101 h 107"/>
                <a:gd name="T10" fmla="*/ 5 w 64"/>
                <a:gd name="T11" fmla="*/ 101 h 107"/>
                <a:gd name="T12" fmla="*/ 5 w 64"/>
                <a:gd name="T13" fmla="*/ 18 h 107"/>
                <a:gd name="T14" fmla="*/ 7 w 64"/>
                <a:gd name="T15" fmla="*/ 18 h 107"/>
                <a:gd name="T16" fmla="*/ 33 w 64"/>
                <a:gd name="T17" fmla="*/ 18 h 107"/>
                <a:gd name="T18" fmla="*/ 58 w 64"/>
                <a:gd name="T19" fmla="*/ 18 h 107"/>
                <a:gd name="T20" fmla="*/ 58 w 64"/>
                <a:gd name="T21" fmla="*/ 101 h 107"/>
                <a:gd name="T22" fmla="*/ 12 w 64"/>
                <a:gd name="T23" fmla="*/ 6 h 107"/>
                <a:gd name="T24" fmla="*/ 28 w 64"/>
                <a:gd name="T25" fmla="*/ 6 h 107"/>
                <a:gd name="T26" fmla="*/ 28 w 64"/>
                <a:gd name="T27" fmla="*/ 13 h 107"/>
                <a:gd name="T28" fmla="*/ 12 w 64"/>
                <a:gd name="T29" fmla="*/ 13 h 107"/>
                <a:gd name="T30" fmla="*/ 12 w 64"/>
                <a:gd name="T31" fmla="*/ 6 h 107"/>
                <a:gd name="T32" fmla="*/ 64 w 64"/>
                <a:gd name="T33" fmla="*/ 13 h 107"/>
                <a:gd name="T34" fmla="*/ 33 w 64"/>
                <a:gd name="T35" fmla="*/ 13 h 107"/>
                <a:gd name="T36" fmla="*/ 33 w 64"/>
                <a:gd name="T37" fmla="*/ 0 h 107"/>
                <a:gd name="T38" fmla="*/ 7 w 64"/>
                <a:gd name="T39" fmla="*/ 0 h 107"/>
                <a:gd name="T40" fmla="*/ 7 w 64"/>
                <a:gd name="T41" fmla="*/ 13 h 107"/>
                <a:gd name="T42" fmla="*/ 0 w 64"/>
                <a:gd name="T43" fmla="*/ 13 h 107"/>
                <a:gd name="T44" fmla="*/ 0 w 64"/>
                <a:gd name="T45" fmla="*/ 107 h 107"/>
                <a:gd name="T46" fmla="*/ 64 w 64"/>
                <a:gd name="T47" fmla="*/ 107 h 107"/>
                <a:gd name="T48" fmla="*/ 64 w 64"/>
                <a:gd name="T49" fmla="*/ 1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" h="107">
                  <a:moveTo>
                    <a:pt x="58" y="101"/>
                  </a:moveTo>
                  <a:lnTo>
                    <a:pt x="35" y="101"/>
                  </a:lnTo>
                  <a:lnTo>
                    <a:pt x="35" y="89"/>
                  </a:lnTo>
                  <a:lnTo>
                    <a:pt x="28" y="89"/>
                  </a:lnTo>
                  <a:lnTo>
                    <a:pt x="28" y="101"/>
                  </a:lnTo>
                  <a:lnTo>
                    <a:pt x="5" y="101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33" y="18"/>
                  </a:lnTo>
                  <a:lnTo>
                    <a:pt x="58" y="18"/>
                  </a:lnTo>
                  <a:lnTo>
                    <a:pt x="58" y="101"/>
                  </a:lnTo>
                  <a:close/>
                  <a:moveTo>
                    <a:pt x="12" y="6"/>
                  </a:moveTo>
                  <a:lnTo>
                    <a:pt x="28" y="6"/>
                  </a:lnTo>
                  <a:lnTo>
                    <a:pt x="28" y="13"/>
                  </a:lnTo>
                  <a:lnTo>
                    <a:pt x="12" y="13"/>
                  </a:lnTo>
                  <a:lnTo>
                    <a:pt x="12" y="6"/>
                  </a:lnTo>
                  <a:close/>
                  <a:moveTo>
                    <a:pt x="64" y="13"/>
                  </a:moveTo>
                  <a:lnTo>
                    <a:pt x="33" y="13"/>
                  </a:lnTo>
                  <a:lnTo>
                    <a:pt x="33" y="0"/>
                  </a:lnTo>
                  <a:lnTo>
                    <a:pt x="7" y="0"/>
                  </a:lnTo>
                  <a:lnTo>
                    <a:pt x="7" y="13"/>
                  </a:lnTo>
                  <a:lnTo>
                    <a:pt x="0" y="13"/>
                  </a:lnTo>
                  <a:lnTo>
                    <a:pt x="0" y="107"/>
                  </a:lnTo>
                  <a:lnTo>
                    <a:pt x="64" y="107"/>
                  </a:lnTo>
                  <a:lnTo>
                    <a:pt x="6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5" name="Rectangle 172">
              <a:extLst>
                <a:ext uri="{FF2B5EF4-FFF2-40B4-BE49-F238E27FC236}">
                  <a16:creationId xmlns:a16="http://schemas.microsoft.com/office/drawing/2014/main" id="{9631D25F-411B-413C-8EA0-889974123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101" y="1887538"/>
              <a:ext cx="25400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6" name="Rectangle 173">
              <a:extLst>
                <a:ext uri="{FF2B5EF4-FFF2-40B4-BE49-F238E27FC236}">
                  <a16:creationId xmlns:a16="http://schemas.microsoft.com/office/drawing/2014/main" id="{A358CDAD-39DC-4291-8E3E-D55DD285F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101" y="1906588"/>
              <a:ext cx="25400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7" name="Rectangle 174">
              <a:extLst>
                <a:ext uri="{FF2B5EF4-FFF2-40B4-BE49-F238E27FC236}">
                  <a16:creationId xmlns:a16="http://schemas.microsoft.com/office/drawing/2014/main" id="{72C56FA5-1CA3-4384-806F-97091AE1E1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101" y="1927225"/>
              <a:ext cx="25400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8" name="Rectangle 175">
              <a:extLst>
                <a:ext uri="{FF2B5EF4-FFF2-40B4-BE49-F238E27FC236}">
                  <a16:creationId xmlns:a16="http://schemas.microsoft.com/office/drawing/2014/main" id="{3D55CC11-3A14-4630-8E34-48B64C221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101" y="1947863"/>
              <a:ext cx="25400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9" name="Rectangle 176">
              <a:extLst>
                <a:ext uri="{FF2B5EF4-FFF2-40B4-BE49-F238E27FC236}">
                  <a16:creationId xmlns:a16="http://schemas.microsoft.com/office/drawing/2014/main" id="{AF64A8FE-66FF-4E40-9DA4-884F4091B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101" y="1971675"/>
              <a:ext cx="25400" cy="31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0" name="Rectangle 177">
              <a:extLst>
                <a:ext uri="{FF2B5EF4-FFF2-40B4-BE49-F238E27FC236}">
                  <a16:creationId xmlns:a16="http://schemas.microsoft.com/office/drawing/2014/main" id="{67C69E68-931B-402E-9522-2D565E62F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887538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1" name="Rectangle 178">
              <a:extLst>
                <a:ext uri="{FF2B5EF4-FFF2-40B4-BE49-F238E27FC236}">
                  <a16:creationId xmlns:a16="http://schemas.microsoft.com/office/drawing/2014/main" id="{0945972E-07EC-446F-8B51-4B6995C13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906588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2" name="Rectangle 179">
              <a:extLst>
                <a:ext uri="{FF2B5EF4-FFF2-40B4-BE49-F238E27FC236}">
                  <a16:creationId xmlns:a16="http://schemas.microsoft.com/office/drawing/2014/main" id="{39BE66C7-39DA-41F5-A3DA-61D8FA9E3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927225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3" name="Rectangle 180">
              <a:extLst>
                <a:ext uri="{FF2B5EF4-FFF2-40B4-BE49-F238E27FC236}">
                  <a16:creationId xmlns:a16="http://schemas.microsoft.com/office/drawing/2014/main" id="{666F12E0-F1A5-4062-8153-BCE20DF1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947863"/>
              <a:ext cx="285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4" name="Rectangle 181">
              <a:extLst>
                <a:ext uri="{FF2B5EF4-FFF2-40B4-BE49-F238E27FC236}">
                  <a16:creationId xmlns:a16="http://schemas.microsoft.com/office/drawing/2014/main" id="{2C369937-948D-4985-8098-EB34C3084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1971675"/>
              <a:ext cx="28575" cy="31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5" name="Rectangle 182">
              <a:extLst>
                <a:ext uri="{FF2B5EF4-FFF2-40B4-BE49-F238E27FC236}">
                  <a16:creationId xmlns:a16="http://schemas.microsoft.com/office/drawing/2014/main" id="{7C7C4683-1402-4113-BDE8-2EFDC0CE0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1" y="1871663"/>
              <a:ext cx="9366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6" name="Rectangle 183">
              <a:extLst>
                <a:ext uri="{FF2B5EF4-FFF2-40B4-BE49-F238E27FC236}">
                  <a16:creationId xmlns:a16="http://schemas.microsoft.com/office/drawing/2014/main" id="{6335D505-81F9-4A8D-8F56-067D91F16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1" y="1911350"/>
              <a:ext cx="9366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7" name="Rectangle 184">
              <a:extLst>
                <a:ext uri="{FF2B5EF4-FFF2-40B4-BE49-F238E27FC236}">
                  <a16:creationId xmlns:a16="http://schemas.microsoft.com/office/drawing/2014/main" id="{7B0BF760-B989-4D80-B6E4-045CB7E222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1" y="1951038"/>
              <a:ext cx="93663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8" name="Rectangle 185">
              <a:extLst>
                <a:ext uri="{FF2B5EF4-FFF2-40B4-BE49-F238E27FC236}">
                  <a16:creationId xmlns:a16="http://schemas.microsoft.com/office/drawing/2014/main" id="{8E160715-9560-424A-B7B1-605FB4467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1" y="1990725"/>
              <a:ext cx="93663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9" name="Rectangle 186">
              <a:extLst>
                <a:ext uri="{FF2B5EF4-FFF2-40B4-BE49-F238E27FC236}">
                  <a16:creationId xmlns:a16="http://schemas.microsoft.com/office/drawing/2014/main" id="{FD84D97E-5C39-4314-8451-D9928FA66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1" y="2032000"/>
              <a:ext cx="21431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0" name="Rectangle 187">
              <a:extLst>
                <a:ext uri="{FF2B5EF4-FFF2-40B4-BE49-F238E27FC236}">
                  <a16:creationId xmlns:a16="http://schemas.microsoft.com/office/drawing/2014/main" id="{1755388A-C9D7-4A15-9C55-645150621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1" y="2071688"/>
              <a:ext cx="21431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1" name="Rectangle 188">
              <a:extLst>
                <a:ext uri="{FF2B5EF4-FFF2-40B4-BE49-F238E27FC236}">
                  <a16:creationId xmlns:a16="http://schemas.microsoft.com/office/drawing/2014/main" id="{769A05E0-6DDF-4950-8AF8-B7C58B26C5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1" y="2111375"/>
              <a:ext cx="214313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2" name="Rectangle 189">
              <a:extLst>
                <a:ext uri="{FF2B5EF4-FFF2-40B4-BE49-F238E27FC236}">
                  <a16:creationId xmlns:a16="http://schemas.microsoft.com/office/drawing/2014/main" id="{5FF548C8-686E-46A5-A5BD-E209F0C5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3051" y="2151063"/>
              <a:ext cx="214313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87" name="Group 45286">
            <a:extLst>
              <a:ext uri="{FF2B5EF4-FFF2-40B4-BE49-F238E27FC236}">
                <a16:creationId xmlns:a16="http://schemas.microsoft.com/office/drawing/2014/main" id="{B2F57AE5-2BA5-4E23-8E90-A024F3A786EC}"/>
              </a:ext>
            </a:extLst>
          </p:cNvPr>
          <p:cNvGrpSpPr/>
          <p:nvPr/>
        </p:nvGrpSpPr>
        <p:grpSpPr>
          <a:xfrm>
            <a:off x="3621088" y="1622426"/>
            <a:ext cx="768351" cy="776288"/>
            <a:chOff x="3621088" y="1622426"/>
            <a:chExt cx="768351" cy="776288"/>
          </a:xfrm>
        </p:grpSpPr>
        <p:sp>
          <p:nvSpPr>
            <p:cNvPr id="45255" name="AutoShape 191">
              <a:extLst>
                <a:ext uri="{FF2B5EF4-FFF2-40B4-BE49-F238E27FC236}">
                  <a16:creationId xmlns:a16="http://schemas.microsoft.com/office/drawing/2014/main" id="{BEED35F2-7C75-4610-8C81-59832E7BF7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21088" y="1627188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6" name="Freeform 193">
              <a:extLst>
                <a:ext uri="{FF2B5EF4-FFF2-40B4-BE49-F238E27FC236}">
                  <a16:creationId xmlns:a16="http://schemas.microsoft.com/office/drawing/2014/main" id="{5B4A73C1-2EAF-4A91-B385-89F3F519B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851" y="1622426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7" name="Freeform 194">
              <a:extLst>
                <a:ext uri="{FF2B5EF4-FFF2-40B4-BE49-F238E27FC236}">
                  <a16:creationId xmlns:a16="http://schemas.microsoft.com/office/drawing/2014/main" id="{42556108-72F9-4351-A074-409B94E50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2213" y="1814513"/>
              <a:ext cx="547688" cy="388938"/>
            </a:xfrm>
            <a:custGeom>
              <a:avLst/>
              <a:gdLst>
                <a:gd name="T0" fmla="*/ 118 w 139"/>
                <a:gd name="T1" fmla="*/ 84 h 97"/>
                <a:gd name="T2" fmla="*/ 111 w 139"/>
                <a:gd name="T3" fmla="*/ 74 h 97"/>
                <a:gd name="T4" fmla="*/ 107 w 139"/>
                <a:gd name="T5" fmla="*/ 84 h 97"/>
                <a:gd name="T6" fmla="*/ 98 w 139"/>
                <a:gd name="T7" fmla="*/ 57 h 97"/>
                <a:gd name="T8" fmla="*/ 94 w 139"/>
                <a:gd name="T9" fmla="*/ 17 h 97"/>
                <a:gd name="T10" fmla="*/ 116 w 139"/>
                <a:gd name="T11" fmla="*/ 17 h 97"/>
                <a:gd name="T12" fmla="*/ 135 w 139"/>
                <a:gd name="T13" fmla="*/ 84 h 97"/>
                <a:gd name="T14" fmla="*/ 72 w 139"/>
                <a:gd name="T15" fmla="*/ 76 h 97"/>
                <a:gd name="T16" fmla="*/ 84 w 139"/>
                <a:gd name="T17" fmla="*/ 82 h 97"/>
                <a:gd name="T18" fmla="*/ 86 w 139"/>
                <a:gd name="T19" fmla="*/ 82 h 97"/>
                <a:gd name="T20" fmla="*/ 104 w 139"/>
                <a:gd name="T21" fmla="*/ 88 h 97"/>
                <a:gd name="T22" fmla="*/ 91 w 139"/>
                <a:gd name="T23" fmla="*/ 72 h 97"/>
                <a:gd name="T24" fmla="*/ 79 w 139"/>
                <a:gd name="T25" fmla="*/ 72 h 97"/>
                <a:gd name="T26" fmla="*/ 91 w 139"/>
                <a:gd name="T27" fmla="*/ 72 h 97"/>
                <a:gd name="T28" fmla="*/ 85 w 139"/>
                <a:gd name="T29" fmla="*/ 48 h 97"/>
                <a:gd name="T30" fmla="*/ 85 w 139"/>
                <a:gd name="T31" fmla="*/ 67 h 97"/>
                <a:gd name="T32" fmla="*/ 99 w 139"/>
                <a:gd name="T33" fmla="*/ 9 h 97"/>
                <a:gd name="T34" fmla="*/ 113 w 139"/>
                <a:gd name="T35" fmla="*/ 14 h 97"/>
                <a:gd name="T36" fmla="*/ 99 w 139"/>
                <a:gd name="T37" fmla="*/ 9 h 97"/>
                <a:gd name="T38" fmla="*/ 4 w 139"/>
                <a:gd name="T39" fmla="*/ 94 h 97"/>
                <a:gd name="T40" fmla="*/ 69 w 139"/>
                <a:gd name="T41" fmla="*/ 4 h 97"/>
                <a:gd name="T42" fmla="*/ 116 w 139"/>
                <a:gd name="T43" fmla="*/ 14 h 97"/>
                <a:gd name="T44" fmla="*/ 96 w 139"/>
                <a:gd name="T45" fmla="*/ 6 h 97"/>
                <a:gd name="T46" fmla="*/ 90 w 139"/>
                <a:gd name="T47" fmla="*/ 14 h 97"/>
                <a:gd name="T48" fmla="*/ 85 w 139"/>
                <a:gd name="T49" fmla="*/ 45 h 97"/>
                <a:gd name="T50" fmla="*/ 79 w 139"/>
                <a:gd name="T51" fmla="*/ 68 h 97"/>
                <a:gd name="T52" fmla="*/ 72 w 139"/>
                <a:gd name="T53" fmla="*/ 4 h 97"/>
                <a:gd name="T54" fmla="*/ 3 w 139"/>
                <a:gd name="T55" fmla="*/ 0 h 97"/>
                <a:gd name="T56" fmla="*/ 0 w 139"/>
                <a:gd name="T57" fmla="*/ 94 h 97"/>
                <a:gd name="T58" fmla="*/ 69 w 139"/>
                <a:gd name="T59" fmla="*/ 97 h 97"/>
                <a:gd name="T60" fmla="*/ 72 w 139"/>
                <a:gd name="T61" fmla="*/ 91 h 97"/>
                <a:gd name="T62" fmla="*/ 108 w 139"/>
                <a:gd name="T63" fmla="*/ 89 h 97"/>
                <a:gd name="T64" fmla="*/ 139 w 139"/>
                <a:gd name="T65" fmla="*/ 88 h 97"/>
                <a:gd name="T66" fmla="*/ 116 w 139"/>
                <a:gd name="T67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97">
                  <a:moveTo>
                    <a:pt x="135" y="84"/>
                  </a:moveTo>
                  <a:cubicBezTo>
                    <a:pt x="118" y="84"/>
                    <a:pt x="118" y="84"/>
                    <a:pt x="118" y="8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1" y="84"/>
                    <a:pt x="111" y="84"/>
                    <a:pt x="111" y="84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5" y="76"/>
                    <a:pt x="99" y="70"/>
                    <a:pt x="91" y="68"/>
                  </a:cubicBezTo>
                  <a:cubicBezTo>
                    <a:pt x="95" y="66"/>
                    <a:pt x="98" y="62"/>
                    <a:pt x="98" y="57"/>
                  </a:cubicBezTo>
                  <a:cubicBezTo>
                    <a:pt x="98" y="54"/>
                    <a:pt x="96" y="51"/>
                    <a:pt x="94" y="48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35" y="17"/>
                    <a:pt x="135" y="17"/>
                    <a:pt x="135" y="17"/>
                  </a:cubicBezTo>
                  <a:lnTo>
                    <a:pt x="135" y="84"/>
                  </a:lnTo>
                  <a:close/>
                  <a:moveTo>
                    <a:pt x="72" y="88"/>
                  </a:moveTo>
                  <a:cubicBezTo>
                    <a:pt x="72" y="76"/>
                    <a:pt x="72" y="76"/>
                    <a:pt x="72" y="76"/>
                  </a:cubicBezTo>
                  <a:cubicBezTo>
                    <a:pt x="73" y="75"/>
                    <a:pt x="74" y="74"/>
                    <a:pt x="76" y="74"/>
                  </a:cubicBezTo>
                  <a:cubicBezTo>
                    <a:pt x="84" y="82"/>
                    <a:pt x="84" y="82"/>
                    <a:pt x="84" y="82"/>
                  </a:cubicBezTo>
                  <a:cubicBezTo>
                    <a:pt x="84" y="82"/>
                    <a:pt x="85" y="82"/>
                    <a:pt x="85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100" y="76"/>
                    <a:pt x="104" y="82"/>
                    <a:pt x="104" y="88"/>
                  </a:cubicBezTo>
                  <a:lnTo>
                    <a:pt x="72" y="88"/>
                  </a:lnTo>
                  <a:close/>
                  <a:moveTo>
                    <a:pt x="91" y="72"/>
                  </a:moveTo>
                  <a:cubicBezTo>
                    <a:pt x="85" y="78"/>
                    <a:pt x="85" y="78"/>
                    <a:pt x="85" y="78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1" y="71"/>
                    <a:pt x="83" y="71"/>
                    <a:pt x="85" y="71"/>
                  </a:cubicBezTo>
                  <a:cubicBezTo>
                    <a:pt x="87" y="71"/>
                    <a:pt x="89" y="71"/>
                    <a:pt x="91" y="72"/>
                  </a:cubicBezTo>
                  <a:moveTo>
                    <a:pt x="76" y="57"/>
                  </a:moveTo>
                  <a:cubicBezTo>
                    <a:pt x="76" y="52"/>
                    <a:pt x="80" y="48"/>
                    <a:pt x="85" y="48"/>
                  </a:cubicBezTo>
                  <a:cubicBezTo>
                    <a:pt x="90" y="48"/>
                    <a:pt x="94" y="52"/>
                    <a:pt x="94" y="57"/>
                  </a:cubicBezTo>
                  <a:cubicBezTo>
                    <a:pt x="94" y="62"/>
                    <a:pt x="90" y="67"/>
                    <a:pt x="85" y="67"/>
                  </a:cubicBezTo>
                  <a:cubicBezTo>
                    <a:pt x="80" y="67"/>
                    <a:pt x="76" y="62"/>
                    <a:pt x="76" y="57"/>
                  </a:cubicBezTo>
                  <a:moveTo>
                    <a:pt x="99" y="9"/>
                  </a:moveTo>
                  <a:cubicBezTo>
                    <a:pt x="113" y="9"/>
                    <a:pt x="113" y="9"/>
                    <a:pt x="113" y="9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99" y="14"/>
                    <a:pt x="99" y="14"/>
                    <a:pt x="99" y="14"/>
                  </a:cubicBezTo>
                  <a:lnTo>
                    <a:pt x="99" y="9"/>
                  </a:lnTo>
                  <a:close/>
                  <a:moveTo>
                    <a:pt x="69" y="94"/>
                  </a:moveTo>
                  <a:cubicBezTo>
                    <a:pt x="4" y="94"/>
                    <a:pt x="4" y="94"/>
                    <a:pt x="4" y="9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9" y="4"/>
                    <a:pt x="69" y="4"/>
                    <a:pt x="69" y="4"/>
                  </a:cubicBezTo>
                  <a:lnTo>
                    <a:pt x="69" y="94"/>
                  </a:lnTo>
                  <a:close/>
                  <a:moveTo>
                    <a:pt x="116" y="14"/>
                  </a:moveTo>
                  <a:cubicBezTo>
                    <a:pt x="116" y="6"/>
                    <a:pt x="116" y="6"/>
                    <a:pt x="116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89" y="45"/>
                    <a:pt x="87" y="45"/>
                    <a:pt x="85" y="45"/>
                  </a:cubicBezTo>
                  <a:cubicBezTo>
                    <a:pt x="78" y="45"/>
                    <a:pt x="73" y="50"/>
                    <a:pt x="73" y="57"/>
                  </a:cubicBezTo>
                  <a:cubicBezTo>
                    <a:pt x="73" y="62"/>
                    <a:pt x="75" y="66"/>
                    <a:pt x="79" y="68"/>
                  </a:cubicBezTo>
                  <a:cubicBezTo>
                    <a:pt x="77" y="69"/>
                    <a:pt x="74" y="70"/>
                    <a:pt x="72" y="71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2"/>
                    <a:pt x="71" y="0"/>
                    <a:pt x="6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6"/>
                    <a:pt x="2" y="97"/>
                    <a:pt x="3" y="9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71" y="97"/>
                    <a:pt x="72" y="96"/>
                    <a:pt x="72" y="94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8" y="89"/>
                    <a:pt x="108" y="88"/>
                    <a:pt x="108" y="88"/>
                  </a:cubicBezTo>
                  <a:cubicBezTo>
                    <a:pt x="139" y="88"/>
                    <a:pt x="139" y="88"/>
                    <a:pt x="139" y="88"/>
                  </a:cubicBezTo>
                  <a:cubicBezTo>
                    <a:pt x="139" y="14"/>
                    <a:pt x="139" y="14"/>
                    <a:pt x="139" y="14"/>
                  </a:cubicBezTo>
                  <a:lnTo>
                    <a:pt x="116" y="1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8" name="Rectangle 195">
              <a:extLst>
                <a:ext uri="{FF2B5EF4-FFF2-40B4-BE49-F238E27FC236}">
                  <a16:creationId xmlns:a16="http://schemas.microsoft.com/office/drawing/2014/main" id="{8DD64106-0064-4DDC-B0C8-D1788FFB9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151" y="1911351"/>
              <a:ext cx="52388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9" name="Rectangle 196">
              <a:extLst>
                <a:ext uri="{FF2B5EF4-FFF2-40B4-BE49-F238E27FC236}">
                  <a16:creationId xmlns:a16="http://schemas.microsoft.com/office/drawing/2014/main" id="{75AA12F8-DDAB-4AC1-930D-C17AF32CA0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151" y="1955801"/>
              <a:ext cx="52388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0" name="Rectangle 197">
              <a:extLst>
                <a:ext uri="{FF2B5EF4-FFF2-40B4-BE49-F238E27FC236}">
                  <a16:creationId xmlns:a16="http://schemas.microsoft.com/office/drawing/2014/main" id="{4387568D-676B-475A-8207-030F1EE82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151" y="1995488"/>
              <a:ext cx="52388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1" name="Rectangle 198">
              <a:extLst>
                <a:ext uri="{FF2B5EF4-FFF2-40B4-BE49-F238E27FC236}">
                  <a16:creationId xmlns:a16="http://schemas.microsoft.com/office/drawing/2014/main" id="{B936E70B-0D3E-4472-8FB8-EE677480A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151" y="2035176"/>
              <a:ext cx="52388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2" name="Rectangle 199">
              <a:extLst>
                <a:ext uri="{FF2B5EF4-FFF2-40B4-BE49-F238E27FC236}">
                  <a16:creationId xmlns:a16="http://schemas.microsoft.com/office/drawing/2014/main" id="{073BA90B-4042-4684-A7A7-FCFBB89D0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1151" y="2074863"/>
              <a:ext cx="52388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3" name="Rectangle 200">
              <a:extLst>
                <a:ext uri="{FF2B5EF4-FFF2-40B4-BE49-F238E27FC236}">
                  <a16:creationId xmlns:a16="http://schemas.microsoft.com/office/drawing/2014/main" id="{C0EAFB62-AD7D-4BE4-8333-5C68C15EB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6" y="1911351"/>
              <a:ext cx="55563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4" name="Rectangle 201">
              <a:extLst>
                <a:ext uri="{FF2B5EF4-FFF2-40B4-BE49-F238E27FC236}">
                  <a16:creationId xmlns:a16="http://schemas.microsoft.com/office/drawing/2014/main" id="{FA2B1CED-1E23-434F-8817-C08DCB33B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6" y="1955801"/>
              <a:ext cx="55563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5" name="Rectangle 202">
              <a:extLst>
                <a:ext uri="{FF2B5EF4-FFF2-40B4-BE49-F238E27FC236}">
                  <a16:creationId xmlns:a16="http://schemas.microsoft.com/office/drawing/2014/main" id="{08C085E0-E51B-4FCD-9B19-DEBA8EBB1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6" y="1995488"/>
              <a:ext cx="55563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6" name="Rectangle 203">
              <a:extLst>
                <a:ext uri="{FF2B5EF4-FFF2-40B4-BE49-F238E27FC236}">
                  <a16:creationId xmlns:a16="http://schemas.microsoft.com/office/drawing/2014/main" id="{EA71E9F6-81FF-4C5F-BD25-25B14AB94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6" y="2035176"/>
              <a:ext cx="55563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7" name="Rectangle 204">
              <a:extLst>
                <a:ext uri="{FF2B5EF4-FFF2-40B4-BE49-F238E27FC236}">
                  <a16:creationId xmlns:a16="http://schemas.microsoft.com/office/drawing/2014/main" id="{63B53FCE-22F2-4428-8185-E44E29E253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6" y="2074863"/>
              <a:ext cx="55563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8" name="Freeform 205">
              <a:extLst>
                <a:ext uri="{FF2B5EF4-FFF2-40B4-BE49-F238E27FC236}">
                  <a16:creationId xmlns:a16="http://schemas.microsoft.com/office/drawing/2014/main" id="{6CA63F6D-C27F-4F19-9A8D-BC3A7AFDB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0313" y="1847851"/>
              <a:ext cx="98425" cy="166688"/>
            </a:xfrm>
            <a:custGeom>
              <a:avLst/>
              <a:gdLst>
                <a:gd name="T0" fmla="*/ 57 w 62"/>
                <a:gd name="T1" fmla="*/ 100 h 105"/>
                <a:gd name="T2" fmla="*/ 35 w 62"/>
                <a:gd name="T3" fmla="*/ 100 h 105"/>
                <a:gd name="T4" fmla="*/ 35 w 62"/>
                <a:gd name="T5" fmla="*/ 88 h 105"/>
                <a:gd name="T6" fmla="*/ 28 w 62"/>
                <a:gd name="T7" fmla="*/ 88 h 105"/>
                <a:gd name="T8" fmla="*/ 28 w 62"/>
                <a:gd name="T9" fmla="*/ 100 h 105"/>
                <a:gd name="T10" fmla="*/ 5 w 62"/>
                <a:gd name="T11" fmla="*/ 100 h 105"/>
                <a:gd name="T12" fmla="*/ 5 w 62"/>
                <a:gd name="T13" fmla="*/ 17 h 105"/>
                <a:gd name="T14" fmla="*/ 8 w 62"/>
                <a:gd name="T15" fmla="*/ 17 h 105"/>
                <a:gd name="T16" fmla="*/ 33 w 62"/>
                <a:gd name="T17" fmla="*/ 17 h 105"/>
                <a:gd name="T18" fmla="*/ 57 w 62"/>
                <a:gd name="T19" fmla="*/ 17 h 105"/>
                <a:gd name="T20" fmla="*/ 57 w 62"/>
                <a:gd name="T21" fmla="*/ 100 h 105"/>
                <a:gd name="T22" fmla="*/ 13 w 62"/>
                <a:gd name="T23" fmla="*/ 5 h 105"/>
                <a:gd name="T24" fmla="*/ 28 w 62"/>
                <a:gd name="T25" fmla="*/ 5 h 105"/>
                <a:gd name="T26" fmla="*/ 28 w 62"/>
                <a:gd name="T27" fmla="*/ 12 h 105"/>
                <a:gd name="T28" fmla="*/ 13 w 62"/>
                <a:gd name="T29" fmla="*/ 12 h 105"/>
                <a:gd name="T30" fmla="*/ 13 w 62"/>
                <a:gd name="T31" fmla="*/ 5 h 105"/>
                <a:gd name="T32" fmla="*/ 62 w 62"/>
                <a:gd name="T33" fmla="*/ 12 h 105"/>
                <a:gd name="T34" fmla="*/ 33 w 62"/>
                <a:gd name="T35" fmla="*/ 12 h 105"/>
                <a:gd name="T36" fmla="*/ 33 w 62"/>
                <a:gd name="T37" fmla="*/ 0 h 105"/>
                <a:gd name="T38" fmla="*/ 8 w 62"/>
                <a:gd name="T39" fmla="*/ 0 h 105"/>
                <a:gd name="T40" fmla="*/ 8 w 62"/>
                <a:gd name="T41" fmla="*/ 12 h 105"/>
                <a:gd name="T42" fmla="*/ 0 w 62"/>
                <a:gd name="T43" fmla="*/ 12 h 105"/>
                <a:gd name="T44" fmla="*/ 0 w 62"/>
                <a:gd name="T45" fmla="*/ 105 h 105"/>
                <a:gd name="T46" fmla="*/ 62 w 62"/>
                <a:gd name="T47" fmla="*/ 105 h 105"/>
                <a:gd name="T48" fmla="*/ 62 w 62"/>
                <a:gd name="T49" fmla="*/ 1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105">
                  <a:moveTo>
                    <a:pt x="57" y="100"/>
                  </a:moveTo>
                  <a:lnTo>
                    <a:pt x="35" y="100"/>
                  </a:lnTo>
                  <a:lnTo>
                    <a:pt x="35" y="88"/>
                  </a:lnTo>
                  <a:lnTo>
                    <a:pt x="28" y="88"/>
                  </a:lnTo>
                  <a:lnTo>
                    <a:pt x="28" y="100"/>
                  </a:lnTo>
                  <a:lnTo>
                    <a:pt x="5" y="100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33" y="17"/>
                  </a:lnTo>
                  <a:lnTo>
                    <a:pt x="57" y="17"/>
                  </a:lnTo>
                  <a:lnTo>
                    <a:pt x="57" y="100"/>
                  </a:lnTo>
                  <a:close/>
                  <a:moveTo>
                    <a:pt x="13" y="5"/>
                  </a:moveTo>
                  <a:lnTo>
                    <a:pt x="28" y="5"/>
                  </a:lnTo>
                  <a:lnTo>
                    <a:pt x="28" y="12"/>
                  </a:lnTo>
                  <a:lnTo>
                    <a:pt x="13" y="12"/>
                  </a:lnTo>
                  <a:lnTo>
                    <a:pt x="13" y="5"/>
                  </a:lnTo>
                  <a:close/>
                  <a:moveTo>
                    <a:pt x="62" y="12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8" y="0"/>
                  </a:lnTo>
                  <a:lnTo>
                    <a:pt x="8" y="12"/>
                  </a:lnTo>
                  <a:lnTo>
                    <a:pt x="0" y="12"/>
                  </a:lnTo>
                  <a:lnTo>
                    <a:pt x="0" y="105"/>
                  </a:lnTo>
                  <a:lnTo>
                    <a:pt x="62" y="105"/>
                  </a:lnTo>
                  <a:lnTo>
                    <a:pt x="62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9" name="Rectangle 206">
              <a:extLst>
                <a:ext uri="{FF2B5EF4-FFF2-40B4-BE49-F238E27FC236}">
                  <a16:creationId xmlns:a16="http://schemas.microsoft.com/office/drawing/2014/main" id="{0402DE7C-D88B-4C6A-8426-CBEB29EB4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1" y="1887538"/>
              <a:ext cx="23813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0" name="Rectangle 207">
              <a:extLst>
                <a:ext uri="{FF2B5EF4-FFF2-40B4-BE49-F238E27FC236}">
                  <a16:creationId xmlns:a16="http://schemas.microsoft.com/office/drawing/2014/main" id="{6BD80414-77A6-41C3-87B6-C4575D0243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1" y="1906588"/>
              <a:ext cx="23813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1" name="Rectangle 208">
              <a:extLst>
                <a:ext uri="{FF2B5EF4-FFF2-40B4-BE49-F238E27FC236}">
                  <a16:creationId xmlns:a16="http://schemas.microsoft.com/office/drawing/2014/main" id="{BADB2112-4138-4F44-8EF7-DE986A15A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1" y="1927226"/>
              <a:ext cx="23813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2" name="Rectangle 209">
              <a:extLst>
                <a:ext uri="{FF2B5EF4-FFF2-40B4-BE49-F238E27FC236}">
                  <a16:creationId xmlns:a16="http://schemas.microsoft.com/office/drawing/2014/main" id="{FA13AFFA-EC15-430E-A0FE-8BE0D9049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1" y="1947863"/>
              <a:ext cx="23813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3" name="Rectangle 210">
              <a:extLst>
                <a:ext uri="{FF2B5EF4-FFF2-40B4-BE49-F238E27FC236}">
                  <a16:creationId xmlns:a16="http://schemas.microsoft.com/office/drawing/2014/main" id="{6B406BB3-F351-41E8-BE67-E36135E2E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951" y="1971676"/>
              <a:ext cx="23813" cy="31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4" name="Rectangle 211">
              <a:extLst>
                <a:ext uri="{FF2B5EF4-FFF2-40B4-BE49-F238E27FC236}">
                  <a16:creationId xmlns:a16="http://schemas.microsoft.com/office/drawing/2014/main" id="{90B8ACC4-F349-4CE6-B1B8-6BC62E491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701" y="1887538"/>
              <a:ext cx="26988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5" name="Rectangle 212">
              <a:extLst>
                <a:ext uri="{FF2B5EF4-FFF2-40B4-BE49-F238E27FC236}">
                  <a16:creationId xmlns:a16="http://schemas.microsoft.com/office/drawing/2014/main" id="{F852E489-E5EE-4165-A6B3-056A4B3EFC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701" y="1906588"/>
              <a:ext cx="26988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6" name="Rectangle 213">
              <a:extLst>
                <a:ext uri="{FF2B5EF4-FFF2-40B4-BE49-F238E27FC236}">
                  <a16:creationId xmlns:a16="http://schemas.microsoft.com/office/drawing/2014/main" id="{DAA2ADE7-8ABD-4211-A861-03A1025F4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701" y="1927226"/>
              <a:ext cx="26988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7" name="Rectangle 214">
              <a:extLst>
                <a:ext uri="{FF2B5EF4-FFF2-40B4-BE49-F238E27FC236}">
                  <a16:creationId xmlns:a16="http://schemas.microsoft.com/office/drawing/2014/main" id="{0F933469-8515-4883-8B09-4CA1F5A6D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701" y="1947863"/>
              <a:ext cx="26988" cy="79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8" name="Rectangle 215">
              <a:extLst>
                <a:ext uri="{FF2B5EF4-FFF2-40B4-BE49-F238E27FC236}">
                  <a16:creationId xmlns:a16="http://schemas.microsoft.com/office/drawing/2014/main" id="{ACCD7DEC-8081-43C9-8075-1ED16B896D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701" y="1971676"/>
              <a:ext cx="26988" cy="31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9" name="Rectangle 216">
              <a:extLst>
                <a:ext uri="{FF2B5EF4-FFF2-40B4-BE49-F238E27FC236}">
                  <a16:creationId xmlns:a16="http://schemas.microsoft.com/office/drawing/2014/main" id="{14D364F8-4312-454D-B9C5-6C9A90EB7E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76" y="1871663"/>
              <a:ext cx="90488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0" name="Rectangle 217">
              <a:extLst>
                <a:ext uri="{FF2B5EF4-FFF2-40B4-BE49-F238E27FC236}">
                  <a16:creationId xmlns:a16="http://schemas.microsoft.com/office/drawing/2014/main" id="{67651A16-0C69-4498-9785-E30B25159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76" y="1911351"/>
              <a:ext cx="90488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1" name="Rectangle 218">
              <a:extLst>
                <a:ext uri="{FF2B5EF4-FFF2-40B4-BE49-F238E27FC236}">
                  <a16:creationId xmlns:a16="http://schemas.microsoft.com/office/drawing/2014/main" id="{028DACD7-95B5-4364-A3B2-ACD07DF91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76" y="1951038"/>
              <a:ext cx="90488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2" name="Rectangle 219">
              <a:extLst>
                <a:ext uri="{FF2B5EF4-FFF2-40B4-BE49-F238E27FC236}">
                  <a16:creationId xmlns:a16="http://schemas.microsoft.com/office/drawing/2014/main" id="{B43525BC-D663-4591-81F4-0A30E9C942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76" y="1990726"/>
              <a:ext cx="90488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3" name="Rectangle 220">
              <a:extLst>
                <a:ext uri="{FF2B5EF4-FFF2-40B4-BE49-F238E27FC236}">
                  <a16:creationId xmlns:a16="http://schemas.microsoft.com/office/drawing/2014/main" id="{3B9E8CD7-BD5F-43E1-86D8-9BE6B0D1D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313" y="2030413"/>
              <a:ext cx="209550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4" name="Rectangle 221">
              <a:extLst>
                <a:ext uri="{FF2B5EF4-FFF2-40B4-BE49-F238E27FC236}">
                  <a16:creationId xmlns:a16="http://schemas.microsoft.com/office/drawing/2014/main" id="{2B22A0DB-156C-4EEE-A2B4-F36023E11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313" y="2071688"/>
              <a:ext cx="209550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5" name="Rectangle 222">
              <a:extLst>
                <a:ext uri="{FF2B5EF4-FFF2-40B4-BE49-F238E27FC236}">
                  <a16:creationId xmlns:a16="http://schemas.microsoft.com/office/drawing/2014/main" id="{ADB95AC8-0621-494E-B114-2FE20E8E22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313" y="2111376"/>
              <a:ext cx="209550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6" name="Rectangle 223">
              <a:extLst>
                <a:ext uri="{FF2B5EF4-FFF2-40B4-BE49-F238E27FC236}">
                  <a16:creationId xmlns:a16="http://schemas.microsoft.com/office/drawing/2014/main" id="{52DBB98E-6CB8-4FB6-917D-80F97B13A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313" y="2151063"/>
              <a:ext cx="209550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93" name="Group 45292">
            <a:extLst>
              <a:ext uri="{FF2B5EF4-FFF2-40B4-BE49-F238E27FC236}">
                <a16:creationId xmlns:a16="http://schemas.microsoft.com/office/drawing/2014/main" id="{9414DFEE-258C-4CE8-AE6A-B7818E1B59EE}"/>
              </a:ext>
            </a:extLst>
          </p:cNvPr>
          <p:cNvGrpSpPr/>
          <p:nvPr/>
        </p:nvGrpSpPr>
        <p:grpSpPr>
          <a:xfrm>
            <a:off x="4770438" y="1584325"/>
            <a:ext cx="844550" cy="854075"/>
            <a:chOff x="4770438" y="1584325"/>
            <a:chExt cx="844550" cy="854075"/>
          </a:xfrm>
        </p:grpSpPr>
        <p:sp>
          <p:nvSpPr>
            <p:cNvPr id="45289" name="AutoShape 225">
              <a:extLst>
                <a:ext uri="{FF2B5EF4-FFF2-40B4-BE49-F238E27FC236}">
                  <a16:creationId xmlns:a16="http://schemas.microsoft.com/office/drawing/2014/main" id="{4DED22CB-CB8B-44F0-9EF5-6CB812B76C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0438" y="1584325"/>
              <a:ext cx="841375" cy="854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0" name="Oval 227">
              <a:extLst>
                <a:ext uri="{FF2B5EF4-FFF2-40B4-BE49-F238E27FC236}">
                  <a16:creationId xmlns:a16="http://schemas.microsoft.com/office/drawing/2014/main" id="{BCB72528-AA4B-4AE7-9528-945D3BC2A7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8" y="1587500"/>
              <a:ext cx="844550" cy="8461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1" name="Freeform 228">
              <a:extLst>
                <a:ext uri="{FF2B5EF4-FFF2-40B4-BE49-F238E27FC236}">
                  <a16:creationId xmlns:a16="http://schemas.microsoft.com/office/drawing/2014/main" id="{13456B7A-BAF0-4B5F-817C-412E0A4F46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9013" y="1616075"/>
              <a:ext cx="788988" cy="7905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2" name="Freeform 229">
              <a:extLst>
                <a:ext uri="{FF2B5EF4-FFF2-40B4-BE49-F238E27FC236}">
                  <a16:creationId xmlns:a16="http://schemas.microsoft.com/office/drawing/2014/main" id="{2A0260CA-95EE-493A-A1AB-57BB8CE5FE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4426" y="1795463"/>
              <a:ext cx="601663" cy="382588"/>
            </a:xfrm>
            <a:custGeom>
              <a:avLst/>
              <a:gdLst>
                <a:gd name="T0" fmla="*/ 123 w 148"/>
                <a:gd name="T1" fmla="*/ 53 h 94"/>
                <a:gd name="T2" fmla="*/ 139 w 148"/>
                <a:gd name="T3" fmla="*/ 78 h 94"/>
                <a:gd name="T4" fmla="*/ 5 w 148"/>
                <a:gd name="T5" fmla="*/ 91 h 94"/>
                <a:gd name="T6" fmla="*/ 33 w 148"/>
                <a:gd name="T7" fmla="*/ 82 h 94"/>
                <a:gd name="T8" fmla="*/ 40 w 148"/>
                <a:gd name="T9" fmla="*/ 82 h 94"/>
                <a:gd name="T10" fmla="*/ 108 w 148"/>
                <a:gd name="T11" fmla="*/ 91 h 94"/>
                <a:gd name="T12" fmla="*/ 67 w 148"/>
                <a:gd name="T13" fmla="*/ 17 h 94"/>
                <a:gd name="T14" fmla="*/ 4 w 148"/>
                <a:gd name="T15" fmla="*/ 26 h 94"/>
                <a:gd name="T16" fmla="*/ 67 w 148"/>
                <a:gd name="T17" fmla="*/ 17 h 94"/>
                <a:gd name="T18" fmla="*/ 93 w 148"/>
                <a:gd name="T19" fmla="*/ 3 h 94"/>
                <a:gd name="T20" fmla="*/ 119 w 148"/>
                <a:gd name="T21" fmla="*/ 29 h 94"/>
                <a:gd name="T22" fmla="*/ 93 w 148"/>
                <a:gd name="T23" fmla="*/ 54 h 94"/>
                <a:gd name="T24" fmla="*/ 68 w 148"/>
                <a:gd name="T25" fmla="*/ 29 h 94"/>
                <a:gd name="T26" fmla="*/ 86 w 148"/>
                <a:gd name="T27" fmla="*/ 65 h 94"/>
                <a:gd name="T28" fmla="*/ 93 w 148"/>
                <a:gd name="T29" fmla="*/ 57 h 94"/>
                <a:gd name="T30" fmla="*/ 103 w 148"/>
                <a:gd name="T31" fmla="*/ 56 h 94"/>
                <a:gd name="T32" fmla="*/ 108 w 148"/>
                <a:gd name="T33" fmla="*/ 65 h 94"/>
                <a:gd name="T34" fmla="*/ 83 w 148"/>
                <a:gd name="T35" fmla="*/ 69 h 94"/>
                <a:gd name="T36" fmla="*/ 108 w 148"/>
                <a:gd name="T37" fmla="*/ 78 h 94"/>
                <a:gd name="T38" fmla="*/ 83 w 148"/>
                <a:gd name="T39" fmla="*/ 69 h 94"/>
                <a:gd name="T40" fmla="*/ 69 w 148"/>
                <a:gd name="T41" fmla="*/ 69 h 94"/>
                <a:gd name="T42" fmla="*/ 43 w 148"/>
                <a:gd name="T43" fmla="*/ 78 h 94"/>
                <a:gd name="T44" fmla="*/ 66 w 148"/>
                <a:gd name="T45" fmla="*/ 65 h 94"/>
                <a:gd name="T46" fmla="*/ 61 w 148"/>
                <a:gd name="T47" fmla="*/ 57 h 94"/>
                <a:gd name="T48" fmla="*/ 7 w 148"/>
                <a:gd name="T49" fmla="*/ 69 h 94"/>
                <a:gd name="T50" fmla="*/ 4 w 148"/>
                <a:gd name="T51" fmla="*/ 69 h 94"/>
                <a:gd name="T52" fmla="*/ 19 w 148"/>
                <a:gd name="T53" fmla="*/ 56 h 94"/>
                <a:gd name="T54" fmla="*/ 4 w 148"/>
                <a:gd name="T55" fmla="*/ 65 h 94"/>
                <a:gd name="T56" fmla="*/ 19 w 148"/>
                <a:gd name="T57" fmla="*/ 56 h 94"/>
                <a:gd name="T58" fmla="*/ 37 w 148"/>
                <a:gd name="T59" fmla="*/ 63 h 94"/>
                <a:gd name="T60" fmla="*/ 43 w 148"/>
                <a:gd name="T61" fmla="*/ 56 h 94"/>
                <a:gd name="T62" fmla="*/ 47 w 148"/>
                <a:gd name="T63" fmla="*/ 52 h 94"/>
                <a:gd name="T64" fmla="*/ 26 w 148"/>
                <a:gd name="T65" fmla="*/ 48 h 94"/>
                <a:gd name="T66" fmla="*/ 4 w 148"/>
                <a:gd name="T67" fmla="*/ 52 h 94"/>
                <a:gd name="T68" fmla="*/ 55 w 148"/>
                <a:gd name="T69" fmla="*/ 42 h 94"/>
                <a:gd name="T70" fmla="*/ 67 w 148"/>
                <a:gd name="T71" fmla="*/ 42 h 94"/>
                <a:gd name="T72" fmla="*/ 73 w 148"/>
                <a:gd name="T73" fmla="*/ 49 h 94"/>
                <a:gd name="T74" fmla="*/ 74 w 148"/>
                <a:gd name="T75" fmla="*/ 52 h 94"/>
                <a:gd name="T76" fmla="*/ 67 w 148"/>
                <a:gd name="T77" fmla="*/ 39 h 94"/>
                <a:gd name="T78" fmla="*/ 62 w 148"/>
                <a:gd name="T79" fmla="*/ 35 h 94"/>
                <a:gd name="T80" fmla="*/ 4 w 148"/>
                <a:gd name="T81" fmla="*/ 39 h 94"/>
                <a:gd name="T82" fmla="*/ 65 w 148"/>
                <a:gd name="T83" fmla="*/ 29 h 94"/>
                <a:gd name="T84" fmla="*/ 17 w 148"/>
                <a:gd name="T85" fmla="*/ 78 h 94"/>
                <a:gd name="T86" fmla="*/ 30 w 148"/>
                <a:gd name="T87" fmla="*/ 78 h 94"/>
                <a:gd name="T88" fmla="*/ 4 w 148"/>
                <a:gd name="T89" fmla="*/ 88 h 94"/>
                <a:gd name="T90" fmla="*/ 26 w 148"/>
                <a:gd name="T91" fmla="*/ 53 h 94"/>
                <a:gd name="T92" fmla="*/ 61 w 148"/>
                <a:gd name="T93" fmla="*/ 41 h 94"/>
                <a:gd name="T94" fmla="*/ 80 w 148"/>
                <a:gd name="T95" fmla="*/ 54 h 94"/>
                <a:gd name="T96" fmla="*/ 76 w 148"/>
                <a:gd name="T97" fmla="*/ 73 h 94"/>
                <a:gd name="T98" fmla="*/ 36 w 148"/>
                <a:gd name="T99" fmla="*/ 81 h 94"/>
                <a:gd name="T100" fmla="*/ 120 w 148"/>
                <a:gd name="T101" fmla="*/ 51 h 94"/>
                <a:gd name="T102" fmla="*/ 112 w 148"/>
                <a:gd name="T103" fmla="*/ 51 h 94"/>
                <a:gd name="T104" fmla="*/ 116 w 148"/>
                <a:gd name="T105" fmla="*/ 47 h 94"/>
                <a:gd name="T106" fmla="*/ 118 w 148"/>
                <a:gd name="T107" fmla="*/ 44 h 94"/>
                <a:gd name="T108" fmla="*/ 114 w 148"/>
                <a:gd name="T109" fmla="*/ 8 h 94"/>
                <a:gd name="T110" fmla="*/ 73 w 148"/>
                <a:gd name="T111" fmla="*/ 8 h 94"/>
                <a:gd name="T112" fmla="*/ 0 w 148"/>
                <a:gd name="T113" fmla="*/ 13 h 94"/>
                <a:gd name="T114" fmla="*/ 111 w 148"/>
                <a:gd name="T115" fmla="*/ 94 h 94"/>
                <a:gd name="T116" fmla="*/ 139 w 148"/>
                <a:gd name="T117" fmla="*/ 83 h 94"/>
                <a:gd name="T118" fmla="*/ 118 w 148"/>
                <a:gd name="T119" fmla="*/ 4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8" h="94">
                  <a:moveTo>
                    <a:pt x="119" y="57"/>
                  </a:moveTo>
                  <a:cubicBezTo>
                    <a:pt x="123" y="53"/>
                    <a:pt x="123" y="53"/>
                    <a:pt x="123" y="53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39" y="78"/>
                    <a:pt x="139" y="78"/>
                    <a:pt x="139" y="78"/>
                  </a:cubicBezTo>
                  <a:lnTo>
                    <a:pt x="119" y="57"/>
                  </a:lnTo>
                  <a:close/>
                  <a:moveTo>
                    <a:pt x="5" y="91"/>
                  </a:moveTo>
                  <a:cubicBezTo>
                    <a:pt x="14" y="82"/>
                    <a:pt x="14" y="82"/>
                    <a:pt x="14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108" y="82"/>
                    <a:pt x="108" y="82"/>
                    <a:pt x="108" y="82"/>
                  </a:cubicBezTo>
                  <a:cubicBezTo>
                    <a:pt x="108" y="91"/>
                    <a:pt x="108" y="91"/>
                    <a:pt x="108" y="91"/>
                  </a:cubicBezTo>
                  <a:lnTo>
                    <a:pt x="5" y="91"/>
                  </a:lnTo>
                  <a:close/>
                  <a:moveTo>
                    <a:pt x="67" y="17"/>
                  </a:moveTo>
                  <a:cubicBezTo>
                    <a:pt x="66" y="20"/>
                    <a:pt x="65" y="23"/>
                    <a:pt x="6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67" y="17"/>
                  </a:lnTo>
                  <a:close/>
                  <a:moveTo>
                    <a:pt x="76" y="11"/>
                  </a:moveTo>
                  <a:cubicBezTo>
                    <a:pt x="80" y="6"/>
                    <a:pt x="87" y="3"/>
                    <a:pt x="93" y="3"/>
                  </a:cubicBezTo>
                  <a:cubicBezTo>
                    <a:pt x="100" y="3"/>
                    <a:pt x="107" y="6"/>
                    <a:pt x="111" y="11"/>
                  </a:cubicBezTo>
                  <a:cubicBezTo>
                    <a:pt x="116" y="15"/>
                    <a:pt x="119" y="22"/>
                    <a:pt x="119" y="29"/>
                  </a:cubicBezTo>
                  <a:cubicBezTo>
                    <a:pt x="119" y="35"/>
                    <a:pt x="116" y="42"/>
                    <a:pt x="111" y="46"/>
                  </a:cubicBezTo>
                  <a:cubicBezTo>
                    <a:pt x="107" y="51"/>
                    <a:pt x="100" y="54"/>
                    <a:pt x="93" y="54"/>
                  </a:cubicBezTo>
                  <a:cubicBezTo>
                    <a:pt x="87" y="54"/>
                    <a:pt x="80" y="51"/>
                    <a:pt x="76" y="46"/>
                  </a:cubicBezTo>
                  <a:cubicBezTo>
                    <a:pt x="71" y="42"/>
                    <a:pt x="68" y="35"/>
                    <a:pt x="68" y="29"/>
                  </a:cubicBezTo>
                  <a:cubicBezTo>
                    <a:pt x="68" y="22"/>
                    <a:pt x="71" y="15"/>
                    <a:pt x="76" y="11"/>
                  </a:cubicBezTo>
                  <a:moveTo>
                    <a:pt x="86" y="65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7" y="57"/>
                    <a:pt x="100" y="57"/>
                    <a:pt x="103" y="55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65"/>
                    <a:pt x="108" y="65"/>
                    <a:pt x="108" y="65"/>
                  </a:cubicBezTo>
                  <a:lnTo>
                    <a:pt x="86" y="65"/>
                  </a:lnTo>
                  <a:close/>
                  <a:moveTo>
                    <a:pt x="83" y="69"/>
                  </a:moveTo>
                  <a:cubicBezTo>
                    <a:pt x="108" y="69"/>
                    <a:pt x="108" y="69"/>
                    <a:pt x="108" y="69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6" y="78"/>
                    <a:pt x="76" y="78"/>
                    <a:pt x="76" y="78"/>
                  </a:cubicBezTo>
                  <a:lnTo>
                    <a:pt x="83" y="69"/>
                  </a:lnTo>
                  <a:close/>
                  <a:moveTo>
                    <a:pt x="51" y="69"/>
                  </a:moveTo>
                  <a:cubicBezTo>
                    <a:pt x="69" y="69"/>
                    <a:pt x="69" y="69"/>
                    <a:pt x="69" y="69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43" y="78"/>
                    <a:pt x="43" y="78"/>
                    <a:pt x="43" y="78"/>
                  </a:cubicBezTo>
                  <a:lnTo>
                    <a:pt x="51" y="69"/>
                  </a:lnTo>
                  <a:close/>
                  <a:moveTo>
                    <a:pt x="66" y="65"/>
                  </a:moveTo>
                  <a:cubicBezTo>
                    <a:pt x="54" y="65"/>
                    <a:pt x="54" y="65"/>
                    <a:pt x="54" y="65"/>
                  </a:cubicBezTo>
                  <a:cubicBezTo>
                    <a:pt x="61" y="57"/>
                    <a:pt x="61" y="57"/>
                    <a:pt x="61" y="57"/>
                  </a:cubicBezTo>
                  <a:lnTo>
                    <a:pt x="66" y="65"/>
                  </a:lnTo>
                  <a:close/>
                  <a:moveTo>
                    <a:pt x="7" y="69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4" y="69"/>
                    <a:pt x="4" y="69"/>
                    <a:pt x="4" y="69"/>
                  </a:cubicBezTo>
                  <a:lnTo>
                    <a:pt x="7" y="69"/>
                  </a:lnTo>
                  <a:close/>
                  <a:moveTo>
                    <a:pt x="19" y="56"/>
                  </a:moveTo>
                  <a:cubicBezTo>
                    <a:pt x="10" y="65"/>
                    <a:pt x="10" y="65"/>
                    <a:pt x="10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56"/>
                    <a:pt x="4" y="56"/>
                    <a:pt x="4" y="56"/>
                  </a:cubicBezTo>
                  <a:lnTo>
                    <a:pt x="19" y="56"/>
                  </a:lnTo>
                  <a:close/>
                  <a:moveTo>
                    <a:pt x="43" y="56"/>
                  </a:moveTo>
                  <a:cubicBezTo>
                    <a:pt x="37" y="63"/>
                    <a:pt x="37" y="63"/>
                    <a:pt x="37" y="63"/>
                  </a:cubicBezTo>
                  <a:cubicBezTo>
                    <a:pt x="32" y="56"/>
                    <a:pt x="32" y="56"/>
                    <a:pt x="32" y="56"/>
                  </a:cubicBezTo>
                  <a:lnTo>
                    <a:pt x="43" y="56"/>
                  </a:lnTo>
                  <a:close/>
                  <a:moveTo>
                    <a:pt x="55" y="42"/>
                  </a:moveTo>
                  <a:cubicBezTo>
                    <a:pt x="47" y="52"/>
                    <a:pt x="47" y="52"/>
                    <a:pt x="47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2"/>
                    <a:pt x="4" y="42"/>
                    <a:pt x="4" y="42"/>
                  </a:cubicBezTo>
                  <a:lnTo>
                    <a:pt x="55" y="42"/>
                  </a:lnTo>
                  <a:close/>
                  <a:moveTo>
                    <a:pt x="74" y="5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70" y="45"/>
                    <a:pt x="71" y="47"/>
                    <a:pt x="73" y="49"/>
                  </a:cubicBezTo>
                  <a:cubicBezTo>
                    <a:pt x="74" y="50"/>
                    <a:pt x="76" y="51"/>
                    <a:pt x="77" y="52"/>
                  </a:cubicBezTo>
                  <a:lnTo>
                    <a:pt x="74" y="52"/>
                  </a:lnTo>
                  <a:close/>
                  <a:moveTo>
                    <a:pt x="65" y="29"/>
                  </a:moveTo>
                  <a:cubicBezTo>
                    <a:pt x="65" y="33"/>
                    <a:pt x="66" y="36"/>
                    <a:pt x="67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29"/>
                    <a:pt x="4" y="29"/>
                    <a:pt x="4" y="29"/>
                  </a:cubicBezTo>
                  <a:lnTo>
                    <a:pt x="65" y="29"/>
                  </a:lnTo>
                  <a:close/>
                  <a:moveTo>
                    <a:pt x="30" y="78"/>
                  </a:moveTo>
                  <a:cubicBezTo>
                    <a:pt x="17" y="78"/>
                    <a:pt x="17" y="78"/>
                    <a:pt x="17" y="78"/>
                  </a:cubicBezTo>
                  <a:cubicBezTo>
                    <a:pt x="25" y="71"/>
                    <a:pt x="25" y="71"/>
                    <a:pt x="25" y="71"/>
                  </a:cubicBezTo>
                  <a:lnTo>
                    <a:pt x="30" y="78"/>
                  </a:lnTo>
                  <a:close/>
                  <a:moveTo>
                    <a:pt x="25" y="65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3" y="55"/>
                    <a:pt x="85" y="56"/>
                    <a:pt x="88" y="57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36" y="81"/>
                    <a:pt x="36" y="81"/>
                    <a:pt x="36" y="81"/>
                  </a:cubicBezTo>
                  <a:lnTo>
                    <a:pt x="25" y="65"/>
                  </a:lnTo>
                  <a:close/>
                  <a:moveTo>
                    <a:pt x="120" y="51"/>
                  </a:moveTo>
                  <a:cubicBezTo>
                    <a:pt x="116" y="55"/>
                    <a:pt x="116" y="55"/>
                    <a:pt x="116" y="55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3" y="50"/>
                    <a:pt x="113" y="49"/>
                    <a:pt x="114" y="49"/>
                  </a:cubicBezTo>
                  <a:cubicBezTo>
                    <a:pt x="114" y="48"/>
                    <a:pt x="115" y="47"/>
                    <a:pt x="116" y="47"/>
                  </a:cubicBezTo>
                  <a:lnTo>
                    <a:pt x="120" y="51"/>
                  </a:lnTo>
                  <a:close/>
                  <a:moveTo>
                    <a:pt x="118" y="44"/>
                  </a:moveTo>
                  <a:cubicBezTo>
                    <a:pt x="121" y="39"/>
                    <a:pt x="122" y="34"/>
                    <a:pt x="122" y="29"/>
                  </a:cubicBezTo>
                  <a:cubicBezTo>
                    <a:pt x="122" y="21"/>
                    <a:pt x="119" y="14"/>
                    <a:pt x="114" y="8"/>
                  </a:cubicBezTo>
                  <a:cubicBezTo>
                    <a:pt x="108" y="3"/>
                    <a:pt x="101" y="0"/>
                    <a:pt x="93" y="0"/>
                  </a:cubicBezTo>
                  <a:cubicBezTo>
                    <a:pt x="86" y="0"/>
                    <a:pt x="79" y="3"/>
                    <a:pt x="73" y="8"/>
                  </a:cubicBezTo>
                  <a:cubicBezTo>
                    <a:pt x="72" y="10"/>
                    <a:pt x="70" y="11"/>
                    <a:pt x="6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8" y="74"/>
                    <a:pt x="148" y="74"/>
                    <a:pt x="148" y="74"/>
                  </a:cubicBezTo>
                  <a:lnTo>
                    <a:pt x="118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98" name="Group 45297">
            <a:extLst>
              <a:ext uri="{FF2B5EF4-FFF2-40B4-BE49-F238E27FC236}">
                <a16:creationId xmlns:a16="http://schemas.microsoft.com/office/drawing/2014/main" id="{F37314A2-0ADF-49F1-9EB8-3AACA3D40FF4}"/>
              </a:ext>
            </a:extLst>
          </p:cNvPr>
          <p:cNvGrpSpPr/>
          <p:nvPr/>
        </p:nvGrpSpPr>
        <p:grpSpPr>
          <a:xfrm>
            <a:off x="5805488" y="1622426"/>
            <a:ext cx="766762" cy="776288"/>
            <a:chOff x="5805488" y="1622426"/>
            <a:chExt cx="766762" cy="776288"/>
          </a:xfrm>
        </p:grpSpPr>
        <p:sp>
          <p:nvSpPr>
            <p:cNvPr id="45295" name="AutoShape 231">
              <a:extLst>
                <a:ext uri="{FF2B5EF4-FFF2-40B4-BE49-F238E27FC236}">
                  <a16:creationId xmlns:a16="http://schemas.microsoft.com/office/drawing/2014/main" id="{71888060-45F8-433F-A3F3-8363B5883B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05488" y="1627188"/>
              <a:ext cx="766762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6" name="Freeform 233">
              <a:extLst>
                <a:ext uri="{FF2B5EF4-FFF2-40B4-BE49-F238E27FC236}">
                  <a16:creationId xmlns:a16="http://schemas.microsoft.com/office/drawing/2014/main" id="{A2B427D4-761D-4003-95F1-0C6324DB0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8663" y="1622426"/>
              <a:ext cx="763587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7" name="Freeform 234">
              <a:extLst>
                <a:ext uri="{FF2B5EF4-FFF2-40B4-BE49-F238E27FC236}">
                  <a16:creationId xmlns:a16="http://schemas.microsoft.com/office/drawing/2014/main" id="{26333619-BC8C-4AD8-850F-F7626DFEA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900" y="1798638"/>
              <a:ext cx="582612" cy="376238"/>
            </a:xfrm>
            <a:custGeom>
              <a:avLst/>
              <a:gdLst>
                <a:gd name="T0" fmla="*/ 123 w 148"/>
                <a:gd name="T1" fmla="*/ 53 h 94"/>
                <a:gd name="T2" fmla="*/ 139 w 148"/>
                <a:gd name="T3" fmla="*/ 78 h 94"/>
                <a:gd name="T4" fmla="*/ 5 w 148"/>
                <a:gd name="T5" fmla="*/ 91 h 94"/>
                <a:gd name="T6" fmla="*/ 33 w 148"/>
                <a:gd name="T7" fmla="*/ 82 h 94"/>
                <a:gd name="T8" fmla="*/ 40 w 148"/>
                <a:gd name="T9" fmla="*/ 82 h 94"/>
                <a:gd name="T10" fmla="*/ 108 w 148"/>
                <a:gd name="T11" fmla="*/ 91 h 94"/>
                <a:gd name="T12" fmla="*/ 67 w 148"/>
                <a:gd name="T13" fmla="*/ 17 h 94"/>
                <a:gd name="T14" fmla="*/ 4 w 148"/>
                <a:gd name="T15" fmla="*/ 26 h 94"/>
                <a:gd name="T16" fmla="*/ 67 w 148"/>
                <a:gd name="T17" fmla="*/ 17 h 94"/>
                <a:gd name="T18" fmla="*/ 93 w 148"/>
                <a:gd name="T19" fmla="*/ 3 h 94"/>
                <a:gd name="T20" fmla="*/ 119 w 148"/>
                <a:gd name="T21" fmla="*/ 29 h 94"/>
                <a:gd name="T22" fmla="*/ 93 w 148"/>
                <a:gd name="T23" fmla="*/ 54 h 94"/>
                <a:gd name="T24" fmla="*/ 68 w 148"/>
                <a:gd name="T25" fmla="*/ 29 h 94"/>
                <a:gd name="T26" fmla="*/ 86 w 148"/>
                <a:gd name="T27" fmla="*/ 65 h 94"/>
                <a:gd name="T28" fmla="*/ 93 w 148"/>
                <a:gd name="T29" fmla="*/ 57 h 94"/>
                <a:gd name="T30" fmla="*/ 103 w 148"/>
                <a:gd name="T31" fmla="*/ 56 h 94"/>
                <a:gd name="T32" fmla="*/ 108 w 148"/>
                <a:gd name="T33" fmla="*/ 65 h 94"/>
                <a:gd name="T34" fmla="*/ 83 w 148"/>
                <a:gd name="T35" fmla="*/ 69 h 94"/>
                <a:gd name="T36" fmla="*/ 108 w 148"/>
                <a:gd name="T37" fmla="*/ 78 h 94"/>
                <a:gd name="T38" fmla="*/ 83 w 148"/>
                <a:gd name="T39" fmla="*/ 69 h 94"/>
                <a:gd name="T40" fmla="*/ 69 w 148"/>
                <a:gd name="T41" fmla="*/ 69 h 94"/>
                <a:gd name="T42" fmla="*/ 43 w 148"/>
                <a:gd name="T43" fmla="*/ 78 h 94"/>
                <a:gd name="T44" fmla="*/ 66 w 148"/>
                <a:gd name="T45" fmla="*/ 65 h 94"/>
                <a:gd name="T46" fmla="*/ 61 w 148"/>
                <a:gd name="T47" fmla="*/ 57 h 94"/>
                <a:gd name="T48" fmla="*/ 7 w 148"/>
                <a:gd name="T49" fmla="*/ 69 h 94"/>
                <a:gd name="T50" fmla="*/ 4 w 148"/>
                <a:gd name="T51" fmla="*/ 69 h 94"/>
                <a:gd name="T52" fmla="*/ 19 w 148"/>
                <a:gd name="T53" fmla="*/ 56 h 94"/>
                <a:gd name="T54" fmla="*/ 4 w 148"/>
                <a:gd name="T55" fmla="*/ 65 h 94"/>
                <a:gd name="T56" fmla="*/ 19 w 148"/>
                <a:gd name="T57" fmla="*/ 56 h 94"/>
                <a:gd name="T58" fmla="*/ 37 w 148"/>
                <a:gd name="T59" fmla="*/ 63 h 94"/>
                <a:gd name="T60" fmla="*/ 43 w 148"/>
                <a:gd name="T61" fmla="*/ 56 h 94"/>
                <a:gd name="T62" fmla="*/ 47 w 148"/>
                <a:gd name="T63" fmla="*/ 52 h 94"/>
                <a:gd name="T64" fmla="*/ 26 w 148"/>
                <a:gd name="T65" fmla="*/ 48 h 94"/>
                <a:gd name="T66" fmla="*/ 4 w 148"/>
                <a:gd name="T67" fmla="*/ 52 h 94"/>
                <a:gd name="T68" fmla="*/ 55 w 148"/>
                <a:gd name="T69" fmla="*/ 42 h 94"/>
                <a:gd name="T70" fmla="*/ 67 w 148"/>
                <a:gd name="T71" fmla="*/ 42 h 94"/>
                <a:gd name="T72" fmla="*/ 73 w 148"/>
                <a:gd name="T73" fmla="*/ 49 h 94"/>
                <a:gd name="T74" fmla="*/ 74 w 148"/>
                <a:gd name="T75" fmla="*/ 52 h 94"/>
                <a:gd name="T76" fmla="*/ 67 w 148"/>
                <a:gd name="T77" fmla="*/ 39 h 94"/>
                <a:gd name="T78" fmla="*/ 62 w 148"/>
                <a:gd name="T79" fmla="*/ 35 h 94"/>
                <a:gd name="T80" fmla="*/ 4 w 148"/>
                <a:gd name="T81" fmla="*/ 39 h 94"/>
                <a:gd name="T82" fmla="*/ 65 w 148"/>
                <a:gd name="T83" fmla="*/ 29 h 94"/>
                <a:gd name="T84" fmla="*/ 17 w 148"/>
                <a:gd name="T85" fmla="*/ 78 h 94"/>
                <a:gd name="T86" fmla="*/ 30 w 148"/>
                <a:gd name="T87" fmla="*/ 78 h 94"/>
                <a:gd name="T88" fmla="*/ 4 w 148"/>
                <a:gd name="T89" fmla="*/ 88 h 94"/>
                <a:gd name="T90" fmla="*/ 26 w 148"/>
                <a:gd name="T91" fmla="*/ 53 h 94"/>
                <a:gd name="T92" fmla="*/ 61 w 148"/>
                <a:gd name="T93" fmla="*/ 41 h 94"/>
                <a:gd name="T94" fmla="*/ 80 w 148"/>
                <a:gd name="T95" fmla="*/ 54 h 94"/>
                <a:gd name="T96" fmla="*/ 76 w 148"/>
                <a:gd name="T97" fmla="*/ 73 h 94"/>
                <a:gd name="T98" fmla="*/ 36 w 148"/>
                <a:gd name="T99" fmla="*/ 81 h 94"/>
                <a:gd name="T100" fmla="*/ 120 w 148"/>
                <a:gd name="T101" fmla="*/ 51 h 94"/>
                <a:gd name="T102" fmla="*/ 112 w 148"/>
                <a:gd name="T103" fmla="*/ 51 h 94"/>
                <a:gd name="T104" fmla="*/ 116 w 148"/>
                <a:gd name="T105" fmla="*/ 47 h 94"/>
                <a:gd name="T106" fmla="*/ 118 w 148"/>
                <a:gd name="T107" fmla="*/ 44 h 94"/>
                <a:gd name="T108" fmla="*/ 114 w 148"/>
                <a:gd name="T109" fmla="*/ 8 h 94"/>
                <a:gd name="T110" fmla="*/ 73 w 148"/>
                <a:gd name="T111" fmla="*/ 8 h 94"/>
                <a:gd name="T112" fmla="*/ 0 w 148"/>
                <a:gd name="T113" fmla="*/ 13 h 94"/>
                <a:gd name="T114" fmla="*/ 111 w 148"/>
                <a:gd name="T115" fmla="*/ 94 h 94"/>
                <a:gd name="T116" fmla="*/ 139 w 148"/>
                <a:gd name="T117" fmla="*/ 83 h 94"/>
                <a:gd name="T118" fmla="*/ 118 w 148"/>
                <a:gd name="T119" fmla="*/ 4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8" h="94">
                  <a:moveTo>
                    <a:pt x="119" y="57"/>
                  </a:moveTo>
                  <a:cubicBezTo>
                    <a:pt x="123" y="53"/>
                    <a:pt x="123" y="53"/>
                    <a:pt x="123" y="53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39" y="78"/>
                    <a:pt x="139" y="78"/>
                    <a:pt x="139" y="78"/>
                  </a:cubicBezTo>
                  <a:lnTo>
                    <a:pt x="119" y="57"/>
                  </a:lnTo>
                  <a:close/>
                  <a:moveTo>
                    <a:pt x="5" y="91"/>
                  </a:moveTo>
                  <a:cubicBezTo>
                    <a:pt x="14" y="82"/>
                    <a:pt x="14" y="82"/>
                    <a:pt x="14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108" y="82"/>
                    <a:pt x="108" y="82"/>
                    <a:pt x="108" y="82"/>
                  </a:cubicBezTo>
                  <a:cubicBezTo>
                    <a:pt x="108" y="91"/>
                    <a:pt x="108" y="91"/>
                    <a:pt x="108" y="91"/>
                  </a:cubicBezTo>
                  <a:lnTo>
                    <a:pt x="5" y="91"/>
                  </a:lnTo>
                  <a:close/>
                  <a:moveTo>
                    <a:pt x="67" y="17"/>
                  </a:moveTo>
                  <a:cubicBezTo>
                    <a:pt x="66" y="20"/>
                    <a:pt x="65" y="23"/>
                    <a:pt x="6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67" y="17"/>
                  </a:lnTo>
                  <a:close/>
                  <a:moveTo>
                    <a:pt x="76" y="11"/>
                  </a:moveTo>
                  <a:cubicBezTo>
                    <a:pt x="80" y="6"/>
                    <a:pt x="87" y="3"/>
                    <a:pt x="93" y="3"/>
                  </a:cubicBezTo>
                  <a:cubicBezTo>
                    <a:pt x="100" y="3"/>
                    <a:pt x="107" y="6"/>
                    <a:pt x="111" y="11"/>
                  </a:cubicBezTo>
                  <a:cubicBezTo>
                    <a:pt x="116" y="15"/>
                    <a:pt x="119" y="22"/>
                    <a:pt x="119" y="29"/>
                  </a:cubicBezTo>
                  <a:cubicBezTo>
                    <a:pt x="119" y="35"/>
                    <a:pt x="116" y="42"/>
                    <a:pt x="111" y="46"/>
                  </a:cubicBezTo>
                  <a:cubicBezTo>
                    <a:pt x="107" y="51"/>
                    <a:pt x="100" y="54"/>
                    <a:pt x="93" y="54"/>
                  </a:cubicBezTo>
                  <a:cubicBezTo>
                    <a:pt x="87" y="54"/>
                    <a:pt x="80" y="51"/>
                    <a:pt x="76" y="46"/>
                  </a:cubicBezTo>
                  <a:cubicBezTo>
                    <a:pt x="71" y="42"/>
                    <a:pt x="68" y="35"/>
                    <a:pt x="68" y="29"/>
                  </a:cubicBezTo>
                  <a:cubicBezTo>
                    <a:pt x="68" y="22"/>
                    <a:pt x="71" y="15"/>
                    <a:pt x="76" y="11"/>
                  </a:cubicBezTo>
                  <a:moveTo>
                    <a:pt x="86" y="65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7" y="57"/>
                    <a:pt x="100" y="57"/>
                    <a:pt x="103" y="55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65"/>
                    <a:pt x="108" y="65"/>
                    <a:pt x="108" y="65"/>
                  </a:cubicBezTo>
                  <a:lnTo>
                    <a:pt x="86" y="65"/>
                  </a:lnTo>
                  <a:close/>
                  <a:moveTo>
                    <a:pt x="83" y="69"/>
                  </a:moveTo>
                  <a:cubicBezTo>
                    <a:pt x="108" y="69"/>
                    <a:pt x="108" y="69"/>
                    <a:pt x="108" y="69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6" y="78"/>
                    <a:pt x="76" y="78"/>
                    <a:pt x="76" y="78"/>
                  </a:cubicBezTo>
                  <a:lnTo>
                    <a:pt x="83" y="69"/>
                  </a:lnTo>
                  <a:close/>
                  <a:moveTo>
                    <a:pt x="51" y="69"/>
                  </a:moveTo>
                  <a:cubicBezTo>
                    <a:pt x="69" y="69"/>
                    <a:pt x="69" y="69"/>
                    <a:pt x="69" y="69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43" y="78"/>
                    <a:pt x="43" y="78"/>
                    <a:pt x="43" y="78"/>
                  </a:cubicBezTo>
                  <a:lnTo>
                    <a:pt x="51" y="69"/>
                  </a:lnTo>
                  <a:close/>
                  <a:moveTo>
                    <a:pt x="66" y="65"/>
                  </a:moveTo>
                  <a:cubicBezTo>
                    <a:pt x="54" y="65"/>
                    <a:pt x="54" y="65"/>
                    <a:pt x="54" y="65"/>
                  </a:cubicBezTo>
                  <a:cubicBezTo>
                    <a:pt x="61" y="57"/>
                    <a:pt x="61" y="57"/>
                    <a:pt x="61" y="57"/>
                  </a:cubicBezTo>
                  <a:lnTo>
                    <a:pt x="66" y="65"/>
                  </a:lnTo>
                  <a:close/>
                  <a:moveTo>
                    <a:pt x="7" y="69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4" y="69"/>
                    <a:pt x="4" y="69"/>
                    <a:pt x="4" y="69"/>
                  </a:cubicBezTo>
                  <a:lnTo>
                    <a:pt x="7" y="69"/>
                  </a:lnTo>
                  <a:close/>
                  <a:moveTo>
                    <a:pt x="19" y="56"/>
                  </a:moveTo>
                  <a:cubicBezTo>
                    <a:pt x="10" y="65"/>
                    <a:pt x="10" y="65"/>
                    <a:pt x="10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56"/>
                    <a:pt x="4" y="56"/>
                    <a:pt x="4" y="56"/>
                  </a:cubicBezTo>
                  <a:lnTo>
                    <a:pt x="19" y="56"/>
                  </a:lnTo>
                  <a:close/>
                  <a:moveTo>
                    <a:pt x="43" y="56"/>
                  </a:moveTo>
                  <a:cubicBezTo>
                    <a:pt x="37" y="63"/>
                    <a:pt x="37" y="63"/>
                    <a:pt x="37" y="63"/>
                  </a:cubicBezTo>
                  <a:cubicBezTo>
                    <a:pt x="32" y="56"/>
                    <a:pt x="32" y="56"/>
                    <a:pt x="32" y="56"/>
                  </a:cubicBezTo>
                  <a:lnTo>
                    <a:pt x="43" y="56"/>
                  </a:lnTo>
                  <a:close/>
                  <a:moveTo>
                    <a:pt x="55" y="42"/>
                  </a:moveTo>
                  <a:cubicBezTo>
                    <a:pt x="47" y="52"/>
                    <a:pt x="47" y="52"/>
                    <a:pt x="47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42"/>
                    <a:pt x="4" y="42"/>
                    <a:pt x="4" y="42"/>
                  </a:cubicBezTo>
                  <a:lnTo>
                    <a:pt x="55" y="42"/>
                  </a:lnTo>
                  <a:close/>
                  <a:moveTo>
                    <a:pt x="74" y="5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70" y="45"/>
                    <a:pt x="71" y="47"/>
                    <a:pt x="73" y="49"/>
                  </a:cubicBezTo>
                  <a:cubicBezTo>
                    <a:pt x="74" y="50"/>
                    <a:pt x="76" y="51"/>
                    <a:pt x="77" y="52"/>
                  </a:cubicBezTo>
                  <a:lnTo>
                    <a:pt x="74" y="52"/>
                  </a:lnTo>
                  <a:close/>
                  <a:moveTo>
                    <a:pt x="65" y="29"/>
                  </a:moveTo>
                  <a:cubicBezTo>
                    <a:pt x="65" y="33"/>
                    <a:pt x="66" y="36"/>
                    <a:pt x="67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29"/>
                    <a:pt x="4" y="29"/>
                    <a:pt x="4" y="29"/>
                  </a:cubicBezTo>
                  <a:lnTo>
                    <a:pt x="65" y="29"/>
                  </a:lnTo>
                  <a:close/>
                  <a:moveTo>
                    <a:pt x="30" y="78"/>
                  </a:moveTo>
                  <a:cubicBezTo>
                    <a:pt x="17" y="78"/>
                    <a:pt x="17" y="78"/>
                    <a:pt x="17" y="78"/>
                  </a:cubicBezTo>
                  <a:cubicBezTo>
                    <a:pt x="25" y="71"/>
                    <a:pt x="25" y="71"/>
                    <a:pt x="25" y="71"/>
                  </a:cubicBezTo>
                  <a:lnTo>
                    <a:pt x="30" y="78"/>
                  </a:lnTo>
                  <a:close/>
                  <a:moveTo>
                    <a:pt x="25" y="65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3" y="55"/>
                    <a:pt x="85" y="56"/>
                    <a:pt x="88" y="57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36" y="81"/>
                    <a:pt x="36" y="81"/>
                    <a:pt x="36" y="81"/>
                  </a:cubicBezTo>
                  <a:lnTo>
                    <a:pt x="25" y="65"/>
                  </a:lnTo>
                  <a:close/>
                  <a:moveTo>
                    <a:pt x="120" y="51"/>
                  </a:moveTo>
                  <a:cubicBezTo>
                    <a:pt x="116" y="55"/>
                    <a:pt x="116" y="55"/>
                    <a:pt x="116" y="55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3" y="50"/>
                    <a:pt x="113" y="49"/>
                    <a:pt x="114" y="49"/>
                  </a:cubicBezTo>
                  <a:cubicBezTo>
                    <a:pt x="114" y="48"/>
                    <a:pt x="115" y="47"/>
                    <a:pt x="116" y="47"/>
                  </a:cubicBezTo>
                  <a:lnTo>
                    <a:pt x="120" y="51"/>
                  </a:lnTo>
                  <a:close/>
                  <a:moveTo>
                    <a:pt x="118" y="44"/>
                  </a:moveTo>
                  <a:cubicBezTo>
                    <a:pt x="121" y="39"/>
                    <a:pt x="122" y="34"/>
                    <a:pt x="122" y="29"/>
                  </a:cubicBezTo>
                  <a:cubicBezTo>
                    <a:pt x="122" y="21"/>
                    <a:pt x="119" y="14"/>
                    <a:pt x="114" y="8"/>
                  </a:cubicBezTo>
                  <a:cubicBezTo>
                    <a:pt x="108" y="3"/>
                    <a:pt x="101" y="0"/>
                    <a:pt x="93" y="0"/>
                  </a:cubicBezTo>
                  <a:cubicBezTo>
                    <a:pt x="86" y="0"/>
                    <a:pt x="79" y="3"/>
                    <a:pt x="73" y="8"/>
                  </a:cubicBezTo>
                  <a:cubicBezTo>
                    <a:pt x="72" y="10"/>
                    <a:pt x="70" y="11"/>
                    <a:pt x="6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8" y="74"/>
                    <a:pt x="148" y="74"/>
                    <a:pt x="148" y="74"/>
                  </a:cubicBezTo>
                  <a:lnTo>
                    <a:pt x="118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08" name="Group 45307">
            <a:extLst>
              <a:ext uri="{FF2B5EF4-FFF2-40B4-BE49-F238E27FC236}">
                <a16:creationId xmlns:a16="http://schemas.microsoft.com/office/drawing/2014/main" id="{097DE09E-B317-4E34-B967-A152601CDC1C}"/>
              </a:ext>
            </a:extLst>
          </p:cNvPr>
          <p:cNvGrpSpPr/>
          <p:nvPr/>
        </p:nvGrpSpPr>
        <p:grpSpPr>
          <a:xfrm>
            <a:off x="7075488" y="1579563"/>
            <a:ext cx="844550" cy="841375"/>
            <a:chOff x="7075488" y="1579563"/>
            <a:chExt cx="844550" cy="841375"/>
          </a:xfrm>
        </p:grpSpPr>
        <p:sp>
          <p:nvSpPr>
            <p:cNvPr id="45300" name="AutoShape 236">
              <a:extLst>
                <a:ext uri="{FF2B5EF4-FFF2-40B4-BE49-F238E27FC236}">
                  <a16:creationId xmlns:a16="http://schemas.microsoft.com/office/drawing/2014/main" id="{3DCF3807-92D0-4A53-8079-E17C67F4D5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75488" y="15795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1" name="Oval 238">
              <a:extLst>
                <a:ext uri="{FF2B5EF4-FFF2-40B4-BE49-F238E27FC236}">
                  <a16:creationId xmlns:a16="http://schemas.microsoft.com/office/drawing/2014/main" id="{6A32B5AF-9B4C-4049-A161-F5A875CD5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5488" y="15827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2" name="Freeform 239">
              <a:extLst>
                <a:ext uri="{FF2B5EF4-FFF2-40B4-BE49-F238E27FC236}">
                  <a16:creationId xmlns:a16="http://schemas.microsoft.com/office/drawing/2014/main" id="{A99D21A8-7DAD-4971-9334-74AB69566A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4063" y="16113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3" name="Freeform 240">
              <a:extLst>
                <a:ext uri="{FF2B5EF4-FFF2-40B4-BE49-F238E27FC236}">
                  <a16:creationId xmlns:a16="http://schemas.microsoft.com/office/drawing/2014/main" id="{A9011068-437A-41AA-A640-127D215256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1795463"/>
              <a:ext cx="228600" cy="225425"/>
            </a:xfrm>
            <a:custGeom>
              <a:avLst/>
              <a:gdLst>
                <a:gd name="T0" fmla="*/ 18 w 144"/>
                <a:gd name="T1" fmla="*/ 71 h 142"/>
                <a:gd name="T2" fmla="*/ 69 w 144"/>
                <a:gd name="T3" fmla="*/ 71 h 142"/>
                <a:gd name="T4" fmla="*/ 69 w 144"/>
                <a:gd name="T5" fmla="*/ 121 h 142"/>
                <a:gd name="T6" fmla="*/ 49 w 144"/>
                <a:gd name="T7" fmla="*/ 121 h 142"/>
                <a:gd name="T8" fmla="*/ 49 w 144"/>
                <a:gd name="T9" fmla="*/ 91 h 142"/>
                <a:gd name="T10" fmla="*/ 18 w 144"/>
                <a:gd name="T11" fmla="*/ 91 h 142"/>
                <a:gd name="T12" fmla="*/ 18 w 144"/>
                <a:gd name="T13" fmla="*/ 71 h 142"/>
                <a:gd name="T14" fmla="*/ 18 w 144"/>
                <a:gd name="T15" fmla="*/ 48 h 142"/>
                <a:gd name="T16" fmla="*/ 49 w 144"/>
                <a:gd name="T17" fmla="*/ 48 h 142"/>
                <a:gd name="T18" fmla="*/ 49 w 144"/>
                <a:gd name="T19" fmla="*/ 18 h 142"/>
                <a:gd name="T20" fmla="*/ 69 w 144"/>
                <a:gd name="T21" fmla="*/ 18 h 142"/>
                <a:gd name="T22" fmla="*/ 69 w 144"/>
                <a:gd name="T23" fmla="*/ 68 h 142"/>
                <a:gd name="T24" fmla="*/ 18 w 144"/>
                <a:gd name="T25" fmla="*/ 68 h 142"/>
                <a:gd name="T26" fmla="*/ 18 w 144"/>
                <a:gd name="T27" fmla="*/ 48 h 142"/>
                <a:gd name="T28" fmla="*/ 74 w 144"/>
                <a:gd name="T29" fmla="*/ 18 h 142"/>
                <a:gd name="T30" fmla="*/ 92 w 144"/>
                <a:gd name="T31" fmla="*/ 18 h 142"/>
                <a:gd name="T32" fmla="*/ 92 w 144"/>
                <a:gd name="T33" fmla="*/ 48 h 142"/>
                <a:gd name="T34" fmla="*/ 126 w 144"/>
                <a:gd name="T35" fmla="*/ 48 h 142"/>
                <a:gd name="T36" fmla="*/ 126 w 144"/>
                <a:gd name="T37" fmla="*/ 68 h 142"/>
                <a:gd name="T38" fmla="*/ 74 w 144"/>
                <a:gd name="T39" fmla="*/ 68 h 142"/>
                <a:gd name="T40" fmla="*/ 74 w 144"/>
                <a:gd name="T41" fmla="*/ 18 h 142"/>
                <a:gd name="T42" fmla="*/ 126 w 144"/>
                <a:gd name="T43" fmla="*/ 91 h 142"/>
                <a:gd name="T44" fmla="*/ 92 w 144"/>
                <a:gd name="T45" fmla="*/ 91 h 142"/>
                <a:gd name="T46" fmla="*/ 92 w 144"/>
                <a:gd name="T47" fmla="*/ 124 h 142"/>
                <a:gd name="T48" fmla="*/ 74 w 144"/>
                <a:gd name="T49" fmla="*/ 124 h 142"/>
                <a:gd name="T50" fmla="*/ 74 w 144"/>
                <a:gd name="T51" fmla="*/ 71 h 142"/>
                <a:gd name="T52" fmla="*/ 126 w 144"/>
                <a:gd name="T53" fmla="*/ 71 h 142"/>
                <a:gd name="T54" fmla="*/ 126 w 144"/>
                <a:gd name="T55" fmla="*/ 91 h 142"/>
                <a:gd name="T56" fmla="*/ 16 w 144"/>
                <a:gd name="T57" fmla="*/ 96 h 142"/>
                <a:gd name="T58" fmla="*/ 46 w 144"/>
                <a:gd name="T59" fmla="*/ 96 h 142"/>
                <a:gd name="T60" fmla="*/ 46 w 144"/>
                <a:gd name="T61" fmla="*/ 126 h 142"/>
                <a:gd name="T62" fmla="*/ 69 w 144"/>
                <a:gd name="T63" fmla="*/ 126 h 142"/>
                <a:gd name="T64" fmla="*/ 69 w 144"/>
                <a:gd name="T65" fmla="*/ 142 h 142"/>
                <a:gd name="T66" fmla="*/ 74 w 144"/>
                <a:gd name="T67" fmla="*/ 142 h 142"/>
                <a:gd name="T68" fmla="*/ 74 w 144"/>
                <a:gd name="T69" fmla="*/ 126 h 142"/>
                <a:gd name="T70" fmla="*/ 97 w 144"/>
                <a:gd name="T71" fmla="*/ 126 h 142"/>
                <a:gd name="T72" fmla="*/ 97 w 144"/>
                <a:gd name="T73" fmla="*/ 96 h 142"/>
                <a:gd name="T74" fmla="*/ 128 w 144"/>
                <a:gd name="T75" fmla="*/ 96 h 142"/>
                <a:gd name="T76" fmla="*/ 128 w 144"/>
                <a:gd name="T77" fmla="*/ 71 h 142"/>
                <a:gd name="T78" fmla="*/ 144 w 144"/>
                <a:gd name="T79" fmla="*/ 71 h 142"/>
                <a:gd name="T80" fmla="*/ 144 w 144"/>
                <a:gd name="T81" fmla="*/ 68 h 142"/>
                <a:gd name="T82" fmla="*/ 128 w 144"/>
                <a:gd name="T83" fmla="*/ 68 h 142"/>
                <a:gd name="T84" fmla="*/ 128 w 144"/>
                <a:gd name="T85" fmla="*/ 46 h 142"/>
                <a:gd name="T86" fmla="*/ 97 w 144"/>
                <a:gd name="T87" fmla="*/ 46 h 142"/>
                <a:gd name="T88" fmla="*/ 97 w 144"/>
                <a:gd name="T89" fmla="*/ 15 h 142"/>
                <a:gd name="T90" fmla="*/ 74 w 144"/>
                <a:gd name="T91" fmla="*/ 15 h 142"/>
                <a:gd name="T92" fmla="*/ 74 w 144"/>
                <a:gd name="T93" fmla="*/ 0 h 142"/>
                <a:gd name="T94" fmla="*/ 69 w 144"/>
                <a:gd name="T95" fmla="*/ 0 h 142"/>
                <a:gd name="T96" fmla="*/ 69 w 144"/>
                <a:gd name="T97" fmla="*/ 13 h 142"/>
                <a:gd name="T98" fmla="*/ 46 w 144"/>
                <a:gd name="T99" fmla="*/ 13 h 142"/>
                <a:gd name="T100" fmla="*/ 46 w 144"/>
                <a:gd name="T101" fmla="*/ 46 h 142"/>
                <a:gd name="T102" fmla="*/ 16 w 144"/>
                <a:gd name="T103" fmla="*/ 46 h 142"/>
                <a:gd name="T104" fmla="*/ 16 w 144"/>
                <a:gd name="T105" fmla="*/ 68 h 142"/>
                <a:gd name="T106" fmla="*/ 0 w 144"/>
                <a:gd name="T107" fmla="*/ 68 h 142"/>
                <a:gd name="T108" fmla="*/ 0 w 144"/>
                <a:gd name="T109" fmla="*/ 71 h 142"/>
                <a:gd name="T110" fmla="*/ 16 w 144"/>
                <a:gd name="T111" fmla="*/ 71 h 142"/>
                <a:gd name="T112" fmla="*/ 16 w 144"/>
                <a:gd name="T113" fmla="*/ 9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42">
                  <a:moveTo>
                    <a:pt x="18" y="71"/>
                  </a:moveTo>
                  <a:lnTo>
                    <a:pt x="69" y="71"/>
                  </a:lnTo>
                  <a:lnTo>
                    <a:pt x="69" y="121"/>
                  </a:lnTo>
                  <a:lnTo>
                    <a:pt x="49" y="121"/>
                  </a:lnTo>
                  <a:lnTo>
                    <a:pt x="49" y="91"/>
                  </a:lnTo>
                  <a:lnTo>
                    <a:pt x="18" y="91"/>
                  </a:lnTo>
                  <a:lnTo>
                    <a:pt x="18" y="71"/>
                  </a:lnTo>
                  <a:close/>
                  <a:moveTo>
                    <a:pt x="18" y="48"/>
                  </a:moveTo>
                  <a:lnTo>
                    <a:pt x="49" y="48"/>
                  </a:lnTo>
                  <a:lnTo>
                    <a:pt x="49" y="18"/>
                  </a:lnTo>
                  <a:lnTo>
                    <a:pt x="69" y="18"/>
                  </a:lnTo>
                  <a:lnTo>
                    <a:pt x="69" y="68"/>
                  </a:lnTo>
                  <a:lnTo>
                    <a:pt x="18" y="68"/>
                  </a:lnTo>
                  <a:lnTo>
                    <a:pt x="18" y="48"/>
                  </a:lnTo>
                  <a:close/>
                  <a:moveTo>
                    <a:pt x="74" y="18"/>
                  </a:moveTo>
                  <a:lnTo>
                    <a:pt x="92" y="18"/>
                  </a:lnTo>
                  <a:lnTo>
                    <a:pt x="92" y="48"/>
                  </a:lnTo>
                  <a:lnTo>
                    <a:pt x="126" y="48"/>
                  </a:lnTo>
                  <a:lnTo>
                    <a:pt x="126" y="68"/>
                  </a:lnTo>
                  <a:lnTo>
                    <a:pt x="74" y="68"/>
                  </a:lnTo>
                  <a:lnTo>
                    <a:pt x="74" y="18"/>
                  </a:lnTo>
                  <a:close/>
                  <a:moveTo>
                    <a:pt x="126" y="91"/>
                  </a:moveTo>
                  <a:lnTo>
                    <a:pt x="92" y="91"/>
                  </a:lnTo>
                  <a:lnTo>
                    <a:pt x="92" y="124"/>
                  </a:lnTo>
                  <a:lnTo>
                    <a:pt x="74" y="124"/>
                  </a:lnTo>
                  <a:lnTo>
                    <a:pt x="74" y="71"/>
                  </a:lnTo>
                  <a:lnTo>
                    <a:pt x="126" y="71"/>
                  </a:lnTo>
                  <a:lnTo>
                    <a:pt x="126" y="91"/>
                  </a:lnTo>
                  <a:close/>
                  <a:moveTo>
                    <a:pt x="16" y="96"/>
                  </a:moveTo>
                  <a:lnTo>
                    <a:pt x="46" y="96"/>
                  </a:lnTo>
                  <a:lnTo>
                    <a:pt x="46" y="126"/>
                  </a:lnTo>
                  <a:lnTo>
                    <a:pt x="69" y="126"/>
                  </a:lnTo>
                  <a:lnTo>
                    <a:pt x="69" y="142"/>
                  </a:lnTo>
                  <a:lnTo>
                    <a:pt x="74" y="142"/>
                  </a:lnTo>
                  <a:lnTo>
                    <a:pt x="74" y="126"/>
                  </a:lnTo>
                  <a:lnTo>
                    <a:pt x="97" y="126"/>
                  </a:lnTo>
                  <a:lnTo>
                    <a:pt x="97" y="96"/>
                  </a:lnTo>
                  <a:lnTo>
                    <a:pt x="128" y="96"/>
                  </a:lnTo>
                  <a:lnTo>
                    <a:pt x="128" y="71"/>
                  </a:lnTo>
                  <a:lnTo>
                    <a:pt x="144" y="71"/>
                  </a:lnTo>
                  <a:lnTo>
                    <a:pt x="144" y="68"/>
                  </a:lnTo>
                  <a:lnTo>
                    <a:pt x="128" y="68"/>
                  </a:lnTo>
                  <a:lnTo>
                    <a:pt x="128" y="46"/>
                  </a:lnTo>
                  <a:lnTo>
                    <a:pt x="97" y="46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74" y="0"/>
                  </a:lnTo>
                  <a:lnTo>
                    <a:pt x="69" y="0"/>
                  </a:lnTo>
                  <a:lnTo>
                    <a:pt x="69" y="13"/>
                  </a:lnTo>
                  <a:lnTo>
                    <a:pt x="46" y="13"/>
                  </a:lnTo>
                  <a:lnTo>
                    <a:pt x="46" y="46"/>
                  </a:lnTo>
                  <a:lnTo>
                    <a:pt x="16" y="46"/>
                  </a:lnTo>
                  <a:lnTo>
                    <a:pt x="16" y="68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16" y="71"/>
                  </a:lnTo>
                  <a:lnTo>
                    <a:pt x="16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4" name="Freeform 241">
              <a:extLst>
                <a:ext uri="{FF2B5EF4-FFF2-40B4-BE49-F238E27FC236}">
                  <a16:creationId xmlns:a16="http://schemas.microsoft.com/office/drawing/2014/main" id="{FFB63A0B-D4F8-4499-9815-2E426DF64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913" y="1824038"/>
              <a:ext cx="41275" cy="39688"/>
            </a:xfrm>
            <a:custGeom>
              <a:avLst/>
              <a:gdLst>
                <a:gd name="T0" fmla="*/ 3 w 10"/>
                <a:gd name="T1" fmla="*/ 3 h 10"/>
                <a:gd name="T2" fmla="*/ 5 w 10"/>
                <a:gd name="T3" fmla="*/ 5 h 10"/>
                <a:gd name="T4" fmla="*/ 7 w 10"/>
                <a:gd name="T5" fmla="*/ 7 h 10"/>
                <a:gd name="T6" fmla="*/ 5 w 10"/>
                <a:gd name="T7" fmla="*/ 8 h 10"/>
                <a:gd name="T8" fmla="*/ 3 w 10"/>
                <a:gd name="T9" fmla="*/ 7 h 10"/>
                <a:gd name="T10" fmla="*/ 2 w 10"/>
                <a:gd name="T11" fmla="*/ 5 h 10"/>
                <a:gd name="T12" fmla="*/ 3 w 10"/>
                <a:gd name="T13" fmla="*/ 3 h 10"/>
                <a:gd name="T14" fmla="*/ 4 w 10"/>
                <a:gd name="T15" fmla="*/ 10 h 10"/>
                <a:gd name="T16" fmla="*/ 5 w 10"/>
                <a:gd name="T17" fmla="*/ 10 h 10"/>
                <a:gd name="T18" fmla="*/ 8 w 10"/>
                <a:gd name="T19" fmla="*/ 8 h 10"/>
                <a:gd name="T20" fmla="*/ 9 w 10"/>
                <a:gd name="T21" fmla="*/ 9 h 10"/>
                <a:gd name="T22" fmla="*/ 10 w 10"/>
                <a:gd name="T23" fmla="*/ 9 h 10"/>
                <a:gd name="T24" fmla="*/ 10 w 10"/>
                <a:gd name="T25" fmla="*/ 6 h 10"/>
                <a:gd name="T26" fmla="*/ 7 w 10"/>
                <a:gd name="T27" fmla="*/ 3 h 10"/>
                <a:gd name="T28" fmla="*/ 2 w 10"/>
                <a:gd name="T29" fmla="*/ 0 h 10"/>
                <a:gd name="T30" fmla="*/ 1 w 10"/>
                <a:gd name="T31" fmla="*/ 0 h 10"/>
                <a:gd name="T32" fmla="*/ 1 w 10"/>
                <a:gd name="T33" fmla="*/ 1 h 10"/>
                <a:gd name="T34" fmla="*/ 2 w 10"/>
                <a:gd name="T35" fmla="*/ 2 h 10"/>
                <a:gd name="T36" fmla="*/ 1 w 10"/>
                <a:gd name="T37" fmla="*/ 5 h 10"/>
                <a:gd name="T38" fmla="*/ 2 w 10"/>
                <a:gd name="T39" fmla="*/ 8 h 10"/>
                <a:gd name="T40" fmla="*/ 4 w 10"/>
                <a:gd name="T4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10">
                  <a:moveTo>
                    <a:pt x="3" y="3"/>
                  </a:moveTo>
                  <a:cubicBezTo>
                    <a:pt x="4" y="4"/>
                    <a:pt x="4" y="4"/>
                    <a:pt x="5" y="5"/>
                  </a:cubicBezTo>
                  <a:cubicBezTo>
                    <a:pt x="6" y="6"/>
                    <a:pt x="6" y="6"/>
                    <a:pt x="7" y="7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4" y="8"/>
                    <a:pt x="3" y="8"/>
                    <a:pt x="3" y="7"/>
                  </a:cubicBezTo>
                  <a:cubicBezTo>
                    <a:pt x="2" y="7"/>
                    <a:pt x="2" y="6"/>
                    <a:pt x="2" y="5"/>
                  </a:cubicBezTo>
                  <a:cubicBezTo>
                    <a:pt x="2" y="5"/>
                    <a:pt x="2" y="4"/>
                    <a:pt x="3" y="3"/>
                  </a:cubicBezTo>
                  <a:moveTo>
                    <a:pt x="4" y="10"/>
                  </a:moveTo>
                  <a:cubicBezTo>
                    <a:pt x="4" y="10"/>
                    <a:pt x="5" y="10"/>
                    <a:pt x="5" y="10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0" y="8"/>
                    <a:pt x="10" y="8"/>
                    <a:pt x="10" y="6"/>
                  </a:cubicBezTo>
                  <a:cubicBezTo>
                    <a:pt x="9" y="5"/>
                    <a:pt x="8" y="4"/>
                    <a:pt x="7" y="3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2" y="9"/>
                    <a:pt x="3" y="10"/>
                    <a:pt x="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5" name="Freeform 242">
              <a:extLst>
                <a:ext uri="{FF2B5EF4-FFF2-40B4-BE49-F238E27FC236}">
                  <a16:creationId xmlns:a16="http://schemas.microsoft.com/office/drawing/2014/main" id="{3ECB0B4E-31AF-4A82-ABB9-DCF13E18B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913" y="1952626"/>
              <a:ext cx="44450" cy="39688"/>
            </a:xfrm>
            <a:custGeom>
              <a:avLst/>
              <a:gdLst>
                <a:gd name="T0" fmla="*/ 5 w 11"/>
                <a:gd name="T1" fmla="*/ 5 h 10"/>
                <a:gd name="T2" fmla="*/ 3 w 11"/>
                <a:gd name="T3" fmla="*/ 7 h 10"/>
                <a:gd name="T4" fmla="*/ 2 w 11"/>
                <a:gd name="T5" fmla="*/ 3 h 10"/>
                <a:gd name="T6" fmla="*/ 6 w 11"/>
                <a:gd name="T7" fmla="*/ 3 h 10"/>
                <a:gd name="T8" fmla="*/ 5 w 11"/>
                <a:gd name="T9" fmla="*/ 5 h 10"/>
                <a:gd name="T10" fmla="*/ 9 w 11"/>
                <a:gd name="T11" fmla="*/ 1 h 10"/>
                <a:gd name="T12" fmla="*/ 7 w 11"/>
                <a:gd name="T13" fmla="*/ 2 h 10"/>
                <a:gd name="T14" fmla="*/ 1 w 11"/>
                <a:gd name="T15" fmla="*/ 2 h 10"/>
                <a:gd name="T16" fmla="*/ 2 w 11"/>
                <a:gd name="T17" fmla="*/ 8 h 10"/>
                <a:gd name="T18" fmla="*/ 1 w 11"/>
                <a:gd name="T19" fmla="*/ 9 h 10"/>
                <a:gd name="T20" fmla="*/ 1 w 11"/>
                <a:gd name="T21" fmla="*/ 10 h 10"/>
                <a:gd name="T22" fmla="*/ 2 w 11"/>
                <a:gd name="T23" fmla="*/ 10 h 10"/>
                <a:gd name="T24" fmla="*/ 7 w 11"/>
                <a:gd name="T25" fmla="*/ 7 h 10"/>
                <a:gd name="T26" fmla="*/ 10 w 11"/>
                <a:gd name="T27" fmla="*/ 1 h 10"/>
                <a:gd name="T28" fmla="*/ 9 w 11"/>
                <a:gd name="T2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0">
                  <a:moveTo>
                    <a:pt x="5" y="5"/>
                  </a:moveTo>
                  <a:cubicBezTo>
                    <a:pt x="4" y="6"/>
                    <a:pt x="3" y="6"/>
                    <a:pt x="3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3" y="2"/>
                    <a:pt x="5" y="2"/>
                    <a:pt x="6" y="3"/>
                  </a:cubicBezTo>
                  <a:cubicBezTo>
                    <a:pt x="6" y="4"/>
                    <a:pt x="5" y="4"/>
                    <a:pt x="5" y="5"/>
                  </a:cubicBezTo>
                  <a:moveTo>
                    <a:pt x="9" y="1"/>
                  </a:moveTo>
                  <a:cubicBezTo>
                    <a:pt x="8" y="1"/>
                    <a:pt x="8" y="1"/>
                    <a:pt x="7" y="2"/>
                  </a:cubicBezTo>
                  <a:cubicBezTo>
                    <a:pt x="6" y="0"/>
                    <a:pt x="3" y="0"/>
                    <a:pt x="1" y="2"/>
                  </a:cubicBezTo>
                  <a:cubicBezTo>
                    <a:pt x="0" y="3"/>
                    <a:pt x="0" y="6"/>
                    <a:pt x="2" y="8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3" y="10"/>
                    <a:pt x="5" y="9"/>
                    <a:pt x="7" y="7"/>
                  </a:cubicBezTo>
                  <a:cubicBezTo>
                    <a:pt x="9" y="6"/>
                    <a:pt x="11" y="2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6" name="Freeform 243">
              <a:extLst>
                <a:ext uri="{FF2B5EF4-FFF2-40B4-BE49-F238E27FC236}">
                  <a16:creationId xmlns:a16="http://schemas.microsoft.com/office/drawing/2014/main" id="{4EDF29DF-697A-46CC-9C95-05A42D425B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1563" y="1824038"/>
              <a:ext cx="44450" cy="36513"/>
            </a:xfrm>
            <a:custGeom>
              <a:avLst/>
              <a:gdLst>
                <a:gd name="T0" fmla="*/ 6 w 11"/>
                <a:gd name="T1" fmla="*/ 5 h 9"/>
                <a:gd name="T2" fmla="*/ 8 w 11"/>
                <a:gd name="T3" fmla="*/ 3 h 9"/>
                <a:gd name="T4" fmla="*/ 8 w 11"/>
                <a:gd name="T5" fmla="*/ 7 h 9"/>
                <a:gd name="T6" fmla="*/ 6 w 11"/>
                <a:gd name="T7" fmla="*/ 8 h 9"/>
                <a:gd name="T8" fmla="*/ 4 w 11"/>
                <a:gd name="T9" fmla="*/ 7 h 9"/>
                <a:gd name="T10" fmla="*/ 6 w 11"/>
                <a:gd name="T11" fmla="*/ 5 h 9"/>
                <a:gd name="T12" fmla="*/ 2 w 11"/>
                <a:gd name="T13" fmla="*/ 9 h 9"/>
                <a:gd name="T14" fmla="*/ 3 w 11"/>
                <a:gd name="T15" fmla="*/ 8 h 9"/>
                <a:gd name="T16" fmla="*/ 6 w 11"/>
                <a:gd name="T17" fmla="*/ 9 h 9"/>
                <a:gd name="T18" fmla="*/ 9 w 11"/>
                <a:gd name="T19" fmla="*/ 8 h 9"/>
                <a:gd name="T20" fmla="*/ 9 w 11"/>
                <a:gd name="T21" fmla="*/ 2 h 9"/>
                <a:gd name="T22" fmla="*/ 10 w 11"/>
                <a:gd name="T23" fmla="*/ 1 h 9"/>
                <a:gd name="T24" fmla="*/ 10 w 11"/>
                <a:gd name="T25" fmla="*/ 0 h 9"/>
                <a:gd name="T26" fmla="*/ 9 w 11"/>
                <a:gd name="T27" fmla="*/ 0 h 9"/>
                <a:gd name="T28" fmla="*/ 4 w 11"/>
                <a:gd name="T29" fmla="*/ 3 h 9"/>
                <a:gd name="T30" fmla="*/ 1 w 11"/>
                <a:gd name="T31" fmla="*/ 9 h 9"/>
                <a:gd name="T32" fmla="*/ 2 w 11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7" y="4"/>
                    <a:pt x="7" y="4"/>
                    <a:pt x="8" y="3"/>
                  </a:cubicBezTo>
                  <a:cubicBezTo>
                    <a:pt x="9" y="4"/>
                    <a:pt x="9" y="6"/>
                    <a:pt x="8" y="7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5" y="8"/>
                    <a:pt x="5" y="7"/>
                    <a:pt x="4" y="7"/>
                  </a:cubicBezTo>
                  <a:cubicBezTo>
                    <a:pt x="5" y="6"/>
                    <a:pt x="5" y="6"/>
                    <a:pt x="6" y="5"/>
                  </a:cubicBezTo>
                  <a:moveTo>
                    <a:pt x="2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8" y="9"/>
                    <a:pt x="8" y="9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10" y="2"/>
                    <a:pt x="10" y="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7" y="0"/>
                    <a:pt x="5" y="1"/>
                    <a:pt x="4" y="3"/>
                  </a:cubicBezTo>
                  <a:cubicBezTo>
                    <a:pt x="2" y="4"/>
                    <a:pt x="0" y="7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7" name="Freeform 244">
              <a:extLst>
                <a:ext uri="{FF2B5EF4-FFF2-40B4-BE49-F238E27FC236}">
                  <a16:creationId xmlns:a16="http://schemas.microsoft.com/office/drawing/2014/main" id="{95EF31E3-5323-428F-964C-08F079E1CA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6776" y="1776413"/>
              <a:ext cx="533400" cy="436563"/>
            </a:xfrm>
            <a:custGeom>
              <a:avLst/>
              <a:gdLst>
                <a:gd name="T0" fmla="*/ 77 w 131"/>
                <a:gd name="T1" fmla="*/ 105 h 109"/>
                <a:gd name="T2" fmla="*/ 93 w 131"/>
                <a:gd name="T3" fmla="*/ 83 h 109"/>
                <a:gd name="T4" fmla="*/ 127 w 131"/>
                <a:gd name="T5" fmla="*/ 101 h 109"/>
                <a:gd name="T6" fmla="*/ 75 w 131"/>
                <a:gd name="T7" fmla="*/ 92 h 109"/>
                <a:gd name="T8" fmla="*/ 65 w 131"/>
                <a:gd name="T9" fmla="*/ 69 h 109"/>
                <a:gd name="T10" fmla="*/ 92 w 131"/>
                <a:gd name="T11" fmla="*/ 79 h 109"/>
                <a:gd name="T12" fmla="*/ 74 w 131"/>
                <a:gd name="T13" fmla="*/ 105 h 109"/>
                <a:gd name="T14" fmla="*/ 24 w 131"/>
                <a:gd name="T15" fmla="*/ 101 h 109"/>
                <a:gd name="T16" fmla="*/ 32 w 131"/>
                <a:gd name="T17" fmla="*/ 85 h 109"/>
                <a:gd name="T18" fmla="*/ 57 w 131"/>
                <a:gd name="T19" fmla="*/ 83 h 109"/>
                <a:gd name="T20" fmla="*/ 74 w 131"/>
                <a:gd name="T21" fmla="*/ 105 h 109"/>
                <a:gd name="T22" fmla="*/ 4 w 131"/>
                <a:gd name="T23" fmla="*/ 79 h 109"/>
                <a:gd name="T24" fmla="*/ 32 w 131"/>
                <a:gd name="T25" fmla="*/ 63 h 109"/>
                <a:gd name="T26" fmla="*/ 38 w 131"/>
                <a:gd name="T27" fmla="*/ 79 h 109"/>
                <a:gd name="T28" fmla="*/ 4 w 131"/>
                <a:gd name="T29" fmla="*/ 82 h 109"/>
                <a:gd name="T30" fmla="*/ 26 w 131"/>
                <a:gd name="T31" fmla="*/ 36 h 109"/>
                <a:gd name="T32" fmla="*/ 26 w 131"/>
                <a:gd name="T33" fmla="*/ 59 h 109"/>
                <a:gd name="T34" fmla="*/ 62 w 131"/>
                <a:gd name="T35" fmla="*/ 66 h 109"/>
                <a:gd name="T36" fmla="*/ 35 w 131"/>
                <a:gd name="T37" fmla="*/ 66 h 109"/>
                <a:gd name="T38" fmla="*/ 62 w 131"/>
                <a:gd name="T39" fmla="*/ 66 h 109"/>
                <a:gd name="T40" fmla="*/ 58 w 131"/>
                <a:gd name="T41" fmla="*/ 46 h 109"/>
                <a:gd name="T42" fmla="*/ 56 w 131"/>
                <a:gd name="T43" fmla="*/ 49 h 109"/>
                <a:gd name="T44" fmla="*/ 23 w 131"/>
                <a:gd name="T45" fmla="*/ 4 h 109"/>
                <a:gd name="T46" fmla="*/ 123 w 131"/>
                <a:gd name="T47" fmla="*/ 65 h 109"/>
                <a:gd name="T48" fmla="*/ 102 w 131"/>
                <a:gd name="T49" fmla="*/ 49 h 109"/>
                <a:gd name="T50" fmla="*/ 66 w 131"/>
                <a:gd name="T51" fmla="*/ 65 h 109"/>
                <a:gd name="T52" fmla="*/ 60 w 131"/>
                <a:gd name="T53" fmla="*/ 53 h 109"/>
                <a:gd name="T54" fmla="*/ 59 w 131"/>
                <a:gd name="T55" fmla="*/ 45 h 109"/>
                <a:gd name="T56" fmla="*/ 52 w 131"/>
                <a:gd name="T57" fmla="*/ 45 h 109"/>
                <a:gd name="T58" fmla="*/ 52 w 131"/>
                <a:gd name="T59" fmla="*/ 49 h 109"/>
                <a:gd name="T60" fmla="*/ 41 w 131"/>
                <a:gd name="T61" fmla="*/ 50 h 109"/>
                <a:gd name="T62" fmla="*/ 26 w 131"/>
                <a:gd name="T63" fmla="*/ 32 h 109"/>
                <a:gd name="T64" fmla="*/ 23 w 131"/>
                <a:gd name="T65" fmla="*/ 4 h 109"/>
                <a:gd name="T66" fmla="*/ 89 w 131"/>
                <a:gd name="T67" fmla="*/ 66 h 109"/>
                <a:gd name="T68" fmla="*/ 116 w 131"/>
                <a:gd name="T69" fmla="*/ 66 h 109"/>
                <a:gd name="T70" fmla="*/ 113 w 131"/>
                <a:gd name="T71" fmla="*/ 79 h 109"/>
                <a:gd name="T72" fmla="*/ 126 w 131"/>
                <a:gd name="T73" fmla="*/ 69 h 109"/>
                <a:gd name="T74" fmla="*/ 19 w 131"/>
                <a:gd name="T75" fmla="*/ 0 h 109"/>
                <a:gd name="T76" fmla="*/ 11 w 131"/>
                <a:gd name="T77" fmla="*/ 48 h 109"/>
                <a:gd name="T78" fmla="*/ 0 w 131"/>
                <a:gd name="T79" fmla="*/ 79 h 109"/>
                <a:gd name="T80" fmla="*/ 25 w 131"/>
                <a:gd name="T81" fmla="*/ 86 h 109"/>
                <a:gd name="T82" fmla="*/ 20 w 131"/>
                <a:gd name="T83" fmla="*/ 109 h 109"/>
                <a:gd name="T84" fmla="*/ 77 w 131"/>
                <a:gd name="T85" fmla="*/ 109 h 109"/>
                <a:gd name="T86" fmla="*/ 131 w 131"/>
                <a:gd name="T87" fmla="*/ 10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1" h="109">
                  <a:moveTo>
                    <a:pt x="127" y="105"/>
                  </a:moveTo>
                  <a:cubicBezTo>
                    <a:pt x="77" y="105"/>
                    <a:pt x="77" y="105"/>
                    <a:pt x="77" y="105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91"/>
                    <a:pt x="85" y="83"/>
                    <a:pt x="93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20" y="83"/>
                    <a:pt x="127" y="91"/>
                    <a:pt x="127" y="101"/>
                  </a:cubicBezTo>
                  <a:lnTo>
                    <a:pt x="127" y="105"/>
                  </a:lnTo>
                  <a:close/>
                  <a:moveTo>
                    <a:pt x="75" y="92"/>
                  </a:moveTo>
                  <a:cubicBezTo>
                    <a:pt x="72" y="85"/>
                    <a:pt x="66" y="80"/>
                    <a:pt x="59" y="79"/>
                  </a:cubicBezTo>
                  <a:cubicBezTo>
                    <a:pt x="62" y="77"/>
                    <a:pt x="65" y="73"/>
                    <a:pt x="65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73"/>
                    <a:pt x="89" y="77"/>
                    <a:pt x="92" y="79"/>
                  </a:cubicBezTo>
                  <a:cubicBezTo>
                    <a:pt x="85" y="80"/>
                    <a:pt x="78" y="85"/>
                    <a:pt x="75" y="92"/>
                  </a:cubicBezTo>
                  <a:moveTo>
                    <a:pt x="74" y="105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96"/>
                    <a:pt x="25" y="92"/>
                    <a:pt x="28" y="88"/>
                  </a:cubicBezTo>
                  <a:cubicBezTo>
                    <a:pt x="29" y="87"/>
                    <a:pt x="31" y="86"/>
                    <a:pt x="32" y="85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66" y="83"/>
                    <a:pt x="74" y="91"/>
                    <a:pt x="74" y="101"/>
                  </a:cubicBezTo>
                  <a:lnTo>
                    <a:pt x="74" y="105"/>
                  </a:lnTo>
                  <a:close/>
                  <a:moveTo>
                    <a:pt x="4" y="82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4" y="70"/>
                    <a:pt x="10" y="63"/>
                    <a:pt x="18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4"/>
                    <a:pt x="32" y="65"/>
                    <a:pt x="32" y="66"/>
                  </a:cubicBezTo>
                  <a:cubicBezTo>
                    <a:pt x="32" y="71"/>
                    <a:pt x="34" y="76"/>
                    <a:pt x="38" y="79"/>
                  </a:cubicBezTo>
                  <a:cubicBezTo>
                    <a:pt x="35" y="80"/>
                    <a:pt x="32" y="81"/>
                    <a:pt x="30" y="82"/>
                  </a:cubicBezTo>
                  <a:lnTo>
                    <a:pt x="4" y="82"/>
                  </a:lnTo>
                  <a:close/>
                  <a:moveTo>
                    <a:pt x="14" y="48"/>
                  </a:moveTo>
                  <a:cubicBezTo>
                    <a:pt x="14" y="41"/>
                    <a:pt x="20" y="36"/>
                    <a:pt x="26" y="36"/>
                  </a:cubicBezTo>
                  <a:cubicBezTo>
                    <a:pt x="32" y="36"/>
                    <a:pt x="38" y="41"/>
                    <a:pt x="38" y="48"/>
                  </a:cubicBezTo>
                  <a:cubicBezTo>
                    <a:pt x="38" y="54"/>
                    <a:pt x="32" y="59"/>
                    <a:pt x="26" y="59"/>
                  </a:cubicBezTo>
                  <a:cubicBezTo>
                    <a:pt x="20" y="59"/>
                    <a:pt x="14" y="54"/>
                    <a:pt x="14" y="48"/>
                  </a:cubicBezTo>
                  <a:moveTo>
                    <a:pt x="62" y="66"/>
                  </a:moveTo>
                  <a:cubicBezTo>
                    <a:pt x="62" y="73"/>
                    <a:pt x="56" y="79"/>
                    <a:pt x="49" y="79"/>
                  </a:cubicBezTo>
                  <a:cubicBezTo>
                    <a:pt x="41" y="79"/>
                    <a:pt x="35" y="73"/>
                    <a:pt x="35" y="66"/>
                  </a:cubicBezTo>
                  <a:cubicBezTo>
                    <a:pt x="35" y="58"/>
                    <a:pt x="41" y="52"/>
                    <a:pt x="49" y="52"/>
                  </a:cubicBezTo>
                  <a:cubicBezTo>
                    <a:pt x="56" y="52"/>
                    <a:pt x="62" y="58"/>
                    <a:pt x="62" y="66"/>
                  </a:cubicBezTo>
                  <a:moveTo>
                    <a:pt x="54" y="47"/>
                  </a:moveTo>
                  <a:cubicBezTo>
                    <a:pt x="55" y="46"/>
                    <a:pt x="57" y="45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ubicBezTo>
                    <a:pt x="57" y="50"/>
                    <a:pt x="56" y="49"/>
                    <a:pt x="56" y="49"/>
                  </a:cubicBezTo>
                  <a:cubicBezTo>
                    <a:pt x="55" y="48"/>
                    <a:pt x="54" y="47"/>
                    <a:pt x="54" y="47"/>
                  </a:cubicBezTo>
                  <a:moveTo>
                    <a:pt x="23" y="4"/>
                  </a:moveTo>
                  <a:cubicBezTo>
                    <a:pt x="123" y="4"/>
                    <a:pt x="123" y="4"/>
                    <a:pt x="123" y="4"/>
                  </a:cubicBezTo>
                  <a:cubicBezTo>
                    <a:pt x="123" y="65"/>
                    <a:pt x="123" y="65"/>
                    <a:pt x="123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56"/>
                    <a:pt x="111" y="49"/>
                    <a:pt x="102" y="49"/>
                  </a:cubicBezTo>
                  <a:cubicBezTo>
                    <a:pt x="93" y="49"/>
                    <a:pt x="86" y="56"/>
                    <a:pt x="8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5" y="60"/>
                    <a:pt x="63" y="56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2"/>
                    <a:pt x="59" y="52"/>
                    <a:pt x="59" y="51"/>
                  </a:cubicBezTo>
                  <a:cubicBezTo>
                    <a:pt x="60" y="50"/>
                    <a:pt x="60" y="47"/>
                    <a:pt x="59" y="45"/>
                  </a:cubicBezTo>
                  <a:cubicBezTo>
                    <a:pt x="57" y="44"/>
                    <a:pt x="55" y="44"/>
                    <a:pt x="53" y="46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6"/>
                    <a:pt x="51" y="48"/>
                    <a:pt x="52" y="49"/>
                  </a:cubicBezTo>
                  <a:cubicBezTo>
                    <a:pt x="51" y="49"/>
                    <a:pt x="50" y="49"/>
                    <a:pt x="49" y="49"/>
                  </a:cubicBezTo>
                  <a:cubicBezTo>
                    <a:pt x="46" y="49"/>
                    <a:pt x="43" y="49"/>
                    <a:pt x="41" y="50"/>
                  </a:cubicBezTo>
                  <a:cubicBezTo>
                    <a:pt x="41" y="50"/>
                    <a:pt x="41" y="49"/>
                    <a:pt x="41" y="48"/>
                  </a:cubicBezTo>
                  <a:cubicBezTo>
                    <a:pt x="41" y="39"/>
                    <a:pt x="34" y="32"/>
                    <a:pt x="26" y="32"/>
                  </a:cubicBezTo>
                  <a:cubicBezTo>
                    <a:pt x="25" y="32"/>
                    <a:pt x="24" y="32"/>
                    <a:pt x="23" y="32"/>
                  </a:cubicBezTo>
                  <a:lnTo>
                    <a:pt x="23" y="4"/>
                  </a:lnTo>
                  <a:close/>
                  <a:moveTo>
                    <a:pt x="102" y="79"/>
                  </a:moveTo>
                  <a:cubicBezTo>
                    <a:pt x="95" y="79"/>
                    <a:pt x="89" y="73"/>
                    <a:pt x="89" y="66"/>
                  </a:cubicBezTo>
                  <a:cubicBezTo>
                    <a:pt x="89" y="58"/>
                    <a:pt x="95" y="52"/>
                    <a:pt x="102" y="52"/>
                  </a:cubicBezTo>
                  <a:cubicBezTo>
                    <a:pt x="110" y="52"/>
                    <a:pt x="116" y="58"/>
                    <a:pt x="116" y="66"/>
                  </a:cubicBezTo>
                  <a:cubicBezTo>
                    <a:pt x="116" y="73"/>
                    <a:pt x="110" y="79"/>
                    <a:pt x="102" y="79"/>
                  </a:cubicBezTo>
                  <a:moveTo>
                    <a:pt x="113" y="79"/>
                  </a:moveTo>
                  <a:cubicBezTo>
                    <a:pt x="116" y="77"/>
                    <a:pt x="118" y="73"/>
                    <a:pt x="119" y="69"/>
                  </a:cubicBezTo>
                  <a:cubicBezTo>
                    <a:pt x="126" y="69"/>
                    <a:pt x="126" y="69"/>
                    <a:pt x="126" y="69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4" y="36"/>
                    <a:pt x="11" y="42"/>
                    <a:pt x="11" y="48"/>
                  </a:cubicBezTo>
                  <a:cubicBezTo>
                    <a:pt x="11" y="52"/>
                    <a:pt x="13" y="57"/>
                    <a:pt x="16" y="60"/>
                  </a:cubicBezTo>
                  <a:cubicBezTo>
                    <a:pt x="7" y="61"/>
                    <a:pt x="0" y="69"/>
                    <a:pt x="0" y="7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2" y="90"/>
                    <a:pt x="20" y="95"/>
                    <a:pt x="20" y="101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131" y="109"/>
                    <a:pt x="131" y="109"/>
                    <a:pt x="131" y="109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90"/>
                    <a:pt x="123" y="80"/>
                    <a:pt x="113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17" name="Group 45316">
            <a:extLst>
              <a:ext uri="{FF2B5EF4-FFF2-40B4-BE49-F238E27FC236}">
                <a16:creationId xmlns:a16="http://schemas.microsoft.com/office/drawing/2014/main" id="{5103E7F2-0DFA-40C3-9397-027E178A8EE2}"/>
              </a:ext>
            </a:extLst>
          </p:cNvPr>
          <p:cNvGrpSpPr/>
          <p:nvPr/>
        </p:nvGrpSpPr>
        <p:grpSpPr>
          <a:xfrm>
            <a:off x="8123238" y="1622426"/>
            <a:ext cx="768351" cy="776288"/>
            <a:chOff x="8123238" y="1622426"/>
            <a:chExt cx="768351" cy="776288"/>
          </a:xfrm>
        </p:grpSpPr>
        <p:sp>
          <p:nvSpPr>
            <p:cNvPr id="45310" name="AutoShape 246">
              <a:extLst>
                <a:ext uri="{FF2B5EF4-FFF2-40B4-BE49-F238E27FC236}">
                  <a16:creationId xmlns:a16="http://schemas.microsoft.com/office/drawing/2014/main" id="{9E341ED5-F827-4FC6-9B89-824736BACA4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1627188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1" name="Freeform 248">
              <a:extLst>
                <a:ext uri="{FF2B5EF4-FFF2-40B4-BE49-F238E27FC236}">
                  <a16:creationId xmlns:a16="http://schemas.microsoft.com/office/drawing/2014/main" id="{8D097D9D-1920-427D-A0AE-78BB902F0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8001" y="1622426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2" name="Freeform 249">
              <a:extLst>
                <a:ext uri="{FF2B5EF4-FFF2-40B4-BE49-F238E27FC236}">
                  <a16:creationId xmlns:a16="http://schemas.microsoft.com/office/drawing/2014/main" id="{2D4BF5C9-28A8-4194-A21C-FDC2FDC56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0576" y="1806576"/>
              <a:ext cx="220663" cy="223838"/>
            </a:xfrm>
            <a:custGeom>
              <a:avLst/>
              <a:gdLst>
                <a:gd name="T0" fmla="*/ 18 w 139"/>
                <a:gd name="T1" fmla="*/ 71 h 141"/>
                <a:gd name="T2" fmla="*/ 67 w 139"/>
                <a:gd name="T3" fmla="*/ 71 h 141"/>
                <a:gd name="T4" fmla="*/ 67 w 139"/>
                <a:gd name="T5" fmla="*/ 121 h 141"/>
                <a:gd name="T6" fmla="*/ 47 w 139"/>
                <a:gd name="T7" fmla="*/ 121 h 141"/>
                <a:gd name="T8" fmla="*/ 47 w 139"/>
                <a:gd name="T9" fmla="*/ 91 h 141"/>
                <a:gd name="T10" fmla="*/ 18 w 139"/>
                <a:gd name="T11" fmla="*/ 91 h 141"/>
                <a:gd name="T12" fmla="*/ 18 w 139"/>
                <a:gd name="T13" fmla="*/ 71 h 141"/>
                <a:gd name="T14" fmla="*/ 18 w 139"/>
                <a:gd name="T15" fmla="*/ 48 h 141"/>
                <a:gd name="T16" fmla="*/ 47 w 139"/>
                <a:gd name="T17" fmla="*/ 48 h 141"/>
                <a:gd name="T18" fmla="*/ 47 w 139"/>
                <a:gd name="T19" fmla="*/ 18 h 141"/>
                <a:gd name="T20" fmla="*/ 67 w 139"/>
                <a:gd name="T21" fmla="*/ 18 h 141"/>
                <a:gd name="T22" fmla="*/ 67 w 139"/>
                <a:gd name="T23" fmla="*/ 68 h 141"/>
                <a:gd name="T24" fmla="*/ 18 w 139"/>
                <a:gd name="T25" fmla="*/ 68 h 141"/>
                <a:gd name="T26" fmla="*/ 18 w 139"/>
                <a:gd name="T27" fmla="*/ 48 h 141"/>
                <a:gd name="T28" fmla="*/ 72 w 139"/>
                <a:gd name="T29" fmla="*/ 18 h 141"/>
                <a:gd name="T30" fmla="*/ 90 w 139"/>
                <a:gd name="T31" fmla="*/ 18 h 141"/>
                <a:gd name="T32" fmla="*/ 90 w 139"/>
                <a:gd name="T33" fmla="*/ 48 h 141"/>
                <a:gd name="T34" fmla="*/ 122 w 139"/>
                <a:gd name="T35" fmla="*/ 48 h 141"/>
                <a:gd name="T36" fmla="*/ 122 w 139"/>
                <a:gd name="T37" fmla="*/ 68 h 141"/>
                <a:gd name="T38" fmla="*/ 72 w 139"/>
                <a:gd name="T39" fmla="*/ 68 h 141"/>
                <a:gd name="T40" fmla="*/ 72 w 139"/>
                <a:gd name="T41" fmla="*/ 18 h 141"/>
                <a:gd name="T42" fmla="*/ 122 w 139"/>
                <a:gd name="T43" fmla="*/ 91 h 141"/>
                <a:gd name="T44" fmla="*/ 90 w 139"/>
                <a:gd name="T45" fmla="*/ 91 h 141"/>
                <a:gd name="T46" fmla="*/ 90 w 139"/>
                <a:gd name="T47" fmla="*/ 124 h 141"/>
                <a:gd name="T48" fmla="*/ 72 w 139"/>
                <a:gd name="T49" fmla="*/ 124 h 141"/>
                <a:gd name="T50" fmla="*/ 72 w 139"/>
                <a:gd name="T51" fmla="*/ 71 h 141"/>
                <a:gd name="T52" fmla="*/ 122 w 139"/>
                <a:gd name="T53" fmla="*/ 71 h 141"/>
                <a:gd name="T54" fmla="*/ 122 w 139"/>
                <a:gd name="T55" fmla="*/ 91 h 141"/>
                <a:gd name="T56" fmla="*/ 15 w 139"/>
                <a:gd name="T57" fmla="*/ 96 h 141"/>
                <a:gd name="T58" fmla="*/ 45 w 139"/>
                <a:gd name="T59" fmla="*/ 96 h 141"/>
                <a:gd name="T60" fmla="*/ 45 w 139"/>
                <a:gd name="T61" fmla="*/ 126 h 141"/>
                <a:gd name="T62" fmla="*/ 67 w 139"/>
                <a:gd name="T63" fmla="*/ 126 h 141"/>
                <a:gd name="T64" fmla="*/ 67 w 139"/>
                <a:gd name="T65" fmla="*/ 141 h 141"/>
                <a:gd name="T66" fmla="*/ 72 w 139"/>
                <a:gd name="T67" fmla="*/ 141 h 141"/>
                <a:gd name="T68" fmla="*/ 72 w 139"/>
                <a:gd name="T69" fmla="*/ 126 h 141"/>
                <a:gd name="T70" fmla="*/ 95 w 139"/>
                <a:gd name="T71" fmla="*/ 126 h 141"/>
                <a:gd name="T72" fmla="*/ 95 w 139"/>
                <a:gd name="T73" fmla="*/ 96 h 141"/>
                <a:gd name="T74" fmla="*/ 124 w 139"/>
                <a:gd name="T75" fmla="*/ 96 h 141"/>
                <a:gd name="T76" fmla="*/ 124 w 139"/>
                <a:gd name="T77" fmla="*/ 71 h 141"/>
                <a:gd name="T78" fmla="*/ 139 w 139"/>
                <a:gd name="T79" fmla="*/ 71 h 141"/>
                <a:gd name="T80" fmla="*/ 139 w 139"/>
                <a:gd name="T81" fmla="*/ 68 h 141"/>
                <a:gd name="T82" fmla="*/ 124 w 139"/>
                <a:gd name="T83" fmla="*/ 68 h 141"/>
                <a:gd name="T84" fmla="*/ 124 w 139"/>
                <a:gd name="T85" fmla="*/ 46 h 141"/>
                <a:gd name="T86" fmla="*/ 95 w 139"/>
                <a:gd name="T87" fmla="*/ 46 h 141"/>
                <a:gd name="T88" fmla="*/ 95 w 139"/>
                <a:gd name="T89" fmla="*/ 15 h 141"/>
                <a:gd name="T90" fmla="*/ 72 w 139"/>
                <a:gd name="T91" fmla="*/ 15 h 141"/>
                <a:gd name="T92" fmla="*/ 72 w 139"/>
                <a:gd name="T93" fmla="*/ 0 h 141"/>
                <a:gd name="T94" fmla="*/ 67 w 139"/>
                <a:gd name="T95" fmla="*/ 0 h 141"/>
                <a:gd name="T96" fmla="*/ 67 w 139"/>
                <a:gd name="T97" fmla="*/ 13 h 141"/>
                <a:gd name="T98" fmla="*/ 45 w 139"/>
                <a:gd name="T99" fmla="*/ 13 h 141"/>
                <a:gd name="T100" fmla="*/ 45 w 139"/>
                <a:gd name="T101" fmla="*/ 46 h 141"/>
                <a:gd name="T102" fmla="*/ 15 w 139"/>
                <a:gd name="T103" fmla="*/ 46 h 141"/>
                <a:gd name="T104" fmla="*/ 15 w 139"/>
                <a:gd name="T105" fmla="*/ 68 h 141"/>
                <a:gd name="T106" fmla="*/ 0 w 139"/>
                <a:gd name="T107" fmla="*/ 68 h 141"/>
                <a:gd name="T108" fmla="*/ 0 w 139"/>
                <a:gd name="T109" fmla="*/ 71 h 141"/>
                <a:gd name="T110" fmla="*/ 15 w 139"/>
                <a:gd name="T111" fmla="*/ 71 h 141"/>
                <a:gd name="T112" fmla="*/ 15 w 139"/>
                <a:gd name="T113" fmla="*/ 9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9" h="141">
                  <a:moveTo>
                    <a:pt x="18" y="71"/>
                  </a:moveTo>
                  <a:lnTo>
                    <a:pt x="67" y="71"/>
                  </a:lnTo>
                  <a:lnTo>
                    <a:pt x="67" y="121"/>
                  </a:lnTo>
                  <a:lnTo>
                    <a:pt x="47" y="121"/>
                  </a:lnTo>
                  <a:lnTo>
                    <a:pt x="47" y="91"/>
                  </a:lnTo>
                  <a:lnTo>
                    <a:pt x="18" y="91"/>
                  </a:lnTo>
                  <a:lnTo>
                    <a:pt x="18" y="71"/>
                  </a:lnTo>
                  <a:close/>
                  <a:moveTo>
                    <a:pt x="18" y="48"/>
                  </a:moveTo>
                  <a:lnTo>
                    <a:pt x="47" y="48"/>
                  </a:lnTo>
                  <a:lnTo>
                    <a:pt x="47" y="18"/>
                  </a:lnTo>
                  <a:lnTo>
                    <a:pt x="67" y="18"/>
                  </a:lnTo>
                  <a:lnTo>
                    <a:pt x="67" y="68"/>
                  </a:lnTo>
                  <a:lnTo>
                    <a:pt x="18" y="68"/>
                  </a:lnTo>
                  <a:lnTo>
                    <a:pt x="18" y="48"/>
                  </a:lnTo>
                  <a:close/>
                  <a:moveTo>
                    <a:pt x="72" y="18"/>
                  </a:moveTo>
                  <a:lnTo>
                    <a:pt x="90" y="18"/>
                  </a:lnTo>
                  <a:lnTo>
                    <a:pt x="90" y="48"/>
                  </a:lnTo>
                  <a:lnTo>
                    <a:pt x="122" y="48"/>
                  </a:lnTo>
                  <a:lnTo>
                    <a:pt x="122" y="68"/>
                  </a:lnTo>
                  <a:lnTo>
                    <a:pt x="72" y="68"/>
                  </a:lnTo>
                  <a:lnTo>
                    <a:pt x="72" y="18"/>
                  </a:lnTo>
                  <a:close/>
                  <a:moveTo>
                    <a:pt x="122" y="91"/>
                  </a:moveTo>
                  <a:lnTo>
                    <a:pt x="90" y="91"/>
                  </a:lnTo>
                  <a:lnTo>
                    <a:pt x="90" y="124"/>
                  </a:lnTo>
                  <a:lnTo>
                    <a:pt x="72" y="124"/>
                  </a:lnTo>
                  <a:lnTo>
                    <a:pt x="72" y="71"/>
                  </a:lnTo>
                  <a:lnTo>
                    <a:pt x="122" y="71"/>
                  </a:lnTo>
                  <a:lnTo>
                    <a:pt x="122" y="91"/>
                  </a:lnTo>
                  <a:close/>
                  <a:moveTo>
                    <a:pt x="15" y="96"/>
                  </a:moveTo>
                  <a:lnTo>
                    <a:pt x="45" y="96"/>
                  </a:lnTo>
                  <a:lnTo>
                    <a:pt x="45" y="126"/>
                  </a:lnTo>
                  <a:lnTo>
                    <a:pt x="67" y="126"/>
                  </a:lnTo>
                  <a:lnTo>
                    <a:pt x="67" y="141"/>
                  </a:lnTo>
                  <a:lnTo>
                    <a:pt x="72" y="141"/>
                  </a:lnTo>
                  <a:lnTo>
                    <a:pt x="72" y="126"/>
                  </a:lnTo>
                  <a:lnTo>
                    <a:pt x="95" y="126"/>
                  </a:lnTo>
                  <a:lnTo>
                    <a:pt x="95" y="96"/>
                  </a:lnTo>
                  <a:lnTo>
                    <a:pt x="124" y="96"/>
                  </a:lnTo>
                  <a:lnTo>
                    <a:pt x="124" y="71"/>
                  </a:lnTo>
                  <a:lnTo>
                    <a:pt x="139" y="71"/>
                  </a:lnTo>
                  <a:lnTo>
                    <a:pt x="139" y="68"/>
                  </a:lnTo>
                  <a:lnTo>
                    <a:pt x="124" y="68"/>
                  </a:lnTo>
                  <a:lnTo>
                    <a:pt x="124" y="46"/>
                  </a:lnTo>
                  <a:lnTo>
                    <a:pt x="95" y="46"/>
                  </a:lnTo>
                  <a:lnTo>
                    <a:pt x="95" y="15"/>
                  </a:lnTo>
                  <a:lnTo>
                    <a:pt x="72" y="15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13"/>
                  </a:lnTo>
                  <a:lnTo>
                    <a:pt x="45" y="13"/>
                  </a:lnTo>
                  <a:lnTo>
                    <a:pt x="45" y="46"/>
                  </a:lnTo>
                  <a:lnTo>
                    <a:pt x="15" y="46"/>
                  </a:lnTo>
                  <a:lnTo>
                    <a:pt x="15" y="68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15" y="71"/>
                  </a:lnTo>
                  <a:lnTo>
                    <a:pt x="15" y="9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3" name="Freeform 250">
              <a:extLst>
                <a:ext uri="{FF2B5EF4-FFF2-40B4-BE49-F238E27FC236}">
                  <a16:creationId xmlns:a16="http://schemas.microsoft.com/office/drawing/2014/main" id="{824322A0-8E33-4EA1-94AF-7F49ED1E5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563" y="1835151"/>
              <a:ext cx="39688" cy="39688"/>
            </a:xfrm>
            <a:custGeom>
              <a:avLst/>
              <a:gdLst>
                <a:gd name="T0" fmla="*/ 3 w 10"/>
                <a:gd name="T1" fmla="*/ 3 h 10"/>
                <a:gd name="T2" fmla="*/ 5 w 10"/>
                <a:gd name="T3" fmla="*/ 5 h 10"/>
                <a:gd name="T4" fmla="*/ 7 w 10"/>
                <a:gd name="T5" fmla="*/ 7 h 10"/>
                <a:gd name="T6" fmla="*/ 5 w 10"/>
                <a:gd name="T7" fmla="*/ 8 h 10"/>
                <a:gd name="T8" fmla="*/ 3 w 10"/>
                <a:gd name="T9" fmla="*/ 7 h 10"/>
                <a:gd name="T10" fmla="*/ 2 w 10"/>
                <a:gd name="T11" fmla="*/ 5 h 10"/>
                <a:gd name="T12" fmla="*/ 3 w 10"/>
                <a:gd name="T13" fmla="*/ 3 h 10"/>
                <a:gd name="T14" fmla="*/ 4 w 10"/>
                <a:gd name="T15" fmla="*/ 10 h 10"/>
                <a:gd name="T16" fmla="*/ 5 w 10"/>
                <a:gd name="T17" fmla="*/ 10 h 10"/>
                <a:gd name="T18" fmla="*/ 8 w 10"/>
                <a:gd name="T19" fmla="*/ 8 h 10"/>
                <a:gd name="T20" fmla="*/ 9 w 10"/>
                <a:gd name="T21" fmla="*/ 9 h 10"/>
                <a:gd name="T22" fmla="*/ 10 w 10"/>
                <a:gd name="T23" fmla="*/ 9 h 10"/>
                <a:gd name="T24" fmla="*/ 10 w 10"/>
                <a:gd name="T25" fmla="*/ 6 h 10"/>
                <a:gd name="T26" fmla="*/ 7 w 10"/>
                <a:gd name="T27" fmla="*/ 3 h 10"/>
                <a:gd name="T28" fmla="*/ 2 w 10"/>
                <a:gd name="T29" fmla="*/ 0 h 10"/>
                <a:gd name="T30" fmla="*/ 1 w 10"/>
                <a:gd name="T31" fmla="*/ 0 h 10"/>
                <a:gd name="T32" fmla="*/ 1 w 10"/>
                <a:gd name="T33" fmla="*/ 1 h 10"/>
                <a:gd name="T34" fmla="*/ 2 w 10"/>
                <a:gd name="T35" fmla="*/ 2 h 10"/>
                <a:gd name="T36" fmla="*/ 1 w 10"/>
                <a:gd name="T37" fmla="*/ 5 h 10"/>
                <a:gd name="T38" fmla="*/ 2 w 10"/>
                <a:gd name="T39" fmla="*/ 8 h 10"/>
                <a:gd name="T40" fmla="*/ 4 w 10"/>
                <a:gd name="T4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10">
                  <a:moveTo>
                    <a:pt x="3" y="3"/>
                  </a:moveTo>
                  <a:cubicBezTo>
                    <a:pt x="4" y="4"/>
                    <a:pt x="4" y="4"/>
                    <a:pt x="5" y="5"/>
                  </a:cubicBezTo>
                  <a:cubicBezTo>
                    <a:pt x="6" y="6"/>
                    <a:pt x="6" y="6"/>
                    <a:pt x="7" y="7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4" y="8"/>
                    <a:pt x="3" y="8"/>
                    <a:pt x="3" y="7"/>
                  </a:cubicBezTo>
                  <a:cubicBezTo>
                    <a:pt x="2" y="7"/>
                    <a:pt x="2" y="6"/>
                    <a:pt x="2" y="5"/>
                  </a:cubicBezTo>
                  <a:cubicBezTo>
                    <a:pt x="2" y="5"/>
                    <a:pt x="2" y="4"/>
                    <a:pt x="3" y="3"/>
                  </a:cubicBezTo>
                  <a:moveTo>
                    <a:pt x="4" y="10"/>
                  </a:moveTo>
                  <a:cubicBezTo>
                    <a:pt x="4" y="10"/>
                    <a:pt x="5" y="10"/>
                    <a:pt x="5" y="10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0" y="8"/>
                    <a:pt x="10" y="8"/>
                    <a:pt x="10" y="6"/>
                  </a:cubicBezTo>
                  <a:cubicBezTo>
                    <a:pt x="9" y="5"/>
                    <a:pt x="8" y="4"/>
                    <a:pt x="7" y="3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2" y="9"/>
                    <a:pt x="3" y="10"/>
                    <a:pt x="4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4" name="Freeform 251">
              <a:extLst>
                <a:ext uri="{FF2B5EF4-FFF2-40B4-BE49-F238E27FC236}">
                  <a16:creationId xmlns:a16="http://schemas.microsoft.com/office/drawing/2014/main" id="{E98B361E-AA10-486E-963F-91F640251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4563" y="1963738"/>
              <a:ext cx="42863" cy="39688"/>
            </a:xfrm>
            <a:custGeom>
              <a:avLst/>
              <a:gdLst>
                <a:gd name="T0" fmla="*/ 5 w 11"/>
                <a:gd name="T1" fmla="*/ 5 h 10"/>
                <a:gd name="T2" fmla="*/ 3 w 11"/>
                <a:gd name="T3" fmla="*/ 7 h 10"/>
                <a:gd name="T4" fmla="*/ 2 w 11"/>
                <a:gd name="T5" fmla="*/ 3 h 10"/>
                <a:gd name="T6" fmla="*/ 6 w 11"/>
                <a:gd name="T7" fmla="*/ 3 h 10"/>
                <a:gd name="T8" fmla="*/ 5 w 11"/>
                <a:gd name="T9" fmla="*/ 5 h 10"/>
                <a:gd name="T10" fmla="*/ 9 w 11"/>
                <a:gd name="T11" fmla="*/ 1 h 10"/>
                <a:gd name="T12" fmla="*/ 7 w 11"/>
                <a:gd name="T13" fmla="*/ 2 h 10"/>
                <a:gd name="T14" fmla="*/ 1 w 11"/>
                <a:gd name="T15" fmla="*/ 2 h 10"/>
                <a:gd name="T16" fmla="*/ 2 w 11"/>
                <a:gd name="T17" fmla="*/ 8 h 10"/>
                <a:gd name="T18" fmla="*/ 1 w 11"/>
                <a:gd name="T19" fmla="*/ 9 h 10"/>
                <a:gd name="T20" fmla="*/ 1 w 11"/>
                <a:gd name="T21" fmla="*/ 10 h 10"/>
                <a:gd name="T22" fmla="*/ 2 w 11"/>
                <a:gd name="T23" fmla="*/ 10 h 10"/>
                <a:gd name="T24" fmla="*/ 7 w 11"/>
                <a:gd name="T25" fmla="*/ 7 h 10"/>
                <a:gd name="T26" fmla="*/ 10 w 11"/>
                <a:gd name="T27" fmla="*/ 1 h 10"/>
                <a:gd name="T28" fmla="*/ 9 w 11"/>
                <a:gd name="T2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0">
                  <a:moveTo>
                    <a:pt x="5" y="5"/>
                  </a:moveTo>
                  <a:cubicBezTo>
                    <a:pt x="4" y="6"/>
                    <a:pt x="3" y="6"/>
                    <a:pt x="3" y="7"/>
                  </a:cubicBezTo>
                  <a:cubicBezTo>
                    <a:pt x="1" y="5"/>
                    <a:pt x="1" y="4"/>
                    <a:pt x="2" y="3"/>
                  </a:cubicBezTo>
                  <a:cubicBezTo>
                    <a:pt x="3" y="2"/>
                    <a:pt x="5" y="2"/>
                    <a:pt x="6" y="3"/>
                  </a:cubicBezTo>
                  <a:cubicBezTo>
                    <a:pt x="6" y="4"/>
                    <a:pt x="5" y="4"/>
                    <a:pt x="5" y="5"/>
                  </a:cubicBezTo>
                  <a:moveTo>
                    <a:pt x="9" y="1"/>
                  </a:moveTo>
                  <a:cubicBezTo>
                    <a:pt x="8" y="1"/>
                    <a:pt x="8" y="1"/>
                    <a:pt x="7" y="2"/>
                  </a:cubicBezTo>
                  <a:cubicBezTo>
                    <a:pt x="6" y="0"/>
                    <a:pt x="3" y="0"/>
                    <a:pt x="1" y="2"/>
                  </a:cubicBezTo>
                  <a:cubicBezTo>
                    <a:pt x="0" y="3"/>
                    <a:pt x="0" y="6"/>
                    <a:pt x="2" y="8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0"/>
                    <a:pt x="2" y="10"/>
                  </a:cubicBezTo>
                  <a:cubicBezTo>
                    <a:pt x="3" y="10"/>
                    <a:pt x="5" y="9"/>
                    <a:pt x="7" y="7"/>
                  </a:cubicBezTo>
                  <a:cubicBezTo>
                    <a:pt x="9" y="6"/>
                    <a:pt x="11" y="2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5" name="Freeform 252">
              <a:extLst>
                <a:ext uri="{FF2B5EF4-FFF2-40B4-BE49-F238E27FC236}">
                  <a16:creationId xmlns:a16="http://schemas.microsoft.com/office/drawing/2014/main" id="{9700FEAF-5EFA-48B5-BB66-C2F110150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4388" y="1835151"/>
              <a:ext cx="42863" cy="36513"/>
            </a:xfrm>
            <a:custGeom>
              <a:avLst/>
              <a:gdLst>
                <a:gd name="T0" fmla="*/ 6 w 11"/>
                <a:gd name="T1" fmla="*/ 5 h 9"/>
                <a:gd name="T2" fmla="*/ 8 w 11"/>
                <a:gd name="T3" fmla="*/ 3 h 9"/>
                <a:gd name="T4" fmla="*/ 8 w 11"/>
                <a:gd name="T5" fmla="*/ 7 h 9"/>
                <a:gd name="T6" fmla="*/ 6 w 11"/>
                <a:gd name="T7" fmla="*/ 8 h 9"/>
                <a:gd name="T8" fmla="*/ 4 w 11"/>
                <a:gd name="T9" fmla="*/ 7 h 9"/>
                <a:gd name="T10" fmla="*/ 6 w 11"/>
                <a:gd name="T11" fmla="*/ 5 h 9"/>
                <a:gd name="T12" fmla="*/ 2 w 11"/>
                <a:gd name="T13" fmla="*/ 9 h 9"/>
                <a:gd name="T14" fmla="*/ 3 w 11"/>
                <a:gd name="T15" fmla="*/ 8 h 9"/>
                <a:gd name="T16" fmla="*/ 6 w 11"/>
                <a:gd name="T17" fmla="*/ 9 h 9"/>
                <a:gd name="T18" fmla="*/ 9 w 11"/>
                <a:gd name="T19" fmla="*/ 8 h 9"/>
                <a:gd name="T20" fmla="*/ 9 w 11"/>
                <a:gd name="T21" fmla="*/ 2 h 9"/>
                <a:gd name="T22" fmla="*/ 10 w 11"/>
                <a:gd name="T23" fmla="*/ 1 h 9"/>
                <a:gd name="T24" fmla="*/ 10 w 11"/>
                <a:gd name="T25" fmla="*/ 0 h 9"/>
                <a:gd name="T26" fmla="*/ 9 w 11"/>
                <a:gd name="T27" fmla="*/ 0 h 9"/>
                <a:gd name="T28" fmla="*/ 4 w 11"/>
                <a:gd name="T29" fmla="*/ 3 h 9"/>
                <a:gd name="T30" fmla="*/ 1 w 11"/>
                <a:gd name="T31" fmla="*/ 9 h 9"/>
                <a:gd name="T32" fmla="*/ 2 w 11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9">
                  <a:moveTo>
                    <a:pt x="6" y="5"/>
                  </a:moveTo>
                  <a:cubicBezTo>
                    <a:pt x="7" y="4"/>
                    <a:pt x="7" y="4"/>
                    <a:pt x="8" y="3"/>
                  </a:cubicBezTo>
                  <a:cubicBezTo>
                    <a:pt x="9" y="4"/>
                    <a:pt x="9" y="6"/>
                    <a:pt x="8" y="7"/>
                  </a:cubicBezTo>
                  <a:cubicBezTo>
                    <a:pt x="8" y="8"/>
                    <a:pt x="7" y="8"/>
                    <a:pt x="6" y="8"/>
                  </a:cubicBezTo>
                  <a:cubicBezTo>
                    <a:pt x="5" y="8"/>
                    <a:pt x="5" y="7"/>
                    <a:pt x="4" y="7"/>
                  </a:cubicBezTo>
                  <a:cubicBezTo>
                    <a:pt x="5" y="6"/>
                    <a:pt x="5" y="6"/>
                    <a:pt x="6" y="5"/>
                  </a:cubicBezTo>
                  <a:moveTo>
                    <a:pt x="2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8" y="9"/>
                    <a:pt x="8" y="9"/>
                    <a:pt x="9" y="8"/>
                  </a:cubicBezTo>
                  <a:cubicBezTo>
                    <a:pt x="11" y="7"/>
                    <a:pt x="11" y="4"/>
                    <a:pt x="9" y="2"/>
                  </a:cubicBezTo>
                  <a:cubicBezTo>
                    <a:pt x="10" y="2"/>
                    <a:pt x="10" y="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7" y="0"/>
                    <a:pt x="5" y="1"/>
                    <a:pt x="4" y="3"/>
                  </a:cubicBezTo>
                  <a:cubicBezTo>
                    <a:pt x="2" y="4"/>
                    <a:pt x="0" y="7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6" name="Freeform 253">
              <a:extLst>
                <a:ext uri="{FF2B5EF4-FFF2-40B4-BE49-F238E27FC236}">
                  <a16:creationId xmlns:a16="http://schemas.microsoft.com/office/drawing/2014/main" id="{F800E7F1-8361-40B8-88EF-B9DFF5EB4A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7538" y="1787526"/>
              <a:ext cx="515938" cy="434975"/>
            </a:xfrm>
            <a:custGeom>
              <a:avLst/>
              <a:gdLst>
                <a:gd name="T0" fmla="*/ 77 w 131"/>
                <a:gd name="T1" fmla="*/ 105 h 109"/>
                <a:gd name="T2" fmla="*/ 93 w 131"/>
                <a:gd name="T3" fmla="*/ 83 h 109"/>
                <a:gd name="T4" fmla="*/ 127 w 131"/>
                <a:gd name="T5" fmla="*/ 101 h 109"/>
                <a:gd name="T6" fmla="*/ 75 w 131"/>
                <a:gd name="T7" fmla="*/ 92 h 109"/>
                <a:gd name="T8" fmla="*/ 65 w 131"/>
                <a:gd name="T9" fmla="*/ 69 h 109"/>
                <a:gd name="T10" fmla="*/ 92 w 131"/>
                <a:gd name="T11" fmla="*/ 79 h 109"/>
                <a:gd name="T12" fmla="*/ 74 w 131"/>
                <a:gd name="T13" fmla="*/ 105 h 109"/>
                <a:gd name="T14" fmla="*/ 24 w 131"/>
                <a:gd name="T15" fmla="*/ 101 h 109"/>
                <a:gd name="T16" fmla="*/ 32 w 131"/>
                <a:gd name="T17" fmla="*/ 85 h 109"/>
                <a:gd name="T18" fmla="*/ 57 w 131"/>
                <a:gd name="T19" fmla="*/ 83 h 109"/>
                <a:gd name="T20" fmla="*/ 74 w 131"/>
                <a:gd name="T21" fmla="*/ 105 h 109"/>
                <a:gd name="T22" fmla="*/ 4 w 131"/>
                <a:gd name="T23" fmla="*/ 79 h 109"/>
                <a:gd name="T24" fmla="*/ 32 w 131"/>
                <a:gd name="T25" fmla="*/ 63 h 109"/>
                <a:gd name="T26" fmla="*/ 38 w 131"/>
                <a:gd name="T27" fmla="*/ 79 h 109"/>
                <a:gd name="T28" fmla="*/ 4 w 131"/>
                <a:gd name="T29" fmla="*/ 82 h 109"/>
                <a:gd name="T30" fmla="*/ 26 w 131"/>
                <a:gd name="T31" fmla="*/ 36 h 109"/>
                <a:gd name="T32" fmla="*/ 26 w 131"/>
                <a:gd name="T33" fmla="*/ 59 h 109"/>
                <a:gd name="T34" fmla="*/ 62 w 131"/>
                <a:gd name="T35" fmla="*/ 66 h 109"/>
                <a:gd name="T36" fmla="*/ 35 w 131"/>
                <a:gd name="T37" fmla="*/ 66 h 109"/>
                <a:gd name="T38" fmla="*/ 62 w 131"/>
                <a:gd name="T39" fmla="*/ 66 h 109"/>
                <a:gd name="T40" fmla="*/ 58 w 131"/>
                <a:gd name="T41" fmla="*/ 46 h 109"/>
                <a:gd name="T42" fmla="*/ 56 w 131"/>
                <a:gd name="T43" fmla="*/ 49 h 109"/>
                <a:gd name="T44" fmla="*/ 23 w 131"/>
                <a:gd name="T45" fmla="*/ 4 h 109"/>
                <a:gd name="T46" fmla="*/ 123 w 131"/>
                <a:gd name="T47" fmla="*/ 65 h 109"/>
                <a:gd name="T48" fmla="*/ 102 w 131"/>
                <a:gd name="T49" fmla="*/ 49 h 109"/>
                <a:gd name="T50" fmla="*/ 66 w 131"/>
                <a:gd name="T51" fmla="*/ 65 h 109"/>
                <a:gd name="T52" fmla="*/ 60 w 131"/>
                <a:gd name="T53" fmla="*/ 53 h 109"/>
                <a:gd name="T54" fmla="*/ 59 w 131"/>
                <a:gd name="T55" fmla="*/ 45 h 109"/>
                <a:gd name="T56" fmla="*/ 52 w 131"/>
                <a:gd name="T57" fmla="*/ 45 h 109"/>
                <a:gd name="T58" fmla="*/ 52 w 131"/>
                <a:gd name="T59" fmla="*/ 49 h 109"/>
                <a:gd name="T60" fmla="*/ 41 w 131"/>
                <a:gd name="T61" fmla="*/ 50 h 109"/>
                <a:gd name="T62" fmla="*/ 26 w 131"/>
                <a:gd name="T63" fmla="*/ 32 h 109"/>
                <a:gd name="T64" fmla="*/ 23 w 131"/>
                <a:gd name="T65" fmla="*/ 4 h 109"/>
                <a:gd name="T66" fmla="*/ 89 w 131"/>
                <a:gd name="T67" fmla="*/ 66 h 109"/>
                <a:gd name="T68" fmla="*/ 116 w 131"/>
                <a:gd name="T69" fmla="*/ 66 h 109"/>
                <a:gd name="T70" fmla="*/ 113 w 131"/>
                <a:gd name="T71" fmla="*/ 79 h 109"/>
                <a:gd name="T72" fmla="*/ 126 w 131"/>
                <a:gd name="T73" fmla="*/ 69 h 109"/>
                <a:gd name="T74" fmla="*/ 19 w 131"/>
                <a:gd name="T75" fmla="*/ 0 h 109"/>
                <a:gd name="T76" fmla="*/ 11 w 131"/>
                <a:gd name="T77" fmla="*/ 48 h 109"/>
                <a:gd name="T78" fmla="*/ 0 w 131"/>
                <a:gd name="T79" fmla="*/ 79 h 109"/>
                <a:gd name="T80" fmla="*/ 25 w 131"/>
                <a:gd name="T81" fmla="*/ 86 h 109"/>
                <a:gd name="T82" fmla="*/ 20 w 131"/>
                <a:gd name="T83" fmla="*/ 109 h 109"/>
                <a:gd name="T84" fmla="*/ 77 w 131"/>
                <a:gd name="T85" fmla="*/ 109 h 109"/>
                <a:gd name="T86" fmla="*/ 131 w 131"/>
                <a:gd name="T87" fmla="*/ 10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1" h="109">
                  <a:moveTo>
                    <a:pt x="127" y="105"/>
                  </a:moveTo>
                  <a:cubicBezTo>
                    <a:pt x="77" y="105"/>
                    <a:pt x="77" y="105"/>
                    <a:pt x="77" y="105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91"/>
                    <a:pt x="85" y="83"/>
                    <a:pt x="93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20" y="83"/>
                    <a:pt x="127" y="91"/>
                    <a:pt x="127" y="101"/>
                  </a:cubicBezTo>
                  <a:lnTo>
                    <a:pt x="127" y="105"/>
                  </a:lnTo>
                  <a:close/>
                  <a:moveTo>
                    <a:pt x="75" y="92"/>
                  </a:moveTo>
                  <a:cubicBezTo>
                    <a:pt x="72" y="85"/>
                    <a:pt x="66" y="80"/>
                    <a:pt x="59" y="79"/>
                  </a:cubicBezTo>
                  <a:cubicBezTo>
                    <a:pt x="62" y="77"/>
                    <a:pt x="65" y="73"/>
                    <a:pt x="65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73"/>
                    <a:pt x="89" y="77"/>
                    <a:pt x="92" y="79"/>
                  </a:cubicBezTo>
                  <a:cubicBezTo>
                    <a:pt x="85" y="80"/>
                    <a:pt x="78" y="85"/>
                    <a:pt x="75" y="92"/>
                  </a:cubicBezTo>
                  <a:moveTo>
                    <a:pt x="74" y="105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96"/>
                    <a:pt x="25" y="92"/>
                    <a:pt x="28" y="88"/>
                  </a:cubicBezTo>
                  <a:cubicBezTo>
                    <a:pt x="29" y="87"/>
                    <a:pt x="31" y="86"/>
                    <a:pt x="32" y="85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66" y="83"/>
                    <a:pt x="74" y="91"/>
                    <a:pt x="74" y="101"/>
                  </a:cubicBezTo>
                  <a:lnTo>
                    <a:pt x="74" y="105"/>
                  </a:lnTo>
                  <a:close/>
                  <a:moveTo>
                    <a:pt x="4" y="82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4" y="70"/>
                    <a:pt x="10" y="63"/>
                    <a:pt x="18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4"/>
                    <a:pt x="32" y="65"/>
                    <a:pt x="32" y="66"/>
                  </a:cubicBezTo>
                  <a:cubicBezTo>
                    <a:pt x="32" y="71"/>
                    <a:pt x="34" y="76"/>
                    <a:pt x="38" y="79"/>
                  </a:cubicBezTo>
                  <a:cubicBezTo>
                    <a:pt x="35" y="80"/>
                    <a:pt x="32" y="81"/>
                    <a:pt x="30" y="82"/>
                  </a:cubicBezTo>
                  <a:lnTo>
                    <a:pt x="4" y="82"/>
                  </a:lnTo>
                  <a:close/>
                  <a:moveTo>
                    <a:pt x="14" y="48"/>
                  </a:moveTo>
                  <a:cubicBezTo>
                    <a:pt x="14" y="41"/>
                    <a:pt x="20" y="36"/>
                    <a:pt x="26" y="36"/>
                  </a:cubicBezTo>
                  <a:cubicBezTo>
                    <a:pt x="32" y="36"/>
                    <a:pt x="38" y="41"/>
                    <a:pt x="38" y="48"/>
                  </a:cubicBezTo>
                  <a:cubicBezTo>
                    <a:pt x="38" y="54"/>
                    <a:pt x="32" y="59"/>
                    <a:pt x="26" y="59"/>
                  </a:cubicBezTo>
                  <a:cubicBezTo>
                    <a:pt x="20" y="59"/>
                    <a:pt x="14" y="54"/>
                    <a:pt x="14" y="48"/>
                  </a:cubicBezTo>
                  <a:moveTo>
                    <a:pt x="62" y="66"/>
                  </a:moveTo>
                  <a:cubicBezTo>
                    <a:pt x="62" y="73"/>
                    <a:pt x="56" y="79"/>
                    <a:pt x="49" y="79"/>
                  </a:cubicBezTo>
                  <a:cubicBezTo>
                    <a:pt x="41" y="79"/>
                    <a:pt x="35" y="73"/>
                    <a:pt x="35" y="66"/>
                  </a:cubicBezTo>
                  <a:cubicBezTo>
                    <a:pt x="35" y="58"/>
                    <a:pt x="41" y="52"/>
                    <a:pt x="49" y="52"/>
                  </a:cubicBezTo>
                  <a:cubicBezTo>
                    <a:pt x="56" y="52"/>
                    <a:pt x="62" y="58"/>
                    <a:pt x="62" y="66"/>
                  </a:cubicBezTo>
                  <a:moveTo>
                    <a:pt x="54" y="47"/>
                  </a:moveTo>
                  <a:cubicBezTo>
                    <a:pt x="55" y="46"/>
                    <a:pt x="57" y="45"/>
                    <a:pt x="58" y="46"/>
                  </a:cubicBezTo>
                  <a:cubicBezTo>
                    <a:pt x="59" y="47"/>
                    <a:pt x="59" y="49"/>
                    <a:pt x="58" y="51"/>
                  </a:cubicBezTo>
                  <a:cubicBezTo>
                    <a:pt x="57" y="50"/>
                    <a:pt x="56" y="49"/>
                    <a:pt x="56" y="49"/>
                  </a:cubicBezTo>
                  <a:cubicBezTo>
                    <a:pt x="55" y="48"/>
                    <a:pt x="54" y="47"/>
                    <a:pt x="54" y="47"/>
                  </a:cubicBezTo>
                  <a:moveTo>
                    <a:pt x="23" y="4"/>
                  </a:moveTo>
                  <a:cubicBezTo>
                    <a:pt x="123" y="4"/>
                    <a:pt x="123" y="4"/>
                    <a:pt x="123" y="4"/>
                  </a:cubicBezTo>
                  <a:cubicBezTo>
                    <a:pt x="123" y="65"/>
                    <a:pt x="123" y="65"/>
                    <a:pt x="123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56"/>
                    <a:pt x="111" y="49"/>
                    <a:pt x="102" y="49"/>
                  </a:cubicBezTo>
                  <a:cubicBezTo>
                    <a:pt x="93" y="49"/>
                    <a:pt x="86" y="56"/>
                    <a:pt x="8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5" y="60"/>
                    <a:pt x="63" y="56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60" y="52"/>
                    <a:pt x="59" y="52"/>
                    <a:pt x="59" y="51"/>
                  </a:cubicBezTo>
                  <a:cubicBezTo>
                    <a:pt x="60" y="50"/>
                    <a:pt x="60" y="47"/>
                    <a:pt x="59" y="45"/>
                  </a:cubicBezTo>
                  <a:cubicBezTo>
                    <a:pt x="57" y="44"/>
                    <a:pt x="55" y="44"/>
                    <a:pt x="53" y="46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6"/>
                    <a:pt x="51" y="48"/>
                    <a:pt x="52" y="49"/>
                  </a:cubicBezTo>
                  <a:cubicBezTo>
                    <a:pt x="51" y="49"/>
                    <a:pt x="50" y="49"/>
                    <a:pt x="49" y="49"/>
                  </a:cubicBezTo>
                  <a:cubicBezTo>
                    <a:pt x="46" y="49"/>
                    <a:pt x="43" y="49"/>
                    <a:pt x="41" y="50"/>
                  </a:cubicBezTo>
                  <a:cubicBezTo>
                    <a:pt x="41" y="50"/>
                    <a:pt x="41" y="49"/>
                    <a:pt x="41" y="48"/>
                  </a:cubicBezTo>
                  <a:cubicBezTo>
                    <a:pt x="41" y="39"/>
                    <a:pt x="34" y="32"/>
                    <a:pt x="26" y="32"/>
                  </a:cubicBezTo>
                  <a:cubicBezTo>
                    <a:pt x="25" y="32"/>
                    <a:pt x="24" y="32"/>
                    <a:pt x="23" y="32"/>
                  </a:cubicBezTo>
                  <a:lnTo>
                    <a:pt x="23" y="4"/>
                  </a:lnTo>
                  <a:close/>
                  <a:moveTo>
                    <a:pt x="102" y="79"/>
                  </a:moveTo>
                  <a:cubicBezTo>
                    <a:pt x="95" y="79"/>
                    <a:pt x="89" y="73"/>
                    <a:pt x="89" y="66"/>
                  </a:cubicBezTo>
                  <a:cubicBezTo>
                    <a:pt x="89" y="58"/>
                    <a:pt x="95" y="52"/>
                    <a:pt x="102" y="52"/>
                  </a:cubicBezTo>
                  <a:cubicBezTo>
                    <a:pt x="110" y="52"/>
                    <a:pt x="116" y="58"/>
                    <a:pt x="116" y="66"/>
                  </a:cubicBezTo>
                  <a:cubicBezTo>
                    <a:pt x="116" y="73"/>
                    <a:pt x="110" y="79"/>
                    <a:pt x="102" y="79"/>
                  </a:cubicBezTo>
                  <a:moveTo>
                    <a:pt x="113" y="79"/>
                  </a:moveTo>
                  <a:cubicBezTo>
                    <a:pt x="116" y="77"/>
                    <a:pt x="118" y="73"/>
                    <a:pt x="119" y="69"/>
                  </a:cubicBezTo>
                  <a:cubicBezTo>
                    <a:pt x="126" y="69"/>
                    <a:pt x="126" y="69"/>
                    <a:pt x="126" y="69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4" y="36"/>
                    <a:pt x="11" y="42"/>
                    <a:pt x="11" y="48"/>
                  </a:cubicBezTo>
                  <a:cubicBezTo>
                    <a:pt x="11" y="52"/>
                    <a:pt x="13" y="57"/>
                    <a:pt x="16" y="60"/>
                  </a:cubicBezTo>
                  <a:cubicBezTo>
                    <a:pt x="7" y="61"/>
                    <a:pt x="0" y="69"/>
                    <a:pt x="0" y="7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2" y="90"/>
                    <a:pt x="20" y="95"/>
                    <a:pt x="20" y="101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131" y="109"/>
                    <a:pt x="131" y="109"/>
                    <a:pt x="131" y="109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90"/>
                    <a:pt x="123" y="80"/>
                    <a:pt x="113" y="7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30" name="Group 45329">
            <a:extLst>
              <a:ext uri="{FF2B5EF4-FFF2-40B4-BE49-F238E27FC236}">
                <a16:creationId xmlns:a16="http://schemas.microsoft.com/office/drawing/2014/main" id="{A9B23B72-A864-4C86-8F09-659844B2C298}"/>
              </a:ext>
            </a:extLst>
          </p:cNvPr>
          <p:cNvGrpSpPr/>
          <p:nvPr/>
        </p:nvGrpSpPr>
        <p:grpSpPr>
          <a:xfrm>
            <a:off x="393700" y="2832100"/>
            <a:ext cx="844550" cy="841375"/>
            <a:chOff x="393700" y="2832100"/>
            <a:chExt cx="844550" cy="841375"/>
          </a:xfrm>
        </p:grpSpPr>
        <p:sp>
          <p:nvSpPr>
            <p:cNvPr id="45319" name="AutoShape 255">
              <a:extLst>
                <a:ext uri="{FF2B5EF4-FFF2-40B4-BE49-F238E27FC236}">
                  <a16:creationId xmlns:a16="http://schemas.microsoft.com/office/drawing/2014/main" id="{CFF3CB43-B5C1-48F6-86E6-29BD67E879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3700" y="283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0" name="Oval 257">
              <a:extLst>
                <a:ext uri="{FF2B5EF4-FFF2-40B4-BE49-F238E27FC236}">
                  <a16:creationId xmlns:a16="http://schemas.microsoft.com/office/drawing/2014/main" id="{25EB067D-E0E4-40DA-99A2-7B5487B4B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00" y="28352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1" name="Freeform 258">
              <a:extLst>
                <a:ext uri="{FF2B5EF4-FFF2-40B4-BE49-F238E27FC236}">
                  <a16:creationId xmlns:a16="http://schemas.microsoft.com/office/drawing/2014/main" id="{800960A5-44D7-43FD-BB54-5D8155D08B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275" y="28638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2" name="Freeform 259">
              <a:extLst>
                <a:ext uri="{FF2B5EF4-FFF2-40B4-BE49-F238E27FC236}">
                  <a16:creationId xmlns:a16="http://schemas.microsoft.com/office/drawing/2014/main" id="{5ADEBA9D-DEB1-450C-9F7E-124B32CCF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800" y="3124200"/>
              <a:ext cx="88900" cy="96838"/>
            </a:xfrm>
            <a:custGeom>
              <a:avLst/>
              <a:gdLst>
                <a:gd name="T0" fmla="*/ 2 w 22"/>
                <a:gd name="T1" fmla="*/ 0 h 24"/>
                <a:gd name="T2" fmla="*/ 0 w 22"/>
                <a:gd name="T3" fmla="*/ 2 h 24"/>
                <a:gd name="T4" fmla="*/ 2 w 22"/>
                <a:gd name="T5" fmla="*/ 4 h 24"/>
                <a:gd name="T6" fmla="*/ 18 w 22"/>
                <a:gd name="T7" fmla="*/ 21 h 24"/>
                <a:gd name="T8" fmla="*/ 18 w 22"/>
                <a:gd name="T9" fmla="*/ 22 h 24"/>
                <a:gd name="T10" fmla="*/ 20 w 22"/>
                <a:gd name="T11" fmla="*/ 24 h 24"/>
                <a:gd name="T12" fmla="*/ 22 w 22"/>
                <a:gd name="T13" fmla="*/ 22 h 24"/>
                <a:gd name="T14" fmla="*/ 22 w 22"/>
                <a:gd name="T15" fmla="*/ 21 h 24"/>
                <a:gd name="T16" fmla="*/ 2 w 22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4">
                  <a:moveTo>
                    <a:pt x="2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11" y="4"/>
                    <a:pt x="18" y="12"/>
                    <a:pt x="18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4"/>
                    <a:pt x="19" y="24"/>
                    <a:pt x="20" y="24"/>
                  </a:cubicBezTo>
                  <a:cubicBezTo>
                    <a:pt x="21" y="24"/>
                    <a:pt x="22" y="24"/>
                    <a:pt x="22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9"/>
                    <a:pt x="1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3" name="Freeform 260">
              <a:extLst>
                <a:ext uri="{FF2B5EF4-FFF2-40B4-BE49-F238E27FC236}">
                  <a16:creationId xmlns:a16="http://schemas.microsoft.com/office/drawing/2014/main" id="{12994715-7075-44C6-9486-210228060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825" y="3240088"/>
              <a:ext cx="15875" cy="96838"/>
            </a:xfrm>
            <a:custGeom>
              <a:avLst/>
              <a:gdLst>
                <a:gd name="T0" fmla="*/ 2 w 4"/>
                <a:gd name="T1" fmla="*/ 0 h 24"/>
                <a:gd name="T2" fmla="*/ 0 w 4"/>
                <a:gd name="T3" fmla="*/ 2 h 24"/>
                <a:gd name="T4" fmla="*/ 0 w 4"/>
                <a:gd name="T5" fmla="*/ 22 h 24"/>
                <a:gd name="T6" fmla="*/ 2 w 4"/>
                <a:gd name="T7" fmla="*/ 24 h 24"/>
                <a:gd name="T8" fmla="*/ 4 w 4"/>
                <a:gd name="T9" fmla="*/ 22 h 24"/>
                <a:gd name="T10" fmla="*/ 4 w 4"/>
                <a:gd name="T11" fmla="*/ 2 h 24"/>
                <a:gd name="T12" fmla="*/ 2 w 4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4"/>
                    <a:pt x="2" y="24"/>
                  </a:cubicBezTo>
                  <a:cubicBezTo>
                    <a:pt x="3" y="24"/>
                    <a:pt x="4" y="23"/>
                    <a:pt x="4" y="2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4" name="Freeform 261">
              <a:extLst>
                <a:ext uri="{FF2B5EF4-FFF2-40B4-BE49-F238E27FC236}">
                  <a16:creationId xmlns:a16="http://schemas.microsoft.com/office/drawing/2014/main" id="{751B3E7B-AD6C-4FED-BD2B-CEE73FE421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050" y="3097213"/>
              <a:ext cx="333375" cy="407988"/>
            </a:xfrm>
            <a:custGeom>
              <a:avLst/>
              <a:gdLst>
                <a:gd name="T0" fmla="*/ 4 w 82"/>
                <a:gd name="T1" fmla="*/ 83 h 102"/>
                <a:gd name="T2" fmla="*/ 77 w 82"/>
                <a:gd name="T3" fmla="*/ 83 h 102"/>
                <a:gd name="T4" fmla="*/ 77 w 82"/>
                <a:gd name="T5" fmla="*/ 98 h 102"/>
                <a:gd name="T6" fmla="*/ 4 w 82"/>
                <a:gd name="T7" fmla="*/ 98 h 102"/>
                <a:gd name="T8" fmla="*/ 4 w 82"/>
                <a:gd name="T9" fmla="*/ 83 h 102"/>
                <a:gd name="T10" fmla="*/ 77 w 82"/>
                <a:gd name="T11" fmla="*/ 78 h 102"/>
                <a:gd name="T12" fmla="*/ 4 w 82"/>
                <a:gd name="T13" fmla="*/ 78 h 102"/>
                <a:gd name="T14" fmla="*/ 4 w 82"/>
                <a:gd name="T15" fmla="*/ 73 h 102"/>
                <a:gd name="T16" fmla="*/ 77 w 82"/>
                <a:gd name="T17" fmla="*/ 73 h 102"/>
                <a:gd name="T18" fmla="*/ 77 w 82"/>
                <a:gd name="T19" fmla="*/ 78 h 102"/>
                <a:gd name="T20" fmla="*/ 17 w 82"/>
                <a:gd name="T21" fmla="*/ 28 h 102"/>
                <a:gd name="T22" fmla="*/ 41 w 82"/>
                <a:gd name="T23" fmla="*/ 4 h 102"/>
                <a:gd name="T24" fmla="*/ 64 w 82"/>
                <a:gd name="T25" fmla="*/ 28 h 102"/>
                <a:gd name="T26" fmla="*/ 64 w 82"/>
                <a:gd name="T27" fmla="*/ 68 h 102"/>
                <a:gd name="T28" fmla="*/ 17 w 82"/>
                <a:gd name="T29" fmla="*/ 68 h 102"/>
                <a:gd name="T30" fmla="*/ 17 w 82"/>
                <a:gd name="T31" fmla="*/ 28 h 102"/>
                <a:gd name="T32" fmla="*/ 79 w 82"/>
                <a:gd name="T33" fmla="*/ 68 h 102"/>
                <a:gd name="T34" fmla="*/ 69 w 82"/>
                <a:gd name="T35" fmla="*/ 68 h 102"/>
                <a:gd name="T36" fmla="*/ 69 w 82"/>
                <a:gd name="T37" fmla="*/ 28 h 102"/>
                <a:gd name="T38" fmla="*/ 41 w 82"/>
                <a:gd name="T39" fmla="*/ 0 h 102"/>
                <a:gd name="T40" fmla="*/ 13 w 82"/>
                <a:gd name="T41" fmla="*/ 28 h 102"/>
                <a:gd name="T42" fmla="*/ 13 w 82"/>
                <a:gd name="T43" fmla="*/ 68 h 102"/>
                <a:gd name="T44" fmla="*/ 2 w 82"/>
                <a:gd name="T45" fmla="*/ 68 h 102"/>
                <a:gd name="T46" fmla="*/ 0 w 82"/>
                <a:gd name="T47" fmla="*/ 70 h 102"/>
                <a:gd name="T48" fmla="*/ 0 w 82"/>
                <a:gd name="T49" fmla="*/ 100 h 102"/>
                <a:gd name="T50" fmla="*/ 2 w 82"/>
                <a:gd name="T51" fmla="*/ 102 h 102"/>
                <a:gd name="T52" fmla="*/ 79 w 82"/>
                <a:gd name="T53" fmla="*/ 102 h 102"/>
                <a:gd name="T54" fmla="*/ 82 w 82"/>
                <a:gd name="T55" fmla="*/ 100 h 102"/>
                <a:gd name="T56" fmla="*/ 82 w 82"/>
                <a:gd name="T57" fmla="*/ 70 h 102"/>
                <a:gd name="T58" fmla="*/ 79 w 82"/>
                <a:gd name="T59" fmla="*/ 6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102">
                  <a:moveTo>
                    <a:pt x="4" y="83"/>
                  </a:moveTo>
                  <a:cubicBezTo>
                    <a:pt x="77" y="83"/>
                    <a:pt x="77" y="83"/>
                    <a:pt x="77" y="83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4" y="98"/>
                    <a:pt x="4" y="98"/>
                    <a:pt x="4" y="98"/>
                  </a:cubicBezTo>
                  <a:lnTo>
                    <a:pt x="4" y="83"/>
                  </a:lnTo>
                  <a:close/>
                  <a:moveTo>
                    <a:pt x="77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77" y="73"/>
                    <a:pt x="77" y="73"/>
                    <a:pt x="77" y="73"/>
                  </a:cubicBezTo>
                  <a:lnTo>
                    <a:pt x="77" y="78"/>
                  </a:lnTo>
                  <a:close/>
                  <a:moveTo>
                    <a:pt x="17" y="28"/>
                  </a:moveTo>
                  <a:cubicBezTo>
                    <a:pt x="17" y="15"/>
                    <a:pt x="28" y="4"/>
                    <a:pt x="41" y="4"/>
                  </a:cubicBezTo>
                  <a:cubicBezTo>
                    <a:pt x="54" y="4"/>
                    <a:pt x="64" y="15"/>
                    <a:pt x="64" y="2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17" y="68"/>
                    <a:pt x="17" y="68"/>
                    <a:pt x="17" y="68"/>
                  </a:cubicBezTo>
                  <a:lnTo>
                    <a:pt x="17" y="28"/>
                  </a:lnTo>
                  <a:close/>
                  <a:moveTo>
                    <a:pt x="79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12"/>
                    <a:pt x="56" y="0"/>
                    <a:pt x="41" y="0"/>
                  </a:cubicBezTo>
                  <a:cubicBezTo>
                    <a:pt x="25" y="0"/>
                    <a:pt x="13" y="12"/>
                    <a:pt x="13" y="2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1" y="68"/>
                    <a:pt x="0" y="69"/>
                    <a:pt x="0" y="7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1" y="102"/>
                    <a:pt x="2" y="102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1" y="102"/>
                    <a:pt x="82" y="101"/>
                    <a:pt x="82" y="10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69"/>
                    <a:pt x="81" y="68"/>
                    <a:pt x="79" y="6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5" name="Freeform 262">
              <a:extLst>
                <a:ext uri="{FF2B5EF4-FFF2-40B4-BE49-F238E27FC236}">
                  <a16:creationId xmlns:a16="http://schemas.microsoft.com/office/drawing/2014/main" id="{F401A206-64B6-4E66-81FE-2AE0F860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038" y="2971800"/>
              <a:ext cx="15875" cy="88900"/>
            </a:xfrm>
            <a:custGeom>
              <a:avLst/>
              <a:gdLst>
                <a:gd name="T0" fmla="*/ 2 w 4"/>
                <a:gd name="T1" fmla="*/ 22 h 22"/>
                <a:gd name="T2" fmla="*/ 4 w 4"/>
                <a:gd name="T3" fmla="*/ 19 h 22"/>
                <a:gd name="T4" fmla="*/ 4 w 4"/>
                <a:gd name="T5" fmla="*/ 2 h 22"/>
                <a:gd name="T6" fmla="*/ 2 w 4"/>
                <a:gd name="T7" fmla="*/ 0 h 22"/>
                <a:gd name="T8" fmla="*/ 0 w 4"/>
                <a:gd name="T9" fmla="*/ 2 h 22"/>
                <a:gd name="T10" fmla="*/ 0 w 4"/>
                <a:gd name="T11" fmla="*/ 19 h 22"/>
                <a:gd name="T12" fmla="*/ 2 w 4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2">
                  <a:moveTo>
                    <a:pt x="2" y="22"/>
                  </a:moveTo>
                  <a:cubicBezTo>
                    <a:pt x="3" y="22"/>
                    <a:pt x="4" y="21"/>
                    <a:pt x="4" y="19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2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6" name="Freeform 263">
              <a:extLst>
                <a:ext uri="{FF2B5EF4-FFF2-40B4-BE49-F238E27FC236}">
                  <a16:creationId xmlns:a16="http://schemas.microsoft.com/office/drawing/2014/main" id="{4324964B-CD31-47ED-914C-19D261EC6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3" y="3036888"/>
              <a:ext cx="73025" cy="68263"/>
            </a:xfrm>
            <a:custGeom>
              <a:avLst/>
              <a:gdLst>
                <a:gd name="T0" fmla="*/ 14 w 18"/>
                <a:gd name="T1" fmla="*/ 16 h 17"/>
                <a:gd name="T2" fmla="*/ 15 w 18"/>
                <a:gd name="T3" fmla="*/ 17 h 17"/>
                <a:gd name="T4" fmla="*/ 17 w 18"/>
                <a:gd name="T5" fmla="*/ 16 h 17"/>
                <a:gd name="T6" fmla="*/ 17 w 18"/>
                <a:gd name="T7" fmla="*/ 13 h 17"/>
                <a:gd name="T8" fmla="*/ 4 w 18"/>
                <a:gd name="T9" fmla="*/ 1 h 17"/>
                <a:gd name="T10" fmla="*/ 1 w 18"/>
                <a:gd name="T11" fmla="*/ 1 h 17"/>
                <a:gd name="T12" fmla="*/ 1 w 18"/>
                <a:gd name="T13" fmla="*/ 4 h 17"/>
                <a:gd name="T14" fmla="*/ 14 w 18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4" y="16"/>
                  </a:moveTo>
                  <a:cubicBezTo>
                    <a:pt x="14" y="17"/>
                    <a:pt x="15" y="17"/>
                    <a:pt x="15" y="17"/>
                  </a:cubicBezTo>
                  <a:cubicBezTo>
                    <a:pt x="16" y="17"/>
                    <a:pt x="16" y="17"/>
                    <a:pt x="17" y="16"/>
                  </a:cubicBezTo>
                  <a:cubicBezTo>
                    <a:pt x="18" y="15"/>
                    <a:pt x="18" y="14"/>
                    <a:pt x="17" y="1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lnTo>
                    <a:pt x="14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7" name="Freeform 264">
              <a:extLst>
                <a:ext uri="{FF2B5EF4-FFF2-40B4-BE49-F238E27FC236}">
                  <a16:creationId xmlns:a16="http://schemas.microsoft.com/office/drawing/2014/main" id="{7BE90719-DA9A-4A5B-813E-96EAAE447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25" y="3192463"/>
              <a:ext cx="88900" cy="20638"/>
            </a:xfrm>
            <a:custGeom>
              <a:avLst/>
              <a:gdLst>
                <a:gd name="T0" fmla="*/ 22 w 22"/>
                <a:gd name="T1" fmla="*/ 2 h 5"/>
                <a:gd name="T2" fmla="*/ 20 w 22"/>
                <a:gd name="T3" fmla="*/ 0 h 5"/>
                <a:gd name="T4" fmla="*/ 3 w 22"/>
                <a:gd name="T5" fmla="*/ 0 h 5"/>
                <a:gd name="T6" fmla="*/ 0 w 22"/>
                <a:gd name="T7" fmla="*/ 2 h 5"/>
                <a:gd name="T8" fmla="*/ 3 w 22"/>
                <a:gd name="T9" fmla="*/ 5 h 5"/>
                <a:gd name="T10" fmla="*/ 20 w 22"/>
                <a:gd name="T11" fmla="*/ 5 h 5"/>
                <a:gd name="T12" fmla="*/ 22 w 2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5">
                  <a:moveTo>
                    <a:pt x="22" y="2"/>
                  </a:moveTo>
                  <a:cubicBezTo>
                    <a:pt x="22" y="1"/>
                    <a:pt x="21" y="0"/>
                    <a:pt x="2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5"/>
                    <a:pt x="22" y="4"/>
                    <a:pt x="22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8" name="Freeform 265">
              <a:extLst>
                <a:ext uri="{FF2B5EF4-FFF2-40B4-BE49-F238E27FC236}">
                  <a16:creationId xmlns:a16="http://schemas.microsoft.com/office/drawing/2014/main" id="{5C6E904F-71E1-41BB-A3D5-A126B547B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3036888"/>
              <a:ext cx="73025" cy="68263"/>
            </a:xfrm>
            <a:custGeom>
              <a:avLst/>
              <a:gdLst>
                <a:gd name="T0" fmla="*/ 3 w 18"/>
                <a:gd name="T1" fmla="*/ 17 h 17"/>
                <a:gd name="T2" fmla="*/ 4 w 18"/>
                <a:gd name="T3" fmla="*/ 16 h 17"/>
                <a:gd name="T4" fmla="*/ 17 w 18"/>
                <a:gd name="T5" fmla="*/ 4 h 17"/>
                <a:gd name="T6" fmla="*/ 17 w 18"/>
                <a:gd name="T7" fmla="*/ 1 h 17"/>
                <a:gd name="T8" fmla="*/ 14 w 18"/>
                <a:gd name="T9" fmla="*/ 1 h 17"/>
                <a:gd name="T10" fmla="*/ 1 w 18"/>
                <a:gd name="T11" fmla="*/ 13 h 17"/>
                <a:gd name="T12" fmla="*/ 1 w 18"/>
                <a:gd name="T13" fmla="*/ 16 h 17"/>
                <a:gd name="T14" fmla="*/ 3 w 18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3" y="17"/>
                  </a:moveTo>
                  <a:cubicBezTo>
                    <a:pt x="3" y="17"/>
                    <a:pt x="4" y="17"/>
                    <a:pt x="4" y="1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3"/>
                    <a:pt x="18" y="2"/>
                    <a:pt x="17" y="1"/>
                  </a:cubicBezTo>
                  <a:cubicBezTo>
                    <a:pt x="16" y="0"/>
                    <a:pt x="14" y="0"/>
                    <a:pt x="14" y="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2" y="17"/>
                    <a:pt x="2" y="17"/>
                    <a:pt x="3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9" name="Freeform 266">
              <a:extLst>
                <a:ext uri="{FF2B5EF4-FFF2-40B4-BE49-F238E27FC236}">
                  <a16:creationId xmlns:a16="http://schemas.microsoft.com/office/drawing/2014/main" id="{597DBF8B-BABC-478D-950C-E18349819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5" y="3192463"/>
              <a:ext cx="90488" cy="20638"/>
            </a:xfrm>
            <a:custGeom>
              <a:avLst/>
              <a:gdLst>
                <a:gd name="T0" fmla="*/ 19 w 22"/>
                <a:gd name="T1" fmla="*/ 0 h 5"/>
                <a:gd name="T2" fmla="*/ 2 w 22"/>
                <a:gd name="T3" fmla="*/ 0 h 5"/>
                <a:gd name="T4" fmla="*/ 0 w 22"/>
                <a:gd name="T5" fmla="*/ 2 h 5"/>
                <a:gd name="T6" fmla="*/ 2 w 22"/>
                <a:gd name="T7" fmla="*/ 5 h 5"/>
                <a:gd name="T8" fmla="*/ 19 w 22"/>
                <a:gd name="T9" fmla="*/ 5 h 5"/>
                <a:gd name="T10" fmla="*/ 22 w 22"/>
                <a:gd name="T11" fmla="*/ 2 h 5"/>
                <a:gd name="T12" fmla="*/ 19 w 2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5">
                  <a:moveTo>
                    <a:pt x="1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1" y="5"/>
                    <a:pt x="22" y="4"/>
                    <a:pt x="22" y="2"/>
                  </a:cubicBezTo>
                  <a:cubicBezTo>
                    <a:pt x="22" y="1"/>
                    <a:pt x="21" y="0"/>
                    <a:pt x="1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42" name="Group 45341">
            <a:extLst>
              <a:ext uri="{FF2B5EF4-FFF2-40B4-BE49-F238E27FC236}">
                <a16:creationId xmlns:a16="http://schemas.microsoft.com/office/drawing/2014/main" id="{3EB0D6B2-38FA-4132-B709-3F905F512D8B}"/>
              </a:ext>
            </a:extLst>
          </p:cNvPr>
          <p:cNvGrpSpPr/>
          <p:nvPr/>
        </p:nvGrpSpPr>
        <p:grpSpPr>
          <a:xfrm>
            <a:off x="1411288" y="2863851"/>
            <a:ext cx="768351" cy="776288"/>
            <a:chOff x="1411288" y="2863851"/>
            <a:chExt cx="768351" cy="776288"/>
          </a:xfrm>
        </p:grpSpPr>
        <p:sp>
          <p:nvSpPr>
            <p:cNvPr id="45332" name="AutoShape 268">
              <a:extLst>
                <a:ext uri="{FF2B5EF4-FFF2-40B4-BE49-F238E27FC236}">
                  <a16:creationId xmlns:a16="http://schemas.microsoft.com/office/drawing/2014/main" id="{1BC782F4-585F-4F31-BBED-41CE1D4BAC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1288" y="286861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3" name="Freeform 270">
              <a:extLst>
                <a:ext uri="{FF2B5EF4-FFF2-40B4-BE49-F238E27FC236}">
                  <a16:creationId xmlns:a16="http://schemas.microsoft.com/office/drawing/2014/main" id="{EF654E13-68FA-4487-A792-17FC9C6CFF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6051" y="286385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4" name="Freeform 271">
              <a:extLst>
                <a:ext uri="{FF2B5EF4-FFF2-40B4-BE49-F238E27FC236}">
                  <a16:creationId xmlns:a16="http://schemas.microsoft.com/office/drawing/2014/main" id="{26A80E83-17D1-490A-A7F7-E714D4F26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876" y="3124201"/>
              <a:ext cx="85725" cy="96838"/>
            </a:xfrm>
            <a:custGeom>
              <a:avLst/>
              <a:gdLst>
                <a:gd name="T0" fmla="*/ 2 w 22"/>
                <a:gd name="T1" fmla="*/ 0 h 24"/>
                <a:gd name="T2" fmla="*/ 0 w 22"/>
                <a:gd name="T3" fmla="*/ 2 h 24"/>
                <a:gd name="T4" fmla="*/ 2 w 22"/>
                <a:gd name="T5" fmla="*/ 4 h 24"/>
                <a:gd name="T6" fmla="*/ 18 w 22"/>
                <a:gd name="T7" fmla="*/ 21 h 24"/>
                <a:gd name="T8" fmla="*/ 18 w 22"/>
                <a:gd name="T9" fmla="*/ 22 h 24"/>
                <a:gd name="T10" fmla="*/ 20 w 22"/>
                <a:gd name="T11" fmla="*/ 24 h 24"/>
                <a:gd name="T12" fmla="*/ 22 w 22"/>
                <a:gd name="T13" fmla="*/ 22 h 24"/>
                <a:gd name="T14" fmla="*/ 22 w 22"/>
                <a:gd name="T15" fmla="*/ 21 h 24"/>
                <a:gd name="T16" fmla="*/ 2 w 22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4">
                  <a:moveTo>
                    <a:pt x="2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11" y="4"/>
                    <a:pt x="18" y="12"/>
                    <a:pt x="18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4"/>
                    <a:pt x="19" y="24"/>
                    <a:pt x="20" y="24"/>
                  </a:cubicBezTo>
                  <a:cubicBezTo>
                    <a:pt x="21" y="24"/>
                    <a:pt x="22" y="24"/>
                    <a:pt x="22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9"/>
                    <a:pt x="1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5" name="Freeform 272">
              <a:extLst>
                <a:ext uri="{FF2B5EF4-FFF2-40B4-BE49-F238E27FC236}">
                  <a16:creationId xmlns:a16="http://schemas.microsoft.com/office/drawing/2014/main" id="{A81C4AD1-6FD4-480D-8573-539C66852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5313" y="3240088"/>
              <a:ext cx="14288" cy="96838"/>
            </a:xfrm>
            <a:custGeom>
              <a:avLst/>
              <a:gdLst>
                <a:gd name="T0" fmla="*/ 2 w 4"/>
                <a:gd name="T1" fmla="*/ 0 h 24"/>
                <a:gd name="T2" fmla="*/ 0 w 4"/>
                <a:gd name="T3" fmla="*/ 2 h 24"/>
                <a:gd name="T4" fmla="*/ 0 w 4"/>
                <a:gd name="T5" fmla="*/ 22 h 24"/>
                <a:gd name="T6" fmla="*/ 2 w 4"/>
                <a:gd name="T7" fmla="*/ 24 h 24"/>
                <a:gd name="T8" fmla="*/ 4 w 4"/>
                <a:gd name="T9" fmla="*/ 22 h 24"/>
                <a:gd name="T10" fmla="*/ 4 w 4"/>
                <a:gd name="T11" fmla="*/ 2 h 24"/>
                <a:gd name="T12" fmla="*/ 2 w 4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4"/>
                    <a:pt x="2" y="24"/>
                  </a:cubicBezTo>
                  <a:cubicBezTo>
                    <a:pt x="3" y="24"/>
                    <a:pt x="4" y="23"/>
                    <a:pt x="4" y="2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6" name="Freeform 273">
              <a:extLst>
                <a:ext uri="{FF2B5EF4-FFF2-40B4-BE49-F238E27FC236}">
                  <a16:creationId xmlns:a16="http://schemas.microsoft.com/office/drawing/2014/main" id="{D845A5BD-E63B-4A82-9C27-F4A570F574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9888" y="3097213"/>
              <a:ext cx="323850" cy="407988"/>
            </a:xfrm>
            <a:custGeom>
              <a:avLst/>
              <a:gdLst>
                <a:gd name="T0" fmla="*/ 4 w 82"/>
                <a:gd name="T1" fmla="*/ 83 h 102"/>
                <a:gd name="T2" fmla="*/ 77 w 82"/>
                <a:gd name="T3" fmla="*/ 83 h 102"/>
                <a:gd name="T4" fmla="*/ 77 w 82"/>
                <a:gd name="T5" fmla="*/ 98 h 102"/>
                <a:gd name="T6" fmla="*/ 4 w 82"/>
                <a:gd name="T7" fmla="*/ 98 h 102"/>
                <a:gd name="T8" fmla="*/ 4 w 82"/>
                <a:gd name="T9" fmla="*/ 83 h 102"/>
                <a:gd name="T10" fmla="*/ 77 w 82"/>
                <a:gd name="T11" fmla="*/ 78 h 102"/>
                <a:gd name="T12" fmla="*/ 4 w 82"/>
                <a:gd name="T13" fmla="*/ 78 h 102"/>
                <a:gd name="T14" fmla="*/ 4 w 82"/>
                <a:gd name="T15" fmla="*/ 73 h 102"/>
                <a:gd name="T16" fmla="*/ 77 w 82"/>
                <a:gd name="T17" fmla="*/ 73 h 102"/>
                <a:gd name="T18" fmla="*/ 77 w 82"/>
                <a:gd name="T19" fmla="*/ 78 h 102"/>
                <a:gd name="T20" fmla="*/ 17 w 82"/>
                <a:gd name="T21" fmla="*/ 28 h 102"/>
                <a:gd name="T22" fmla="*/ 41 w 82"/>
                <a:gd name="T23" fmla="*/ 4 h 102"/>
                <a:gd name="T24" fmla="*/ 64 w 82"/>
                <a:gd name="T25" fmla="*/ 28 h 102"/>
                <a:gd name="T26" fmla="*/ 64 w 82"/>
                <a:gd name="T27" fmla="*/ 68 h 102"/>
                <a:gd name="T28" fmla="*/ 17 w 82"/>
                <a:gd name="T29" fmla="*/ 68 h 102"/>
                <a:gd name="T30" fmla="*/ 17 w 82"/>
                <a:gd name="T31" fmla="*/ 28 h 102"/>
                <a:gd name="T32" fmla="*/ 79 w 82"/>
                <a:gd name="T33" fmla="*/ 68 h 102"/>
                <a:gd name="T34" fmla="*/ 69 w 82"/>
                <a:gd name="T35" fmla="*/ 68 h 102"/>
                <a:gd name="T36" fmla="*/ 69 w 82"/>
                <a:gd name="T37" fmla="*/ 28 h 102"/>
                <a:gd name="T38" fmla="*/ 41 w 82"/>
                <a:gd name="T39" fmla="*/ 0 h 102"/>
                <a:gd name="T40" fmla="*/ 13 w 82"/>
                <a:gd name="T41" fmla="*/ 28 h 102"/>
                <a:gd name="T42" fmla="*/ 13 w 82"/>
                <a:gd name="T43" fmla="*/ 68 h 102"/>
                <a:gd name="T44" fmla="*/ 2 w 82"/>
                <a:gd name="T45" fmla="*/ 68 h 102"/>
                <a:gd name="T46" fmla="*/ 0 w 82"/>
                <a:gd name="T47" fmla="*/ 70 h 102"/>
                <a:gd name="T48" fmla="*/ 0 w 82"/>
                <a:gd name="T49" fmla="*/ 100 h 102"/>
                <a:gd name="T50" fmla="*/ 2 w 82"/>
                <a:gd name="T51" fmla="*/ 102 h 102"/>
                <a:gd name="T52" fmla="*/ 79 w 82"/>
                <a:gd name="T53" fmla="*/ 102 h 102"/>
                <a:gd name="T54" fmla="*/ 82 w 82"/>
                <a:gd name="T55" fmla="*/ 100 h 102"/>
                <a:gd name="T56" fmla="*/ 82 w 82"/>
                <a:gd name="T57" fmla="*/ 70 h 102"/>
                <a:gd name="T58" fmla="*/ 79 w 82"/>
                <a:gd name="T59" fmla="*/ 6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102">
                  <a:moveTo>
                    <a:pt x="4" y="83"/>
                  </a:moveTo>
                  <a:cubicBezTo>
                    <a:pt x="77" y="83"/>
                    <a:pt x="77" y="83"/>
                    <a:pt x="77" y="83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4" y="98"/>
                    <a:pt x="4" y="98"/>
                    <a:pt x="4" y="98"/>
                  </a:cubicBezTo>
                  <a:lnTo>
                    <a:pt x="4" y="83"/>
                  </a:lnTo>
                  <a:close/>
                  <a:moveTo>
                    <a:pt x="77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77" y="73"/>
                    <a:pt x="77" y="73"/>
                    <a:pt x="77" y="73"/>
                  </a:cubicBezTo>
                  <a:lnTo>
                    <a:pt x="77" y="78"/>
                  </a:lnTo>
                  <a:close/>
                  <a:moveTo>
                    <a:pt x="17" y="28"/>
                  </a:moveTo>
                  <a:cubicBezTo>
                    <a:pt x="17" y="15"/>
                    <a:pt x="28" y="4"/>
                    <a:pt x="41" y="4"/>
                  </a:cubicBezTo>
                  <a:cubicBezTo>
                    <a:pt x="54" y="4"/>
                    <a:pt x="64" y="15"/>
                    <a:pt x="64" y="2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17" y="68"/>
                    <a:pt x="17" y="68"/>
                    <a:pt x="17" y="68"/>
                  </a:cubicBezTo>
                  <a:lnTo>
                    <a:pt x="17" y="28"/>
                  </a:lnTo>
                  <a:close/>
                  <a:moveTo>
                    <a:pt x="79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12"/>
                    <a:pt x="56" y="0"/>
                    <a:pt x="41" y="0"/>
                  </a:cubicBezTo>
                  <a:cubicBezTo>
                    <a:pt x="25" y="0"/>
                    <a:pt x="13" y="12"/>
                    <a:pt x="13" y="2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1" y="68"/>
                    <a:pt x="0" y="69"/>
                    <a:pt x="0" y="7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1" y="102"/>
                    <a:pt x="2" y="102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1" y="102"/>
                    <a:pt x="82" y="101"/>
                    <a:pt x="82" y="10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69"/>
                    <a:pt x="81" y="68"/>
                    <a:pt x="79" y="6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7" name="Freeform 274">
              <a:extLst>
                <a:ext uri="{FF2B5EF4-FFF2-40B4-BE49-F238E27FC236}">
                  <a16:creationId xmlns:a16="http://schemas.microsoft.com/office/drawing/2014/main" id="{6CAB6121-DAF2-4A7B-AFBD-E454911B0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2971801"/>
              <a:ext cx="15875" cy="88900"/>
            </a:xfrm>
            <a:custGeom>
              <a:avLst/>
              <a:gdLst>
                <a:gd name="T0" fmla="*/ 2 w 4"/>
                <a:gd name="T1" fmla="*/ 22 h 22"/>
                <a:gd name="T2" fmla="*/ 4 w 4"/>
                <a:gd name="T3" fmla="*/ 19 h 22"/>
                <a:gd name="T4" fmla="*/ 4 w 4"/>
                <a:gd name="T5" fmla="*/ 2 h 22"/>
                <a:gd name="T6" fmla="*/ 2 w 4"/>
                <a:gd name="T7" fmla="*/ 0 h 22"/>
                <a:gd name="T8" fmla="*/ 0 w 4"/>
                <a:gd name="T9" fmla="*/ 2 h 22"/>
                <a:gd name="T10" fmla="*/ 0 w 4"/>
                <a:gd name="T11" fmla="*/ 19 h 22"/>
                <a:gd name="T12" fmla="*/ 2 w 4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2">
                  <a:moveTo>
                    <a:pt x="2" y="22"/>
                  </a:moveTo>
                  <a:cubicBezTo>
                    <a:pt x="3" y="22"/>
                    <a:pt x="4" y="21"/>
                    <a:pt x="4" y="19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1" y="22"/>
                    <a:pt x="2" y="2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8" name="Freeform 275">
              <a:extLst>
                <a:ext uri="{FF2B5EF4-FFF2-40B4-BE49-F238E27FC236}">
                  <a16:creationId xmlns:a16="http://schemas.microsoft.com/office/drawing/2014/main" id="{B27E6788-1FB1-4158-B44C-5E3A4B1F9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3036888"/>
              <a:ext cx="71438" cy="68263"/>
            </a:xfrm>
            <a:custGeom>
              <a:avLst/>
              <a:gdLst>
                <a:gd name="T0" fmla="*/ 14 w 18"/>
                <a:gd name="T1" fmla="*/ 16 h 17"/>
                <a:gd name="T2" fmla="*/ 15 w 18"/>
                <a:gd name="T3" fmla="*/ 17 h 17"/>
                <a:gd name="T4" fmla="*/ 17 w 18"/>
                <a:gd name="T5" fmla="*/ 16 h 17"/>
                <a:gd name="T6" fmla="*/ 17 w 18"/>
                <a:gd name="T7" fmla="*/ 13 h 17"/>
                <a:gd name="T8" fmla="*/ 4 w 18"/>
                <a:gd name="T9" fmla="*/ 1 h 17"/>
                <a:gd name="T10" fmla="*/ 1 w 18"/>
                <a:gd name="T11" fmla="*/ 1 h 17"/>
                <a:gd name="T12" fmla="*/ 1 w 18"/>
                <a:gd name="T13" fmla="*/ 4 h 17"/>
                <a:gd name="T14" fmla="*/ 14 w 18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4" y="16"/>
                  </a:moveTo>
                  <a:cubicBezTo>
                    <a:pt x="14" y="17"/>
                    <a:pt x="15" y="17"/>
                    <a:pt x="15" y="17"/>
                  </a:cubicBezTo>
                  <a:cubicBezTo>
                    <a:pt x="16" y="17"/>
                    <a:pt x="16" y="17"/>
                    <a:pt x="17" y="16"/>
                  </a:cubicBezTo>
                  <a:cubicBezTo>
                    <a:pt x="18" y="15"/>
                    <a:pt x="18" y="14"/>
                    <a:pt x="17" y="1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lnTo>
                    <a:pt x="14" y="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9" name="Freeform 276">
              <a:extLst>
                <a:ext uri="{FF2B5EF4-FFF2-40B4-BE49-F238E27FC236}">
                  <a16:creationId xmlns:a16="http://schemas.microsoft.com/office/drawing/2014/main" id="{B76033E7-23CE-446F-AE04-EA6293777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451" y="3192463"/>
              <a:ext cx="87313" cy="20638"/>
            </a:xfrm>
            <a:custGeom>
              <a:avLst/>
              <a:gdLst>
                <a:gd name="T0" fmla="*/ 22 w 22"/>
                <a:gd name="T1" fmla="*/ 2 h 5"/>
                <a:gd name="T2" fmla="*/ 20 w 22"/>
                <a:gd name="T3" fmla="*/ 0 h 5"/>
                <a:gd name="T4" fmla="*/ 3 w 22"/>
                <a:gd name="T5" fmla="*/ 0 h 5"/>
                <a:gd name="T6" fmla="*/ 0 w 22"/>
                <a:gd name="T7" fmla="*/ 2 h 5"/>
                <a:gd name="T8" fmla="*/ 3 w 22"/>
                <a:gd name="T9" fmla="*/ 5 h 5"/>
                <a:gd name="T10" fmla="*/ 20 w 22"/>
                <a:gd name="T11" fmla="*/ 5 h 5"/>
                <a:gd name="T12" fmla="*/ 22 w 2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5">
                  <a:moveTo>
                    <a:pt x="22" y="2"/>
                  </a:moveTo>
                  <a:cubicBezTo>
                    <a:pt x="22" y="1"/>
                    <a:pt x="21" y="0"/>
                    <a:pt x="2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5"/>
                    <a:pt x="22" y="4"/>
                    <a:pt x="22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0" name="Freeform 277">
              <a:extLst>
                <a:ext uri="{FF2B5EF4-FFF2-40B4-BE49-F238E27FC236}">
                  <a16:creationId xmlns:a16="http://schemas.microsoft.com/office/drawing/2014/main" id="{BC454931-A79C-4C6D-815E-BE56A71B4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2301" y="3036888"/>
              <a:ext cx="71438" cy="68263"/>
            </a:xfrm>
            <a:custGeom>
              <a:avLst/>
              <a:gdLst>
                <a:gd name="T0" fmla="*/ 3 w 18"/>
                <a:gd name="T1" fmla="*/ 17 h 17"/>
                <a:gd name="T2" fmla="*/ 4 w 18"/>
                <a:gd name="T3" fmla="*/ 16 h 17"/>
                <a:gd name="T4" fmla="*/ 17 w 18"/>
                <a:gd name="T5" fmla="*/ 4 h 17"/>
                <a:gd name="T6" fmla="*/ 17 w 18"/>
                <a:gd name="T7" fmla="*/ 1 h 17"/>
                <a:gd name="T8" fmla="*/ 14 w 18"/>
                <a:gd name="T9" fmla="*/ 1 h 17"/>
                <a:gd name="T10" fmla="*/ 1 w 18"/>
                <a:gd name="T11" fmla="*/ 13 h 17"/>
                <a:gd name="T12" fmla="*/ 1 w 18"/>
                <a:gd name="T13" fmla="*/ 16 h 17"/>
                <a:gd name="T14" fmla="*/ 3 w 18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3" y="17"/>
                  </a:moveTo>
                  <a:cubicBezTo>
                    <a:pt x="3" y="17"/>
                    <a:pt x="4" y="17"/>
                    <a:pt x="4" y="1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3"/>
                    <a:pt x="18" y="2"/>
                    <a:pt x="17" y="1"/>
                  </a:cubicBezTo>
                  <a:cubicBezTo>
                    <a:pt x="16" y="0"/>
                    <a:pt x="14" y="0"/>
                    <a:pt x="14" y="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2" y="17"/>
                    <a:pt x="2" y="17"/>
                    <a:pt x="3" y="1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1" name="Freeform 278">
              <a:extLst>
                <a:ext uri="{FF2B5EF4-FFF2-40B4-BE49-F238E27FC236}">
                  <a16:creationId xmlns:a16="http://schemas.microsoft.com/office/drawing/2014/main" id="{5D6AD6E6-FA8A-4178-8D80-EF469D6BB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926" y="3192463"/>
              <a:ext cx="85725" cy="20638"/>
            </a:xfrm>
            <a:custGeom>
              <a:avLst/>
              <a:gdLst>
                <a:gd name="T0" fmla="*/ 19 w 22"/>
                <a:gd name="T1" fmla="*/ 0 h 5"/>
                <a:gd name="T2" fmla="*/ 2 w 22"/>
                <a:gd name="T3" fmla="*/ 0 h 5"/>
                <a:gd name="T4" fmla="*/ 0 w 22"/>
                <a:gd name="T5" fmla="*/ 2 h 5"/>
                <a:gd name="T6" fmla="*/ 2 w 22"/>
                <a:gd name="T7" fmla="*/ 5 h 5"/>
                <a:gd name="T8" fmla="*/ 19 w 22"/>
                <a:gd name="T9" fmla="*/ 5 h 5"/>
                <a:gd name="T10" fmla="*/ 22 w 22"/>
                <a:gd name="T11" fmla="*/ 2 h 5"/>
                <a:gd name="T12" fmla="*/ 19 w 2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5">
                  <a:moveTo>
                    <a:pt x="1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1" y="5"/>
                    <a:pt x="22" y="4"/>
                    <a:pt x="22" y="2"/>
                  </a:cubicBezTo>
                  <a:cubicBezTo>
                    <a:pt x="22" y="1"/>
                    <a:pt x="21" y="0"/>
                    <a:pt x="1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55" name="Group 45354">
            <a:extLst>
              <a:ext uri="{FF2B5EF4-FFF2-40B4-BE49-F238E27FC236}">
                <a16:creationId xmlns:a16="http://schemas.microsoft.com/office/drawing/2014/main" id="{04A537D4-D331-4BA2-B648-AC905698E08A}"/>
              </a:ext>
            </a:extLst>
          </p:cNvPr>
          <p:cNvGrpSpPr/>
          <p:nvPr/>
        </p:nvGrpSpPr>
        <p:grpSpPr>
          <a:xfrm>
            <a:off x="2593975" y="2832100"/>
            <a:ext cx="844550" cy="841375"/>
            <a:chOff x="2593975" y="2832100"/>
            <a:chExt cx="844550" cy="841375"/>
          </a:xfrm>
        </p:grpSpPr>
        <p:sp>
          <p:nvSpPr>
            <p:cNvPr id="45344" name="AutoShape 280">
              <a:extLst>
                <a:ext uri="{FF2B5EF4-FFF2-40B4-BE49-F238E27FC236}">
                  <a16:creationId xmlns:a16="http://schemas.microsoft.com/office/drawing/2014/main" id="{6BBD392E-EE4E-4BD3-890D-F4BF408A4D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3975" y="283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5" name="Oval 282">
              <a:extLst>
                <a:ext uri="{FF2B5EF4-FFF2-40B4-BE49-F238E27FC236}">
                  <a16:creationId xmlns:a16="http://schemas.microsoft.com/office/drawing/2014/main" id="{80EA9C0B-A18B-4978-BDDE-0C1691973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975" y="28352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6" name="Freeform 283">
              <a:extLst>
                <a:ext uri="{FF2B5EF4-FFF2-40B4-BE49-F238E27FC236}">
                  <a16:creationId xmlns:a16="http://schemas.microsoft.com/office/drawing/2014/main" id="{DED2820C-6C81-4D03-B2BF-59F7B3FBC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2550" y="28638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7" name="Freeform 284">
              <a:extLst>
                <a:ext uri="{FF2B5EF4-FFF2-40B4-BE49-F238E27FC236}">
                  <a16:creationId xmlns:a16="http://schemas.microsoft.com/office/drawing/2014/main" id="{3439A2E4-A2DF-416C-BF2A-393DCB3FDD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0525" y="2952750"/>
              <a:ext cx="171450" cy="168275"/>
            </a:xfrm>
            <a:custGeom>
              <a:avLst/>
              <a:gdLst>
                <a:gd name="T0" fmla="*/ 42 w 42"/>
                <a:gd name="T1" fmla="*/ 40 h 42"/>
                <a:gd name="T2" fmla="*/ 29 w 42"/>
                <a:gd name="T3" fmla="*/ 22 h 42"/>
                <a:gd name="T4" fmla="*/ 33 w 42"/>
                <a:gd name="T5" fmla="*/ 13 h 42"/>
                <a:gd name="T6" fmla="*/ 21 w 42"/>
                <a:gd name="T7" fmla="*/ 0 h 42"/>
                <a:gd name="T8" fmla="*/ 9 w 42"/>
                <a:gd name="T9" fmla="*/ 13 h 42"/>
                <a:gd name="T10" fmla="*/ 13 w 42"/>
                <a:gd name="T11" fmla="*/ 22 h 42"/>
                <a:gd name="T12" fmla="*/ 0 w 42"/>
                <a:gd name="T13" fmla="*/ 40 h 42"/>
                <a:gd name="T14" fmla="*/ 0 w 42"/>
                <a:gd name="T15" fmla="*/ 42 h 42"/>
                <a:gd name="T16" fmla="*/ 42 w 42"/>
                <a:gd name="T17" fmla="*/ 42 h 42"/>
                <a:gd name="T18" fmla="*/ 42 w 42"/>
                <a:gd name="T19" fmla="*/ 40 h 42"/>
                <a:gd name="T20" fmla="*/ 12 w 42"/>
                <a:gd name="T21" fmla="*/ 13 h 42"/>
                <a:gd name="T22" fmla="*/ 21 w 42"/>
                <a:gd name="T23" fmla="*/ 4 h 42"/>
                <a:gd name="T24" fmla="*/ 30 w 42"/>
                <a:gd name="T25" fmla="*/ 13 h 42"/>
                <a:gd name="T26" fmla="*/ 24 w 42"/>
                <a:gd name="T27" fmla="*/ 21 h 42"/>
                <a:gd name="T28" fmla="*/ 24 w 42"/>
                <a:gd name="T29" fmla="*/ 21 h 42"/>
                <a:gd name="T30" fmla="*/ 21 w 42"/>
                <a:gd name="T31" fmla="*/ 21 h 42"/>
                <a:gd name="T32" fmla="*/ 18 w 42"/>
                <a:gd name="T33" fmla="*/ 21 h 42"/>
                <a:gd name="T34" fmla="*/ 18 w 42"/>
                <a:gd name="T35" fmla="*/ 21 h 42"/>
                <a:gd name="T36" fmla="*/ 12 w 42"/>
                <a:gd name="T37" fmla="*/ 13 h 42"/>
                <a:gd name="T38" fmla="*/ 4 w 42"/>
                <a:gd name="T39" fmla="*/ 38 h 42"/>
                <a:gd name="T40" fmla="*/ 17 w 42"/>
                <a:gd name="T41" fmla="*/ 24 h 42"/>
                <a:gd name="T42" fmla="*/ 21 w 42"/>
                <a:gd name="T43" fmla="*/ 25 h 42"/>
                <a:gd name="T44" fmla="*/ 25 w 42"/>
                <a:gd name="T45" fmla="*/ 24 h 42"/>
                <a:gd name="T46" fmla="*/ 38 w 42"/>
                <a:gd name="T47" fmla="*/ 38 h 42"/>
                <a:gd name="T48" fmla="*/ 4 w 42"/>
                <a:gd name="T4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42">
                  <a:moveTo>
                    <a:pt x="42" y="40"/>
                  </a:moveTo>
                  <a:cubicBezTo>
                    <a:pt x="41" y="32"/>
                    <a:pt x="36" y="25"/>
                    <a:pt x="29" y="22"/>
                  </a:cubicBezTo>
                  <a:cubicBezTo>
                    <a:pt x="32" y="20"/>
                    <a:pt x="33" y="16"/>
                    <a:pt x="33" y="13"/>
                  </a:cubicBezTo>
                  <a:cubicBezTo>
                    <a:pt x="33" y="6"/>
                    <a:pt x="28" y="0"/>
                    <a:pt x="21" y="0"/>
                  </a:cubicBezTo>
                  <a:cubicBezTo>
                    <a:pt x="14" y="0"/>
                    <a:pt x="9" y="6"/>
                    <a:pt x="9" y="13"/>
                  </a:cubicBezTo>
                  <a:cubicBezTo>
                    <a:pt x="9" y="16"/>
                    <a:pt x="10" y="20"/>
                    <a:pt x="13" y="22"/>
                  </a:cubicBezTo>
                  <a:cubicBezTo>
                    <a:pt x="6" y="25"/>
                    <a:pt x="1" y="32"/>
                    <a:pt x="0" y="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lnTo>
                    <a:pt x="42" y="40"/>
                  </a:lnTo>
                  <a:close/>
                  <a:moveTo>
                    <a:pt x="12" y="13"/>
                  </a:moveTo>
                  <a:cubicBezTo>
                    <a:pt x="12" y="8"/>
                    <a:pt x="16" y="4"/>
                    <a:pt x="21" y="4"/>
                  </a:cubicBezTo>
                  <a:cubicBezTo>
                    <a:pt x="26" y="4"/>
                    <a:pt x="30" y="8"/>
                    <a:pt x="30" y="13"/>
                  </a:cubicBezTo>
                  <a:cubicBezTo>
                    <a:pt x="30" y="16"/>
                    <a:pt x="28" y="20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3" y="21"/>
                    <a:pt x="22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4" y="20"/>
                    <a:pt x="12" y="16"/>
                    <a:pt x="12" y="13"/>
                  </a:cubicBezTo>
                  <a:moveTo>
                    <a:pt x="4" y="38"/>
                  </a:moveTo>
                  <a:cubicBezTo>
                    <a:pt x="5" y="31"/>
                    <a:pt x="10" y="26"/>
                    <a:pt x="17" y="24"/>
                  </a:cubicBezTo>
                  <a:cubicBezTo>
                    <a:pt x="18" y="25"/>
                    <a:pt x="20" y="25"/>
                    <a:pt x="21" y="25"/>
                  </a:cubicBezTo>
                  <a:cubicBezTo>
                    <a:pt x="22" y="25"/>
                    <a:pt x="24" y="25"/>
                    <a:pt x="25" y="24"/>
                  </a:cubicBezTo>
                  <a:cubicBezTo>
                    <a:pt x="32" y="26"/>
                    <a:pt x="37" y="31"/>
                    <a:pt x="38" y="38"/>
                  </a:cubicBezTo>
                  <a:lnTo>
                    <a:pt x="4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8" name="Freeform 285">
              <a:extLst>
                <a:ext uri="{FF2B5EF4-FFF2-40B4-BE49-F238E27FC236}">
                  <a16:creationId xmlns:a16="http://schemas.microsoft.com/office/drawing/2014/main" id="{2EF1A079-3D7F-4A23-B2E3-3DC5843440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163" y="3344863"/>
              <a:ext cx="122238" cy="120650"/>
            </a:xfrm>
            <a:custGeom>
              <a:avLst/>
              <a:gdLst>
                <a:gd name="T0" fmla="*/ 21 w 30"/>
                <a:gd name="T1" fmla="*/ 16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10 w 30"/>
                <a:gd name="T9" fmla="*/ 16 h 30"/>
                <a:gd name="T10" fmla="*/ 0 w 30"/>
                <a:gd name="T11" fmla="*/ 29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9 h 30"/>
                <a:gd name="T18" fmla="*/ 21 w 30"/>
                <a:gd name="T19" fmla="*/ 16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8 w 30"/>
                <a:gd name="T27" fmla="*/ 15 h 30"/>
                <a:gd name="T28" fmla="*/ 17 w 30"/>
                <a:gd name="T29" fmla="*/ 15 h 30"/>
                <a:gd name="T30" fmla="*/ 16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3 w 30"/>
                <a:gd name="T41" fmla="*/ 17 h 30"/>
                <a:gd name="T42" fmla="*/ 16 w 30"/>
                <a:gd name="T43" fmla="*/ 18 h 30"/>
                <a:gd name="T44" fmla="*/ 18 w 30"/>
                <a:gd name="T45" fmla="*/ 17 h 30"/>
                <a:gd name="T46" fmla="*/ 28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6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8" y="14"/>
                    <a:pt x="10" y="16"/>
                  </a:cubicBezTo>
                  <a:cubicBezTo>
                    <a:pt x="4" y="18"/>
                    <a:pt x="1" y="2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3"/>
                    <a:pt x="26" y="18"/>
                    <a:pt x="21" y="16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6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1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8" y="18"/>
                    <a:pt x="13" y="17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6" y="18"/>
                    <a:pt x="17" y="18"/>
                    <a:pt x="18" y="17"/>
                  </a:cubicBezTo>
                  <a:cubicBezTo>
                    <a:pt x="23" y="18"/>
                    <a:pt x="27" y="22"/>
                    <a:pt x="28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9" name="Freeform 286">
              <a:extLst>
                <a:ext uri="{FF2B5EF4-FFF2-40B4-BE49-F238E27FC236}">
                  <a16:creationId xmlns:a16="http://schemas.microsoft.com/office/drawing/2014/main" id="{FFE89E39-9E02-49E3-AA09-17B62C2528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6538" y="3344863"/>
              <a:ext cx="122238" cy="120650"/>
            </a:xfrm>
            <a:custGeom>
              <a:avLst/>
              <a:gdLst>
                <a:gd name="T0" fmla="*/ 21 w 30"/>
                <a:gd name="T1" fmla="*/ 16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9 w 30"/>
                <a:gd name="T9" fmla="*/ 16 h 30"/>
                <a:gd name="T10" fmla="*/ 0 w 30"/>
                <a:gd name="T11" fmla="*/ 29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9 h 30"/>
                <a:gd name="T18" fmla="*/ 21 w 30"/>
                <a:gd name="T19" fmla="*/ 16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7 w 30"/>
                <a:gd name="T27" fmla="*/ 15 h 30"/>
                <a:gd name="T28" fmla="*/ 17 w 30"/>
                <a:gd name="T29" fmla="*/ 15 h 30"/>
                <a:gd name="T30" fmla="*/ 15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2 w 30"/>
                <a:gd name="T41" fmla="*/ 17 h 30"/>
                <a:gd name="T42" fmla="*/ 15 w 30"/>
                <a:gd name="T43" fmla="*/ 18 h 30"/>
                <a:gd name="T44" fmla="*/ 18 w 30"/>
                <a:gd name="T45" fmla="*/ 17 h 30"/>
                <a:gd name="T46" fmla="*/ 27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6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7" y="14"/>
                    <a:pt x="9" y="16"/>
                  </a:cubicBezTo>
                  <a:cubicBezTo>
                    <a:pt x="4" y="18"/>
                    <a:pt x="1" y="2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3"/>
                    <a:pt x="26" y="18"/>
                    <a:pt x="21" y="16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5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0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7" y="18"/>
                    <a:pt x="12" y="17"/>
                  </a:cubicBezTo>
                  <a:cubicBezTo>
                    <a:pt x="13" y="18"/>
                    <a:pt x="15" y="18"/>
                    <a:pt x="15" y="18"/>
                  </a:cubicBezTo>
                  <a:cubicBezTo>
                    <a:pt x="16" y="18"/>
                    <a:pt x="17" y="18"/>
                    <a:pt x="18" y="17"/>
                  </a:cubicBezTo>
                  <a:cubicBezTo>
                    <a:pt x="23" y="18"/>
                    <a:pt x="27" y="22"/>
                    <a:pt x="27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0" name="Freeform 287">
              <a:extLst>
                <a:ext uri="{FF2B5EF4-FFF2-40B4-BE49-F238E27FC236}">
                  <a16:creationId xmlns:a16="http://schemas.microsoft.com/office/drawing/2014/main" id="{DA56703D-82DE-4993-A8FB-1BA2F40471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788" y="3344863"/>
              <a:ext cx="122238" cy="120650"/>
            </a:xfrm>
            <a:custGeom>
              <a:avLst/>
              <a:gdLst>
                <a:gd name="T0" fmla="*/ 21 w 30"/>
                <a:gd name="T1" fmla="*/ 15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10 w 30"/>
                <a:gd name="T9" fmla="*/ 15 h 30"/>
                <a:gd name="T10" fmla="*/ 0 w 30"/>
                <a:gd name="T11" fmla="*/ 28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8 h 30"/>
                <a:gd name="T18" fmla="*/ 21 w 30"/>
                <a:gd name="T19" fmla="*/ 15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8 w 30"/>
                <a:gd name="T27" fmla="*/ 15 h 30"/>
                <a:gd name="T28" fmla="*/ 17 w 30"/>
                <a:gd name="T29" fmla="*/ 15 h 30"/>
                <a:gd name="T30" fmla="*/ 15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3 w 30"/>
                <a:gd name="T41" fmla="*/ 17 h 30"/>
                <a:gd name="T42" fmla="*/ 15 w 30"/>
                <a:gd name="T43" fmla="*/ 18 h 30"/>
                <a:gd name="T44" fmla="*/ 18 w 30"/>
                <a:gd name="T45" fmla="*/ 17 h 30"/>
                <a:gd name="T46" fmla="*/ 28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5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8" y="14"/>
                    <a:pt x="10" y="15"/>
                  </a:cubicBezTo>
                  <a:cubicBezTo>
                    <a:pt x="4" y="18"/>
                    <a:pt x="1" y="23"/>
                    <a:pt x="0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3"/>
                    <a:pt x="26" y="18"/>
                    <a:pt x="21" y="15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5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1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8" y="18"/>
                    <a:pt x="13" y="17"/>
                  </a:cubicBezTo>
                  <a:cubicBezTo>
                    <a:pt x="13" y="17"/>
                    <a:pt x="15" y="18"/>
                    <a:pt x="15" y="18"/>
                  </a:cubicBezTo>
                  <a:cubicBezTo>
                    <a:pt x="16" y="18"/>
                    <a:pt x="17" y="17"/>
                    <a:pt x="18" y="17"/>
                  </a:cubicBezTo>
                  <a:cubicBezTo>
                    <a:pt x="23" y="18"/>
                    <a:pt x="27" y="22"/>
                    <a:pt x="28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1" name="Rectangle 288">
              <a:extLst>
                <a:ext uri="{FF2B5EF4-FFF2-40B4-BE49-F238E27FC236}">
                  <a16:creationId xmlns:a16="http://schemas.microsoft.com/office/drawing/2014/main" id="{0FCCE57F-CBC4-4688-8D75-A8866C05B7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3136900"/>
              <a:ext cx="15875" cy="1793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2" name="Rectangle 289">
              <a:extLst>
                <a:ext uri="{FF2B5EF4-FFF2-40B4-BE49-F238E27FC236}">
                  <a16:creationId xmlns:a16="http://schemas.microsoft.com/office/drawing/2014/main" id="{E441495E-5B90-44BF-8B09-55C2FD68E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0" y="3221038"/>
              <a:ext cx="382588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3" name="Rectangle 290">
              <a:extLst>
                <a:ext uri="{FF2B5EF4-FFF2-40B4-BE49-F238E27FC236}">
                  <a16:creationId xmlns:a16="http://schemas.microsoft.com/office/drawing/2014/main" id="{51799BDF-B318-4D90-B51D-B359A90682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0875" y="3228975"/>
              <a:ext cx="17463" cy="873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4" name="Rectangle 291">
              <a:extLst>
                <a:ext uri="{FF2B5EF4-FFF2-40B4-BE49-F238E27FC236}">
                  <a16:creationId xmlns:a16="http://schemas.microsoft.com/office/drawing/2014/main" id="{A0B4D30F-BEFB-489D-8D42-E507DA1C1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0988" y="3224213"/>
              <a:ext cx="17463" cy="920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67" name="Group 45366">
            <a:extLst>
              <a:ext uri="{FF2B5EF4-FFF2-40B4-BE49-F238E27FC236}">
                <a16:creationId xmlns:a16="http://schemas.microsoft.com/office/drawing/2014/main" id="{63E1E1DD-1BA3-4F4E-A4D0-AAE52F5659EE}"/>
              </a:ext>
            </a:extLst>
          </p:cNvPr>
          <p:cNvGrpSpPr/>
          <p:nvPr/>
        </p:nvGrpSpPr>
        <p:grpSpPr>
          <a:xfrm>
            <a:off x="3629025" y="2863851"/>
            <a:ext cx="768351" cy="776288"/>
            <a:chOff x="3629025" y="2863851"/>
            <a:chExt cx="768351" cy="776288"/>
          </a:xfrm>
        </p:grpSpPr>
        <p:sp>
          <p:nvSpPr>
            <p:cNvPr id="45357" name="AutoShape 293">
              <a:extLst>
                <a:ext uri="{FF2B5EF4-FFF2-40B4-BE49-F238E27FC236}">
                  <a16:creationId xmlns:a16="http://schemas.microsoft.com/office/drawing/2014/main" id="{16492DFE-CC72-49CA-AF1D-47ED30B956D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29025" y="286861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8" name="Freeform 295">
              <a:extLst>
                <a:ext uri="{FF2B5EF4-FFF2-40B4-BE49-F238E27FC236}">
                  <a16:creationId xmlns:a16="http://schemas.microsoft.com/office/drawing/2014/main" id="{32D597C9-160F-440D-A665-DBCAD222C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3788" y="286385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9" name="Freeform 296">
              <a:extLst>
                <a:ext uri="{FF2B5EF4-FFF2-40B4-BE49-F238E27FC236}">
                  <a16:creationId xmlns:a16="http://schemas.microsoft.com/office/drawing/2014/main" id="{D3AE0F50-F098-43CA-B285-F288A713B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2238" y="2952751"/>
              <a:ext cx="165100" cy="168275"/>
            </a:xfrm>
            <a:custGeom>
              <a:avLst/>
              <a:gdLst>
                <a:gd name="T0" fmla="*/ 42 w 42"/>
                <a:gd name="T1" fmla="*/ 40 h 42"/>
                <a:gd name="T2" fmla="*/ 29 w 42"/>
                <a:gd name="T3" fmla="*/ 22 h 42"/>
                <a:gd name="T4" fmla="*/ 33 w 42"/>
                <a:gd name="T5" fmla="*/ 13 h 42"/>
                <a:gd name="T6" fmla="*/ 21 w 42"/>
                <a:gd name="T7" fmla="*/ 0 h 42"/>
                <a:gd name="T8" fmla="*/ 9 w 42"/>
                <a:gd name="T9" fmla="*/ 13 h 42"/>
                <a:gd name="T10" fmla="*/ 13 w 42"/>
                <a:gd name="T11" fmla="*/ 22 h 42"/>
                <a:gd name="T12" fmla="*/ 0 w 42"/>
                <a:gd name="T13" fmla="*/ 40 h 42"/>
                <a:gd name="T14" fmla="*/ 0 w 42"/>
                <a:gd name="T15" fmla="*/ 42 h 42"/>
                <a:gd name="T16" fmla="*/ 42 w 42"/>
                <a:gd name="T17" fmla="*/ 42 h 42"/>
                <a:gd name="T18" fmla="*/ 42 w 42"/>
                <a:gd name="T19" fmla="*/ 40 h 42"/>
                <a:gd name="T20" fmla="*/ 12 w 42"/>
                <a:gd name="T21" fmla="*/ 13 h 42"/>
                <a:gd name="T22" fmla="*/ 21 w 42"/>
                <a:gd name="T23" fmla="*/ 4 h 42"/>
                <a:gd name="T24" fmla="*/ 30 w 42"/>
                <a:gd name="T25" fmla="*/ 13 h 42"/>
                <a:gd name="T26" fmla="*/ 24 w 42"/>
                <a:gd name="T27" fmla="*/ 21 h 42"/>
                <a:gd name="T28" fmla="*/ 24 w 42"/>
                <a:gd name="T29" fmla="*/ 21 h 42"/>
                <a:gd name="T30" fmla="*/ 21 w 42"/>
                <a:gd name="T31" fmla="*/ 21 h 42"/>
                <a:gd name="T32" fmla="*/ 18 w 42"/>
                <a:gd name="T33" fmla="*/ 21 h 42"/>
                <a:gd name="T34" fmla="*/ 18 w 42"/>
                <a:gd name="T35" fmla="*/ 21 h 42"/>
                <a:gd name="T36" fmla="*/ 12 w 42"/>
                <a:gd name="T37" fmla="*/ 13 h 42"/>
                <a:gd name="T38" fmla="*/ 4 w 42"/>
                <a:gd name="T39" fmla="*/ 38 h 42"/>
                <a:gd name="T40" fmla="*/ 17 w 42"/>
                <a:gd name="T41" fmla="*/ 24 h 42"/>
                <a:gd name="T42" fmla="*/ 21 w 42"/>
                <a:gd name="T43" fmla="*/ 25 h 42"/>
                <a:gd name="T44" fmla="*/ 25 w 42"/>
                <a:gd name="T45" fmla="*/ 24 h 42"/>
                <a:gd name="T46" fmla="*/ 38 w 42"/>
                <a:gd name="T47" fmla="*/ 38 h 42"/>
                <a:gd name="T48" fmla="*/ 4 w 42"/>
                <a:gd name="T49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42">
                  <a:moveTo>
                    <a:pt x="42" y="40"/>
                  </a:moveTo>
                  <a:cubicBezTo>
                    <a:pt x="41" y="32"/>
                    <a:pt x="36" y="25"/>
                    <a:pt x="29" y="22"/>
                  </a:cubicBezTo>
                  <a:cubicBezTo>
                    <a:pt x="32" y="20"/>
                    <a:pt x="33" y="16"/>
                    <a:pt x="33" y="13"/>
                  </a:cubicBezTo>
                  <a:cubicBezTo>
                    <a:pt x="33" y="6"/>
                    <a:pt x="28" y="0"/>
                    <a:pt x="21" y="0"/>
                  </a:cubicBezTo>
                  <a:cubicBezTo>
                    <a:pt x="14" y="0"/>
                    <a:pt x="9" y="6"/>
                    <a:pt x="9" y="13"/>
                  </a:cubicBezTo>
                  <a:cubicBezTo>
                    <a:pt x="9" y="16"/>
                    <a:pt x="10" y="20"/>
                    <a:pt x="13" y="22"/>
                  </a:cubicBezTo>
                  <a:cubicBezTo>
                    <a:pt x="6" y="25"/>
                    <a:pt x="1" y="32"/>
                    <a:pt x="0" y="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lnTo>
                    <a:pt x="42" y="40"/>
                  </a:lnTo>
                  <a:close/>
                  <a:moveTo>
                    <a:pt x="12" y="13"/>
                  </a:moveTo>
                  <a:cubicBezTo>
                    <a:pt x="12" y="8"/>
                    <a:pt x="16" y="4"/>
                    <a:pt x="21" y="4"/>
                  </a:cubicBezTo>
                  <a:cubicBezTo>
                    <a:pt x="26" y="4"/>
                    <a:pt x="30" y="8"/>
                    <a:pt x="30" y="13"/>
                  </a:cubicBezTo>
                  <a:cubicBezTo>
                    <a:pt x="30" y="16"/>
                    <a:pt x="28" y="20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3" y="21"/>
                    <a:pt x="22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4" y="20"/>
                    <a:pt x="12" y="16"/>
                    <a:pt x="12" y="13"/>
                  </a:cubicBezTo>
                  <a:moveTo>
                    <a:pt x="4" y="38"/>
                  </a:moveTo>
                  <a:cubicBezTo>
                    <a:pt x="5" y="31"/>
                    <a:pt x="10" y="26"/>
                    <a:pt x="17" y="24"/>
                  </a:cubicBezTo>
                  <a:cubicBezTo>
                    <a:pt x="18" y="25"/>
                    <a:pt x="20" y="25"/>
                    <a:pt x="21" y="25"/>
                  </a:cubicBezTo>
                  <a:cubicBezTo>
                    <a:pt x="22" y="25"/>
                    <a:pt x="24" y="25"/>
                    <a:pt x="25" y="24"/>
                  </a:cubicBezTo>
                  <a:cubicBezTo>
                    <a:pt x="32" y="26"/>
                    <a:pt x="37" y="31"/>
                    <a:pt x="38" y="38"/>
                  </a:cubicBezTo>
                  <a:lnTo>
                    <a:pt x="4" y="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0" name="Freeform 297">
              <a:extLst>
                <a:ext uri="{FF2B5EF4-FFF2-40B4-BE49-F238E27FC236}">
                  <a16:creationId xmlns:a16="http://schemas.microsoft.com/office/drawing/2014/main" id="{75CFA368-F1C5-4B44-BF9A-1BC289A00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2875" y="3344863"/>
              <a:ext cx="117475" cy="119063"/>
            </a:xfrm>
            <a:custGeom>
              <a:avLst/>
              <a:gdLst>
                <a:gd name="T0" fmla="*/ 21 w 30"/>
                <a:gd name="T1" fmla="*/ 16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10 w 30"/>
                <a:gd name="T9" fmla="*/ 16 h 30"/>
                <a:gd name="T10" fmla="*/ 0 w 30"/>
                <a:gd name="T11" fmla="*/ 29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9 h 30"/>
                <a:gd name="T18" fmla="*/ 21 w 30"/>
                <a:gd name="T19" fmla="*/ 16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8 w 30"/>
                <a:gd name="T27" fmla="*/ 15 h 30"/>
                <a:gd name="T28" fmla="*/ 17 w 30"/>
                <a:gd name="T29" fmla="*/ 15 h 30"/>
                <a:gd name="T30" fmla="*/ 16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3 w 30"/>
                <a:gd name="T41" fmla="*/ 17 h 30"/>
                <a:gd name="T42" fmla="*/ 16 w 30"/>
                <a:gd name="T43" fmla="*/ 18 h 30"/>
                <a:gd name="T44" fmla="*/ 18 w 30"/>
                <a:gd name="T45" fmla="*/ 17 h 30"/>
                <a:gd name="T46" fmla="*/ 28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6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8" y="14"/>
                    <a:pt x="10" y="16"/>
                  </a:cubicBezTo>
                  <a:cubicBezTo>
                    <a:pt x="4" y="18"/>
                    <a:pt x="1" y="2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3"/>
                    <a:pt x="26" y="18"/>
                    <a:pt x="21" y="16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6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1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8" y="18"/>
                    <a:pt x="13" y="17"/>
                  </a:cubicBezTo>
                  <a:cubicBezTo>
                    <a:pt x="14" y="18"/>
                    <a:pt x="15" y="18"/>
                    <a:pt x="16" y="18"/>
                  </a:cubicBezTo>
                  <a:cubicBezTo>
                    <a:pt x="16" y="18"/>
                    <a:pt x="17" y="18"/>
                    <a:pt x="18" y="17"/>
                  </a:cubicBezTo>
                  <a:cubicBezTo>
                    <a:pt x="23" y="18"/>
                    <a:pt x="27" y="22"/>
                    <a:pt x="28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1" name="Freeform 298">
              <a:extLst>
                <a:ext uri="{FF2B5EF4-FFF2-40B4-BE49-F238E27FC236}">
                  <a16:creationId xmlns:a16="http://schemas.microsoft.com/office/drawing/2014/main" id="{EAC890C2-C07D-459F-9B91-F02D72ADA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3013" y="3344863"/>
              <a:ext cx="117475" cy="119063"/>
            </a:xfrm>
            <a:custGeom>
              <a:avLst/>
              <a:gdLst>
                <a:gd name="T0" fmla="*/ 21 w 30"/>
                <a:gd name="T1" fmla="*/ 16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9 w 30"/>
                <a:gd name="T9" fmla="*/ 16 h 30"/>
                <a:gd name="T10" fmla="*/ 0 w 30"/>
                <a:gd name="T11" fmla="*/ 29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9 h 30"/>
                <a:gd name="T18" fmla="*/ 21 w 30"/>
                <a:gd name="T19" fmla="*/ 16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7 w 30"/>
                <a:gd name="T27" fmla="*/ 15 h 30"/>
                <a:gd name="T28" fmla="*/ 17 w 30"/>
                <a:gd name="T29" fmla="*/ 15 h 30"/>
                <a:gd name="T30" fmla="*/ 15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2 w 30"/>
                <a:gd name="T41" fmla="*/ 17 h 30"/>
                <a:gd name="T42" fmla="*/ 15 w 30"/>
                <a:gd name="T43" fmla="*/ 18 h 30"/>
                <a:gd name="T44" fmla="*/ 18 w 30"/>
                <a:gd name="T45" fmla="*/ 17 h 30"/>
                <a:gd name="T46" fmla="*/ 27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6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7" y="14"/>
                    <a:pt x="9" y="16"/>
                  </a:cubicBezTo>
                  <a:cubicBezTo>
                    <a:pt x="4" y="18"/>
                    <a:pt x="1" y="2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3"/>
                    <a:pt x="26" y="18"/>
                    <a:pt x="21" y="16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5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0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7" y="18"/>
                    <a:pt x="12" y="17"/>
                  </a:cubicBezTo>
                  <a:cubicBezTo>
                    <a:pt x="13" y="18"/>
                    <a:pt x="15" y="18"/>
                    <a:pt x="15" y="18"/>
                  </a:cubicBezTo>
                  <a:cubicBezTo>
                    <a:pt x="16" y="18"/>
                    <a:pt x="17" y="18"/>
                    <a:pt x="18" y="17"/>
                  </a:cubicBezTo>
                  <a:cubicBezTo>
                    <a:pt x="23" y="18"/>
                    <a:pt x="27" y="22"/>
                    <a:pt x="27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2" name="Freeform 299">
              <a:extLst>
                <a:ext uri="{FF2B5EF4-FFF2-40B4-BE49-F238E27FC236}">
                  <a16:creationId xmlns:a16="http://schemas.microsoft.com/office/drawing/2014/main" id="{B546E14F-861F-4585-ABE7-2AA96B555C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1150" y="3344863"/>
              <a:ext cx="119063" cy="119063"/>
            </a:xfrm>
            <a:custGeom>
              <a:avLst/>
              <a:gdLst>
                <a:gd name="T0" fmla="*/ 21 w 30"/>
                <a:gd name="T1" fmla="*/ 15 h 30"/>
                <a:gd name="T2" fmla="*/ 24 w 30"/>
                <a:gd name="T3" fmla="*/ 9 h 30"/>
                <a:gd name="T4" fmla="*/ 15 w 30"/>
                <a:gd name="T5" fmla="*/ 0 h 30"/>
                <a:gd name="T6" fmla="*/ 6 w 30"/>
                <a:gd name="T7" fmla="*/ 9 h 30"/>
                <a:gd name="T8" fmla="*/ 10 w 30"/>
                <a:gd name="T9" fmla="*/ 15 h 30"/>
                <a:gd name="T10" fmla="*/ 0 w 30"/>
                <a:gd name="T11" fmla="*/ 28 h 30"/>
                <a:gd name="T12" fmla="*/ 0 w 30"/>
                <a:gd name="T13" fmla="*/ 30 h 30"/>
                <a:gd name="T14" fmla="*/ 30 w 30"/>
                <a:gd name="T15" fmla="*/ 30 h 30"/>
                <a:gd name="T16" fmla="*/ 30 w 30"/>
                <a:gd name="T17" fmla="*/ 28 h 30"/>
                <a:gd name="T18" fmla="*/ 21 w 30"/>
                <a:gd name="T19" fmla="*/ 15 h 30"/>
                <a:gd name="T20" fmla="*/ 9 w 30"/>
                <a:gd name="T21" fmla="*/ 9 h 30"/>
                <a:gd name="T22" fmla="*/ 15 w 30"/>
                <a:gd name="T23" fmla="*/ 2 h 30"/>
                <a:gd name="T24" fmla="*/ 22 w 30"/>
                <a:gd name="T25" fmla="*/ 9 h 30"/>
                <a:gd name="T26" fmla="*/ 18 w 30"/>
                <a:gd name="T27" fmla="*/ 15 h 30"/>
                <a:gd name="T28" fmla="*/ 17 w 30"/>
                <a:gd name="T29" fmla="*/ 15 h 30"/>
                <a:gd name="T30" fmla="*/ 15 w 30"/>
                <a:gd name="T31" fmla="*/ 15 h 30"/>
                <a:gd name="T32" fmla="*/ 13 w 30"/>
                <a:gd name="T33" fmla="*/ 15 h 30"/>
                <a:gd name="T34" fmla="*/ 13 w 30"/>
                <a:gd name="T35" fmla="*/ 15 h 30"/>
                <a:gd name="T36" fmla="*/ 9 w 30"/>
                <a:gd name="T37" fmla="*/ 9 h 30"/>
                <a:gd name="T38" fmla="*/ 3 w 30"/>
                <a:gd name="T39" fmla="*/ 27 h 30"/>
                <a:gd name="T40" fmla="*/ 13 w 30"/>
                <a:gd name="T41" fmla="*/ 17 h 30"/>
                <a:gd name="T42" fmla="*/ 15 w 30"/>
                <a:gd name="T43" fmla="*/ 18 h 30"/>
                <a:gd name="T44" fmla="*/ 18 w 30"/>
                <a:gd name="T45" fmla="*/ 17 h 30"/>
                <a:gd name="T46" fmla="*/ 28 w 30"/>
                <a:gd name="T47" fmla="*/ 27 h 30"/>
                <a:gd name="T48" fmla="*/ 3 w 30"/>
                <a:gd name="T4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" h="30">
                  <a:moveTo>
                    <a:pt x="21" y="15"/>
                  </a:moveTo>
                  <a:cubicBezTo>
                    <a:pt x="23" y="14"/>
                    <a:pt x="24" y="11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1"/>
                    <a:pt x="8" y="14"/>
                    <a:pt x="10" y="15"/>
                  </a:cubicBezTo>
                  <a:cubicBezTo>
                    <a:pt x="4" y="18"/>
                    <a:pt x="1" y="23"/>
                    <a:pt x="0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3"/>
                    <a:pt x="26" y="18"/>
                    <a:pt x="21" y="15"/>
                  </a:cubicBezTo>
                  <a:moveTo>
                    <a:pt x="9" y="9"/>
                  </a:moveTo>
                  <a:cubicBezTo>
                    <a:pt x="9" y="5"/>
                    <a:pt x="12" y="2"/>
                    <a:pt x="15" y="2"/>
                  </a:cubicBezTo>
                  <a:cubicBezTo>
                    <a:pt x="19" y="2"/>
                    <a:pt x="22" y="5"/>
                    <a:pt x="22" y="9"/>
                  </a:cubicBezTo>
                  <a:cubicBezTo>
                    <a:pt x="22" y="11"/>
                    <a:pt x="20" y="14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5" y="15"/>
                  </a:cubicBezTo>
                  <a:cubicBezTo>
                    <a:pt x="15" y="15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1" y="14"/>
                    <a:pt x="9" y="11"/>
                    <a:pt x="9" y="9"/>
                  </a:cubicBezTo>
                  <a:moveTo>
                    <a:pt x="3" y="27"/>
                  </a:moveTo>
                  <a:cubicBezTo>
                    <a:pt x="4" y="22"/>
                    <a:pt x="8" y="18"/>
                    <a:pt x="13" y="17"/>
                  </a:cubicBezTo>
                  <a:cubicBezTo>
                    <a:pt x="13" y="17"/>
                    <a:pt x="15" y="18"/>
                    <a:pt x="15" y="18"/>
                  </a:cubicBezTo>
                  <a:cubicBezTo>
                    <a:pt x="16" y="18"/>
                    <a:pt x="17" y="17"/>
                    <a:pt x="18" y="17"/>
                  </a:cubicBezTo>
                  <a:cubicBezTo>
                    <a:pt x="23" y="18"/>
                    <a:pt x="27" y="22"/>
                    <a:pt x="28" y="27"/>
                  </a:cubicBezTo>
                  <a:lnTo>
                    <a:pt x="3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3" name="Rectangle 300">
              <a:extLst>
                <a:ext uri="{FF2B5EF4-FFF2-40B4-BE49-F238E27FC236}">
                  <a16:creationId xmlns:a16="http://schemas.microsoft.com/office/drawing/2014/main" id="{0158B613-6BC2-4E98-A750-4245119AC5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6850" y="3136901"/>
              <a:ext cx="15875" cy="1793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4" name="Rectangle 301">
              <a:extLst>
                <a:ext uri="{FF2B5EF4-FFF2-40B4-BE49-F238E27FC236}">
                  <a16:creationId xmlns:a16="http://schemas.microsoft.com/office/drawing/2014/main" id="{36A2D6CC-CFEC-44D7-92A7-A231A9945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0638" y="3221038"/>
              <a:ext cx="369888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5" name="Rectangle 302">
              <a:extLst>
                <a:ext uri="{FF2B5EF4-FFF2-40B4-BE49-F238E27FC236}">
                  <a16:creationId xmlns:a16="http://schemas.microsoft.com/office/drawing/2014/main" id="{E3909359-E803-4145-BC41-C67F95BA1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650" y="3228976"/>
              <a:ext cx="15875" cy="873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6" name="Rectangle 303">
              <a:extLst>
                <a:ext uri="{FF2B5EF4-FFF2-40B4-BE49-F238E27FC236}">
                  <a16:creationId xmlns:a16="http://schemas.microsoft.com/office/drawing/2014/main" id="{FC67D29C-1855-4F81-8123-4C5DB06EE2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5875" y="3224213"/>
              <a:ext cx="15875" cy="920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77" name="Group 45376">
            <a:extLst>
              <a:ext uri="{FF2B5EF4-FFF2-40B4-BE49-F238E27FC236}">
                <a16:creationId xmlns:a16="http://schemas.microsoft.com/office/drawing/2014/main" id="{E3E17AAF-8564-45B5-BF69-2678DA7C3B63}"/>
              </a:ext>
            </a:extLst>
          </p:cNvPr>
          <p:cNvGrpSpPr/>
          <p:nvPr/>
        </p:nvGrpSpPr>
        <p:grpSpPr>
          <a:xfrm>
            <a:off x="4775200" y="2832100"/>
            <a:ext cx="844550" cy="841375"/>
            <a:chOff x="4775200" y="2832100"/>
            <a:chExt cx="844550" cy="841375"/>
          </a:xfrm>
        </p:grpSpPr>
        <p:sp>
          <p:nvSpPr>
            <p:cNvPr id="45369" name="AutoShape 305">
              <a:extLst>
                <a:ext uri="{FF2B5EF4-FFF2-40B4-BE49-F238E27FC236}">
                  <a16:creationId xmlns:a16="http://schemas.microsoft.com/office/drawing/2014/main" id="{4A6E8550-059E-41E2-9872-B3D0DC2CAC8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5200" y="283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0" name="Oval 307">
              <a:extLst>
                <a:ext uri="{FF2B5EF4-FFF2-40B4-BE49-F238E27FC236}">
                  <a16:creationId xmlns:a16="http://schemas.microsoft.com/office/drawing/2014/main" id="{B374F1D6-546B-4E9A-9A1C-CE703FA61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5200" y="28352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1" name="Freeform 308">
              <a:extLst>
                <a:ext uri="{FF2B5EF4-FFF2-40B4-BE49-F238E27FC236}">
                  <a16:creationId xmlns:a16="http://schemas.microsoft.com/office/drawing/2014/main" id="{8D6F9D3C-D55E-4B69-95AF-F7FA86779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28638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2" name="Freeform 309">
              <a:extLst>
                <a:ext uri="{FF2B5EF4-FFF2-40B4-BE49-F238E27FC236}">
                  <a16:creationId xmlns:a16="http://schemas.microsoft.com/office/drawing/2014/main" id="{642013C2-07F5-4D0A-A118-13875AF29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2213" y="3021013"/>
              <a:ext cx="377825" cy="395288"/>
            </a:xfrm>
            <a:custGeom>
              <a:avLst/>
              <a:gdLst>
                <a:gd name="T0" fmla="*/ 47 w 93"/>
                <a:gd name="T1" fmla="*/ 51 h 99"/>
                <a:gd name="T2" fmla="*/ 23 w 93"/>
                <a:gd name="T3" fmla="*/ 27 h 99"/>
                <a:gd name="T4" fmla="*/ 47 w 93"/>
                <a:gd name="T5" fmla="*/ 3 h 99"/>
                <a:gd name="T6" fmla="*/ 72 w 93"/>
                <a:gd name="T7" fmla="*/ 27 h 99"/>
                <a:gd name="T8" fmla="*/ 47 w 93"/>
                <a:gd name="T9" fmla="*/ 51 h 99"/>
                <a:gd name="T10" fmla="*/ 55 w 93"/>
                <a:gd name="T11" fmla="*/ 62 h 99"/>
                <a:gd name="T12" fmla="*/ 47 w 93"/>
                <a:gd name="T13" fmla="*/ 91 h 99"/>
                <a:gd name="T14" fmla="*/ 40 w 93"/>
                <a:gd name="T15" fmla="*/ 62 h 99"/>
                <a:gd name="T16" fmla="*/ 47 w 93"/>
                <a:gd name="T17" fmla="*/ 56 h 99"/>
                <a:gd name="T18" fmla="*/ 55 w 93"/>
                <a:gd name="T19" fmla="*/ 62 h 99"/>
                <a:gd name="T20" fmla="*/ 3 w 93"/>
                <a:gd name="T21" fmla="*/ 95 h 99"/>
                <a:gd name="T22" fmla="*/ 3 w 93"/>
                <a:gd name="T23" fmla="*/ 87 h 99"/>
                <a:gd name="T24" fmla="*/ 12 w 93"/>
                <a:gd name="T25" fmla="*/ 64 h 99"/>
                <a:gd name="T26" fmla="*/ 33 w 93"/>
                <a:gd name="T27" fmla="*/ 55 h 99"/>
                <a:gd name="T28" fmla="*/ 43 w 93"/>
                <a:gd name="T29" fmla="*/ 55 h 99"/>
                <a:gd name="T30" fmla="*/ 37 w 93"/>
                <a:gd name="T31" fmla="*/ 60 h 99"/>
                <a:gd name="T32" fmla="*/ 37 w 93"/>
                <a:gd name="T33" fmla="*/ 62 h 99"/>
                <a:gd name="T34" fmla="*/ 45 w 93"/>
                <a:gd name="T35" fmla="*/ 95 h 99"/>
                <a:gd name="T36" fmla="*/ 3 w 93"/>
                <a:gd name="T37" fmla="*/ 95 h 99"/>
                <a:gd name="T38" fmla="*/ 81 w 93"/>
                <a:gd name="T39" fmla="*/ 58 h 99"/>
                <a:gd name="T40" fmla="*/ 80 w 93"/>
                <a:gd name="T41" fmla="*/ 57 h 99"/>
                <a:gd name="T42" fmla="*/ 62 w 93"/>
                <a:gd name="T43" fmla="*/ 51 h 99"/>
                <a:gd name="T44" fmla="*/ 61 w 93"/>
                <a:gd name="T45" fmla="*/ 51 h 99"/>
                <a:gd name="T46" fmla="*/ 75 w 93"/>
                <a:gd name="T47" fmla="*/ 27 h 99"/>
                <a:gd name="T48" fmla="*/ 47 w 93"/>
                <a:gd name="T49" fmla="*/ 0 h 99"/>
                <a:gd name="T50" fmla="*/ 20 w 93"/>
                <a:gd name="T51" fmla="*/ 27 h 99"/>
                <a:gd name="T52" fmla="*/ 34 w 93"/>
                <a:gd name="T53" fmla="*/ 51 h 99"/>
                <a:gd name="T54" fmla="*/ 33 w 93"/>
                <a:gd name="T55" fmla="*/ 51 h 99"/>
                <a:gd name="T56" fmla="*/ 9 w 93"/>
                <a:gd name="T57" fmla="*/ 62 h 99"/>
                <a:gd name="T58" fmla="*/ 0 w 93"/>
                <a:gd name="T59" fmla="*/ 87 h 99"/>
                <a:gd name="T60" fmla="*/ 0 w 93"/>
                <a:gd name="T61" fmla="*/ 99 h 99"/>
                <a:gd name="T62" fmla="*/ 66 w 93"/>
                <a:gd name="T63" fmla="*/ 99 h 99"/>
                <a:gd name="T64" fmla="*/ 69 w 93"/>
                <a:gd name="T65" fmla="*/ 97 h 99"/>
                <a:gd name="T66" fmla="*/ 68 w 93"/>
                <a:gd name="T67" fmla="*/ 95 h 99"/>
                <a:gd name="T68" fmla="*/ 68 w 93"/>
                <a:gd name="T69" fmla="*/ 95 h 99"/>
                <a:gd name="T70" fmla="*/ 50 w 93"/>
                <a:gd name="T71" fmla="*/ 95 h 99"/>
                <a:gd name="T72" fmla="*/ 58 w 93"/>
                <a:gd name="T73" fmla="*/ 62 h 99"/>
                <a:gd name="T74" fmla="*/ 58 w 93"/>
                <a:gd name="T75" fmla="*/ 60 h 99"/>
                <a:gd name="T76" fmla="*/ 52 w 93"/>
                <a:gd name="T77" fmla="*/ 55 h 99"/>
                <a:gd name="T78" fmla="*/ 62 w 93"/>
                <a:gd name="T79" fmla="*/ 55 h 99"/>
                <a:gd name="T80" fmla="*/ 77 w 93"/>
                <a:gd name="T81" fmla="*/ 59 h 99"/>
                <a:gd name="T82" fmla="*/ 78 w 93"/>
                <a:gd name="T83" fmla="*/ 60 h 99"/>
                <a:gd name="T84" fmla="*/ 80 w 93"/>
                <a:gd name="T85" fmla="*/ 61 h 99"/>
                <a:gd name="T86" fmla="*/ 81 w 93"/>
                <a:gd name="T87" fmla="*/ 62 h 99"/>
                <a:gd name="T88" fmla="*/ 81 w 93"/>
                <a:gd name="T89" fmla="*/ 60 h 99"/>
                <a:gd name="T90" fmla="*/ 84 w 93"/>
                <a:gd name="T91" fmla="*/ 60 h 99"/>
                <a:gd name="T92" fmla="*/ 83 w 93"/>
                <a:gd name="T93" fmla="*/ 60 h 99"/>
                <a:gd name="T94" fmla="*/ 81 w 93"/>
                <a:gd name="T95" fmla="*/ 58 h 99"/>
                <a:gd name="T96" fmla="*/ 91 w 93"/>
                <a:gd name="T97" fmla="*/ 79 h 99"/>
                <a:gd name="T98" fmla="*/ 91 w 93"/>
                <a:gd name="T99" fmla="*/ 80 h 99"/>
                <a:gd name="T100" fmla="*/ 92 w 93"/>
                <a:gd name="T101" fmla="*/ 87 h 99"/>
                <a:gd name="T102" fmla="*/ 92 w 93"/>
                <a:gd name="T103" fmla="*/ 94 h 99"/>
                <a:gd name="T104" fmla="*/ 93 w 93"/>
                <a:gd name="T105" fmla="*/ 94 h 99"/>
                <a:gd name="T106" fmla="*/ 93 w 93"/>
                <a:gd name="T107" fmla="*/ 79 h 99"/>
                <a:gd name="T108" fmla="*/ 91 w 93"/>
                <a:gd name="T109" fmla="*/ 7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3" h="99">
                  <a:moveTo>
                    <a:pt x="47" y="51"/>
                  </a:moveTo>
                  <a:cubicBezTo>
                    <a:pt x="34" y="51"/>
                    <a:pt x="23" y="41"/>
                    <a:pt x="23" y="27"/>
                  </a:cubicBezTo>
                  <a:cubicBezTo>
                    <a:pt x="23" y="14"/>
                    <a:pt x="34" y="3"/>
                    <a:pt x="47" y="3"/>
                  </a:cubicBezTo>
                  <a:cubicBezTo>
                    <a:pt x="61" y="3"/>
                    <a:pt x="72" y="14"/>
                    <a:pt x="72" y="27"/>
                  </a:cubicBezTo>
                  <a:cubicBezTo>
                    <a:pt x="72" y="41"/>
                    <a:pt x="61" y="51"/>
                    <a:pt x="47" y="51"/>
                  </a:cubicBezTo>
                  <a:moveTo>
                    <a:pt x="55" y="62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55" y="62"/>
                  </a:lnTo>
                  <a:close/>
                  <a:moveTo>
                    <a:pt x="3" y="95"/>
                  </a:moveTo>
                  <a:cubicBezTo>
                    <a:pt x="3" y="87"/>
                    <a:pt x="3" y="87"/>
                    <a:pt x="3" y="87"/>
                  </a:cubicBezTo>
                  <a:cubicBezTo>
                    <a:pt x="3" y="78"/>
                    <a:pt x="6" y="70"/>
                    <a:pt x="12" y="64"/>
                  </a:cubicBezTo>
                  <a:cubicBezTo>
                    <a:pt x="17" y="58"/>
                    <a:pt x="25" y="55"/>
                    <a:pt x="3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45" y="95"/>
                    <a:pt x="45" y="95"/>
                    <a:pt x="45" y="95"/>
                  </a:cubicBezTo>
                  <a:lnTo>
                    <a:pt x="3" y="95"/>
                  </a:lnTo>
                  <a:close/>
                  <a:moveTo>
                    <a:pt x="81" y="58"/>
                  </a:moveTo>
                  <a:cubicBezTo>
                    <a:pt x="81" y="58"/>
                    <a:pt x="80" y="57"/>
                    <a:pt x="80" y="57"/>
                  </a:cubicBezTo>
                  <a:cubicBezTo>
                    <a:pt x="75" y="54"/>
                    <a:pt x="69" y="51"/>
                    <a:pt x="62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47"/>
                    <a:pt x="75" y="38"/>
                    <a:pt x="75" y="27"/>
                  </a:cubicBezTo>
                  <a:cubicBezTo>
                    <a:pt x="75" y="12"/>
                    <a:pt x="63" y="0"/>
                    <a:pt x="47" y="0"/>
                  </a:cubicBezTo>
                  <a:cubicBezTo>
                    <a:pt x="32" y="0"/>
                    <a:pt x="20" y="12"/>
                    <a:pt x="20" y="27"/>
                  </a:cubicBezTo>
                  <a:cubicBezTo>
                    <a:pt x="20" y="38"/>
                    <a:pt x="26" y="47"/>
                    <a:pt x="34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24" y="51"/>
                    <a:pt x="16" y="55"/>
                    <a:pt x="9" y="62"/>
                  </a:cubicBezTo>
                  <a:cubicBezTo>
                    <a:pt x="3" y="69"/>
                    <a:pt x="0" y="77"/>
                    <a:pt x="0" y="8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8" y="55"/>
                    <a:pt x="73" y="57"/>
                    <a:pt x="77" y="59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9" y="60"/>
                    <a:pt x="79" y="61"/>
                    <a:pt x="80" y="61"/>
                  </a:cubicBezTo>
                  <a:cubicBezTo>
                    <a:pt x="80" y="61"/>
                    <a:pt x="80" y="62"/>
                    <a:pt x="81" y="62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3" y="60"/>
                  </a:cubicBezTo>
                  <a:cubicBezTo>
                    <a:pt x="83" y="59"/>
                    <a:pt x="82" y="58"/>
                    <a:pt x="81" y="58"/>
                  </a:cubicBezTo>
                  <a:moveTo>
                    <a:pt x="91" y="79"/>
                  </a:moveTo>
                  <a:cubicBezTo>
                    <a:pt x="91" y="79"/>
                    <a:pt x="91" y="79"/>
                    <a:pt x="91" y="80"/>
                  </a:cubicBezTo>
                  <a:cubicBezTo>
                    <a:pt x="91" y="82"/>
                    <a:pt x="92" y="84"/>
                    <a:pt x="92" y="87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79"/>
                    <a:pt x="93" y="79"/>
                    <a:pt x="93" y="79"/>
                  </a:cubicBezTo>
                  <a:lnTo>
                    <a:pt x="91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3" name="Freeform 310">
              <a:extLst>
                <a:ext uri="{FF2B5EF4-FFF2-40B4-BE49-F238E27FC236}">
                  <a16:creationId xmlns:a16="http://schemas.microsoft.com/office/drawing/2014/main" id="{45534481-B5F8-45DD-A8CF-16E01F79BA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8750" y="3252788"/>
              <a:ext cx="223838" cy="223838"/>
            </a:xfrm>
            <a:custGeom>
              <a:avLst/>
              <a:gdLst>
                <a:gd name="T0" fmla="*/ 46 w 55"/>
                <a:gd name="T1" fmla="*/ 38 h 56"/>
                <a:gd name="T2" fmla="*/ 50 w 55"/>
                <a:gd name="T3" fmla="*/ 43 h 56"/>
                <a:gd name="T4" fmla="*/ 38 w 55"/>
                <a:gd name="T5" fmla="*/ 47 h 56"/>
                <a:gd name="T6" fmla="*/ 34 w 55"/>
                <a:gd name="T7" fmla="*/ 48 h 56"/>
                <a:gd name="T8" fmla="*/ 33 w 55"/>
                <a:gd name="T9" fmla="*/ 55 h 56"/>
                <a:gd name="T10" fmla="*/ 22 w 55"/>
                <a:gd name="T11" fmla="*/ 48 h 56"/>
                <a:gd name="T12" fmla="*/ 18 w 55"/>
                <a:gd name="T13" fmla="*/ 47 h 56"/>
                <a:gd name="T14" fmla="*/ 13 w 55"/>
                <a:gd name="T15" fmla="*/ 51 h 56"/>
                <a:gd name="T16" fmla="*/ 9 w 55"/>
                <a:gd name="T17" fmla="*/ 38 h 56"/>
                <a:gd name="T18" fmla="*/ 9 w 55"/>
                <a:gd name="T19" fmla="*/ 37 h 56"/>
                <a:gd name="T20" fmla="*/ 8 w 55"/>
                <a:gd name="T21" fmla="*/ 34 h 56"/>
                <a:gd name="T22" fmla="*/ 1 w 55"/>
                <a:gd name="T23" fmla="*/ 22 h 56"/>
                <a:gd name="T24" fmla="*/ 8 w 55"/>
                <a:gd name="T25" fmla="*/ 22 h 56"/>
                <a:gd name="T26" fmla="*/ 9 w 55"/>
                <a:gd name="T27" fmla="*/ 18 h 56"/>
                <a:gd name="T28" fmla="*/ 13 w 55"/>
                <a:gd name="T29" fmla="*/ 5 h 56"/>
                <a:gd name="T30" fmla="*/ 18 w 55"/>
                <a:gd name="T31" fmla="*/ 10 h 56"/>
                <a:gd name="T32" fmla="*/ 22 w 55"/>
                <a:gd name="T33" fmla="*/ 8 h 56"/>
                <a:gd name="T34" fmla="*/ 33 w 55"/>
                <a:gd name="T35" fmla="*/ 2 h 56"/>
                <a:gd name="T36" fmla="*/ 34 w 55"/>
                <a:gd name="T37" fmla="*/ 8 h 56"/>
                <a:gd name="T38" fmla="*/ 38 w 55"/>
                <a:gd name="T39" fmla="*/ 10 h 56"/>
                <a:gd name="T40" fmla="*/ 50 w 55"/>
                <a:gd name="T41" fmla="*/ 13 h 56"/>
                <a:gd name="T42" fmla="*/ 46 w 55"/>
                <a:gd name="T43" fmla="*/ 18 h 56"/>
                <a:gd name="T44" fmla="*/ 48 w 55"/>
                <a:gd name="T45" fmla="*/ 22 h 56"/>
                <a:gd name="T46" fmla="*/ 54 w 55"/>
                <a:gd name="T47" fmla="*/ 34 h 56"/>
                <a:gd name="T48" fmla="*/ 47 w 55"/>
                <a:gd name="T49" fmla="*/ 34 h 56"/>
                <a:gd name="T50" fmla="*/ 55 w 55"/>
                <a:gd name="T51" fmla="*/ 21 h 56"/>
                <a:gd name="T52" fmla="*/ 48 w 55"/>
                <a:gd name="T53" fmla="*/ 18 h 56"/>
                <a:gd name="T54" fmla="*/ 42 w 55"/>
                <a:gd name="T55" fmla="*/ 3 h 56"/>
                <a:gd name="T56" fmla="*/ 35 w 55"/>
                <a:gd name="T57" fmla="*/ 7 h 56"/>
                <a:gd name="T58" fmla="*/ 20 w 55"/>
                <a:gd name="T59" fmla="*/ 0 h 56"/>
                <a:gd name="T60" fmla="*/ 18 w 55"/>
                <a:gd name="T61" fmla="*/ 8 h 56"/>
                <a:gd name="T62" fmla="*/ 3 w 55"/>
                <a:gd name="T63" fmla="*/ 13 h 56"/>
                <a:gd name="T64" fmla="*/ 6 w 55"/>
                <a:gd name="T65" fmla="*/ 21 h 56"/>
                <a:gd name="T66" fmla="*/ 0 w 55"/>
                <a:gd name="T67" fmla="*/ 35 h 56"/>
                <a:gd name="T68" fmla="*/ 7 w 55"/>
                <a:gd name="T69" fmla="*/ 37 h 56"/>
                <a:gd name="T70" fmla="*/ 5 w 55"/>
                <a:gd name="T71" fmla="*/ 41 h 56"/>
                <a:gd name="T72" fmla="*/ 13 w 55"/>
                <a:gd name="T73" fmla="*/ 53 h 56"/>
                <a:gd name="T74" fmla="*/ 20 w 55"/>
                <a:gd name="T75" fmla="*/ 49 h 56"/>
                <a:gd name="T76" fmla="*/ 35 w 55"/>
                <a:gd name="T77" fmla="*/ 56 h 56"/>
                <a:gd name="T78" fmla="*/ 37 w 55"/>
                <a:gd name="T79" fmla="*/ 48 h 56"/>
                <a:gd name="T80" fmla="*/ 52 w 55"/>
                <a:gd name="T81" fmla="*/ 43 h 56"/>
                <a:gd name="T82" fmla="*/ 49 w 55"/>
                <a:gd name="T83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5" h="56">
                  <a:moveTo>
                    <a:pt x="47" y="34"/>
                  </a:moveTo>
                  <a:cubicBezTo>
                    <a:pt x="47" y="36"/>
                    <a:pt x="47" y="37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5" y="48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7"/>
                    <a:pt x="18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8" y="36"/>
                    <a:pt x="8" y="35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0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20" y="8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8"/>
                    <a:pt x="36" y="9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7" y="20"/>
                    <a:pt x="47" y="21"/>
                    <a:pt x="47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48" y="34"/>
                    <a:pt x="48" y="34"/>
                    <a:pt x="48" y="34"/>
                  </a:cubicBezTo>
                  <a:lnTo>
                    <a:pt x="47" y="34"/>
                  </a:lnTo>
                  <a:close/>
                  <a:moveTo>
                    <a:pt x="55" y="35"/>
                  </a:moveTo>
                  <a:cubicBezTo>
                    <a:pt x="55" y="21"/>
                    <a:pt x="55" y="21"/>
                    <a:pt x="55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0"/>
                    <a:pt x="48" y="19"/>
                    <a:pt x="48" y="18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6" y="7"/>
                    <a:pt x="35" y="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8"/>
                    <a:pt x="18" y="8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20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8"/>
                    <a:pt x="7" y="38"/>
                    <a:pt x="8" y="3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9" y="49"/>
                    <a:pt x="19" y="49"/>
                    <a:pt x="20" y="49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6" y="49"/>
                    <a:pt x="37" y="49"/>
                    <a:pt x="37" y="48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6"/>
                    <a:pt x="49" y="35"/>
                  </a:cubicBezTo>
                  <a:lnTo>
                    <a:pt x="55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4" name="Freeform 311">
              <a:extLst>
                <a:ext uri="{FF2B5EF4-FFF2-40B4-BE49-F238E27FC236}">
                  <a16:creationId xmlns:a16="http://schemas.microsoft.com/office/drawing/2014/main" id="{87C6253C-EA9B-49CD-9DDF-97BB47EACF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988" y="3248025"/>
              <a:ext cx="231775" cy="233363"/>
            </a:xfrm>
            <a:custGeom>
              <a:avLst/>
              <a:gdLst>
                <a:gd name="T0" fmla="*/ 39 w 57"/>
                <a:gd name="T1" fmla="*/ 46 h 58"/>
                <a:gd name="T2" fmla="*/ 34 w 57"/>
                <a:gd name="T3" fmla="*/ 48 h 58"/>
                <a:gd name="T4" fmla="*/ 33 w 57"/>
                <a:gd name="T5" fmla="*/ 55 h 58"/>
                <a:gd name="T6" fmla="*/ 24 w 57"/>
                <a:gd name="T7" fmla="*/ 49 h 58"/>
                <a:gd name="T8" fmla="*/ 19 w 57"/>
                <a:gd name="T9" fmla="*/ 47 h 58"/>
                <a:gd name="T10" fmla="*/ 14 w 57"/>
                <a:gd name="T11" fmla="*/ 51 h 58"/>
                <a:gd name="T12" fmla="*/ 12 w 57"/>
                <a:gd name="T13" fmla="*/ 40 h 58"/>
                <a:gd name="T14" fmla="*/ 11 w 57"/>
                <a:gd name="T15" fmla="*/ 38 h 58"/>
                <a:gd name="T16" fmla="*/ 9 w 57"/>
                <a:gd name="T17" fmla="*/ 34 h 58"/>
                <a:gd name="T18" fmla="*/ 3 w 57"/>
                <a:gd name="T19" fmla="*/ 24 h 58"/>
                <a:gd name="T20" fmla="*/ 10 w 57"/>
                <a:gd name="T21" fmla="*/ 23 h 58"/>
                <a:gd name="T22" fmla="*/ 12 w 57"/>
                <a:gd name="T23" fmla="*/ 19 h 58"/>
                <a:gd name="T24" fmla="*/ 14 w 57"/>
                <a:gd name="T25" fmla="*/ 8 h 58"/>
                <a:gd name="T26" fmla="*/ 19 w 57"/>
                <a:gd name="T27" fmla="*/ 11 h 58"/>
                <a:gd name="T28" fmla="*/ 24 w 57"/>
                <a:gd name="T29" fmla="*/ 10 h 58"/>
                <a:gd name="T30" fmla="*/ 33 w 57"/>
                <a:gd name="T31" fmla="*/ 3 h 58"/>
                <a:gd name="T32" fmla="*/ 34 w 57"/>
                <a:gd name="T33" fmla="*/ 10 h 58"/>
                <a:gd name="T34" fmla="*/ 39 w 57"/>
                <a:gd name="T35" fmla="*/ 12 h 58"/>
                <a:gd name="T36" fmla="*/ 50 w 57"/>
                <a:gd name="T37" fmla="*/ 14 h 58"/>
                <a:gd name="T38" fmla="*/ 46 w 57"/>
                <a:gd name="T39" fmla="*/ 20 h 58"/>
                <a:gd name="T40" fmla="*/ 48 w 57"/>
                <a:gd name="T41" fmla="*/ 24 h 58"/>
                <a:gd name="T42" fmla="*/ 54 w 57"/>
                <a:gd name="T43" fmla="*/ 34 h 58"/>
                <a:gd name="T44" fmla="*/ 47 w 57"/>
                <a:gd name="T45" fmla="*/ 35 h 58"/>
                <a:gd name="T46" fmla="*/ 46 w 57"/>
                <a:gd name="T47" fmla="*/ 40 h 58"/>
                <a:gd name="T48" fmla="*/ 43 w 57"/>
                <a:gd name="T49" fmla="*/ 51 h 58"/>
                <a:gd name="T50" fmla="*/ 57 w 57"/>
                <a:gd name="T51" fmla="*/ 21 h 58"/>
                <a:gd name="T52" fmla="*/ 50 w 57"/>
                <a:gd name="T53" fmla="*/ 19 h 58"/>
                <a:gd name="T54" fmla="*/ 43 w 57"/>
                <a:gd name="T55" fmla="*/ 3 h 58"/>
                <a:gd name="T56" fmla="*/ 37 w 57"/>
                <a:gd name="T57" fmla="*/ 7 h 58"/>
                <a:gd name="T58" fmla="*/ 20 w 57"/>
                <a:gd name="T59" fmla="*/ 0 h 58"/>
                <a:gd name="T60" fmla="*/ 19 w 57"/>
                <a:gd name="T61" fmla="*/ 8 h 58"/>
                <a:gd name="T62" fmla="*/ 2 w 57"/>
                <a:gd name="T63" fmla="*/ 14 h 58"/>
                <a:gd name="T64" fmla="*/ 7 w 57"/>
                <a:gd name="T65" fmla="*/ 21 h 58"/>
                <a:gd name="T66" fmla="*/ 0 w 57"/>
                <a:gd name="T67" fmla="*/ 37 h 58"/>
                <a:gd name="T68" fmla="*/ 7 w 57"/>
                <a:gd name="T69" fmla="*/ 38 h 58"/>
                <a:gd name="T70" fmla="*/ 2 w 57"/>
                <a:gd name="T71" fmla="*/ 44 h 58"/>
                <a:gd name="T72" fmla="*/ 19 w 57"/>
                <a:gd name="T73" fmla="*/ 51 h 58"/>
                <a:gd name="T74" fmla="*/ 20 w 57"/>
                <a:gd name="T75" fmla="*/ 58 h 58"/>
                <a:gd name="T76" fmla="*/ 37 w 57"/>
                <a:gd name="T77" fmla="*/ 51 h 58"/>
                <a:gd name="T78" fmla="*/ 43 w 57"/>
                <a:gd name="T79" fmla="*/ 56 h 58"/>
                <a:gd name="T80" fmla="*/ 50 w 57"/>
                <a:gd name="T81" fmla="*/ 39 h 58"/>
                <a:gd name="T82" fmla="*/ 57 w 57"/>
                <a:gd name="T83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" h="58">
                  <a:moveTo>
                    <a:pt x="43" y="51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6" y="48"/>
                    <a:pt x="34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1" y="48"/>
                    <a:pt x="20" y="47"/>
                    <a:pt x="19" y="4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7"/>
                    <a:pt x="10" y="36"/>
                    <a:pt x="10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0" y="21"/>
                    <a:pt x="11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1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6" y="10"/>
                    <a:pt x="37" y="11"/>
                    <a:pt x="38" y="11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7" y="21"/>
                    <a:pt x="47" y="22"/>
                    <a:pt x="47" y="23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6"/>
                    <a:pt x="47" y="37"/>
                    <a:pt x="46" y="38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50" y="44"/>
                    <a:pt x="50" y="44"/>
                    <a:pt x="50" y="44"/>
                  </a:cubicBezTo>
                  <a:lnTo>
                    <a:pt x="43" y="51"/>
                  </a:lnTo>
                  <a:close/>
                  <a:moveTo>
                    <a:pt x="57" y="37"/>
                  </a:moveTo>
                  <a:cubicBezTo>
                    <a:pt x="57" y="21"/>
                    <a:pt x="57" y="21"/>
                    <a:pt x="57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0"/>
                    <a:pt x="50" y="20"/>
                    <a:pt x="50" y="19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7" y="7"/>
                    <a:pt x="37" y="7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9" y="8"/>
                    <a:pt x="19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0"/>
                    <a:pt x="7" y="20"/>
                    <a:pt x="7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20" y="51"/>
                    <a:pt x="20" y="51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8" y="51"/>
                    <a:pt x="38" y="51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8"/>
                    <a:pt x="50" y="38"/>
                    <a:pt x="50" y="37"/>
                  </a:cubicBezTo>
                  <a:lnTo>
                    <a:pt x="57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5" name="Freeform 312">
              <a:extLst>
                <a:ext uri="{FF2B5EF4-FFF2-40B4-BE49-F238E27FC236}">
                  <a16:creationId xmlns:a16="http://schemas.microsoft.com/office/drawing/2014/main" id="{887D5793-54FB-4D6E-B2C1-9E4DA22D36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4475" y="3341688"/>
              <a:ext cx="52388" cy="50800"/>
            </a:xfrm>
            <a:custGeom>
              <a:avLst/>
              <a:gdLst>
                <a:gd name="T0" fmla="*/ 0 w 33"/>
                <a:gd name="T1" fmla="*/ 32 h 32"/>
                <a:gd name="T2" fmla="*/ 33 w 33"/>
                <a:gd name="T3" fmla="*/ 32 h 32"/>
                <a:gd name="T4" fmla="*/ 33 w 33"/>
                <a:gd name="T5" fmla="*/ 0 h 32"/>
                <a:gd name="T6" fmla="*/ 0 w 33"/>
                <a:gd name="T7" fmla="*/ 0 h 32"/>
                <a:gd name="T8" fmla="*/ 0 w 33"/>
                <a:gd name="T9" fmla="*/ 32 h 32"/>
                <a:gd name="T10" fmla="*/ 5 w 33"/>
                <a:gd name="T11" fmla="*/ 2 h 32"/>
                <a:gd name="T12" fmla="*/ 30 w 33"/>
                <a:gd name="T13" fmla="*/ 2 h 32"/>
                <a:gd name="T14" fmla="*/ 30 w 33"/>
                <a:gd name="T15" fmla="*/ 27 h 32"/>
                <a:gd name="T16" fmla="*/ 5 w 33"/>
                <a:gd name="T17" fmla="*/ 27 h 32"/>
                <a:gd name="T18" fmla="*/ 5 w 33"/>
                <a:gd name="T19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2">
                  <a:moveTo>
                    <a:pt x="0" y="32"/>
                  </a:moveTo>
                  <a:lnTo>
                    <a:pt x="33" y="3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32"/>
                  </a:lnTo>
                  <a:close/>
                  <a:moveTo>
                    <a:pt x="5" y="2"/>
                  </a:moveTo>
                  <a:lnTo>
                    <a:pt x="30" y="2"/>
                  </a:lnTo>
                  <a:lnTo>
                    <a:pt x="30" y="27"/>
                  </a:lnTo>
                  <a:lnTo>
                    <a:pt x="5" y="27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6" name="Freeform 313">
              <a:extLst>
                <a:ext uri="{FF2B5EF4-FFF2-40B4-BE49-F238E27FC236}">
                  <a16:creationId xmlns:a16="http://schemas.microsoft.com/office/drawing/2014/main" id="{9A4B6006-A8FD-4FC2-B5C3-7D088861D9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9713" y="3336925"/>
              <a:ext cx="60325" cy="60325"/>
            </a:xfrm>
            <a:custGeom>
              <a:avLst/>
              <a:gdLst>
                <a:gd name="T0" fmla="*/ 31 w 38"/>
                <a:gd name="T1" fmla="*/ 28 h 38"/>
                <a:gd name="T2" fmla="*/ 10 w 38"/>
                <a:gd name="T3" fmla="*/ 28 h 38"/>
                <a:gd name="T4" fmla="*/ 10 w 38"/>
                <a:gd name="T5" fmla="*/ 8 h 38"/>
                <a:gd name="T6" fmla="*/ 31 w 38"/>
                <a:gd name="T7" fmla="*/ 8 h 38"/>
                <a:gd name="T8" fmla="*/ 31 w 38"/>
                <a:gd name="T9" fmla="*/ 28 h 38"/>
                <a:gd name="T10" fmla="*/ 0 w 38"/>
                <a:gd name="T11" fmla="*/ 38 h 38"/>
                <a:gd name="T12" fmla="*/ 38 w 38"/>
                <a:gd name="T13" fmla="*/ 38 h 38"/>
                <a:gd name="T14" fmla="*/ 38 w 38"/>
                <a:gd name="T15" fmla="*/ 0 h 38"/>
                <a:gd name="T16" fmla="*/ 0 w 38"/>
                <a:gd name="T17" fmla="*/ 0 h 38"/>
                <a:gd name="T18" fmla="*/ 0 w 38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31" y="28"/>
                  </a:moveTo>
                  <a:lnTo>
                    <a:pt x="10" y="28"/>
                  </a:lnTo>
                  <a:lnTo>
                    <a:pt x="10" y="8"/>
                  </a:lnTo>
                  <a:lnTo>
                    <a:pt x="31" y="8"/>
                  </a:lnTo>
                  <a:lnTo>
                    <a:pt x="31" y="28"/>
                  </a:lnTo>
                  <a:close/>
                  <a:moveTo>
                    <a:pt x="0" y="38"/>
                  </a:moveTo>
                  <a:lnTo>
                    <a:pt x="38" y="38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86" name="Group 45385">
            <a:extLst>
              <a:ext uri="{FF2B5EF4-FFF2-40B4-BE49-F238E27FC236}">
                <a16:creationId xmlns:a16="http://schemas.microsoft.com/office/drawing/2014/main" id="{79188F18-7F56-4944-B5A1-55DF3520F16A}"/>
              </a:ext>
            </a:extLst>
          </p:cNvPr>
          <p:cNvGrpSpPr/>
          <p:nvPr/>
        </p:nvGrpSpPr>
        <p:grpSpPr>
          <a:xfrm>
            <a:off x="5810250" y="2857501"/>
            <a:ext cx="766763" cy="776288"/>
            <a:chOff x="5810250" y="2857501"/>
            <a:chExt cx="766763" cy="776288"/>
          </a:xfrm>
        </p:grpSpPr>
        <p:sp>
          <p:nvSpPr>
            <p:cNvPr id="45379" name="AutoShape 315">
              <a:extLst>
                <a:ext uri="{FF2B5EF4-FFF2-40B4-BE49-F238E27FC236}">
                  <a16:creationId xmlns:a16="http://schemas.microsoft.com/office/drawing/2014/main" id="{78442B30-E328-45B5-9B14-475C54C729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0250" y="2862263"/>
              <a:ext cx="766763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0" name="Freeform 317">
              <a:extLst>
                <a:ext uri="{FF2B5EF4-FFF2-40B4-BE49-F238E27FC236}">
                  <a16:creationId xmlns:a16="http://schemas.microsoft.com/office/drawing/2014/main" id="{27259CB4-B2CF-4949-9F7D-DA4DD657A9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425" y="285750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1" name="Freeform 318">
              <a:extLst>
                <a:ext uri="{FF2B5EF4-FFF2-40B4-BE49-F238E27FC236}">
                  <a16:creationId xmlns:a16="http://schemas.microsoft.com/office/drawing/2014/main" id="{AAC8079B-08D1-4FB3-8A71-B23A39312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7100" y="3014663"/>
              <a:ext cx="365125" cy="395288"/>
            </a:xfrm>
            <a:custGeom>
              <a:avLst/>
              <a:gdLst>
                <a:gd name="T0" fmla="*/ 47 w 93"/>
                <a:gd name="T1" fmla="*/ 51 h 99"/>
                <a:gd name="T2" fmla="*/ 23 w 93"/>
                <a:gd name="T3" fmla="*/ 27 h 99"/>
                <a:gd name="T4" fmla="*/ 47 w 93"/>
                <a:gd name="T5" fmla="*/ 3 h 99"/>
                <a:gd name="T6" fmla="*/ 72 w 93"/>
                <a:gd name="T7" fmla="*/ 27 h 99"/>
                <a:gd name="T8" fmla="*/ 47 w 93"/>
                <a:gd name="T9" fmla="*/ 51 h 99"/>
                <a:gd name="T10" fmla="*/ 55 w 93"/>
                <a:gd name="T11" fmla="*/ 62 h 99"/>
                <a:gd name="T12" fmla="*/ 47 w 93"/>
                <a:gd name="T13" fmla="*/ 91 h 99"/>
                <a:gd name="T14" fmla="*/ 40 w 93"/>
                <a:gd name="T15" fmla="*/ 62 h 99"/>
                <a:gd name="T16" fmla="*/ 47 w 93"/>
                <a:gd name="T17" fmla="*/ 56 h 99"/>
                <a:gd name="T18" fmla="*/ 55 w 93"/>
                <a:gd name="T19" fmla="*/ 62 h 99"/>
                <a:gd name="T20" fmla="*/ 3 w 93"/>
                <a:gd name="T21" fmla="*/ 95 h 99"/>
                <a:gd name="T22" fmla="*/ 3 w 93"/>
                <a:gd name="T23" fmla="*/ 87 h 99"/>
                <a:gd name="T24" fmla="*/ 12 w 93"/>
                <a:gd name="T25" fmla="*/ 64 h 99"/>
                <a:gd name="T26" fmla="*/ 33 w 93"/>
                <a:gd name="T27" fmla="*/ 55 h 99"/>
                <a:gd name="T28" fmla="*/ 43 w 93"/>
                <a:gd name="T29" fmla="*/ 55 h 99"/>
                <a:gd name="T30" fmla="*/ 37 w 93"/>
                <a:gd name="T31" fmla="*/ 60 h 99"/>
                <a:gd name="T32" fmla="*/ 37 w 93"/>
                <a:gd name="T33" fmla="*/ 62 h 99"/>
                <a:gd name="T34" fmla="*/ 45 w 93"/>
                <a:gd name="T35" fmla="*/ 95 h 99"/>
                <a:gd name="T36" fmla="*/ 3 w 93"/>
                <a:gd name="T37" fmla="*/ 95 h 99"/>
                <a:gd name="T38" fmla="*/ 81 w 93"/>
                <a:gd name="T39" fmla="*/ 58 h 99"/>
                <a:gd name="T40" fmla="*/ 80 w 93"/>
                <a:gd name="T41" fmla="*/ 57 h 99"/>
                <a:gd name="T42" fmla="*/ 62 w 93"/>
                <a:gd name="T43" fmla="*/ 51 h 99"/>
                <a:gd name="T44" fmla="*/ 61 w 93"/>
                <a:gd name="T45" fmla="*/ 51 h 99"/>
                <a:gd name="T46" fmla="*/ 75 w 93"/>
                <a:gd name="T47" fmla="*/ 27 h 99"/>
                <a:gd name="T48" fmla="*/ 47 w 93"/>
                <a:gd name="T49" fmla="*/ 0 h 99"/>
                <a:gd name="T50" fmla="*/ 20 w 93"/>
                <a:gd name="T51" fmla="*/ 27 h 99"/>
                <a:gd name="T52" fmla="*/ 34 w 93"/>
                <a:gd name="T53" fmla="*/ 51 h 99"/>
                <a:gd name="T54" fmla="*/ 33 w 93"/>
                <a:gd name="T55" fmla="*/ 51 h 99"/>
                <a:gd name="T56" fmla="*/ 9 w 93"/>
                <a:gd name="T57" fmla="*/ 62 h 99"/>
                <a:gd name="T58" fmla="*/ 0 w 93"/>
                <a:gd name="T59" fmla="*/ 87 h 99"/>
                <a:gd name="T60" fmla="*/ 0 w 93"/>
                <a:gd name="T61" fmla="*/ 99 h 99"/>
                <a:gd name="T62" fmla="*/ 66 w 93"/>
                <a:gd name="T63" fmla="*/ 99 h 99"/>
                <a:gd name="T64" fmla="*/ 69 w 93"/>
                <a:gd name="T65" fmla="*/ 97 h 99"/>
                <a:gd name="T66" fmla="*/ 68 w 93"/>
                <a:gd name="T67" fmla="*/ 95 h 99"/>
                <a:gd name="T68" fmla="*/ 68 w 93"/>
                <a:gd name="T69" fmla="*/ 95 h 99"/>
                <a:gd name="T70" fmla="*/ 50 w 93"/>
                <a:gd name="T71" fmla="*/ 95 h 99"/>
                <a:gd name="T72" fmla="*/ 58 w 93"/>
                <a:gd name="T73" fmla="*/ 62 h 99"/>
                <a:gd name="T74" fmla="*/ 58 w 93"/>
                <a:gd name="T75" fmla="*/ 60 h 99"/>
                <a:gd name="T76" fmla="*/ 52 w 93"/>
                <a:gd name="T77" fmla="*/ 55 h 99"/>
                <a:gd name="T78" fmla="*/ 62 w 93"/>
                <a:gd name="T79" fmla="*/ 55 h 99"/>
                <a:gd name="T80" fmla="*/ 77 w 93"/>
                <a:gd name="T81" fmla="*/ 59 h 99"/>
                <a:gd name="T82" fmla="*/ 78 w 93"/>
                <a:gd name="T83" fmla="*/ 60 h 99"/>
                <a:gd name="T84" fmla="*/ 80 w 93"/>
                <a:gd name="T85" fmla="*/ 61 h 99"/>
                <a:gd name="T86" fmla="*/ 81 w 93"/>
                <a:gd name="T87" fmla="*/ 62 h 99"/>
                <a:gd name="T88" fmla="*/ 81 w 93"/>
                <a:gd name="T89" fmla="*/ 60 h 99"/>
                <a:gd name="T90" fmla="*/ 84 w 93"/>
                <a:gd name="T91" fmla="*/ 60 h 99"/>
                <a:gd name="T92" fmla="*/ 83 w 93"/>
                <a:gd name="T93" fmla="*/ 60 h 99"/>
                <a:gd name="T94" fmla="*/ 81 w 93"/>
                <a:gd name="T95" fmla="*/ 58 h 99"/>
                <a:gd name="T96" fmla="*/ 91 w 93"/>
                <a:gd name="T97" fmla="*/ 79 h 99"/>
                <a:gd name="T98" fmla="*/ 91 w 93"/>
                <a:gd name="T99" fmla="*/ 80 h 99"/>
                <a:gd name="T100" fmla="*/ 92 w 93"/>
                <a:gd name="T101" fmla="*/ 87 h 99"/>
                <a:gd name="T102" fmla="*/ 92 w 93"/>
                <a:gd name="T103" fmla="*/ 94 h 99"/>
                <a:gd name="T104" fmla="*/ 93 w 93"/>
                <a:gd name="T105" fmla="*/ 94 h 99"/>
                <a:gd name="T106" fmla="*/ 93 w 93"/>
                <a:gd name="T107" fmla="*/ 79 h 99"/>
                <a:gd name="T108" fmla="*/ 91 w 93"/>
                <a:gd name="T109" fmla="*/ 7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3" h="99">
                  <a:moveTo>
                    <a:pt x="47" y="51"/>
                  </a:moveTo>
                  <a:cubicBezTo>
                    <a:pt x="34" y="51"/>
                    <a:pt x="23" y="41"/>
                    <a:pt x="23" y="27"/>
                  </a:cubicBezTo>
                  <a:cubicBezTo>
                    <a:pt x="23" y="14"/>
                    <a:pt x="34" y="3"/>
                    <a:pt x="47" y="3"/>
                  </a:cubicBezTo>
                  <a:cubicBezTo>
                    <a:pt x="61" y="3"/>
                    <a:pt x="72" y="14"/>
                    <a:pt x="72" y="27"/>
                  </a:cubicBezTo>
                  <a:cubicBezTo>
                    <a:pt x="72" y="41"/>
                    <a:pt x="61" y="51"/>
                    <a:pt x="47" y="51"/>
                  </a:cubicBezTo>
                  <a:moveTo>
                    <a:pt x="55" y="62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55" y="62"/>
                  </a:lnTo>
                  <a:close/>
                  <a:moveTo>
                    <a:pt x="3" y="95"/>
                  </a:moveTo>
                  <a:cubicBezTo>
                    <a:pt x="3" y="87"/>
                    <a:pt x="3" y="87"/>
                    <a:pt x="3" y="87"/>
                  </a:cubicBezTo>
                  <a:cubicBezTo>
                    <a:pt x="3" y="78"/>
                    <a:pt x="6" y="70"/>
                    <a:pt x="12" y="64"/>
                  </a:cubicBezTo>
                  <a:cubicBezTo>
                    <a:pt x="17" y="58"/>
                    <a:pt x="25" y="55"/>
                    <a:pt x="3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45" y="95"/>
                    <a:pt x="45" y="95"/>
                    <a:pt x="45" y="95"/>
                  </a:cubicBezTo>
                  <a:lnTo>
                    <a:pt x="3" y="95"/>
                  </a:lnTo>
                  <a:close/>
                  <a:moveTo>
                    <a:pt x="81" y="58"/>
                  </a:moveTo>
                  <a:cubicBezTo>
                    <a:pt x="81" y="58"/>
                    <a:pt x="80" y="57"/>
                    <a:pt x="80" y="57"/>
                  </a:cubicBezTo>
                  <a:cubicBezTo>
                    <a:pt x="75" y="54"/>
                    <a:pt x="69" y="51"/>
                    <a:pt x="62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9" y="47"/>
                    <a:pt x="75" y="38"/>
                    <a:pt x="75" y="27"/>
                  </a:cubicBezTo>
                  <a:cubicBezTo>
                    <a:pt x="75" y="12"/>
                    <a:pt x="63" y="0"/>
                    <a:pt x="47" y="0"/>
                  </a:cubicBezTo>
                  <a:cubicBezTo>
                    <a:pt x="32" y="0"/>
                    <a:pt x="20" y="12"/>
                    <a:pt x="20" y="27"/>
                  </a:cubicBezTo>
                  <a:cubicBezTo>
                    <a:pt x="20" y="38"/>
                    <a:pt x="26" y="47"/>
                    <a:pt x="34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24" y="51"/>
                    <a:pt x="16" y="55"/>
                    <a:pt x="9" y="62"/>
                  </a:cubicBezTo>
                  <a:cubicBezTo>
                    <a:pt x="3" y="69"/>
                    <a:pt x="0" y="77"/>
                    <a:pt x="0" y="8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8" y="55"/>
                    <a:pt x="73" y="57"/>
                    <a:pt x="77" y="59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9" y="60"/>
                    <a:pt x="79" y="61"/>
                    <a:pt x="80" y="61"/>
                  </a:cubicBezTo>
                  <a:cubicBezTo>
                    <a:pt x="80" y="61"/>
                    <a:pt x="80" y="62"/>
                    <a:pt x="81" y="62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3" y="60"/>
                  </a:cubicBezTo>
                  <a:cubicBezTo>
                    <a:pt x="83" y="59"/>
                    <a:pt x="82" y="58"/>
                    <a:pt x="81" y="58"/>
                  </a:cubicBezTo>
                  <a:moveTo>
                    <a:pt x="91" y="79"/>
                  </a:moveTo>
                  <a:cubicBezTo>
                    <a:pt x="91" y="79"/>
                    <a:pt x="91" y="79"/>
                    <a:pt x="91" y="80"/>
                  </a:cubicBezTo>
                  <a:cubicBezTo>
                    <a:pt x="91" y="82"/>
                    <a:pt x="92" y="84"/>
                    <a:pt x="92" y="87"/>
                  </a:cubicBezTo>
                  <a:cubicBezTo>
                    <a:pt x="92" y="94"/>
                    <a:pt x="92" y="94"/>
                    <a:pt x="92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79"/>
                    <a:pt x="93" y="79"/>
                    <a:pt x="93" y="79"/>
                  </a:cubicBezTo>
                  <a:lnTo>
                    <a:pt x="91" y="7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2" name="Freeform 319">
              <a:extLst>
                <a:ext uri="{FF2B5EF4-FFF2-40B4-BE49-F238E27FC236}">
                  <a16:creationId xmlns:a16="http://schemas.microsoft.com/office/drawing/2014/main" id="{8A1B7D20-06B7-4550-A74F-DCEEF1E8B0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5700" y="3246438"/>
              <a:ext cx="215900" cy="223838"/>
            </a:xfrm>
            <a:custGeom>
              <a:avLst/>
              <a:gdLst>
                <a:gd name="T0" fmla="*/ 46 w 55"/>
                <a:gd name="T1" fmla="*/ 38 h 56"/>
                <a:gd name="T2" fmla="*/ 50 w 55"/>
                <a:gd name="T3" fmla="*/ 43 h 56"/>
                <a:gd name="T4" fmla="*/ 38 w 55"/>
                <a:gd name="T5" fmla="*/ 47 h 56"/>
                <a:gd name="T6" fmla="*/ 34 w 55"/>
                <a:gd name="T7" fmla="*/ 48 h 56"/>
                <a:gd name="T8" fmla="*/ 33 w 55"/>
                <a:gd name="T9" fmla="*/ 55 h 56"/>
                <a:gd name="T10" fmla="*/ 22 w 55"/>
                <a:gd name="T11" fmla="*/ 48 h 56"/>
                <a:gd name="T12" fmla="*/ 18 w 55"/>
                <a:gd name="T13" fmla="*/ 47 h 56"/>
                <a:gd name="T14" fmla="*/ 13 w 55"/>
                <a:gd name="T15" fmla="*/ 51 h 56"/>
                <a:gd name="T16" fmla="*/ 9 w 55"/>
                <a:gd name="T17" fmla="*/ 38 h 56"/>
                <a:gd name="T18" fmla="*/ 9 w 55"/>
                <a:gd name="T19" fmla="*/ 37 h 56"/>
                <a:gd name="T20" fmla="*/ 8 w 55"/>
                <a:gd name="T21" fmla="*/ 34 h 56"/>
                <a:gd name="T22" fmla="*/ 1 w 55"/>
                <a:gd name="T23" fmla="*/ 22 h 56"/>
                <a:gd name="T24" fmla="*/ 8 w 55"/>
                <a:gd name="T25" fmla="*/ 22 h 56"/>
                <a:gd name="T26" fmla="*/ 9 w 55"/>
                <a:gd name="T27" fmla="*/ 18 h 56"/>
                <a:gd name="T28" fmla="*/ 13 w 55"/>
                <a:gd name="T29" fmla="*/ 5 h 56"/>
                <a:gd name="T30" fmla="*/ 18 w 55"/>
                <a:gd name="T31" fmla="*/ 10 h 56"/>
                <a:gd name="T32" fmla="*/ 22 w 55"/>
                <a:gd name="T33" fmla="*/ 8 h 56"/>
                <a:gd name="T34" fmla="*/ 33 w 55"/>
                <a:gd name="T35" fmla="*/ 2 h 56"/>
                <a:gd name="T36" fmla="*/ 34 w 55"/>
                <a:gd name="T37" fmla="*/ 8 h 56"/>
                <a:gd name="T38" fmla="*/ 38 w 55"/>
                <a:gd name="T39" fmla="*/ 10 h 56"/>
                <a:gd name="T40" fmla="*/ 50 w 55"/>
                <a:gd name="T41" fmla="*/ 13 h 56"/>
                <a:gd name="T42" fmla="*/ 46 w 55"/>
                <a:gd name="T43" fmla="*/ 18 h 56"/>
                <a:gd name="T44" fmla="*/ 48 w 55"/>
                <a:gd name="T45" fmla="*/ 22 h 56"/>
                <a:gd name="T46" fmla="*/ 54 w 55"/>
                <a:gd name="T47" fmla="*/ 34 h 56"/>
                <a:gd name="T48" fmla="*/ 47 w 55"/>
                <a:gd name="T49" fmla="*/ 34 h 56"/>
                <a:gd name="T50" fmla="*/ 55 w 55"/>
                <a:gd name="T51" fmla="*/ 21 h 56"/>
                <a:gd name="T52" fmla="*/ 48 w 55"/>
                <a:gd name="T53" fmla="*/ 18 h 56"/>
                <a:gd name="T54" fmla="*/ 42 w 55"/>
                <a:gd name="T55" fmla="*/ 3 h 56"/>
                <a:gd name="T56" fmla="*/ 35 w 55"/>
                <a:gd name="T57" fmla="*/ 7 h 56"/>
                <a:gd name="T58" fmla="*/ 20 w 55"/>
                <a:gd name="T59" fmla="*/ 0 h 56"/>
                <a:gd name="T60" fmla="*/ 18 w 55"/>
                <a:gd name="T61" fmla="*/ 8 h 56"/>
                <a:gd name="T62" fmla="*/ 3 w 55"/>
                <a:gd name="T63" fmla="*/ 13 h 56"/>
                <a:gd name="T64" fmla="*/ 6 w 55"/>
                <a:gd name="T65" fmla="*/ 21 h 56"/>
                <a:gd name="T66" fmla="*/ 0 w 55"/>
                <a:gd name="T67" fmla="*/ 35 h 56"/>
                <a:gd name="T68" fmla="*/ 7 w 55"/>
                <a:gd name="T69" fmla="*/ 37 h 56"/>
                <a:gd name="T70" fmla="*/ 5 w 55"/>
                <a:gd name="T71" fmla="*/ 41 h 56"/>
                <a:gd name="T72" fmla="*/ 13 w 55"/>
                <a:gd name="T73" fmla="*/ 53 h 56"/>
                <a:gd name="T74" fmla="*/ 20 w 55"/>
                <a:gd name="T75" fmla="*/ 49 h 56"/>
                <a:gd name="T76" fmla="*/ 35 w 55"/>
                <a:gd name="T77" fmla="*/ 56 h 56"/>
                <a:gd name="T78" fmla="*/ 37 w 55"/>
                <a:gd name="T79" fmla="*/ 48 h 56"/>
                <a:gd name="T80" fmla="*/ 52 w 55"/>
                <a:gd name="T81" fmla="*/ 43 h 56"/>
                <a:gd name="T82" fmla="*/ 49 w 55"/>
                <a:gd name="T83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5" h="56">
                  <a:moveTo>
                    <a:pt x="47" y="34"/>
                  </a:moveTo>
                  <a:cubicBezTo>
                    <a:pt x="47" y="36"/>
                    <a:pt x="47" y="37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5" y="48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7"/>
                    <a:pt x="18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8" y="36"/>
                    <a:pt x="8" y="35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0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20" y="8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8"/>
                    <a:pt x="36" y="9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7" y="20"/>
                    <a:pt x="47" y="21"/>
                    <a:pt x="47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48" y="34"/>
                    <a:pt x="48" y="34"/>
                    <a:pt x="48" y="34"/>
                  </a:cubicBezTo>
                  <a:lnTo>
                    <a:pt x="47" y="34"/>
                  </a:lnTo>
                  <a:close/>
                  <a:moveTo>
                    <a:pt x="55" y="35"/>
                  </a:moveTo>
                  <a:cubicBezTo>
                    <a:pt x="55" y="21"/>
                    <a:pt x="55" y="21"/>
                    <a:pt x="55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0"/>
                    <a:pt x="48" y="19"/>
                    <a:pt x="48" y="18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6" y="7"/>
                    <a:pt x="35" y="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8"/>
                    <a:pt x="18" y="8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20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8"/>
                    <a:pt x="7" y="38"/>
                    <a:pt x="8" y="3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9" y="49"/>
                    <a:pt x="19" y="49"/>
                    <a:pt x="20" y="49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6" y="49"/>
                    <a:pt x="37" y="49"/>
                    <a:pt x="37" y="48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6"/>
                    <a:pt x="49" y="35"/>
                  </a:cubicBezTo>
                  <a:lnTo>
                    <a:pt x="55" y="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3" name="Freeform 320">
              <a:extLst>
                <a:ext uri="{FF2B5EF4-FFF2-40B4-BE49-F238E27FC236}">
                  <a16:creationId xmlns:a16="http://schemas.microsoft.com/office/drawing/2014/main" id="{35DF25A8-7120-42A2-A29F-45A397BFD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0938" y="3241676"/>
              <a:ext cx="223838" cy="233363"/>
            </a:xfrm>
            <a:custGeom>
              <a:avLst/>
              <a:gdLst>
                <a:gd name="T0" fmla="*/ 39 w 57"/>
                <a:gd name="T1" fmla="*/ 46 h 58"/>
                <a:gd name="T2" fmla="*/ 34 w 57"/>
                <a:gd name="T3" fmla="*/ 48 h 58"/>
                <a:gd name="T4" fmla="*/ 33 w 57"/>
                <a:gd name="T5" fmla="*/ 55 h 58"/>
                <a:gd name="T6" fmla="*/ 24 w 57"/>
                <a:gd name="T7" fmla="*/ 49 h 58"/>
                <a:gd name="T8" fmla="*/ 19 w 57"/>
                <a:gd name="T9" fmla="*/ 47 h 58"/>
                <a:gd name="T10" fmla="*/ 14 w 57"/>
                <a:gd name="T11" fmla="*/ 51 h 58"/>
                <a:gd name="T12" fmla="*/ 12 w 57"/>
                <a:gd name="T13" fmla="*/ 40 h 58"/>
                <a:gd name="T14" fmla="*/ 11 w 57"/>
                <a:gd name="T15" fmla="*/ 38 h 58"/>
                <a:gd name="T16" fmla="*/ 9 w 57"/>
                <a:gd name="T17" fmla="*/ 34 h 58"/>
                <a:gd name="T18" fmla="*/ 3 w 57"/>
                <a:gd name="T19" fmla="*/ 24 h 58"/>
                <a:gd name="T20" fmla="*/ 10 w 57"/>
                <a:gd name="T21" fmla="*/ 23 h 58"/>
                <a:gd name="T22" fmla="*/ 12 w 57"/>
                <a:gd name="T23" fmla="*/ 19 h 58"/>
                <a:gd name="T24" fmla="*/ 14 w 57"/>
                <a:gd name="T25" fmla="*/ 8 h 58"/>
                <a:gd name="T26" fmla="*/ 19 w 57"/>
                <a:gd name="T27" fmla="*/ 11 h 58"/>
                <a:gd name="T28" fmla="*/ 24 w 57"/>
                <a:gd name="T29" fmla="*/ 10 h 58"/>
                <a:gd name="T30" fmla="*/ 33 w 57"/>
                <a:gd name="T31" fmla="*/ 3 h 58"/>
                <a:gd name="T32" fmla="*/ 34 w 57"/>
                <a:gd name="T33" fmla="*/ 10 h 58"/>
                <a:gd name="T34" fmla="*/ 39 w 57"/>
                <a:gd name="T35" fmla="*/ 12 h 58"/>
                <a:gd name="T36" fmla="*/ 50 w 57"/>
                <a:gd name="T37" fmla="*/ 14 h 58"/>
                <a:gd name="T38" fmla="*/ 46 w 57"/>
                <a:gd name="T39" fmla="*/ 20 h 58"/>
                <a:gd name="T40" fmla="*/ 48 w 57"/>
                <a:gd name="T41" fmla="*/ 24 h 58"/>
                <a:gd name="T42" fmla="*/ 54 w 57"/>
                <a:gd name="T43" fmla="*/ 34 h 58"/>
                <a:gd name="T44" fmla="*/ 47 w 57"/>
                <a:gd name="T45" fmla="*/ 35 h 58"/>
                <a:gd name="T46" fmla="*/ 46 w 57"/>
                <a:gd name="T47" fmla="*/ 40 h 58"/>
                <a:gd name="T48" fmla="*/ 43 w 57"/>
                <a:gd name="T49" fmla="*/ 51 h 58"/>
                <a:gd name="T50" fmla="*/ 57 w 57"/>
                <a:gd name="T51" fmla="*/ 21 h 58"/>
                <a:gd name="T52" fmla="*/ 50 w 57"/>
                <a:gd name="T53" fmla="*/ 19 h 58"/>
                <a:gd name="T54" fmla="*/ 43 w 57"/>
                <a:gd name="T55" fmla="*/ 3 h 58"/>
                <a:gd name="T56" fmla="*/ 37 w 57"/>
                <a:gd name="T57" fmla="*/ 7 h 58"/>
                <a:gd name="T58" fmla="*/ 20 w 57"/>
                <a:gd name="T59" fmla="*/ 0 h 58"/>
                <a:gd name="T60" fmla="*/ 19 w 57"/>
                <a:gd name="T61" fmla="*/ 8 h 58"/>
                <a:gd name="T62" fmla="*/ 2 w 57"/>
                <a:gd name="T63" fmla="*/ 14 h 58"/>
                <a:gd name="T64" fmla="*/ 7 w 57"/>
                <a:gd name="T65" fmla="*/ 21 h 58"/>
                <a:gd name="T66" fmla="*/ 0 w 57"/>
                <a:gd name="T67" fmla="*/ 37 h 58"/>
                <a:gd name="T68" fmla="*/ 7 w 57"/>
                <a:gd name="T69" fmla="*/ 38 h 58"/>
                <a:gd name="T70" fmla="*/ 2 w 57"/>
                <a:gd name="T71" fmla="*/ 44 h 58"/>
                <a:gd name="T72" fmla="*/ 19 w 57"/>
                <a:gd name="T73" fmla="*/ 51 h 58"/>
                <a:gd name="T74" fmla="*/ 20 w 57"/>
                <a:gd name="T75" fmla="*/ 58 h 58"/>
                <a:gd name="T76" fmla="*/ 37 w 57"/>
                <a:gd name="T77" fmla="*/ 51 h 58"/>
                <a:gd name="T78" fmla="*/ 43 w 57"/>
                <a:gd name="T79" fmla="*/ 56 h 58"/>
                <a:gd name="T80" fmla="*/ 50 w 57"/>
                <a:gd name="T81" fmla="*/ 39 h 58"/>
                <a:gd name="T82" fmla="*/ 57 w 57"/>
                <a:gd name="T83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" h="58">
                  <a:moveTo>
                    <a:pt x="43" y="51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6" y="48"/>
                    <a:pt x="34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1" y="48"/>
                    <a:pt x="20" y="47"/>
                    <a:pt x="19" y="4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7"/>
                    <a:pt x="10" y="36"/>
                    <a:pt x="10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0" y="21"/>
                    <a:pt x="11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1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6" y="10"/>
                    <a:pt x="37" y="11"/>
                    <a:pt x="38" y="11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7" y="21"/>
                    <a:pt x="47" y="22"/>
                    <a:pt x="47" y="23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6"/>
                    <a:pt x="47" y="37"/>
                    <a:pt x="46" y="38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50" y="44"/>
                    <a:pt x="50" y="44"/>
                    <a:pt x="50" y="44"/>
                  </a:cubicBezTo>
                  <a:lnTo>
                    <a:pt x="43" y="51"/>
                  </a:lnTo>
                  <a:close/>
                  <a:moveTo>
                    <a:pt x="57" y="37"/>
                  </a:moveTo>
                  <a:cubicBezTo>
                    <a:pt x="57" y="21"/>
                    <a:pt x="57" y="21"/>
                    <a:pt x="57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0"/>
                    <a:pt x="50" y="20"/>
                    <a:pt x="50" y="19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7" y="7"/>
                    <a:pt x="37" y="7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9" y="8"/>
                    <a:pt x="19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0"/>
                    <a:pt x="7" y="20"/>
                    <a:pt x="7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20" y="51"/>
                    <a:pt x="20" y="51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8" y="51"/>
                    <a:pt x="38" y="51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8"/>
                    <a:pt x="50" y="38"/>
                    <a:pt x="50" y="37"/>
                  </a:cubicBezTo>
                  <a:lnTo>
                    <a:pt x="57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4" name="Freeform 321">
              <a:extLst>
                <a:ext uri="{FF2B5EF4-FFF2-40B4-BE49-F238E27FC236}">
                  <a16:creationId xmlns:a16="http://schemas.microsoft.com/office/drawing/2014/main" id="{7E2CFEF7-143D-4813-80D5-13041FB1B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8250" y="3333751"/>
              <a:ext cx="50800" cy="52388"/>
            </a:xfrm>
            <a:custGeom>
              <a:avLst/>
              <a:gdLst>
                <a:gd name="T0" fmla="*/ 0 w 32"/>
                <a:gd name="T1" fmla="*/ 33 h 33"/>
                <a:gd name="T2" fmla="*/ 32 w 32"/>
                <a:gd name="T3" fmla="*/ 33 h 33"/>
                <a:gd name="T4" fmla="*/ 32 w 32"/>
                <a:gd name="T5" fmla="*/ 0 h 33"/>
                <a:gd name="T6" fmla="*/ 0 w 32"/>
                <a:gd name="T7" fmla="*/ 0 h 33"/>
                <a:gd name="T8" fmla="*/ 0 w 32"/>
                <a:gd name="T9" fmla="*/ 33 h 33"/>
                <a:gd name="T10" fmla="*/ 4 w 32"/>
                <a:gd name="T11" fmla="*/ 3 h 33"/>
                <a:gd name="T12" fmla="*/ 29 w 32"/>
                <a:gd name="T13" fmla="*/ 3 h 33"/>
                <a:gd name="T14" fmla="*/ 29 w 32"/>
                <a:gd name="T15" fmla="*/ 28 h 33"/>
                <a:gd name="T16" fmla="*/ 4 w 32"/>
                <a:gd name="T17" fmla="*/ 28 h 33"/>
                <a:gd name="T18" fmla="*/ 4 w 32"/>
                <a:gd name="T1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0" y="33"/>
                  </a:moveTo>
                  <a:lnTo>
                    <a:pt x="32" y="33"/>
                  </a:lnTo>
                  <a:lnTo>
                    <a:pt x="32" y="0"/>
                  </a:lnTo>
                  <a:lnTo>
                    <a:pt x="0" y="0"/>
                  </a:lnTo>
                  <a:lnTo>
                    <a:pt x="0" y="33"/>
                  </a:lnTo>
                  <a:close/>
                  <a:moveTo>
                    <a:pt x="4" y="3"/>
                  </a:moveTo>
                  <a:lnTo>
                    <a:pt x="29" y="3"/>
                  </a:lnTo>
                  <a:lnTo>
                    <a:pt x="29" y="28"/>
                  </a:lnTo>
                  <a:lnTo>
                    <a:pt x="4" y="28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5" name="Freeform 322">
              <a:extLst>
                <a:ext uri="{FF2B5EF4-FFF2-40B4-BE49-F238E27FC236}">
                  <a16:creationId xmlns:a16="http://schemas.microsoft.com/office/drawing/2014/main" id="{3A049588-ABA6-422C-9ED9-97954EAC90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3488" y="3330576"/>
              <a:ext cx="58738" cy="60325"/>
            </a:xfrm>
            <a:custGeom>
              <a:avLst/>
              <a:gdLst>
                <a:gd name="T0" fmla="*/ 30 w 37"/>
                <a:gd name="T1" fmla="*/ 28 h 38"/>
                <a:gd name="T2" fmla="*/ 10 w 37"/>
                <a:gd name="T3" fmla="*/ 28 h 38"/>
                <a:gd name="T4" fmla="*/ 10 w 37"/>
                <a:gd name="T5" fmla="*/ 7 h 38"/>
                <a:gd name="T6" fmla="*/ 30 w 37"/>
                <a:gd name="T7" fmla="*/ 7 h 38"/>
                <a:gd name="T8" fmla="*/ 30 w 37"/>
                <a:gd name="T9" fmla="*/ 28 h 38"/>
                <a:gd name="T10" fmla="*/ 0 w 37"/>
                <a:gd name="T11" fmla="*/ 38 h 38"/>
                <a:gd name="T12" fmla="*/ 37 w 37"/>
                <a:gd name="T13" fmla="*/ 38 h 38"/>
                <a:gd name="T14" fmla="*/ 37 w 37"/>
                <a:gd name="T15" fmla="*/ 0 h 38"/>
                <a:gd name="T16" fmla="*/ 0 w 37"/>
                <a:gd name="T17" fmla="*/ 0 h 38"/>
                <a:gd name="T18" fmla="*/ 0 w 37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30" y="28"/>
                  </a:moveTo>
                  <a:lnTo>
                    <a:pt x="10" y="28"/>
                  </a:lnTo>
                  <a:lnTo>
                    <a:pt x="10" y="7"/>
                  </a:lnTo>
                  <a:lnTo>
                    <a:pt x="30" y="7"/>
                  </a:lnTo>
                  <a:lnTo>
                    <a:pt x="30" y="28"/>
                  </a:lnTo>
                  <a:close/>
                  <a:moveTo>
                    <a:pt x="0" y="38"/>
                  </a:moveTo>
                  <a:lnTo>
                    <a:pt x="37" y="38"/>
                  </a:lnTo>
                  <a:lnTo>
                    <a:pt x="37" y="0"/>
                  </a:lnTo>
                  <a:lnTo>
                    <a:pt x="0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94" name="Group 45393">
            <a:extLst>
              <a:ext uri="{FF2B5EF4-FFF2-40B4-BE49-F238E27FC236}">
                <a16:creationId xmlns:a16="http://schemas.microsoft.com/office/drawing/2014/main" id="{7C497C43-C18C-480C-9684-FB45B414E5D4}"/>
              </a:ext>
            </a:extLst>
          </p:cNvPr>
          <p:cNvGrpSpPr/>
          <p:nvPr/>
        </p:nvGrpSpPr>
        <p:grpSpPr>
          <a:xfrm>
            <a:off x="7081838" y="2825750"/>
            <a:ext cx="844550" cy="841375"/>
            <a:chOff x="7081838" y="2825750"/>
            <a:chExt cx="844550" cy="841375"/>
          </a:xfrm>
        </p:grpSpPr>
        <p:sp>
          <p:nvSpPr>
            <p:cNvPr id="45388" name="AutoShape 324">
              <a:extLst>
                <a:ext uri="{FF2B5EF4-FFF2-40B4-BE49-F238E27FC236}">
                  <a16:creationId xmlns:a16="http://schemas.microsoft.com/office/drawing/2014/main" id="{16288AEB-A0C1-473C-8462-6A38CE8070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81838" y="282575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9" name="Oval 326">
              <a:extLst>
                <a:ext uri="{FF2B5EF4-FFF2-40B4-BE49-F238E27FC236}">
                  <a16:creationId xmlns:a16="http://schemas.microsoft.com/office/drawing/2014/main" id="{31416BCF-E36C-479F-BC2A-CF16196A0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1838" y="282892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0" name="Freeform 327">
              <a:extLst>
                <a:ext uri="{FF2B5EF4-FFF2-40B4-BE49-F238E27FC236}">
                  <a16:creationId xmlns:a16="http://schemas.microsoft.com/office/drawing/2014/main" id="{E830A622-5F90-4B88-80BE-62EA57CC1E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285750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1" name="Freeform 328">
              <a:extLst>
                <a:ext uri="{FF2B5EF4-FFF2-40B4-BE49-F238E27FC236}">
                  <a16:creationId xmlns:a16="http://schemas.microsoft.com/office/drawing/2014/main" id="{F66E8AF4-5F45-4A7B-A5D8-04B8B32936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5038" y="3014663"/>
              <a:ext cx="385763" cy="395288"/>
            </a:xfrm>
            <a:custGeom>
              <a:avLst/>
              <a:gdLst>
                <a:gd name="T0" fmla="*/ 78 w 95"/>
                <a:gd name="T1" fmla="*/ 97 h 99"/>
                <a:gd name="T2" fmla="*/ 77 w 95"/>
                <a:gd name="T3" fmla="*/ 95 h 99"/>
                <a:gd name="T4" fmla="*/ 75 w 95"/>
                <a:gd name="T5" fmla="*/ 95 h 99"/>
                <a:gd name="T6" fmla="*/ 77 w 95"/>
                <a:gd name="T7" fmla="*/ 98 h 99"/>
                <a:gd name="T8" fmla="*/ 76 w 95"/>
                <a:gd name="T9" fmla="*/ 99 h 99"/>
                <a:gd name="T10" fmla="*/ 78 w 95"/>
                <a:gd name="T11" fmla="*/ 99 h 99"/>
                <a:gd name="T12" fmla="*/ 78 w 95"/>
                <a:gd name="T13" fmla="*/ 97 h 99"/>
                <a:gd name="T14" fmla="*/ 91 w 95"/>
                <a:gd name="T15" fmla="*/ 93 h 99"/>
                <a:gd name="T16" fmla="*/ 95 w 95"/>
                <a:gd name="T17" fmla="*/ 97 h 99"/>
                <a:gd name="T18" fmla="*/ 95 w 95"/>
                <a:gd name="T19" fmla="*/ 94 h 99"/>
                <a:gd name="T20" fmla="*/ 91 w 95"/>
                <a:gd name="T21" fmla="*/ 90 h 99"/>
                <a:gd name="T22" fmla="*/ 91 w 95"/>
                <a:gd name="T23" fmla="*/ 93 h 99"/>
                <a:gd name="T24" fmla="*/ 62 w 95"/>
                <a:gd name="T25" fmla="*/ 51 h 99"/>
                <a:gd name="T26" fmla="*/ 61 w 95"/>
                <a:gd name="T27" fmla="*/ 51 h 99"/>
                <a:gd name="T28" fmla="*/ 75 w 95"/>
                <a:gd name="T29" fmla="*/ 27 h 99"/>
                <a:gd name="T30" fmla="*/ 47 w 95"/>
                <a:gd name="T31" fmla="*/ 0 h 99"/>
                <a:gd name="T32" fmla="*/ 19 w 95"/>
                <a:gd name="T33" fmla="*/ 27 h 99"/>
                <a:gd name="T34" fmla="*/ 34 w 95"/>
                <a:gd name="T35" fmla="*/ 51 h 99"/>
                <a:gd name="T36" fmla="*/ 32 w 95"/>
                <a:gd name="T37" fmla="*/ 51 h 99"/>
                <a:gd name="T38" fmla="*/ 9 w 95"/>
                <a:gd name="T39" fmla="*/ 62 h 99"/>
                <a:gd name="T40" fmla="*/ 0 w 95"/>
                <a:gd name="T41" fmla="*/ 87 h 99"/>
                <a:gd name="T42" fmla="*/ 0 w 95"/>
                <a:gd name="T43" fmla="*/ 99 h 99"/>
                <a:gd name="T44" fmla="*/ 49 w 95"/>
                <a:gd name="T45" fmla="*/ 99 h 99"/>
                <a:gd name="T46" fmla="*/ 49 w 95"/>
                <a:gd name="T47" fmla="*/ 89 h 99"/>
                <a:gd name="T48" fmla="*/ 51 w 95"/>
                <a:gd name="T49" fmla="*/ 89 h 99"/>
                <a:gd name="T50" fmla="*/ 52 w 95"/>
                <a:gd name="T51" fmla="*/ 88 h 99"/>
                <a:gd name="T52" fmla="*/ 58 w 95"/>
                <a:gd name="T53" fmla="*/ 62 h 99"/>
                <a:gd name="T54" fmla="*/ 58 w 95"/>
                <a:gd name="T55" fmla="*/ 60 h 99"/>
                <a:gd name="T56" fmla="*/ 52 w 95"/>
                <a:gd name="T57" fmla="*/ 55 h 99"/>
                <a:gd name="T58" fmla="*/ 62 w 95"/>
                <a:gd name="T59" fmla="*/ 55 h 99"/>
                <a:gd name="T60" fmla="*/ 91 w 95"/>
                <a:gd name="T61" fmla="*/ 87 h 99"/>
                <a:gd name="T62" fmla="*/ 91 w 95"/>
                <a:gd name="T63" fmla="*/ 89 h 99"/>
                <a:gd name="T64" fmla="*/ 95 w 95"/>
                <a:gd name="T65" fmla="*/ 89 h 99"/>
                <a:gd name="T66" fmla="*/ 95 w 95"/>
                <a:gd name="T67" fmla="*/ 87 h 99"/>
                <a:gd name="T68" fmla="*/ 62 w 95"/>
                <a:gd name="T69" fmla="*/ 51 h 99"/>
                <a:gd name="T70" fmla="*/ 3 w 95"/>
                <a:gd name="T71" fmla="*/ 95 h 99"/>
                <a:gd name="T72" fmla="*/ 3 w 95"/>
                <a:gd name="T73" fmla="*/ 87 h 99"/>
                <a:gd name="T74" fmla="*/ 12 w 95"/>
                <a:gd name="T75" fmla="*/ 64 h 99"/>
                <a:gd name="T76" fmla="*/ 32 w 95"/>
                <a:gd name="T77" fmla="*/ 55 h 99"/>
                <a:gd name="T78" fmla="*/ 43 w 95"/>
                <a:gd name="T79" fmla="*/ 55 h 99"/>
                <a:gd name="T80" fmla="*/ 37 w 95"/>
                <a:gd name="T81" fmla="*/ 60 h 99"/>
                <a:gd name="T82" fmla="*/ 36 w 95"/>
                <a:gd name="T83" fmla="*/ 62 h 99"/>
                <a:gd name="T84" fmla="*/ 45 w 95"/>
                <a:gd name="T85" fmla="*/ 95 h 99"/>
                <a:gd name="T86" fmla="*/ 3 w 95"/>
                <a:gd name="T87" fmla="*/ 95 h 99"/>
                <a:gd name="T88" fmla="*/ 54 w 95"/>
                <a:gd name="T89" fmla="*/ 62 h 99"/>
                <a:gd name="T90" fmla="*/ 47 w 95"/>
                <a:gd name="T91" fmla="*/ 91 h 99"/>
                <a:gd name="T92" fmla="*/ 40 w 95"/>
                <a:gd name="T93" fmla="*/ 62 h 99"/>
                <a:gd name="T94" fmla="*/ 47 w 95"/>
                <a:gd name="T95" fmla="*/ 56 h 99"/>
                <a:gd name="T96" fmla="*/ 54 w 95"/>
                <a:gd name="T97" fmla="*/ 62 h 99"/>
                <a:gd name="T98" fmla="*/ 47 w 95"/>
                <a:gd name="T99" fmla="*/ 51 h 99"/>
                <a:gd name="T100" fmla="*/ 23 w 95"/>
                <a:gd name="T101" fmla="*/ 27 h 99"/>
                <a:gd name="T102" fmla="*/ 47 w 95"/>
                <a:gd name="T103" fmla="*/ 3 h 99"/>
                <a:gd name="T104" fmla="*/ 71 w 95"/>
                <a:gd name="T105" fmla="*/ 27 h 99"/>
                <a:gd name="T106" fmla="*/ 47 w 95"/>
                <a:gd name="T107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99">
                  <a:moveTo>
                    <a:pt x="78" y="97"/>
                  </a:moveTo>
                  <a:cubicBezTo>
                    <a:pt x="77" y="95"/>
                    <a:pt x="77" y="95"/>
                    <a:pt x="77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9" y="98"/>
                    <a:pt x="79" y="97"/>
                    <a:pt x="78" y="97"/>
                  </a:cubicBezTo>
                  <a:moveTo>
                    <a:pt x="91" y="93"/>
                  </a:moveTo>
                  <a:cubicBezTo>
                    <a:pt x="95" y="97"/>
                    <a:pt x="95" y="97"/>
                    <a:pt x="95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1" y="90"/>
                    <a:pt x="91" y="90"/>
                    <a:pt x="91" y="90"/>
                  </a:cubicBezTo>
                  <a:lnTo>
                    <a:pt x="91" y="93"/>
                  </a:lnTo>
                  <a:close/>
                  <a:moveTo>
                    <a:pt x="62" y="51"/>
                  </a:moveTo>
                  <a:cubicBezTo>
                    <a:pt x="61" y="51"/>
                    <a:pt x="61" y="51"/>
                    <a:pt x="61" y="51"/>
                  </a:cubicBezTo>
                  <a:cubicBezTo>
                    <a:pt x="69" y="47"/>
                    <a:pt x="75" y="38"/>
                    <a:pt x="75" y="27"/>
                  </a:cubicBezTo>
                  <a:cubicBezTo>
                    <a:pt x="75" y="12"/>
                    <a:pt x="62" y="0"/>
                    <a:pt x="47" y="0"/>
                  </a:cubicBezTo>
                  <a:cubicBezTo>
                    <a:pt x="32" y="0"/>
                    <a:pt x="19" y="12"/>
                    <a:pt x="19" y="27"/>
                  </a:cubicBezTo>
                  <a:cubicBezTo>
                    <a:pt x="19" y="38"/>
                    <a:pt x="25" y="47"/>
                    <a:pt x="34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23" y="51"/>
                    <a:pt x="15" y="55"/>
                    <a:pt x="9" y="62"/>
                  </a:cubicBezTo>
                  <a:cubicBezTo>
                    <a:pt x="3" y="69"/>
                    <a:pt x="0" y="77"/>
                    <a:pt x="0" y="8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78" y="55"/>
                    <a:pt x="91" y="69"/>
                    <a:pt x="91" y="87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5" y="89"/>
                    <a:pt x="95" y="89"/>
                    <a:pt x="95" y="89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5" y="67"/>
                    <a:pt x="80" y="51"/>
                    <a:pt x="62" y="51"/>
                  </a:cubicBezTo>
                  <a:moveTo>
                    <a:pt x="3" y="95"/>
                  </a:moveTo>
                  <a:cubicBezTo>
                    <a:pt x="3" y="87"/>
                    <a:pt x="3" y="87"/>
                    <a:pt x="3" y="87"/>
                  </a:cubicBezTo>
                  <a:cubicBezTo>
                    <a:pt x="3" y="78"/>
                    <a:pt x="6" y="70"/>
                    <a:pt x="12" y="64"/>
                  </a:cubicBezTo>
                  <a:cubicBezTo>
                    <a:pt x="17" y="58"/>
                    <a:pt x="24" y="55"/>
                    <a:pt x="32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45" y="95"/>
                    <a:pt x="45" y="95"/>
                    <a:pt x="45" y="95"/>
                  </a:cubicBezTo>
                  <a:lnTo>
                    <a:pt x="3" y="95"/>
                  </a:lnTo>
                  <a:close/>
                  <a:moveTo>
                    <a:pt x="54" y="62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54" y="62"/>
                  </a:lnTo>
                  <a:close/>
                  <a:moveTo>
                    <a:pt x="47" y="51"/>
                  </a:moveTo>
                  <a:cubicBezTo>
                    <a:pt x="34" y="51"/>
                    <a:pt x="23" y="41"/>
                    <a:pt x="23" y="27"/>
                  </a:cubicBezTo>
                  <a:cubicBezTo>
                    <a:pt x="23" y="14"/>
                    <a:pt x="34" y="3"/>
                    <a:pt x="47" y="3"/>
                  </a:cubicBezTo>
                  <a:cubicBezTo>
                    <a:pt x="61" y="3"/>
                    <a:pt x="71" y="14"/>
                    <a:pt x="71" y="27"/>
                  </a:cubicBezTo>
                  <a:cubicBezTo>
                    <a:pt x="71" y="41"/>
                    <a:pt x="61" y="51"/>
                    <a:pt x="47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2" name="Freeform 329">
              <a:extLst>
                <a:ext uri="{FF2B5EF4-FFF2-40B4-BE49-F238E27FC236}">
                  <a16:creationId xmlns:a16="http://schemas.microsoft.com/office/drawing/2014/main" id="{CEA28D6B-BD1F-45FF-AEE5-7CDC585F1B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1413" y="3375025"/>
              <a:ext cx="252413" cy="68263"/>
            </a:xfrm>
            <a:custGeom>
              <a:avLst/>
              <a:gdLst>
                <a:gd name="T0" fmla="*/ 52 w 62"/>
                <a:gd name="T1" fmla="*/ 0 h 17"/>
                <a:gd name="T2" fmla="*/ 50 w 62"/>
                <a:gd name="T3" fmla="*/ 0 h 17"/>
                <a:gd name="T4" fmla="*/ 49 w 62"/>
                <a:gd name="T5" fmla="*/ 2 h 17"/>
                <a:gd name="T6" fmla="*/ 35 w 62"/>
                <a:gd name="T7" fmla="*/ 0 h 17"/>
                <a:gd name="T8" fmla="*/ 33 w 62"/>
                <a:gd name="T9" fmla="*/ 0 h 17"/>
                <a:gd name="T10" fmla="*/ 32 w 62"/>
                <a:gd name="T11" fmla="*/ 2 h 17"/>
                <a:gd name="T12" fmla="*/ 18 w 62"/>
                <a:gd name="T13" fmla="*/ 0 h 17"/>
                <a:gd name="T14" fmla="*/ 16 w 62"/>
                <a:gd name="T15" fmla="*/ 0 h 17"/>
                <a:gd name="T16" fmla="*/ 15 w 62"/>
                <a:gd name="T17" fmla="*/ 2 h 17"/>
                <a:gd name="T18" fmla="*/ 0 w 62"/>
                <a:gd name="T19" fmla="*/ 3 h 17"/>
                <a:gd name="T20" fmla="*/ 1 w 62"/>
                <a:gd name="T21" fmla="*/ 15 h 17"/>
                <a:gd name="T22" fmla="*/ 15 w 62"/>
                <a:gd name="T23" fmla="*/ 16 h 17"/>
                <a:gd name="T24" fmla="*/ 16 w 62"/>
                <a:gd name="T25" fmla="*/ 17 h 17"/>
                <a:gd name="T26" fmla="*/ 20 w 62"/>
                <a:gd name="T27" fmla="*/ 15 h 17"/>
                <a:gd name="T28" fmla="*/ 32 w 62"/>
                <a:gd name="T29" fmla="*/ 16 h 17"/>
                <a:gd name="T30" fmla="*/ 33 w 62"/>
                <a:gd name="T31" fmla="*/ 17 h 17"/>
                <a:gd name="T32" fmla="*/ 37 w 62"/>
                <a:gd name="T33" fmla="*/ 15 h 17"/>
                <a:gd name="T34" fmla="*/ 49 w 62"/>
                <a:gd name="T35" fmla="*/ 16 h 17"/>
                <a:gd name="T36" fmla="*/ 50 w 62"/>
                <a:gd name="T37" fmla="*/ 17 h 17"/>
                <a:gd name="T38" fmla="*/ 61 w 62"/>
                <a:gd name="T39" fmla="*/ 9 h 17"/>
                <a:gd name="T40" fmla="*/ 16 w 62"/>
                <a:gd name="T41" fmla="*/ 16 h 17"/>
                <a:gd name="T42" fmla="*/ 16 w 62"/>
                <a:gd name="T43" fmla="*/ 14 h 17"/>
                <a:gd name="T44" fmla="*/ 1 w 62"/>
                <a:gd name="T45" fmla="*/ 9 h 17"/>
                <a:gd name="T46" fmla="*/ 16 w 62"/>
                <a:gd name="T47" fmla="*/ 3 h 17"/>
                <a:gd name="T48" fmla="*/ 24 w 62"/>
                <a:gd name="T49" fmla="*/ 7 h 17"/>
                <a:gd name="T50" fmla="*/ 25 w 62"/>
                <a:gd name="T51" fmla="*/ 9 h 17"/>
                <a:gd name="T52" fmla="*/ 33 w 62"/>
                <a:gd name="T53" fmla="*/ 16 h 17"/>
                <a:gd name="T54" fmla="*/ 33 w 62"/>
                <a:gd name="T55" fmla="*/ 14 h 17"/>
                <a:gd name="T56" fmla="*/ 27 w 62"/>
                <a:gd name="T57" fmla="*/ 9 h 17"/>
                <a:gd name="T58" fmla="*/ 27 w 62"/>
                <a:gd name="T59" fmla="*/ 8 h 17"/>
                <a:gd name="T60" fmla="*/ 22 w 62"/>
                <a:gd name="T61" fmla="*/ 3 h 17"/>
                <a:gd name="T62" fmla="*/ 33 w 62"/>
                <a:gd name="T63" fmla="*/ 1 h 17"/>
                <a:gd name="T64" fmla="*/ 42 w 62"/>
                <a:gd name="T65" fmla="*/ 8 h 17"/>
                <a:gd name="T66" fmla="*/ 33 w 62"/>
                <a:gd name="T67" fmla="*/ 16 h 17"/>
                <a:gd name="T68" fmla="*/ 50 w 62"/>
                <a:gd name="T69" fmla="*/ 16 h 17"/>
                <a:gd name="T70" fmla="*/ 39 w 62"/>
                <a:gd name="T71" fmla="*/ 13 h 17"/>
                <a:gd name="T72" fmla="*/ 44 w 62"/>
                <a:gd name="T73" fmla="*/ 8 h 17"/>
                <a:gd name="T74" fmla="*/ 39 w 62"/>
                <a:gd name="T75" fmla="*/ 4 h 17"/>
                <a:gd name="T76" fmla="*/ 50 w 62"/>
                <a:gd name="T77" fmla="*/ 3 h 17"/>
                <a:gd name="T78" fmla="*/ 60 w 62"/>
                <a:gd name="T7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2" h="17">
                  <a:moveTo>
                    <a:pt x="61" y="8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5"/>
                    <a:pt x="1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7" y="17"/>
                    <a:pt x="17" y="17"/>
                    <a:pt x="18" y="1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7"/>
                    <a:pt x="34" y="17"/>
                    <a:pt x="35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2" y="9"/>
                    <a:pt x="62" y="8"/>
                    <a:pt x="61" y="8"/>
                  </a:cubicBezTo>
                  <a:moveTo>
                    <a:pt x="16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9"/>
                    <a:pt x="25" y="9"/>
                    <a:pt x="25" y="9"/>
                  </a:cubicBezTo>
                  <a:lnTo>
                    <a:pt x="16" y="16"/>
                  </a:lnTo>
                  <a:close/>
                  <a:moveTo>
                    <a:pt x="33" y="16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8"/>
                    <a:pt x="28" y="8"/>
                    <a:pt x="27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8"/>
                    <a:pt x="43" y="8"/>
                    <a:pt x="43" y="8"/>
                  </a:cubicBezTo>
                  <a:lnTo>
                    <a:pt x="33" y="16"/>
                  </a:lnTo>
                  <a:close/>
                  <a:moveTo>
                    <a:pt x="50" y="16"/>
                  </a:moveTo>
                  <a:cubicBezTo>
                    <a:pt x="50" y="16"/>
                    <a:pt x="50" y="16"/>
                    <a:pt x="50" y="16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5" y="9"/>
                    <a:pt x="45" y="8"/>
                    <a:pt x="44" y="8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60" y="8"/>
                    <a:pt x="60" y="8"/>
                    <a:pt x="60" y="8"/>
                  </a:cubicBezTo>
                  <a:lnTo>
                    <a:pt x="5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3" name="Freeform 330">
              <a:extLst>
                <a:ext uri="{FF2B5EF4-FFF2-40B4-BE49-F238E27FC236}">
                  <a16:creationId xmlns:a16="http://schemas.microsoft.com/office/drawing/2014/main" id="{7F17F4A9-3BAA-4F2C-A9BD-98C63A47C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88238" y="3370263"/>
              <a:ext cx="260350" cy="76200"/>
            </a:xfrm>
            <a:custGeom>
              <a:avLst/>
              <a:gdLst>
                <a:gd name="T0" fmla="*/ 35 w 64"/>
                <a:gd name="T1" fmla="*/ 14 h 19"/>
                <a:gd name="T2" fmla="*/ 42 w 64"/>
                <a:gd name="T3" fmla="*/ 9 h 19"/>
                <a:gd name="T4" fmla="*/ 35 w 64"/>
                <a:gd name="T5" fmla="*/ 5 h 19"/>
                <a:gd name="T6" fmla="*/ 29 w 64"/>
                <a:gd name="T7" fmla="*/ 8 h 19"/>
                <a:gd name="T8" fmla="*/ 29 w 64"/>
                <a:gd name="T9" fmla="*/ 11 h 19"/>
                <a:gd name="T10" fmla="*/ 42 w 64"/>
                <a:gd name="T11" fmla="*/ 13 h 19"/>
                <a:gd name="T12" fmla="*/ 52 w 64"/>
                <a:gd name="T13" fmla="*/ 15 h 19"/>
                <a:gd name="T14" fmla="*/ 52 w 64"/>
                <a:gd name="T15" fmla="*/ 4 h 19"/>
                <a:gd name="T16" fmla="*/ 42 w 64"/>
                <a:gd name="T17" fmla="*/ 5 h 19"/>
                <a:gd name="T18" fmla="*/ 47 w 64"/>
                <a:gd name="T19" fmla="*/ 9 h 19"/>
                <a:gd name="T20" fmla="*/ 42 w 64"/>
                <a:gd name="T21" fmla="*/ 13 h 19"/>
                <a:gd name="T22" fmla="*/ 18 w 64"/>
                <a:gd name="T23" fmla="*/ 14 h 19"/>
                <a:gd name="T24" fmla="*/ 25 w 64"/>
                <a:gd name="T25" fmla="*/ 9 h 19"/>
                <a:gd name="T26" fmla="*/ 18 w 64"/>
                <a:gd name="T27" fmla="*/ 5 h 19"/>
                <a:gd name="T28" fmla="*/ 3 w 64"/>
                <a:gd name="T29" fmla="*/ 13 h 19"/>
                <a:gd name="T30" fmla="*/ 51 w 64"/>
                <a:gd name="T31" fmla="*/ 19 h 19"/>
                <a:gd name="T32" fmla="*/ 49 w 64"/>
                <a:gd name="T33" fmla="*/ 17 h 19"/>
                <a:gd name="T34" fmla="*/ 36 w 64"/>
                <a:gd name="T35" fmla="*/ 18 h 19"/>
                <a:gd name="T36" fmla="*/ 32 w 64"/>
                <a:gd name="T37" fmla="*/ 17 h 19"/>
                <a:gd name="T38" fmla="*/ 22 w 64"/>
                <a:gd name="T39" fmla="*/ 17 h 19"/>
                <a:gd name="T40" fmla="*/ 17 w 64"/>
                <a:gd name="T41" fmla="*/ 19 h 19"/>
                <a:gd name="T42" fmla="*/ 15 w 64"/>
                <a:gd name="T43" fmla="*/ 17 h 19"/>
                <a:gd name="T44" fmla="*/ 0 w 64"/>
                <a:gd name="T45" fmla="*/ 14 h 19"/>
                <a:gd name="T46" fmla="*/ 2 w 64"/>
                <a:gd name="T47" fmla="*/ 2 h 19"/>
                <a:gd name="T48" fmla="*/ 15 w 64"/>
                <a:gd name="T49" fmla="*/ 2 h 19"/>
                <a:gd name="T50" fmla="*/ 16 w 64"/>
                <a:gd name="T51" fmla="*/ 0 h 19"/>
                <a:gd name="T52" fmla="*/ 17 w 64"/>
                <a:gd name="T53" fmla="*/ 0 h 19"/>
                <a:gd name="T54" fmla="*/ 22 w 64"/>
                <a:gd name="T55" fmla="*/ 2 h 19"/>
                <a:gd name="T56" fmla="*/ 32 w 64"/>
                <a:gd name="T57" fmla="*/ 2 h 19"/>
                <a:gd name="T58" fmla="*/ 33 w 64"/>
                <a:gd name="T59" fmla="*/ 0 h 19"/>
                <a:gd name="T60" fmla="*/ 34 w 64"/>
                <a:gd name="T61" fmla="*/ 0 h 19"/>
                <a:gd name="T62" fmla="*/ 39 w 64"/>
                <a:gd name="T63" fmla="*/ 2 h 19"/>
                <a:gd name="T64" fmla="*/ 49 w 64"/>
                <a:gd name="T65" fmla="*/ 2 h 19"/>
                <a:gd name="T66" fmla="*/ 50 w 64"/>
                <a:gd name="T67" fmla="*/ 0 h 19"/>
                <a:gd name="T68" fmla="*/ 51 w 64"/>
                <a:gd name="T69" fmla="*/ 0 h 19"/>
                <a:gd name="T70" fmla="*/ 63 w 64"/>
                <a:gd name="T71" fmla="*/ 8 h 19"/>
                <a:gd name="T72" fmla="*/ 63 w 64"/>
                <a:gd name="T73" fmla="*/ 11 h 19"/>
                <a:gd name="T74" fmla="*/ 51 w 64"/>
                <a:gd name="T7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19">
                  <a:moveTo>
                    <a:pt x="25" y="13"/>
                  </a:moveTo>
                  <a:cubicBezTo>
                    <a:pt x="35" y="14"/>
                    <a:pt x="35" y="14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9"/>
                    <a:pt x="30" y="10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lnTo>
                    <a:pt x="25" y="13"/>
                  </a:lnTo>
                  <a:close/>
                  <a:moveTo>
                    <a:pt x="42" y="13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7" y="9"/>
                    <a:pt x="47" y="9"/>
                  </a:cubicBezTo>
                  <a:cubicBezTo>
                    <a:pt x="47" y="10"/>
                    <a:pt x="46" y="10"/>
                    <a:pt x="46" y="11"/>
                  </a:cubicBezTo>
                  <a:lnTo>
                    <a:pt x="42" y="13"/>
                  </a:lnTo>
                  <a:close/>
                  <a:moveTo>
                    <a:pt x="3" y="13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3"/>
                  </a:ln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49" y="18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5" y="19"/>
                    <a:pt x="34" y="19"/>
                  </a:cubicBezTo>
                  <a:cubicBezTo>
                    <a:pt x="33" y="19"/>
                    <a:pt x="32" y="18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9"/>
                    <a:pt x="18" y="19"/>
                    <a:pt x="17" y="19"/>
                  </a:cubicBezTo>
                  <a:cubicBezTo>
                    <a:pt x="16" y="19"/>
                    <a:pt x="15" y="18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0" y="16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2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0"/>
                    <a:pt x="36" y="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1"/>
                    <a:pt x="49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0"/>
                    <a:pt x="53" y="0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4" y="9"/>
                    <a:pt x="64" y="9"/>
                  </a:cubicBezTo>
                  <a:cubicBezTo>
                    <a:pt x="64" y="10"/>
                    <a:pt x="63" y="10"/>
                    <a:pt x="63" y="11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9"/>
                    <a:pt x="52" y="19"/>
                    <a:pt x="51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01" name="Group 45400">
            <a:extLst>
              <a:ext uri="{FF2B5EF4-FFF2-40B4-BE49-F238E27FC236}">
                <a16:creationId xmlns:a16="http://schemas.microsoft.com/office/drawing/2014/main" id="{434E9229-1E7F-494B-B950-CB6A95246D7C}"/>
              </a:ext>
            </a:extLst>
          </p:cNvPr>
          <p:cNvGrpSpPr/>
          <p:nvPr/>
        </p:nvGrpSpPr>
        <p:grpSpPr>
          <a:xfrm>
            <a:off x="8123238" y="2857501"/>
            <a:ext cx="768351" cy="776288"/>
            <a:chOff x="8123238" y="2857501"/>
            <a:chExt cx="768351" cy="776288"/>
          </a:xfrm>
        </p:grpSpPr>
        <p:sp>
          <p:nvSpPr>
            <p:cNvPr id="45396" name="AutoShape 332">
              <a:extLst>
                <a:ext uri="{FF2B5EF4-FFF2-40B4-BE49-F238E27FC236}">
                  <a16:creationId xmlns:a16="http://schemas.microsoft.com/office/drawing/2014/main" id="{93CEA890-28AB-4494-A5C7-2D10FB7490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286226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7" name="Freeform 334">
              <a:extLst>
                <a:ext uri="{FF2B5EF4-FFF2-40B4-BE49-F238E27FC236}">
                  <a16:creationId xmlns:a16="http://schemas.microsoft.com/office/drawing/2014/main" id="{405005E7-5494-4412-B1AB-DA962C94DE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8001" y="285750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8" name="Freeform 335">
              <a:extLst>
                <a:ext uri="{FF2B5EF4-FFF2-40B4-BE49-F238E27FC236}">
                  <a16:creationId xmlns:a16="http://schemas.microsoft.com/office/drawing/2014/main" id="{188B40B8-6EBF-4A0B-91DA-CF72DE040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6276" y="3014663"/>
              <a:ext cx="374650" cy="395288"/>
            </a:xfrm>
            <a:custGeom>
              <a:avLst/>
              <a:gdLst>
                <a:gd name="T0" fmla="*/ 78 w 95"/>
                <a:gd name="T1" fmla="*/ 97 h 99"/>
                <a:gd name="T2" fmla="*/ 77 w 95"/>
                <a:gd name="T3" fmla="*/ 95 h 99"/>
                <a:gd name="T4" fmla="*/ 75 w 95"/>
                <a:gd name="T5" fmla="*/ 95 h 99"/>
                <a:gd name="T6" fmla="*/ 77 w 95"/>
                <a:gd name="T7" fmla="*/ 98 h 99"/>
                <a:gd name="T8" fmla="*/ 76 w 95"/>
                <a:gd name="T9" fmla="*/ 99 h 99"/>
                <a:gd name="T10" fmla="*/ 78 w 95"/>
                <a:gd name="T11" fmla="*/ 99 h 99"/>
                <a:gd name="T12" fmla="*/ 78 w 95"/>
                <a:gd name="T13" fmla="*/ 97 h 99"/>
                <a:gd name="T14" fmla="*/ 91 w 95"/>
                <a:gd name="T15" fmla="*/ 93 h 99"/>
                <a:gd name="T16" fmla="*/ 95 w 95"/>
                <a:gd name="T17" fmla="*/ 97 h 99"/>
                <a:gd name="T18" fmla="*/ 95 w 95"/>
                <a:gd name="T19" fmla="*/ 94 h 99"/>
                <a:gd name="T20" fmla="*/ 91 w 95"/>
                <a:gd name="T21" fmla="*/ 90 h 99"/>
                <a:gd name="T22" fmla="*/ 91 w 95"/>
                <a:gd name="T23" fmla="*/ 93 h 99"/>
                <a:gd name="T24" fmla="*/ 62 w 95"/>
                <a:gd name="T25" fmla="*/ 51 h 99"/>
                <a:gd name="T26" fmla="*/ 61 w 95"/>
                <a:gd name="T27" fmla="*/ 51 h 99"/>
                <a:gd name="T28" fmla="*/ 75 w 95"/>
                <a:gd name="T29" fmla="*/ 27 h 99"/>
                <a:gd name="T30" fmla="*/ 47 w 95"/>
                <a:gd name="T31" fmla="*/ 0 h 99"/>
                <a:gd name="T32" fmla="*/ 19 w 95"/>
                <a:gd name="T33" fmla="*/ 27 h 99"/>
                <a:gd name="T34" fmla="*/ 34 w 95"/>
                <a:gd name="T35" fmla="*/ 51 h 99"/>
                <a:gd name="T36" fmla="*/ 32 w 95"/>
                <a:gd name="T37" fmla="*/ 51 h 99"/>
                <a:gd name="T38" fmla="*/ 9 w 95"/>
                <a:gd name="T39" fmla="*/ 62 h 99"/>
                <a:gd name="T40" fmla="*/ 0 w 95"/>
                <a:gd name="T41" fmla="*/ 87 h 99"/>
                <a:gd name="T42" fmla="*/ 0 w 95"/>
                <a:gd name="T43" fmla="*/ 99 h 99"/>
                <a:gd name="T44" fmla="*/ 49 w 95"/>
                <a:gd name="T45" fmla="*/ 99 h 99"/>
                <a:gd name="T46" fmla="*/ 49 w 95"/>
                <a:gd name="T47" fmla="*/ 89 h 99"/>
                <a:gd name="T48" fmla="*/ 51 w 95"/>
                <a:gd name="T49" fmla="*/ 89 h 99"/>
                <a:gd name="T50" fmla="*/ 52 w 95"/>
                <a:gd name="T51" fmla="*/ 88 h 99"/>
                <a:gd name="T52" fmla="*/ 58 w 95"/>
                <a:gd name="T53" fmla="*/ 62 h 99"/>
                <a:gd name="T54" fmla="*/ 58 w 95"/>
                <a:gd name="T55" fmla="*/ 60 h 99"/>
                <a:gd name="T56" fmla="*/ 52 w 95"/>
                <a:gd name="T57" fmla="*/ 55 h 99"/>
                <a:gd name="T58" fmla="*/ 62 w 95"/>
                <a:gd name="T59" fmla="*/ 55 h 99"/>
                <a:gd name="T60" fmla="*/ 91 w 95"/>
                <a:gd name="T61" fmla="*/ 87 h 99"/>
                <a:gd name="T62" fmla="*/ 91 w 95"/>
                <a:gd name="T63" fmla="*/ 89 h 99"/>
                <a:gd name="T64" fmla="*/ 95 w 95"/>
                <a:gd name="T65" fmla="*/ 89 h 99"/>
                <a:gd name="T66" fmla="*/ 95 w 95"/>
                <a:gd name="T67" fmla="*/ 87 h 99"/>
                <a:gd name="T68" fmla="*/ 62 w 95"/>
                <a:gd name="T69" fmla="*/ 51 h 99"/>
                <a:gd name="T70" fmla="*/ 3 w 95"/>
                <a:gd name="T71" fmla="*/ 95 h 99"/>
                <a:gd name="T72" fmla="*/ 3 w 95"/>
                <a:gd name="T73" fmla="*/ 87 h 99"/>
                <a:gd name="T74" fmla="*/ 12 w 95"/>
                <a:gd name="T75" fmla="*/ 64 h 99"/>
                <a:gd name="T76" fmla="*/ 32 w 95"/>
                <a:gd name="T77" fmla="*/ 55 h 99"/>
                <a:gd name="T78" fmla="*/ 43 w 95"/>
                <a:gd name="T79" fmla="*/ 55 h 99"/>
                <a:gd name="T80" fmla="*/ 37 w 95"/>
                <a:gd name="T81" fmla="*/ 60 h 99"/>
                <a:gd name="T82" fmla="*/ 36 w 95"/>
                <a:gd name="T83" fmla="*/ 62 h 99"/>
                <a:gd name="T84" fmla="*/ 45 w 95"/>
                <a:gd name="T85" fmla="*/ 95 h 99"/>
                <a:gd name="T86" fmla="*/ 3 w 95"/>
                <a:gd name="T87" fmla="*/ 95 h 99"/>
                <a:gd name="T88" fmla="*/ 54 w 95"/>
                <a:gd name="T89" fmla="*/ 62 h 99"/>
                <a:gd name="T90" fmla="*/ 47 w 95"/>
                <a:gd name="T91" fmla="*/ 91 h 99"/>
                <a:gd name="T92" fmla="*/ 40 w 95"/>
                <a:gd name="T93" fmla="*/ 62 h 99"/>
                <a:gd name="T94" fmla="*/ 47 w 95"/>
                <a:gd name="T95" fmla="*/ 56 h 99"/>
                <a:gd name="T96" fmla="*/ 54 w 95"/>
                <a:gd name="T97" fmla="*/ 62 h 99"/>
                <a:gd name="T98" fmla="*/ 47 w 95"/>
                <a:gd name="T99" fmla="*/ 51 h 99"/>
                <a:gd name="T100" fmla="*/ 23 w 95"/>
                <a:gd name="T101" fmla="*/ 27 h 99"/>
                <a:gd name="T102" fmla="*/ 47 w 95"/>
                <a:gd name="T103" fmla="*/ 3 h 99"/>
                <a:gd name="T104" fmla="*/ 71 w 95"/>
                <a:gd name="T105" fmla="*/ 27 h 99"/>
                <a:gd name="T106" fmla="*/ 47 w 95"/>
                <a:gd name="T107" fmla="*/ 5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99">
                  <a:moveTo>
                    <a:pt x="78" y="97"/>
                  </a:moveTo>
                  <a:cubicBezTo>
                    <a:pt x="77" y="95"/>
                    <a:pt x="77" y="95"/>
                    <a:pt x="77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9" y="98"/>
                    <a:pt x="79" y="97"/>
                    <a:pt x="78" y="97"/>
                  </a:cubicBezTo>
                  <a:moveTo>
                    <a:pt x="91" y="93"/>
                  </a:moveTo>
                  <a:cubicBezTo>
                    <a:pt x="95" y="97"/>
                    <a:pt x="95" y="97"/>
                    <a:pt x="95" y="97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1" y="90"/>
                    <a:pt x="91" y="90"/>
                    <a:pt x="91" y="90"/>
                  </a:cubicBezTo>
                  <a:lnTo>
                    <a:pt x="91" y="93"/>
                  </a:lnTo>
                  <a:close/>
                  <a:moveTo>
                    <a:pt x="62" y="51"/>
                  </a:moveTo>
                  <a:cubicBezTo>
                    <a:pt x="61" y="51"/>
                    <a:pt x="61" y="51"/>
                    <a:pt x="61" y="51"/>
                  </a:cubicBezTo>
                  <a:cubicBezTo>
                    <a:pt x="69" y="47"/>
                    <a:pt x="75" y="38"/>
                    <a:pt x="75" y="27"/>
                  </a:cubicBezTo>
                  <a:cubicBezTo>
                    <a:pt x="75" y="12"/>
                    <a:pt x="62" y="0"/>
                    <a:pt x="47" y="0"/>
                  </a:cubicBezTo>
                  <a:cubicBezTo>
                    <a:pt x="32" y="0"/>
                    <a:pt x="19" y="12"/>
                    <a:pt x="19" y="27"/>
                  </a:cubicBezTo>
                  <a:cubicBezTo>
                    <a:pt x="19" y="38"/>
                    <a:pt x="25" y="47"/>
                    <a:pt x="34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23" y="51"/>
                    <a:pt x="15" y="55"/>
                    <a:pt x="9" y="62"/>
                  </a:cubicBezTo>
                  <a:cubicBezTo>
                    <a:pt x="3" y="69"/>
                    <a:pt x="0" y="77"/>
                    <a:pt x="0" y="8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78" y="55"/>
                    <a:pt x="91" y="69"/>
                    <a:pt x="91" y="87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5" y="89"/>
                    <a:pt x="95" y="89"/>
                    <a:pt x="95" y="89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5" y="67"/>
                    <a:pt x="80" y="51"/>
                    <a:pt x="62" y="51"/>
                  </a:cubicBezTo>
                  <a:moveTo>
                    <a:pt x="3" y="95"/>
                  </a:moveTo>
                  <a:cubicBezTo>
                    <a:pt x="3" y="87"/>
                    <a:pt x="3" y="87"/>
                    <a:pt x="3" y="87"/>
                  </a:cubicBezTo>
                  <a:cubicBezTo>
                    <a:pt x="3" y="78"/>
                    <a:pt x="6" y="70"/>
                    <a:pt x="12" y="64"/>
                  </a:cubicBezTo>
                  <a:cubicBezTo>
                    <a:pt x="17" y="58"/>
                    <a:pt x="24" y="55"/>
                    <a:pt x="32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45" y="95"/>
                    <a:pt x="45" y="95"/>
                    <a:pt x="45" y="95"/>
                  </a:cubicBezTo>
                  <a:lnTo>
                    <a:pt x="3" y="95"/>
                  </a:lnTo>
                  <a:close/>
                  <a:moveTo>
                    <a:pt x="54" y="62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54" y="62"/>
                  </a:lnTo>
                  <a:close/>
                  <a:moveTo>
                    <a:pt x="47" y="51"/>
                  </a:moveTo>
                  <a:cubicBezTo>
                    <a:pt x="34" y="51"/>
                    <a:pt x="23" y="41"/>
                    <a:pt x="23" y="27"/>
                  </a:cubicBezTo>
                  <a:cubicBezTo>
                    <a:pt x="23" y="14"/>
                    <a:pt x="34" y="3"/>
                    <a:pt x="47" y="3"/>
                  </a:cubicBezTo>
                  <a:cubicBezTo>
                    <a:pt x="61" y="3"/>
                    <a:pt x="71" y="14"/>
                    <a:pt x="71" y="27"/>
                  </a:cubicBezTo>
                  <a:cubicBezTo>
                    <a:pt x="71" y="41"/>
                    <a:pt x="61" y="51"/>
                    <a:pt x="47" y="5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9" name="Freeform 336">
              <a:extLst>
                <a:ext uri="{FF2B5EF4-FFF2-40B4-BE49-F238E27FC236}">
                  <a16:creationId xmlns:a16="http://schemas.microsoft.com/office/drawing/2014/main" id="{2A1B3516-E3C4-4973-9723-FFA632F80A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7888" y="3375026"/>
              <a:ext cx="244475" cy="66675"/>
            </a:xfrm>
            <a:custGeom>
              <a:avLst/>
              <a:gdLst>
                <a:gd name="T0" fmla="*/ 52 w 62"/>
                <a:gd name="T1" fmla="*/ 0 h 17"/>
                <a:gd name="T2" fmla="*/ 50 w 62"/>
                <a:gd name="T3" fmla="*/ 0 h 17"/>
                <a:gd name="T4" fmla="*/ 49 w 62"/>
                <a:gd name="T5" fmla="*/ 2 h 17"/>
                <a:gd name="T6" fmla="*/ 35 w 62"/>
                <a:gd name="T7" fmla="*/ 0 h 17"/>
                <a:gd name="T8" fmla="*/ 33 w 62"/>
                <a:gd name="T9" fmla="*/ 0 h 17"/>
                <a:gd name="T10" fmla="*/ 32 w 62"/>
                <a:gd name="T11" fmla="*/ 2 h 17"/>
                <a:gd name="T12" fmla="*/ 18 w 62"/>
                <a:gd name="T13" fmla="*/ 0 h 17"/>
                <a:gd name="T14" fmla="*/ 16 w 62"/>
                <a:gd name="T15" fmla="*/ 0 h 17"/>
                <a:gd name="T16" fmla="*/ 15 w 62"/>
                <a:gd name="T17" fmla="*/ 2 h 17"/>
                <a:gd name="T18" fmla="*/ 0 w 62"/>
                <a:gd name="T19" fmla="*/ 3 h 17"/>
                <a:gd name="T20" fmla="*/ 1 w 62"/>
                <a:gd name="T21" fmla="*/ 15 h 17"/>
                <a:gd name="T22" fmla="*/ 15 w 62"/>
                <a:gd name="T23" fmla="*/ 16 h 17"/>
                <a:gd name="T24" fmla="*/ 16 w 62"/>
                <a:gd name="T25" fmla="*/ 17 h 17"/>
                <a:gd name="T26" fmla="*/ 20 w 62"/>
                <a:gd name="T27" fmla="*/ 15 h 17"/>
                <a:gd name="T28" fmla="*/ 32 w 62"/>
                <a:gd name="T29" fmla="*/ 16 h 17"/>
                <a:gd name="T30" fmla="*/ 33 w 62"/>
                <a:gd name="T31" fmla="*/ 17 h 17"/>
                <a:gd name="T32" fmla="*/ 37 w 62"/>
                <a:gd name="T33" fmla="*/ 15 h 17"/>
                <a:gd name="T34" fmla="*/ 49 w 62"/>
                <a:gd name="T35" fmla="*/ 16 h 17"/>
                <a:gd name="T36" fmla="*/ 50 w 62"/>
                <a:gd name="T37" fmla="*/ 17 h 17"/>
                <a:gd name="T38" fmla="*/ 61 w 62"/>
                <a:gd name="T39" fmla="*/ 9 h 17"/>
                <a:gd name="T40" fmla="*/ 16 w 62"/>
                <a:gd name="T41" fmla="*/ 16 h 17"/>
                <a:gd name="T42" fmla="*/ 16 w 62"/>
                <a:gd name="T43" fmla="*/ 14 h 17"/>
                <a:gd name="T44" fmla="*/ 1 w 62"/>
                <a:gd name="T45" fmla="*/ 9 h 17"/>
                <a:gd name="T46" fmla="*/ 16 w 62"/>
                <a:gd name="T47" fmla="*/ 3 h 17"/>
                <a:gd name="T48" fmla="*/ 24 w 62"/>
                <a:gd name="T49" fmla="*/ 7 h 17"/>
                <a:gd name="T50" fmla="*/ 25 w 62"/>
                <a:gd name="T51" fmla="*/ 9 h 17"/>
                <a:gd name="T52" fmla="*/ 33 w 62"/>
                <a:gd name="T53" fmla="*/ 16 h 17"/>
                <a:gd name="T54" fmla="*/ 33 w 62"/>
                <a:gd name="T55" fmla="*/ 14 h 17"/>
                <a:gd name="T56" fmla="*/ 27 w 62"/>
                <a:gd name="T57" fmla="*/ 9 h 17"/>
                <a:gd name="T58" fmla="*/ 27 w 62"/>
                <a:gd name="T59" fmla="*/ 8 h 17"/>
                <a:gd name="T60" fmla="*/ 22 w 62"/>
                <a:gd name="T61" fmla="*/ 3 h 17"/>
                <a:gd name="T62" fmla="*/ 33 w 62"/>
                <a:gd name="T63" fmla="*/ 1 h 17"/>
                <a:gd name="T64" fmla="*/ 42 w 62"/>
                <a:gd name="T65" fmla="*/ 8 h 17"/>
                <a:gd name="T66" fmla="*/ 33 w 62"/>
                <a:gd name="T67" fmla="*/ 16 h 17"/>
                <a:gd name="T68" fmla="*/ 50 w 62"/>
                <a:gd name="T69" fmla="*/ 16 h 17"/>
                <a:gd name="T70" fmla="*/ 39 w 62"/>
                <a:gd name="T71" fmla="*/ 13 h 17"/>
                <a:gd name="T72" fmla="*/ 44 w 62"/>
                <a:gd name="T73" fmla="*/ 8 h 17"/>
                <a:gd name="T74" fmla="*/ 39 w 62"/>
                <a:gd name="T75" fmla="*/ 4 h 17"/>
                <a:gd name="T76" fmla="*/ 50 w 62"/>
                <a:gd name="T77" fmla="*/ 3 h 17"/>
                <a:gd name="T78" fmla="*/ 60 w 62"/>
                <a:gd name="T7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2" h="17">
                  <a:moveTo>
                    <a:pt x="61" y="8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5"/>
                    <a:pt x="1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7" y="17"/>
                    <a:pt x="17" y="17"/>
                    <a:pt x="18" y="1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7"/>
                    <a:pt x="34" y="17"/>
                    <a:pt x="35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2" y="9"/>
                    <a:pt x="62" y="8"/>
                    <a:pt x="61" y="8"/>
                  </a:cubicBezTo>
                  <a:moveTo>
                    <a:pt x="16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9"/>
                    <a:pt x="25" y="9"/>
                    <a:pt x="25" y="9"/>
                  </a:cubicBezTo>
                  <a:lnTo>
                    <a:pt x="16" y="16"/>
                  </a:lnTo>
                  <a:close/>
                  <a:moveTo>
                    <a:pt x="33" y="16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8"/>
                    <a:pt x="28" y="8"/>
                    <a:pt x="27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8"/>
                    <a:pt x="43" y="8"/>
                    <a:pt x="43" y="8"/>
                  </a:cubicBezTo>
                  <a:lnTo>
                    <a:pt x="33" y="16"/>
                  </a:lnTo>
                  <a:close/>
                  <a:moveTo>
                    <a:pt x="50" y="16"/>
                  </a:moveTo>
                  <a:cubicBezTo>
                    <a:pt x="50" y="16"/>
                    <a:pt x="50" y="16"/>
                    <a:pt x="50" y="16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5" y="9"/>
                    <a:pt x="45" y="8"/>
                    <a:pt x="44" y="8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60" y="8"/>
                    <a:pt x="60" y="8"/>
                    <a:pt x="60" y="8"/>
                  </a:cubicBezTo>
                  <a:lnTo>
                    <a:pt x="50" y="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0" name="Freeform 337">
              <a:extLst>
                <a:ext uri="{FF2B5EF4-FFF2-40B4-BE49-F238E27FC236}">
                  <a16:creationId xmlns:a16="http://schemas.microsoft.com/office/drawing/2014/main" id="{D0C85E85-6F2C-4662-8EA1-9AAB59E993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3126" y="3370263"/>
              <a:ext cx="252413" cy="76200"/>
            </a:xfrm>
            <a:custGeom>
              <a:avLst/>
              <a:gdLst>
                <a:gd name="T0" fmla="*/ 35 w 64"/>
                <a:gd name="T1" fmla="*/ 14 h 19"/>
                <a:gd name="T2" fmla="*/ 42 w 64"/>
                <a:gd name="T3" fmla="*/ 9 h 19"/>
                <a:gd name="T4" fmla="*/ 35 w 64"/>
                <a:gd name="T5" fmla="*/ 5 h 19"/>
                <a:gd name="T6" fmla="*/ 29 w 64"/>
                <a:gd name="T7" fmla="*/ 8 h 19"/>
                <a:gd name="T8" fmla="*/ 29 w 64"/>
                <a:gd name="T9" fmla="*/ 11 h 19"/>
                <a:gd name="T10" fmla="*/ 42 w 64"/>
                <a:gd name="T11" fmla="*/ 13 h 19"/>
                <a:gd name="T12" fmla="*/ 52 w 64"/>
                <a:gd name="T13" fmla="*/ 15 h 19"/>
                <a:gd name="T14" fmla="*/ 52 w 64"/>
                <a:gd name="T15" fmla="*/ 4 h 19"/>
                <a:gd name="T16" fmla="*/ 42 w 64"/>
                <a:gd name="T17" fmla="*/ 5 h 19"/>
                <a:gd name="T18" fmla="*/ 47 w 64"/>
                <a:gd name="T19" fmla="*/ 9 h 19"/>
                <a:gd name="T20" fmla="*/ 42 w 64"/>
                <a:gd name="T21" fmla="*/ 13 h 19"/>
                <a:gd name="T22" fmla="*/ 18 w 64"/>
                <a:gd name="T23" fmla="*/ 14 h 19"/>
                <a:gd name="T24" fmla="*/ 25 w 64"/>
                <a:gd name="T25" fmla="*/ 9 h 19"/>
                <a:gd name="T26" fmla="*/ 18 w 64"/>
                <a:gd name="T27" fmla="*/ 5 h 19"/>
                <a:gd name="T28" fmla="*/ 3 w 64"/>
                <a:gd name="T29" fmla="*/ 13 h 19"/>
                <a:gd name="T30" fmla="*/ 51 w 64"/>
                <a:gd name="T31" fmla="*/ 19 h 19"/>
                <a:gd name="T32" fmla="*/ 49 w 64"/>
                <a:gd name="T33" fmla="*/ 17 h 19"/>
                <a:gd name="T34" fmla="*/ 36 w 64"/>
                <a:gd name="T35" fmla="*/ 18 h 19"/>
                <a:gd name="T36" fmla="*/ 32 w 64"/>
                <a:gd name="T37" fmla="*/ 17 h 19"/>
                <a:gd name="T38" fmla="*/ 22 w 64"/>
                <a:gd name="T39" fmla="*/ 17 h 19"/>
                <a:gd name="T40" fmla="*/ 17 w 64"/>
                <a:gd name="T41" fmla="*/ 19 h 19"/>
                <a:gd name="T42" fmla="*/ 15 w 64"/>
                <a:gd name="T43" fmla="*/ 17 h 19"/>
                <a:gd name="T44" fmla="*/ 0 w 64"/>
                <a:gd name="T45" fmla="*/ 14 h 19"/>
                <a:gd name="T46" fmla="*/ 2 w 64"/>
                <a:gd name="T47" fmla="*/ 2 h 19"/>
                <a:gd name="T48" fmla="*/ 15 w 64"/>
                <a:gd name="T49" fmla="*/ 2 h 19"/>
                <a:gd name="T50" fmla="*/ 16 w 64"/>
                <a:gd name="T51" fmla="*/ 0 h 19"/>
                <a:gd name="T52" fmla="*/ 17 w 64"/>
                <a:gd name="T53" fmla="*/ 0 h 19"/>
                <a:gd name="T54" fmla="*/ 22 w 64"/>
                <a:gd name="T55" fmla="*/ 2 h 19"/>
                <a:gd name="T56" fmla="*/ 32 w 64"/>
                <a:gd name="T57" fmla="*/ 2 h 19"/>
                <a:gd name="T58" fmla="*/ 33 w 64"/>
                <a:gd name="T59" fmla="*/ 0 h 19"/>
                <a:gd name="T60" fmla="*/ 34 w 64"/>
                <a:gd name="T61" fmla="*/ 0 h 19"/>
                <a:gd name="T62" fmla="*/ 39 w 64"/>
                <a:gd name="T63" fmla="*/ 2 h 19"/>
                <a:gd name="T64" fmla="*/ 49 w 64"/>
                <a:gd name="T65" fmla="*/ 2 h 19"/>
                <a:gd name="T66" fmla="*/ 50 w 64"/>
                <a:gd name="T67" fmla="*/ 0 h 19"/>
                <a:gd name="T68" fmla="*/ 51 w 64"/>
                <a:gd name="T69" fmla="*/ 0 h 19"/>
                <a:gd name="T70" fmla="*/ 63 w 64"/>
                <a:gd name="T71" fmla="*/ 8 h 19"/>
                <a:gd name="T72" fmla="*/ 63 w 64"/>
                <a:gd name="T73" fmla="*/ 11 h 19"/>
                <a:gd name="T74" fmla="*/ 51 w 64"/>
                <a:gd name="T7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19">
                  <a:moveTo>
                    <a:pt x="25" y="13"/>
                  </a:moveTo>
                  <a:cubicBezTo>
                    <a:pt x="35" y="14"/>
                    <a:pt x="35" y="14"/>
                    <a:pt x="35" y="1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9"/>
                    <a:pt x="30" y="10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lnTo>
                    <a:pt x="25" y="13"/>
                  </a:lnTo>
                  <a:close/>
                  <a:moveTo>
                    <a:pt x="42" y="13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7" y="9"/>
                    <a:pt x="47" y="9"/>
                  </a:cubicBezTo>
                  <a:cubicBezTo>
                    <a:pt x="47" y="10"/>
                    <a:pt x="46" y="10"/>
                    <a:pt x="46" y="11"/>
                  </a:cubicBezTo>
                  <a:lnTo>
                    <a:pt x="42" y="13"/>
                  </a:lnTo>
                  <a:close/>
                  <a:moveTo>
                    <a:pt x="3" y="13"/>
                  </a:move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3"/>
                  </a:ln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49" y="18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5" y="19"/>
                    <a:pt x="34" y="19"/>
                  </a:cubicBezTo>
                  <a:cubicBezTo>
                    <a:pt x="33" y="19"/>
                    <a:pt x="32" y="18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9"/>
                    <a:pt x="18" y="19"/>
                    <a:pt x="17" y="19"/>
                  </a:cubicBezTo>
                  <a:cubicBezTo>
                    <a:pt x="16" y="19"/>
                    <a:pt x="15" y="18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0" y="16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2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0"/>
                    <a:pt x="36" y="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1"/>
                    <a:pt x="49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0"/>
                    <a:pt x="53" y="0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4" y="9"/>
                    <a:pt x="64" y="9"/>
                  </a:cubicBezTo>
                  <a:cubicBezTo>
                    <a:pt x="64" y="10"/>
                    <a:pt x="63" y="10"/>
                    <a:pt x="63" y="11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9"/>
                    <a:pt x="52" y="19"/>
                    <a:pt x="51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11" name="Group 45410">
            <a:extLst>
              <a:ext uri="{FF2B5EF4-FFF2-40B4-BE49-F238E27FC236}">
                <a16:creationId xmlns:a16="http://schemas.microsoft.com/office/drawing/2014/main" id="{9E9BC26A-2662-4964-B861-2708824DB21F}"/>
              </a:ext>
            </a:extLst>
          </p:cNvPr>
          <p:cNvGrpSpPr/>
          <p:nvPr/>
        </p:nvGrpSpPr>
        <p:grpSpPr>
          <a:xfrm>
            <a:off x="403225" y="4108450"/>
            <a:ext cx="844550" cy="839788"/>
            <a:chOff x="403225" y="4108450"/>
            <a:chExt cx="844550" cy="839788"/>
          </a:xfrm>
        </p:grpSpPr>
        <p:sp>
          <p:nvSpPr>
            <p:cNvPr id="45403" name="AutoShape 339">
              <a:extLst>
                <a:ext uri="{FF2B5EF4-FFF2-40B4-BE49-F238E27FC236}">
                  <a16:creationId xmlns:a16="http://schemas.microsoft.com/office/drawing/2014/main" id="{CD2CEAD5-9C38-4C5E-A034-9C21D52388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3225" y="410845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4" name="Oval 341">
              <a:extLst>
                <a:ext uri="{FF2B5EF4-FFF2-40B4-BE49-F238E27FC236}">
                  <a16:creationId xmlns:a16="http://schemas.microsoft.com/office/drawing/2014/main" id="{7C36C124-F824-4935-B926-FFF1300BB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" y="4111625"/>
              <a:ext cx="844550" cy="8334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5" name="Freeform 342">
              <a:extLst>
                <a:ext uri="{FF2B5EF4-FFF2-40B4-BE49-F238E27FC236}">
                  <a16:creationId xmlns:a16="http://schemas.microsoft.com/office/drawing/2014/main" id="{5391AE94-3D2C-4B89-B69B-A8765E915F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800" y="4140200"/>
              <a:ext cx="7889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6" name="Freeform 343">
              <a:extLst>
                <a:ext uri="{FF2B5EF4-FFF2-40B4-BE49-F238E27FC236}">
                  <a16:creationId xmlns:a16="http://schemas.microsoft.com/office/drawing/2014/main" id="{6FC364FE-2896-4273-B2E8-A42152CB8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513" y="4308475"/>
              <a:ext cx="174625" cy="171450"/>
            </a:xfrm>
            <a:custGeom>
              <a:avLst/>
              <a:gdLst>
                <a:gd name="T0" fmla="*/ 34 w 43"/>
                <a:gd name="T1" fmla="*/ 33 h 43"/>
                <a:gd name="T2" fmla="*/ 43 w 43"/>
                <a:gd name="T3" fmla="*/ 22 h 43"/>
                <a:gd name="T4" fmla="*/ 38 w 43"/>
                <a:gd name="T5" fmla="*/ 21 h 43"/>
                <a:gd name="T6" fmla="*/ 38 w 43"/>
                <a:gd name="T7" fmla="*/ 7 h 43"/>
                <a:gd name="T8" fmla="*/ 33 w 43"/>
                <a:gd name="T9" fmla="*/ 9 h 43"/>
                <a:gd name="T10" fmla="*/ 23 w 43"/>
                <a:gd name="T11" fmla="*/ 0 h 43"/>
                <a:gd name="T12" fmla="*/ 21 w 43"/>
                <a:gd name="T13" fmla="*/ 4 h 43"/>
                <a:gd name="T14" fmla="*/ 7 w 43"/>
                <a:gd name="T15" fmla="*/ 5 h 43"/>
                <a:gd name="T16" fmla="*/ 9 w 43"/>
                <a:gd name="T17" fmla="*/ 10 h 43"/>
                <a:gd name="T18" fmla="*/ 0 w 43"/>
                <a:gd name="T19" fmla="*/ 20 h 43"/>
                <a:gd name="T20" fmla="*/ 5 w 43"/>
                <a:gd name="T21" fmla="*/ 22 h 43"/>
                <a:gd name="T22" fmla="*/ 5 w 43"/>
                <a:gd name="T23" fmla="*/ 35 h 43"/>
                <a:gd name="T24" fmla="*/ 10 w 43"/>
                <a:gd name="T25" fmla="*/ 33 h 43"/>
                <a:gd name="T26" fmla="*/ 20 w 43"/>
                <a:gd name="T27" fmla="*/ 43 h 43"/>
                <a:gd name="T28" fmla="*/ 22 w 43"/>
                <a:gd name="T29" fmla="*/ 38 h 43"/>
                <a:gd name="T30" fmla="*/ 36 w 43"/>
                <a:gd name="T31" fmla="*/ 37 h 43"/>
                <a:gd name="T32" fmla="*/ 13 w 43"/>
                <a:gd name="T33" fmla="*/ 36 h 43"/>
                <a:gd name="T34" fmla="*/ 14 w 43"/>
                <a:gd name="T35" fmla="*/ 31 h 43"/>
                <a:gd name="T36" fmla="*/ 11 w 43"/>
                <a:gd name="T37" fmla="*/ 28 h 43"/>
                <a:gd name="T38" fmla="*/ 5 w 43"/>
                <a:gd name="T39" fmla="*/ 26 h 43"/>
                <a:gd name="T40" fmla="*/ 9 w 43"/>
                <a:gd name="T41" fmla="*/ 23 h 43"/>
                <a:gd name="T42" fmla="*/ 9 w 43"/>
                <a:gd name="T43" fmla="*/ 19 h 43"/>
                <a:gd name="T44" fmla="*/ 7 w 43"/>
                <a:gd name="T45" fmla="*/ 13 h 43"/>
                <a:gd name="T46" fmla="*/ 11 w 43"/>
                <a:gd name="T47" fmla="*/ 13 h 43"/>
                <a:gd name="T48" fmla="*/ 14 w 43"/>
                <a:gd name="T49" fmla="*/ 10 h 43"/>
                <a:gd name="T50" fmla="*/ 17 w 43"/>
                <a:gd name="T51" fmla="*/ 5 h 43"/>
                <a:gd name="T52" fmla="*/ 20 w 43"/>
                <a:gd name="T53" fmla="*/ 8 h 43"/>
                <a:gd name="T54" fmla="*/ 24 w 43"/>
                <a:gd name="T55" fmla="*/ 8 h 43"/>
                <a:gd name="T56" fmla="*/ 30 w 43"/>
                <a:gd name="T57" fmla="*/ 6 h 43"/>
                <a:gd name="T58" fmla="*/ 30 w 43"/>
                <a:gd name="T59" fmla="*/ 11 h 43"/>
                <a:gd name="T60" fmla="*/ 32 w 43"/>
                <a:gd name="T61" fmla="*/ 14 h 43"/>
                <a:gd name="T62" fmla="*/ 38 w 43"/>
                <a:gd name="T63" fmla="*/ 16 h 43"/>
                <a:gd name="T64" fmla="*/ 34 w 43"/>
                <a:gd name="T65" fmla="*/ 20 h 43"/>
                <a:gd name="T66" fmla="*/ 34 w 43"/>
                <a:gd name="T67" fmla="*/ 23 h 43"/>
                <a:gd name="T68" fmla="*/ 36 w 43"/>
                <a:gd name="T69" fmla="*/ 29 h 43"/>
                <a:gd name="T70" fmla="*/ 32 w 43"/>
                <a:gd name="T71" fmla="*/ 29 h 43"/>
                <a:gd name="T72" fmla="*/ 29 w 43"/>
                <a:gd name="T73" fmla="*/ 32 h 43"/>
                <a:gd name="T74" fmla="*/ 26 w 43"/>
                <a:gd name="T75" fmla="*/ 37 h 43"/>
                <a:gd name="T76" fmla="*/ 23 w 43"/>
                <a:gd name="T77" fmla="*/ 34 h 43"/>
                <a:gd name="T78" fmla="*/ 19 w 43"/>
                <a:gd name="T79" fmla="*/ 34 h 43"/>
                <a:gd name="T80" fmla="*/ 13 w 43"/>
                <a:gd name="T81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" h="43">
                  <a:moveTo>
                    <a:pt x="34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2"/>
                    <a:pt x="5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36" y="37"/>
                    <a:pt x="36" y="37"/>
                    <a:pt x="36" y="37"/>
                  </a:cubicBezTo>
                  <a:lnTo>
                    <a:pt x="34" y="33"/>
                  </a:lnTo>
                  <a:close/>
                  <a:moveTo>
                    <a:pt x="13" y="36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1"/>
                    <a:pt x="12" y="30"/>
                    <a:pt x="12" y="3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1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2"/>
                    <a:pt x="12" y="12"/>
                    <a:pt x="13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2" y="8"/>
                    <a:pt x="22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1" y="12"/>
                    <a:pt x="31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1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1" y="30"/>
                    <a:pt x="31" y="30"/>
                    <a:pt x="30" y="31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2" y="34"/>
                    <a:pt x="22" y="34"/>
                    <a:pt x="21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8"/>
                    <a:pt x="18" y="38"/>
                    <a:pt x="18" y="38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7" name="Freeform 344">
              <a:extLst>
                <a:ext uri="{FF2B5EF4-FFF2-40B4-BE49-F238E27FC236}">
                  <a16:creationId xmlns:a16="http://schemas.microsoft.com/office/drawing/2014/main" id="{4DC050BF-C9E6-44CB-B981-9BCE95A2A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838" y="4368800"/>
              <a:ext cx="53975" cy="47625"/>
            </a:xfrm>
            <a:custGeom>
              <a:avLst/>
              <a:gdLst>
                <a:gd name="T0" fmla="*/ 13 w 13"/>
                <a:gd name="T1" fmla="*/ 6 h 12"/>
                <a:gd name="T2" fmla="*/ 7 w 13"/>
                <a:gd name="T3" fmla="*/ 0 h 12"/>
                <a:gd name="T4" fmla="*/ 0 w 13"/>
                <a:gd name="T5" fmla="*/ 6 h 12"/>
                <a:gd name="T6" fmla="*/ 7 w 13"/>
                <a:gd name="T7" fmla="*/ 12 h 12"/>
                <a:gd name="T8" fmla="*/ 13 w 13"/>
                <a:gd name="T9" fmla="*/ 6 h 12"/>
                <a:gd name="T10" fmla="*/ 4 w 13"/>
                <a:gd name="T11" fmla="*/ 6 h 12"/>
                <a:gd name="T12" fmla="*/ 7 w 13"/>
                <a:gd name="T13" fmla="*/ 3 h 12"/>
                <a:gd name="T14" fmla="*/ 10 w 13"/>
                <a:gd name="T15" fmla="*/ 6 h 12"/>
                <a:gd name="T16" fmla="*/ 7 w 13"/>
                <a:gd name="T17" fmla="*/ 9 h 12"/>
                <a:gd name="T18" fmla="*/ 4 w 13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13" y="6"/>
                  </a:move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0" y="12"/>
                    <a:pt x="13" y="9"/>
                    <a:pt x="13" y="6"/>
                  </a:cubicBezTo>
                  <a:moveTo>
                    <a:pt x="4" y="6"/>
                  </a:moveTo>
                  <a:cubicBezTo>
                    <a:pt x="4" y="4"/>
                    <a:pt x="5" y="3"/>
                    <a:pt x="7" y="3"/>
                  </a:cubicBezTo>
                  <a:cubicBezTo>
                    <a:pt x="8" y="3"/>
                    <a:pt x="10" y="4"/>
                    <a:pt x="10" y="6"/>
                  </a:cubicBezTo>
                  <a:cubicBezTo>
                    <a:pt x="10" y="8"/>
                    <a:pt x="8" y="9"/>
                    <a:pt x="7" y="9"/>
                  </a:cubicBezTo>
                  <a:cubicBezTo>
                    <a:pt x="5" y="9"/>
                    <a:pt x="4" y="8"/>
                    <a:pt x="4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8" name="Freeform 345">
              <a:extLst>
                <a:ext uri="{FF2B5EF4-FFF2-40B4-BE49-F238E27FC236}">
                  <a16:creationId xmlns:a16="http://schemas.microsoft.com/office/drawing/2014/main" id="{25B4B67D-9DA6-4DEF-BED7-84361EC6F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113" y="4529138"/>
              <a:ext cx="296863" cy="255588"/>
            </a:xfrm>
            <a:custGeom>
              <a:avLst/>
              <a:gdLst>
                <a:gd name="T0" fmla="*/ 39 w 73"/>
                <a:gd name="T1" fmla="*/ 34 h 64"/>
                <a:gd name="T2" fmla="*/ 39 w 73"/>
                <a:gd name="T3" fmla="*/ 37 h 64"/>
                <a:gd name="T4" fmla="*/ 36 w 73"/>
                <a:gd name="T5" fmla="*/ 39 h 64"/>
                <a:gd name="T6" fmla="*/ 34 w 73"/>
                <a:gd name="T7" fmla="*/ 37 h 64"/>
                <a:gd name="T8" fmla="*/ 34 w 73"/>
                <a:gd name="T9" fmla="*/ 34 h 64"/>
                <a:gd name="T10" fmla="*/ 36 w 73"/>
                <a:gd name="T11" fmla="*/ 32 h 64"/>
                <a:gd name="T12" fmla="*/ 39 w 73"/>
                <a:gd name="T13" fmla="*/ 34 h 64"/>
                <a:gd name="T14" fmla="*/ 5 w 73"/>
                <a:gd name="T15" fmla="*/ 13 h 64"/>
                <a:gd name="T16" fmla="*/ 68 w 73"/>
                <a:gd name="T17" fmla="*/ 13 h 64"/>
                <a:gd name="T18" fmla="*/ 71 w 73"/>
                <a:gd name="T19" fmla="*/ 16 h 64"/>
                <a:gd name="T20" fmla="*/ 71 w 73"/>
                <a:gd name="T21" fmla="*/ 23 h 64"/>
                <a:gd name="T22" fmla="*/ 41 w 73"/>
                <a:gd name="T23" fmla="*/ 34 h 64"/>
                <a:gd name="T24" fmla="*/ 36 w 73"/>
                <a:gd name="T25" fmla="*/ 30 h 64"/>
                <a:gd name="T26" fmla="*/ 32 w 73"/>
                <a:gd name="T27" fmla="*/ 34 h 64"/>
                <a:gd name="T28" fmla="*/ 12 w 73"/>
                <a:gd name="T29" fmla="*/ 26 h 64"/>
                <a:gd name="T30" fmla="*/ 8 w 73"/>
                <a:gd name="T31" fmla="*/ 25 h 64"/>
                <a:gd name="T32" fmla="*/ 2 w 73"/>
                <a:gd name="T33" fmla="*/ 23 h 64"/>
                <a:gd name="T34" fmla="*/ 2 w 73"/>
                <a:gd name="T35" fmla="*/ 16 h 64"/>
                <a:gd name="T36" fmla="*/ 5 w 73"/>
                <a:gd name="T37" fmla="*/ 13 h 64"/>
                <a:gd name="T38" fmla="*/ 68 w 73"/>
                <a:gd name="T39" fmla="*/ 61 h 64"/>
                <a:gd name="T40" fmla="*/ 5 w 73"/>
                <a:gd name="T41" fmla="*/ 61 h 64"/>
                <a:gd name="T42" fmla="*/ 2 w 73"/>
                <a:gd name="T43" fmla="*/ 58 h 64"/>
                <a:gd name="T44" fmla="*/ 2 w 73"/>
                <a:gd name="T45" fmla="*/ 25 h 64"/>
                <a:gd name="T46" fmla="*/ 8 w 73"/>
                <a:gd name="T47" fmla="*/ 27 h 64"/>
                <a:gd name="T48" fmla="*/ 12 w 73"/>
                <a:gd name="T49" fmla="*/ 29 h 64"/>
                <a:gd name="T50" fmla="*/ 32 w 73"/>
                <a:gd name="T51" fmla="*/ 36 h 64"/>
                <a:gd name="T52" fmla="*/ 32 w 73"/>
                <a:gd name="T53" fmla="*/ 37 h 64"/>
                <a:gd name="T54" fmla="*/ 36 w 73"/>
                <a:gd name="T55" fmla="*/ 41 h 64"/>
                <a:gd name="T56" fmla="*/ 41 w 73"/>
                <a:gd name="T57" fmla="*/ 37 h 64"/>
                <a:gd name="T58" fmla="*/ 41 w 73"/>
                <a:gd name="T59" fmla="*/ 36 h 64"/>
                <a:gd name="T60" fmla="*/ 71 w 73"/>
                <a:gd name="T61" fmla="*/ 25 h 64"/>
                <a:gd name="T62" fmla="*/ 71 w 73"/>
                <a:gd name="T63" fmla="*/ 58 h 64"/>
                <a:gd name="T64" fmla="*/ 68 w 73"/>
                <a:gd name="T65" fmla="*/ 61 h 64"/>
                <a:gd name="T66" fmla="*/ 25 w 73"/>
                <a:gd name="T67" fmla="*/ 3 h 64"/>
                <a:gd name="T68" fmla="*/ 47 w 73"/>
                <a:gd name="T69" fmla="*/ 3 h 64"/>
                <a:gd name="T70" fmla="*/ 50 w 73"/>
                <a:gd name="T71" fmla="*/ 6 h 64"/>
                <a:gd name="T72" fmla="*/ 50 w 73"/>
                <a:gd name="T73" fmla="*/ 11 h 64"/>
                <a:gd name="T74" fmla="*/ 23 w 73"/>
                <a:gd name="T75" fmla="*/ 11 h 64"/>
                <a:gd name="T76" fmla="*/ 23 w 73"/>
                <a:gd name="T77" fmla="*/ 6 h 64"/>
                <a:gd name="T78" fmla="*/ 25 w 73"/>
                <a:gd name="T79" fmla="*/ 3 h 64"/>
                <a:gd name="T80" fmla="*/ 68 w 73"/>
                <a:gd name="T81" fmla="*/ 11 h 64"/>
                <a:gd name="T82" fmla="*/ 53 w 73"/>
                <a:gd name="T83" fmla="*/ 11 h 64"/>
                <a:gd name="T84" fmla="*/ 53 w 73"/>
                <a:gd name="T85" fmla="*/ 6 h 64"/>
                <a:gd name="T86" fmla="*/ 47 w 73"/>
                <a:gd name="T87" fmla="*/ 0 h 64"/>
                <a:gd name="T88" fmla="*/ 25 w 73"/>
                <a:gd name="T89" fmla="*/ 0 h 64"/>
                <a:gd name="T90" fmla="*/ 20 w 73"/>
                <a:gd name="T91" fmla="*/ 6 h 64"/>
                <a:gd name="T92" fmla="*/ 20 w 73"/>
                <a:gd name="T93" fmla="*/ 11 h 64"/>
                <a:gd name="T94" fmla="*/ 5 w 73"/>
                <a:gd name="T95" fmla="*/ 11 h 64"/>
                <a:gd name="T96" fmla="*/ 0 w 73"/>
                <a:gd name="T97" fmla="*/ 16 h 64"/>
                <a:gd name="T98" fmla="*/ 0 w 73"/>
                <a:gd name="T99" fmla="*/ 58 h 64"/>
                <a:gd name="T100" fmla="*/ 5 w 73"/>
                <a:gd name="T101" fmla="*/ 64 h 64"/>
                <a:gd name="T102" fmla="*/ 68 w 73"/>
                <a:gd name="T103" fmla="*/ 64 h 64"/>
                <a:gd name="T104" fmla="*/ 73 w 73"/>
                <a:gd name="T105" fmla="*/ 58 h 64"/>
                <a:gd name="T106" fmla="*/ 73 w 73"/>
                <a:gd name="T107" fmla="*/ 16 h 64"/>
                <a:gd name="T108" fmla="*/ 68 w 73"/>
                <a:gd name="T109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4">
                  <a:moveTo>
                    <a:pt x="39" y="34"/>
                  </a:moveTo>
                  <a:cubicBezTo>
                    <a:pt x="39" y="37"/>
                    <a:pt x="39" y="37"/>
                    <a:pt x="39" y="37"/>
                  </a:cubicBezTo>
                  <a:cubicBezTo>
                    <a:pt x="39" y="38"/>
                    <a:pt x="38" y="39"/>
                    <a:pt x="36" y="39"/>
                  </a:cubicBezTo>
                  <a:cubicBezTo>
                    <a:pt x="35" y="39"/>
                    <a:pt x="34" y="38"/>
                    <a:pt x="34" y="37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5" y="32"/>
                    <a:pt x="36" y="32"/>
                  </a:cubicBezTo>
                  <a:cubicBezTo>
                    <a:pt x="38" y="32"/>
                    <a:pt x="39" y="33"/>
                    <a:pt x="39" y="34"/>
                  </a:cubicBezTo>
                  <a:moveTo>
                    <a:pt x="5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9" y="13"/>
                    <a:pt x="71" y="15"/>
                    <a:pt x="71" y="16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2"/>
                    <a:pt x="39" y="30"/>
                    <a:pt x="36" y="30"/>
                  </a:cubicBezTo>
                  <a:cubicBezTo>
                    <a:pt x="34" y="30"/>
                    <a:pt x="32" y="32"/>
                    <a:pt x="32" y="34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4" y="13"/>
                    <a:pt x="5" y="13"/>
                  </a:cubicBezTo>
                  <a:moveTo>
                    <a:pt x="68" y="61"/>
                  </a:moveTo>
                  <a:cubicBezTo>
                    <a:pt x="5" y="61"/>
                    <a:pt x="5" y="61"/>
                    <a:pt x="5" y="61"/>
                  </a:cubicBezTo>
                  <a:cubicBezTo>
                    <a:pt x="4" y="61"/>
                    <a:pt x="2" y="60"/>
                    <a:pt x="2" y="5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9"/>
                    <a:pt x="34" y="41"/>
                    <a:pt x="36" y="41"/>
                  </a:cubicBezTo>
                  <a:cubicBezTo>
                    <a:pt x="39" y="41"/>
                    <a:pt x="41" y="39"/>
                    <a:pt x="41" y="37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60"/>
                    <a:pt x="69" y="61"/>
                    <a:pt x="68" y="61"/>
                  </a:cubicBezTo>
                  <a:moveTo>
                    <a:pt x="25" y="3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49" y="3"/>
                    <a:pt x="50" y="4"/>
                    <a:pt x="50" y="6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4"/>
                    <a:pt x="24" y="3"/>
                    <a:pt x="25" y="3"/>
                  </a:cubicBezTo>
                  <a:moveTo>
                    <a:pt x="68" y="11"/>
                  </a:moveTo>
                  <a:cubicBezTo>
                    <a:pt x="53" y="11"/>
                    <a:pt x="53" y="11"/>
                    <a:pt x="53" y="11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0" y="3"/>
                    <a:pt x="20" y="6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1"/>
                    <a:pt x="0" y="14"/>
                    <a:pt x="0" y="1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1"/>
                    <a:pt x="3" y="64"/>
                    <a:pt x="5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0" y="64"/>
                    <a:pt x="73" y="61"/>
                    <a:pt x="73" y="58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4"/>
                    <a:pt x="70" y="11"/>
                    <a:pt x="6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9" name="Freeform 346">
              <a:extLst>
                <a:ext uri="{FF2B5EF4-FFF2-40B4-BE49-F238E27FC236}">
                  <a16:creationId xmlns:a16="http://schemas.microsoft.com/office/drawing/2014/main" id="{6E5C639A-1F59-4D1A-8504-EAF15364FD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350" y="4524375"/>
              <a:ext cx="304800" cy="263525"/>
            </a:xfrm>
            <a:custGeom>
              <a:avLst/>
              <a:gdLst>
                <a:gd name="T0" fmla="*/ 24 w 75"/>
                <a:gd name="T1" fmla="*/ 7 h 66"/>
                <a:gd name="T2" fmla="*/ 48 w 75"/>
                <a:gd name="T3" fmla="*/ 3 h 66"/>
                <a:gd name="T4" fmla="*/ 43 w 75"/>
                <a:gd name="T5" fmla="*/ 33 h 66"/>
                <a:gd name="T6" fmla="*/ 6 w 75"/>
                <a:gd name="T7" fmla="*/ 13 h 66"/>
                <a:gd name="T8" fmla="*/ 37 w 75"/>
                <a:gd name="T9" fmla="*/ 32 h 66"/>
                <a:gd name="T10" fmla="*/ 37 w 75"/>
                <a:gd name="T11" fmla="*/ 39 h 66"/>
                <a:gd name="T12" fmla="*/ 34 w 75"/>
                <a:gd name="T13" fmla="*/ 35 h 66"/>
                <a:gd name="T14" fmla="*/ 69 w 75"/>
                <a:gd name="T15" fmla="*/ 61 h 66"/>
                <a:gd name="T16" fmla="*/ 32 w 75"/>
                <a:gd name="T17" fmla="*/ 38 h 66"/>
                <a:gd name="T18" fmla="*/ 41 w 75"/>
                <a:gd name="T19" fmla="*/ 38 h 66"/>
                <a:gd name="T20" fmla="*/ 2 w 75"/>
                <a:gd name="T21" fmla="*/ 60 h 66"/>
                <a:gd name="T22" fmla="*/ 69 w 75"/>
                <a:gd name="T23" fmla="*/ 61 h 66"/>
                <a:gd name="T24" fmla="*/ 32 w 75"/>
                <a:gd name="T25" fmla="*/ 38 h 66"/>
                <a:gd name="T26" fmla="*/ 41 w 75"/>
                <a:gd name="T27" fmla="*/ 38 h 66"/>
                <a:gd name="T28" fmla="*/ 2 w 75"/>
                <a:gd name="T29" fmla="*/ 60 h 66"/>
                <a:gd name="T30" fmla="*/ 4 w 75"/>
                <a:gd name="T31" fmla="*/ 17 h 66"/>
                <a:gd name="T32" fmla="*/ 32 w 75"/>
                <a:gd name="T33" fmla="*/ 33 h 66"/>
                <a:gd name="T34" fmla="*/ 2 w 75"/>
                <a:gd name="T35" fmla="*/ 25 h 66"/>
                <a:gd name="T36" fmla="*/ 41 w 75"/>
                <a:gd name="T37" fmla="*/ 36 h 66"/>
                <a:gd name="T38" fmla="*/ 50 w 75"/>
                <a:gd name="T39" fmla="*/ 7 h 66"/>
                <a:gd name="T40" fmla="*/ 23 w 75"/>
                <a:gd name="T41" fmla="*/ 13 h 66"/>
                <a:gd name="T42" fmla="*/ 36 w 75"/>
                <a:gd name="T43" fmla="*/ 35 h 66"/>
                <a:gd name="T44" fmla="*/ 37 w 75"/>
                <a:gd name="T45" fmla="*/ 41 h 66"/>
                <a:gd name="T46" fmla="*/ 37 w 75"/>
                <a:gd name="T47" fmla="*/ 39 h 66"/>
                <a:gd name="T48" fmla="*/ 37 w 75"/>
                <a:gd name="T49" fmla="*/ 32 h 66"/>
                <a:gd name="T50" fmla="*/ 50 w 75"/>
                <a:gd name="T51" fmla="*/ 7 h 66"/>
                <a:gd name="T52" fmla="*/ 23 w 75"/>
                <a:gd name="T53" fmla="*/ 7 h 66"/>
                <a:gd name="T54" fmla="*/ 69 w 75"/>
                <a:gd name="T55" fmla="*/ 15 h 66"/>
                <a:gd name="T56" fmla="*/ 9 w 75"/>
                <a:gd name="T57" fmla="*/ 25 h 66"/>
                <a:gd name="T58" fmla="*/ 13 w 75"/>
                <a:gd name="T59" fmla="*/ 29 h 66"/>
                <a:gd name="T60" fmla="*/ 72 w 75"/>
                <a:gd name="T61" fmla="*/ 17 h 66"/>
                <a:gd name="T62" fmla="*/ 4 w 75"/>
                <a:gd name="T63" fmla="*/ 60 h 66"/>
                <a:gd name="T64" fmla="*/ 43 w 75"/>
                <a:gd name="T65" fmla="*/ 38 h 66"/>
                <a:gd name="T66" fmla="*/ 2 w 75"/>
                <a:gd name="T67" fmla="*/ 25 h 66"/>
                <a:gd name="T68" fmla="*/ 41 w 75"/>
                <a:gd name="T69" fmla="*/ 38 h 66"/>
                <a:gd name="T70" fmla="*/ 22 w 75"/>
                <a:gd name="T71" fmla="*/ 13 h 66"/>
                <a:gd name="T72" fmla="*/ 73 w 75"/>
                <a:gd name="T73" fmla="*/ 17 h 66"/>
                <a:gd name="T74" fmla="*/ 20 w 75"/>
                <a:gd name="T75" fmla="*/ 7 h 66"/>
                <a:gd name="T76" fmla="*/ 75 w 75"/>
                <a:gd name="T77" fmla="*/ 60 h 66"/>
                <a:gd name="T78" fmla="*/ 36 w 75"/>
                <a:gd name="T79" fmla="*/ 38 h 66"/>
                <a:gd name="T80" fmla="*/ 34 w 75"/>
                <a:gd name="T81" fmla="*/ 35 h 66"/>
                <a:gd name="T82" fmla="*/ 50 w 75"/>
                <a:gd name="T83" fmla="*/ 11 h 66"/>
                <a:gd name="T84" fmla="*/ 23 w 75"/>
                <a:gd name="T85" fmla="*/ 13 h 66"/>
                <a:gd name="T86" fmla="*/ 71 w 75"/>
                <a:gd name="T87" fmla="*/ 17 h 66"/>
                <a:gd name="T88" fmla="*/ 4 w 75"/>
                <a:gd name="T89" fmla="*/ 23 h 66"/>
                <a:gd name="T90" fmla="*/ 34 w 75"/>
                <a:gd name="T91" fmla="*/ 36 h 66"/>
                <a:gd name="T92" fmla="*/ 69 w 75"/>
                <a:gd name="T93" fmla="*/ 13 h 66"/>
                <a:gd name="T94" fmla="*/ 4 w 75"/>
                <a:gd name="T95" fmla="*/ 28 h 66"/>
                <a:gd name="T96" fmla="*/ 41 w 75"/>
                <a:gd name="T97" fmla="*/ 38 h 66"/>
                <a:gd name="T98" fmla="*/ 2 w 75"/>
                <a:gd name="T99" fmla="*/ 60 h 66"/>
                <a:gd name="T100" fmla="*/ 71 w 75"/>
                <a:gd name="T101" fmla="*/ 60 h 66"/>
                <a:gd name="T102" fmla="*/ 32 w 75"/>
                <a:gd name="T103" fmla="*/ 38 h 66"/>
                <a:gd name="T104" fmla="*/ 41 w 75"/>
                <a:gd name="T105" fmla="*/ 36 h 66"/>
                <a:gd name="T106" fmla="*/ 2 w 75"/>
                <a:gd name="T107" fmla="*/ 25 h 66"/>
                <a:gd name="T108" fmla="*/ 4 w 75"/>
                <a:gd name="T109" fmla="*/ 23 h 66"/>
                <a:gd name="T110" fmla="*/ 37 w 75"/>
                <a:gd name="T111" fmla="*/ 30 h 66"/>
                <a:gd name="T112" fmla="*/ 2 w 75"/>
                <a:gd name="T113" fmla="*/ 17 h 66"/>
                <a:gd name="T114" fmla="*/ 41 w 75"/>
                <a:gd name="T115" fmla="*/ 35 h 66"/>
                <a:gd name="T116" fmla="*/ 48 w 75"/>
                <a:gd name="T117" fmla="*/ 5 h 66"/>
                <a:gd name="T118" fmla="*/ 23 w 75"/>
                <a:gd name="T119" fmla="*/ 7 h 66"/>
                <a:gd name="T120" fmla="*/ 36 w 75"/>
                <a:gd name="T121" fmla="*/ 38 h 66"/>
                <a:gd name="T122" fmla="*/ 34 w 75"/>
                <a:gd name="T123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" h="66"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moveTo>
                    <a:pt x="37" y="34"/>
                  </a:moveTo>
                  <a:cubicBezTo>
                    <a:pt x="38" y="34"/>
                    <a:pt x="39" y="35"/>
                    <a:pt x="39" y="35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moveTo>
                    <a:pt x="37" y="41"/>
                  </a:move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52" y="7"/>
                  </a:moveTo>
                  <a:cubicBezTo>
                    <a:pt x="52" y="4"/>
                    <a:pt x="51" y="3"/>
                    <a:pt x="48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7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43" y="3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lose/>
                  <a:moveTo>
                    <a:pt x="41" y="38"/>
                  </a:move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41" y="36"/>
                    <a:pt x="41" y="36"/>
                    <a:pt x="41" y="36"/>
                  </a:cubicBezTo>
                  <a:lnTo>
                    <a:pt x="41" y="38"/>
                  </a:lnTo>
                  <a:close/>
                  <a:moveTo>
                    <a:pt x="73" y="60"/>
                  </a:moveTo>
                  <a:cubicBezTo>
                    <a:pt x="73" y="62"/>
                    <a:pt x="71" y="64"/>
                    <a:pt x="69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4"/>
                    <a:pt x="2" y="62"/>
                    <a:pt x="2" y="60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5"/>
                    <a:pt x="4" y="13"/>
                    <a:pt x="6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4"/>
                    <a:pt x="24" y="2"/>
                    <a:pt x="26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1" y="2"/>
                    <a:pt x="53" y="4"/>
                    <a:pt x="53" y="7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71" y="13"/>
                    <a:pt x="73" y="15"/>
                    <a:pt x="73" y="17"/>
                  </a:cubicBezTo>
                  <a:lnTo>
                    <a:pt x="73" y="60"/>
                  </a:lnTo>
                  <a:close/>
                  <a:moveTo>
                    <a:pt x="69" y="11"/>
                  </a:moveTo>
                  <a:cubicBezTo>
                    <a:pt x="55" y="11"/>
                    <a:pt x="55" y="11"/>
                    <a:pt x="55" y="11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3"/>
                    <a:pt x="52" y="0"/>
                    <a:pt x="4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0" y="3"/>
                    <a:pt x="20" y="7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14"/>
                    <a:pt x="0" y="1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3"/>
                    <a:pt x="3" y="66"/>
                    <a:pt x="6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2" y="66"/>
                    <a:pt x="75" y="63"/>
                    <a:pt x="75" y="6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4"/>
                    <a:pt x="72" y="11"/>
                    <a:pt x="69" y="11"/>
                  </a:cubicBezTo>
                  <a:moveTo>
                    <a:pt x="37" y="34"/>
                  </a:moveTo>
                  <a:cubicBezTo>
                    <a:pt x="38" y="34"/>
                    <a:pt x="39" y="35"/>
                    <a:pt x="39" y="35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moveTo>
                    <a:pt x="37" y="41"/>
                  </a:move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52" y="7"/>
                  </a:moveTo>
                  <a:cubicBezTo>
                    <a:pt x="52" y="4"/>
                    <a:pt x="51" y="3"/>
                    <a:pt x="48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7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43" y="3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lose/>
                  <a:moveTo>
                    <a:pt x="41" y="38"/>
                  </a:move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41" y="36"/>
                    <a:pt x="41" y="36"/>
                    <a:pt x="41" y="36"/>
                  </a:cubicBezTo>
                  <a:lnTo>
                    <a:pt x="41" y="38"/>
                  </a:lnTo>
                  <a:close/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0" name="Freeform 347">
              <a:extLst>
                <a:ext uri="{FF2B5EF4-FFF2-40B4-BE49-F238E27FC236}">
                  <a16:creationId xmlns:a16="http://schemas.microsoft.com/office/drawing/2014/main" id="{F726B473-1E5B-40ED-AF64-441472B61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038" y="4260850"/>
              <a:ext cx="361950" cy="407988"/>
            </a:xfrm>
            <a:custGeom>
              <a:avLst/>
              <a:gdLst>
                <a:gd name="T0" fmla="*/ 66 w 89"/>
                <a:gd name="T1" fmla="*/ 95 h 102"/>
                <a:gd name="T2" fmla="*/ 66 w 89"/>
                <a:gd name="T3" fmla="*/ 95 h 102"/>
                <a:gd name="T4" fmla="*/ 66 w 89"/>
                <a:gd name="T5" fmla="*/ 93 h 102"/>
                <a:gd name="T6" fmla="*/ 66 w 89"/>
                <a:gd name="T7" fmla="*/ 92 h 102"/>
                <a:gd name="T8" fmla="*/ 62 w 89"/>
                <a:gd name="T9" fmla="*/ 91 h 102"/>
                <a:gd name="T10" fmla="*/ 62 w 89"/>
                <a:gd name="T11" fmla="*/ 92 h 102"/>
                <a:gd name="T12" fmla="*/ 62 w 89"/>
                <a:gd name="T13" fmla="*/ 93 h 102"/>
                <a:gd name="T14" fmla="*/ 62 w 89"/>
                <a:gd name="T15" fmla="*/ 93 h 102"/>
                <a:gd name="T16" fmla="*/ 62 w 89"/>
                <a:gd name="T17" fmla="*/ 94 h 102"/>
                <a:gd name="T18" fmla="*/ 62 w 89"/>
                <a:gd name="T19" fmla="*/ 95 h 102"/>
                <a:gd name="T20" fmla="*/ 66 w 89"/>
                <a:gd name="T21" fmla="*/ 97 h 102"/>
                <a:gd name="T22" fmla="*/ 66 w 89"/>
                <a:gd name="T23" fmla="*/ 96 h 102"/>
                <a:gd name="T24" fmla="*/ 66 w 89"/>
                <a:gd name="T25" fmla="*/ 95 h 102"/>
                <a:gd name="T26" fmla="*/ 86 w 89"/>
                <a:gd name="T27" fmla="*/ 31 h 102"/>
                <a:gd name="T28" fmla="*/ 68 w 89"/>
                <a:gd name="T29" fmla="*/ 6 h 102"/>
                <a:gd name="T30" fmla="*/ 68 w 89"/>
                <a:gd name="T31" fmla="*/ 6 h 102"/>
                <a:gd name="T32" fmla="*/ 43 w 89"/>
                <a:gd name="T33" fmla="*/ 0 h 102"/>
                <a:gd name="T34" fmla="*/ 13 w 89"/>
                <a:gd name="T35" fmla="*/ 14 h 102"/>
                <a:gd name="T36" fmla="*/ 7 w 89"/>
                <a:gd name="T37" fmla="*/ 43 h 102"/>
                <a:gd name="T38" fmla="*/ 0 w 89"/>
                <a:gd name="T39" fmla="*/ 55 h 102"/>
                <a:gd name="T40" fmla="*/ 0 w 89"/>
                <a:gd name="T41" fmla="*/ 57 h 102"/>
                <a:gd name="T42" fmla="*/ 2 w 89"/>
                <a:gd name="T43" fmla="*/ 58 h 102"/>
                <a:gd name="T44" fmla="*/ 8 w 89"/>
                <a:gd name="T45" fmla="*/ 59 h 102"/>
                <a:gd name="T46" fmla="*/ 8 w 89"/>
                <a:gd name="T47" fmla="*/ 82 h 102"/>
                <a:gd name="T48" fmla="*/ 9 w 89"/>
                <a:gd name="T49" fmla="*/ 83 h 102"/>
                <a:gd name="T50" fmla="*/ 32 w 89"/>
                <a:gd name="T51" fmla="*/ 87 h 102"/>
                <a:gd name="T52" fmla="*/ 30 w 89"/>
                <a:gd name="T53" fmla="*/ 99 h 102"/>
                <a:gd name="T54" fmla="*/ 31 w 89"/>
                <a:gd name="T55" fmla="*/ 101 h 102"/>
                <a:gd name="T56" fmla="*/ 32 w 89"/>
                <a:gd name="T57" fmla="*/ 102 h 102"/>
                <a:gd name="T58" fmla="*/ 57 w 89"/>
                <a:gd name="T59" fmla="*/ 102 h 102"/>
                <a:gd name="T60" fmla="*/ 57 w 89"/>
                <a:gd name="T61" fmla="*/ 98 h 102"/>
                <a:gd name="T62" fmla="*/ 34 w 89"/>
                <a:gd name="T63" fmla="*/ 98 h 102"/>
                <a:gd name="T64" fmla="*/ 36 w 89"/>
                <a:gd name="T65" fmla="*/ 85 h 102"/>
                <a:gd name="T66" fmla="*/ 36 w 89"/>
                <a:gd name="T67" fmla="*/ 84 h 102"/>
                <a:gd name="T68" fmla="*/ 34 w 89"/>
                <a:gd name="T69" fmla="*/ 83 h 102"/>
                <a:gd name="T70" fmla="*/ 12 w 89"/>
                <a:gd name="T71" fmla="*/ 80 h 102"/>
                <a:gd name="T72" fmla="*/ 12 w 89"/>
                <a:gd name="T73" fmla="*/ 58 h 102"/>
                <a:gd name="T74" fmla="*/ 11 w 89"/>
                <a:gd name="T75" fmla="*/ 56 h 102"/>
                <a:gd name="T76" fmla="*/ 5 w 89"/>
                <a:gd name="T77" fmla="*/ 55 h 102"/>
                <a:gd name="T78" fmla="*/ 11 w 89"/>
                <a:gd name="T79" fmla="*/ 45 h 102"/>
                <a:gd name="T80" fmla="*/ 11 w 89"/>
                <a:gd name="T81" fmla="*/ 43 h 102"/>
                <a:gd name="T82" fmla="*/ 17 w 89"/>
                <a:gd name="T83" fmla="*/ 17 h 102"/>
                <a:gd name="T84" fmla="*/ 43 w 89"/>
                <a:gd name="T85" fmla="*/ 4 h 102"/>
                <a:gd name="T86" fmla="*/ 66 w 89"/>
                <a:gd name="T87" fmla="*/ 9 h 102"/>
                <a:gd name="T88" fmla="*/ 82 w 89"/>
                <a:gd name="T89" fmla="*/ 31 h 102"/>
                <a:gd name="T90" fmla="*/ 63 w 89"/>
                <a:gd name="T91" fmla="*/ 77 h 102"/>
                <a:gd name="T92" fmla="*/ 62 w 89"/>
                <a:gd name="T93" fmla="*/ 78 h 102"/>
                <a:gd name="T94" fmla="*/ 61 w 89"/>
                <a:gd name="T95" fmla="*/ 79 h 102"/>
                <a:gd name="T96" fmla="*/ 61 w 89"/>
                <a:gd name="T97" fmla="*/ 79 h 102"/>
                <a:gd name="T98" fmla="*/ 61 w 89"/>
                <a:gd name="T99" fmla="*/ 79 h 102"/>
                <a:gd name="T100" fmla="*/ 61 w 89"/>
                <a:gd name="T101" fmla="*/ 80 h 102"/>
                <a:gd name="T102" fmla="*/ 61 w 89"/>
                <a:gd name="T103" fmla="*/ 80 h 102"/>
                <a:gd name="T104" fmla="*/ 61 w 89"/>
                <a:gd name="T105" fmla="*/ 81 h 102"/>
                <a:gd name="T106" fmla="*/ 65 w 89"/>
                <a:gd name="T107" fmla="*/ 81 h 102"/>
                <a:gd name="T108" fmla="*/ 65 w 89"/>
                <a:gd name="T109" fmla="*/ 81 h 102"/>
                <a:gd name="T110" fmla="*/ 65 w 89"/>
                <a:gd name="T111" fmla="*/ 80 h 102"/>
                <a:gd name="T112" fmla="*/ 66 w 89"/>
                <a:gd name="T113" fmla="*/ 79 h 102"/>
                <a:gd name="T114" fmla="*/ 66 w 89"/>
                <a:gd name="T115" fmla="*/ 79 h 102"/>
                <a:gd name="T116" fmla="*/ 67 w 89"/>
                <a:gd name="T117" fmla="*/ 78 h 102"/>
                <a:gd name="T118" fmla="*/ 68 w 89"/>
                <a:gd name="T119" fmla="*/ 77 h 102"/>
                <a:gd name="T120" fmla="*/ 86 w 89"/>
                <a:gd name="T12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" h="102">
                  <a:moveTo>
                    <a:pt x="66" y="95"/>
                  </a:moveTo>
                  <a:cubicBezTo>
                    <a:pt x="66" y="95"/>
                    <a:pt x="66" y="95"/>
                    <a:pt x="66" y="95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6"/>
                    <a:pt x="66" y="96"/>
                  </a:cubicBezTo>
                  <a:lnTo>
                    <a:pt x="66" y="95"/>
                  </a:lnTo>
                  <a:close/>
                  <a:moveTo>
                    <a:pt x="86" y="31"/>
                  </a:moveTo>
                  <a:cubicBezTo>
                    <a:pt x="85" y="21"/>
                    <a:pt x="79" y="12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57" y="0"/>
                    <a:pt x="43" y="0"/>
                  </a:cubicBezTo>
                  <a:cubicBezTo>
                    <a:pt x="31" y="0"/>
                    <a:pt x="21" y="5"/>
                    <a:pt x="13" y="14"/>
                  </a:cubicBezTo>
                  <a:cubicBezTo>
                    <a:pt x="13" y="15"/>
                    <a:pt x="3" y="28"/>
                    <a:pt x="7" y="4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0" y="58"/>
                    <a:pt x="1" y="58"/>
                    <a:pt x="2" y="5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4"/>
                    <a:pt x="7" y="76"/>
                    <a:pt x="8" y="82"/>
                  </a:cubicBezTo>
                  <a:cubicBezTo>
                    <a:pt x="9" y="82"/>
                    <a:pt x="9" y="82"/>
                    <a:pt x="9" y="83"/>
                  </a:cubicBezTo>
                  <a:cubicBezTo>
                    <a:pt x="10" y="83"/>
                    <a:pt x="14" y="86"/>
                    <a:pt x="32" y="87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100"/>
                    <a:pt x="30" y="101"/>
                    <a:pt x="31" y="101"/>
                  </a:cubicBezTo>
                  <a:cubicBezTo>
                    <a:pt x="31" y="101"/>
                    <a:pt x="32" y="102"/>
                    <a:pt x="32" y="102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6" y="85"/>
                    <a:pt x="36" y="84"/>
                    <a:pt x="36" y="84"/>
                  </a:cubicBezTo>
                  <a:cubicBezTo>
                    <a:pt x="36" y="84"/>
                    <a:pt x="35" y="83"/>
                    <a:pt x="34" y="83"/>
                  </a:cubicBezTo>
                  <a:cubicBezTo>
                    <a:pt x="20" y="83"/>
                    <a:pt x="14" y="81"/>
                    <a:pt x="12" y="80"/>
                  </a:cubicBezTo>
                  <a:cubicBezTo>
                    <a:pt x="11" y="73"/>
                    <a:pt x="12" y="58"/>
                    <a:pt x="12" y="58"/>
                  </a:cubicBezTo>
                  <a:cubicBezTo>
                    <a:pt x="12" y="57"/>
                    <a:pt x="12" y="56"/>
                    <a:pt x="11" y="5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4"/>
                    <a:pt x="11" y="44"/>
                    <a:pt x="11" y="43"/>
                  </a:cubicBezTo>
                  <a:cubicBezTo>
                    <a:pt x="7" y="30"/>
                    <a:pt x="16" y="17"/>
                    <a:pt x="17" y="17"/>
                  </a:cubicBezTo>
                  <a:cubicBezTo>
                    <a:pt x="23" y="8"/>
                    <a:pt x="32" y="4"/>
                    <a:pt x="43" y="4"/>
                  </a:cubicBezTo>
                  <a:cubicBezTo>
                    <a:pt x="55" y="4"/>
                    <a:pt x="65" y="9"/>
                    <a:pt x="66" y="9"/>
                  </a:cubicBezTo>
                  <a:cubicBezTo>
                    <a:pt x="76" y="15"/>
                    <a:pt x="81" y="22"/>
                    <a:pt x="82" y="31"/>
                  </a:cubicBezTo>
                  <a:cubicBezTo>
                    <a:pt x="85" y="50"/>
                    <a:pt x="68" y="71"/>
                    <a:pt x="63" y="77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0"/>
                  </a:cubicBezTo>
                  <a:cubicBezTo>
                    <a:pt x="65" y="80"/>
                    <a:pt x="66" y="80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7" y="79"/>
                    <a:pt x="67" y="79"/>
                    <a:pt x="67" y="78"/>
                  </a:cubicBezTo>
                  <a:cubicBezTo>
                    <a:pt x="67" y="78"/>
                    <a:pt x="68" y="78"/>
                    <a:pt x="68" y="77"/>
                  </a:cubicBezTo>
                  <a:cubicBezTo>
                    <a:pt x="75" y="69"/>
                    <a:pt x="89" y="49"/>
                    <a:pt x="86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20" name="Group 45419">
            <a:extLst>
              <a:ext uri="{FF2B5EF4-FFF2-40B4-BE49-F238E27FC236}">
                <a16:creationId xmlns:a16="http://schemas.microsoft.com/office/drawing/2014/main" id="{E39B11BE-8736-4613-BF8B-085C7DA9C63D}"/>
              </a:ext>
            </a:extLst>
          </p:cNvPr>
          <p:cNvGrpSpPr/>
          <p:nvPr/>
        </p:nvGrpSpPr>
        <p:grpSpPr>
          <a:xfrm>
            <a:off x="1414463" y="4140201"/>
            <a:ext cx="768351" cy="763588"/>
            <a:chOff x="1414463" y="4140201"/>
            <a:chExt cx="768351" cy="763588"/>
          </a:xfrm>
        </p:grpSpPr>
        <p:sp>
          <p:nvSpPr>
            <p:cNvPr id="45413" name="AutoShape 349">
              <a:extLst>
                <a:ext uri="{FF2B5EF4-FFF2-40B4-BE49-F238E27FC236}">
                  <a16:creationId xmlns:a16="http://schemas.microsoft.com/office/drawing/2014/main" id="{AD241F15-7D31-46A2-9BF3-A50F584CD4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4463" y="4144963"/>
              <a:ext cx="768350" cy="755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4" name="Freeform 351">
              <a:extLst>
                <a:ext uri="{FF2B5EF4-FFF2-40B4-BE49-F238E27FC236}">
                  <a16:creationId xmlns:a16="http://schemas.microsoft.com/office/drawing/2014/main" id="{34379CFE-BC5A-44C4-8127-C4FBED4633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9226" y="4140201"/>
              <a:ext cx="763588" cy="7635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5" name="Freeform 352">
              <a:extLst>
                <a:ext uri="{FF2B5EF4-FFF2-40B4-BE49-F238E27FC236}">
                  <a16:creationId xmlns:a16="http://schemas.microsoft.com/office/drawing/2014/main" id="{BB85F930-5BA0-4E5D-B56D-AAAE6FCC4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1001" y="4306888"/>
              <a:ext cx="169863" cy="168275"/>
            </a:xfrm>
            <a:custGeom>
              <a:avLst/>
              <a:gdLst>
                <a:gd name="T0" fmla="*/ 34 w 43"/>
                <a:gd name="T1" fmla="*/ 33 h 43"/>
                <a:gd name="T2" fmla="*/ 43 w 43"/>
                <a:gd name="T3" fmla="*/ 22 h 43"/>
                <a:gd name="T4" fmla="*/ 38 w 43"/>
                <a:gd name="T5" fmla="*/ 21 h 43"/>
                <a:gd name="T6" fmla="*/ 38 w 43"/>
                <a:gd name="T7" fmla="*/ 7 h 43"/>
                <a:gd name="T8" fmla="*/ 33 w 43"/>
                <a:gd name="T9" fmla="*/ 9 h 43"/>
                <a:gd name="T10" fmla="*/ 23 w 43"/>
                <a:gd name="T11" fmla="*/ 0 h 43"/>
                <a:gd name="T12" fmla="*/ 21 w 43"/>
                <a:gd name="T13" fmla="*/ 4 h 43"/>
                <a:gd name="T14" fmla="*/ 7 w 43"/>
                <a:gd name="T15" fmla="*/ 5 h 43"/>
                <a:gd name="T16" fmla="*/ 9 w 43"/>
                <a:gd name="T17" fmla="*/ 10 h 43"/>
                <a:gd name="T18" fmla="*/ 0 w 43"/>
                <a:gd name="T19" fmla="*/ 20 h 43"/>
                <a:gd name="T20" fmla="*/ 5 w 43"/>
                <a:gd name="T21" fmla="*/ 22 h 43"/>
                <a:gd name="T22" fmla="*/ 5 w 43"/>
                <a:gd name="T23" fmla="*/ 35 h 43"/>
                <a:gd name="T24" fmla="*/ 10 w 43"/>
                <a:gd name="T25" fmla="*/ 33 h 43"/>
                <a:gd name="T26" fmla="*/ 20 w 43"/>
                <a:gd name="T27" fmla="*/ 43 h 43"/>
                <a:gd name="T28" fmla="*/ 22 w 43"/>
                <a:gd name="T29" fmla="*/ 38 h 43"/>
                <a:gd name="T30" fmla="*/ 36 w 43"/>
                <a:gd name="T31" fmla="*/ 37 h 43"/>
                <a:gd name="T32" fmla="*/ 13 w 43"/>
                <a:gd name="T33" fmla="*/ 36 h 43"/>
                <a:gd name="T34" fmla="*/ 14 w 43"/>
                <a:gd name="T35" fmla="*/ 31 h 43"/>
                <a:gd name="T36" fmla="*/ 11 w 43"/>
                <a:gd name="T37" fmla="*/ 28 h 43"/>
                <a:gd name="T38" fmla="*/ 5 w 43"/>
                <a:gd name="T39" fmla="*/ 26 h 43"/>
                <a:gd name="T40" fmla="*/ 9 w 43"/>
                <a:gd name="T41" fmla="*/ 23 h 43"/>
                <a:gd name="T42" fmla="*/ 9 w 43"/>
                <a:gd name="T43" fmla="*/ 19 h 43"/>
                <a:gd name="T44" fmla="*/ 7 w 43"/>
                <a:gd name="T45" fmla="*/ 13 h 43"/>
                <a:gd name="T46" fmla="*/ 11 w 43"/>
                <a:gd name="T47" fmla="*/ 13 h 43"/>
                <a:gd name="T48" fmla="*/ 14 w 43"/>
                <a:gd name="T49" fmla="*/ 10 h 43"/>
                <a:gd name="T50" fmla="*/ 17 w 43"/>
                <a:gd name="T51" fmla="*/ 5 h 43"/>
                <a:gd name="T52" fmla="*/ 20 w 43"/>
                <a:gd name="T53" fmla="*/ 8 h 43"/>
                <a:gd name="T54" fmla="*/ 24 w 43"/>
                <a:gd name="T55" fmla="*/ 8 h 43"/>
                <a:gd name="T56" fmla="*/ 30 w 43"/>
                <a:gd name="T57" fmla="*/ 6 h 43"/>
                <a:gd name="T58" fmla="*/ 30 w 43"/>
                <a:gd name="T59" fmla="*/ 11 h 43"/>
                <a:gd name="T60" fmla="*/ 32 w 43"/>
                <a:gd name="T61" fmla="*/ 14 h 43"/>
                <a:gd name="T62" fmla="*/ 38 w 43"/>
                <a:gd name="T63" fmla="*/ 16 h 43"/>
                <a:gd name="T64" fmla="*/ 34 w 43"/>
                <a:gd name="T65" fmla="*/ 20 h 43"/>
                <a:gd name="T66" fmla="*/ 34 w 43"/>
                <a:gd name="T67" fmla="*/ 23 h 43"/>
                <a:gd name="T68" fmla="*/ 36 w 43"/>
                <a:gd name="T69" fmla="*/ 29 h 43"/>
                <a:gd name="T70" fmla="*/ 32 w 43"/>
                <a:gd name="T71" fmla="*/ 29 h 43"/>
                <a:gd name="T72" fmla="*/ 29 w 43"/>
                <a:gd name="T73" fmla="*/ 32 h 43"/>
                <a:gd name="T74" fmla="*/ 26 w 43"/>
                <a:gd name="T75" fmla="*/ 37 h 43"/>
                <a:gd name="T76" fmla="*/ 23 w 43"/>
                <a:gd name="T77" fmla="*/ 34 h 43"/>
                <a:gd name="T78" fmla="*/ 19 w 43"/>
                <a:gd name="T79" fmla="*/ 34 h 43"/>
                <a:gd name="T80" fmla="*/ 13 w 43"/>
                <a:gd name="T81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" h="43">
                  <a:moveTo>
                    <a:pt x="34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2"/>
                    <a:pt x="5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36" y="37"/>
                    <a:pt x="36" y="37"/>
                    <a:pt x="36" y="37"/>
                  </a:cubicBezTo>
                  <a:lnTo>
                    <a:pt x="34" y="33"/>
                  </a:lnTo>
                  <a:close/>
                  <a:moveTo>
                    <a:pt x="13" y="36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1"/>
                    <a:pt x="12" y="30"/>
                    <a:pt x="12" y="3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1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2"/>
                    <a:pt x="12" y="12"/>
                    <a:pt x="13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2" y="8"/>
                    <a:pt x="22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1" y="12"/>
                    <a:pt x="31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1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1" y="30"/>
                    <a:pt x="31" y="30"/>
                    <a:pt x="30" y="31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2" y="34"/>
                    <a:pt x="22" y="34"/>
                    <a:pt x="21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8"/>
                    <a:pt x="18" y="38"/>
                    <a:pt x="18" y="38"/>
                  </a:cubicBezTo>
                  <a:lnTo>
                    <a:pt x="13" y="3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6" name="Freeform 353">
              <a:extLst>
                <a:ext uri="{FF2B5EF4-FFF2-40B4-BE49-F238E27FC236}">
                  <a16:creationId xmlns:a16="http://schemas.microsoft.com/office/drawing/2014/main" id="{46DBFB43-07F8-4BD4-BF89-FADBDC539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365626"/>
              <a:ext cx="50800" cy="46038"/>
            </a:xfrm>
            <a:custGeom>
              <a:avLst/>
              <a:gdLst>
                <a:gd name="T0" fmla="*/ 13 w 13"/>
                <a:gd name="T1" fmla="*/ 6 h 12"/>
                <a:gd name="T2" fmla="*/ 7 w 13"/>
                <a:gd name="T3" fmla="*/ 0 h 12"/>
                <a:gd name="T4" fmla="*/ 0 w 13"/>
                <a:gd name="T5" fmla="*/ 6 h 12"/>
                <a:gd name="T6" fmla="*/ 7 w 13"/>
                <a:gd name="T7" fmla="*/ 12 h 12"/>
                <a:gd name="T8" fmla="*/ 13 w 13"/>
                <a:gd name="T9" fmla="*/ 6 h 12"/>
                <a:gd name="T10" fmla="*/ 4 w 13"/>
                <a:gd name="T11" fmla="*/ 6 h 12"/>
                <a:gd name="T12" fmla="*/ 7 w 13"/>
                <a:gd name="T13" fmla="*/ 3 h 12"/>
                <a:gd name="T14" fmla="*/ 10 w 13"/>
                <a:gd name="T15" fmla="*/ 6 h 12"/>
                <a:gd name="T16" fmla="*/ 7 w 13"/>
                <a:gd name="T17" fmla="*/ 9 h 12"/>
                <a:gd name="T18" fmla="*/ 4 w 13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13" y="6"/>
                  </a:move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0" y="12"/>
                    <a:pt x="13" y="9"/>
                    <a:pt x="13" y="6"/>
                  </a:cubicBezTo>
                  <a:moveTo>
                    <a:pt x="4" y="6"/>
                  </a:moveTo>
                  <a:cubicBezTo>
                    <a:pt x="4" y="4"/>
                    <a:pt x="5" y="3"/>
                    <a:pt x="7" y="3"/>
                  </a:cubicBezTo>
                  <a:cubicBezTo>
                    <a:pt x="8" y="3"/>
                    <a:pt x="10" y="4"/>
                    <a:pt x="10" y="6"/>
                  </a:cubicBezTo>
                  <a:cubicBezTo>
                    <a:pt x="10" y="8"/>
                    <a:pt x="8" y="9"/>
                    <a:pt x="7" y="9"/>
                  </a:cubicBezTo>
                  <a:cubicBezTo>
                    <a:pt x="5" y="9"/>
                    <a:pt x="4" y="8"/>
                    <a:pt x="4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7" name="Freeform 354">
              <a:extLst>
                <a:ext uri="{FF2B5EF4-FFF2-40B4-BE49-F238E27FC236}">
                  <a16:creationId xmlns:a16="http://schemas.microsoft.com/office/drawing/2014/main" id="{F88AA2D7-C2E1-48AC-83BD-AF5C99C3C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9426" y="4522788"/>
              <a:ext cx="287338" cy="252413"/>
            </a:xfrm>
            <a:custGeom>
              <a:avLst/>
              <a:gdLst>
                <a:gd name="T0" fmla="*/ 39 w 73"/>
                <a:gd name="T1" fmla="*/ 34 h 64"/>
                <a:gd name="T2" fmla="*/ 39 w 73"/>
                <a:gd name="T3" fmla="*/ 37 h 64"/>
                <a:gd name="T4" fmla="*/ 36 w 73"/>
                <a:gd name="T5" fmla="*/ 39 h 64"/>
                <a:gd name="T6" fmla="*/ 34 w 73"/>
                <a:gd name="T7" fmla="*/ 37 h 64"/>
                <a:gd name="T8" fmla="*/ 34 w 73"/>
                <a:gd name="T9" fmla="*/ 34 h 64"/>
                <a:gd name="T10" fmla="*/ 36 w 73"/>
                <a:gd name="T11" fmla="*/ 32 h 64"/>
                <a:gd name="T12" fmla="*/ 39 w 73"/>
                <a:gd name="T13" fmla="*/ 34 h 64"/>
                <a:gd name="T14" fmla="*/ 5 w 73"/>
                <a:gd name="T15" fmla="*/ 13 h 64"/>
                <a:gd name="T16" fmla="*/ 68 w 73"/>
                <a:gd name="T17" fmla="*/ 13 h 64"/>
                <a:gd name="T18" fmla="*/ 71 w 73"/>
                <a:gd name="T19" fmla="*/ 16 h 64"/>
                <a:gd name="T20" fmla="*/ 71 w 73"/>
                <a:gd name="T21" fmla="*/ 23 h 64"/>
                <a:gd name="T22" fmla="*/ 41 w 73"/>
                <a:gd name="T23" fmla="*/ 34 h 64"/>
                <a:gd name="T24" fmla="*/ 36 w 73"/>
                <a:gd name="T25" fmla="*/ 30 h 64"/>
                <a:gd name="T26" fmla="*/ 32 w 73"/>
                <a:gd name="T27" fmla="*/ 34 h 64"/>
                <a:gd name="T28" fmla="*/ 12 w 73"/>
                <a:gd name="T29" fmla="*/ 26 h 64"/>
                <a:gd name="T30" fmla="*/ 8 w 73"/>
                <a:gd name="T31" fmla="*/ 25 h 64"/>
                <a:gd name="T32" fmla="*/ 2 w 73"/>
                <a:gd name="T33" fmla="*/ 23 h 64"/>
                <a:gd name="T34" fmla="*/ 2 w 73"/>
                <a:gd name="T35" fmla="*/ 16 h 64"/>
                <a:gd name="T36" fmla="*/ 5 w 73"/>
                <a:gd name="T37" fmla="*/ 13 h 64"/>
                <a:gd name="T38" fmla="*/ 68 w 73"/>
                <a:gd name="T39" fmla="*/ 61 h 64"/>
                <a:gd name="T40" fmla="*/ 5 w 73"/>
                <a:gd name="T41" fmla="*/ 61 h 64"/>
                <a:gd name="T42" fmla="*/ 2 w 73"/>
                <a:gd name="T43" fmla="*/ 58 h 64"/>
                <a:gd name="T44" fmla="*/ 2 w 73"/>
                <a:gd name="T45" fmla="*/ 25 h 64"/>
                <a:gd name="T46" fmla="*/ 8 w 73"/>
                <a:gd name="T47" fmla="*/ 27 h 64"/>
                <a:gd name="T48" fmla="*/ 12 w 73"/>
                <a:gd name="T49" fmla="*/ 29 h 64"/>
                <a:gd name="T50" fmla="*/ 32 w 73"/>
                <a:gd name="T51" fmla="*/ 36 h 64"/>
                <a:gd name="T52" fmla="*/ 32 w 73"/>
                <a:gd name="T53" fmla="*/ 37 h 64"/>
                <a:gd name="T54" fmla="*/ 36 w 73"/>
                <a:gd name="T55" fmla="*/ 41 h 64"/>
                <a:gd name="T56" fmla="*/ 41 w 73"/>
                <a:gd name="T57" fmla="*/ 37 h 64"/>
                <a:gd name="T58" fmla="*/ 41 w 73"/>
                <a:gd name="T59" fmla="*/ 36 h 64"/>
                <a:gd name="T60" fmla="*/ 71 w 73"/>
                <a:gd name="T61" fmla="*/ 25 h 64"/>
                <a:gd name="T62" fmla="*/ 71 w 73"/>
                <a:gd name="T63" fmla="*/ 58 h 64"/>
                <a:gd name="T64" fmla="*/ 68 w 73"/>
                <a:gd name="T65" fmla="*/ 61 h 64"/>
                <a:gd name="T66" fmla="*/ 25 w 73"/>
                <a:gd name="T67" fmla="*/ 3 h 64"/>
                <a:gd name="T68" fmla="*/ 47 w 73"/>
                <a:gd name="T69" fmla="*/ 3 h 64"/>
                <a:gd name="T70" fmla="*/ 50 w 73"/>
                <a:gd name="T71" fmla="*/ 6 h 64"/>
                <a:gd name="T72" fmla="*/ 50 w 73"/>
                <a:gd name="T73" fmla="*/ 11 h 64"/>
                <a:gd name="T74" fmla="*/ 23 w 73"/>
                <a:gd name="T75" fmla="*/ 11 h 64"/>
                <a:gd name="T76" fmla="*/ 23 w 73"/>
                <a:gd name="T77" fmla="*/ 6 h 64"/>
                <a:gd name="T78" fmla="*/ 25 w 73"/>
                <a:gd name="T79" fmla="*/ 3 h 64"/>
                <a:gd name="T80" fmla="*/ 68 w 73"/>
                <a:gd name="T81" fmla="*/ 11 h 64"/>
                <a:gd name="T82" fmla="*/ 53 w 73"/>
                <a:gd name="T83" fmla="*/ 11 h 64"/>
                <a:gd name="T84" fmla="*/ 53 w 73"/>
                <a:gd name="T85" fmla="*/ 6 h 64"/>
                <a:gd name="T86" fmla="*/ 47 w 73"/>
                <a:gd name="T87" fmla="*/ 0 h 64"/>
                <a:gd name="T88" fmla="*/ 25 w 73"/>
                <a:gd name="T89" fmla="*/ 0 h 64"/>
                <a:gd name="T90" fmla="*/ 20 w 73"/>
                <a:gd name="T91" fmla="*/ 6 h 64"/>
                <a:gd name="T92" fmla="*/ 20 w 73"/>
                <a:gd name="T93" fmla="*/ 11 h 64"/>
                <a:gd name="T94" fmla="*/ 5 w 73"/>
                <a:gd name="T95" fmla="*/ 11 h 64"/>
                <a:gd name="T96" fmla="*/ 0 w 73"/>
                <a:gd name="T97" fmla="*/ 16 h 64"/>
                <a:gd name="T98" fmla="*/ 0 w 73"/>
                <a:gd name="T99" fmla="*/ 58 h 64"/>
                <a:gd name="T100" fmla="*/ 5 w 73"/>
                <a:gd name="T101" fmla="*/ 64 h 64"/>
                <a:gd name="T102" fmla="*/ 68 w 73"/>
                <a:gd name="T103" fmla="*/ 64 h 64"/>
                <a:gd name="T104" fmla="*/ 73 w 73"/>
                <a:gd name="T105" fmla="*/ 58 h 64"/>
                <a:gd name="T106" fmla="*/ 73 w 73"/>
                <a:gd name="T107" fmla="*/ 16 h 64"/>
                <a:gd name="T108" fmla="*/ 68 w 73"/>
                <a:gd name="T109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4">
                  <a:moveTo>
                    <a:pt x="39" y="34"/>
                  </a:moveTo>
                  <a:cubicBezTo>
                    <a:pt x="39" y="37"/>
                    <a:pt x="39" y="37"/>
                    <a:pt x="39" y="37"/>
                  </a:cubicBezTo>
                  <a:cubicBezTo>
                    <a:pt x="39" y="38"/>
                    <a:pt x="38" y="39"/>
                    <a:pt x="36" y="39"/>
                  </a:cubicBezTo>
                  <a:cubicBezTo>
                    <a:pt x="35" y="39"/>
                    <a:pt x="34" y="38"/>
                    <a:pt x="34" y="37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5" y="32"/>
                    <a:pt x="36" y="32"/>
                  </a:cubicBezTo>
                  <a:cubicBezTo>
                    <a:pt x="38" y="32"/>
                    <a:pt x="39" y="33"/>
                    <a:pt x="39" y="34"/>
                  </a:cubicBezTo>
                  <a:moveTo>
                    <a:pt x="5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9" y="13"/>
                    <a:pt x="71" y="15"/>
                    <a:pt x="71" y="16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2"/>
                    <a:pt x="39" y="30"/>
                    <a:pt x="36" y="30"/>
                  </a:cubicBezTo>
                  <a:cubicBezTo>
                    <a:pt x="34" y="30"/>
                    <a:pt x="32" y="32"/>
                    <a:pt x="32" y="34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5"/>
                    <a:pt x="4" y="13"/>
                    <a:pt x="5" y="13"/>
                  </a:cubicBezTo>
                  <a:moveTo>
                    <a:pt x="68" y="61"/>
                  </a:moveTo>
                  <a:cubicBezTo>
                    <a:pt x="5" y="61"/>
                    <a:pt x="5" y="61"/>
                    <a:pt x="5" y="61"/>
                  </a:cubicBezTo>
                  <a:cubicBezTo>
                    <a:pt x="4" y="61"/>
                    <a:pt x="2" y="60"/>
                    <a:pt x="2" y="5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9"/>
                    <a:pt x="34" y="41"/>
                    <a:pt x="36" y="41"/>
                  </a:cubicBezTo>
                  <a:cubicBezTo>
                    <a:pt x="39" y="41"/>
                    <a:pt x="41" y="39"/>
                    <a:pt x="41" y="37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60"/>
                    <a:pt x="69" y="61"/>
                    <a:pt x="68" y="61"/>
                  </a:cubicBezTo>
                  <a:moveTo>
                    <a:pt x="25" y="3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49" y="3"/>
                    <a:pt x="50" y="4"/>
                    <a:pt x="50" y="6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4"/>
                    <a:pt x="24" y="3"/>
                    <a:pt x="25" y="3"/>
                  </a:cubicBezTo>
                  <a:moveTo>
                    <a:pt x="68" y="11"/>
                  </a:moveTo>
                  <a:cubicBezTo>
                    <a:pt x="53" y="11"/>
                    <a:pt x="53" y="11"/>
                    <a:pt x="53" y="11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0" y="3"/>
                    <a:pt x="20" y="6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1"/>
                    <a:pt x="0" y="14"/>
                    <a:pt x="0" y="1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1"/>
                    <a:pt x="3" y="64"/>
                    <a:pt x="5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0" y="64"/>
                    <a:pt x="73" y="61"/>
                    <a:pt x="73" y="58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4"/>
                    <a:pt x="70" y="11"/>
                    <a:pt x="68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8" name="Freeform 355">
              <a:extLst>
                <a:ext uri="{FF2B5EF4-FFF2-40B4-BE49-F238E27FC236}">
                  <a16:creationId xmlns:a16="http://schemas.microsoft.com/office/drawing/2014/main" id="{203A35E3-9268-4F94-A430-293AC3369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6251" y="4518026"/>
              <a:ext cx="295275" cy="260350"/>
            </a:xfrm>
            <a:custGeom>
              <a:avLst/>
              <a:gdLst>
                <a:gd name="T0" fmla="*/ 24 w 75"/>
                <a:gd name="T1" fmla="*/ 7 h 66"/>
                <a:gd name="T2" fmla="*/ 48 w 75"/>
                <a:gd name="T3" fmla="*/ 3 h 66"/>
                <a:gd name="T4" fmla="*/ 43 w 75"/>
                <a:gd name="T5" fmla="*/ 33 h 66"/>
                <a:gd name="T6" fmla="*/ 6 w 75"/>
                <a:gd name="T7" fmla="*/ 13 h 66"/>
                <a:gd name="T8" fmla="*/ 37 w 75"/>
                <a:gd name="T9" fmla="*/ 32 h 66"/>
                <a:gd name="T10" fmla="*/ 37 w 75"/>
                <a:gd name="T11" fmla="*/ 39 h 66"/>
                <a:gd name="T12" fmla="*/ 34 w 75"/>
                <a:gd name="T13" fmla="*/ 35 h 66"/>
                <a:gd name="T14" fmla="*/ 69 w 75"/>
                <a:gd name="T15" fmla="*/ 61 h 66"/>
                <a:gd name="T16" fmla="*/ 32 w 75"/>
                <a:gd name="T17" fmla="*/ 38 h 66"/>
                <a:gd name="T18" fmla="*/ 41 w 75"/>
                <a:gd name="T19" fmla="*/ 38 h 66"/>
                <a:gd name="T20" fmla="*/ 2 w 75"/>
                <a:gd name="T21" fmla="*/ 60 h 66"/>
                <a:gd name="T22" fmla="*/ 69 w 75"/>
                <a:gd name="T23" fmla="*/ 61 h 66"/>
                <a:gd name="T24" fmla="*/ 32 w 75"/>
                <a:gd name="T25" fmla="*/ 38 h 66"/>
                <a:gd name="T26" fmla="*/ 41 w 75"/>
                <a:gd name="T27" fmla="*/ 38 h 66"/>
                <a:gd name="T28" fmla="*/ 2 w 75"/>
                <a:gd name="T29" fmla="*/ 60 h 66"/>
                <a:gd name="T30" fmla="*/ 4 w 75"/>
                <a:gd name="T31" fmla="*/ 17 h 66"/>
                <a:gd name="T32" fmla="*/ 32 w 75"/>
                <a:gd name="T33" fmla="*/ 33 h 66"/>
                <a:gd name="T34" fmla="*/ 2 w 75"/>
                <a:gd name="T35" fmla="*/ 25 h 66"/>
                <a:gd name="T36" fmla="*/ 41 w 75"/>
                <a:gd name="T37" fmla="*/ 36 h 66"/>
                <a:gd name="T38" fmla="*/ 50 w 75"/>
                <a:gd name="T39" fmla="*/ 7 h 66"/>
                <a:gd name="T40" fmla="*/ 23 w 75"/>
                <a:gd name="T41" fmla="*/ 13 h 66"/>
                <a:gd name="T42" fmla="*/ 36 w 75"/>
                <a:gd name="T43" fmla="*/ 35 h 66"/>
                <a:gd name="T44" fmla="*/ 37 w 75"/>
                <a:gd name="T45" fmla="*/ 41 h 66"/>
                <a:gd name="T46" fmla="*/ 37 w 75"/>
                <a:gd name="T47" fmla="*/ 39 h 66"/>
                <a:gd name="T48" fmla="*/ 37 w 75"/>
                <a:gd name="T49" fmla="*/ 32 h 66"/>
                <a:gd name="T50" fmla="*/ 50 w 75"/>
                <a:gd name="T51" fmla="*/ 7 h 66"/>
                <a:gd name="T52" fmla="*/ 23 w 75"/>
                <a:gd name="T53" fmla="*/ 7 h 66"/>
                <a:gd name="T54" fmla="*/ 69 w 75"/>
                <a:gd name="T55" fmla="*/ 15 h 66"/>
                <a:gd name="T56" fmla="*/ 9 w 75"/>
                <a:gd name="T57" fmla="*/ 25 h 66"/>
                <a:gd name="T58" fmla="*/ 13 w 75"/>
                <a:gd name="T59" fmla="*/ 29 h 66"/>
                <a:gd name="T60" fmla="*/ 72 w 75"/>
                <a:gd name="T61" fmla="*/ 17 h 66"/>
                <a:gd name="T62" fmla="*/ 4 w 75"/>
                <a:gd name="T63" fmla="*/ 60 h 66"/>
                <a:gd name="T64" fmla="*/ 43 w 75"/>
                <a:gd name="T65" fmla="*/ 38 h 66"/>
                <a:gd name="T66" fmla="*/ 2 w 75"/>
                <a:gd name="T67" fmla="*/ 25 h 66"/>
                <a:gd name="T68" fmla="*/ 41 w 75"/>
                <a:gd name="T69" fmla="*/ 38 h 66"/>
                <a:gd name="T70" fmla="*/ 22 w 75"/>
                <a:gd name="T71" fmla="*/ 13 h 66"/>
                <a:gd name="T72" fmla="*/ 73 w 75"/>
                <a:gd name="T73" fmla="*/ 17 h 66"/>
                <a:gd name="T74" fmla="*/ 20 w 75"/>
                <a:gd name="T75" fmla="*/ 7 h 66"/>
                <a:gd name="T76" fmla="*/ 75 w 75"/>
                <a:gd name="T77" fmla="*/ 60 h 66"/>
                <a:gd name="T78" fmla="*/ 36 w 75"/>
                <a:gd name="T79" fmla="*/ 38 h 66"/>
                <a:gd name="T80" fmla="*/ 34 w 75"/>
                <a:gd name="T81" fmla="*/ 35 h 66"/>
                <a:gd name="T82" fmla="*/ 50 w 75"/>
                <a:gd name="T83" fmla="*/ 11 h 66"/>
                <a:gd name="T84" fmla="*/ 23 w 75"/>
                <a:gd name="T85" fmla="*/ 13 h 66"/>
                <a:gd name="T86" fmla="*/ 71 w 75"/>
                <a:gd name="T87" fmla="*/ 17 h 66"/>
                <a:gd name="T88" fmla="*/ 4 w 75"/>
                <a:gd name="T89" fmla="*/ 23 h 66"/>
                <a:gd name="T90" fmla="*/ 34 w 75"/>
                <a:gd name="T91" fmla="*/ 36 h 66"/>
                <a:gd name="T92" fmla="*/ 69 w 75"/>
                <a:gd name="T93" fmla="*/ 13 h 66"/>
                <a:gd name="T94" fmla="*/ 4 w 75"/>
                <a:gd name="T95" fmla="*/ 28 h 66"/>
                <a:gd name="T96" fmla="*/ 41 w 75"/>
                <a:gd name="T97" fmla="*/ 38 h 66"/>
                <a:gd name="T98" fmla="*/ 2 w 75"/>
                <a:gd name="T99" fmla="*/ 60 h 66"/>
                <a:gd name="T100" fmla="*/ 71 w 75"/>
                <a:gd name="T101" fmla="*/ 60 h 66"/>
                <a:gd name="T102" fmla="*/ 32 w 75"/>
                <a:gd name="T103" fmla="*/ 38 h 66"/>
                <a:gd name="T104" fmla="*/ 41 w 75"/>
                <a:gd name="T105" fmla="*/ 36 h 66"/>
                <a:gd name="T106" fmla="*/ 2 w 75"/>
                <a:gd name="T107" fmla="*/ 25 h 66"/>
                <a:gd name="T108" fmla="*/ 4 w 75"/>
                <a:gd name="T109" fmla="*/ 23 h 66"/>
                <a:gd name="T110" fmla="*/ 37 w 75"/>
                <a:gd name="T111" fmla="*/ 30 h 66"/>
                <a:gd name="T112" fmla="*/ 2 w 75"/>
                <a:gd name="T113" fmla="*/ 17 h 66"/>
                <a:gd name="T114" fmla="*/ 41 w 75"/>
                <a:gd name="T115" fmla="*/ 35 h 66"/>
                <a:gd name="T116" fmla="*/ 48 w 75"/>
                <a:gd name="T117" fmla="*/ 5 h 66"/>
                <a:gd name="T118" fmla="*/ 23 w 75"/>
                <a:gd name="T119" fmla="*/ 7 h 66"/>
                <a:gd name="T120" fmla="*/ 36 w 75"/>
                <a:gd name="T121" fmla="*/ 38 h 66"/>
                <a:gd name="T122" fmla="*/ 34 w 75"/>
                <a:gd name="T123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" h="66"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moveTo>
                    <a:pt x="37" y="34"/>
                  </a:moveTo>
                  <a:cubicBezTo>
                    <a:pt x="38" y="34"/>
                    <a:pt x="39" y="35"/>
                    <a:pt x="39" y="35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moveTo>
                    <a:pt x="37" y="41"/>
                  </a:move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52" y="7"/>
                  </a:moveTo>
                  <a:cubicBezTo>
                    <a:pt x="52" y="4"/>
                    <a:pt x="51" y="3"/>
                    <a:pt x="48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7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43" y="3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lose/>
                  <a:moveTo>
                    <a:pt x="41" y="38"/>
                  </a:move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41" y="36"/>
                    <a:pt x="41" y="36"/>
                    <a:pt x="41" y="36"/>
                  </a:cubicBezTo>
                  <a:lnTo>
                    <a:pt x="41" y="38"/>
                  </a:lnTo>
                  <a:close/>
                  <a:moveTo>
                    <a:pt x="73" y="60"/>
                  </a:moveTo>
                  <a:cubicBezTo>
                    <a:pt x="73" y="62"/>
                    <a:pt x="71" y="64"/>
                    <a:pt x="69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4"/>
                    <a:pt x="2" y="62"/>
                    <a:pt x="2" y="60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5"/>
                    <a:pt x="4" y="13"/>
                    <a:pt x="6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4"/>
                    <a:pt x="24" y="2"/>
                    <a:pt x="26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1" y="2"/>
                    <a:pt x="53" y="4"/>
                    <a:pt x="53" y="7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71" y="13"/>
                    <a:pt x="73" y="15"/>
                    <a:pt x="73" y="17"/>
                  </a:cubicBezTo>
                  <a:lnTo>
                    <a:pt x="73" y="60"/>
                  </a:lnTo>
                  <a:close/>
                  <a:moveTo>
                    <a:pt x="69" y="11"/>
                  </a:moveTo>
                  <a:cubicBezTo>
                    <a:pt x="55" y="11"/>
                    <a:pt x="55" y="11"/>
                    <a:pt x="55" y="11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3"/>
                    <a:pt x="52" y="0"/>
                    <a:pt x="4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0" y="3"/>
                    <a:pt x="20" y="7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14"/>
                    <a:pt x="0" y="1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3"/>
                    <a:pt x="3" y="66"/>
                    <a:pt x="6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2" y="66"/>
                    <a:pt x="75" y="63"/>
                    <a:pt x="75" y="6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4"/>
                    <a:pt x="72" y="11"/>
                    <a:pt x="69" y="11"/>
                  </a:cubicBezTo>
                  <a:moveTo>
                    <a:pt x="37" y="34"/>
                  </a:moveTo>
                  <a:cubicBezTo>
                    <a:pt x="38" y="34"/>
                    <a:pt x="39" y="35"/>
                    <a:pt x="39" y="35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moveTo>
                    <a:pt x="37" y="41"/>
                  </a:move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52" y="7"/>
                  </a:moveTo>
                  <a:cubicBezTo>
                    <a:pt x="52" y="4"/>
                    <a:pt x="51" y="3"/>
                    <a:pt x="48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7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43" y="3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lose/>
                  <a:moveTo>
                    <a:pt x="41" y="38"/>
                  </a:move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41" y="36"/>
                    <a:pt x="41" y="36"/>
                    <a:pt x="41" y="36"/>
                  </a:cubicBezTo>
                  <a:lnTo>
                    <a:pt x="41" y="38"/>
                  </a:lnTo>
                  <a:close/>
                  <a:moveTo>
                    <a:pt x="71" y="60"/>
                  </a:moveTo>
                  <a:cubicBezTo>
                    <a:pt x="71" y="61"/>
                    <a:pt x="70" y="61"/>
                    <a:pt x="69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1"/>
                    <a:pt x="4" y="61"/>
                    <a:pt x="4" y="6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1"/>
                    <a:pt x="34" y="43"/>
                    <a:pt x="37" y="43"/>
                  </a:cubicBezTo>
                  <a:cubicBezTo>
                    <a:pt x="41" y="43"/>
                    <a:pt x="43" y="41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60"/>
                  </a:lnTo>
                  <a:close/>
                  <a:moveTo>
                    <a:pt x="41" y="36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40"/>
                    <a:pt x="39" y="41"/>
                    <a:pt x="37" y="41"/>
                  </a:cubicBezTo>
                  <a:cubicBezTo>
                    <a:pt x="35" y="41"/>
                    <a:pt x="34" y="40"/>
                    <a:pt x="34" y="3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2" y="62"/>
                    <a:pt x="4" y="63"/>
                    <a:pt x="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1" y="63"/>
                    <a:pt x="72" y="62"/>
                    <a:pt x="72" y="60"/>
                  </a:cubicBezTo>
                  <a:cubicBezTo>
                    <a:pt x="72" y="25"/>
                    <a:pt x="72" y="25"/>
                    <a:pt x="72" y="25"/>
                  </a:cubicBezTo>
                  <a:lnTo>
                    <a:pt x="41" y="36"/>
                  </a:lnTo>
                  <a:close/>
                  <a:moveTo>
                    <a:pt x="4" y="23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1" y="16"/>
                    <a:pt x="71" y="17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2"/>
                    <a:pt x="40" y="30"/>
                    <a:pt x="37" y="30"/>
                  </a:cubicBezTo>
                  <a:cubicBezTo>
                    <a:pt x="35" y="30"/>
                    <a:pt x="33" y="31"/>
                    <a:pt x="32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4" y="23"/>
                  </a:lnTo>
                  <a:close/>
                  <a:moveTo>
                    <a:pt x="69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4" y="13"/>
                    <a:pt x="2" y="15"/>
                    <a:pt x="2" y="17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3"/>
                    <a:pt x="36" y="32"/>
                    <a:pt x="37" y="32"/>
                  </a:cubicBezTo>
                  <a:cubicBezTo>
                    <a:pt x="39" y="32"/>
                    <a:pt x="41" y="33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5"/>
                    <a:pt x="71" y="13"/>
                    <a:pt x="69" y="13"/>
                  </a:cubicBezTo>
                  <a:moveTo>
                    <a:pt x="24" y="7"/>
                  </a:moveTo>
                  <a:cubicBezTo>
                    <a:pt x="24" y="5"/>
                    <a:pt x="25" y="5"/>
                    <a:pt x="26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50" y="5"/>
                    <a:pt x="50" y="5"/>
                    <a:pt x="50" y="7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24" y="7"/>
                  </a:lnTo>
                  <a:close/>
                  <a:moveTo>
                    <a:pt x="48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3" y="4"/>
                    <a:pt x="23" y="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4"/>
                    <a:pt x="51" y="3"/>
                    <a:pt x="48" y="3"/>
                  </a:cubicBezTo>
                  <a:moveTo>
                    <a:pt x="39" y="38"/>
                  </a:moveTo>
                  <a:cubicBezTo>
                    <a:pt x="39" y="39"/>
                    <a:pt x="38" y="39"/>
                    <a:pt x="37" y="39"/>
                  </a:cubicBezTo>
                  <a:cubicBezTo>
                    <a:pt x="37" y="39"/>
                    <a:pt x="36" y="39"/>
                    <a:pt x="36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7" y="34"/>
                    <a:pt x="37" y="34"/>
                  </a:cubicBezTo>
                  <a:cubicBezTo>
                    <a:pt x="38" y="34"/>
                    <a:pt x="39" y="35"/>
                    <a:pt x="39" y="35"/>
                  </a:cubicBezTo>
                  <a:lnTo>
                    <a:pt x="39" y="38"/>
                  </a:lnTo>
                  <a:close/>
                  <a:moveTo>
                    <a:pt x="37" y="32"/>
                  </a:moveTo>
                  <a:cubicBezTo>
                    <a:pt x="36" y="32"/>
                    <a:pt x="34" y="33"/>
                    <a:pt x="34" y="35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40"/>
                    <a:pt x="36" y="41"/>
                    <a:pt x="37" y="41"/>
                  </a:cubicBezTo>
                  <a:cubicBezTo>
                    <a:pt x="39" y="41"/>
                    <a:pt x="41" y="40"/>
                    <a:pt x="41" y="38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3"/>
                    <a:pt x="39" y="32"/>
                    <a:pt x="37" y="3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9" name="Freeform 356">
              <a:extLst>
                <a:ext uri="{FF2B5EF4-FFF2-40B4-BE49-F238E27FC236}">
                  <a16:creationId xmlns:a16="http://schemas.microsoft.com/office/drawing/2014/main" id="{37839411-F7F8-4D47-B8C4-853E92CE1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6701" y="4259263"/>
              <a:ext cx="350838" cy="401638"/>
            </a:xfrm>
            <a:custGeom>
              <a:avLst/>
              <a:gdLst>
                <a:gd name="T0" fmla="*/ 66 w 89"/>
                <a:gd name="T1" fmla="*/ 95 h 102"/>
                <a:gd name="T2" fmla="*/ 66 w 89"/>
                <a:gd name="T3" fmla="*/ 95 h 102"/>
                <a:gd name="T4" fmla="*/ 66 w 89"/>
                <a:gd name="T5" fmla="*/ 93 h 102"/>
                <a:gd name="T6" fmla="*/ 66 w 89"/>
                <a:gd name="T7" fmla="*/ 92 h 102"/>
                <a:gd name="T8" fmla="*/ 62 w 89"/>
                <a:gd name="T9" fmla="*/ 91 h 102"/>
                <a:gd name="T10" fmla="*/ 62 w 89"/>
                <a:gd name="T11" fmla="*/ 92 h 102"/>
                <a:gd name="T12" fmla="*/ 62 w 89"/>
                <a:gd name="T13" fmla="*/ 93 h 102"/>
                <a:gd name="T14" fmla="*/ 62 w 89"/>
                <a:gd name="T15" fmla="*/ 93 h 102"/>
                <a:gd name="T16" fmla="*/ 62 w 89"/>
                <a:gd name="T17" fmla="*/ 94 h 102"/>
                <a:gd name="T18" fmla="*/ 62 w 89"/>
                <a:gd name="T19" fmla="*/ 95 h 102"/>
                <a:gd name="T20" fmla="*/ 66 w 89"/>
                <a:gd name="T21" fmla="*/ 97 h 102"/>
                <a:gd name="T22" fmla="*/ 66 w 89"/>
                <a:gd name="T23" fmla="*/ 96 h 102"/>
                <a:gd name="T24" fmla="*/ 66 w 89"/>
                <a:gd name="T25" fmla="*/ 95 h 102"/>
                <a:gd name="T26" fmla="*/ 86 w 89"/>
                <a:gd name="T27" fmla="*/ 31 h 102"/>
                <a:gd name="T28" fmla="*/ 68 w 89"/>
                <a:gd name="T29" fmla="*/ 6 h 102"/>
                <a:gd name="T30" fmla="*/ 68 w 89"/>
                <a:gd name="T31" fmla="*/ 6 h 102"/>
                <a:gd name="T32" fmla="*/ 43 w 89"/>
                <a:gd name="T33" fmla="*/ 0 h 102"/>
                <a:gd name="T34" fmla="*/ 13 w 89"/>
                <a:gd name="T35" fmla="*/ 14 h 102"/>
                <a:gd name="T36" fmla="*/ 7 w 89"/>
                <a:gd name="T37" fmla="*/ 43 h 102"/>
                <a:gd name="T38" fmla="*/ 0 w 89"/>
                <a:gd name="T39" fmla="*/ 55 h 102"/>
                <a:gd name="T40" fmla="*/ 0 w 89"/>
                <a:gd name="T41" fmla="*/ 57 h 102"/>
                <a:gd name="T42" fmla="*/ 2 w 89"/>
                <a:gd name="T43" fmla="*/ 58 h 102"/>
                <a:gd name="T44" fmla="*/ 8 w 89"/>
                <a:gd name="T45" fmla="*/ 59 h 102"/>
                <a:gd name="T46" fmla="*/ 8 w 89"/>
                <a:gd name="T47" fmla="*/ 82 h 102"/>
                <a:gd name="T48" fmla="*/ 9 w 89"/>
                <a:gd name="T49" fmla="*/ 83 h 102"/>
                <a:gd name="T50" fmla="*/ 32 w 89"/>
                <a:gd name="T51" fmla="*/ 87 h 102"/>
                <a:gd name="T52" fmla="*/ 30 w 89"/>
                <a:gd name="T53" fmla="*/ 99 h 102"/>
                <a:gd name="T54" fmla="*/ 31 w 89"/>
                <a:gd name="T55" fmla="*/ 101 h 102"/>
                <a:gd name="T56" fmla="*/ 32 w 89"/>
                <a:gd name="T57" fmla="*/ 102 h 102"/>
                <a:gd name="T58" fmla="*/ 57 w 89"/>
                <a:gd name="T59" fmla="*/ 102 h 102"/>
                <a:gd name="T60" fmla="*/ 57 w 89"/>
                <a:gd name="T61" fmla="*/ 98 h 102"/>
                <a:gd name="T62" fmla="*/ 34 w 89"/>
                <a:gd name="T63" fmla="*/ 98 h 102"/>
                <a:gd name="T64" fmla="*/ 36 w 89"/>
                <a:gd name="T65" fmla="*/ 85 h 102"/>
                <a:gd name="T66" fmla="*/ 36 w 89"/>
                <a:gd name="T67" fmla="*/ 84 h 102"/>
                <a:gd name="T68" fmla="*/ 34 w 89"/>
                <a:gd name="T69" fmla="*/ 83 h 102"/>
                <a:gd name="T70" fmla="*/ 12 w 89"/>
                <a:gd name="T71" fmla="*/ 80 h 102"/>
                <a:gd name="T72" fmla="*/ 12 w 89"/>
                <a:gd name="T73" fmla="*/ 58 h 102"/>
                <a:gd name="T74" fmla="*/ 11 w 89"/>
                <a:gd name="T75" fmla="*/ 56 h 102"/>
                <a:gd name="T76" fmla="*/ 5 w 89"/>
                <a:gd name="T77" fmla="*/ 55 h 102"/>
                <a:gd name="T78" fmla="*/ 11 w 89"/>
                <a:gd name="T79" fmla="*/ 45 h 102"/>
                <a:gd name="T80" fmla="*/ 11 w 89"/>
                <a:gd name="T81" fmla="*/ 43 h 102"/>
                <a:gd name="T82" fmla="*/ 17 w 89"/>
                <a:gd name="T83" fmla="*/ 17 h 102"/>
                <a:gd name="T84" fmla="*/ 43 w 89"/>
                <a:gd name="T85" fmla="*/ 4 h 102"/>
                <a:gd name="T86" fmla="*/ 66 w 89"/>
                <a:gd name="T87" fmla="*/ 9 h 102"/>
                <a:gd name="T88" fmla="*/ 82 w 89"/>
                <a:gd name="T89" fmla="*/ 31 h 102"/>
                <a:gd name="T90" fmla="*/ 63 w 89"/>
                <a:gd name="T91" fmla="*/ 77 h 102"/>
                <a:gd name="T92" fmla="*/ 62 w 89"/>
                <a:gd name="T93" fmla="*/ 78 h 102"/>
                <a:gd name="T94" fmla="*/ 61 w 89"/>
                <a:gd name="T95" fmla="*/ 79 h 102"/>
                <a:gd name="T96" fmla="*/ 61 w 89"/>
                <a:gd name="T97" fmla="*/ 79 h 102"/>
                <a:gd name="T98" fmla="*/ 61 w 89"/>
                <a:gd name="T99" fmla="*/ 79 h 102"/>
                <a:gd name="T100" fmla="*/ 61 w 89"/>
                <a:gd name="T101" fmla="*/ 80 h 102"/>
                <a:gd name="T102" fmla="*/ 61 w 89"/>
                <a:gd name="T103" fmla="*/ 80 h 102"/>
                <a:gd name="T104" fmla="*/ 61 w 89"/>
                <a:gd name="T105" fmla="*/ 81 h 102"/>
                <a:gd name="T106" fmla="*/ 65 w 89"/>
                <a:gd name="T107" fmla="*/ 81 h 102"/>
                <a:gd name="T108" fmla="*/ 65 w 89"/>
                <a:gd name="T109" fmla="*/ 81 h 102"/>
                <a:gd name="T110" fmla="*/ 65 w 89"/>
                <a:gd name="T111" fmla="*/ 80 h 102"/>
                <a:gd name="T112" fmla="*/ 66 w 89"/>
                <a:gd name="T113" fmla="*/ 79 h 102"/>
                <a:gd name="T114" fmla="*/ 66 w 89"/>
                <a:gd name="T115" fmla="*/ 79 h 102"/>
                <a:gd name="T116" fmla="*/ 67 w 89"/>
                <a:gd name="T117" fmla="*/ 78 h 102"/>
                <a:gd name="T118" fmla="*/ 68 w 89"/>
                <a:gd name="T119" fmla="*/ 77 h 102"/>
                <a:gd name="T120" fmla="*/ 86 w 89"/>
                <a:gd name="T12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" h="102">
                  <a:moveTo>
                    <a:pt x="66" y="95"/>
                  </a:moveTo>
                  <a:cubicBezTo>
                    <a:pt x="66" y="95"/>
                    <a:pt x="66" y="95"/>
                    <a:pt x="66" y="95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6"/>
                    <a:pt x="66" y="96"/>
                  </a:cubicBezTo>
                  <a:lnTo>
                    <a:pt x="66" y="95"/>
                  </a:lnTo>
                  <a:close/>
                  <a:moveTo>
                    <a:pt x="86" y="31"/>
                  </a:moveTo>
                  <a:cubicBezTo>
                    <a:pt x="85" y="21"/>
                    <a:pt x="79" y="12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57" y="0"/>
                    <a:pt x="43" y="0"/>
                  </a:cubicBezTo>
                  <a:cubicBezTo>
                    <a:pt x="31" y="0"/>
                    <a:pt x="21" y="5"/>
                    <a:pt x="13" y="14"/>
                  </a:cubicBezTo>
                  <a:cubicBezTo>
                    <a:pt x="13" y="15"/>
                    <a:pt x="3" y="28"/>
                    <a:pt x="7" y="4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0" y="58"/>
                    <a:pt x="1" y="58"/>
                    <a:pt x="2" y="5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4"/>
                    <a:pt x="7" y="76"/>
                    <a:pt x="8" y="82"/>
                  </a:cubicBezTo>
                  <a:cubicBezTo>
                    <a:pt x="9" y="82"/>
                    <a:pt x="9" y="82"/>
                    <a:pt x="9" y="83"/>
                  </a:cubicBezTo>
                  <a:cubicBezTo>
                    <a:pt x="10" y="83"/>
                    <a:pt x="14" y="86"/>
                    <a:pt x="32" y="87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100"/>
                    <a:pt x="30" y="101"/>
                    <a:pt x="31" y="101"/>
                  </a:cubicBezTo>
                  <a:cubicBezTo>
                    <a:pt x="31" y="101"/>
                    <a:pt x="32" y="102"/>
                    <a:pt x="32" y="102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6" y="85"/>
                    <a:pt x="36" y="84"/>
                    <a:pt x="36" y="84"/>
                  </a:cubicBezTo>
                  <a:cubicBezTo>
                    <a:pt x="36" y="84"/>
                    <a:pt x="35" y="83"/>
                    <a:pt x="34" y="83"/>
                  </a:cubicBezTo>
                  <a:cubicBezTo>
                    <a:pt x="20" y="83"/>
                    <a:pt x="14" y="81"/>
                    <a:pt x="12" y="80"/>
                  </a:cubicBezTo>
                  <a:cubicBezTo>
                    <a:pt x="11" y="73"/>
                    <a:pt x="12" y="58"/>
                    <a:pt x="12" y="58"/>
                  </a:cubicBezTo>
                  <a:cubicBezTo>
                    <a:pt x="12" y="57"/>
                    <a:pt x="12" y="56"/>
                    <a:pt x="11" y="5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4"/>
                    <a:pt x="11" y="44"/>
                    <a:pt x="11" y="43"/>
                  </a:cubicBezTo>
                  <a:cubicBezTo>
                    <a:pt x="7" y="30"/>
                    <a:pt x="16" y="17"/>
                    <a:pt x="17" y="17"/>
                  </a:cubicBezTo>
                  <a:cubicBezTo>
                    <a:pt x="23" y="8"/>
                    <a:pt x="32" y="4"/>
                    <a:pt x="43" y="4"/>
                  </a:cubicBezTo>
                  <a:cubicBezTo>
                    <a:pt x="55" y="4"/>
                    <a:pt x="65" y="9"/>
                    <a:pt x="66" y="9"/>
                  </a:cubicBezTo>
                  <a:cubicBezTo>
                    <a:pt x="76" y="15"/>
                    <a:pt x="81" y="22"/>
                    <a:pt x="82" y="31"/>
                  </a:cubicBezTo>
                  <a:cubicBezTo>
                    <a:pt x="85" y="50"/>
                    <a:pt x="68" y="71"/>
                    <a:pt x="63" y="77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0"/>
                  </a:cubicBezTo>
                  <a:cubicBezTo>
                    <a:pt x="65" y="80"/>
                    <a:pt x="66" y="80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7" y="79"/>
                    <a:pt x="67" y="79"/>
                    <a:pt x="67" y="78"/>
                  </a:cubicBezTo>
                  <a:cubicBezTo>
                    <a:pt x="67" y="78"/>
                    <a:pt x="68" y="78"/>
                    <a:pt x="68" y="77"/>
                  </a:cubicBezTo>
                  <a:cubicBezTo>
                    <a:pt x="75" y="69"/>
                    <a:pt x="89" y="49"/>
                    <a:pt x="86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29" name="Group 45428">
            <a:extLst>
              <a:ext uri="{FF2B5EF4-FFF2-40B4-BE49-F238E27FC236}">
                <a16:creationId xmlns:a16="http://schemas.microsoft.com/office/drawing/2014/main" id="{78A70D2B-BDA2-41CC-B89D-76BB4B4A1EFF}"/>
              </a:ext>
            </a:extLst>
          </p:cNvPr>
          <p:cNvGrpSpPr/>
          <p:nvPr/>
        </p:nvGrpSpPr>
        <p:grpSpPr>
          <a:xfrm>
            <a:off x="2589213" y="4108450"/>
            <a:ext cx="844550" cy="839788"/>
            <a:chOff x="2589213" y="4108450"/>
            <a:chExt cx="844550" cy="839788"/>
          </a:xfrm>
        </p:grpSpPr>
        <p:sp>
          <p:nvSpPr>
            <p:cNvPr id="45422" name="AutoShape 358">
              <a:extLst>
                <a:ext uri="{FF2B5EF4-FFF2-40B4-BE49-F238E27FC236}">
                  <a16:creationId xmlns:a16="http://schemas.microsoft.com/office/drawing/2014/main" id="{D3C285E6-354F-4F98-98B4-DD93F18806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9213" y="410845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3" name="Oval 360">
              <a:extLst>
                <a:ext uri="{FF2B5EF4-FFF2-40B4-BE49-F238E27FC236}">
                  <a16:creationId xmlns:a16="http://schemas.microsoft.com/office/drawing/2014/main" id="{83EF7AD6-A7C9-4F0D-A175-75E009D80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3" y="4111625"/>
              <a:ext cx="844550" cy="8334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4" name="Freeform 361">
              <a:extLst>
                <a:ext uri="{FF2B5EF4-FFF2-40B4-BE49-F238E27FC236}">
                  <a16:creationId xmlns:a16="http://schemas.microsoft.com/office/drawing/2014/main" id="{DC550D7A-5C18-4B08-B4D3-4EAF6AF51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7788" y="4140200"/>
              <a:ext cx="7889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5" name="Freeform 362">
              <a:extLst>
                <a:ext uri="{FF2B5EF4-FFF2-40B4-BE49-F238E27FC236}">
                  <a16:creationId xmlns:a16="http://schemas.microsoft.com/office/drawing/2014/main" id="{1BF0629B-1843-45C2-987E-4B9A7ECB4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5901" y="4495800"/>
              <a:ext cx="284163" cy="292100"/>
            </a:xfrm>
            <a:custGeom>
              <a:avLst/>
              <a:gdLst>
                <a:gd name="T0" fmla="*/ 46 w 70"/>
                <a:gd name="T1" fmla="*/ 38 h 73"/>
                <a:gd name="T2" fmla="*/ 55 w 70"/>
                <a:gd name="T3" fmla="*/ 21 h 73"/>
                <a:gd name="T4" fmla="*/ 35 w 70"/>
                <a:gd name="T5" fmla="*/ 0 h 73"/>
                <a:gd name="T6" fmla="*/ 14 w 70"/>
                <a:gd name="T7" fmla="*/ 21 h 73"/>
                <a:gd name="T8" fmla="*/ 23 w 70"/>
                <a:gd name="T9" fmla="*/ 38 h 73"/>
                <a:gd name="T10" fmla="*/ 0 w 70"/>
                <a:gd name="T11" fmla="*/ 64 h 73"/>
                <a:gd name="T12" fmla="*/ 0 w 70"/>
                <a:gd name="T13" fmla="*/ 73 h 73"/>
                <a:gd name="T14" fmla="*/ 70 w 70"/>
                <a:gd name="T15" fmla="*/ 73 h 73"/>
                <a:gd name="T16" fmla="*/ 70 w 70"/>
                <a:gd name="T17" fmla="*/ 64 h 73"/>
                <a:gd name="T18" fmla="*/ 46 w 70"/>
                <a:gd name="T19" fmla="*/ 38 h 73"/>
                <a:gd name="T20" fmla="*/ 18 w 70"/>
                <a:gd name="T21" fmla="*/ 21 h 73"/>
                <a:gd name="T22" fmla="*/ 35 w 70"/>
                <a:gd name="T23" fmla="*/ 4 h 73"/>
                <a:gd name="T24" fmla="*/ 52 w 70"/>
                <a:gd name="T25" fmla="*/ 21 h 73"/>
                <a:gd name="T26" fmla="*/ 35 w 70"/>
                <a:gd name="T27" fmla="*/ 38 h 73"/>
                <a:gd name="T28" fmla="*/ 18 w 70"/>
                <a:gd name="T29" fmla="*/ 21 h 73"/>
                <a:gd name="T30" fmla="*/ 66 w 70"/>
                <a:gd name="T31" fmla="*/ 70 h 73"/>
                <a:gd name="T32" fmla="*/ 3 w 70"/>
                <a:gd name="T33" fmla="*/ 70 h 73"/>
                <a:gd name="T34" fmla="*/ 3 w 70"/>
                <a:gd name="T35" fmla="*/ 64 h 73"/>
                <a:gd name="T36" fmla="*/ 24 w 70"/>
                <a:gd name="T37" fmla="*/ 42 h 73"/>
                <a:gd name="T38" fmla="*/ 46 w 70"/>
                <a:gd name="T39" fmla="*/ 42 h 73"/>
                <a:gd name="T40" fmla="*/ 66 w 70"/>
                <a:gd name="T41" fmla="*/ 64 h 73"/>
                <a:gd name="T42" fmla="*/ 66 w 70"/>
                <a:gd name="T43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73">
                  <a:moveTo>
                    <a:pt x="46" y="38"/>
                  </a:moveTo>
                  <a:cubicBezTo>
                    <a:pt x="52" y="34"/>
                    <a:pt x="55" y="28"/>
                    <a:pt x="55" y="21"/>
                  </a:cubicBezTo>
                  <a:cubicBezTo>
                    <a:pt x="55" y="10"/>
                    <a:pt x="46" y="0"/>
                    <a:pt x="35" y="0"/>
                  </a:cubicBezTo>
                  <a:cubicBezTo>
                    <a:pt x="23" y="0"/>
                    <a:pt x="14" y="10"/>
                    <a:pt x="14" y="21"/>
                  </a:cubicBezTo>
                  <a:cubicBezTo>
                    <a:pt x="14" y="28"/>
                    <a:pt x="18" y="34"/>
                    <a:pt x="23" y="38"/>
                  </a:cubicBezTo>
                  <a:cubicBezTo>
                    <a:pt x="10" y="38"/>
                    <a:pt x="0" y="50"/>
                    <a:pt x="0" y="64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50"/>
                    <a:pt x="59" y="38"/>
                    <a:pt x="46" y="38"/>
                  </a:cubicBezTo>
                  <a:moveTo>
                    <a:pt x="18" y="21"/>
                  </a:moveTo>
                  <a:cubicBezTo>
                    <a:pt x="18" y="11"/>
                    <a:pt x="25" y="4"/>
                    <a:pt x="35" y="4"/>
                  </a:cubicBezTo>
                  <a:cubicBezTo>
                    <a:pt x="44" y="4"/>
                    <a:pt x="52" y="11"/>
                    <a:pt x="52" y="21"/>
                  </a:cubicBezTo>
                  <a:cubicBezTo>
                    <a:pt x="52" y="30"/>
                    <a:pt x="44" y="38"/>
                    <a:pt x="35" y="38"/>
                  </a:cubicBezTo>
                  <a:cubicBezTo>
                    <a:pt x="25" y="38"/>
                    <a:pt x="18" y="30"/>
                    <a:pt x="18" y="21"/>
                  </a:cubicBezTo>
                  <a:moveTo>
                    <a:pt x="66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52"/>
                    <a:pt x="12" y="42"/>
                    <a:pt x="24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57" y="42"/>
                    <a:pt x="66" y="52"/>
                    <a:pt x="66" y="64"/>
                  </a:cubicBezTo>
                  <a:lnTo>
                    <a:pt x="66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6" name="Freeform 363">
              <a:extLst>
                <a:ext uri="{FF2B5EF4-FFF2-40B4-BE49-F238E27FC236}">
                  <a16:creationId xmlns:a16="http://schemas.microsoft.com/office/drawing/2014/main" id="{64BE6713-2FE7-4B52-985A-A2EB2046E9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0851" y="4300538"/>
              <a:ext cx="309563" cy="287338"/>
            </a:xfrm>
            <a:custGeom>
              <a:avLst/>
              <a:gdLst>
                <a:gd name="T0" fmla="*/ 13 w 195"/>
                <a:gd name="T1" fmla="*/ 0 h 181"/>
                <a:gd name="T2" fmla="*/ 0 w 195"/>
                <a:gd name="T3" fmla="*/ 0 h 181"/>
                <a:gd name="T4" fmla="*/ 0 w 195"/>
                <a:gd name="T5" fmla="*/ 13 h 181"/>
                <a:gd name="T6" fmla="*/ 0 w 195"/>
                <a:gd name="T7" fmla="*/ 169 h 181"/>
                <a:gd name="T8" fmla="*/ 0 w 195"/>
                <a:gd name="T9" fmla="*/ 181 h 181"/>
                <a:gd name="T10" fmla="*/ 13 w 195"/>
                <a:gd name="T11" fmla="*/ 181 h 181"/>
                <a:gd name="T12" fmla="*/ 21 w 195"/>
                <a:gd name="T13" fmla="*/ 181 h 181"/>
                <a:gd name="T14" fmla="*/ 26 w 195"/>
                <a:gd name="T15" fmla="*/ 181 h 181"/>
                <a:gd name="T16" fmla="*/ 31 w 195"/>
                <a:gd name="T17" fmla="*/ 176 h 181"/>
                <a:gd name="T18" fmla="*/ 52 w 195"/>
                <a:gd name="T19" fmla="*/ 138 h 181"/>
                <a:gd name="T20" fmla="*/ 182 w 195"/>
                <a:gd name="T21" fmla="*/ 138 h 181"/>
                <a:gd name="T22" fmla="*/ 195 w 195"/>
                <a:gd name="T23" fmla="*/ 138 h 181"/>
                <a:gd name="T24" fmla="*/ 195 w 195"/>
                <a:gd name="T25" fmla="*/ 128 h 181"/>
                <a:gd name="T26" fmla="*/ 195 w 195"/>
                <a:gd name="T27" fmla="*/ 13 h 181"/>
                <a:gd name="T28" fmla="*/ 195 w 195"/>
                <a:gd name="T29" fmla="*/ 0 h 181"/>
                <a:gd name="T30" fmla="*/ 182 w 195"/>
                <a:gd name="T31" fmla="*/ 0 h 181"/>
                <a:gd name="T32" fmla="*/ 13 w 195"/>
                <a:gd name="T33" fmla="*/ 0 h 181"/>
                <a:gd name="T34" fmla="*/ 182 w 195"/>
                <a:gd name="T35" fmla="*/ 128 h 181"/>
                <a:gd name="T36" fmla="*/ 46 w 195"/>
                <a:gd name="T37" fmla="*/ 128 h 181"/>
                <a:gd name="T38" fmla="*/ 21 w 195"/>
                <a:gd name="T39" fmla="*/ 169 h 181"/>
                <a:gd name="T40" fmla="*/ 13 w 195"/>
                <a:gd name="T41" fmla="*/ 169 h 181"/>
                <a:gd name="T42" fmla="*/ 13 w 195"/>
                <a:gd name="T43" fmla="*/ 13 h 181"/>
                <a:gd name="T44" fmla="*/ 182 w 195"/>
                <a:gd name="T45" fmla="*/ 13 h 181"/>
                <a:gd name="T46" fmla="*/ 182 w 195"/>
                <a:gd name="T47" fmla="*/ 12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5" h="181">
                  <a:moveTo>
                    <a:pt x="13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0" y="169"/>
                  </a:lnTo>
                  <a:lnTo>
                    <a:pt x="0" y="181"/>
                  </a:lnTo>
                  <a:lnTo>
                    <a:pt x="13" y="181"/>
                  </a:lnTo>
                  <a:lnTo>
                    <a:pt x="21" y="181"/>
                  </a:lnTo>
                  <a:lnTo>
                    <a:pt x="26" y="181"/>
                  </a:lnTo>
                  <a:lnTo>
                    <a:pt x="31" y="176"/>
                  </a:lnTo>
                  <a:lnTo>
                    <a:pt x="52" y="138"/>
                  </a:lnTo>
                  <a:lnTo>
                    <a:pt x="182" y="138"/>
                  </a:lnTo>
                  <a:lnTo>
                    <a:pt x="195" y="138"/>
                  </a:lnTo>
                  <a:lnTo>
                    <a:pt x="195" y="128"/>
                  </a:lnTo>
                  <a:lnTo>
                    <a:pt x="195" y="13"/>
                  </a:lnTo>
                  <a:lnTo>
                    <a:pt x="195" y="0"/>
                  </a:lnTo>
                  <a:lnTo>
                    <a:pt x="182" y="0"/>
                  </a:lnTo>
                  <a:lnTo>
                    <a:pt x="13" y="0"/>
                  </a:lnTo>
                  <a:close/>
                  <a:moveTo>
                    <a:pt x="182" y="128"/>
                  </a:moveTo>
                  <a:lnTo>
                    <a:pt x="46" y="128"/>
                  </a:lnTo>
                  <a:lnTo>
                    <a:pt x="21" y="169"/>
                  </a:lnTo>
                  <a:lnTo>
                    <a:pt x="13" y="169"/>
                  </a:lnTo>
                  <a:lnTo>
                    <a:pt x="13" y="13"/>
                  </a:lnTo>
                  <a:lnTo>
                    <a:pt x="182" y="13"/>
                  </a:lnTo>
                  <a:lnTo>
                    <a:pt x="182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7" name="Freeform 364">
              <a:extLst>
                <a:ext uri="{FF2B5EF4-FFF2-40B4-BE49-F238E27FC236}">
                  <a16:creationId xmlns:a16="http://schemas.microsoft.com/office/drawing/2014/main" id="{89A7B705-EC3E-4515-B251-4B17C3D7C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0701" y="4324350"/>
              <a:ext cx="161925" cy="163513"/>
            </a:xfrm>
            <a:custGeom>
              <a:avLst/>
              <a:gdLst>
                <a:gd name="T0" fmla="*/ 21 w 40"/>
                <a:gd name="T1" fmla="*/ 3 h 41"/>
                <a:gd name="T2" fmla="*/ 21 w 40"/>
                <a:gd name="T3" fmla="*/ 0 h 41"/>
                <a:gd name="T4" fmla="*/ 20 w 40"/>
                <a:gd name="T5" fmla="*/ 0 h 41"/>
                <a:gd name="T6" fmla="*/ 20 w 40"/>
                <a:gd name="T7" fmla="*/ 0 h 41"/>
                <a:gd name="T8" fmla="*/ 20 w 40"/>
                <a:gd name="T9" fmla="*/ 3 h 41"/>
                <a:gd name="T10" fmla="*/ 0 w 40"/>
                <a:gd name="T11" fmla="*/ 22 h 41"/>
                <a:gd name="T12" fmla="*/ 0 w 40"/>
                <a:gd name="T13" fmla="*/ 23 h 41"/>
                <a:gd name="T14" fmla="*/ 20 w 40"/>
                <a:gd name="T15" fmla="*/ 23 h 41"/>
                <a:gd name="T16" fmla="*/ 20 w 40"/>
                <a:gd name="T17" fmla="*/ 38 h 41"/>
                <a:gd name="T18" fmla="*/ 17 w 40"/>
                <a:gd name="T19" fmla="*/ 40 h 41"/>
                <a:gd name="T20" fmla="*/ 15 w 40"/>
                <a:gd name="T21" fmla="*/ 38 h 41"/>
                <a:gd name="T22" fmla="*/ 15 w 40"/>
                <a:gd name="T23" fmla="*/ 37 h 41"/>
                <a:gd name="T24" fmla="*/ 14 w 40"/>
                <a:gd name="T25" fmla="*/ 38 h 41"/>
                <a:gd name="T26" fmla="*/ 17 w 40"/>
                <a:gd name="T27" fmla="*/ 41 h 41"/>
                <a:gd name="T28" fmla="*/ 21 w 40"/>
                <a:gd name="T29" fmla="*/ 38 h 41"/>
                <a:gd name="T30" fmla="*/ 21 w 40"/>
                <a:gd name="T31" fmla="*/ 23 h 41"/>
                <a:gd name="T32" fmla="*/ 40 w 40"/>
                <a:gd name="T33" fmla="*/ 23 h 41"/>
                <a:gd name="T34" fmla="*/ 40 w 40"/>
                <a:gd name="T35" fmla="*/ 22 h 41"/>
                <a:gd name="T36" fmla="*/ 21 w 40"/>
                <a:gd name="T37" fmla="*/ 3 h 41"/>
                <a:gd name="T38" fmla="*/ 30 w 40"/>
                <a:gd name="T39" fmla="*/ 22 h 41"/>
                <a:gd name="T40" fmla="*/ 21 w 40"/>
                <a:gd name="T41" fmla="*/ 22 h 41"/>
                <a:gd name="T42" fmla="*/ 21 w 40"/>
                <a:gd name="T43" fmla="*/ 4 h 41"/>
                <a:gd name="T44" fmla="*/ 30 w 40"/>
                <a:gd name="T45" fmla="*/ 22 h 41"/>
                <a:gd name="T46" fmla="*/ 10 w 40"/>
                <a:gd name="T47" fmla="*/ 22 h 41"/>
                <a:gd name="T48" fmla="*/ 15 w 40"/>
                <a:gd name="T49" fmla="*/ 8 h 41"/>
                <a:gd name="T50" fmla="*/ 20 w 40"/>
                <a:gd name="T51" fmla="*/ 4 h 41"/>
                <a:gd name="T52" fmla="*/ 20 w 40"/>
                <a:gd name="T53" fmla="*/ 22 h 41"/>
                <a:gd name="T54" fmla="*/ 10 w 40"/>
                <a:gd name="T55" fmla="*/ 22 h 41"/>
                <a:gd name="T56" fmla="*/ 18 w 40"/>
                <a:gd name="T57" fmla="*/ 4 h 41"/>
                <a:gd name="T58" fmla="*/ 14 w 40"/>
                <a:gd name="T59" fmla="*/ 8 h 41"/>
                <a:gd name="T60" fmla="*/ 9 w 40"/>
                <a:gd name="T61" fmla="*/ 22 h 41"/>
                <a:gd name="T62" fmla="*/ 2 w 40"/>
                <a:gd name="T63" fmla="*/ 22 h 41"/>
                <a:gd name="T64" fmla="*/ 18 w 40"/>
                <a:gd name="T65" fmla="*/ 4 h 41"/>
                <a:gd name="T66" fmla="*/ 31 w 40"/>
                <a:gd name="T67" fmla="*/ 22 h 41"/>
                <a:gd name="T68" fmla="*/ 26 w 40"/>
                <a:gd name="T69" fmla="*/ 8 h 41"/>
                <a:gd name="T70" fmla="*/ 22 w 40"/>
                <a:gd name="T71" fmla="*/ 4 h 41"/>
                <a:gd name="T72" fmla="*/ 39 w 40"/>
                <a:gd name="T73" fmla="*/ 22 h 41"/>
                <a:gd name="T74" fmla="*/ 31 w 40"/>
                <a:gd name="T75" fmla="*/ 2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" h="41">
                  <a:moveTo>
                    <a:pt x="21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9" y="3"/>
                    <a:pt x="0" y="1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6" y="40"/>
                    <a:pt x="15" y="39"/>
                    <a:pt x="1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7"/>
                    <a:pt x="14" y="37"/>
                    <a:pt x="14" y="38"/>
                  </a:cubicBezTo>
                  <a:cubicBezTo>
                    <a:pt x="14" y="39"/>
                    <a:pt x="16" y="41"/>
                    <a:pt x="17" y="41"/>
                  </a:cubicBezTo>
                  <a:cubicBezTo>
                    <a:pt x="19" y="41"/>
                    <a:pt x="21" y="39"/>
                    <a:pt x="21" y="3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12"/>
                    <a:pt x="32" y="3"/>
                    <a:pt x="21" y="3"/>
                  </a:cubicBezTo>
                  <a:moveTo>
                    <a:pt x="30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3" y="6"/>
                    <a:pt x="31" y="12"/>
                    <a:pt x="30" y="22"/>
                  </a:cubicBezTo>
                  <a:moveTo>
                    <a:pt x="10" y="22"/>
                  </a:moveTo>
                  <a:cubicBezTo>
                    <a:pt x="10" y="16"/>
                    <a:pt x="13" y="11"/>
                    <a:pt x="15" y="8"/>
                  </a:cubicBezTo>
                  <a:cubicBezTo>
                    <a:pt x="17" y="6"/>
                    <a:pt x="19" y="5"/>
                    <a:pt x="20" y="4"/>
                  </a:cubicBezTo>
                  <a:cubicBezTo>
                    <a:pt x="20" y="22"/>
                    <a:pt x="20" y="22"/>
                    <a:pt x="20" y="22"/>
                  </a:cubicBezTo>
                  <a:lnTo>
                    <a:pt x="10" y="22"/>
                  </a:lnTo>
                  <a:close/>
                  <a:moveTo>
                    <a:pt x="18" y="4"/>
                  </a:moveTo>
                  <a:cubicBezTo>
                    <a:pt x="17" y="5"/>
                    <a:pt x="16" y="6"/>
                    <a:pt x="14" y="8"/>
                  </a:cubicBezTo>
                  <a:cubicBezTo>
                    <a:pt x="11" y="12"/>
                    <a:pt x="9" y="17"/>
                    <a:pt x="9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12"/>
                    <a:pt x="9" y="5"/>
                    <a:pt x="18" y="4"/>
                  </a:cubicBezTo>
                  <a:moveTo>
                    <a:pt x="31" y="22"/>
                  </a:moveTo>
                  <a:cubicBezTo>
                    <a:pt x="32" y="17"/>
                    <a:pt x="30" y="12"/>
                    <a:pt x="26" y="8"/>
                  </a:cubicBezTo>
                  <a:cubicBezTo>
                    <a:pt x="25" y="6"/>
                    <a:pt x="23" y="5"/>
                    <a:pt x="22" y="4"/>
                  </a:cubicBezTo>
                  <a:cubicBezTo>
                    <a:pt x="32" y="5"/>
                    <a:pt x="39" y="12"/>
                    <a:pt x="39" y="22"/>
                  </a:cubicBezTo>
                  <a:lnTo>
                    <a:pt x="31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8" name="Freeform 365">
              <a:extLst>
                <a:ext uri="{FF2B5EF4-FFF2-40B4-BE49-F238E27FC236}">
                  <a16:creationId xmlns:a16="http://schemas.microsoft.com/office/drawing/2014/main" id="{D12A647F-4E07-467B-8B67-F8A7E917FF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5938" y="4321175"/>
              <a:ext cx="171450" cy="171450"/>
            </a:xfrm>
            <a:custGeom>
              <a:avLst/>
              <a:gdLst>
                <a:gd name="T0" fmla="*/ 4 w 42"/>
                <a:gd name="T1" fmla="*/ 22 h 43"/>
                <a:gd name="T2" fmla="*/ 9 w 42"/>
                <a:gd name="T3" fmla="*/ 22 h 43"/>
                <a:gd name="T4" fmla="*/ 14 w 42"/>
                <a:gd name="T5" fmla="*/ 8 h 43"/>
                <a:gd name="T6" fmla="*/ 16 w 42"/>
                <a:gd name="T7" fmla="*/ 6 h 43"/>
                <a:gd name="T8" fmla="*/ 4 w 42"/>
                <a:gd name="T9" fmla="*/ 22 h 43"/>
                <a:gd name="T10" fmla="*/ 12 w 42"/>
                <a:gd name="T11" fmla="*/ 22 h 43"/>
                <a:gd name="T12" fmla="*/ 20 w 42"/>
                <a:gd name="T13" fmla="*/ 22 h 43"/>
                <a:gd name="T14" fmla="*/ 20 w 42"/>
                <a:gd name="T15" fmla="*/ 7 h 43"/>
                <a:gd name="T16" fmla="*/ 17 w 42"/>
                <a:gd name="T17" fmla="*/ 10 h 43"/>
                <a:gd name="T18" fmla="*/ 12 w 42"/>
                <a:gd name="T19" fmla="*/ 22 h 43"/>
                <a:gd name="T20" fmla="*/ 23 w 42"/>
                <a:gd name="T21" fmla="*/ 22 h 43"/>
                <a:gd name="T22" fmla="*/ 30 w 42"/>
                <a:gd name="T23" fmla="*/ 22 h 43"/>
                <a:gd name="T24" fmla="*/ 23 w 42"/>
                <a:gd name="T25" fmla="*/ 7 h 43"/>
                <a:gd name="T26" fmla="*/ 23 w 42"/>
                <a:gd name="T27" fmla="*/ 22 h 43"/>
                <a:gd name="T28" fmla="*/ 34 w 42"/>
                <a:gd name="T29" fmla="*/ 22 h 43"/>
                <a:gd name="T30" fmla="*/ 39 w 42"/>
                <a:gd name="T31" fmla="*/ 22 h 43"/>
                <a:gd name="T32" fmla="*/ 27 w 42"/>
                <a:gd name="T33" fmla="*/ 6 h 43"/>
                <a:gd name="T34" fmla="*/ 28 w 42"/>
                <a:gd name="T35" fmla="*/ 8 h 43"/>
                <a:gd name="T36" fmla="*/ 34 w 42"/>
                <a:gd name="T37" fmla="*/ 22 h 43"/>
                <a:gd name="T38" fmla="*/ 18 w 42"/>
                <a:gd name="T39" fmla="*/ 43 h 43"/>
                <a:gd name="T40" fmla="*/ 14 w 42"/>
                <a:gd name="T41" fmla="*/ 39 h 43"/>
                <a:gd name="T42" fmla="*/ 16 w 42"/>
                <a:gd name="T43" fmla="*/ 37 h 43"/>
                <a:gd name="T44" fmla="*/ 17 w 42"/>
                <a:gd name="T45" fmla="*/ 39 h 43"/>
                <a:gd name="T46" fmla="*/ 18 w 42"/>
                <a:gd name="T47" fmla="*/ 40 h 43"/>
                <a:gd name="T48" fmla="*/ 20 w 42"/>
                <a:gd name="T49" fmla="*/ 39 h 43"/>
                <a:gd name="T50" fmla="*/ 20 w 42"/>
                <a:gd name="T51" fmla="*/ 25 h 43"/>
                <a:gd name="T52" fmla="*/ 0 w 42"/>
                <a:gd name="T53" fmla="*/ 25 h 43"/>
                <a:gd name="T54" fmla="*/ 0 w 42"/>
                <a:gd name="T55" fmla="*/ 23 h 43"/>
                <a:gd name="T56" fmla="*/ 20 w 42"/>
                <a:gd name="T57" fmla="*/ 3 h 43"/>
                <a:gd name="T58" fmla="*/ 20 w 42"/>
                <a:gd name="T59" fmla="*/ 1 h 43"/>
                <a:gd name="T60" fmla="*/ 21 w 42"/>
                <a:gd name="T61" fmla="*/ 0 h 43"/>
                <a:gd name="T62" fmla="*/ 23 w 42"/>
                <a:gd name="T63" fmla="*/ 1 h 43"/>
                <a:gd name="T64" fmla="*/ 23 w 42"/>
                <a:gd name="T65" fmla="*/ 3 h 43"/>
                <a:gd name="T66" fmla="*/ 42 w 42"/>
                <a:gd name="T67" fmla="*/ 23 h 43"/>
                <a:gd name="T68" fmla="*/ 42 w 42"/>
                <a:gd name="T69" fmla="*/ 25 h 43"/>
                <a:gd name="T70" fmla="*/ 23 w 42"/>
                <a:gd name="T71" fmla="*/ 25 h 43"/>
                <a:gd name="T72" fmla="*/ 23 w 42"/>
                <a:gd name="T73" fmla="*/ 39 h 43"/>
                <a:gd name="T74" fmla="*/ 18 w 42"/>
                <a:gd name="T7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3">
                  <a:moveTo>
                    <a:pt x="4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7"/>
                    <a:pt x="11" y="12"/>
                    <a:pt x="14" y="8"/>
                  </a:cubicBezTo>
                  <a:cubicBezTo>
                    <a:pt x="15" y="7"/>
                    <a:pt x="15" y="7"/>
                    <a:pt x="16" y="6"/>
                  </a:cubicBezTo>
                  <a:cubicBezTo>
                    <a:pt x="9" y="9"/>
                    <a:pt x="4" y="15"/>
                    <a:pt x="4" y="22"/>
                  </a:cubicBezTo>
                  <a:moveTo>
                    <a:pt x="12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8"/>
                    <a:pt x="18" y="9"/>
                    <a:pt x="17" y="10"/>
                  </a:cubicBezTo>
                  <a:cubicBezTo>
                    <a:pt x="15" y="13"/>
                    <a:pt x="12" y="17"/>
                    <a:pt x="12" y="22"/>
                  </a:cubicBezTo>
                  <a:moveTo>
                    <a:pt x="23" y="22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30" y="15"/>
                    <a:pt x="26" y="10"/>
                    <a:pt x="23" y="7"/>
                  </a:cubicBezTo>
                  <a:lnTo>
                    <a:pt x="23" y="22"/>
                  </a:lnTo>
                  <a:close/>
                  <a:moveTo>
                    <a:pt x="34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8" y="15"/>
                    <a:pt x="33" y="9"/>
                    <a:pt x="27" y="6"/>
                  </a:cubicBezTo>
                  <a:cubicBezTo>
                    <a:pt x="27" y="7"/>
                    <a:pt x="28" y="7"/>
                    <a:pt x="28" y="8"/>
                  </a:cubicBezTo>
                  <a:cubicBezTo>
                    <a:pt x="32" y="12"/>
                    <a:pt x="33" y="17"/>
                    <a:pt x="34" y="22"/>
                  </a:cubicBezTo>
                  <a:moveTo>
                    <a:pt x="18" y="43"/>
                  </a:moveTo>
                  <a:cubicBezTo>
                    <a:pt x="16" y="43"/>
                    <a:pt x="14" y="41"/>
                    <a:pt x="14" y="39"/>
                  </a:cubicBezTo>
                  <a:cubicBezTo>
                    <a:pt x="14" y="38"/>
                    <a:pt x="15" y="37"/>
                    <a:pt x="16" y="37"/>
                  </a:cubicBezTo>
                  <a:cubicBezTo>
                    <a:pt x="16" y="37"/>
                    <a:pt x="17" y="38"/>
                    <a:pt x="17" y="39"/>
                  </a:cubicBezTo>
                  <a:cubicBezTo>
                    <a:pt x="17" y="39"/>
                    <a:pt x="18" y="40"/>
                    <a:pt x="18" y="40"/>
                  </a:cubicBezTo>
                  <a:cubicBezTo>
                    <a:pt x="19" y="40"/>
                    <a:pt x="20" y="39"/>
                    <a:pt x="20" y="3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2"/>
                    <a:pt x="9" y="3"/>
                    <a:pt x="20" y="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20" y="0"/>
                    <a:pt x="21" y="0"/>
                  </a:cubicBezTo>
                  <a:cubicBezTo>
                    <a:pt x="22" y="0"/>
                    <a:pt x="23" y="0"/>
                    <a:pt x="23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34" y="3"/>
                    <a:pt x="42" y="12"/>
                    <a:pt x="42" y="23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41"/>
                    <a:pt x="21" y="43"/>
                    <a:pt x="18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37" name="Group 45436">
            <a:extLst>
              <a:ext uri="{FF2B5EF4-FFF2-40B4-BE49-F238E27FC236}">
                <a16:creationId xmlns:a16="http://schemas.microsoft.com/office/drawing/2014/main" id="{5D823319-FB0A-47DB-8E3D-13839F297ED9}"/>
              </a:ext>
            </a:extLst>
          </p:cNvPr>
          <p:cNvGrpSpPr/>
          <p:nvPr/>
        </p:nvGrpSpPr>
        <p:grpSpPr>
          <a:xfrm>
            <a:off x="3633788" y="4133851"/>
            <a:ext cx="768351" cy="776288"/>
            <a:chOff x="3633788" y="4133851"/>
            <a:chExt cx="768351" cy="776288"/>
          </a:xfrm>
        </p:grpSpPr>
        <p:sp>
          <p:nvSpPr>
            <p:cNvPr id="45431" name="AutoShape 367">
              <a:extLst>
                <a:ext uri="{FF2B5EF4-FFF2-40B4-BE49-F238E27FC236}">
                  <a16:creationId xmlns:a16="http://schemas.microsoft.com/office/drawing/2014/main" id="{10FE92B5-B0AE-4F92-A166-EB57B07750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3788" y="413861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2" name="Freeform 369">
              <a:extLst>
                <a:ext uri="{FF2B5EF4-FFF2-40B4-BE49-F238E27FC236}">
                  <a16:creationId xmlns:a16="http://schemas.microsoft.com/office/drawing/2014/main" id="{94DF2C23-DB3A-4F46-8CEB-F7700E05D3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1" y="413385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3" name="Freeform 370">
              <a:extLst>
                <a:ext uri="{FF2B5EF4-FFF2-40B4-BE49-F238E27FC236}">
                  <a16:creationId xmlns:a16="http://schemas.microsoft.com/office/drawing/2014/main" id="{51EF2AF6-ECA7-4C11-BBF7-83DD7CFBC0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901" y="4491038"/>
              <a:ext cx="276225" cy="292100"/>
            </a:xfrm>
            <a:custGeom>
              <a:avLst/>
              <a:gdLst>
                <a:gd name="T0" fmla="*/ 46 w 70"/>
                <a:gd name="T1" fmla="*/ 38 h 73"/>
                <a:gd name="T2" fmla="*/ 55 w 70"/>
                <a:gd name="T3" fmla="*/ 21 h 73"/>
                <a:gd name="T4" fmla="*/ 35 w 70"/>
                <a:gd name="T5" fmla="*/ 0 h 73"/>
                <a:gd name="T6" fmla="*/ 14 w 70"/>
                <a:gd name="T7" fmla="*/ 21 h 73"/>
                <a:gd name="T8" fmla="*/ 23 w 70"/>
                <a:gd name="T9" fmla="*/ 38 h 73"/>
                <a:gd name="T10" fmla="*/ 0 w 70"/>
                <a:gd name="T11" fmla="*/ 64 h 73"/>
                <a:gd name="T12" fmla="*/ 0 w 70"/>
                <a:gd name="T13" fmla="*/ 73 h 73"/>
                <a:gd name="T14" fmla="*/ 70 w 70"/>
                <a:gd name="T15" fmla="*/ 73 h 73"/>
                <a:gd name="T16" fmla="*/ 70 w 70"/>
                <a:gd name="T17" fmla="*/ 64 h 73"/>
                <a:gd name="T18" fmla="*/ 46 w 70"/>
                <a:gd name="T19" fmla="*/ 38 h 73"/>
                <a:gd name="T20" fmla="*/ 18 w 70"/>
                <a:gd name="T21" fmla="*/ 21 h 73"/>
                <a:gd name="T22" fmla="*/ 35 w 70"/>
                <a:gd name="T23" fmla="*/ 4 h 73"/>
                <a:gd name="T24" fmla="*/ 52 w 70"/>
                <a:gd name="T25" fmla="*/ 21 h 73"/>
                <a:gd name="T26" fmla="*/ 35 w 70"/>
                <a:gd name="T27" fmla="*/ 38 h 73"/>
                <a:gd name="T28" fmla="*/ 18 w 70"/>
                <a:gd name="T29" fmla="*/ 21 h 73"/>
                <a:gd name="T30" fmla="*/ 66 w 70"/>
                <a:gd name="T31" fmla="*/ 70 h 73"/>
                <a:gd name="T32" fmla="*/ 3 w 70"/>
                <a:gd name="T33" fmla="*/ 70 h 73"/>
                <a:gd name="T34" fmla="*/ 3 w 70"/>
                <a:gd name="T35" fmla="*/ 64 h 73"/>
                <a:gd name="T36" fmla="*/ 24 w 70"/>
                <a:gd name="T37" fmla="*/ 42 h 73"/>
                <a:gd name="T38" fmla="*/ 46 w 70"/>
                <a:gd name="T39" fmla="*/ 42 h 73"/>
                <a:gd name="T40" fmla="*/ 66 w 70"/>
                <a:gd name="T41" fmla="*/ 64 h 73"/>
                <a:gd name="T42" fmla="*/ 66 w 70"/>
                <a:gd name="T43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" h="73">
                  <a:moveTo>
                    <a:pt x="46" y="38"/>
                  </a:moveTo>
                  <a:cubicBezTo>
                    <a:pt x="52" y="34"/>
                    <a:pt x="55" y="28"/>
                    <a:pt x="55" y="21"/>
                  </a:cubicBezTo>
                  <a:cubicBezTo>
                    <a:pt x="55" y="10"/>
                    <a:pt x="46" y="0"/>
                    <a:pt x="35" y="0"/>
                  </a:cubicBezTo>
                  <a:cubicBezTo>
                    <a:pt x="23" y="0"/>
                    <a:pt x="14" y="10"/>
                    <a:pt x="14" y="21"/>
                  </a:cubicBezTo>
                  <a:cubicBezTo>
                    <a:pt x="14" y="28"/>
                    <a:pt x="18" y="34"/>
                    <a:pt x="23" y="38"/>
                  </a:cubicBezTo>
                  <a:cubicBezTo>
                    <a:pt x="10" y="38"/>
                    <a:pt x="0" y="50"/>
                    <a:pt x="0" y="64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50"/>
                    <a:pt x="59" y="38"/>
                    <a:pt x="46" y="38"/>
                  </a:cubicBezTo>
                  <a:moveTo>
                    <a:pt x="18" y="21"/>
                  </a:moveTo>
                  <a:cubicBezTo>
                    <a:pt x="18" y="11"/>
                    <a:pt x="25" y="4"/>
                    <a:pt x="35" y="4"/>
                  </a:cubicBezTo>
                  <a:cubicBezTo>
                    <a:pt x="44" y="4"/>
                    <a:pt x="52" y="11"/>
                    <a:pt x="52" y="21"/>
                  </a:cubicBezTo>
                  <a:cubicBezTo>
                    <a:pt x="52" y="30"/>
                    <a:pt x="44" y="38"/>
                    <a:pt x="35" y="38"/>
                  </a:cubicBezTo>
                  <a:cubicBezTo>
                    <a:pt x="25" y="38"/>
                    <a:pt x="18" y="30"/>
                    <a:pt x="18" y="21"/>
                  </a:cubicBezTo>
                  <a:moveTo>
                    <a:pt x="66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52"/>
                    <a:pt x="12" y="42"/>
                    <a:pt x="24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57" y="42"/>
                    <a:pt x="66" y="52"/>
                    <a:pt x="66" y="64"/>
                  </a:cubicBezTo>
                  <a:lnTo>
                    <a:pt x="66" y="7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4" name="Freeform 371">
              <a:extLst>
                <a:ext uri="{FF2B5EF4-FFF2-40B4-BE49-F238E27FC236}">
                  <a16:creationId xmlns:a16="http://schemas.microsoft.com/office/drawing/2014/main" id="{63D26898-B0B5-4E45-AF37-33557D00B8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1" y="4294188"/>
              <a:ext cx="300038" cy="288925"/>
            </a:xfrm>
            <a:custGeom>
              <a:avLst/>
              <a:gdLst>
                <a:gd name="T0" fmla="*/ 12 w 189"/>
                <a:gd name="T1" fmla="*/ 0 h 182"/>
                <a:gd name="T2" fmla="*/ 0 w 189"/>
                <a:gd name="T3" fmla="*/ 0 h 182"/>
                <a:gd name="T4" fmla="*/ 0 w 189"/>
                <a:gd name="T5" fmla="*/ 13 h 182"/>
                <a:gd name="T6" fmla="*/ 0 w 189"/>
                <a:gd name="T7" fmla="*/ 169 h 182"/>
                <a:gd name="T8" fmla="*/ 0 w 189"/>
                <a:gd name="T9" fmla="*/ 182 h 182"/>
                <a:gd name="T10" fmla="*/ 12 w 189"/>
                <a:gd name="T11" fmla="*/ 182 h 182"/>
                <a:gd name="T12" fmla="*/ 20 w 189"/>
                <a:gd name="T13" fmla="*/ 182 h 182"/>
                <a:gd name="T14" fmla="*/ 25 w 189"/>
                <a:gd name="T15" fmla="*/ 182 h 182"/>
                <a:gd name="T16" fmla="*/ 30 w 189"/>
                <a:gd name="T17" fmla="*/ 177 h 182"/>
                <a:gd name="T18" fmla="*/ 50 w 189"/>
                <a:gd name="T19" fmla="*/ 139 h 182"/>
                <a:gd name="T20" fmla="*/ 176 w 189"/>
                <a:gd name="T21" fmla="*/ 139 h 182"/>
                <a:gd name="T22" fmla="*/ 189 w 189"/>
                <a:gd name="T23" fmla="*/ 139 h 182"/>
                <a:gd name="T24" fmla="*/ 189 w 189"/>
                <a:gd name="T25" fmla="*/ 129 h 182"/>
                <a:gd name="T26" fmla="*/ 189 w 189"/>
                <a:gd name="T27" fmla="*/ 13 h 182"/>
                <a:gd name="T28" fmla="*/ 189 w 189"/>
                <a:gd name="T29" fmla="*/ 0 h 182"/>
                <a:gd name="T30" fmla="*/ 176 w 189"/>
                <a:gd name="T31" fmla="*/ 0 h 182"/>
                <a:gd name="T32" fmla="*/ 12 w 189"/>
                <a:gd name="T33" fmla="*/ 0 h 182"/>
                <a:gd name="T34" fmla="*/ 176 w 189"/>
                <a:gd name="T35" fmla="*/ 129 h 182"/>
                <a:gd name="T36" fmla="*/ 45 w 189"/>
                <a:gd name="T37" fmla="*/ 129 h 182"/>
                <a:gd name="T38" fmla="*/ 20 w 189"/>
                <a:gd name="T39" fmla="*/ 169 h 182"/>
                <a:gd name="T40" fmla="*/ 12 w 189"/>
                <a:gd name="T41" fmla="*/ 169 h 182"/>
                <a:gd name="T42" fmla="*/ 12 w 189"/>
                <a:gd name="T43" fmla="*/ 13 h 182"/>
                <a:gd name="T44" fmla="*/ 176 w 189"/>
                <a:gd name="T45" fmla="*/ 13 h 182"/>
                <a:gd name="T46" fmla="*/ 176 w 189"/>
                <a:gd name="T47" fmla="*/ 12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9" h="182">
                  <a:moveTo>
                    <a:pt x="12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0" y="169"/>
                  </a:lnTo>
                  <a:lnTo>
                    <a:pt x="0" y="182"/>
                  </a:lnTo>
                  <a:lnTo>
                    <a:pt x="12" y="182"/>
                  </a:lnTo>
                  <a:lnTo>
                    <a:pt x="20" y="182"/>
                  </a:lnTo>
                  <a:lnTo>
                    <a:pt x="25" y="182"/>
                  </a:lnTo>
                  <a:lnTo>
                    <a:pt x="30" y="177"/>
                  </a:lnTo>
                  <a:lnTo>
                    <a:pt x="50" y="139"/>
                  </a:lnTo>
                  <a:lnTo>
                    <a:pt x="176" y="139"/>
                  </a:lnTo>
                  <a:lnTo>
                    <a:pt x="189" y="139"/>
                  </a:lnTo>
                  <a:lnTo>
                    <a:pt x="189" y="129"/>
                  </a:lnTo>
                  <a:lnTo>
                    <a:pt x="189" y="13"/>
                  </a:lnTo>
                  <a:lnTo>
                    <a:pt x="189" y="0"/>
                  </a:lnTo>
                  <a:lnTo>
                    <a:pt x="176" y="0"/>
                  </a:lnTo>
                  <a:lnTo>
                    <a:pt x="12" y="0"/>
                  </a:lnTo>
                  <a:close/>
                  <a:moveTo>
                    <a:pt x="176" y="129"/>
                  </a:moveTo>
                  <a:lnTo>
                    <a:pt x="45" y="129"/>
                  </a:lnTo>
                  <a:lnTo>
                    <a:pt x="20" y="169"/>
                  </a:lnTo>
                  <a:lnTo>
                    <a:pt x="12" y="169"/>
                  </a:lnTo>
                  <a:lnTo>
                    <a:pt x="12" y="13"/>
                  </a:lnTo>
                  <a:lnTo>
                    <a:pt x="176" y="13"/>
                  </a:lnTo>
                  <a:lnTo>
                    <a:pt x="176" y="1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5" name="Freeform 372">
              <a:extLst>
                <a:ext uri="{FF2B5EF4-FFF2-40B4-BE49-F238E27FC236}">
                  <a16:creationId xmlns:a16="http://schemas.microsoft.com/office/drawing/2014/main" id="{DC6F38D4-D9E2-4683-A15E-42C773E91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7176" y="4318001"/>
              <a:ext cx="157163" cy="165100"/>
            </a:xfrm>
            <a:custGeom>
              <a:avLst/>
              <a:gdLst>
                <a:gd name="T0" fmla="*/ 21 w 40"/>
                <a:gd name="T1" fmla="*/ 3 h 41"/>
                <a:gd name="T2" fmla="*/ 21 w 40"/>
                <a:gd name="T3" fmla="*/ 0 h 41"/>
                <a:gd name="T4" fmla="*/ 20 w 40"/>
                <a:gd name="T5" fmla="*/ 0 h 41"/>
                <a:gd name="T6" fmla="*/ 20 w 40"/>
                <a:gd name="T7" fmla="*/ 0 h 41"/>
                <a:gd name="T8" fmla="*/ 20 w 40"/>
                <a:gd name="T9" fmla="*/ 3 h 41"/>
                <a:gd name="T10" fmla="*/ 0 w 40"/>
                <a:gd name="T11" fmla="*/ 22 h 41"/>
                <a:gd name="T12" fmla="*/ 0 w 40"/>
                <a:gd name="T13" fmla="*/ 23 h 41"/>
                <a:gd name="T14" fmla="*/ 20 w 40"/>
                <a:gd name="T15" fmla="*/ 23 h 41"/>
                <a:gd name="T16" fmla="*/ 20 w 40"/>
                <a:gd name="T17" fmla="*/ 38 h 41"/>
                <a:gd name="T18" fmla="*/ 17 w 40"/>
                <a:gd name="T19" fmla="*/ 40 h 41"/>
                <a:gd name="T20" fmla="*/ 15 w 40"/>
                <a:gd name="T21" fmla="*/ 38 h 41"/>
                <a:gd name="T22" fmla="*/ 15 w 40"/>
                <a:gd name="T23" fmla="*/ 37 h 41"/>
                <a:gd name="T24" fmla="*/ 14 w 40"/>
                <a:gd name="T25" fmla="*/ 38 h 41"/>
                <a:gd name="T26" fmla="*/ 17 w 40"/>
                <a:gd name="T27" fmla="*/ 41 h 41"/>
                <a:gd name="T28" fmla="*/ 21 w 40"/>
                <a:gd name="T29" fmla="*/ 38 h 41"/>
                <a:gd name="T30" fmla="*/ 21 w 40"/>
                <a:gd name="T31" fmla="*/ 23 h 41"/>
                <a:gd name="T32" fmla="*/ 40 w 40"/>
                <a:gd name="T33" fmla="*/ 23 h 41"/>
                <a:gd name="T34" fmla="*/ 40 w 40"/>
                <a:gd name="T35" fmla="*/ 22 h 41"/>
                <a:gd name="T36" fmla="*/ 21 w 40"/>
                <a:gd name="T37" fmla="*/ 3 h 41"/>
                <a:gd name="T38" fmla="*/ 30 w 40"/>
                <a:gd name="T39" fmla="*/ 22 h 41"/>
                <a:gd name="T40" fmla="*/ 21 w 40"/>
                <a:gd name="T41" fmla="*/ 22 h 41"/>
                <a:gd name="T42" fmla="*/ 21 w 40"/>
                <a:gd name="T43" fmla="*/ 4 h 41"/>
                <a:gd name="T44" fmla="*/ 30 w 40"/>
                <a:gd name="T45" fmla="*/ 22 h 41"/>
                <a:gd name="T46" fmla="*/ 10 w 40"/>
                <a:gd name="T47" fmla="*/ 22 h 41"/>
                <a:gd name="T48" fmla="*/ 15 w 40"/>
                <a:gd name="T49" fmla="*/ 8 h 41"/>
                <a:gd name="T50" fmla="*/ 20 w 40"/>
                <a:gd name="T51" fmla="*/ 4 h 41"/>
                <a:gd name="T52" fmla="*/ 20 w 40"/>
                <a:gd name="T53" fmla="*/ 22 h 41"/>
                <a:gd name="T54" fmla="*/ 10 w 40"/>
                <a:gd name="T55" fmla="*/ 22 h 41"/>
                <a:gd name="T56" fmla="*/ 18 w 40"/>
                <a:gd name="T57" fmla="*/ 4 h 41"/>
                <a:gd name="T58" fmla="*/ 14 w 40"/>
                <a:gd name="T59" fmla="*/ 8 h 41"/>
                <a:gd name="T60" fmla="*/ 9 w 40"/>
                <a:gd name="T61" fmla="*/ 22 h 41"/>
                <a:gd name="T62" fmla="*/ 2 w 40"/>
                <a:gd name="T63" fmla="*/ 22 h 41"/>
                <a:gd name="T64" fmla="*/ 18 w 40"/>
                <a:gd name="T65" fmla="*/ 4 h 41"/>
                <a:gd name="T66" fmla="*/ 31 w 40"/>
                <a:gd name="T67" fmla="*/ 22 h 41"/>
                <a:gd name="T68" fmla="*/ 26 w 40"/>
                <a:gd name="T69" fmla="*/ 8 h 41"/>
                <a:gd name="T70" fmla="*/ 22 w 40"/>
                <a:gd name="T71" fmla="*/ 4 h 41"/>
                <a:gd name="T72" fmla="*/ 39 w 40"/>
                <a:gd name="T73" fmla="*/ 22 h 41"/>
                <a:gd name="T74" fmla="*/ 31 w 40"/>
                <a:gd name="T75" fmla="*/ 2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" h="41">
                  <a:moveTo>
                    <a:pt x="21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9" y="3"/>
                    <a:pt x="0" y="1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6" y="40"/>
                    <a:pt x="15" y="39"/>
                    <a:pt x="1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7"/>
                    <a:pt x="14" y="37"/>
                    <a:pt x="14" y="38"/>
                  </a:cubicBezTo>
                  <a:cubicBezTo>
                    <a:pt x="14" y="39"/>
                    <a:pt x="16" y="41"/>
                    <a:pt x="17" y="41"/>
                  </a:cubicBezTo>
                  <a:cubicBezTo>
                    <a:pt x="19" y="41"/>
                    <a:pt x="21" y="39"/>
                    <a:pt x="21" y="3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12"/>
                    <a:pt x="32" y="3"/>
                    <a:pt x="21" y="3"/>
                  </a:cubicBezTo>
                  <a:moveTo>
                    <a:pt x="30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3" y="6"/>
                    <a:pt x="31" y="12"/>
                    <a:pt x="30" y="22"/>
                  </a:cubicBezTo>
                  <a:moveTo>
                    <a:pt x="10" y="22"/>
                  </a:moveTo>
                  <a:cubicBezTo>
                    <a:pt x="10" y="16"/>
                    <a:pt x="13" y="11"/>
                    <a:pt x="15" y="8"/>
                  </a:cubicBezTo>
                  <a:cubicBezTo>
                    <a:pt x="17" y="6"/>
                    <a:pt x="19" y="5"/>
                    <a:pt x="20" y="4"/>
                  </a:cubicBezTo>
                  <a:cubicBezTo>
                    <a:pt x="20" y="22"/>
                    <a:pt x="20" y="22"/>
                    <a:pt x="20" y="22"/>
                  </a:cubicBezTo>
                  <a:lnTo>
                    <a:pt x="10" y="22"/>
                  </a:lnTo>
                  <a:close/>
                  <a:moveTo>
                    <a:pt x="18" y="4"/>
                  </a:moveTo>
                  <a:cubicBezTo>
                    <a:pt x="17" y="5"/>
                    <a:pt x="16" y="6"/>
                    <a:pt x="14" y="8"/>
                  </a:cubicBezTo>
                  <a:cubicBezTo>
                    <a:pt x="11" y="12"/>
                    <a:pt x="9" y="17"/>
                    <a:pt x="9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12"/>
                    <a:pt x="9" y="5"/>
                    <a:pt x="18" y="4"/>
                  </a:cubicBezTo>
                  <a:moveTo>
                    <a:pt x="31" y="22"/>
                  </a:moveTo>
                  <a:cubicBezTo>
                    <a:pt x="32" y="17"/>
                    <a:pt x="30" y="12"/>
                    <a:pt x="26" y="8"/>
                  </a:cubicBezTo>
                  <a:cubicBezTo>
                    <a:pt x="25" y="6"/>
                    <a:pt x="23" y="5"/>
                    <a:pt x="22" y="4"/>
                  </a:cubicBezTo>
                  <a:cubicBezTo>
                    <a:pt x="32" y="5"/>
                    <a:pt x="39" y="12"/>
                    <a:pt x="39" y="22"/>
                  </a:cubicBezTo>
                  <a:lnTo>
                    <a:pt x="31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6" name="Freeform 373">
              <a:extLst>
                <a:ext uri="{FF2B5EF4-FFF2-40B4-BE49-F238E27FC236}">
                  <a16:creationId xmlns:a16="http://schemas.microsoft.com/office/drawing/2014/main" id="{970B0ADA-2B88-4D5D-95B5-C7D16A2EE1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4001" y="4314826"/>
              <a:ext cx="165100" cy="171450"/>
            </a:xfrm>
            <a:custGeom>
              <a:avLst/>
              <a:gdLst>
                <a:gd name="T0" fmla="*/ 4 w 42"/>
                <a:gd name="T1" fmla="*/ 22 h 43"/>
                <a:gd name="T2" fmla="*/ 9 w 42"/>
                <a:gd name="T3" fmla="*/ 22 h 43"/>
                <a:gd name="T4" fmla="*/ 14 w 42"/>
                <a:gd name="T5" fmla="*/ 8 h 43"/>
                <a:gd name="T6" fmla="*/ 16 w 42"/>
                <a:gd name="T7" fmla="*/ 6 h 43"/>
                <a:gd name="T8" fmla="*/ 4 w 42"/>
                <a:gd name="T9" fmla="*/ 22 h 43"/>
                <a:gd name="T10" fmla="*/ 12 w 42"/>
                <a:gd name="T11" fmla="*/ 22 h 43"/>
                <a:gd name="T12" fmla="*/ 20 w 42"/>
                <a:gd name="T13" fmla="*/ 22 h 43"/>
                <a:gd name="T14" fmla="*/ 20 w 42"/>
                <a:gd name="T15" fmla="*/ 7 h 43"/>
                <a:gd name="T16" fmla="*/ 17 w 42"/>
                <a:gd name="T17" fmla="*/ 10 h 43"/>
                <a:gd name="T18" fmla="*/ 12 w 42"/>
                <a:gd name="T19" fmla="*/ 22 h 43"/>
                <a:gd name="T20" fmla="*/ 23 w 42"/>
                <a:gd name="T21" fmla="*/ 22 h 43"/>
                <a:gd name="T22" fmla="*/ 30 w 42"/>
                <a:gd name="T23" fmla="*/ 22 h 43"/>
                <a:gd name="T24" fmla="*/ 23 w 42"/>
                <a:gd name="T25" fmla="*/ 7 h 43"/>
                <a:gd name="T26" fmla="*/ 23 w 42"/>
                <a:gd name="T27" fmla="*/ 22 h 43"/>
                <a:gd name="T28" fmla="*/ 34 w 42"/>
                <a:gd name="T29" fmla="*/ 22 h 43"/>
                <a:gd name="T30" fmla="*/ 39 w 42"/>
                <a:gd name="T31" fmla="*/ 22 h 43"/>
                <a:gd name="T32" fmla="*/ 27 w 42"/>
                <a:gd name="T33" fmla="*/ 6 h 43"/>
                <a:gd name="T34" fmla="*/ 28 w 42"/>
                <a:gd name="T35" fmla="*/ 8 h 43"/>
                <a:gd name="T36" fmla="*/ 34 w 42"/>
                <a:gd name="T37" fmla="*/ 22 h 43"/>
                <a:gd name="T38" fmla="*/ 18 w 42"/>
                <a:gd name="T39" fmla="*/ 43 h 43"/>
                <a:gd name="T40" fmla="*/ 14 w 42"/>
                <a:gd name="T41" fmla="*/ 39 h 43"/>
                <a:gd name="T42" fmla="*/ 16 w 42"/>
                <a:gd name="T43" fmla="*/ 37 h 43"/>
                <a:gd name="T44" fmla="*/ 17 w 42"/>
                <a:gd name="T45" fmla="*/ 39 h 43"/>
                <a:gd name="T46" fmla="*/ 18 w 42"/>
                <a:gd name="T47" fmla="*/ 40 h 43"/>
                <a:gd name="T48" fmla="*/ 20 w 42"/>
                <a:gd name="T49" fmla="*/ 39 h 43"/>
                <a:gd name="T50" fmla="*/ 20 w 42"/>
                <a:gd name="T51" fmla="*/ 25 h 43"/>
                <a:gd name="T52" fmla="*/ 0 w 42"/>
                <a:gd name="T53" fmla="*/ 25 h 43"/>
                <a:gd name="T54" fmla="*/ 0 w 42"/>
                <a:gd name="T55" fmla="*/ 23 h 43"/>
                <a:gd name="T56" fmla="*/ 20 w 42"/>
                <a:gd name="T57" fmla="*/ 3 h 43"/>
                <a:gd name="T58" fmla="*/ 20 w 42"/>
                <a:gd name="T59" fmla="*/ 1 h 43"/>
                <a:gd name="T60" fmla="*/ 21 w 42"/>
                <a:gd name="T61" fmla="*/ 0 h 43"/>
                <a:gd name="T62" fmla="*/ 23 w 42"/>
                <a:gd name="T63" fmla="*/ 1 h 43"/>
                <a:gd name="T64" fmla="*/ 23 w 42"/>
                <a:gd name="T65" fmla="*/ 3 h 43"/>
                <a:gd name="T66" fmla="*/ 42 w 42"/>
                <a:gd name="T67" fmla="*/ 23 h 43"/>
                <a:gd name="T68" fmla="*/ 42 w 42"/>
                <a:gd name="T69" fmla="*/ 25 h 43"/>
                <a:gd name="T70" fmla="*/ 23 w 42"/>
                <a:gd name="T71" fmla="*/ 25 h 43"/>
                <a:gd name="T72" fmla="*/ 23 w 42"/>
                <a:gd name="T73" fmla="*/ 39 h 43"/>
                <a:gd name="T74" fmla="*/ 18 w 42"/>
                <a:gd name="T7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3">
                  <a:moveTo>
                    <a:pt x="4" y="22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17"/>
                    <a:pt x="11" y="12"/>
                    <a:pt x="14" y="8"/>
                  </a:cubicBezTo>
                  <a:cubicBezTo>
                    <a:pt x="15" y="7"/>
                    <a:pt x="15" y="7"/>
                    <a:pt x="16" y="6"/>
                  </a:cubicBezTo>
                  <a:cubicBezTo>
                    <a:pt x="9" y="9"/>
                    <a:pt x="4" y="15"/>
                    <a:pt x="4" y="22"/>
                  </a:cubicBezTo>
                  <a:moveTo>
                    <a:pt x="12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8"/>
                    <a:pt x="18" y="9"/>
                    <a:pt x="17" y="10"/>
                  </a:cubicBezTo>
                  <a:cubicBezTo>
                    <a:pt x="15" y="13"/>
                    <a:pt x="12" y="17"/>
                    <a:pt x="12" y="22"/>
                  </a:cubicBezTo>
                  <a:moveTo>
                    <a:pt x="23" y="22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30" y="15"/>
                    <a:pt x="26" y="10"/>
                    <a:pt x="23" y="7"/>
                  </a:cubicBezTo>
                  <a:lnTo>
                    <a:pt x="23" y="22"/>
                  </a:lnTo>
                  <a:close/>
                  <a:moveTo>
                    <a:pt x="34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8" y="15"/>
                    <a:pt x="33" y="9"/>
                    <a:pt x="27" y="6"/>
                  </a:cubicBezTo>
                  <a:cubicBezTo>
                    <a:pt x="27" y="7"/>
                    <a:pt x="28" y="7"/>
                    <a:pt x="28" y="8"/>
                  </a:cubicBezTo>
                  <a:cubicBezTo>
                    <a:pt x="32" y="12"/>
                    <a:pt x="33" y="17"/>
                    <a:pt x="34" y="22"/>
                  </a:cubicBezTo>
                  <a:moveTo>
                    <a:pt x="18" y="43"/>
                  </a:moveTo>
                  <a:cubicBezTo>
                    <a:pt x="16" y="43"/>
                    <a:pt x="14" y="41"/>
                    <a:pt x="14" y="39"/>
                  </a:cubicBezTo>
                  <a:cubicBezTo>
                    <a:pt x="14" y="38"/>
                    <a:pt x="15" y="37"/>
                    <a:pt x="16" y="37"/>
                  </a:cubicBezTo>
                  <a:cubicBezTo>
                    <a:pt x="16" y="37"/>
                    <a:pt x="17" y="38"/>
                    <a:pt x="17" y="39"/>
                  </a:cubicBezTo>
                  <a:cubicBezTo>
                    <a:pt x="17" y="39"/>
                    <a:pt x="18" y="40"/>
                    <a:pt x="18" y="40"/>
                  </a:cubicBezTo>
                  <a:cubicBezTo>
                    <a:pt x="19" y="40"/>
                    <a:pt x="20" y="39"/>
                    <a:pt x="20" y="3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2"/>
                    <a:pt x="9" y="3"/>
                    <a:pt x="20" y="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0"/>
                    <a:pt x="20" y="0"/>
                    <a:pt x="21" y="0"/>
                  </a:cubicBezTo>
                  <a:cubicBezTo>
                    <a:pt x="22" y="0"/>
                    <a:pt x="23" y="0"/>
                    <a:pt x="23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34" y="3"/>
                    <a:pt x="42" y="12"/>
                    <a:pt x="42" y="23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41"/>
                    <a:pt x="21" y="43"/>
                    <a:pt x="18" y="4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44" name="Group 45443">
            <a:extLst>
              <a:ext uri="{FF2B5EF4-FFF2-40B4-BE49-F238E27FC236}">
                <a16:creationId xmlns:a16="http://schemas.microsoft.com/office/drawing/2014/main" id="{95225639-BB73-4E48-A624-DA333524E75C}"/>
              </a:ext>
            </a:extLst>
          </p:cNvPr>
          <p:cNvGrpSpPr/>
          <p:nvPr/>
        </p:nvGrpSpPr>
        <p:grpSpPr>
          <a:xfrm>
            <a:off x="4770438" y="4102100"/>
            <a:ext cx="844550" cy="841375"/>
            <a:chOff x="4770438" y="4102100"/>
            <a:chExt cx="844550" cy="841375"/>
          </a:xfrm>
        </p:grpSpPr>
        <p:sp>
          <p:nvSpPr>
            <p:cNvPr id="45439" name="AutoShape 375">
              <a:extLst>
                <a:ext uri="{FF2B5EF4-FFF2-40B4-BE49-F238E27FC236}">
                  <a16:creationId xmlns:a16="http://schemas.microsoft.com/office/drawing/2014/main" id="{EF7290ED-70AC-4467-92F3-2529F0D1C8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0438" y="410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0" name="Oval 377">
              <a:extLst>
                <a:ext uri="{FF2B5EF4-FFF2-40B4-BE49-F238E27FC236}">
                  <a16:creationId xmlns:a16="http://schemas.microsoft.com/office/drawing/2014/main" id="{4EC267FC-A0C5-4992-BFFB-21064264F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8" y="41052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1" name="Freeform 378">
              <a:extLst>
                <a:ext uri="{FF2B5EF4-FFF2-40B4-BE49-F238E27FC236}">
                  <a16:creationId xmlns:a16="http://schemas.microsoft.com/office/drawing/2014/main" id="{9623370C-AC59-47AF-BD66-8922CD7A7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9013" y="41338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2" name="Freeform 379">
              <a:extLst>
                <a:ext uri="{FF2B5EF4-FFF2-40B4-BE49-F238E27FC236}">
                  <a16:creationId xmlns:a16="http://schemas.microsoft.com/office/drawing/2014/main" id="{D93A3684-5DFF-41A0-9B3A-348D46E3F5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9688" y="4265613"/>
              <a:ext cx="146050" cy="346075"/>
            </a:xfrm>
            <a:custGeom>
              <a:avLst/>
              <a:gdLst>
                <a:gd name="T0" fmla="*/ 8 w 92"/>
                <a:gd name="T1" fmla="*/ 210 h 218"/>
                <a:gd name="T2" fmla="*/ 85 w 92"/>
                <a:gd name="T3" fmla="*/ 210 h 218"/>
                <a:gd name="T4" fmla="*/ 85 w 92"/>
                <a:gd name="T5" fmla="*/ 8 h 218"/>
                <a:gd name="T6" fmla="*/ 8 w 92"/>
                <a:gd name="T7" fmla="*/ 8 h 218"/>
                <a:gd name="T8" fmla="*/ 8 w 92"/>
                <a:gd name="T9" fmla="*/ 210 h 218"/>
                <a:gd name="T10" fmla="*/ 92 w 92"/>
                <a:gd name="T11" fmla="*/ 218 h 218"/>
                <a:gd name="T12" fmla="*/ 0 w 92"/>
                <a:gd name="T13" fmla="*/ 218 h 218"/>
                <a:gd name="T14" fmla="*/ 0 w 92"/>
                <a:gd name="T15" fmla="*/ 0 h 218"/>
                <a:gd name="T16" fmla="*/ 92 w 92"/>
                <a:gd name="T17" fmla="*/ 0 h 218"/>
                <a:gd name="T18" fmla="*/ 92 w 92"/>
                <a:gd name="T1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218">
                  <a:moveTo>
                    <a:pt x="8" y="210"/>
                  </a:moveTo>
                  <a:lnTo>
                    <a:pt x="85" y="210"/>
                  </a:lnTo>
                  <a:lnTo>
                    <a:pt x="85" y="8"/>
                  </a:lnTo>
                  <a:lnTo>
                    <a:pt x="8" y="8"/>
                  </a:lnTo>
                  <a:lnTo>
                    <a:pt x="8" y="210"/>
                  </a:lnTo>
                  <a:close/>
                  <a:moveTo>
                    <a:pt x="92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3" name="Freeform 380">
              <a:extLst>
                <a:ext uri="{FF2B5EF4-FFF2-40B4-BE49-F238E27FC236}">
                  <a16:creationId xmlns:a16="http://schemas.microsoft.com/office/drawing/2014/main" id="{48F5787C-22CA-4C26-B68C-3E4BE0B93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9688" y="4646613"/>
              <a:ext cx="146050" cy="133350"/>
            </a:xfrm>
            <a:custGeom>
              <a:avLst/>
              <a:gdLst>
                <a:gd name="T0" fmla="*/ 15 w 92"/>
                <a:gd name="T1" fmla="*/ 76 h 84"/>
                <a:gd name="T2" fmla="*/ 85 w 92"/>
                <a:gd name="T3" fmla="*/ 76 h 84"/>
                <a:gd name="T4" fmla="*/ 85 w 92"/>
                <a:gd name="T5" fmla="*/ 8 h 84"/>
                <a:gd name="T6" fmla="*/ 8 w 92"/>
                <a:gd name="T7" fmla="*/ 8 h 84"/>
                <a:gd name="T8" fmla="*/ 15 w 92"/>
                <a:gd name="T9" fmla="*/ 76 h 84"/>
                <a:gd name="T10" fmla="*/ 92 w 92"/>
                <a:gd name="T11" fmla="*/ 84 h 84"/>
                <a:gd name="T12" fmla="*/ 8 w 92"/>
                <a:gd name="T13" fmla="*/ 84 h 84"/>
                <a:gd name="T14" fmla="*/ 0 w 92"/>
                <a:gd name="T15" fmla="*/ 0 h 84"/>
                <a:gd name="T16" fmla="*/ 92 w 92"/>
                <a:gd name="T17" fmla="*/ 0 h 84"/>
                <a:gd name="T18" fmla="*/ 92 w 92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84">
                  <a:moveTo>
                    <a:pt x="15" y="76"/>
                  </a:moveTo>
                  <a:lnTo>
                    <a:pt x="85" y="76"/>
                  </a:lnTo>
                  <a:lnTo>
                    <a:pt x="85" y="8"/>
                  </a:lnTo>
                  <a:lnTo>
                    <a:pt x="8" y="8"/>
                  </a:lnTo>
                  <a:lnTo>
                    <a:pt x="15" y="76"/>
                  </a:lnTo>
                  <a:close/>
                  <a:moveTo>
                    <a:pt x="92" y="84"/>
                  </a:moveTo>
                  <a:lnTo>
                    <a:pt x="8" y="84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50" name="Group 45449">
            <a:extLst>
              <a:ext uri="{FF2B5EF4-FFF2-40B4-BE49-F238E27FC236}">
                <a16:creationId xmlns:a16="http://schemas.microsoft.com/office/drawing/2014/main" id="{CFF30CAE-EB01-4824-8906-788247161008}"/>
              </a:ext>
            </a:extLst>
          </p:cNvPr>
          <p:cNvGrpSpPr/>
          <p:nvPr/>
        </p:nvGrpSpPr>
        <p:grpSpPr>
          <a:xfrm>
            <a:off x="5813425" y="4140201"/>
            <a:ext cx="768351" cy="774699"/>
            <a:chOff x="5813425" y="4140201"/>
            <a:chExt cx="768351" cy="774699"/>
          </a:xfrm>
        </p:grpSpPr>
        <p:sp>
          <p:nvSpPr>
            <p:cNvPr id="45446" name="AutoShape 382">
              <a:extLst>
                <a:ext uri="{FF2B5EF4-FFF2-40B4-BE49-F238E27FC236}">
                  <a16:creationId xmlns:a16="http://schemas.microsoft.com/office/drawing/2014/main" id="{371875CE-0CAC-48F5-9EC3-4CA1DE9D4F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3425" y="4144963"/>
              <a:ext cx="768350" cy="766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7" name="Freeform 384">
              <a:extLst>
                <a:ext uri="{FF2B5EF4-FFF2-40B4-BE49-F238E27FC236}">
                  <a16:creationId xmlns:a16="http://schemas.microsoft.com/office/drawing/2014/main" id="{12A90AAA-B790-4D59-B6D5-C269548A31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188" y="4140201"/>
              <a:ext cx="763588" cy="774699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8" name="Freeform 385">
              <a:extLst>
                <a:ext uri="{FF2B5EF4-FFF2-40B4-BE49-F238E27FC236}">
                  <a16:creationId xmlns:a16="http://schemas.microsoft.com/office/drawing/2014/main" id="{05007CB3-0845-422E-BF8E-72AC94788D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9338" y="4271963"/>
              <a:ext cx="141288" cy="344487"/>
            </a:xfrm>
            <a:custGeom>
              <a:avLst/>
              <a:gdLst>
                <a:gd name="T0" fmla="*/ 7 w 89"/>
                <a:gd name="T1" fmla="*/ 209 h 217"/>
                <a:gd name="T2" fmla="*/ 82 w 89"/>
                <a:gd name="T3" fmla="*/ 209 h 217"/>
                <a:gd name="T4" fmla="*/ 82 w 89"/>
                <a:gd name="T5" fmla="*/ 8 h 217"/>
                <a:gd name="T6" fmla="*/ 7 w 89"/>
                <a:gd name="T7" fmla="*/ 8 h 217"/>
                <a:gd name="T8" fmla="*/ 7 w 89"/>
                <a:gd name="T9" fmla="*/ 209 h 217"/>
                <a:gd name="T10" fmla="*/ 89 w 89"/>
                <a:gd name="T11" fmla="*/ 217 h 217"/>
                <a:gd name="T12" fmla="*/ 0 w 89"/>
                <a:gd name="T13" fmla="*/ 217 h 217"/>
                <a:gd name="T14" fmla="*/ 0 w 89"/>
                <a:gd name="T15" fmla="*/ 0 h 217"/>
                <a:gd name="T16" fmla="*/ 89 w 89"/>
                <a:gd name="T17" fmla="*/ 0 h 217"/>
                <a:gd name="T18" fmla="*/ 89 w 89"/>
                <a:gd name="T1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217">
                  <a:moveTo>
                    <a:pt x="7" y="209"/>
                  </a:moveTo>
                  <a:lnTo>
                    <a:pt x="82" y="209"/>
                  </a:lnTo>
                  <a:lnTo>
                    <a:pt x="82" y="8"/>
                  </a:lnTo>
                  <a:lnTo>
                    <a:pt x="7" y="8"/>
                  </a:lnTo>
                  <a:lnTo>
                    <a:pt x="7" y="209"/>
                  </a:lnTo>
                  <a:close/>
                  <a:moveTo>
                    <a:pt x="89" y="217"/>
                  </a:moveTo>
                  <a:lnTo>
                    <a:pt x="0" y="217"/>
                  </a:lnTo>
                  <a:lnTo>
                    <a:pt x="0" y="0"/>
                  </a:lnTo>
                  <a:lnTo>
                    <a:pt x="89" y="0"/>
                  </a:lnTo>
                  <a:lnTo>
                    <a:pt x="89" y="2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49" name="Freeform 386">
              <a:extLst>
                <a:ext uri="{FF2B5EF4-FFF2-40B4-BE49-F238E27FC236}">
                  <a16:creationId xmlns:a16="http://schemas.microsoft.com/office/drawing/2014/main" id="{9A6F9E49-7D6D-4D77-BB3B-49D5E90D0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9338" y="4651375"/>
              <a:ext cx="141288" cy="131762"/>
            </a:xfrm>
            <a:custGeom>
              <a:avLst/>
              <a:gdLst>
                <a:gd name="T0" fmla="*/ 15 w 89"/>
                <a:gd name="T1" fmla="*/ 76 h 83"/>
                <a:gd name="T2" fmla="*/ 82 w 89"/>
                <a:gd name="T3" fmla="*/ 76 h 83"/>
                <a:gd name="T4" fmla="*/ 82 w 89"/>
                <a:gd name="T5" fmla="*/ 8 h 83"/>
                <a:gd name="T6" fmla="*/ 7 w 89"/>
                <a:gd name="T7" fmla="*/ 8 h 83"/>
                <a:gd name="T8" fmla="*/ 15 w 89"/>
                <a:gd name="T9" fmla="*/ 76 h 83"/>
                <a:gd name="T10" fmla="*/ 89 w 89"/>
                <a:gd name="T11" fmla="*/ 83 h 83"/>
                <a:gd name="T12" fmla="*/ 7 w 89"/>
                <a:gd name="T13" fmla="*/ 83 h 83"/>
                <a:gd name="T14" fmla="*/ 0 w 89"/>
                <a:gd name="T15" fmla="*/ 0 h 83"/>
                <a:gd name="T16" fmla="*/ 89 w 89"/>
                <a:gd name="T17" fmla="*/ 0 h 83"/>
                <a:gd name="T18" fmla="*/ 89 w 89"/>
                <a:gd name="T1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3">
                  <a:moveTo>
                    <a:pt x="15" y="76"/>
                  </a:moveTo>
                  <a:lnTo>
                    <a:pt x="82" y="76"/>
                  </a:lnTo>
                  <a:lnTo>
                    <a:pt x="82" y="8"/>
                  </a:lnTo>
                  <a:lnTo>
                    <a:pt x="7" y="8"/>
                  </a:lnTo>
                  <a:lnTo>
                    <a:pt x="15" y="76"/>
                  </a:lnTo>
                  <a:close/>
                  <a:moveTo>
                    <a:pt x="89" y="83"/>
                  </a:moveTo>
                  <a:lnTo>
                    <a:pt x="7" y="83"/>
                  </a:lnTo>
                  <a:lnTo>
                    <a:pt x="0" y="0"/>
                  </a:lnTo>
                  <a:lnTo>
                    <a:pt x="89" y="0"/>
                  </a:lnTo>
                  <a:lnTo>
                    <a:pt x="89" y="8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64" name="Group 45463">
            <a:extLst>
              <a:ext uri="{FF2B5EF4-FFF2-40B4-BE49-F238E27FC236}">
                <a16:creationId xmlns:a16="http://schemas.microsoft.com/office/drawing/2014/main" id="{20F731E8-739A-498B-A61F-F8DAE0E1F7C1}"/>
              </a:ext>
            </a:extLst>
          </p:cNvPr>
          <p:cNvGrpSpPr/>
          <p:nvPr/>
        </p:nvGrpSpPr>
        <p:grpSpPr>
          <a:xfrm>
            <a:off x="7081838" y="4098925"/>
            <a:ext cx="863599" cy="858838"/>
            <a:chOff x="7081838" y="4098925"/>
            <a:chExt cx="863599" cy="858838"/>
          </a:xfrm>
        </p:grpSpPr>
        <p:sp>
          <p:nvSpPr>
            <p:cNvPr id="45452" name="AutoShape 388">
              <a:extLst>
                <a:ext uri="{FF2B5EF4-FFF2-40B4-BE49-F238E27FC236}">
                  <a16:creationId xmlns:a16="http://schemas.microsoft.com/office/drawing/2014/main" id="{9DD55534-1B27-40A3-93E6-339A1849F2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81838" y="4098925"/>
              <a:ext cx="858837" cy="858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3" name="Oval 390">
              <a:extLst>
                <a:ext uri="{FF2B5EF4-FFF2-40B4-BE49-F238E27FC236}">
                  <a16:creationId xmlns:a16="http://schemas.microsoft.com/office/drawing/2014/main" id="{D8CA319E-5D74-46AD-B050-ACE51600C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1838" y="4103688"/>
              <a:ext cx="863599" cy="85090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4" name="Freeform 391">
              <a:extLst>
                <a:ext uri="{FF2B5EF4-FFF2-40B4-BE49-F238E27FC236}">
                  <a16:creationId xmlns:a16="http://schemas.microsoft.com/office/drawing/2014/main" id="{04F5DC7C-CFE9-4812-8235-3CFF22906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4132263"/>
              <a:ext cx="804862" cy="7921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5" name="Freeform 392">
              <a:extLst>
                <a:ext uri="{FF2B5EF4-FFF2-40B4-BE49-F238E27FC236}">
                  <a16:creationId xmlns:a16="http://schemas.microsoft.com/office/drawing/2014/main" id="{DF020F7F-C154-432D-99B4-F7EF2E93FE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35825" y="4475163"/>
              <a:ext cx="215900" cy="212725"/>
            </a:xfrm>
            <a:custGeom>
              <a:avLst/>
              <a:gdLst>
                <a:gd name="T0" fmla="*/ 26 w 52"/>
                <a:gd name="T1" fmla="*/ 4 h 52"/>
                <a:gd name="T2" fmla="*/ 4 w 52"/>
                <a:gd name="T3" fmla="*/ 26 h 52"/>
                <a:gd name="T4" fmla="*/ 26 w 52"/>
                <a:gd name="T5" fmla="*/ 49 h 52"/>
                <a:gd name="T6" fmla="*/ 49 w 52"/>
                <a:gd name="T7" fmla="*/ 26 h 52"/>
                <a:gd name="T8" fmla="*/ 26 w 52"/>
                <a:gd name="T9" fmla="*/ 4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4"/>
                  </a:moveTo>
                  <a:cubicBezTo>
                    <a:pt x="14" y="4"/>
                    <a:pt x="4" y="14"/>
                    <a:pt x="4" y="26"/>
                  </a:cubicBezTo>
                  <a:cubicBezTo>
                    <a:pt x="4" y="39"/>
                    <a:pt x="14" y="49"/>
                    <a:pt x="26" y="49"/>
                  </a:cubicBezTo>
                  <a:cubicBezTo>
                    <a:pt x="39" y="49"/>
                    <a:pt x="49" y="39"/>
                    <a:pt x="49" y="26"/>
                  </a:cubicBezTo>
                  <a:cubicBezTo>
                    <a:pt x="49" y="14"/>
                    <a:pt x="39" y="4"/>
                    <a:pt x="26" y="4"/>
                  </a:cubicBezTo>
                  <a:moveTo>
                    <a:pt x="26" y="52"/>
                  </a:move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41"/>
                    <a:pt x="41" y="52"/>
                    <a:pt x="26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6" name="Freeform 393">
              <a:extLst>
                <a:ext uri="{FF2B5EF4-FFF2-40B4-BE49-F238E27FC236}">
                  <a16:creationId xmlns:a16="http://schemas.microsoft.com/office/drawing/2014/main" id="{4438EB75-5725-4C30-A403-439549C562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62850" y="4475163"/>
              <a:ext cx="215900" cy="212725"/>
            </a:xfrm>
            <a:custGeom>
              <a:avLst/>
              <a:gdLst>
                <a:gd name="T0" fmla="*/ 26 w 52"/>
                <a:gd name="T1" fmla="*/ 4 h 52"/>
                <a:gd name="T2" fmla="*/ 4 w 52"/>
                <a:gd name="T3" fmla="*/ 26 h 52"/>
                <a:gd name="T4" fmla="*/ 26 w 52"/>
                <a:gd name="T5" fmla="*/ 49 h 52"/>
                <a:gd name="T6" fmla="*/ 49 w 52"/>
                <a:gd name="T7" fmla="*/ 26 h 52"/>
                <a:gd name="T8" fmla="*/ 26 w 52"/>
                <a:gd name="T9" fmla="*/ 4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4"/>
                  </a:moveTo>
                  <a:cubicBezTo>
                    <a:pt x="14" y="4"/>
                    <a:pt x="4" y="14"/>
                    <a:pt x="4" y="26"/>
                  </a:cubicBezTo>
                  <a:cubicBezTo>
                    <a:pt x="4" y="39"/>
                    <a:pt x="14" y="49"/>
                    <a:pt x="26" y="49"/>
                  </a:cubicBezTo>
                  <a:cubicBezTo>
                    <a:pt x="39" y="49"/>
                    <a:pt x="49" y="39"/>
                    <a:pt x="49" y="26"/>
                  </a:cubicBezTo>
                  <a:cubicBezTo>
                    <a:pt x="49" y="14"/>
                    <a:pt x="39" y="4"/>
                    <a:pt x="26" y="4"/>
                  </a:cubicBezTo>
                  <a:moveTo>
                    <a:pt x="26" y="52"/>
                  </a:move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41"/>
                    <a:pt x="41" y="52"/>
                    <a:pt x="26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7" name="Freeform 394">
              <a:extLst>
                <a:ext uri="{FF2B5EF4-FFF2-40B4-BE49-F238E27FC236}">
                  <a16:creationId xmlns:a16="http://schemas.microsoft.com/office/drawing/2014/main" id="{5DE0CF56-5051-492A-9139-F7CC7DDA33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7600" y="4540250"/>
              <a:ext cx="79375" cy="82550"/>
            </a:xfrm>
            <a:custGeom>
              <a:avLst/>
              <a:gdLst>
                <a:gd name="T0" fmla="*/ 10 w 19"/>
                <a:gd name="T1" fmla="*/ 4 h 20"/>
                <a:gd name="T2" fmla="*/ 3 w 19"/>
                <a:gd name="T3" fmla="*/ 10 h 20"/>
                <a:gd name="T4" fmla="*/ 10 w 19"/>
                <a:gd name="T5" fmla="*/ 17 h 20"/>
                <a:gd name="T6" fmla="*/ 16 w 19"/>
                <a:gd name="T7" fmla="*/ 10 h 20"/>
                <a:gd name="T8" fmla="*/ 10 w 19"/>
                <a:gd name="T9" fmla="*/ 4 h 20"/>
                <a:gd name="T10" fmla="*/ 10 w 19"/>
                <a:gd name="T11" fmla="*/ 20 h 20"/>
                <a:gd name="T12" fmla="*/ 0 w 19"/>
                <a:gd name="T13" fmla="*/ 10 h 20"/>
                <a:gd name="T14" fmla="*/ 10 w 19"/>
                <a:gd name="T15" fmla="*/ 0 h 20"/>
                <a:gd name="T16" fmla="*/ 19 w 19"/>
                <a:gd name="T17" fmla="*/ 10 h 20"/>
                <a:gd name="T18" fmla="*/ 10 w 1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0">
                  <a:moveTo>
                    <a:pt x="10" y="4"/>
                  </a:moveTo>
                  <a:cubicBezTo>
                    <a:pt x="6" y="4"/>
                    <a:pt x="3" y="7"/>
                    <a:pt x="3" y="10"/>
                  </a:cubicBezTo>
                  <a:cubicBezTo>
                    <a:pt x="3" y="14"/>
                    <a:pt x="6" y="17"/>
                    <a:pt x="10" y="17"/>
                  </a:cubicBezTo>
                  <a:cubicBezTo>
                    <a:pt x="13" y="17"/>
                    <a:pt x="16" y="14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5" y="0"/>
                    <a:pt x="19" y="5"/>
                    <a:pt x="19" y="10"/>
                  </a:cubicBezTo>
                  <a:cubicBezTo>
                    <a:pt x="19" y="16"/>
                    <a:pt x="15" y="20"/>
                    <a:pt x="10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8" name="Freeform 395">
              <a:extLst>
                <a:ext uri="{FF2B5EF4-FFF2-40B4-BE49-F238E27FC236}">
                  <a16:creationId xmlns:a16="http://schemas.microsoft.com/office/drawing/2014/main" id="{476C2931-C184-4B7A-ABE5-E9C27F3C1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9788" y="4360863"/>
              <a:ext cx="319087" cy="360363"/>
            </a:xfrm>
            <a:custGeom>
              <a:avLst/>
              <a:gdLst>
                <a:gd name="T0" fmla="*/ 39 w 77"/>
                <a:gd name="T1" fmla="*/ 88 h 88"/>
                <a:gd name="T2" fmla="*/ 15 w 77"/>
                <a:gd name="T3" fmla="*/ 79 h 88"/>
                <a:gd name="T4" fmla="*/ 7 w 77"/>
                <a:gd name="T5" fmla="*/ 40 h 88"/>
                <a:gd name="T6" fmla="*/ 31 w 77"/>
                <a:gd name="T7" fmla="*/ 13 h 88"/>
                <a:gd name="T8" fmla="*/ 57 w 77"/>
                <a:gd name="T9" fmla="*/ 6 h 88"/>
                <a:gd name="T10" fmla="*/ 77 w 77"/>
                <a:gd name="T11" fmla="*/ 11 h 88"/>
                <a:gd name="T12" fmla="*/ 77 w 77"/>
                <a:gd name="T13" fmla="*/ 11 h 88"/>
                <a:gd name="T14" fmla="*/ 77 w 77"/>
                <a:gd name="T15" fmla="*/ 14 h 88"/>
                <a:gd name="T16" fmla="*/ 55 w 77"/>
                <a:gd name="T17" fmla="*/ 9 h 88"/>
                <a:gd name="T18" fmla="*/ 34 w 77"/>
                <a:gd name="T19" fmla="*/ 15 h 88"/>
                <a:gd name="T20" fmla="*/ 33 w 77"/>
                <a:gd name="T21" fmla="*/ 15 h 88"/>
                <a:gd name="T22" fmla="*/ 11 w 77"/>
                <a:gd name="T23" fmla="*/ 42 h 88"/>
                <a:gd name="T24" fmla="*/ 17 w 77"/>
                <a:gd name="T25" fmla="*/ 77 h 88"/>
                <a:gd name="T26" fmla="*/ 51 w 77"/>
                <a:gd name="T27" fmla="*/ 81 h 88"/>
                <a:gd name="T28" fmla="*/ 65 w 77"/>
                <a:gd name="T29" fmla="*/ 64 h 88"/>
                <a:gd name="T30" fmla="*/ 66 w 77"/>
                <a:gd name="T31" fmla="*/ 62 h 88"/>
                <a:gd name="T32" fmla="*/ 68 w 77"/>
                <a:gd name="T33" fmla="*/ 64 h 88"/>
                <a:gd name="T34" fmla="*/ 70 w 77"/>
                <a:gd name="T35" fmla="*/ 66 h 88"/>
                <a:gd name="T36" fmla="*/ 77 w 77"/>
                <a:gd name="T37" fmla="*/ 69 h 88"/>
                <a:gd name="T38" fmla="*/ 76 w 77"/>
                <a:gd name="T39" fmla="*/ 72 h 88"/>
                <a:gd name="T40" fmla="*/ 68 w 77"/>
                <a:gd name="T41" fmla="*/ 68 h 88"/>
                <a:gd name="T42" fmla="*/ 67 w 77"/>
                <a:gd name="T43" fmla="*/ 68 h 88"/>
                <a:gd name="T44" fmla="*/ 53 w 77"/>
                <a:gd name="T45" fmla="*/ 84 h 88"/>
                <a:gd name="T46" fmla="*/ 39 w 77"/>
                <a:gd name="T4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88">
                  <a:moveTo>
                    <a:pt x="39" y="88"/>
                  </a:moveTo>
                  <a:cubicBezTo>
                    <a:pt x="31" y="88"/>
                    <a:pt x="22" y="85"/>
                    <a:pt x="15" y="79"/>
                  </a:cubicBezTo>
                  <a:cubicBezTo>
                    <a:pt x="3" y="70"/>
                    <a:pt x="0" y="55"/>
                    <a:pt x="7" y="40"/>
                  </a:cubicBezTo>
                  <a:cubicBezTo>
                    <a:pt x="11" y="31"/>
                    <a:pt x="30" y="14"/>
                    <a:pt x="31" y="13"/>
                  </a:cubicBezTo>
                  <a:cubicBezTo>
                    <a:pt x="32" y="12"/>
                    <a:pt x="43" y="0"/>
                    <a:pt x="57" y="6"/>
                  </a:cubicBezTo>
                  <a:cubicBezTo>
                    <a:pt x="71" y="11"/>
                    <a:pt x="76" y="11"/>
                    <a:pt x="77" y="11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6" y="14"/>
                    <a:pt x="70" y="15"/>
                    <a:pt x="55" y="9"/>
                  </a:cubicBezTo>
                  <a:cubicBezTo>
                    <a:pt x="43" y="4"/>
                    <a:pt x="34" y="15"/>
                    <a:pt x="34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6"/>
                    <a:pt x="14" y="33"/>
                    <a:pt x="11" y="42"/>
                  </a:cubicBezTo>
                  <a:cubicBezTo>
                    <a:pt x="4" y="55"/>
                    <a:pt x="7" y="68"/>
                    <a:pt x="17" y="77"/>
                  </a:cubicBezTo>
                  <a:cubicBezTo>
                    <a:pt x="27" y="85"/>
                    <a:pt x="43" y="87"/>
                    <a:pt x="51" y="81"/>
                  </a:cubicBezTo>
                  <a:cubicBezTo>
                    <a:pt x="56" y="78"/>
                    <a:pt x="60" y="75"/>
                    <a:pt x="65" y="6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5"/>
                    <a:pt x="70" y="66"/>
                    <a:pt x="70" y="66"/>
                  </a:cubicBezTo>
                  <a:cubicBezTo>
                    <a:pt x="71" y="68"/>
                    <a:pt x="72" y="68"/>
                    <a:pt x="77" y="69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0" y="72"/>
                    <a:pt x="69" y="71"/>
                    <a:pt x="68" y="68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3" y="77"/>
                    <a:pt x="59" y="81"/>
                    <a:pt x="53" y="84"/>
                  </a:cubicBezTo>
                  <a:cubicBezTo>
                    <a:pt x="49" y="87"/>
                    <a:pt x="44" y="88"/>
                    <a:pt x="39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59" name="Freeform 396">
              <a:extLst>
                <a:ext uri="{FF2B5EF4-FFF2-40B4-BE49-F238E27FC236}">
                  <a16:creationId xmlns:a16="http://schemas.microsoft.com/office/drawing/2014/main" id="{A11C777C-DD4C-4E34-9136-A32EB6286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4113" y="4360863"/>
              <a:ext cx="320675" cy="360363"/>
            </a:xfrm>
            <a:custGeom>
              <a:avLst/>
              <a:gdLst>
                <a:gd name="T0" fmla="*/ 38 w 77"/>
                <a:gd name="T1" fmla="*/ 88 h 88"/>
                <a:gd name="T2" fmla="*/ 24 w 77"/>
                <a:gd name="T3" fmla="*/ 84 h 88"/>
                <a:gd name="T4" fmla="*/ 10 w 77"/>
                <a:gd name="T5" fmla="*/ 68 h 88"/>
                <a:gd name="T6" fmla="*/ 10 w 77"/>
                <a:gd name="T7" fmla="*/ 68 h 88"/>
                <a:gd name="T8" fmla="*/ 1 w 77"/>
                <a:gd name="T9" fmla="*/ 72 h 88"/>
                <a:gd name="T10" fmla="*/ 0 w 77"/>
                <a:gd name="T11" fmla="*/ 69 h 88"/>
                <a:gd name="T12" fmla="*/ 7 w 77"/>
                <a:gd name="T13" fmla="*/ 66 h 88"/>
                <a:gd name="T14" fmla="*/ 9 w 77"/>
                <a:gd name="T15" fmla="*/ 64 h 88"/>
                <a:gd name="T16" fmla="*/ 11 w 77"/>
                <a:gd name="T17" fmla="*/ 62 h 88"/>
                <a:gd name="T18" fmla="*/ 12 w 77"/>
                <a:gd name="T19" fmla="*/ 64 h 88"/>
                <a:gd name="T20" fmla="*/ 26 w 77"/>
                <a:gd name="T21" fmla="*/ 81 h 88"/>
                <a:gd name="T22" fmla="*/ 60 w 77"/>
                <a:gd name="T23" fmla="*/ 77 h 88"/>
                <a:gd name="T24" fmla="*/ 67 w 77"/>
                <a:gd name="T25" fmla="*/ 42 h 88"/>
                <a:gd name="T26" fmla="*/ 44 w 77"/>
                <a:gd name="T27" fmla="*/ 15 h 88"/>
                <a:gd name="T28" fmla="*/ 44 w 77"/>
                <a:gd name="T29" fmla="*/ 15 h 88"/>
                <a:gd name="T30" fmla="*/ 22 w 77"/>
                <a:gd name="T31" fmla="*/ 9 h 88"/>
                <a:gd name="T32" fmla="*/ 1 w 77"/>
                <a:gd name="T33" fmla="*/ 14 h 88"/>
                <a:gd name="T34" fmla="*/ 1 w 77"/>
                <a:gd name="T35" fmla="*/ 11 h 88"/>
                <a:gd name="T36" fmla="*/ 1 w 77"/>
                <a:gd name="T37" fmla="*/ 11 h 88"/>
                <a:gd name="T38" fmla="*/ 21 w 77"/>
                <a:gd name="T39" fmla="*/ 6 h 88"/>
                <a:gd name="T40" fmla="*/ 46 w 77"/>
                <a:gd name="T41" fmla="*/ 13 h 88"/>
                <a:gd name="T42" fmla="*/ 70 w 77"/>
                <a:gd name="T43" fmla="*/ 40 h 88"/>
                <a:gd name="T44" fmla="*/ 62 w 77"/>
                <a:gd name="T45" fmla="*/ 79 h 88"/>
                <a:gd name="T46" fmla="*/ 38 w 77"/>
                <a:gd name="T4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88">
                  <a:moveTo>
                    <a:pt x="38" y="88"/>
                  </a:moveTo>
                  <a:cubicBezTo>
                    <a:pt x="33" y="88"/>
                    <a:pt x="28" y="87"/>
                    <a:pt x="24" y="84"/>
                  </a:cubicBezTo>
                  <a:cubicBezTo>
                    <a:pt x="19" y="81"/>
                    <a:pt x="15" y="77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71"/>
                    <a:pt x="7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5" y="68"/>
                    <a:pt x="6" y="68"/>
                    <a:pt x="7" y="66"/>
                  </a:cubicBezTo>
                  <a:cubicBezTo>
                    <a:pt x="7" y="66"/>
                    <a:pt x="8" y="65"/>
                    <a:pt x="9" y="64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7" y="75"/>
                    <a:pt x="22" y="78"/>
                    <a:pt x="26" y="81"/>
                  </a:cubicBezTo>
                  <a:cubicBezTo>
                    <a:pt x="35" y="87"/>
                    <a:pt x="50" y="85"/>
                    <a:pt x="60" y="77"/>
                  </a:cubicBezTo>
                  <a:cubicBezTo>
                    <a:pt x="70" y="68"/>
                    <a:pt x="73" y="55"/>
                    <a:pt x="67" y="42"/>
                  </a:cubicBezTo>
                  <a:cubicBezTo>
                    <a:pt x="63" y="33"/>
                    <a:pt x="44" y="16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34" y="4"/>
                    <a:pt x="22" y="9"/>
                  </a:cubicBezTo>
                  <a:cubicBezTo>
                    <a:pt x="7" y="15"/>
                    <a:pt x="1" y="14"/>
                    <a:pt x="1" y="14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6" y="11"/>
                    <a:pt x="21" y="6"/>
                  </a:cubicBezTo>
                  <a:cubicBezTo>
                    <a:pt x="34" y="0"/>
                    <a:pt x="45" y="12"/>
                    <a:pt x="46" y="13"/>
                  </a:cubicBezTo>
                  <a:cubicBezTo>
                    <a:pt x="48" y="14"/>
                    <a:pt x="66" y="31"/>
                    <a:pt x="70" y="40"/>
                  </a:cubicBezTo>
                  <a:cubicBezTo>
                    <a:pt x="77" y="55"/>
                    <a:pt x="74" y="70"/>
                    <a:pt x="62" y="79"/>
                  </a:cubicBezTo>
                  <a:cubicBezTo>
                    <a:pt x="55" y="85"/>
                    <a:pt x="46" y="88"/>
                    <a:pt x="38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0" name="Freeform 397">
              <a:extLst>
                <a:ext uri="{FF2B5EF4-FFF2-40B4-BE49-F238E27FC236}">
                  <a16:creationId xmlns:a16="http://schemas.microsoft.com/office/drawing/2014/main" id="{CDD0E857-E949-4D98-BD2B-78ECB02ED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4495800"/>
              <a:ext cx="115887" cy="130175"/>
            </a:xfrm>
            <a:custGeom>
              <a:avLst/>
              <a:gdLst>
                <a:gd name="T0" fmla="*/ 1 w 28"/>
                <a:gd name="T1" fmla="*/ 32 h 32"/>
                <a:gd name="T2" fmla="*/ 8 w 28"/>
                <a:gd name="T3" fmla="*/ 7 h 32"/>
                <a:gd name="T4" fmla="*/ 28 w 28"/>
                <a:gd name="T5" fmla="*/ 3 h 32"/>
                <a:gd name="T6" fmla="*/ 27 w 28"/>
                <a:gd name="T7" fmla="*/ 7 h 32"/>
                <a:gd name="T8" fmla="*/ 28 w 28"/>
                <a:gd name="T9" fmla="*/ 5 h 32"/>
                <a:gd name="T10" fmla="*/ 27 w 28"/>
                <a:gd name="T11" fmla="*/ 7 h 32"/>
                <a:gd name="T12" fmla="*/ 10 w 28"/>
                <a:gd name="T13" fmla="*/ 10 h 32"/>
                <a:gd name="T14" fmla="*/ 5 w 28"/>
                <a:gd name="T15" fmla="*/ 32 h 32"/>
                <a:gd name="T16" fmla="*/ 1 w 28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2">
                  <a:moveTo>
                    <a:pt x="1" y="32"/>
                  </a:moveTo>
                  <a:cubicBezTo>
                    <a:pt x="0" y="20"/>
                    <a:pt x="2" y="12"/>
                    <a:pt x="8" y="7"/>
                  </a:cubicBezTo>
                  <a:cubicBezTo>
                    <a:pt x="16" y="0"/>
                    <a:pt x="28" y="3"/>
                    <a:pt x="28" y="3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17" y="4"/>
                    <a:pt x="10" y="10"/>
                  </a:cubicBezTo>
                  <a:cubicBezTo>
                    <a:pt x="5" y="14"/>
                    <a:pt x="4" y="21"/>
                    <a:pt x="5" y="32"/>
                  </a:cubicBezTo>
                  <a:lnTo>
                    <a:pt x="1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1" name="Freeform 398">
              <a:extLst>
                <a:ext uri="{FF2B5EF4-FFF2-40B4-BE49-F238E27FC236}">
                  <a16:creationId xmlns:a16="http://schemas.microsoft.com/office/drawing/2014/main" id="{D32C191D-0955-4ACE-8970-ACD90A21C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6188" y="4495800"/>
              <a:ext cx="115887" cy="130175"/>
            </a:xfrm>
            <a:custGeom>
              <a:avLst/>
              <a:gdLst>
                <a:gd name="T0" fmla="*/ 2 w 28"/>
                <a:gd name="T1" fmla="*/ 32 h 32"/>
                <a:gd name="T2" fmla="*/ 8 w 28"/>
                <a:gd name="T3" fmla="*/ 7 h 32"/>
                <a:gd name="T4" fmla="*/ 28 w 28"/>
                <a:gd name="T5" fmla="*/ 3 h 32"/>
                <a:gd name="T6" fmla="*/ 28 w 28"/>
                <a:gd name="T7" fmla="*/ 7 h 32"/>
                <a:gd name="T8" fmla="*/ 28 w 28"/>
                <a:gd name="T9" fmla="*/ 5 h 32"/>
                <a:gd name="T10" fmla="*/ 28 w 28"/>
                <a:gd name="T11" fmla="*/ 7 h 32"/>
                <a:gd name="T12" fmla="*/ 11 w 28"/>
                <a:gd name="T13" fmla="*/ 10 h 32"/>
                <a:gd name="T14" fmla="*/ 5 w 28"/>
                <a:gd name="T15" fmla="*/ 32 h 32"/>
                <a:gd name="T16" fmla="*/ 2 w 28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2">
                  <a:moveTo>
                    <a:pt x="2" y="32"/>
                  </a:moveTo>
                  <a:cubicBezTo>
                    <a:pt x="0" y="20"/>
                    <a:pt x="3" y="12"/>
                    <a:pt x="8" y="7"/>
                  </a:cubicBezTo>
                  <a:cubicBezTo>
                    <a:pt x="16" y="0"/>
                    <a:pt x="28" y="3"/>
                    <a:pt x="28" y="3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17" y="4"/>
                    <a:pt x="11" y="10"/>
                  </a:cubicBezTo>
                  <a:cubicBezTo>
                    <a:pt x="6" y="14"/>
                    <a:pt x="4" y="21"/>
                    <a:pt x="5" y="32"/>
                  </a:cubicBezTo>
                  <a:lnTo>
                    <a:pt x="2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2" name="Freeform 399">
              <a:extLst>
                <a:ext uri="{FF2B5EF4-FFF2-40B4-BE49-F238E27FC236}">
                  <a16:creationId xmlns:a16="http://schemas.microsoft.com/office/drawing/2014/main" id="{D22D465F-EC02-4CBB-8E22-DA4C8EDA6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4332288"/>
              <a:ext cx="125412" cy="65088"/>
            </a:xfrm>
            <a:custGeom>
              <a:avLst/>
              <a:gdLst>
                <a:gd name="T0" fmla="*/ 10 w 30"/>
                <a:gd name="T1" fmla="*/ 7 h 16"/>
                <a:gd name="T2" fmla="*/ 24 w 30"/>
                <a:gd name="T3" fmla="*/ 10 h 16"/>
                <a:gd name="T4" fmla="*/ 19 w 30"/>
                <a:gd name="T5" fmla="*/ 4 h 16"/>
                <a:gd name="T6" fmla="*/ 10 w 30"/>
                <a:gd name="T7" fmla="*/ 7 h 16"/>
                <a:gd name="T8" fmla="*/ 30 w 30"/>
                <a:gd name="T9" fmla="*/ 16 h 16"/>
                <a:gd name="T10" fmla="*/ 27 w 30"/>
                <a:gd name="T11" fmla="*/ 14 h 16"/>
                <a:gd name="T12" fmla="*/ 5 w 30"/>
                <a:gd name="T13" fmla="*/ 11 h 16"/>
                <a:gd name="T14" fmla="*/ 0 w 30"/>
                <a:gd name="T15" fmla="*/ 11 h 16"/>
                <a:gd name="T16" fmla="*/ 4 w 30"/>
                <a:gd name="T17" fmla="*/ 8 h 16"/>
                <a:gd name="T18" fmla="*/ 20 w 30"/>
                <a:gd name="T19" fmla="*/ 1 h 16"/>
                <a:gd name="T20" fmla="*/ 29 w 30"/>
                <a:gd name="T21" fmla="*/ 12 h 16"/>
                <a:gd name="T22" fmla="*/ 30 w 30"/>
                <a:gd name="T2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16">
                  <a:moveTo>
                    <a:pt x="10" y="7"/>
                  </a:moveTo>
                  <a:cubicBezTo>
                    <a:pt x="14" y="7"/>
                    <a:pt x="19" y="8"/>
                    <a:pt x="24" y="10"/>
                  </a:cubicBezTo>
                  <a:cubicBezTo>
                    <a:pt x="23" y="7"/>
                    <a:pt x="22" y="5"/>
                    <a:pt x="19" y="4"/>
                  </a:cubicBezTo>
                  <a:cubicBezTo>
                    <a:pt x="17" y="4"/>
                    <a:pt x="14" y="5"/>
                    <a:pt x="10" y="7"/>
                  </a:cubicBezTo>
                  <a:moveTo>
                    <a:pt x="30" y="16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17" y="10"/>
                    <a:pt x="5" y="11"/>
                    <a:pt x="5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1" y="2"/>
                    <a:pt x="16" y="0"/>
                    <a:pt x="20" y="1"/>
                  </a:cubicBezTo>
                  <a:cubicBezTo>
                    <a:pt x="25" y="2"/>
                    <a:pt x="28" y="7"/>
                    <a:pt x="29" y="12"/>
                  </a:cubicBezTo>
                  <a:lnTo>
                    <a:pt x="3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3" name="Freeform 400">
              <a:extLst>
                <a:ext uri="{FF2B5EF4-FFF2-40B4-BE49-F238E27FC236}">
                  <a16:creationId xmlns:a16="http://schemas.microsoft.com/office/drawing/2014/main" id="{ED8B4859-EBDB-4A42-A9AE-D5135A6C8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4275" y="4332288"/>
              <a:ext cx="123825" cy="65088"/>
            </a:xfrm>
            <a:custGeom>
              <a:avLst/>
              <a:gdLst>
                <a:gd name="T0" fmla="*/ 12 w 30"/>
                <a:gd name="T1" fmla="*/ 4 h 16"/>
                <a:gd name="T2" fmla="*/ 11 w 30"/>
                <a:gd name="T3" fmla="*/ 4 h 16"/>
                <a:gd name="T4" fmla="*/ 6 w 30"/>
                <a:gd name="T5" fmla="*/ 10 h 16"/>
                <a:gd name="T6" fmla="*/ 20 w 30"/>
                <a:gd name="T7" fmla="*/ 7 h 16"/>
                <a:gd name="T8" fmla="*/ 12 w 30"/>
                <a:gd name="T9" fmla="*/ 4 h 16"/>
                <a:gd name="T10" fmla="*/ 0 w 30"/>
                <a:gd name="T11" fmla="*/ 16 h 16"/>
                <a:gd name="T12" fmla="*/ 1 w 30"/>
                <a:gd name="T13" fmla="*/ 12 h 16"/>
                <a:gd name="T14" fmla="*/ 10 w 30"/>
                <a:gd name="T15" fmla="*/ 1 h 16"/>
                <a:gd name="T16" fmla="*/ 26 w 30"/>
                <a:gd name="T17" fmla="*/ 8 h 16"/>
                <a:gd name="T18" fmla="*/ 30 w 30"/>
                <a:gd name="T19" fmla="*/ 11 h 16"/>
                <a:gd name="T20" fmla="*/ 25 w 30"/>
                <a:gd name="T21" fmla="*/ 11 h 16"/>
                <a:gd name="T22" fmla="*/ 3 w 30"/>
                <a:gd name="T23" fmla="*/ 14 h 16"/>
                <a:gd name="T24" fmla="*/ 0 w 30"/>
                <a:gd name="T2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6">
                  <a:moveTo>
                    <a:pt x="12" y="4"/>
                  </a:moveTo>
                  <a:cubicBezTo>
                    <a:pt x="12" y="4"/>
                    <a:pt x="11" y="4"/>
                    <a:pt x="11" y="4"/>
                  </a:cubicBezTo>
                  <a:cubicBezTo>
                    <a:pt x="8" y="5"/>
                    <a:pt x="7" y="7"/>
                    <a:pt x="6" y="10"/>
                  </a:cubicBezTo>
                  <a:cubicBezTo>
                    <a:pt x="11" y="8"/>
                    <a:pt x="16" y="7"/>
                    <a:pt x="20" y="7"/>
                  </a:cubicBezTo>
                  <a:cubicBezTo>
                    <a:pt x="17" y="5"/>
                    <a:pt x="14" y="4"/>
                    <a:pt x="12" y="4"/>
                  </a:cubicBezTo>
                  <a:moveTo>
                    <a:pt x="0" y="16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3" y="7"/>
                    <a:pt x="5" y="2"/>
                    <a:pt x="10" y="1"/>
                  </a:cubicBezTo>
                  <a:cubicBezTo>
                    <a:pt x="14" y="0"/>
                    <a:pt x="20" y="2"/>
                    <a:pt x="26" y="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13" y="10"/>
                    <a:pt x="3" y="14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77" name="Group 45476">
            <a:extLst>
              <a:ext uri="{FF2B5EF4-FFF2-40B4-BE49-F238E27FC236}">
                <a16:creationId xmlns:a16="http://schemas.microsoft.com/office/drawing/2014/main" id="{44DFF664-D7F8-4C86-AA46-249991A9F034}"/>
              </a:ext>
            </a:extLst>
          </p:cNvPr>
          <p:cNvGrpSpPr/>
          <p:nvPr/>
        </p:nvGrpSpPr>
        <p:grpSpPr>
          <a:xfrm>
            <a:off x="8132763" y="4127501"/>
            <a:ext cx="768351" cy="776288"/>
            <a:chOff x="8132763" y="4127501"/>
            <a:chExt cx="768351" cy="776288"/>
          </a:xfrm>
        </p:grpSpPr>
        <p:sp>
          <p:nvSpPr>
            <p:cNvPr id="45466" name="AutoShape 402">
              <a:extLst>
                <a:ext uri="{FF2B5EF4-FFF2-40B4-BE49-F238E27FC236}">
                  <a16:creationId xmlns:a16="http://schemas.microsoft.com/office/drawing/2014/main" id="{4CF81855-6DB7-4922-ABA9-CD7AC9003C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32763" y="4132263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7" name="Freeform 404">
              <a:extLst>
                <a:ext uri="{FF2B5EF4-FFF2-40B4-BE49-F238E27FC236}">
                  <a16:creationId xmlns:a16="http://schemas.microsoft.com/office/drawing/2014/main" id="{9B715D85-207C-4F1F-A380-251A7B72D4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7526" y="4127501"/>
              <a:ext cx="7635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8" name="Freeform 405">
              <a:extLst>
                <a:ext uri="{FF2B5EF4-FFF2-40B4-BE49-F238E27FC236}">
                  <a16:creationId xmlns:a16="http://schemas.microsoft.com/office/drawing/2014/main" id="{4263B0F7-5E67-4AF5-9E4C-E42F641C78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5001" y="4464051"/>
              <a:ext cx="204788" cy="207963"/>
            </a:xfrm>
            <a:custGeom>
              <a:avLst/>
              <a:gdLst>
                <a:gd name="T0" fmla="*/ 26 w 52"/>
                <a:gd name="T1" fmla="*/ 4 h 52"/>
                <a:gd name="T2" fmla="*/ 4 w 52"/>
                <a:gd name="T3" fmla="*/ 26 h 52"/>
                <a:gd name="T4" fmla="*/ 26 w 52"/>
                <a:gd name="T5" fmla="*/ 49 h 52"/>
                <a:gd name="T6" fmla="*/ 49 w 52"/>
                <a:gd name="T7" fmla="*/ 26 h 52"/>
                <a:gd name="T8" fmla="*/ 26 w 52"/>
                <a:gd name="T9" fmla="*/ 4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4"/>
                  </a:moveTo>
                  <a:cubicBezTo>
                    <a:pt x="14" y="4"/>
                    <a:pt x="4" y="14"/>
                    <a:pt x="4" y="26"/>
                  </a:cubicBezTo>
                  <a:cubicBezTo>
                    <a:pt x="4" y="39"/>
                    <a:pt x="14" y="49"/>
                    <a:pt x="26" y="49"/>
                  </a:cubicBezTo>
                  <a:cubicBezTo>
                    <a:pt x="39" y="49"/>
                    <a:pt x="49" y="39"/>
                    <a:pt x="49" y="26"/>
                  </a:cubicBezTo>
                  <a:cubicBezTo>
                    <a:pt x="49" y="14"/>
                    <a:pt x="39" y="4"/>
                    <a:pt x="26" y="4"/>
                  </a:cubicBezTo>
                  <a:moveTo>
                    <a:pt x="26" y="52"/>
                  </a:move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41"/>
                    <a:pt x="41" y="52"/>
                    <a:pt x="26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69" name="Freeform 406">
              <a:extLst>
                <a:ext uri="{FF2B5EF4-FFF2-40B4-BE49-F238E27FC236}">
                  <a16:creationId xmlns:a16="http://schemas.microsoft.com/office/drawing/2014/main" id="{A15B4B0D-6418-4DCD-94D5-D82513584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6151" y="4464051"/>
              <a:ext cx="204788" cy="207963"/>
            </a:xfrm>
            <a:custGeom>
              <a:avLst/>
              <a:gdLst>
                <a:gd name="T0" fmla="*/ 26 w 52"/>
                <a:gd name="T1" fmla="*/ 4 h 52"/>
                <a:gd name="T2" fmla="*/ 4 w 52"/>
                <a:gd name="T3" fmla="*/ 26 h 52"/>
                <a:gd name="T4" fmla="*/ 26 w 52"/>
                <a:gd name="T5" fmla="*/ 49 h 52"/>
                <a:gd name="T6" fmla="*/ 49 w 52"/>
                <a:gd name="T7" fmla="*/ 26 h 52"/>
                <a:gd name="T8" fmla="*/ 26 w 52"/>
                <a:gd name="T9" fmla="*/ 4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4"/>
                  </a:moveTo>
                  <a:cubicBezTo>
                    <a:pt x="14" y="4"/>
                    <a:pt x="4" y="14"/>
                    <a:pt x="4" y="26"/>
                  </a:cubicBezTo>
                  <a:cubicBezTo>
                    <a:pt x="4" y="39"/>
                    <a:pt x="14" y="49"/>
                    <a:pt x="26" y="49"/>
                  </a:cubicBezTo>
                  <a:cubicBezTo>
                    <a:pt x="39" y="49"/>
                    <a:pt x="49" y="39"/>
                    <a:pt x="49" y="26"/>
                  </a:cubicBezTo>
                  <a:cubicBezTo>
                    <a:pt x="49" y="14"/>
                    <a:pt x="39" y="4"/>
                    <a:pt x="26" y="4"/>
                  </a:cubicBezTo>
                  <a:moveTo>
                    <a:pt x="26" y="52"/>
                  </a:move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41"/>
                    <a:pt x="41" y="52"/>
                    <a:pt x="26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0" name="Freeform 407">
              <a:extLst>
                <a:ext uri="{FF2B5EF4-FFF2-40B4-BE49-F238E27FC236}">
                  <a16:creationId xmlns:a16="http://schemas.microsoft.com/office/drawing/2014/main" id="{13CCED6E-9D74-4266-97F5-CBB9D196F1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5663" y="4527551"/>
              <a:ext cx="74613" cy="80963"/>
            </a:xfrm>
            <a:custGeom>
              <a:avLst/>
              <a:gdLst>
                <a:gd name="T0" fmla="*/ 10 w 19"/>
                <a:gd name="T1" fmla="*/ 4 h 20"/>
                <a:gd name="T2" fmla="*/ 3 w 19"/>
                <a:gd name="T3" fmla="*/ 10 h 20"/>
                <a:gd name="T4" fmla="*/ 10 w 19"/>
                <a:gd name="T5" fmla="*/ 17 h 20"/>
                <a:gd name="T6" fmla="*/ 16 w 19"/>
                <a:gd name="T7" fmla="*/ 10 h 20"/>
                <a:gd name="T8" fmla="*/ 10 w 19"/>
                <a:gd name="T9" fmla="*/ 4 h 20"/>
                <a:gd name="T10" fmla="*/ 10 w 19"/>
                <a:gd name="T11" fmla="*/ 20 h 20"/>
                <a:gd name="T12" fmla="*/ 0 w 19"/>
                <a:gd name="T13" fmla="*/ 10 h 20"/>
                <a:gd name="T14" fmla="*/ 10 w 19"/>
                <a:gd name="T15" fmla="*/ 0 h 20"/>
                <a:gd name="T16" fmla="*/ 19 w 19"/>
                <a:gd name="T17" fmla="*/ 10 h 20"/>
                <a:gd name="T18" fmla="*/ 10 w 19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0">
                  <a:moveTo>
                    <a:pt x="10" y="4"/>
                  </a:moveTo>
                  <a:cubicBezTo>
                    <a:pt x="6" y="4"/>
                    <a:pt x="3" y="7"/>
                    <a:pt x="3" y="10"/>
                  </a:cubicBezTo>
                  <a:cubicBezTo>
                    <a:pt x="3" y="14"/>
                    <a:pt x="6" y="17"/>
                    <a:pt x="10" y="17"/>
                  </a:cubicBezTo>
                  <a:cubicBezTo>
                    <a:pt x="13" y="17"/>
                    <a:pt x="16" y="14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5" y="0"/>
                    <a:pt x="19" y="5"/>
                    <a:pt x="19" y="10"/>
                  </a:cubicBezTo>
                  <a:cubicBezTo>
                    <a:pt x="19" y="16"/>
                    <a:pt x="15" y="20"/>
                    <a:pt x="10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1" name="Freeform 408">
              <a:extLst>
                <a:ext uri="{FF2B5EF4-FFF2-40B4-BE49-F238E27FC236}">
                  <a16:creationId xmlns:a16="http://schemas.microsoft.com/office/drawing/2014/main" id="{1ACF30B3-32DB-4255-B1FE-DB1733623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2138" y="4352926"/>
              <a:ext cx="303213" cy="350838"/>
            </a:xfrm>
            <a:custGeom>
              <a:avLst/>
              <a:gdLst>
                <a:gd name="T0" fmla="*/ 39 w 77"/>
                <a:gd name="T1" fmla="*/ 88 h 88"/>
                <a:gd name="T2" fmla="*/ 15 w 77"/>
                <a:gd name="T3" fmla="*/ 79 h 88"/>
                <a:gd name="T4" fmla="*/ 7 w 77"/>
                <a:gd name="T5" fmla="*/ 40 h 88"/>
                <a:gd name="T6" fmla="*/ 31 w 77"/>
                <a:gd name="T7" fmla="*/ 13 h 88"/>
                <a:gd name="T8" fmla="*/ 57 w 77"/>
                <a:gd name="T9" fmla="*/ 6 h 88"/>
                <a:gd name="T10" fmla="*/ 77 w 77"/>
                <a:gd name="T11" fmla="*/ 11 h 88"/>
                <a:gd name="T12" fmla="*/ 77 w 77"/>
                <a:gd name="T13" fmla="*/ 11 h 88"/>
                <a:gd name="T14" fmla="*/ 77 w 77"/>
                <a:gd name="T15" fmla="*/ 14 h 88"/>
                <a:gd name="T16" fmla="*/ 55 w 77"/>
                <a:gd name="T17" fmla="*/ 9 h 88"/>
                <a:gd name="T18" fmla="*/ 34 w 77"/>
                <a:gd name="T19" fmla="*/ 15 h 88"/>
                <a:gd name="T20" fmla="*/ 33 w 77"/>
                <a:gd name="T21" fmla="*/ 15 h 88"/>
                <a:gd name="T22" fmla="*/ 11 w 77"/>
                <a:gd name="T23" fmla="*/ 42 h 88"/>
                <a:gd name="T24" fmla="*/ 17 w 77"/>
                <a:gd name="T25" fmla="*/ 77 h 88"/>
                <a:gd name="T26" fmla="*/ 51 w 77"/>
                <a:gd name="T27" fmla="*/ 81 h 88"/>
                <a:gd name="T28" fmla="*/ 65 w 77"/>
                <a:gd name="T29" fmla="*/ 64 h 88"/>
                <a:gd name="T30" fmla="*/ 66 w 77"/>
                <a:gd name="T31" fmla="*/ 62 h 88"/>
                <a:gd name="T32" fmla="*/ 68 w 77"/>
                <a:gd name="T33" fmla="*/ 64 h 88"/>
                <a:gd name="T34" fmla="*/ 70 w 77"/>
                <a:gd name="T35" fmla="*/ 66 h 88"/>
                <a:gd name="T36" fmla="*/ 77 w 77"/>
                <a:gd name="T37" fmla="*/ 69 h 88"/>
                <a:gd name="T38" fmla="*/ 76 w 77"/>
                <a:gd name="T39" fmla="*/ 72 h 88"/>
                <a:gd name="T40" fmla="*/ 68 w 77"/>
                <a:gd name="T41" fmla="*/ 68 h 88"/>
                <a:gd name="T42" fmla="*/ 67 w 77"/>
                <a:gd name="T43" fmla="*/ 68 h 88"/>
                <a:gd name="T44" fmla="*/ 53 w 77"/>
                <a:gd name="T45" fmla="*/ 84 h 88"/>
                <a:gd name="T46" fmla="*/ 39 w 77"/>
                <a:gd name="T4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88">
                  <a:moveTo>
                    <a:pt x="39" y="88"/>
                  </a:moveTo>
                  <a:cubicBezTo>
                    <a:pt x="31" y="88"/>
                    <a:pt x="22" y="85"/>
                    <a:pt x="15" y="79"/>
                  </a:cubicBezTo>
                  <a:cubicBezTo>
                    <a:pt x="3" y="70"/>
                    <a:pt x="0" y="55"/>
                    <a:pt x="7" y="40"/>
                  </a:cubicBezTo>
                  <a:cubicBezTo>
                    <a:pt x="11" y="31"/>
                    <a:pt x="30" y="14"/>
                    <a:pt x="31" y="13"/>
                  </a:cubicBezTo>
                  <a:cubicBezTo>
                    <a:pt x="32" y="12"/>
                    <a:pt x="43" y="0"/>
                    <a:pt x="57" y="6"/>
                  </a:cubicBezTo>
                  <a:cubicBezTo>
                    <a:pt x="71" y="11"/>
                    <a:pt x="76" y="11"/>
                    <a:pt x="77" y="11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6" y="14"/>
                    <a:pt x="70" y="15"/>
                    <a:pt x="55" y="9"/>
                  </a:cubicBezTo>
                  <a:cubicBezTo>
                    <a:pt x="43" y="4"/>
                    <a:pt x="34" y="15"/>
                    <a:pt x="34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6"/>
                    <a:pt x="14" y="33"/>
                    <a:pt x="11" y="42"/>
                  </a:cubicBezTo>
                  <a:cubicBezTo>
                    <a:pt x="4" y="55"/>
                    <a:pt x="7" y="68"/>
                    <a:pt x="17" y="77"/>
                  </a:cubicBezTo>
                  <a:cubicBezTo>
                    <a:pt x="27" y="85"/>
                    <a:pt x="43" y="87"/>
                    <a:pt x="51" y="81"/>
                  </a:cubicBezTo>
                  <a:cubicBezTo>
                    <a:pt x="56" y="78"/>
                    <a:pt x="60" y="75"/>
                    <a:pt x="65" y="6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5"/>
                    <a:pt x="70" y="66"/>
                    <a:pt x="70" y="66"/>
                  </a:cubicBezTo>
                  <a:cubicBezTo>
                    <a:pt x="71" y="68"/>
                    <a:pt x="72" y="68"/>
                    <a:pt x="77" y="69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0" y="72"/>
                    <a:pt x="69" y="71"/>
                    <a:pt x="68" y="68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3" y="77"/>
                    <a:pt x="59" y="81"/>
                    <a:pt x="53" y="84"/>
                  </a:cubicBezTo>
                  <a:cubicBezTo>
                    <a:pt x="49" y="87"/>
                    <a:pt x="44" y="88"/>
                    <a:pt x="39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2" name="Freeform 409">
              <a:extLst>
                <a:ext uri="{FF2B5EF4-FFF2-40B4-BE49-F238E27FC236}">
                  <a16:creationId xmlns:a16="http://schemas.microsoft.com/office/drawing/2014/main" id="{B5DDEEEC-ACEF-476C-B0D0-E3D36756A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0588" y="4352926"/>
              <a:ext cx="303213" cy="350838"/>
            </a:xfrm>
            <a:custGeom>
              <a:avLst/>
              <a:gdLst>
                <a:gd name="T0" fmla="*/ 38 w 77"/>
                <a:gd name="T1" fmla="*/ 88 h 88"/>
                <a:gd name="T2" fmla="*/ 24 w 77"/>
                <a:gd name="T3" fmla="*/ 84 h 88"/>
                <a:gd name="T4" fmla="*/ 10 w 77"/>
                <a:gd name="T5" fmla="*/ 68 h 88"/>
                <a:gd name="T6" fmla="*/ 10 w 77"/>
                <a:gd name="T7" fmla="*/ 68 h 88"/>
                <a:gd name="T8" fmla="*/ 1 w 77"/>
                <a:gd name="T9" fmla="*/ 72 h 88"/>
                <a:gd name="T10" fmla="*/ 0 w 77"/>
                <a:gd name="T11" fmla="*/ 69 h 88"/>
                <a:gd name="T12" fmla="*/ 7 w 77"/>
                <a:gd name="T13" fmla="*/ 66 h 88"/>
                <a:gd name="T14" fmla="*/ 9 w 77"/>
                <a:gd name="T15" fmla="*/ 64 h 88"/>
                <a:gd name="T16" fmla="*/ 11 w 77"/>
                <a:gd name="T17" fmla="*/ 62 h 88"/>
                <a:gd name="T18" fmla="*/ 12 w 77"/>
                <a:gd name="T19" fmla="*/ 64 h 88"/>
                <a:gd name="T20" fmla="*/ 26 w 77"/>
                <a:gd name="T21" fmla="*/ 81 h 88"/>
                <a:gd name="T22" fmla="*/ 60 w 77"/>
                <a:gd name="T23" fmla="*/ 77 h 88"/>
                <a:gd name="T24" fmla="*/ 67 w 77"/>
                <a:gd name="T25" fmla="*/ 42 h 88"/>
                <a:gd name="T26" fmla="*/ 44 w 77"/>
                <a:gd name="T27" fmla="*/ 15 h 88"/>
                <a:gd name="T28" fmla="*/ 44 w 77"/>
                <a:gd name="T29" fmla="*/ 15 h 88"/>
                <a:gd name="T30" fmla="*/ 22 w 77"/>
                <a:gd name="T31" fmla="*/ 9 h 88"/>
                <a:gd name="T32" fmla="*/ 1 w 77"/>
                <a:gd name="T33" fmla="*/ 14 h 88"/>
                <a:gd name="T34" fmla="*/ 1 w 77"/>
                <a:gd name="T35" fmla="*/ 11 h 88"/>
                <a:gd name="T36" fmla="*/ 1 w 77"/>
                <a:gd name="T37" fmla="*/ 11 h 88"/>
                <a:gd name="T38" fmla="*/ 21 w 77"/>
                <a:gd name="T39" fmla="*/ 6 h 88"/>
                <a:gd name="T40" fmla="*/ 46 w 77"/>
                <a:gd name="T41" fmla="*/ 13 h 88"/>
                <a:gd name="T42" fmla="*/ 70 w 77"/>
                <a:gd name="T43" fmla="*/ 40 h 88"/>
                <a:gd name="T44" fmla="*/ 62 w 77"/>
                <a:gd name="T45" fmla="*/ 79 h 88"/>
                <a:gd name="T46" fmla="*/ 38 w 77"/>
                <a:gd name="T4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88">
                  <a:moveTo>
                    <a:pt x="38" y="88"/>
                  </a:moveTo>
                  <a:cubicBezTo>
                    <a:pt x="33" y="88"/>
                    <a:pt x="28" y="87"/>
                    <a:pt x="24" y="84"/>
                  </a:cubicBezTo>
                  <a:cubicBezTo>
                    <a:pt x="19" y="81"/>
                    <a:pt x="15" y="77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71"/>
                    <a:pt x="7" y="72"/>
                    <a:pt x="1" y="7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5" y="68"/>
                    <a:pt x="6" y="68"/>
                    <a:pt x="7" y="66"/>
                  </a:cubicBezTo>
                  <a:cubicBezTo>
                    <a:pt x="7" y="66"/>
                    <a:pt x="8" y="65"/>
                    <a:pt x="9" y="64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7" y="75"/>
                    <a:pt x="22" y="78"/>
                    <a:pt x="26" y="81"/>
                  </a:cubicBezTo>
                  <a:cubicBezTo>
                    <a:pt x="35" y="87"/>
                    <a:pt x="50" y="85"/>
                    <a:pt x="60" y="77"/>
                  </a:cubicBezTo>
                  <a:cubicBezTo>
                    <a:pt x="70" y="68"/>
                    <a:pt x="73" y="55"/>
                    <a:pt x="67" y="42"/>
                  </a:cubicBezTo>
                  <a:cubicBezTo>
                    <a:pt x="63" y="33"/>
                    <a:pt x="44" y="16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34" y="4"/>
                    <a:pt x="22" y="9"/>
                  </a:cubicBezTo>
                  <a:cubicBezTo>
                    <a:pt x="7" y="15"/>
                    <a:pt x="1" y="14"/>
                    <a:pt x="1" y="14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6" y="11"/>
                    <a:pt x="21" y="6"/>
                  </a:cubicBezTo>
                  <a:cubicBezTo>
                    <a:pt x="34" y="0"/>
                    <a:pt x="45" y="12"/>
                    <a:pt x="46" y="13"/>
                  </a:cubicBezTo>
                  <a:cubicBezTo>
                    <a:pt x="48" y="14"/>
                    <a:pt x="66" y="31"/>
                    <a:pt x="70" y="40"/>
                  </a:cubicBezTo>
                  <a:cubicBezTo>
                    <a:pt x="77" y="55"/>
                    <a:pt x="74" y="70"/>
                    <a:pt x="62" y="79"/>
                  </a:cubicBezTo>
                  <a:cubicBezTo>
                    <a:pt x="55" y="85"/>
                    <a:pt x="46" y="88"/>
                    <a:pt x="38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3" name="Freeform 410">
              <a:extLst>
                <a:ext uri="{FF2B5EF4-FFF2-40B4-BE49-F238E27FC236}">
                  <a16:creationId xmlns:a16="http://schemas.microsoft.com/office/drawing/2014/main" id="{67C59846-0D9D-4DC8-8272-42EB1B78C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8813" y="4484688"/>
              <a:ext cx="109538" cy="127000"/>
            </a:xfrm>
            <a:custGeom>
              <a:avLst/>
              <a:gdLst>
                <a:gd name="T0" fmla="*/ 1 w 28"/>
                <a:gd name="T1" fmla="*/ 32 h 32"/>
                <a:gd name="T2" fmla="*/ 8 w 28"/>
                <a:gd name="T3" fmla="*/ 7 h 32"/>
                <a:gd name="T4" fmla="*/ 28 w 28"/>
                <a:gd name="T5" fmla="*/ 3 h 32"/>
                <a:gd name="T6" fmla="*/ 27 w 28"/>
                <a:gd name="T7" fmla="*/ 7 h 32"/>
                <a:gd name="T8" fmla="*/ 28 w 28"/>
                <a:gd name="T9" fmla="*/ 5 h 32"/>
                <a:gd name="T10" fmla="*/ 27 w 28"/>
                <a:gd name="T11" fmla="*/ 7 h 32"/>
                <a:gd name="T12" fmla="*/ 10 w 28"/>
                <a:gd name="T13" fmla="*/ 10 h 32"/>
                <a:gd name="T14" fmla="*/ 5 w 28"/>
                <a:gd name="T15" fmla="*/ 32 h 32"/>
                <a:gd name="T16" fmla="*/ 1 w 28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2">
                  <a:moveTo>
                    <a:pt x="1" y="32"/>
                  </a:moveTo>
                  <a:cubicBezTo>
                    <a:pt x="0" y="20"/>
                    <a:pt x="2" y="12"/>
                    <a:pt x="8" y="7"/>
                  </a:cubicBezTo>
                  <a:cubicBezTo>
                    <a:pt x="16" y="0"/>
                    <a:pt x="28" y="3"/>
                    <a:pt x="28" y="3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17" y="4"/>
                    <a:pt x="10" y="10"/>
                  </a:cubicBezTo>
                  <a:cubicBezTo>
                    <a:pt x="5" y="14"/>
                    <a:pt x="4" y="21"/>
                    <a:pt x="5" y="32"/>
                  </a:cubicBezTo>
                  <a:lnTo>
                    <a:pt x="1" y="3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4" name="Freeform 411">
              <a:extLst>
                <a:ext uri="{FF2B5EF4-FFF2-40B4-BE49-F238E27FC236}">
                  <a16:creationId xmlns:a16="http://schemas.microsoft.com/office/drawing/2014/main" id="{F6960D87-8F21-415D-A977-1E0E1DBA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7901" y="4484688"/>
              <a:ext cx="109538" cy="127000"/>
            </a:xfrm>
            <a:custGeom>
              <a:avLst/>
              <a:gdLst>
                <a:gd name="T0" fmla="*/ 2 w 28"/>
                <a:gd name="T1" fmla="*/ 32 h 32"/>
                <a:gd name="T2" fmla="*/ 8 w 28"/>
                <a:gd name="T3" fmla="*/ 7 h 32"/>
                <a:gd name="T4" fmla="*/ 28 w 28"/>
                <a:gd name="T5" fmla="*/ 3 h 32"/>
                <a:gd name="T6" fmla="*/ 28 w 28"/>
                <a:gd name="T7" fmla="*/ 7 h 32"/>
                <a:gd name="T8" fmla="*/ 28 w 28"/>
                <a:gd name="T9" fmla="*/ 5 h 32"/>
                <a:gd name="T10" fmla="*/ 28 w 28"/>
                <a:gd name="T11" fmla="*/ 7 h 32"/>
                <a:gd name="T12" fmla="*/ 11 w 28"/>
                <a:gd name="T13" fmla="*/ 10 h 32"/>
                <a:gd name="T14" fmla="*/ 5 w 28"/>
                <a:gd name="T15" fmla="*/ 32 h 32"/>
                <a:gd name="T16" fmla="*/ 2 w 28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2">
                  <a:moveTo>
                    <a:pt x="2" y="32"/>
                  </a:moveTo>
                  <a:cubicBezTo>
                    <a:pt x="0" y="20"/>
                    <a:pt x="3" y="12"/>
                    <a:pt x="8" y="7"/>
                  </a:cubicBezTo>
                  <a:cubicBezTo>
                    <a:pt x="16" y="0"/>
                    <a:pt x="28" y="3"/>
                    <a:pt x="28" y="3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7"/>
                    <a:pt x="17" y="4"/>
                    <a:pt x="11" y="10"/>
                  </a:cubicBezTo>
                  <a:cubicBezTo>
                    <a:pt x="6" y="14"/>
                    <a:pt x="4" y="21"/>
                    <a:pt x="5" y="32"/>
                  </a:cubicBezTo>
                  <a:lnTo>
                    <a:pt x="2" y="3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5" name="Freeform 412">
              <a:extLst>
                <a:ext uri="{FF2B5EF4-FFF2-40B4-BE49-F238E27FC236}">
                  <a16:creationId xmlns:a16="http://schemas.microsoft.com/office/drawing/2014/main" id="{3918204C-68C5-487E-9953-EF544F4B9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9301" y="4324351"/>
              <a:ext cx="117475" cy="63500"/>
            </a:xfrm>
            <a:custGeom>
              <a:avLst/>
              <a:gdLst>
                <a:gd name="T0" fmla="*/ 10 w 30"/>
                <a:gd name="T1" fmla="*/ 7 h 16"/>
                <a:gd name="T2" fmla="*/ 24 w 30"/>
                <a:gd name="T3" fmla="*/ 10 h 16"/>
                <a:gd name="T4" fmla="*/ 19 w 30"/>
                <a:gd name="T5" fmla="*/ 4 h 16"/>
                <a:gd name="T6" fmla="*/ 10 w 30"/>
                <a:gd name="T7" fmla="*/ 7 h 16"/>
                <a:gd name="T8" fmla="*/ 30 w 30"/>
                <a:gd name="T9" fmla="*/ 16 h 16"/>
                <a:gd name="T10" fmla="*/ 27 w 30"/>
                <a:gd name="T11" fmla="*/ 14 h 16"/>
                <a:gd name="T12" fmla="*/ 5 w 30"/>
                <a:gd name="T13" fmla="*/ 11 h 16"/>
                <a:gd name="T14" fmla="*/ 0 w 30"/>
                <a:gd name="T15" fmla="*/ 11 h 16"/>
                <a:gd name="T16" fmla="*/ 4 w 30"/>
                <a:gd name="T17" fmla="*/ 8 h 16"/>
                <a:gd name="T18" fmla="*/ 20 w 30"/>
                <a:gd name="T19" fmla="*/ 1 h 16"/>
                <a:gd name="T20" fmla="*/ 29 w 30"/>
                <a:gd name="T21" fmla="*/ 12 h 16"/>
                <a:gd name="T22" fmla="*/ 30 w 30"/>
                <a:gd name="T2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16">
                  <a:moveTo>
                    <a:pt x="10" y="7"/>
                  </a:moveTo>
                  <a:cubicBezTo>
                    <a:pt x="14" y="7"/>
                    <a:pt x="19" y="8"/>
                    <a:pt x="24" y="10"/>
                  </a:cubicBezTo>
                  <a:cubicBezTo>
                    <a:pt x="23" y="7"/>
                    <a:pt x="22" y="5"/>
                    <a:pt x="19" y="4"/>
                  </a:cubicBezTo>
                  <a:cubicBezTo>
                    <a:pt x="17" y="4"/>
                    <a:pt x="14" y="5"/>
                    <a:pt x="10" y="7"/>
                  </a:cubicBezTo>
                  <a:moveTo>
                    <a:pt x="30" y="16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17" y="10"/>
                    <a:pt x="5" y="11"/>
                    <a:pt x="5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1" y="2"/>
                    <a:pt x="16" y="0"/>
                    <a:pt x="20" y="1"/>
                  </a:cubicBezTo>
                  <a:cubicBezTo>
                    <a:pt x="25" y="2"/>
                    <a:pt x="28" y="7"/>
                    <a:pt x="29" y="12"/>
                  </a:cubicBezTo>
                  <a:lnTo>
                    <a:pt x="30" y="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76" name="Freeform 413">
              <a:extLst>
                <a:ext uri="{FF2B5EF4-FFF2-40B4-BE49-F238E27FC236}">
                  <a16:creationId xmlns:a16="http://schemas.microsoft.com/office/drawing/2014/main" id="{488A397E-0714-48B8-9AD6-A5F0E27262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9163" y="4324351"/>
              <a:ext cx="117475" cy="63500"/>
            </a:xfrm>
            <a:custGeom>
              <a:avLst/>
              <a:gdLst>
                <a:gd name="T0" fmla="*/ 12 w 30"/>
                <a:gd name="T1" fmla="*/ 4 h 16"/>
                <a:gd name="T2" fmla="*/ 11 w 30"/>
                <a:gd name="T3" fmla="*/ 4 h 16"/>
                <a:gd name="T4" fmla="*/ 6 w 30"/>
                <a:gd name="T5" fmla="*/ 10 h 16"/>
                <a:gd name="T6" fmla="*/ 20 w 30"/>
                <a:gd name="T7" fmla="*/ 7 h 16"/>
                <a:gd name="T8" fmla="*/ 12 w 30"/>
                <a:gd name="T9" fmla="*/ 4 h 16"/>
                <a:gd name="T10" fmla="*/ 0 w 30"/>
                <a:gd name="T11" fmla="*/ 16 h 16"/>
                <a:gd name="T12" fmla="*/ 1 w 30"/>
                <a:gd name="T13" fmla="*/ 12 h 16"/>
                <a:gd name="T14" fmla="*/ 10 w 30"/>
                <a:gd name="T15" fmla="*/ 1 h 16"/>
                <a:gd name="T16" fmla="*/ 26 w 30"/>
                <a:gd name="T17" fmla="*/ 8 h 16"/>
                <a:gd name="T18" fmla="*/ 30 w 30"/>
                <a:gd name="T19" fmla="*/ 11 h 16"/>
                <a:gd name="T20" fmla="*/ 25 w 30"/>
                <a:gd name="T21" fmla="*/ 11 h 16"/>
                <a:gd name="T22" fmla="*/ 3 w 30"/>
                <a:gd name="T23" fmla="*/ 14 h 16"/>
                <a:gd name="T24" fmla="*/ 0 w 30"/>
                <a:gd name="T2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6">
                  <a:moveTo>
                    <a:pt x="12" y="4"/>
                  </a:moveTo>
                  <a:cubicBezTo>
                    <a:pt x="12" y="4"/>
                    <a:pt x="11" y="4"/>
                    <a:pt x="11" y="4"/>
                  </a:cubicBezTo>
                  <a:cubicBezTo>
                    <a:pt x="8" y="5"/>
                    <a:pt x="7" y="7"/>
                    <a:pt x="6" y="10"/>
                  </a:cubicBezTo>
                  <a:cubicBezTo>
                    <a:pt x="11" y="8"/>
                    <a:pt x="16" y="7"/>
                    <a:pt x="20" y="7"/>
                  </a:cubicBezTo>
                  <a:cubicBezTo>
                    <a:pt x="17" y="5"/>
                    <a:pt x="14" y="4"/>
                    <a:pt x="12" y="4"/>
                  </a:cubicBezTo>
                  <a:moveTo>
                    <a:pt x="0" y="16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3" y="7"/>
                    <a:pt x="5" y="2"/>
                    <a:pt x="10" y="1"/>
                  </a:cubicBezTo>
                  <a:cubicBezTo>
                    <a:pt x="14" y="0"/>
                    <a:pt x="20" y="2"/>
                    <a:pt x="26" y="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13" y="10"/>
                    <a:pt x="3" y="14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96" name="Group 45495">
            <a:extLst>
              <a:ext uri="{FF2B5EF4-FFF2-40B4-BE49-F238E27FC236}">
                <a16:creationId xmlns:a16="http://schemas.microsoft.com/office/drawing/2014/main" id="{101AC3F9-785C-4F19-8D19-EE87313D8094}"/>
              </a:ext>
            </a:extLst>
          </p:cNvPr>
          <p:cNvGrpSpPr/>
          <p:nvPr/>
        </p:nvGrpSpPr>
        <p:grpSpPr>
          <a:xfrm>
            <a:off x="401638" y="5421313"/>
            <a:ext cx="844550" cy="841375"/>
            <a:chOff x="401638" y="5421313"/>
            <a:chExt cx="844550" cy="841375"/>
          </a:xfrm>
        </p:grpSpPr>
        <p:sp>
          <p:nvSpPr>
            <p:cNvPr id="45479" name="AutoShape 415">
              <a:extLst>
                <a:ext uri="{FF2B5EF4-FFF2-40B4-BE49-F238E27FC236}">
                  <a16:creationId xmlns:a16="http://schemas.microsoft.com/office/drawing/2014/main" id="{ECF989A3-BF32-4BB7-A5B1-21CE695670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1638" y="54213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0" name="Oval 417">
              <a:extLst>
                <a:ext uri="{FF2B5EF4-FFF2-40B4-BE49-F238E27FC236}">
                  <a16:creationId xmlns:a16="http://schemas.microsoft.com/office/drawing/2014/main" id="{2E4A2D0C-83F8-44CB-A093-E582257A98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638" y="542448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1" name="Freeform 418">
              <a:extLst>
                <a:ext uri="{FF2B5EF4-FFF2-40B4-BE49-F238E27FC236}">
                  <a16:creationId xmlns:a16="http://schemas.microsoft.com/office/drawing/2014/main" id="{A40968E6-61FA-47BA-8A0D-F83AB7C38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213" y="545306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2" name="Freeform 419">
              <a:extLst>
                <a:ext uri="{FF2B5EF4-FFF2-40B4-BE49-F238E27FC236}">
                  <a16:creationId xmlns:a16="http://schemas.microsoft.com/office/drawing/2014/main" id="{DDD58658-59B2-450C-8D83-4C2097FEC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501" y="5902326"/>
              <a:ext cx="517525" cy="123825"/>
            </a:xfrm>
            <a:custGeom>
              <a:avLst/>
              <a:gdLst>
                <a:gd name="T0" fmla="*/ 121 w 127"/>
                <a:gd name="T1" fmla="*/ 9 h 31"/>
                <a:gd name="T2" fmla="*/ 127 w 127"/>
                <a:gd name="T3" fmla="*/ 31 h 31"/>
                <a:gd name="T4" fmla="*/ 65 w 127"/>
                <a:gd name="T5" fmla="*/ 16 h 31"/>
                <a:gd name="T6" fmla="*/ 0 w 127"/>
                <a:gd name="T7" fmla="*/ 31 h 31"/>
                <a:gd name="T8" fmla="*/ 2 w 127"/>
                <a:gd name="T9" fmla="*/ 13 h 31"/>
                <a:gd name="T10" fmla="*/ 60 w 127"/>
                <a:gd name="T11" fmla="*/ 0 h 31"/>
                <a:gd name="T12" fmla="*/ 121 w 127"/>
                <a:gd name="T13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31">
                  <a:moveTo>
                    <a:pt x="121" y="9"/>
                  </a:moveTo>
                  <a:cubicBezTo>
                    <a:pt x="121" y="9"/>
                    <a:pt x="121" y="24"/>
                    <a:pt x="127" y="31"/>
                  </a:cubicBezTo>
                  <a:cubicBezTo>
                    <a:pt x="127" y="31"/>
                    <a:pt x="78" y="16"/>
                    <a:pt x="65" y="16"/>
                  </a:cubicBezTo>
                  <a:cubicBezTo>
                    <a:pt x="65" y="16"/>
                    <a:pt x="44" y="16"/>
                    <a:pt x="0" y="3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121" y="9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3" name="Freeform 420">
              <a:extLst>
                <a:ext uri="{FF2B5EF4-FFF2-40B4-BE49-F238E27FC236}">
                  <a16:creationId xmlns:a16="http://schemas.microsoft.com/office/drawing/2014/main" id="{08C2E4C4-188E-467D-A286-E96C4E643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88" y="5842001"/>
              <a:ext cx="557213" cy="123825"/>
            </a:xfrm>
            <a:custGeom>
              <a:avLst/>
              <a:gdLst>
                <a:gd name="T0" fmla="*/ 15 w 137"/>
                <a:gd name="T1" fmla="*/ 2 h 31"/>
                <a:gd name="T2" fmla="*/ 69 w 137"/>
                <a:gd name="T3" fmla="*/ 12 h 31"/>
                <a:gd name="T4" fmla="*/ 129 w 137"/>
                <a:gd name="T5" fmla="*/ 0 h 31"/>
                <a:gd name="T6" fmla="*/ 137 w 137"/>
                <a:gd name="T7" fmla="*/ 16 h 31"/>
                <a:gd name="T8" fmla="*/ 129 w 137"/>
                <a:gd name="T9" fmla="*/ 31 h 31"/>
                <a:gd name="T10" fmla="*/ 69 w 137"/>
                <a:gd name="T11" fmla="*/ 23 h 31"/>
                <a:gd name="T12" fmla="*/ 9 w 137"/>
                <a:gd name="T13" fmla="*/ 31 h 31"/>
                <a:gd name="T14" fmla="*/ 0 w 137"/>
                <a:gd name="T15" fmla="*/ 16 h 31"/>
                <a:gd name="T16" fmla="*/ 9 w 137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31">
                  <a:moveTo>
                    <a:pt x="15" y="2"/>
                  </a:moveTo>
                  <a:cubicBezTo>
                    <a:pt x="27" y="5"/>
                    <a:pt x="53" y="12"/>
                    <a:pt x="69" y="12"/>
                  </a:cubicBezTo>
                  <a:cubicBezTo>
                    <a:pt x="89" y="12"/>
                    <a:pt x="129" y="0"/>
                    <a:pt x="129" y="0"/>
                  </a:cubicBezTo>
                  <a:cubicBezTo>
                    <a:pt x="133" y="0"/>
                    <a:pt x="137" y="7"/>
                    <a:pt x="137" y="16"/>
                  </a:cubicBezTo>
                  <a:cubicBezTo>
                    <a:pt x="137" y="24"/>
                    <a:pt x="133" y="31"/>
                    <a:pt x="129" y="31"/>
                  </a:cubicBezTo>
                  <a:cubicBezTo>
                    <a:pt x="129" y="31"/>
                    <a:pt x="95" y="23"/>
                    <a:pt x="69" y="23"/>
                  </a:cubicBezTo>
                  <a:cubicBezTo>
                    <a:pt x="42" y="23"/>
                    <a:pt x="9" y="31"/>
                    <a:pt x="9" y="31"/>
                  </a:cubicBezTo>
                  <a:cubicBezTo>
                    <a:pt x="4" y="31"/>
                    <a:pt x="0" y="24"/>
                    <a:pt x="0" y="16"/>
                  </a:cubicBezTo>
                  <a:cubicBezTo>
                    <a:pt x="0" y="7"/>
                    <a:pt x="4" y="0"/>
                    <a:pt x="9" y="0"/>
                  </a:cubicBezTo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4" name="Freeform 421">
              <a:extLst>
                <a:ext uri="{FF2B5EF4-FFF2-40B4-BE49-F238E27FC236}">
                  <a16:creationId xmlns:a16="http://schemas.microsoft.com/office/drawing/2014/main" id="{627BD588-A449-43B6-A179-7DA101331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88" y="5842001"/>
              <a:ext cx="557213" cy="123825"/>
            </a:xfrm>
            <a:custGeom>
              <a:avLst/>
              <a:gdLst>
                <a:gd name="T0" fmla="*/ 15 w 137"/>
                <a:gd name="T1" fmla="*/ 2 h 31"/>
                <a:gd name="T2" fmla="*/ 69 w 137"/>
                <a:gd name="T3" fmla="*/ 12 h 31"/>
                <a:gd name="T4" fmla="*/ 129 w 137"/>
                <a:gd name="T5" fmla="*/ 0 h 31"/>
                <a:gd name="T6" fmla="*/ 137 w 137"/>
                <a:gd name="T7" fmla="*/ 16 h 31"/>
                <a:gd name="T8" fmla="*/ 129 w 137"/>
                <a:gd name="T9" fmla="*/ 31 h 31"/>
                <a:gd name="T10" fmla="*/ 69 w 137"/>
                <a:gd name="T11" fmla="*/ 23 h 31"/>
                <a:gd name="T12" fmla="*/ 9 w 137"/>
                <a:gd name="T13" fmla="*/ 31 h 31"/>
                <a:gd name="T14" fmla="*/ 0 w 137"/>
                <a:gd name="T15" fmla="*/ 16 h 31"/>
                <a:gd name="T16" fmla="*/ 9 w 137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31">
                  <a:moveTo>
                    <a:pt x="15" y="2"/>
                  </a:moveTo>
                  <a:cubicBezTo>
                    <a:pt x="27" y="5"/>
                    <a:pt x="53" y="12"/>
                    <a:pt x="69" y="12"/>
                  </a:cubicBezTo>
                  <a:cubicBezTo>
                    <a:pt x="89" y="12"/>
                    <a:pt x="129" y="0"/>
                    <a:pt x="129" y="0"/>
                  </a:cubicBezTo>
                  <a:cubicBezTo>
                    <a:pt x="133" y="0"/>
                    <a:pt x="137" y="7"/>
                    <a:pt x="137" y="16"/>
                  </a:cubicBezTo>
                  <a:cubicBezTo>
                    <a:pt x="137" y="24"/>
                    <a:pt x="133" y="31"/>
                    <a:pt x="129" y="31"/>
                  </a:cubicBezTo>
                  <a:cubicBezTo>
                    <a:pt x="129" y="31"/>
                    <a:pt x="95" y="23"/>
                    <a:pt x="69" y="23"/>
                  </a:cubicBezTo>
                  <a:cubicBezTo>
                    <a:pt x="42" y="23"/>
                    <a:pt x="9" y="31"/>
                    <a:pt x="9" y="31"/>
                  </a:cubicBezTo>
                  <a:cubicBezTo>
                    <a:pt x="4" y="31"/>
                    <a:pt x="0" y="24"/>
                    <a:pt x="0" y="16"/>
                  </a:cubicBezTo>
                  <a:cubicBezTo>
                    <a:pt x="0" y="7"/>
                    <a:pt x="4" y="0"/>
                    <a:pt x="9" y="0"/>
                  </a:cubicBez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5" name="Freeform 422">
              <a:extLst>
                <a:ext uri="{FF2B5EF4-FFF2-40B4-BE49-F238E27FC236}">
                  <a16:creationId xmlns:a16="http://schemas.microsoft.com/office/drawing/2014/main" id="{C202E6F7-7C60-4760-8464-21F2DE36C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88" y="5573713"/>
              <a:ext cx="582613" cy="200025"/>
            </a:xfrm>
            <a:custGeom>
              <a:avLst/>
              <a:gdLst>
                <a:gd name="T0" fmla="*/ 72 w 143"/>
                <a:gd name="T1" fmla="*/ 0 h 50"/>
                <a:gd name="T2" fmla="*/ 0 w 143"/>
                <a:gd name="T3" fmla="*/ 39 h 50"/>
                <a:gd name="T4" fmla="*/ 31 w 143"/>
                <a:gd name="T5" fmla="*/ 50 h 50"/>
                <a:gd name="T6" fmla="*/ 113 w 143"/>
                <a:gd name="T7" fmla="*/ 50 h 50"/>
                <a:gd name="T8" fmla="*/ 143 w 143"/>
                <a:gd name="T9" fmla="*/ 39 h 50"/>
                <a:gd name="T10" fmla="*/ 72 w 143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" h="50">
                  <a:moveTo>
                    <a:pt x="72" y="0"/>
                  </a:moveTo>
                  <a:cubicBezTo>
                    <a:pt x="72" y="0"/>
                    <a:pt x="29" y="27"/>
                    <a:pt x="0" y="3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15" y="27"/>
                    <a:pt x="72" y="0"/>
                    <a:pt x="72" y="0"/>
                  </a:cubicBezTo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6" name="Freeform 423">
              <a:extLst>
                <a:ext uri="{FF2B5EF4-FFF2-40B4-BE49-F238E27FC236}">
                  <a16:creationId xmlns:a16="http://schemas.microsoft.com/office/drawing/2014/main" id="{AA36FBA7-3DEF-4EAF-946D-D6AF6F3B9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88" y="5573713"/>
              <a:ext cx="582613" cy="200025"/>
            </a:xfrm>
            <a:custGeom>
              <a:avLst/>
              <a:gdLst>
                <a:gd name="T0" fmla="*/ 72 w 143"/>
                <a:gd name="T1" fmla="*/ 0 h 50"/>
                <a:gd name="T2" fmla="*/ 0 w 143"/>
                <a:gd name="T3" fmla="*/ 39 h 50"/>
                <a:gd name="T4" fmla="*/ 31 w 143"/>
                <a:gd name="T5" fmla="*/ 50 h 50"/>
                <a:gd name="T6" fmla="*/ 113 w 143"/>
                <a:gd name="T7" fmla="*/ 50 h 50"/>
                <a:gd name="T8" fmla="*/ 143 w 143"/>
                <a:gd name="T9" fmla="*/ 39 h 50"/>
                <a:gd name="T10" fmla="*/ 72 w 143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" h="50">
                  <a:moveTo>
                    <a:pt x="72" y="0"/>
                  </a:moveTo>
                  <a:cubicBezTo>
                    <a:pt x="72" y="0"/>
                    <a:pt x="29" y="27"/>
                    <a:pt x="0" y="3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15" y="27"/>
                    <a:pt x="72" y="0"/>
                    <a:pt x="72" y="0"/>
                  </a:cubicBezTo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7" name="Freeform 424">
              <a:extLst>
                <a:ext uri="{FF2B5EF4-FFF2-40B4-BE49-F238E27FC236}">
                  <a16:creationId xmlns:a16="http://schemas.microsoft.com/office/drawing/2014/main" id="{3AE97BE0-236D-4A8B-B995-011316086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988" y="5686426"/>
              <a:ext cx="333375" cy="160338"/>
            </a:xfrm>
            <a:custGeom>
              <a:avLst/>
              <a:gdLst>
                <a:gd name="T0" fmla="*/ 0 w 82"/>
                <a:gd name="T1" fmla="*/ 22 h 40"/>
                <a:gd name="T2" fmla="*/ 0 w 82"/>
                <a:gd name="T3" fmla="*/ 31 h 40"/>
                <a:gd name="T4" fmla="*/ 41 w 82"/>
                <a:gd name="T5" fmla="*/ 40 h 40"/>
                <a:gd name="T6" fmla="*/ 82 w 82"/>
                <a:gd name="T7" fmla="*/ 31 h 40"/>
                <a:gd name="T8" fmla="*/ 82 w 82"/>
                <a:gd name="T9" fmla="*/ 22 h 40"/>
                <a:gd name="T10" fmla="*/ 82 w 82"/>
                <a:gd name="T11" fmla="*/ 15 h 40"/>
                <a:gd name="T12" fmla="*/ 41 w 82"/>
                <a:gd name="T13" fmla="*/ 0 h 40"/>
                <a:gd name="T14" fmla="*/ 0 w 82"/>
                <a:gd name="T15" fmla="*/ 15 h 40"/>
                <a:gd name="T16" fmla="*/ 0 w 82"/>
                <a:gd name="T17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40">
                  <a:moveTo>
                    <a:pt x="0" y="2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19" y="40"/>
                    <a:pt x="41" y="40"/>
                  </a:cubicBezTo>
                  <a:cubicBezTo>
                    <a:pt x="63" y="40"/>
                    <a:pt x="82" y="35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7"/>
                    <a:pt x="63" y="0"/>
                    <a:pt x="41" y="0"/>
                  </a:cubicBezTo>
                  <a:cubicBezTo>
                    <a:pt x="19" y="0"/>
                    <a:pt x="0" y="7"/>
                    <a:pt x="0" y="15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8" name="Freeform 425">
              <a:extLst>
                <a:ext uri="{FF2B5EF4-FFF2-40B4-BE49-F238E27FC236}">
                  <a16:creationId xmlns:a16="http://schemas.microsoft.com/office/drawing/2014/main" id="{16DE7C09-C046-47FF-8942-B1C20596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6" y="5913438"/>
              <a:ext cx="117475" cy="144463"/>
            </a:xfrm>
            <a:custGeom>
              <a:avLst/>
              <a:gdLst>
                <a:gd name="T0" fmla="*/ 13 w 29"/>
                <a:gd name="T1" fmla="*/ 0 h 36"/>
                <a:gd name="T2" fmla="*/ 29 w 29"/>
                <a:gd name="T3" fmla="*/ 29 h 36"/>
                <a:gd name="T4" fmla="*/ 21 w 29"/>
                <a:gd name="T5" fmla="*/ 29 h 36"/>
                <a:gd name="T6" fmla="*/ 19 w 29"/>
                <a:gd name="T7" fmla="*/ 36 h 36"/>
                <a:gd name="T8" fmla="*/ 0 w 29"/>
                <a:gd name="T9" fmla="*/ 5 h 36"/>
                <a:gd name="T10" fmla="*/ 13 w 29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6">
                  <a:moveTo>
                    <a:pt x="13" y="0"/>
                  </a:moveTo>
                  <a:cubicBezTo>
                    <a:pt x="13" y="0"/>
                    <a:pt x="20" y="22"/>
                    <a:pt x="29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2" y="14"/>
                    <a:pt x="0" y="5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89" name="Freeform 426">
              <a:extLst>
                <a:ext uri="{FF2B5EF4-FFF2-40B4-BE49-F238E27FC236}">
                  <a16:creationId xmlns:a16="http://schemas.microsoft.com/office/drawing/2014/main" id="{FEAE817F-5B77-4CD1-9433-385BBC5A6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6" y="5918201"/>
              <a:ext cx="85725" cy="173038"/>
            </a:xfrm>
            <a:custGeom>
              <a:avLst/>
              <a:gdLst>
                <a:gd name="T0" fmla="*/ 0 w 54"/>
                <a:gd name="T1" fmla="*/ 106 h 109"/>
                <a:gd name="T2" fmla="*/ 23 w 54"/>
                <a:gd name="T3" fmla="*/ 81 h 109"/>
                <a:gd name="T4" fmla="*/ 41 w 54"/>
                <a:gd name="T5" fmla="*/ 109 h 109"/>
                <a:gd name="T6" fmla="*/ 49 w 54"/>
                <a:gd name="T7" fmla="*/ 55 h 109"/>
                <a:gd name="T8" fmla="*/ 54 w 54"/>
                <a:gd name="T9" fmla="*/ 2 h 109"/>
                <a:gd name="T10" fmla="*/ 33 w 54"/>
                <a:gd name="T11" fmla="*/ 0 h 109"/>
                <a:gd name="T12" fmla="*/ 10 w 54"/>
                <a:gd name="T13" fmla="*/ 0 h 109"/>
                <a:gd name="T14" fmla="*/ 5 w 54"/>
                <a:gd name="T15" fmla="*/ 53 h 109"/>
                <a:gd name="T16" fmla="*/ 0 w 54"/>
                <a:gd name="T17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09">
                  <a:moveTo>
                    <a:pt x="0" y="106"/>
                  </a:moveTo>
                  <a:lnTo>
                    <a:pt x="23" y="81"/>
                  </a:lnTo>
                  <a:lnTo>
                    <a:pt x="41" y="109"/>
                  </a:lnTo>
                  <a:lnTo>
                    <a:pt x="49" y="55"/>
                  </a:lnTo>
                  <a:lnTo>
                    <a:pt x="54" y="2"/>
                  </a:lnTo>
                  <a:lnTo>
                    <a:pt x="33" y="0"/>
                  </a:lnTo>
                  <a:lnTo>
                    <a:pt x="10" y="0"/>
                  </a:lnTo>
                  <a:lnTo>
                    <a:pt x="5" y="53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0" name="Oval 427">
              <a:extLst>
                <a:ext uri="{FF2B5EF4-FFF2-40B4-BE49-F238E27FC236}">
                  <a16:creationId xmlns:a16="http://schemas.microsoft.com/office/drawing/2014/main" id="{4681644C-63F8-466E-93DC-8E17BEF60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826" y="5873751"/>
              <a:ext cx="98425" cy="96838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1" name="Oval 428">
              <a:extLst>
                <a:ext uri="{FF2B5EF4-FFF2-40B4-BE49-F238E27FC236}">
                  <a16:creationId xmlns:a16="http://schemas.microsoft.com/office/drawing/2014/main" id="{FA4CC672-8F70-4000-9DE9-D552AB964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26" y="5770563"/>
              <a:ext cx="52388" cy="5080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2" name="Freeform 429">
              <a:extLst>
                <a:ext uri="{FF2B5EF4-FFF2-40B4-BE49-F238E27FC236}">
                  <a16:creationId xmlns:a16="http://schemas.microsoft.com/office/drawing/2014/main" id="{D8612AF1-3AA6-499D-8AEE-186FDECFC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76" y="5821363"/>
              <a:ext cx="0" cy="109538"/>
            </a:xfrm>
            <a:custGeom>
              <a:avLst/>
              <a:gdLst>
                <a:gd name="T0" fmla="*/ 0 h 69"/>
                <a:gd name="T1" fmla="*/ 69 h 69"/>
                <a:gd name="T2" fmla="*/ 0 h 6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9">
                  <a:moveTo>
                    <a:pt x="0" y="0"/>
                  </a:moveTo>
                  <a:lnTo>
                    <a:pt x="0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3" name="Line 430">
              <a:extLst>
                <a:ext uri="{FF2B5EF4-FFF2-40B4-BE49-F238E27FC236}">
                  <a16:creationId xmlns:a16="http://schemas.microsoft.com/office/drawing/2014/main" id="{8B76E1C6-F8C8-48F0-9808-E4916AD32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76" y="5821363"/>
              <a:ext cx="0" cy="109538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4" name="Freeform 431">
              <a:extLst>
                <a:ext uri="{FF2B5EF4-FFF2-40B4-BE49-F238E27FC236}">
                  <a16:creationId xmlns:a16="http://schemas.microsoft.com/office/drawing/2014/main" id="{E57FB846-DA0F-4C71-BE92-E501AA6C3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63" y="5813426"/>
              <a:ext cx="0" cy="100013"/>
            </a:xfrm>
            <a:custGeom>
              <a:avLst/>
              <a:gdLst>
                <a:gd name="T0" fmla="*/ 0 h 63"/>
                <a:gd name="T1" fmla="*/ 63 h 63"/>
                <a:gd name="T2" fmla="*/ 0 h 6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3">
                  <a:moveTo>
                    <a:pt x="0" y="0"/>
                  </a:move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5" name="Line 432">
              <a:extLst>
                <a:ext uri="{FF2B5EF4-FFF2-40B4-BE49-F238E27FC236}">
                  <a16:creationId xmlns:a16="http://schemas.microsoft.com/office/drawing/2014/main" id="{9F7D7821-02EB-479A-BE3A-F8138544C1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6263" y="5813426"/>
              <a:ext cx="0" cy="100013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14" name="Group 45513">
            <a:extLst>
              <a:ext uri="{FF2B5EF4-FFF2-40B4-BE49-F238E27FC236}">
                <a16:creationId xmlns:a16="http://schemas.microsoft.com/office/drawing/2014/main" id="{C01E87ED-AF17-4E65-ADDE-7452A6A8BCFD}"/>
              </a:ext>
            </a:extLst>
          </p:cNvPr>
          <p:cNvGrpSpPr/>
          <p:nvPr/>
        </p:nvGrpSpPr>
        <p:grpSpPr>
          <a:xfrm>
            <a:off x="1411288" y="5454651"/>
            <a:ext cx="758825" cy="766763"/>
            <a:chOff x="1411288" y="5454651"/>
            <a:chExt cx="758825" cy="766763"/>
          </a:xfrm>
        </p:grpSpPr>
        <p:sp>
          <p:nvSpPr>
            <p:cNvPr id="45498" name="AutoShape 434">
              <a:extLst>
                <a:ext uri="{FF2B5EF4-FFF2-40B4-BE49-F238E27FC236}">
                  <a16:creationId xmlns:a16="http://schemas.microsoft.com/office/drawing/2014/main" id="{AA021143-1585-4091-AA8C-DCD025B40E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1288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99" name="Freeform 436">
              <a:extLst>
                <a:ext uri="{FF2B5EF4-FFF2-40B4-BE49-F238E27FC236}">
                  <a16:creationId xmlns:a16="http://schemas.microsoft.com/office/drawing/2014/main" id="{16B48A5C-6D12-4DE1-BD4E-3999C92D50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4463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0" name="Freeform 437">
              <a:extLst>
                <a:ext uri="{FF2B5EF4-FFF2-40B4-BE49-F238E27FC236}">
                  <a16:creationId xmlns:a16="http://schemas.microsoft.com/office/drawing/2014/main" id="{C89D4082-A3DF-4419-884D-71C122326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988" y="5897563"/>
              <a:ext cx="495300" cy="122238"/>
            </a:xfrm>
            <a:custGeom>
              <a:avLst/>
              <a:gdLst>
                <a:gd name="T0" fmla="*/ 121 w 127"/>
                <a:gd name="T1" fmla="*/ 9 h 31"/>
                <a:gd name="T2" fmla="*/ 127 w 127"/>
                <a:gd name="T3" fmla="*/ 31 h 31"/>
                <a:gd name="T4" fmla="*/ 65 w 127"/>
                <a:gd name="T5" fmla="*/ 16 h 31"/>
                <a:gd name="T6" fmla="*/ 0 w 127"/>
                <a:gd name="T7" fmla="*/ 31 h 31"/>
                <a:gd name="T8" fmla="*/ 2 w 127"/>
                <a:gd name="T9" fmla="*/ 13 h 31"/>
                <a:gd name="T10" fmla="*/ 60 w 127"/>
                <a:gd name="T11" fmla="*/ 0 h 31"/>
                <a:gd name="T12" fmla="*/ 121 w 127"/>
                <a:gd name="T13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31">
                  <a:moveTo>
                    <a:pt x="121" y="9"/>
                  </a:moveTo>
                  <a:cubicBezTo>
                    <a:pt x="121" y="9"/>
                    <a:pt x="121" y="24"/>
                    <a:pt x="127" y="31"/>
                  </a:cubicBezTo>
                  <a:cubicBezTo>
                    <a:pt x="127" y="31"/>
                    <a:pt x="78" y="16"/>
                    <a:pt x="65" y="16"/>
                  </a:cubicBezTo>
                  <a:cubicBezTo>
                    <a:pt x="65" y="16"/>
                    <a:pt x="44" y="16"/>
                    <a:pt x="0" y="3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121" y="9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1" name="Freeform 438">
              <a:extLst>
                <a:ext uri="{FF2B5EF4-FFF2-40B4-BE49-F238E27FC236}">
                  <a16:creationId xmlns:a16="http://schemas.microsoft.com/office/drawing/2014/main" id="{F77CA591-0F0B-4329-995F-A9FE94A7B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763" y="5838826"/>
              <a:ext cx="531813" cy="122238"/>
            </a:xfrm>
            <a:custGeom>
              <a:avLst/>
              <a:gdLst>
                <a:gd name="T0" fmla="*/ 15 w 137"/>
                <a:gd name="T1" fmla="*/ 2 h 31"/>
                <a:gd name="T2" fmla="*/ 69 w 137"/>
                <a:gd name="T3" fmla="*/ 12 h 31"/>
                <a:gd name="T4" fmla="*/ 129 w 137"/>
                <a:gd name="T5" fmla="*/ 0 h 31"/>
                <a:gd name="T6" fmla="*/ 137 w 137"/>
                <a:gd name="T7" fmla="*/ 16 h 31"/>
                <a:gd name="T8" fmla="*/ 129 w 137"/>
                <a:gd name="T9" fmla="*/ 31 h 31"/>
                <a:gd name="T10" fmla="*/ 69 w 137"/>
                <a:gd name="T11" fmla="*/ 23 h 31"/>
                <a:gd name="T12" fmla="*/ 9 w 137"/>
                <a:gd name="T13" fmla="*/ 31 h 31"/>
                <a:gd name="T14" fmla="*/ 0 w 137"/>
                <a:gd name="T15" fmla="*/ 16 h 31"/>
                <a:gd name="T16" fmla="*/ 9 w 137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31">
                  <a:moveTo>
                    <a:pt x="15" y="2"/>
                  </a:moveTo>
                  <a:cubicBezTo>
                    <a:pt x="27" y="5"/>
                    <a:pt x="53" y="12"/>
                    <a:pt x="69" y="12"/>
                  </a:cubicBezTo>
                  <a:cubicBezTo>
                    <a:pt x="89" y="12"/>
                    <a:pt x="129" y="0"/>
                    <a:pt x="129" y="0"/>
                  </a:cubicBezTo>
                  <a:cubicBezTo>
                    <a:pt x="133" y="0"/>
                    <a:pt x="137" y="7"/>
                    <a:pt x="137" y="16"/>
                  </a:cubicBezTo>
                  <a:cubicBezTo>
                    <a:pt x="137" y="24"/>
                    <a:pt x="133" y="31"/>
                    <a:pt x="129" y="31"/>
                  </a:cubicBezTo>
                  <a:cubicBezTo>
                    <a:pt x="129" y="31"/>
                    <a:pt x="95" y="23"/>
                    <a:pt x="69" y="23"/>
                  </a:cubicBezTo>
                  <a:cubicBezTo>
                    <a:pt x="42" y="23"/>
                    <a:pt x="9" y="31"/>
                    <a:pt x="9" y="31"/>
                  </a:cubicBezTo>
                  <a:cubicBezTo>
                    <a:pt x="4" y="31"/>
                    <a:pt x="0" y="24"/>
                    <a:pt x="0" y="16"/>
                  </a:cubicBezTo>
                  <a:cubicBezTo>
                    <a:pt x="0" y="7"/>
                    <a:pt x="4" y="0"/>
                    <a:pt x="9" y="0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2" name="Freeform 439">
              <a:extLst>
                <a:ext uri="{FF2B5EF4-FFF2-40B4-BE49-F238E27FC236}">
                  <a16:creationId xmlns:a16="http://schemas.microsoft.com/office/drawing/2014/main" id="{6ED2F52B-3132-4490-A097-0B2C1056E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763" y="5838826"/>
              <a:ext cx="531813" cy="122238"/>
            </a:xfrm>
            <a:custGeom>
              <a:avLst/>
              <a:gdLst>
                <a:gd name="T0" fmla="*/ 15 w 137"/>
                <a:gd name="T1" fmla="*/ 2 h 31"/>
                <a:gd name="T2" fmla="*/ 69 w 137"/>
                <a:gd name="T3" fmla="*/ 12 h 31"/>
                <a:gd name="T4" fmla="*/ 129 w 137"/>
                <a:gd name="T5" fmla="*/ 0 h 31"/>
                <a:gd name="T6" fmla="*/ 137 w 137"/>
                <a:gd name="T7" fmla="*/ 16 h 31"/>
                <a:gd name="T8" fmla="*/ 129 w 137"/>
                <a:gd name="T9" fmla="*/ 31 h 31"/>
                <a:gd name="T10" fmla="*/ 69 w 137"/>
                <a:gd name="T11" fmla="*/ 23 h 31"/>
                <a:gd name="T12" fmla="*/ 9 w 137"/>
                <a:gd name="T13" fmla="*/ 31 h 31"/>
                <a:gd name="T14" fmla="*/ 0 w 137"/>
                <a:gd name="T15" fmla="*/ 16 h 31"/>
                <a:gd name="T16" fmla="*/ 9 w 137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31">
                  <a:moveTo>
                    <a:pt x="15" y="2"/>
                  </a:moveTo>
                  <a:cubicBezTo>
                    <a:pt x="27" y="5"/>
                    <a:pt x="53" y="12"/>
                    <a:pt x="69" y="12"/>
                  </a:cubicBezTo>
                  <a:cubicBezTo>
                    <a:pt x="89" y="12"/>
                    <a:pt x="129" y="0"/>
                    <a:pt x="129" y="0"/>
                  </a:cubicBezTo>
                  <a:cubicBezTo>
                    <a:pt x="133" y="0"/>
                    <a:pt x="137" y="7"/>
                    <a:pt x="137" y="16"/>
                  </a:cubicBezTo>
                  <a:cubicBezTo>
                    <a:pt x="137" y="24"/>
                    <a:pt x="133" y="31"/>
                    <a:pt x="129" y="31"/>
                  </a:cubicBezTo>
                  <a:cubicBezTo>
                    <a:pt x="129" y="31"/>
                    <a:pt x="95" y="23"/>
                    <a:pt x="69" y="23"/>
                  </a:cubicBezTo>
                  <a:cubicBezTo>
                    <a:pt x="42" y="23"/>
                    <a:pt x="9" y="31"/>
                    <a:pt x="9" y="31"/>
                  </a:cubicBezTo>
                  <a:cubicBezTo>
                    <a:pt x="4" y="31"/>
                    <a:pt x="0" y="24"/>
                    <a:pt x="0" y="16"/>
                  </a:cubicBezTo>
                  <a:cubicBezTo>
                    <a:pt x="0" y="7"/>
                    <a:pt x="4" y="0"/>
                    <a:pt x="9" y="0"/>
                  </a:cubicBez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3" name="Freeform 440">
              <a:extLst>
                <a:ext uri="{FF2B5EF4-FFF2-40B4-BE49-F238E27FC236}">
                  <a16:creationId xmlns:a16="http://schemas.microsoft.com/office/drawing/2014/main" id="{C1F1CB4C-6184-4E3A-926E-16145C0D1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6063" y="5573713"/>
              <a:ext cx="557213" cy="198438"/>
            </a:xfrm>
            <a:custGeom>
              <a:avLst/>
              <a:gdLst>
                <a:gd name="T0" fmla="*/ 72 w 143"/>
                <a:gd name="T1" fmla="*/ 0 h 50"/>
                <a:gd name="T2" fmla="*/ 0 w 143"/>
                <a:gd name="T3" fmla="*/ 39 h 50"/>
                <a:gd name="T4" fmla="*/ 31 w 143"/>
                <a:gd name="T5" fmla="*/ 50 h 50"/>
                <a:gd name="T6" fmla="*/ 113 w 143"/>
                <a:gd name="T7" fmla="*/ 50 h 50"/>
                <a:gd name="T8" fmla="*/ 143 w 143"/>
                <a:gd name="T9" fmla="*/ 39 h 50"/>
                <a:gd name="T10" fmla="*/ 72 w 143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" h="50">
                  <a:moveTo>
                    <a:pt x="72" y="0"/>
                  </a:moveTo>
                  <a:cubicBezTo>
                    <a:pt x="72" y="0"/>
                    <a:pt x="29" y="27"/>
                    <a:pt x="0" y="3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15" y="27"/>
                    <a:pt x="72" y="0"/>
                    <a:pt x="72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4" name="Freeform 441">
              <a:extLst>
                <a:ext uri="{FF2B5EF4-FFF2-40B4-BE49-F238E27FC236}">
                  <a16:creationId xmlns:a16="http://schemas.microsoft.com/office/drawing/2014/main" id="{B32AA998-6DBD-4AB8-9425-04787D031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6063" y="5573713"/>
              <a:ext cx="557213" cy="198438"/>
            </a:xfrm>
            <a:custGeom>
              <a:avLst/>
              <a:gdLst>
                <a:gd name="T0" fmla="*/ 72 w 143"/>
                <a:gd name="T1" fmla="*/ 0 h 50"/>
                <a:gd name="T2" fmla="*/ 0 w 143"/>
                <a:gd name="T3" fmla="*/ 39 h 50"/>
                <a:gd name="T4" fmla="*/ 31 w 143"/>
                <a:gd name="T5" fmla="*/ 50 h 50"/>
                <a:gd name="T6" fmla="*/ 113 w 143"/>
                <a:gd name="T7" fmla="*/ 50 h 50"/>
                <a:gd name="T8" fmla="*/ 143 w 143"/>
                <a:gd name="T9" fmla="*/ 39 h 50"/>
                <a:gd name="T10" fmla="*/ 72 w 143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" h="50">
                  <a:moveTo>
                    <a:pt x="72" y="0"/>
                  </a:moveTo>
                  <a:cubicBezTo>
                    <a:pt x="72" y="0"/>
                    <a:pt x="29" y="27"/>
                    <a:pt x="0" y="3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15" y="27"/>
                    <a:pt x="72" y="0"/>
                    <a:pt x="72" y="0"/>
                  </a:cubicBezTo>
                </a:path>
              </a:pathLst>
            </a:cu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5" name="Freeform 442">
              <a:extLst>
                <a:ext uri="{FF2B5EF4-FFF2-40B4-BE49-F238E27FC236}">
                  <a16:creationId xmlns:a16="http://schemas.microsoft.com/office/drawing/2014/main" id="{53FC1751-CF3D-4D1C-8D44-E0EE1F901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713" y="5684838"/>
              <a:ext cx="319088" cy="157163"/>
            </a:xfrm>
            <a:custGeom>
              <a:avLst/>
              <a:gdLst>
                <a:gd name="T0" fmla="*/ 0 w 82"/>
                <a:gd name="T1" fmla="*/ 22 h 40"/>
                <a:gd name="T2" fmla="*/ 0 w 82"/>
                <a:gd name="T3" fmla="*/ 31 h 40"/>
                <a:gd name="T4" fmla="*/ 41 w 82"/>
                <a:gd name="T5" fmla="*/ 40 h 40"/>
                <a:gd name="T6" fmla="*/ 82 w 82"/>
                <a:gd name="T7" fmla="*/ 31 h 40"/>
                <a:gd name="T8" fmla="*/ 82 w 82"/>
                <a:gd name="T9" fmla="*/ 22 h 40"/>
                <a:gd name="T10" fmla="*/ 82 w 82"/>
                <a:gd name="T11" fmla="*/ 15 h 40"/>
                <a:gd name="T12" fmla="*/ 41 w 82"/>
                <a:gd name="T13" fmla="*/ 0 h 40"/>
                <a:gd name="T14" fmla="*/ 0 w 82"/>
                <a:gd name="T15" fmla="*/ 15 h 40"/>
                <a:gd name="T16" fmla="*/ 0 w 82"/>
                <a:gd name="T17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40">
                  <a:moveTo>
                    <a:pt x="0" y="2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19" y="40"/>
                    <a:pt x="41" y="40"/>
                  </a:cubicBezTo>
                  <a:cubicBezTo>
                    <a:pt x="63" y="40"/>
                    <a:pt x="82" y="35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7"/>
                    <a:pt x="63" y="0"/>
                    <a:pt x="41" y="0"/>
                  </a:cubicBezTo>
                  <a:cubicBezTo>
                    <a:pt x="19" y="0"/>
                    <a:pt x="0" y="7"/>
                    <a:pt x="0" y="15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6" name="Freeform 443">
              <a:extLst>
                <a:ext uri="{FF2B5EF4-FFF2-40B4-BE49-F238E27FC236}">
                  <a16:creationId xmlns:a16="http://schemas.microsoft.com/office/drawing/2014/main" id="{4218C167-EFD4-4103-A11D-3E3C26259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188" y="5910263"/>
              <a:ext cx="112713" cy="141288"/>
            </a:xfrm>
            <a:custGeom>
              <a:avLst/>
              <a:gdLst>
                <a:gd name="T0" fmla="*/ 13 w 29"/>
                <a:gd name="T1" fmla="*/ 0 h 36"/>
                <a:gd name="T2" fmla="*/ 29 w 29"/>
                <a:gd name="T3" fmla="*/ 29 h 36"/>
                <a:gd name="T4" fmla="*/ 21 w 29"/>
                <a:gd name="T5" fmla="*/ 29 h 36"/>
                <a:gd name="T6" fmla="*/ 19 w 29"/>
                <a:gd name="T7" fmla="*/ 36 h 36"/>
                <a:gd name="T8" fmla="*/ 0 w 29"/>
                <a:gd name="T9" fmla="*/ 5 h 36"/>
                <a:gd name="T10" fmla="*/ 13 w 29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6">
                  <a:moveTo>
                    <a:pt x="13" y="0"/>
                  </a:moveTo>
                  <a:cubicBezTo>
                    <a:pt x="13" y="0"/>
                    <a:pt x="20" y="22"/>
                    <a:pt x="29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2" y="14"/>
                    <a:pt x="0" y="5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7" name="Freeform 444">
              <a:extLst>
                <a:ext uri="{FF2B5EF4-FFF2-40B4-BE49-F238E27FC236}">
                  <a16:creationId xmlns:a16="http://schemas.microsoft.com/office/drawing/2014/main" id="{C17CEC70-15F1-4B53-BD1A-F180107A9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376" y="5913438"/>
              <a:ext cx="82550" cy="169863"/>
            </a:xfrm>
            <a:custGeom>
              <a:avLst/>
              <a:gdLst>
                <a:gd name="T0" fmla="*/ 0 w 52"/>
                <a:gd name="T1" fmla="*/ 105 h 107"/>
                <a:gd name="T2" fmla="*/ 22 w 52"/>
                <a:gd name="T3" fmla="*/ 80 h 107"/>
                <a:gd name="T4" fmla="*/ 39 w 52"/>
                <a:gd name="T5" fmla="*/ 107 h 107"/>
                <a:gd name="T6" fmla="*/ 47 w 52"/>
                <a:gd name="T7" fmla="*/ 55 h 107"/>
                <a:gd name="T8" fmla="*/ 52 w 52"/>
                <a:gd name="T9" fmla="*/ 3 h 107"/>
                <a:gd name="T10" fmla="*/ 32 w 52"/>
                <a:gd name="T11" fmla="*/ 0 h 107"/>
                <a:gd name="T12" fmla="*/ 10 w 52"/>
                <a:gd name="T13" fmla="*/ 0 h 107"/>
                <a:gd name="T14" fmla="*/ 5 w 52"/>
                <a:gd name="T15" fmla="*/ 52 h 107"/>
                <a:gd name="T16" fmla="*/ 0 w 52"/>
                <a:gd name="T17" fmla="*/ 10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107">
                  <a:moveTo>
                    <a:pt x="0" y="105"/>
                  </a:moveTo>
                  <a:lnTo>
                    <a:pt x="22" y="80"/>
                  </a:lnTo>
                  <a:lnTo>
                    <a:pt x="39" y="107"/>
                  </a:lnTo>
                  <a:lnTo>
                    <a:pt x="47" y="55"/>
                  </a:lnTo>
                  <a:lnTo>
                    <a:pt x="52" y="3"/>
                  </a:lnTo>
                  <a:lnTo>
                    <a:pt x="32" y="0"/>
                  </a:lnTo>
                  <a:lnTo>
                    <a:pt x="10" y="0"/>
                  </a:lnTo>
                  <a:lnTo>
                    <a:pt x="5" y="52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8" name="Oval 445">
              <a:extLst>
                <a:ext uri="{FF2B5EF4-FFF2-40B4-BE49-F238E27FC236}">
                  <a16:creationId xmlns:a16="http://schemas.microsoft.com/office/drawing/2014/main" id="{AEE4FD05-1BD0-4FA9-8FDC-80DA1B43B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6" y="5870576"/>
              <a:ext cx="93663" cy="9525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09" name="Oval 446">
              <a:extLst>
                <a:ext uri="{FF2B5EF4-FFF2-40B4-BE49-F238E27FC236}">
                  <a16:creationId xmlns:a16="http://schemas.microsoft.com/office/drawing/2014/main" id="{89DACAB8-055D-439B-B05D-416AFF889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7813" y="5767388"/>
              <a:ext cx="50800" cy="5080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0" name="Freeform 447">
              <a:extLst>
                <a:ext uri="{FF2B5EF4-FFF2-40B4-BE49-F238E27FC236}">
                  <a16:creationId xmlns:a16="http://schemas.microsoft.com/office/drawing/2014/main" id="{434DE36D-9523-4E3A-9853-7F35E7F89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676" y="5818188"/>
              <a:ext cx="0" cy="107950"/>
            </a:xfrm>
            <a:custGeom>
              <a:avLst/>
              <a:gdLst>
                <a:gd name="T0" fmla="*/ 0 h 68"/>
                <a:gd name="T1" fmla="*/ 68 h 68"/>
                <a:gd name="T2" fmla="*/ 0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0"/>
                  </a:move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1" name="Line 448">
              <a:extLst>
                <a:ext uri="{FF2B5EF4-FFF2-40B4-BE49-F238E27FC236}">
                  <a16:creationId xmlns:a16="http://schemas.microsoft.com/office/drawing/2014/main" id="{C5F92E4F-AD78-4312-9A60-4D0515447A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90676" y="5818188"/>
              <a:ext cx="0" cy="107950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2" name="Freeform 449">
              <a:extLst>
                <a:ext uri="{FF2B5EF4-FFF2-40B4-BE49-F238E27FC236}">
                  <a16:creationId xmlns:a16="http://schemas.microsoft.com/office/drawing/2014/main" id="{D3C72B4A-FBDE-4482-896B-01CFD077A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51" y="5810251"/>
              <a:ext cx="0" cy="100013"/>
            </a:xfrm>
            <a:custGeom>
              <a:avLst/>
              <a:gdLst>
                <a:gd name="T0" fmla="*/ 0 h 63"/>
                <a:gd name="T1" fmla="*/ 63 h 63"/>
                <a:gd name="T2" fmla="*/ 0 h 6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3">
                  <a:moveTo>
                    <a:pt x="0" y="0"/>
                  </a:move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3" name="Line 450">
              <a:extLst>
                <a:ext uri="{FF2B5EF4-FFF2-40B4-BE49-F238E27FC236}">
                  <a16:creationId xmlns:a16="http://schemas.microsoft.com/office/drawing/2014/main" id="{7CBD2099-B8BD-4E6D-A6EF-6DFCD554A5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55751" y="5810251"/>
              <a:ext cx="0" cy="100013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26" name="Group 45525">
            <a:extLst>
              <a:ext uri="{FF2B5EF4-FFF2-40B4-BE49-F238E27FC236}">
                <a16:creationId xmlns:a16="http://schemas.microsoft.com/office/drawing/2014/main" id="{2B424CE4-9D92-4F43-BEB4-A3C442DB8F1F}"/>
              </a:ext>
            </a:extLst>
          </p:cNvPr>
          <p:cNvGrpSpPr/>
          <p:nvPr/>
        </p:nvGrpSpPr>
        <p:grpSpPr>
          <a:xfrm>
            <a:off x="2578100" y="5421313"/>
            <a:ext cx="844550" cy="841375"/>
            <a:chOff x="2578100" y="5421313"/>
            <a:chExt cx="844550" cy="841375"/>
          </a:xfrm>
        </p:grpSpPr>
        <p:sp>
          <p:nvSpPr>
            <p:cNvPr id="45516" name="AutoShape 452">
              <a:extLst>
                <a:ext uri="{FF2B5EF4-FFF2-40B4-BE49-F238E27FC236}">
                  <a16:creationId xmlns:a16="http://schemas.microsoft.com/office/drawing/2014/main" id="{2F4B8E40-8386-481B-AEE1-6E45FC36EB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78100" y="54213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7" name="Oval 454">
              <a:extLst>
                <a:ext uri="{FF2B5EF4-FFF2-40B4-BE49-F238E27FC236}">
                  <a16:creationId xmlns:a16="http://schemas.microsoft.com/office/drawing/2014/main" id="{E34E6F05-9050-4A4B-BB18-1745AF6B1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8100" y="542448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8" name="Freeform 455">
              <a:extLst>
                <a:ext uri="{FF2B5EF4-FFF2-40B4-BE49-F238E27FC236}">
                  <a16:creationId xmlns:a16="http://schemas.microsoft.com/office/drawing/2014/main" id="{9C71D87F-BB7E-4970-8A28-8577392CB1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6675" y="545306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19" name="Freeform 456">
              <a:extLst>
                <a:ext uri="{FF2B5EF4-FFF2-40B4-BE49-F238E27FC236}">
                  <a16:creationId xmlns:a16="http://schemas.microsoft.com/office/drawing/2014/main" id="{51CA06B0-7E1C-4B46-BDD2-198D43C19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5534026"/>
              <a:ext cx="468313" cy="576263"/>
            </a:xfrm>
            <a:custGeom>
              <a:avLst/>
              <a:gdLst>
                <a:gd name="T0" fmla="*/ 56 w 115"/>
                <a:gd name="T1" fmla="*/ 0 h 144"/>
                <a:gd name="T2" fmla="*/ 101 w 115"/>
                <a:gd name="T3" fmla="*/ 30 h 144"/>
                <a:gd name="T4" fmla="*/ 102 w 115"/>
                <a:gd name="T5" fmla="*/ 60 h 144"/>
                <a:gd name="T6" fmla="*/ 113 w 115"/>
                <a:gd name="T7" fmla="*/ 81 h 144"/>
                <a:gd name="T8" fmla="*/ 104 w 115"/>
                <a:gd name="T9" fmla="*/ 90 h 144"/>
                <a:gd name="T10" fmla="*/ 106 w 115"/>
                <a:gd name="T11" fmla="*/ 100 h 144"/>
                <a:gd name="T12" fmla="*/ 100 w 115"/>
                <a:gd name="T13" fmla="*/ 112 h 144"/>
                <a:gd name="T14" fmla="*/ 93 w 115"/>
                <a:gd name="T15" fmla="*/ 124 h 144"/>
                <a:gd name="T16" fmla="*/ 71 w 115"/>
                <a:gd name="T17" fmla="*/ 122 h 144"/>
                <a:gd name="T18" fmla="*/ 80 w 115"/>
                <a:gd name="T19" fmla="*/ 144 h 144"/>
                <a:gd name="T20" fmla="*/ 0 w 115"/>
                <a:gd name="T21" fmla="*/ 144 h 144"/>
                <a:gd name="T22" fmla="*/ 22 w 115"/>
                <a:gd name="T23" fmla="*/ 111 h 144"/>
                <a:gd name="T24" fmla="*/ 11 w 115"/>
                <a:gd name="T25" fmla="*/ 84 h 144"/>
                <a:gd name="T26" fmla="*/ 0 w 115"/>
                <a:gd name="T27" fmla="*/ 47 h 144"/>
                <a:gd name="T28" fmla="*/ 56 w 115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144">
                  <a:moveTo>
                    <a:pt x="56" y="0"/>
                  </a:moveTo>
                  <a:cubicBezTo>
                    <a:pt x="74" y="0"/>
                    <a:pt x="93" y="7"/>
                    <a:pt x="101" y="30"/>
                  </a:cubicBezTo>
                  <a:cubicBezTo>
                    <a:pt x="109" y="52"/>
                    <a:pt x="102" y="60"/>
                    <a:pt x="102" y="60"/>
                  </a:cubicBezTo>
                  <a:cubicBezTo>
                    <a:pt x="102" y="60"/>
                    <a:pt x="112" y="79"/>
                    <a:pt x="113" y="81"/>
                  </a:cubicBezTo>
                  <a:cubicBezTo>
                    <a:pt x="115" y="84"/>
                    <a:pt x="113" y="87"/>
                    <a:pt x="104" y="90"/>
                  </a:cubicBezTo>
                  <a:cubicBezTo>
                    <a:pt x="104" y="90"/>
                    <a:pt x="106" y="98"/>
                    <a:pt x="106" y="100"/>
                  </a:cubicBezTo>
                  <a:cubicBezTo>
                    <a:pt x="105" y="102"/>
                    <a:pt x="98" y="108"/>
                    <a:pt x="100" y="112"/>
                  </a:cubicBezTo>
                  <a:cubicBezTo>
                    <a:pt x="101" y="115"/>
                    <a:pt x="103" y="120"/>
                    <a:pt x="93" y="124"/>
                  </a:cubicBezTo>
                  <a:cubicBezTo>
                    <a:pt x="89" y="125"/>
                    <a:pt x="71" y="122"/>
                    <a:pt x="71" y="122"/>
                  </a:cubicBezTo>
                  <a:cubicBezTo>
                    <a:pt x="71" y="122"/>
                    <a:pt x="65" y="136"/>
                    <a:pt x="80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21" y="122"/>
                    <a:pt x="22" y="111"/>
                  </a:cubicBezTo>
                  <a:cubicBezTo>
                    <a:pt x="23" y="100"/>
                    <a:pt x="15" y="88"/>
                    <a:pt x="11" y="84"/>
                  </a:cubicBezTo>
                  <a:cubicBezTo>
                    <a:pt x="7" y="80"/>
                    <a:pt x="0" y="65"/>
                    <a:pt x="0" y="47"/>
                  </a:cubicBezTo>
                  <a:cubicBezTo>
                    <a:pt x="0" y="29"/>
                    <a:pt x="15" y="0"/>
                    <a:pt x="56" y="0"/>
                  </a:cubicBez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0" name="Freeform 457">
              <a:extLst>
                <a:ext uri="{FF2B5EF4-FFF2-40B4-BE49-F238E27FC236}">
                  <a16:creationId xmlns:a16="http://schemas.microsoft.com/office/drawing/2014/main" id="{9F1622C8-BF79-40AA-931B-4693CEF05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5584826"/>
              <a:ext cx="187325" cy="188913"/>
            </a:xfrm>
            <a:custGeom>
              <a:avLst/>
              <a:gdLst>
                <a:gd name="T0" fmla="*/ 40 w 46"/>
                <a:gd name="T1" fmla="*/ 25 h 47"/>
                <a:gd name="T2" fmla="*/ 40 w 46"/>
                <a:gd name="T3" fmla="*/ 21 h 47"/>
                <a:gd name="T4" fmla="*/ 46 w 46"/>
                <a:gd name="T5" fmla="*/ 19 h 47"/>
                <a:gd name="T6" fmla="*/ 42 w 46"/>
                <a:gd name="T7" fmla="*/ 10 h 47"/>
                <a:gd name="T8" fmla="*/ 36 w 46"/>
                <a:gd name="T9" fmla="*/ 12 h 47"/>
                <a:gd name="T10" fmla="*/ 34 w 46"/>
                <a:gd name="T11" fmla="*/ 9 h 47"/>
                <a:gd name="T12" fmla="*/ 36 w 46"/>
                <a:gd name="T13" fmla="*/ 4 h 47"/>
                <a:gd name="T14" fmla="*/ 31 w 46"/>
                <a:gd name="T15" fmla="*/ 2 h 47"/>
                <a:gd name="T16" fmla="*/ 26 w 46"/>
                <a:gd name="T17" fmla="*/ 0 h 47"/>
                <a:gd name="T18" fmla="*/ 24 w 46"/>
                <a:gd name="T19" fmla="*/ 6 h 47"/>
                <a:gd name="T20" fmla="*/ 20 w 46"/>
                <a:gd name="T21" fmla="*/ 6 h 47"/>
                <a:gd name="T22" fmla="*/ 18 w 46"/>
                <a:gd name="T23" fmla="*/ 1 h 47"/>
                <a:gd name="T24" fmla="*/ 9 w 46"/>
                <a:gd name="T25" fmla="*/ 5 h 47"/>
                <a:gd name="T26" fmla="*/ 11 w 46"/>
                <a:gd name="T27" fmla="*/ 10 h 47"/>
                <a:gd name="T28" fmla="*/ 9 w 46"/>
                <a:gd name="T29" fmla="*/ 13 h 47"/>
                <a:gd name="T30" fmla="*/ 3 w 46"/>
                <a:gd name="T31" fmla="*/ 11 h 47"/>
                <a:gd name="T32" fmla="*/ 1 w 46"/>
                <a:gd name="T33" fmla="*/ 15 h 47"/>
                <a:gd name="T34" fmla="*/ 0 w 46"/>
                <a:gd name="T35" fmla="*/ 20 h 47"/>
                <a:gd name="T36" fmla="*/ 5 w 46"/>
                <a:gd name="T37" fmla="*/ 22 h 47"/>
                <a:gd name="T38" fmla="*/ 5 w 46"/>
                <a:gd name="T39" fmla="*/ 26 h 47"/>
                <a:gd name="T40" fmla="*/ 0 w 46"/>
                <a:gd name="T41" fmla="*/ 28 h 47"/>
                <a:gd name="T42" fmla="*/ 4 w 46"/>
                <a:gd name="T43" fmla="*/ 37 h 47"/>
                <a:gd name="T44" fmla="*/ 9 w 46"/>
                <a:gd name="T45" fmla="*/ 35 h 47"/>
                <a:gd name="T46" fmla="*/ 12 w 46"/>
                <a:gd name="T47" fmla="*/ 38 h 47"/>
                <a:gd name="T48" fmla="*/ 10 w 46"/>
                <a:gd name="T49" fmla="*/ 43 h 47"/>
                <a:gd name="T50" fmla="*/ 14 w 46"/>
                <a:gd name="T51" fmla="*/ 45 h 47"/>
                <a:gd name="T52" fmla="*/ 19 w 46"/>
                <a:gd name="T53" fmla="*/ 47 h 47"/>
                <a:gd name="T54" fmla="*/ 21 w 46"/>
                <a:gd name="T55" fmla="*/ 41 h 47"/>
                <a:gd name="T56" fmla="*/ 25 w 46"/>
                <a:gd name="T57" fmla="*/ 41 h 47"/>
                <a:gd name="T58" fmla="*/ 28 w 46"/>
                <a:gd name="T59" fmla="*/ 46 h 47"/>
                <a:gd name="T60" fmla="*/ 37 w 46"/>
                <a:gd name="T61" fmla="*/ 42 h 47"/>
                <a:gd name="T62" fmla="*/ 34 w 46"/>
                <a:gd name="T63" fmla="*/ 37 h 47"/>
                <a:gd name="T64" fmla="*/ 37 w 46"/>
                <a:gd name="T65" fmla="*/ 34 h 47"/>
                <a:gd name="T66" fmla="*/ 42 w 46"/>
                <a:gd name="T67" fmla="*/ 36 h 47"/>
                <a:gd name="T68" fmla="*/ 45 w 46"/>
                <a:gd name="T69" fmla="*/ 32 h 47"/>
                <a:gd name="T70" fmla="*/ 46 w 46"/>
                <a:gd name="T71" fmla="*/ 27 h 47"/>
                <a:gd name="T72" fmla="*/ 40 w 46"/>
                <a:gd name="T73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" h="47">
                  <a:moveTo>
                    <a:pt x="40" y="25"/>
                  </a:moveTo>
                  <a:cubicBezTo>
                    <a:pt x="41" y="24"/>
                    <a:pt x="41" y="22"/>
                    <a:pt x="40" y="2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5" y="15"/>
                    <a:pt x="44" y="12"/>
                    <a:pt x="42" y="1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1"/>
                    <a:pt x="35" y="10"/>
                    <a:pt x="34" y="9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4" y="3"/>
                    <a:pt x="33" y="2"/>
                    <a:pt x="31" y="2"/>
                  </a:cubicBezTo>
                  <a:cubicBezTo>
                    <a:pt x="30" y="1"/>
                    <a:pt x="28" y="1"/>
                    <a:pt x="26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2" y="6"/>
                    <a:pt x="20" y="6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5" y="1"/>
                    <a:pt x="12" y="3"/>
                    <a:pt x="9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1"/>
                    <a:pt x="10" y="12"/>
                    <a:pt x="9" y="1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2"/>
                    <a:pt x="2" y="14"/>
                    <a:pt x="1" y="15"/>
                  </a:cubicBezTo>
                  <a:cubicBezTo>
                    <a:pt x="0" y="17"/>
                    <a:pt x="0" y="18"/>
                    <a:pt x="0" y="2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3"/>
                    <a:pt x="5" y="25"/>
                    <a:pt x="5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32"/>
                    <a:pt x="2" y="35"/>
                    <a:pt x="4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0" y="36"/>
                    <a:pt x="11" y="37"/>
                    <a:pt x="12" y="38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4"/>
                    <a:pt x="13" y="45"/>
                    <a:pt x="14" y="45"/>
                  </a:cubicBezTo>
                  <a:cubicBezTo>
                    <a:pt x="16" y="46"/>
                    <a:pt x="18" y="46"/>
                    <a:pt x="19" y="47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3" y="41"/>
                    <a:pt x="24" y="41"/>
                    <a:pt x="25" y="41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31" y="46"/>
                    <a:pt x="34" y="44"/>
                    <a:pt x="37" y="42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6"/>
                    <a:pt x="36" y="35"/>
                    <a:pt x="37" y="3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5"/>
                    <a:pt x="44" y="33"/>
                    <a:pt x="45" y="32"/>
                  </a:cubicBezTo>
                  <a:cubicBezTo>
                    <a:pt x="45" y="30"/>
                    <a:pt x="46" y="29"/>
                    <a:pt x="46" y="27"/>
                  </a:cubicBezTo>
                  <a:lnTo>
                    <a:pt x="40" y="25"/>
                  </a:ln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1" name="Oval 458">
              <a:extLst>
                <a:ext uri="{FF2B5EF4-FFF2-40B4-BE49-F238E27FC236}">
                  <a16:creationId xmlns:a16="http://schemas.microsoft.com/office/drawing/2014/main" id="{2A58F9DB-D2E2-4E13-A319-4B1EA06A3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225" y="5653088"/>
              <a:ext cx="53975" cy="52388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2" name="Freeform 459">
              <a:extLst>
                <a:ext uri="{FF2B5EF4-FFF2-40B4-BE49-F238E27FC236}">
                  <a16:creationId xmlns:a16="http://schemas.microsoft.com/office/drawing/2014/main" id="{CCBC1808-07D2-46FE-B7E9-4517FC565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1013" y="5729288"/>
              <a:ext cx="142875" cy="141288"/>
            </a:xfrm>
            <a:custGeom>
              <a:avLst/>
              <a:gdLst>
                <a:gd name="T0" fmla="*/ 35 w 35"/>
                <a:gd name="T1" fmla="*/ 21 h 35"/>
                <a:gd name="T2" fmla="*/ 35 w 35"/>
                <a:gd name="T3" fmla="*/ 17 h 35"/>
                <a:gd name="T4" fmla="*/ 35 w 35"/>
                <a:gd name="T5" fmla="*/ 14 h 35"/>
                <a:gd name="T6" fmla="*/ 29 w 35"/>
                <a:gd name="T7" fmla="*/ 13 h 35"/>
                <a:gd name="T8" fmla="*/ 29 w 35"/>
                <a:gd name="T9" fmla="*/ 12 h 35"/>
                <a:gd name="T10" fmla="*/ 32 w 35"/>
                <a:gd name="T11" fmla="*/ 8 h 35"/>
                <a:gd name="T12" fmla="*/ 27 w 35"/>
                <a:gd name="T13" fmla="*/ 3 h 35"/>
                <a:gd name="T14" fmla="*/ 23 w 35"/>
                <a:gd name="T15" fmla="*/ 6 h 35"/>
                <a:gd name="T16" fmla="*/ 22 w 35"/>
                <a:gd name="T17" fmla="*/ 6 h 35"/>
                <a:gd name="T18" fmla="*/ 21 w 35"/>
                <a:gd name="T19" fmla="*/ 0 h 35"/>
                <a:gd name="T20" fmla="*/ 18 w 35"/>
                <a:gd name="T21" fmla="*/ 0 h 35"/>
                <a:gd name="T22" fmla="*/ 14 w 35"/>
                <a:gd name="T23" fmla="*/ 0 h 35"/>
                <a:gd name="T24" fmla="*/ 14 w 35"/>
                <a:gd name="T25" fmla="*/ 6 h 35"/>
                <a:gd name="T26" fmla="*/ 12 w 35"/>
                <a:gd name="T27" fmla="*/ 6 h 35"/>
                <a:gd name="T28" fmla="*/ 8 w 35"/>
                <a:gd name="T29" fmla="*/ 3 h 35"/>
                <a:gd name="T30" fmla="*/ 3 w 35"/>
                <a:gd name="T31" fmla="*/ 8 h 35"/>
                <a:gd name="T32" fmla="*/ 7 w 35"/>
                <a:gd name="T33" fmla="*/ 12 h 35"/>
                <a:gd name="T34" fmla="*/ 6 w 35"/>
                <a:gd name="T35" fmla="*/ 13 h 35"/>
                <a:gd name="T36" fmla="*/ 1 w 35"/>
                <a:gd name="T37" fmla="*/ 14 h 35"/>
                <a:gd name="T38" fmla="*/ 0 w 35"/>
                <a:gd name="T39" fmla="*/ 17 h 35"/>
                <a:gd name="T40" fmla="*/ 1 w 35"/>
                <a:gd name="T41" fmla="*/ 21 h 35"/>
                <a:gd name="T42" fmla="*/ 6 w 35"/>
                <a:gd name="T43" fmla="*/ 21 h 35"/>
                <a:gd name="T44" fmla="*/ 7 w 35"/>
                <a:gd name="T45" fmla="*/ 23 h 35"/>
                <a:gd name="T46" fmla="*/ 3 w 35"/>
                <a:gd name="T47" fmla="*/ 27 h 35"/>
                <a:gd name="T48" fmla="*/ 8 w 35"/>
                <a:gd name="T49" fmla="*/ 32 h 35"/>
                <a:gd name="T50" fmla="*/ 12 w 35"/>
                <a:gd name="T51" fmla="*/ 28 h 35"/>
                <a:gd name="T52" fmla="*/ 14 w 35"/>
                <a:gd name="T53" fmla="*/ 29 h 35"/>
                <a:gd name="T54" fmla="*/ 14 w 35"/>
                <a:gd name="T55" fmla="*/ 35 h 35"/>
                <a:gd name="T56" fmla="*/ 18 w 35"/>
                <a:gd name="T57" fmla="*/ 35 h 35"/>
                <a:gd name="T58" fmla="*/ 21 w 35"/>
                <a:gd name="T59" fmla="*/ 35 h 35"/>
                <a:gd name="T60" fmla="*/ 22 w 35"/>
                <a:gd name="T61" fmla="*/ 29 h 35"/>
                <a:gd name="T62" fmla="*/ 23 w 35"/>
                <a:gd name="T63" fmla="*/ 28 h 35"/>
                <a:gd name="T64" fmla="*/ 27 w 35"/>
                <a:gd name="T65" fmla="*/ 32 h 35"/>
                <a:gd name="T66" fmla="*/ 32 w 35"/>
                <a:gd name="T67" fmla="*/ 27 h 35"/>
                <a:gd name="T68" fmla="*/ 29 w 35"/>
                <a:gd name="T69" fmla="*/ 23 h 35"/>
                <a:gd name="T70" fmla="*/ 29 w 35"/>
                <a:gd name="T71" fmla="*/ 21 h 35"/>
                <a:gd name="T72" fmla="*/ 35 w 35"/>
                <a:gd name="T73" fmla="*/ 2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" h="35">
                  <a:moveTo>
                    <a:pt x="35" y="21"/>
                  </a:moveTo>
                  <a:cubicBezTo>
                    <a:pt x="35" y="20"/>
                    <a:pt x="35" y="19"/>
                    <a:pt x="35" y="17"/>
                  </a:cubicBezTo>
                  <a:cubicBezTo>
                    <a:pt x="35" y="16"/>
                    <a:pt x="35" y="15"/>
                    <a:pt x="35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2"/>
                    <a:pt x="29" y="12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6"/>
                    <a:pt x="29" y="4"/>
                    <a:pt x="27" y="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6"/>
                    <a:pt x="12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4"/>
                    <a:pt x="4" y="6"/>
                    <a:pt x="3" y="8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6" y="13"/>
                    <a:pt x="6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7" y="2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29"/>
                    <a:pt x="6" y="31"/>
                    <a:pt x="8" y="32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9"/>
                    <a:pt x="13" y="29"/>
                    <a:pt x="14" y="29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6" y="35"/>
                    <a:pt x="18" y="35"/>
                  </a:cubicBezTo>
                  <a:cubicBezTo>
                    <a:pt x="19" y="35"/>
                    <a:pt x="20" y="35"/>
                    <a:pt x="21" y="35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3" y="29"/>
                    <a:pt x="23" y="28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9" y="31"/>
                    <a:pt x="31" y="29"/>
                    <a:pt x="32" y="27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29" y="21"/>
                  </a:cubicBezTo>
                  <a:lnTo>
                    <a:pt x="35" y="21"/>
                  </a:ln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3" name="Oval 460">
              <a:extLst>
                <a:ext uri="{FF2B5EF4-FFF2-40B4-BE49-F238E27FC236}">
                  <a16:creationId xmlns:a16="http://schemas.microsoft.com/office/drawing/2014/main" id="{90319871-7481-4C55-A7F2-9FA3CC782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3400" y="5778501"/>
              <a:ext cx="41275" cy="39688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4" name="Freeform 461">
              <a:extLst>
                <a:ext uri="{FF2B5EF4-FFF2-40B4-BE49-F238E27FC236}">
                  <a16:creationId xmlns:a16="http://schemas.microsoft.com/office/drawing/2014/main" id="{972C7BDF-FA61-4136-9CBD-B187D5D00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0" y="5781676"/>
              <a:ext cx="106363" cy="104775"/>
            </a:xfrm>
            <a:custGeom>
              <a:avLst/>
              <a:gdLst>
                <a:gd name="T0" fmla="*/ 26 w 26"/>
                <a:gd name="T1" fmla="*/ 16 h 26"/>
                <a:gd name="T2" fmla="*/ 26 w 26"/>
                <a:gd name="T3" fmla="*/ 13 h 26"/>
                <a:gd name="T4" fmla="*/ 26 w 26"/>
                <a:gd name="T5" fmla="*/ 10 h 26"/>
                <a:gd name="T6" fmla="*/ 23 w 26"/>
                <a:gd name="T7" fmla="*/ 10 h 26"/>
                <a:gd name="T8" fmla="*/ 23 w 26"/>
                <a:gd name="T9" fmla="*/ 9 h 26"/>
                <a:gd name="T10" fmla="*/ 24 w 26"/>
                <a:gd name="T11" fmla="*/ 6 h 26"/>
                <a:gd name="T12" fmla="*/ 20 w 26"/>
                <a:gd name="T13" fmla="*/ 2 h 26"/>
                <a:gd name="T14" fmla="*/ 18 w 26"/>
                <a:gd name="T15" fmla="*/ 4 h 26"/>
                <a:gd name="T16" fmla="*/ 17 w 26"/>
                <a:gd name="T17" fmla="*/ 3 h 26"/>
                <a:gd name="T18" fmla="*/ 16 w 26"/>
                <a:gd name="T19" fmla="*/ 0 h 26"/>
                <a:gd name="T20" fmla="*/ 13 w 26"/>
                <a:gd name="T21" fmla="*/ 0 h 26"/>
                <a:gd name="T22" fmla="*/ 10 w 26"/>
                <a:gd name="T23" fmla="*/ 0 h 26"/>
                <a:gd name="T24" fmla="*/ 10 w 26"/>
                <a:gd name="T25" fmla="*/ 3 h 26"/>
                <a:gd name="T26" fmla="*/ 9 w 26"/>
                <a:gd name="T27" fmla="*/ 4 h 26"/>
                <a:gd name="T28" fmla="*/ 6 w 26"/>
                <a:gd name="T29" fmla="*/ 2 h 26"/>
                <a:gd name="T30" fmla="*/ 2 w 26"/>
                <a:gd name="T31" fmla="*/ 6 h 26"/>
                <a:gd name="T32" fmla="*/ 4 w 26"/>
                <a:gd name="T33" fmla="*/ 9 h 26"/>
                <a:gd name="T34" fmla="*/ 3 w 26"/>
                <a:gd name="T35" fmla="*/ 10 h 26"/>
                <a:gd name="T36" fmla="*/ 0 w 26"/>
                <a:gd name="T37" fmla="*/ 10 h 26"/>
                <a:gd name="T38" fmla="*/ 0 w 26"/>
                <a:gd name="T39" fmla="*/ 13 h 26"/>
                <a:gd name="T40" fmla="*/ 0 w 26"/>
                <a:gd name="T41" fmla="*/ 16 h 26"/>
                <a:gd name="T42" fmla="*/ 3 w 26"/>
                <a:gd name="T43" fmla="*/ 17 h 26"/>
                <a:gd name="T44" fmla="*/ 4 w 26"/>
                <a:gd name="T45" fmla="*/ 18 h 26"/>
                <a:gd name="T46" fmla="*/ 2 w 26"/>
                <a:gd name="T47" fmla="*/ 20 h 26"/>
                <a:gd name="T48" fmla="*/ 6 w 26"/>
                <a:gd name="T49" fmla="*/ 24 h 26"/>
                <a:gd name="T50" fmla="*/ 9 w 26"/>
                <a:gd name="T51" fmla="*/ 23 h 26"/>
                <a:gd name="T52" fmla="*/ 10 w 26"/>
                <a:gd name="T53" fmla="*/ 23 h 26"/>
                <a:gd name="T54" fmla="*/ 10 w 26"/>
                <a:gd name="T55" fmla="*/ 26 h 26"/>
                <a:gd name="T56" fmla="*/ 13 w 26"/>
                <a:gd name="T57" fmla="*/ 26 h 26"/>
                <a:gd name="T58" fmla="*/ 16 w 26"/>
                <a:gd name="T59" fmla="*/ 26 h 26"/>
                <a:gd name="T60" fmla="*/ 17 w 26"/>
                <a:gd name="T61" fmla="*/ 23 h 26"/>
                <a:gd name="T62" fmla="*/ 18 w 26"/>
                <a:gd name="T63" fmla="*/ 23 h 26"/>
                <a:gd name="T64" fmla="*/ 20 w 26"/>
                <a:gd name="T65" fmla="*/ 24 h 26"/>
                <a:gd name="T66" fmla="*/ 24 w 26"/>
                <a:gd name="T67" fmla="*/ 20 h 26"/>
                <a:gd name="T68" fmla="*/ 23 w 26"/>
                <a:gd name="T69" fmla="*/ 18 h 26"/>
                <a:gd name="T70" fmla="*/ 23 w 26"/>
                <a:gd name="T71" fmla="*/ 17 h 26"/>
                <a:gd name="T72" fmla="*/ 26 w 26"/>
                <a:gd name="T7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" h="26">
                  <a:moveTo>
                    <a:pt x="26" y="16"/>
                  </a:moveTo>
                  <a:cubicBezTo>
                    <a:pt x="26" y="15"/>
                    <a:pt x="26" y="14"/>
                    <a:pt x="26" y="13"/>
                  </a:cubicBezTo>
                  <a:cubicBezTo>
                    <a:pt x="26" y="12"/>
                    <a:pt x="26" y="11"/>
                    <a:pt x="26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2" y="3"/>
                    <a:pt x="20" y="2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0"/>
                    <a:pt x="13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3"/>
                    <a:pt x="3" y="5"/>
                    <a:pt x="2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3" y="9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4" y="17"/>
                    <a:pt x="4" y="18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2"/>
                    <a:pt x="5" y="23"/>
                    <a:pt x="6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10" y="23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2" y="26"/>
                    <a:pt x="13" y="26"/>
                  </a:cubicBezTo>
                  <a:cubicBezTo>
                    <a:pt x="14" y="26"/>
                    <a:pt x="15" y="26"/>
                    <a:pt x="16" y="26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8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2" y="23"/>
                    <a:pt x="23" y="22"/>
                    <a:pt x="24" y="2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5" name="Oval 462">
              <a:extLst>
                <a:ext uri="{FF2B5EF4-FFF2-40B4-BE49-F238E27FC236}">
                  <a16:creationId xmlns:a16="http://schemas.microsoft.com/office/drawing/2014/main" id="{E0C7FD10-B448-40A9-80DA-FD6DD8190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5925" y="5818188"/>
              <a:ext cx="28575" cy="3175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37" name="Group 45536">
            <a:extLst>
              <a:ext uri="{FF2B5EF4-FFF2-40B4-BE49-F238E27FC236}">
                <a16:creationId xmlns:a16="http://schemas.microsoft.com/office/drawing/2014/main" id="{323C9EDC-4982-4790-9396-B88144B1828D}"/>
              </a:ext>
            </a:extLst>
          </p:cNvPr>
          <p:cNvGrpSpPr/>
          <p:nvPr/>
        </p:nvGrpSpPr>
        <p:grpSpPr>
          <a:xfrm>
            <a:off x="3633788" y="5454651"/>
            <a:ext cx="758825" cy="766763"/>
            <a:chOff x="3633788" y="5454651"/>
            <a:chExt cx="758825" cy="766763"/>
          </a:xfrm>
        </p:grpSpPr>
        <p:sp>
          <p:nvSpPr>
            <p:cNvPr id="45528" name="AutoShape 464">
              <a:extLst>
                <a:ext uri="{FF2B5EF4-FFF2-40B4-BE49-F238E27FC236}">
                  <a16:creationId xmlns:a16="http://schemas.microsoft.com/office/drawing/2014/main" id="{A944485C-74D1-4884-83C1-CC833E7DEA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3788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29" name="Freeform 466">
              <a:extLst>
                <a:ext uri="{FF2B5EF4-FFF2-40B4-BE49-F238E27FC236}">
                  <a16:creationId xmlns:a16="http://schemas.microsoft.com/office/drawing/2014/main" id="{D4FC1D07-BCD5-49FB-8653-67122B3CE3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6963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0" name="Freeform 467">
              <a:extLst>
                <a:ext uri="{FF2B5EF4-FFF2-40B4-BE49-F238E27FC236}">
                  <a16:creationId xmlns:a16="http://schemas.microsoft.com/office/drawing/2014/main" id="{B0237C1D-5483-49D2-B9EE-ED77F754E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176" y="5534026"/>
              <a:ext cx="447675" cy="569913"/>
            </a:xfrm>
            <a:custGeom>
              <a:avLst/>
              <a:gdLst>
                <a:gd name="T0" fmla="*/ 56 w 115"/>
                <a:gd name="T1" fmla="*/ 0 h 144"/>
                <a:gd name="T2" fmla="*/ 101 w 115"/>
                <a:gd name="T3" fmla="*/ 30 h 144"/>
                <a:gd name="T4" fmla="*/ 102 w 115"/>
                <a:gd name="T5" fmla="*/ 60 h 144"/>
                <a:gd name="T6" fmla="*/ 113 w 115"/>
                <a:gd name="T7" fmla="*/ 81 h 144"/>
                <a:gd name="T8" fmla="*/ 104 w 115"/>
                <a:gd name="T9" fmla="*/ 90 h 144"/>
                <a:gd name="T10" fmla="*/ 106 w 115"/>
                <a:gd name="T11" fmla="*/ 100 h 144"/>
                <a:gd name="T12" fmla="*/ 100 w 115"/>
                <a:gd name="T13" fmla="*/ 112 h 144"/>
                <a:gd name="T14" fmla="*/ 93 w 115"/>
                <a:gd name="T15" fmla="*/ 124 h 144"/>
                <a:gd name="T16" fmla="*/ 71 w 115"/>
                <a:gd name="T17" fmla="*/ 122 h 144"/>
                <a:gd name="T18" fmla="*/ 80 w 115"/>
                <a:gd name="T19" fmla="*/ 144 h 144"/>
                <a:gd name="T20" fmla="*/ 0 w 115"/>
                <a:gd name="T21" fmla="*/ 144 h 144"/>
                <a:gd name="T22" fmla="*/ 22 w 115"/>
                <a:gd name="T23" fmla="*/ 111 h 144"/>
                <a:gd name="T24" fmla="*/ 11 w 115"/>
                <a:gd name="T25" fmla="*/ 84 h 144"/>
                <a:gd name="T26" fmla="*/ 0 w 115"/>
                <a:gd name="T27" fmla="*/ 47 h 144"/>
                <a:gd name="T28" fmla="*/ 56 w 115"/>
                <a:gd name="T2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" h="144">
                  <a:moveTo>
                    <a:pt x="56" y="0"/>
                  </a:moveTo>
                  <a:cubicBezTo>
                    <a:pt x="74" y="0"/>
                    <a:pt x="93" y="7"/>
                    <a:pt x="101" y="30"/>
                  </a:cubicBezTo>
                  <a:cubicBezTo>
                    <a:pt x="109" y="52"/>
                    <a:pt x="102" y="60"/>
                    <a:pt x="102" y="60"/>
                  </a:cubicBezTo>
                  <a:cubicBezTo>
                    <a:pt x="102" y="60"/>
                    <a:pt x="112" y="79"/>
                    <a:pt x="113" y="81"/>
                  </a:cubicBezTo>
                  <a:cubicBezTo>
                    <a:pt x="115" y="84"/>
                    <a:pt x="113" y="87"/>
                    <a:pt x="104" y="90"/>
                  </a:cubicBezTo>
                  <a:cubicBezTo>
                    <a:pt x="104" y="90"/>
                    <a:pt x="106" y="98"/>
                    <a:pt x="106" y="100"/>
                  </a:cubicBezTo>
                  <a:cubicBezTo>
                    <a:pt x="105" y="102"/>
                    <a:pt x="98" y="108"/>
                    <a:pt x="100" y="112"/>
                  </a:cubicBezTo>
                  <a:cubicBezTo>
                    <a:pt x="101" y="115"/>
                    <a:pt x="103" y="120"/>
                    <a:pt x="93" y="124"/>
                  </a:cubicBezTo>
                  <a:cubicBezTo>
                    <a:pt x="89" y="125"/>
                    <a:pt x="71" y="122"/>
                    <a:pt x="71" y="122"/>
                  </a:cubicBezTo>
                  <a:cubicBezTo>
                    <a:pt x="71" y="122"/>
                    <a:pt x="65" y="136"/>
                    <a:pt x="80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21" y="122"/>
                    <a:pt x="22" y="111"/>
                  </a:cubicBezTo>
                  <a:cubicBezTo>
                    <a:pt x="23" y="100"/>
                    <a:pt x="15" y="88"/>
                    <a:pt x="11" y="84"/>
                  </a:cubicBezTo>
                  <a:cubicBezTo>
                    <a:pt x="7" y="80"/>
                    <a:pt x="0" y="65"/>
                    <a:pt x="0" y="47"/>
                  </a:cubicBezTo>
                  <a:cubicBezTo>
                    <a:pt x="0" y="29"/>
                    <a:pt x="15" y="0"/>
                    <a:pt x="5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1" name="Freeform 468">
              <a:extLst>
                <a:ext uri="{FF2B5EF4-FFF2-40B4-BE49-F238E27FC236}">
                  <a16:creationId xmlns:a16="http://schemas.microsoft.com/office/drawing/2014/main" id="{E2A10CCC-A23D-4D7F-898B-F000CFF66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901" y="5586413"/>
              <a:ext cx="177800" cy="185738"/>
            </a:xfrm>
            <a:custGeom>
              <a:avLst/>
              <a:gdLst>
                <a:gd name="T0" fmla="*/ 40 w 46"/>
                <a:gd name="T1" fmla="*/ 25 h 47"/>
                <a:gd name="T2" fmla="*/ 40 w 46"/>
                <a:gd name="T3" fmla="*/ 21 h 47"/>
                <a:gd name="T4" fmla="*/ 46 w 46"/>
                <a:gd name="T5" fmla="*/ 19 h 47"/>
                <a:gd name="T6" fmla="*/ 42 w 46"/>
                <a:gd name="T7" fmla="*/ 10 h 47"/>
                <a:gd name="T8" fmla="*/ 36 w 46"/>
                <a:gd name="T9" fmla="*/ 12 h 47"/>
                <a:gd name="T10" fmla="*/ 34 w 46"/>
                <a:gd name="T11" fmla="*/ 9 h 47"/>
                <a:gd name="T12" fmla="*/ 36 w 46"/>
                <a:gd name="T13" fmla="*/ 4 h 47"/>
                <a:gd name="T14" fmla="*/ 31 w 46"/>
                <a:gd name="T15" fmla="*/ 2 h 47"/>
                <a:gd name="T16" fmla="*/ 26 w 46"/>
                <a:gd name="T17" fmla="*/ 0 h 47"/>
                <a:gd name="T18" fmla="*/ 24 w 46"/>
                <a:gd name="T19" fmla="*/ 6 h 47"/>
                <a:gd name="T20" fmla="*/ 20 w 46"/>
                <a:gd name="T21" fmla="*/ 6 h 47"/>
                <a:gd name="T22" fmla="*/ 18 w 46"/>
                <a:gd name="T23" fmla="*/ 1 h 47"/>
                <a:gd name="T24" fmla="*/ 9 w 46"/>
                <a:gd name="T25" fmla="*/ 5 h 47"/>
                <a:gd name="T26" fmla="*/ 11 w 46"/>
                <a:gd name="T27" fmla="*/ 10 h 47"/>
                <a:gd name="T28" fmla="*/ 9 w 46"/>
                <a:gd name="T29" fmla="*/ 13 h 47"/>
                <a:gd name="T30" fmla="*/ 3 w 46"/>
                <a:gd name="T31" fmla="*/ 11 h 47"/>
                <a:gd name="T32" fmla="*/ 1 w 46"/>
                <a:gd name="T33" fmla="*/ 15 h 47"/>
                <a:gd name="T34" fmla="*/ 0 w 46"/>
                <a:gd name="T35" fmla="*/ 20 h 47"/>
                <a:gd name="T36" fmla="*/ 5 w 46"/>
                <a:gd name="T37" fmla="*/ 22 h 47"/>
                <a:gd name="T38" fmla="*/ 5 w 46"/>
                <a:gd name="T39" fmla="*/ 26 h 47"/>
                <a:gd name="T40" fmla="*/ 0 w 46"/>
                <a:gd name="T41" fmla="*/ 28 h 47"/>
                <a:gd name="T42" fmla="*/ 4 w 46"/>
                <a:gd name="T43" fmla="*/ 37 h 47"/>
                <a:gd name="T44" fmla="*/ 9 w 46"/>
                <a:gd name="T45" fmla="*/ 35 h 47"/>
                <a:gd name="T46" fmla="*/ 12 w 46"/>
                <a:gd name="T47" fmla="*/ 38 h 47"/>
                <a:gd name="T48" fmla="*/ 10 w 46"/>
                <a:gd name="T49" fmla="*/ 43 h 47"/>
                <a:gd name="T50" fmla="*/ 14 w 46"/>
                <a:gd name="T51" fmla="*/ 45 h 47"/>
                <a:gd name="T52" fmla="*/ 19 w 46"/>
                <a:gd name="T53" fmla="*/ 47 h 47"/>
                <a:gd name="T54" fmla="*/ 21 w 46"/>
                <a:gd name="T55" fmla="*/ 41 h 47"/>
                <a:gd name="T56" fmla="*/ 25 w 46"/>
                <a:gd name="T57" fmla="*/ 41 h 47"/>
                <a:gd name="T58" fmla="*/ 28 w 46"/>
                <a:gd name="T59" fmla="*/ 46 h 47"/>
                <a:gd name="T60" fmla="*/ 37 w 46"/>
                <a:gd name="T61" fmla="*/ 42 h 47"/>
                <a:gd name="T62" fmla="*/ 34 w 46"/>
                <a:gd name="T63" fmla="*/ 37 h 47"/>
                <a:gd name="T64" fmla="*/ 37 w 46"/>
                <a:gd name="T65" fmla="*/ 34 h 47"/>
                <a:gd name="T66" fmla="*/ 42 w 46"/>
                <a:gd name="T67" fmla="*/ 36 h 47"/>
                <a:gd name="T68" fmla="*/ 45 w 46"/>
                <a:gd name="T69" fmla="*/ 32 h 47"/>
                <a:gd name="T70" fmla="*/ 46 w 46"/>
                <a:gd name="T71" fmla="*/ 27 h 47"/>
                <a:gd name="T72" fmla="*/ 40 w 46"/>
                <a:gd name="T73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" h="47">
                  <a:moveTo>
                    <a:pt x="40" y="25"/>
                  </a:moveTo>
                  <a:cubicBezTo>
                    <a:pt x="41" y="24"/>
                    <a:pt x="41" y="22"/>
                    <a:pt x="40" y="2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5" y="15"/>
                    <a:pt x="44" y="12"/>
                    <a:pt x="42" y="1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1"/>
                    <a:pt x="35" y="10"/>
                    <a:pt x="34" y="9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4" y="3"/>
                    <a:pt x="33" y="2"/>
                    <a:pt x="31" y="2"/>
                  </a:cubicBezTo>
                  <a:cubicBezTo>
                    <a:pt x="30" y="1"/>
                    <a:pt x="28" y="1"/>
                    <a:pt x="26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2" y="6"/>
                    <a:pt x="20" y="6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5" y="1"/>
                    <a:pt x="12" y="3"/>
                    <a:pt x="9" y="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1"/>
                    <a:pt x="10" y="12"/>
                    <a:pt x="9" y="1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2"/>
                    <a:pt x="2" y="14"/>
                    <a:pt x="1" y="15"/>
                  </a:cubicBezTo>
                  <a:cubicBezTo>
                    <a:pt x="0" y="17"/>
                    <a:pt x="0" y="18"/>
                    <a:pt x="0" y="2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3"/>
                    <a:pt x="5" y="25"/>
                    <a:pt x="5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32"/>
                    <a:pt x="2" y="35"/>
                    <a:pt x="4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0" y="36"/>
                    <a:pt x="11" y="37"/>
                    <a:pt x="12" y="38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4"/>
                    <a:pt x="13" y="45"/>
                    <a:pt x="14" y="45"/>
                  </a:cubicBezTo>
                  <a:cubicBezTo>
                    <a:pt x="16" y="46"/>
                    <a:pt x="18" y="46"/>
                    <a:pt x="19" y="47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3" y="41"/>
                    <a:pt x="24" y="41"/>
                    <a:pt x="25" y="41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31" y="46"/>
                    <a:pt x="34" y="44"/>
                    <a:pt x="37" y="42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5" y="36"/>
                    <a:pt x="36" y="35"/>
                    <a:pt x="37" y="3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5"/>
                    <a:pt x="44" y="33"/>
                    <a:pt x="45" y="32"/>
                  </a:cubicBezTo>
                  <a:cubicBezTo>
                    <a:pt x="45" y="30"/>
                    <a:pt x="46" y="29"/>
                    <a:pt x="46" y="27"/>
                  </a:cubicBezTo>
                  <a:lnTo>
                    <a:pt x="40" y="2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2" name="Oval 469">
              <a:extLst>
                <a:ext uri="{FF2B5EF4-FFF2-40B4-BE49-F238E27FC236}">
                  <a16:creationId xmlns:a16="http://schemas.microsoft.com/office/drawing/2014/main" id="{1623253F-7F42-4B18-89BC-668647458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813" y="5653088"/>
              <a:ext cx="50800" cy="5080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3" name="Freeform 470">
              <a:extLst>
                <a:ext uri="{FF2B5EF4-FFF2-40B4-BE49-F238E27FC236}">
                  <a16:creationId xmlns:a16="http://schemas.microsoft.com/office/drawing/2014/main" id="{5D36CF3D-BBD2-43B3-A214-003F9D311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426" y="5727701"/>
              <a:ext cx="134938" cy="138113"/>
            </a:xfrm>
            <a:custGeom>
              <a:avLst/>
              <a:gdLst>
                <a:gd name="T0" fmla="*/ 35 w 35"/>
                <a:gd name="T1" fmla="*/ 21 h 35"/>
                <a:gd name="T2" fmla="*/ 35 w 35"/>
                <a:gd name="T3" fmla="*/ 17 h 35"/>
                <a:gd name="T4" fmla="*/ 35 w 35"/>
                <a:gd name="T5" fmla="*/ 14 h 35"/>
                <a:gd name="T6" fmla="*/ 29 w 35"/>
                <a:gd name="T7" fmla="*/ 13 h 35"/>
                <a:gd name="T8" fmla="*/ 29 w 35"/>
                <a:gd name="T9" fmla="*/ 12 h 35"/>
                <a:gd name="T10" fmla="*/ 32 w 35"/>
                <a:gd name="T11" fmla="*/ 8 h 35"/>
                <a:gd name="T12" fmla="*/ 27 w 35"/>
                <a:gd name="T13" fmla="*/ 3 h 35"/>
                <a:gd name="T14" fmla="*/ 23 w 35"/>
                <a:gd name="T15" fmla="*/ 6 h 35"/>
                <a:gd name="T16" fmla="*/ 22 w 35"/>
                <a:gd name="T17" fmla="*/ 6 h 35"/>
                <a:gd name="T18" fmla="*/ 21 w 35"/>
                <a:gd name="T19" fmla="*/ 0 h 35"/>
                <a:gd name="T20" fmla="*/ 18 w 35"/>
                <a:gd name="T21" fmla="*/ 0 h 35"/>
                <a:gd name="T22" fmla="*/ 14 w 35"/>
                <a:gd name="T23" fmla="*/ 0 h 35"/>
                <a:gd name="T24" fmla="*/ 14 w 35"/>
                <a:gd name="T25" fmla="*/ 6 h 35"/>
                <a:gd name="T26" fmla="*/ 12 w 35"/>
                <a:gd name="T27" fmla="*/ 6 h 35"/>
                <a:gd name="T28" fmla="*/ 8 w 35"/>
                <a:gd name="T29" fmla="*/ 3 h 35"/>
                <a:gd name="T30" fmla="*/ 3 w 35"/>
                <a:gd name="T31" fmla="*/ 8 h 35"/>
                <a:gd name="T32" fmla="*/ 7 w 35"/>
                <a:gd name="T33" fmla="*/ 12 h 35"/>
                <a:gd name="T34" fmla="*/ 6 w 35"/>
                <a:gd name="T35" fmla="*/ 13 h 35"/>
                <a:gd name="T36" fmla="*/ 1 w 35"/>
                <a:gd name="T37" fmla="*/ 14 h 35"/>
                <a:gd name="T38" fmla="*/ 0 w 35"/>
                <a:gd name="T39" fmla="*/ 17 h 35"/>
                <a:gd name="T40" fmla="*/ 1 w 35"/>
                <a:gd name="T41" fmla="*/ 21 h 35"/>
                <a:gd name="T42" fmla="*/ 6 w 35"/>
                <a:gd name="T43" fmla="*/ 21 h 35"/>
                <a:gd name="T44" fmla="*/ 7 w 35"/>
                <a:gd name="T45" fmla="*/ 23 h 35"/>
                <a:gd name="T46" fmla="*/ 3 w 35"/>
                <a:gd name="T47" fmla="*/ 27 h 35"/>
                <a:gd name="T48" fmla="*/ 8 w 35"/>
                <a:gd name="T49" fmla="*/ 32 h 35"/>
                <a:gd name="T50" fmla="*/ 12 w 35"/>
                <a:gd name="T51" fmla="*/ 28 h 35"/>
                <a:gd name="T52" fmla="*/ 14 w 35"/>
                <a:gd name="T53" fmla="*/ 29 h 35"/>
                <a:gd name="T54" fmla="*/ 14 w 35"/>
                <a:gd name="T55" fmla="*/ 35 h 35"/>
                <a:gd name="T56" fmla="*/ 18 w 35"/>
                <a:gd name="T57" fmla="*/ 35 h 35"/>
                <a:gd name="T58" fmla="*/ 21 w 35"/>
                <a:gd name="T59" fmla="*/ 35 h 35"/>
                <a:gd name="T60" fmla="*/ 22 w 35"/>
                <a:gd name="T61" fmla="*/ 29 h 35"/>
                <a:gd name="T62" fmla="*/ 23 w 35"/>
                <a:gd name="T63" fmla="*/ 28 h 35"/>
                <a:gd name="T64" fmla="*/ 27 w 35"/>
                <a:gd name="T65" fmla="*/ 32 h 35"/>
                <a:gd name="T66" fmla="*/ 32 w 35"/>
                <a:gd name="T67" fmla="*/ 27 h 35"/>
                <a:gd name="T68" fmla="*/ 29 w 35"/>
                <a:gd name="T69" fmla="*/ 23 h 35"/>
                <a:gd name="T70" fmla="*/ 29 w 35"/>
                <a:gd name="T71" fmla="*/ 21 h 35"/>
                <a:gd name="T72" fmla="*/ 35 w 35"/>
                <a:gd name="T73" fmla="*/ 2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" h="35">
                  <a:moveTo>
                    <a:pt x="35" y="21"/>
                  </a:moveTo>
                  <a:cubicBezTo>
                    <a:pt x="35" y="20"/>
                    <a:pt x="35" y="19"/>
                    <a:pt x="35" y="17"/>
                  </a:cubicBezTo>
                  <a:cubicBezTo>
                    <a:pt x="35" y="16"/>
                    <a:pt x="35" y="15"/>
                    <a:pt x="35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2"/>
                    <a:pt x="29" y="12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6"/>
                    <a:pt x="29" y="4"/>
                    <a:pt x="27" y="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6"/>
                    <a:pt x="12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4"/>
                    <a:pt x="4" y="6"/>
                    <a:pt x="3" y="8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6" y="13"/>
                    <a:pt x="6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6" y="22"/>
                    <a:pt x="7" y="2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29"/>
                    <a:pt x="6" y="31"/>
                    <a:pt x="8" y="32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9"/>
                    <a:pt x="13" y="29"/>
                    <a:pt x="14" y="29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6" y="35"/>
                    <a:pt x="18" y="35"/>
                  </a:cubicBezTo>
                  <a:cubicBezTo>
                    <a:pt x="19" y="35"/>
                    <a:pt x="20" y="35"/>
                    <a:pt x="21" y="35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3" y="29"/>
                    <a:pt x="23" y="28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9" y="31"/>
                    <a:pt x="31" y="29"/>
                    <a:pt x="32" y="27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29" y="21"/>
                  </a:cubicBezTo>
                  <a:lnTo>
                    <a:pt x="35" y="2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4" name="Oval 471">
              <a:extLst>
                <a:ext uri="{FF2B5EF4-FFF2-40B4-BE49-F238E27FC236}">
                  <a16:creationId xmlns:a16="http://schemas.microsoft.com/office/drawing/2014/main" id="{62DCDF1B-17ED-40E4-B14A-404CF553D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638" y="5775326"/>
              <a:ext cx="39688" cy="39688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5" name="Freeform 472">
              <a:extLst>
                <a:ext uri="{FF2B5EF4-FFF2-40B4-BE49-F238E27FC236}">
                  <a16:creationId xmlns:a16="http://schemas.microsoft.com/office/drawing/2014/main" id="{1C8AF378-09C8-48C9-8D6B-4DE8EC99F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826" y="5780088"/>
              <a:ext cx="101600" cy="101600"/>
            </a:xfrm>
            <a:custGeom>
              <a:avLst/>
              <a:gdLst>
                <a:gd name="T0" fmla="*/ 26 w 26"/>
                <a:gd name="T1" fmla="*/ 16 h 26"/>
                <a:gd name="T2" fmla="*/ 26 w 26"/>
                <a:gd name="T3" fmla="*/ 13 h 26"/>
                <a:gd name="T4" fmla="*/ 26 w 26"/>
                <a:gd name="T5" fmla="*/ 10 h 26"/>
                <a:gd name="T6" fmla="*/ 23 w 26"/>
                <a:gd name="T7" fmla="*/ 10 h 26"/>
                <a:gd name="T8" fmla="*/ 23 w 26"/>
                <a:gd name="T9" fmla="*/ 9 h 26"/>
                <a:gd name="T10" fmla="*/ 24 w 26"/>
                <a:gd name="T11" fmla="*/ 6 h 26"/>
                <a:gd name="T12" fmla="*/ 20 w 26"/>
                <a:gd name="T13" fmla="*/ 2 h 26"/>
                <a:gd name="T14" fmla="*/ 18 w 26"/>
                <a:gd name="T15" fmla="*/ 4 h 26"/>
                <a:gd name="T16" fmla="*/ 17 w 26"/>
                <a:gd name="T17" fmla="*/ 3 h 26"/>
                <a:gd name="T18" fmla="*/ 16 w 26"/>
                <a:gd name="T19" fmla="*/ 0 h 26"/>
                <a:gd name="T20" fmla="*/ 13 w 26"/>
                <a:gd name="T21" fmla="*/ 0 h 26"/>
                <a:gd name="T22" fmla="*/ 10 w 26"/>
                <a:gd name="T23" fmla="*/ 0 h 26"/>
                <a:gd name="T24" fmla="*/ 10 w 26"/>
                <a:gd name="T25" fmla="*/ 3 h 26"/>
                <a:gd name="T26" fmla="*/ 9 w 26"/>
                <a:gd name="T27" fmla="*/ 4 h 26"/>
                <a:gd name="T28" fmla="*/ 6 w 26"/>
                <a:gd name="T29" fmla="*/ 2 h 26"/>
                <a:gd name="T30" fmla="*/ 2 w 26"/>
                <a:gd name="T31" fmla="*/ 6 h 26"/>
                <a:gd name="T32" fmla="*/ 4 w 26"/>
                <a:gd name="T33" fmla="*/ 9 h 26"/>
                <a:gd name="T34" fmla="*/ 3 w 26"/>
                <a:gd name="T35" fmla="*/ 10 h 26"/>
                <a:gd name="T36" fmla="*/ 0 w 26"/>
                <a:gd name="T37" fmla="*/ 10 h 26"/>
                <a:gd name="T38" fmla="*/ 0 w 26"/>
                <a:gd name="T39" fmla="*/ 13 h 26"/>
                <a:gd name="T40" fmla="*/ 0 w 26"/>
                <a:gd name="T41" fmla="*/ 16 h 26"/>
                <a:gd name="T42" fmla="*/ 3 w 26"/>
                <a:gd name="T43" fmla="*/ 17 h 26"/>
                <a:gd name="T44" fmla="*/ 4 w 26"/>
                <a:gd name="T45" fmla="*/ 18 h 26"/>
                <a:gd name="T46" fmla="*/ 2 w 26"/>
                <a:gd name="T47" fmla="*/ 20 h 26"/>
                <a:gd name="T48" fmla="*/ 6 w 26"/>
                <a:gd name="T49" fmla="*/ 24 h 26"/>
                <a:gd name="T50" fmla="*/ 9 w 26"/>
                <a:gd name="T51" fmla="*/ 23 h 26"/>
                <a:gd name="T52" fmla="*/ 10 w 26"/>
                <a:gd name="T53" fmla="*/ 23 h 26"/>
                <a:gd name="T54" fmla="*/ 10 w 26"/>
                <a:gd name="T55" fmla="*/ 26 h 26"/>
                <a:gd name="T56" fmla="*/ 13 w 26"/>
                <a:gd name="T57" fmla="*/ 26 h 26"/>
                <a:gd name="T58" fmla="*/ 16 w 26"/>
                <a:gd name="T59" fmla="*/ 26 h 26"/>
                <a:gd name="T60" fmla="*/ 17 w 26"/>
                <a:gd name="T61" fmla="*/ 23 h 26"/>
                <a:gd name="T62" fmla="*/ 18 w 26"/>
                <a:gd name="T63" fmla="*/ 23 h 26"/>
                <a:gd name="T64" fmla="*/ 20 w 26"/>
                <a:gd name="T65" fmla="*/ 24 h 26"/>
                <a:gd name="T66" fmla="*/ 24 w 26"/>
                <a:gd name="T67" fmla="*/ 20 h 26"/>
                <a:gd name="T68" fmla="*/ 23 w 26"/>
                <a:gd name="T69" fmla="*/ 18 h 26"/>
                <a:gd name="T70" fmla="*/ 23 w 26"/>
                <a:gd name="T71" fmla="*/ 17 h 26"/>
                <a:gd name="T72" fmla="*/ 26 w 26"/>
                <a:gd name="T7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" h="26">
                  <a:moveTo>
                    <a:pt x="26" y="16"/>
                  </a:moveTo>
                  <a:cubicBezTo>
                    <a:pt x="26" y="15"/>
                    <a:pt x="26" y="14"/>
                    <a:pt x="26" y="13"/>
                  </a:cubicBezTo>
                  <a:cubicBezTo>
                    <a:pt x="26" y="12"/>
                    <a:pt x="26" y="11"/>
                    <a:pt x="26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2" y="3"/>
                    <a:pt x="20" y="2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0"/>
                    <a:pt x="13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3"/>
                    <a:pt x="3" y="5"/>
                    <a:pt x="2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3" y="9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4" y="17"/>
                    <a:pt x="4" y="18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2"/>
                    <a:pt x="5" y="23"/>
                    <a:pt x="6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10" y="23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2" y="26"/>
                    <a:pt x="13" y="26"/>
                  </a:cubicBezTo>
                  <a:cubicBezTo>
                    <a:pt x="14" y="26"/>
                    <a:pt x="15" y="26"/>
                    <a:pt x="16" y="26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8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2" y="23"/>
                    <a:pt x="23" y="22"/>
                    <a:pt x="24" y="2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36" name="Oval 473">
              <a:extLst>
                <a:ext uri="{FF2B5EF4-FFF2-40B4-BE49-F238E27FC236}">
                  <a16:creationId xmlns:a16="http://schemas.microsoft.com/office/drawing/2014/main" id="{8153FE52-279B-474B-986C-A0319509C5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1926" y="5815013"/>
              <a:ext cx="26988" cy="3175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47" name="Group 45546">
            <a:extLst>
              <a:ext uri="{FF2B5EF4-FFF2-40B4-BE49-F238E27FC236}">
                <a16:creationId xmlns:a16="http://schemas.microsoft.com/office/drawing/2014/main" id="{4E74D3D6-9D9A-4066-9670-A9F9EFC6363E}"/>
              </a:ext>
            </a:extLst>
          </p:cNvPr>
          <p:cNvGrpSpPr/>
          <p:nvPr/>
        </p:nvGrpSpPr>
        <p:grpSpPr>
          <a:xfrm>
            <a:off x="4775200" y="5421313"/>
            <a:ext cx="844550" cy="841375"/>
            <a:chOff x="4775200" y="5421313"/>
            <a:chExt cx="844550" cy="841375"/>
          </a:xfrm>
        </p:grpSpPr>
        <p:sp>
          <p:nvSpPr>
            <p:cNvPr id="45539" name="AutoShape 475">
              <a:extLst>
                <a:ext uri="{FF2B5EF4-FFF2-40B4-BE49-F238E27FC236}">
                  <a16:creationId xmlns:a16="http://schemas.microsoft.com/office/drawing/2014/main" id="{8975E615-C048-4CEE-8D3B-12F59F7859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5200" y="54213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0" name="Oval 477">
              <a:extLst>
                <a:ext uri="{FF2B5EF4-FFF2-40B4-BE49-F238E27FC236}">
                  <a16:creationId xmlns:a16="http://schemas.microsoft.com/office/drawing/2014/main" id="{2B13FC61-CE3E-4A83-BF3C-FA9EC9238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5200" y="542448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1" name="Freeform 478">
              <a:extLst>
                <a:ext uri="{FF2B5EF4-FFF2-40B4-BE49-F238E27FC236}">
                  <a16:creationId xmlns:a16="http://schemas.microsoft.com/office/drawing/2014/main" id="{18ECF506-6D5B-41F0-BD06-45B9115D75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545306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2" name="Freeform 479">
              <a:extLst>
                <a:ext uri="{FF2B5EF4-FFF2-40B4-BE49-F238E27FC236}">
                  <a16:creationId xmlns:a16="http://schemas.microsoft.com/office/drawing/2014/main" id="{476168F1-DE10-4EB0-B6AC-6EDFAEDBC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6188" y="5637213"/>
              <a:ext cx="276225" cy="301625"/>
            </a:xfrm>
            <a:custGeom>
              <a:avLst/>
              <a:gdLst>
                <a:gd name="T0" fmla="*/ 38 w 68"/>
                <a:gd name="T1" fmla="*/ 2 h 75"/>
                <a:gd name="T2" fmla="*/ 29 w 68"/>
                <a:gd name="T3" fmla="*/ 0 h 75"/>
                <a:gd name="T4" fmla="*/ 12 w 68"/>
                <a:gd name="T5" fmla="*/ 7 h 75"/>
                <a:gd name="T6" fmla="*/ 0 w 68"/>
                <a:gd name="T7" fmla="*/ 25 h 75"/>
                <a:gd name="T8" fmla="*/ 7 w 68"/>
                <a:gd name="T9" fmla="*/ 29 h 75"/>
                <a:gd name="T10" fmla="*/ 17 w 68"/>
                <a:gd name="T11" fmla="*/ 13 h 75"/>
                <a:gd name="T12" fmla="*/ 25 w 68"/>
                <a:gd name="T13" fmla="*/ 10 h 75"/>
                <a:gd name="T14" fmla="*/ 13 w 68"/>
                <a:gd name="T15" fmla="*/ 35 h 75"/>
                <a:gd name="T16" fmla="*/ 17 w 68"/>
                <a:gd name="T17" fmla="*/ 35 h 75"/>
                <a:gd name="T18" fmla="*/ 18 w 68"/>
                <a:gd name="T19" fmla="*/ 53 h 75"/>
                <a:gd name="T20" fmla="*/ 7 w 68"/>
                <a:gd name="T21" fmla="*/ 75 h 75"/>
                <a:gd name="T22" fmla="*/ 17 w 68"/>
                <a:gd name="T23" fmla="*/ 75 h 75"/>
                <a:gd name="T24" fmla="*/ 27 w 68"/>
                <a:gd name="T25" fmla="*/ 53 h 75"/>
                <a:gd name="T26" fmla="*/ 28 w 68"/>
                <a:gd name="T27" fmla="*/ 40 h 75"/>
                <a:gd name="T28" fmla="*/ 44 w 68"/>
                <a:gd name="T29" fmla="*/ 43 h 75"/>
                <a:gd name="T30" fmla="*/ 41 w 68"/>
                <a:gd name="T31" fmla="*/ 60 h 75"/>
                <a:gd name="T32" fmla="*/ 52 w 68"/>
                <a:gd name="T33" fmla="*/ 60 h 75"/>
                <a:gd name="T34" fmla="*/ 52 w 68"/>
                <a:gd name="T35" fmla="*/ 36 h 75"/>
                <a:gd name="T36" fmla="*/ 36 w 68"/>
                <a:gd name="T37" fmla="*/ 32 h 75"/>
                <a:gd name="T38" fmla="*/ 42 w 68"/>
                <a:gd name="T39" fmla="*/ 18 h 75"/>
                <a:gd name="T40" fmla="*/ 53 w 68"/>
                <a:gd name="T41" fmla="*/ 27 h 75"/>
                <a:gd name="T42" fmla="*/ 68 w 68"/>
                <a:gd name="T43" fmla="*/ 27 h 75"/>
                <a:gd name="T44" fmla="*/ 68 w 68"/>
                <a:gd name="T45" fmla="*/ 20 h 75"/>
                <a:gd name="T46" fmla="*/ 53 w 68"/>
                <a:gd name="T47" fmla="*/ 20 h 75"/>
                <a:gd name="T48" fmla="*/ 45 w 68"/>
                <a:gd name="T49" fmla="*/ 6 h 75"/>
                <a:gd name="T50" fmla="*/ 38 w 68"/>
                <a:gd name="T51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75">
                  <a:moveTo>
                    <a:pt x="38" y="2"/>
                  </a:moveTo>
                  <a:cubicBezTo>
                    <a:pt x="38" y="2"/>
                    <a:pt x="32" y="0"/>
                    <a:pt x="29" y="0"/>
                  </a:cubicBezTo>
                  <a:cubicBezTo>
                    <a:pt x="26" y="0"/>
                    <a:pt x="12" y="7"/>
                    <a:pt x="12" y="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45" y="6"/>
                    <a:pt x="45" y="6"/>
                    <a:pt x="45" y="6"/>
                  </a:cubicBezTo>
                  <a:lnTo>
                    <a:pt x="38" y="2"/>
                  </a:lnTo>
                  <a:close/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3" name="Oval 480">
              <a:extLst>
                <a:ext uri="{FF2B5EF4-FFF2-40B4-BE49-F238E27FC236}">
                  <a16:creationId xmlns:a16="http://schemas.microsoft.com/office/drawing/2014/main" id="{B21627A6-CB11-412B-AF77-E2C2EC1666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5565776"/>
              <a:ext cx="60325" cy="76200"/>
            </a:xfrm>
            <a:prstGeom prst="ellips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4" name="Freeform 481">
              <a:extLst>
                <a:ext uri="{FF2B5EF4-FFF2-40B4-BE49-F238E27FC236}">
                  <a16:creationId xmlns:a16="http://schemas.microsoft.com/office/drawing/2014/main" id="{65CB731B-09BB-4E9D-B479-8E224653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0463" y="5749926"/>
              <a:ext cx="130175" cy="104775"/>
            </a:xfrm>
            <a:custGeom>
              <a:avLst/>
              <a:gdLst>
                <a:gd name="T0" fmla="*/ 22 w 32"/>
                <a:gd name="T1" fmla="*/ 26 h 26"/>
                <a:gd name="T2" fmla="*/ 4 w 32"/>
                <a:gd name="T3" fmla="*/ 21 h 26"/>
                <a:gd name="T4" fmla="*/ 0 w 32"/>
                <a:gd name="T5" fmla="*/ 14 h 26"/>
                <a:gd name="T6" fmla="*/ 3 w 32"/>
                <a:gd name="T7" fmla="*/ 5 h 26"/>
                <a:gd name="T8" fmla="*/ 10 w 32"/>
                <a:gd name="T9" fmla="*/ 1 h 26"/>
                <a:gd name="T10" fmla="*/ 27 w 32"/>
                <a:gd name="T11" fmla="*/ 5 h 26"/>
                <a:gd name="T12" fmla="*/ 31 w 32"/>
                <a:gd name="T13" fmla="*/ 12 h 26"/>
                <a:gd name="T14" fmla="*/ 29 w 32"/>
                <a:gd name="T15" fmla="*/ 22 h 26"/>
                <a:gd name="T16" fmla="*/ 22 w 3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6">
                  <a:moveTo>
                    <a:pt x="22" y="26"/>
                  </a:moveTo>
                  <a:cubicBezTo>
                    <a:pt x="4" y="21"/>
                    <a:pt x="4" y="21"/>
                    <a:pt x="4" y="21"/>
                  </a:cubicBezTo>
                  <a:cubicBezTo>
                    <a:pt x="1" y="20"/>
                    <a:pt x="0" y="17"/>
                    <a:pt x="0" y="1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1"/>
                    <a:pt x="7" y="0"/>
                    <a:pt x="10" y="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6"/>
                    <a:pt x="32" y="9"/>
                    <a:pt x="31" y="1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8" y="25"/>
                    <a:pt x="25" y="26"/>
                    <a:pt x="22" y="26"/>
                  </a:cubicBezTo>
                  <a:close/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5" name="Freeform 482">
              <a:extLst>
                <a:ext uri="{FF2B5EF4-FFF2-40B4-BE49-F238E27FC236}">
                  <a16:creationId xmlns:a16="http://schemas.microsoft.com/office/drawing/2014/main" id="{201E2BAB-F2CC-4BB6-A1FB-FCBE671AD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825" y="5797551"/>
              <a:ext cx="495300" cy="284163"/>
            </a:xfrm>
            <a:custGeom>
              <a:avLst/>
              <a:gdLst>
                <a:gd name="T0" fmla="*/ 122 w 122"/>
                <a:gd name="T1" fmla="*/ 0 h 71"/>
                <a:gd name="T2" fmla="*/ 95 w 122"/>
                <a:gd name="T3" fmla="*/ 0 h 71"/>
                <a:gd name="T4" fmla="*/ 105 w 122"/>
                <a:gd name="T5" fmla="*/ 10 h 71"/>
                <a:gd name="T6" fmla="*/ 87 w 122"/>
                <a:gd name="T7" fmla="*/ 28 h 71"/>
                <a:gd name="T8" fmla="*/ 64 w 122"/>
                <a:gd name="T9" fmla="*/ 28 h 71"/>
                <a:gd name="T10" fmla="*/ 52 w 122"/>
                <a:gd name="T11" fmla="*/ 44 h 71"/>
                <a:gd name="T12" fmla="*/ 27 w 122"/>
                <a:gd name="T13" fmla="*/ 44 h 71"/>
                <a:gd name="T14" fmla="*/ 25 w 122"/>
                <a:gd name="T15" fmla="*/ 45 h 71"/>
                <a:gd name="T16" fmla="*/ 0 w 122"/>
                <a:gd name="T17" fmla="*/ 71 h 71"/>
                <a:gd name="T18" fmla="*/ 13 w 122"/>
                <a:gd name="T19" fmla="*/ 71 h 71"/>
                <a:gd name="T20" fmla="*/ 31 w 122"/>
                <a:gd name="T21" fmla="*/ 53 h 71"/>
                <a:gd name="T22" fmla="*/ 56 w 122"/>
                <a:gd name="T23" fmla="*/ 53 h 71"/>
                <a:gd name="T24" fmla="*/ 68 w 122"/>
                <a:gd name="T25" fmla="*/ 37 h 71"/>
                <a:gd name="T26" fmla="*/ 91 w 122"/>
                <a:gd name="T27" fmla="*/ 37 h 71"/>
                <a:gd name="T28" fmla="*/ 111 w 122"/>
                <a:gd name="T29" fmla="*/ 16 h 71"/>
                <a:gd name="T30" fmla="*/ 122 w 122"/>
                <a:gd name="T31" fmla="*/ 27 h 71"/>
                <a:gd name="T32" fmla="*/ 122 w 122"/>
                <a:gd name="T3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71">
                  <a:moveTo>
                    <a:pt x="122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17" y="54"/>
                    <a:pt x="1" y="70"/>
                    <a:pt x="0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9" y="65"/>
                    <a:pt x="27" y="56"/>
                    <a:pt x="31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22" y="27"/>
                    <a:pt x="122" y="27"/>
                    <a:pt x="122" y="27"/>
                  </a:cubicBezTo>
                  <a:lnTo>
                    <a:pt x="122" y="0"/>
                  </a:lnTo>
                  <a:close/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46" name="Line 483">
              <a:extLst>
                <a:ext uri="{FF2B5EF4-FFF2-40B4-BE49-F238E27FC236}">
                  <a16:creationId xmlns:a16="http://schemas.microsoft.com/office/drawing/2014/main" id="{DE42A73D-C144-4E27-B8E5-3EC01BF221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72100" y="5813426"/>
              <a:ext cx="0" cy="0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56" name="Group 45555">
            <a:extLst>
              <a:ext uri="{FF2B5EF4-FFF2-40B4-BE49-F238E27FC236}">
                <a16:creationId xmlns:a16="http://schemas.microsoft.com/office/drawing/2014/main" id="{72FAB0AE-82C5-4E2C-9141-BE5208791CA2}"/>
              </a:ext>
            </a:extLst>
          </p:cNvPr>
          <p:cNvGrpSpPr/>
          <p:nvPr/>
        </p:nvGrpSpPr>
        <p:grpSpPr>
          <a:xfrm>
            <a:off x="5813425" y="5454651"/>
            <a:ext cx="758825" cy="766763"/>
            <a:chOff x="5813425" y="5454651"/>
            <a:chExt cx="758825" cy="766763"/>
          </a:xfrm>
        </p:grpSpPr>
        <p:sp>
          <p:nvSpPr>
            <p:cNvPr id="45549" name="AutoShape 485">
              <a:extLst>
                <a:ext uri="{FF2B5EF4-FFF2-40B4-BE49-F238E27FC236}">
                  <a16:creationId xmlns:a16="http://schemas.microsoft.com/office/drawing/2014/main" id="{B3A8F074-0FA3-42AF-893F-1CEBE36FF9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3425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0" name="Freeform 487">
              <a:extLst>
                <a:ext uri="{FF2B5EF4-FFF2-40B4-BE49-F238E27FC236}">
                  <a16:creationId xmlns:a16="http://schemas.microsoft.com/office/drawing/2014/main" id="{A135F2AB-4FD1-45A4-ADD6-190FE3589E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6600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1" name="Freeform 488">
              <a:extLst>
                <a:ext uri="{FF2B5EF4-FFF2-40B4-BE49-F238E27FC236}">
                  <a16:creationId xmlns:a16="http://schemas.microsoft.com/office/drawing/2014/main" id="{A79D4024-2E90-4862-8645-B855B1507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7900" y="5637213"/>
              <a:ext cx="265113" cy="296863"/>
            </a:xfrm>
            <a:custGeom>
              <a:avLst/>
              <a:gdLst>
                <a:gd name="T0" fmla="*/ 38 w 68"/>
                <a:gd name="T1" fmla="*/ 2 h 75"/>
                <a:gd name="T2" fmla="*/ 29 w 68"/>
                <a:gd name="T3" fmla="*/ 0 h 75"/>
                <a:gd name="T4" fmla="*/ 12 w 68"/>
                <a:gd name="T5" fmla="*/ 7 h 75"/>
                <a:gd name="T6" fmla="*/ 0 w 68"/>
                <a:gd name="T7" fmla="*/ 25 h 75"/>
                <a:gd name="T8" fmla="*/ 7 w 68"/>
                <a:gd name="T9" fmla="*/ 29 h 75"/>
                <a:gd name="T10" fmla="*/ 17 w 68"/>
                <a:gd name="T11" fmla="*/ 13 h 75"/>
                <a:gd name="T12" fmla="*/ 25 w 68"/>
                <a:gd name="T13" fmla="*/ 10 h 75"/>
                <a:gd name="T14" fmla="*/ 13 w 68"/>
                <a:gd name="T15" fmla="*/ 35 h 75"/>
                <a:gd name="T16" fmla="*/ 17 w 68"/>
                <a:gd name="T17" fmla="*/ 35 h 75"/>
                <a:gd name="T18" fmla="*/ 18 w 68"/>
                <a:gd name="T19" fmla="*/ 53 h 75"/>
                <a:gd name="T20" fmla="*/ 7 w 68"/>
                <a:gd name="T21" fmla="*/ 75 h 75"/>
                <a:gd name="T22" fmla="*/ 17 w 68"/>
                <a:gd name="T23" fmla="*/ 75 h 75"/>
                <a:gd name="T24" fmla="*/ 27 w 68"/>
                <a:gd name="T25" fmla="*/ 53 h 75"/>
                <a:gd name="T26" fmla="*/ 28 w 68"/>
                <a:gd name="T27" fmla="*/ 40 h 75"/>
                <a:gd name="T28" fmla="*/ 44 w 68"/>
                <a:gd name="T29" fmla="*/ 43 h 75"/>
                <a:gd name="T30" fmla="*/ 41 w 68"/>
                <a:gd name="T31" fmla="*/ 60 h 75"/>
                <a:gd name="T32" fmla="*/ 52 w 68"/>
                <a:gd name="T33" fmla="*/ 60 h 75"/>
                <a:gd name="T34" fmla="*/ 52 w 68"/>
                <a:gd name="T35" fmla="*/ 36 h 75"/>
                <a:gd name="T36" fmla="*/ 36 w 68"/>
                <a:gd name="T37" fmla="*/ 32 h 75"/>
                <a:gd name="T38" fmla="*/ 42 w 68"/>
                <a:gd name="T39" fmla="*/ 18 h 75"/>
                <a:gd name="T40" fmla="*/ 53 w 68"/>
                <a:gd name="T41" fmla="*/ 27 h 75"/>
                <a:gd name="T42" fmla="*/ 68 w 68"/>
                <a:gd name="T43" fmla="*/ 27 h 75"/>
                <a:gd name="T44" fmla="*/ 68 w 68"/>
                <a:gd name="T45" fmla="*/ 20 h 75"/>
                <a:gd name="T46" fmla="*/ 53 w 68"/>
                <a:gd name="T47" fmla="*/ 20 h 75"/>
                <a:gd name="T48" fmla="*/ 45 w 68"/>
                <a:gd name="T49" fmla="*/ 6 h 75"/>
                <a:gd name="T50" fmla="*/ 38 w 68"/>
                <a:gd name="T51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75">
                  <a:moveTo>
                    <a:pt x="38" y="2"/>
                  </a:moveTo>
                  <a:cubicBezTo>
                    <a:pt x="38" y="2"/>
                    <a:pt x="32" y="0"/>
                    <a:pt x="29" y="0"/>
                  </a:cubicBezTo>
                  <a:cubicBezTo>
                    <a:pt x="26" y="0"/>
                    <a:pt x="12" y="7"/>
                    <a:pt x="12" y="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45" y="6"/>
                    <a:pt x="45" y="6"/>
                    <a:pt x="45" y="6"/>
                  </a:cubicBezTo>
                  <a:lnTo>
                    <a:pt x="38" y="2"/>
                  </a:lnTo>
                  <a:close/>
                </a:path>
              </a:pathLst>
            </a:cu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2" name="Oval 489">
              <a:extLst>
                <a:ext uri="{FF2B5EF4-FFF2-40B4-BE49-F238E27FC236}">
                  <a16:creationId xmlns:a16="http://schemas.microsoft.com/office/drawing/2014/main" id="{EDC70AF0-68F2-4795-9CAF-F95542988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0" y="5565776"/>
              <a:ext cx="58738" cy="74613"/>
            </a:xfrm>
            <a:prstGeom prst="ellips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3" name="Freeform 490">
              <a:extLst>
                <a:ext uri="{FF2B5EF4-FFF2-40B4-BE49-F238E27FC236}">
                  <a16:creationId xmlns:a16="http://schemas.microsoft.com/office/drawing/2014/main" id="{2FB77323-9E42-4E7C-A071-EEBCBD238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5748338"/>
              <a:ext cx="123825" cy="101600"/>
            </a:xfrm>
            <a:custGeom>
              <a:avLst/>
              <a:gdLst>
                <a:gd name="T0" fmla="*/ 22 w 32"/>
                <a:gd name="T1" fmla="*/ 26 h 26"/>
                <a:gd name="T2" fmla="*/ 4 w 32"/>
                <a:gd name="T3" fmla="*/ 21 h 26"/>
                <a:gd name="T4" fmla="*/ 0 w 32"/>
                <a:gd name="T5" fmla="*/ 14 h 26"/>
                <a:gd name="T6" fmla="*/ 3 w 32"/>
                <a:gd name="T7" fmla="*/ 5 h 26"/>
                <a:gd name="T8" fmla="*/ 10 w 32"/>
                <a:gd name="T9" fmla="*/ 1 h 26"/>
                <a:gd name="T10" fmla="*/ 27 w 32"/>
                <a:gd name="T11" fmla="*/ 5 h 26"/>
                <a:gd name="T12" fmla="*/ 31 w 32"/>
                <a:gd name="T13" fmla="*/ 12 h 26"/>
                <a:gd name="T14" fmla="*/ 29 w 32"/>
                <a:gd name="T15" fmla="*/ 22 h 26"/>
                <a:gd name="T16" fmla="*/ 22 w 3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6">
                  <a:moveTo>
                    <a:pt x="22" y="26"/>
                  </a:moveTo>
                  <a:cubicBezTo>
                    <a:pt x="4" y="21"/>
                    <a:pt x="4" y="21"/>
                    <a:pt x="4" y="21"/>
                  </a:cubicBezTo>
                  <a:cubicBezTo>
                    <a:pt x="1" y="20"/>
                    <a:pt x="0" y="17"/>
                    <a:pt x="0" y="1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1"/>
                    <a:pt x="7" y="0"/>
                    <a:pt x="10" y="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6"/>
                    <a:pt x="32" y="9"/>
                    <a:pt x="31" y="1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8" y="25"/>
                    <a:pt x="25" y="26"/>
                    <a:pt x="22" y="26"/>
                  </a:cubicBezTo>
                  <a:close/>
                </a:path>
              </a:pathLst>
            </a:cu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4" name="Freeform 491">
              <a:extLst>
                <a:ext uri="{FF2B5EF4-FFF2-40B4-BE49-F238E27FC236}">
                  <a16:creationId xmlns:a16="http://schemas.microsoft.com/office/drawing/2014/main" id="{6A393341-0539-417A-B85D-4AE963C74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888" y="5794376"/>
              <a:ext cx="474663" cy="280988"/>
            </a:xfrm>
            <a:custGeom>
              <a:avLst/>
              <a:gdLst>
                <a:gd name="T0" fmla="*/ 122 w 122"/>
                <a:gd name="T1" fmla="*/ 0 h 71"/>
                <a:gd name="T2" fmla="*/ 95 w 122"/>
                <a:gd name="T3" fmla="*/ 0 h 71"/>
                <a:gd name="T4" fmla="*/ 105 w 122"/>
                <a:gd name="T5" fmla="*/ 10 h 71"/>
                <a:gd name="T6" fmla="*/ 87 w 122"/>
                <a:gd name="T7" fmla="*/ 28 h 71"/>
                <a:gd name="T8" fmla="*/ 64 w 122"/>
                <a:gd name="T9" fmla="*/ 28 h 71"/>
                <a:gd name="T10" fmla="*/ 52 w 122"/>
                <a:gd name="T11" fmla="*/ 44 h 71"/>
                <a:gd name="T12" fmla="*/ 27 w 122"/>
                <a:gd name="T13" fmla="*/ 44 h 71"/>
                <a:gd name="T14" fmla="*/ 25 w 122"/>
                <a:gd name="T15" fmla="*/ 45 h 71"/>
                <a:gd name="T16" fmla="*/ 0 w 122"/>
                <a:gd name="T17" fmla="*/ 71 h 71"/>
                <a:gd name="T18" fmla="*/ 13 w 122"/>
                <a:gd name="T19" fmla="*/ 71 h 71"/>
                <a:gd name="T20" fmla="*/ 31 w 122"/>
                <a:gd name="T21" fmla="*/ 53 h 71"/>
                <a:gd name="T22" fmla="*/ 56 w 122"/>
                <a:gd name="T23" fmla="*/ 53 h 71"/>
                <a:gd name="T24" fmla="*/ 68 w 122"/>
                <a:gd name="T25" fmla="*/ 37 h 71"/>
                <a:gd name="T26" fmla="*/ 91 w 122"/>
                <a:gd name="T27" fmla="*/ 37 h 71"/>
                <a:gd name="T28" fmla="*/ 111 w 122"/>
                <a:gd name="T29" fmla="*/ 16 h 71"/>
                <a:gd name="T30" fmla="*/ 122 w 122"/>
                <a:gd name="T31" fmla="*/ 27 h 71"/>
                <a:gd name="T32" fmla="*/ 122 w 122"/>
                <a:gd name="T3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71">
                  <a:moveTo>
                    <a:pt x="122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17" y="54"/>
                    <a:pt x="1" y="70"/>
                    <a:pt x="0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9" y="65"/>
                    <a:pt x="27" y="56"/>
                    <a:pt x="31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22" y="27"/>
                    <a:pt x="122" y="27"/>
                    <a:pt x="122" y="27"/>
                  </a:cubicBezTo>
                  <a:lnTo>
                    <a:pt x="122" y="0"/>
                  </a:lnTo>
                  <a:close/>
                </a:path>
              </a:pathLst>
            </a:cu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5" name="Line 492">
              <a:extLst>
                <a:ext uri="{FF2B5EF4-FFF2-40B4-BE49-F238E27FC236}">
                  <a16:creationId xmlns:a16="http://schemas.microsoft.com/office/drawing/2014/main" id="{EB680399-F0FA-460A-8251-ADBE1F1C34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62700" y="5810251"/>
              <a:ext cx="0" cy="0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582" name="Group 45581">
            <a:extLst>
              <a:ext uri="{FF2B5EF4-FFF2-40B4-BE49-F238E27FC236}">
                <a16:creationId xmlns:a16="http://schemas.microsoft.com/office/drawing/2014/main" id="{0CAA1C72-4F94-4E2F-87DF-B091907D5FAA}"/>
              </a:ext>
            </a:extLst>
          </p:cNvPr>
          <p:cNvGrpSpPr/>
          <p:nvPr/>
        </p:nvGrpSpPr>
        <p:grpSpPr>
          <a:xfrm>
            <a:off x="7075488" y="5421313"/>
            <a:ext cx="844550" cy="841375"/>
            <a:chOff x="7075488" y="5421313"/>
            <a:chExt cx="844550" cy="841375"/>
          </a:xfrm>
        </p:grpSpPr>
        <p:sp>
          <p:nvSpPr>
            <p:cNvPr id="45558" name="AutoShape 494">
              <a:extLst>
                <a:ext uri="{FF2B5EF4-FFF2-40B4-BE49-F238E27FC236}">
                  <a16:creationId xmlns:a16="http://schemas.microsoft.com/office/drawing/2014/main" id="{5D78ED88-380F-4062-8F69-1D140F97E3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75488" y="54213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59" name="Oval 496">
              <a:extLst>
                <a:ext uri="{FF2B5EF4-FFF2-40B4-BE49-F238E27FC236}">
                  <a16:creationId xmlns:a16="http://schemas.microsoft.com/office/drawing/2014/main" id="{90EDB41A-1089-43BF-BA05-62C612759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5488" y="542448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0" name="Freeform 497">
              <a:extLst>
                <a:ext uri="{FF2B5EF4-FFF2-40B4-BE49-F238E27FC236}">
                  <a16:creationId xmlns:a16="http://schemas.microsoft.com/office/drawing/2014/main" id="{270B2C35-2E0D-4CC4-B2D6-F6E0C122EB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4063" y="545306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1" name="Rectangle 498">
              <a:extLst>
                <a:ext uri="{FF2B5EF4-FFF2-40B4-BE49-F238E27FC236}">
                  <a16:creationId xmlns:a16="http://schemas.microsoft.com/office/drawing/2014/main" id="{6841CF05-EA14-4654-865C-273A332233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5988" y="5613401"/>
              <a:ext cx="455613" cy="485775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2" name="Oval 499">
              <a:extLst>
                <a:ext uri="{FF2B5EF4-FFF2-40B4-BE49-F238E27FC236}">
                  <a16:creationId xmlns:a16="http://schemas.microsoft.com/office/drawing/2014/main" id="{225B83BE-3FE0-49AF-AB06-87E64C3B4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6476" y="5641976"/>
              <a:ext cx="96838" cy="9525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3" name="Freeform 500">
              <a:extLst>
                <a:ext uri="{FF2B5EF4-FFF2-40B4-BE49-F238E27FC236}">
                  <a16:creationId xmlns:a16="http://schemas.microsoft.com/office/drawing/2014/main" id="{C984FB71-E917-434E-A411-27D03EED0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838" y="5757863"/>
              <a:ext cx="141288" cy="173038"/>
            </a:xfrm>
            <a:custGeom>
              <a:avLst/>
              <a:gdLst>
                <a:gd name="T0" fmla="*/ 6 w 35"/>
                <a:gd name="T1" fmla="*/ 0 h 43"/>
                <a:gd name="T2" fmla="*/ 29 w 35"/>
                <a:gd name="T3" fmla="*/ 0 h 43"/>
                <a:gd name="T4" fmla="*/ 35 w 35"/>
                <a:gd name="T5" fmla="*/ 6 h 43"/>
                <a:gd name="T6" fmla="*/ 35 w 35"/>
                <a:gd name="T7" fmla="*/ 43 h 43"/>
                <a:gd name="T8" fmla="*/ 0 w 35"/>
                <a:gd name="T9" fmla="*/ 43 h 43"/>
                <a:gd name="T10" fmla="*/ 0 w 35"/>
                <a:gd name="T11" fmla="*/ 6 h 43"/>
                <a:gd name="T12" fmla="*/ 6 w 35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3">
                  <a:moveTo>
                    <a:pt x="6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3"/>
                    <a:pt x="35" y="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4" name="Freeform 501">
              <a:extLst>
                <a:ext uri="{FF2B5EF4-FFF2-40B4-BE49-F238E27FC236}">
                  <a16:creationId xmlns:a16="http://schemas.microsoft.com/office/drawing/2014/main" id="{D3DB792C-FF7E-4CFB-B3D0-0EB1CA5E7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6" y="5757863"/>
              <a:ext cx="53975" cy="88900"/>
            </a:xfrm>
            <a:custGeom>
              <a:avLst/>
              <a:gdLst>
                <a:gd name="T0" fmla="*/ 0 w 34"/>
                <a:gd name="T1" fmla="*/ 0 h 56"/>
                <a:gd name="T2" fmla="*/ 18 w 34"/>
                <a:gd name="T3" fmla="*/ 56 h 56"/>
                <a:gd name="T4" fmla="*/ 34 w 34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56">
                  <a:moveTo>
                    <a:pt x="0" y="0"/>
                  </a:moveTo>
                  <a:lnTo>
                    <a:pt x="18" y="56"/>
                  </a:lnTo>
                  <a:lnTo>
                    <a:pt x="34" y="0"/>
                  </a:ln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5" name="Freeform 502">
              <a:extLst>
                <a:ext uri="{FF2B5EF4-FFF2-40B4-BE49-F238E27FC236}">
                  <a16:creationId xmlns:a16="http://schemas.microsoft.com/office/drawing/2014/main" id="{4EFBA991-E188-4DD2-95B1-0C1D55F36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5376" y="5862638"/>
              <a:ext cx="0" cy="63500"/>
            </a:xfrm>
            <a:custGeom>
              <a:avLst/>
              <a:gdLst>
                <a:gd name="T0" fmla="*/ 0 h 40"/>
                <a:gd name="T1" fmla="*/ 40 h 40"/>
                <a:gd name="T2" fmla="*/ 0 h 4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0">
                  <a:moveTo>
                    <a:pt x="0" y="0"/>
                  </a:moveTo>
                  <a:lnTo>
                    <a:pt x="0" y="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6" name="Line 503">
              <a:extLst>
                <a:ext uri="{FF2B5EF4-FFF2-40B4-BE49-F238E27FC236}">
                  <a16:creationId xmlns:a16="http://schemas.microsoft.com/office/drawing/2014/main" id="{EA9BB579-FFA6-4D82-A86D-31CD467235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45376" y="5862638"/>
              <a:ext cx="0" cy="63500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7" name="Rectangle 504">
              <a:extLst>
                <a:ext uri="{FF2B5EF4-FFF2-40B4-BE49-F238E27FC236}">
                  <a16:creationId xmlns:a16="http://schemas.microsoft.com/office/drawing/2014/main" id="{E096A246-993B-417D-81C3-DBB02B2B1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8863" y="5930901"/>
              <a:ext cx="28575" cy="139700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8" name="Freeform 505">
              <a:extLst>
                <a:ext uri="{FF2B5EF4-FFF2-40B4-BE49-F238E27FC236}">
                  <a16:creationId xmlns:a16="http://schemas.microsoft.com/office/drawing/2014/main" id="{1E04FDAB-4426-41A7-8E8F-653CFF667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8076" y="5938838"/>
              <a:ext cx="26988" cy="79375"/>
            </a:xfrm>
            <a:custGeom>
              <a:avLst/>
              <a:gdLst>
                <a:gd name="T0" fmla="*/ 0 w 7"/>
                <a:gd name="T1" fmla="*/ 20 h 20"/>
                <a:gd name="T2" fmla="*/ 7 w 7"/>
                <a:gd name="T3" fmla="*/ 20 h 20"/>
                <a:gd name="T4" fmla="*/ 7 w 7"/>
                <a:gd name="T5" fmla="*/ 3 h 20"/>
                <a:gd name="T6" fmla="*/ 4 w 7"/>
                <a:gd name="T7" fmla="*/ 0 h 20"/>
                <a:gd name="T8" fmla="*/ 3 w 7"/>
                <a:gd name="T9" fmla="*/ 0 h 20"/>
                <a:gd name="T10" fmla="*/ 0 w 7"/>
                <a:gd name="T11" fmla="*/ 3 h 20"/>
                <a:gd name="T12" fmla="*/ 0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69" name="Rectangle 506">
              <a:extLst>
                <a:ext uri="{FF2B5EF4-FFF2-40B4-BE49-F238E27FC236}">
                  <a16:creationId xmlns:a16="http://schemas.microsoft.com/office/drawing/2014/main" id="{8BF2B780-336E-4AAF-AC96-D07903ECE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5988" y="5613401"/>
              <a:ext cx="117475" cy="485775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0" name="Oval 507">
              <a:extLst>
                <a:ext uri="{FF2B5EF4-FFF2-40B4-BE49-F238E27FC236}">
                  <a16:creationId xmlns:a16="http://schemas.microsoft.com/office/drawing/2014/main" id="{7F85823E-6A60-431A-8AE5-168D27EB4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1" y="5641976"/>
              <a:ext cx="96838" cy="9525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1" name="Freeform 508">
              <a:extLst>
                <a:ext uri="{FF2B5EF4-FFF2-40B4-BE49-F238E27FC236}">
                  <a16:creationId xmlns:a16="http://schemas.microsoft.com/office/drawing/2014/main" id="{66C7A72D-7348-42B6-B521-6F4D4D11C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463" y="5757863"/>
              <a:ext cx="138113" cy="173038"/>
            </a:xfrm>
            <a:custGeom>
              <a:avLst/>
              <a:gdLst>
                <a:gd name="T0" fmla="*/ 29 w 34"/>
                <a:gd name="T1" fmla="*/ 0 h 43"/>
                <a:gd name="T2" fmla="*/ 6 w 34"/>
                <a:gd name="T3" fmla="*/ 0 h 43"/>
                <a:gd name="T4" fmla="*/ 0 w 34"/>
                <a:gd name="T5" fmla="*/ 6 h 43"/>
                <a:gd name="T6" fmla="*/ 0 w 34"/>
                <a:gd name="T7" fmla="*/ 43 h 43"/>
                <a:gd name="T8" fmla="*/ 34 w 34"/>
                <a:gd name="T9" fmla="*/ 43 h 43"/>
                <a:gd name="T10" fmla="*/ 34 w 34"/>
                <a:gd name="T11" fmla="*/ 6 h 43"/>
                <a:gd name="T12" fmla="*/ 29 w 3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3">
                  <a:moveTo>
                    <a:pt x="2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3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2" name="Freeform 509">
              <a:extLst>
                <a:ext uri="{FF2B5EF4-FFF2-40B4-BE49-F238E27FC236}">
                  <a16:creationId xmlns:a16="http://schemas.microsoft.com/office/drawing/2014/main" id="{CEDEC4B6-4919-47FE-A456-FF75917B9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4913" y="5757863"/>
              <a:ext cx="52388" cy="31750"/>
            </a:xfrm>
            <a:custGeom>
              <a:avLst/>
              <a:gdLst>
                <a:gd name="T0" fmla="*/ 33 w 33"/>
                <a:gd name="T1" fmla="*/ 0 h 20"/>
                <a:gd name="T2" fmla="*/ 18 w 33"/>
                <a:gd name="T3" fmla="*/ 20 h 20"/>
                <a:gd name="T4" fmla="*/ 0 w 33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20">
                  <a:moveTo>
                    <a:pt x="33" y="0"/>
                  </a:moveTo>
                  <a:lnTo>
                    <a:pt x="18" y="20"/>
                  </a:lnTo>
                  <a:lnTo>
                    <a:pt x="0" y="0"/>
                  </a:ln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3" name="Freeform 510">
              <a:extLst>
                <a:ext uri="{FF2B5EF4-FFF2-40B4-BE49-F238E27FC236}">
                  <a16:creationId xmlns:a16="http://schemas.microsoft.com/office/drawing/2014/main" id="{F93A0A55-DFA2-4C23-A9D3-186146498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2213" y="5862638"/>
              <a:ext cx="0" cy="63500"/>
            </a:xfrm>
            <a:custGeom>
              <a:avLst/>
              <a:gdLst>
                <a:gd name="T0" fmla="*/ 0 h 40"/>
                <a:gd name="T1" fmla="*/ 40 h 40"/>
                <a:gd name="T2" fmla="*/ 0 h 4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0">
                  <a:moveTo>
                    <a:pt x="0" y="0"/>
                  </a:moveTo>
                  <a:lnTo>
                    <a:pt x="0" y="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4" name="Line 511">
              <a:extLst>
                <a:ext uri="{FF2B5EF4-FFF2-40B4-BE49-F238E27FC236}">
                  <a16:creationId xmlns:a16="http://schemas.microsoft.com/office/drawing/2014/main" id="{45DBB349-6750-48B9-9DE6-C1B1F6E672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2213" y="5862638"/>
              <a:ext cx="0" cy="63500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5" name="Rectangle 512">
              <a:extLst>
                <a:ext uri="{FF2B5EF4-FFF2-40B4-BE49-F238E27FC236}">
                  <a16:creationId xmlns:a16="http://schemas.microsoft.com/office/drawing/2014/main" id="{B72FB9D9-6C20-4E31-ACAA-8DCE01DF0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0151" y="5930901"/>
              <a:ext cx="28575" cy="139700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6" name="Freeform 513">
              <a:extLst>
                <a:ext uri="{FF2B5EF4-FFF2-40B4-BE49-F238E27FC236}">
                  <a16:creationId xmlns:a16="http://schemas.microsoft.com/office/drawing/2014/main" id="{5C50F1BD-1E89-4A3E-8CD6-65258B9E6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526" y="5938838"/>
              <a:ext cx="23813" cy="79375"/>
            </a:xfrm>
            <a:custGeom>
              <a:avLst/>
              <a:gdLst>
                <a:gd name="T0" fmla="*/ 6 w 6"/>
                <a:gd name="T1" fmla="*/ 20 h 20"/>
                <a:gd name="T2" fmla="*/ 0 w 6"/>
                <a:gd name="T3" fmla="*/ 20 h 20"/>
                <a:gd name="T4" fmla="*/ 0 w 6"/>
                <a:gd name="T5" fmla="*/ 3 h 20"/>
                <a:gd name="T6" fmla="*/ 2 w 6"/>
                <a:gd name="T7" fmla="*/ 0 h 20"/>
                <a:gd name="T8" fmla="*/ 3 w 6"/>
                <a:gd name="T9" fmla="*/ 0 h 20"/>
                <a:gd name="T10" fmla="*/ 6 w 6"/>
                <a:gd name="T11" fmla="*/ 3 h 20"/>
                <a:gd name="T12" fmla="*/ 6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6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7" name="Rectangle 514">
              <a:extLst>
                <a:ext uri="{FF2B5EF4-FFF2-40B4-BE49-F238E27FC236}">
                  <a16:creationId xmlns:a16="http://schemas.microsoft.com/office/drawing/2014/main" id="{45AE92BE-E0EE-4866-B6BA-7950FBBA9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2213" y="5930901"/>
              <a:ext cx="93663" cy="63500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8" name="Rectangle 515">
              <a:extLst>
                <a:ext uri="{FF2B5EF4-FFF2-40B4-BE49-F238E27FC236}">
                  <a16:creationId xmlns:a16="http://schemas.microsoft.com/office/drawing/2014/main" id="{0E5B774C-B736-4D70-8A26-E77C11CC9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9363" y="5613401"/>
              <a:ext cx="122238" cy="485775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79" name="Freeform 516">
              <a:extLst>
                <a:ext uri="{FF2B5EF4-FFF2-40B4-BE49-F238E27FC236}">
                  <a16:creationId xmlns:a16="http://schemas.microsoft.com/office/drawing/2014/main" id="{48E94BAA-C198-4588-9004-54F081CB3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676" y="5537201"/>
              <a:ext cx="127000" cy="39688"/>
            </a:xfrm>
            <a:custGeom>
              <a:avLst/>
              <a:gdLst>
                <a:gd name="T0" fmla="*/ 26 w 31"/>
                <a:gd name="T1" fmla="*/ 10 h 10"/>
                <a:gd name="T2" fmla="*/ 4 w 31"/>
                <a:gd name="T3" fmla="*/ 10 h 10"/>
                <a:gd name="T4" fmla="*/ 0 w 31"/>
                <a:gd name="T5" fmla="*/ 5 h 10"/>
                <a:gd name="T6" fmla="*/ 0 w 31"/>
                <a:gd name="T7" fmla="*/ 5 h 10"/>
                <a:gd name="T8" fmla="*/ 4 w 31"/>
                <a:gd name="T9" fmla="*/ 0 h 10"/>
                <a:gd name="T10" fmla="*/ 26 w 31"/>
                <a:gd name="T11" fmla="*/ 0 h 10"/>
                <a:gd name="T12" fmla="*/ 31 w 31"/>
                <a:gd name="T13" fmla="*/ 5 h 10"/>
                <a:gd name="T14" fmla="*/ 31 w 31"/>
                <a:gd name="T15" fmla="*/ 5 h 10"/>
                <a:gd name="T16" fmla="*/ 26 w 31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0">
                  <a:moveTo>
                    <a:pt x="26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1" y="2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8"/>
                    <a:pt x="29" y="10"/>
                    <a:pt x="26" y="10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0" name="Freeform 517">
              <a:extLst>
                <a:ext uri="{FF2B5EF4-FFF2-40B4-BE49-F238E27FC236}">
                  <a16:creationId xmlns:a16="http://schemas.microsoft.com/office/drawing/2014/main" id="{4D86BE6F-B06A-40D0-9F0E-3159F9094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4938" y="5753101"/>
              <a:ext cx="60325" cy="57150"/>
            </a:xfrm>
            <a:custGeom>
              <a:avLst/>
              <a:gdLst>
                <a:gd name="T0" fmla="*/ 38 w 38"/>
                <a:gd name="T1" fmla="*/ 36 h 36"/>
                <a:gd name="T2" fmla="*/ 20 w 38"/>
                <a:gd name="T3" fmla="*/ 36 h 36"/>
                <a:gd name="T4" fmla="*/ 0 w 38"/>
                <a:gd name="T5" fmla="*/ 36 h 36"/>
                <a:gd name="T6" fmla="*/ 20 w 38"/>
                <a:gd name="T7" fmla="*/ 0 h 36"/>
                <a:gd name="T8" fmla="*/ 38 w 38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6">
                  <a:moveTo>
                    <a:pt x="38" y="36"/>
                  </a:moveTo>
                  <a:lnTo>
                    <a:pt x="20" y="36"/>
                  </a:lnTo>
                  <a:lnTo>
                    <a:pt x="0" y="36"/>
                  </a:lnTo>
                  <a:lnTo>
                    <a:pt x="20" y="0"/>
                  </a:lnTo>
                  <a:lnTo>
                    <a:pt x="38" y="36"/>
                  </a:lnTo>
                  <a:close/>
                </a:path>
              </a:pathLst>
            </a:custGeom>
            <a:solidFill>
              <a:srgbClr val="0091B3"/>
            </a:solidFill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1" name="Freeform 518">
              <a:extLst>
                <a:ext uri="{FF2B5EF4-FFF2-40B4-BE49-F238E27FC236}">
                  <a16:creationId xmlns:a16="http://schemas.microsoft.com/office/drawing/2014/main" id="{5D5777FD-F34D-4E08-A361-592B4946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4938" y="5881688"/>
              <a:ext cx="60325" cy="60325"/>
            </a:xfrm>
            <a:custGeom>
              <a:avLst/>
              <a:gdLst>
                <a:gd name="T0" fmla="*/ 38 w 38"/>
                <a:gd name="T1" fmla="*/ 0 h 38"/>
                <a:gd name="T2" fmla="*/ 20 w 38"/>
                <a:gd name="T3" fmla="*/ 0 h 38"/>
                <a:gd name="T4" fmla="*/ 0 w 38"/>
                <a:gd name="T5" fmla="*/ 0 h 38"/>
                <a:gd name="T6" fmla="*/ 20 w 38"/>
                <a:gd name="T7" fmla="*/ 38 h 38"/>
                <a:gd name="T8" fmla="*/ 38 w 38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0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20" y="38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91B3"/>
            </a:solidFill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605" name="Group 45604">
            <a:extLst>
              <a:ext uri="{FF2B5EF4-FFF2-40B4-BE49-F238E27FC236}">
                <a16:creationId xmlns:a16="http://schemas.microsoft.com/office/drawing/2014/main" id="{2119234F-90A4-4C55-A8A7-4D684BD29783}"/>
              </a:ext>
            </a:extLst>
          </p:cNvPr>
          <p:cNvGrpSpPr/>
          <p:nvPr/>
        </p:nvGrpSpPr>
        <p:grpSpPr>
          <a:xfrm>
            <a:off x="8132763" y="5456237"/>
            <a:ext cx="758825" cy="768351"/>
            <a:chOff x="8132763" y="5456237"/>
            <a:chExt cx="758825" cy="768351"/>
          </a:xfrm>
        </p:grpSpPr>
        <p:sp>
          <p:nvSpPr>
            <p:cNvPr id="45584" name="AutoShape 520">
              <a:extLst>
                <a:ext uri="{FF2B5EF4-FFF2-40B4-BE49-F238E27FC236}">
                  <a16:creationId xmlns:a16="http://schemas.microsoft.com/office/drawing/2014/main" id="{C8840D16-6AE1-4E9E-A224-58B717E9C5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32763" y="5461000"/>
              <a:ext cx="758825" cy="760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5" name="Freeform 522">
              <a:extLst>
                <a:ext uri="{FF2B5EF4-FFF2-40B4-BE49-F238E27FC236}">
                  <a16:creationId xmlns:a16="http://schemas.microsoft.com/office/drawing/2014/main" id="{4B534F17-4921-408D-90D3-50D6B25F15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5938" y="5456237"/>
              <a:ext cx="755650" cy="768351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6" name="Rectangle 523">
              <a:extLst>
                <a:ext uri="{FF2B5EF4-FFF2-40B4-BE49-F238E27FC236}">
                  <a16:creationId xmlns:a16="http://schemas.microsoft.com/office/drawing/2014/main" id="{6107F715-DCB9-43EB-8AE3-93326A9F0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3101" y="5614988"/>
              <a:ext cx="434975" cy="479425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7" name="Oval 524">
              <a:extLst>
                <a:ext uri="{FF2B5EF4-FFF2-40B4-BE49-F238E27FC236}">
                  <a16:creationId xmlns:a16="http://schemas.microsoft.com/office/drawing/2014/main" id="{1AE79B34-1CFE-49F9-A7E7-A9CFE046F7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7238" y="5643563"/>
              <a:ext cx="93663" cy="9525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8" name="Freeform 525">
              <a:extLst>
                <a:ext uri="{FF2B5EF4-FFF2-40B4-BE49-F238E27FC236}">
                  <a16:creationId xmlns:a16="http://schemas.microsoft.com/office/drawing/2014/main" id="{CCF11B51-03FC-4834-9E78-CB426734F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188" y="5757863"/>
              <a:ext cx="136525" cy="169863"/>
            </a:xfrm>
            <a:custGeom>
              <a:avLst/>
              <a:gdLst>
                <a:gd name="T0" fmla="*/ 6 w 35"/>
                <a:gd name="T1" fmla="*/ 0 h 43"/>
                <a:gd name="T2" fmla="*/ 29 w 35"/>
                <a:gd name="T3" fmla="*/ 0 h 43"/>
                <a:gd name="T4" fmla="*/ 35 w 35"/>
                <a:gd name="T5" fmla="*/ 6 h 43"/>
                <a:gd name="T6" fmla="*/ 35 w 35"/>
                <a:gd name="T7" fmla="*/ 43 h 43"/>
                <a:gd name="T8" fmla="*/ 0 w 35"/>
                <a:gd name="T9" fmla="*/ 43 h 43"/>
                <a:gd name="T10" fmla="*/ 0 w 35"/>
                <a:gd name="T11" fmla="*/ 6 h 43"/>
                <a:gd name="T12" fmla="*/ 6 w 35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3">
                  <a:moveTo>
                    <a:pt x="6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3"/>
                    <a:pt x="35" y="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89" name="Freeform 526">
              <a:extLst>
                <a:ext uri="{FF2B5EF4-FFF2-40B4-BE49-F238E27FC236}">
                  <a16:creationId xmlns:a16="http://schemas.microsoft.com/office/drawing/2014/main" id="{95BA8447-2044-4BDE-B8C9-8F9B7F0C0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76" y="5757863"/>
              <a:ext cx="50800" cy="87313"/>
            </a:xfrm>
            <a:custGeom>
              <a:avLst/>
              <a:gdLst>
                <a:gd name="T0" fmla="*/ 0 w 32"/>
                <a:gd name="T1" fmla="*/ 0 h 55"/>
                <a:gd name="T2" fmla="*/ 17 w 32"/>
                <a:gd name="T3" fmla="*/ 55 h 55"/>
                <a:gd name="T4" fmla="*/ 32 w 32"/>
                <a:gd name="T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55">
                  <a:moveTo>
                    <a:pt x="0" y="0"/>
                  </a:moveTo>
                  <a:lnTo>
                    <a:pt x="17" y="55"/>
                  </a:lnTo>
                  <a:lnTo>
                    <a:pt x="32" y="0"/>
                  </a:ln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0" name="Line 527">
              <a:extLst>
                <a:ext uri="{FF2B5EF4-FFF2-40B4-BE49-F238E27FC236}">
                  <a16:creationId xmlns:a16="http://schemas.microsoft.com/office/drawing/2014/main" id="{178CEF03-3D24-4CC1-9AE6-036599653E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62963" y="5861050"/>
              <a:ext cx="0" cy="63500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1" name="Rectangle 528">
              <a:extLst>
                <a:ext uri="{FF2B5EF4-FFF2-40B4-BE49-F238E27FC236}">
                  <a16:creationId xmlns:a16="http://schemas.microsoft.com/office/drawing/2014/main" id="{9FCA2094-A84F-4BED-9023-F45CE7D4A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8038" y="5927725"/>
              <a:ext cx="26988" cy="13970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2" name="Freeform 529">
              <a:extLst>
                <a:ext uri="{FF2B5EF4-FFF2-40B4-BE49-F238E27FC236}">
                  <a16:creationId xmlns:a16="http://schemas.microsoft.com/office/drawing/2014/main" id="{2DF9C4C5-F2C0-496C-9798-1429D0601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5663" y="5935663"/>
              <a:ext cx="26988" cy="79375"/>
            </a:xfrm>
            <a:custGeom>
              <a:avLst/>
              <a:gdLst>
                <a:gd name="T0" fmla="*/ 0 w 7"/>
                <a:gd name="T1" fmla="*/ 20 h 20"/>
                <a:gd name="T2" fmla="*/ 7 w 7"/>
                <a:gd name="T3" fmla="*/ 20 h 20"/>
                <a:gd name="T4" fmla="*/ 7 w 7"/>
                <a:gd name="T5" fmla="*/ 3 h 20"/>
                <a:gd name="T6" fmla="*/ 4 w 7"/>
                <a:gd name="T7" fmla="*/ 0 h 20"/>
                <a:gd name="T8" fmla="*/ 3 w 7"/>
                <a:gd name="T9" fmla="*/ 0 h 20"/>
                <a:gd name="T10" fmla="*/ 0 w 7"/>
                <a:gd name="T11" fmla="*/ 3 h 20"/>
                <a:gd name="T12" fmla="*/ 0 w 7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0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3" name="Rectangle 530">
              <a:extLst>
                <a:ext uri="{FF2B5EF4-FFF2-40B4-BE49-F238E27FC236}">
                  <a16:creationId xmlns:a16="http://schemas.microsoft.com/office/drawing/2014/main" id="{2162E852-8ADC-41C0-9C36-230487FCA6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3101" y="5614988"/>
              <a:ext cx="112713" cy="4794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4" name="Oval 531">
              <a:extLst>
                <a:ext uri="{FF2B5EF4-FFF2-40B4-BE49-F238E27FC236}">
                  <a16:creationId xmlns:a16="http://schemas.microsoft.com/office/drawing/2014/main" id="{9039984D-99F9-4B00-8336-C3FF496FE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5513" y="5643563"/>
              <a:ext cx="93663" cy="9525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5" name="Freeform 532">
              <a:extLst>
                <a:ext uri="{FF2B5EF4-FFF2-40B4-BE49-F238E27FC236}">
                  <a16:creationId xmlns:a16="http://schemas.microsoft.com/office/drawing/2014/main" id="{08FDDF4B-7B41-4920-A8F0-F26BB497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6463" y="5757863"/>
              <a:ext cx="131763" cy="169863"/>
            </a:xfrm>
            <a:custGeom>
              <a:avLst/>
              <a:gdLst>
                <a:gd name="T0" fmla="*/ 29 w 34"/>
                <a:gd name="T1" fmla="*/ 0 h 43"/>
                <a:gd name="T2" fmla="*/ 6 w 34"/>
                <a:gd name="T3" fmla="*/ 0 h 43"/>
                <a:gd name="T4" fmla="*/ 0 w 34"/>
                <a:gd name="T5" fmla="*/ 6 h 43"/>
                <a:gd name="T6" fmla="*/ 0 w 34"/>
                <a:gd name="T7" fmla="*/ 43 h 43"/>
                <a:gd name="T8" fmla="*/ 34 w 34"/>
                <a:gd name="T9" fmla="*/ 43 h 43"/>
                <a:gd name="T10" fmla="*/ 34 w 34"/>
                <a:gd name="T11" fmla="*/ 6 h 43"/>
                <a:gd name="T12" fmla="*/ 29 w 3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3">
                  <a:moveTo>
                    <a:pt x="2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3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6" name="Freeform 533">
              <a:extLst>
                <a:ext uri="{FF2B5EF4-FFF2-40B4-BE49-F238E27FC236}">
                  <a16:creationId xmlns:a16="http://schemas.microsoft.com/office/drawing/2014/main" id="{6EB22BBC-5201-46ED-B0DC-8249D1952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9326" y="5757863"/>
              <a:ext cx="49213" cy="31750"/>
            </a:xfrm>
            <a:custGeom>
              <a:avLst/>
              <a:gdLst>
                <a:gd name="T0" fmla="*/ 31 w 31"/>
                <a:gd name="T1" fmla="*/ 0 h 20"/>
                <a:gd name="T2" fmla="*/ 17 w 31"/>
                <a:gd name="T3" fmla="*/ 20 h 20"/>
                <a:gd name="T4" fmla="*/ 0 w 31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20">
                  <a:moveTo>
                    <a:pt x="31" y="0"/>
                  </a:moveTo>
                  <a:lnTo>
                    <a:pt x="17" y="2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7" name="Line 534">
              <a:extLst>
                <a:ext uri="{FF2B5EF4-FFF2-40B4-BE49-F238E27FC236}">
                  <a16:creationId xmlns:a16="http://schemas.microsoft.com/office/drawing/2014/main" id="{E8F0BC6D-F77F-48D7-A8F5-DBC2B3915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56626" y="5861050"/>
              <a:ext cx="0" cy="63500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8" name="Rectangle 535">
              <a:extLst>
                <a:ext uri="{FF2B5EF4-FFF2-40B4-BE49-F238E27FC236}">
                  <a16:creationId xmlns:a16="http://schemas.microsoft.com/office/drawing/2014/main" id="{E1E6796D-8FAD-4B80-AA04-FAC1180A9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4563" y="5927725"/>
              <a:ext cx="26988" cy="13970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99" name="Freeform 536">
              <a:extLst>
                <a:ext uri="{FF2B5EF4-FFF2-40B4-BE49-F238E27FC236}">
                  <a16:creationId xmlns:a16="http://schemas.microsoft.com/office/drawing/2014/main" id="{14688A50-BA4B-426C-A084-C524E6BC6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8526" y="5935663"/>
              <a:ext cx="22225" cy="79375"/>
            </a:xfrm>
            <a:custGeom>
              <a:avLst/>
              <a:gdLst>
                <a:gd name="T0" fmla="*/ 6 w 6"/>
                <a:gd name="T1" fmla="*/ 20 h 20"/>
                <a:gd name="T2" fmla="*/ 0 w 6"/>
                <a:gd name="T3" fmla="*/ 20 h 20"/>
                <a:gd name="T4" fmla="*/ 0 w 6"/>
                <a:gd name="T5" fmla="*/ 3 h 20"/>
                <a:gd name="T6" fmla="*/ 2 w 6"/>
                <a:gd name="T7" fmla="*/ 0 h 20"/>
                <a:gd name="T8" fmla="*/ 3 w 6"/>
                <a:gd name="T9" fmla="*/ 0 h 20"/>
                <a:gd name="T10" fmla="*/ 6 w 6"/>
                <a:gd name="T11" fmla="*/ 3 h 20"/>
                <a:gd name="T12" fmla="*/ 6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6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00" name="Rectangle 537">
              <a:extLst>
                <a:ext uri="{FF2B5EF4-FFF2-40B4-BE49-F238E27FC236}">
                  <a16:creationId xmlns:a16="http://schemas.microsoft.com/office/drawing/2014/main" id="{A5EBF3A0-0ECC-410F-8241-B571BC6FB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6626" y="5927725"/>
              <a:ext cx="90488" cy="6350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01" name="Rectangle 538">
              <a:extLst>
                <a:ext uri="{FF2B5EF4-FFF2-40B4-BE49-F238E27FC236}">
                  <a16:creationId xmlns:a16="http://schemas.microsoft.com/office/drawing/2014/main" id="{52B57535-2E91-4293-8D87-73AF25D54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2188" y="5614988"/>
              <a:ext cx="115888" cy="4794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02" name="Freeform 539">
              <a:extLst>
                <a:ext uri="{FF2B5EF4-FFF2-40B4-BE49-F238E27FC236}">
                  <a16:creationId xmlns:a16="http://schemas.microsoft.com/office/drawing/2014/main" id="{212FBFF0-2026-475A-87BE-4393F7D1E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1851" y="5540375"/>
              <a:ext cx="120650" cy="39688"/>
            </a:xfrm>
            <a:custGeom>
              <a:avLst/>
              <a:gdLst>
                <a:gd name="T0" fmla="*/ 26 w 31"/>
                <a:gd name="T1" fmla="*/ 10 h 10"/>
                <a:gd name="T2" fmla="*/ 4 w 31"/>
                <a:gd name="T3" fmla="*/ 10 h 10"/>
                <a:gd name="T4" fmla="*/ 0 w 31"/>
                <a:gd name="T5" fmla="*/ 5 h 10"/>
                <a:gd name="T6" fmla="*/ 0 w 31"/>
                <a:gd name="T7" fmla="*/ 5 h 10"/>
                <a:gd name="T8" fmla="*/ 4 w 31"/>
                <a:gd name="T9" fmla="*/ 0 h 10"/>
                <a:gd name="T10" fmla="*/ 26 w 31"/>
                <a:gd name="T11" fmla="*/ 0 h 10"/>
                <a:gd name="T12" fmla="*/ 31 w 31"/>
                <a:gd name="T13" fmla="*/ 5 h 10"/>
                <a:gd name="T14" fmla="*/ 31 w 31"/>
                <a:gd name="T15" fmla="*/ 5 h 10"/>
                <a:gd name="T16" fmla="*/ 26 w 31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0">
                  <a:moveTo>
                    <a:pt x="26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1" y="2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8"/>
                    <a:pt x="29" y="10"/>
                    <a:pt x="26" y="1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03" name="Freeform 540">
              <a:extLst>
                <a:ext uri="{FF2B5EF4-FFF2-40B4-BE49-F238E27FC236}">
                  <a16:creationId xmlns:a16="http://schemas.microsoft.com/office/drawing/2014/main" id="{ECA38A2F-FE50-4510-B92A-E83DB1523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26" y="5754688"/>
              <a:ext cx="57150" cy="53975"/>
            </a:xfrm>
            <a:custGeom>
              <a:avLst/>
              <a:gdLst>
                <a:gd name="T0" fmla="*/ 36 w 36"/>
                <a:gd name="T1" fmla="*/ 34 h 34"/>
                <a:gd name="T2" fmla="*/ 19 w 36"/>
                <a:gd name="T3" fmla="*/ 34 h 34"/>
                <a:gd name="T4" fmla="*/ 0 w 36"/>
                <a:gd name="T5" fmla="*/ 34 h 34"/>
                <a:gd name="T6" fmla="*/ 19 w 36"/>
                <a:gd name="T7" fmla="*/ 0 h 34"/>
                <a:gd name="T8" fmla="*/ 36 w 36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4">
                  <a:moveTo>
                    <a:pt x="36" y="34"/>
                  </a:moveTo>
                  <a:lnTo>
                    <a:pt x="19" y="34"/>
                  </a:lnTo>
                  <a:lnTo>
                    <a:pt x="0" y="34"/>
                  </a:lnTo>
                  <a:lnTo>
                    <a:pt x="19" y="0"/>
                  </a:lnTo>
                  <a:lnTo>
                    <a:pt x="36" y="34"/>
                  </a:ln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04" name="Freeform 541">
              <a:extLst>
                <a:ext uri="{FF2B5EF4-FFF2-40B4-BE49-F238E27FC236}">
                  <a16:creationId xmlns:a16="http://schemas.microsoft.com/office/drawing/2014/main" id="{C03666E0-35B8-4DA5-A7B0-C0851584B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26" y="5880100"/>
              <a:ext cx="57150" cy="60325"/>
            </a:xfrm>
            <a:custGeom>
              <a:avLst/>
              <a:gdLst>
                <a:gd name="T0" fmla="*/ 36 w 36"/>
                <a:gd name="T1" fmla="*/ 0 h 38"/>
                <a:gd name="T2" fmla="*/ 19 w 36"/>
                <a:gd name="T3" fmla="*/ 0 h 38"/>
                <a:gd name="T4" fmla="*/ 0 w 36"/>
                <a:gd name="T5" fmla="*/ 0 h 38"/>
                <a:gd name="T6" fmla="*/ 19 w 36"/>
                <a:gd name="T7" fmla="*/ 38 h 38"/>
                <a:gd name="T8" fmla="*/ 36 w 36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8">
                  <a:moveTo>
                    <a:pt x="36" y="0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9" y="38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FFFFF"/>
            </a:solidFill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290027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" name="Table 469">
            <a:extLst>
              <a:ext uri="{FF2B5EF4-FFF2-40B4-BE49-F238E27FC236}">
                <a16:creationId xmlns:a16="http://schemas.microsoft.com/office/drawing/2014/main" id="{53585C1D-83FF-4674-BD85-21B14F124E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7640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plit Scre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t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T Secur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sspor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utri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4585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n</a:t>
                      </a:r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tnes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4585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fort &amp; Mind</a:t>
                      </a:r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4585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ay</a:t>
                      </a:r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eck Mar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X Mark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perty Fly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ering Memorandu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orpla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DF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are (2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YouTube (2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YouTube (3)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385E05DF-1B09-4CDE-9FCA-B3765DC4136F}"/>
              </a:ext>
            </a:extLst>
          </p:cNvPr>
          <p:cNvGrpSpPr/>
          <p:nvPr/>
        </p:nvGrpSpPr>
        <p:grpSpPr>
          <a:xfrm>
            <a:off x="403225" y="293688"/>
            <a:ext cx="844550" cy="841375"/>
            <a:chOff x="403225" y="293688"/>
            <a:chExt cx="844550" cy="841375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85AABD07-8495-4C31-ACB6-AECA27ADE7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3225" y="2936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BCF74FFC-1331-4686-9B3F-C48CC8B0A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" y="2968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F4F38ACD-850C-4A00-8B6A-E7214216D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800" y="3254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7">
              <a:extLst>
                <a:ext uri="{FF2B5EF4-FFF2-40B4-BE49-F238E27FC236}">
                  <a16:creationId xmlns:a16="http://schemas.microsoft.com/office/drawing/2014/main" id="{178E3CEF-6A92-4992-A134-F21EC0525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700" y="525463"/>
              <a:ext cx="357188" cy="228600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19A89174-FFD3-45F6-B8D6-20FCA6727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75" y="750888"/>
              <a:ext cx="528638" cy="136525"/>
            </a:xfrm>
            <a:custGeom>
              <a:avLst/>
              <a:gdLst>
                <a:gd name="T0" fmla="*/ 333 w 333"/>
                <a:gd name="T1" fmla="*/ 86 h 86"/>
                <a:gd name="T2" fmla="*/ 0 w 333"/>
                <a:gd name="T3" fmla="*/ 86 h 86"/>
                <a:gd name="T4" fmla="*/ 54 w 333"/>
                <a:gd name="T5" fmla="*/ 0 h 86"/>
                <a:gd name="T6" fmla="*/ 279 w 333"/>
                <a:gd name="T7" fmla="*/ 0 h 86"/>
                <a:gd name="T8" fmla="*/ 333 w 333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86">
                  <a:moveTo>
                    <a:pt x="333" y="86"/>
                  </a:moveTo>
                  <a:lnTo>
                    <a:pt x="0" y="86"/>
                  </a:lnTo>
                  <a:lnTo>
                    <a:pt x="54" y="0"/>
                  </a:lnTo>
                  <a:lnTo>
                    <a:pt x="279" y="0"/>
                  </a:lnTo>
                  <a:lnTo>
                    <a:pt x="333" y="86"/>
                  </a:ln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9629727C-B8C6-413C-920F-1A8B55477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25" y="569913"/>
              <a:ext cx="234950" cy="136525"/>
            </a:xfrm>
            <a:custGeom>
              <a:avLst/>
              <a:gdLst>
                <a:gd name="T0" fmla="*/ 105 w 148"/>
                <a:gd name="T1" fmla="*/ 71 h 86"/>
                <a:gd name="T2" fmla="*/ 43 w 148"/>
                <a:gd name="T3" fmla="*/ 71 h 86"/>
                <a:gd name="T4" fmla="*/ 43 w 148"/>
                <a:gd name="T5" fmla="*/ 86 h 86"/>
                <a:gd name="T6" fmla="*/ 0 w 148"/>
                <a:gd name="T7" fmla="*/ 43 h 86"/>
                <a:gd name="T8" fmla="*/ 43 w 148"/>
                <a:gd name="T9" fmla="*/ 0 h 86"/>
                <a:gd name="T10" fmla="*/ 43 w 148"/>
                <a:gd name="T11" fmla="*/ 15 h 86"/>
                <a:gd name="T12" fmla="*/ 105 w 148"/>
                <a:gd name="T13" fmla="*/ 15 h 86"/>
                <a:gd name="T14" fmla="*/ 105 w 148"/>
                <a:gd name="T15" fmla="*/ 0 h 86"/>
                <a:gd name="T16" fmla="*/ 148 w 148"/>
                <a:gd name="T17" fmla="*/ 43 h 86"/>
                <a:gd name="T18" fmla="*/ 105 w 148"/>
                <a:gd name="T19" fmla="*/ 86 h 86"/>
                <a:gd name="T20" fmla="*/ 105 w 148"/>
                <a:gd name="T21" fmla="*/ 7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86">
                  <a:moveTo>
                    <a:pt x="105" y="71"/>
                  </a:moveTo>
                  <a:lnTo>
                    <a:pt x="43" y="71"/>
                  </a:lnTo>
                  <a:lnTo>
                    <a:pt x="43" y="86"/>
                  </a:lnTo>
                  <a:lnTo>
                    <a:pt x="0" y="43"/>
                  </a:lnTo>
                  <a:lnTo>
                    <a:pt x="43" y="0"/>
                  </a:lnTo>
                  <a:lnTo>
                    <a:pt x="43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48" y="43"/>
                  </a:lnTo>
                  <a:lnTo>
                    <a:pt x="105" y="86"/>
                  </a:lnTo>
                  <a:lnTo>
                    <a:pt x="105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4FA1A658-FE1B-4534-9974-F0A926535A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325" y="554038"/>
              <a:ext cx="260350" cy="168275"/>
            </a:xfrm>
            <a:custGeom>
              <a:avLst/>
              <a:gdLst>
                <a:gd name="T0" fmla="*/ 118 w 164"/>
                <a:gd name="T1" fmla="*/ 20 h 106"/>
                <a:gd name="T2" fmla="*/ 151 w 164"/>
                <a:gd name="T3" fmla="*/ 53 h 106"/>
                <a:gd name="T4" fmla="*/ 118 w 164"/>
                <a:gd name="T5" fmla="*/ 86 h 106"/>
                <a:gd name="T6" fmla="*/ 118 w 164"/>
                <a:gd name="T7" fmla="*/ 76 h 106"/>
                <a:gd name="T8" fmla="*/ 82 w 164"/>
                <a:gd name="T9" fmla="*/ 76 h 106"/>
                <a:gd name="T10" fmla="*/ 46 w 164"/>
                <a:gd name="T11" fmla="*/ 76 h 106"/>
                <a:gd name="T12" fmla="*/ 46 w 164"/>
                <a:gd name="T13" fmla="*/ 86 h 106"/>
                <a:gd name="T14" fmla="*/ 13 w 164"/>
                <a:gd name="T15" fmla="*/ 53 h 106"/>
                <a:gd name="T16" fmla="*/ 46 w 164"/>
                <a:gd name="T17" fmla="*/ 20 h 106"/>
                <a:gd name="T18" fmla="*/ 46 w 164"/>
                <a:gd name="T19" fmla="*/ 30 h 106"/>
                <a:gd name="T20" fmla="*/ 82 w 164"/>
                <a:gd name="T21" fmla="*/ 30 h 106"/>
                <a:gd name="T22" fmla="*/ 118 w 164"/>
                <a:gd name="T23" fmla="*/ 30 h 106"/>
                <a:gd name="T24" fmla="*/ 118 w 164"/>
                <a:gd name="T25" fmla="*/ 20 h 106"/>
                <a:gd name="T26" fmla="*/ 110 w 164"/>
                <a:gd name="T27" fmla="*/ 0 h 106"/>
                <a:gd name="T28" fmla="*/ 110 w 164"/>
                <a:gd name="T29" fmla="*/ 20 h 106"/>
                <a:gd name="T30" fmla="*/ 82 w 164"/>
                <a:gd name="T31" fmla="*/ 20 h 106"/>
                <a:gd name="T32" fmla="*/ 54 w 164"/>
                <a:gd name="T33" fmla="*/ 20 h 106"/>
                <a:gd name="T34" fmla="*/ 54 w 164"/>
                <a:gd name="T35" fmla="*/ 0 h 106"/>
                <a:gd name="T36" fmla="*/ 39 w 164"/>
                <a:gd name="T37" fmla="*/ 15 h 106"/>
                <a:gd name="T38" fmla="*/ 8 w 164"/>
                <a:gd name="T39" fmla="*/ 48 h 106"/>
                <a:gd name="T40" fmla="*/ 0 w 164"/>
                <a:gd name="T41" fmla="*/ 53 h 106"/>
                <a:gd name="T42" fmla="*/ 8 w 164"/>
                <a:gd name="T43" fmla="*/ 58 h 106"/>
                <a:gd name="T44" fmla="*/ 39 w 164"/>
                <a:gd name="T45" fmla="*/ 91 h 106"/>
                <a:gd name="T46" fmla="*/ 54 w 164"/>
                <a:gd name="T47" fmla="*/ 106 h 106"/>
                <a:gd name="T48" fmla="*/ 54 w 164"/>
                <a:gd name="T49" fmla="*/ 86 h 106"/>
                <a:gd name="T50" fmla="*/ 54 w 164"/>
                <a:gd name="T51" fmla="*/ 83 h 106"/>
                <a:gd name="T52" fmla="*/ 82 w 164"/>
                <a:gd name="T53" fmla="*/ 83 h 106"/>
                <a:gd name="T54" fmla="*/ 110 w 164"/>
                <a:gd name="T55" fmla="*/ 83 h 106"/>
                <a:gd name="T56" fmla="*/ 110 w 164"/>
                <a:gd name="T57" fmla="*/ 86 h 106"/>
                <a:gd name="T58" fmla="*/ 110 w 164"/>
                <a:gd name="T59" fmla="*/ 106 h 106"/>
                <a:gd name="T60" fmla="*/ 126 w 164"/>
                <a:gd name="T61" fmla="*/ 91 h 106"/>
                <a:gd name="T62" fmla="*/ 156 w 164"/>
                <a:gd name="T63" fmla="*/ 58 h 106"/>
                <a:gd name="T64" fmla="*/ 164 w 164"/>
                <a:gd name="T65" fmla="*/ 53 h 106"/>
                <a:gd name="T66" fmla="*/ 156 w 164"/>
                <a:gd name="T67" fmla="*/ 48 h 106"/>
                <a:gd name="T68" fmla="*/ 126 w 164"/>
                <a:gd name="T69" fmla="*/ 15 h 106"/>
                <a:gd name="T70" fmla="*/ 110 w 164"/>
                <a:gd name="T71" fmla="*/ 0 h 106"/>
                <a:gd name="T72" fmla="*/ 110 w 164"/>
                <a:gd name="T7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106">
                  <a:moveTo>
                    <a:pt x="118" y="20"/>
                  </a:moveTo>
                  <a:lnTo>
                    <a:pt x="151" y="53"/>
                  </a:lnTo>
                  <a:lnTo>
                    <a:pt x="118" y="86"/>
                  </a:lnTo>
                  <a:lnTo>
                    <a:pt x="118" y="76"/>
                  </a:lnTo>
                  <a:lnTo>
                    <a:pt x="82" y="76"/>
                  </a:lnTo>
                  <a:lnTo>
                    <a:pt x="46" y="76"/>
                  </a:lnTo>
                  <a:lnTo>
                    <a:pt x="46" y="86"/>
                  </a:lnTo>
                  <a:lnTo>
                    <a:pt x="13" y="53"/>
                  </a:lnTo>
                  <a:lnTo>
                    <a:pt x="46" y="20"/>
                  </a:lnTo>
                  <a:lnTo>
                    <a:pt x="46" y="30"/>
                  </a:lnTo>
                  <a:lnTo>
                    <a:pt x="82" y="30"/>
                  </a:lnTo>
                  <a:lnTo>
                    <a:pt x="118" y="30"/>
                  </a:lnTo>
                  <a:lnTo>
                    <a:pt x="118" y="20"/>
                  </a:lnTo>
                  <a:close/>
                  <a:moveTo>
                    <a:pt x="110" y="0"/>
                  </a:moveTo>
                  <a:lnTo>
                    <a:pt x="110" y="20"/>
                  </a:lnTo>
                  <a:lnTo>
                    <a:pt x="82" y="20"/>
                  </a:lnTo>
                  <a:lnTo>
                    <a:pt x="54" y="20"/>
                  </a:lnTo>
                  <a:lnTo>
                    <a:pt x="54" y="0"/>
                  </a:lnTo>
                  <a:lnTo>
                    <a:pt x="39" y="15"/>
                  </a:lnTo>
                  <a:lnTo>
                    <a:pt x="8" y="48"/>
                  </a:lnTo>
                  <a:lnTo>
                    <a:pt x="0" y="53"/>
                  </a:lnTo>
                  <a:lnTo>
                    <a:pt x="8" y="58"/>
                  </a:lnTo>
                  <a:lnTo>
                    <a:pt x="39" y="91"/>
                  </a:lnTo>
                  <a:lnTo>
                    <a:pt x="54" y="106"/>
                  </a:lnTo>
                  <a:lnTo>
                    <a:pt x="54" y="86"/>
                  </a:lnTo>
                  <a:lnTo>
                    <a:pt x="54" y="83"/>
                  </a:lnTo>
                  <a:lnTo>
                    <a:pt x="82" y="83"/>
                  </a:lnTo>
                  <a:lnTo>
                    <a:pt x="110" y="83"/>
                  </a:lnTo>
                  <a:lnTo>
                    <a:pt x="110" y="86"/>
                  </a:lnTo>
                  <a:lnTo>
                    <a:pt x="110" y="106"/>
                  </a:lnTo>
                  <a:lnTo>
                    <a:pt x="126" y="91"/>
                  </a:lnTo>
                  <a:lnTo>
                    <a:pt x="156" y="58"/>
                  </a:lnTo>
                  <a:lnTo>
                    <a:pt x="164" y="53"/>
                  </a:lnTo>
                  <a:lnTo>
                    <a:pt x="156" y="48"/>
                  </a:lnTo>
                  <a:lnTo>
                    <a:pt x="126" y="15"/>
                  </a:lnTo>
                  <a:lnTo>
                    <a:pt x="110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4B8F17B9-287B-410B-BA1E-7B8E3DD03D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325" y="554038"/>
              <a:ext cx="260350" cy="168275"/>
            </a:xfrm>
            <a:custGeom>
              <a:avLst/>
              <a:gdLst>
                <a:gd name="T0" fmla="*/ 118 w 164"/>
                <a:gd name="T1" fmla="*/ 20 h 106"/>
                <a:gd name="T2" fmla="*/ 151 w 164"/>
                <a:gd name="T3" fmla="*/ 53 h 106"/>
                <a:gd name="T4" fmla="*/ 118 w 164"/>
                <a:gd name="T5" fmla="*/ 86 h 106"/>
                <a:gd name="T6" fmla="*/ 118 w 164"/>
                <a:gd name="T7" fmla="*/ 76 h 106"/>
                <a:gd name="T8" fmla="*/ 82 w 164"/>
                <a:gd name="T9" fmla="*/ 76 h 106"/>
                <a:gd name="T10" fmla="*/ 46 w 164"/>
                <a:gd name="T11" fmla="*/ 76 h 106"/>
                <a:gd name="T12" fmla="*/ 46 w 164"/>
                <a:gd name="T13" fmla="*/ 86 h 106"/>
                <a:gd name="T14" fmla="*/ 13 w 164"/>
                <a:gd name="T15" fmla="*/ 53 h 106"/>
                <a:gd name="T16" fmla="*/ 46 w 164"/>
                <a:gd name="T17" fmla="*/ 20 h 106"/>
                <a:gd name="T18" fmla="*/ 46 w 164"/>
                <a:gd name="T19" fmla="*/ 30 h 106"/>
                <a:gd name="T20" fmla="*/ 82 w 164"/>
                <a:gd name="T21" fmla="*/ 30 h 106"/>
                <a:gd name="T22" fmla="*/ 118 w 164"/>
                <a:gd name="T23" fmla="*/ 30 h 106"/>
                <a:gd name="T24" fmla="*/ 118 w 164"/>
                <a:gd name="T25" fmla="*/ 20 h 106"/>
                <a:gd name="T26" fmla="*/ 110 w 164"/>
                <a:gd name="T27" fmla="*/ 0 h 106"/>
                <a:gd name="T28" fmla="*/ 110 w 164"/>
                <a:gd name="T29" fmla="*/ 20 h 106"/>
                <a:gd name="T30" fmla="*/ 82 w 164"/>
                <a:gd name="T31" fmla="*/ 20 h 106"/>
                <a:gd name="T32" fmla="*/ 54 w 164"/>
                <a:gd name="T33" fmla="*/ 20 h 106"/>
                <a:gd name="T34" fmla="*/ 54 w 164"/>
                <a:gd name="T35" fmla="*/ 0 h 106"/>
                <a:gd name="T36" fmla="*/ 39 w 164"/>
                <a:gd name="T37" fmla="*/ 15 h 106"/>
                <a:gd name="T38" fmla="*/ 8 w 164"/>
                <a:gd name="T39" fmla="*/ 48 h 106"/>
                <a:gd name="T40" fmla="*/ 0 w 164"/>
                <a:gd name="T41" fmla="*/ 53 h 106"/>
                <a:gd name="T42" fmla="*/ 8 w 164"/>
                <a:gd name="T43" fmla="*/ 58 h 106"/>
                <a:gd name="T44" fmla="*/ 39 w 164"/>
                <a:gd name="T45" fmla="*/ 91 h 106"/>
                <a:gd name="T46" fmla="*/ 54 w 164"/>
                <a:gd name="T47" fmla="*/ 106 h 106"/>
                <a:gd name="T48" fmla="*/ 54 w 164"/>
                <a:gd name="T49" fmla="*/ 86 h 106"/>
                <a:gd name="T50" fmla="*/ 54 w 164"/>
                <a:gd name="T51" fmla="*/ 83 h 106"/>
                <a:gd name="T52" fmla="*/ 82 w 164"/>
                <a:gd name="T53" fmla="*/ 83 h 106"/>
                <a:gd name="T54" fmla="*/ 110 w 164"/>
                <a:gd name="T55" fmla="*/ 83 h 106"/>
                <a:gd name="T56" fmla="*/ 110 w 164"/>
                <a:gd name="T57" fmla="*/ 86 h 106"/>
                <a:gd name="T58" fmla="*/ 110 w 164"/>
                <a:gd name="T59" fmla="*/ 106 h 106"/>
                <a:gd name="T60" fmla="*/ 126 w 164"/>
                <a:gd name="T61" fmla="*/ 91 h 106"/>
                <a:gd name="T62" fmla="*/ 156 w 164"/>
                <a:gd name="T63" fmla="*/ 58 h 106"/>
                <a:gd name="T64" fmla="*/ 164 w 164"/>
                <a:gd name="T65" fmla="*/ 53 h 106"/>
                <a:gd name="T66" fmla="*/ 156 w 164"/>
                <a:gd name="T67" fmla="*/ 48 h 106"/>
                <a:gd name="T68" fmla="*/ 126 w 164"/>
                <a:gd name="T69" fmla="*/ 15 h 106"/>
                <a:gd name="T70" fmla="*/ 110 w 164"/>
                <a:gd name="T71" fmla="*/ 0 h 106"/>
                <a:gd name="T72" fmla="*/ 110 w 164"/>
                <a:gd name="T7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106">
                  <a:moveTo>
                    <a:pt x="118" y="20"/>
                  </a:moveTo>
                  <a:lnTo>
                    <a:pt x="151" y="53"/>
                  </a:lnTo>
                  <a:lnTo>
                    <a:pt x="118" y="86"/>
                  </a:lnTo>
                  <a:lnTo>
                    <a:pt x="118" y="76"/>
                  </a:lnTo>
                  <a:lnTo>
                    <a:pt x="82" y="76"/>
                  </a:lnTo>
                  <a:lnTo>
                    <a:pt x="46" y="76"/>
                  </a:lnTo>
                  <a:lnTo>
                    <a:pt x="46" y="86"/>
                  </a:lnTo>
                  <a:lnTo>
                    <a:pt x="13" y="53"/>
                  </a:lnTo>
                  <a:lnTo>
                    <a:pt x="46" y="20"/>
                  </a:lnTo>
                  <a:lnTo>
                    <a:pt x="46" y="30"/>
                  </a:lnTo>
                  <a:lnTo>
                    <a:pt x="82" y="30"/>
                  </a:lnTo>
                  <a:lnTo>
                    <a:pt x="118" y="30"/>
                  </a:lnTo>
                  <a:lnTo>
                    <a:pt x="118" y="20"/>
                  </a:lnTo>
                  <a:moveTo>
                    <a:pt x="110" y="0"/>
                  </a:moveTo>
                  <a:lnTo>
                    <a:pt x="110" y="20"/>
                  </a:lnTo>
                  <a:lnTo>
                    <a:pt x="82" y="20"/>
                  </a:lnTo>
                  <a:lnTo>
                    <a:pt x="54" y="20"/>
                  </a:lnTo>
                  <a:lnTo>
                    <a:pt x="54" y="0"/>
                  </a:lnTo>
                  <a:lnTo>
                    <a:pt x="39" y="15"/>
                  </a:lnTo>
                  <a:lnTo>
                    <a:pt x="8" y="48"/>
                  </a:lnTo>
                  <a:lnTo>
                    <a:pt x="0" y="53"/>
                  </a:lnTo>
                  <a:lnTo>
                    <a:pt x="8" y="58"/>
                  </a:lnTo>
                  <a:lnTo>
                    <a:pt x="39" y="91"/>
                  </a:lnTo>
                  <a:lnTo>
                    <a:pt x="54" y="106"/>
                  </a:lnTo>
                  <a:lnTo>
                    <a:pt x="54" y="86"/>
                  </a:lnTo>
                  <a:lnTo>
                    <a:pt x="54" y="83"/>
                  </a:lnTo>
                  <a:lnTo>
                    <a:pt x="82" y="83"/>
                  </a:lnTo>
                  <a:lnTo>
                    <a:pt x="110" y="83"/>
                  </a:lnTo>
                  <a:lnTo>
                    <a:pt x="110" y="86"/>
                  </a:lnTo>
                  <a:lnTo>
                    <a:pt x="110" y="106"/>
                  </a:lnTo>
                  <a:lnTo>
                    <a:pt x="126" y="91"/>
                  </a:lnTo>
                  <a:lnTo>
                    <a:pt x="156" y="58"/>
                  </a:lnTo>
                  <a:lnTo>
                    <a:pt x="164" y="53"/>
                  </a:lnTo>
                  <a:lnTo>
                    <a:pt x="156" y="48"/>
                  </a:lnTo>
                  <a:lnTo>
                    <a:pt x="126" y="15"/>
                  </a:lnTo>
                  <a:lnTo>
                    <a:pt x="110" y="0"/>
                  </a:lnTo>
                  <a:lnTo>
                    <a:pt x="1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F4D15294-4383-47C6-834F-0FE9B64A8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522288"/>
              <a:ext cx="0" cy="231775"/>
            </a:xfrm>
            <a:custGeom>
              <a:avLst/>
              <a:gdLst>
                <a:gd name="T0" fmla="*/ 0 h 146"/>
                <a:gd name="T1" fmla="*/ 146 h 146"/>
                <a:gd name="T2" fmla="*/ 0 h 14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46">
                  <a:moveTo>
                    <a:pt x="0" y="0"/>
                  </a:move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13">
              <a:extLst>
                <a:ext uri="{FF2B5EF4-FFF2-40B4-BE49-F238E27FC236}">
                  <a16:creationId xmlns:a16="http://schemas.microsoft.com/office/drawing/2014/main" id="{1E7D2ED2-68C1-4851-B1C7-EB536582D7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500" y="522288"/>
              <a:ext cx="0" cy="231775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63B1694C-3384-408D-B74E-6726E3C94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" y="785813"/>
              <a:ext cx="292100" cy="0"/>
            </a:xfrm>
            <a:custGeom>
              <a:avLst/>
              <a:gdLst>
                <a:gd name="T0" fmla="*/ 0 w 184"/>
                <a:gd name="T1" fmla="*/ 184 w 184"/>
                <a:gd name="T2" fmla="*/ 0 w 18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4">
                  <a:moveTo>
                    <a:pt x="0" y="0"/>
                  </a:moveTo>
                  <a:lnTo>
                    <a:pt x="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Line 15">
              <a:extLst>
                <a:ext uri="{FF2B5EF4-FFF2-40B4-BE49-F238E27FC236}">
                  <a16:creationId xmlns:a16="http://schemas.microsoft.com/office/drawing/2014/main" id="{A20BE61D-BFE8-42E4-9CF1-7BC5A79F4B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450" y="785813"/>
              <a:ext cx="292100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6">
              <a:extLst>
                <a:ext uri="{FF2B5EF4-FFF2-40B4-BE49-F238E27FC236}">
                  <a16:creationId xmlns:a16="http://schemas.microsoft.com/office/drawing/2014/main" id="{9BD53A33-5293-4ED1-A92D-F50D9FF4A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" y="814388"/>
              <a:ext cx="317500" cy="0"/>
            </a:xfrm>
            <a:custGeom>
              <a:avLst/>
              <a:gdLst>
                <a:gd name="T0" fmla="*/ 0 w 200"/>
                <a:gd name="T1" fmla="*/ 200 w 200"/>
                <a:gd name="T2" fmla="*/ 0 w 20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0">
                  <a:moveTo>
                    <a:pt x="0" y="0"/>
                  </a:move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Line 17">
              <a:extLst>
                <a:ext uri="{FF2B5EF4-FFF2-40B4-BE49-F238E27FC236}">
                  <a16:creationId xmlns:a16="http://schemas.microsoft.com/office/drawing/2014/main" id="{34A35730-9859-45F9-878E-B1DF24F933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6750" y="814388"/>
              <a:ext cx="317500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id="{A6116660-6B1A-4A35-BF33-F6DCFE5A7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" y="850901"/>
              <a:ext cx="122238" cy="0"/>
            </a:xfrm>
            <a:custGeom>
              <a:avLst/>
              <a:gdLst>
                <a:gd name="T0" fmla="*/ 0 w 77"/>
                <a:gd name="T1" fmla="*/ 77 w 77"/>
                <a:gd name="T2" fmla="*/ 0 w 7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7">
                  <a:moveTo>
                    <a:pt x="0" y="0"/>
                  </a:moveTo>
                  <a:lnTo>
                    <a:pt x="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Line 19">
              <a:extLst>
                <a:ext uri="{FF2B5EF4-FFF2-40B4-BE49-F238E27FC236}">
                  <a16:creationId xmlns:a16="http://schemas.microsoft.com/office/drawing/2014/main" id="{0D98BD81-15E0-4EB1-A47E-CECD9BCC7F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175" y="850901"/>
              <a:ext cx="122238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3D7052E-CC2E-44A4-9892-D792ED0F3C03}"/>
              </a:ext>
            </a:extLst>
          </p:cNvPr>
          <p:cNvGrpSpPr/>
          <p:nvPr/>
        </p:nvGrpSpPr>
        <p:grpSpPr>
          <a:xfrm>
            <a:off x="1414463" y="325438"/>
            <a:ext cx="758825" cy="766763"/>
            <a:chOff x="1414463" y="325438"/>
            <a:chExt cx="758825" cy="766763"/>
          </a:xfrm>
        </p:grpSpPr>
        <p:sp>
          <p:nvSpPr>
            <p:cNvPr id="58" name="AutoShape 21">
              <a:extLst>
                <a:ext uri="{FF2B5EF4-FFF2-40B4-BE49-F238E27FC236}">
                  <a16:creationId xmlns:a16="http://schemas.microsoft.com/office/drawing/2014/main" id="{4A9CA077-9FD8-4031-A6ED-8CD8EDB5F9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4463" y="33020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3B269535-78A6-4F91-862E-6197E6AC1E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7638" y="325438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24">
              <a:extLst>
                <a:ext uri="{FF2B5EF4-FFF2-40B4-BE49-F238E27FC236}">
                  <a16:creationId xmlns:a16="http://schemas.microsoft.com/office/drawing/2014/main" id="{784D1269-BB6C-47BD-9D53-8C19906ECF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013" y="523875"/>
              <a:ext cx="342900" cy="2254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512D5A84-079D-4D05-BE64-EA45C3F5B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3051" y="744538"/>
              <a:ext cx="506413" cy="134938"/>
            </a:xfrm>
            <a:custGeom>
              <a:avLst/>
              <a:gdLst>
                <a:gd name="T0" fmla="*/ 319 w 319"/>
                <a:gd name="T1" fmla="*/ 85 h 85"/>
                <a:gd name="T2" fmla="*/ 0 w 319"/>
                <a:gd name="T3" fmla="*/ 85 h 85"/>
                <a:gd name="T4" fmla="*/ 51 w 319"/>
                <a:gd name="T5" fmla="*/ 0 h 85"/>
                <a:gd name="T6" fmla="*/ 267 w 319"/>
                <a:gd name="T7" fmla="*/ 0 h 85"/>
                <a:gd name="T8" fmla="*/ 319 w 319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9" h="85">
                  <a:moveTo>
                    <a:pt x="319" y="85"/>
                  </a:moveTo>
                  <a:lnTo>
                    <a:pt x="0" y="85"/>
                  </a:lnTo>
                  <a:lnTo>
                    <a:pt x="51" y="0"/>
                  </a:lnTo>
                  <a:lnTo>
                    <a:pt x="267" y="0"/>
                  </a:lnTo>
                  <a:lnTo>
                    <a:pt x="319" y="8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5A4E1A68-18BB-42ED-ADFA-BA6D3F73B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2751" y="566738"/>
              <a:ext cx="225425" cy="134938"/>
            </a:xfrm>
            <a:custGeom>
              <a:avLst/>
              <a:gdLst>
                <a:gd name="T0" fmla="*/ 101 w 142"/>
                <a:gd name="T1" fmla="*/ 70 h 85"/>
                <a:gd name="T2" fmla="*/ 42 w 142"/>
                <a:gd name="T3" fmla="*/ 70 h 85"/>
                <a:gd name="T4" fmla="*/ 42 w 142"/>
                <a:gd name="T5" fmla="*/ 85 h 85"/>
                <a:gd name="T6" fmla="*/ 0 w 142"/>
                <a:gd name="T7" fmla="*/ 43 h 85"/>
                <a:gd name="T8" fmla="*/ 42 w 142"/>
                <a:gd name="T9" fmla="*/ 0 h 85"/>
                <a:gd name="T10" fmla="*/ 42 w 142"/>
                <a:gd name="T11" fmla="*/ 15 h 85"/>
                <a:gd name="T12" fmla="*/ 101 w 142"/>
                <a:gd name="T13" fmla="*/ 15 h 85"/>
                <a:gd name="T14" fmla="*/ 101 w 142"/>
                <a:gd name="T15" fmla="*/ 0 h 85"/>
                <a:gd name="T16" fmla="*/ 142 w 142"/>
                <a:gd name="T17" fmla="*/ 43 h 85"/>
                <a:gd name="T18" fmla="*/ 101 w 142"/>
                <a:gd name="T19" fmla="*/ 85 h 85"/>
                <a:gd name="T20" fmla="*/ 101 w 142"/>
                <a:gd name="T21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85">
                  <a:moveTo>
                    <a:pt x="101" y="70"/>
                  </a:moveTo>
                  <a:lnTo>
                    <a:pt x="42" y="70"/>
                  </a:lnTo>
                  <a:lnTo>
                    <a:pt x="42" y="85"/>
                  </a:lnTo>
                  <a:lnTo>
                    <a:pt x="0" y="43"/>
                  </a:lnTo>
                  <a:lnTo>
                    <a:pt x="42" y="0"/>
                  </a:lnTo>
                  <a:lnTo>
                    <a:pt x="42" y="15"/>
                  </a:lnTo>
                  <a:lnTo>
                    <a:pt x="101" y="15"/>
                  </a:lnTo>
                  <a:lnTo>
                    <a:pt x="101" y="0"/>
                  </a:lnTo>
                  <a:lnTo>
                    <a:pt x="142" y="43"/>
                  </a:lnTo>
                  <a:lnTo>
                    <a:pt x="101" y="85"/>
                  </a:lnTo>
                  <a:lnTo>
                    <a:pt x="101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58DDD93C-7E13-4765-8762-5BDB65510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1638" y="550863"/>
              <a:ext cx="249238" cy="166688"/>
            </a:xfrm>
            <a:custGeom>
              <a:avLst/>
              <a:gdLst>
                <a:gd name="T0" fmla="*/ 113 w 157"/>
                <a:gd name="T1" fmla="*/ 20 h 105"/>
                <a:gd name="T2" fmla="*/ 144 w 157"/>
                <a:gd name="T3" fmla="*/ 53 h 105"/>
                <a:gd name="T4" fmla="*/ 113 w 157"/>
                <a:gd name="T5" fmla="*/ 85 h 105"/>
                <a:gd name="T6" fmla="*/ 113 w 157"/>
                <a:gd name="T7" fmla="*/ 75 h 105"/>
                <a:gd name="T8" fmla="*/ 78 w 157"/>
                <a:gd name="T9" fmla="*/ 75 h 105"/>
                <a:gd name="T10" fmla="*/ 44 w 157"/>
                <a:gd name="T11" fmla="*/ 75 h 105"/>
                <a:gd name="T12" fmla="*/ 44 w 157"/>
                <a:gd name="T13" fmla="*/ 85 h 105"/>
                <a:gd name="T14" fmla="*/ 12 w 157"/>
                <a:gd name="T15" fmla="*/ 53 h 105"/>
                <a:gd name="T16" fmla="*/ 44 w 157"/>
                <a:gd name="T17" fmla="*/ 20 h 105"/>
                <a:gd name="T18" fmla="*/ 44 w 157"/>
                <a:gd name="T19" fmla="*/ 30 h 105"/>
                <a:gd name="T20" fmla="*/ 78 w 157"/>
                <a:gd name="T21" fmla="*/ 30 h 105"/>
                <a:gd name="T22" fmla="*/ 113 w 157"/>
                <a:gd name="T23" fmla="*/ 30 h 105"/>
                <a:gd name="T24" fmla="*/ 113 w 157"/>
                <a:gd name="T25" fmla="*/ 20 h 105"/>
                <a:gd name="T26" fmla="*/ 105 w 157"/>
                <a:gd name="T27" fmla="*/ 0 h 105"/>
                <a:gd name="T28" fmla="*/ 105 w 157"/>
                <a:gd name="T29" fmla="*/ 20 h 105"/>
                <a:gd name="T30" fmla="*/ 78 w 157"/>
                <a:gd name="T31" fmla="*/ 20 h 105"/>
                <a:gd name="T32" fmla="*/ 51 w 157"/>
                <a:gd name="T33" fmla="*/ 20 h 105"/>
                <a:gd name="T34" fmla="*/ 51 w 157"/>
                <a:gd name="T35" fmla="*/ 0 h 105"/>
                <a:gd name="T36" fmla="*/ 37 w 157"/>
                <a:gd name="T37" fmla="*/ 15 h 105"/>
                <a:gd name="T38" fmla="*/ 7 w 157"/>
                <a:gd name="T39" fmla="*/ 48 h 105"/>
                <a:gd name="T40" fmla="*/ 0 w 157"/>
                <a:gd name="T41" fmla="*/ 53 h 105"/>
                <a:gd name="T42" fmla="*/ 7 w 157"/>
                <a:gd name="T43" fmla="*/ 58 h 105"/>
                <a:gd name="T44" fmla="*/ 37 w 157"/>
                <a:gd name="T45" fmla="*/ 90 h 105"/>
                <a:gd name="T46" fmla="*/ 51 w 157"/>
                <a:gd name="T47" fmla="*/ 105 h 105"/>
                <a:gd name="T48" fmla="*/ 51 w 157"/>
                <a:gd name="T49" fmla="*/ 85 h 105"/>
                <a:gd name="T50" fmla="*/ 51 w 157"/>
                <a:gd name="T51" fmla="*/ 82 h 105"/>
                <a:gd name="T52" fmla="*/ 78 w 157"/>
                <a:gd name="T53" fmla="*/ 82 h 105"/>
                <a:gd name="T54" fmla="*/ 105 w 157"/>
                <a:gd name="T55" fmla="*/ 82 h 105"/>
                <a:gd name="T56" fmla="*/ 105 w 157"/>
                <a:gd name="T57" fmla="*/ 85 h 105"/>
                <a:gd name="T58" fmla="*/ 105 w 157"/>
                <a:gd name="T59" fmla="*/ 105 h 105"/>
                <a:gd name="T60" fmla="*/ 120 w 157"/>
                <a:gd name="T61" fmla="*/ 90 h 105"/>
                <a:gd name="T62" fmla="*/ 149 w 157"/>
                <a:gd name="T63" fmla="*/ 58 h 105"/>
                <a:gd name="T64" fmla="*/ 157 w 157"/>
                <a:gd name="T65" fmla="*/ 53 h 105"/>
                <a:gd name="T66" fmla="*/ 149 w 157"/>
                <a:gd name="T67" fmla="*/ 48 h 105"/>
                <a:gd name="T68" fmla="*/ 120 w 157"/>
                <a:gd name="T69" fmla="*/ 15 h 105"/>
                <a:gd name="T70" fmla="*/ 105 w 157"/>
                <a:gd name="T71" fmla="*/ 0 h 105"/>
                <a:gd name="T72" fmla="*/ 105 w 157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7" h="105">
                  <a:moveTo>
                    <a:pt x="113" y="20"/>
                  </a:moveTo>
                  <a:lnTo>
                    <a:pt x="144" y="53"/>
                  </a:lnTo>
                  <a:lnTo>
                    <a:pt x="113" y="85"/>
                  </a:lnTo>
                  <a:lnTo>
                    <a:pt x="113" y="75"/>
                  </a:lnTo>
                  <a:lnTo>
                    <a:pt x="78" y="75"/>
                  </a:lnTo>
                  <a:lnTo>
                    <a:pt x="44" y="75"/>
                  </a:lnTo>
                  <a:lnTo>
                    <a:pt x="44" y="85"/>
                  </a:lnTo>
                  <a:lnTo>
                    <a:pt x="12" y="53"/>
                  </a:lnTo>
                  <a:lnTo>
                    <a:pt x="44" y="20"/>
                  </a:lnTo>
                  <a:lnTo>
                    <a:pt x="44" y="30"/>
                  </a:lnTo>
                  <a:lnTo>
                    <a:pt x="78" y="30"/>
                  </a:lnTo>
                  <a:lnTo>
                    <a:pt x="113" y="30"/>
                  </a:lnTo>
                  <a:lnTo>
                    <a:pt x="113" y="20"/>
                  </a:lnTo>
                  <a:close/>
                  <a:moveTo>
                    <a:pt x="105" y="0"/>
                  </a:moveTo>
                  <a:lnTo>
                    <a:pt x="105" y="20"/>
                  </a:lnTo>
                  <a:lnTo>
                    <a:pt x="78" y="20"/>
                  </a:lnTo>
                  <a:lnTo>
                    <a:pt x="51" y="20"/>
                  </a:lnTo>
                  <a:lnTo>
                    <a:pt x="51" y="0"/>
                  </a:lnTo>
                  <a:lnTo>
                    <a:pt x="37" y="15"/>
                  </a:lnTo>
                  <a:lnTo>
                    <a:pt x="7" y="48"/>
                  </a:lnTo>
                  <a:lnTo>
                    <a:pt x="0" y="53"/>
                  </a:lnTo>
                  <a:lnTo>
                    <a:pt x="7" y="58"/>
                  </a:lnTo>
                  <a:lnTo>
                    <a:pt x="37" y="90"/>
                  </a:lnTo>
                  <a:lnTo>
                    <a:pt x="51" y="105"/>
                  </a:lnTo>
                  <a:lnTo>
                    <a:pt x="51" y="85"/>
                  </a:lnTo>
                  <a:lnTo>
                    <a:pt x="51" y="82"/>
                  </a:lnTo>
                  <a:lnTo>
                    <a:pt x="78" y="82"/>
                  </a:lnTo>
                  <a:lnTo>
                    <a:pt x="105" y="82"/>
                  </a:lnTo>
                  <a:lnTo>
                    <a:pt x="105" y="85"/>
                  </a:lnTo>
                  <a:lnTo>
                    <a:pt x="105" y="105"/>
                  </a:lnTo>
                  <a:lnTo>
                    <a:pt x="120" y="90"/>
                  </a:lnTo>
                  <a:lnTo>
                    <a:pt x="149" y="58"/>
                  </a:lnTo>
                  <a:lnTo>
                    <a:pt x="157" y="53"/>
                  </a:lnTo>
                  <a:lnTo>
                    <a:pt x="149" y="48"/>
                  </a:lnTo>
                  <a:lnTo>
                    <a:pt x="120" y="15"/>
                  </a:ln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508AEA5A-18AB-4BD3-8350-B7A79EF0A7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1638" y="550863"/>
              <a:ext cx="249238" cy="166688"/>
            </a:xfrm>
            <a:custGeom>
              <a:avLst/>
              <a:gdLst>
                <a:gd name="T0" fmla="*/ 113 w 157"/>
                <a:gd name="T1" fmla="*/ 20 h 105"/>
                <a:gd name="T2" fmla="*/ 144 w 157"/>
                <a:gd name="T3" fmla="*/ 53 h 105"/>
                <a:gd name="T4" fmla="*/ 113 w 157"/>
                <a:gd name="T5" fmla="*/ 85 h 105"/>
                <a:gd name="T6" fmla="*/ 113 w 157"/>
                <a:gd name="T7" fmla="*/ 75 h 105"/>
                <a:gd name="T8" fmla="*/ 78 w 157"/>
                <a:gd name="T9" fmla="*/ 75 h 105"/>
                <a:gd name="T10" fmla="*/ 44 w 157"/>
                <a:gd name="T11" fmla="*/ 75 h 105"/>
                <a:gd name="T12" fmla="*/ 44 w 157"/>
                <a:gd name="T13" fmla="*/ 85 h 105"/>
                <a:gd name="T14" fmla="*/ 12 w 157"/>
                <a:gd name="T15" fmla="*/ 53 h 105"/>
                <a:gd name="T16" fmla="*/ 44 w 157"/>
                <a:gd name="T17" fmla="*/ 20 h 105"/>
                <a:gd name="T18" fmla="*/ 44 w 157"/>
                <a:gd name="T19" fmla="*/ 30 h 105"/>
                <a:gd name="T20" fmla="*/ 78 w 157"/>
                <a:gd name="T21" fmla="*/ 30 h 105"/>
                <a:gd name="T22" fmla="*/ 113 w 157"/>
                <a:gd name="T23" fmla="*/ 30 h 105"/>
                <a:gd name="T24" fmla="*/ 113 w 157"/>
                <a:gd name="T25" fmla="*/ 20 h 105"/>
                <a:gd name="T26" fmla="*/ 105 w 157"/>
                <a:gd name="T27" fmla="*/ 0 h 105"/>
                <a:gd name="T28" fmla="*/ 105 w 157"/>
                <a:gd name="T29" fmla="*/ 20 h 105"/>
                <a:gd name="T30" fmla="*/ 78 w 157"/>
                <a:gd name="T31" fmla="*/ 20 h 105"/>
                <a:gd name="T32" fmla="*/ 51 w 157"/>
                <a:gd name="T33" fmla="*/ 20 h 105"/>
                <a:gd name="T34" fmla="*/ 51 w 157"/>
                <a:gd name="T35" fmla="*/ 0 h 105"/>
                <a:gd name="T36" fmla="*/ 37 w 157"/>
                <a:gd name="T37" fmla="*/ 15 h 105"/>
                <a:gd name="T38" fmla="*/ 7 w 157"/>
                <a:gd name="T39" fmla="*/ 48 h 105"/>
                <a:gd name="T40" fmla="*/ 0 w 157"/>
                <a:gd name="T41" fmla="*/ 53 h 105"/>
                <a:gd name="T42" fmla="*/ 7 w 157"/>
                <a:gd name="T43" fmla="*/ 58 h 105"/>
                <a:gd name="T44" fmla="*/ 37 w 157"/>
                <a:gd name="T45" fmla="*/ 90 h 105"/>
                <a:gd name="T46" fmla="*/ 51 w 157"/>
                <a:gd name="T47" fmla="*/ 105 h 105"/>
                <a:gd name="T48" fmla="*/ 51 w 157"/>
                <a:gd name="T49" fmla="*/ 85 h 105"/>
                <a:gd name="T50" fmla="*/ 51 w 157"/>
                <a:gd name="T51" fmla="*/ 82 h 105"/>
                <a:gd name="T52" fmla="*/ 78 w 157"/>
                <a:gd name="T53" fmla="*/ 82 h 105"/>
                <a:gd name="T54" fmla="*/ 105 w 157"/>
                <a:gd name="T55" fmla="*/ 82 h 105"/>
                <a:gd name="T56" fmla="*/ 105 w 157"/>
                <a:gd name="T57" fmla="*/ 85 h 105"/>
                <a:gd name="T58" fmla="*/ 105 w 157"/>
                <a:gd name="T59" fmla="*/ 105 h 105"/>
                <a:gd name="T60" fmla="*/ 120 w 157"/>
                <a:gd name="T61" fmla="*/ 90 h 105"/>
                <a:gd name="T62" fmla="*/ 149 w 157"/>
                <a:gd name="T63" fmla="*/ 58 h 105"/>
                <a:gd name="T64" fmla="*/ 157 w 157"/>
                <a:gd name="T65" fmla="*/ 53 h 105"/>
                <a:gd name="T66" fmla="*/ 149 w 157"/>
                <a:gd name="T67" fmla="*/ 48 h 105"/>
                <a:gd name="T68" fmla="*/ 120 w 157"/>
                <a:gd name="T69" fmla="*/ 15 h 105"/>
                <a:gd name="T70" fmla="*/ 105 w 157"/>
                <a:gd name="T71" fmla="*/ 0 h 105"/>
                <a:gd name="T72" fmla="*/ 105 w 157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7" h="105">
                  <a:moveTo>
                    <a:pt x="113" y="20"/>
                  </a:moveTo>
                  <a:lnTo>
                    <a:pt x="144" y="53"/>
                  </a:lnTo>
                  <a:lnTo>
                    <a:pt x="113" y="85"/>
                  </a:lnTo>
                  <a:lnTo>
                    <a:pt x="113" y="75"/>
                  </a:lnTo>
                  <a:lnTo>
                    <a:pt x="78" y="75"/>
                  </a:lnTo>
                  <a:lnTo>
                    <a:pt x="44" y="75"/>
                  </a:lnTo>
                  <a:lnTo>
                    <a:pt x="44" y="85"/>
                  </a:lnTo>
                  <a:lnTo>
                    <a:pt x="12" y="53"/>
                  </a:lnTo>
                  <a:lnTo>
                    <a:pt x="44" y="20"/>
                  </a:lnTo>
                  <a:lnTo>
                    <a:pt x="44" y="30"/>
                  </a:lnTo>
                  <a:lnTo>
                    <a:pt x="78" y="30"/>
                  </a:lnTo>
                  <a:lnTo>
                    <a:pt x="113" y="30"/>
                  </a:lnTo>
                  <a:lnTo>
                    <a:pt x="113" y="20"/>
                  </a:lnTo>
                  <a:moveTo>
                    <a:pt x="105" y="0"/>
                  </a:moveTo>
                  <a:lnTo>
                    <a:pt x="105" y="20"/>
                  </a:lnTo>
                  <a:lnTo>
                    <a:pt x="78" y="20"/>
                  </a:lnTo>
                  <a:lnTo>
                    <a:pt x="51" y="20"/>
                  </a:lnTo>
                  <a:lnTo>
                    <a:pt x="51" y="0"/>
                  </a:lnTo>
                  <a:lnTo>
                    <a:pt x="37" y="15"/>
                  </a:lnTo>
                  <a:lnTo>
                    <a:pt x="7" y="48"/>
                  </a:lnTo>
                  <a:lnTo>
                    <a:pt x="0" y="53"/>
                  </a:lnTo>
                  <a:lnTo>
                    <a:pt x="7" y="58"/>
                  </a:lnTo>
                  <a:lnTo>
                    <a:pt x="37" y="90"/>
                  </a:lnTo>
                  <a:lnTo>
                    <a:pt x="51" y="105"/>
                  </a:lnTo>
                  <a:lnTo>
                    <a:pt x="51" y="85"/>
                  </a:lnTo>
                  <a:lnTo>
                    <a:pt x="51" y="82"/>
                  </a:lnTo>
                  <a:lnTo>
                    <a:pt x="78" y="82"/>
                  </a:lnTo>
                  <a:lnTo>
                    <a:pt x="105" y="82"/>
                  </a:lnTo>
                  <a:lnTo>
                    <a:pt x="105" y="85"/>
                  </a:lnTo>
                  <a:lnTo>
                    <a:pt x="105" y="105"/>
                  </a:lnTo>
                  <a:lnTo>
                    <a:pt x="120" y="90"/>
                  </a:lnTo>
                  <a:lnTo>
                    <a:pt x="149" y="58"/>
                  </a:lnTo>
                  <a:lnTo>
                    <a:pt x="157" y="53"/>
                  </a:lnTo>
                  <a:lnTo>
                    <a:pt x="149" y="48"/>
                  </a:lnTo>
                  <a:lnTo>
                    <a:pt x="120" y="15"/>
                  </a:lnTo>
                  <a:lnTo>
                    <a:pt x="105" y="0"/>
                  </a:lnTo>
                  <a:lnTo>
                    <a:pt x="1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6E720A42-F4D6-4FCF-A81A-ED6586C09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463" y="519113"/>
              <a:ext cx="0" cy="230188"/>
            </a:xfrm>
            <a:custGeom>
              <a:avLst/>
              <a:gdLst>
                <a:gd name="T0" fmla="*/ 0 h 145"/>
                <a:gd name="T1" fmla="*/ 145 h 145"/>
                <a:gd name="T2" fmla="*/ 0 h 14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45">
                  <a:moveTo>
                    <a:pt x="0" y="0"/>
                  </a:moveTo>
                  <a:lnTo>
                    <a:pt x="0" y="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Line 30">
              <a:extLst>
                <a:ext uri="{FF2B5EF4-FFF2-40B4-BE49-F238E27FC236}">
                  <a16:creationId xmlns:a16="http://schemas.microsoft.com/office/drawing/2014/main" id="{E821850C-070A-4B1B-A8B4-7BE35F44F8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5463" y="519113"/>
              <a:ext cx="0" cy="230188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E2744ECF-808B-47BE-9A2D-431A3A7FF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763" y="781050"/>
              <a:ext cx="280988" cy="0"/>
            </a:xfrm>
            <a:custGeom>
              <a:avLst/>
              <a:gdLst>
                <a:gd name="T0" fmla="*/ 0 w 177"/>
                <a:gd name="T1" fmla="*/ 177 w 177"/>
                <a:gd name="T2" fmla="*/ 0 w 17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7">
                  <a:moveTo>
                    <a:pt x="0" y="0"/>
                  </a:moveTo>
                  <a:lnTo>
                    <a:pt x="1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Line 32">
              <a:extLst>
                <a:ext uri="{FF2B5EF4-FFF2-40B4-BE49-F238E27FC236}">
                  <a16:creationId xmlns:a16="http://schemas.microsoft.com/office/drawing/2014/main" id="{18690809-D896-4E06-8BE3-7A7D86D83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55763" y="781050"/>
              <a:ext cx="280988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AD0F5D0C-549E-412D-850B-31020832C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4651" y="808038"/>
              <a:ext cx="303213" cy="0"/>
            </a:xfrm>
            <a:custGeom>
              <a:avLst/>
              <a:gdLst>
                <a:gd name="T0" fmla="*/ 0 w 191"/>
                <a:gd name="T1" fmla="*/ 191 w 191"/>
                <a:gd name="T2" fmla="*/ 0 w 19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91">
                  <a:moveTo>
                    <a:pt x="0" y="0"/>
                  </a:moveTo>
                  <a:lnTo>
                    <a:pt x="1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Line 34">
              <a:extLst>
                <a:ext uri="{FF2B5EF4-FFF2-40B4-BE49-F238E27FC236}">
                  <a16:creationId xmlns:a16="http://schemas.microsoft.com/office/drawing/2014/main" id="{1C502328-1B91-4701-8450-EB18668B64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4651" y="808038"/>
              <a:ext cx="303213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5">
              <a:extLst>
                <a:ext uri="{FF2B5EF4-FFF2-40B4-BE49-F238E27FC236}">
                  <a16:creationId xmlns:a16="http://schemas.microsoft.com/office/drawing/2014/main" id="{76A5843B-4DF8-4DAF-AA26-6361E6262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726" y="844550"/>
              <a:ext cx="117475" cy="0"/>
            </a:xfrm>
            <a:custGeom>
              <a:avLst/>
              <a:gdLst>
                <a:gd name="T0" fmla="*/ 0 w 74"/>
                <a:gd name="T1" fmla="*/ 74 w 74"/>
                <a:gd name="T2" fmla="*/ 0 w 7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4">
                  <a:moveTo>
                    <a:pt x="0" y="0"/>
                  </a:moveTo>
                  <a:lnTo>
                    <a:pt x="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Line 36">
              <a:extLst>
                <a:ext uri="{FF2B5EF4-FFF2-40B4-BE49-F238E27FC236}">
                  <a16:creationId xmlns:a16="http://schemas.microsoft.com/office/drawing/2014/main" id="{ED527BC3-6E54-42E1-A0A8-9B76924C37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36726" y="844550"/>
              <a:ext cx="117475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1F9CA98F-B820-4D00-AEBB-3DA6D5861E3A}"/>
              </a:ext>
            </a:extLst>
          </p:cNvPr>
          <p:cNvGrpSpPr/>
          <p:nvPr/>
        </p:nvGrpSpPr>
        <p:grpSpPr>
          <a:xfrm>
            <a:off x="2613025" y="285750"/>
            <a:ext cx="844550" cy="841375"/>
            <a:chOff x="2613025" y="285750"/>
            <a:chExt cx="844550" cy="841375"/>
          </a:xfrm>
        </p:grpSpPr>
        <p:sp>
          <p:nvSpPr>
            <p:cNvPr id="76" name="AutoShape 38">
              <a:extLst>
                <a:ext uri="{FF2B5EF4-FFF2-40B4-BE49-F238E27FC236}">
                  <a16:creationId xmlns:a16="http://schemas.microsoft.com/office/drawing/2014/main" id="{D5042E04-383F-4A86-82E4-6D93EEECDC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13025" y="28575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40">
              <a:extLst>
                <a:ext uri="{FF2B5EF4-FFF2-40B4-BE49-F238E27FC236}">
                  <a16:creationId xmlns:a16="http://schemas.microsoft.com/office/drawing/2014/main" id="{80B3B4F4-3BE1-4EFD-8754-BB5FC82294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3025" y="28892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1">
              <a:extLst>
                <a:ext uri="{FF2B5EF4-FFF2-40B4-BE49-F238E27FC236}">
                  <a16:creationId xmlns:a16="http://schemas.microsoft.com/office/drawing/2014/main" id="{A15B1C88-5852-48D9-8191-FEE230E98D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1600" y="31750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2">
              <a:extLst>
                <a:ext uri="{FF2B5EF4-FFF2-40B4-BE49-F238E27FC236}">
                  <a16:creationId xmlns:a16="http://schemas.microsoft.com/office/drawing/2014/main" id="{5856BDF4-4531-4357-99AE-1416DC0F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485775"/>
              <a:ext cx="431800" cy="469900"/>
            </a:xfrm>
            <a:custGeom>
              <a:avLst/>
              <a:gdLst>
                <a:gd name="T0" fmla="*/ 91 w 106"/>
                <a:gd name="T1" fmla="*/ 0 h 117"/>
                <a:gd name="T2" fmla="*/ 15 w 106"/>
                <a:gd name="T3" fmla="*/ 0 h 117"/>
                <a:gd name="T4" fmla="*/ 0 w 106"/>
                <a:gd name="T5" fmla="*/ 14 h 117"/>
                <a:gd name="T6" fmla="*/ 0 w 106"/>
                <a:gd name="T7" fmla="*/ 65 h 117"/>
                <a:gd name="T8" fmla="*/ 15 w 106"/>
                <a:gd name="T9" fmla="*/ 79 h 117"/>
                <a:gd name="T10" fmla="*/ 41 w 106"/>
                <a:gd name="T11" fmla="*/ 79 h 117"/>
                <a:gd name="T12" fmla="*/ 76 w 106"/>
                <a:gd name="T13" fmla="*/ 117 h 117"/>
                <a:gd name="T14" fmla="*/ 67 w 106"/>
                <a:gd name="T15" fmla="*/ 79 h 117"/>
                <a:gd name="T16" fmla="*/ 91 w 106"/>
                <a:gd name="T17" fmla="*/ 79 h 117"/>
                <a:gd name="T18" fmla="*/ 106 w 106"/>
                <a:gd name="T19" fmla="*/ 65 h 117"/>
                <a:gd name="T20" fmla="*/ 106 w 106"/>
                <a:gd name="T21" fmla="*/ 14 h 117"/>
                <a:gd name="T22" fmla="*/ 91 w 106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17">
                  <a:moveTo>
                    <a:pt x="91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3"/>
                    <a:pt x="7" y="79"/>
                    <a:pt x="15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9" y="79"/>
                    <a:pt x="106" y="73"/>
                    <a:pt x="106" y="65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6"/>
                    <a:pt x="99" y="0"/>
                    <a:pt x="91" y="0"/>
                  </a:cubicBez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43">
              <a:extLst>
                <a:ext uri="{FF2B5EF4-FFF2-40B4-BE49-F238E27FC236}">
                  <a16:creationId xmlns:a16="http://schemas.microsoft.com/office/drawing/2014/main" id="{7692BFFD-4A6F-4345-945D-B0884AFE5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763" y="701675"/>
              <a:ext cx="41275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44">
              <a:extLst>
                <a:ext uri="{FF2B5EF4-FFF2-40B4-BE49-F238E27FC236}">
                  <a16:creationId xmlns:a16="http://schemas.microsoft.com/office/drawing/2014/main" id="{2463CF55-6299-4D0A-BD7D-EF47DD4EC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5150" y="701675"/>
              <a:ext cx="39688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Oval 45">
              <a:extLst>
                <a:ext uri="{FF2B5EF4-FFF2-40B4-BE49-F238E27FC236}">
                  <a16:creationId xmlns:a16="http://schemas.microsoft.com/office/drawing/2014/main" id="{3169F50B-EEAF-4D41-8F01-0B875B215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4663" y="701675"/>
              <a:ext cx="41275" cy="365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D3F17DF-1A18-4F44-A906-BDEBD8101E6B}"/>
              </a:ext>
            </a:extLst>
          </p:cNvPr>
          <p:cNvGrpSpPr/>
          <p:nvPr/>
        </p:nvGrpSpPr>
        <p:grpSpPr>
          <a:xfrm>
            <a:off x="3636963" y="334963"/>
            <a:ext cx="758825" cy="766763"/>
            <a:chOff x="3636963" y="334963"/>
            <a:chExt cx="758825" cy="766763"/>
          </a:xfrm>
        </p:grpSpPr>
        <p:sp>
          <p:nvSpPr>
            <p:cNvPr id="87" name="AutoShape 47">
              <a:extLst>
                <a:ext uri="{FF2B5EF4-FFF2-40B4-BE49-F238E27FC236}">
                  <a16:creationId xmlns:a16="http://schemas.microsoft.com/office/drawing/2014/main" id="{6B522546-1B15-4F68-986C-505F3EBE02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6963" y="3397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49">
              <a:extLst>
                <a:ext uri="{FF2B5EF4-FFF2-40B4-BE49-F238E27FC236}">
                  <a16:creationId xmlns:a16="http://schemas.microsoft.com/office/drawing/2014/main" id="{9BC73B9D-920D-4CF3-B47C-BDF9A25A39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138" y="3349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0">
              <a:extLst>
                <a:ext uri="{FF2B5EF4-FFF2-40B4-BE49-F238E27FC236}">
                  <a16:creationId xmlns:a16="http://schemas.microsoft.com/office/drawing/2014/main" id="{23297090-1C02-4E67-A2CA-1F5FEC704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6351" y="501650"/>
              <a:ext cx="407988" cy="461963"/>
            </a:xfrm>
            <a:custGeom>
              <a:avLst/>
              <a:gdLst>
                <a:gd name="T0" fmla="*/ 91 w 105"/>
                <a:gd name="T1" fmla="*/ 0 h 117"/>
                <a:gd name="T2" fmla="*/ 14 w 105"/>
                <a:gd name="T3" fmla="*/ 0 h 117"/>
                <a:gd name="T4" fmla="*/ 0 w 105"/>
                <a:gd name="T5" fmla="*/ 14 h 117"/>
                <a:gd name="T6" fmla="*/ 0 w 105"/>
                <a:gd name="T7" fmla="*/ 65 h 117"/>
                <a:gd name="T8" fmla="*/ 14 w 105"/>
                <a:gd name="T9" fmla="*/ 79 h 117"/>
                <a:gd name="T10" fmla="*/ 41 w 105"/>
                <a:gd name="T11" fmla="*/ 79 h 117"/>
                <a:gd name="T12" fmla="*/ 75 w 105"/>
                <a:gd name="T13" fmla="*/ 117 h 117"/>
                <a:gd name="T14" fmla="*/ 66 w 105"/>
                <a:gd name="T15" fmla="*/ 79 h 117"/>
                <a:gd name="T16" fmla="*/ 91 w 105"/>
                <a:gd name="T17" fmla="*/ 79 h 117"/>
                <a:gd name="T18" fmla="*/ 105 w 105"/>
                <a:gd name="T19" fmla="*/ 65 h 117"/>
                <a:gd name="T20" fmla="*/ 105 w 105"/>
                <a:gd name="T21" fmla="*/ 14 h 117"/>
                <a:gd name="T22" fmla="*/ 91 w 105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17">
                  <a:moveTo>
                    <a:pt x="91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3"/>
                    <a:pt x="7" y="79"/>
                    <a:pt x="14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75" y="117"/>
                    <a:pt x="75" y="117"/>
                    <a:pt x="75" y="117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9" y="79"/>
                    <a:pt x="105" y="73"/>
                    <a:pt x="105" y="65"/>
                  </a:cubicBezTo>
                  <a:cubicBezTo>
                    <a:pt x="105" y="14"/>
                    <a:pt x="105" y="14"/>
                    <a:pt x="105" y="14"/>
                  </a:cubicBezTo>
                  <a:cubicBezTo>
                    <a:pt x="105" y="6"/>
                    <a:pt x="99" y="0"/>
                    <a:pt x="91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51">
              <a:extLst>
                <a:ext uri="{FF2B5EF4-FFF2-40B4-BE49-F238E27FC236}">
                  <a16:creationId xmlns:a16="http://schemas.microsoft.com/office/drawing/2014/main" id="{A8DE191B-5808-4919-A9E4-8C0E8F0C3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7951" y="714375"/>
              <a:ext cx="34925" cy="3651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52">
              <a:extLst>
                <a:ext uri="{FF2B5EF4-FFF2-40B4-BE49-F238E27FC236}">
                  <a16:creationId xmlns:a16="http://schemas.microsoft.com/office/drawing/2014/main" id="{4B43EA62-586D-4B33-BBED-CB65714DA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7813" y="714375"/>
              <a:ext cx="39688" cy="3651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53">
              <a:extLst>
                <a:ext uri="{FF2B5EF4-FFF2-40B4-BE49-F238E27FC236}">
                  <a16:creationId xmlns:a16="http://schemas.microsoft.com/office/drawing/2014/main" id="{6EE3F726-8165-47EA-93F3-2A425F7503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088" y="714375"/>
              <a:ext cx="36513" cy="3651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14C866DD-65FF-48DA-97C1-54FB412895AC}"/>
              </a:ext>
            </a:extLst>
          </p:cNvPr>
          <p:cNvGrpSpPr/>
          <p:nvPr/>
        </p:nvGrpSpPr>
        <p:grpSpPr>
          <a:xfrm>
            <a:off x="4759325" y="293688"/>
            <a:ext cx="844550" cy="841375"/>
            <a:chOff x="4759325" y="293688"/>
            <a:chExt cx="844550" cy="841375"/>
          </a:xfrm>
        </p:grpSpPr>
        <p:sp>
          <p:nvSpPr>
            <p:cNvPr id="95" name="AutoShape 55">
              <a:extLst>
                <a:ext uri="{FF2B5EF4-FFF2-40B4-BE49-F238E27FC236}">
                  <a16:creationId xmlns:a16="http://schemas.microsoft.com/office/drawing/2014/main" id="{C46DA2ED-1785-4471-94EC-1A25BCB158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59325" y="2936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57">
              <a:extLst>
                <a:ext uri="{FF2B5EF4-FFF2-40B4-BE49-F238E27FC236}">
                  <a16:creationId xmlns:a16="http://schemas.microsoft.com/office/drawing/2014/main" id="{D15D5923-581B-45B4-84B3-F1CA412C2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2968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58">
              <a:extLst>
                <a:ext uri="{FF2B5EF4-FFF2-40B4-BE49-F238E27FC236}">
                  <a16:creationId xmlns:a16="http://schemas.microsoft.com/office/drawing/2014/main" id="{C06C11ED-325E-433B-B05E-4ECC28A8AE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7900" y="3254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59">
              <a:extLst>
                <a:ext uri="{FF2B5EF4-FFF2-40B4-BE49-F238E27FC236}">
                  <a16:creationId xmlns:a16="http://schemas.microsoft.com/office/drawing/2014/main" id="{273A4A1C-FE3F-446F-9AC1-6C82199635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713" y="546101"/>
              <a:ext cx="487363" cy="312738"/>
            </a:xfrm>
            <a:prstGeom prst="rect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0">
              <a:extLst>
                <a:ext uri="{FF2B5EF4-FFF2-40B4-BE49-F238E27FC236}">
                  <a16:creationId xmlns:a16="http://schemas.microsoft.com/office/drawing/2014/main" id="{8FB1804D-84C9-4CE8-96F8-60DA5061B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811213"/>
              <a:ext cx="487363" cy="0"/>
            </a:xfrm>
            <a:custGeom>
              <a:avLst/>
              <a:gdLst>
                <a:gd name="T0" fmla="*/ 307 w 307"/>
                <a:gd name="T1" fmla="*/ 0 w 307"/>
                <a:gd name="T2" fmla="*/ 307 w 3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7">
                  <a:moveTo>
                    <a:pt x="307" y="0"/>
                  </a:moveTo>
                  <a:lnTo>
                    <a:pt x="0" y="0"/>
                  </a:lnTo>
                  <a:lnTo>
                    <a:pt x="30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Line 61">
              <a:extLst>
                <a:ext uri="{FF2B5EF4-FFF2-40B4-BE49-F238E27FC236}">
                  <a16:creationId xmlns:a16="http://schemas.microsoft.com/office/drawing/2014/main" id="{A65C3E27-BCA6-455E-9C32-283FE2ACA5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38713" y="811213"/>
              <a:ext cx="487363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2">
              <a:extLst>
                <a:ext uri="{FF2B5EF4-FFF2-40B4-BE49-F238E27FC236}">
                  <a16:creationId xmlns:a16="http://schemas.microsoft.com/office/drawing/2014/main" id="{37DF9F87-FC09-42D5-BAEC-F281CB830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7000" y="858838"/>
              <a:ext cx="0" cy="44450"/>
            </a:xfrm>
            <a:custGeom>
              <a:avLst/>
              <a:gdLst>
                <a:gd name="T0" fmla="*/ 0 h 28"/>
                <a:gd name="T1" fmla="*/ 28 h 28"/>
                <a:gd name="T2" fmla="*/ 0 h 2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8">
                  <a:moveTo>
                    <a:pt x="0" y="0"/>
                  </a:move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Line 63">
              <a:extLst>
                <a:ext uri="{FF2B5EF4-FFF2-40B4-BE49-F238E27FC236}">
                  <a16:creationId xmlns:a16="http://schemas.microsoft.com/office/drawing/2014/main" id="{844C66A7-A2E8-4649-9493-5493265D5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07000" y="858838"/>
              <a:ext cx="0" cy="444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4">
              <a:extLst>
                <a:ext uri="{FF2B5EF4-FFF2-40B4-BE49-F238E27FC236}">
                  <a16:creationId xmlns:a16="http://schemas.microsoft.com/office/drawing/2014/main" id="{44E0DB95-18E5-41D8-9837-0383E4795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7788" y="858838"/>
              <a:ext cx="0" cy="44450"/>
            </a:xfrm>
            <a:custGeom>
              <a:avLst/>
              <a:gdLst>
                <a:gd name="T0" fmla="*/ 0 h 28"/>
                <a:gd name="T1" fmla="*/ 28 h 28"/>
                <a:gd name="T2" fmla="*/ 0 h 2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8">
                  <a:moveTo>
                    <a:pt x="0" y="0"/>
                  </a:move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Line 65">
              <a:extLst>
                <a:ext uri="{FF2B5EF4-FFF2-40B4-BE49-F238E27FC236}">
                  <a16:creationId xmlns:a16="http://schemas.microsoft.com/office/drawing/2014/main" id="{96CF7165-0F6A-4A76-985D-3D562E2AAC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57788" y="858838"/>
              <a:ext cx="0" cy="444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6">
              <a:extLst>
                <a:ext uri="{FF2B5EF4-FFF2-40B4-BE49-F238E27FC236}">
                  <a16:creationId xmlns:a16="http://schemas.microsoft.com/office/drawing/2014/main" id="{B8757FD9-1870-44D0-BB19-4AA654EAF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4450" y="903288"/>
              <a:ext cx="114300" cy="0"/>
            </a:xfrm>
            <a:custGeom>
              <a:avLst/>
              <a:gdLst>
                <a:gd name="T0" fmla="*/ 72 w 72"/>
                <a:gd name="T1" fmla="*/ 0 w 72"/>
                <a:gd name="T2" fmla="*/ 72 w 7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2">
                  <a:moveTo>
                    <a:pt x="72" y="0"/>
                  </a:moveTo>
                  <a:lnTo>
                    <a:pt x="0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Line 67">
              <a:extLst>
                <a:ext uri="{FF2B5EF4-FFF2-40B4-BE49-F238E27FC236}">
                  <a16:creationId xmlns:a16="http://schemas.microsoft.com/office/drawing/2014/main" id="{EF9D9683-D36E-4F93-8447-DCEB30332D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24450" y="903288"/>
              <a:ext cx="114300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68">
              <a:extLst>
                <a:ext uri="{FF2B5EF4-FFF2-40B4-BE49-F238E27FC236}">
                  <a16:creationId xmlns:a16="http://schemas.microsoft.com/office/drawing/2014/main" id="{C0737D6D-F265-4533-BE9D-A5E74BAD4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388" y="585788"/>
              <a:ext cx="98425" cy="84138"/>
            </a:xfrm>
            <a:custGeom>
              <a:avLst/>
              <a:gdLst>
                <a:gd name="T0" fmla="*/ 24 w 24"/>
                <a:gd name="T1" fmla="*/ 21 h 21"/>
                <a:gd name="T2" fmla="*/ 24 w 24"/>
                <a:gd name="T3" fmla="*/ 11 h 21"/>
                <a:gd name="T4" fmla="*/ 12 w 24"/>
                <a:gd name="T5" fmla="*/ 0 h 21"/>
                <a:gd name="T6" fmla="*/ 0 w 24"/>
                <a:gd name="T7" fmla="*/ 11 h 21"/>
                <a:gd name="T8" fmla="*/ 0 w 2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4" y="2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18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9">
              <a:extLst>
                <a:ext uri="{FF2B5EF4-FFF2-40B4-BE49-F238E27FC236}">
                  <a16:creationId xmlns:a16="http://schemas.microsoft.com/office/drawing/2014/main" id="{1CBEC4D1-5491-449F-814A-510754C4B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388" y="585788"/>
              <a:ext cx="98425" cy="84138"/>
            </a:xfrm>
            <a:custGeom>
              <a:avLst/>
              <a:gdLst>
                <a:gd name="T0" fmla="*/ 24 w 24"/>
                <a:gd name="T1" fmla="*/ 21 h 21"/>
                <a:gd name="T2" fmla="*/ 24 w 24"/>
                <a:gd name="T3" fmla="*/ 11 h 21"/>
                <a:gd name="T4" fmla="*/ 12 w 24"/>
                <a:gd name="T5" fmla="*/ 0 h 21"/>
                <a:gd name="T6" fmla="*/ 0 w 24"/>
                <a:gd name="T7" fmla="*/ 11 h 21"/>
                <a:gd name="T8" fmla="*/ 0 w 2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4" y="2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18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70">
              <a:extLst>
                <a:ext uri="{FF2B5EF4-FFF2-40B4-BE49-F238E27FC236}">
                  <a16:creationId xmlns:a16="http://schemas.microsoft.com/office/drawing/2014/main" id="{104DCDA7-1A77-46DF-8CB6-B2AF7F3E7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513" y="669926"/>
              <a:ext cx="130175" cy="100013"/>
            </a:xfrm>
            <a:custGeom>
              <a:avLst/>
              <a:gdLst>
                <a:gd name="T0" fmla="*/ 29 w 32"/>
                <a:gd name="T1" fmla="*/ 25 h 25"/>
                <a:gd name="T2" fmla="*/ 3 w 32"/>
                <a:gd name="T3" fmla="*/ 25 h 25"/>
                <a:gd name="T4" fmla="*/ 0 w 32"/>
                <a:gd name="T5" fmla="*/ 22 h 25"/>
                <a:gd name="T6" fmla="*/ 0 w 32"/>
                <a:gd name="T7" fmla="*/ 3 h 25"/>
                <a:gd name="T8" fmla="*/ 3 w 32"/>
                <a:gd name="T9" fmla="*/ 0 h 25"/>
                <a:gd name="T10" fmla="*/ 29 w 32"/>
                <a:gd name="T11" fmla="*/ 0 h 25"/>
                <a:gd name="T12" fmla="*/ 32 w 32"/>
                <a:gd name="T13" fmla="*/ 3 h 25"/>
                <a:gd name="T14" fmla="*/ 32 w 32"/>
                <a:gd name="T15" fmla="*/ 22 h 25"/>
                <a:gd name="T16" fmla="*/ 29 w 32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5">
                  <a:moveTo>
                    <a:pt x="29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0" y="25"/>
                    <a:pt x="29" y="25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71">
              <a:extLst>
                <a:ext uri="{FF2B5EF4-FFF2-40B4-BE49-F238E27FC236}">
                  <a16:creationId xmlns:a16="http://schemas.microsoft.com/office/drawing/2014/main" id="{419EEE41-D86A-47A5-82FA-29117F675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725" y="693738"/>
              <a:ext cx="31750" cy="57150"/>
            </a:xfrm>
            <a:custGeom>
              <a:avLst/>
              <a:gdLst>
                <a:gd name="T0" fmla="*/ 8 w 8"/>
                <a:gd name="T1" fmla="*/ 3 h 14"/>
                <a:gd name="T2" fmla="*/ 4 w 8"/>
                <a:gd name="T3" fmla="*/ 0 h 14"/>
                <a:gd name="T4" fmla="*/ 0 w 8"/>
                <a:gd name="T5" fmla="*/ 3 h 14"/>
                <a:gd name="T6" fmla="*/ 2 w 8"/>
                <a:gd name="T7" fmla="*/ 7 h 14"/>
                <a:gd name="T8" fmla="*/ 0 w 8"/>
                <a:gd name="T9" fmla="*/ 14 h 14"/>
                <a:gd name="T10" fmla="*/ 4 w 8"/>
                <a:gd name="T11" fmla="*/ 14 h 14"/>
                <a:gd name="T12" fmla="*/ 8 w 8"/>
                <a:gd name="T13" fmla="*/ 14 h 14"/>
                <a:gd name="T14" fmla="*/ 6 w 8"/>
                <a:gd name="T15" fmla="*/ 7 h 14"/>
                <a:gd name="T16" fmla="*/ 8 w 8"/>
                <a:gd name="T1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4">
                  <a:moveTo>
                    <a:pt x="8" y="3"/>
                  </a:move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1" y="6"/>
                    <a:pt x="2" y="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8" y="5"/>
                    <a:pt x="8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84E1F8DF-5A54-4E8C-943F-DFA405FCB75D}"/>
              </a:ext>
            </a:extLst>
          </p:cNvPr>
          <p:cNvGrpSpPr/>
          <p:nvPr/>
        </p:nvGrpSpPr>
        <p:grpSpPr>
          <a:xfrm>
            <a:off x="5808663" y="317501"/>
            <a:ext cx="758825" cy="766763"/>
            <a:chOff x="5808663" y="317501"/>
            <a:chExt cx="758825" cy="766763"/>
          </a:xfrm>
        </p:grpSpPr>
        <p:sp>
          <p:nvSpPr>
            <p:cNvPr id="113" name="AutoShape 73">
              <a:extLst>
                <a:ext uri="{FF2B5EF4-FFF2-40B4-BE49-F238E27FC236}">
                  <a16:creationId xmlns:a16="http://schemas.microsoft.com/office/drawing/2014/main" id="{3B986B25-3C06-412C-BF20-80994B5E09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08663" y="3222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75">
              <a:extLst>
                <a:ext uri="{FF2B5EF4-FFF2-40B4-BE49-F238E27FC236}">
                  <a16:creationId xmlns:a16="http://schemas.microsoft.com/office/drawing/2014/main" id="{B4458C16-A64C-4EA6-821A-7745BE0CFA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1838" y="31750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76">
              <a:extLst>
                <a:ext uri="{FF2B5EF4-FFF2-40B4-BE49-F238E27FC236}">
                  <a16:creationId xmlns:a16="http://schemas.microsoft.com/office/drawing/2014/main" id="{1820E47D-28B6-4ADF-BC9D-10352BD39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6301" y="534988"/>
              <a:ext cx="466725" cy="3095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77">
              <a:extLst>
                <a:ext uri="{FF2B5EF4-FFF2-40B4-BE49-F238E27FC236}">
                  <a16:creationId xmlns:a16="http://schemas.microsoft.com/office/drawing/2014/main" id="{91FDB758-C944-4482-98AD-CCCD3FC53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6301" y="796926"/>
              <a:ext cx="466725" cy="0"/>
            </a:xfrm>
            <a:custGeom>
              <a:avLst/>
              <a:gdLst>
                <a:gd name="T0" fmla="*/ 294 w 294"/>
                <a:gd name="T1" fmla="*/ 0 w 294"/>
                <a:gd name="T2" fmla="*/ 294 w 29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94">
                  <a:moveTo>
                    <a:pt x="294" y="0"/>
                  </a:moveTo>
                  <a:lnTo>
                    <a:pt x="0" y="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Line 78">
              <a:extLst>
                <a:ext uri="{FF2B5EF4-FFF2-40B4-BE49-F238E27FC236}">
                  <a16:creationId xmlns:a16="http://schemas.microsoft.com/office/drawing/2014/main" id="{57D350EB-7185-4AD6-8D79-29B7D0DB27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56301" y="796926"/>
              <a:ext cx="466725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79">
              <a:extLst>
                <a:ext uri="{FF2B5EF4-FFF2-40B4-BE49-F238E27FC236}">
                  <a16:creationId xmlns:a16="http://schemas.microsoft.com/office/drawing/2014/main" id="{94CD62E2-FCE8-47C4-9E2B-5B783FA72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476" y="844551"/>
              <a:ext cx="0" cy="42863"/>
            </a:xfrm>
            <a:custGeom>
              <a:avLst/>
              <a:gdLst>
                <a:gd name="T0" fmla="*/ 0 h 27"/>
                <a:gd name="T1" fmla="*/ 27 h 27"/>
                <a:gd name="T2" fmla="*/ 0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Line 80">
              <a:extLst>
                <a:ext uri="{FF2B5EF4-FFF2-40B4-BE49-F238E27FC236}">
                  <a16:creationId xmlns:a16="http://schemas.microsoft.com/office/drawing/2014/main" id="{4B24F40F-D98A-493F-A959-B9763D4AAA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13476" y="844551"/>
              <a:ext cx="0" cy="42863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81">
              <a:extLst>
                <a:ext uri="{FF2B5EF4-FFF2-40B4-BE49-F238E27FC236}">
                  <a16:creationId xmlns:a16="http://schemas.microsoft.com/office/drawing/2014/main" id="{775B64AA-EE62-4CAE-ACDF-F26499C2F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7438" y="844551"/>
              <a:ext cx="0" cy="42863"/>
            </a:xfrm>
            <a:custGeom>
              <a:avLst/>
              <a:gdLst>
                <a:gd name="T0" fmla="*/ 0 h 27"/>
                <a:gd name="T1" fmla="*/ 27 h 27"/>
                <a:gd name="T2" fmla="*/ 0 h 2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7">
                  <a:moveTo>
                    <a:pt x="0" y="0"/>
                  </a:moveTo>
                  <a:lnTo>
                    <a:pt x="0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Line 82">
              <a:extLst>
                <a:ext uri="{FF2B5EF4-FFF2-40B4-BE49-F238E27FC236}">
                  <a16:creationId xmlns:a16="http://schemas.microsoft.com/office/drawing/2014/main" id="{698A88FB-9298-434F-B377-298BF348BF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7438" y="844551"/>
              <a:ext cx="0" cy="42863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3">
              <a:extLst>
                <a:ext uri="{FF2B5EF4-FFF2-40B4-BE49-F238E27FC236}">
                  <a16:creationId xmlns:a16="http://schemas.microsoft.com/office/drawing/2014/main" id="{CC6EE271-F8A0-4C84-AB5E-7DC088F03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887413"/>
              <a:ext cx="109538" cy="0"/>
            </a:xfrm>
            <a:custGeom>
              <a:avLst/>
              <a:gdLst>
                <a:gd name="T0" fmla="*/ 69 w 69"/>
                <a:gd name="T1" fmla="*/ 0 w 69"/>
                <a:gd name="T2" fmla="*/ 69 w 6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9">
                  <a:moveTo>
                    <a:pt x="69" y="0"/>
                  </a:moveTo>
                  <a:lnTo>
                    <a:pt x="0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Line 84">
              <a:extLst>
                <a:ext uri="{FF2B5EF4-FFF2-40B4-BE49-F238E27FC236}">
                  <a16:creationId xmlns:a16="http://schemas.microsoft.com/office/drawing/2014/main" id="{F6524AE9-4E29-44EF-92F6-86B0F385E7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35688" y="887413"/>
              <a:ext cx="109538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5">
              <a:extLst>
                <a:ext uri="{FF2B5EF4-FFF2-40B4-BE49-F238E27FC236}">
                  <a16:creationId xmlns:a16="http://schemas.microsoft.com/office/drawing/2014/main" id="{674C5EED-7A2B-43E2-BB3E-D2CCD2C03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6" y="574676"/>
              <a:ext cx="93663" cy="82550"/>
            </a:xfrm>
            <a:custGeom>
              <a:avLst/>
              <a:gdLst>
                <a:gd name="T0" fmla="*/ 24 w 24"/>
                <a:gd name="T1" fmla="*/ 21 h 21"/>
                <a:gd name="T2" fmla="*/ 24 w 24"/>
                <a:gd name="T3" fmla="*/ 11 h 21"/>
                <a:gd name="T4" fmla="*/ 12 w 24"/>
                <a:gd name="T5" fmla="*/ 0 h 21"/>
                <a:gd name="T6" fmla="*/ 0 w 24"/>
                <a:gd name="T7" fmla="*/ 11 h 21"/>
                <a:gd name="T8" fmla="*/ 0 w 2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4" y="2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18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86">
              <a:extLst>
                <a:ext uri="{FF2B5EF4-FFF2-40B4-BE49-F238E27FC236}">
                  <a16:creationId xmlns:a16="http://schemas.microsoft.com/office/drawing/2014/main" id="{8B0ED113-D88F-41B1-B5D2-E0E337207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6" y="574676"/>
              <a:ext cx="93663" cy="82550"/>
            </a:xfrm>
            <a:custGeom>
              <a:avLst/>
              <a:gdLst>
                <a:gd name="T0" fmla="*/ 24 w 24"/>
                <a:gd name="T1" fmla="*/ 21 h 21"/>
                <a:gd name="T2" fmla="*/ 24 w 24"/>
                <a:gd name="T3" fmla="*/ 11 h 21"/>
                <a:gd name="T4" fmla="*/ 12 w 24"/>
                <a:gd name="T5" fmla="*/ 0 h 21"/>
                <a:gd name="T6" fmla="*/ 0 w 24"/>
                <a:gd name="T7" fmla="*/ 11 h 21"/>
                <a:gd name="T8" fmla="*/ 0 w 2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4" y="2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18" y="0"/>
                    <a:pt x="12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87">
              <a:extLst>
                <a:ext uri="{FF2B5EF4-FFF2-40B4-BE49-F238E27FC236}">
                  <a16:creationId xmlns:a16="http://schemas.microsoft.com/office/drawing/2014/main" id="{1A5EC6DA-5A63-4E30-B338-23603DE49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751" y="657226"/>
              <a:ext cx="123825" cy="100013"/>
            </a:xfrm>
            <a:custGeom>
              <a:avLst/>
              <a:gdLst>
                <a:gd name="T0" fmla="*/ 29 w 32"/>
                <a:gd name="T1" fmla="*/ 25 h 25"/>
                <a:gd name="T2" fmla="*/ 3 w 32"/>
                <a:gd name="T3" fmla="*/ 25 h 25"/>
                <a:gd name="T4" fmla="*/ 0 w 32"/>
                <a:gd name="T5" fmla="*/ 22 h 25"/>
                <a:gd name="T6" fmla="*/ 0 w 32"/>
                <a:gd name="T7" fmla="*/ 3 h 25"/>
                <a:gd name="T8" fmla="*/ 3 w 32"/>
                <a:gd name="T9" fmla="*/ 0 h 25"/>
                <a:gd name="T10" fmla="*/ 29 w 32"/>
                <a:gd name="T11" fmla="*/ 0 h 25"/>
                <a:gd name="T12" fmla="*/ 32 w 32"/>
                <a:gd name="T13" fmla="*/ 3 h 25"/>
                <a:gd name="T14" fmla="*/ 32 w 32"/>
                <a:gd name="T15" fmla="*/ 22 h 25"/>
                <a:gd name="T16" fmla="*/ 29 w 32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5">
                  <a:moveTo>
                    <a:pt x="29" y="25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2" y="1"/>
                    <a:pt x="32" y="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3"/>
                    <a:pt x="30" y="25"/>
                    <a:pt x="29" y="2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88">
              <a:extLst>
                <a:ext uri="{FF2B5EF4-FFF2-40B4-BE49-F238E27FC236}">
                  <a16:creationId xmlns:a16="http://schemas.microsoft.com/office/drawing/2014/main" id="{37DB5483-C4FE-4E68-85F8-ADAA50DB5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3788" y="681038"/>
              <a:ext cx="31750" cy="55563"/>
            </a:xfrm>
            <a:custGeom>
              <a:avLst/>
              <a:gdLst>
                <a:gd name="T0" fmla="*/ 8 w 8"/>
                <a:gd name="T1" fmla="*/ 3 h 14"/>
                <a:gd name="T2" fmla="*/ 4 w 8"/>
                <a:gd name="T3" fmla="*/ 0 h 14"/>
                <a:gd name="T4" fmla="*/ 0 w 8"/>
                <a:gd name="T5" fmla="*/ 3 h 14"/>
                <a:gd name="T6" fmla="*/ 2 w 8"/>
                <a:gd name="T7" fmla="*/ 7 h 14"/>
                <a:gd name="T8" fmla="*/ 0 w 8"/>
                <a:gd name="T9" fmla="*/ 14 h 14"/>
                <a:gd name="T10" fmla="*/ 4 w 8"/>
                <a:gd name="T11" fmla="*/ 14 h 14"/>
                <a:gd name="T12" fmla="*/ 8 w 8"/>
                <a:gd name="T13" fmla="*/ 14 h 14"/>
                <a:gd name="T14" fmla="*/ 6 w 8"/>
                <a:gd name="T15" fmla="*/ 7 h 14"/>
                <a:gd name="T16" fmla="*/ 8 w 8"/>
                <a:gd name="T1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4">
                  <a:moveTo>
                    <a:pt x="8" y="3"/>
                  </a:move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"/>
                    <a:pt x="1" y="6"/>
                    <a:pt x="2" y="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8" y="5"/>
                    <a:pt x="8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9A04D435-3161-4F8C-AC32-E4AF1F355757}"/>
              </a:ext>
            </a:extLst>
          </p:cNvPr>
          <p:cNvGrpSpPr/>
          <p:nvPr/>
        </p:nvGrpSpPr>
        <p:grpSpPr>
          <a:xfrm>
            <a:off x="7070725" y="280988"/>
            <a:ext cx="844550" cy="841375"/>
            <a:chOff x="7070725" y="280988"/>
            <a:chExt cx="844550" cy="841375"/>
          </a:xfrm>
        </p:grpSpPr>
        <p:sp>
          <p:nvSpPr>
            <p:cNvPr id="130" name="AutoShape 90">
              <a:extLst>
                <a:ext uri="{FF2B5EF4-FFF2-40B4-BE49-F238E27FC236}">
                  <a16:creationId xmlns:a16="http://schemas.microsoft.com/office/drawing/2014/main" id="{594B99EB-9532-440C-838C-C1B6161595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70725" y="280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92">
              <a:extLst>
                <a:ext uri="{FF2B5EF4-FFF2-40B4-BE49-F238E27FC236}">
                  <a16:creationId xmlns:a16="http://schemas.microsoft.com/office/drawing/2014/main" id="{E6280EAC-FD94-4D51-B202-9CCA407082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0725" y="2841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93">
              <a:extLst>
                <a:ext uri="{FF2B5EF4-FFF2-40B4-BE49-F238E27FC236}">
                  <a16:creationId xmlns:a16="http://schemas.microsoft.com/office/drawing/2014/main" id="{2A1C5E33-5BC1-48D2-A40D-5BA7F1156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9300" y="3127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4">
              <a:extLst>
                <a:ext uri="{FF2B5EF4-FFF2-40B4-BE49-F238E27FC236}">
                  <a16:creationId xmlns:a16="http://schemas.microsoft.com/office/drawing/2014/main" id="{DA927BE1-6388-4FC6-BC32-D4A860009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188" y="496888"/>
              <a:ext cx="317500" cy="449263"/>
            </a:xfrm>
            <a:custGeom>
              <a:avLst/>
              <a:gdLst>
                <a:gd name="T0" fmla="*/ 72 w 78"/>
                <a:gd name="T1" fmla="*/ 112 h 112"/>
                <a:gd name="T2" fmla="*/ 6 w 78"/>
                <a:gd name="T3" fmla="*/ 112 h 112"/>
                <a:gd name="T4" fmla="*/ 0 w 78"/>
                <a:gd name="T5" fmla="*/ 106 h 112"/>
                <a:gd name="T6" fmla="*/ 0 w 78"/>
                <a:gd name="T7" fmla="*/ 5 h 112"/>
                <a:gd name="T8" fmla="*/ 6 w 78"/>
                <a:gd name="T9" fmla="*/ 0 h 112"/>
                <a:gd name="T10" fmla="*/ 72 w 78"/>
                <a:gd name="T11" fmla="*/ 0 h 112"/>
                <a:gd name="T12" fmla="*/ 78 w 78"/>
                <a:gd name="T13" fmla="*/ 5 h 112"/>
                <a:gd name="T14" fmla="*/ 78 w 78"/>
                <a:gd name="T15" fmla="*/ 106 h 112"/>
                <a:gd name="T16" fmla="*/ 72 w 78"/>
                <a:gd name="T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12">
                  <a:moveTo>
                    <a:pt x="72" y="112"/>
                  </a:moveTo>
                  <a:cubicBezTo>
                    <a:pt x="6" y="112"/>
                    <a:pt x="6" y="112"/>
                    <a:pt x="6" y="112"/>
                  </a:cubicBezTo>
                  <a:cubicBezTo>
                    <a:pt x="1" y="112"/>
                    <a:pt x="0" y="109"/>
                    <a:pt x="0" y="10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5" y="0"/>
                    <a:pt x="78" y="2"/>
                    <a:pt x="78" y="5"/>
                  </a:cubicBezTo>
                  <a:cubicBezTo>
                    <a:pt x="78" y="106"/>
                    <a:pt x="78" y="106"/>
                    <a:pt x="78" y="106"/>
                  </a:cubicBezTo>
                  <a:cubicBezTo>
                    <a:pt x="78" y="109"/>
                    <a:pt x="75" y="112"/>
                    <a:pt x="72" y="112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95">
              <a:extLst>
                <a:ext uri="{FF2B5EF4-FFF2-40B4-BE49-F238E27FC236}">
                  <a16:creationId xmlns:a16="http://schemas.microsoft.com/office/drawing/2014/main" id="{FC41C579-F8C3-4FE6-88A3-43E582949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188" y="433388"/>
              <a:ext cx="268288" cy="508000"/>
            </a:xfrm>
            <a:custGeom>
              <a:avLst/>
              <a:gdLst>
                <a:gd name="T0" fmla="*/ 63 w 66"/>
                <a:gd name="T1" fmla="*/ 112 h 127"/>
                <a:gd name="T2" fmla="*/ 3 w 66"/>
                <a:gd name="T3" fmla="*/ 127 h 127"/>
                <a:gd name="T4" fmla="*/ 0 w 66"/>
                <a:gd name="T5" fmla="*/ 124 h 127"/>
                <a:gd name="T6" fmla="*/ 0 w 66"/>
                <a:gd name="T7" fmla="*/ 21 h 127"/>
                <a:gd name="T8" fmla="*/ 3 w 66"/>
                <a:gd name="T9" fmla="*/ 16 h 127"/>
                <a:gd name="T10" fmla="*/ 63 w 66"/>
                <a:gd name="T11" fmla="*/ 1 h 127"/>
                <a:gd name="T12" fmla="*/ 66 w 66"/>
                <a:gd name="T13" fmla="*/ 4 h 127"/>
                <a:gd name="T14" fmla="*/ 66 w 66"/>
                <a:gd name="T15" fmla="*/ 107 h 127"/>
                <a:gd name="T16" fmla="*/ 63 w 66"/>
                <a:gd name="T17" fmla="*/ 11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27">
                  <a:moveTo>
                    <a:pt x="63" y="112"/>
                  </a:moveTo>
                  <a:cubicBezTo>
                    <a:pt x="3" y="127"/>
                    <a:pt x="3" y="127"/>
                    <a:pt x="3" y="127"/>
                  </a:cubicBezTo>
                  <a:cubicBezTo>
                    <a:pt x="1" y="127"/>
                    <a:pt x="0" y="126"/>
                    <a:pt x="0" y="12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3" y="16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4" y="0"/>
                    <a:pt x="66" y="2"/>
                    <a:pt x="66" y="4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9"/>
                    <a:pt x="64" y="112"/>
                    <a:pt x="63" y="112"/>
                  </a:cubicBezTo>
                  <a:close/>
                </a:path>
              </a:pathLst>
            </a:custGeom>
            <a:solidFill>
              <a:srgbClr val="0091B3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96">
              <a:extLst>
                <a:ext uri="{FF2B5EF4-FFF2-40B4-BE49-F238E27FC236}">
                  <a16:creationId xmlns:a16="http://schemas.microsoft.com/office/drawing/2014/main" id="{9CB298D5-57C5-406D-9407-582AA27A7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5" y="569913"/>
              <a:ext cx="49213" cy="207963"/>
            </a:xfrm>
            <a:custGeom>
              <a:avLst/>
              <a:gdLst>
                <a:gd name="T0" fmla="*/ 0 w 12"/>
                <a:gd name="T1" fmla="*/ 52 h 52"/>
                <a:gd name="T2" fmla="*/ 0 w 12"/>
                <a:gd name="T3" fmla="*/ 50 h 52"/>
                <a:gd name="T4" fmla="*/ 10 w 12"/>
                <a:gd name="T5" fmla="*/ 24 h 52"/>
                <a:gd name="T6" fmla="*/ 2 w 12"/>
                <a:gd name="T7" fmla="*/ 3 h 52"/>
                <a:gd name="T8" fmla="*/ 0 w 12"/>
                <a:gd name="T9" fmla="*/ 2 h 52"/>
                <a:gd name="T10" fmla="*/ 0 w 12"/>
                <a:gd name="T11" fmla="*/ 0 h 52"/>
                <a:gd name="T12" fmla="*/ 4 w 12"/>
                <a:gd name="T13" fmla="*/ 1 h 52"/>
                <a:gd name="T14" fmla="*/ 12 w 12"/>
                <a:gd name="T15" fmla="*/ 24 h 52"/>
                <a:gd name="T16" fmla="*/ 0 w 1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52">
                  <a:moveTo>
                    <a:pt x="0" y="52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5" y="49"/>
                    <a:pt x="10" y="31"/>
                    <a:pt x="10" y="24"/>
                  </a:cubicBezTo>
                  <a:cubicBezTo>
                    <a:pt x="10" y="18"/>
                    <a:pt x="6" y="6"/>
                    <a:pt x="2" y="3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1"/>
                  </a:cubicBezTo>
                  <a:cubicBezTo>
                    <a:pt x="8" y="5"/>
                    <a:pt x="12" y="18"/>
                    <a:pt x="12" y="24"/>
                  </a:cubicBezTo>
                  <a:cubicBezTo>
                    <a:pt x="12" y="30"/>
                    <a:pt x="7" y="50"/>
                    <a:pt x="0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97">
              <a:extLst>
                <a:ext uri="{FF2B5EF4-FFF2-40B4-BE49-F238E27FC236}">
                  <a16:creationId xmlns:a16="http://schemas.microsoft.com/office/drawing/2014/main" id="{BAFA24A7-6FFC-4F63-87F0-3B62E0F11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2363" y="573088"/>
              <a:ext cx="7938" cy="2000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98">
              <a:extLst>
                <a:ext uri="{FF2B5EF4-FFF2-40B4-BE49-F238E27FC236}">
                  <a16:creationId xmlns:a16="http://schemas.microsoft.com/office/drawing/2014/main" id="{4858AFBA-6823-4A73-9CF5-12BE32762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913" y="569913"/>
              <a:ext cx="49213" cy="207963"/>
            </a:xfrm>
            <a:custGeom>
              <a:avLst/>
              <a:gdLst>
                <a:gd name="T0" fmla="*/ 11 w 12"/>
                <a:gd name="T1" fmla="*/ 52 h 52"/>
                <a:gd name="T2" fmla="*/ 8 w 12"/>
                <a:gd name="T3" fmla="*/ 51 h 52"/>
                <a:gd name="T4" fmla="*/ 0 w 12"/>
                <a:gd name="T5" fmla="*/ 29 h 52"/>
                <a:gd name="T6" fmla="*/ 12 w 12"/>
                <a:gd name="T7" fmla="*/ 0 h 52"/>
                <a:gd name="T8" fmla="*/ 12 w 12"/>
                <a:gd name="T9" fmla="*/ 2 h 52"/>
                <a:gd name="T10" fmla="*/ 2 w 12"/>
                <a:gd name="T11" fmla="*/ 29 h 52"/>
                <a:gd name="T12" fmla="*/ 10 w 12"/>
                <a:gd name="T13" fmla="*/ 49 h 52"/>
                <a:gd name="T14" fmla="*/ 12 w 12"/>
                <a:gd name="T15" fmla="*/ 50 h 52"/>
                <a:gd name="T16" fmla="*/ 12 w 12"/>
                <a:gd name="T17" fmla="*/ 52 h 52"/>
                <a:gd name="T18" fmla="*/ 11 w 1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52">
                  <a:moveTo>
                    <a:pt x="11" y="52"/>
                  </a:moveTo>
                  <a:cubicBezTo>
                    <a:pt x="10" y="52"/>
                    <a:pt x="9" y="52"/>
                    <a:pt x="8" y="51"/>
                  </a:cubicBezTo>
                  <a:cubicBezTo>
                    <a:pt x="4" y="47"/>
                    <a:pt x="0" y="34"/>
                    <a:pt x="0" y="29"/>
                  </a:cubicBezTo>
                  <a:cubicBezTo>
                    <a:pt x="0" y="22"/>
                    <a:pt x="5" y="2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7" y="3"/>
                    <a:pt x="2" y="21"/>
                    <a:pt x="2" y="29"/>
                  </a:cubicBezTo>
                  <a:cubicBezTo>
                    <a:pt x="2" y="35"/>
                    <a:pt x="6" y="46"/>
                    <a:pt x="10" y="49"/>
                  </a:cubicBezTo>
                  <a:cubicBezTo>
                    <a:pt x="10" y="50"/>
                    <a:pt x="11" y="50"/>
                    <a:pt x="12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2"/>
                    <a:pt x="11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99">
              <a:extLst>
                <a:ext uri="{FF2B5EF4-FFF2-40B4-BE49-F238E27FC236}">
                  <a16:creationId xmlns:a16="http://schemas.microsoft.com/office/drawing/2014/main" id="{8AF58824-3134-4122-B111-5E96F042EB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561976"/>
              <a:ext cx="161925" cy="87313"/>
            </a:xfrm>
            <a:custGeom>
              <a:avLst/>
              <a:gdLst>
                <a:gd name="T0" fmla="*/ 0 w 40"/>
                <a:gd name="T1" fmla="*/ 22 h 22"/>
                <a:gd name="T2" fmla="*/ 1 w 40"/>
                <a:gd name="T3" fmla="*/ 20 h 22"/>
                <a:gd name="T4" fmla="*/ 20 w 40"/>
                <a:gd name="T5" fmla="*/ 2 h 22"/>
                <a:gd name="T6" fmla="*/ 20 w 40"/>
                <a:gd name="T7" fmla="*/ 2 h 22"/>
                <a:gd name="T8" fmla="*/ 39 w 40"/>
                <a:gd name="T9" fmla="*/ 11 h 22"/>
                <a:gd name="T10" fmla="*/ 40 w 40"/>
                <a:gd name="T11" fmla="*/ 12 h 22"/>
                <a:gd name="T12" fmla="*/ 0 w 40"/>
                <a:gd name="T13" fmla="*/ 22 h 22"/>
                <a:gd name="T14" fmla="*/ 20 w 40"/>
                <a:gd name="T15" fmla="*/ 4 h 22"/>
                <a:gd name="T16" fmla="*/ 3 w 40"/>
                <a:gd name="T17" fmla="*/ 19 h 22"/>
                <a:gd name="T18" fmla="*/ 37 w 40"/>
                <a:gd name="T19" fmla="*/ 11 h 22"/>
                <a:gd name="T20" fmla="*/ 20 w 40"/>
                <a:gd name="T2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2">
                  <a:moveTo>
                    <a:pt x="0" y="22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5" y="11"/>
                    <a:pt x="12" y="4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8" y="0"/>
                    <a:pt x="35" y="4"/>
                    <a:pt x="39" y="11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0" y="22"/>
                  </a:lnTo>
                  <a:close/>
                  <a:moveTo>
                    <a:pt x="20" y="4"/>
                  </a:moveTo>
                  <a:cubicBezTo>
                    <a:pt x="13" y="6"/>
                    <a:pt x="7" y="12"/>
                    <a:pt x="3" y="19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3" y="5"/>
                    <a:pt x="27" y="3"/>
                    <a:pt x="2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00">
              <a:extLst>
                <a:ext uri="{FF2B5EF4-FFF2-40B4-BE49-F238E27FC236}">
                  <a16:creationId xmlns:a16="http://schemas.microsoft.com/office/drawing/2014/main" id="{3BAE6C21-5F44-4AA3-8499-19F00B1FD4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701676"/>
              <a:ext cx="161925" cy="79375"/>
            </a:xfrm>
            <a:custGeom>
              <a:avLst/>
              <a:gdLst>
                <a:gd name="T0" fmla="*/ 16 w 40"/>
                <a:gd name="T1" fmla="*/ 20 h 20"/>
                <a:gd name="T2" fmla="*/ 1 w 40"/>
                <a:gd name="T3" fmla="*/ 11 h 20"/>
                <a:gd name="T4" fmla="*/ 0 w 40"/>
                <a:gd name="T5" fmla="*/ 10 h 20"/>
                <a:gd name="T6" fmla="*/ 40 w 40"/>
                <a:gd name="T7" fmla="*/ 0 h 20"/>
                <a:gd name="T8" fmla="*/ 39 w 40"/>
                <a:gd name="T9" fmla="*/ 1 h 20"/>
                <a:gd name="T10" fmla="*/ 20 w 40"/>
                <a:gd name="T11" fmla="*/ 19 h 20"/>
                <a:gd name="T12" fmla="*/ 16 w 40"/>
                <a:gd name="T13" fmla="*/ 20 h 20"/>
                <a:gd name="T14" fmla="*/ 3 w 40"/>
                <a:gd name="T15" fmla="*/ 11 h 20"/>
                <a:gd name="T16" fmla="*/ 20 w 40"/>
                <a:gd name="T17" fmla="*/ 17 h 20"/>
                <a:gd name="T18" fmla="*/ 37 w 40"/>
                <a:gd name="T19" fmla="*/ 2 h 20"/>
                <a:gd name="T20" fmla="*/ 3 w 40"/>
                <a:gd name="T21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0">
                  <a:moveTo>
                    <a:pt x="16" y="20"/>
                  </a:moveTo>
                  <a:cubicBezTo>
                    <a:pt x="9" y="20"/>
                    <a:pt x="4" y="16"/>
                    <a:pt x="1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5" y="10"/>
                    <a:pt x="28" y="17"/>
                    <a:pt x="20" y="19"/>
                  </a:cubicBezTo>
                  <a:cubicBezTo>
                    <a:pt x="19" y="19"/>
                    <a:pt x="17" y="20"/>
                    <a:pt x="16" y="20"/>
                  </a:cubicBezTo>
                  <a:close/>
                  <a:moveTo>
                    <a:pt x="3" y="11"/>
                  </a:moveTo>
                  <a:cubicBezTo>
                    <a:pt x="7" y="16"/>
                    <a:pt x="13" y="19"/>
                    <a:pt x="20" y="17"/>
                  </a:cubicBezTo>
                  <a:cubicBezTo>
                    <a:pt x="27" y="15"/>
                    <a:pt x="33" y="10"/>
                    <a:pt x="37" y="2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1">
              <a:extLst>
                <a:ext uri="{FF2B5EF4-FFF2-40B4-BE49-F238E27FC236}">
                  <a16:creationId xmlns:a16="http://schemas.microsoft.com/office/drawing/2014/main" id="{93FDD7BC-87EA-4C15-838F-DE3A9F850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8225" y="649288"/>
              <a:ext cx="177800" cy="96838"/>
            </a:xfrm>
            <a:custGeom>
              <a:avLst/>
              <a:gdLst>
                <a:gd name="T0" fmla="*/ 3 w 44"/>
                <a:gd name="T1" fmla="*/ 24 h 24"/>
                <a:gd name="T2" fmla="*/ 3 w 44"/>
                <a:gd name="T3" fmla="*/ 24 h 24"/>
                <a:gd name="T4" fmla="*/ 0 w 44"/>
                <a:gd name="T5" fmla="*/ 11 h 24"/>
                <a:gd name="T6" fmla="*/ 0 w 44"/>
                <a:gd name="T7" fmla="*/ 11 h 24"/>
                <a:gd name="T8" fmla="*/ 44 w 44"/>
                <a:gd name="T9" fmla="*/ 0 h 24"/>
                <a:gd name="T10" fmla="*/ 44 w 44"/>
                <a:gd name="T11" fmla="*/ 1 h 24"/>
                <a:gd name="T12" fmla="*/ 41 w 44"/>
                <a:gd name="T13" fmla="*/ 14 h 24"/>
                <a:gd name="T14" fmla="*/ 41 w 44"/>
                <a:gd name="T15" fmla="*/ 15 h 24"/>
                <a:gd name="T16" fmla="*/ 41 w 44"/>
                <a:gd name="T17" fmla="*/ 15 h 24"/>
                <a:gd name="T18" fmla="*/ 3 w 44"/>
                <a:gd name="T19" fmla="*/ 24 h 24"/>
                <a:gd name="T20" fmla="*/ 2 w 44"/>
                <a:gd name="T21" fmla="*/ 12 h 24"/>
                <a:gd name="T22" fmla="*/ 4 w 44"/>
                <a:gd name="T23" fmla="*/ 22 h 24"/>
                <a:gd name="T24" fmla="*/ 40 w 44"/>
                <a:gd name="T25" fmla="*/ 13 h 24"/>
                <a:gd name="T26" fmla="*/ 42 w 44"/>
                <a:gd name="T27" fmla="*/ 2 h 24"/>
                <a:gd name="T28" fmla="*/ 2 w 44"/>
                <a:gd name="T2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0"/>
                    <a:pt x="0" y="16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5"/>
                    <a:pt x="43" y="10"/>
                    <a:pt x="41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lnTo>
                    <a:pt x="3" y="24"/>
                  </a:lnTo>
                  <a:close/>
                  <a:moveTo>
                    <a:pt x="2" y="12"/>
                  </a:moveTo>
                  <a:cubicBezTo>
                    <a:pt x="2" y="16"/>
                    <a:pt x="3" y="19"/>
                    <a:pt x="4" y="2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0"/>
                    <a:pt x="42" y="6"/>
                    <a:pt x="42" y="2"/>
                  </a:cubicBezTo>
                  <a:lnTo>
                    <a:pt x="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2">
              <a:extLst>
                <a:ext uri="{FF2B5EF4-FFF2-40B4-BE49-F238E27FC236}">
                  <a16:creationId xmlns:a16="http://schemas.microsoft.com/office/drawing/2014/main" id="{914060ED-0488-4724-9B94-EBD0F18C3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8225" y="601663"/>
              <a:ext cx="177800" cy="100013"/>
            </a:xfrm>
            <a:custGeom>
              <a:avLst/>
              <a:gdLst>
                <a:gd name="T0" fmla="*/ 0 w 44"/>
                <a:gd name="T1" fmla="*/ 25 h 25"/>
                <a:gd name="T2" fmla="*/ 0 w 44"/>
                <a:gd name="T3" fmla="*/ 23 h 25"/>
                <a:gd name="T4" fmla="*/ 3 w 44"/>
                <a:gd name="T5" fmla="*/ 10 h 25"/>
                <a:gd name="T6" fmla="*/ 3 w 44"/>
                <a:gd name="T7" fmla="*/ 10 h 25"/>
                <a:gd name="T8" fmla="*/ 41 w 44"/>
                <a:gd name="T9" fmla="*/ 0 h 25"/>
                <a:gd name="T10" fmla="*/ 41 w 44"/>
                <a:gd name="T11" fmla="*/ 1 h 25"/>
                <a:gd name="T12" fmla="*/ 44 w 44"/>
                <a:gd name="T13" fmla="*/ 13 h 25"/>
                <a:gd name="T14" fmla="*/ 44 w 44"/>
                <a:gd name="T15" fmla="*/ 14 h 25"/>
                <a:gd name="T16" fmla="*/ 0 w 44"/>
                <a:gd name="T17" fmla="*/ 25 h 25"/>
                <a:gd name="T18" fmla="*/ 4 w 44"/>
                <a:gd name="T19" fmla="*/ 11 h 25"/>
                <a:gd name="T20" fmla="*/ 2 w 44"/>
                <a:gd name="T21" fmla="*/ 22 h 25"/>
                <a:gd name="T22" fmla="*/ 42 w 44"/>
                <a:gd name="T23" fmla="*/ 12 h 25"/>
                <a:gd name="T24" fmla="*/ 40 w 44"/>
                <a:gd name="T25" fmla="*/ 2 h 25"/>
                <a:gd name="T26" fmla="*/ 4 w 44"/>
                <a:gd name="T2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25">
                  <a:moveTo>
                    <a:pt x="0" y="25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9"/>
                    <a:pt x="1" y="14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3" y="4"/>
                    <a:pt x="44" y="8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0" y="25"/>
                  </a:lnTo>
                  <a:close/>
                  <a:moveTo>
                    <a:pt x="4" y="11"/>
                  </a:moveTo>
                  <a:cubicBezTo>
                    <a:pt x="3" y="15"/>
                    <a:pt x="2" y="19"/>
                    <a:pt x="2" y="2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9"/>
                    <a:pt x="41" y="5"/>
                    <a:pt x="40" y="2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03">
              <a:extLst>
                <a:ext uri="{FF2B5EF4-FFF2-40B4-BE49-F238E27FC236}">
                  <a16:creationId xmlns:a16="http://schemas.microsoft.com/office/drawing/2014/main" id="{818B2FE3-B1BC-4754-A4F2-EB7375FDE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9338" y="817563"/>
              <a:ext cx="158750" cy="44450"/>
            </a:xfrm>
            <a:custGeom>
              <a:avLst/>
              <a:gdLst>
                <a:gd name="T0" fmla="*/ 3 w 100"/>
                <a:gd name="T1" fmla="*/ 28 h 28"/>
                <a:gd name="T2" fmla="*/ 0 w 100"/>
                <a:gd name="T3" fmla="*/ 23 h 28"/>
                <a:gd name="T4" fmla="*/ 98 w 100"/>
                <a:gd name="T5" fmla="*/ 0 h 28"/>
                <a:gd name="T6" fmla="*/ 100 w 100"/>
                <a:gd name="T7" fmla="*/ 3 h 28"/>
                <a:gd name="T8" fmla="*/ 3 w 100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28">
                  <a:moveTo>
                    <a:pt x="3" y="28"/>
                  </a:moveTo>
                  <a:lnTo>
                    <a:pt x="0" y="23"/>
                  </a:lnTo>
                  <a:lnTo>
                    <a:pt x="98" y="0"/>
                  </a:lnTo>
                  <a:lnTo>
                    <a:pt x="100" y="3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99AAA343-7699-483F-AE0C-02F0FCCFF839}"/>
              </a:ext>
            </a:extLst>
          </p:cNvPr>
          <p:cNvGrpSpPr/>
          <p:nvPr/>
        </p:nvGrpSpPr>
        <p:grpSpPr>
          <a:xfrm>
            <a:off x="8123238" y="334963"/>
            <a:ext cx="758825" cy="766763"/>
            <a:chOff x="8123238" y="334963"/>
            <a:chExt cx="758825" cy="766763"/>
          </a:xfrm>
        </p:grpSpPr>
        <p:sp>
          <p:nvSpPr>
            <p:cNvPr id="145" name="AutoShape 105">
              <a:extLst>
                <a:ext uri="{FF2B5EF4-FFF2-40B4-BE49-F238E27FC236}">
                  <a16:creationId xmlns:a16="http://schemas.microsoft.com/office/drawing/2014/main" id="{F0556D72-3F93-4A8F-83DF-B2D69A2C0B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3397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07">
              <a:extLst>
                <a:ext uri="{FF2B5EF4-FFF2-40B4-BE49-F238E27FC236}">
                  <a16:creationId xmlns:a16="http://schemas.microsoft.com/office/drawing/2014/main" id="{7619762E-AEB8-4B74-A00C-A01772DF8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413" y="3349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08">
              <a:extLst>
                <a:ext uri="{FF2B5EF4-FFF2-40B4-BE49-F238E27FC236}">
                  <a16:creationId xmlns:a16="http://schemas.microsoft.com/office/drawing/2014/main" id="{67F9F872-370B-4EB7-9B63-C5CAFA4C8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426" y="517525"/>
              <a:ext cx="303213" cy="442913"/>
            </a:xfrm>
            <a:custGeom>
              <a:avLst/>
              <a:gdLst>
                <a:gd name="T0" fmla="*/ 72 w 78"/>
                <a:gd name="T1" fmla="*/ 112 h 112"/>
                <a:gd name="T2" fmla="*/ 6 w 78"/>
                <a:gd name="T3" fmla="*/ 112 h 112"/>
                <a:gd name="T4" fmla="*/ 0 w 78"/>
                <a:gd name="T5" fmla="*/ 106 h 112"/>
                <a:gd name="T6" fmla="*/ 0 w 78"/>
                <a:gd name="T7" fmla="*/ 5 h 112"/>
                <a:gd name="T8" fmla="*/ 6 w 78"/>
                <a:gd name="T9" fmla="*/ 0 h 112"/>
                <a:gd name="T10" fmla="*/ 72 w 78"/>
                <a:gd name="T11" fmla="*/ 0 h 112"/>
                <a:gd name="T12" fmla="*/ 78 w 78"/>
                <a:gd name="T13" fmla="*/ 5 h 112"/>
                <a:gd name="T14" fmla="*/ 78 w 78"/>
                <a:gd name="T15" fmla="*/ 106 h 112"/>
                <a:gd name="T16" fmla="*/ 72 w 78"/>
                <a:gd name="T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12">
                  <a:moveTo>
                    <a:pt x="72" y="112"/>
                  </a:moveTo>
                  <a:cubicBezTo>
                    <a:pt x="6" y="112"/>
                    <a:pt x="6" y="112"/>
                    <a:pt x="6" y="112"/>
                  </a:cubicBezTo>
                  <a:cubicBezTo>
                    <a:pt x="1" y="112"/>
                    <a:pt x="0" y="109"/>
                    <a:pt x="0" y="10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5" y="0"/>
                    <a:pt x="78" y="2"/>
                    <a:pt x="78" y="5"/>
                  </a:cubicBezTo>
                  <a:cubicBezTo>
                    <a:pt x="78" y="106"/>
                    <a:pt x="78" y="106"/>
                    <a:pt x="78" y="106"/>
                  </a:cubicBezTo>
                  <a:cubicBezTo>
                    <a:pt x="78" y="109"/>
                    <a:pt x="75" y="112"/>
                    <a:pt x="72" y="112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09">
              <a:extLst>
                <a:ext uri="{FF2B5EF4-FFF2-40B4-BE49-F238E27FC236}">
                  <a16:creationId xmlns:a16="http://schemas.microsoft.com/office/drawing/2014/main" id="{96A843C5-3AFF-488F-9D64-D191F83A2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426" y="438150"/>
              <a:ext cx="255588" cy="501650"/>
            </a:xfrm>
            <a:custGeom>
              <a:avLst/>
              <a:gdLst>
                <a:gd name="T0" fmla="*/ 63 w 66"/>
                <a:gd name="T1" fmla="*/ 112 h 127"/>
                <a:gd name="T2" fmla="*/ 3 w 66"/>
                <a:gd name="T3" fmla="*/ 127 h 127"/>
                <a:gd name="T4" fmla="*/ 0 w 66"/>
                <a:gd name="T5" fmla="*/ 124 h 127"/>
                <a:gd name="T6" fmla="*/ 0 w 66"/>
                <a:gd name="T7" fmla="*/ 21 h 127"/>
                <a:gd name="T8" fmla="*/ 3 w 66"/>
                <a:gd name="T9" fmla="*/ 16 h 127"/>
                <a:gd name="T10" fmla="*/ 63 w 66"/>
                <a:gd name="T11" fmla="*/ 1 h 127"/>
                <a:gd name="T12" fmla="*/ 66 w 66"/>
                <a:gd name="T13" fmla="*/ 4 h 127"/>
                <a:gd name="T14" fmla="*/ 66 w 66"/>
                <a:gd name="T15" fmla="*/ 107 h 127"/>
                <a:gd name="T16" fmla="*/ 63 w 66"/>
                <a:gd name="T17" fmla="*/ 11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27">
                  <a:moveTo>
                    <a:pt x="63" y="112"/>
                  </a:moveTo>
                  <a:cubicBezTo>
                    <a:pt x="3" y="127"/>
                    <a:pt x="3" y="127"/>
                    <a:pt x="3" y="127"/>
                  </a:cubicBezTo>
                  <a:cubicBezTo>
                    <a:pt x="1" y="127"/>
                    <a:pt x="0" y="126"/>
                    <a:pt x="0" y="12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8"/>
                    <a:pt x="1" y="16"/>
                    <a:pt x="3" y="16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4" y="0"/>
                    <a:pt x="66" y="2"/>
                    <a:pt x="66" y="4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9"/>
                    <a:pt x="64" y="112"/>
                    <a:pt x="63" y="112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10">
              <a:extLst>
                <a:ext uri="{FF2B5EF4-FFF2-40B4-BE49-F238E27FC236}">
                  <a16:creationId xmlns:a16="http://schemas.microsoft.com/office/drawing/2014/main" id="{CDCC0741-75A4-4403-B3F5-C00848731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013" y="588963"/>
              <a:ext cx="46038" cy="204788"/>
            </a:xfrm>
            <a:custGeom>
              <a:avLst/>
              <a:gdLst>
                <a:gd name="T0" fmla="*/ 0 w 12"/>
                <a:gd name="T1" fmla="*/ 52 h 52"/>
                <a:gd name="T2" fmla="*/ 0 w 12"/>
                <a:gd name="T3" fmla="*/ 50 h 52"/>
                <a:gd name="T4" fmla="*/ 10 w 12"/>
                <a:gd name="T5" fmla="*/ 24 h 52"/>
                <a:gd name="T6" fmla="*/ 2 w 12"/>
                <a:gd name="T7" fmla="*/ 3 h 52"/>
                <a:gd name="T8" fmla="*/ 0 w 12"/>
                <a:gd name="T9" fmla="*/ 2 h 52"/>
                <a:gd name="T10" fmla="*/ 0 w 12"/>
                <a:gd name="T11" fmla="*/ 0 h 52"/>
                <a:gd name="T12" fmla="*/ 4 w 12"/>
                <a:gd name="T13" fmla="*/ 1 h 52"/>
                <a:gd name="T14" fmla="*/ 12 w 12"/>
                <a:gd name="T15" fmla="*/ 24 h 52"/>
                <a:gd name="T16" fmla="*/ 0 w 1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52">
                  <a:moveTo>
                    <a:pt x="0" y="52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5" y="49"/>
                    <a:pt x="10" y="31"/>
                    <a:pt x="10" y="24"/>
                  </a:cubicBezTo>
                  <a:cubicBezTo>
                    <a:pt x="10" y="18"/>
                    <a:pt x="6" y="6"/>
                    <a:pt x="2" y="3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4" y="1"/>
                  </a:cubicBezTo>
                  <a:cubicBezTo>
                    <a:pt x="8" y="5"/>
                    <a:pt x="12" y="18"/>
                    <a:pt x="12" y="24"/>
                  </a:cubicBezTo>
                  <a:cubicBezTo>
                    <a:pt x="12" y="30"/>
                    <a:pt x="7" y="50"/>
                    <a:pt x="0" y="5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11">
              <a:extLst>
                <a:ext uri="{FF2B5EF4-FFF2-40B4-BE49-F238E27FC236}">
                  <a16:creationId xmlns:a16="http://schemas.microsoft.com/office/drawing/2014/main" id="{7417BE6F-20C3-4F5D-8D7E-FE5E88939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7251" y="592138"/>
              <a:ext cx="7938" cy="1984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2">
              <a:extLst>
                <a:ext uri="{FF2B5EF4-FFF2-40B4-BE49-F238E27FC236}">
                  <a16:creationId xmlns:a16="http://schemas.microsoft.com/office/drawing/2014/main" id="{A13A1694-DBA5-4755-89D0-6BEDF0F97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4388" y="588963"/>
              <a:ext cx="47625" cy="204788"/>
            </a:xfrm>
            <a:custGeom>
              <a:avLst/>
              <a:gdLst>
                <a:gd name="T0" fmla="*/ 11 w 12"/>
                <a:gd name="T1" fmla="*/ 52 h 52"/>
                <a:gd name="T2" fmla="*/ 8 w 12"/>
                <a:gd name="T3" fmla="*/ 51 h 52"/>
                <a:gd name="T4" fmla="*/ 0 w 12"/>
                <a:gd name="T5" fmla="*/ 29 h 52"/>
                <a:gd name="T6" fmla="*/ 12 w 12"/>
                <a:gd name="T7" fmla="*/ 0 h 52"/>
                <a:gd name="T8" fmla="*/ 12 w 12"/>
                <a:gd name="T9" fmla="*/ 2 h 52"/>
                <a:gd name="T10" fmla="*/ 2 w 12"/>
                <a:gd name="T11" fmla="*/ 29 h 52"/>
                <a:gd name="T12" fmla="*/ 10 w 12"/>
                <a:gd name="T13" fmla="*/ 49 h 52"/>
                <a:gd name="T14" fmla="*/ 12 w 12"/>
                <a:gd name="T15" fmla="*/ 50 h 52"/>
                <a:gd name="T16" fmla="*/ 12 w 12"/>
                <a:gd name="T17" fmla="*/ 52 h 52"/>
                <a:gd name="T18" fmla="*/ 11 w 1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52">
                  <a:moveTo>
                    <a:pt x="11" y="52"/>
                  </a:moveTo>
                  <a:cubicBezTo>
                    <a:pt x="10" y="52"/>
                    <a:pt x="9" y="52"/>
                    <a:pt x="8" y="51"/>
                  </a:cubicBezTo>
                  <a:cubicBezTo>
                    <a:pt x="4" y="47"/>
                    <a:pt x="0" y="34"/>
                    <a:pt x="0" y="29"/>
                  </a:cubicBezTo>
                  <a:cubicBezTo>
                    <a:pt x="0" y="22"/>
                    <a:pt x="5" y="2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7" y="3"/>
                    <a:pt x="2" y="21"/>
                    <a:pt x="2" y="29"/>
                  </a:cubicBezTo>
                  <a:cubicBezTo>
                    <a:pt x="2" y="35"/>
                    <a:pt x="6" y="46"/>
                    <a:pt x="10" y="49"/>
                  </a:cubicBezTo>
                  <a:cubicBezTo>
                    <a:pt x="10" y="50"/>
                    <a:pt x="11" y="50"/>
                    <a:pt x="12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2"/>
                    <a:pt x="11" y="5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3">
              <a:extLst>
                <a:ext uri="{FF2B5EF4-FFF2-40B4-BE49-F238E27FC236}">
                  <a16:creationId xmlns:a16="http://schemas.microsoft.com/office/drawing/2014/main" id="{07B77BC3-E8F6-466B-BCEA-78B8DC360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4226" y="581025"/>
              <a:ext cx="155575" cy="87313"/>
            </a:xfrm>
            <a:custGeom>
              <a:avLst/>
              <a:gdLst>
                <a:gd name="T0" fmla="*/ 0 w 40"/>
                <a:gd name="T1" fmla="*/ 22 h 22"/>
                <a:gd name="T2" fmla="*/ 1 w 40"/>
                <a:gd name="T3" fmla="*/ 20 h 22"/>
                <a:gd name="T4" fmla="*/ 20 w 40"/>
                <a:gd name="T5" fmla="*/ 2 h 22"/>
                <a:gd name="T6" fmla="*/ 20 w 40"/>
                <a:gd name="T7" fmla="*/ 2 h 22"/>
                <a:gd name="T8" fmla="*/ 39 w 40"/>
                <a:gd name="T9" fmla="*/ 11 h 22"/>
                <a:gd name="T10" fmla="*/ 40 w 40"/>
                <a:gd name="T11" fmla="*/ 12 h 22"/>
                <a:gd name="T12" fmla="*/ 0 w 40"/>
                <a:gd name="T13" fmla="*/ 22 h 22"/>
                <a:gd name="T14" fmla="*/ 20 w 40"/>
                <a:gd name="T15" fmla="*/ 4 h 22"/>
                <a:gd name="T16" fmla="*/ 3 w 40"/>
                <a:gd name="T17" fmla="*/ 19 h 22"/>
                <a:gd name="T18" fmla="*/ 37 w 40"/>
                <a:gd name="T19" fmla="*/ 11 h 22"/>
                <a:gd name="T20" fmla="*/ 20 w 40"/>
                <a:gd name="T2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2">
                  <a:moveTo>
                    <a:pt x="0" y="22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5" y="11"/>
                    <a:pt x="12" y="4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8" y="0"/>
                    <a:pt x="35" y="4"/>
                    <a:pt x="39" y="11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0" y="22"/>
                  </a:lnTo>
                  <a:close/>
                  <a:moveTo>
                    <a:pt x="20" y="4"/>
                  </a:moveTo>
                  <a:cubicBezTo>
                    <a:pt x="13" y="6"/>
                    <a:pt x="7" y="12"/>
                    <a:pt x="3" y="19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3" y="5"/>
                    <a:pt x="27" y="3"/>
                    <a:pt x="20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4">
              <a:extLst>
                <a:ext uri="{FF2B5EF4-FFF2-40B4-BE49-F238E27FC236}">
                  <a16:creationId xmlns:a16="http://schemas.microsoft.com/office/drawing/2014/main" id="{347DAD96-0396-4D39-976C-1382E02B4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4226" y="719138"/>
              <a:ext cx="155575" cy="79375"/>
            </a:xfrm>
            <a:custGeom>
              <a:avLst/>
              <a:gdLst>
                <a:gd name="T0" fmla="*/ 16 w 40"/>
                <a:gd name="T1" fmla="*/ 20 h 20"/>
                <a:gd name="T2" fmla="*/ 1 w 40"/>
                <a:gd name="T3" fmla="*/ 11 h 20"/>
                <a:gd name="T4" fmla="*/ 0 w 40"/>
                <a:gd name="T5" fmla="*/ 10 h 20"/>
                <a:gd name="T6" fmla="*/ 40 w 40"/>
                <a:gd name="T7" fmla="*/ 0 h 20"/>
                <a:gd name="T8" fmla="*/ 39 w 40"/>
                <a:gd name="T9" fmla="*/ 1 h 20"/>
                <a:gd name="T10" fmla="*/ 20 w 40"/>
                <a:gd name="T11" fmla="*/ 19 h 20"/>
                <a:gd name="T12" fmla="*/ 16 w 40"/>
                <a:gd name="T13" fmla="*/ 20 h 20"/>
                <a:gd name="T14" fmla="*/ 3 w 40"/>
                <a:gd name="T15" fmla="*/ 11 h 20"/>
                <a:gd name="T16" fmla="*/ 20 w 40"/>
                <a:gd name="T17" fmla="*/ 17 h 20"/>
                <a:gd name="T18" fmla="*/ 37 w 40"/>
                <a:gd name="T19" fmla="*/ 2 h 20"/>
                <a:gd name="T20" fmla="*/ 3 w 40"/>
                <a:gd name="T21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20">
                  <a:moveTo>
                    <a:pt x="16" y="20"/>
                  </a:moveTo>
                  <a:cubicBezTo>
                    <a:pt x="9" y="20"/>
                    <a:pt x="4" y="16"/>
                    <a:pt x="1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5" y="10"/>
                    <a:pt x="28" y="17"/>
                    <a:pt x="20" y="19"/>
                  </a:cubicBezTo>
                  <a:cubicBezTo>
                    <a:pt x="19" y="19"/>
                    <a:pt x="17" y="20"/>
                    <a:pt x="16" y="20"/>
                  </a:cubicBezTo>
                  <a:close/>
                  <a:moveTo>
                    <a:pt x="3" y="11"/>
                  </a:moveTo>
                  <a:cubicBezTo>
                    <a:pt x="7" y="16"/>
                    <a:pt x="13" y="19"/>
                    <a:pt x="20" y="17"/>
                  </a:cubicBezTo>
                  <a:cubicBezTo>
                    <a:pt x="27" y="15"/>
                    <a:pt x="33" y="10"/>
                    <a:pt x="37" y="2"/>
                  </a:cubicBezTo>
                  <a:lnTo>
                    <a:pt x="3" y="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5">
              <a:extLst>
                <a:ext uri="{FF2B5EF4-FFF2-40B4-BE49-F238E27FC236}">
                  <a16:creationId xmlns:a16="http://schemas.microsoft.com/office/drawing/2014/main" id="{AF67D2B7-6712-4F56-A4D7-0F1C3A866E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6288" y="668338"/>
              <a:ext cx="169863" cy="93663"/>
            </a:xfrm>
            <a:custGeom>
              <a:avLst/>
              <a:gdLst>
                <a:gd name="T0" fmla="*/ 3 w 44"/>
                <a:gd name="T1" fmla="*/ 24 h 24"/>
                <a:gd name="T2" fmla="*/ 3 w 44"/>
                <a:gd name="T3" fmla="*/ 24 h 24"/>
                <a:gd name="T4" fmla="*/ 0 w 44"/>
                <a:gd name="T5" fmla="*/ 11 h 24"/>
                <a:gd name="T6" fmla="*/ 0 w 44"/>
                <a:gd name="T7" fmla="*/ 11 h 24"/>
                <a:gd name="T8" fmla="*/ 44 w 44"/>
                <a:gd name="T9" fmla="*/ 0 h 24"/>
                <a:gd name="T10" fmla="*/ 44 w 44"/>
                <a:gd name="T11" fmla="*/ 1 h 24"/>
                <a:gd name="T12" fmla="*/ 41 w 44"/>
                <a:gd name="T13" fmla="*/ 14 h 24"/>
                <a:gd name="T14" fmla="*/ 41 w 44"/>
                <a:gd name="T15" fmla="*/ 15 h 24"/>
                <a:gd name="T16" fmla="*/ 41 w 44"/>
                <a:gd name="T17" fmla="*/ 15 h 24"/>
                <a:gd name="T18" fmla="*/ 3 w 44"/>
                <a:gd name="T19" fmla="*/ 24 h 24"/>
                <a:gd name="T20" fmla="*/ 2 w 44"/>
                <a:gd name="T21" fmla="*/ 12 h 24"/>
                <a:gd name="T22" fmla="*/ 4 w 44"/>
                <a:gd name="T23" fmla="*/ 22 h 24"/>
                <a:gd name="T24" fmla="*/ 40 w 44"/>
                <a:gd name="T25" fmla="*/ 13 h 24"/>
                <a:gd name="T26" fmla="*/ 42 w 44"/>
                <a:gd name="T27" fmla="*/ 2 h 24"/>
                <a:gd name="T28" fmla="*/ 2 w 44"/>
                <a:gd name="T2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24">
                  <a:moveTo>
                    <a:pt x="3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1" y="20"/>
                    <a:pt x="0" y="16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5"/>
                    <a:pt x="43" y="10"/>
                    <a:pt x="41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lnTo>
                    <a:pt x="3" y="24"/>
                  </a:lnTo>
                  <a:close/>
                  <a:moveTo>
                    <a:pt x="2" y="12"/>
                  </a:moveTo>
                  <a:cubicBezTo>
                    <a:pt x="2" y="16"/>
                    <a:pt x="3" y="19"/>
                    <a:pt x="4" y="2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0"/>
                    <a:pt x="42" y="6"/>
                    <a:pt x="42" y="2"/>
                  </a:cubicBezTo>
                  <a:lnTo>
                    <a:pt x="2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6">
              <a:extLst>
                <a:ext uri="{FF2B5EF4-FFF2-40B4-BE49-F238E27FC236}">
                  <a16:creationId xmlns:a16="http://schemas.microsoft.com/office/drawing/2014/main" id="{46A76A8C-B287-4F52-9C36-4239797407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6288" y="620713"/>
              <a:ext cx="169863" cy="98425"/>
            </a:xfrm>
            <a:custGeom>
              <a:avLst/>
              <a:gdLst>
                <a:gd name="T0" fmla="*/ 0 w 44"/>
                <a:gd name="T1" fmla="*/ 25 h 25"/>
                <a:gd name="T2" fmla="*/ 0 w 44"/>
                <a:gd name="T3" fmla="*/ 23 h 25"/>
                <a:gd name="T4" fmla="*/ 3 w 44"/>
                <a:gd name="T5" fmla="*/ 10 h 25"/>
                <a:gd name="T6" fmla="*/ 3 w 44"/>
                <a:gd name="T7" fmla="*/ 10 h 25"/>
                <a:gd name="T8" fmla="*/ 41 w 44"/>
                <a:gd name="T9" fmla="*/ 0 h 25"/>
                <a:gd name="T10" fmla="*/ 41 w 44"/>
                <a:gd name="T11" fmla="*/ 1 h 25"/>
                <a:gd name="T12" fmla="*/ 44 w 44"/>
                <a:gd name="T13" fmla="*/ 13 h 25"/>
                <a:gd name="T14" fmla="*/ 44 w 44"/>
                <a:gd name="T15" fmla="*/ 14 h 25"/>
                <a:gd name="T16" fmla="*/ 0 w 44"/>
                <a:gd name="T17" fmla="*/ 25 h 25"/>
                <a:gd name="T18" fmla="*/ 4 w 44"/>
                <a:gd name="T19" fmla="*/ 11 h 25"/>
                <a:gd name="T20" fmla="*/ 2 w 44"/>
                <a:gd name="T21" fmla="*/ 22 h 25"/>
                <a:gd name="T22" fmla="*/ 42 w 44"/>
                <a:gd name="T23" fmla="*/ 12 h 25"/>
                <a:gd name="T24" fmla="*/ 40 w 44"/>
                <a:gd name="T25" fmla="*/ 2 h 25"/>
                <a:gd name="T26" fmla="*/ 4 w 44"/>
                <a:gd name="T2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25">
                  <a:moveTo>
                    <a:pt x="0" y="25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9"/>
                    <a:pt x="1" y="14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3" y="4"/>
                    <a:pt x="44" y="8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lnTo>
                    <a:pt x="0" y="25"/>
                  </a:lnTo>
                  <a:close/>
                  <a:moveTo>
                    <a:pt x="4" y="11"/>
                  </a:moveTo>
                  <a:cubicBezTo>
                    <a:pt x="3" y="15"/>
                    <a:pt x="2" y="19"/>
                    <a:pt x="2" y="2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9"/>
                    <a:pt x="41" y="5"/>
                    <a:pt x="40" y="2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17">
              <a:extLst>
                <a:ext uri="{FF2B5EF4-FFF2-40B4-BE49-F238E27FC236}">
                  <a16:creationId xmlns:a16="http://schemas.microsoft.com/office/drawing/2014/main" id="{8B77DD5E-0894-45EA-A05F-0D6D10B6F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7401" y="833438"/>
              <a:ext cx="152400" cy="42863"/>
            </a:xfrm>
            <a:custGeom>
              <a:avLst/>
              <a:gdLst>
                <a:gd name="T0" fmla="*/ 2 w 96"/>
                <a:gd name="T1" fmla="*/ 27 h 27"/>
                <a:gd name="T2" fmla="*/ 0 w 96"/>
                <a:gd name="T3" fmla="*/ 22 h 27"/>
                <a:gd name="T4" fmla="*/ 93 w 96"/>
                <a:gd name="T5" fmla="*/ 0 h 27"/>
                <a:gd name="T6" fmla="*/ 96 w 96"/>
                <a:gd name="T7" fmla="*/ 3 h 27"/>
                <a:gd name="T8" fmla="*/ 2 w 96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27">
                  <a:moveTo>
                    <a:pt x="2" y="27"/>
                  </a:moveTo>
                  <a:lnTo>
                    <a:pt x="0" y="22"/>
                  </a:lnTo>
                  <a:lnTo>
                    <a:pt x="93" y="0"/>
                  </a:lnTo>
                  <a:lnTo>
                    <a:pt x="96" y="3"/>
                  </a:lnTo>
                  <a:lnTo>
                    <a:pt x="2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BD32D92C-005C-4425-A2AB-51C078865C83}"/>
              </a:ext>
            </a:extLst>
          </p:cNvPr>
          <p:cNvGrpSpPr/>
          <p:nvPr/>
        </p:nvGrpSpPr>
        <p:grpSpPr>
          <a:xfrm>
            <a:off x="403225" y="1592263"/>
            <a:ext cx="844550" cy="841375"/>
            <a:chOff x="403225" y="1592263"/>
            <a:chExt cx="844550" cy="841375"/>
          </a:xfrm>
        </p:grpSpPr>
        <p:sp>
          <p:nvSpPr>
            <p:cNvPr id="159" name="AutoShape 119">
              <a:extLst>
                <a:ext uri="{FF2B5EF4-FFF2-40B4-BE49-F238E27FC236}">
                  <a16:creationId xmlns:a16="http://schemas.microsoft.com/office/drawing/2014/main" id="{8DF7C934-A3B6-4B39-9298-DDFE8AD58F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3225" y="15922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21">
              <a:extLst>
                <a:ext uri="{FF2B5EF4-FFF2-40B4-BE49-F238E27FC236}">
                  <a16:creationId xmlns:a16="http://schemas.microsoft.com/office/drawing/2014/main" id="{0CD7F2CC-57A3-4DD4-B51A-70A0D5D82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" y="15954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22">
              <a:extLst>
                <a:ext uri="{FF2B5EF4-FFF2-40B4-BE49-F238E27FC236}">
                  <a16:creationId xmlns:a16="http://schemas.microsoft.com/office/drawing/2014/main" id="{63CA75B7-34CA-41BC-A1E4-EADF983167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800" y="16240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23">
              <a:extLst>
                <a:ext uri="{FF2B5EF4-FFF2-40B4-BE49-F238E27FC236}">
                  <a16:creationId xmlns:a16="http://schemas.microsoft.com/office/drawing/2014/main" id="{3DAADB8E-34F1-4EF2-A779-464E45FDF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63" y="1836738"/>
              <a:ext cx="512763" cy="120650"/>
            </a:xfrm>
            <a:custGeom>
              <a:avLst/>
              <a:gdLst>
                <a:gd name="T0" fmla="*/ 96 w 126"/>
                <a:gd name="T1" fmla="*/ 15 h 30"/>
                <a:gd name="T2" fmla="*/ 111 w 126"/>
                <a:gd name="T3" fmla="*/ 0 h 30"/>
                <a:gd name="T4" fmla="*/ 126 w 126"/>
                <a:gd name="T5" fmla="*/ 15 h 30"/>
                <a:gd name="T6" fmla="*/ 111 w 126"/>
                <a:gd name="T7" fmla="*/ 30 h 30"/>
                <a:gd name="T8" fmla="*/ 0 w 126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30">
                  <a:moveTo>
                    <a:pt x="96" y="15"/>
                  </a:moveTo>
                  <a:cubicBezTo>
                    <a:pt x="96" y="6"/>
                    <a:pt x="103" y="0"/>
                    <a:pt x="111" y="0"/>
                  </a:cubicBezTo>
                  <a:cubicBezTo>
                    <a:pt x="120" y="0"/>
                    <a:pt x="126" y="6"/>
                    <a:pt x="126" y="15"/>
                  </a:cubicBezTo>
                  <a:cubicBezTo>
                    <a:pt x="126" y="23"/>
                    <a:pt x="120" y="30"/>
                    <a:pt x="111" y="30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no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24">
              <a:extLst>
                <a:ext uri="{FF2B5EF4-FFF2-40B4-BE49-F238E27FC236}">
                  <a16:creationId xmlns:a16="http://schemas.microsoft.com/office/drawing/2014/main" id="{A2C05BFA-4175-4307-82EC-4D57E7345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" y="2008188"/>
              <a:ext cx="515938" cy="125413"/>
            </a:xfrm>
            <a:custGeom>
              <a:avLst/>
              <a:gdLst>
                <a:gd name="T0" fmla="*/ 97 w 127"/>
                <a:gd name="T1" fmla="*/ 15 h 31"/>
                <a:gd name="T2" fmla="*/ 112 w 127"/>
                <a:gd name="T3" fmla="*/ 31 h 31"/>
                <a:gd name="T4" fmla="*/ 127 w 127"/>
                <a:gd name="T5" fmla="*/ 15 h 31"/>
                <a:gd name="T6" fmla="*/ 112 w 127"/>
                <a:gd name="T7" fmla="*/ 0 h 31"/>
                <a:gd name="T8" fmla="*/ 0 w 12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31">
                  <a:moveTo>
                    <a:pt x="97" y="15"/>
                  </a:moveTo>
                  <a:cubicBezTo>
                    <a:pt x="97" y="24"/>
                    <a:pt x="103" y="31"/>
                    <a:pt x="112" y="31"/>
                  </a:cubicBezTo>
                  <a:cubicBezTo>
                    <a:pt x="120" y="31"/>
                    <a:pt x="127" y="24"/>
                    <a:pt x="127" y="15"/>
                  </a:cubicBezTo>
                  <a:cubicBezTo>
                    <a:pt x="127" y="7"/>
                    <a:pt x="120" y="0"/>
                    <a:pt x="11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25">
              <a:extLst>
                <a:ext uri="{FF2B5EF4-FFF2-40B4-BE49-F238E27FC236}">
                  <a16:creationId xmlns:a16="http://schemas.microsoft.com/office/drawing/2014/main" id="{F9FE0052-372B-4399-9AB8-6C8735FE0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88" y="2068513"/>
              <a:ext cx="328613" cy="76200"/>
            </a:xfrm>
            <a:custGeom>
              <a:avLst/>
              <a:gdLst>
                <a:gd name="T0" fmla="*/ 62 w 81"/>
                <a:gd name="T1" fmla="*/ 10 h 19"/>
                <a:gd name="T2" fmla="*/ 72 w 81"/>
                <a:gd name="T3" fmla="*/ 19 h 19"/>
                <a:gd name="T4" fmla="*/ 81 w 81"/>
                <a:gd name="T5" fmla="*/ 10 h 19"/>
                <a:gd name="T6" fmla="*/ 72 w 81"/>
                <a:gd name="T7" fmla="*/ 0 h 19"/>
                <a:gd name="T8" fmla="*/ 0 w 8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9">
                  <a:moveTo>
                    <a:pt x="62" y="10"/>
                  </a:moveTo>
                  <a:cubicBezTo>
                    <a:pt x="62" y="15"/>
                    <a:pt x="66" y="19"/>
                    <a:pt x="72" y="19"/>
                  </a:cubicBezTo>
                  <a:cubicBezTo>
                    <a:pt x="77" y="19"/>
                    <a:pt x="81" y="15"/>
                    <a:pt x="81" y="10"/>
                  </a:cubicBezTo>
                  <a:cubicBezTo>
                    <a:pt x="81" y="4"/>
                    <a:pt x="77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31D14687-2FBF-473A-A8D6-66FAD6526938}"/>
              </a:ext>
            </a:extLst>
          </p:cNvPr>
          <p:cNvGrpSpPr/>
          <p:nvPr/>
        </p:nvGrpSpPr>
        <p:grpSpPr>
          <a:xfrm>
            <a:off x="1428750" y="1617663"/>
            <a:ext cx="760413" cy="766763"/>
            <a:chOff x="1428750" y="1617663"/>
            <a:chExt cx="760413" cy="766763"/>
          </a:xfrm>
        </p:grpSpPr>
        <p:sp>
          <p:nvSpPr>
            <p:cNvPr id="167" name="AutoShape 127">
              <a:extLst>
                <a:ext uri="{FF2B5EF4-FFF2-40B4-BE49-F238E27FC236}">
                  <a16:creationId xmlns:a16="http://schemas.microsoft.com/office/drawing/2014/main" id="{5E43C482-F511-43B2-B235-C8CCB692C5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8750" y="1622425"/>
              <a:ext cx="760413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29">
              <a:extLst>
                <a:ext uri="{FF2B5EF4-FFF2-40B4-BE49-F238E27FC236}">
                  <a16:creationId xmlns:a16="http://schemas.microsoft.com/office/drawing/2014/main" id="{2F2CC611-DCFF-4432-BC57-B38FCD6949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1925" y="1617663"/>
              <a:ext cx="757238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0">
              <a:extLst>
                <a:ext uri="{FF2B5EF4-FFF2-40B4-BE49-F238E27FC236}">
                  <a16:creationId xmlns:a16="http://schemas.microsoft.com/office/drawing/2014/main" id="{6E22C737-67C8-40D7-950E-5CC0BB5DF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0" y="1827213"/>
              <a:ext cx="492125" cy="119063"/>
            </a:xfrm>
            <a:custGeom>
              <a:avLst/>
              <a:gdLst>
                <a:gd name="T0" fmla="*/ 96 w 126"/>
                <a:gd name="T1" fmla="*/ 15 h 30"/>
                <a:gd name="T2" fmla="*/ 111 w 126"/>
                <a:gd name="T3" fmla="*/ 0 h 30"/>
                <a:gd name="T4" fmla="*/ 126 w 126"/>
                <a:gd name="T5" fmla="*/ 15 h 30"/>
                <a:gd name="T6" fmla="*/ 111 w 126"/>
                <a:gd name="T7" fmla="*/ 30 h 30"/>
                <a:gd name="T8" fmla="*/ 0 w 126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30">
                  <a:moveTo>
                    <a:pt x="96" y="15"/>
                  </a:moveTo>
                  <a:cubicBezTo>
                    <a:pt x="96" y="6"/>
                    <a:pt x="103" y="0"/>
                    <a:pt x="111" y="0"/>
                  </a:cubicBezTo>
                  <a:cubicBezTo>
                    <a:pt x="120" y="0"/>
                    <a:pt x="126" y="6"/>
                    <a:pt x="126" y="15"/>
                  </a:cubicBezTo>
                  <a:cubicBezTo>
                    <a:pt x="126" y="23"/>
                    <a:pt x="120" y="30"/>
                    <a:pt x="111" y="30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noFill/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31">
              <a:extLst>
                <a:ext uri="{FF2B5EF4-FFF2-40B4-BE49-F238E27FC236}">
                  <a16:creationId xmlns:a16="http://schemas.microsoft.com/office/drawing/2014/main" id="{745957E0-C0E7-4DDA-BB1D-B8EABA7DE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200" y="1997075"/>
              <a:ext cx="495300" cy="123825"/>
            </a:xfrm>
            <a:custGeom>
              <a:avLst/>
              <a:gdLst>
                <a:gd name="T0" fmla="*/ 97 w 127"/>
                <a:gd name="T1" fmla="*/ 15 h 31"/>
                <a:gd name="T2" fmla="*/ 112 w 127"/>
                <a:gd name="T3" fmla="*/ 31 h 31"/>
                <a:gd name="T4" fmla="*/ 127 w 127"/>
                <a:gd name="T5" fmla="*/ 15 h 31"/>
                <a:gd name="T6" fmla="*/ 112 w 127"/>
                <a:gd name="T7" fmla="*/ 0 h 31"/>
                <a:gd name="T8" fmla="*/ 0 w 12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31">
                  <a:moveTo>
                    <a:pt x="97" y="15"/>
                  </a:moveTo>
                  <a:cubicBezTo>
                    <a:pt x="97" y="24"/>
                    <a:pt x="103" y="31"/>
                    <a:pt x="112" y="31"/>
                  </a:cubicBezTo>
                  <a:cubicBezTo>
                    <a:pt x="120" y="31"/>
                    <a:pt x="127" y="24"/>
                    <a:pt x="127" y="15"/>
                  </a:cubicBezTo>
                  <a:cubicBezTo>
                    <a:pt x="127" y="7"/>
                    <a:pt x="120" y="0"/>
                    <a:pt x="11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32">
              <a:extLst>
                <a:ext uri="{FF2B5EF4-FFF2-40B4-BE49-F238E27FC236}">
                  <a16:creationId xmlns:a16="http://schemas.microsoft.com/office/drawing/2014/main" id="{6360FDF9-293A-45AF-BA91-F066D5E5F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2057400"/>
              <a:ext cx="315913" cy="74613"/>
            </a:xfrm>
            <a:custGeom>
              <a:avLst/>
              <a:gdLst>
                <a:gd name="T0" fmla="*/ 62 w 81"/>
                <a:gd name="T1" fmla="*/ 10 h 19"/>
                <a:gd name="T2" fmla="*/ 72 w 81"/>
                <a:gd name="T3" fmla="*/ 19 h 19"/>
                <a:gd name="T4" fmla="*/ 81 w 81"/>
                <a:gd name="T5" fmla="*/ 10 h 19"/>
                <a:gd name="T6" fmla="*/ 72 w 81"/>
                <a:gd name="T7" fmla="*/ 0 h 19"/>
                <a:gd name="T8" fmla="*/ 0 w 81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9">
                  <a:moveTo>
                    <a:pt x="62" y="10"/>
                  </a:moveTo>
                  <a:cubicBezTo>
                    <a:pt x="62" y="15"/>
                    <a:pt x="66" y="19"/>
                    <a:pt x="72" y="19"/>
                  </a:cubicBezTo>
                  <a:cubicBezTo>
                    <a:pt x="77" y="19"/>
                    <a:pt x="81" y="15"/>
                    <a:pt x="81" y="10"/>
                  </a:cubicBezTo>
                  <a:cubicBezTo>
                    <a:pt x="81" y="4"/>
                    <a:pt x="77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37FC9C87-B437-46B5-B680-C80C0A9EAA54}"/>
              </a:ext>
            </a:extLst>
          </p:cNvPr>
          <p:cNvGrpSpPr/>
          <p:nvPr/>
        </p:nvGrpSpPr>
        <p:grpSpPr>
          <a:xfrm>
            <a:off x="2598738" y="1592263"/>
            <a:ext cx="844550" cy="841375"/>
            <a:chOff x="2598738" y="1592263"/>
            <a:chExt cx="844550" cy="841375"/>
          </a:xfrm>
        </p:grpSpPr>
        <p:sp>
          <p:nvSpPr>
            <p:cNvPr id="174" name="AutoShape 134">
              <a:extLst>
                <a:ext uri="{FF2B5EF4-FFF2-40B4-BE49-F238E27FC236}">
                  <a16:creationId xmlns:a16="http://schemas.microsoft.com/office/drawing/2014/main" id="{1523BEA9-A01D-407D-B707-A848C18B64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8738" y="15922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36">
              <a:extLst>
                <a:ext uri="{FF2B5EF4-FFF2-40B4-BE49-F238E27FC236}">
                  <a16:creationId xmlns:a16="http://schemas.microsoft.com/office/drawing/2014/main" id="{69A9ABDC-B235-4D1D-A35C-E31713CD14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8738" y="15954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37">
              <a:extLst>
                <a:ext uri="{FF2B5EF4-FFF2-40B4-BE49-F238E27FC236}">
                  <a16:creationId xmlns:a16="http://schemas.microsoft.com/office/drawing/2014/main" id="{97641D39-49F6-428A-A4F9-5BA995F78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7313" y="16240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38">
              <a:extLst>
                <a:ext uri="{FF2B5EF4-FFF2-40B4-BE49-F238E27FC236}">
                  <a16:creationId xmlns:a16="http://schemas.microsoft.com/office/drawing/2014/main" id="{6846B997-4024-49F4-9E2C-BB3D5BC1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288" y="1712913"/>
              <a:ext cx="171450" cy="300038"/>
            </a:xfrm>
            <a:custGeom>
              <a:avLst/>
              <a:gdLst>
                <a:gd name="T0" fmla="*/ 42 w 42"/>
                <a:gd name="T1" fmla="*/ 54 h 75"/>
                <a:gd name="T2" fmla="*/ 21 w 42"/>
                <a:gd name="T3" fmla="*/ 75 h 75"/>
                <a:gd name="T4" fmla="*/ 0 w 42"/>
                <a:gd name="T5" fmla="*/ 54 h 75"/>
                <a:gd name="T6" fmla="*/ 21 w 42"/>
                <a:gd name="T7" fmla="*/ 0 h 75"/>
                <a:gd name="T8" fmla="*/ 42 w 42"/>
                <a:gd name="T9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75">
                  <a:moveTo>
                    <a:pt x="42" y="54"/>
                  </a:moveTo>
                  <a:cubicBezTo>
                    <a:pt x="42" y="66"/>
                    <a:pt x="33" y="75"/>
                    <a:pt x="21" y="75"/>
                  </a:cubicBezTo>
                  <a:cubicBezTo>
                    <a:pt x="9" y="75"/>
                    <a:pt x="0" y="66"/>
                    <a:pt x="0" y="54"/>
                  </a:cubicBezTo>
                  <a:cubicBezTo>
                    <a:pt x="0" y="42"/>
                    <a:pt x="21" y="0"/>
                    <a:pt x="21" y="0"/>
                  </a:cubicBezTo>
                  <a:cubicBezTo>
                    <a:pt x="21" y="0"/>
                    <a:pt x="42" y="42"/>
                    <a:pt x="42" y="54"/>
                  </a:cubicBezTo>
                  <a:close/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39">
              <a:extLst>
                <a:ext uri="{FF2B5EF4-FFF2-40B4-BE49-F238E27FC236}">
                  <a16:creationId xmlns:a16="http://schemas.microsoft.com/office/drawing/2014/main" id="{3F5520CE-DFCE-44D5-AFA0-A04730518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6563" y="1808163"/>
              <a:ext cx="96838" cy="176213"/>
            </a:xfrm>
            <a:custGeom>
              <a:avLst/>
              <a:gdLst>
                <a:gd name="T0" fmla="*/ 12 w 24"/>
                <a:gd name="T1" fmla="*/ 0 h 44"/>
                <a:gd name="T2" fmla="*/ 22 w 24"/>
                <a:gd name="T3" fmla="*/ 28 h 44"/>
                <a:gd name="T4" fmla="*/ 9 w 24"/>
                <a:gd name="T5" fmla="*/ 41 h 44"/>
                <a:gd name="T6" fmla="*/ 0 w 24"/>
                <a:gd name="T7" fmla="*/ 38 h 44"/>
                <a:gd name="T8" fmla="*/ 11 w 24"/>
                <a:gd name="T9" fmla="*/ 44 h 44"/>
                <a:gd name="T10" fmla="*/ 24 w 24"/>
                <a:gd name="T11" fmla="*/ 31 h 44"/>
                <a:gd name="T12" fmla="*/ 12 w 24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4">
                  <a:moveTo>
                    <a:pt x="12" y="0"/>
                  </a:moveTo>
                  <a:cubicBezTo>
                    <a:pt x="16" y="9"/>
                    <a:pt x="22" y="23"/>
                    <a:pt x="22" y="28"/>
                  </a:cubicBezTo>
                  <a:cubicBezTo>
                    <a:pt x="22" y="35"/>
                    <a:pt x="16" y="41"/>
                    <a:pt x="9" y="41"/>
                  </a:cubicBezTo>
                  <a:cubicBezTo>
                    <a:pt x="5" y="41"/>
                    <a:pt x="2" y="40"/>
                    <a:pt x="0" y="38"/>
                  </a:cubicBezTo>
                  <a:cubicBezTo>
                    <a:pt x="2" y="42"/>
                    <a:pt x="6" y="44"/>
                    <a:pt x="11" y="44"/>
                  </a:cubicBezTo>
                  <a:cubicBezTo>
                    <a:pt x="18" y="44"/>
                    <a:pt x="24" y="38"/>
                    <a:pt x="24" y="31"/>
                  </a:cubicBezTo>
                  <a:cubicBezTo>
                    <a:pt x="24" y="25"/>
                    <a:pt x="14" y="6"/>
                    <a:pt x="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Oval 140">
              <a:extLst>
                <a:ext uri="{FF2B5EF4-FFF2-40B4-BE49-F238E27FC236}">
                  <a16:creationId xmlns:a16="http://schemas.microsoft.com/office/drawing/2014/main" id="{3AFFA8E5-894F-45D4-812E-4A038463A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8626" y="2097088"/>
              <a:ext cx="104775" cy="31750"/>
            </a:xfrm>
            <a:prstGeom prst="ellips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Oval 141">
              <a:extLst>
                <a:ext uri="{FF2B5EF4-FFF2-40B4-BE49-F238E27FC236}">
                  <a16:creationId xmlns:a16="http://schemas.microsoft.com/office/drawing/2014/main" id="{6217C326-9A7C-4381-BEAD-965023059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6388" y="2057401"/>
              <a:ext cx="349250" cy="128588"/>
            </a:xfrm>
            <a:prstGeom prst="ellips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Oval 142">
              <a:extLst>
                <a:ext uri="{FF2B5EF4-FFF2-40B4-BE49-F238E27FC236}">
                  <a16:creationId xmlns:a16="http://schemas.microsoft.com/office/drawing/2014/main" id="{2F5B5FB4-44BE-4273-A8BB-70CC28E41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4151" y="2033588"/>
              <a:ext cx="590550" cy="219075"/>
            </a:xfrm>
            <a:prstGeom prst="ellips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FB381B68-70FA-4511-9CC0-7F5E85EFF156}"/>
              </a:ext>
            </a:extLst>
          </p:cNvPr>
          <p:cNvGrpSpPr/>
          <p:nvPr/>
        </p:nvGrpSpPr>
        <p:grpSpPr>
          <a:xfrm>
            <a:off x="3641725" y="1601788"/>
            <a:ext cx="758825" cy="766763"/>
            <a:chOff x="3641725" y="1601788"/>
            <a:chExt cx="758825" cy="766763"/>
          </a:xfrm>
        </p:grpSpPr>
        <p:sp>
          <p:nvSpPr>
            <p:cNvPr id="184" name="AutoShape 144">
              <a:extLst>
                <a:ext uri="{FF2B5EF4-FFF2-40B4-BE49-F238E27FC236}">
                  <a16:creationId xmlns:a16="http://schemas.microsoft.com/office/drawing/2014/main" id="{60EAB674-0F50-4937-ABBC-7B8A96B114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1725" y="160655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46">
              <a:extLst>
                <a:ext uri="{FF2B5EF4-FFF2-40B4-BE49-F238E27FC236}">
                  <a16:creationId xmlns:a16="http://schemas.microsoft.com/office/drawing/2014/main" id="{34299A1A-5DD5-4C20-9EE0-9DDCBD9A3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4900" y="1601788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47">
              <a:extLst>
                <a:ext uri="{FF2B5EF4-FFF2-40B4-BE49-F238E27FC236}">
                  <a16:creationId xmlns:a16="http://schemas.microsoft.com/office/drawing/2014/main" id="{563B5726-D2C2-408E-8200-E03BC14DB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1689100"/>
              <a:ext cx="163513" cy="296863"/>
            </a:xfrm>
            <a:custGeom>
              <a:avLst/>
              <a:gdLst>
                <a:gd name="T0" fmla="*/ 42 w 42"/>
                <a:gd name="T1" fmla="*/ 54 h 75"/>
                <a:gd name="T2" fmla="*/ 21 w 42"/>
                <a:gd name="T3" fmla="*/ 75 h 75"/>
                <a:gd name="T4" fmla="*/ 0 w 42"/>
                <a:gd name="T5" fmla="*/ 54 h 75"/>
                <a:gd name="T6" fmla="*/ 21 w 42"/>
                <a:gd name="T7" fmla="*/ 0 h 75"/>
                <a:gd name="T8" fmla="*/ 42 w 42"/>
                <a:gd name="T9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75">
                  <a:moveTo>
                    <a:pt x="42" y="54"/>
                  </a:moveTo>
                  <a:cubicBezTo>
                    <a:pt x="42" y="66"/>
                    <a:pt x="33" y="75"/>
                    <a:pt x="21" y="75"/>
                  </a:cubicBezTo>
                  <a:cubicBezTo>
                    <a:pt x="9" y="75"/>
                    <a:pt x="0" y="66"/>
                    <a:pt x="0" y="54"/>
                  </a:cubicBezTo>
                  <a:cubicBezTo>
                    <a:pt x="0" y="42"/>
                    <a:pt x="21" y="0"/>
                    <a:pt x="21" y="0"/>
                  </a:cubicBezTo>
                  <a:cubicBezTo>
                    <a:pt x="21" y="0"/>
                    <a:pt x="42" y="42"/>
                    <a:pt x="42" y="54"/>
                  </a:cubicBezTo>
                  <a:close/>
                </a:path>
              </a:pathLst>
            </a:cu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48">
              <a:extLst>
                <a:ext uri="{FF2B5EF4-FFF2-40B4-BE49-F238E27FC236}">
                  <a16:creationId xmlns:a16="http://schemas.microsoft.com/office/drawing/2014/main" id="{717A57EF-1863-42B0-83C5-B46BD7FD5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863" y="1784350"/>
              <a:ext cx="93663" cy="173038"/>
            </a:xfrm>
            <a:custGeom>
              <a:avLst/>
              <a:gdLst>
                <a:gd name="T0" fmla="*/ 12 w 24"/>
                <a:gd name="T1" fmla="*/ 0 h 44"/>
                <a:gd name="T2" fmla="*/ 22 w 24"/>
                <a:gd name="T3" fmla="*/ 28 h 44"/>
                <a:gd name="T4" fmla="*/ 9 w 24"/>
                <a:gd name="T5" fmla="*/ 41 h 44"/>
                <a:gd name="T6" fmla="*/ 0 w 24"/>
                <a:gd name="T7" fmla="*/ 38 h 44"/>
                <a:gd name="T8" fmla="*/ 11 w 24"/>
                <a:gd name="T9" fmla="*/ 44 h 44"/>
                <a:gd name="T10" fmla="*/ 24 w 24"/>
                <a:gd name="T11" fmla="*/ 31 h 44"/>
                <a:gd name="T12" fmla="*/ 12 w 24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4">
                  <a:moveTo>
                    <a:pt x="12" y="0"/>
                  </a:moveTo>
                  <a:cubicBezTo>
                    <a:pt x="16" y="9"/>
                    <a:pt x="22" y="23"/>
                    <a:pt x="22" y="28"/>
                  </a:cubicBezTo>
                  <a:cubicBezTo>
                    <a:pt x="22" y="35"/>
                    <a:pt x="16" y="41"/>
                    <a:pt x="9" y="41"/>
                  </a:cubicBezTo>
                  <a:cubicBezTo>
                    <a:pt x="5" y="41"/>
                    <a:pt x="2" y="40"/>
                    <a:pt x="0" y="38"/>
                  </a:cubicBezTo>
                  <a:cubicBezTo>
                    <a:pt x="2" y="42"/>
                    <a:pt x="6" y="44"/>
                    <a:pt x="11" y="44"/>
                  </a:cubicBezTo>
                  <a:cubicBezTo>
                    <a:pt x="18" y="44"/>
                    <a:pt x="24" y="38"/>
                    <a:pt x="24" y="31"/>
                  </a:cubicBezTo>
                  <a:cubicBezTo>
                    <a:pt x="24" y="25"/>
                    <a:pt x="14" y="6"/>
                    <a:pt x="12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149">
              <a:extLst>
                <a:ext uri="{FF2B5EF4-FFF2-40B4-BE49-F238E27FC236}">
                  <a16:creationId xmlns:a16="http://schemas.microsoft.com/office/drawing/2014/main" id="{143C0FC7-5823-40DF-BFBC-6A395E536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1925" y="2068513"/>
              <a:ext cx="101600" cy="31750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Oval 150">
              <a:extLst>
                <a:ext uri="{FF2B5EF4-FFF2-40B4-BE49-F238E27FC236}">
                  <a16:creationId xmlns:a16="http://schemas.microsoft.com/office/drawing/2014/main" id="{CBC5DD15-3767-41D5-9996-5BA91C866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6038" y="2028825"/>
              <a:ext cx="334963" cy="127000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151">
              <a:extLst>
                <a:ext uri="{FF2B5EF4-FFF2-40B4-BE49-F238E27FC236}">
                  <a16:creationId xmlns:a16="http://schemas.microsoft.com/office/drawing/2014/main" id="{49345A31-A857-4A74-B631-CA82165A8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8563" y="2005013"/>
              <a:ext cx="565150" cy="217488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5B4059AB-945A-412B-A131-A919E0A79232}"/>
              </a:ext>
            </a:extLst>
          </p:cNvPr>
          <p:cNvGrpSpPr/>
          <p:nvPr/>
        </p:nvGrpSpPr>
        <p:grpSpPr>
          <a:xfrm>
            <a:off x="4768850" y="1592263"/>
            <a:ext cx="844550" cy="841375"/>
            <a:chOff x="4768850" y="1592263"/>
            <a:chExt cx="844550" cy="841375"/>
          </a:xfrm>
        </p:grpSpPr>
        <p:sp>
          <p:nvSpPr>
            <p:cNvPr id="193" name="AutoShape 153">
              <a:extLst>
                <a:ext uri="{FF2B5EF4-FFF2-40B4-BE49-F238E27FC236}">
                  <a16:creationId xmlns:a16="http://schemas.microsoft.com/office/drawing/2014/main" id="{6532B798-31D0-4C0D-831D-D8E02309B8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8850" y="15922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155">
              <a:extLst>
                <a:ext uri="{FF2B5EF4-FFF2-40B4-BE49-F238E27FC236}">
                  <a16:creationId xmlns:a16="http://schemas.microsoft.com/office/drawing/2014/main" id="{929B38BF-0B53-4165-9793-F0E211AA44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8850" y="15954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56">
              <a:extLst>
                <a:ext uri="{FF2B5EF4-FFF2-40B4-BE49-F238E27FC236}">
                  <a16:creationId xmlns:a16="http://schemas.microsoft.com/office/drawing/2014/main" id="{9FB0C74E-52C0-46EB-8120-DE79C58A57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7425" y="16240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57">
              <a:extLst>
                <a:ext uri="{FF2B5EF4-FFF2-40B4-BE49-F238E27FC236}">
                  <a16:creationId xmlns:a16="http://schemas.microsoft.com/office/drawing/2014/main" id="{B707FB74-5A40-4D1B-98EA-7F46F0BCF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1857376"/>
              <a:ext cx="76200" cy="311150"/>
            </a:xfrm>
            <a:custGeom>
              <a:avLst/>
              <a:gdLst>
                <a:gd name="T0" fmla="*/ 10 w 19"/>
                <a:gd name="T1" fmla="*/ 78 h 78"/>
                <a:gd name="T2" fmla="*/ 5 w 19"/>
                <a:gd name="T3" fmla="*/ 75 h 78"/>
                <a:gd name="T4" fmla="*/ 4 w 19"/>
                <a:gd name="T5" fmla="*/ 68 h 78"/>
                <a:gd name="T6" fmla="*/ 5 w 19"/>
                <a:gd name="T7" fmla="*/ 59 h 78"/>
                <a:gd name="T8" fmla="*/ 6 w 19"/>
                <a:gd name="T9" fmla="*/ 52 h 78"/>
                <a:gd name="T10" fmla="*/ 6 w 19"/>
                <a:gd name="T11" fmla="*/ 34 h 78"/>
                <a:gd name="T12" fmla="*/ 4 w 19"/>
                <a:gd name="T13" fmla="*/ 26 h 78"/>
                <a:gd name="T14" fmla="*/ 3 w 19"/>
                <a:gd name="T15" fmla="*/ 25 h 78"/>
                <a:gd name="T16" fmla="*/ 0 w 19"/>
                <a:gd name="T17" fmla="*/ 15 h 78"/>
                <a:gd name="T18" fmla="*/ 0 w 19"/>
                <a:gd name="T19" fmla="*/ 3 h 78"/>
                <a:gd name="T20" fmla="*/ 3 w 19"/>
                <a:gd name="T21" fmla="*/ 0 h 78"/>
                <a:gd name="T22" fmla="*/ 6 w 19"/>
                <a:gd name="T23" fmla="*/ 3 h 78"/>
                <a:gd name="T24" fmla="*/ 6 w 19"/>
                <a:gd name="T25" fmla="*/ 15 h 78"/>
                <a:gd name="T26" fmla="*/ 6 w 19"/>
                <a:gd name="T27" fmla="*/ 15 h 78"/>
                <a:gd name="T28" fmla="*/ 7 w 19"/>
                <a:gd name="T29" fmla="*/ 15 h 78"/>
                <a:gd name="T30" fmla="*/ 7 w 19"/>
                <a:gd name="T31" fmla="*/ 3 h 78"/>
                <a:gd name="T32" fmla="*/ 10 w 19"/>
                <a:gd name="T33" fmla="*/ 0 h 78"/>
                <a:gd name="T34" fmla="*/ 13 w 19"/>
                <a:gd name="T35" fmla="*/ 3 h 78"/>
                <a:gd name="T36" fmla="*/ 13 w 19"/>
                <a:gd name="T37" fmla="*/ 15 h 78"/>
                <a:gd name="T38" fmla="*/ 13 w 19"/>
                <a:gd name="T39" fmla="*/ 15 h 78"/>
                <a:gd name="T40" fmla="*/ 14 w 19"/>
                <a:gd name="T41" fmla="*/ 15 h 78"/>
                <a:gd name="T42" fmla="*/ 14 w 19"/>
                <a:gd name="T43" fmla="*/ 3 h 78"/>
                <a:gd name="T44" fmla="*/ 16 w 19"/>
                <a:gd name="T45" fmla="*/ 0 h 78"/>
                <a:gd name="T46" fmla="*/ 19 w 19"/>
                <a:gd name="T47" fmla="*/ 3 h 78"/>
                <a:gd name="T48" fmla="*/ 19 w 19"/>
                <a:gd name="T49" fmla="*/ 15 h 78"/>
                <a:gd name="T50" fmla="*/ 16 w 19"/>
                <a:gd name="T51" fmla="*/ 25 h 78"/>
                <a:gd name="T52" fmla="*/ 16 w 19"/>
                <a:gd name="T53" fmla="*/ 26 h 78"/>
                <a:gd name="T54" fmla="*/ 13 w 19"/>
                <a:gd name="T55" fmla="*/ 34 h 78"/>
                <a:gd name="T56" fmla="*/ 13 w 19"/>
                <a:gd name="T57" fmla="*/ 52 h 78"/>
                <a:gd name="T58" fmla="*/ 14 w 19"/>
                <a:gd name="T59" fmla="*/ 59 h 78"/>
                <a:gd name="T60" fmla="*/ 16 w 19"/>
                <a:gd name="T61" fmla="*/ 68 h 78"/>
                <a:gd name="T62" fmla="*/ 15 w 19"/>
                <a:gd name="T63" fmla="*/ 75 h 78"/>
                <a:gd name="T64" fmla="*/ 10 w 19"/>
                <a:gd name="T6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78">
                  <a:moveTo>
                    <a:pt x="10" y="78"/>
                  </a:moveTo>
                  <a:cubicBezTo>
                    <a:pt x="8" y="78"/>
                    <a:pt x="6" y="77"/>
                    <a:pt x="5" y="75"/>
                  </a:cubicBezTo>
                  <a:cubicBezTo>
                    <a:pt x="4" y="73"/>
                    <a:pt x="4" y="72"/>
                    <a:pt x="4" y="68"/>
                  </a:cubicBezTo>
                  <a:cubicBezTo>
                    <a:pt x="4" y="66"/>
                    <a:pt x="4" y="62"/>
                    <a:pt x="5" y="59"/>
                  </a:cubicBezTo>
                  <a:cubicBezTo>
                    <a:pt x="6" y="56"/>
                    <a:pt x="6" y="53"/>
                    <a:pt x="6" y="5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0"/>
                    <a:pt x="5" y="28"/>
                    <a:pt x="4" y="26"/>
                  </a:cubicBezTo>
                  <a:cubicBezTo>
                    <a:pt x="3" y="26"/>
                    <a:pt x="3" y="25"/>
                    <a:pt x="3" y="25"/>
                  </a:cubicBezTo>
                  <a:cubicBezTo>
                    <a:pt x="1" y="22"/>
                    <a:pt x="0" y="19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8" y="0"/>
                    <a:pt x="10" y="0"/>
                  </a:cubicBezTo>
                  <a:cubicBezTo>
                    <a:pt x="11" y="0"/>
                    <a:pt x="13" y="1"/>
                    <a:pt x="13" y="3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9"/>
                    <a:pt x="18" y="22"/>
                    <a:pt x="16" y="25"/>
                  </a:cubicBezTo>
                  <a:cubicBezTo>
                    <a:pt x="16" y="25"/>
                    <a:pt x="16" y="26"/>
                    <a:pt x="16" y="26"/>
                  </a:cubicBezTo>
                  <a:cubicBezTo>
                    <a:pt x="14" y="28"/>
                    <a:pt x="13" y="30"/>
                    <a:pt x="13" y="34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3"/>
                    <a:pt x="14" y="56"/>
                    <a:pt x="14" y="59"/>
                  </a:cubicBezTo>
                  <a:cubicBezTo>
                    <a:pt x="15" y="62"/>
                    <a:pt x="16" y="66"/>
                    <a:pt x="16" y="68"/>
                  </a:cubicBezTo>
                  <a:cubicBezTo>
                    <a:pt x="16" y="72"/>
                    <a:pt x="16" y="73"/>
                    <a:pt x="15" y="75"/>
                  </a:cubicBezTo>
                  <a:cubicBezTo>
                    <a:pt x="13" y="77"/>
                    <a:pt x="12" y="78"/>
                    <a:pt x="10" y="78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58">
              <a:extLst>
                <a:ext uri="{FF2B5EF4-FFF2-40B4-BE49-F238E27FC236}">
                  <a16:creationId xmlns:a16="http://schemas.microsoft.com/office/drawing/2014/main" id="{72095CBF-2A76-45EC-9E35-E2F311723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538" y="1857376"/>
              <a:ext cx="49213" cy="311150"/>
            </a:xfrm>
            <a:custGeom>
              <a:avLst/>
              <a:gdLst>
                <a:gd name="T0" fmla="*/ 6 w 12"/>
                <a:gd name="T1" fmla="*/ 78 h 78"/>
                <a:gd name="T2" fmla="*/ 1 w 12"/>
                <a:gd name="T3" fmla="*/ 75 h 78"/>
                <a:gd name="T4" fmla="*/ 0 w 12"/>
                <a:gd name="T5" fmla="*/ 68 h 78"/>
                <a:gd name="T6" fmla="*/ 2 w 12"/>
                <a:gd name="T7" fmla="*/ 51 h 78"/>
                <a:gd name="T8" fmla="*/ 3 w 12"/>
                <a:gd name="T9" fmla="*/ 43 h 78"/>
                <a:gd name="T10" fmla="*/ 1 w 12"/>
                <a:gd name="T11" fmla="*/ 38 h 78"/>
                <a:gd name="T12" fmla="*/ 0 w 12"/>
                <a:gd name="T13" fmla="*/ 34 h 78"/>
                <a:gd name="T14" fmla="*/ 0 w 12"/>
                <a:gd name="T15" fmla="*/ 6 h 78"/>
                <a:gd name="T16" fmla="*/ 6 w 12"/>
                <a:gd name="T17" fmla="*/ 0 h 78"/>
                <a:gd name="T18" fmla="*/ 12 w 12"/>
                <a:gd name="T19" fmla="*/ 6 h 78"/>
                <a:gd name="T20" fmla="*/ 12 w 12"/>
                <a:gd name="T21" fmla="*/ 68 h 78"/>
                <a:gd name="T22" fmla="*/ 11 w 12"/>
                <a:gd name="T23" fmla="*/ 75 h 78"/>
                <a:gd name="T24" fmla="*/ 6 w 12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78">
                  <a:moveTo>
                    <a:pt x="6" y="78"/>
                  </a:moveTo>
                  <a:cubicBezTo>
                    <a:pt x="4" y="78"/>
                    <a:pt x="2" y="77"/>
                    <a:pt x="1" y="75"/>
                  </a:cubicBezTo>
                  <a:cubicBezTo>
                    <a:pt x="0" y="73"/>
                    <a:pt x="0" y="72"/>
                    <a:pt x="0" y="68"/>
                  </a:cubicBezTo>
                  <a:cubicBezTo>
                    <a:pt x="0" y="61"/>
                    <a:pt x="1" y="56"/>
                    <a:pt x="2" y="51"/>
                  </a:cubicBezTo>
                  <a:cubicBezTo>
                    <a:pt x="2" y="48"/>
                    <a:pt x="3" y="45"/>
                    <a:pt x="3" y="43"/>
                  </a:cubicBezTo>
                  <a:cubicBezTo>
                    <a:pt x="3" y="41"/>
                    <a:pt x="2" y="40"/>
                    <a:pt x="1" y="38"/>
                  </a:cubicBezTo>
                  <a:cubicBezTo>
                    <a:pt x="0" y="37"/>
                    <a:pt x="0" y="35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2"/>
                    <a:pt x="12" y="73"/>
                    <a:pt x="11" y="75"/>
                  </a:cubicBezTo>
                  <a:cubicBezTo>
                    <a:pt x="9" y="77"/>
                    <a:pt x="8" y="78"/>
                    <a:pt x="6" y="78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Oval 159">
              <a:extLst>
                <a:ext uri="{FF2B5EF4-FFF2-40B4-BE49-F238E27FC236}">
                  <a16:creationId xmlns:a16="http://schemas.microsoft.com/office/drawing/2014/main" id="{88402E7A-C7B9-4651-9BE4-4231A4EC5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750" y="1800226"/>
              <a:ext cx="430213" cy="42545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Oval 160">
              <a:extLst>
                <a:ext uri="{FF2B5EF4-FFF2-40B4-BE49-F238E27FC236}">
                  <a16:creationId xmlns:a16="http://schemas.microsoft.com/office/drawing/2014/main" id="{FF85940F-0E4B-4946-BFB9-2F6082487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4438" y="1839913"/>
              <a:ext cx="346075" cy="346075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Oval 161">
              <a:extLst>
                <a:ext uri="{FF2B5EF4-FFF2-40B4-BE49-F238E27FC236}">
                  <a16:creationId xmlns:a16="http://schemas.microsoft.com/office/drawing/2014/main" id="{64A41DE5-1551-456A-A480-0EDD6B27A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7463" y="1912938"/>
              <a:ext cx="203200" cy="200025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62">
              <a:extLst>
                <a:ext uri="{FF2B5EF4-FFF2-40B4-BE49-F238E27FC236}">
                  <a16:creationId xmlns:a16="http://schemas.microsoft.com/office/drawing/2014/main" id="{2E0CDEC9-A304-42E7-9721-6F1FB09C6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063" y="1892301"/>
              <a:ext cx="142875" cy="92075"/>
            </a:xfrm>
            <a:custGeom>
              <a:avLst/>
              <a:gdLst>
                <a:gd name="T0" fmla="*/ 35 w 35"/>
                <a:gd name="T1" fmla="*/ 18 h 23"/>
                <a:gd name="T2" fmla="*/ 14 w 35"/>
                <a:gd name="T3" fmla="*/ 20 h 23"/>
                <a:gd name="T4" fmla="*/ 0 w 35"/>
                <a:gd name="T5" fmla="*/ 5 h 23"/>
                <a:gd name="T6" fmla="*/ 20 w 35"/>
                <a:gd name="T7" fmla="*/ 3 h 23"/>
                <a:gd name="T8" fmla="*/ 35 w 35"/>
                <a:gd name="T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5" y="18"/>
                  </a:moveTo>
                  <a:cubicBezTo>
                    <a:pt x="35" y="18"/>
                    <a:pt x="24" y="23"/>
                    <a:pt x="14" y="20"/>
                  </a:cubicBezTo>
                  <a:cubicBezTo>
                    <a:pt x="5" y="16"/>
                    <a:pt x="0" y="5"/>
                    <a:pt x="0" y="5"/>
                  </a:cubicBezTo>
                  <a:cubicBezTo>
                    <a:pt x="0" y="5"/>
                    <a:pt x="11" y="0"/>
                    <a:pt x="20" y="3"/>
                  </a:cubicBezTo>
                  <a:cubicBezTo>
                    <a:pt x="30" y="7"/>
                    <a:pt x="35" y="18"/>
                    <a:pt x="35" y="18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689CAE2-6A8D-4A82-ADDB-55AC438A1ADC}"/>
              </a:ext>
            </a:extLst>
          </p:cNvPr>
          <p:cNvGrpSpPr/>
          <p:nvPr/>
        </p:nvGrpSpPr>
        <p:grpSpPr>
          <a:xfrm>
            <a:off x="5826125" y="1617663"/>
            <a:ext cx="758825" cy="766763"/>
            <a:chOff x="5826125" y="1617663"/>
            <a:chExt cx="758825" cy="766763"/>
          </a:xfrm>
        </p:grpSpPr>
        <p:sp>
          <p:nvSpPr>
            <p:cNvPr id="204" name="AutoShape 164">
              <a:extLst>
                <a:ext uri="{FF2B5EF4-FFF2-40B4-BE49-F238E27FC236}">
                  <a16:creationId xmlns:a16="http://schemas.microsoft.com/office/drawing/2014/main" id="{D970AB23-5B04-4FEC-A6CD-B43345A9BA7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6125" y="16224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66">
              <a:extLst>
                <a:ext uri="{FF2B5EF4-FFF2-40B4-BE49-F238E27FC236}">
                  <a16:creationId xmlns:a16="http://schemas.microsoft.com/office/drawing/2014/main" id="{FDFAB7A4-7BE6-436C-8C92-93F6C22679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9300" y="16176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67">
              <a:extLst>
                <a:ext uri="{FF2B5EF4-FFF2-40B4-BE49-F238E27FC236}">
                  <a16:creationId xmlns:a16="http://schemas.microsoft.com/office/drawing/2014/main" id="{252A0FB7-8D7D-4B08-83F2-04537D42F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1847850"/>
              <a:ext cx="73025" cy="307975"/>
            </a:xfrm>
            <a:custGeom>
              <a:avLst/>
              <a:gdLst>
                <a:gd name="T0" fmla="*/ 10 w 19"/>
                <a:gd name="T1" fmla="*/ 78 h 78"/>
                <a:gd name="T2" fmla="*/ 5 w 19"/>
                <a:gd name="T3" fmla="*/ 75 h 78"/>
                <a:gd name="T4" fmla="*/ 4 w 19"/>
                <a:gd name="T5" fmla="*/ 68 h 78"/>
                <a:gd name="T6" fmla="*/ 5 w 19"/>
                <a:gd name="T7" fmla="*/ 59 h 78"/>
                <a:gd name="T8" fmla="*/ 6 w 19"/>
                <a:gd name="T9" fmla="*/ 52 h 78"/>
                <a:gd name="T10" fmla="*/ 6 w 19"/>
                <a:gd name="T11" fmla="*/ 34 h 78"/>
                <a:gd name="T12" fmla="*/ 4 w 19"/>
                <a:gd name="T13" fmla="*/ 26 h 78"/>
                <a:gd name="T14" fmla="*/ 3 w 19"/>
                <a:gd name="T15" fmla="*/ 25 h 78"/>
                <a:gd name="T16" fmla="*/ 0 w 19"/>
                <a:gd name="T17" fmla="*/ 15 h 78"/>
                <a:gd name="T18" fmla="*/ 0 w 19"/>
                <a:gd name="T19" fmla="*/ 3 h 78"/>
                <a:gd name="T20" fmla="*/ 3 w 19"/>
                <a:gd name="T21" fmla="*/ 0 h 78"/>
                <a:gd name="T22" fmla="*/ 6 w 19"/>
                <a:gd name="T23" fmla="*/ 3 h 78"/>
                <a:gd name="T24" fmla="*/ 6 w 19"/>
                <a:gd name="T25" fmla="*/ 15 h 78"/>
                <a:gd name="T26" fmla="*/ 6 w 19"/>
                <a:gd name="T27" fmla="*/ 15 h 78"/>
                <a:gd name="T28" fmla="*/ 7 w 19"/>
                <a:gd name="T29" fmla="*/ 15 h 78"/>
                <a:gd name="T30" fmla="*/ 7 w 19"/>
                <a:gd name="T31" fmla="*/ 3 h 78"/>
                <a:gd name="T32" fmla="*/ 10 w 19"/>
                <a:gd name="T33" fmla="*/ 0 h 78"/>
                <a:gd name="T34" fmla="*/ 13 w 19"/>
                <a:gd name="T35" fmla="*/ 3 h 78"/>
                <a:gd name="T36" fmla="*/ 13 w 19"/>
                <a:gd name="T37" fmla="*/ 15 h 78"/>
                <a:gd name="T38" fmla="*/ 13 w 19"/>
                <a:gd name="T39" fmla="*/ 15 h 78"/>
                <a:gd name="T40" fmla="*/ 14 w 19"/>
                <a:gd name="T41" fmla="*/ 15 h 78"/>
                <a:gd name="T42" fmla="*/ 14 w 19"/>
                <a:gd name="T43" fmla="*/ 3 h 78"/>
                <a:gd name="T44" fmla="*/ 16 w 19"/>
                <a:gd name="T45" fmla="*/ 0 h 78"/>
                <a:gd name="T46" fmla="*/ 19 w 19"/>
                <a:gd name="T47" fmla="*/ 3 h 78"/>
                <a:gd name="T48" fmla="*/ 19 w 19"/>
                <a:gd name="T49" fmla="*/ 15 h 78"/>
                <a:gd name="T50" fmla="*/ 16 w 19"/>
                <a:gd name="T51" fmla="*/ 25 h 78"/>
                <a:gd name="T52" fmla="*/ 16 w 19"/>
                <a:gd name="T53" fmla="*/ 26 h 78"/>
                <a:gd name="T54" fmla="*/ 13 w 19"/>
                <a:gd name="T55" fmla="*/ 34 h 78"/>
                <a:gd name="T56" fmla="*/ 13 w 19"/>
                <a:gd name="T57" fmla="*/ 52 h 78"/>
                <a:gd name="T58" fmla="*/ 14 w 19"/>
                <a:gd name="T59" fmla="*/ 59 h 78"/>
                <a:gd name="T60" fmla="*/ 16 w 19"/>
                <a:gd name="T61" fmla="*/ 68 h 78"/>
                <a:gd name="T62" fmla="*/ 15 w 19"/>
                <a:gd name="T63" fmla="*/ 75 h 78"/>
                <a:gd name="T64" fmla="*/ 10 w 19"/>
                <a:gd name="T6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78">
                  <a:moveTo>
                    <a:pt x="10" y="78"/>
                  </a:moveTo>
                  <a:cubicBezTo>
                    <a:pt x="8" y="78"/>
                    <a:pt x="6" y="77"/>
                    <a:pt x="5" y="75"/>
                  </a:cubicBezTo>
                  <a:cubicBezTo>
                    <a:pt x="4" y="73"/>
                    <a:pt x="4" y="72"/>
                    <a:pt x="4" y="68"/>
                  </a:cubicBezTo>
                  <a:cubicBezTo>
                    <a:pt x="4" y="66"/>
                    <a:pt x="4" y="62"/>
                    <a:pt x="5" y="59"/>
                  </a:cubicBezTo>
                  <a:cubicBezTo>
                    <a:pt x="6" y="56"/>
                    <a:pt x="6" y="53"/>
                    <a:pt x="6" y="5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0"/>
                    <a:pt x="5" y="28"/>
                    <a:pt x="4" y="26"/>
                  </a:cubicBezTo>
                  <a:cubicBezTo>
                    <a:pt x="3" y="26"/>
                    <a:pt x="3" y="25"/>
                    <a:pt x="3" y="25"/>
                  </a:cubicBezTo>
                  <a:cubicBezTo>
                    <a:pt x="1" y="22"/>
                    <a:pt x="0" y="19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8" y="0"/>
                    <a:pt x="10" y="0"/>
                  </a:cubicBezTo>
                  <a:cubicBezTo>
                    <a:pt x="11" y="0"/>
                    <a:pt x="13" y="1"/>
                    <a:pt x="13" y="3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9"/>
                    <a:pt x="18" y="22"/>
                    <a:pt x="16" y="25"/>
                  </a:cubicBezTo>
                  <a:cubicBezTo>
                    <a:pt x="16" y="25"/>
                    <a:pt x="16" y="26"/>
                    <a:pt x="16" y="26"/>
                  </a:cubicBezTo>
                  <a:cubicBezTo>
                    <a:pt x="14" y="28"/>
                    <a:pt x="13" y="30"/>
                    <a:pt x="13" y="34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3"/>
                    <a:pt x="14" y="56"/>
                    <a:pt x="14" y="59"/>
                  </a:cubicBezTo>
                  <a:cubicBezTo>
                    <a:pt x="15" y="62"/>
                    <a:pt x="16" y="66"/>
                    <a:pt x="16" y="68"/>
                  </a:cubicBezTo>
                  <a:cubicBezTo>
                    <a:pt x="16" y="72"/>
                    <a:pt x="16" y="73"/>
                    <a:pt x="15" y="75"/>
                  </a:cubicBezTo>
                  <a:cubicBezTo>
                    <a:pt x="13" y="77"/>
                    <a:pt x="12" y="78"/>
                    <a:pt x="10" y="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68">
              <a:extLst>
                <a:ext uri="{FF2B5EF4-FFF2-40B4-BE49-F238E27FC236}">
                  <a16:creationId xmlns:a16="http://schemas.microsoft.com/office/drawing/2014/main" id="{57847B8F-8A88-4B16-A54A-EBE2325C9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425" y="1847850"/>
              <a:ext cx="47625" cy="307975"/>
            </a:xfrm>
            <a:custGeom>
              <a:avLst/>
              <a:gdLst>
                <a:gd name="T0" fmla="*/ 6 w 12"/>
                <a:gd name="T1" fmla="*/ 78 h 78"/>
                <a:gd name="T2" fmla="*/ 1 w 12"/>
                <a:gd name="T3" fmla="*/ 75 h 78"/>
                <a:gd name="T4" fmla="*/ 0 w 12"/>
                <a:gd name="T5" fmla="*/ 68 h 78"/>
                <a:gd name="T6" fmla="*/ 2 w 12"/>
                <a:gd name="T7" fmla="*/ 51 h 78"/>
                <a:gd name="T8" fmla="*/ 3 w 12"/>
                <a:gd name="T9" fmla="*/ 43 h 78"/>
                <a:gd name="T10" fmla="*/ 1 w 12"/>
                <a:gd name="T11" fmla="*/ 38 h 78"/>
                <a:gd name="T12" fmla="*/ 0 w 12"/>
                <a:gd name="T13" fmla="*/ 34 h 78"/>
                <a:gd name="T14" fmla="*/ 0 w 12"/>
                <a:gd name="T15" fmla="*/ 6 h 78"/>
                <a:gd name="T16" fmla="*/ 6 w 12"/>
                <a:gd name="T17" fmla="*/ 0 h 78"/>
                <a:gd name="T18" fmla="*/ 12 w 12"/>
                <a:gd name="T19" fmla="*/ 6 h 78"/>
                <a:gd name="T20" fmla="*/ 12 w 12"/>
                <a:gd name="T21" fmla="*/ 68 h 78"/>
                <a:gd name="T22" fmla="*/ 11 w 12"/>
                <a:gd name="T23" fmla="*/ 75 h 78"/>
                <a:gd name="T24" fmla="*/ 6 w 12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78">
                  <a:moveTo>
                    <a:pt x="6" y="78"/>
                  </a:moveTo>
                  <a:cubicBezTo>
                    <a:pt x="4" y="78"/>
                    <a:pt x="2" y="77"/>
                    <a:pt x="1" y="75"/>
                  </a:cubicBezTo>
                  <a:cubicBezTo>
                    <a:pt x="0" y="73"/>
                    <a:pt x="0" y="72"/>
                    <a:pt x="0" y="68"/>
                  </a:cubicBezTo>
                  <a:cubicBezTo>
                    <a:pt x="0" y="61"/>
                    <a:pt x="1" y="56"/>
                    <a:pt x="2" y="51"/>
                  </a:cubicBezTo>
                  <a:cubicBezTo>
                    <a:pt x="2" y="48"/>
                    <a:pt x="3" y="45"/>
                    <a:pt x="3" y="43"/>
                  </a:cubicBezTo>
                  <a:cubicBezTo>
                    <a:pt x="3" y="41"/>
                    <a:pt x="2" y="40"/>
                    <a:pt x="1" y="38"/>
                  </a:cubicBezTo>
                  <a:cubicBezTo>
                    <a:pt x="0" y="37"/>
                    <a:pt x="0" y="35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2"/>
                    <a:pt x="12" y="73"/>
                    <a:pt x="11" y="75"/>
                  </a:cubicBezTo>
                  <a:cubicBezTo>
                    <a:pt x="9" y="77"/>
                    <a:pt x="8" y="78"/>
                    <a:pt x="6" y="7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169">
              <a:extLst>
                <a:ext uri="{FF2B5EF4-FFF2-40B4-BE49-F238E27FC236}">
                  <a16:creationId xmlns:a16="http://schemas.microsoft.com/office/drawing/2014/main" id="{F5E56AC4-67D7-40C0-8E77-1C11CB54D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1792288"/>
              <a:ext cx="412750" cy="41910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170">
              <a:extLst>
                <a:ext uri="{FF2B5EF4-FFF2-40B4-BE49-F238E27FC236}">
                  <a16:creationId xmlns:a16="http://schemas.microsoft.com/office/drawing/2014/main" id="{06D6ABAF-59D8-4021-A021-502483CCC0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8375" y="1831975"/>
              <a:ext cx="330200" cy="33972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171">
              <a:extLst>
                <a:ext uri="{FF2B5EF4-FFF2-40B4-BE49-F238E27FC236}">
                  <a16:creationId xmlns:a16="http://schemas.microsoft.com/office/drawing/2014/main" id="{E0FBD8FC-0090-4869-8C9C-C42086419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8225" y="1903413"/>
              <a:ext cx="193675" cy="196850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72">
              <a:extLst>
                <a:ext uri="{FF2B5EF4-FFF2-40B4-BE49-F238E27FC236}">
                  <a16:creationId xmlns:a16="http://schemas.microsoft.com/office/drawing/2014/main" id="{13D44817-5CF9-4371-973F-5CA0B1A28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5063" y="1882775"/>
              <a:ext cx="136525" cy="90488"/>
            </a:xfrm>
            <a:custGeom>
              <a:avLst/>
              <a:gdLst>
                <a:gd name="T0" fmla="*/ 35 w 35"/>
                <a:gd name="T1" fmla="*/ 18 h 23"/>
                <a:gd name="T2" fmla="*/ 14 w 35"/>
                <a:gd name="T3" fmla="*/ 20 h 23"/>
                <a:gd name="T4" fmla="*/ 0 w 35"/>
                <a:gd name="T5" fmla="*/ 5 h 23"/>
                <a:gd name="T6" fmla="*/ 20 w 35"/>
                <a:gd name="T7" fmla="*/ 3 h 23"/>
                <a:gd name="T8" fmla="*/ 35 w 35"/>
                <a:gd name="T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5" y="18"/>
                  </a:moveTo>
                  <a:cubicBezTo>
                    <a:pt x="35" y="18"/>
                    <a:pt x="24" y="23"/>
                    <a:pt x="14" y="20"/>
                  </a:cubicBezTo>
                  <a:cubicBezTo>
                    <a:pt x="5" y="16"/>
                    <a:pt x="0" y="5"/>
                    <a:pt x="0" y="5"/>
                  </a:cubicBezTo>
                  <a:cubicBezTo>
                    <a:pt x="0" y="5"/>
                    <a:pt x="11" y="0"/>
                    <a:pt x="20" y="3"/>
                  </a:cubicBezTo>
                  <a:cubicBezTo>
                    <a:pt x="30" y="7"/>
                    <a:pt x="35" y="18"/>
                    <a:pt x="35" y="1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98D1789C-AD87-4511-A2AB-03296B3E9F66}"/>
              </a:ext>
            </a:extLst>
          </p:cNvPr>
          <p:cNvGrpSpPr/>
          <p:nvPr/>
        </p:nvGrpSpPr>
        <p:grpSpPr>
          <a:xfrm>
            <a:off x="7099300" y="1589088"/>
            <a:ext cx="844550" cy="841375"/>
            <a:chOff x="7099300" y="1589088"/>
            <a:chExt cx="844550" cy="841375"/>
          </a:xfrm>
        </p:grpSpPr>
        <p:sp>
          <p:nvSpPr>
            <p:cNvPr id="214" name="AutoShape 174">
              <a:extLst>
                <a:ext uri="{FF2B5EF4-FFF2-40B4-BE49-F238E27FC236}">
                  <a16:creationId xmlns:a16="http://schemas.microsoft.com/office/drawing/2014/main" id="{3CCFE5C2-76E6-4AD5-B3DB-FAC63CF6B9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99300" y="15890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Oval 176">
              <a:extLst>
                <a:ext uri="{FF2B5EF4-FFF2-40B4-BE49-F238E27FC236}">
                  <a16:creationId xmlns:a16="http://schemas.microsoft.com/office/drawing/2014/main" id="{8DB82B3A-6242-44AD-A6E6-C7F11C07F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9300" y="15922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77">
              <a:extLst>
                <a:ext uri="{FF2B5EF4-FFF2-40B4-BE49-F238E27FC236}">
                  <a16:creationId xmlns:a16="http://schemas.microsoft.com/office/drawing/2014/main" id="{2A97527D-8E26-42E6-BEF7-7A59711AFB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7875" y="16208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Oval 178">
              <a:extLst>
                <a:ext uri="{FF2B5EF4-FFF2-40B4-BE49-F238E27FC236}">
                  <a16:creationId xmlns:a16="http://schemas.microsoft.com/office/drawing/2014/main" id="{D66A9BAF-6EB2-4A9C-B227-9A64CD8A8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5200" y="1804988"/>
              <a:ext cx="414338" cy="404813"/>
            </a:xfrm>
            <a:prstGeom prst="ellips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79">
              <a:extLst>
                <a:ext uri="{FF2B5EF4-FFF2-40B4-BE49-F238E27FC236}">
                  <a16:creationId xmlns:a16="http://schemas.microsoft.com/office/drawing/2014/main" id="{AC7AD667-0C32-4034-9A94-8C105B787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650" y="1725613"/>
              <a:ext cx="577850" cy="568325"/>
            </a:xfrm>
            <a:custGeom>
              <a:avLst/>
              <a:gdLst>
                <a:gd name="T0" fmla="*/ 182 w 364"/>
                <a:gd name="T1" fmla="*/ 358 h 358"/>
                <a:gd name="T2" fmla="*/ 157 w 364"/>
                <a:gd name="T3" fmla="*/ 308 h 358"/>
                <a:gd name="T4" fmla="*/ 113 w 364"/>
                <a:gd name="T5" fmla="*/ 343 h 358"/>
                <a:gd name="T6" fmla="*/ 108 w 364"/>
                <a:gd name="T7" fmla="*/ 288 h 358"/>
                <a:gd name="T8" fmla="*/ 54 w 364"/>
                <a:gd name="T9" fmla="*/ 305 h 358"/>
                <a:gd name="T10" fmla="*/ 70 w 364"/>
                <a:gd name="T11" fmla="*/ 252 h 358"/>
                <a:gd name="T12" fmla="*/ 13 w 364"/>
                <a:gd name="T13" fmla="*/ 247 h 358"/>
                <a:gd name="T14" fmla="*/ 52 w 364"/>
                <a:gd name="T15" fmla="*/ 204 h 358"/>
                <a:gd name="T16" fmla="*/ 0 w 364"/>
                <a:gd name="T17" fmla="*/ 179 h 358"/>
                <a:gd name="T18" fmla="*/ 52 w 364"/>
                <a:gd name="T19" fmla="*/ 151 h 358"/>
                <a:gd name="T20" fmla="*/ 13 w 364"/>
                <a:gd name="T21" fmla="*/ 108 h 358"/>
                <a:gd name="T22" fmla="*/ 70 w 364"/>
                <a:gd name="T23" fmla="*/ 103 h 358"/>
                <a:gd name="T24" fmla="*/ 54 w 364"/>
                <a:gd name="T25" fmla="*/ 50 h 358"/>
                <a:gd name="T26" fmla="*/ 108 w 364"/>
                <a:gd name="T27" fmla="*/ 68 h 358"/>
                <a:gd name="T28" fmla="*/ 113 w 364"/>
                <a:gd name="T29" fmla="*/ 12 h 358"/>
                <a:gd name="T30" fmla="*/ 157 w 364"/>
                <a:gd name="T31" fmla="*/ 48 h 358"/>
                <a:gd name="T32" fmla="*/ 182 w 364"/>
                <a:gd name="T33" fmla="*/ 0 h 358"/>
                <a:gd name="T34" fmla="*/ 208 w 364"/>
                <a:gd name="T35" fmla="*/ 48 h 358"/>
                <a:gd name="T36" fmla="*/ 251 w 364"/>
                <a:gd name="T37" fmla="*/ 12 h 358"/>
                <a:gd name="T38" fmla="*/ 256 w 364"/>
                <a:gd name="T39" fmla="*/ 68 h 358"/>
                <a:gd name="T40" fmla="*/ 310 w 364"/>
                <a:gd name="T41" fmla="*/ 50 h 358"/>
                <a:gd name="T42" fmla="*/ 295 w 364"/>
                <a:gd name="T43" fmla="*/ 103 h 358"/>
                <a:gd name="T44" fmla="*/ 351 w 364"/>
                <a:gd name="T45" fmla="*/ 108 h 358"/>
                <a:gd name="T46" fmla="*/ 313 w 364"/>
                <a:gd name="T47" fmla="*/ 151 h 358"/>
                <a:gd name="T48" fmla="*/ 364 w 364"/>
                <a:gd name="T49" fmla="*/ 179 h 358"/>
                <a:gd name="T50" fmla="*/ 313 w 364"/>
                <a:gd name="T51" fmla="*/ 204 h 358"/>
                <a:gd name="T52" fmla="*/ 351 w 364"/>
                <a:gd name="T53" fmla="*/ 247 h 358"/>
                <a:gd name="T54" fmla="*/ 295 w 364"/>
                <a:gd name="T55" fmla="*/ 252 h 358"/>
                <a:gd name="T56" fmla="*/ 310 w 364"/>
                <a:gd name="T57" fmla="*/ 305 h 358"/>
                <a:gd name="T58" fmla="*/ 256 w 364"/>
                <a:gd name="T59" fmla="*/ 288 h 358"/>
                <a:gd name="T60" fmla="*/ 251 w 364"/>
                <a:gd name="T61" fmla="*/ 343 h 358"/>
                <a:gd name="T62" fmla="*/ 208 w 364"/>
                <a:gd name="T63" fmla="*/ 308 h 358"/>
                <a:gd name="T64" fmla="*/ 182 w 364"/>
                <a:gd name="T65" fmla="*/ 35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4" h="358">
                  <a:moveTo>
                    <a:pt x="182" y="358"/>
                  </a:moveTo>
                  <a:lnTo>
                    <a:pt x="157" y="308"/>
                  </a:lnTo>
                  <a:lnTo>
                    <a:pt x="113" y="343"/>
                  </a:lnTo>
                  <a:lnTo>
                    <a:pt x="108" y="288"/>
                  </a:lnTo>
                  <a:lnTo>
                    <a:pt x="54" y="305"/>
                  </a:lnTo>
                  <a:lnTo>
                    <a:pt x="70" y="252"/>
                  </a:lnTo>
                  <a:lnTo>
                    <a:pt x="13" y="247"/>
                  </a:lnTo>
                  <a:lnTo>
                    <a:pt x="52" y="204"/>
                  </a:lnTo>
                  <a:lnTo>
                    <a:pt x="0" y="179"/>
                  </a:lnTo>
                  <a:lnTo>
                    <a:pt x="52" y="151"/>
                  </a:lnTo>
                  <a:lnTo>
                    <a:pt x="13" y="108"/>
                  </a:lnTo>
                  <a:lnTo>
                    <a:pt x="70" y="103"/>
                  </a:lnTo>
                  <a:lnTo>
                    <a:pt x="54" y="50"/>
                  </a:lnTo>
                  <a:lnTo>
                    <a:pt x="108" y="68"/>
                  </a:lnTo>
                  <a:lnTo>
                    <a:pt x="113" y="12"/>
                  </a:lnTo>
                  <a:lnTo>
                    <a:pt x="157" y="48"/>
                  </a:lnTo>
                  <a:lnTo>
                    <a:pt x="182" y="0"/>
                  </a:lnTo>
                  <a:lnTo>
                    <a:pt x="208" y="48"/>
                  </a:lnTo>
                  <a:lnTo>
                    <a:pt x="251" y="12"/>
                  </a:lnTo>
                  <a:lnTo>
                    <a:pt x="256" y="68"/>
                  </a:lnTo>
                  <a:lnTo>
                    <a:pt x="310" y="50"/>
                  </a:lnTo>
                  <a:lnTo>
                    <a:pt x="295" y="103"/>
                  </a:lnTo>
                  <a:lnTo>
                    <a:pt x="351" y="108"/>
                  </a:lnTo>
                  <a:lnTo>
                    <a:pt x="313" y="151"/>
                  </a:lnTo>
                  <a:lnTo>
                    <a:pt x="364" y="179"/>
                  </a:lnTo>
                  <a:lnTo>
                    <a:pt x="313" y="204"/>
                  </a:lnTo>
                  <a:lnTo>
                    <a:pt x="351" y="247"/>
                  </a:lnTo>
                  <a:lnTo>
                    <a:pt x="295" y="252"/>
                  </a:lnTo>
                  <a:lnTo>
                    <a:pt x="310" y="305"/>
                  </a:lnTo>
                  <a:lnTo>
                    <a:pt x="256" y="288"/>
                  </a:lnTo>
                  <a:lnTo>
                    <a:pt x="251" y="343"/>
                  </a:lnTo>
                  <a:lnTo>
                    <a:pt x="208" y="308"/>
                  </a:lnTo>
                  <a:lnTo>
                    <a:pt x="182" y="358"/>
                  </a:lnTo>
                  <a:close/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8F98D4CA-286F-46CB-A923-9E65C267CA5F}"/>
              </a:ext>
            </a:extLst>
          </p:cNvPr>
          <p:cNvGrpSpPr/>
          <p:nvPr/>
        </p:nvGrpSpPr>
        <p:grpSpPr>
          <a:xfrm>
            <a:off x="8120063" y="1617663"/>
            <a:ext cx="758825" cy="766763"/>
            <a:chOff x="8120063" y="1617663"/>
            <a:chExt cx="758825" cy="766763"/>
          </a:xfrm>
        </p:grpSpPr>
        <p:sp>
          <p:nvSpPr>
            <p:cNvPr id="221" name="AutoShape 181">
              <a:extLst>
                <a:ext uri="{FF2B5EF4-FFF2-40B4-BE49-F238E27FC236}">
                  <a16:creationId xmlns:a16="http://schemas.microsoft.com/office/drawing/2014/main" id="{9E2D5258-FFC1-4D7B-B45C-1A3E4FB432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0063" y="16224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83">
              <a:extLst>
                <a:ext uri="{FF2B5EF4-FFF2-40B4-BE49-F238E27FC236}">
                  <a16:creationId xmlns:a16="http://schemas.microsoft.com/office/drawing/2014/main" id="{181FCAAD-AFA1-413B-BD94-107D476A1D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3238" y="16176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184">
              <a:extLst>
                <a:ext uri="{FF2B5EF4-FFF2-40B4-BE49-F238E27FC236}">
                  <a16:creationId xmlns:a16="http://schemas.microsoft.com/office/drawing/2014/main" id="{F33BF44C-8C91-468C-B5AA-EB2003CB5F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2626" y="1800225"/>
              <a:ext cx="396875" cy="398463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85">
              <a:extLst>
                <a:ext uri="{FF2B5EF4-FFF2-40B4-BE49-F238E27FC236}">
                  <a16:creationId xmlns:a16="http://schemas.microsoft.com/office/drawing/2014/main" id="{C5C6FF29-3792-4B41-AFDA-B8A458CDA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838" y="1720850"/>
              <a:ext cx="552450" cy="561975"/>
            </a:xfrm>
            <a:custGeom>
              <a:avLst/>
              <a:gdLst>
                <a:gd name="T0" fmla="*/ 174 w 348"/>
                <a:gd name="T1" fmla="*/ 354 h 354"/>
                <a:gd name="T2" fmla="*/ 150 w 348"/>
                <a:gd name="T3" fmla="*/ 304 h 354"/>
                <a:gd name="T4" fmla="*/ 108 w 348"/>
                <a:gd name="T5" fmla="*/ 339 h 354"/>
                <a:gd name="T6" fmla="*/ 103 w 348"/>
                <a:gd name="T7" fmla="*/ 284 h 354"/>
                <a:gd name="T8" fmla="*/ 52 w 348"/>
                <a:gd name="T9" fmla="*/ 301 h 354"/>
                <a:gd name="T10" fmla="*/ 66 w 348"/>
                <a:gd name="T11" fmla="*/ 249 h 354"/>
                <a:gd name="T12" fmla="*/ 12 w 348"/>
                <a:gd name="T13" fmla="*/ 244 h 354"/>
                <a:gd name="T14" fmla="*/ 49 w 348"/>
                <a:gd name="T15" fmla="*/ 202 h 354"/>
                <a:gd name="T16" fmla="*/ 0 w 348"/>
                <a:gd name="T17" fmla="*/ 177 h 354"/>
                <a:gd name="T18" fmla="*/ 49 w 348"/>
                <a:gd name="T19" fmla="*/ 149 h 354"/>
                <a:gd name="T20" fmla="*/ 12 w 348"/>
                <a:gd name="T21" fmla="*/ 107 h 354"/>
                <a:gd name="T22" fmla="*/ 66 w 348"/>
                <a:gd name="T23" fmla="*/ 102 h 354"/>
                <a:gd name="T24" fmla="*/ 52 w 348"/>
                <a:gd name="T25" fmla="*/ 50 h 354"/>
                <a:gd name="T26" fmla="*/ 103 w 348"/>
                <a:gd name="T27" fmla="*/ 67 h 354"/>
                <a:gd name="T28" fmla="*/ 108 w 348"/>
                <a:gd name="T29" fmla="*/ 13 h 354"/>
                <a:gd name="T30" fmla="*/ 150 w 348"/>
                <a:gd name="T31" fmla="*/ 47 h 354"/>
                <a:gd name="T32" fmla="*/ 174 w 348"/>
                <a:gd name="T33" fmla="*/ 0 h 354"/>
                <a:gd name="T34" fmla="*/ 199 w 348"/>
                <a:gd name="T35" fmla="*/ 47 h 354"/>
                <a:gd name="T36" fmla="*/ 240 w 348"/>
                <a:gd name="T37" fmla="*/ 13 h 354"/>
                <a:gd name="T38" fmla="*/ 245 w 348"/>
                <a:gd name="T39" fmla="*/ 67 h 354"/>
                <a:gd name="T40" fmla="*/ 297 w 348"/>
                <a:gd name="T41" fmla="*/ 50 h 354"/>
                <a:gd name="T42" fmla="*/ 282 w 348"/>
                <a:gd name="T43" fmla="*/ 102 h 354"/>
                <a:gd name="T44" fmla="*/ 336 w 348"/>
                <a:gd name="T45" fmla="*/ 107 h 354"/>
                <a:gd name="T46" fmla="*/ 299 w 348"/>
                <a:gd name="T47" fmla="*/ 149 h 354"/>
                <a:gd name="T48" fmla="*/ 348 w 348"/>
                <a:gd name="T49" fmla="*/ 177 h 354"/>
                <a:gd name="T50" fmla="*/ 299 w 348"/>
                <a:gd name="T51" fmla="*/ 202 h 354"/>
                <a:gd name="T52" fmla="*/ 336 w 348"/>
                <a:gd name="T53" fmla="*/ 244 h 354"/>
                <a:gd name="T54" fmla="*/ 282 w 348"/>
                <a:gd name="T55" fmla="*/ 249 h 354"/>
                <a:gd name="T56" fmla="*/ 297 w 348"/>
                <a:gd name="T57" fmla="*/ 301 h 354"/>
                <a:gd name="T58" fmla="*/ 245 w 348"/>
                <a:gd name="T59" fmla="*/ 284 h 354"/>
                <a:gd name="T60" fmla="*/ 240 w 348"/>
                <a:gd name="T61" fmla="*/ 339 h 354"/>
                <a:gd name="T62" fmla="*/ 199 w 348"/>
                <a:gd name="T63" fmla="*/ 304 h 354"/>
                <a:gd name="T64" fmla="*/ 174 w 348"/>
                <a:gd name="T6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8" h="354">
                  <a:moveTo>
                    <a:pt x="174" y="354"/>
                  </a:moveTo>
                  <a:lnTo>
                    <a:pt x="150" y="304"/>
                  </a:lnTo>
                  <a:lnTo>
                    <a:pt x="108" y="339"/>
                  </a:lnTo>
                  <a:lnTo>
                    <a:pt x="103" y="284"/>
                  </a:lnTo>
                  <a:lnTo>
                    <a:pt x="52" y="301"/>
                  </a:lnTo>
                  <a:lnTo>
                    <a:pt x="66" y="249"/>
                  </a:lnTo>
                  <a:lnTo>
                    <a:pt x="12" y="244"/>
                  </a:lnTo>
                  <a:lnTo>
                    <a:pt x="49" y="202"/>
                  </a:lnTo>
                  <a:lnTo>
                    <a:pt x="0" y="177"/>
                  </a:lnTo>
                  <a:lnTo>
                    <a:pt x="49" y="149"/>
                  </a:lnTo>
                  <a:lnTo>
                    <a:pt x="12" y="107"/>
                  </a:lnTo>
                  <a:lnTo>
                    <a:pt x="66" y="102"/>
                  </a:lnTo>
                  <a:lnTo>
                    <a:pt x="52" y="50"/>
                  </a:lnTo>
                  <a:lnTo>
                    <a:pt x="103" y="67"/>
                  </a:lnTo>
                  <a:lnTo>
                    <a:pt x="108" y="13"/>
                  </a:lnTo>
                  <a:lnTo>
                    <a:pt x="150" y="47"/>
                  </a:lnTo>
                  <a:lnTo>
                    <a:pt x="174" y="0"/>
                  </a:lnTo>
                  <a:lnTo>
                    <a:pt x="199" y="47"/>
                  </a:lnTo>
                  <a:lnTo>
                    <a:pt x="240" y="13"/>
                  </a:lnTo>
                  <a:lnTo>
                    <a:pt x="245" y="67"/>
                  </a:lnTo>
                  <a:lnTo>
                    <a:pt x="297" y="50"/>
                  </a:lnTo>
                  <a:lnTo>
                    <a:pt x="282" y="102"/>
                  </a:lnTo>
                  <a:lnTo>
                    <a:pt x="336" y="107"/>
                  </a:lnTo>
                  <a:lnTo>
                    <a:pt x="299" y="149"/>
                  </a:lnTo>
                  <a:lnTo>
                    <a:pt x="348" y="177"/>
                  </a:lnTo>
                  <a:lnTo>
                    <a:pt x="299" y="202"/>
                  </a:lnTo>
                  <a:lnTo>
                    <a:pt x="336" y="244"/>
                  </a:lnTo>
                  <a:lnTo>
                    <a:pt x="282" y="249"/>
                  </a:lnTo>
                  <a:lnTo>
                    <a:pt x="297" y="301"/>
                  </a:lnTo>
                  <a:lnTo>
                    <a:pt x="245" y="284"/>
                  </a:lnTo>
                  <a:lnTo>
                    <a:pt x="240" y="339"/>
                  </a:lnTo>
                  <a:lnTo>
                    <a:pt x="199" y="304"/>
                  </a:lnTo>
                  <a:lnTo>
                    <a:pt x="174" y="354"/>
                  </a:lnTo>
                  <a:close/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021DB359-6D5B-4575-9710-2562AFA957D6}"/>
              </a:ext>
            </a:extLst>
          </p:cNvPr>
          <p:cNvGrpSpPr/>
          <p:nvPr/>
        </p:nvGrpSpPr>
        <p:grpSpPr>
          <a:xfrm>
            <a:off x="392113" y="2825750"/>
            <a:ext cx="844550" cy="839788"/>
            <a:chOff x="392113" y="2825750"/>
            <a:chExt cx="844550" cy="839788"/>
          </a:xfrm>
        </p:grpSpPr>
        <p:sp>
          <p:nvSpPr>
            <p:cNvPr id="227" name="AutoShape 187">
              <a:extLst>
                <a:ext uri="{FF2B5EF4-FFF2-40B4-BE49-F238E27FC236}">
                  <a16:creationId xmlns:a16="http://schemas.microsoft.com/office/drawing/2014/main" id="{B8D1D0D5-61A8-4A47-8A36-8EC5F3B0B5D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2113" y="282575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Oval 189">
              <a:extLst>
                <a:ext uri="{FF2B5EF4-FFF2-40B4-BE49-F238E27FC236}">
                  <a16:creationId xmlns:a16="http://schemas.microsoft.com/office/drawing/2014/main" id="{822D6593-78E2-424A-9343-C1A65382D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113" y="2828925"/>
              <a:ext cx="844550" cy="8334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0">
              <a:extLst>
                <a:ext uri="{FF2B5EF4-FFF2-40B4-BE49-F238E27FC236}">
                  <a16:creationId xmlns:a16="http://schemas.microsoft.com/office/drawing/2014/main" id="{CADD2CF3-9711-4A64-AF7D-DAAB9DAD0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88" y="2857500"/>
              <a:ext cx="7889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1">
              <a:extLst>
                <a:ext uri="{FF2B5EF4-FFF2-40B4-BE49-F238E27FC236}">
                  <a16:creationId xmlns:a16="http://schemas.microsoft.com/office/drawing/2014/main" id="{7E7636F5-85F5-4F89-BD70-C257E81606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163" y="3033713"/>
              <a:ext cx="552450" cy="476250"/>
            </a:xfrm>
            <a:custGeom>
              <a:avLst/>
              <a:gdLst>
                <a:gd name="T0" fmla="*/ 99 w 136"/>
                <a:gd name="T1" fmla="*/ 0 h 119"/>
                <a:gd name="T2" fmla="*/ 99 w 136"/>
                <a:gd name="T3" fmla="*/ 3 h 119"/>
                <a:gd name="T4" fmla="*/ 122 w 136"/>
                <a:gd name="T5" fmla="*/ 13 h 119"/>
                <a:gd name="T6" fmla="*/ 133 w 136"/>
                <a:gd name="T7" fmla="*/ 41 h 119"/>
                <a:gd name="T8" fmla="*/ 87 w 136"/>
                <a:gd name="T9" fmla="*/ 97 h 119"/>
                <a:gd name="T10" fmla="*/ 68 w 136"/>
                <a:gd name="T11" fmla="*/ 112 h 119"/>
                <a:gd name="T12" fmla="*/ 49 w 136"/>
                <a:gd name="T13" fmla="*/ 97 h 119"/>
                <a:gd name="T14" fmla="*/ 3 w 136"/>
                <a:gd name="T15" fmla="*/ 41 h 119"/>
                <a:gd name="T16" fmla="*/ 37 w 136"/>
                <a:gd name="T17" fmla="*/ 3 h 119"/>
                <a:gd name="T18" fmla="*/ 66 w 136"/>
                <a:gd name="T19" fmla="*/ 16 h 119"/>
                <a:gd name="T20" fmla="*/ 68 w 136"/>
                <a:gd name="T21" fmla="*/ 19 h 119"/>
                <a:gd name="T22" fmla="*/ 70 w 136"/>
                <a:gd name="T23" fmla="*/ 16 h 119"/>
                <a:gd name="T24" fmla="*/ 99 w 136"/>
                <a:gd name="T25" fmla="*/ 3 h 119"/>
                <a:gd name="T26" fmla="*/ 99 w 136"/>
                <a:gd name="T27" fmla="*/ 0 h 119"/>
                <a:gd name="T28" fmla="*/ 99 w 136"/>
                <a:gd name="T29" fmla="*/ 0 h 119"/>
                <a:gd name="T30" fmla="*/ 68 w 136"/>
                <a:gd name="T31" fmla="*/ 14 h 119"/>
                <a:gd name="T32" fmla="*/ 37 w 136"/>
                <a:gd name="T33" fmla="*/ 0 h 119"/>
                <a:gd name="T34" fmla="*/ 0 w 136"/>
                <a:gd name="T35" fmla="*/ 41 h 119"/>
                <a:gd name="T36" fmla="*/ 68 w 136"/>
                <a:gd name="T37" fmla="*/ 119 h 119"/>
                <a:gd name="T38" fmla="*/ 136 w 136"/>
                <a:gd name="T39" fmla="*/ 41 h 119"/>
                <a:gd name="T40" fmla="*/ 99 w 136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6" h="119">
                  <a:moveTo>
                    <a:pt x="99" y="0"/>
                  </a:moveTo>
                  <a:cubicBezTo>
                    <a:pt x="99" y="3"/>
                    <a:pt x="99" y="3"/>
                    <a:pt x="99" y="3"/>
                  </a:cubicBezTo>
                  <a:cubicBezTo>
                    <a:pt x="108" y="3"/>
                    <a:pt x="117" y="7"/>
                    <a:pt x="122" y="13"/>
                  </a:cubicBezTo>
                  <a:cubicBezTo>
                    <a:pt x="129" y="19"/>
                    <a:pt x="133" y="29"/>
                    <a:pt x="133" y="41"/>
                  </a:cubicBezTo>
                  <a:cubicBezTo>
                    <a:pt x="133" y="65"/>
                    <a:pt x="106" y="84"/>
                    <a:pt x="87" y="97"/>
                  </a:cubicBezTo>
                  <a:cubicBezTo>
                    <a:pt x="78" y="103"/>
                    <a:pt x="72" y="107"/>
                    <a:pt x="68" y="112"/>
                  </a:cubicBezTo>
                  <a:cubicBezTo>
                    <a:pt x="64" y="107"/>
                    <a:pt x="58" y="103"/>
                    <a:pt x="49" y="97"/>
                  </a:cubicBezTo>
                  <a:cubicBezTo>
                    <a:pt x="30" y="84"/>
                    <a:pt x="3" y="65"/>
                    <a:pt x="3" y="41"/>
                  </a:cubicBezTo>
                  <a:cubicBezTo>
                    <a:pt x="3" y="15"/>
                    <a:pt x="21" y="3"/>
                    <a:pt x="37" y="3"/>
                  </a:cubicBezTo>
                  <a:cubicBezTo>
                    <a:pt x="47" y="3"/>
                    <a:pt x="57" y="8"/>
                    <a:pt x="66" y="16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9" y="8"/>
                    <a:pt x="89" y="3"/>
                    <a:pt x="99" y="3"/>
                  </a:cubicBezTo>
                  <a:cubicBezTo>
                    <a:pt x="99" y="0"/>
                    <a:pt x="99" y="0"/>
                    <a:pt x="99" y="0"/>
                  </a:cubicBezTo>
                  <a:moveTo>
                    <a:pt x="99" y="0"/>
                  </a:moveTo>
                  <a:cubicBezTo>
                    <a:pt x="89" y="0"/>
                    <a:pt x="77" y="4"/>
                    <a:pt x="68" y="14"/>
                  </a:cubicBezTo>
                  <a:cubicBezTo>
                    <a:pt x="59" y="4"/>
                    <a:pt x="47" y="0"/>
                    <a:pt x="37" y="0"/>
                  </a:cubicBezTo>
                  <a:cubicBezTo>
                    <a:pt x="17" y="0"/>
                    <a:pt x="0" y="14"/>
                    <a:pt x="0" y="41"/>
                  </a:cubicBezTo>
                  <a:cubicBezTo>
                    <a:pt x="0" y="82"/>
                    <a:pt x="68" y="106"/>
                    <a:pt x="68" y="119"/>
                  </a:cubicBezTo>
                  <a:cubicBezTo>
                    <a:pt x="68" y="106"/>
                    <a:pt x="136" y="82"/>
                    <a:pt x="136" y="41"/>
                  </a:cubicBezTo>
                  <a:cubicBezTo>
                    <a:pt x="136" y="14"/>
                    <a:pt x="119" y="0"/>
                    <a:pt x="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92">
              <a:extLst>
                <a:ext uri="{FF2B5EF4-FFF2-40B4-BE49-F238E27FC236}">
                  <a16:creationId xmlns:a16="http://schemas.microsoft.com/office/drawing/2014/main" id="{B13B705E-B10E-480E-99DE-0CDE2B9C7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8" y="3157538"/>
              <a:ext cx="387350" cy="184150"/>
            </a:xfrm>
            <a:custGeom>
              <a:avLst/>
              <a:gdLst>
                <a:gd name="T0" fmla="*/ 0 w 244"/>
                <a:gd name="T1" fmla="*/ 56 h 116"/>
                <a:gd name="T2" fmla="*/ 90 w 244"/>
                <a:gd name="T3" fmla="*/ 56 h 116"/>
                <a:gd name="T4" fmla="*/ 98 w 244"/>
                <a:gd name="T5" fmla="*/ 35 h 116"/>
                <a:gd name="T6" fmla="*/ 105 w 244"/>
                <a:gd name="T7" fmla="*/ 45 h 116"/>
                <a:gd name="T8" fmla="*/ 121 w 244"/>
                <a:gd name="T9" fmla="*/ 20 h 116"/>
                <a:gd name="T10" fmla="*/ 131 w 244"/>
                <a:gd name="T11" fmla="*/ 81 h 116"/>
                <a:gd name="T12" fmla="*/ 149 w 244"/>
                <a:gd name="T13" fmla="*/ 0 h 116"/>
                <a:gd name="T14" fmla="*/ 164 w 244"/>
                <a:gd name="T15" fmla="*/ 116 h 116"/>
                <a:gd name="T16" fmla="*/ 190 w 244"/>
                <a:gd name="T17" fmla="*/ 10 h 116"/>
                <a:gd name="T18" fmla="*/ 203 w 244"/>
                <a:gd name="T19" fmla="*/ 58 h 116"/>
                <a:gd name="T20" fmla="*/ 244 w 244"/>
                <a:gd name="T21" fmla="*/ 5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4" h="116">
                  <a:moveTo>
                    <a:pt x="0" y="56"/>
                  </a:moveTo>
                  <a:lnTo>
                    <a:pt x="90" y="56"/>
                  </a:lnTo>
                  <a:lnTo>
                    <a:pt x="98" y="35"/>
                  </a:lnTo>
                  <a:lnTo>
                    <a:pt x="105" y="45"/>
                  </a:lnTo>
                  <a:lnTo>
                    <a:pt x="121" y="20"/>
                  </a:lnTo>
                  <a:lnTo>
                    <a:pt x="131" y="81"/>
                  </a:lnTo>
                  <a:lnTo>
                    <a:pt x="149" y="0"/>
                  </a:lnTo>
                  <a:lnTo>
                    <a:pt x="164" y="116"/>
                  </a:lnTo>
                  <a:lnTo>
                    <a:pt x="190" y="10"/>
                  </a:lnTo>
                  <a:lnTo>
                    <a:pt x="203" y="58"/>
                  </a:lnTo>
                  <a:lnTo>
                    <a:pt x="244" y="58"/>
                  </a:ln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Oval 193">
              <a:extLst>
                <a:ext uri="{FF2B5EF4-FFF2-40B4-BE49-F238E27FC236}">
                  <a16:creationId xmlns:a16="http://schemas.microsoft.com/office/drawing/2014/main" id="{3DED4EB6-0AE4-4FF1-B8D1-31D5E11435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1" y="3228975"/>
              <a:ext cx="39688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DAE469EA-8F42-463E-A166-D0CAB18B88E6}"/>
              </a:ext>
            </a:extLst>
          </p:cNvPr>
          <p:cNvGrpSpPr/>
          <p:nvPr/>
        </p:nvGrpSpPr>
        <p:grpSpPr>
          <a:xfrm>
            <a:off x="1428750" y="2860676"/>
            <a:ext cx="760413" cy="768349"/>
            <a:chOff x="1428750" y="2860676"/>
            <a:chExt cx="760413" cy="768349"/>
          </a:xfrm>
        </p:grpSpPr>
        <p:sp>
          <p:nvSpPr>
            <p:cNvPr id="235" name="AutoShape 195">
              <a:extLst>
                <a:ext uri="{FF2B5EF4-FFF2-40B4-BE49-F238E27FC236}">
                  <a16:creationId xmlns:a16="http://schemas.microsoft.com/office/drawing/2014/main" id="{DF8B017B-BC16-43F8-B2D3-CA38FBC780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8750" y="2865438"/>
              <a:ext cx="760413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97">
              <a:extLst>
                <a:ext uri="{FF2B5EF4-FFF2-40B4-BE49-F238E27FC236}">
                  <a16:creationId xmlns:a16="http://schemas.microsoft.com/office/drawing/2014/main" id="{2262E74A-4966-484A-B703-B84F28A29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1925" y="2860676"/>
              <a:ext cx="757238" cy="768349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98">
              <a:extLst>
                <a:ext uri="{FF2B5EF4-FFF2-40B4-BE49-F238E27FC236}">
                  <a16:creationId xmlns:a16="http://schemas.microsoft.com/office/drawing/2014/main" id="{C8580BA3-4AE9-4534-8825-284C41CE5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225" y="3035300"/>
              <a:ext cx="530225" cy="471487"/>
            </a:xfrm>
            <a:custGeom>
              <a:avLst/>
              <a:gdLst>
                <a:gd name="T0" fmla="*/ 99 w 136"/>
                <a:gd name="T1" fmla="*/ 0 h 119"/>
                <a:gd name="T2" fmla="*/ 99 w 136"/>
                <a:gd name="T3" fmla="*/ 3 h 119"/>
                <a:gd name="T4" fmla="*/ 122 w 136"/>
                <a:gd name="T5" fmla="*/ 13 h 119"/>
                <a:gd name="T6" fmla="*/ 133 w 136"/>
                <a:gd name="T7" fmla="*/ 41 h 119"/>
                <a:gd name="T8" fmla="*/ 87 w 136"/>
                <a:gd name="T9" fmla="*/ 97 h 119"/>
                <a:gd name="T10" fmla="*/ 68 w 136"/>
                <a:gd name="T11" fmla="*/ 112 h 119"/>
                <a:gd name="T12" fmla="*/ 49 w 136"/>
                <a:gd name="T13" fmla="*/ 97 h 119"/>
                <a:gd name="T14" fmla="*/ 3 w 136"/>
                <a:gd name="T15" fmla="*/ 41 h 119"/>
                <a:gd name="T16" fmla="*/ 37 w 136"/>
                <a:gd name="T17" fmla="*/ 3 h 119"/>
                <a:gd name="T18" fmla="*/ 66 w 136"/>
                <a:gd name="T19" fmla="*/ 16 h 119"/>
                <a:gd name="T20" fmla="*/ 68 w 136"/>
                <a:gd name="T21" fmla="*/ 19 h 119"/>
                <a:gd name="T22" fmla="*/ 70 w 136"/>
                <a:gd name="T23" fmla="*/ 16 h 119"/>
                <a:gd name="T24" fmla="*/ 99 w 136"/>
                <a:gd name="T25" fmla="*/ 3 h 119"/>
                <a:gd name="T26" fmla="*/ 99 w 136"/>
                <a:gd name="T27" fmla="*/ 0 h 119"/>
                <a:gd name="T28" fmla="*/ 99 w 136"/>
                <a:gd name="T29" fmla="*/ 0 h 119"/>
                <a:gd name="T30" fmla="*/ 68 w 136"/>
                <a:gd name="T31" fmla="*/ 14 h 119"/>
                <a:gd name="T32" fmla="*/ 37 w 136"/>
                <a:gd name="T33" fmla="*/ 0 h 119"/>
                <a:gd name="T34" fmla="*/ 0 w 136"/>
                <a:gd name="T35" fmla="*/ 41 h 119"/>
                <a:gd name="T36" fmla="*/ 68 w 136"/>
                <a:gd name="T37" fmla="*/ 119 h 119"/>
                <a:gd name="T38" fmla="*/ 136 w 136"/>
                <a:gd name="T39" fmla="*/ 41 h 119"/>
                <a:gd name="T40" fmla="*/ 99 w 136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6" h="119">
                  <a:moveTo>
                    <a:pt x="99" y="0"/>
                  </a:moveTo>
                  <a:cubicBezTo>
                    <a:pt x="99" y="3"/>
                    <a:pt x="99" y="3"/>
                    <a:pt x="99" y="3"/>
                  </a:cubicBezTo>
                  <a:cubicBezTo>
                    <a:pt x="108" y="3"/>
                    <a:pt x="117" y="7"/>
                    <a:pt x="122" y="13"/>
                  </a:cubicBezTo>
                  <a:cubicBezTo>
                    <a:pt x="129" y="19"/>
                    <a:pt x="133" y="29"/>
                    <a:pt x="133" y="41"/>
                  </a:cubicBezTo>
                  <a:cubicBezTo>
                    <a:pt x="133" y="65"/>
                    <a:pt x="106" y="84"/>
                    <a:pt x="87" y="97"/>
                  </a:cubicBezTo>
                  <a:cubicBezTo>
                    <a:pt x="78" y="103"/>
                    <a:pt x="72" y="107"/>
                    <a:pt x="68" y="112"/>
                  </a:cubicBezTo>
                  <a:cubicBezTo>
                    <a:pt x="64" y="107"/>
                    <a:pt x="58" y="103"/>
                    <a:pt x="49" y="97"/>
                  </a:cubicBezTo>
                  <a:cubicBezTo>
                    <a:pt x="30" y="84"/>
                    <a:pt x="3" y="65"/>
                    <a:pt x="3" y="41"/>
                  </a:cubicBezTo>
                  <a:cubicBezTo>
                    <a:pt x="3" y="15"/>
                    <a:pt x="21" y="3"/>
                    <a:pt x="37" y="3"/>
                  </a:cubicBezTo>
                  <a:cubicBezTo>
                    <a:pt x="47" y="3"/>
                    <a:pt x="57" y="8"/>
                    <a:pt x="66" y="16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9" y="8"/>
                    <a:pt x="89" y="3"/>
                    <a:pt x="99" y="3"/>
                  </a:cubicBezTo>
                  <a:cubicBezTo>
                    <a:pt x="99" y="0"/>
                    <a:pt x="99" y="0"/>
                    <a:pt x="99" y="0"/>
                  </a:cubicBezTo>
                  <a:moveTo>
                    <a:pt x="99" y="0"/>
                  </a:moveTo>
                  <a:cubicBezTo>
                    <a:pt x="89" y="0"/>
                    <a:pt x="77" y="4"/>
                    <a:pt x="68" y="14"/>
                  </a:cubicBezTo>
                  <a:cubicBezTo>
                    <a:pt x="59" y="4"/>
                    <a:pt x="47" y="0"/>
                    <a:pt x="37" y="0"/>
                  </a:cubicBezTo>
                  <a:cubicBezTo>
                    <a:pt x="17" y="0"/>
                    <a:pt x="0" y="14"/>
                    <a:pt x="0" y="41"/>
                  </a:cubicBezTo>
                  <a:cubicBezTo>
                    <a:pt x="0" y="82"/>
                    <a:pt x="68" y="106"/>
                    <a:pt x="68" y="119"/>
                  </a:cubicBezTo>
                  <a:cubicBezTo>
                    <a:pt x="68" y="106"/>
                    <a:pt x="136" y="82"/>
                    <a:pt x="136" y="41"/>
                  </a:cubicBezTo>
                  <a:cubicBezTo>
                    <a:pt x="136" y="14"/>
                    <a:pt x="119" y="0"/>
                    <a:pt x="99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99">
              <a:extLst>
                <a:ext uri="{FF2B5EF4-FFF2-40B4-BE49-F238E27FC236}">
                  <a16:creationId xmlns:a16="http://schemas.microsoft.com/office/drawing/2014/main" id="{796628A3-6149-45C8-8BD5-EAAE50C22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2100" y="3159125"/>
              <a:ext cx="369888" cy="180975"/>
            </a:xfrm>
            <a:custGeom>
              <a:avLst/>
              <a:gdLst>
                <a:gd name="T0" fmla="*/ 0 w 233"/>
                <a:gd name="T1" fmla="*/ 54 h 114"/>
                <a:gd name="T2" fmla="*/ 86 w 233"/>
                <a:gd name="T3" fmla="*/ 54 h 114"/>
                <a:gd name="T4" fmla="*/ 93 w 233"/>
                <a:gd name="T5" fmla="*/ 34 h 114"/>
                <a:gd name="T6" fmla="*/ 100 w 233"/>
                <a:gd name="T7" fmla="*/ 44 h 114"/>
                <a:gd name="T8" fmla="*/ 115 w 233"/>
                <a:gd name="T9" fmla="*/ 19 h 114"/>
                <a:gd name="T10" fmla="*/ 125 w 233"/>
                <a:gd name="T11" fmla="*/ 79 h 114"/>
                <a:gd name="T12" fmla="*/ 142 w 233"/>
                <a:gd name="T13" fmla="*/ 0 h 114"/>
                <a:gd name="T14" fmla="*/ 157 w 233"/>
                <a:gd name="T15" fmla="*/ 114 h 114"/>
                <a:gd name="T16" fmla="*/ 181 w 233"/>
                <a:gd name="T17" fmla="*/ 10 h 114"/>
                <a:gd name="T18" fmla="*/ 194 w 233"/>
                <a:gd name="T19" fmla="*/ 57 h 114"/>
                <a:gd name="T20" fmla="*/ 233 w 233"/>
                <a:gd name="T21" fmla="*/ 5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114">
                  <a:moveTo>
                    <a:pt x="0" y="54"/>
                  </a:moveTo>
                  <a:lnTo>
                    <a:pt x="86" y="54"/>
                  </a:lnTo>
                  <a:lnTo>
                    <a:pt x="93" y="34"/>
                  </a:lnTo>
                  <a:lnTo>
                    <a:pt x="100" y="44"/>
                  </a:lnTo>
                  <a:lnTo>
                    <a:pt x="115" y="19"/>
                  </a:lnTo>
                  <a:lnTo>
                    <a:pt x="125" y="79"/>
                  </a:lnTo>
                  <a:lnTo>
                    <a:pt x="142" y="0"/>
                  </a:lnTo>
                  <a:lnTo>
                    <a:pt x="157" y="114"/>
                  </a:lnTo>
                  <a:lnTo>
                    <a:pt x="181" y="10"/>
                  </a:lnTo>
                  <a:lnTo>
                    <a:pt x="194" y="57"/>
                  </a:lnTo>
                  <a:lnTo>
                    <a:pt x="233" y="57"/>
                  </a:lnTo>
                </a:path>
              </a:pathLst>
            </a:custGeom>
            <a:noFill/>
            <a:ln w="11113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200">
              <a:extLst>
                <a:ext uri="{FF2B5EF4-FFF2-40B4-BE49-F238E27FC236}">
                  <a16:creationId xmlns:a16="http://schemas.microsoft.com/office/drawing/2014/main" id="{42CFF423-8BA3-4E71-A42B-5BE7D6C3C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2938" y="3228975"/>
              <a:ext cx="38100" cy="3968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70459A3C-C82A-48D6-9529-F6D471E7A3BD}"/>
              </a:ext>
            </a:extLst>
          </p:cNvPr>
          <p:cNvGrpSpPr/>
          <p:nvPr/>
        </p:nvGrpSpPr>
        <p:grpSpPr>
          <a:xfrm>
            <a:off x="2582863" y="2825750"/>
            <a:ext cx="844550" cy="839788"/>
            <a:chOff x="2582863" y="2825750"/>
            <a:chExt cx="844550" cy="839788"/>
          </a:xfrm>
        </p:grpSpPr>
        <p:sp>
          <p:nvSpPr>
            <p:cNvPr id="242" name="AutoShape 202">
              <a:extLst>
                <a:ext uri="{FF2B5EF4-FFF2-40B4-BE49-F238E27FC236}">
                  <a16:creationId xmlns:a16="http://schemas.microsoft.com/office/drawing/2014/main" id="{1F24316F-5CCF-4596-9380-BBA604EEB6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2863" y="282575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204">
              <a:extLst>
                <a:ext uri="{FF2B5EF4-FFF2-40B4-BE49-F238E27FC236}">
                  <a16:creationId xmlns:a16="http://schemas.microsoft.com/office/drawing/2014/main" id="{B16D0B3A-D2EE-4B88-8652-284591D96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2863" y="2828925"/>
              <a:ext cx="844550" cy="8334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05">
              <a:extLst>
                <a:ext uri="{FF2B5EF4-FFF2-40B4-BE49-F238E27FC236}">
                  <a16:creationId xmlns:a16="http://schemas.microsoft.com/office/drawing/2014/main" id="{7BBBC849-A379-4E2D-8048-03ADB502E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1438" y="2857500"/>
              <a:ext cx="788988" cy="7762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06">
              <a:extLst>
                <a:ext uri="{FF2B5EF4-FFF2-40B4-BE49-F238E27FC236}">
                  <a16:creationId xmlns:a16="http://schemas.microsoft.com/office/drawing/2014/main" id="{ED9C4A6C-7B2F-42F7-A42E-D776F2309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6563" y="3086100"/>
              <a:ext cx="179388" cy="287338"/>
            </a:xfrm>
            <a:custGeom>
              <a:avLst/>
              <a:gdLst>
                <a:gd name="T0" fmla="*/ 36 w 44"/>
                <a:gd name="T1" fmla="*/ 41 h 72"/>
                <a:gd name="T2" fmla="*/ 7 w 44"/>
                <a:gd name="T3" fmla="*/ 72 h 72"/>
                <a:gd name="T4" fmla="*/ 8 w 44"/>
                <a:gd name="T5" fmla="*/ 30 h 72"/>
                <a:gd name="T6" fmla="*/ 37 w 44"/>
                <a:gd name="T7" fmla="*/ 0 h 72"/>
                <a:gd name="T8" fmla="*/ 36 w 44"/>
                <a:gd name="T9" fmla="*/ 4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72">
                  <a:moveTo>
                    <a:pt x="36" y="41"/>
                  </a:moveTo>
                  <a:cubicBezTo>
                    <a:pt x="28" y="61"/>
                    <a:pt x="7" y="72"/>
                    <a:pt x="7" y="72"/>
                  </a:cubicBezTo>
                  <a:cubicBezTo>
                    <a:pt x="7" y="72"/>
                    <a:pt x="0" y="50"/>
                    <a:pt x="8" y="30"/>
                  </a:cubicBezTo>
                  <a:cubicBezTo>
                    <a:pt x="16" y="10"/>
                    <a:pt x="37" y="0"/>
                    <a:pt x="37" y="0"/>
                  </a:cubicBezTo>
                  <a:cubicBezTo>
                    <a:pt x="37" y="0"/>
                    <a:pt x="44" y="22"/>
                    <a:pt x="36" y="41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07">
              <a:extLst>
                <a:ext uri="{FF2B5EF4-FFF2-40B4-BE49-F238E27FC236}">
                  <a16:creationId xmlns:a16="http://schemas.microsoft.com/office/drawing/2014/main" id="{91176FD5-CC12-4CEA-B06A-BD78E0225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201988"/>
              <a:ext cx="276225" cy="187325"/>
            </a:xfrm>
            <a:custGeom>
              <a:avLst/>
              <a:gdLst>
                <a:gd name="T0" fmla="*/ 41 w 68"/>
                <a:gd name="T1" fmla="*/ 37 h 47"/>
                <a:gd name="T2" fmla="*/ 0 w 68"/>
                <a:gd name="T3" fmla="*/ 43 h 47"/>
                <a:gd name="T4" fmla="*/ 27 w 68"/>
                <a:gd name="T5" fmla="*/ 11 h 47"/>
                <a:gd name="T6" fmla="*/ 68 w 68"/>
                <a:gd name="T7" fmla="*/ 5 h 47"/>
                <a:gd name="T8" fmla="*/ 41 w 68"/>
                <a:gd name="T9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7">
                  <a:moveTo>
                    <a:pt x="41" y="37"/>
                  </a:moveTo>
                  <a:cubicBezTo>
                    <a:pt x="23" y="47"/>
                    <a:pt x="0" y="43"/>
                    <a:pt x="0" y="43"/>
                  </a:cubicBezTo>
                  <a:cubicBezTo>
                    <a:pt x="0" y="43"/>
                    <a:pt x="8" y="21"/>
                    <a:pt x="27" y="11"/>
                  </a:cubicBezTo>
                  <a:cubicBezTo>
                    <a:pt x="45" y="0"/>
                    <a:pt x="68" y="5"/>
                    <a:pt x="68" y="5"/>
                  </a:cubicBezTo>
                  <a:cubicBezTo>
                    <a:pt x="68" y="5"/>
                    <a:pt x="60" y="26"/>
                    <a:pt x="41" y="37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08">
              <a:extLst>
                <a:ext uri="{FF2B5EF4-FFF2-40B4-BE49-F238E27FC236}">
                  <a16:creationId xmlns:a16="http://schemas.microsoft.com/office/drawing/2014/main" id="{EAD8D207-0FF1-4DEB-9FB0-9809A1282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257550"/>
              <a:ext cx="309563" cy="155575"/>
            </a:xfrm>
            <a:custGeom>
              <a:avLst/>
              <a:gdLst>
                <a:gd name="T0" fmla="*/ 41 w 76"/>
                <a:gd name="T1" fmla="*/ 34 h 39"/>
                <a:gd name="T2" fmla="*/ 0 w 76"/>
                <a:gd name="T3" fmla="*/ 29 h 39"/>
                <a:gd name="T4" fmla="*/ 35 w 76"/>
                <a:gd name="T5" fmla="*/ 5 h 39"/>
                <a:gd name="T6" fmla="*/ 76 w 76"/>
                <a:gd name="T7" fmla="*/ 11 h 39"/>
                <a:gd name="T8" fmla="*/ 41 w 76"/>
                <a:gd name="T9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9">
                  <a:moveTo>
                    <a:pt x="41" y="34"/>
                  </a:moveTo>
                  <a:cubicBezTo>
                    <a:pt x="20" y="39"/>
                    <a:pt x="0" y="29"/>
                    <a:pt x="0" y="29"/>
                  </a:cubicBezTo>
                  <a:cubicBezTo>
                    <a:pt x="0" y="29"/>
                    <a:pt x="14" y="10"/>
                    <a:pt x="35" y="5"/>
                  </a:cubicBezTo>
                  <a:cubicBezTo>
                    <a:pt x="56" y="0"/>
                    <a:pt x="76" y="11"/>
                    <a:pt x="76" y="11"/>
                  </a:cubicBezTo>
                  <a:cubicBezTo>
                    <a:pt x="76" y="11"/>
                    <a:pt x="62" y="29"/>
                    <a:pt x="41" y="34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09">
              <a:extLst>
                <a:ext uri="{FF2B5EF4-FFF2-40B4-BE49-F238E27FC236}">
                  <a16:creationId xmlns:a16="http://schemas.microsoft.com/office/drawing/2014/main" id="{7CAE683E-109E-42C7-9309-F30D38999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154363"/>
              <a:ext cx="223838" cy="219075"/>
            </a:xfrm>
            <a:custGeom>
              <a:avLst/>
              <a:gdLst>
                <a:gd name="T0" fmla="*/ 38 w 55"/>
                <a:gd name="T1" fmla="*/ 38 h 55"/>
                <a:gd name="T2" fmla="*/ 0 w 55"/>
                <a:gd name="T3" fmla="*/ 55 h 55"/>
                <a:gd name="T4" fmla="*/ 17 w 55"/>
                <a:gd name="T5" fmla="*/ 17 h 55"/>
                <a:gd name="T6" fmla="*/ 55 w 55"/>
                <a:gd name="T7" fmla="*/ 0 h 55"/>
                <a:gd name="T8" fmla="*/ 38 w 55"/>
                <a:gd name="T9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5">
                  <a:moveTo>
                    <a:pt x="38" y="38"/>
                  </a:moveTo>
                  <a:cubicBezTo>
                    <a:pt x="23" y="53"/>
                    <a:pt x="0" y="55"/>
                    <a:pt x="0" y="55"/>
                  </a:cubicBezTo>
                  <a:cubicBezTo>
                    <a:pt x="0" y="55"/>
                    <a:pt x="2" y="32"/>
                    <a:pt x="17" y="17"/>
                  </a:cubicBezTo>
                  <a:cubicBezTo>
                    <a:pt x="32" y="1"/>
                    <a:pt x="55" y="0"/>
                    <a:pt x="55" y="0"/>
                  </a:cubicBezTo>
                  <a:cubicBezTo>
                    <a:pt x="55" y="0"/>
                    <a:pt x="53" y="23"/>
                    <a:pt x="38" y="38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10">
              <a:extLst>
                <a:ext uri="{FF2B5EF4-FFF2-40B4-BE49-F238E27FC236}">
                  <a16:creationId xmlns:a16="http://schemas.microsoft.com/office/drawing/2014/main" id="{670490EF-64D8-4BC3-8CBF-A516877ED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326" y="3086100"/>
              <a:ext cx="179388" cy="287338"/>
            </a:xfrm>
            <a:custGeom>
              <a:avLst/>
              <a:gdLst>
                <a:gd name="T0" fmla="*/ 8 w 44"/>
                <a:gd name="T1" fmla="*/ 41 h 72"/>
                <a:gd name="T2" fmla="*/ 37 w 44"/>
                <a:gd name="T3" fmla="*/ 72 h 72"/>
                <a:gd name="T4" fmla="*/ 36 w 44"/>
                <a:gd name="T5" fmla="*/ 30 h 72"/>
                <a:gd name="T6" fmla="*/ 7 w 44"/>
                <a:gd name="T7" fmla="*/ 0 h 72"/>
                <a:gd name="T8" fmla="*/ 8 w 44"/>
                <a:gd name="T9" fmla="*/ 4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72">
                  <a:moveTo>
                    <a:pt x="8" y="41"/>
                  </a:moveTo>
                  <a:cubicBezTo>
                    <a:pt x="16" y="61"/>
                    <a:pt x="37" y="72"/>
                    <a:pt x="37" y="72"/>
                  </a:cubicBezTo>
                  <a:cubicBezTo>
                    <a:pt x="37" y="72"/>
                    <a:pt x="44" y="50"/>
                    <a:pt x="36" y="30"/>
                  </a:cubicBezTo>
                  <a:cubicBezTo>
                    <a:pt x="28" y="10"/>
                    <a:pt x="7" y="0"/>
                    <a:pt x="7" y="0"/>
                  </a:cubicBezTo>
                  <a:cubicBezTo>
                    <a:pt x="7" y="0"/>
                    <a:pt x="0" y="22"/>
                    <a:pt x="8" y="41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1">
              <a:extLst>
                <a:ext uri="{FF2B5EF4-FFF2-40B4-BE49-F238E27FC236}">
                  <a16:creationId xmlns:a16="http://schemas.microsoft.com/office/drawing/2014/main" id="{949199DE-A718-4990-BD89-D5A41C1F6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201988"/>
              <a:ext cx="276225" cy="187325"/>
            </a:xfrm>
            <a:custGeom>
              <a:avLst/>
              <a:gdLst>
                <a:gd name="T0" fmla="*/ 27 w 68"/>
                <a:gd name="T1" fmla="*/ 37 h 47"/>
                <a:gd name="T2" fmla="*/ 68 w 68"/>
                <a:gd name="T3" fmla="*/ 43 h 47"/>
                <a:gd name="T4" fmla="*/ 41 w 68"/>
                <a:gd name="T5" fmla="*/ 11 h 47"/>
                <a:gd name="T6" fmla="*/ 0 w 68"/>
                <a:gd name="T7" fmla="*/ 5 h 47"/>
                <a:gd name="T8" fmla="*/ 27 w 68"/>
                <a:gd name="T9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7">
                  <a:moveTo>
                    <a:pt x="27" y="37"/>
                  </a:moveTo>
                  <a:cubicBezTo>
                    <a:pt x="45" y="47"/>
                    <a:pt x="68" y="43"/>
                    <a:pt x="68" y="43"/>
                  </a:cubicBezTo>
                  <a:cubicBezTo>
                    <a:pt x="68" y="43"/>
                    <a:pt x="60" y="21"/>
                    <a:pt x="41" y="11"/>
                  </a:cubicBezTo>
                  <a:cubicBezTo>
                    <a:pt x="23" y="0"/>
                    <a:pt x="0" y="5"/>
                    <a:pt x="0" y="5"/>
                  </a:cubicBezTo>
                  <a:cubicBezTo>
                    <a:pt x="0" y="5"/>
                    <a:pt x="8" y="26"/>
                    <a:pt x="27" y="37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2">
              <a:extLst>
                <a:ext uri="{FF2B5EF4-FFF2-40B4-BE49-F238E27FC236}">
                  <a16:creationId xmlns:a16="http://schemas.microsoft.com/office/drawing/2014/main" id="{5C915C57-E9FD-4C23-A317-624E1F1DE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163" y="3257550"/>
              <a:ext cx="307975" cy="155575"/>
            </a:xfrm>
            <a:custGeom>
              <a:avLst/>
              <a:gdLst>
                <a:gd name="T0" fmla="*/ 35 w 76"/>
                <a:gd name="T1" fmla="*/ 34 h 39"/>
                <a:gd name="T2" fmla="*/ 76 w 76"/>
                <a:gd name="T3" fmla="*/ 29 h 39"/>
                <a:gd name="T4" fmla="*/ 41 w 76"/>
                <a:gd name="T5" fmla="*/ 5 h 39"/>
                <a:gd name="T6" fmla="*/ 0 w 76"/>
                <a:gd name="T7" fmla="*/ 11 h 39"/>
                <a:gd name="T8" fmla="*/ 35 w 76"/>
                <a:gd name="T9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9">
                  <a:moveTo>
                    <a:pt x="35" y="34"/>
                  </a:moveTo>
                  <a:cubicBezTo>
                    <a:pt x="56" y="39"/>
                    <a:pt x="76" y="29"/>
                    <a:pt x="76" y="29"/>
                  </a:cubicBezTo>
                  <a:cubicBezTo>
                    <a:pt x="76" y="29"/>
                    <a:pt x="62" y="10"/>
                    <a:pt x="41" y="5"/>
                  </a:cubicBezTo>
                  <a:cubicBezTo>
                    <a:pt x="20" y="0"/>
                    <a:pt x="0" y="11"/>
                    <a:pt x="0" y="11"/>
                  </a:cubicBezTo>
                  <a:cubicBezTo>
                    <a:pt x="0" y="11"/>
                    <a:pt x="14" y="29"/>
                    <a:pt x="35" y="34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13">
              <a:extLst>
                <a:ext uri="{FF2B5EF4-FFF2-40B4-BE49-F238E27FC236}">
                  <a16:creationId xmlns:a16="http://schemas.microsoft.com/office/drawing/2014/main" id="{57235035-1FEB-4A29-B061-107687445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301" y="3154363"/>
              <a:ext cx="223838" cy="219075"/>
            </a:xfrm>
            <a:custGeom>
              <a:avLst/>
              <a:gdLst>
                <a:gd name="T0" fmla="*/ 17 w 55"/>
                <a:gd name="T1" fmla="*/ 38 h 55"/>
                <a:gd name="T2" fmla="*/ 55 w 55"/>
                <a:gd name="T3" fmla="*/ 55 h 55"/>
                <a:gd name="T4" fmla="*/ 38 w 55"/>
                <a:gd name="T5" fmla="*/ 17 h 55"/>
                <a:gd name="T6" fmla="*/ 0 w 55"/>
                <a:gd name="T7" fmla="*/ 0 h 55"/>
                <a:gd name="T8" fmla="*/ 17 w 55"/>
                <a:gd name="T9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5">
                  <a:moveTo>
                    <a:pt x="17" y="38"/>
                  </a:moveTo>
                  <a:cubicBezTo>
                    <a:pt x="32" y="53"/>
                    <a:pt x="55" y="55"/>
                    <a:pt x="55" y="55"/>
                  </a:cubicBezTo>
                  <a:cubicBezTo>
                    <a:pt x="55" y="55"/>
                    <a:pt x="53" y="32"/>
                    <a:pt x="38" y="17"/>
                  </a:cubicBezTo>
                  <a:cubicBezTo>
                    <a:pt x="23" y="1"/>
                    <a:pt x="0" y="0"/>
                    <a:pt x="0" y="0"/>
                  </a:cubicBezTo>
                  <a:cubicBezTo>
                    <a:pt x="0" y="0"/>
                    <a:pt x="2" y="23"/>
                    <a:pt x="17" y="38"/>
                  </a:cubicBezTo>
                  <a:close/>
                </a:path>
              </a:pathLst>
            </a:cu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214">
              <a:extLst>
                <a:ext uri="{FF2B5EF4-FFF2-40B4-BE49-F238E27FC236}">
                  <a16:creationId xmlns:a16="http://schemas.microsoft.com/office/drawing/2014/main" id="{7DCF226A-D7BD-4693-A34B-E8EFF3D6B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4813" y="3062288"/>
              <a:ext cx="122238" cy="311150"/>
            </a:xfrm>
            <a:prstGeom prst="ellipse">
              <a:avLst/>
            </a:prstGeom>
            <a:solidFill>
              <a:srgbClr val="0091B3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649A68C9-36E4-4194-A59E-34D1CAEBB481}"/>
              </a:ext>
            </a:extLst>
          </p:cNvPr>
          <p:cNvGrpSpPr/>
          <p:nvPr/>
        </p:nvGrpSpPr>
        <p:grpSpPr>
          <a:xfrm>
            <a:off x="3646488" y="2860676"/>
            <a:ext cx="758825" cy="768349"/>
            <a:chOff x="3646488" y="2860676"/>
            <a:chExt cx="758825" cy="768349"/>
          </a:xfrm>
        </p:grpSpPr>
        <p:sp>
          <p:nvSpPr>
            <p:cNvPr id="256" name="AutoShape 216">
              <a:extLst>
                <a:ext uri="{FF2B5EF4-FFF2-40B4-BE49-F238E27FC236}">
                  <a16:creationId xmlns:a16="http://schemas.microsoft.com/office/drawing/2014/main" id="{6E7AC76F-295E-4600-8D49-D9149B30F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6488" y="2865438"/>
              <a:ext cx="758825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18">
              <a:extLst>
                <a:ext uri="{FF2B5EF4-FFF2-40B4-BE49-F238E27FC236}">
                  <a16:creationId xmlns:a16="http://schemas.microsoft.com/office/drawing/2014/main" id="{91B6346B-9819-4C5A-99E1-8E970E0DA8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9663" y="2860676"/>
              <a:ext cx="755650" cy="768349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19">
              <a:extLst>
                <a:ext uri="{FF2B5EF4-FFF2-40B4-BE49-F238E27FC236}">
                  <a16:creationId xmlns:a16="http://schemas.microsoft.com/office/drawing/2014/main" id="{CBA62190-1F38-43A0-8379-C2C02ACB0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501" y="3087688"/>
              <a:ext cx="171450" cy="284162"/>
            </a:xfrm>
            <a:custGeom>
              <a:avLst/>
              <a:gdLst>
                <a:gd name="T0" fmla="*/ 36 w 44"/>
                <a:gd name="T1" fmla="*/ 41 h 72"/>
                <a:gd name="T2" fmla="*/ 7 w 44"/>
                <a:gd name="T3" fmla="*/ 72 h 72"/>
                <a:gd name="T4" fmla="*/ 8 w 44"/>
                <a:gd name="T5" fmla="*/ 30 h 72"/>
                <a:gd name="T6" fmla="*/ 37 w 44"/>
                <a:gd name="T7" fmla="*/ 0 h 72"/>
                <a:gd name="T8" fmla="*/ 36 w 44"/>
                <a:gd name="T9" fmla="*/ 4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72">
                  <a:moveTo>
                    <a:pt x="36" y="41"/>
                  </a:moveTo>
                  <a:cubicBezTo>
                    <a:pt x="28" y="61"/>
                    <a:pt x="7" y="72"/>
                    <a:pt x="7" y="72"/>
                  </a:cubicBezTo>
                  <a:cubicBezTo>
                    <a:pt x="7" y="72"/>
                    <a:pt x="0" y="50"/>
                    <a:pt x="8" y="30"/>
                  </a:cubicBezTo>
                  <a:cubicBezTo>
                    <a:pt x="16" y="10"/>
                    <a:pt x="37" y="0"/>
                    <a:pt x="37" y="0"/>
                  </a:cubicBezTo>
                  <a:cubicBezTo>
                    <a:pt x="37" y="0"/>
                    <a:pt x="44" y="22"/>
                    <a:pt x="36" y="4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0">
              <a:extLst>
                <a:ext uri="{FF2B5EF4-FFF2-40B4-BE49-F238E27FC236}">
                  <a16:creationId xmlns:a16="http://schemas.microsoft.com/office/drawing/2014/main" id="{66880AD5-455D-4F64-91BF-95B66C67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3201988"/>
              <a:ext cx="265113" cy="185737"/>
            </a:xfrm>
            <a:custGeom>
              <a:avLst/>
              <a:gdLst>
                <a:gd name="T0" fmla="*/ 41 w 68"/>
                <a:gd name="T1" fmla="*/ 37 h 47"/>
                <a:gd name="T2" fmla="*/ 0 w 68"/>
                <a:gd name="T3" fmla="*/ 43 h 47"/>
                <a:gd name="T4" fmla="*/ 27 w 68"/>
                <a:gd name="T5" fmla="*/ 11 h 47"/>
                <a:gd name="T6" fmla="*/ 68 w 68"/>
                <a:gd name="T7" fmla="*/ 5 h 47"/>
                <a:gd name="T8" fmla="*/ 41 w 68"/>
                <a:gd name="T9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7">
                  <a:moveTo>
                    <a:pt x="41" y="37"/>
                  </a:moveTo>
                  <a:cubicBezTo>
                    <a:pt x="23" y="47"/>
                    <a:pt x="0" y="43"/>
                    <a:pt x="0" y="43"/>
                  </a:cubicBezTo>
                  <a:cubicBezTo>
                    <a:pt x="0" y="43"/>
                    <a:pt x="8" y="21"/>
                    <a:pt x="27" y="11"/>
                  </a:cubicBezTo>
                  <a:cubicBezTo>
                    <a:pt x="45" y="0"/>
                    <a:pt x="68" y="5"/>
                    <a:pt x="68" y="5"/>
                  </a:cubicBezTo>
                  <a:cubicBezTo>
                    <a:pt x="68" y="5"/>
                    <a:pt x="60" y="26"/>
                    <a:pt x="41" y="3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1">
              <a:extLst>
                <a:ext uri="{FF2B5EF4-FFF2-40B4-BE49-F238E27FC236}">
                  <a16:creationId xmlns:a16="http://schemas.microsoft.com/office/drawing/2014/main" id="{6FFB763C-4E5E-43FA-99C8-B4D9A0162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3257550"/>
              <a:ext cx="296863" cy="153987"/>
            </a:xfrm>
            <a:custGeom>
              <a:avLst/>
              <a:gdLst>
                <a:gd name="T0" fmla="*/ 41 w 76"/>
                <a:gd name="T1" fmla="*/ 34 h 39"/>
                <a:gd name="T2" fmla="*/ 0 w 76"/>
                <a:gd name="T3" fmla="*/ 29 h 39"/>
                <a:gd name="T4" fmla="*/ 35 w 76"/>
                <a:gd name="T5" fmla="*/ 5 h 39"/>
                <a:gd name="T6" fmla="*/ 76 w 76"/>
                <a:gd name="T7" fmla="*/ 11 h 39"/>
                <a:gd name="T8" fmla="*/ 41 w 76"/>
                <a:gd name="T9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9">
                  <a:moveTo>
                    <a:pt x="41" y="34"/>
                  </a:moveTo>
                  <a:cubicBezTo>
                    <a:pt x="20" y="39"/>
                    <a:pt x="0" y="29"/>
                    <a:pt x="0" y="29"/>
                  </a:cubicBezTo>
                  <a:cubicBezTo>
                    <a:pt x="0" y="29"/>
                    <a:pt x="14" y="10"/>
                    <a:pt x="35" y="5"/>
                  </a:cubicBezTo>
                  <a:cubicBezTo>
                    <a:pt x="56" y="0"/>
                    <a:pt x="76" y="11"/>
                    <a:pt x="76" y="11"/>
                  </a:cubicBezTo>
                  <a:cubicBezTo>
                    <a:pt x="76" y="11"/>
                    <a:pt x="62" y="29"/>
                    <a:pt x="41" y="3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2">
              <a:extLst>
                <a:ext uri="{FF2B5EF4-FFF2-40B4-BE49-F238E27FC236}">
                  <a16:creationId xmlns:a16="http://schemas.microsoft.com/office/drawing/2014/main" id="{CCA39111-41BF-4E19-BF78-E3A333918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3154363"/>
              <a:ext cx="214313" cy="217487"/>
            </a:xfrm>
            <a:custGeom>
              <a:avLst/>
              <a:gdLst>
                <a:gd name="T0" fmla="*/ 38 w 55"/>
                <a:gd name="T1" fmla="*/ 38 h 55"/>
                <a:gd name="T2" fmla="*/ 0 w 55"/>
                <a:gd name="T3" fmla="*/ 55 h 55"/>
                <a:gd name="T4" fmla="*/ 17 w 55"/>
                <a:gd name="T5" fmla="*/ 17 h 55"/>
                <a:gd name="T6" fmla="*/ 55 w 55"/>
                <a:gd name="T7" fmla="*/ 0 h 55"/>
                <a:gd name="T8" fmla="*/ 38 w 55"/>
                <a:gd name="T9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5">
                  <a:moveTo>
                    <a:pt x="38" y="38"/>
                  </a:moveTo>
                  <a:cubicBezTo>
                    <a:pt x="23" y="53"/>
                    <a:pt x="0" y="55"/>
                    <a:pt x="0" y="55"/>
                  </a:cubicBezTo>
                  <a:cubicBezTo>
                    <a:pt x="0" y="55"/>
                    <a:pt x="2" y="32"/>
                    <a:pt x="17" y="17"/>
                  </a:cubicBezTo>
                  <a:cubicBezTo>
                    <a:pt x="32" y="1"/>
                    <a:pt x="55" y="0"/>
                    <a:pt x="55" y="0"/>
                  </a:cubicBezTo>
                  <a:cubicBezTo>
                    <a:pt x="55" y="0"/>
                    <a:pt x="53" y="23"/>
                    <a:pt x="38" y="3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23">
              <a:extLst>
                <a:ext uri="{FF2B5EF4-FFF2-40B4-BE49-F238E27FC236}">
                  <a16:creationId xmlns:a16="http://schemas.microsoft.com/office/drawing/2014/main" id="{5A9D27B7-6EEB-49C0-B26C-A1AACC067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613" y="3087688"/>
              <a:ext cx="169863" cy="284162"/>
            </a:xfrm>
            <a:custGeom>
              <a:avLst/>
              <a:gdLst>
                <a:gd name="T0" fmla="*/ 8 w 44"/>
                <a:gd name="T1" fmla="*/ 41 h 72"/>
                <a:gd name="T2" fmla="*/ 37 w 44"/>
                <a:gd name="T3" fmla="*/ 72 h 72"/>
                <a:gd name="T4" fmla="*/ 36 w 44"/>
                <a:gd name="T5" fmla="*/ 30 h 72"/>
                <a:gd name="T6" fmla="*/ 7 w 44"/>
                <a:gd name="T7" fmla="*/ 0 h 72"/>
                <a:gd name="T8" fmla="*/ 8 w 44"/>
                <a:gd name="T9" fmla="*/ 4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72">
                  <a:moveTo>
                    <a:pt x="8" y="41"/>
                  </a:moveTo>
                  <a:cubicBezTo>
                    <a:pt x="16" y="61"/>
                    <a:pt x="37" y="72"/>
                    <a:pt x="37" y="72"/>
                  </a:cubicBezTo>
                  <a:cubicBezTo>
                    <a:pt x="37" y="72"/>
                    <a:pt x="44" y="50"/>
                    <a:pt x="36" y="30"/>
                  </a:cubicBezTo>
                  <a:cubicBezTo>
                    <a:pt x="28" y="10"/>
                    <a:pt x="7" y="0"/>
                    <a:pt x="7" y="0"/>
                  </a:cubicBezTo>
                  <a:cubicBezTo>
                    <a:pt x="7" y="0"/>
                    <a:pt x="0" y="22"/>
                    <a:pt x="8" y="4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4">
              <a:extLst>
                <a:ext uri="{FF2B5EF4-FFF2-40B4-BE49-F238E27FC236}">
                  <a16:creationId xmlns:a16="http://schemas.microsoft.com/office/drawing/2014/main" id="{5A147B6C-3829-4CE5-AAAA-10F5307FB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963" y="3201988"/>
              <a:ext cx="263525" cy="185737"/>
            </a:xfrm>
            <a:custGeom>
              <a:avLst/>
              <a:gdLst>
                <a:gd name="T0" fmla="*/ 27 w 68"/>
                <a:gd name="T1" fmla="*/ 37 h 47"/>
                <a:gd name="T2" fmla="*/ 68 w 68"/>
                <a:gd name="T3" fmla="*/ 43 h 47"/>
                <a:gd name="T4" fmla="*/ 41 w 68"/>
                <a:gd name="T5" fmla="*/ 11 h 47"/>
                <a:gd name="T6" fmla="*/ 0 w 68"/>
                <a:gd name="T7" fmla="*/ 5 h 47"/>
                <a:gd name="T8" fmla="*/ 27 w 68"/>
                <a:gd name="T9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7">
                  <a:moveTo>
                    <a:pt x="27" y="37"/>
                  </a:moveTo>
                  <a:cubicBezTo>
                    <a:pt x="45" y="47"/>
                    <a:pt x="68" y="43"/>
                    <a:pt x="68" y="43"/>
                  </a:cubicBezTo>
                  <a:cubicBezTo>
                    <a:pt x="68" y="43"/>
                    <a:pt x="60" y="21"/>
                    <a:pt x="41" y="11"/>
                  </a:cubicBezTo>
                  <a:cubicBezTo>
                    <a:pt x="23" y="0"/>
                    <a:pt x="0" y="5"/>
                    <a:pt x="0" y="5"/>
                  </a:cubicBezTo>
                  <a:cubicBezTo>
                    <a:pt x="0" y="5"/>
                    <a:pt x="8" y="26"/>
                    <a:pt x="27" y="3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25">
              <a:extLst>
                <a:ext uri="{FF2B5EF4-FFF2-40B4-BE49-F238E27FC236}">
                  <a16:creationId xmlns:a16="http://schemas.microsoft.com/office/drawing/2014/main" id="{17E33218-8402-4BFD-9421-C79DFC995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213" y="3257550"/>
              <a:ext cx="295275" cy="153987"/>
            </a:xfrm>
            <a:custGeom>
              <a:avLst/>
              <a:gdLst>
                <a:gd name="T0" fmla="*/ 35 w 76"/>
                <a:gd name="T1" fmla="*/ 34 h 39"/>
                <a:gd name="T2" fmla="*/ 76 w 76"/>
                <a:gd name="T3" fmla="*/ 29 h 39"/>
                <a:gd name="T4" fmla="*/ 41 w 76"/>
                <a:gd name="T5" fmla="*/ 5 h 39"/>
                <a:gd name="T6" fmla="*/ 0 w 76"/>
                <a:gd name="T7" fmla="*/ 11 h 39"/>
                <a:gd name="T8" fmla="*/ 35 w 76"/>
                <a:gd name="T9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39">
                  <a:moveTo>
                    <a:pt x="35" y="34"/>
                  </a:moveTo>
                  <a:cubicBezTo>
                    <a:pt x="56" y="39"/>
                    <a:pt x="76" y="29"/>
                    <a:pt x="76" y="29"/>
                  </a:cubicBezTo>
                  <a:cubicBezTo>
                    <a:pt x="76" y="29"/>
                    <a:pt x="62" y="10"/>
                    <a:pt x="41" y="5"/>
                  </a:cubicBezTo>
                  <a:cubicBezTo>
                    <a:pt x="20" y="0"/>
                    <a:pt x="0" y="11"/>
                    <a:pt x="0" y="11"/>
                  </a:cubicBezTo>
                  <a:cubicBezTo>
                    <a:pt x="0" y="11"/>
                    <a:pt x="14" y="29"/>
                    <a:pt x="35" y="3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26">
              <a:extLst>
                <a:ext uri="{FF2B5EF4-FFF2-40B4-BE49-F238E27FC236}">
                  <a16:creationId xmlns:a16="http://schemas.microsoft.com/office/drawing/2014/main" id="{1D909BAF-F4D9-46CF-ACA2-81BBBA563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176" y="3154363"/>
              <a:ext cx="214313" cy="217487"/>
            </a:xfrm>
            <a:custGeom>
              <a:avLst/>
              <a:gdLst>
                <a:gd name="T0" fmla="*/ 17 w 55"/>
                <a:gd name="T1" fmla="*/ 38 h 55"/>
                <a:gd name="T2" fmla="*/ 55 w 55"/>
                <a:gd name="T3" fmla="*/ 55 h 55"/>
                <a:gd name="T4" fmla="*/ 38 w 55"/>
                <a:gd name="T5" fmla="*/ 17 h 55"/>
                <a:gd name="T6" fmla="*/ 0 w 55"/>
                <a:gd name="T7" fmla="*/ 0 h 55"/>
                <a:gd name="T8" fmla="*/ 17 w 55"/>
                <a:gd name="T9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5">
                  <a:moveTo>
                    <a:pt x="17" y="38"/>
                  </a:moveTo>
                  <a:cubicBezTo>
                    <a:pt x="32" y="53"/>
                    <a:pt x="55" y="55"/>
                    <a:pt x="55" y="55"/>
                  </a:cubicBezTo>
                  <a:cubicBezTo>
                    <a:pt x="55" y="55"/>
                    <a:pt x="53" y="32"/>
                    <a:pt x="38" y="17"/>
                  </a:cubicBezTo>
                  <a:cubicBezTo>
                    <a:pt x="23" y="1"/>
                    <a:pt x="0" y="0"/>
                    <a:pt x="0" y="0"/>
                  </a:cubicBezTo>
                  <a:cubicBezTo>
                    <a:pt x="0" y="0"/>
                    <a:pt x="2" y="23"/>
                    <a:pt x="17" y="3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Oval 227">
              <a:extLst>
                <a:ext uri="{FF2B5EF4-FFF2-40B4-BE49-F238E27FC236}">
                  <a16:creationId xmlns:a16="http://schemas.microsoft.com/office/drawing/2014/main" id="{80E9AFB7-185E-4F08-93CF-D229BD4A5B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751" y="3063875"/>
              <a:ext cx="117475" cy="30797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FC40D847-FA4F-40CD-99C7-6720B3E917EF}"/>
              </a:ext>
            </a:extLst>
          </p:cNvPr>
          <p:cNvGrpSpPr/>
          <p:nvPr/>
        </p:nvGrpSpPr>
        <p:grpSpPr>
          <a:xfrm>
            <a:off x="4794250" y="2832100"/>
            <a:ext cx="844550" cy="841375"/>
            <a:chOff x="4794250" y="2832100"/>
            <a:chExt cx="844550" cy="841375"/>
          </a:xfrm>
        </p:grpSpPr>
        <p:sp>
          <p:nvSpPr>
            <p:cNvPr id="269" name="AutoShape 229">
              <a:extLst>
                <a:ext uri="{FF2B5EF4-FFF2-40B4-BE49-F238E27FC236}">
                  <a16:creationId xmlns:a16="http://schemas.microsoft.com/office/drawing/2014/main" id="{0F9F0530-EF35-4A45-A9B2-7E789FBBEC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94250" y="283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231">
              <a:extLst>
                <a:ext uri="{FF2B5EF4-FFF2-40B4-BE49-F238E27FC236}">
                  <a16:creationId xmlns:a16="http://schemas.microsoft.com/office/drawing/2014/main" id="{E1F19581-B11B-443F-B2D5-A2B280F4E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4250" y="28352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32">
              <a:extLst>
                <a:ext uri="{FF2B5EF4-FFF2-40B4-BE49-F238E27FC236}">
                  <a16:creationId xmlns:a16="http://schemas.microsoft.com/office/drawing/2014/main" id="{089C38D5-FD17-4F48-AFD6-FAC7108C0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2825" y="28638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33">
              <a:extLst>
                <a:ext uri="{FF2B5EF4-FFF2-40B4-BE49-F238E27FC236}">
                  <a16:creationId xmlns:a16="http://schemas.microsoft.com/office/drawing/2014/main" id="{C274D85E-2910-43BE-8E44-880FADDC5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413" y="3040063"/>
              <a:ext cx="361950" cy="420688"/>
            </a:xfrm>
            <a:custGeom>
              <a:avLst/>
              <a:gdLst>
                <a:gd name="T0" fmla="*/ 228 w 228"/>
                <a:gd name="T1" fmla="*/ 124 h 265"/>
                <a:gd name="T2" fmla="*/ 0 w 228"/>
                <a:gd name="T3" fmla="*/ 265 h 265"/>
                <a:gd name="T4" fmla="*/ 0 w 228"/>
                <a:gd name="T5" fmla="*/ 0 h 265"/>
                <a:gd name="T6" fmla="*/ 228 w 228"/>
                <a:gd name="T7" fmla="*/ 12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8" h="265">
                  <a:moveTo>
                    <a:pt x="228" y="124"/>
                  </a:moveTo>
                  <a:lnTo>
                    <a:pt x="0" y="265"/>
                  </a:lnTo>
                  <a:lnTo>
                    <a:pt x="0" y="0"/>
                  </a:lnTo>
                  <a:lnTo>
                    <a:pt x="228" y="124"/>
                  </a:lnTo>
                  <a:close/>
                </a:path>
              </a:pathLst>
            </a:custGeom>
            <a:no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60E8B03D-2230-45C4-B33F-863D9373A3BE}"/>
              </a:ext>
            </a:extLst>
          </p:cNvPr>
          <p:cNvGrpSpPr/>
          <p:nvPr/>
        </p:nvGrpSpPr>
        <p:grpSpPr>
          <a:xfrm>
            <a:off x="5819775" y="2860676"/>
            <a:ext cx="758825" cy="768349"/>
            <a:chOff x="5819775" y="2860676"/>
            <a:chExt cx="758825" cy="768349"/>
          </a:xfrm>
        </p:grpSpPr>
        <p:sp>
          <p:nvSpPr>
            <p:cNvPr id="275" name="AutoShape 235">
              <a:extLst>
                <a:ext uri="{FF2B5EF4-FFF2-40B4-BE49-F238E27FC236}">
                  <a16:creationId xmlns:a16="http://schemas.microsoft.com/office/drawing/2014/main" id="{7B9CEE09-512D-487A-9354-8D394EE3DBA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9775" y="2865438"/>
              <a:ext cx="758825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37">
              <a:extLst>
                <a:ext uri="{FF2B5EF4-FFF2-40B4-BE49-F238E27FC236}">
                  <a16:creationId xmlns:a16="http://schemas.microsoft.com/office/drawing/2014/main" id="{D1BA3A5B-4D9D-42EF-A99F-2C6D2E47C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2950" y="2860676"/>
              <a:ext cx="755650" cy="768349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38">
              <a:extLst>
                <a:ext uri="{FF2B5EF4-FFF2-40B4-BE49-F238E27FC236}">
                  <a16:creationId xmlns:a16="http://schemas.microsoft.com/office/drawing/2014/main" id="{FAD894C7-6DBB-4E4D-ABA6-7A70537AD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9013" y="3035300"/>
              <a:ext cx="346075" cy="415925"/>
            </a:xfrm>
            <a:custGeom>
              <a:avLst/>
              <a:gdLst>
                <a:gd name="T0" fmla="*/ 218 w 218"/>
                <a:gd name="T1" fmla="*/ 122 h 262"/>
                <a:gd name="T2" fmla="*/ 0 w 218"/>
                <a:gd name="T3" fmla="*/ 262 h 262"/>
                <a:gd name="T4" fmla="*/ 0 w 218"/>
                <a:gd name="T5" fmla="*/ 0 h 262"/>
                <a:gd name="T6" fmla="*/ 218 w 218"/>
                <a:gd name="T7" fmla="*/ 12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262">
                  <a:moveTo>
                    <a:pt x="218" y="122"/>
                  </a:moveTo>
                  <a:lnTo>
                    <a:pt x="0" y="262"/>
                  </a:lnTo>
                  <a:lnTo>
                    <a:pt x="0" y="0"/>
                  </a:lnTo>
                  <a:lnTo>
                    <a:pt x="218" y="122"/>
                  </a:lnTo>
                  <a:close/>
                </a:path>
              </a:pathLst>
            </a:custGeom>
            <a:noFill/>
            <a:ln w="15875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9D7B747B-E2A3-4B07-A08B-D376C5ECB325}"/>
              </a:ext>
            </a:extLst>
          </p:cNvPr>
          <p:cNvGrpSpPr/>
          <p:nvPr/>
        </p:nvGrpSpPr>
        <p:grpSpPr>
          <a:xfrm>
            <a:off x="7105650" y="2827338"/>
            <a:ext cx="842963" cy="841375"/>
            <a:chOff x="7105650" y="2827338"/>
            <a:chExt cx="842963" cy="841375"/>
          </a:xfrm>
        </p:grpSpPr>
        <p:sp>
          <p:nvSpPr>
            <p:cNvPr id="280" name="AutoShape 240">
              <a:extLst>
                <a:ext uri="{FF2B5EF4-FFF2-40B4-BE49-F238E27FC236}">
                  <a16:creationId xmlns:a16="http://schemas.microsoft.com/office/drawing/2014/main" id="{D1B07260-C3F2-425E-BA4A-CD4B4DDBDC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105650" y="2827338"/>
              <a:ext cx="839788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242">
              <a:extLst>
                <a:ext uri="{FF2B5EF4-FFF2-40B4-BE49-F238E27FC236}">
                  <a16:creationId xmlns:a16="http://schemas.microsoft.com/office/drawing/2014/main" id="{7D9D75AA-8134-4C86-BF64-1B659A5B3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2830513"/>
              <a:ext cx="842963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43">
              <a:extLst>
                <a:ext uri="{FF2B5EF4-FFF2-40B4-BE49-F238E27FC236}">
                  <a16:creationId xmlns:a16="http://schemas.microsoft.com/office/drawing/2014/main" id="{50C3EE33-50A8-4335-8040-EF855A9237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4225" y="2859088"/>
              <a:ext cx="787400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44">
              <a:extLst>
                <a:ext uri="{FF2B5EF4-FFF2-40B4-BE49-F238E27FC236}">
                  <a16:creationId xmlns:a16="http://schemas.microsoft.com/office/drawing/2014/main" id="{8DBC08FC-D333-4E26-BD5A-C2FC1B86D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450" y="3024188"/>
              <a:ext cx="487363" cy="447675"/>
            </a:xfrm>
            <a:custGeom>
              <a:avLst/>
              <a:gdLst>
                <a:gd name="T0" fmla="*/ 120 w 120"/>
                <a:gd name="T1" fmla="*/ 11 h 112"/>
                <a:gd name="T2" fmla="*/ 112 w 120"/>
                <a:gd name="T3" fmla="*/ 29 h 112"/>
                <a:gd name="T4" fmla="*/ 112 w 120"/>
                <a:gd name="T5" fmla="*/ 29 h 112"/>
                <a:gd name="T6" fmla="*/ 65 w 120"/>
                <a:gd name="T7" fmla="*/ 79 h 112"/>
                <a:gd name="T8" fmla="*/ 39 w 120"/>
                <a:gd name="T9" fmla="*/ 103 h 112"/>
                <a:gd name="T10" fmla="*/ 24 w 120"/>
                <a:gd name="T11" fmla="*/ 112 h 112"/>
                <a:gd name="T12" fmla="*/ 13 w 120"/>
                <a:gd name="T13" fmla="*/ 107 h 112"/>
                <a:gd name="T14" fmla="*/ 4 w 120"/>
                <a:gd name="T15" fmla="*/ 98 h 112"/>
                <a:gd name="T16" fmla="*/ 1 w 120"/>
                <a:gd name="T17" fmla="*/ 82 h 112"/>
                <a:gd name="T18" fmla="*/ 0 w 120"/>
                <a:gd name="T19" fmla="*/ 56 h 112"/>
                <a:gd name="T20" fmla="*/ 6 w 120"/>
                <a:gd name="T21" fmla="*/ 41 h 112"/>
                <a:gd name="T22" fmla="*/ 21 w 120"/>
                <a:gd name="T23" fmla="*/ 35 h 112"/>
                <a:gd name="T24" fmla="*/ 30 w 120"/>
                <a:gd name="T25" fmla="*/ 48 h 112"/>
                <a:gd name="T26" fmla="*/ 30 w 120"/>
                <a:gd name="T27" fmla="*/ 51 h 112"/>
                <a:gd name="T28" fmla="*/ 33 w 120"/>
                <a:gd name="T29" fmla="*/ 65 h 112"/>
                <a:gd name="T30" fmla="*/ 37 w 120"/>
                <a:gd name="T31" fmla="*/ 70 h 112"/>
                <a:gd name="T32" fmla="*/ 41 w 120"/>
                <a:gd name="T33" fmla="*/ 67 h 112"/>
                <a:gd name="T34" fmla="*/ 49 w 120"/>
                <a:gd name="T35" fmla="*/ 60 h 112"/>
                <a:gd name="T36" fmla="*/ 97 w 120"/>
                <a:gd name="T37" fmla="*/ 13 h 112"/>
                <a:gd name="T38" fmla="*/ 108 w 120"/>
                <a:gd name="T39" fmla="*/ 4 h 112"/>
                <a:gd name="T40" fmla="*/ 116 w 120"/>
                <a:gd name="T41" fmla="*/ 0 h 112"/>
                <a:gd name="T42" fmla="*/ 119 w 120"/>
                <a:gd name="T43" fmla="*/ 2 h 112"/>
                <a:gd name="T44" fmla="*/ 120 w 120"/>
                <a:gd name="T45" fmla="*/ 9 h 112"/>
                <a:gd name="T46" fmla="*/ 120 w 120"/>
                <a:gd name="T47" fmla="*/ 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" h="112">
                  <a:moveTo>
                    <a:pt x="120" y="11"/>
                  </a:moveTo>
                  <a:cubicBezTo>
                    <a:pt x="120" y="17"/>
                    <a:pt x="118" y="23"/>
                    <a:pt x="112" y="29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55" y="89"/>
                    <a:pt x="46" y="97"/>
                    <a:pt x="39" y="103"/>
                  </a:cubicBezTo>
                  <a:cubicBezTo>
                    <a:pt x="32" y="109"/>
                    <a:pt x="27" y="112"/>
                    <a:pt x="24" y="112"/>
                  </a:cubicBezTo>
                  <a:cubicBezTo>
                    <a:pt x="21" y="112"/>
                    <a:pt x="17" y="110"/>
                    <a:pt x="13" y="107"/>
                  </a:cubicBezTo>
                  <a:cubicBezTo>
                    <a:pt x="8" y="104"/>
                    <a:pt x="6" y="102"/>
                    <a:pt x="4" y="98"/>
                  </a:cubicBezTo>
                  <a:cubicBezTo>
                    <a:pt x="3" y="96"/>
                    <a:pt x="2" y="91"/>
                    <a:pt x="1" y="82"/>
                  </a:cubicBezTo>
                  <a:cubicBezTo>
                    <a:pt x="0" y="74"/>
                    <a:pt x="0" y="65"/>
                    <a:pt x="0" y="56"/>
                  </a:cubicBezTo>
                  <a:cubicBezTo>
                    <a:pt x="0" y="51"/>
                    <a:pt x="2" y="46"/>
                    <a:pt x="6" y="41"/>
                  </a:cubicBezTo>
                  <a:cubicBezTo>
                    <a:pt x="11" y="37"/>
                    <a:pt x="15" y="35"/>
                    <a:pt x="21" y="35"/>
                  </a:cubicBezTo>
                  <a:cubicBezTo>
                    <a:pt x="26" y="35"/>
                    <a:pt x="29" y="39"/>
                    <a:pt x="30" y="48"/>
                  </a:cubicBezTo>
                  <a:cubicBezTo>
                    <a:pt x="30" y="49"/>
                    <a:pt x="30" y="50"/>
                    <a:pt x="30" y="51"/>
                  </a:cubicBezTo>
                  <a:cubicBezTo>
                    <a:pt x="31" y="58"/>
                    <a:pt x="32" y="63"/>
                    <a:pt x="33" y="65"/>
                  </a:cubicBezTo>
                  <a:cubicBezTo>
                    <a:pt x="34" y="68"/>
                    <a:pt x="35" y="70"/>
                    <a:pt x="37" y="70"/>
                  </a:cubicBezTo>
                  <a:cubicBezTo>
                    <a:pt x="38" y="70"/>
                    <a:pt x="39" y="69"/>
                    <a:pt x="41" y="67"/>
                  </a:cubicBezTo>
                  <a:cubicBezTo>
                    <a:pt x="43" y="66"/>
                    <a:pt x="46" y="63"/>
                    <a:pt x="49" y="60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101" y="9"/>
                    <a:pt x="104" y="6"/>
                    <a:pt x="108" y="4"/>
                  </a:cubicBezTo>
                  <a:cubicBezTo>
                    <a:pt x="111" y="1"/>
                    <a:pt x="114" y="0"/>
                    <a:pt x="116" y="0"/>
                  </a:cubicBezTo>
                  <a:cubicBezTo>
                    <a:pt x="117" y="0"/>
                    <a:pt x="119" y="1"/>
                    <a:pt x="119" y="2"/>
                  </a:cubicBezTo>
                  <a:cubicBezTo>
                    <a:pt x="120" y="4"/>
                    <a:pt x="120" y="6"/>
                    <a:pt x="120" y="9"/>
                  </a:cubicBezTo>
                  <a:lnTo>
                    <a:pt x="120" y="11"/>
                  </a:ln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8A65D714-D6C3-4C1C-9E39-C25F637DD0BA}"/>
              </a:ext>
            </a:extLst>
          </p:cNvPr>
          <p:cNvGrpSpPr/>
          <p:nvPr/>
        </p:nvGrpSpPr>
        <p:grpSpPr>
          <a:xfrm>
            <a:off x="8123238" y="2860676"/>
            <a:ext cx="758825" cy="768349"/>
            <a:chOff x="8123238" y="2860676"/>
            <a:chExt cx="758825" cy="768349"/>
          </a:xfrm>
        </p:grpSpPr>
        <p:sp>
          <p:nvSpPr>
            <p:cNvPr id="286" name="AutoShape 246">
              <a:extLst>
                <a:ext uri="{FF2B5EF4-FFF2-40B4-BE49-F238E27FC236}">
                  <a16:creationId xmlns:a16="http://schemas.microsoft.com/office/drawing/2014/main" id="{D90806A9-2CBA-4B16-BAA9-64B7AAE0DB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2865438"/>
              <a:ext cx="758825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48">
              <a:extLst>
                <a:ext uri="{FF2B5EF4-FFF2-40B4-BE49-F238E27FC236}">
                  <a16:creationId xmlns:a16="http://schemas.microsoft.com/office/drawing/2014/main" id="{A74F882C-D56F-45DF-B6BB-B58DEA92D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413" y="2860676"/>
              <a:ext cx="755650" cy="768349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49">
              <a:extLst>
                <a:ext uri="{FF2B5EF4-FFF2-40B4-BE49-F238E27FC236}">
                  <a16:creationId xmlns:a16="http://schemas.microsoft.com/office/drawing/2014/main" id="{C9ADBEB9-931C-44BF-A53E-AF9DFF5F5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876" y="3024188"/>
              <a:ext cx="466725" cy="442912"/>
            </a:xfrm>
            <a:custGeom>
              <a:avLst/>
              <a:gdLst>
                <a:gd name="T0" fmla="*/ 120 w 120"/>
                <a:gd name="T1" fmla="*/ 11 h 112"/>
                <a:gd name="T2" fmla="*/ 112 w 120"/>
                <a:gd name="T3" fmla="*/ 29 h 112"/>
                <a:gd name="T4" fmla="*/ 112 w 120"/>
                <a:gd name="T5" fmla="*/ 29 h 112"/>
                <a:gd name="T6" fmla="*/ 65 w 120"/>
                <a:gd name="T7" fmla="*/ 79 h 112"/>
                <a:gd name="T8" fmla="*/ 39 w 120"/>
                <a:gd name="T9" fmla="*/ 103 h 112"/>
                <a:gd name="T10" fmla="*/ 24 w 120"/>
                <a:gd name="T11" fmla="*/ 112 h 112"/>
                <a:gd name="T12" fmla="*/ 13 w 120"/>
                <a:gd name="T13" fmla="*/ 107 h 112"/>
                <a:gd name="T14" fmla="*/ 4 w 120"/>
                <a:gd name="T15" fmla="*/ 98 h 112"/>
                <a:gd name="T16" fmla="*/ 1 w 120"/>
                <a:gd name="T17" fmla="*/ 82 h 112"/>
                <a:gd name="T18" fmla="*/ 0 w 120"/>
                <a:gd name="T19" fmla="*/ 56 h 112"/>
                <a:gd name="T20" fmla="*/ 6 w 120"/>
                <a:gd name="T21" fmla="*/ 41 h 112"/>
                <a:gd name="T22" fmla="*/ 21 w 120"/>
                <a:gd name="T23" fmla="*/ 35 h 112"/>
                <a:gd name="T24" fmla="*/ 30 w 120"/>
                <a:gd name="T25" fmla="*/ 48 h 112"/>
                <a:gd name="T26" fmla="*/ 30 w 120"/>
                <a:gd name="T27" fmla="*/ 51 h 112"/>
                <a:gd name="T28" fmla="*/ 33 w 120"/>
                <a:gd name="T29" fmla="*/ 65 h 112"/>
                <a:gd name="T30" fmla="*/ 37 w 120"/>
                <a:gd name="T31" fmla="*/ 70 h 112"/>
                <a:gd name="T32" fmla="*/ 41 w 120"/>
                <a:gd name="T33" fmla="*/ 67 h 112"/>
                <a:gd name="T34" fmla="*/ 49 w 120"/>
                <a:gd name="T35" fmla="*/ 60 h 112"/>
                <a:gd name="T36" fmla="*/ 97 w 120"/>
                <a:gd name="T37" fmla="*/ 13 h 112"/>
                <a:gd name="T38" fmla="*/ 108 w 120"/>
                <a:gd name="T39" fmla="*/ 4 h 112"/>
                <a:gd name="T40" fmla="*/ 116 w 120"/>
                <a:gd name="T41" fmla="*/ 0 h 112"/>
                <a:gd name="T42" fmla="*/ 119 w 120"/>
                <a:gd name="T43" fmla="*/ 2 h 112"/>
                <a:gd name="T44" fmla="*/ 120 w 120"/>
                <a:gd name="T45" fmla="*/ 9 h 112"/>
                <a:gd name="T46" fmla="*/ 120 w 120"/>
                <a:gd name="T47" fmla="*/ 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" h="112">
                  <a:moveTo>
                    <a:pt x="120" y="11"/>
                  </a:moveTo>
                  <a:cubicBezTo>
                    <a:pt x="120" y="17"/>
                    <a:pt x="118" y="23"/>
                    <a:pt x="112" y="29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55" y="89"/>
                    <a:pt x="46" y="97"/>
                    <a:pt x="39" y="103"/>
                  </a:cubicBezTo>
                  <a:cubicBezTo>
                    <a:pt x="32" y="109"/>
                    <a:pt x="27" y="112"/>
                    <a:pt x="24" y="112"/>
                  </a:cubicBezTo>
                  <a:cubicBezTo>
                    <a:pt x="21" y="112"/>
                    <a:pt x="17" y="110"/>
                    <a:pt x="13" y="107"/>
                  </a:cubicBezTo>
                  <a:cubicBezTo>
                    <a:pt x="8" y="104"/>
                    <a:pt x="6" y="102"/>
                    <a:pt x="4" y="98"/>
                  </a:cubicBezTo>
                  <a:cubicBezTo>
                    <a:pt x="3" y="96"/>
                    <a:pt x="2" y="91"/>
                    <a:pt x="1" y="82"/>
                  </a:cubicBezTo>
                  <a:cubicBezTo>
                    <a:pt x="0" y="74"/>
                    <a:pt x="0" y="65"/>
                    <a:pt x="0" y="56"/>
                  </a:cubicBezTo>
                  <a:cubicBezTo>
                    <a:pt x="0" y="51"/>
                    <a:pt x="2" y="46"/>
                    <a:pt x="6" y="41"/>
                  </a:cubicBezTo>
                  <a:cubicBezTo>
                    <a:pt x="11" y="37"/>
                    <a:pt x="15" y="35"/>
                    <a:pt x="21" y="35"/>
                  </a:cubicBezTo>
                  <a:cubicBezTo>
                    <a:pt x="26" y="35"/>
                    <a:pt x="29" y="39"/>
                    <a:pt x="30" y="48"/>
                  </a:cubicBezTo>
                  <a:cubicBezTo>
                    <a:pt x="30" y="49"/>
                    <a:pt x="30" y="50"/>
                    <a:pt x="30" y="51"/>
                  </a:cubicBezTo>
                  <a:cubicBezTo>
                    <a:pt x="31" y="58"/>
                    <a:pt x="32" y="63"/>
                    <a:pt x="33" y="65"/>
                  </a:cubicBezTo>
                  <a:cubicBezTo>
                    <a:pt x="34" y="68"/>
                    <a:pt x="35" y="70"/>
                    <a:pt x="37" y="70"/>
                  </a:cubicBezTo>
                  <a:cubicBezTo>
                    <a:pt x="38" y="70"/>
                    <a:pt x="39" y="69"/>
                    <a:pt x="41" y="67"/>
                  </a:cubicBezTo>
                  <a:cubicBezTo>
                    <a:pt x="43" y="66"/>
                    <a:pt x="46" y="63"/>
                    <a:pt x="49" y="60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101" y="9"/>
                    <a:pt x="104" y="6"/>
                    <a:pt x="108" y="4"/>
                  </a:cubicBezTo>
                  <a:cubicBezTo>
                    <a:pt x="111" y="1"/>
                    <a:pt x="114" y="0"/>
                    <a:pt x="116" y="0"/>
                  </a:cubicBezTo>
                  <a:cubicBezTo>
                    <a:pt x="117" y="0"/>
                    <a:pt x="119" y="1"/>
                    <a:pt x="119" y="2"/>
                  </a:cubicBezTo>
                  <a:cubicBezTo>
                    <a:pt x="120" y="4"/>
                    <a:pt x="120" y="6"/>
                    <a:pt x="120" y="9"/>
                  </a:cubicBezTo>
                  <a:lnTo>
                    <a:pt x="120" y="11"/>
                  </a:ln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49D86B6B-5DF4-434F-BD89-CEACBBB9C492}"/>
              </a:ext>
            </a:extLst>
          </p:cNvPr>
          <p:cNvGrpSpPr/>
          <p:nvPr/>
        </p:nvGrpSpPr>
        <p:grpSpPr>
          <a:xfrm>
            <a:off x="392113" y="4122738"/>
            <a:ext cx="844550" cy="839787"/>
            <a:chOff x="392113" y="4122738"/>
            <a:chExt cx="844550" cy="839787"/>
          </a:xfrm>
        </p:grpSpPr>
        <p:sp>
          <p:nvSpPr>
            <p:cNvPr id="291" name="AutoShape 251">
              <a:extLst>
                <a:ext uri="{FF2B5EF4-FFF2-40B4-BE49-F238E27FC236}">
                  <a16:creationId xmlns:a16="http://schemas.microsoft.com/office/drawing/2014/main" id="{473EDA59-BE94-4FD1-B50D-5FBB46B8EB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2113" y="4122738"/>
              <a:ext cx="841375" cy="839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253">
              <a:extLst>
                <a:ext uri="{FF2B5EF4-FFF2-40B4-BE49-F238E27FC236}">
                  <a16:creationId xmlns:a16="http://schemas.microsoft.com/office/drawing/2014/main" id="{F270456D-AEEC-4D85-91A0-7A7D91EF77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113" y="4125913"/>
              <a:ext cx="844550" cy="83343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54">
              <a:extLst>
                <a:ext uri="{FF2B5EF4-FFF2-40B4-BE49-F238E27FC236}">
                  <a16:creationId xmlns:a16="http://schemas.microsoft.com/office/drawing/2014/main" id="{B6D83B2A-623B-4BF0-AE71-E078BE2FA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88" y="4154488"/>
              <a:ext cx="788988" cy="77628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55">
              <a:extLst>
                <a:ext uri="{FF2B5EF4-FFF2-40B4-BE49-F238E27FC236}">
                  <a16:creationId xmlns:a16="http://schemas.microsoft.com/office/drawing/2014/main" id="{CEDE7883-C992-4CF8-8954-C414D2BFB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6" y="4318000"/>
              <a:ext cx="455613" cy="449262"/>
            </a:xfrm>
            <a:custGeom>
              <a:avLst/>
              <a:gdLst>
                <a:gd name="T0" fmla="*/ 287 w 287"/>
                <a:gd name="T1" fmla="*/ 215 h 283"/>
                <a:gd name="T2" fmla="*/ 217 w 287"/>
                <a:gd name="T3" fmla="*/ 283 h 283"/>
                <a:gd name="T4" fmla="*/ 143 w 287"/>
                <a:gd name="T5" fmla="*/ 210 h 283"/>
                <a:gd name="T6" fmla="*/ 69 w 287"/>
                <a:gd name="T7" fmla="*/ 283 h 283"/>
                <a:gd name="T8" fmla="*/ 0 w 287"/>
                <a:gd name="T9" fmla="*/ 215 h 283"/>
                <a:gd name="T10" fmla="*/ 74 w 287"/>
                <a:gd name="T11" fmla="*/ 142 h 283"/>
                <a:gd name="T12" fmla="*/ 0 w 287"/>
                <a:gd name="T13" fmla="*/ 68 h 283"/>
                <a:gd name="T14" fmla="*/ 69 w 287"/>
                <a:gd name="T15" fmla="*/ 0 h 283"/>
                <a:gd name="T16" fmla="*/ 143 w 287"/>
                <a:gd name="T17" fmla="*/ 73 h 283"/>
                <a:gd name="T18" fmla="*/ 217 w 287"/>
                <a:gd name="T19" fmla="*/ 0 h 283"/>
                <a:gd name="T20" fmla="*/ 287 w 287"/>
                <a:gd name="T21" fmla="*/ 68 h 283"/>
                <a:gd name="T22" fmla="*/ 212 w 287"/>
                <a:gd name="T23" fmla="*/ 142 h 283"/>
                <a:gd name="T24" fmla="*/ 287 w 287"/>
                <a:gd name="T25" fmla="*/ 21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7" h="283">
                  <a:moveTo>
                    <a:pt x="287" y="215"/>
                  </a:moveTo>
                  <a:lnTo>
                    <a:pt x="217" y="283"/>
                  </a:lnTo>
                  <a:lnTo>
                    <a:pt x="143" y="210"/>
                  </a:lnTo>
                  <a:lnTo>
                    <a:pt x="69" y="283"/>
                  </a:lnTo>
                  <a:lnTo>
                    <a:pt x="0" y="215"/>
                  </a:lnTo>
                  <a:lnTo>
                    <a:pt x="74" y="142"/>
                  </a:lnTo>
                  <a:lnTo>
                    <a:pt x="0" y="68"/>
                  </a:lnTo>
                  <a:lnTo>
                    <a:pt x="69" y="0"/>
                  </a:lnTo>
                  <a:lnTo>
                    <a:pt x="143" y="73"/>
                  </a:lnTo>
                  <a:lnTo>
                    <a:pt x="217" y="0"/>
                  </a:lnTo>
                  <a:lnTo>
                    <a:pt x="287" y="68"/>
                  </a:lnTo>
                  <a:lnTo>
                    <a:pt x="212" y="142"/>
                  </a:lnTo>
                  <a:lnTo>
                    <a:pt x="287" y="215"/>
                  </a:lnTo>
                  <a:close/>
                </a:path>
              </a:pathLst>
            </a:custGeom>
            <a:no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EE28AAE1-60D9-4037-AB64-9D8DA7B97A82}"/>
              </a:ext>
            </a:extLst>
          </p:cNvPr>
          <p:cNvGrpSpPr/>
          <p:nvPr/>
        </p:nvGrpSpPr>
        <p:grpSpPr>
          <a:xfrm>
            <a:off x="1411288" y="4149725"/>
            <a:ext cx="771525" cy="769938"/>
            <a:chOff x="1411288" y="4149725"/>
            <a:chExt cx="771525" cy="769938"/>
          </a:xfrm>
        </p:grpSpPr>
        <p:sp>
          <p:nvSpPr>
            <p:cNvPr id="297" name="AutoShape 257">
              <a:extLst>
                <a:ext uri="{FF2B5EF4-FFF2-40B4-BE49-F238E27FC236}">
                  <a16:creationId xmlns:a16="http://schemas.microsoft.com/office/drawing/2014/main" id="{485CCCAE-3CEB-4AE2-8EE6-F7E20C36BBD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1288" y="4149725"/>
              <a:ext cx="762000" cy="76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59">
              <a:extLst>
                <a:ext uri="{FF2B5EF4-FFF2-40B4-BE49-F238E27FC236}">
                  <a16:creationId xmlns:a16="http://schemas.microsoft.com/office/drawing/2014/main" id="{0070BE4C-F690-44BF-983C-EF40D3AB9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1288" y="4149725"/>
              <a:ext cx="771525" cy="769938"/>
            </a:xfrm>
            <a:custGeom>
              <a:avLst/>
              <a:gdLst>
                <a:gd name="T0" fmla="*/ 403 w 806"/>
                <a:gd name="T1" fmla="*/ 0 h 805"/>
                <a:gd name="T2" fmla="*/ 403 w 806"/>
                <a:gd name="T3" fmla="*/ 0 h 805"/>
                <a:gd name="T4" fmla="*/ 0 w 806"/>
                <a:gd name="T5" fmla="*/ 402 h 805"/>
                <a:gd name="T6" fmla="*/ 403 w 806"/>
                <a:gd name="T7" fmla="*/ 805 h 805"/>
                <a:gd name="T8" fmla="*/ 806 w 806"/>
                <a:gd name="T9" fmla="*/ 402 h 805"/>
                <a:gd name="T10" fmla="*/ 403 w 806"/>
                <a:gd name="T11" fmla="*/ 0 h 805"/>
                <a:gd name="T12" fmla="*/ 403 w 806"/>
                <a:gd name="T13" fmla="*/ 18 h 805"/>
                <a:gd name="T14" fmla="*/ 403 w 806"/>
                <a:gd name="T15" fmla="*/ 18 h 805"/>
                <a:gd name="T16" fmla="*/ 787 w 806"/>
                <a:gd name="T17" fmla="*/ 402 h 805"/>
                <a:gd name="T18" fmla="*/ 403 w 806"/>
                <a:gd name="T19" fmla="*/ 787 h 805"/>
                <a:gd name="T20" fmla="*/ 18 w 806"/>
                <a:gd name="T21" fmla="*/ 402 h 805"/>
                <a:gd name="T22" fmla="*/ 403 w 806"/>
                <a:gd name="T23" fmla="*/ 18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6" h="805">
                  <a:moveTo>
                    <a:pt x="403" y="0"/>
                  </a:moveTo>
                  <a:lnTo>
                    <a:pt x="403" y="0"/>
                  </a:lnTo>
                  <a:cubicBezTo>
                    <a:pt x="180" y="0"/>
                    <a:pt x="0" y="180"/>
                    <a:pt x="0" y="402"/>
                  </a:cubicBezTo>
                  <a:cubicBezTo>
                    <a:pt x="0" y="625"/>
                    <a:pt x="180" y="805"/>
                    <a:pt x="403" y="805"/>
                  </a:cubicBezTo>
                  <a:cubicBezTo>
                    <a:pt x="625" y="805"/>
                    <a:pt x="806" y="625"/>
                    <a:pt x="806" y="402"/>
                  </a:cubicBezTo>
                  <a:cubicBezTo>
                    <a:pt x="806" y="180"/>
                    <a:pt x="625" y="0"/>
                    <a:pt x="403" y="0"/>
                  </a:cubicBezTo>
                  <a:close/>
                  <a:moveTo>
                    <a:pt x="403" y="18"/>
                  </a:moveTo>
                  <a:lnTo>
                    <a:pt x="403" y="18"/>
                  </a:lnTo>
                  <a:cubicBezTo>
                    <a:pt x="615" y="18"/>
                    <a:pt x="787" y="190"/>
                    <a:pt x="787" y="402"/>
                  </a:cubicBezTo>
                  <a:cubicBezTo>
                    <a:pt x="787" y="614"/>
                    <a:pt x="615" y="787"/>
                    <a:pt x="403" y="787"/>
                  </a:cubicBezTo>
                  <a:cubicBezTo>
                    <a:pt x="191" y="787"/>
                    <a:pt x="18" y="614"/>
                    <a:pt x="18" y="402"/>
                  </a:cubicBezTo>
                  <a:cubicBezTo>
                    <a:pt x="18" y="190"/>
                    <a:pt x="191" y="18"/>
                    <a:pt x="403" y="18"/>
                  </a:cubicBezTo>
                  <a:close/>
                </a:path>
              </a:pathLst>
            </a:custGeom>
            <a:solidFill>
              <a:srgbClr val="3993B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Freeform 260">
              <a:extLst>
                <a:ext uri="{FF2B5EF4-FFF2-40B4-BE49-F238E27FC236}">
                  <a16:creationId xmlns:a16="http://schemas.microsoft.com/office/drawing/2014/main" id="{2A45CB4D-E11E-42D4-ACC8-E63BCFB9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801" y="4313238"/>
              <a:ext cx="444500" cy="442913"/>
            </a:xfrm>
            <a:custGeom>
              <a:avLst/>
              <a:gdLst>
                <a:gd name="T0" fmla="*/ 464 w 464"/>
                <a:gd name="T1" fmla="*/ 353 h 464"/>
                <a:gd name="T2" fmla="*/ 464 w 464"/>
                <a:gd name="T3" fmla="*/ 353 h 464"/>
                <a:gd name="T4" fmla="*/ 352 w 464"/>
                <a:gd name="T5" fmla="*/ 464 h 464"/>
                <a:gd name="T6" fmla="*/ 232 w 464"/>
                <a:gd name="T7" fmla="*/ 344 h 464"/>
                <a:gd name="T8" fmla="*/ 112 w 464"/>
                <a:gd name="T9" fmla="*/ 464 h 464"/>
                <a:gd name="T10" fmla="*/ 0 w 464"/>
                <a:gd name="T11" fmla="*/ 353 h 464"/>
                <a:gd name="T12" fmla="*/ 120 w 464"/>
                <a:gd name="T13" fmla="*/ 232 h 464"/>
                <a:gd name="T14" fmla="*/ 0 w 464"/>
                <a:gd name="T15" fmla="*/ 113 h 464"/>
                <a:gd name="T16" fmla="*/ 112 w 464"/>
                <a:gd name="T17" fmla="*/ 0 h 464"/>
                <a:gd name="T18" fmla="*/ 232 w 464"/>
                <a:gd name="T19" fmla="*/ 120 h 464"/>
                <a:gd name="T20" fmla="*/ 351 w 464"/>
                <a:gd name="T21" fmla="*/ 0 h 464"/>
                <a:gd name="T22" fmla="*/ 464 w 464"/>
                <a:gd name="T23" fmla="*/ 113 h 464"/>
                <a:gd name="T24" fmla="*/ 343 w 464"/>
                <a:gd name="T25" fmla="*/ 232 h 464"/>
                <a:gd name="T26" fmla="*/ 464 w 464"/>
                <a:gd name="T27" fmla="*/ 353 h 464"/>
                <a:gd name="T28" fmla="*/ 464 w 464"/>
                <a:gd name="T29" fmla="*/ 35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4" h="464">
                  <a:moveTo>
                    <a:pt x="464" y="353"/>
                  </a:moveTo>
                  <a:lnTo>
                    <a:pt x="464" y="353"/>
                  </a:lnTo>
                  <a:lnTo>
                    <a:pt x="352" y="464"/>
                  </a:lnTo>
                  <a:lnTo>
                    <a:pt x="232" y="344"/>
                  </a:lnTo>
                  <a:lnTo>
                    <a:pt x="112" y="464"/>
                  </a:lnTo>
                  <a:lnTo>
                    <a:pt x="0" y="353"/>
                  </a:lnTo>
                  <a:lnTo>
                    <a:pt x="120" y="232"/>
                  </a:lnTo>
                  <a:lnTo>
                    <a:pt x="0" y="113"/>
                  </a:lnTo>
                  <a:lnTo>
                    <a:pt x="112" y="0"/>
                  </a:lnTo>
                  <a:lnTo>
                    <a:pt x="232" y="120"/>
                  </a:lnTo>
                  <a:lnTo>
                    <a:pt x="351" y="0"/>
                  </a:lnTo>
                  <a:lnTo>
                    <a:pt x="464" y="113"/>
                  </a:lnTo>
                  <a:lnTo>
                    <a:pt x="343" y="232"/>
                  </a:lnTo>
                  <a:lnTo>
                    <a:pt x="464" y="353"/>
                  </a:lnTo>
                  <a:lnTo>
                    <a:pt x="464" y="353"/>
                  </a:lnTo>
                  <a:close/>
                </a:path>
              </a:pathLst>
            </a:custGeom>
            <a:noFill/>
            <a:ln w="22225" cap="rnd">
              <a:solidFill>
                <a:srgbClr val="3993B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DB4A490D-C96D-4D42-9072-231B3C750C04}"/>
              </a:ext>
            </a:extLst>
          </p:cNvPr>
          <p:cNvGrpSpPr/>
          <p:nvPr/>
        </p:nvGrpSpPr>
        <p:grpSpPr>
          <a:xfrm>
            <a:off x="2586038" y="4129088"/>
            <a:ext cx="844550" cy="841375"/>
            <a:chOff x="2586038" y="4129088"/>
            <a:chExt cx="844550" cy="841375"/>
          </a:xfrm>
        </p:grpSpPr>
        <p:sp>
          <p:nvSpPr>
            <p:cNvPr id="302" name="AutoShape 262">
              <a:extLst>
                <a:ext uri="{FF2B5EF4-FFF2-40B4-BE49-F238E27FC236}">
                  <a16:creationId xmlns:a16="http://schemas.microsoft.com/office/drawing/2014/main" id="{BDF87F80-4555-4859-8F9F-AD8D8EE615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6038" y="41290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264">
              <a:extLst>
                <a:ext uri="{FF2B5EF4-FFF2-40B4-BE49-F238E27FC236}">
                  <a16:creationId xmlns:a16="http://schemas.microsoft.com/office/drawing/2014/main" id="{9D75A195-2EC4-48EC-95CD-7BD52A3F33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6038" y="41322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5">
              <a:extLst>
                <a:ext uri="{FF2B5EF4-FFF2-40B4-BE49-F238E27FC236}">
                  <a16:creationId xmlns:a16="http://schemas.microsoft.com/office/drawing/2014/main" id="{3F22FED8-1C97-4C20-9037-07567402C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4613" y="41608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6">
              <a:extLst>
                <a:ext uri="{FF2B5EF4-FFF2-40B4-BE49-F238E27FC236}">
                  <a16:creationId xmlns:a16="http://schemas.microsoft.com/office/drawing/2014/main" id="{FCDB6ECA-A08D-4D9D-85F8-1D6BFE11C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563" y="4337051"/>
              <a:ext cx="317500" cy="428625"/>
            </a:xfrm>
            <a:custGeom>
              <a:avLst/>
              <a:gdLst>
                <a:gd name="T0" fmla="*/ 75 w 78"/>
                <a:gd name="T1" fmla="*/ 107 h 107"/>
                <a:gd name="T2" fmla="*/ 3 w 78"/>
                <a:gd name="T3" fmla="*/ 107 h 107"/>
                <a:gd name="T4" fmla="*/ 0 w 78"/>
                <a:gd name="T5" fmla="*/ 104 h 107"/>
                <a:gd name="T6" fmla="*/ 0 w 78"/>
                <a:gd name="T7" fmla="*/ 3 h 107"/>
                <a:gd name="T8" fmla="*/ 3 w 78"/>
                <a:gd name="T9" fmla="*/ 0 h 107"/>
                <a:gd name="T10" fmla="*/ 75 w 78"/>
                <a:gd name="T11" fmla="*/ 0 h 107"/>
                <a:gd name="T12" fmla="*/ 78 w 78"/>
                <a:gd name="T13" fmla="*/ 3 h 107"/>
                <a:gd name="T14" fmla="*/ 78 w 78"/>
                <a:gd name="T15" fmla="*/ 104 h 107"/>
                <a:gd name="T16" fmla="*/ 75 w 78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07">
                  <a:moveTo>
                    <a:pt x="75" y="107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1" y="107"/>
                    <a:pt x="0" y="106"/>
                    <a:pt x="0" y="1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7" y="0"/>
                    <a:pt x="78" y="1"/>
                    <a:pt x="78" y="3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6"/>
                    <a:pt x="77" y="107"/>
                    <a:pt x="75" y="107"/>
                  </a:cubicBezTo>
                  <a:close/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Line 267">
              <a:extLst>
                <a:ext uri="{FF2B5EF4-FFF2-40B4-BE49-F238E27FC236}">
                  <a16:creationId xmlns:a16="http://schemas.microsoft.com/office/drawing/2014/main" id="{48EE7388-7DC4-4702-89CF-C00A946744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4188" y="4397376"/>
              <a:ext cx="106363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Line 268">
              <a:extLst>
                <a:ext uri="{FF2B5EF4-FFF2-40B4-BE49-F238E27FC236}">
                  <a16:creationId xmlns:a16="http://schemas.microsoft.com/office/drawing/2014/main" id="{4E3CDE5D-C46A-40AD-97FD-F649BB1C1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4188" y="4441826"/>
              <a:ext cx="106363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Line 269">
              <a:extLst>
                <a:ext uri="{FF2B5EF4-FFF2-40B4-BE49-F238E27FC236}">
                  <a16:creationId xmlns:a16="http://schemas.microsoft.com/office/drawing/2014/main" id="{50617308-EFA3-4204-BBFC-1256132C3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4188" y="4489451"/>
              <a:ext cx="106363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Line 270">
              <a:extLst>
                <a:ext uri="{FF2B5EF4-FFF2-40B4-BE49-F238E27FC236}">
                  <a16:creationId xmlns:a16="http://schemas.microsoft.com/office/drawing/2014/main" id="{B0048394-654C-4C7D-9233-DEA49A9CE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4188" y="4533901"/>
              <a:ext cx="106363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Line 271">
              <a:extLst>
                <a:ext uri="{FF2B5EF4-FFF2-40B4-BE49-F238E27FC236}">
                  <a16:creationId xmlns:a16="http://schemas.microsoft.com/office/drawing/2014/main" id="{64282DB2-DC84-41A0-8254-0BBA387858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4581526"/>
              <a:ext cx="244475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Line 272">
              <a:extLst>
                <a:ext uri="{FF2B5EF4-FFF2-40B4-BE49-F238E27FC236}">
                  <a16:creationId xmlns:a16="http://schemas.microsoft.com/office/drawing/2014/main" id="{BFA16374-726A-4681-9748-0B75127092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4629151"/>
              <a:ext cx="244475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Line 273">
              <a:extLst>
                <a:ext uri="{FF2B5EF4-FFF2-40B4-BE49-F238E27FC236}">
                  <a16:creationId xmlns:a16="http://schemas.microsoft.com/office/drawing/2014/main" id="{E9447E08-BE4A-43D9-949C-89471FB4EA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4673601"/>
              <a:ext cx="244475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Line 274">
              <a:extLst>
                <a:ext uri="{FF2B5EF4-FFF2-40B4-BE49-F238E27FC236}">
                  <a16:creationId xmlns:a16="http://schemas.microsoft.com/office/drawing/2014/main" id="{264A00B6-0C90-4630-AAA6-16A65E14CD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4722813"/>
              <a:ext cx="244475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Rectangle 275">
              <a:extLst>
                <a:ext uri="{FF2B5EF4-FFF2-40B4-BE49-F238E27FC236}">
                  <a16:creationId xmlns:a16="http://schemas.microsoft.com/office/drawing/2014/main" id="{8A8CA638-6A89-43D0-8D9E-25518C08D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4013" y="4397376"/>
              <a:ext cx="98425" cy="152400"/>
            </a:xfrm>
            <a:prstGeom prst="rect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76">
              <a:extLst>
                <a:ext uri="{FF2B5EF4-FFF2-40B4-BE49-F238E27FC236}">
                  <a16:creationId xmlns:a16="http://schemas.microsoft.com/office/drawing/2014/main" id="{E8B16A28-9B41-4D9B-ADD9-D15044957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713" y="4360863"/>
              <a:ext cx="49213" cy="36513"/>
            </a:xfrm>
            <a:custGeom>
              <a:avLst/>
              <a:gdLst>
                <a:gd name="T0" fmla="*/ 0 w 31"/>
                <a:gd name="T1" fmla="*/ 23 h 23"/>
                <a:gd name="T2" fmla="*/ 0 w 31"/>
                <a:gd name="T3" fmla="*/ 0 h 23"/>
                <a:gd name="T4" fmla="*/ 31 w 31"/>
                <a:gd name="T5" fmla="*/ 0 h 23"/>
                <a:gd name="T6" fmla="*/ 31 w 31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3">
                  <a:moveTo>
                    <a:pt x="0" y="23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23"/>
                  </a:ln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Line 277">
              <a:extLst>
                <a:ext uri="{FF2B5EF4-FFF2-40B4-BE49-F238E27FC236}">
                  <a16:creationId xmlns:a16="http://schemas.microsoft.com/office/drawing/2014/main" id="{EB07D39D-52CE-44EC-AE22-A332BB61AD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9413" y="4418013"/>
              <a:ext cx="0" cy="317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Line 278">
              <a:extLst>
                <a:ext uri="{FF2B5EF4-FFF2-40B4-BE49-F238E27FC236}">
                  <a16:creationId xmlns:a16="http://schemas.microsoft.com/office/drawing/2014/main" id="{369E04E7-50F3-4F00-BC91-E69543D4CA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226" y="4418013"/>
              <a:ext cx="0" cy="317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Line 279">
              <a:extLst>
                <a:ext uri="{FF2B5EF4-FFF2-40B4-BE49-F238E27FC236}">
                  <a16:creationId xmlns:a16="http://schemas.microsoft.com/office/drawing/2014/main" id="{8DFC6D3A-D019-4581-904F-1D5168216B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1801" y="4418013"/>
              <a:ext cx="0" cy="317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Line 280">
              <a:extLst>
                <a:ext uri="{FF2B5EF4-FFF2-40B4-BE49-F238E27FC236}">
                  <a16:creationId xmlns:a16="http://schemas.microsoft.com/office/drawing/2014/main" id="{FE0D6801-6C9F-4074-A7C7-EAF175CCB6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9413" y="4465638"/>
              <a:ext cx="0" cy="28575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Line 281">
              <a:extLst>
                <a:ext uri="{FF2B5EF4-FFF2-40B4-BE49-F238E27FC236}">
                  <a16:creationId xmlns:a16="http://schemas.microsoft.com/office/drawing/2014/main" id="{F7698DC8-2D74-44C6-A22C-C13C1CC61A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226" y="4465638"/>
              <a:ext cx="0" cy="28575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Line 282">
              <a:extLst>
                <a:ext uri="{FF2B5EF4-FFF2-40B4-BE49-F238E27FC236}">
                  <a16:creationId xmlns:a16="http://schemas.microsoft.com/office/drawing/2014/main" id="{096BAB66-BB6F-417A-A227-0C3B0BC81A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1801" y="4465638"/>
              <a:ext cx="0" cy="28575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Line 283">
              <a:extLst>
                <a:ext uri="{FF2B5EF4-FFF2-40B4-BE49-F238E27FC236}">
                  <a16:creationId xmlns:a16="http://schemas.microsoft.com/office/drawing/2014/main" id="{3C96F779-DE80-4B0B-AA79-A112991CE2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3226" y="4510088"/>
              <a:ext cx="0" cy="3175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5" name="Group 344">
            <a:extLst>
              <a:ext uri="{FF2B5EF4-FFF2-40B4-BE49-F238E27FC236}">
                <a16:creationId xmlns:a16="http://schemas.microsoft.com/office/drawing/2014/main" id="{B96E0732-648A-4C31-A40A-A5FDCC45CFAA}"/>
              </a:ext>
            </a:extLst>
          </p:cNvPr>
          <p:cNvGrpSpPr/>
          <p:nvPr/>
        </p:nvGrpSpPr>
        <p:grpSpPr>
          <a:xfrm>
            <a:off x="3636963" y="4164013"/>
            <a:ext cx="758825" cy="766763"/>
            <a:chOff x="3636963" y="4164013"/>
            <a:chExt cx="758825" cy="766763"/>
          </a:xfrm>
        </p:grpSpPr>
        <p:sp>
          <p:nvSpPr>
            <p:cNvPr id="325" name="AutoShape 285">
              <a:extLst>
                <a:ext uri="{FF2B5EF4-FFF2-40B4-BE49-F238E27FC236}">
                  <a16:creationId xmlns:a16="http://schemas.microsoft.com/office/drawing/2014/main" id="{C5795F5F-BF2C-4035-A4A7-5CFB13E135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6963" y="416877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87">
              <a:extLst>
                <a:ext uri="{FF2B5EF4-FFF2-40B4-BE49-F238E27FC236}">
                  <a16:creationId xmlns:a16="http://schemas.microsoft.com/office/drawing/2014/main" id="{1AD34815-9DBA-4A39-AA05-238E4762C8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138" y="416401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88">
              <a:extLst>
                <a:ext uri="{FF2B5EF4-FFF2-40B4-BE49-F238E27FC236}">
                  <a16:creationId xmlns:a16="http://schemas.microsoft.com/office/drawing/2014/main" id="{B5AA2952-D1C7-426A-8246-0E8FF8758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151" y="4338638"/>
              <a:ext cx="303213" cy="422275"/>
            </a:xfrm>
            <a:custGeom>
              <a:avLst/>
              <a:gdLst>
                <a:gd name="T0" fmla="*/ 75 w 78"/>
                <a:gd name="T1" fmla="*/ 107 h 107"/>
                <a:gd name="T2" fmla="*/ 3 w 78"/>
                <a:gd name="T3" fmla="*/ 107 h 107"/>
                <a:gd name="T4" fmla="*/ 0 w 78"/>
                <a:gd name="T5" fmla="*/ 104 h 107"/>
                <a:gd name="T6" fmla="*/ 0 w 78"/>
                <a:gd name="T7" fmla="*/ 3 h 107"/>
                <a:gd name="T8" fmla="*/ 3 w 78"/>
                <a:gd name="T9" fmla="*/ 0 h 107"/>
                <a:gd name="T10" fmla="*/ 75 w 78"/>
                <a:gd name="T11" fmla="*/ 0 h 107"/>
                <a:gd name="T12" fmla="*/ 78 w 78"/>
                <a:gd name="T13" fmla="*/ 3 h 107"/>
                <a:gd name="T14" fmla="*/ 78 w 78"/>
                <a:gd name="T15" fmla="*/ 104 h 107"/>
                <a:gd name="T16" fmla="*/ 75 w 78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07">
                  <a:moveTo>
                    <a:pt x="75" y="107"/>
                  </a:moveTo>
                  <a:cubicBezTo>
                    <a:pt x="3" y="107"/>
                    <a:pt x="3" y="107"/>
                    <a:pt x="3" y="107"/>
                  </a:cubicBezTo>
                  <a:cubicBezTo>
                    <a:pt x="1" y="107"/>
                    <a:pt x="0" y="106"/>
                    <a:pt x="0" y="10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7" y="0"/>
                    <a:pt x="78" y="1"/>
                    <a:pt x="78" y="3"/>
                  </a:cubicBezTo>
                  <a:cubicBezTo>
                    <a:pt x="78" y="104"/>
                    <a:pt x="78" y="104"/>
                    <a:pt x="78" y="104"/>
                  </a:cubicBezTo>
                  <a:cubicBezTo>
                    <a:pt x="78" y="106"/>
                    <a:pt x="77" y="107"/>
                    <a:pt x="75" y="107"/>
                  </a:cubicBezTo>
                  <a:close/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Line 289">
              <a:extLst>
                <a:ext uri="{FF2B5EF4-FFF2-40B4-BE49-F238E27FC236}">
                  <a16:creationId xmlns:a16="http://schemas.microsoft.com/office/drawing/2014/main" id="{3EDD9FD4-01C0-47B2-A83D-B43A16DA67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3838" y="4397375"/>
              <a:ext cx="101600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Line 290">
              <a:extLst>
                <a:ext uri="{FF2B5EF4-FFF2-40B4-BE49-F238E27FC236}">
                  <a16:creationId xmlns:a16="http://schemas.microsoft.com/office/drawing/2014/main" id="{D7436059-5496-4332-AF18-2F22C0165F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3838" y="4441825"/>
              <a:ext cx="101600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Line 291">
              <a:extLst>
                <a:ext uri="{FF2B5EF4-FFF2-40B4-BE49-F238E27FC236}">
                  <a16:creationId xmlns:a16="http://schemas.microsoft.com/office/drawing/2014/main" id="{80E1F8CE-AAFF-4045-8F19-2D10E02380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3838" y="4489450"/>
              <a:ext cx="101600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Line 292">
              <a:extLst>
                <a:ext uri="{FF2B5EF4-FFF2-40B4-BE49-F238E27FC236}">
                  <a16:creationId xmlns:a16="http://schemas.microsoft.com/office/drawing/2014/main" id="{1C44AA17-6D2C-4D73-950C-E037865CDF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3838" y="4532313"/>
              <a:ext cx="101600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Line 293">
              <a:extLst>
                <a:ext uri="{FF2B5EF4-FFF2-40B4-BE49-F238E27FC236}">
                  <a16:creationId xmlns:a16="http://schemas.microsoft.com/office/drawing/2014/main" id="{2AD504C4-D9FF-4A7D-819E-7F38953455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076" y="4579938"/>
              <a:ext cx="233363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Line 294">
              <a:extLst>
                <a:ext uri="{FF2B5EF4-FFF2-40B4-BE49-F238E27FC236}">
                  <a16:creationId xmlns:a16="http://schemas.microsoft.com/office/drawing/2014/main" id="{A959DE19-C3CF-4B73-9D0B-32A4AA9A67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076" y="4627563"/>
              <a:ext cx="233363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Line 295">
              <a:extLst>
                <a:ext uri="{FF2B5EF4-FFF2-40B4-BE49-F238E27FC236}">
                  <a16:creationId xmlns:a16="http://schemas.microsoft.com/office/drawing/2014/main" id="{FFD8E715-2A0B-4835-AD73-79F5CAC81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076" y="4670425"/>
              <a:ext cx="233363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Line 296">
              <a:extLst>
                <a:ext uri="{FF2B5EF4-FFF2-40B4-BE49-F238E27FC236}">
                  <a16:creationId xmlns:a16="http://schemas.microsoft.com/office/drawing/2014/main" id="{9DF50258-C0E0-4BF3-8500-6CB6717495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076" y="4718050"/>
              <a:ext cx="233363" cy="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Rectangle 297">
              <a:extLst>
                <a:ext uri="{FF2B5EF4-FFF2-40B4-BE49-F238E27FC236}">
                  <a16:creationId xmlns:a16="http://schemas.microsoft.com/office/drawing/2014/main" id="{C61EDB73-AC38-4213-8704-733F7F79D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0013" y="4397375"/>
              <a:ext cx="92075" cy="150813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298">
              <a:extLst>
                <a:ext uri="{FF2B5EF4-FFF2-40B4-BE49-F238E27FC236}">
                  <a16:creationId xmlns:a16="http://schemas.microsoft.com/office/drawing/2014/main" id="{8D2715C1-2A51-4CDE-9E2D-3B8207D6B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126" y="4362450"/>
              <a:ext cx="46038" cy="34925"/>
            </a:xfrm>
            <a:custGeom>
              <a:avLst/>
              <a:gdLst>
                <a:gd name="T0" fmla="*/ 0 w 29"/>
                <a:gd name="T1" fmla="*/ 22 h 22"/>
                <a:gd name="T2" fmla="*/ 0 w 29"/>
                <a:gd name="T3" fmla="*/ 0 h 22"/>
                <a:gd name="T4" fmla="*/ 29 w 29"/>
                <a:gd name="T5" fmla="*/ 0 h 22"/>
                <a:gd name="T6" fmla="*/ 29 w 29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2">
                  <a:moveTo>
                    <a:pt x="0" y="22"/>
                  </a:moveTo>
                  <a:lnTo>
                    <a:pt x="0" y="0"/>
                  </a:lnTo>
                  <a:lnTo>
                    <a:pt x="29" y="0"/>
                  </a:lnTo>
                  <a:lnTo>
                    <a:pt x="29" y="22"/>
                  </a:ln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Line 299">
              <a:extLst>
                <a:ext uri="{FF2B5EF4-FFF2-40B4-BE49-F238E27FC236}">
                  <a16:creationId xmlns:a16="http://schemas.microsoft.com/office/drawing/2014/main" id="{47B70DC9-639B-48FE-AC49-D2D38CED0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238" y="4418013"/>
              <a:ext cx="0" cy="3175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Line 300">
              <a:extLst>
                <a:ext uri="{FF2B5EF4-FFF2-40B4-BE49-F238E27FC236}">
                  <a16:creationId xmlns:a16="http://schemas.microsoft.com/office/drawing/2014/main" id="{D15DEB47-0E62-4E20-8429-CD955826C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1" y="4418013"/>
              <a:ext cx="0" cy="3175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Line 301">
              <a:extLst>
                <a:ext uri="{FF2B5EF4-FFF2-40B4-BE49-F238E27FC236}">
                  <a16:creationId xmlns:a16="http://schemas.microsoft.com/office/drawing/2014/main" id="{938FC802-4616-4F0C-ACF9-D345781BA7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4418013"/>
              <a:ext cx="0" cy="3175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Line 302">
              <a:extLst>
                <a:ext uri="{FF2B5EF4-FFF2-40B4-BE49-F238E27FC236}">
                  <a16:creationId xmlns:a16="http://schemas.microsoft.com/office/drawing/2014/main" id="{DD9A0091-D64E-48E7-8412-7B7A9C6DC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238" y="4465638"/>
              <a:ext cx="0" cy="26988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Line 303">
              <a:extLst>
                <a:ext uri="{FF2B5EF4-FFF2-40B4-BE49-F238E27FC236}">
                  <a16:creationId xmlns:a16="http://schemas.microsoft.com/office/drawing/2014/main" id="{FFBDD49D-2892-4A4E-9E69-7E00CABE34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1" y="4465638"/>
              <a:ext cx="0" cy="26988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Line 304">
              <a:extLst>
                <a:ext uri="{FF2B5EF4-FFF2-40B4-BE49-F238E27FC236}">
                  <a16:creationId xmlns:a16="http://schemas.microsoft.com/office/drawing/2014/main" id="{DCCBA9C8-0A92-4911-84CA-AD75C9102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4465638"/>
              <a:ext cx="0" cy="26988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Line 305">
              <a:extLst>
                <a:ext uri="{FF2B5EF4-FFF2-40B4-BE49-F238E27FC236}">
                  <a16:creationId xmlns:a16="http://schemas.microsoft.com/office/drawing/2014/main" id="{25D89C40-BB50-455F-971D-CD755394E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6051" y="4508500"/>
              <a:ext cx="0" cy="31750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51F4D7B8-B2B7-4075-BB13-B5BEB9F59402}"/>
              </a:ext>
            </a:extLst>
          </p:cNvPr>
          <p:cNvGrpSpPr/>
          <p:nvPr/>
        </p:nvGrpSpPr>
        <p:grpSpPr>
          <a:xfrm>
            <a:off x="4768850" y="4125913"/>
            <a:ext cx="844550" cy="841375"/>
            <a:chOff x="4768850" y="4125913"/>
            <a:chExt cx="844550" cy="841375"/>
          </a:xfrm>
        </p:grpSpPr>
        <p:sp>
          <p:nvSpPr>
            <p:cNvPr id="347" name="AutoShape 307">
              <a:extLst>
                <a:ext uri="{FF2B5EF4-FFF2-40B4-BE49-F238E27FC236}">
                  <a16:creationId xmlns:a16="http://schemas.microsoft.com/office/drawing/2014/main" id="{0B45D428-6857-453C-BDDA-5A5036DA125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8850" y="41259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309">
              <a:extLst>
                <a:ext uri="{FF2B5EF4-FFF2-40B4-BE49-F238E27FC236}">
                  <a16:creationId xmlns:a16="http://schemas.microsoft.com/office/drawing/2014/main" id="{F89B5CA2-BDA5-4A72-B4B0-9D42A6372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8850" y="412908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310">
              <a:extLst>
                <a:ext uri="{FF2B5EF4-FFF2-40B4-BE49-F238E27FC236}">
                  <a16:creationId xmlns:a16="http://schemas.microsoft.com/office/drawing/2014/main" id="{027A240E-7901-40A7-B17C-73A836F50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7425" y="415766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311">
              <a:extLst>
                <a:ext uri="{FF2B5EF4-FFF2-40B4-BE49-F238E27FC236}">
                  <a16:creationId xmlns:a16="http://schemas.microsoft.com/office/drawing/2014/main" id="{3B7A262C-5FF9-48E0-A3B8-68C912F88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3188" y="4338638"/>
              <a:ext cx="260350" cy="415925"/>
            </a:xfrm>
            <a:custGeom>
              <a:avLst/>
              <a:gdLst>
                <a:gd name="T0" fmla="*/ 60 w 64"/>
                <a:gd name="T1" fmla="*/ 1 h 104"/>
                <a:gd name="T2" fmla="*/ 5 w 64"/>
                <a:gd name="T3" fmla="*/ 10 h 104"/>
                <a:gd name="T4" fmla="*/ 0 w 64"/>
                <a:gd name="T5" fmla="*/ 16 h 104"/>
                <a:gd name="T6" fmla="*/ 0 w 64"/>
                <a:gd name="T7" fmla="*/ 100 h 104"/>
                <a:gd name="T8" fmla="*/ 5 w 64"/>
                <a:gd name="T9" fmla="*/ 103 h 104"/>
                <a:gd name="T10" fmla="*/ 60 w 64"/>
                <a:gd name="T11" fmla="*/ 94 h 104"/>
                <a:gd name="T12" fmla="*/ 64 w 64"/>
                <a:gd name="T13" fmla="*/ 88 h 104"/>
                <a:gd name="T14" fmla="*/ 64 w 64"/>
                <a:gd name="T15" fmla="*/ 4 h 104"/>
                <a:gd name="T16" fmla="*/ 60 w 64"/>
                <a:gd name="T17" fmla="*/ 1 h 104"/>
                <a:gd name="T18" fmla="*/ 61 w 64"/>
                <a:gd name="T19" fmla="*/ 89 h 104"/>
                <a:gd name="T20" fmla="*/ 60 w 64"/>
                <a:gd name="T21" fmla="*/ 90 h 104"/>
                <a:gd name="T22" fmla="*/ 5 w 64"/>
                <a:gd name="T23" fmla="*/ 100 h 104"/>
                <a:gd name="T24" fmla="*/ 4 w 64"/>
                <a:gd name="T25" fmla="*/ 99 h 104"/>
                <a:gd name="T26" fmla="*/ 4 w 64"/>
                <a:gd name="T27" fmla="*/ 15 h 104"/>
                <a:gd name="T28" fmla="*/ 5 w 64"/>
                <a:gd name="T29" fmla="*/ 14 h 104"/>
                <a:gd name="T30" fmla="*/ 60 w 64"/>
                <a:gd name="T31" fmla="*/ 4 h 104"/>
                <a:gd name="T32" fmla="*/ 61 w 64"/>
                <a:gd name="T33" fmla="*/ 5 h 104"/>
                <a:gd name="T34" fmla="*/ 61 w 64"/>
                <a:gd name="T35" fmla="*/ 8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104">
                  <a:moveTo>
                    <a:pt x="60" y="1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1"/>
                    <a:pt x="0" y="13"/>
                    <a:pt x="0" y="1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2" y="104"/>
                    <a:pt x="5" y="10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2" y="93"/>
                    <a:pt x="64" y="91"/>
                    <a:pt x="64" y="88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2"/>
                    <a:pt x="62" y="0"/>
                    <a:pt x="60" y="1"/>
                  </a:cubicBezTo>
                  <a:close/>
                  <a:moveTo>
                    <a:pt x="61" y="89"/>
                  </a:moveTo>
                  <a:cubicBezTo>
                    <a:pt x="61" y="90"/>
                    <a:pt x="61" y="90"/>
                    <a:pt x="60" y="9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100"/>
                    <a:pt x="4" y="100"/>
                    <a:pt x="4" y="99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1" y="4"/>
                    <a:pt x="61" y="4"/>
                    <a:pt x="61" y="5"/>
                  </a:cubicBezTo>
                  <a:lnTo>
                    <a:pt x="61" y="8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312">
              <a:extLst>
                <a:ext uri="{FF2B5EF4-FFF2-40B4-BE49-F238E27FC236}">
                  <a16:creationId xmlns:a16="http://schemas.microsoft.com/office/drawing/2014/main" id="{58DD716F-13CD-4D4D-BE46-0F373A59D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463" y="4541838"/>
              <a:ext cx="177800" cy="44450"/>
            </a:xfrm>
            <a:custGeom>
              <a:avLst/>
              <a:gdLst>
                <a:gd name="T0" fmla="*/ 0 w 112"/>
                <a:gd name="T1" fmla="*/ 28 h 28"/>
                <a:gd name="T2" fmla="*/ 112 w 112"/>
                <a:gd name="T3" fmla="*/ 11 h 28"/>
                <a:gd name="T4" fmla="*/ 112 w 112"/>
                <a:gd name="T5" fmla="*/ 0 h 28"/>
                <a:gd name="T6" fmla="*/ 0 w 112"/>
                <a:gd name="T7" fmla="*/ 21 h 28"/>
                <a:gd name="T8" fmla="*/ 0 w 11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28">
                  <a:moveTo>
                    <a:pt x="0" y="28"/>
                  </a:moveTo>
                  <a:lnTo>
                    <a:pt x="112" y="11"/>
                  </a:lnTo>
                  <a:lnTo>
                    <a:pt x="112" y="0"/>
                  </a:lnTo>
                  <a:lnTo>
                    <a:pt x="0" y="21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313">
              <a:extLst>
                <a:ext uri="{FF2B5EF4-FFF2-40B4-BE49-F238E27FC236}">
                  <a16:creationId xmlns:a16="http://schemas.microsoft.com/office/drawing/2014/main" id="{3F52C041-06AB-4E25-B47E-674435D5D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463" y="4583113"/>
              <a:ext cx="177800" cy="42863"/>
            </a:xfrm>
            <a:custGeom>
              <a:avLst/>
              <a:gdLst>
                <a:gd name="T0" fmla="*/ 0 w 112"/>
                <a:gd name="T1" fmla="*/ 27 h 27"/>
                <a:gd name="T2" fmla="*/ 112 w 112"/>
                <a:gd name="T3" fmla="*/ 10 h 27"/>
                <a:gd name="T4" fmla="*/ 112 w 112"/>
                <a:gd name="T5" fmla="*/ 0 h 27"/>
                <a:gd name="T6" fmla="*/ 0 w 112"/>
                <a:gd name="T7" fmla="*/ 20 h 27"/>
                <a:gd name="T8" fmla="*/ 0 w 112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27">
                  <a:moveTo>
                    <a:pt x="0" y="27"/>
                  </a:moveTo>
                  <a:lnTo>
                    <a:pt x="112" y="10"/>
                  </a:lnTo>
                  <a:lnTo>
                    <a:pt x="112" y="0"/>
                  </a:lnTo>
                  <a:lnTo>
                    <a:pt x="0" y="2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314">
              <a:extLst>
                <a:ext uri="{FF2B5EF4-FFF2-40B4-BE49-F238E27FC236}">
                  <a16:creationId xmlns:a16="http://schemas.microsoft.com/office/drawing/2014/main" id="{500A5DAE-2233-4ABF-B7B9-775D65BE1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463" y="4625976"/>
              <a:ext cx="177800" cy="44450"/>
            </a:xfrm>
            <a:custGeom>
              <a:avLst/>
              <a:gdLst>
                <a:gd name="T0" fmla="*/ 0 w 112"/>
                <a:gd name="T1" fmla="*/ 28 h 28"/>
                <a:gd name="T2" fmla="*/ 112 w 112"/>
                <a:gd name="T3" fmla="*/ 8 h 28"/>
                <a:gd name="T4" fmla="*/ 112 w 112"/>
                <a:gd name="T5" fmla="*/ 0 h 28"/>
                <a:gd name="T6" fmla="*/ 0 w 112"/>
                <a:gd name="T7" fmla="*/ 18 h 28"/>
                <a:gd name="T8" fmla="*/ 0 w 11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28">
                  <a:moveTo>
                    <a:pt x="0" y="28"/>
                  </a:moveTo>
                  <a:lnTo>
                    <a:pt x="112" y="8"/>
                  </a:lnTo>
                  <a:lnTo>
                    <a:pt x="112" y="0"/>
                  </a:lnTo>
                  <a:lnTo>
                    <a:pt x="0" y="1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315">
              <a:extLst>
                <a:ext uri="{FF2B5EF4-FFF2-40B4-BE49-F238E27FC236}">
                  <a16:creationId xmlns:a16="http://schemas.microsoft.com/office/drawing/2014/main" id="{265B8D27-5CF4-45EF-A269-0390054BA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4463" y="4667251"/>
              <a:ext cx="177800" cy="42863"/>
            </a:xfrm>
            <a:custGeom>
              <a:avLst/>
              <a:gdLst>
                <a:gd name="T0" fmla="*/ 0 w 112"/>
                <a:gd name="T1" fmla="*/ 27 h 27"/>
                <a:gd name="T2" fmla="*/ 112 w 112"/>
                <a:gd name="T3" fmla="*/ 7 h 27"/>
                <a:gd name="T4" fmla="*/ 112 w 112"/>
                <a:gd name="T5" fmla="*/ 0 h 27"/>
                <a:gd name="T6" fmla="*/ 0 w 112"/>
                <a:gd name="T7" fmla="*/ 20 h 27"/>
                <a:gd name="T8" fmla="*/ 0 w 112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27">
                  <a:moveTo>
                    <a:pt x="0" y="27"/>
                  </a:moveTo>
                  <a:lnTo>
                    <a:pt x="112" y="7"/>
                  </a:lnTo>
                  <a:lnTo>
                    <a:pt x="112" y="0"/>
                  </a:lnTo>
                  <a:lnTo>
                    <a:pt x="0" y="2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16">
              <a:extLst>
                <a:ext uri="{FF2B5EF4-FFF2-40B4-BE49-F238E27FC236}">
                  <a16:creationId xmlns:a16="http://schemas.microsoft.com/office/drawing/2014/main" id="{736D68B0-3C39-4EB5-BC00-0363D1D21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9700" y="4373563"/>
              <a:ext cx="187325" cy="168275"/>
            </a:xfrm>
            <a:custGeom>
              <a:avLst/>
              <a:gdLst>
                <a:gd name="T0" fmla="*/ 0 w 118"/>
                <a:gd name="T1" fmla="*/ 106 h 106"/>
                <a:gd name="T2" fmla="*/ 118 w 118"/>
                <a:gd name="T3" fmla="*/ 84 h 106"/>
                <a:gd name="T4" fmla="*/ 118 w 118"/>
                <a:gd name="T5" fmla="*/ 0 h 106"/>
                <a:gd name="T6" fmla="*/ 0 w 118"/>
                <a:gd name="T7" fmla="*/ 21 h 106"/>
                <a:gd name="T8" fmla="*/ 0 w 118"/>
                <a:gd name="T9" fmla="*/ 106 h 106"/>
                <a:gd name="T10" fmla="*/ 54 w 118"/>
                <a:gd name="T11" fmla="*/ 86 h 106"/>
                <a:gd name="T12" fmla="*/ 33 w 118"/>
                <a:gd name="T13" fmla="*/ 91 h 106"/>
                <a:gd name="T14" fmla="*/ 33 w 118"/>
                <a:gd name="T15" fmla="*/ 23 h 106"/>
                <a:gd name="T16" fmla="*/ 54 w 118"/>
                <a:gd name="T17" fmla="*/ 18 h 106"/>
                <a:gd name="T18" fmla="*/ 54 w 118"/>
                <a:gd name="T19" fmla="*/ 86 h 106"/>
                <a:gd name="T20" fmla="*/ 64 w 118"/>
                <a:gd name="T21" fmla="*/ 18 h 106"/>
                <a:gd name="T22" fmla="*/ 82 w 118"/>
                <a:gd name="T23" fmla="*/ 13 h 106"/>
                <a:gd name="T24" fmla="*/ 82 w 118"/>
                <a:gd name="T25" fmla="*/ 81 h 106"/>
                <a:gd name="T26" fmla="*/ 64 w 118"/>
                <a:gd name="T27" fmla="*/ 86 h 106"/>
                <a:gd name="T28" fmla="*/ 64 w 118"/>
                <a:gd name="T29" fmla="*/ 18 h 106"/>
                <a:gd name="T30" fmla="*/ 110 w 118"/>
                <a:gd name="T31" fmla="*/ 76 h 106"/>
                <a:gd name="T32" fmla="*/ 92 w 118"/>
                <a:gd name="T33" fmla="*/ 81 h 106"/>
                <a:gd name="T34" fmla="*/ 92 w 118"/>
                <a:gd name="T35" fmla="*/ 13 h 106"/>
                <a:gd name="T36" fmla="*/ 110 w 118"/>
                <a:gd name="T37" fmla="*/ 11 h 106"/>
                <a:gd name="T38" fmla="*/ 110 w 118"/>
                <a:gd name="T39" fmla="*/ 76 h 106"/>
                <a:gd name="T40" fmla="*/ 8 w 118"/>
                <a:gd name="T41" fmla="*/ 28 h 106"/>
                <a:gd name="T42" fmla="*/ 26 w 118"/>
                <a:gd name="T43" fmla="*/ 23 h 106"/>
                <a:gd name="T44" fmla="*/ 26 w 118"/>
                <a:gd name="T45" fmla="*/ 91 h 106"/>
                <a:gd name="T46" fmla="*/ 8 w 118"/>
                <a:gd name="T47" fmla="*/ 94 h 106"/>
                <a:gd name="T48" fmla="*/ 8 w 118"/>
                <a:gd name="T49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8" h="106">
                  <a:moveTo>
                    <a:pt x="0" y="106"/>
                  </a:moveTo>
                  <a:lnTo>
                    <a:pt x="118" y="84"/>
                  </a:lnTo>
                  <a:lnTo>
                    <a:pt x="118" y="0"/>
                  </a:lnTo>
                  <a:lnTo>
                    <a:pt x="0" y="21"/>
                  </a:lnTo>
                  <a:lnTo>
                    <a:pt x="0" y="106"/>
                  </a:lnTo>
                  <a:close/>
                  <a:moveTo>
                    <a:pt x="54" y="86"/>
                  </a:moveTo>
                  <a:lnTo>
                    <a:pt x="33" y="91"/>
                  </a:lnTo>
                  <a:lnTo>
                    <a:pt x="33" y="23"/>
                  </a:lnTo>
                  <a:lnTo>
                    <a:pt x="54" y="18"/>
                  </a:lnTo>
                  <a:lnTo>
                    <a:pt x="54" y="86"/>
                  </a:lnTo>
                  <a:close/>
                  <a:moveTo>
                    <a:pt x="64" y="18"/>
                  </a:moveTo>
                  <a:lnTo>
                    <a:pt x="82" y="13"/>
                  </a:lnTo>
                  <a:lnTo>
                    <a:pt x="82" y="81"/>
                  </a:lnTo>
                  <a:lnTo>
                    <a:pt x="64" y="86"/>
                  </a:lnTo>
                  <a:lnTo>
                    <a:pt x="64" y="18"/>
                  </a:lnTo>
                  <a:close/>
                  <a:moveTo>
                    <a:pt x="110" y="76"/>
                  </a:moveTo>
                  <a:lnTo>
                    <a:pt x="92" y="81"/>
                  </a:lnTo>
                  <a:lnTo>
                    <a:pt x="92" y="13"/>
                  </a:lnTo>
                  <a:lnTo>
                    <a:pt x="110" y="11"/>
                  </a:lnTo>
                  <a:lnTo>
                    <a:pt x="110" y="76"/>
                  </a:lnTo>
                  <a:close/>
                  <a:moveTo>
                    <a:pt x="8" y="28"/>
                  </a:moveTo>
                  <a:lnTo>
                    <a:pt x="26" y="23"/>
                  </a:lnTo>
                  <a:lnTo>
                    <a:pt x="26" y="91"/>
                  </a:lnTo>
                  <a:lnTo>
                    <a:pt x="8" y="94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317">
              <a:extLst>
                <a:ext uri="{FF2B5EF4-FFF2-40B4-BE49-F238E27FC236}">
                  <a16:creationId xmlns:a16="http://schemas.microsoft.com/office/drawing/2014/main" id="{B62C50C7-424D-4249-B58E-15727F2F2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8713" y="4338638"/>
              <a:ext cx="260350" cy="415925"/>
            </a:xfrm>
            <a:custGeom>
              <a:avLst/>
              <a:gdLst>
                <a:gd name="T0" fmla="*/ 59 w 64"/>
                <a:gd name="T1" fmla="*/ 10 h 104"/>
                <a:gd name="T2" fmla="*/ 4 w 64"/>
                <a:gd name="T3" fmla="*/ 1 h 104"/>
                <a:gd name="T4" fmla="*/ 0 w 64"/>
                <a:gd name="T5" fmla="*/ 4 h 104"/>
                <a:gd name="T6" fmla="*/ 0 w 64"/>
                <a:gd name="T7" fmla="*/ 88 h 104"/>
                <a:gd name="T8" fmla="*/ 4 w 64"/>
                <a:gd name="T9" fmla="*/ 94 h 104"/>
                <a:gd name="T10" fmla="*/ 59 w 64"/>
                <a:gd name="T11" fmla="*/ 103 h 104"/>
                <a:gd name="T12" fmla="*/ 64 w 64"/>
                <a:gd name="T13" fmla="*/ 100 h 104"/>
                <a:gd name="T14" fmla="*/ 64 w 64"/>
                <a:gd name="T15" fmla="*/ 16 h 104"/>
                <a:gd name="T16" fmla="*/ 59 w 64"/>
                <a:gd name="T17" fmla="*/ 10 h 104"/>
                <a:gd name="T18" fmla="*/ 60 w 64"/>
                <a:gd name="T19" fmla="*/ 99 h 104"/>
                <a:gd name="T20" fmla="*/ 59 w 64"/>
                <a:gd name="T21" fmla="*/ 100 h 104"/>
                <a:gd name="T22" fmla="*/ 4 w 64"/>
                <a:gd name="T23" fmla="*/ 90 h 104"/>
                <a:gd name="T24" fmla="*/ 3 w 64"/>
                <a:gd name="T25" fmla="*/ 89 h 104"/>
                <a:gd name="T26" fmla="*/ 3 w 64"/>
                <a:gd name="T27" fmla="*/ 5 h 104"/>
                <a:gd name="T28" fmla="*/ 4 w 64"/>
                <a:gd name="T29" fmla="*/ 4 h 104"/>
                <a:gd name="T30" fmla="*/ 59 w 64"/>
                <a:gd name="T31" fmla="*/ 14 h 104"/>
                <a:gd name="T32" fmla="*/ 60 w 64"/>
                <a:gd name="T33" fmla="*/ 15 h 104"/>
                <a:gd name="T34" fmla="*/ 60 w 64"/>
                <a:gd name="T35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104">
                  <a:moveTo>
                    <a:pt x="59" y="1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1"/>
                    <a:pt x="2" y="93"/>
                    <a:pt x="4" y="94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62" y="104"/>
                    <a:pt x="64" y="102"/>
                    <a:pt x="64" y="10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3"/>
                    <a:pt x="62" y="11"/>
                    <a:pt x="59" y="10"/>
                  </a:cubicBezTo>
                  <a:close/>
                  <a:moveTo>
                    <a:pt x="60" y="99"/>
                  </a:moveTo>
                  <a:cubicBezTo>
                    <a:pt x="60" y="100"/>
                    <a:pt x="60" y="100"/>
                    <a:pt x="59" y="10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3" y="90"/>
                    <a:pt x="3" y="90"/>
                    <a:pt x="3" y="89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60" y="14"/>
                    <a:pt x="60" y="14"/>
                    <a:pt x="60" y="15"/>
                  </a:cubicBezTo>
                  <a:lnTo>
                    <a:pt x="60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318">
              <a:extLst>
                <a:ext uri="{FF2B5EF4-FFF2-40B4-BE49-F238E27FC236}">
                  <a16:creationId xmlns:a16="http://schemas.microsoft.com/office/drawing/2014/main" id="{369A7040-EA2A-4DE2-BEF7-84F7EA74D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8563" y="4391026"/>
              <a:ext cx="114300" cy="215900"/>
            </a:xfrm>
            <a:custGeom>
              <a:avLst/>
              <a:gdLst>
                <a:gd name="T0" fmla="*/ 72 w 72"/>
                <a:gd name="T1" fmla="*/ 32 h 136"/>
                <a:gd name="T2" fmla="*/ 46 w 72"/>
                <a:gd name="T3" fmla="*/ 27 h 136"/>
                <a:gd name="T4" fmla="*/ 46 w 72"/>
                <a:gd name="T5" fmla="*/ 7 h 136"/>
                <a:gd name="T6" fmla="*/ 8 w 72"/>
                <a:gd name="T7" fmla="*/ 0 h 136"/>
                <a:gd name="T8" fmla="*/ 8 w 72"/>
                <a:gd name="T9" fmla="*/ 22 h 136"/>
                <a:gd name="T10" fmla="*/ 0 w 72"/>
                <a:gd name="T11" fmla="*/ 20 h 136"/>
                <a:gd name="T12" fmla="*/ 0 w 72"/>
                <a:gd name="T13" fmla="*/ 123 h 136"/>
                <a:gd name="T14" fmla="*/ 72 w 72"/>
                <a:gd name="T15" fmla="*/ 136 h 136"/>
                <a:gd name="T16" fmla="*/ 72 w 72"/>
                <a:gd name="T17" fmla="*/ 32 h 136"/>
                <a:gd name="T18" fmla="*/ 18 w 72"/>
                <a:gd name="T19" fmla="*/ 10 h 136"/>
                <a:gd name="T20" fmla="*/ 36 w 72"/>
                <a:gd name="T21" fmla="*/ 15 h 136"/>
                <a:gd name="T22" fmla="*/ 36 w 72"/>
                <a:gd name="T23" fmla="*/ 27 h 136"/>
                <a:gd name="T24" fmla="*/ 18 w 72"/>
                <a:gd name="T25" fmla="*/ 22 h 136"/>
                <a:gd name="T26" fmla="*/ 18 w 72"/>
                <a:gd name="T27" fmla="*/ 10 h 136"/>
                <a:gd name="T28" fmla="*/ 61 w 72"/>
                <a:gd name="T29" fmla="*/ 126 h 136"/>
                <a:gd name="T30" fmla="*/ 41 w 72"/>
                <a:gd name="T31" fmla="*/ 123 h 136"/>
                <a:gd name="T32" fmla="*/ 41 w 72"/>
                <a:gd name="T33" fmla="*/ 103 h 136"/>
                <a:gd name="T34" fmla="*/ 31 w 72"/>
                <a:gd name="T35" fmla="*/ 103 h 136"/>
                <a:gd name="T36" fmla="*/ 31 w 72"/>
                <a:gd name="T37" fmla="*/ 121 h 136"/>
                <a:gd name="T38" fmla="*/ 10 w 72"/>
                <a:gd name="T39" fmla="*/ 116 h 136"/>
                <a:gd name="T40" fmla="*/ 10 w 72"/>
                <a:gd name="T41" fmla="*/ 30 h 136"/>
                <a:gd name="T42" fmla="*/ 61 w 72"/>
                <a:gd name="T43" fmla="*/ 40 h 136"/>
                <a:gd name="T44" fmla="*/ 61 w 72"/>
                <a:gd name="T45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" h="136">
                  <a:moveTo>
                    <a:pt x="72" y="32"/>
                  </a:moveTo>
                  <a:lnTo>
                    <a:pt x="46" y="27"/>
                  </a:lnTo>
                  <a:lnTo>
                    <a:pt x="46" y="7"/>
                  </a:lnTo>
                  <a:lnTo>
                    <a:pt x="8" y="0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123"/>
                  </a:lnTo>
                  <a:lnTo>
                    <a:pt x="72" y="136"/>
                  </a:lnTo>
                  <a:lnTo>
                    <a:pt x="72" y="32"/>
                  </a:lnTo>
                  <a:close/>
                  <a:moveTo>
                    <a:pt x="18" y="10"/>
                  </a:moveTo>
                  <a:lnTo>
                    <a:pt x="36" y="15"/>
                  </a:lnTo>
                  <a:lnTo>
                    <a:pt x="36" y="27"/>
                  </a:lnTo>
                  <a:lnTo>
                    <a:pt x="18" y="22"/>
                  </a:lnTo>
                  <a:lnTo>
                    <a:pt x="18" y="10"/>
                  </a:lnTo>
                  <a:close/>
                  <a:moveTo>
                    <a:pt x="61" y="126"/>
                  </a:moveTo>
                  <a:lnTo>
                    <a:pt x="41" y="123"/>
                  </a:lnTo>
                  <a:lnTo>
                    <a:pt x="41" y="103"/>
                  </a:lnTo>
                  <a:lnTo>
                    <a:pt x="31" y="103"/>
                  </a:lnTo>
                  <a:lnTo>
                    <a:pt x="31" y="121"/>
                  </a:lnTo>
                  <a:lnTo>
                    <a:pt x="10" y="116"/>
                  </a:lnTo>
                  <a:lnTo>
                    <a:pt x="10" y="30"/>
                  </a:lnTo>
                  <a:lnTo>
                    <a:pt x="61" y="40"/>
                  </a:lnTo>
                  <a:lnTo>
                    <a:pt x="61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319">
              <a:extLst>
                <a:ext uri="{FF2B5EF4-FFF2-40B4-BE49-F238E27FC236}">
                  <a16:creationId xmlns:a16="http://schemas.microsoft.com/office/drawing/2014/main" id="{6B304F02-644D-4020-B44C-F6DB24534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4454526"/>
              <a:ext cx="12700" cy="31750"/>
            </a:xfrm>
            <a:custGeom>
              <a:avLst/>
              <a:gdLst>
                <a:gd name="T0" fmla="*/ 8 w 8"/>
                <a:gd name="T1" fmla="*/ 2 h 20"/>
                <a:gd name="T2" fmla="*/ 0 w 8"/>
                <a:gd name="T3" fmla="*/ 0 h 20"/>
                <a:gd name="T4" fmla="*/ 0 w 8"/>
                <a:gd name="T5" fmla="*/ 20 h 20"/>
                <a:gd name="T6" fmla="*/ 8 w 8"/>
                <a:gd name="T7" fmla="*/ 20 h 20"/>
                <a:gd name="T8" fmla="*/ 8 w 8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0">
                  <a:moveTo>
                    <a:pt x="8" y="2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8" y="2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320">
              <a:extLst>
                <a:ext uri="{FF2B5EF4-FFF2-40B4-BE49-F238E27FC236}">
                  <a16:creationId xmlns:a16="http://schemas.microsoft.com/office/drawing/2014/main" id="{6AE70174-636A-4BD3-8160-E3359DE07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7775" y="4457701"/>
              <a:ext cx="15875" cy="33338"/>
            </a:xfrm>
            <a:custGeom>
              <a:avLst/>
              <a:gdLst>
                <a:gd name="T0" fmla="*/ 10 w 10"/>
                <a:gd name="T1" fmla="*/ 3 h 21"/>
                <a:gd name="T2" fmla="*/ 0 w 10"/>
                <a:gd name="T3" fmla="*/ 0 h 21"/>
                <a:gd name="T4" fmla="*/ 0 w 10"/>
                <a:gd name="T5" fmla="*/ 21 h 21"/>
                <a:gd name="T6" fmla="*/ 10 w 10"/>
                <a:gd name="T7" fmla="*/ 21 h 21"/>
                <a:gd name="T8" fmla="*/ 10 w 10"/>
                <a:gd name="T9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10" y="3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0" y="21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21">
              <a:extLst>
                <a:ext uri="{FF2B5EF4-FFF2-40B4-BE49-F238E27FC236}">
                  <a16:creationId xmlns:a16="http://schemas.microsoft.com/office/drawing/2014/main" id="{B1CE3E10-B703-4313-93BE-7D9B38365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6350" y="4462463"/>
              <a:ext cx="11113" cy="31750"/>
            </a:xfrm>
            <a:custGeom>
              <a:avLst/>
              <a:gdLst>
                <a:gd name="T0" fmla="*/ 7 w 7"/>
                <a:gd name="T1" fmla="*/ 3 h 20"/>
                <a:gd name="T2" fmla="*/ 0 w 7"/>
                <a:gd name="T3" fmla="*/ 0 h 20"/>
                <a:gd name="T4" fmla="*/ 0 w 7"/>
                <a:gd name="T5" fmla="*/ 20 h 20"/>
                <a:gd name="T6" fmla="*/ 7 w 7"/>
                <a:gd name="T7" fmla="*/ 20 h 20"/>
                <a:gd name="T8" fmla="*/ 7 w 7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3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7" y="2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2">
              <a:extLst>
                <a:ext uri="{FF2B5EF4-FFF2-40B4-BE49-F238E27FC236}">
                  <a16:creationId xmlns:a16="http://schemas.microsoft.com/office/drawing/2014/main" id="{C6FE816D-B1EF-4B24-A40A-30783D041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2375" y="4502151"/>
              <a:ext cx="12700" cy="31750"/>
            </a:xfrm>
            <a:custGeom>
              <a:avLst/>
              <a:gdLst>
                <a:gd name="T0" fmla="*/ 8 w 8"/>
                <a:gd name="T1" fmla="*/ 0 h 20"/>
                <a:gd name="T2" fmla="*/ 0 w 8"/>
                <a:gd name="T3" fmla="*/ 0 h 20"/>
                <a:gd name="T4" fmla="*/ 0 w 8"/>
                <a:gd name="T5" fmla="*/ 18 h 20"/>
                <a:gd name="T6" fmla="*/ 8 w 8"/>
                <a:gd name="T7" fmla="*/ 20 h 20"/>
                <a:gd name="T8" fmla="*/ 8 w 8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0">
                  <a:moveTo>
                    <a:pt x="8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8" y="2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23">
              <a:extLst>
                <a:ext uri="{FF2B5EF4-FFF2-40B4-BE49-F238E27FC236}">
                  <a16:creationId xmlns:a16="http://schemas.microsoft.com/office/drawing/2014/main" id="{C7816129-7FD1-49E0-BF2F-CF467A8F6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7775" y="4506913"/>
              <a:ext cx="15875" cy="31750"/>
            </a:xfrm>
            <a:custGeom>
              <a:avLst/>
              <a:gdLst>
                <a:gd name="T0" fmla="*/ 10 w 10"/>
                <a:gd name="T1" fmla="*/ 2 h 20"/>
                <a:gd name="T2" fmla="*/ 0 w 10"/>
                <a:gd name="T3" fmla="*/ 0 h 20"/>
                <a:gd name="T4" fmla="*/ 0 w 10"/>
                <a:gd name="T5" fmla="*/ 17 h 20"/>
                <a:gd name="T6" fmla="*/ 10 w 10"/>
                <a:gd name="T7" fmla="*/ 20 h 20"/>
                <a:gd name="T8" fmla="*/ 10 w 10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0">
                  <a:moveTo>
                    <a:pt x="10" y="2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0" y="20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24">
              <a:extLst>
                <a:ext uri="{FF2B5EF4-FFF2-40B4-BE49-F238E27FC236}">
                  <a16:creationId xmlns:a16="http://schemas.microsoft.com/office/drawing/2014/main" id="{63ACEB4D-8ABA-41BB-B808-FEF714B65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6350" y="4510088"/>
              <a:ext cx="11113" cy="31750"/>
            </a:xfrm>
            <a:custGeom>
              <a:avLst/>
              <a:gdLst>
                <a:gd name="T0" fmla="*/ 7 w 7"/>
                <a:gd name="T1" fmla="*/ 3 h 20"/>
                <a:gd name="T2" fmla="*/ 0 w 7"/>
                <a:gd name="T3" fmla="*/ 0 h 20"/>
                <a:gd name="T4" fmla="*/ 0 w 7"/>
                <a:gd name="T5" fmla="*/ 20 h 20"/>
                <a:gd name="T6" fmla="*/ 7 w 7"/>
                <a:gd name="T7" fmla="*/ 20 h 20"/>
                <a:gd name="T8" fmla="*/ 7 w 7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3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7" y="2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325">
              <a:extLst>
                <a:ext uri="{FF2B5EF4-FFF2-40B4-BE49-F238E27FC236}">
                  <a16:creationId xmlns:a16="http://schemas.microsoft.com/office/drawing/2014/main" id="{4A2D016B-F8BF-411A-BC36-16E7B67FC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4610101"/>
              <a:ext cx="171450" cy="100013"/>
            </a:xfrm>
            <a:custGeom>
              <a:avLst/>
              <a:gdLst>
                <a:gd name="T0" fmla="*/ 0 w 108"/>
                <a:gd name="T1" fmla="*/ 46 h 63"/>
                <a:gd name="T2" fmla="*/ 108 w 108"/>
                <a:gd name="T3" fmla="*/ 63 h 63"/>
                <a:gd name="T4" fmla="*/ 108 w 108"/>
                <a:gd name="T5" fmla="*/ 18 h 63"/>
                <a:gd name="T6" fmla="*/ 0 w 108"/>
                <a:gd name="T7" fmla="*/ 0 h 63"/>
                <a:gd name="T8" fmla="*/ 0 w 108"/>
                <a:gd name="T9" fmla="*/ 46 h 63"/>
                <a:gd name="T10" fmla="*/ 10 w 108"/>
                <a:gd name="T11" fmla="*/ 10 h 63"/>
                <a:gd name="T12" fmla="*/ 100 w 108"/>
                <a:gd name="T13" fmla="*/ 26 h 63"/>
                <a:gd name="T14" fmla="*/ 100 w 108"/>
                <a:gd name="T15" fmla="*/ 53 h 63"/>
                <a:gd name="T16" fmla="*/ 10 w 108"/>
                <a:gd name="T17" fmla="*/ 38 h 63"/>
                <a:gd name="T18" fmla="*/ 10 w 108"/>
                <a:gd name="T19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63">
                  <a:moveTo>
                    <a:pt x="0" y="46"/>
                  </a:moveTo>
                  <a:lnTo>
                    <a:pt x="108" y="63"/>
                  </a:lnTo>
                  <a:lnTo>
                    <a:pt x="108" y="18"/>
                  </a:lnTo>
                  <a:lnTo>
                    <a:pt x="0" y="0"/>
                  </a:lnTo>
                  <a:lnTo>
                    <a:pt x="0" y="46"/>
                  </a:lnTo>
                  <a:close/>
                  <a:moveTo>
                    <a:pt x="10" y="10"/>
                  </a:moveTo>
                  <a:lnTo>
                    <a:pt x="100" y="26"/>
                  </a:lnTo>
                  <a:lnTo>
                    <a:pt x="100" y="53"/>
                  </a:lnTo>
                  <a:lnTo>
                    <a:pt x="10" y="38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6E5D0420-5253-400E-A1A9-23BD0E9771C2}"/>
              </a:ext>
            </a:extLst>
          </p:cNvPr>
          <p:cNvGrpSpPr/>
          <p:nvPr/>
        </p:nvGrpSpPr>
        <p:grpSpPr>
          <a:xfrm>
            <a:off x="5822950" y="4157663"/>
            <a:ext cx="758825" cy="766763"/>
            <a:chOff x="5822950" y="4157663"/>
            <a:chExt cx="758825" cy="766763"/>
          </a:xfrm>
        </p:grpSpPr>
        <p:sp>
          <p:nvSpPr>
            <p:cNvPr id="367" name="AutoShape 327">
              <a:extLst>
                <a:ext uri="{FF2B5EF4-FFF2-40B4-BE49-F238E27FC236}">
                  <a16:creationId xmlns:a16="http://schemas.microsoft.com/office/drawing/2014/main" id="{13B19FB8-27EE-4238-80D7-D284120AFA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2950" y="41624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29">
              <a:extLst>
                <a:ext uri="{FF2B5EF4-FFF2-40B4-BE49-F238E27FC236}">
                  <a16:creationId xmlns:a16="http://schemas.microsoft.com/office/drawing/2014/main" id="{6D897A5E-343C-40D6-B66A-D5147B95B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5" y="41576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30">
              <a:extLst>
                <a:ext uri="{FF2B5EF4-FFF2-40B4-BE49-F238E27FC236}">
                  <a16:creationId xmlns:a16="http://schemas.microsoft.com/office/drawing/2014/main" id="{FA26AF9E-425B-4723-96AF-6579A21AB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6013" y="4335463"/>
              <a:ext cx="249238" cy="411163"/>
            </a:xfrm>
            <a:custGeom>
              <a:avLst/>
              <a:gdLst>
                <a:gd name="T0" fmla="*/ 60 w 64"/>
                <a:gd name="T1" fmla="*/ 1 h 104"/>
                <a:gd name="T2" fmla="*/ 5 w 64"/>
                <a:gd name="T3" fmla="*/ 10 h 104"/>
                <a:gd name="T4" fmla="*/ 0 w 64"/>
                <a:gd name="T5" fmla="*/ 16 h 104"/>
                <a:gd name="T6" fmla="*/ 0 w 64"/>
                <a:gd name="T7" fmla="*/ 100 h 104"/>
                <a:gd name="T8" fmla="*/ 5 w 64"/>
                <a:gd name="T9" fmla="*/ 103 h 104"/>
                <a:gd name="T10" fmla="*/ 60 w 64"/>
                <a:gd name="T11" fmla="*/ 94 h 104"/>
                <a:gd name="T12" fmla="*/ 64 w 64"/>
                <a:gd name="T13" fmla="*/ 88 h 104"/>
                <a:gd name="T14" fmla="*/ 64 w 64"/>
                <a:gd name="T15" fmla="*/ 4 h 104"/>
                <a:gd name="T16" fmla="*/ 60 w 64"/>
                <a:gd name="T17" fmla="*/ 1 h 104"/>
                <a:gd name="T18" fmla="*/ 61 w 64"/>
                <a:gd name="T19" fmla="*/ 89 h 104"/>
                <a:gd name="T20" fmla="*/ 60 w 64"/>
                <a:gd name="T21" fmla="*/ 90 h 104"/>
                <a:gd name="T22" fmla="*/ 5 w 64"/>
                <a:gd name="T23" fmla="*/ 100 h 104"/>
                <a:gd name="T24" fmla="*/ 4 w 64"/>
                <a:gd name="T25" fmla="*/ 99 h 104"/>
                <a:gd name="T26" fmla="*/ 4 w 64"/>
                <a:gd name="T27" fmla="*/ 15 h 104"/>
                <a:gd name="T28" fmla="*/ 5 w 64"/>
                <a:gd name="T29" fmla="*/ 14 h 104"/>
                <a:gd name="T30" fmla="*/ 60 w 64"/>
                <a:gd name="T31" fmla="*/ 4 h 104"/>
                <a:gd name="T32" fmla="*/ 61 w 64"/>
                <a:gd name="T33" fmla="*/ 5 h 104"/>
                <a:gd name="T34" fmla="*/ 61 w 64"/>
                <a:gd name="T35" fmla="*/ 8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104">
                  <a:moveTo>
                    <a:pt x="60" y="1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1"/>
                    <a:pt x="0" y="13"/>
                    <a:pt x="0" y="1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2"/>
                    <a:pt x="2" y="104"/>
                    <a:pt x="5" y="10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2" y="93"/>
                    <a:pt x="64" y="91"/>
                    <a:pt x="64" y="88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2"/>
                    <a:pt x="62" y="0"/>
                    <a:pt x="60" y="1"/>
                  </a:cubicBezTo>
                  <a:close/>
                  <a:moveTo>
                    <a:pt x="61" y="89"/>
                  </a:moveTo>
                  <a:cubicBezTo>
                    <a:pt x="61" y="90"/>
                    <a:pt x="61" y="90"/>
                    <a:pt x="60" y="9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100"/>
                    <a:pt x="4" y="100"/>
                    <a:pt x="4" y="99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1" y="4"/>
                    <a:pt x="61" y="4"/>
                    <a:pt x="61" y="5"/>
                  </a:cubicBezTo>
                  <a:lnTo>
                    <a:pt x="61" y="8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1">
              <a:extLst>
                <a:ext uri="{FF2B5EF4-FFF2-40B4-BE49-F238E27FC236}">
                  <a16:creationId xmlns:a16="http://schemas.microsoft.com/office/drawing/2014/main" id="{7A4499D9-74F2-477B-9767-DE085A2A8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4537075"/>
              <a:ext cx="171450" cy="44450"/>
            </a:xfrm>
            <a:custGeom>
              <a:avLst/>
              <a:gdLst>
                <a:gd name="T0" fmla="*/ 0 w 108"/>
                <a:gd name="T1" fmla="*/ 28 h 28"/>
                <a:gd name="T2" fmla="*/ 108 w 108"/>
                <a:gd name="T3" fmla="*/ 10 h 28"/>
                <a:gd name="T4" fmla="*/ 108 w 108"/>
                <a:gd name="T5" fmla="*/ 0 h 28"/>
                <a:gd name="T6" fmla="*/ 0 w 108"/>
                <a:gd name="T7" fmla="*/ 20 h 28"/>
                <a:gd name="T8" fmla="*/ 0 w 10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8">
                  <a:moveTo>
                    <a:pt x="0" y="28"/>
                  </a:moveTo>
                  <a:lnTo>
                    <a:pt x="108" y="10"/>
                  </a:lnTo>
                  <a:lnTo>
                    <a:pt x="108" y="0"/>
                  </a:lnTo>
                  <a:lnTo>
                    <a:pt x="0" y="2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2">
              <a:extLst>
                <a:ext uri="{FF2B5EF4-FFF2-40B4-BE49-F238E27FC236}">
                  <a16:creationId xmlns:a16="http://schemas.microsoft.com/office/drawing/2014/main" id="{134ECD24-7D51-4364-97C8-B5C873553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4576763"/>
              <a:ext cx="171450" cy="44450"/>
            </a:xfrm>
            <a:custGeom>
              <a:avLst/>
              <a:gdLst>
                <a:gd name="T0" fmla="*/ 0 w 108"/>
                <a:gd name="T1" fmla="*/ 28 h 28"/>
                <a:gd name="T2" fmla="*/ 108 w 108"/>
                <a:gd name="T3" fmla="*/ 10 h 28"/>
                <a:gd name="T4" fmla="*/ 108 w 108"/>
                <a:gd name="T5" fmla="*/ 0 h 28"/>
                <a:gd name="T6" fmla="*/ 0 w 108"/>
                <a:gd name="T7" fmla="*/ 20 h 28"/>
                <a:gd name="T8" fmla="*/ 0 w 10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8">
                  <a:moveTo>
                    <a:pt x="0" y="28"/>
                  </a:moveTo>
                  <a:lnTo>
                    <a:pt x="108" y="10"/>
                  </a:lnTo>
                  <a:lnTo>
                    <a:pt x="108" y="0"/>
                  </a:lnTo>
                  <a:lnTo>
                    <a:pt x="0" y="2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3">
              <a:extLst>
                <a:ext uri="{FF2B5EF4-FFF2-40B4-BE49-F238E27FC236}">
                  <a16:creationId xmlns:a16="http://schemas.microsoft.com/office/drawing/2014/main" id="{2782F96B-1A48-4D5B-8D45-8FF061F48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4621213"/>
              <a:ext cx="171450" cy="42863"/>
            </a:xfrm>
            <a:custGeom>
              <a:avLst/>
              <a:gdLst>
                <a:gd name="T0" fmla="*/ 0 w 108"/>
                <a:gd name="T1" fmla="*/ 27 h 27"/>
                <a:gd name="T2" fmla="*/ 108 w 108"/>
                <a:gd name="T3" fmla="*/ 7 h 27"/>
                <a:gd name="T4" fmla="*/ 108 w 108"/>
                <a:gd name="T5" fmla="*/ 0 h 27"/>
                <a:gd name="T6" fmla="*/ 0 w 108"/>
                <a:gd name="T7" fmla="*/ 17 h 27"/>
                <a:gd name="T8" fmla="*/ 0 w 108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7">
                  <a:moveTo>
                    <a:pt x="0" y="27"/>
                  </a:moveTo>
                  <a:lnTo>
                    <a:pt x="108" y="7"/>
                  </a:lnTo>
                  <a:lnTo>
                    <a:pt x="108" y="0"/>
                  </a:lnTo>
                  <a:lnTo>
                    <a:pt x="0" y="1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34">
              <a:extLst>
                <a:ext uri="{FF2B5EF4-FFF2-40B4-BE49-F238E27FC236}">
                  <a16:creationId xmlns:a16="http://schemas.microsoft.com/office/drawing/2014/main" id="{5817FC5C-47CB-4903-B53B-0F26EDF3B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4660900"/>
              <a:ext cx="171450" cy="42863"/>
            </a:xfrm>
            <a:custGeom>
              <a:avLst/>
              <a:gdLst>
                <a:gd name="T0" fmla="*/ 0 w 108"/>
                <a:gd name="T1" fmla="*/ 27 h 27"/>
                <a:gd name="T2" fmla="*/ 108 w 108"/>
                <a:gd name="T3" fmla="*/ 7 h 27"/>
                <a:gd name="T4" fmla="*/ 108 w 108"/>
                <a:gd name="T5" fmla="*/ 0 h 27"/>
                <a:gd name="T6" fmla="*/ 0 w 108"/>
                <a:gd name="T7" fmla="*/ 19 h 27"/>
                <a:gd name="T8" fmla="*/ 0 w 108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27">
                  <a:moveTo>
                    <a:pt x="0" y="27"/>
                  </a:moveTo>
                  <a:lnTo>
                    <a:pt x="108" y="7"/>
                  </a:lnTo>
                  <a:lnTo>
                    <a:pt x="108" y="0"/>
                  </a:lnTo>
                  <a:lnTo>
                    <a:pt x="0" y="19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335">
              <a:extLst>
                <a:ext uri="{FF2B5EF4-FFF2-40B4-BE49-F238E27FC236}">
                  <a16:creationId xmlns:a16="http://schemas.microsoft.com/office/drawing/2014/main" id="{F3364DAC-E12E-4008-890E-4627A5466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0938" y="4371975"/>
              <a:ext cx="179388" cy="165100"/>
            </a:xfrm>
            <a:custGeom>
              <a:avLst/>
              <a:gdLst>
                <a:gd name="T0" fmla="*/ 0 w 113"/>
                <a:gd name="T1" fmla="*/ 104 h 104"/>
                <a:gd name="T2" fmla="*/ 113 w 113"/>
                <a:gd name="T3" fmla="*/ 82 h 104"/>
                <a:gd name="T4" fmla="*/ 113 w 113"/>
                <a:gd name="T5" fmla="*/ 0 h 104"/>
                <a:gd name="T6" fmla="*/ 0 w 113"/>
                <a:gd name="T7" fmla="*/ 20 h 104"/>
                <a:gd name="T8" fmla="*/ 0 w 113"/>
                <a:gd name="T9" fmla="*/ 104 h 104"/>
                <a:gd name="T10" fmla="*/ 52 w 113"/>
                <a:gd name="T11" fmla="*/ 84 h 104"/>
                <a:gd name="T12" fmla="*/ 32 w 113"/>
                <a:gd name="T13" fmla="*/ 89 h 104"/>
                <a:gd name="T14" fmla="*/ 32 w 113"/>
                <a:gd name="T15" fmla="*/ 22 h 104"/>
                <a:gd name="T16" fmla="*/ 52 w 113"/>
                <a:gd name="T17" fmla="*/ 17 h 104"/>
                <a:gd name="T18" fmla="*/ 52 w 113"/>
                <a:gd name="T19" fmla="*/ 84 h 104"/>
                <a:gd name="T20" fmla="*/ 62 w 113"/>
                <a:gd name="T21" fmla="*/ 17 h 104"/>
                <a:gd name="T22" fmla="*/ 79 w 113"/>
                <a:gd name="T23" fmla="*/ 12 h 104"/>
                <a:gd name="T24" fmla="*/ 79 w 113"/>
                <a:gd name="T25" fmla="*/ 79 h 104"/>
                <a:gd name="T26" fmla="*/ 62 w 113"/>
                <a:gd name="T27" fmla="*/ 84 h 104"/>
                <a:gd name="T28" fmla="*/ 62 w 113"/>
                <a:gd name="T29" fmla="*/ 17 h 104"/>
                <a:gd name="T30" fmla="*/ 106 w 113"/>
                <a:gd name="T31" fmla="*/ 75 h 104"/>
                <a:gd name="T32" fmla="*/ 89 w 113"/>
                <a:gd name="T33" fmla="*/ 79 h 104"/>
                <a:gd name="T34" fmla="*/ 89 w 113"/>
                <a:gd name="T35" fmla="*/ 12 h 104"/>
                <a:gd name="T36" fmla="*/ 106 w 113"/>
                <a:gd name="T37" fmla="*/ 10 h 104"/>
                <a:gd name="T38" fmla="*/ 106 w 113"/>
                <a:gd name="T39" fmla="*/ 75 h 104"/>
                <a:gd name="T40" fmla="*/ 8 w 113"/>
                <a:gd name="T41" fmla="*/ 27 h 104"/>
                <a:gd name="T42" fmla="*/ 25 w 113"/>
                <a:gd name="T43" fmla="*/ 22 h 104"/>
                <a:gd name="T44" fmla="*/ 25 w 113"/>
                <a:gd name="T45" fmla="*/ 89 h 104"/>
                <a:gd name="T46" fmla="*/ 8 w 113"/>
                <a:gd name="T47" fmla="*/ 92 h 104"/>
                <a:gd name="T48" fmla="*/ 8 w 113"/>
                <a:gd name="T49" fmla="*/ 2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104">
                  <a:moveTo>
                    <a:pt x="0" y="104"/>
                  </a:moveTo>
                  <a:lnTo>
                    <a:pt x="113" y="82"/>
                  </a:lnTo>
                  <a:lnTo>
                    <a:pt x="113" y="0"/>
                  </a:lnTo>
                  <a:lnTo>
                    <a:pt x="0" y="20"/>
                  </a:lnTo>
                  <a:lnTo>
                    <a:pt x="0" y="104"/>
                  </a:lnTo>
                  <a:close/>
                  <a:moveTo>
                    <a:pt x="52" y="84"/>
                  </a:moveTo>
                  <a:lnTo>
                    <a:pt x="32" y="89"/>
                  </a:lnTo>
                  <a:lnTo>
                    <a:pt x="32" y="22"/>
                  </a:lnTo>
                  <a:lnTo>
                    <a:pt x="52" y="17"/>
                  </a:lnTo>
                  <a:lnTo>
                    <a:pt x="52" y="84"/>
                  </a:lnTo>
                  <a:close/>
                  <a:moveTo>
                    <a:pt x="62" y="17"/>
                  </a:moveTo>
                  <a:lnTo>
                    <a:pt x="79" y="12"/>
                  </a:lnTo>
                  <a:lnTo>
                    <a:pt x="79" y="79"/>
                  </a:lnTo>
                  <a:lnTo>
                    <a:pt x="62" y="84"/>
                  </a:lnTo>
                  <a:lnTo>
                    <a:pt x="62" y="17"/>
                  </a:lnTo>
                  <a:close/>
                  <a:moveTo>
                    <a:pt x="106" y="75"/>
                  </a:moveTo>
                  <a:lnTo>
                    <a:pt x="89" y="79"/>
                  </a:lnTo>
                  <a:lnTo>
                    <a:pt x="89" y="12"/>
                  </a:lnTo>
                  <a:lnTo>
                    <a:pt x="106" y="10"/>
                  </a:lnTo>
                  <a:lnTo>
                    <a:pt x="106" y="75"/>
                  </a:lnTo>
                  <a:close/>
                  <a:moveTo>
                    <a:pt x="8" y="27"/>
                  </a:moveTo>
                  <a:lnTo>
                    <a:pt x="25" y="22"/>
                  </a:lnTo>
                  <a:lnTo>
                    <a:pt x="25" y="89"/>
                  </a:lnTo>
                  <a:lnTo>
                    <a:pt x="8" y="92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336">
              <a:extLst>
                <a:ext uri="{FF2B5EF4-FFF2-40B4-BE49-F238E27FC236}">
                  <a16:creationId xmlns:a16="http://schemas.microsoft.com/office/drawing/2014/main" id="{18CC171A-04A9-4A7D-897D-088334774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2650" y="4335463"/>
              <a:ext cx="249238" cy="411163"/>
            </a:xfrm>
            <a:custGeom>
              <a:avLst/>
              <a:gdLst>
                <a:gd name="T0" fmla="*/ 59 w 64"/>
                <a:gd name="T1" fmla="*/ 10 h 104"/>
                <a:gd name="T2" fmla="*/ 4 w 64"/>
                <a:gd name="T3" fmla="*/ 1 h 104"/>
                <a:gd name="T4" fmla="*/ 0 w 64"/>
                <a:gd name="T5" fmla="*/ 4 h 104"/>
                <a:gd name="T6" fmla="*/ 0 w 64"/>
                <a:gd name="T7" fmla="*/ 88 h 104"/>
                <a:gd name="T8" fmla="*/ 4 w 64"/>
                <a:gd name="T9" fmla="*/ 94 h 104"/>
                <a:gd name="T10" fmla="*/ 59 w 64"/>
                <a:gd name="T11" fmla="*/ 103 h 104"/>
                <a:gd name="T12" fmla="*/ 64 w 64"/>
                <a:gd name="T13" fmla="*/ 100 h 104"/>
                <a:gd name="T14" fmla="*/ 64 w 64"/>
                <a:gd name="T15" fmla="*/ 16 h 104"/>
                <a:gd name="T16" fmla="*/ 59 w 64"/>
                <a:gd name="T17" fmla="*/ 10 h 104"/>
                <a:gd name="T18" fmla="*/ 60 w 64"/>
                <a:gd name="T19" fmla="*/ 99 h 104"/>
                <a:gd name="T20" fmla="*/ 59 w 64"/>
                <a:gd name="T21" fmla="*/ 100 h 104"/>
                <a:gd name="T22" fmla="*/ 4 w 64"/>
                <a:gd name="T23" fmla="*/ 90 h 104"/>
                <a:gd name="T24" fmla="*/ 3 w 64"/>
                <a:gd name="T25" fmla="*/ 89 h 104"/>
                <a:gd name="T26" fmla="*/ 3 w 64"/>
                <a:gd name="T27" fmla="*/ 5 h 104"/>
                <a:gd name="T28" fmla="*/ 4 w 64"/>
                <a:gd name="T29" fmla="*/ 4 h 104"/>
                <a:gd name="T30" fmla="*/ 59 w 64"/>
                <a:gd name="T31" fmla="*/ 14 h 104"/>
                <a:gd name="T32" fmla="*/ 60 w 64"/>
                <a:gd name="T33" fmla="*/ 15 h 104"/>
                <a:gd name="T34" fmla="*/ 60 w 64"/>
                <a:gd name="T35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104">
                  <a:moveTo>
                    <a:pt x="59" y="10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1"/>
                    <a:pt x="2" y="93"/>
                    <a:pt x="4" y="94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62" y="104"/>
                    <a:pt x="64" y="102"/>
                    <a:pt x="64" y="10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3"/>
                    <a:pt x="62" y="11"/>
                    <a:pt x="59" y="10"/>
                  </a:cubicBezTo>
                  <a:close/>
                  <a:moveTo>
                    <a:pt x="60" y="99"/>
                  </a:moveTo>
                  <a:cubicBezTo>
                    <a:pt x="60" y="100"/>
                    <a:pt x="60" y="100"/>
                    <a:pt x="59" y="10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3" y="90"/>
                    <a:pt x="3" y="90"/>
                    <a:pt x="3" y="89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60" y="14"/>
                    <a:pt x="60" y="14"/>
                    <a:pt x="60" y="15"/>
                  </a:cubicBezTo>
                  <a:lnTo>
                    <a:pt x="60" y="9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37">
              <a:extLst>
                <a:ext uri="{FF2B5EF4-FFF2-40B4-BE49-F238E27FC236}">
                  <a16:creationId xmlns:a16="http://schemas.microsoft.com/office/drawing/2014/main" id="{1B4DB159-A427-45B5-8EE4-DB3DADE88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9325" y="4387850"/>
              <a:ext cx="109538" cy="212725"/>
            </a:xfrm>
            <a:custGeom>
              <a:avLst/>
              <a:gdLst>
                <a:gd name="T0" fmla="*/ 69 w 69"/>
                <a:gd name="T1" fmla="*/ 32 h 134"/>
                <a:gd name="T2" fmla="*/ 44 w 69"/>
                <a:gd name="T3" fmla="*/ 27 h 134"/>
                <a:gd name="T4" fmla="*/ 44 w 69"/>
                <a:gd name="T5" fmla="*/ 7 h 134"/>
                <a:gd name="T6" fmla="*/ 7 w 69"/>
                <a:gd name="T7" fmla="*/ 0 h 134"/>
                <a:gd name="T8" fmla="*/ 7 w 69"/>
                <a:gd name="T9" fmla="*/ 22 h 134"/>
                <a:gd name="T10" fmla="*/ 0 w 69"/>
                <a:gd name="T11" fmla="*/ 20 h 134"/>
                <a:gd name="T12" fmla="*/ 0 w 69"/>
                <a:gd name="T13" fmla="*/ 122 h 134"/>
                <a:gd name="T14" fmla="*/ 69 w 69"/>
                <a:gd name="T15" fmla="*/ 134 h 134"/>
                <a:gd name="T16" fmla="*/ 69 w 69"/>
                <a:gd name="T17" fmla="*/ 32 h 134"/>
                <a:gd name="T18" fmla="*/ 17 w 69"/>
                <a:gd name="T19" fmla="*/ 10 h 134"/>
                <a:gd name="T20" fmla="*/ 34 w 69"/>
                <a:gd name="T21" fmla="*/ 15 h 134"/>
                <a:gd name="T22" fmla="*/ 34 w 69"/>
                <a:gd name="T23" fmla="*/ 27 h 134"/>
                <a:gd name="T24" fmla="*/ 17 w 69"/>
                <a:gd name="T25" fmla="*/ 22 h 134"/>
                <a:gd name="T26" fmla="*/ 17 w 69"/>
                <a:gd name="T27" fmla="*/ 10 h 134"/>
                <a:gd name="T28" fmla="*/ 59 w 69"/>
                <a:gd name="T29" fmla="*/ 124 h 134"/>
                <a:gd name="T30" fmla="*/ 39 w 69"/>
                <a:gd name="T31" fmla="*/ 122 h 134"/>
                <a:gd name="T32" fmla="*/ 39 w 69"/>
                <a:gd name="T33" fmla="*/ 102 h 134"/>
                <a:gd name="T34" fmla="*/ 29 w 69"/>
                <a:gd name="T35" fmla="*/ 102 h 134"/>
                <a:gd name="T36" fmla="*/ 29 w 69"/>
                <a:gd name="T37" fmla="*/ 119 h 134"/>
                <a:gd name="T38" fmla="*/ 10 w 69"/>
                <a:gd name="T39" fmla="*/ 114 h 134"/>
                <a:gd name="T40" fmla="*/ 10 w 69"/>
                <a:gd name="T41" fmla="*/ 30 h 134"/>
                <a:gd name="T42" fmla="*/ 59 w 69"/>
                <a:gd name="T43" fmla="*/ 40 h 134"/>
                <a:gd name="T44" fmla="*/ 59 w 69"/>
                <a:gd name="T45" fmla="*/ 12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" h="134">
                  <a:moveTo>
                    <a:pt x="69" y="32"/>
                  </a:moveTo>
                  <a:lnTo>
                    <a:pt x="44" y="27"/>
                  </a:lnTo>
                  <a:lnTo>
                    <a:pt x="44" y="7"/>
                  </a:lnTo>
                  <a:lnTo>
                    <a:pt x="7" y="0"/>
                  </a:lnTo>
                  <a:lnTo>
                    <a:pt x="7" y="22"/>
                  </a:lnTo>
                  <a:lnTo>
                    <a:pt x="0" y="20"/>
                  </a:lnTo>
                  <a:lnTo>
                    <a:pt x="0" y="122"/>
                  </a:lnTo>
                  <a:lnTo>
                    <a:pt x="69" y="134"/>
                  </a:lnTo>
                  <a:lnTo>
                    <a:pt x="69" y="32"/>
                  </a:lnTo>
                  <a:close/>
                  <a:moveTo>
                    <a:pt x="17" y="10"/>
                  </a:moveTo>
                  <a:lnTo>
                    <a:pt x="34" y="15"/>
                  </a:lnTo>
                  <a:lnTo>
                    <a:pt x="34" y="27"/>
                  </a:lnTo>
                  <a:lnTo>
                    <a:pt x="17" y="22"/>
                  </a:lnTo>
                  <a:lnTo>
                    <a:pt x="17" y="10"/>
                  </a:lnTo>
                  <a:close/>
                  <a:moveTo>
                    <a:pt x="59" y="124"/>
                  </a:moveTo>
                  <a:lnTo>
                    <a:pt x="39" y="122"/>
                  </a:lnTo>
                  <a:lnTo>
                    <a:pt x="39" y="102"/>
                  </a:lnTo>
                  <a:lnTo>
                    <a:pt x="29" y="102"/>
                  </a:lnTo>
                  <a:lnTo>
                    <a:pt x="29" y="119"/>
                  </a:lnTo>
                  <a:lnTo>
                    <a:pt x="10" y="114"/>
                  </a:lnTo>
                  <a:lnTo>
                    <a:pt x="10" y="30"/>
                  </a:lnTo>
                  <a:lnTo>
                    <a:pt x="59" y="40"/>
                  </a:lnTo>
                  <a:lnTo>
                    <a:pt x="59" y="1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38">
              <a:extLst>
                <a:ext uri="{FF2B5EF4-FFF2-40B4-BE49-F238E27FC236}">
                  <a16:creationId xmlns:a16="http://schemas.microsoft.com/office/drawing/2014/main" id="{E505E616-15A6-4EC8-A435-B12B489E0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138" y="4451350"/>
              <a:ext cx="11113" cy="31750"/>
            </a:xfrm>
            <a:custGeom>
              <a:avLst/>
              <a:gdLst>
                <a:gd name="T0" fmla="*/ 7 w 7"/>
                <a:gd name="T1" fmla="*/ 2 h 20"/>
                <a:gd name="T2" fmla="*/ 0 w 7"/>
                <a:gd name="T3" fmla="*/ 0 h 20"/>
                <a:gd name="T4" fmla="*/ 0 w 7"/>
                <a:gd name="T5" fmla="*/ 20 h 20"/>
                <a:gd name="T6" fmla="*/ 7 w 7"/>
                <a:gd name="T7" fmla="*/ 20 h 20"/>
                <a:gd name="T8" fmla="*/ 7 w 7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2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7" y="2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39">
              <a:extLst>
                <a:ext uri="{FF2B5EF4-FFF2-40B4-BE49-F238E27FC236}">
                  <a16:creationId xmlns:a16="http://schemas.microsoft.com/office/drawing/2014/main" id="{BD0BE93A-7406-4E6D-8606-697BF9D58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363" y="4454525"/>
              <a:ext cx="15875" cy="31750"/>
            </a:xfrm>
            <a:custGeom>
              <a:avLst/>
              <a:gdLst>
                <a:gd name="T0" fmla="*/ 10 w 10"/>
                <a:gd name="T1" fmla="*/ 3 h 20"/>
                <a:gd name="T2" fmla="*/ 0 w 10"/>
                <a:gd name="T3" fmla="*/ 0 h 20"/>
                <a:gd name="T4" fmla="*/ 0 w 10"/>
                <a:gd name="T5" fmla="*/ 20 h 20"/>
                <a:gd name="T6" fmla="*/ 10 w 10"/>
                <a:gd name="T7" fmla="*/ 20 h 20"/>
                <a:gd name="T8" fmla="*/ 10 w 10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0">
                  <a:moveTo>
                    <a:pt x="10" y="3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10" y="20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40">
              <a:extLst>
                <a:ext uri="{FF2B5EF4-FFF2-40B4-BE49-F238E27FC236}">
                  <a16:creationId xmlns:a16="http://schemas.microsoft.com/office/drawing/2014/main" id="{E9CB5429-6618-4EBD-B9C9-8EFA86216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938" y="4459288"/>
              <a:ext cx="11113" cy="31750"/>
            </a:xfrm>
            <a:custGeom>
              <a:avLst/>
              <a:gdLst>
                <a:gd name="T0" fmla="*/ 7 w 7"/>
                <a:gd name="T1" fmla="*/ 2 h 20"/>
                <a:gd name="T2" fmla="*/ 0 w 7"/>
                <a:gd name="T3" fmla="*/ 0 h 20"/>
                <a:gd name="T4" fmla="*/ 0 w 7"/>
                <a:gd name="T5" fmla="*/ 20 h 20"/>
                <a:gd name="T6" fmla="*/ 7 w 7"/>
                <a:gd name="T7" fmla="*/ 20 h 20"/>
                <a:gd name="T8" fmla="*/ 7 w 7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2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7" y="2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341">
              <a:extLst>
                <a:ext uri="{FF2B5EF4-FFF2-40B4-BE49-F238E27FC236}">
                  <a16:creationId xmlns:a16="http://schemas.microsoft.com/office/drawing/2014/main" id="{672CEE22-10FD-4CE3-8A38-FD6EEBDAA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138" y="4497388"/>
              <a:ext cx="11113" cy="31750"/>
            </a:xfrm>
            <a:custGeom>
              <a:avLst/>
              <a:gdLst>
                <a:gd name="T0" fmla="*/ 7 w 7"/>
                <a:gd name="T1" fmla="*/ 0 h 20"/>
                <a:gd name="T2" fmla="*/ 0 w 7"/>
                <a:gd name="T3" fmla="*/ 0 h 20"/>
                <a:gd name="T4" fmla="*/ 0 w 7"/>
                <a:gd name="T5" fmla="*/ 18 h 20"/>
                <a:gd name="T6" fmla="*/ 7 w 7"/>
                <a:gd name="T7" fmla="*/ 20 h 20"/>
                <a:gd name="T8" fmla="*/ 7 w 7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7" y="2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Freeform 342">
              <a:extLst>
                <a:ext uri="{FF2B5EF4-FFF2-40B4-BE49-F238E27FC236}">
                  <a16:creationId xmlns:a16="http://schemas.microsoft.com/office/drawing/2014/main" id="{189A50D4-6970-4D94-97A5-549BED147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363" y="4502150"/>
              <a:ext cx="15875" cy="31750"/>
            </a:xfrm>
            <a:custGeom>
              <a:avLst/>
              <a:gdLst>
                <a:gd name="T0" fmla="*/ 10 w 10"/>
                <a:gd name="T1" fmla="*/ 2 h 20"/>
                <a:gd name="T2" fmla="*/ 0 w 10"/>
                <a:gd name="T3" fmla="*/ 0 h 20"/>
                <a:gd name="T4" fmla="*/ 0 w 10"/>
                <a:gd name="T5" fmla="*/ 17 h 20"/>
                <a:gd name="T6" fmla="*/ 10 w 10"/>
                <a:gd name="T7" fmla="*/ 20 h 20"/>
                <a:gd name="T8" fmla="*/ 10 w 10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0">
                  <a:moveTo>
                    <a:pt x="10" y="2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0" y="20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343">
              <a:extLst>
                <a:ext uri="{FF2B5EF4-FFF2-40B4-BE49-F238E27FC236}">
                  <a16:creationId xmlns:a16="http://schemas.microsoft.com/office/drawing/2014/main" id="{4088FCFD-215B-4B5E-82E1-132CDB277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938" y="4505325"/>
              <a:ext cx="11113" cy="31750"/>
            </a:xfrm>
            <a:custGeom>
              <a:avLst/>
              <a:gdLst>
                <a:gd name="T0" fmla="*/ 7 w 7"/>
                <a:gd name="T1" fmla="*/ 3 h 20"/>
                <a:gd name="T2" fmla="*/ 0 w 7"/>
                <a:gd name="T3" fmla="*/ 0 h 20"/>
                <a:gd name="T4" fmla="*/ 0 w 7"/>
                <a:gd name="T5" fmla="*/ 20 h 20"/>
                <a:gd name="T6" fmla="*/ 7 w 7"/>
                <a:gd name="T7" fmla="*/ 20 h 20"/>
                <a:gd name="T8" fmla="*/ 7 w 7"/>
                <a:gd name="T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0">
                  <a:moveTo>
                    <a:pt x="7" y="3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7" y="2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344">
              <a:extLst>
                <a:ext uri="{FF2B5EF4-FFF2-40B4-BE49-F238E27FC236}">
                  <a16:creationId xmlns:a16="http://schemas.microsoft.com/office/drawing/2014/main" id="{C8B7774D-098E-4D09-80B1-839490DD7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2338" y="4605338"/>
              <a:ext cx="163513" cy="98425"/>
            </a:xfrm>
            <a:custGeom>
              <a:avLst/>
              <a:gdLst>
                <a:gd name="T0" fmla="*/ 0 w 103"/>
                <a:gd name="T1" fmla="*/ 45 h 62"/>
                <a:gd name="T2" fmla="*/ 103 w 103"/>
                <a:gd name="T3" fmla="*/ 62 h 62"/>
                <a:gd name="T4" fmla="*/ 103 w 103"/>
                <a:gd name="T5" fmla="*/ 17 h 62"/>
                <a:gd name="T6" fmla="*/ 0 w 103"/>
                <a:gd name="T7" fmla="*/ 0 h 62"/>
                <a:gd name="T8" fmla="*/ 0 w 103"/>
                <a:gd name="T9" fmla="*/ 45 h 62"/>
                <a:gd name="T10" fmla="*/ 10 w 103"/>
                <a:gd name="T11" fmla="*/ 10 h 62"/>
                <a:gd name="T12" fmla="*/ 95 w 103"/>
                <a:gd name="T13" fmla="*/ 25 h 62"/>
                <a:gd name="T14" fmla="*/ 95 w 103"/>
                <a:gd name="T15" fmla="*/ 52 h 62"/>
                <a:gd name="T16" fmla="*/ 10 w 103"/>
                <a:gd name="T17" fmla="*/ 37 h 62"/>
                <a:gd name="T18" fmla="*/ 10 w 103"/>
                <a:gd name="T19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62">
                  <a:moveTo>
                    <a:pt x="0" y="45"/>
                  </a:moveTo>
                  <a:lnTo>
                    <a:pt x="103" y="62"/>
                  </a:lnTo>
                  <a:lnTo>
                    <a:pt x="103" y="17"/>
                  </a:lnTo>
                  <a:lnTo>
                    <a:pt x="0" y="0"/>
                  </a:lnTo>
                  <a:lnTo>
                    <a:pt x="0" y="45"/>
                  </a:lnTo>
                  <a:close/>
                  <a:moveTo>
                    <a:pt x="10" y="10"/>
                  </a:moveTo>
                  <a:lnTo>
                    <a:pt x="95" y="25"/>
                  </a:lnTo>
                  <a:lnTo>
                    <a:pt x="95" y="52"/>
                  </a:lnTo>
                  <a:lnTo>
                    <a:pt x="10" y="37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1" name="Group 400">
            <a:extLst>
              <a:ext uri="{FF2B5EF4-FFF2-40B4-BE49-F238E27FC236}">
                <a16:creationId xmlns:a16="http://schemas.microsoft.com/office/drawing/2014/main" id="{4A034FC6-3FB3-4301-9791-CDF1AC234DD3}"/>
              </a:ext>
            </a:extLst>
          </p:cNvPr>
          <p:cNvGrpSpPr/>
          <p:nvPr/>
        </p:nvGrpSpPr>
        <p:grpSpPr>
          <a:xfrm>
            <a:off x="7105650" y="4125913"/>
            <a:ext cx="842963" cy="841375"/>
            <a:chOff x="7105650" y="4125913"/>
            <a:chExt cx="842963" cy="841375"/>
          </a:xfrm>
        </p:grpSpPr>
        <p:sp>
          <p:nvSpPr>
            <p:cNvPr id="386" name="AutoShape 346">
              <a:extLst>
                <a:ext uri="{FF2B5EF4-FFF2-40B4-BE49-F238E27FC236}">
                  <a16:creationId xmlns:a16="http://schemas.microsoft.com/office/drawing/2014/main" id="{481611C2-347F-46CB-845F-CB1FD3654D6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105650" y="4125913"/>
              <a:ext cx="839788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Oval 348">
              <a:extLst>
                <a:ext uri="{FF2B5EF4-FFF2-40B4-BE49-F238E27FC236}">
                  <a16:creationId xmlns:a16="http://schemas.microsoft.com/office/drawing/2014/main" id="{0352FAD3-BE66-4911-A8EC-5A13FC7B6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4129088"/>
              <a:ext cx="842963" cy="835025"/>
            </a:xfrm>
            <a:prstGeom prst="ellipse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349">
              <a:extLst>
                <a:ext uri="{FF2B5EF4-FFF2-40B4-BE49-F238E27FC236}">
                  <a16:creationId xmlns:a16="http://schemas.microsoft.com/office/drawing/2014/main" id="{1FF142E6-7512-4CA9-83E0-A9FEDCEC65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4225" y="4157663"/>
              <a:ext cx="787400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350">
              <a:extLst>
                <a:ext uri="{FF2B5EF4-FFF2-40B4-BE49-F238E27FC236}">
                  <a16:creationId xmlns:a16="http://schemas.microsoft.com/office/drawing/2014/main" id="{8A3BDE0A-018C-40C6-AF40-B6777E9E3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8850" y="4598988"/>
              <a:ext cx="92075" cy="52388"/>
            </a:xfrm>
            <a:custGeom>
              <a:avLst/>
              <a:gdLst>
                <a:gd name="T0" fmla="*/ 0 w 23"/>
                <a:gd name="T1" fmla="*/ 0 h 13"/>
                <a:gd name="T2" fmla="*/ 0 w 23"/>
                <a:gd name="T3" fmla="*/ 0 h 13"/>
                <a:gd name="T4" fmla="*/ 0 w 23"/>
                <a:gd name="T5" fmla="*/ 4 h 13"/>
                <a:gd name="T6" fmla="*/ 20 w 23"/>
                <a:gd name="T7" fmla="*/ 13 h 13"/>
                <a:gd name="T8" fmla="*/ 23 w 23"/>
                <a:gd name="T9" fmla="*/ 11 h 13"/>
                <a:gd name="T10" fmla="*/ 0 w 23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4"/>
                    <a:pt x="15" y="7"/>
                    <a:pt x="20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17" y="5"/>
                    <a:pt x="9" y="0"/>
                    <a:pt x="0" y="0"/>
                  </a:cubicBezTo>
                </a:path>
              </a:pathLst>
            </a:custGeom>
            <a:solidFill>
              <a:srgbClr val="8CB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351">
              <a:extLst>
                <a:ext uri="{FF2B5EF4-FFF2-40B4-BE49-F238E27FC236}">
                  <a16:creationId xmlns:a16="http://schemas.microsoft.com/office/drawing/2014/main" id="{553FEBF9-68D6-403F-A378-138D21F3F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913" y="4635501"/>
              <a:ext cx="104775" cy="92075"/>
            </a:xfrm>
            <a:custGeom>
              <a:avLst/>
              <a:gdLst>
                <a:gd name="T0" fmla="*/ 7 w 66"/>
                <a:gd name="T1" fmla="*/ 58 h 58"/>
                <a:gd name="T2" fmla="*/ 66 w 66"/>
                <a:gd name="T3" fmla="*/ 7 h 58"/>
                <a:gd name="T4" fmla="*/ 61 w 66"/>
                <a:gd name="T5" fmla="*/ 0 h 58"/>
                <a:gd name="T6" fmla="*/ 0 w 66"/>
                <a:gd name="T7" fmla="*/ 50 h 58"/>
                <a:gd name="T8" fmla="*/ 7 w 66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58">
                  <a:moveTo>
                    <a:pt x="7" y="58"/>
                  </a:moveTo>
                  <a:lnTo>
                    <a:pt x="66" y="7"/>
                  </a:lnTo>
                  <a:lnTo>
                    <a:pt x="61" y="0"/>
                  </a:lnTo>
                  <a:lnTo>
                    <a:pt x="0" y="50"/>
                  </a:lnTo>
                  <a:lnTo>
                    <a:pt x="7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352">
              <a:extLst>
                <a:ext uri="{FF2B5EF4-FFF2-40B4-BE49-F238E27FC236}">
                  <a16:creationId xmlns:a16="http://schemas.microsoft.com/office/drawing/2014/main" id="{3D58BE26-9E31-467E-B657-B76869AF8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913" y="4635501"/>
              <a:ext cx="104775" cy="92075"/>
            </a:xfrm>
            <a:custGeom>
              <a:avLst/>
              <a:gdLst>
                <a:gd name="T0" fmla="*/ 7 w 66"/>
                <a:gd name="T1" fmla="*/ 58 h 58"/>
                <a:gd name="T2" fmla="*/ 66 w 66"/>
                <a:gd name="T3" fmla="*/ 7 h 58"/>
                <a:gd name="T4" fmla="*/ 61 w 66"/>
                <a:gd name="T5" fmla="*/ 0 h 58"/>
                <a:gd name="T6" fmla="*/ 0 w 66"/>
                <a:gd name="T7" fmla="*/ 5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58">
                  <a:moveTo>
                    <a:pt x="7" y="58"/>
                  </a:moveTo>
                  <a:lnTo>
                    <a:pt x="66" y="7"/>
                  </a:lnTo>
                  <a:lnTo>
                    <a:pt x="61" y="0"/>
                  </a:lnTo>
                  <a:lnTo>
                    <a:pt x="0" y="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353">
              <a:extLst>
                <a:ext uri="{FF2B5EF4-FFF2-40B4-BE49-F238E27FC236}">
                  <a16:creationId xmlns:a16="http://schemas.microsoft.com/office/drawing/2014/main" id="{02C1EA58-4011-4246-BDE0-5759B0727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913" y="4322763"/>
              <a:ext cx="454025" cy="447675"/>
            </a:xfrm>
            <a:custGeom>
              <a:avLst/>
              <a:gdLst>
                <a:gd name="T0" fmla="*/ 7 w 286"/>
                <a:gd name="T1" fmla="*/ 171 h 282"/>
                <a:gd name="T2" fmla="*/ 7 w 286"/>
                <a:gd name="T3" fmla="*/ 7 h 282"/>
                <a:gd name="T4" fmla="*/ 278 w 286"/>
                <a:gd name="T5" fmla="*/ 7 h 282"/>
                <a:gd name="T6" fmla="*/ 278 w 286"/>
                <a:gd name="T7" fmla="*/ 275 h 282"/>
                <a:gd name="T8" fmla="*/ 7 w 286"/>
                <a:gd name="T9" fmla="*/ 275 h 282"/>
                <a:gd name="T10" fmla="*/ 7 w 286"/>
                <a:gd name="T11" fmla="*/ 250 h 282"/>
                <a:gd name="T12" fmla="*/ 0 w 286"/>
                <a:gd name="T13" fmla="*/ 250 h 282"/>
                <a:gd name="T14" fmla="*/ 0 w 286"/>
                <a:gd name="T15" fmla="*/ 282 h 282"/>
                <a:gd name="T16" fmla="*/ 286 w 286"/>
                <a:gd name="T17" fmla="*/ 282 h 282"/>
                <a:gd name="T18" fmla="*/ 286 w 286"/>
                <a:gd name="T19" fmla="*/ 0 h 282"/>
                <a:gd name="T20" fmla="*/ 0 w 286"/>
                <a:gd name="T21" fmla="*/ 0 h 282"/>
                <a:gd name="T22" fmla="*/ 0 w 286"/>
                <a:gd name="T23" fmla="*/ 171 h 282"/>
                <a:gd name="T24" fmla="*/ 7 w 286"/>
                <a:gd name="T25" fmla="*/ 171 h 282"/>
                <a:gd name="T26" fmla="*/ 7 w 286"/>
                <a:gd name="T27" fmla="*/ 171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6" h="282">
                  <a:moveTo>
                    <a:pt x="7" y="171"/>
                  </a:moveTo>
                  <a:lnTo>
                    <a:pt x="7" y="7"/>
                  </a:lnTo>
                  <a:lnTo>
                    <a:pt x="278" y="7"/>
                  </a:lnTo>
                  <a:lnTo>
                    <a:pt x="278" y="275"/>
                  </a:lnTo>
                  <a:lnTo>
                    <a:pt x="7" y="275"/>
                  </a:lnTo>
                  <a:lnTo>
                    <a:pt x="7" y="250"/>
                  </a:lnTo>
                  <a:lnTo>
                    <a:pt x="0" y="250"/>
                  </a:lnTo>
                  <a:lnTo>
                    <a:pt x="0" y="282"/>
                  </a:lnTo>
                  <a:lnTo>
                    <a:pt x="286" y="282"/>
                  </a:lnTo>
                  <a:lnTo>
                    <a:pt x="286" y="0"/>
                  </a:lnTo>
                  <a:lnTo>
                    <a:pt x="0" y="0"/>
                  </a:lnTo>
                  <a:lnTo>
                    <a:pt x="0" y="171"/>
                  </a:lnTo>
                  <a:lnTo>
                    <a:pt x="7" y="171"/>
                  </a:lnTo>
                  <a:lnTo>
                    <a:pt x="7" y="1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54">
              <a:extLst>
                <a:ext uri="{FF2B5EF4-FFF2-40B4-BE49-F238E27FC236}">
                  <a16:creationId xmlns:a16="http://schemas.microsoft.com/office/drawing/2014/main" id="{57594490-63A8-4F93-A17A-F867D208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9988" y="4322763"/>
              <a:ext cx="234950" cy="231775"/>
            </a:xfrm>
            <a:custGeom>
              <a:avLst/>
              <a:gdLst>
                <a:gd name="T0" fmla="*/ 143 w 148"/>
                <a:gd name="T1" fmla="*/ 141 h 146"/>
                <a:gd name="T2" fmla="*/ 143 w 148"/>
                <a:gd name="T3" fmla="*/ 136 h 146"/>
                <a:gd name="T4" fmla="*/ 10 w 148"/>
                <a:gd name="T5" fmla="*/ 136 h 146"/>
                <a:gd name="T6" fmla="*/ 10 w 148"/>
                <a:gd name="T7" fmla="*/ 7 h 146"/>
                <a:gd name="T8" fmla="*/ 140 w 148"/>
                <a:gd name="T9" fmla="*/ 7 h 146"/>
                <a:gd name="T10" fmla="*/ 140 w 148"/>
                <a:gd name="T11" fmla="*/ 141 h 146"/>
                <a:gd name="T12" fmla="*/ 143 w 148"/>
                <a:gd name="T13" fmla="*/ 141 h 146"/>
                <a:gd name="T14" fmla="*/ 143 w 148"/>
                <a:gd name="T15" fmla="*/ 136 h 146"/>
                <a:gd name="T16" fmla="*/ 143 w 148"/>
                <a:gd name="T17" fmla="*/ 141 h 146"/>
                <a:gd name="T18" fmla="*/ 148 w 148"/>
                <a:gd name="T19" fmla="*/ 141 h 146"/>
                <a:gd name="T20" fmla="*/ 148 w 148"/>
                <a:gd name="T21" fmla="*/ 0 h 146"/>
                <a:gd name="T22" fmla="*/ 0 w 148"/>
                <a:gd name="T23" fmla="*/ 0 h 146"/>
                <a:gd name="T24" fmla="*/ 0 w 148"/>
                <a:gd name="T25" fmla="*/ 146 h 146"/>
                <a:gd name="T26" fmla="*/ 148 w 148"/>
                <a:gd name="T27" fmla="*/ 146 h 146"/>
                <a:gd name="T28" fmla="*/ 148 w 148"/>
                <a:gd name="T29" fmla="*/ 141 h 146"/>
                <a:gd name="T30" fmla="*/ 143 w 148"/>
                <a:gd name="T31" fmla="*/ 14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146">
                  <a:moveTo>
                    <a:pt x="143" y="141"/>
                  </a:moveTo>
                  <a:lnTo>
                    <a:pt x="143" y="136"/>
                  </a:lnTo>
                  <a:lnTo>
                    <a:pt x="10" y="136"/>
                  </a:lnTo>
                  <a:lnTo>
                    <a:pt x="10" y="7"/>
                  </a:lnTo>
                  <a:lnTo>
                    <a:pt x="140" y="7"/>
                  </a:lnTo>
                  <a:lnTo>
                    <a:pt x="140" y="141"/>
                  </a:lnTo>
                  <a:lnTo>
                    <a:pt x="143" y="141"/>
                  </a:lnTo>
                  <a:lnTo>
                    <a:pt x="143" y="136"/>
                  </a:lnTo>
                  <a:lnTo>
                    <a:pt x="143" y="141"/>
                  </a:lnTo>
                  <a:lnTo>
                    <a:pt x="148" y="141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46"/>
                  </a:lnTo>
                  <a:lnTo>
                    <a:pt x="148" y="146"/>
                  </a:lnTo>
                  <a:lnTo>
                    <a:pt x="148" y="141"/>
                  </a:lnTo>
                  <a:lnTo>
                    <a:pt x="143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355">
              <a:extLst>
                <a:ext uri="{FF2B5EF4-FFF2-40B4-BE49-F238E27FC236}">
                  <a16:creationId xmlns:a16="http://schemas.microsoft.com/office/drawing/2014/main" id="{1D7B2F22-ABF2-44D6-89CE-273AA3144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500" y="4370388"/>
              <a:ext cx="161925" cy="76200"/>
            </a:xfrm>
            <a:custGeom>
              <a:avLst/>
              <a:gdLst>
                <a:gd name="T0" fmla="*/ 97 w 102"/>
                <a:gd name="T1" fmla="*/ 43 h 48"/>
                <a:gd name="T2" fmla="*/ 97 w 102"/>
                <a:gd name="T3" fmla="*/ 38 h 48"/>
                <a:gd name="T4" fmla="*/ 10 w 102"/>
                <a:gd name="T5" fmla="*/ 38 h 48"/>
                <a:gd name="T6" fmla="*/ 10 w 102"/>
                <a:gd name="T7" fmla="*/ 10 h 48"/>
                <a:gd name="T8" fmla="*/ 92 w 102"/>
                <a:gd name="T9" fmla="*/ 10 h 48"/>
                <a:gd name="T10" fmla="*/ 92 w 102"/>
                <a:gd name="T11" fmla="*/ 43 h 48"/>
                <a:gd name="T12" fmla="*/ 97 w 102"/>
                <a:gd name="T13" fmla="*/ 43 h 48"/>
                <a:gd name="T14" fmla="*/ 97 w 102"/>
                <a:gd name="T15" fmla="*/ 38 h 48"/>
                <a:gd name="T16" fmla="*/ 97 w 102"/>
                <a:gd name="T17" fmla="*/ 43 h 48"/>
                <a:gd name="T18" fmla="*/ 102 w 102"/>
                <a:gd name="T19" fmla="*/ 43 h 48"/>
                <a:gd name="T20" fmla="*/ 102 w 102"/>
                <a:gd name="T21" fmla="*/ 0 h 48"/>
                <a:gd name="T22" fmla="*/ 0 w 102"/>
                <a:gd name="T23" fmla="*/ 0 h 48"/>
                <a:gd name="T24" fmla="*/ 0 w 102"/>
                <a:gd name="T25" fmla="*/ 48 h 48"/>
                <a:gd name="T26" fmla="*/ 102 w 102"/>
                <a:gd name="T27" fmla="*/ 48 h 48"/>
                <a:gd name="T28" fmla="*/ 102 w 102"/>
                <a:gd name="T29" fmla="*/ 43 h 48"/>
                <a:gd name="T30" fmla="*/ 97 w 102"/>
                <a:gd name="T31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48">
                  <a:moveTo>
                    <a:pt x="97" y="43"/>
                  </a:moveTo>
                  <a:lnTo>
                    <a:pt x="97" y="38"/>
                  </a:lnTo>
                  <a:lnTo>
                    <a:pt x="10" y="38"/>
                  </a:lnTo>
                  <a:lnTo>
                    <a:pt x="10" y="10"/>
                  </a:lnTo>
                  <a:lnTo>
                    <a:pt x="92" y="10"/>
                  </a:lnTo>
                  <a:lnTo>
                    <a:pt x="92" y="43"/>
                  </a:lnTo>
                  <a:lnTo>
                    <a:pt x="97" y="43"/>
                  </a:lnTo>
                  <a:lnTo>
                    <a:pt x="97" y="38"/>
                  </a:lnTo>
                  <a:lnTo>
                    <a:pt x="97" y="43"/>
                  </a:lnTo>
                  <a:lnTo>
                    <a:pt x="102" y="43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02" y="48"/>
                  </a:lnTo>
                  <a:lnTo>
                    <a:pt x="102" y="43"/>
                  </a:lnTo>
                  <a:lnTo>
                    <a:pt x="97" y="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56">
              <a:extLst>
                <a:ext uri="{FF2B5EF4-FFF2-40B4-BE49-F238E27FC236}">
                  <a16:creationId xmlns:a16="http://schemas.microsoft.com/office/drawing/2014/main" id="{6D573134-5636-4662-A935-FB9BA8D40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6788" y="4338638"/>
              <a:ext cx="84138" cy="84138"/>
            </a:xfrm>
            <a:custGeom>
              <a:avLst/>
              <a:gdLst>
                <a:gd name="T0" fmla="*/ 20 w 21"/>
                <a:gd name="T1" fmla="*/ 11 h 21"/>
                <a:gd name="T2" fmla="*/ 18 w 21"/>
                <a:gd name="T3" fmla="*/ 11 h 21"/>
                <a:gd name="T4" fmla="*/ 11 w 21"/>
                <a:gd name="T5" fmla="*/ 18 h 21"/>
                <a:gd name="T6" fmla="*/ 4 w 21"/>
                <a:gd name="T7" fmla="*/ 11 h 21"/>
                <a:gd name="T8" fmla="*/ 11 w 21"/>
                <a:gd name="T9" fmla="*/ 4 h 21"/>
                <a:gd name="T10" fmla="*/ 18 w 21"/>
                <a:gd name="T11" fmla="*/ 11 h 21"/>
                <a:gd name="T12" fmla="*/ 20 w 21"/>
                <a:gd name="T13" fmla="*/ 11 h 21"/>
                <a:gd name="T14" fmla="*/ 21 w 21"/>
                <a:gd name="T15" fmla="*/ 11 h 21"/>
                <a:gd name="T16" fmla="*/ 11 w 21"/>
                <a:gd name="T17" fmla="*/ 0 h 21"/>
                <a:gd name="T18" fmla="*/ 0 w 21"/>
                <a:gd name="T19" fmla="*/ 11 h 21"/>
                <a:gd name="T20" fmla="*/ 11 w 21"/>
                <a:gd name="T21" fmla="*/ 21 h 21"/>
                <a:gd name="T22" fmla="*/ 21 w 21"/>
                <a:gd name="T23" fmla="*/ 11 h 21"/>
                <a:gd name="T24" fmla="*/ 20 w 21"/>
                <a:gd name="T2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1">
                  <a:moveTo>
                    <a:pt x="20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5"/>
                    <a:pt x="15" y="18"/>
                    <a:pt x="11" y="18"/>
                  </a:cubicBezTo>
                  <a:cubicBezTo>
                    <a:pt x="7" y="18"/>
                    <a:pt x="4" y="15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ubicBezTo>
                    <a:pt x="15" y="4"/>
                    <a:pt x="18" y="7"/>
                    <a:pt x="18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7" y="21"/>
                    <a:pt x="21" y="17"/>
                    <a:pt x="21" y="11"/>
                  </a:cubicBezTo>
                  <a:lnTo>
                    <a:pt x="20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357">
              <a:extLst>
                <a:ext uri="{FF2B5EF4-FFF2-40B4-BE49-F238E27FC236}">
                  <a16:creationId xmlns:a16="http://schemas.microsoft.com/office/drawing/2014/main" id="{81E9DC94-48C4-446F-958D-96C98AA6F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475" y="4662488"/>
              <a:ext cx="185738" cy="88900"/>
            </a:xfrm>
            <a:custGeom>
              <a:avLst/>
              <a:gdLst>
                <a:gd name="T0" fmla="*/ 2 w 117"/>
                <a:gd name="T1" fmla="*/ 51 h 56"/>
                <a:gd name="T2" fmla="*/ 2 w 117"/>
                <a:gd name="T3" fmla="*/ 56 h 56"/>
                <a:gd name="T4" fmla="*/ 117 w 117"/>
                <a:gd name="T5" fmla="*/ 56 h 56"/>
                <a:gd name="T6" fmla="*/ 117 w 117"/>
                <a:gd name="T7" fmla="*/ 0 h 56"/>
                <a:gd name="T8" fmla="*/ 0 w 117"/>
                <a:gd name="T9" fmla="*/ 0 h 56"/>
                <a:gd name="T10" fmla="*/ 0 w 117"/>
                <a:gd name="T11" fmla="*/ 56 h 56"/>
                <a:gd name="T12" fmla="*/ 2 w 117"/>
                <a:gd name="T13" fmla="*/ 56 h 56"/>
                <a:gd name="T14" fmla="*/ 2 w 117"/>
                <a:gd name="T15" fmla="*/ 51 h 56"/>
                <a:gd name="T16" fmla="*/ 7 w 117"/>
                <a:gd name="T17" fmla="*/ 51 h 56"/>
                <a:gd name="T18" fmla="*/ 7 w 117"/>
                <a:gd name="T19" fmla="*/ 10 h 56"/>
                <a:gd name="T20" fmla="*/ 107 w 117"/>
                <a:gd name="T21" fmla="*/ 10 h 56"/>
                <a:gd name="T22" fmla="*/ 107 w 117"/>
                <a:gd name="T23" fmla="*/ 46 h 56"/>
                <a:gd name="T24" fmla="*/ 2 w 117"/>
                <a:gd name="T25" fmla="*/ 46 h 56"/>
                <a:gd name="T26" fmla="*/ 2 w 117"/>
                <a:gd name="T27" fmla="*/ 51 h 56"/>
                <a:gd name="T28" fmla="*/ 7 w 117"/>
                <a:gd name="T29" fmla="*/ 51 h 56"/>
                <a:gd name="T30" fmla="*/ 2 w 117"/>
                <a:gd name="T3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56">
                  <a:moveTo>
                    <a:pt x="2" y="51"/>
                  </a:moveTo>
                  <a:lnTo>
                    <a:pt x="2" y="56"/>
                  </a:lnTo>
                  <a:lnTo>
                    <a:pt x="117" y="56"/>
                  </a:lnTo>
                  <a:lnTo>
                    <a:pt x="117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2" y="51"/>
                  </a:lnTo>
                  <a:lnTo>
                    <a:pt x="7" y="51"/>
                  </a:lnTo>
                  <a:lnTo>
                    <a:pt x="7" y="10"/>
                  </a:lnTo>
                  <a:lnTo>
                    <a:pt x="107" y="10"/>
                  </a:lnTo>
                  <a:lnTo>
                    <a:pt x="107" y="46"/>
                  </a:lnTo>
                  <a:lnTo>
                    <a:pt x="2" y="46"/>
                  </a:lnTo>
                  <a:lnTo>
                    <a:pt x="2" y="51"/>
                  </a:lnTo>
                  <a:lnTo>
                    <a:pt x="7" y="51"/>
                  </a:lnTo>
                  <a:lnTo>
                    <a:pt x="2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358">
              <a:extLst>
                <a:ext uri="{FF2B5EF4-FFF2-40B4-BE49-F238E27FC236}">
                  <a16:creationId xmlns:a16="http://schemas.microsoft.com/office/drawing/2014/main" id="{0F0FAD24-8D42-440B-AF17-74AC4E6BD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475" y="4662488"/>
              <a:ext cx="36513" cy="88900"/>
            </a:xfrm>
            <a:custGeom>
              <a:avLst/>
              <a:gdLst>
                <a:gd name="T0" fmla="*/ 2 w 23"/>
                <a:gd name="T1" fmla="*/ 51 h 56"/>
                <a:gd name="T2" fmla="*/ 2 w 23"/>
                <a:gd name="T3" fmla="*/ 56 h 56"/>
                <a:gd name="T4" fmla="*/ 23 w 23"/>
                <a:gd name="T5" fmla="*/ 56 h 56"/>
                <a:gd name="T6" fmla="*/ 23 w 23"/>
                <a:gd name="T7" fmla="*/ 0 h 56"/>
                <a:gd name="T8" fmla="*/ 0 w 23"/>
                <a:gd name="T9" fmla="*/ 0 h 56"/>
                <a:gd name="T10" fmla="*/ 0 w 23"/>
                <a:gd name="T11" fmla="*/ 56 h 56"/>
                <a:gd name="T12" fmla="*/ 2 w 23"/>
                <a:gd name="T13" fmla="*/ 56 h 56"/>
                <a:gd name="T14" fmla="*/ 2 w 23"/>
                <a:gd name="T15" fmla="*/ 51 h 56"/>
                <a:gd name="T16" fmla="*/ 7 w 23"/>
                <a:gd name="T17" fmla="*/ 51 h 56"/>
                <a:gd name="T18" fmla="*/ 7 w 23"/>
                <a:gd name="T19" fmla="*/ 10 h 56"/>
                <a:gd name="T20" fmla="*/ 15 w 23"/>
                <a:gd name="T21" fmla="*/ 10 h 56"/>
                <a:gd name="T22" fmla="*/ 15 w 23"/>
                <a:gd name="T23" fmla="*/ 46 h 56"/>
                <a:gd name="T24" fmla="*/ 2 w 23"/>
                <a:gd name="T25" fmla="*/ 46 h 56"/>
                <a:gd name="T26" fmla="*/ 2 w 23"/>
                <a:gd name="T27" fmla="*/ 51 h 56"/>
                <a:gd name="T28" fmla="*/ 7 w 23"/>
                <a:gd name="T29" fmla="*/ 51 h 56"/>
                <a:gd name="T30" fmla="*/ 2 w 23"/>
                <a:gd name="T3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56">
                  <a:moveTo>
                    <a:pt x="2" y="51"/>
                  </a:moveTo>
                  <a:lnTo>
                    <a:pt x="2" y="56"/>
                  </a:lnTo>
                  <a:lnTo>
                    <a:pt x="23" y="56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2" y="51"/>
                  </a:lnTo>
                  <a:lnTo>
                    <a:pt x="7" y="51"/>
                  </a:lnTo>
                  <a:lnTo>
                    <a:pt x="7" y="10"/>
                  </a:lnTo>
                  <a:lnTo>
                    <a:pt x="15" y="10"/>
                  </a:lnTo>
                  <a:lnTo>
                    <a:pt x="15" y="46"/>
                  </a:lnTo>
                  <a:lnTo>
                    <a:pt x="2" y="46"/>
                  </a:lnTo>
                  <a:lnTo>
                    <a:pt x="2" y="51"/>
                  </a:lnTo>
                  <a:lnTo>
                    <a:pt x="7" y="51"/>
                  </a:lnTo>
                  <a:lnTo>
                    <a:pt x="2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359">
              <a:extLst>
                <a:ext uri="{FF2B5EF4-FFF2-40B4-BE49-F238E27FC236}">
                  <a16:creationId xmlns:a16="http://schemas.microsoft.com/office/drawing/2014/main" id="{DB536D87-EA1C-4F6C-AD01-F7E5862B3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9525" y="4662488"/>
              <a:ext cx="39688" cy="88900"/>
            </a:xfrm>
            <a:custGeom>
              <a:avLst/>
              <a:gdLst>
                <a:gd name="T0" fmla="*/ 5 w 25"/>
                <a:gd name="T1" fmla="*/ 51 h 56"/>
                <a:gd name="T2" fmla="*/ 5 w 25"/>
                <a:gd name="T3" fmla="*/ 56 h 56"/>
                <a:gd name="T4" fmla="*/ 25 w 25"/>
                <a:gd name="T5" fmla="*/ 56 h 56"/>
                <a:gd name="T6" fmla="*/ 25 w 25"/>
                <a:gd name="T7" fmla="*/ 0 h 56"/>
                <a:gd name="T8" fmla="*/ 0 w 25"/>
                <a:gd name="T9" fmla="*/ 0 h 56"/>
                <a:gd name="T10" fmla="*/ 0 w 25"/>
                <a:gd name="T11" fmla="*/ 56 h 56"/>
                <a:gd name="T12" fmla="*/ 5 w 25"/>
                <a:gd name="T13" fmla="*/ 56 h 56"/>
                <a:gd name="T14" fmla="*/ 5 w 25"/>
                <a:gd name="T15" fmla="*/ 51 h 56"/>
                <a:gd name="T16" fmla="*/ 7 w 25"/>
                <a:gd name="T17" fmla="*/ 51 h 56"/>
                <a:gd name="T18" fmla="*/ 7 w 25"/>
                <a:gd name="T19" fmla="*/ 10 h 56"/>
                <a:gd name="T20" fmla="*/ 15 w 25"/>
                <a:gd name="T21" fmla="*/ 10 h 56"/>
                <a:gd name="T22" fmla="*/ 15 w 25"/>
                <a:gd name="T23" fmla="*/ 46 h 56"/>
                <a:gd name="T24" fmla="*/ 5 w 25"/>
                <a:gd name="T25" fmla="*/ 46 h 56"/>
                <a:gd name="T26" fmla="*/ 5 w 25"/>
                <a:gd name="T27" fmla="*/ 51 h 56"/>
                <a:gd name="T28" fmla="*/ 7 w 25"/>
                <a:gd name="T29" fmla="*/ 51 h 56"/>
                <a:gd name="T30" fmla="*/ 5 w 25"/>
                <a:gd name="T31" fmla="*/ 5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56">
                  <a:moveTo>
                    <a:pt x="5" y="51"/>
                  </a:moveTo>
                  <a:lnTo>
                    <a:pt x="5" y="56"/>
                  </a:lnTo>
                  <a:lnTo>
                    <a:pt x="25" y="56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5" y="56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7" y="10"/>
                  </a:lnTo>
                  <a:lnTo>
                    <a:pt x="15" y="10"/>
                  </a:lnTo>
                  <a:lnTo>
                    <a:pt x="15" y="46"/>
                  </a:lnTo>
                  <a:lnTo>
                    <a:pt x="5" y="46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5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360">
              <a:extLst>
                <a:ext uri="{FF2B5EF4-FFF2-40B4-BE49-F238E27FC236}">
                  <a16:creationId xmlns:a16="http://schemas.microsoft.com/office/drawing/2014/main" id="{5BD170A7-7DB8-4C3A-B72C-938C0BF4E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088" y="4430713"/>
              <a:ext cx="106363" cy="107950"/>
            </a:xfrm>
            <a:custGeom>
              <a:avLst/>
              <a:gdLst>
                <a:gd name="T0" fmla="*/ 61 w 67"/>
                <a:gd name="T1" fmla="*/ 63 h 68"/>
                <a:gd name="T2" fmla="*/ 61 w 67"/>
                <a:gd name="T3" fmla="*/ 58 h 68"/>
                <a:gd name="T4" fmla="*/ 8 w 67"/>
                <a:gd name="T5" fmla="*/ 58 h 68"/>
                <a:gd name="T6" fmla="*/ 8 w 67"/>
                <a:gd name="T7" fmla="*/ 7 h 68"/>
                <a:gd name="T8" fmla="*/ 56 w 67"/>
                <a:gd name="T9" fmla="*/ 7 h 68"/>
                <a:gd name="T10" fmla="*/ 56 w 67"/>
                <a:gd name="T11" fmla="*/ 63 h 68"/>
                <a:gd name="T12" fmla="*/ 61 w 67"/>
                <a:gd name="T13" fmla="*/ 63 h 68"/>
                <a:gd name="T14" fmla="*/ 61 w 67"/>
                <a:gd name="T15" fmla="*/ 58 h 68"/>
                <a:gd name="T16" fmla="*/ 61 w 67"/>
                <a:gd name="T17" fmla="*/ 63 h 68"/>
                <a:gd name="T18" fmla="*/ 67 w 67"/>
                <a:gd name="T19" fmla="*/ 63 h 68"/>
                <a:gd name="T20" fmla="*/ 67 w 67"/>
                <a:gd name="T21" fmla="*/ 0 h 68"/>
                <a:gd name="T22" fmla="*/ 0 w 67"/>
                <a:gd name="T23" fmla="*/ 0 h 68"/>
                <a:gd name="T24" fmla="*/ 0 w 67"/>
                <a:gd name="T25" fmla="*/ 68 h 68"/>
                <a:gd name="T26" fmla="*/ 67 w 67"/>
                <a:gd name="T27" fmla="*/ 68 h 68"/>
                <a:gd name="T28" fmla="*/ 67 w 67"/>
                <a:gd name="T29" fmla="*/ 63 h 68"/>
                <a:gd name="T30" fmla="*/ 61 w 67"/>
                <a:gd name="T31" fmla="*/ 6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" h="68">
                  <a:moveTo>
                    <a:pt x="61" y="63"/>
                  </a:moveTo>
                  <a:lnTo>
                    <a:pt x="61" y="58"/>
                  </a:lnTo>
                  <a:lnTo>
                    <a:pt x="8" y="58"/>
                  </a:lnTo>
                  <a:lnTo>
                    <a:pt x="8" y="7"/>
                  </a:lnTo>
                  <a:lnTo>
                    <a:pt x="56" y="7"/>
                  </a:lnTo>
                  <a:lnTo>
                    <a:pt x="56" y="63"/>
                  </a:lnTo>
                  <a:lnTo>
                    <a:pt x="61" y="63"/>
                  </a:lnTo>
                  <a:lnTo>
                    <a:pt x="61" y="58"/>
                  </a:lnTo>
                  <a:lnTo>
                    <a:pt x="61" y="63"/>
                  </a:lnTo>
                  <a:lnTo>
                    <a:pt x="67" y="6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68"/>
                  </a:lnTo>
                  <a:lnTo>
                    <a:pt x="67" y="68"/>
                  </a:lnTo>
                  <a:lnTo>
                    <a:pt x="67" y="63"/>
                  </a:lnTo>
                  <a:lnTo>
                    <a:pt x="61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Rectangle 361">
              <a:extLst>
                <a:ext uri="{FF2B5EF4-FFF2-40B4-BE49-F238E27FC236}">
                  <a16:creationId xmlns:a16="http://schemas.microsoft.com/office/drawing/2014/main" id="{7FBC35B2-2A43-47B4-A9CF-AABB7185A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25" y="4349751"/>
              <a:ext cx="65088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F4CC2979-FCFE-4E0F-A19B-81D50FA64E88}"/>
              </a:ext>
            </a:extLst>
          </p:cNvPr>
          <p:cNvGrpSpPr/>
          <p:nvPr/>
        </p:nvGrpSpPr>
        <p:grpSpPr>
          <a:xfrm>
            <a:off x="8123238" y="4156076"/>
            <a:ext cx="758825" cy="766763"/>
            <a:chOff x="8123238" y="4156076"/>
            <a:chExt cx="758825" cy="766763"/>
          </a:xfrm>
        </p:grpSpPr>
        <p:sp>
          <p:nvSpPr>
            <p:cNvPr id="403" name="AutoShape 363">
              <a:extLst>
                <a:ext uri="{FF2B5EF4-FFF2-40B4-BE49-F238E27FC236}">
                  <a16:creationId xmlns:a16="http://schemas.microsoft.com/office/drawing/2014/main" id="{751616C3-FDC8-4960-A1FC-9880C0EB47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41608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Freeform 365">
              <a:extLst>
                <a:ext uri="{FF2B5EF4-FFF2-40B4-BE49-F238E27FC236}">
                  <a16:creationId xmlns:a16="http://schemas.microsoft.com/office/drawing/2014/main" id="{3C9B2264-4CFA-498A-976A-0DE268B750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413" y="4156076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Freeform 366">
              <a:extLst>
                <a:ext uri="{FF2B5EF4-FFF2-40B4-BE49-F238E27FC236}">
                  <a16:creationId xmlns:a16="http://schemas.microsoft.com/office/drawing/2014/main" id="{356CCBAE-4BCA-4ADB-BFF2-8F1660D6A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8" y="4598988"/>
              <a:ext cx="80963" cy="39688"/>
            </a:xfrm>
            <a:custGeom>
              <a:avLst/>
              <a:gdLst>
                <a:gd name="T0" fmla="*/ 0 w 21"/>
                <a:gd name="T1" fmla="*/ 0 h 10"/>
                <a:gd name="T2" fmla="*/ 21 w 21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10">
                  <a:moveTo>
                    <a:pt x="0" y="0"/>
                  </a:moveTo>
                  <a:cubicBezTo>
                    <a:pt x="8" y="0"/>
                    <a:pt x="16" y="4"/>
                    <a:pt x="21" y="10"/>
                  </a:cubicBezTo>
                </a:path>
              </a:pathLst>
            </a:custGeom>
            <a:noFill/>
            <a:ln w="12700" cap="flat">
              <a:solidFill>
                <a:srgbClr val="8DC7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Line 367">
              <a:extLst>
                <a:ext uri="{FF2B5EF4-FFF2-40B4-BE49-F238E27FC236}">
                  <a16:creationId xmlns:a16="http://schemas.microsoft.com/office/drawing/2014/main" id="{C97E901E-302B-42C4-B5C7-46C948BCC7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294688" y="4630738"/>
              <a:ext cx="88900" cy="79375"/>
            </a:xfrm>
            <a:prstGeom prst="lin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368">
              <a:extLst>
                <a:ext uri="{FF2B5EF4-FFF2-40B4-BE49-F238E27FC236}">
                  <a16:creationId xmlns:a16="http://schemas.microsoft.com/office/drawing/2014/main" id="{BB2EA1F3-EADD-486C-8657-1EE5C56E8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4688" y="4325938"/>
              <a:ext cx="420688" cy="427038"/>
            </a:xfrm>
            <a:custGeom>
              <a:avLst/>
              <a:gdLst>
                <a:gd name="T0" fmla="*/ 0 w 265"/>
                <a:gd name="T1" fmla="*/ 165 h 269"/>
                <a:gd name="T2" fmla="*/ 0 w 265"/>
                <a:gd name="T3" fmla="*/ 0 h 269"/>
                <a:gd name="T4" fmla="*/ 265 w 265"/>
                <a:gd name="T5" fmla="*/ 0 h 269"/>
                <a:gd name="T6" fmla="*/ 265 w 265"/>
                <a:gd name="T7" fmla="*/ 269 h 269"/>
                <a:gd name="T8" fmla="*/ 0 w 265"/>
                <a:gd name="T9" fmla="*/ 269 h 269"/>
                <a:gd name="T10" fmla="*/ 0 w 265"/>
                <a:gd name="T11" fmla="*/ 24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69">
                  <a:moveTo>
                    <a:pt x="0" y="165"/>
                  </a:moveTo>
                  <a:lnTo>
                    <a:pt x="0" y="0"/>
                  </a:lnTo>
                  <a:lnTo>
                    <a:pt x="265" y="0"/>
                  </a:lnTo>
                  <a:lnTo>
                    <a:pt x="265" y="269"/>
                  </a:lnTo>
                  <a:lnTo>
                    <a:pt x="0" y="269"/>
                  </a:lnTo>
                  <a:lnTo>
                    <a:pt x="0" y="242"/>
                  </a:lnTo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Rectangle 369">
              <a:extLst>
                <a:ext uri="{FF2B5EF4-FFF2-40B4-BE49-F238E27FC236}">
                  <a16:creationId xmlns:a16="http://schemas.microsoft.com/office/drawing/2014/main" id="{7AE1FCE0-A46E-444F-99F7-02B1BCC5F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4238" y="4325938"/>
              <a:ext cx="211138" cy="214313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370">
              <a:extLst>
                <a:ext uri="{FF2B5EF4-FFF2-40B4-BE49-F238E27FC236}">
                  <a16:creationId xmlns:a16="http://schemas.microsoft.com/office/drawing/2014/main" id="{788D1A63-60C7-4FFA-B23A-368B89702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9163" y="4373563"/>
              <a:ext cx="141288" cy="60325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Oval 371">
              <a:extLst>
                <a:ext uri="{FF2B5EF4-FFF2-40B4-BE49-F238E27FC236}">
                  <a16:creationId xmlns:a16="http://schemas.microsoft.com/office/drawing/2014/main" id="{1FDA3182-D1ED-47C0-9DCB-897D3201B9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0563" y="4341813"/>
              <a:ext cx="69850" cy="71438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372">
              <a:extLst>
                <a:ext uri="{FF2B5EF4-FFF2-40B4-BE49-F238E27FC236}">
                  <a16:creationId xmlns:a16="http://schemas.microsoft.com/office/drawing/2014/main" id="{6AE64896-2126-49E9-9400-CA785DAEF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66138" y="4662488"/>
              <a:ext cx="166688" cy="71438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Rectangle 373">
              <a:extLst>
                <a:ext uri="{FF2B5EF4-FFF2-40B4-BE49-F238E27FC236}">
                  <a16:creationId xmlns:a16="http://schemas.microsoft.com/office/drawing/2014/main" id="{A0E6B06C-DD8C-43DB-B61E-57D2A2505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66138" y="4662488"/>
              <a:ext cx="26988" cy="71438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Rectangle 374">
              <a:extLst>
                <a:ext uri="{FF2B5EF4-FFF2-40B4-BE49-F238E27FC236}">
                  <a16:creationId xmlns:a16="http://schemas.microsoft.com/office/drawing/2014/main" id="{27C0F40F-EBA8-42D7-84D3-43F538B1B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09013" y="4662488"/>
              <a:ext cx="23813" cy="71438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Rectangle 375">
              <a:extLst>
                <a:ext uri="{FF2B5EF4-FFF2-40B4-BE49-F238E27FC236}">
                  <a16:creationId xmlns:a16="http://schemas.microsoft.com/office/drawing/2014/main" id="{E9056368-2C07-46B0-B128-3ECED52676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688" y="4433888"/>
              <a:ext cx="88900" cy="90488"/>
            </a:xfrm>
            <a:prstGeom prst="rect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Rectangle 376">
              <a:extLst>
                <a:ext uri="{FF2B5EF4-FFF2-40B4-BE49-F238E27FC236}">
                  <a16:creationId xmlns:a16="http://schemas.microsoft.com/office/drawing/2014/main" id="{E3B29AA1-89B2-4C78-AFD3-999C2DB41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8851" y="4346576"/>
              <a:ext cx="61913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64FC8E43-4192-420F-A12E-2EB47C7C293D}"/>
              </a:ext>
            </a:extLst>
          </p:cNvPr>
          <p:cNvGrpSpPr/>
          <p:nvPr/>
        </p:nvGrpSpPr>
        <p:grpSpPr>
          <a:xfrm>
            <a:off x="403225" y="5418138"/>
            <a:ext cx="844550" cy="841375"/>
            <a:chOff x="403225" y="5418138"/>
            <a:chExt cx="844550" cy="841375"/>
          </a:xfrm>
        </p:grpSpPr>
        <p:sp>
          <p:nvSpPr>
            <p:cNvPr id="418" name="AutoShape 378">
              <a:extLst>
                <a:ext uri="{FF2B5EF4-FFF2-40B4-BE49-F238E27FC236}">
                  <a16:creationId xmlns:a16="http://schemas.microsoft.com/office/drawing/2014/main" id="{8723C546-2D39-4DDB-B1EA-E32DBB9F0DB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3225" y="54181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380">
              <a:extLst>
                <a:ext uri="{FF2B5EF4-FFF2-40B4-BE49-F238E27FC236}">
                  <a16:creationId xmlns:a16="http://schemas.microsoft.com/office/drawing/2014/main" id="{C778613D-F6B5-49A2-854B-982038A3F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" y="542131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381">
              <a:extLst>
                <a:ext uri="{FF2B5EF4-FFF2-40B4-BE49-F238E27FC236}">
                  <a16:creationId xmlns:a16="http://schemas.microsoft.com/office/drawing/2014/main" id="{054C2939-BE15-4674-8C1B-6769BB2E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800" y="544988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382">
              <a:extLst>
                <a:ext uri="{FF2B5EF4-FFF2-40B4-BE49-F238E27FC236}">
                  <a16:creationId xmlns:a16="http://schemas.microsoft.com/office/drawing/2014/main" id="{84CEFCCF-D73E-4B42-BBF9-4BCCF644D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38" y="5662613"/>
              <a:ext cx="317500" cy="384175"/>
            </a:xfrm>
            <a:custGeom>
              <a:avLst/>
              <a:gdLst>
                <a:gd name="T0" fmla="*/ 138 w 200"/>
                <a:gd name="T1" fmla="*/ 0 h 242"/>
                <a:gd name="T2" fmla="*/ 0 w 200"/>
                <a:gd name="T3" fmla="*/ 0 h 242"/>
                <a:gd name="T4" fmla="*/ 0 w 200"/>
                <a:gd name="T5" fmla="*/ 242 h 242"/>
                <a:gd name="T6" fmla="*/ 200 w 200"/>
                <a:gd name="T7" fmla="*/ 242 h 242"/>
                <a:gd name="T8" fmla="*/ 200 w 200"/>
                <a:gd name="T9" fmla="*/ 61 h 242"/>
                <a:gd name="T10" fmla="*/ 138 w 200"/>
                <a:gd name="T11" fmla="*/ 61 h 242"/>
                <a:gd name="T12" fmla="*/ 138 w 200"/>
                <a:gd name="T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242">
                  <a:moveTo>
                    <a:pt x="138" y="0"/>
                  </a:moveTo>
                  <a:lnTo>
                    <a:pt x="0" y="0"/>
                  </a:lnTo>
                  <a:lnTo>
                    <a:pt x="0" y="242"/>
                  </a:lnTo>
                  <a:lnTo>
                    <a:pt x="200" y="242"/>
                  </a:lnTo>
                  <a:lnTo>
                    <a:pt x="200" y="61"/>
                  </a:lnTo>
                  <a:lnTo>
                    <a:pt x="138" y="61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383">
              <a:extLst>
                <a:ext uri="{FF2B5EF4-FFF2-40B4-BE49-F238E27FC236}">
                  <a16:creationId xmlns:a16="http://schemas.microsoft.com/office/drawing/2014/main" id="{6B5A96CA-CE0A-4655-9606-12A2A1547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" y="5614988"/>
              <a:ext cx="315913" cy="384175"/>
            </a:xfrm>
            <a:custGeom>
              <a:avLst/>
              <a:gdLst>
                <a:gd name="T0" fmla="*/ 138 w 199"/>
                <a:gd name="T1" fmla="*/ 0 h 242"/>
                <a:gd name="T2" fmla="*/ 0 w 199"/>
                <a:gd name="T3" fmla="*/ 0 h 242"/>
                <a:gd name="T4" fmla="*/ 0 w 199"/>
                <a:gd name="T5" fmla="*/ 242 h 242"/>
                <a:gd name="T6" fmla="*/ 199 w 199"/>
                <a:gd name="T7" fmla="*/ 242 h 242"/>
                <a:gd name="T8" fmla="*/ 199 w 199"/>
                <a:gd name="T9" fmla="*/ 60 h 242"/>
                <a:gd name="T10" fmla="*/ 138 w 199"/>
                <a:gd name="T11" fmla="*/ 60 h 242"/>
                <a:gd name="T12" fmla="*/ 138 w 199"/>
                <a:gd name="T1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242">
                  <a:moveTo>
                    <a:pt x="138" y="0"/>
                  </a:moveTo>
                  <a:lnTo>
                    <a:pt x="0" y="0"/>
                  </a:lnTo>
                  <a:lnTo>
                    <a:pt x="0" y="242"/>
                  </a:lnTo>
                  <a:lnTo>
                    <a:pt x="199" y="242"/>
                  </a:lnTo>
                  <a:lnTo>
                    <a:pt x="199" y="60"/>
                  </a:lnTo>
                  <a:lnTo>
                    <a:pt x="138" y="6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384">
              <a:extLst>
                <a:ext uri="{FF2B5EF4-FFF2-40B4-BE49-F238E27FC236}">
                  <a16:creationId xmlns:a16="http://schemas.microsoft.com/office/drawing/2014/main" id="{BD9FE9B1-F16C-4581-8AC1-7549C25C3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225" y="5614988"/>
              <a:ext cx="96838" cy="95250"/>
            </a:xfrm>
            <a:custGeom>
              <a:avLst/>
              <a:gdLst>
                <a:gd name="T0" fmla="*/ 0 w 61"/>
                <a:gd name="T1" fmla="*/ 0 h 60"/>
                <a:gd name="T2" fmla="*/ 61 w 61"/>
                <a:gd name="T3" fmla="*/ 60 h 60"/>
                <a:gd name="T4" fmla="*/ 0 w 61"/>
                <a:gd name="T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60">
                  <a:moveTo>
                    <a:pt x="0" y="0"/>
                  </a:moveTo>
                  <a:lnTo>
                    <a:pt x="61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Line 385">
              <a:extLst>
                <a:ext uri="{FF2B5EF4-FFF2-40B4-BE49-F238E27FC236}">
                  <a16:creationId xmlns:a16="http://schemas.microsoft.com/office/drawing/2014/main" id="{04CDC5CD-385B-4151-9E35-999F11BFAD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225" y="5614988"/>
              <a:ext cx="96838" cy="95250"/>
            </a:xfrm>
            <a:prstGeom prst="line">
              <a:avLst/>
            </a:pr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386">
              <a:extLst>
                <a:ext uri="{FF2B5EF4-FFF2-40B4-BE49-F238E27FC236}">
                  <a16:creationId xmlns:a16="http://schemas.microsoft.com/office/drawing/2014/main" id="{E2CA644E-63DA-4766-B661-CF0D44663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88" y="5838826"/>
              <a:ext cx="265113" cy="100013"/>
            </a:xfrm>
            <a:prstGeom prst="rect">
              <a:avLst/>
            </a:prstGeom>
            <a:solidFill>
              <a:srgbClr val="0091B3"/>
            </a:solidFill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F334AA69-2293-4034-9E44-3290A7BBC305}"/>
              </a:ext>
            </a:extLst>
          </p:cNvPr>
          <p:cNvGrpSpPr/>
          <p:nvPr/>
        </p:nvGrpSpPr>
        <p:grpSpPr>
          <a:xfrm>
            <a:off x="1411288" y="5454651"/>
            <a:ext cx="758825" cy="766763"/>
            <a:chOff x="1411288" y="5454651"/>
            <a:chExt cx="758825" cy="766763"/>
          </a:xfrm>
        </p:grpSpPr>
        <p:sp>
          <p:nvSpPr>
            <p:cNvPr id="428" name="AutoShape 388">
              <a:extLst>
                <a:ext uri="{FF2B5EF4-FFF2-40B4-BE49-F238E27FC236}">
                  <a16:creationId xmlns:a16="http://schemas.microsoft.com/office/drawing/2014/main" id="{5081028B-2B69-4DCF-9F4E-696EDB8728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1288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390">
              <a:extLst>
                <a:ext uri="{FF2B5EF4-FFF2-40B4-BE49-F238E27FC236}">
                  <a16:creationId xmlns:a16="http://schemas.microsoft.com/office/drawing/2014/main" id="{9A12F857-0B4A-466F-B708-C2159991F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4463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391">
              <a:extLst>
                <a:ext uri="{FF2B5EF4-FFF2-40B4-BE49-F238E27FC236}">
                  <a16:creationId xmlns:a16="http://schemas.microsoft.com/office/drawing/2014/main" id="{CFB01F3D-BF0C-4523-9520-42309AEAA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663" y="5664201"/>
              <a:ext cx="303213" cy="379413"/>
            </a:xfrm>
            <a:custGeom>
              <a:avLst/>
              <a:gdLst>
                <a:gd name="T0" fmla="*/ 132 w 191"/>
                <a:gd name="T1" fmla="*/ 0 h 239"/>
                <a:gd name="T2" fmla="*/ 0 w 191"/>
                <a:gd name="T3" fmla="*/ 0 h 239"/>
                <a:gd name="T4" fmla="*/ 0 w 191"/>
                <a:gd name="T5" fmla="*/ 239 h 239"/>
                <a:gd name="T6" fmla="*/ 191 w 191"/>
                <a:gd name="T7" fmla="*/ 239 h 239"/>
                <a:gd name="T8" fmla="*/ 191 w 191"/>
                <a:gd name="T9" fmla="*/ 60 h 239"/>
                <a:gd name="T10" fmla="*/ 132 w 191"/>
                <a:gd name="T11" fmla="*/ 60 h 239"/>
                <a:gd name="T12" fmla="*/ 132 w 191"/>
                <a:gd name="T13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239">
                  <a:moveTo>
                    <a:pt x="132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191" y="239"/>
                  </a:lnTo>
                  <a:lnTo>
                    <a:pt x="191" y="60"/>
                  </a:lnTo>
                  <a:lnTo>
                    <a:pt x="132" y="6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392">
              <a:extLst>
                <a:ext uri="{FF2B5EF4-FFF2-40B4-BE49-F238E27FC236}">
                  <a16:creationId xmlns:a16="http://schemas.microsoft.com/office/drawing/2014/main" id="{2E79C302-EE73-4803-B9EE-02DA432A3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3701" y="5616576"/>
              <a:ext cx="304800" cy="379413"/>
            </a:xfrm>
            <a:custGeom>
              <a:avLst/>
              <a:gdLst>
                <a:gd name="T0" fmla="*/ 133 w 192"/>
                <a:gd name="T1" fmla="*/ 0 h 239"/>
                <a:gd name="T2" fmla="*/ 0 w 192"/>
                <a:gd name="T3" fmla="*/ 0 h 239"/>
                <a:gd name="T4" fmla="*/ 0 w 192"/>
                <a:gd name="T5" fmla="*/ 239 h 239"/>
                <a:gd name="T6" fmla="*/ 192 w 192"/>
                <a:gd name="T7" fmla="*/ 239 h 239"/>
                <a:gd name="T8" fmla="*/ 192 w 192"/>
                <a:gd name="T9" fmla="*/ 60 h 239"/>
                <a:gd name="T10" fmla="*/ 133 w 192"/>
                <a:gd name="T11" fmla="*/ 60 h 239"/>
                <a:gd name="T12" fmla="*/ 133 w 192"/>
                <a:gd name="T13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39">
                  <a:moveTo>
                    <a:pt x="133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192" y="239"/>
                  </a:lnTo>
                  <a:lnTo>
                    <a:pt x="192" y="60"/>
                  </a:lnTo>
                  <a:lnTo>
                    <a:pt x="133" y="6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Line 393">
              <a:extLst>
                <a:ext uri="{FF2B5EF4-FFF2-40B4-BE49-F238E27FC236}">
                  <a16:creationId xmlns:a16="http://schemas.microsoft.com/office/drawing/2014/main" id="{A3364913-5621-45BC-93AF-F406109000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4838" y="5616576"/>
              <a:ext cx="93663" cy="95250"/>
            </a:xfrm>
            <a:prstGeom prst="line">
              <a:avLst/>
            </a:prstGeom>
            <a:noFill/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394">
              <a:extLst>
                <a:ext uri="{FF2B5EF4-FFF2-40B4-BE49-F238E27FC236}">
                  <a16:creationId xmlns:a16="http://schemas.microsoft.com/office/drawing/2014/main" id="{51A0B25C-468F-496A-A102-8AC8654CA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9413" y="5838826"/>
              <a:ext cx="252413" cy="984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rgbClr val="0091B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7FACB556-0745-4A59-8B88-8DC5CBA04491}"/>
              </a:ext>
            </a:extLst>
          </p:cNvPr>
          <p:cNvGrpSpPr/>
          <p:nvPr/>
        </p:nvGrpSpPr>
        <p:grpSpPr>
          <a:xfrm>
            <a:off x="2582863" y="5418138"/>
            <a:ext cx="844550" cy="841375"/>
            <a:chOff x="2582863" y="5418138"/>
            <a:chExt cx="844550" cy="841375"/>
          </a:xfrm>
        </p:grpSpPr>
        <p:sp>
          <p:nvSpPr>
            <p:cNvPr id="436" name="AutoShape 396">
              <a:extLst>
                <a:ext uri="{FF2B5EF4-FFF2-40B4-BE49-F238E27FC236}">
                  <a16:creationId xmlns:a16="http://schemas.microsoft.com/office/drawing/2014/main" id="{1C50B340-63BB-4DD8-BF7F-8A692528E75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2863" y="54181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Oval 398">
              <a:extLst>
                <a:ext uri="{FF2B5EF4-FFF2-40B4-BE49-F238E27FC236}">
                  <a16:creationId xmlns:a16="http://schemas.microsoft.com/office/drawing/2014/main" id="{D25CD54C-CB0E-4150-83D8-4D9565BDB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2863" y="542131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399">
              <a:extLst>
                <a:ext uri="{FF2B5EF4-FFF2-40B4-BE49-F238E27FC236}">
                  <a16:creationId xmlns:a16="http://schemas.microsoft.com/office/drawing/2014/main" id="{A480943B-36C2-4DB0-8057-BF9208E18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1438" y="544988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Freeform 400">
              <a:extLst>
                <a:ext uri="{FF2B5EF4-FFF2-40B4-BE49-F238E27FC236}">
                  <a16:creationId xmlns:a16="http://schemas.microsoft.com/office/drawing/2014/main" id="{839CB5FA-DB96-4504-B730-B287DCB42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388" y="5673726"/>
              <a:ext cx="317500" cy="388938"/>
            </a:xfrm>
            <a:custGeom>
              <a:avLst/>
              <a:gdLst>
                <a:gd name="T0" fmla="*/ 70 w 78"/>
                <a:gd name="T1" fmla="*/ 0 h 97"/>
                <a:gd name="T2" fmla="*/ 53 w 78"/>
                <a:gd name="T3" fmla="*/ 0 h 97"/>
                <a:gd name="T4" fmla="*/ 53 w 78"/>
                <a:gd name="T5" fmla="*/ 4 h 97"/>
                <a:gd name="T6" fmla="*/ 70 w 78"/>
                <a:gd name="T7" fmla="*/ 4 h 97"/>
                <a:gd name="T8" fmla="*/ 74 w 78"/>
                <a:gd name="T9" fmla="*/ 8 h 97"/>
                <a:gd name="T10" fmla="*/ 74 w 78"/>
                <a:gd name="T11" fmla="*/ 89 h 97"/>
                <a:gd name="T12" fmla="*/ 70 w 78"/>
                <a:gd name="T13" fmla="*/ 93 h 97"/>
                <a:gd name="T14" fmla="*/ 8 w 78"/>
                <a:gd name="T15" fmla="*/ 93 h 97"/>
                <a:gd name="T16" fmla="*/ 4 w 78"/>
                <a:gd name="T17" fmla="*/ 89 h 97"/>
                <a:gd name="T18" fmla="*/ 4 w 78"/>
                <a:gd name="T19" fmla="*/ 8 h 97"/>
                <a:gd name="T20" fmla="*/ 8 w 78"/>
                <a:gd name="T21" fmla="*/ 4 h 97"/>
                <a:gd name="T22" fmla="*/ 25 w 78"/>
                <a:gd name="T23" fmla="*/ 4 h 97"/>
                <a:gd name="T24" fmla="*/ 25 w 78"/>
                <a:gd name="T25" fmla="*/ 0 h 97"/>
                <a:gd name="T26" fmla="*/ 8 w 78"/>
                <a:gd name="T27" fmla="*/ 0 h 97"/>
                <a:gd name="T28" fmla="*/ 0 w 78"/>
                <a:gd name="T29" fmla="*/ 8 h 97"/>
                <a:gd name="T30" fmla="*/ 0 w 78"/>
                <a:gd name="T31" fmla="*/ 89 h 97"/>
                <a:gd name="T32" fmla="*/ 8 w 78"/>
                <a:gd name="T33" fmla="*/ 97 h 97"/>
                <a:gd name="T34" fmla="*/ 70 w 78"/>
                <a:gd name="T35" fmla="*/ 97 h 97"/>
                <a:gd name="T36" fmla="*/ 78 w 78"/>
                <a:gd name="T37" fmla="*/ 89 h 97"/>
                <a:gd name="T38" fmla="*/ 78 w 78"/>
                <a:gd name="T39" fmla="*/ 8 h 97"/>
                <a:gd name="T40" fmla="*/ 70 w 78"/>
                <a:gd name="T4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97">
                  <a:moveTo>
                    <a:pt x="70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72" y="4"/>
                    <a:pt x="74" y="6"/>
                    <a:pt x="74" y="8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91"/>
                    <a:pt x="72" y="93"/>
                    <a:pt x="70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6" y="93"/>
                    <a:pt x="4" y="91"/>
                    <a:pt x="4" y="8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4"/>
                    <a:pt x="3" y="97"/>
                    <a:pt x="8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75" y="97"/>
                    <a:pt x="78" y="94"/>
                    <a:pt x="78" y="89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3"/>
                    <a:pt x="75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401">
              <a:extLst>
                <a:ext uri="{FF2B5EF4-FFF2-40B4-BE49-F238E27FC236}">
                  <a16:creationId xmlns:a16="http://schemas.microsoft.com/office/drawing/2014/main" id="{A7E4A218-B5FC-4A17-A07C-49EB63AB5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3" y="5546726"/>
              <a:ext cx="171450" cy="276225"/>
            </a:xfrm>
            <a:custGeom>
              <a:avLst/>
              <a:gdLst>
                <a:gd name="T0" fmla="*/ 4 w 42"/>
                <a:gd name="T1" fmla="*/ 23 h 69"/>
                <a:gd name="T2" fmla="*/ 19 w 42"/>
                <a:gd name="T3" fmla="*/ 8 h 69"/>
                <a:gd name="T4" fmla="*/ 19 w 42"/>
                <a:gd name="T5" fmla="*/ 66 h 69"/>
                <a:gd name="T6" fmla="*/ 21 w 42"/>
                <a:gd name="T7" fmla="*/ 69 h 69"/>
                <a:gd name="T8" fmla="*/ 23 w 42"/>
                <a:gd name="T9" fmla="*/ 66 h 69"/>
                <a:gd name="T10" fmla="*/ 23 w 42"/>
                <a:gd name="T11" fmla="*/ 8 h 69"/>
                <a:gd name="T12" fmla="*/ 38 w 42"/>
                <a:gd name="T13" fmla="*/ 23 h 69"/>
                <a:gd name="T14" fmla="*/ 40 w 42"/>
                <a:gd name="T15" fmla="*/ 24 h 69"/>
                <a:gd name="T16" fmla="*/ 41 w 42"/>
                <a:gd name="T17" fmla="*/ 23 h 69"/>
                <a:gd name="T18" fmla="*/ 41 w 42"/>
                <a:gd name="T19" fmla="*/ 20 h 69"/>
                <a:gd name="T20" fmla="*/ 23 w 42"/>
                <a:gd name="T21" fmla="*/ 1 h 69"/>
                <a:gd name="T22" fmla="*/ 23 w 42"/>
                <a:gd name="T23" fmla="*/ 1 h 69"/>
                <a:gd name="T24" fmla="*/ 22 w 42"/>
                <a:gd name="T25" fmla="*/ 1 h 69"/>
                <a:gd name="T26" fmla="*/ 20 w 42"/>
                <a:gd name="T27" fmla="*/ 1 h 69"/>
                <a:gd name="T28" fmla="*/ 19 w 42"/>
                <a:gd name="T29" fmla="*/ 1 h 69"/>
                <a:gd name="T30" fmla="*/ 19 w 42"/>
                <a:gd name="T31" fmla="*/ 1 h 69"/>
                <a:gd name="T32" fmla="*/ 1 w 42"/>
                <a:gd name="T33" fmla="*/ 20 h 69"/>
                <a:gd name="T34" fmla="*/ 1 w 42"/>
                <a:gd name="T35" fmla="*/ 23 h 69"/>
                <a:gd name="T36" fmla="*/ 4 w 42"/>
                <a:gd name="T37" fmla="*/ 2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69">
                  <a:moveTo>
                    <a:pt x="4" y="23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8"/>
                    <a:pt x="20" y="69"/>
                    <a:pt x="21" y="69"/>
                  </a:cubicBezTo>
                  <a:cubicBezTo>
                    <a:pt x="22" y="69"/>
                    <a:pt x="23" y="68"/>
                    <a:pt x="23" y="6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8" y="23"/>
                    <a:pt x="39" y="24"/>
                    <a:pt x="40" y="24"/>
                  </a:cubicBezTo>
                  <a:cubicBezTo>
                    <a:pt x="40" y="24"/>
                    <a:pt x="41" y="23"/>
                    <a:pt x="41" y="23"/>
                  </a:cubicBezTo>
                  <a:cubicBezTo>
                    <a:pt x="42" y="22"/>
                    <a:pt x="42" y="21"/>
                    <a:pt x="41" y="2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0"/>
                    <a:pt x="21" y="0"/>
                    <a:pt x="20" y="1"/>
                  </a:cubicBezTo>
                  <a:cubicBezTo>
                    <a:pt x="20" y="1"/>
                    <a:pt x="20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4"/>
                    <a:pt x="3" y="24"/>
                    <a:pt x="4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7" name="Group 446">
            <a:extLst>
              <a:ext uri="{FF2B5EF4-FFF2-40B4-BE49-F238E27FC236}">
                <a16:creationId xmlns:a16="http://schemas.microsoft.com/office/drawing/2014/main" id="{B1CB2832-EF00-45DB-B6D4-B9232E07D51A}"/>
              </a:ext>
            </a:extLst>
          </p:cNvPr>
          <p:cNvGrpSpPr/>
          <p:nvPr/>
        </p:nvGrpSpPr>
        <p:grpSpPr>
          <a:xfrm>
            <a:off x="3646488" y="5454651"/>
            <a:ext cx="758825" cy="766763"/>
            <a:chOff x="3646488" y="5454651"/>
            <a:chExt cx="758825" cy="766763"/>
          </a:xfrm>
        </p:grpSpPr>
        <p:sp>
          <p:nvSpPr>
            <p:cNvPr id="443" name="AutoShape 403">
              <a:extLst>
                <a:ext uri="{FF2B5EF4-FFF2-40B4-BE49-F238E27FC236}">
                  <a16:creationId xmlns:a16="http://schemas.microsoft.com/office/drawing/2014/main" id="{89D2CD00-9ED6-4C52-8E7E-EEB54BF39C0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6488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405">
              <a:extLst>
                <a:ext uri="{FF2B5EF4-FFF2-40B4-BE49-F238E27FC236}">
                  <a16:creationId xmlns:a16="http://schemas.microsoft.com/office/drawing/2014/main" id="{01F71FEA-4764-4140-A33B-8F679B1F8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9663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406">
              <a:extLst>
                <a:ext uri="{FF2B5EF4-FFF2-40B4-BE49-F238E27FC236}">
                  <a16:creationId xmlns:a16="http://schemas.microsoft.com/office/drawing/2014/main" id="{08CCF020-5035-41E1-8BE1-54440B27A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676" y="5676901"/>
              <a:ext cx="303213" cy="382588"/>
            </a:xfrm>
            <a:custGeom>
              <a:avLst/>
              <a:gdLst>
                <a:gd name="T0" fmla="*/ 70 w 78"/>
                <a:gd name="T1" fmla="*/ 0 h 97"/>
                <a:gd name="T2" fmla="*/ 53 w 78"/>
                <a:gd name="T3" fmla="*/ 0 h 97"/>
                <a:gd name="T4" fmla="*/ 53 w 78"/>
                <a:gd name="T5" fmla="*/ 4 h 97"/>
                <a:gd name="T6" fmla="*/ 70 w 78"/>
                <a:gd name="T7" fmla="*/ 4 h 97"/>
                <a:gd name="T8" fmla="*/ 74 w 78"/>
                <a:gd name="T9" fmla="*/ 8 h 97"/>
                <a:gd name="T10" fmla="*/ 74 w 78"/>
                <a:gd name="T11" fmla="*/ 89 h 97"/>
                <a:gd name="T12" fmla="*/ 70 w 78"/>
                <a:gd name="T13" fmla="*/ 93 h 97"/>
                <a:gd name="T14" fmla="*/ 8 w 78"/>
                <a:gd name="T15" fmla="*/ 93 h 97"/>
                <a:gd name="T16" fmla="*/ 4 w 78"/>
                <a:gd name="T17" fmla="*/ 89 h 97"/>
                <a:gd name="T18" fmla="*/ 4 w 78"/>
                <a:gd name="T19" fmla="*/ 8 h 97"/>
                <a:gd name="T20" fmla="*/ 8 w 78"/>
                <a:gd name="T21" fmla="*/ 4 h 97"/>
                <a:gd name="T22" fmla="*/ 25 w 78"/>
                <a:gd name="T23" fmla="*/ 4 h 97"/>
                <a:gd name="T24" fmla="*/ 25 w 78"/>
                <a:gd name="T25" fmla="*/ 0 h 97"/>
                <a:gd name="T26" fmla="*/ 8 w 78"/>
                <a:gd name="T27" fmla="*/ 0 h 97"/>
                <a:gd name="T28" fmla="*/ 0 w 78"/>
                <a:gd name="T29" fmla="*/ 8 h 97"/>
                <a:gd name="T30" fmla="*/ 0 w 78"/>
                <a:gd name="T31" fmla="*/ 89 h 97"/>
                <a:gd name="T32" fmla="*/ 8 w 78"/>
                <a:gd name="T33" fmla="*/ 97 h 97"/>
                <a:gd name="T34" fmla="*/ 70 w 78"/>
                <a:gd name="T35" fmla="*/ 97 h 97"/>
                <a:gd name="T36" fmla="*/ 78 w 78"/>
                <a:gd name="T37" fmla="*/ 89 h 97"/>
                <a:gd name="T38" fmla="*/ 78 w 78"/>
                <a:gd name="T39" fmla="*/ 8 h 97"/>
                <a:gd name="T40" fmla="*/ 70 w 78"/>
                <a:gd name="T4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97">
                  <a:moveTo>
                    <a:pt x="70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72" y="4"/>
                    <a:pt x="74" y="6"/>
                    <a:pt x="74" y="8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91"/>
                    <a:pt x="72" y="93"/>
                    <a:pt x="70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6" y="93"/>
                    <a:pt x="4" y="91"/>
                    <a:pt x="4" y="8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4"/>
                    <a:pt x="3" y="97"/>
                    <a:pt x="8" y="97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75" y="97"/>
                    <a:pt x="78" y="94"/>
                    <a:pt x="78" y="89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3"/>
                    <a:pt x="75" y="0"/>
                    <a:pt x="70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Freeform 407">
              <a:extLst>
                <a:ext uri="{FF2B5EF4-FFF2-40B4-BE49-F238E27FC236}">
                  <a16:creationId xmlns:a16="http://schemas.microsoft.com/office/drawing/2014/main" id="{07AB99C6-EF1A-4EA9-9FCC-B73E8B14A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5549901"/>
              <a:ext cx="163513" cy="273050"/>
            </a:xfrm>
            <a:custGeom>
              <a:avLst/>
              <a:gdLst>
                <a:gd name="T0" fmla="*/ 4 w 42"/>
                <a:gd name="T1" fmla="*/ 23 h 69"/>
                <a:gd name="T2" fmla="*/ 19 w 42"/>
                <a:gd name="T3" fmla="*/ 8 h 69"/>
                <a:gd name="T4" fmla="*/ 19 w 42"/>
                <a:gd name="T5" fmla="*/ 66 h 69"/>
                <a:gd name="T6" fmla="*/ 21 w 42"/>
                <a:gd name="T7" fmla="*/ 69 h 69"/>
                <a:gd name="T8" fmla="*/ 23 w 42"/>
                <a:gd name="T9" fmla="*/ 66 h 69"/>
                <a:gd name="T10" fmla="*/ 23 w 42"/>
                <a:gd name="T11" fmla="*/ 8 h 69"/>
                <a:gd name="T12" fmla="*/ 38 w 42"/>
                <a:gd name="T13" fmla="*/ 23 h 69"/>
                <a:gd name="T14" fmla="*/ 40 w 42"/>
                <a:gd name="T15" fmla="*/ 24 h 69"/>
                <a:gd name="T16" fmla="*/ 41 w 42"/>
                <a:gd name="T17" fmla="*/ 23 h 69"/>
                <a:gd name="T18" fmla="*/ 41 w 42"/>
                <a:gd name="T19" fmla="*/ 20 h 69"/>
                <a:gd name="T20" fmla="*/ 23 w 42"/>
                <a:gd name="T21" fmla="*/ 1 h 69"/>
                <a:gd name="T22" fmla="*/ 23 w 42"/>
                <a:gd name="T23" fmla="*/ 1 h 69"/>
                <a:gd name="T24" fmla="*/ 22 w 42"/>
                <a:gd name="T25" fmla="*/ 1 h 69"/>
                <a:gd name="T26" fmla="*/ 20 w 42"/>
                <a:gd name="T27" fmla="*/ 1 h 69"/>
                <a:gd name="T28" fmla="*/ 19 w 42"/>
                <a:gd name="T29" fmla="*/ 1 h 69"/>
                <a:gd name="T30" fmla="*/ 19 w 42"/>
                <a:gd name="T31" fmla="*/ 1 h 69"/>
                <a:gd name="T32" fmla="*/ 1 w 42"/>
                <a:gd name="T33" fmla="*/ 20 h 69"/>
                <a:gd name="T34" fmla="*/ 1 w 42"/>
                <a:gd name="T35" fmla="*/ 23 h 69"/>
                <a:gd name="T36" fmla="*/ 4 w 42"/>
                <a:gd name="T37" fmla="*/ 2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69">
                  <a:moveTo>
                    <a:pt x="4" y="23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8"/>
                    <a:pt x="20" y="69"/>
                    <a:pt x="21" y="69"/>
                  </a:cubicBezTo>
                  <a:cubicBezTo>
                    <a:pt x="22" y="69"/>
                    <a:pt x="23" y="68"/>
                    <a:pt x="23" y="6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8" y="23"/>
                    <a:pt x="39" y="24"/>
                    <a:pt x="40" y="24"/>
                  </a:cubicBezTo>
                  <a:cubicBezTo>
                    <a:pt x="40" y="24"/>
                    <a:pt x="41" y="23"/>
                    <a:pt x="41" y="23"/>
                  </a:cubicBezTo>
                  <a:cubicBezTo>
                    <a:pt x="42" y="22"/>
                    <a:pt x="42" y="21"/>
                    <a:pt x="41" y="2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0"/>
                    <a:pt x="21" y="0"/>
                    <a:pt x="20" y="1"/>
                  </a:cubicBezTo>
                  <a:cubicBezTo>
                    <a:pt x="20" y="1"/>
                    <a:pt x="20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4"/>
                    <a:pt x="3" y="24"/>
                    <a:pt x="4" y="2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AF163CE4-442D-4454-B520-7B355ED54B87}"/>
              </a:ext>
            </a:extLst>
          </p:cNvPr>
          <p:cNvGrpSpPr/>
          <p:nvPr/>
        </p:nvGrpSpPr>
        <p:grpSpPr>
          <a:xfrm>
            <a:off x="4759325" y="5418138"/>
            <a:ext cx="844550" cy="841375"/>
            <a:chOff x="4759325" y="5418138"/>
            <a:chExt cx="844550" cy="841375"/>
          </a:xfrm>
        </p:grpSpPr>
        <p:sp>
          <p:nvSpPr>
            <p:cNvPr id="449" name="AutoShape 409">
              <a:extLst>
                <a:ext uri="{FF2B5EF4-FFF2-40B4-BE49-F238E27FC236}">
                  <a16:creationId xmlns:a16="http://schemas.microsoft.com/office/drawing/2014/main" id="{A45838AA-5982-474B-AFDD-80F98394C6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59325" y="54181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Oval 411">
              <a:extLst>
                <a:ext uri="{FF2B5EF4-FFF2-40B4-BE49-F238E27FC236}">
                  <a16:creationId xmlns:a16="http://schemas.microsoft.com/office/drawing/2014/main" id="{5E86ED67-2DB8-4CB1-B3A5-D6CC435A34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9325" y="542131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412">
              <a:extLst>
                <a:ext uri="{FF2B5EF4-FFF2-40B4-BE49-F238E27FC236}">
                  <a16:creationId xmlns:a16="http://schemas.microsoft.com/office/drawing/2014/main" id="{2EA2265B-19C8-4E52-AFA5-F5BA83204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7900" y="544988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413">
              <a:extLst>
                <a:ext uri="{FF2B5EF4-FFF2-40B4-BE49-F238E27FC236}">
                  <a16:creationId xmlns:a16="http://schemas.microsoft.com/office/drawing/2014/main" id="{FB01EDF5-781B-4008-AB16-0AC79A4486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3950" y="5654676"/>
              <a:ext cx="495300" cy="368300"/>
            </a:xfrm>
            <a:custGeom>
              <a:avLst/>
              <a:gdLst>
                <a:gd name="T0" fmla="*/ 122 w 122"/>
                <a:gd name="T1" fmla="*/ 37 h 92"/>
                <a:gd name="T2" fmla="*/ 122 w 122"/>
                <a:gd name="T3" fmla="*/ 54 h 92"/>
                <a:gd name="T4" fmla="*/ 122 w 122"/>
                <a:gd name="T5" fmla="*/ 56 h 92"/>
                <a:gd name="T6" fmla="*/ 121 w 122"/>
                <a:gd name="T7" fmla="*/ 69 h 92"/>
                <a:gd name="T8" fmla="*/ 119 w 122"/>
                <a:gd name="T9" fmla="*/ 81 h 92"/>
                <a:gd name="T10" fmla="*/ 107 w 122"/>
                <a:gd name="T11" fmla="*/ 90 h 92"/>
                <a:gd name="T12" fmla="*/ 98 w 122"/>
                <a:gd name="T13" fmla="*/ 91 h 92"/>
                <a:gd name="T14" fmla="*/ 67 w 122"/>
                <a:gd name="T15" fmla="*/ 92 h 92"/>
                <a:gd name="T16" fmla="*/ 34 w 122"/>
                <a:gd name="T17" fmla="*/ 91 h 92"/>
                <a:gd name="T18" fmla="*/ 15 w 122"/>
                <a:gd name="T19" fmla="*/ 90 h 92"/>
                <a:gd name="T20" fmla="*/ 3 w 122"/>
                <a:gd name="T21" fmla="*/ 81 h 92"/>
                <a:gd name="T22" fmla="*/ 1 w 122"/>
                <a:gd name="T23" fmla="*/ 73 h 92"/>
                <a:gd name="T24" fmla="*/ 0 w 122"/>
                <a:gd name="T25" fmla="*/ 52 h 92"/>
                <a:gd name="T26" fmla="*/ 0 w 122"/>
                <a:gd name="T27" fmla="*/ 25 h 92"/>
                <a:gd name="T28" fmla="*/ 3 w 122"/>
                <a:gd name="T29" fmla="*/ 13 h 92"/>
                <a:gd name="T30" fmla="*/ 17 w 122"/>
                <a:gd name="T31" fmla="*/ 2 h 92"/>
                <a:gd name="T32" fmla="*/ 40 w 122"/>
                <a:gd name="T33" fmla="*/ 0 h 92"/>
                <a:gd name="T34" fmla="*/ 105 w 122"/>
                <a:gd name="T35" fmla="*/ 2 h 92"/>
                <a:gd name="T36" fmla="*/ 119 w 122"/>
                <a:gd name="T37" fmla="*/ 13 h 92"/>
                <a:gd name="T38" fmla="*/ 122 w 122"/>
                <a:gd name="T39" fmla="*/ 29 h 92"/>
                <a:gd name="T40" fmla="*/ 122 w 122"/>
                <a:gd name="T41" fmla="*/ 37 h 92"/>
                <a:gd name="T42" fmla="*/ 46 w 122"/>
                <a:gd name="T43" fmla="*/ 69 h 92"/>
                <a:gd name="T44" fmla="*/ 84 w 122"/>
                <a:gd name="T45" fmla="*/ 46 h 92"/>
                <a:gd name="T46" fmla="*/ 46 w 122"/>
                <a:gd name="T47" fmla="*/ 23 h 92"/>
                <a:gd name="T48" fmla="*/ 46 w 122"/>
                <a:gd name="T49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2" h="92">
                  <a:moveTo>
                    <a:pt x="122" y="37"/>
                  </a:moveTo>
                  <a:cubicBezTo>
                    <a:pt x="122" y="43"/>
                    <a:pt x="122" y="49"/>
                    <a:pt x="122" y="54"/>
                  </a:cubicBezTo>
                  <a:cubicBezTo>
                    <a:pt x="122" y="55"/>
                    <a:pt x="122" y="55"/>
                    <a:pt x="122" y="56"/>
                  </a:cubicBezTo>
                  <a:cubicBezTo>
                    <a:pt x="122" y="60"/>
                    <a:pt x="122" y="65"/>
                    <a:pt x="121" y="69"/>
                  </a:cubicBezTo>
                  <a:cubicBezTo>
                    <a:pt x="121" y="73"/>
                    <a:pt x="120" y="77"/>
                    <a:pt x="119" y="81"/>
                  </a:cubicBezTo>
                  <a:cubicBezTo>
                    <a:pt x="117" y="86"/>
                    <a:pt x="113" y="89"/>
                    <a:pt x="107" y="90"/>
                  </a:cubicBezTo>
                  <a:cubicBezTo>
                    <a:pt x="104" y="91"/>
                    <a:pt x="101" y="91"/>
                    <a:pt x="98" y="91"/>
                  </a:cubicBezTo>
                  <a:cubicBezTo>
                    <a:pt x="88" y="91"/>
                    <a:pt x="77" y="92"/>
                    <a:pt x="67" y="92"/>
                  </a:cubicBezTo>
                  <a:cubicBezTo>
                    <a:pt x="56" y="92"/>
                    <a:pt x="45" y="92"/>
                    <a:pt x="34" y="91"/>
                  </a:cubicBezTo>
                  <a:cubicBezTo>
                    <a:pt x="28" y="91"/>
                    <a:pt x="22" y="91"/>
                    <a:pt x="15" y="90"/>
                  </a:cubicBezTo>
                  <a:cubicBezTo>
                    <a:pt x="10" y="89"/>
                    <a:pt x="5" y="86"/>
                    <a:pt x="3" y="81"/>
                  </a:cubicBezTo>
                  <a:cubicBezTo>
                    <a:pt x="2" y="78"/>
                    <a:pt x="1" y="76"/>
                    <a:pt x="1" y="73"/>
                  </a:cubicBezTo>
                  <a:cubicBezTo>
                    <a:pt x="1" y="66"/>
                    <a:pt x="0" y="59"/>
                    <a:pt x="0" y="52"/>
                  </a:cubicBezTo>
                  <a:cubicBezTo>
                    <a:pt x="0" y="43"/>
                    <a:pt x="0" y="34"/>
                    <a:pt x="0" y="25"/>
                  </a:cubicBezTo>
                  <a:cubicBezTo>
                    <a:pt x="1" y="21"/>
                    <a:pt x="1" y="17"/>
                    <a:pt x="3" y="13"/>
                  </a:cubicBezTo>
                  <a:cubicBezTo>
                    <a:pt x="5" y="6"/>
                    <a:pt x="10" y="2"/>
                    <a:pt x="17" y="2"/>
                  </a:cubicBezTo>
                  <a:cubicBezTo>
                    <a:pt x="25" y="1"/>
                    <a:pt x="32" y="1"/>
                    <a:pt x="40" y="0"/>
                  </a:cubicBezTo>
                  <a:cubicBezTo>
                    <a:pt x="61" y="0"/>
                    <a:pt x="83" y="0"/>
                    <a:pt x="105" y="2"/>
                  </a:cubicBezTo>
                  <a:cubicBezTo>
                    <a:pt x="112" y="2"/>
                    <a:pt x="117" y="6"/>
                    <a:pt x="119" y="13"/>
                  </a:cubicBezTo>
                  <a:cubicBezTo>
                    <a:pt x="121" y="18"/>
                    <a:pt x="121" y="24"/>
                    <a:pt x="122" y="29"/>
                  </a:cubicBezTo>
                  <a:cubicBezTo>
                    <a:pt x="122" y="32"/>
                    <a:pt x="122" y="35"/>
                    <a:pt x="122" y="37"/>
                  </a:cubicBezTo>
                  <a:close/>
                  <a:moveTo>
                    <a:pt x="46" y="69"/>
                  </a:moveTo>
                  <a:cubicBezTo>
                    <a:pt x="59" y="61"/>
                    <a:pt x="71" y="54"/>
                    <a:pt x="84" y="46"/>
                  </a:cubicBezTo>
                  <a:cubicBezTo>
                    <a:pt x="71" y="38"/>
                    <a:pt x="58" y="31"/>
                    <a:pt x="46" y="23"/>
                  </a:cubicBezTo>
                  <a:cubicBezTo>
                    <a:pt x="46" y="38"/>
                    <a:pt x="46" y="54"/>
                    <a:pt x="46" y="69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8" name="Group 457">
            <a:extLst>
              <a:ext uri="{FF2B5EF4-FFF2-40B4-BE49-F238E27FC236}">
                <a16:creationId xmlns:a16="http://schemas.microsoft.com/office/drawing/2014/main" id="{F39BC0EC-4E15-490B-9CCA-71D63441C97E}"/>
              </a:ext>
            </a:extLst>
          </p:cNvPr>
          <p:cNvGrpSpPr/>
          <p:nvPr/>
        </p:nvGrpSpPr>
        <p:grpSpPr>
          <a:xfrm>
            <a:off x="5826125" y="5454651"/>
            <a:ext cx="758825" cy="766763"/>
            <a:chOff x="5826125" y="5454651"/>
            <a:chExt cx="758825" cy="766763"/>
          </a:xfrm>
        </p:grpSpPr>
        <p:sp>
          <p:nvSpPr>
            <p:cNvPr id="455" name="AutoShape 415">
              <a:extLst>
                <a:ext uri="{FF2B5EF4-FFF2-40B4-BE49-F238E27FC236}">
                  <a16:creationId xmlns:a16="http://schemas.microsoft.com/office/drawing/2014/main" id="{4E93A867-AB54-461F-B2AD-D410D5E1D6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6125" y="54594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417">
              <a:extLst>
                <a:ext uri="{FF2B5EF4-FFF2-40B4-BE49-F238E27FC236}">
                  <a16:creationId xmlns:a16="http://schemas.microsoft.com/office/drawing/2014/main" id="{90272ECC-E438-4D20-8444-88AADEE038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9300" y="545465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418">
              <a:extLst>
                <a:ext uri="{FF2B5EF4-FFF2-40B4-BE49-F238E27FC236}">
                  <a16:creationId xmlns:a16="http://schemas.microsoft.com/office/drawing/2014/main" id="{49B68F40-C3AE-4C56-B414-E7174D299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0588" y="5656263"/>
              <a:ext cx="474663" cy="363538"/>
            </a:xfrm>
            <a:custGeom>
              <a:avLst/>
              <a:gdLst>
                <a:gd name="T0" fmla="*/ 122 w 122"/>
                <a:gd name="T1" fmla="*/ 37 h 92"/>
                <a:gd name="T2" fmla="*/ 122 w 122"/>
                <a:gd name="T3" fmla="*/ 54 h 92"/>
                <a:gd name="T4" fmla="*/ 122 w 122"/>
                <a:gd name="T5" fmla="*/ 56 h 92"/>
                <a:gd name="T6" fmla="*/ 121 w 122"/>
                <a:gd name="T7" fmla="*/ 69 h 92"/>
                <a:gd name="T8" fmla="*/ 119 w 122"/>
                <a:gd name="T9" fmla="*/ 81 h 92"/>
                <a:gd name="T10" fmla="*/ 107 w 122"/>
                <a:gd name="T11" fmla="*/ 90 h 92"/>
                <a:gd name="T12" fmla="*/ 98 w 122"/>
                <a:gd name="T13" fmla="*/ 91 h 92"/>
                <a:gd name="T14" fmla="*/ 67 w 122"/>
                <a:gd name="T15" fmla="*/ 92 h 92"/>
                <a:gd name="T16" fmla="*/ 34 w 122"/>
                <a:gd name="T17" fmla="*/ 91 h 92"/>
                <a:gd name="T18" fmla="*/ 15 w 122"/>
                <a:gd name="T19" fmla="*/ 90 h 92"/>
                <a:gd name="T20" fmla="*/ 3 w 122"/>
                <a:gd name="T21" fmla="*/ 81 h 92"/>
                <a:gd name="T22" fmla="*/ 1 w 122"/>
                <a:gd name="T23" fmla="*/ 73 h 92"/>
                <a:gd name="T24" fmla="*/ 0 w 122"/>
                <a:gd name="T25" fmla="*/ 52 h 92"/>
                <a:gd name="T26" fmla="*/ 0 w 122"/>
                <a:gd name="T27" fmla="*/ 25 h 92"/>
                <a:gd name="T28" fmla="*/ 3 w 122"/>
                <a:gd name="T29" fmla="*/ 13 h 92"/>
                <a:gd name="T30" fmla="*/ 17 w 122"/>
                <a:gd name="T31" fmla="*/ 2 h 92"/>
                <a:gd name="T32" fmla="*/ 40 w 122"/>
                <a:gd name="T33" fmla="*/ 0 h 92"/>
                <a:gd name="T34" fmla="*/ 105 w 122"/>
                <a:gd name="T35" fmla="*/ 2 h 92"/>
                <a:gd name="T36" fmla="*/ 119 w 122"/>
                <a:gd name="T37" fmla="*/ 13 h 92"/>
                <a:gd name="T38" fmla="*/ 122 w 122"/>
                <a:gd name="T39" fmla="*/ 29 h 92"/>
                <a:gd name="T40" fmla="*/ 122 w 122"/>
                <a:gd name="T41" fmla="*/ 37 h 92"/>
                <a:gd name="T42" fmla="*/ 46 w 122"/>
                <a:gd name="T43" fmla="*/ 69 h 92"/>
                <a:gd name="T44" fmla="*/ 84 w 122"/>
                <a:gd name="T45" fmla="*/ 46 h 92"/>
                <a:gd name="T46" fmla="*/ 46 w 122"/>
                <a:gd name="T47" fmla="*/ 23 h 92"/>
                <a:gd name="T48" fmla="*/ 46 w 122"/>
                <a:gd name="T49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2" h="92">
                  <a:moveTo>
                    <a:pt x="122" y="37"/>
                  </a:moveTo>
                  <a:cubicBezTo>
                    <a:pt x="122" y="43"/>
                    <a:pt x="122" y="49"/>
                    <a:pt x="122" y="54"/>
                  </a:cubicBezTo>
                  <a:cubicBezTo>
                    <a:pt x="122" y="55"/>
                    <a:pt x="122" y="55"/>
                    <a:pt x="122" y="56"/>
                  </a:cubicBezTo>
                  <a:cubicBezTo>
                    <a:pt x="122" y="60"/>
                    <a:pt x="122" y="65"/>
                    <a:pt x="121" y="69"/>
                  </a:cubicBezTo>
                  <a:cubicBezTo>
                    <a:pt x="121" y="73"/>
                    <a:pt x="120" y="77"/>
                    <a:pt x="119" y="81"/>
                  </a:cubicBezTo>
                  <a:cubicBezTo>
                    <a:pt x="117" y="86"/>
                    <a:pt x="113" y="89"/>
                    <a:pt x="107" y="90"/>
                  </a:cubicBezTo>
                  <a:cubicBezTo>
                    <a:pt x="104" y="91"/>
                    <a:pt x="101" y="91"/>
                    <a:pt x="98" y="91"/>
                  </a:cubicBezTo>
                  <a:cubicBezTo>
                    <a:pt x="88" y="91"/>
                    <a:pt x="77" y="92"/>
                    <a:pt x="67" y="92"/>
                  </a:cubicBezTo>
                  <a:cubicBezTo>
                    <a:pt x="56" y="92"/>
                    <a:pt x="45" y="92"/>
                    <a:pt x="34" y="91"/>
                  </a:cubicBezTo>
                  <a:cubicBezTo>
                    <a:pt x="28" y="91"/>
                    <a:pt x="22" y="91"/>
                    <a:pt x="15" y="90"/>
                  </a:cubicBezTo>
                  <a:cubicBezTo>
                    <a:pt x="10" y="89"/>
                    <a:pt x="5" y="86"/>
                    <a:pt x="3" y="81"/>
                  </a:cubicBezTo>
                  <a:cubicBezTo>
                    <a:pt x="2" y="78"/>
                    <a:pt x="1" y="76"/>
                    <a:pt x="1" y="73"/>
                  </a:cubicBezTo>
                  <a:cubicBezTo>
                    <a:pt x="1" y="66"/>
                    <a:pt x="0" y="59"/>
                    <a:pt x="0" y="52"/>
                  </a:cubicBezTo>
                  <a:cubicBezTo>
                    <a:pt x="0" y="43"/>
                    <a:pt x="0" y="34"/>
                    <a:pt x="0" y="25"/>
                  </a:cubicBezTo>
                  <a:cubicBezTo>
                    <a:pt x="1" y="21"/>
                    <a:pt x="1" y="17"/>
                    <a:pt x="3" y="13"/>
                  </a:cubicBezTo>
                  <a:cubicBezTo>
                    <a:pt x="5" y="6"/>
                    <a:pt x="10" y="2"/>
                    <a:pt x="17" y="2"/>
                  </a:cubicBezTo>
                  <a:cubicBezTo>
                    <a:pt x="25" y="1"/>
                    <a:pt x="32" y="1"/>
                    <a:pt x="40" y="0"/>
                  </a:cubicBezTo>
                  <a:cubicBezTo>
                    <a:pt x="61" y="0"/>
                    <a:pt x="83" y="0"/>
                    <a:pt x="105" y="2"/>
                  </a:cubicBezTo>
                  <a:cubicBezTo>
                    <a:pt x="112" y="2"/>
                    <a:pt x="117" y="6"/>
                    <a:pt x="119" y="13"/>
                  </a:cubicBezTo>
                  <a:cubicBezTo>
                    <a:pt x="121" y="18"/>
                    <a:pt x="121" y="24"/>
                    <a:pt x="122" y="29"/>
                  </a:cubicBezTo>
                  <a:cubicBezTo>
                    <a:pt x="122" y="32"/>
                    <a:pt x="122" y="35"/>
                    <a:pt x="122" y="37"/>
                  </a:cubicBezTo>
                  <a:close/>
                  <a:moveTo>
                    <a:pt x="46" y="69"/>
                  </a:moveTo>
                  <a:cubicBezTo>
                    <a:pt x="59" y="61"/>
                    <a:pt x="71" y="54"/>
                    <a:pt x="84" y="46"/>
                  </a:cubicBezTo>
                  <a:cubicBezTo>
                    <a:pt x="71" y="38"/>
                    <a:pt x="58" y="31"/>
                    <a:pt x="46" y="23"/>
                  </a:cubicBezTo>
                  <a:cubicBezTo>
                    <a:pt x="46" y="38"/>
                    <a:pt x="46" y="54"/>
                    <a:pt x="46" y="69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4" name="Group 463">
            <a:extLst>
              <a:ext uri="{FF2B5EF4-FFF2-40B4-BE49-F238E27FC236}">
                <a16:creationId xmlns:a16="http://schemas.microsoft.com/office/drawing/2014/main" id="{8A3BC9D3-014F-4AB1-8BCF-5A1B75CCAE62}"/>
              </a:ext>
            </a:extLst>
          </p:cNvPr>
          <p:cNvGrpSpPr/>
          <p:nvPr/>
        </p:nvGrpSpPr>
        <p:grpSpPr>
          <a:xfrm>
            <a:off x="7105650" y="5418138"/>
            <a:ext cx="842963" cy="841375"/>
            <a:chOff x="7105650" y="5418138"/>
            <a:chExt cx="842963" cy="841375"/>
          </a:xfrm>
        </p:grpSpPr>
        <p:sp>
          <p:nvSpPr>
            <p:cNvPr id="460" name="AutoShape 420">
              <a:extLst>
                <a:ext uri="{FF2B5EF4-FFF2-40B4-BE49-F238E27FC236}">
                  <a16:creationId xmlns:a16="http://schemas.microsoft.com/office/drawing/2014/main" id="{6051C722-AE3A-486B-B1A5-08D37EC3A7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105650" y="5418138"/>
              <a:ext cx="839788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Oval 422">
              <a:extLst>
                <a:ext uri="{FF2B5EF4-FFF2-40B4-BE49-F238E27FC236}">
                  <a16:creationId xmlns:a16="http://schemas.microsoft.com/office/drawing/2014/main" id="{46D7FB1F-6861-4DDD-9BC9-FD9F4C26A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5421313"/>
              <a:ext cx="842963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423">
              <a:extLst>
                <a:ext uri="{FF2B5EF4-FFF2-40B4-BE49-F238E27FC236}">
                  <a16:creationId xmlns:a16="http://schemas.microsoft.com/office/drawing/2014/main" id="{19B8458F-60BA-4AEB-8AD2-6AA017CCD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4225" y="5449888"/>
              <a:ext cx="787400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424">
              <a:extLst>
                <a:ext uri="{FF2B5EF4-FFF2-40B4-BE49-F238E27FC236}">
                  <a16:creationId xmlns:a16="http://schemas.microsoft.com/office/drawing/2014/main" id="{95E2009A-394C-4C34-AEC9-264F8086EE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0275" y="5654676"/>
              <a:ext cx="495300" cy="368300"/>
            </a:xfrm>
            <a:custGeom>
              <a:avLst/>
              <a:gdLst>
                <a:gd name="T0" fmla="*/ 122 w 122"/>
                <a:gd name="T1" fmla="*/ 37 h 92"/>
                <a:gd name="T2" fmla="*/ 122 w 122"/>
                <a:gd name="T3" fmla="*/ 54 h 92"/>
                <a:gd name="T4" fmla="*/ 122 w 122"/>
                <a:gd name="T5" fmla="*/ 56 h 92"/>
                <a:gd name="T6" fmla="*/ 121 w 122"/>
                <a:gd name="T7" fmla="*/ 69 h 92"/>
                <a:gd name="T8" fmla="*/ 119 w 122"/>
                <a:gd name="T9" fmla="*/ 81 h 92"/>
                <a:gd name="T10" fmla="*/ 107 w 122"/>
                <a:gd name="T11" fmla="*/ 90 h 92"/>
                <a:gd name="T12" fmla="*/ 98 w 122"/>
                <a:gd name="T13" fmla="*/ 91 h 92"/>
                <a:gd name="T14" fmla="*/ 67 w 122"/>
                <a:gd name="T15" fmla="*/ 92 h 92"/>
                <a:gd name="T16" fmla="*/ 34 w 122"/>
                <a:gd name="T17" fmla="*/ 91 h 92"/>
                <a:gd name="T18" fmla="*/ 15 w 122"/>
                <a:gd name="T19" fmla="*/ 90 h 92"/>
                <a:gd name="T20" fmla="*/ 3 w 122"/>
                <a:gd name="T21" fmla="*/ 81 h 92"/>
                <a:gd name="T22" fmla="*/ 1 w 122"/>
                <a:gd name="T23" fmla="*/ 73 h 92"/>
                <a:gd name="T24" fmla="*/ 0 w 122"/>
                <a:gd name="T25" fmla="*/ 52 h 92"/>
                <a:gd name="T26" fmla="*/ 0 w 122"/>
                <a:gd name="T27" fmla="*/ 25 h 92"/>
                <a:gd name="T28" fmla="*/ 3 w 122"/>
                <a:gd name="T29" fmla="*/ 13 h 92"/>
                <a:gd name="T30" fmla="*/ 17 w 122"/>
                <a:gd name="T31" fmla="*/ 2 h 92"/>
                <a:gd name="T32" fmla="*/ 40 w 122"/>
                <a:gd name="T33" fmla="*/ 0 h 92"/>
                <a:gd name="T34" fmla="*/ 105 w 122"/>
                <a:gd name="T35" fmla="*/ 2 h 92"/>
                <a:gd name="T36" fmla="*/ 119 w 122"/>
                <a:gd name="T37" fmla="*/ 13 h 92"/>
                <a:gd name="T38" fmla="*/ 122 w 122"/>
                <a:gd name="T39" fmla="*/ 29 h 92"/>
                <a:gd name="T40" fmla="*/ 122 w 122"/>
                <a:gd name="T41" fmla="*/ 37 h 92"/>
                <a:gd name="T42" fmla="*/ 46 w 122"/>
                <a:gd name="T43" fmla="*/ 69 h 92"/>
                <a:gd name="T44" fmla="*/ 84 w 122"/>
                <a:gd name="T45" fmla="*/ 46 h 92"/>
                <a:gd name="T46" fmla="*/ 46 w 122"/>
                <a:gd name="T47" fmla="*/ 23 h 92"/>
                <a:gd name="T48" fmla="*/ 46 w 122"/>
                <a:gd name="T49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2" h="92">
                  <a:moveTo>
                    <a:pt x="122" y="37"/>
                  </a:moveTo>
                  <a:cubicBezTo>
                    <a:pt x="122" y="43"/>
                    <a:pt x="122" y="49"/>
                    <a:pt x="122" y="54"/>
                  </a:cubicBezTo>
                  <a:cubicBezTo>
                    <a:pt x="122" y="55"/>
                    <a:pt x="122" y="55"/>
                    <a:pt x="122" y="56"/>
                  </a:cubicBezTo>
                  <a:cubicBezTo>
                    <a:pt x="122" y="60"/>
                    <a:pt x="122" y="65"/>
                    <a:pt x="121" y="69"/>
                  </a:cubicBezTo>
                  <a:cubicBezTo>
                    <a:pt x="121" y="73"/>
                    <a:pt x="120" y="77"/>
                    <a:pt x="119" y="81"/>
                  </a:cubicBezTo>
                  <a:cubicBezTo>
                    <a:pt x="117" y="86"/>
                    <a:pt x="113" y="89"/>
                    <a:pt x="107" y="90"/>
                  </a:cubicBezTo>
                  <a:cubicBezTo>
                    <a:pt x="104" y="91"/>
                    <a:pt x="101" y="91"/>
                    <a:pt x="98" y="91"/>
                  </a:cubicBezTo>
                  <a:cubicBezTo>
                    <a:pt x="88" y="91"/>
                    <a:pt x="77" y="92"/>
                    <a:pt x="67" y="92"/>
                  </a:cubicBezTo>
                  <a:cubicBezTo>
                    <a:pt x="56" y="92"/>
                    <a:pt x="45" y="92"/>
                    <a:pt x="34" y="91"/>
                  </a:cubicBezTo>
                  <a:cubicBezTo>
                    <a:pt x="28" y="91"/>
                    <a:pt x="22" y="91"/>
                    <a:pt x="15" y="90"/>
                  </a:cubicBezTo>
                  <a:cubicBezTo>
                    <a:pt x="10" y="89"/>
                    <a:pt x="5" y="86"/>
                    <a:pt x="3" y="81"/>
                  </a:cubicBezTo>
                  <a:cubicBezTo>
                    <a:pt x="2" y="78"/>
                    <a:pt x="1" y="76"/>
                    <a:pt x="1" y="73"/>
                  </a:cubicBezTo>
                  <a:cubicBezTo>
                    <a:pt x="1" y="66"/>
                    <a:pt x="0" y="59"/>
                    <a:pt x="0" y="52"/>
                  </a:cubicBezTo>
                  <a:cubicBezTo>
                    <a:pt x="0" y="43"/>
                    <a:pt x="0" y="34"/>
                    <a:pt x="0" y="25"/>
                  </a:cubicBezTo>
                  <a:cubicBezTo>
                    <a:pt x="1" y="21"/>
                    <a:pt x="1" y="17"/>
                    <a:pt x="3" y="13"/>
                  </a:cubicBezTo>
                  <a:cubicBezTo>
                    <a:pt x="5" y="6"/>
                    <a:pt x="10" y="2"/>
                    <a:pt x="17" y="2"/>
                  </a:cubicBezTo>
                  <a:cubicBezTo>
                    <a:pt x="25" y="1"/>
                    <a:pt x="32" y="1"/>
                    <a:pt x="40" y="0"/>
                  </a:cubicBezTo>
                  <a:cubicBezTo>
                    <a:pt x="61" y="0"/>
                    <a:pt x="83" y="0"/>
                    <a:pt x="105" y="2"/>
                  </a:cubicBezTo>
                  <a:cubicBezTo>
                    <a:pt x="112" y="2"/>
                    <a:pt x="117" y="6"/>
                    <a:pt x="119" y="13"/>
                  </a:cubicBezTo>
                  <a:cubicBezTo>
                    <a:pt x="121" y="18"/>
                    <a:pt x="121" y="24"/>
                    <a:pt x="122" y="29"/>
                  </a:cubicBezTo>
                  <a:cubicBezTo>
                    <a:pt x="122" y="32"/>
                    <a:pt x="122" y="35"/>
                    <a:pt x="122" y="37"/>
                  </a:cubicBezTo>
                  <a:close/>
                  <a:moveTo>
                    <a:pt x="46" y="69"/>
                  </a:moveTo>
                  <a:cubicBezTo>
                    <a:pt x="59" y="61"/>
                    <a:pt x="71" y="54"/>
                    <a:pt x="84" y="46"/>
                  </a:cubicBezTo>
                  <a:cubicBezTo>
                    <a:pt x="71" y="38"/>
                    <a:pt x="58" y="31"/>
                    <a:pt x="46" y="23"/>
                  </a:cubicBezTo>
                  <a:cubicBezTo>
                    <a:pt x="46" y="38"/>
                    <a:pt x="46" y="54"/>
                    <a:pt x="46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4DD9CC20-AF7F-496C-9B4B-3B0A5137487A}"/>
              </a:ext>
            </a:extLst>
          </p:cNvPr>
          <p:cNvGrpSpPr/>
          <p:nvPr/>
        </p:nvGrpSpPr>
        <p:grpSpPr>
          <a:xfrm>
            <a:off x="8123238" y="5451476"/>
            <a:ext cx="758825" cy="766763"/>
            <a:chOff x="8123238" y="5451476"/>
            <a:chExt cx="758825" cy="766763"/>
          </a:xfrm>
        </p:grpSpPr>
        <p:sp>
          <p:nvSpPr>
            <p:cNvPr id="466" name="AutoShape 426">
              <a:extLst>
                <a:ext uri="{FF2B5EF4-FFF2-40B4-BE49-F238E27FC236}">
                  <a16:creationId xmlns:a16="http://schemas.microsoft.com/office/drawing/2014/main" id="{A673314C-E0DA-4DD0-89EC-D732C02FC9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123238" y="54562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428">
              <a:extLst>
                <a:ext uri="{FF2B5EF4-FFF2-40B4-BE49-F238E27FC236}">
                  <a16:creationId xmlns:a16="http://schemas.microsoft.com/office/drawing/2014/main" id="{6B4B5352-40E8-40CF-83AF-84A824F5BA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413" y="5451476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429">
              <a:extLst>
                <a:ext uri="{FF2B5EF4-FFF2-40B4-BE49-F238E27FC236}">
                  <a16:creationId xmlns:a16="http://schemas.microsoft.com/office/drawing/2014/main" id="{3A585C9F-0418-49AF-8994-6BB7807673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7701" y="5653088"/>
              <a:ext cx="474663" cy="363538"/>
            </a:xfrm>
            <a:custGeom>
              <a:avLst/>
              <a:gdLst>
                <a:gd name="T0" fmla="*/ 122 w 122"/>
                <a:gd name="T1" fmla="*/ 37 h 92"/>
                <a:gd name="T2" fmla="*/ 122 w 122"/>
                <a:gd name="T3" fmla="*/ 54 h 92"/>
                <a:gd name="T4" fmla="*/ 122 w 122"/>
                <a:gd name="T5" fmla="*/ 56 h 92"/>
                <a:gd name="T6" fmla="*/ 121 w 122"/>
                <a:gd name="T7" fmla="*/ 69 h 92"/>
                <a:gd name="T8" fmla="*/ 119 w 122"/>
                <a:gd name="T9" fmla="*/ 81 h 92"/>
                <a:gd name="T10" fmla="*/ 107 w 122"/>
                <a:gd name="T11" fmla="*/ 90 h 92"/>
                <a:gd name="T12" fmla="*/ 98 w 122"/>
                <a:gd name="T13" fmla="*/ 91 h 92"/>
                <a:gd name="T14" fmla="*/ 67 w 122"/>
                <a:gd name="T15" fmla="*/ 92 h 92"/>
                <a:gd name="T16" fmla="*/ 34 w 122"/>
                <a:gd name="T17" fmla="*/ 91 h 92"/>
                <a:gd name="T18" fmla="*/ 15 w 122"/>
                <a:gd name="T19" fmla="*/ 90 h 92"/>
                <a:gd name="T20" fmla="*/ 3 w 122"/>
                <a:gd name="T21" fmla="*/ 81 h 92"/>
                <a:gd name="T22" fmla="*/ 1 w 122"/>
                <a:gd name="T23" fmla="*/ 73 h 92"/>
                <a:gd name="T24" fmla="*/ 0 w 122"/>
                <a:gd name="T25" fmla="*/ 52 h 92"/>
                <a:gd name="T26" fmla="*/ 0 w 122"/>
                <a:gd name="T27" fmla="*/ 25 h 92"/>
                <a:gd name="T28" fmla="*/ 3 w 122"/>
                <a:gd name="T29" fmla="*/ 13 h 92"/>
                <a:gd name="T30" fmla="*/ 17 w 122"/>
                <a:gd name="T31" fmla="*/ 2 h 92"/>
                <a:gd name="T32" fmla="*/ 40 w 122"/>
                <a:gd name="T33" fmla="*/ 0 h 92"/>
                <a:gd name="T34" fmla="*/ 105 w 122"/>
                <a:gd name="T35" fmla="*/ 2 h 92"/>
                <a:gd name="T36" fmla="*/ 119 w 122"/>
                <a:gd name="T37" fmla="*/ 13 h 92"/>
                <a:gd name="T38" fmla="*/ 122 w 122"/>
                <a:gd name="T39" fmla="*/ 29 h 92"/>
                <a:gd name="T40" fmla="*/ 122 w 122"/>
                <a:gd name="T41" fmla="*/ 37 h 92"/>
                <a:gd name="T42" fmla="*/ 46 w 122"/>
                <a:gd name="T43" fmla="*/ 69 h 92"/>
                <a:gd name="T44" fmla="*/ 84 w 122"/>
                <a:gd name="T45" fmla="*/ 46 h 92"/>
                <a:gd name="T46" fmla="*/ 46 w 122"/>
                <a:gd name="T47" fmla="*/ 23 h 92"/>
                <a:gd name="T48" fmla="*/ 46 w 122"/>
                <a:gd name="T49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2" h="92">
                  <a:moveTo>
                    <a:pt x="122" y="37"/>
                  </a:moveTo>
                  <a:cubicBezTo>
                    <a:pt x="122" y="43"/>
                    <a:pt x="122" y="49"/>
                    <a:pt x="122" y="54"/>
                  </a:cubicBezTo>
                  <a:cubicBezTo>
                    <a:pt x="122" y="55"/>
                    <a:pt x="122" y="55"/>
                    <a:pt x="122" y="56"/>
                  </a:cubicBezTo>
                  <a:cubicBezTo>
                    <a:pt x="122" y="60"/>
                    <a:pt x="122" y="65"/>
                    <a:pt x="121" y="69"/>
                  </a:cubicBezTo>
                  <a:cubicBezTo>
                    <a:pt x="121" y="73"/>
                    <a:pt x="120" y="77"/>
                    <a:pt x="119" y="81"/>
                  </a:cubicBezTo>
                  <a:cubicBezTo>
                    <a:pt x="117" y="86"/>
                    <a:pt x="113" y="89"/>
                    <a:pt x="107" y="90"/>
                  </a:cubicBezTo>
                  <a:cubicBezTo>
                    <a:pt x="104" y="91"/>
                    <a:pt x="101" y="91"/>
                    <a:pt x="98" y="91"/>
                  </a:cubicBezTo>
                  <a:cubicBezTo>
                    <a:pt x="88" y="91"/>
                    <a:pt x="77" y="92"/>
                    <a:pt x="67" y="92"/>
                  </a:cubicBezTo>
                  <a:cubicBezTo>
                    <a:pt x="56" y="92"/>
                    <a:pt x="45" y="92"/>
                    <a:pt x="34" y="91"/>
                  </a:cubicBezTo>
                  <a:cubicBezTo>
                    <a:pt x="28" y="91"/>
                    <a:pt x="22" y="91"/>
                    <a:pt x="15" y="90"/>
                  </a:cubicBezTo>
                  <a:cubicBezTo>
                    <a:pt x="10" y="89"/>
                    <a:pt x="5" y="86"/>
                    <a:pt x="3" y="81"/>
                  </a:cubicBezTo>
                  <a:cubicBezTo>
                    <a:pt x="2" y="78"/>
                    <a:pt x="1" y="76"/>
                    <a:pt x="1" y="73"/>
                  </a:cubicBezTo>
                  <a:cubicBezTo>
                    <a:pt x="1" y="66"/>
                    <a:pt x="0" y="59"/>
                    <a:pt x="0" y="52"/>
                  </a:cubicBezTo>
                  <a:cubicBezTo>
                    <a:pt x="0" y="43"/>
                    <a:pt x="0" y="34"/>
                    <a:pt x="0" y="25"/>
                  </a:cubicBezTo>
                  <a:cubicBezTo>
                    <a:pt x="1" y="21"/>
                    <a:pt x="1" y="17"/>
                    <a:pt x="3" y="13"/>
                  </a:cubicBezTo>
                  <a:cubicBezTo>
                    <a:pt x="5" y="6"/>
                    <a:pt x="10" y="2"/>
                    <a:pt x="17" y="2"/>
                  </a:cubicBezTo>
                  <a:cubicBezTo>
                    <a:pt x="25" y="1"/>
                    <a:pt x="32" y="1"/>
                    <a:pt x="40" y="0"/>
                  </a:cubicBezTo>
                  <a:cubicBezTo>
                    <a:pt x="61" y="0"/>
                    <a:pt x="83" y="0"/>
                    <a:pt x="105" y="2"/>
                  </a:cubicBezTo>
                  <a:cubicBezTo>
                    <a:pt x="112" y="2"/>
                    <a:pt x="117" y="6"/>
                    <a:pt x="119" y="13"/>
                  </a:cubicBezTo>
                  <a:cubicBezTo>
                    <a:pt x="121" y="18"/>
                    <a:pt x="121" y="24"/>
                    <a:pt x="122" y="29"/>
                  </a:cubicBezTo>
                  <a:cubicBezTo>
                    <a:pt x="122" y="32"/>
                    <a:pt x="122" y="35"/>
                    <a:pt x="122" y="37"/>
                  </a:cubicBezTo>
                  <a:close/>
                  <a:moveTo>
                    <a:pt x="46" y="69"/>
                  </a:moveTo>
                  <a:cubicBezTo>
                    <a:pt x="59" y="61"/>
                    <a:pt x="71" y="54"/>
                    <a:pt x="84" y="46"/>
                  </a:cubicBezTo>
                  <a:cubicBezTo>
                    <a:pt x="71" y="38"/>
                    <a:pt x="58" y="31"/>
                    <a:pt x="46" y="23"/>
                  </a:cubicBezTo>
                  <a:cubicBezTo>
                    <a:pt x="46" y="38"/>
                    <a:pt x="46" y="54"/>
                    <a:pt x="46" y="69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64249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" name="Table 449">
            <a:extLst>
              <a:ext uri="{FF2B5EF4-FFF2-40B4-BE49-F238E27FC236}">
                <a16:creationId xmlns:a16="http://schemas.microsoft.com/office/drawing/2014/main" id="{DC2305F7-8D6C-4A0F-9A15-1440E6F8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566829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tagram (1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tagram (2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log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1)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log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2)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ogle+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1)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ogle+ (2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book (2)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nkedIn (2)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witter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(2)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rehouse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il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rtfolio Services Cent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reat Portfolio Present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rporate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rporate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rporate 3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ow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mercial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mercial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ityscap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A608FD96-3E49-4FE9-BB3D-FD96AC4083A1}"/>
              </a:ext>
            </a:extLst>
          </p:cNvPr>
          <p:cNvGrpSpPr/>
          <p:nvPr/>
        </p:nvGrpSpPr>
        <p:grpSpPr>
          <a:xfrm>
            <a:off x="1427163" y="2855119"/>
            <a:ext cx="758825" cy="766763"/>
            <a:chOff x="1427163" y="2836863"/>
            <a:chExt cx="758825" cy="766763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E3BAB746-DF3B-4C04-8724-2DEC5283B5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7163" y="28416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3CED4BFA-686E-4EAE-BFAB-8812BE772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0338" y="2836863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7B4A41ED-DDCC-49BE-A8C9-FF289F669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2738" y="3022600"/>
              <a:ext cx="450850" cy="395288"/>
            </a:xfrm>
            <a:custGeom>
              <a:avLst/>
              <a:gdLst>
                <a:gd name="T0" fmla="*/ 113 w 116"/>
                <a:gd name="T1" fmla="*/ 2 h 100"/>
                <a:gd name="T2" fmla="*/ 98 w 116"/>
                <a:gd name="T3" fmla="*/ 8 h 100"/>
                <a:gd name="T4" fmla="*/ 80 w 116"/>
                <a:gd name="T5" fmla="*/ 0 h 100"/>
                <a:gd name="T6" fmla="*/ 57 w 116"/>
                <a:gd name="T7" fmla="*/ 25 h 100"/>
                <a:gd name="T8" fmla="*/ 57 w 116"/>
                <a:gd name="T9" fmla="*/ 31 h 100"/>
                <a:gd name="T10" fmla="*/ 8 w 116"/>
                <a:gd name="T11" fmla="*/ 5 h 100"/>
                <a:gd name="T12" fmla="*/ 5 w 116"/>
                <a:gd name="T13" fmla="*/ 17 h 100"/>
                <a:gd name="T14" fmla="*/ 15 w 116"/>
                <a:gd name="T15" fmla="*/ 38 h 100"/>
                <a:gd name="T16" fmla="*/ 4 w 116"/>
                <a:gd name="T17" fmla="*/ 35 h 100"/>
                <a:gd name="T18" fmla="*/ 4 w 116"/>
                <a:gd name="T19" fmla="*/ 36 h 100"/>
                <a:gd name="T20" fmla="*/ 24 w 116"/>
                <a:gd name="T21" fmla="*/ 60 h 100"/>
                <a:gd name="T22" fmla="*/ 17 w 116"/>
                <a:gd name="T23" fmla="*/ 61 h 100"/>
                <a:gd name="T24" fmla="*/ 13 w 116"/>
                <a:gd name="T25" fmla="*/ 61 h 100"/>
                <a:gd name="T26" fmla="*/ 35 w 116"/>
                <a:gd name="T27" fmla="*/ 78 h 100"/>
                <a:gd name="T28" fmla="*/ 6 w 116"/>
                <a:gd name="T29" fmla="*/ 89 h 100"/>
                <a:gd name="T30" fmla="*/ 0 w 116"/>
                <a:gd name="T31" fmla="*/ 89 h 100"/>
                <a:gd name="T32" fmla="*/ 36 w 116"/>
                <a:gd name="T33" fmla="*/ 100 h 100"/>
                <a:gd name="T34" fmla="*/ 104 w 116"/>
                <a:gd name="T35" fmla="*/ 28 h 100"/>
                <a:gd name="T36" fmla="*/ 104 w 116"/>
                <a:gd name="T37" fmla="*/ 25 h 100"/>
                <a:gd name="T38" fmla="*/ 116 w 116"/>
                <a:gd name="T39" fmla="*/ 12 h 100"/>
                <a:gd name="T40" fmla="*/ 102 w 116"/>
                <a:gd name="T41" fmla="*/ 16 h 100"/>
                <a:gd name="T42" fmla="*/ 113 w 116"/>
                <a:gd name="T43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00">
                  <a:moveTo>
                    <a:pt x="113" y="2"/>
                  </a:moveTo>
                  <a:cubicBezTo>
                    <a:pt x="108" y="5"/>
                    <a:pt x="103" y="7"/>
                    <a:pt x="98" y="8"/>
                  </a:cubicBezTo>
                  <a:cubicBezTo>
                    <a:pt x="93" y="3"/>
                    <a:pt x="87" y="0"/>
                    <a:pt x="80" y="0"/>
                  </a:cubicBezTo>
                  <a:cubicBezTo>
                    <a:pt x="67" y="0"/>
                    <a:pt x="57" y="11"/>
                    <a:pt x="57" y="25"/>
                  </a:cubicBezTo>
                  <a:cubicBezTo>
                    <a:pt x="57" y="27"/>
                    <a:pt x="57" y="29"/>
                    <a:pt x="57" y="31"/>
                  </a:cubicBezTo>
                  <a:cubicBezTo>
                    <a:pt x="37" y="30"/>
                    <a:pt x="20" y="20"/>
                    <a:pt x="8" y="5"/>
                  </a:cubicBezTo>
                  <a:cubicBezTo>
                    <a:pt x="6" y="8"/>
                    <a:pt x="5" y="13"/>
                    <a:pt x="5" y="17"/>
                  </a:cubicBezTo>
                  <a:cubicBezTo>
                    <a:pt x="5" y="26"/>
                    <a:pt x="9" y="34"/>
                    <a:pt x="15" y="38"/>
                  </a:cubicBezTo>
                  <a:cubicBezTo>
                    <a:pt x="11" y="38"/>
                    <a:pt x="8" y="37"/>
                    <a:pt x="4" y="35"/>
                  </a:cubicBezTo>
                  <a:cubicBezTo>
                    <a:pt x="4" y="35"/>
                    <a:pt x="4" y="35"/>
                    <a:pt x="4" y="36"/>
                  </a:cubicBezTo>
                  <a:cubicBezTo>
                    <a:pt x="4" y="48"/>
                    <a:pt x="13" y="58"/>
                    <a:pt x="24" y="60"/>
                  </a:cubicBezTo>
                  <a:cubicBezTo>
                    <a:pt x="22" y="61"/>
                    <a:pt x="20" y="61"/>
                    <a:pt x="17" y="61"/>
                  </a:cubicBezTo>
                  <a:cubicBezTo>
                    <a:pt x="16" y="61"/>
                    <a:pt x="14" y="61"/>
                    <a:pt x="13" y="61"/>
                  </a:cubicBezTo>
                  <a:cubicBezTo>
                    <a:pt x="16" y="71"/>
                    <a:pt x="25" y="78"/>
                    <a:pt x="35" y="78"/>
                  </a:cubicBezTo>
                  <a:cubicBezTo>
                    <a:pt x="27" y="85"/>
                    <a:pt x="17" y="89"/>
                    <a:pt x="6" y="89"/>
                  </a:cubicBezTo>
                  <a:cubicBezTo>
                    <a:pt x="4" y="89"/>
                    <a:pt x="2" y="89"/>
                    <a:pt x="0" y="89"/>
                  </a:cubicBezTo>
                  <a:cubicBezTo>
                    <a:pt x="10" y="96"/>
                    <a:pt x="23" y="100"/>
                    <a:pt x="36" y="100"/>
                  </a:cubicBezTo>
                  <a:cubicBezTo>
                    <a:pt x="80" y="100"/>
                    <a:pt x="104" y="62"/>
                    <a:pt x="104" y="28"/>
                  </a:cubicBezTo>
                  <a:cubicBezTo>
                    <a:pt x="104" y="27"/>
                    <a:pt x="104" y="26"/>
                    <a:pt x="104" y="25"/>
                  </a:cubicBezTo>
                  <a:cubicBezTo>
                    <a:pt x="109" y="21"/>
                    <a:pt x="113" y="17"/>
                    <a:pt x="116" y="12"/>
                  </a:cubicBezTo>
                  <a:cubicBezTo>
                    <a:pt x="112" y="14"/>
                    <a:pt x="107" y="15"/>
                    <a:pt x="102" y="16"/>
                  </a:cubicBezTo>
                  <a:cubicBezTo>
                    <a:pt x="107" y="13"/>
                    <a:pt x="111" y="8"/>
                    <a:pt x="113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C778747-68C0-45AA-9341-E1ED06456E41}"/>
              </a:ext>
            </a:extLst>
          </p:cNvPr>
          <p:cNvGrpSpPr/>
          <p:nvPr/>
        </p:nvGrpSpPr>
        <p:grpSpPr>
          <a:xfrm>
            <a:off x="388938" y="2817813"/>
            <a:ext cx="844550" cy="841375"/>
            <a:chOff x="388938" y="2806700"/>
            <a:chExt cx="844550" cy="841375"/>
          </a:xfrm>
        </p:grpSpPr>
        <p:sp>
          <p:nvSpPr>
            <p:cNvPr id="8" name="AutoShape 8">
              <a:extLst>
                <a:ext uri="{FF2B5EF4-FFF2-40B4-BE49-F238E27FC236}">
                  <a16:creationId xmlns:a16="http://schemas.microsoft.com/office/drawing/2014/main" id="{BE53DAF9-2D88-4A9E-8F11-467A5432E6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938" y="28067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Oval 10">
              <a:extLst>
                <a:ext uri="{FF2B5EF4-FFF2-40B4-BE49-F238E27FC236}">
                  <a16:creationId xmlns:a16="http://schemas.microsoft.com/office/drawing/2014/main" id="{66B332E5-FE31-43BE-ABE9-20043DB084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8" y="2809875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1F12B96E-F757-4DD0-8D04-E3843672A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3" y="2838450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85051A11-54F4-445B-8AD1-520D6F13E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63" y="3027363"/>
              <a:ext cx="471488" cy="400050"/>
            </a:xfrm>
            <a:custGeom>
              <a:avLst/>
              <a:gdLst>
                <a:gd name="T0" fmla="*/ 113 w 116"/>
                <a:gd name="T1" fmla="*/ 2 h 100"/>
                <a:gd name="T2" fmla="*/ 98 w 116"/>
                <a:gd name="T3" fmla="*/ 8 h 100"/>
                <a:gd name="T4" fmla="*/ 80 w 116"/>
                <a:gd name="T5" fmla="*/ 0 h 100"/>
                <a:gd name="T6" fmla="*/ 57 w 116"/>
                <a:gd name="T7" fmla="*/ 25 h 100"/>
                <a:gd name="T8" fmla="*/ 57 w 116"/>
                <a:gd name="T9" fmla="*/ 31 h 100"/>
                <a:gd name="T10" fmla="*/ 8 w 116"/>
                <a:gd name="T11" fmla="*/ 5 h 100"/>
                <a:gd name="T12" fmla="*/ 5 w 116"/>
                <a:gd name="T13" fmla="*/ 17 h 100"/>
                <a:gd name="T14" fmla="*/ 15 w 116"/>
                <a:gd name="T15" fmla="*/ 38 h 100"/>
                <a:gd name="T16" fmla="*/ 4 w 116"/>
                <a:gd name="T17" fmla="*/ 35 h 100"/>
                <a:gd name="T18" fmla="*/ 4 w 116"/>
                <a:gd name="T19" fmla="*/ 36 h 100"/>
                <a:gd name="T20" fmla="*/ 24 w 116"/>
                <a:gd name="T21" fmla="*/ 60 h 100"/>
                <a:gd name="T22" fmla="*/ 17 w 116"/>
                <a:gd name="T23" fmla="*/ 61 h 100"/>
                <a:gd name="T24" fmla="*/ 13 w 116"/>
                <a:gd name="T25" fmla="*/ 61 h 100"/>
                <a:gd name="T26" fmla="*/ 35 w 116"/>
                <a:gd name="T27" fmla="*/ 78 h 100"/>
                <a:gd name="T28" fmla="*/ 6 w 116"/>
                <a:gd name="T29" fmla="*/ 89 h 100"/>
                <a:gd name="T30" fmla="*/ 0 w 116"/>
                <a:gd name="T31" fmla="*/ 89 h 100"/>
                <a:gd name="T32" fmla="*/ 36 w 116"/>
                <a:gd name="T33" fmla="*/ 100 h 100"/>
                <a:gd name="T34" fmla="*/ 104 w 116"/>
                <a:gd name="T35" fmla="*/ 28 h 100"/>
                <a:gd name="T36" fmla="*/ 104 w 116"/>
                <a:gd name="T37" fmla="*/ 25 h 100"/>
                <a:gd name="T38" fmla="*/ 116 w 116"/>
                <a:gd name="T39" fmla="*/ 12 h 100"/>
                <a:gd name="T40" fmla="*/ 102 w 116"/>
                <a:gd name="T41" fmla="*/ 16 h 100"/>
                <a:gd name="T42" fmla="*/ 113 w 116"/>
                <a:gd name="T43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00">
                  <a:moveTo>
                    <a:pt x="113" y="2"/>
                  </a:moveTo>
                  <a:cubicBezTo>
                    <a:pt x="108" y="5"/>
                    <a:pt x="103" y="7"/>
                    <a:pt x="98" y="8"/>
                  </a:cubicBezTo>
                  <a:cubicBezTo>
                    <a:pt x="93" y="3"/>
                    <a:pt x="87" y="0"/>
                    <a:pt x="80" y="0"/>
                  </a:cubicBezTo>
                  <a:cubicBezTo>
                    <a:pt x="67" y="0"/>
                    <a:pt x="57" y="11"/>
                    <a:pt x="57" y="25"/>
                  </a:cubicBezTo>
                  <a:cubicBezTo>
                    <a:pt x="57" y="27"/>
                    <a:pt x="57" y="29"/>
                    <a:pt x="57" y="31"/>
                  </a:cubicBezTo>
                  <a:cubicBezTo>
                    <a:pt x="37" y="30"/>
                    <a:pt x="20" y="20"/>
                    <a:pt x="8" y="5"/>
                  </a:cubicBezTo>
                  <a:cubicBezTo>
                    <a:pt x="6" y="8"/>
                    <a:pt x="5" y="13"/>
                    <a:pt x="5" y="17"/>
                  </a:cubicBezTo>
                  <a:cubicBezTo>
                    <a:pt x="5" y="26"/>
                    <a:pt x="9" y="34"/>
                    <a:pt x="15" y="38"/>
                  </a:cubicBezTo>
                  <a:cubicBezTo>
                    <a:pt x="11" y="38"/>
                    <a:pt x="8" y="37"/>
                    <a:pt x="4" y="35"/>
                  </a:cubicBezTo>
                  <a:cubicBezTo>
                    <a:pt x="4" y="35"/>
                    <a:pt x="4" y="35"/>
                    <a:pt x="4" y="36"/>
                  </a:cubicBezTo>
                  <a:cubicBezTo>
                    <a:pt x="4" y="48"/>
                    <a:pt x="13" y="58"/>
                    <a:pt x="24" y="60"/>
                  </a:cubicBezTo>
                  <a:cubicBezTo>
                    <a:pt x="22" y="61"/>
                    <a:pt x="20" y="61"/>
                    <a:pt x="17" y="61"/>
                  </a:cubicBezTo>
                  <a:cubicBezTo>
                    <a:pt x="16" y="61"/>
                    <a:pt x="14" y="61"/>
                    <a:pt x="13" y="61"/>
                  </a:cubicBezTo>
                  <a:cubicBezTo>
                    <a:pt x="16" y="71"/>
                    <a:pt x="25" y="78"/>
                    <a:pt x="35" y="78"/>
                  </a:cubicBezTo>
                  <a:cubicBezTo>
                    <a:pt x="27" y="85"/>
                    <a:pt x="17" y="89"/>
                    <a:pt x="6" y="89"/>
                  </a:cubicBezTo>
                  <a:cubicBezTo>
                    <a:pt x="4" y="89"/>
                    <a:pt x="2" y="89"/>
                    <a:pt x="0" y="89"/>
                  </a:cubicBezTo>
                  <a:cubicBezTo>
                    <a:pt x="10" y="96"/>
                    <a:pt x="23" y="100"/>
                    <a:pt x="36" y="100"/>
                  </a:cubicBezTo>
                  <a:cubicBezTo>
                    <a:pt x="80" y="100"/>
                    <a:pt x="104" y="62"/>
                    <a:pt x="104" y="28"/>
                  </a:cubicBezTo>
                  <a:cubicBezTo>
                    <a:pt x="104" y="27"/>
                    <a:pt x="104" y="26"/>
                    <a:pt x="104" y="25"/>
                  </a:cubicBezTo>
                  <a:cubicBezTo>
                    <a:pt x="109" y="21"/>
                    <a:pt x="113" y="17"/>
                    <a:pt x="116" y="12"/>
                  </a:cubicBezTo>
                  <a:cubicBezTo>
                    <a:pt x="112" y="14"/>
                    <a:pt x="107" y="15"/>
                    <a:pt x="102" y="16"/>
                  </a:cubicBezTo>
                  <a:cubicBezTo>
                    <a:pt x="107" y="13"/>
                    <a:pt x="111" y="8"/>
                    <a:pt x="11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DAB51B28-EA90-46FB-B60A-F2831B2C2A14}"/>
              </a:ext>
            </a:extLst>
          </p:cNvPr>
          <p:cNvGrpSpPr/>
          <p:nvPr/>
        </p:nvGrpSpPr>
        <p:grpSpPr>
          <a:xfrm>
            <a:off x="388938" y="280988"/>
            <a:ext cx="844550" cy="841375"/>
            <a:chOff x="388938" y="280988"/>
            <a:chExt cx="844550" cy="841375"/>
          </a:xfrm>
        </p:grpSpPr>
        <p:sp>
          <p:nvSpPr>
            <p:cNvPr id="338" name="AutoShape 265">
              <a:extLst>
                <a:ext uri="{FF2B5EF4-FFF2-40B4-BE49-F238E27FC236}">
                  <a16:creationId xmlns:a16="http://schemas.microsoft.com/office/drawing/2014/main" id="{C1200CD6-F8AB-48A1-ACC0-5773371AB24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938" y="280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267">
              <a:extLst>
                <a:ext uri="{FF2B5EF4-FFF2-40B4-BE49-F238E27FC236}">
                  <a16:creationId xmlns:a16="http://schemas.microsoft.com/office/drawing/2014/main" id="{59833B0D-522D-4F0A-82B9-396062919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8" y="2841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268">
              <a:extLst>
                <a:ext uri="{FF2B5EF4-FFF2-40B4-BE49-F238E27FC236}">
                  <a16:creationId xmlns:a16="http://schemas.microsoft.com/office/drawing/2014/main" id="{BC3BFD91-3090-46CC-920A-C8CED37A89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3" y="3127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Oval 269">
              <a:extLst>
                <a:ext uri="{FF2B5EF4-FFF2-40B4-BE49-F238E27FC236}">
                  <a16:creationId xmlns:a16="http://schemas.microsoft.com/office/drawing/2014/main" id="{750984A2-73E6-4E3C-9226-701427B82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76" y="554038"/>
              <a:ext cx="57150" cy="55563"/>
            </a:xfrm>
            <a:prstGeom prst="ellips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270">
              <a:extLst>
                <a:ext uri="{FF2B5EF4-FFF2-40B4-BE49-F238E27FC236}">
                  <a16:creationId xmlns:a16="http://schemas.microsoft.com/office/drawing/2014/main" id="{E06C72C3-EA5A-4365-B818-5DCB47AED3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738" y="585788"/>
              <a:ext cx="234950" cy="231775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46 h 58"/>
                <a:gd name="T12" fmla="*/ 12 w 58"/>
                <a:gd name="T13" fmla="*/ 29 h 58"/>
                <a:gd name="T14" fmla="*/ 29 w 58"/>
                <a:gd name="T15" fmla="*/ 12 h 58"/>
                <a:gd name="T16" fmla="*/ 46 w 58"/>
                <a:gd name="T17" fmla="*/ 29 h 58"/>
                <a:gd name="T18" fmla="*/ 29 w 58"/>
                <a:gd name="T19" fmla="*/ 4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46"/>
                  </a:moveTo>
                  <a:cubicBezTo>
                    <a:pt x="20" y="46"/>
                    <a:pt x="12" y="38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38" y="12"/>
                    <a:pt x="46" y="20"/>
                    <a:pt x="46" y="29"/>
                  </a:cubicBezTo>
                  <a:cubicBezTo>
                    <a:pt x="46" y="38"/>
                    <a:pt x="38" y="46"/>
                    <a:pt x="29" y="46"/>
                  </a:cubicBezTo>
                  <a:close/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271">
              <a:extLst>
                <a:ext uri="{FF2B5EF4-FFF2-40B4-BE49-F238E27FC236}">
                  <a16:creationId xmlns:a16="http://schemas.microsoft.com/office/drawing/2014/main" id="{CB736489-5E4E-479E-B68B-995ECCEA26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8" y="473076"/>
              <a:ext cx="463550" cy="457200"/>
            </a:xfrm>
            <a:custGeom>
              <a:avLst/>
              <a:gdLst>
                <a:gd name="T0" fmla="*/ 85 w 114"/>
                <a:gd name="T1" fmla="*/ 0 h 114"/>
                <a:gd name="T2" fmla="*/ 29 w 114"/>
                <a:gd name="T3" fmla="*/ 0 h 114"/>
                <a:gd name="T4" fmla="*/ 0 w 114"/>
                <a:gd name="T5" fmla="*/ 29 h 114"/>
                <a:gd name="T6" fmla="*/ 0 w 114"/>
                <a:gd name="T7" fmla="*/ 85 h 114"/>
                <a:gd name="T8" fmla="*/ 29 w 114"/>
                <a:gd name="T9" fmla="*/ 114 h 114"/>
                <a:gd name="T10" fmla="*/ 85 w 114"/>
                <a:gd name="T11" fmla="*/ 114 h 114"/>
                <a:gd name="T12" fmla="*/ 114 w 114"/>
                <a:gd name="T13" fmla="*/ 85 h 114"/>
                <a:gd name="T14" fmla="*/ 114 w 114"/>
                <a:gd name="T15" fmla="*/ 29 h 114"/>
                <a:gd name="T16" fmla="*/ 85 w 114"/>
                <a:gd name="T17" fmla="*/ 0 h 114"/>
                <a:gd name="T18" fmla="*/ 102 w 114"/>
                <a:gd name="T19" fmla="*/ 85 h 114"/>
                <a:gd name="T20" fmla="*/ 85 w 114"/>
                <a:gd name="T21" fmla="*/ 102 h 114"/>
                <a:gd name="T22" fmla="*/ 29 w 114"/>
                <a:gd name="T23" fmla="*/ 102 h 114"/>
                <a:gd name="T24" fmla="*/ 12 w 114"/>
                <a:gd name="T25" fmla="*/ 85 h 114"/>
                <a:gd name="T26" fmla="*/ 12 w 114"/>
                <a:gd name="T27" fmla="*/ 29 h 114"/>
                <a:gd name="T28" fmla="*/ 29 w 114"/>
                <a:gd name="T29" fmla="*/ 12 h 114"/>
                <a:gd name="T30" fmla="*/ 85 w 114"/>
                <a:gd name="T31" fmla="*/ 12 h 114"/>
                <a:gd name="T32" fmla="*/ 102 w 114"/>
                <a:gd name="T33" fmla="*/ 29 h 114"/>
                <a:gd name="T34" fmla="*/ 102 w 114"/>
                <a:gd name="T3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4">
                  <a:moveTo>
                    <a:pt x="85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01"/>
                    <a:pt x="13" y="114"/>
                    <a:pt x="29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101" y="114"/>
                    <a:pt x="114" y="101"/>
                    <a:pt x="114" y="85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14" y="13"/>
                    <a:pt x="101" y="0"/>
                    <a:pt x="85" y="0"/>
                  </a:cubicBezTo>
                  <a:close/>
                  <a:moveTo>
                    <a:pt x="102" y="85"/>
                  </a:moveTo>
                  <a:cubicBezTo>
                    <a:pt x="102" y="94"/>
                    <a:pt x="94" y="102"/>
                    <a:pt x="85" y="102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0" y="102"/>
                    <a:pt x="12" y="94"/>
                    <a:pt x="12" y="85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4" y="12"/>
                    <a:pt x="102" y="20"/>
                    <a:pt x="102" y="29"/>
                  </a:cubicBezTo>
                  <a:lnTo>
                    <a:pt x="102" y="85"/>
                  </a:lnTo>
                  <a:close/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8EBC286C-F225-47DB-A428-C953296E8F4E}"/>
              </a:ext>
            </a:extLst>
          </p:cNvPr>
          <p:cNvGrpSpPr/>
          <p:nvPr/>
        </p:nvGrpSpPr>
        <p:grpSpPr>
          <a:xfrm>
            <a:off x="1422400" y="317501"/>
            <a:ext cx="758825" cy="766763"/>
            <a:chOff x="1422400" y="317501"/>
            <a:chExt cx="758825" cy="766763"/>
          </a:xfrm>
        </p:grpSpPr>
        <p:sp>
          <p:nvSpPr>
            <p:cNvPr id="346" name="AutoShape 273">
              <a:extLst>
                <a:ext uri="{FF2B5EF4-FFF2-40B4-BE49-F238E27FC236}">
                  <a16:creationId xmlns:a16="http://schemas.microsoft.com/office/drawing/2014/main" id="{97D0F3CF-69AF-498F-8F10-745E8C94311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2400" y="3222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275">
              <a:extLst>
                <a:ext uri="{FF2B5EF4-FFF2-40B4-BE49-F238E27FC236}">
                  <a16:creationId xmlns:a16="http://schemas.microsoft.com/office/drawing/2014/main" id="{19D9487F-8CC5-4039-A3E8-037C40F38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5575" y="31750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276">
              <a:extLst>
                <a:ext uri="{FF2B5EF4-FFF2-40B4-BE49-F238E27FC236}">
                  <a16:creationId xmlns:a16="http://schemas.microsoft.com/office/drawing/2014/main" id="{846801D8-FCC1-4F43-8F28-86F8A82C9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3888" y="555626"/>
              <a:ext cx="53975" cy="55563"/>
            </a:xfrm>
            <a:prstGeom prst="ellipse">
              <a:avLst/>
            </a:pr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277">
              <a:extLst>
                <a:ext uri="{FF2B5EF4-FFF2-40B4-BE49-F238E27FC236}">
                  <a16:creationId xmlns:a16="http://schemas.microsoft.com/office/drawing/2014/main" id="{D0E217C9-B1B2-4A5B-ACD5-009A625919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0688" y="587376"/>
              <a:ext cx="225425" cy="228600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46 h 58"/>
                <a:gd name="T12" fmla="*/ 12 w 58"/>
                <a:gd name="T13" fmla="*/ 29 h 58"/>
                <a:gd name="T14" fmla="*/ 29 w 58"/>
                <a:gd name="T15" fmla="*/ 12 h 58"/>
                <a:gd name="T16" fmla="*/ 46 w 58"/>
                <a:gd name="T17" fmla="*/ 29 h 58"/>
                <a:gd name="T18" fmla="*/ 29 w 58"/>
                <a:gd name="T19" fmla="*/ 4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46"/>
                  </a:moveTo>
                  <a:cubicBezTo>
                    <a:pt x="20" y="46"/>
                    <a:pt x="12" y="38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38" y="12"/>
                    <a:pt x="46" y="20"/>
                    <a:pt x="46" y="29"/>
                  </a:cubicBezTo>
                  <a:cubicBezTo>
                    <a:pt x="46" y="38"/>
                    <a:pt x="38" y="46"/>
                    <a:pt x="29" y="46"/>
                  </a:cubicBezTo>
                  <a:close/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278">
              <a:extLst>
                <a:ext uri="{FF2B5EF4-FFF2-40B4-BE49-F238E27FC236}">
                  <a16:creationId xmlns:a16="http://schemas.microsoft.com/office/drawing/2014/main" id="{FF915D4E-61B0-4448-BDE2-93683AC80D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38" y="476251"/>
              <a:ext cx="442913" cy="450850"/>
            </a:xfrm>
            <a:custGeom>
              <a:avLst/>
              <a:gdLst>
                <a:gd name="T0" fmla="*/ 85 w 114"/>
                <a:gd name="T1" fmla="*/ 0 h 114"/>
                <a:gd name="T2" fmla="*/ 29 w 114"/>
                <a:gd name="T3" fmla="*/ 0 h 114"/>
                <a:gd name="T4" fmla="*/ 0 w 114"/>
                <a:gd name="T5" fmla="*/ 29 h 114"/>
                <a:gd name="T6" fmla="*/ 0 w 114"/>
                <a:gd name="T7" fmla="*/ 85 h 114"/>
                <a:gd name="T8" fmla="*/ 29 w 114"/>
                <a:gd name="T9" fmla="*/ 114 h 114"/>
                <a:gd name="T10" fmla="*/ 85 w 114"/>
                <a:gd name="T11" fmla="*/ 114 h 114"/>
                <a:gd name="T12" fmla="*/ 114 w 114"/>
                <a:gd name="T13" fmla="*/ 85 h 114"/>
                <a:gd name="T14" fmla="*/ 114 w 114"/>
                <a:gd name="T15" fmla="*/ 29 h 114"/>
                <a:gd name="T16" fmla="*/ 85 w 114"/>
                <a:gd name="T17" fmla="*/ 0 h 114"/>
                <a:gd name="T18" fmla="*/ 102 w 114"/>
                <a:gd name="T19" fmla="*/ 85 h 114"/>
                <a:gd name="T20" fmla="*/ 85 w 114"/>
                <a:gd name="T21" fmla="*/ 102 h 114"/>
                <a:gd name="T22" fmla="*/ 29 w 114"/>
                <a:gd name="T23" fmla="*/ 102 h 114"/>
                <a:gd name="T24" fmla="*/ 12 w 114"/>
                <a:gd name="T25" fmla="*/ 85 h 114"/>
                <a:gd name="T26" fmla="*/ 12 w 114"/>
                <a:gd name="T27" fmla="*/ 29 h 114"/>
                <a:gd name="T28" fmla="*/ 29 w 114"/>
                <a:gd name="T29" fmla="*/ 12 h 114"/>
                <a:gd name="T30" fmla="*/ 85 w 114"/>
                <a:gd name="T31" fmla="*/ 12 h 114"/>
                <a:gd name="T32" fmla="*/ 102 w 114"/>
                <a:gd name="T33" fmla="*/ 29 h 114"/>
                <a:gd name="T34" fmla="*/ 102 w 114"/>
                <a:gd name="T3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4">
                  <a:moveTo>
                    <a:pt x="85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01"/>
                    <a:pt x="13" y="114"/>
                    <a:pt x="29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101" y="114"/>
                    <a:pt x="114" y="101"/>
                    <a:pt x="114" y="85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14" y="13"/>
                    <a:pt x="101" y="0"/>
                    <a:pt x="85" y="0"/>
                  </a:cubicBezTo>
                  <a:close/>
                  <a:moveTo>
                    <a:pt x="102" y="85"/>
                  </a:moveTo>
                  <a:cubicBezTo>
                    <a:pt x="102" y="94"/>
                    <a:pt x="94" y="102"/>
                    <a:pt x="85" y="102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0" y="102"/>
                    <a:pt x="12" y="94"/>
                    <a:pt x="12" y="85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4" y="12"/>
                    <a:pt x="102" y="20"/>
                    <a:pt x="102" y="29"/>
                  </a:cubicBezTo>
                  <a:lnTo>
                    <a:pt x="102" y="85"/>
                  </a:lnTo>
                  <a:close/>
                </a:path>
              </a:pathLst>
            </a:custGeom>
            <a:noFill/>
            <a:ln w="12700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9" name="Group 358">
            <a:extLst>
              <a:ext uri="{FF2B5EF4-FFF2-40B4-BE49-F238E27FC236}">
                <a16:creationId xmlns:a16="http://schemas.microsoft.com/office/drawing/2014/main" id="{0F59A8A3-2A77-4BB7-90F5-C33CEE1AFBFA}"/>
              </a:ext>
            </a:extLst>
          </p:cNvPr>
          <p:cNvGrpSpPr/>
          <p:nvPr/>
        </p:nvGrpSpPr>
        <p:grpSpPr>
          <a:xfrm>
            <a:off x="2598738" y="280988"/>
            <a:ext cx="844550" cy="841375"/>
            <a:chOff x="2598738" y="280988"/>
            <a:chExt cx="844550" cy="841375"/>
          </a:xfrm>
        </p:grpSpPr>
        <p:sp>
          <p:nvSpPr>
            <p:cNvPr id="353" name="AutoShape 280">
              <a:extLst>
                <a:ext uri="{FF2B5EF4-FFF2-40B4-BE49-F238E27FC236}">
                  <a16:creationId xmlns:a16="http://schemas.microsoft.com/office/drawing/2014/main" id="{110278FA-2F14-4243-BEA9-87BE3F62B81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8738" y="280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Oval 282">
              <a:extLst>
                <a:ext uri="{FF2B5EF4-FFF2-40B4-BE49-F238E27FC236}">
                  <a16:creationId xmlns:a16="http://schemas.microsoft.com/office/drawing/2014/main" id="{E94DCBED-68BC-4213-A4EC-B78B74EB7C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8738" y="2841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283">
              <a:extLst>
                <a:ext uri="{FF2B5EF4-FFF2-40B4-BE49-F238E27FC236}">
                  <a16:creationId xmlns:a16="http://schemas.microsoft.com/office/drawing/2014/main" id="{B8258B40-7AEF-4701-9300-F9DA83C0F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7313" y="3127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Oval 284">
              <a:extLst>
                <a:ext uri="{FF2B5EF4-FFF2-40B4-BE49-F238E27FC236}">
                  <a16:creationId xmlns:a16="http://schemas.microsoft.com/office/drawing/2014/main" id="{383026A9-5866-4422-B942-3D6793C57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4676" y="554038"/>
              <a:ext cx="57150" cy="555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285">
              <a:extLst>
                <a:ext uri="{FF2B5EF4-FFF2-40B4-BE49-F238E27FC236}">
                  <a16:creationId xmlns:a16="http://schemas.microsoft.com/office/drawing/2014/main" id="{E33AD870-CD7D-4F4F-8037-5FD56EB355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3538" y="585788"/>
              <a:ext cx="234950" cy="231775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46 h 58"/>
                <a:gd name="T12" fmla="*/ 12 w 58"/>
                <a:gd name="T13" fmla="*/ 29 h 58"/>
                <a:gd name="T14" fmla="*/ 29 w 58"/>
                <a:gd name="T15" fmla="*/ 12 h 58"/>
                <a:gd name="T16" fmla="*/ 46 w 58"/>
                <a:gd name="T17" fmla="*/ 29 h 58"/>
                <a:gd name="T18" fmla="*/ 29 w 58"/>
                <a:gd name="T19" fmla="*/ 4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46"/>
                  </a:moveTo>
                  <a:cubicBezTo>
                    <a:pt x="20" y="46"/>
                    <a:pt x="12" y="38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38" y="12"/>
                    <a:pt x="46" y="20"/>
                    <a:pt x="46" y="29"/>
                  </a:cubicBezTo>
                  <a:cubicBezTo>
                    <a:pt x="46" y="38"/>
                    <a:pt x="38" y="46"/>
                    <a:pt x="29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286">
              <a:extLst>
                <a:ext uri="{FF2B5EF4-FFF2-40B4-BE49-F238E27FC236}">
                  <a16:creationId xmlns:a16="http://schemas.microsoft.com/office/drawing/2014/main" id="{57E3E177-2914-46A8-825C-6D457A89F3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473076"/>
              <a:ext cx="463550" cy="457200"/>
            </a:xfrm>
            <a:custGeom>
              <a:avLst/>
              <a:gdLst>
                <a:gd name="T0" fmla="*/ 85 w 114"/>
                <a:gd name="T1" fmla="*/ 0 h 114"/>
                <a:gd name="T2" fmla="*/ 29 w 114"/>
                <a:gd name="T3" fmla="*/ 0 h 114"/>
                <a:gd name="T4" fmla="*/ 0 w 114"/>
                <a:gd name="T5" fmla="*/ 29 h 114"/>
                <a:gd name="T6" fmla="*/ 0 w 114"/>
                <a:gd name="T7" fmla="*/ 85 h 114"/>
                <a:gd name="T8" fmla="*/ 29 w 114"/>
                <a:gd name="T9" fmla="*/ 114 h 114"/>
                <a:gd name="T10" fmla="*/ 85 w 114"/>
                <a:gd name="T11" fmla="*/ 114 h 114"/>
                <a:gd name="T12" fmla="*/ 114 w 114"/>
                <a:gd name="T13" fmla="*/ 85 h 114"/>
                <a:gd name="T14" fmla="*/ 114 w 114"/>
                <a:gd name="T15" fmla="*/ 29 h 114"/>
                <a:gd name="T16" fmla="*/ 85 w 114"/>
                <a:gd name="T17" fmla="*/ 0 h 114"/>
                <a:gd name="T18" fmla="*/ 102 w 114"/>
                <a:gd name="T19" fmla="*/ 85 h 114"/>
                <a:gd name="T20" fmla="*/ 85 w 114"/>
                <a:gd name="T21" fmla="*/ 102 h 114"/>
                <a:gd name="T22" fmla="*/ 29 w 114"/>
                <a:gd name="T23" fmla="*/ 102 h 114"/>
                <a:gd name="T24" fmla="*/ 12 w 114"/>
                <a:gd name="T25" fmla="*/ 85 h 114"/>
                <a:gd name="T26" fmla="*/ 12 w 114"/>
                <a:gd name="T27" fmla="*/ 29 h 114"/>
                <a:gd name="T28" fmla="*/ 29 w 114"/>
                <a:gd name="T29" fmla="*/ 12 h 114"/>
                <a:gd name="T30" fmla="*/ 85 w 114"/>
                <a:gd name="T31" fmla="*/ 12 h 114"/>
                <a:gd name="T32" fmla="*/ 102 w 114"/>
                <a:gd name="T33" fmla="*/ 29 h 114"/>
                <a:gd name="T34" fmla="*/ 102 w 114"/>
                <a:gd name="T3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4">
                  <a:moveTo>
                    <a:pt x="85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01"/>
                    <a:pt x="13" y="114"/>
                    <a:pt x="29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101" y="114"/>
                    <a:pt x="114" y="101"/>
                    <a:pt x="114" y="85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14" y="13"/>
                    <a:pt x="101" y="0"/>
                    <a:pt x="85" y="0"/>
                  </a:cubicBezTo>
                  <a:close/>
                  <a:moveTo>
                    <a:pt x="102" y="85"/>
                  </a:moveTo>
                  <a:cubicBezTo>
                    <a:pt x="102" y="94"/>
                    <a:pt x="94" y="102"/>
                    <a:pt x="85" y="102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0" y="102"/>
                    <a:pt x="12" y="94"/>
                    <a:pt x="12" y="85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4" y="12"/>
                    <a:pt x="102" y="20"/>
                    <a:pt x="102" y="29"/>
                  </a:cubicBezTo>
                  <a:lnTo>
                    <a:pt x="102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6" name="Group 365">
            <a:extLst>
              <a:ext uri="{FF2B5EF4-FFF2-40B4-BE49-F238E27FC236}">
                <a16:creationId xmlns:a16="http://schemas.microsoft.com/office/drawing/2014/main" id="{F03CF109-F553-4428-B27D-CCED75AE4BC5}"/>
              </a:ext>
            </a:extLst>
          </p:cNvPr>
          <p:cNvGrpSpPr/>
          <p:nvPr/>
        </p:nvGrpSpPr>
        <p:grpSpPr>
          <a:xfrm>
            <a:off x="3614738" y="317501"/>
            <a:ext cx="758825" cy="766763"/>
            <a:chOff x="3614738" y="317501"/>
            <a:chExt cx="758825" cy="766763"/>
          </a:xfrm>
        </p:grpSpPr>
        <p:sp>
          <p:nvSpPr>
            <p:cNvPr id="361" name="AutoShape 288">
              <a:extLst>
                <a:ext uri="{FF2B5EF4-FFF2-40B4-BE49-F238E27FC236}">
                  <a16:creationId xmlns:a16="http://schemas.microsoft.com/office/drawing/2014/main" id="{28AEBF8A-44A7-4585-A766-77BBC4DA56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4738" y="3222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290">
              <a:extLst>
                <a:ext uri="{FF2B5EF4-FFF2-40B4-BE49-F238E27FC236}">
                  <a16:creationId xmlns:a16="http://schemas.microsoft.com/office/drawing/2014/main" id="{B5513F3F-BDC8-437A-A9E4-0DD5EDB7F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7913" y="31750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Oval 291">
              <a:extLst>
                <a:ext uri="{FF2B5EF4-FFF2-40B4-BE49-F238E27FC236}">
                  <a16:creationId xmlns:a16="http://schemas.microsoft.com/office/drawing/2014/main" id="{060C3830-C4D0-4E9D-B5EC-8F05A56BA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6226" y="555626"/>
              <a:ext cx="53975" cy="55563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292">
              <a:extLst>
                <a:ext uri="{FF2B5EF4-FFF2-40B4-BE49-F238E27FC236}">
                  <a16:creationId xmlns:a16="http://schemas.microsoft.com/office/drawing/2014/main" id="{D16D5FA5-F3D1-46A2-BF67-A2BDFD5C4C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3026" y="587376"/>
              <a:ext cx="225425" cy="228600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46 h 58"/>
                <a:gd name="T12" fmla="*/ 12 w 58"/>
                <a:gd name="T13" fmla="*/ 29 h 58"/>
                <a:gd name="T14" fmla="*/ 29 w 58"/>
                <a:gd name="T15" fmla="*/ 12 h 58"/>
                <a:gd name="T16" fmla="*/ 46 w 58"/>
                <a:gd name="T17" fmla="*/ 29 h 58"/>
                <a:gd name="T18" fmla="*/ 29 w 58"/>
                <a:gd name="T19" fmla="*/ 4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46"/>
                  </a:moveTo>
                  <a:cubicBezTo>
                    <a:pt x="20" y="46"/>
                    <a:pt x="12" y="38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38" y="12"/>
                    <a:pt x="46" y="20"/>
                    <a:pt x="46" y="29"/>
                  </a:cubicBezTo>
                  <a:cubicBezTo>
                    <a:pt x="46" y="38"/>
                    <a:pt x="38" y="46"/>
                    <a:pt x="29" y="4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293">
              <a:extLst>
                <a:ext uri="{FF2B5EF4-FFF2-40B4-BE49-F238E27FC236}">
                  <a16:creationId xmlns:a16="http://schemas.microsoft.com/office/drawing/2014/main" id="{8D8A9F4A-7664-4D48-BECC-BF0AE83907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6" y="476251"/>
              <a:ext cx="442913" cy="450850"/>
            </a:xfrm>
            <a:custGeom>
              <a:avLst/>
              <a:gdLst>
                <a:gd name="T0" fmla="*/ 85 w 114"/>
                <a:gd name="T1" fmla="*/ 0 h 114"/>
                <a:gd name="T2" fmla="*/ 29 w 114"/>
                <a:gd name="T3" fmla="*/ 0 h 114"/>
                <a:gd name="T4" fmla="*/ 0 w 114"/>
                <a:gd name="T5" fmla="*/ 29 h 114"/>
                <a:gd name="T6" fmla="*/ 0 w 114"/>
                <a:gd name="T7" fmla="*/ 85 h 114"/>
                <a:gd name="T8" fmla="*/ 29 w 114"/>
                <a:gd name="T9" fmla="*/ 114 h 114"/>
                <a:gd name="T10" fmla="*/ 85 w 114"/>
                <a:gd name="T11" fmla="*/ 114 h 114"/>
                <a:gd name="T12" fmla="*/ 114 w 114"/>
                <a:gd name="T13" fmla="*/ 85 h 114"/>
                <a:gd name="T14" fmla="*/ 114 w 114"/>
                <a:gd name="T15" fmla="*/ 29 h 114"/>
                <a:gd name="T16" fmla="*/ 85 w 114"/>
                <a:gd name="T17" fmla="*/ 0 h 114"/>
                <a:gd name="T18" fmla="*/ 102 w 114"/>
                <a:gd name="T19" fmla="*/ 85 h 114"/>
                <a:gd name="T20" fmla="*/ 85 w 114"/>
                <a:gd name="T21" fmla="*/ 102 h 114"/>
                <a:gd name="T22" fmla="*/ 29 w 114"/>
                <a:gd name="T23" fmla="*/ 102 h 114"/>
                <a:gd name="T24" fmla="*/ 12 w 114"/>
                <a:gd name="T25" fmla="*/ 85 h 114"/>
                <a:gd name="T26" fmla="*/ 12 w 114"/>
                <a:gd name="T27" fmla="*/ 29 h 114"/>
                <a:gd name="T28" fmla="*/ 29 w 114"/>
                <a:gd name="T29" fmla="*/ 12 h 114"/>
                <a:gd name="T30" fmla="*/ 85 w 114"/>
                <a:gd name="T31" fmla="*/ 12 h 114"/>
                <a:gd name="T32" fmla="*/ 102 w 114"/>
                <a:gd name="T33" fmla="*/ 29 h 114"/>
                <a:gd name="T34" fmla="*/ 102 w 114"/>
                <a:gd name="T3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4">
                  <a:moveTo>
                    <a:pt x="85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01"/>
                    <a:pt x="13" y="114"/>
                    <a:pt x="29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101" y="114"/>
                    <a:pt x="114" y="101"/>
                    <a:pt x="114" y="85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14" y="13"/>
                    <a:pt x="101" y="0"/>
                    <a:pt x="85" y="0"/>
                  </a:cubicBezTo>
                  <a:close/>
                  <a:moveTo>
                    <a:pt x="102" y="85"/>
                  </a:moveTo>
                  <a:cubicBezTo>
                    <a:pt x="102" y="94"/>
                    <a:pt x="94" y="102"/>
                    <a:pt x="85" y="102"/>
                  </a:cubicBezTo>
                  <a:cubicBezTo>
                    <a:pt x="29" y="102"/>
                    <a:pt x="29" y="102"/>
                    <a:pt x="29" y="102"/>
                  </a:cubicBezTo>
                  <a:cubicBezTo>
                    <a:pt x="20" y="102"/>
                    <a:pt x="12" y="94"/>
                    <a:pt x="12" y="85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0"/>
                    <a:pt x="20" y="12"/>
                    <a:pt x="29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4" y="12"/>
                    <a:pt x="102" y="20"/>
                    <a:pt x="102" y="29"/>
                  </a:cubicBezTo>
                  <a:lnTo>
                    <a:pt x="102" y="8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46286627-323C-440D-8575-785BA662FD8C}"/>
              </a:ext>
            </a:extLst>
          </p:cNvPr>
          <p:cNvGrpSpPr/>
          <p:nvPr/>
        </p:nvGrpSpPr>
        <p:grpSpPr>
          <a:xfrm>
            <a:off x="4767263" y="280988"/>
            <a:ext cx="844550" cy="841375"/>
            <a:chOff x="4767263" y="280988"/>
            <a:chExt cx="844550" cy="841375"/>
          </a:xfrm>
        </p:grpSpPr>
        <p:sp>
          <p:nvSpPr>
            <p:cNvPr id="368" name="AutoShape 295">
              <a:extLst>
                <a:ext uri="{FF2B5EF4-FFF2-40B4-BE49-F238E27FC236}">
                  <a16:creationId xmlns:a16="http://schemas.microsoft.com/office/drawing/2014/main" id="{FDD3B4CC-FEFA-4B48-99EA-C35838B532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7263" y="280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Oval 297">
              <a:extLst>
                <a:ext uri="{FF2B5EF4-FFF2-40B4-BE49-F238E27FC236}">
                  <a16:creationId xmlns:a16="http://schemas.microsoft.com/office/drawing/2014/main" id="{3C3224E0-CF14-4DA9-9D42-1E55EA535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263" y="2841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298">
              <a:extLst>
                <a:ext uri="{FF2B5EF4-FFF2-40B4-BE49-F238E27FC236}">
                  <a16:creationId xmlns:a16="http://schemas.microsoft.com/office/drawing/2014/main" id="{1731BF17-0A55-4817-B477-F9D625E34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3127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299">
              <a:extLst>
                <a:ext uri="{FF2B5EF4-FFF2-40B4-BE49-F238E27FC236}">
                  <a16:creationId xmlns:a16="http://schemas.microsoft.com/office/drawing/2014/main" id="{25AE688B-0A8C-4C5D-8661-6553F46CA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4588" y="569913"/>
              <a:ext cx="260350" cy="368300"/>
            </a:xfrm>
            <a:custGeom>
              <a:avLst/>
              <a:gdLst>
                <a:gd name="T0" fmla="*/ 0 w 64"/>
                <a:gd name="T1" fmla="*/ 22 h 92"/>
                <a:gd name="T2" fmla="*/ 0 w 64"/>
                <a:gd name="T3" fmla="*/ 19 h 92"/>
                <a:gd name="T4" fmla="*/ 0 w 64"/>
                <a:gd name="T5" fmla="*/ 9 h 92"/>
                <a:gd name="T6" fmla="*/ 1 w 64"/>
                <a:gd name="T7" fmla="*/ 5 h 92"/>
                <a:gd name="T8" fmla="*/ 8 w 64"/>
                <a:gd name="T9" fmla="*/ 0 h 92"/>
                <a:gd name="T10" fmla="*/ 11 w 64"/>
                <a:gd name="T11" fmla="*/ 0 h 92"/>
                <a:gd name="T12" fmla="*/ 17 w 64"/>
                <a:gd name="T13" fmla="*/ 6 h 92"/>
                <a:gd name="T14" fmla="*/ 18 w 64"/>
                <a:gd name="T15" fmla="*/ 15 h 92"/>
                <a:gd name="T16" fmla="*/ 18 w 64"/>
                <a:gd name="T17" fmla="*/ 30 h 92"/>
                <a:gd name="T18" fmla="*/ 18 w 64"/>
                <a:gd name="T19" fmla="*/ 31 h 92"/>
                <a:gd name="T20" fmla="*/ 23 w 64"/>
                <a:gd name="T21" fmla="*/ 29 h 92"/>
                <a:gd name="T22" fmla="*/ 60 w 64"/>
                <a:gd name="T23" fmla="*/ 52 h 92"/>
                <a:gd name="T24" fmla="*/ 38 w 64"/>
                <a:gd name="T25" fmla="*/ 88 h 92"/>
                <a:gd name="T26" fmla="*/ 1 w 64"/>
                <a:gd name="T27" fmla="*/ 67 h 92"/>
                <a:gd name="T28" fmla="*/ 0 w 64"/>
                <a:gd name="T29" fmla="*/ 58 h 92"/>
                <a:gd name="T30" fmla="*/ 0 w 64"/>
                <a:gd name="T31" fmla="*/ 45 h 92"/>
                <a:gd name="T32" fmla="*/ 0 w 64"/>
                <a:gd name="T33" fmla="*/ 44 h 92"/>
                <a:gd name="T34" fmla="*/ 0 w 64"/>
                <a:gd name="T35" fmla="*/ 22 h 92"/>
                <a:gd name="T36" fmla="*/ 31 w 64"/>
                <a:gd name="T37" fmla="*/ 46 h 92"/>
                <a:gd name="T38" fmla="*/ 18 w 64"/>
                <a:gd name="T39" fmla="*/ 58 h 92"/>
                <a:gd name="T40" fmla="*/ 30 w 64"/>
                <a:gd name="T41" fmla="*/ 71 h 92"/>
                <a:gd name="T42" fmla="*/ 43 w 64"/>
                <a:gd name="T43" fmla="*/ 59 h 92"/>
                <a:gd name="T44" fmla="*/ 31 w 64"/>
                <a:gd name="T45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92">
                  <a:moveTo>
                    <a:pt x="0" y="22"/>
                  </a:moveTo>
                  <a:cubicBezTo>
                    <a:pt x="0" y="21"/>
                    <a:pt x="0" y="20"/>
                    <a:pt x="0" y="19"/>
                  </a:cubicBezTo>
                  <a:cubicBezTo>
                    <a:pt x="0" y="16"/>
                    <a:pt x="0" y="12"/>
                    <a:pt x="0" y="9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2" y="2"/>
                    <a:pt x="4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5" y="1"/>
                    <a:pt x="16" y="3"/>
                    <a:pt x="17" y="6"/>
                  </a:cubicBezTo>
                  <a:cubicBezTo>
                    <a:pt x="18" y="9"/>
                    <a:pt x="18" y="12"/>
                    <a:pt x="18" y="15"/>
                  </a:cubicBezTo>
                  <a:cubicBezTo>
                    <a:pt x="18" y="20"/>
                    <a:pt x="18" y="25"/>
                    <a:pt x="18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20" y="30"/>
                    <a:pt x="22" y="30"/>
                    <a:pt x="23" y="29"/>
                  </a:cubicBezTo>
                  <a:cubicBezTo>
                    <a:pt x="41" y="25"/>
                    <a:pt x="56" y="36"/>
                    <a:pt x="60" y="52"/>
                  </a:cubicBezTo>
                  <a:cubicBezTo>
                    <a:pt x="64" y="68"/>
                    <a:pt x="54" y="84"/>
                    <a:pt x="38" y="88"/>
                  </a:cubicBezTo>
                  <a:cubicBezTo>
                    <a:pt x="22" y="92"/>
                    <a:pt x="6" y="83"/>
                    <a:pt x="1" y="67"/>
                  </a:cubicBezTo>
                  <a:cubicBezTo>
                    <a:pt x="1" y="64"/>
                    <a:pt x="0" y="61"/>
                    <a:pt x="0" y="58"/>
                  </a:cubicBezTo>
                  <a:cubicBezTo>
                    <a:pt x="0" y="54"/>
                    <a:pt x="0" y="49"/>
                    <a:pt x="0" y="45"/>
                  </a:cubicBezTo>
                  <a:cubicBezTo>
                    <a:pt x="0" y="45"/>
                    <a:pt x="0" y="44"/>
                    <a:pt x="0" y="44"/>
                  </a:cubicBezTo>
                  <a:cubicBezTo>
                    <a:pt x="0" y="37"/>
                    <a:pt x="0" y="30"/>
                    <a:pt x="0" y="22"/>
                  </a:cubicBezTo>
                  <a:close/>
                  <a:moveTo>
                    <a:pt x="31" y="46"/>
                  </a:moveTo>
                  <a:cubicBezTo>
                    <a:pt x="24" y="46"/>
                    <a:pt x="18" y="52"/>
                    <a:pt x="18" y="58"/>
                  </a:cubicBezTo>
                  <a:cubicBezTo>
                    <a:pt x="18" y="65"/>
                    <a:pt x="23" y="71"/>
                    <a:pt x="30" y="71"/>
                  </a:cubicBezTo>
                  <a:cubicBezTo>
                    <a:pt x="38" y="71"/>
                    <a:pt x="43" y="66"/>
                    <a:pt x="43" y="59"/>
                  </a:cubicBezTo>
                  <a:cubicBezTo>
                    <a:pt x="43" y="52"/>
                    <a:pt x="38" y="46"/>
                    <a:pt x="31" y="46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00">
              <a:extLst>
                <a:ext uri="{FF2B5EF4-FFF2-40B4-BE49-F238E27FC236}">
                  <a16:creationId xmlns:a16="http://schemas.microsoft.com/office/drawing/2014/main" id="{68AD641C-F0B1-4360-B35D-E6C5B9BF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444501"/>
              <a:ext cx="382588" cy="361950"/>
            </a:xfrm>
            <a:custGeom>
              <a:avLst/>
              <a:gdLst>
                <a:gd name="T0" fmla="*/ 12 w 94"/>
                <a:gd name="T1" fmla="*/ 0 h 90"/>
                <a:gd name="T2" fmla="*/ 26 w 94"/>
                <a:gd name="T3" fmla="*/ 2 h 90"/>
                <a:gd name="T4" fmla="*/ 55 w 94"/>
                <a:gd name="T5" fmla="*/ 13 h 90"/>
                <a:gd name="T6" fmla="*/ 88 w 94"/>
                <a:gd name="T7" fmla="*/ 50 h 90"/>
                <a:gd name="T8" fmla="*/ 93 w 94"/>
                <a:gd name="T9" fmla="*/ 71 h 90"/>
                <a:gd name="T10" fmla="*/ 94 w 94"/>
                <a:gd name="T11" fmla="*/ 81 h 90"/>
                <a:gd name="T12" fmla="*/ 86 w 94"/>
                <a:gd name="T13" fmla="*/ 90 h 90"/>
                <a:gd name="T14" fmla="*/ 80 w 94"/>
                <a:gd name="T15" fmla="*/ 89 h 90"/>
                <a:gd name="T16" fmla="*/ 75 w 94"/>
                <a:gd name="T17" fmla="*/ 82 h 90"/>
                <a:gd name="T18" fmla="*/ 73 w 94"/>
                <a:gd name="T19" fmla="*/ 68 h 90"/>
                <a:gd name="T20" fmla="*/ 24 w 94"/>
                <a:gd name="T21" fmla="*/ 20 h 90"/>
                <a:gd name="T22" fmla="*/ 12 w 94"/>
                <a:gd name="T23" fmla="*/ 19 h 90"/>
                <a:gd name="T24" fmla="*/ 5 w 94"/>
                <a:gd name="T25" fmla="*/ 18 h 90"/>
                <a:gd name="T26" fmla="*/ 0 w 94"/>
                <a:gd name="T27" fmla="*/ 11 h 90"/>
                <a:gd name="T28" fmla="*/ 0 w 94"/>
                <a:gd name="T29" fmla="*/ 5 h 90"/>
                <a:gd name="T30" fmla="*/ 6 w 94"/>
                <a:gd name="T31" fmla="*/ 1 h 90"/>
                <a:gd name="T32" fmla="*/ 12 w 94"/>
                <a:gd name="T33" fmla="*/ 0 h 90"/>
                <a:gd name="T34" fmla="*/ 12 w 94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0">
                  <a:moveTo>
                    <a:pt x="12" y="0"/>
                  </a:moveTo>
                  <a:cubicBezTo>
                    <a:pt x="17" y="0"/>
                    <a:pt x="22" y="1"/>
                    <a:pt x="26" y="2"/>
                  </a:cubicBezTo>
                  <a:cubicBezTo>
                    <a:pt x="36" y="4"/>
                    <a:pt x="46" y="7"/>
                    <a:pt x="55" y="13"/>
                  </a:cubicBezTo>
                  <a:cubicBezTo>
                    <a:pt x="70" y="22"/>
                    <a:pt x="81" y="34"/>
                    <a:pt x="88" y="50"/>
                  </a:cubicBezTo>
                  <a:cubicBezTo>
                    <a:pt x="91" y="57"/>
                    <a:pt x="93" y="64"/>
                    <a:pt x="93" y="71"/>
                  </a:cubicBezTo>
                  <a:cubicBezTo>
                    <a:pt x="94" y="74"/>
                    <a:pt x="94" y="78"/>
                    <a:pt x="94" y="81"/>
                  </a:cubicBezTo>
                  <a:cubicBezTo>
                    <a:pt x="94" y="86"/>
                    <a:pt x="91" y="89"/>
                    <a:pt x="86" y="90"/>
                  </a:cubicBezTo>
                  <a:cubicBezTo>
                    <a:pt x="84" y="90"/>
                    <a:pt x="82" y="90"/>
                    <a:pt x="80" y="89"/>
                  </a:cubicBezTo>
                  <a:cubicBezTo>
                    <a:pt x="77" y="88"/>
                    <a:pt x="75" y="85"/>
                    <a:pt x="75" y="82"/>
                  </a:cubicBezTo>
                  <a:cubicBezTo>
                    <a:pt x="74" y="77"/>
                    <a:pt x="74" y="73"/>
                    <a:pt x="73" y="68"/>
                  </a:cubicBezTo>
                  <a:cubicBezTo>
                    <a:pt x="67" y="44"/>
                    <a:pt x="48" y="25"/>
                    <a:pt x="24" y="20"/>
                  </a:cubicBezTo>
                  <a:cubicBezTo>
                    <a:pt x="20" y="19"/>
                    <a:pt x="16" y="19"/>
                    <a:pt x="12" y="19"/>
                  </a:cubicBezTo>
                  <a:cubicBezTo>
                    <a:pt x="9" y="19"/>
                    <a:pt x="7" y="18"/>
                    <a:pt x="5" y="18"/>
                  </a:cubicBezTo>
                  <a:cubicBezTo>
                    <a:pt x="2" y="17"/>
                    <a:pt x="0" y="14"/>
                    <a:pt x="0" y="11"/>
                  </a:cubicBezTo>
                  <a:cubicBezTo>
                    <a:pt x="0" y="9"/>
                    <a:pt x="0" y="7"/>
                    <a:pt x="0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01">
              <a:extLst>
                <a:ext uri="{FF2B5EF4-FFF2-40B4-BE49-F238E27FC236}">
                  <a16:creationId xmlns:a16="http://schemas.microsoft.com/office/drawing/2014/main" id="{F9879459-6BB5-40C4-9CBE-61DD2723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238" y="565151"/>
              <a:ext cx="252413" cy="241300"/>
            </a:xfrm>
            <a:custGeom>
              <a:avLst/>
              <a:gdLst>
                <a:gd name="T0" fmla="*/ 62 w 62"/>
                <a:gd name="T1" fmla="*/ 49 h 60"/>
                <a:gd name="T2" fmla="*/ 62 w 62"/>
                <a:gd name="T3" fmla="*/ 53 h 60"/>
                <a:gd name="T4" fmla="*/ 56 w 62"/>
                <a:gd name="T5" fmla="*/ 59 h 60"/>
                <a:gd name="T6" fmla="*/ 49 w 62"/>
                <a:gd name="T7" fmla="*/ 60 h 60"/>
                <a:gd name="T8" fmla="*/ 42 w 62"/>
                <a:gd name="T9" fmla="*/ 52 h 60"/>
                <a:gd name="T10" fmla="*/ 41 w 62"/>
                <a:gd name="T11" fmla="*/ 42 h 60"/>
                <a:gd name="T12" fmla="*/ 16 w 62"/>
                <a:gd name="T13" fmla="*/ 20 h 60"/>
                <a:gd name="T14" fmla="*/ 8 w 62"/>
                <a:gd name="T15" fmla="*/ 19 h 60"/>
                <a:gd name="T16" fmla="*/ 5 w 62"/>
                <a:gd name="T17" fmla="*/ 18 h 60"/>
                <a:gd name="T18" fmla="*/ 0 w 62"/>
                <a:gd name="T19" fmla="*/ 10 h 60"/>
                <a:gd name="T20" fmla="*/ 0 w 62"/>
                <a:gd name="T21" fmla="*/ 7 h 60"/>
                <a:gd name="T22" fmla="*/ 8 w 62"/>
                <a:gd name="T23" fmla="*/ 1 h 60"/>
                <a:gd name="T24" fmla="*/ 18 w 62"/>
                <a:gd name="T25" fmla="*/ 2 h 60"/>
                <a:gd name="T26" fmla="*/ 42 w 62"/>
                <a:gd name="T27" fmla="*/ 12 h 60"/>
                <a:gd name="T28" fmla="*/ 61 w 62"/>
                <a:gd name="T29" fmla="*/ 40 h 60"/>
                <a:gd name="T30" fmla="*/ 62 w 62"/>
                <a:gd name="T3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60">
                  <a:moveTo>
                    <a:pt x="62" y="49"/>
                  </a:moveTo>
                  <a:cubicBezTo>
                    <a:pt x="62" y="51"/>
                    <a:pt x="62" y="52"/>
                    <a:pt x="62" y="53"/>
                  </a:cubicBezTo>
                  <a:cubicBezTo>
                    <a:pt x="61" y="56"/>
                    <a:pt x="59" y="58"/>
                    <a:pt x="56" y="59"/>
                  </a:cubicBezTo>
                  <a:cubicBezTo>
                    <a:pt x="54" y="60"/>
                    <a:pt x="51" y="60"/>
                    <a:pt x="49" y="60"/>
                  </a:cubicBezTo>
                  <a:cubicBezTo>
                    <a:pt x="45" y="59"/>
                    <a:pt x="43" y="56"/>
                    <a:pt x="42" y="52"/>
                  </a:cubicBezTo>
                  <a:cubicBezTo>
                    <a:pt x="42" y="49"/>
                    <a:pt x="42" y="45"/>
                    <a:pt x="41" y="42"/>
                  </a:cubicBezTo>
                  <a:cubicBezTo>
                    <a:pt x="37" y="30"/>
                    <a:pt x="28" y="23"/>
                    <a:pt x="16" y="20"/>
                  </a:cubicBezTo>
                  <a:cubicBezTo>
                    <a:pt x="13" y="20"/>
                    <a:pt x="10" y="20"/>
                    <a:pt x="8" y="19"/>
                  </a:cubicBezTo>
                  <a:cubicBezTo>
                    <a:pt x="7" y="19"/>
                    <a:pt x="6" y="19"/>
                    <a:pt x="5" y="18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1" y="3"/>
                    <a:pt x="4" y="1"/>
                    <a:pt x="8" y="1"/>
                  </a:cubicBezTo>
                  <a:cubicBezTo>
                    <a:pt x="11" y="0"/>
                    <a:pt x="15" y="1"/>
                    <a:pt x="18" y="2"/>
                  </a:cubicBezTo>
                  <a:cubicBezTo>
                    <a:pt x="27" y="3"/>
                    <a:pt x="35" y="7"/>
                    <a:pt x="42" y="12"/>
                  </a:cubicBezTo>
                  <a:cubicBezTo>
                    <a:pt x="52" y="19"/>
                    <a:pt x="58" y="28"/>
                    <a:pt x="61" y="40"/>
                  </a:cubicBezTo>
                  <a:cubicBezTo>
                    <a:pt x="61" y="43"/>
                    <a:pt x="62" y="47"/>
                    <a:pt x="62" y="49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AEC775CE-FDA2-4531-9034-A47FE6257833}"/>
              </a:ext>
            </a:extLst>
          </p:cNvPr>
          <p:cNvGrpSpPr/>
          <p:nvPr/>
        </p:nvGrpSpPr>
        <p:grpSpPr>
          <a:xfrm>
            <a:off x="5822950" y="317501"/>
            <a:ext cx="758825" cy="766763"/>
            <a:chOff x="5822950" y="317501"/>
            <a:chExt cx="758825" cy="766763"/>
          </a:xfrm>
        </p:grpSpPr>
        <p:sp>
          <p:nvSpPr>
            <p:cNvPr id="376" name="AutoShape 303">
              <a:extLst>
                <a:ext uri="{FF2B5EF4-FFF2-40B4-BE49-F238E27FC236}">
                  <a16:creationId xmlns:a16="http://schemas.microsoft.com/office/drawing/2014/main" id="{A1838B9A-DA4D-4242-B1B9-9448A8E590F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2950" y="3222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05">
              <a:extLst>
                <a:ext uri="{FF2B5EF4-FFF2-40B4-BE49-F238E27FC236}">
                  <a16:creationId xmlns:a16="http://schemas.microsoft.com/office/drawing/2014/main" id="{74C02182-9E75-49DB-8A09-343DF8D98A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5" y="31750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06">
              <a:extLst>
                <a:ext uri="{FF2B5EF4-FFF2-40B4-BE49-F238E27FC236}">
                  <a16:creationId xmlns:a16="http://schemas.microsoft.com/office/drawing/2014/main" id="{EB95A924-D966-445F-8187-2C20EB4A0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525" y="571501"/>
              <a:ext cx="249238" cy="363538"/>
            </a:xfrm>
            <a:custGeom>
              <a:avLst/>
              <a:gdLst>
                <a:gd name="T0" fmla="*/ 0 w 64"/>
                <a:gd name="T1" fmla="*/ 22 h 92"/>
                <a:gd name="T2" fmla="*/ 0 w 64"/>
                <a:gd name="T3" fmla="*/ 19 h 92"/>
                <a:gd name="T4" fmla="*/ 0 w 64"/>
                <a:gd name="T5" fmla="*/ 9 h 92"/>
                <a:gd name="T6" fmla="*/ 1 w 64"/>
                <a:gd name="T7" fmla="*/ 5 h 92"/>
                <a:gd name="T8" fmla="*/ 8 w 64"/>
                <a:gd name="T9" fmla="*/ 0 h 92"/>
                <a:gd name="T10" fmla="*/ 11 w 64"/>
                <a:gd name="T11" fmla="*/ 0 h 92"/>
                <a:gd name="T12" fmla="*/ 17 w 64"/>
                <a:gd name="T13" fmla="*/ 6 h 92"/>
                <a:gd name="T14" fmla="*/ 18 w 64"/>
                <a:gd name="T15" fmla="*/ 15 h 92"/>
                <a:gd name="T16" fmla="*/ 18 w 64"/>
                <a:gd name="T17" fmla="*/ 30 h 92"/>
                <a:gd name="T18" fmla="*/ 18 w 64"/>
                <a:gd name="T19" fmla="*/ 31 h 92"/>
                <a:gd name="T20" fmla="*/ 23 w 64"/>
                <a:gd name="T21" fmla="*/ 29 h 92"/>
                <a:gd name="T22" fmla="*/ 60 w 64"/>
                <a:gd name="T23" fmla="*/ 52 h 92"/>
                <a:gd name="T24" fmla="*/ 38 w 64"/>
                <a:gd name="T25" fmla="*/ 88 h 92"/>
                <a:gd name="T26" fmla="*/ 1 w 64"/>
                <a:gd name="T27" fmla="*/ 67 h 92"/>
                <a:gd name="T28" fmla="*/ 0 w 64"/>
                <a:gd name="T29" fmla="*/ 58 h 92"/>
                <a:gd name="T30" fmla="*/ 0 w 64"/>
                <a:gd name="T31" fmla="*/ 45 h 92"/>
                <a:gd name="T32" fmla="*/ 0 w 64"/>
                <a:gd name="T33" fmla="*/ 44 h 92"/>
                <a:gd name="T34" fmla="*/ 0 w 64"/>
                <a:gd name="T35" fmla="*/ 22 h 92"/>
                <a:gd name="T36" fmla="*/ 31 w 64"/>
                <a:gd name="T37" fmla="*/ 46 h 92"/>
                <a:gd name="T38" fmla="*/ 18 w 64"/>
                <a:gd name="T39" fmla="*/ 58 h 92"/>
                <a:gd name="T40" fmla="*/ 30 w 64"/>
                <a:gd name="T41" fmla="*/ 71 h 92"/>
                <a:gd name="T42" fmla="*/ 43 w 64"/>
                <a:gd name="T43" fmla="*/ 59 h 92"/>
                <a:gd name="T44" fmla="*/ 31 w 64"/>
                <a:gd name="T45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92">
                  <a:moveTo>
                    <a:pt x="0" y="22"/>
                  </a:moveTo>
                  <a:cubicBezTo>
                    <a:pt x="0" y="21"/>
                    <a:pt x="0" y="20"/>
                    <a:pt x="0" y="19"/>
                  </a:cubicBezTo>
                  <a:cubicBezTo>
                    <a:pt x="0" y="16"/>
                    <a:pt x="0" y="12"/>
                    <a:pt x="0" y="9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2" y="2"/>
                    <a:pt x="4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5" y="1"/>
                    <a:pt x="16" y="3"/>
                    <a:pt x="17" y="6"/>
                  </a:cubicBezTo>
                  <a:cubicBezTo>
                    <a:pt x="18" y="9"/>
                    <a:pt x="18" y="12"/>
                    <a:pt x="18" y="15"/>
                  </a:cubicBezTo>
                  <a:cubicBezTo>
                    <a:pt x="18" y="20"/>
                    <a:pt x="18" y="25"/>
                    <a:pt x="18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20" y="30"/>
                    <a:pt x="22" y="30"/>
                    <a:pt x="23" y="29"/>
                  </a:cubicBezTo>
                  <a:cubicBezTo>
                    <a:pt x="41" y="25"/>
                    <a:pt x="56" y="36"/>
                    <a:pt x="60" y="52"/>
                  </a:cubicBezTo>
                  <a:cubicBezTo>
                    <a:pt x="64" y="68"/>
                    <a:pt x="54" y="84"/>
                    <a:pt x="38" y="88"/>
                  </a:cubicBezTo>
                  <a:cubicBezTo>
                    <a:pt x="22" y="92"/>
                    <a:pt x="6" y="83"/>
                    <a:pt x="1" y="67"/>
                  </a:cubicBezTo>
                  <a:cubicBezTo>
                    <a:pt x="1" y="64"/>
                    <a:pt x="0" y="61"/>
                    <a:pt x="0" y="58"/>
                  </a:cubicBezTo>
                  <a:cubicBezTo>
                    <a:pt x="0" y="54"/>
                    <a:pt x="0" y="49"/>
                    <a:pt x="0" y="45"/>
                  </a:cubicBezTo>
                  <a:cubicBezTo>
                    <a:pt x="0" y="45"/>
                    <a:pt x="0" y="44"/>
                    <a:pt x="0" y="44"/>
                  </a:cubicBezTo>
                  <a:cubicBezTo>
                    <a:pt x="0" y="37"/>
                    <a:pt x="0" y="30"/>
                    <a:pt x="0" y="22"/>
                  </a:cubicBezTo>
                  <a:close/>
                  <a:moveTo>
                    <a:pt x="31" y="46"/>
                  </a:moveTo>
                  <a:cubicBezTo>
                    <a:pt x="24" y="46"/>
                    <a:pt x="18" y="52"/>
                    <a:pt x="18" y="58"/>
                  </a:cubicBezTo>
                  <a:cubicBezTo>
                    <a:pt x="18" y="65"/>
                    <a:pt x="23" y="71"/>
                    <a:pt x="30" y="71"/>
                  </a:cubicBezTo>
                  <a:cubicBezTo>
                    <a:pt x="38" y="71"/>
                    <a:pt x="43" y="66"/>
                    <a:pt x="43" y="59"/>
                  </a:cubicBezTo>
                  <a:cubicBezTo>
                    <a:pt x="43" y="52"/>
                    <a:pt x="38" y="46"/>
                    <a:pt x="31" y="46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07">
              <a:extLst>
                <a:ext uri="{FF2B5EF4-FFF2-40B4-BE49-F238E27FC236}">
                  <a16:creationId xmlns:a16="http://schemas.microsoft.com/office/drawing/2014/main" id="{FD95DE4E-B778-4F22-B25D-54A2CAFE1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0" y="449263"/>
              <a:ext cx="365125" cy="355600"/>
            </a:xfrm>
            <a:custGeom>
              <a:avLst/>
              <a:gdLst>
                <a:gd name="T0" fmla="*/ 12 w 94"/>
                <a:gd name="T1" fmla="*/ 0 h 90"/>
                <a:gd name="T2" fmla="*/ 26 w 94"/>
                <a:gd name="T3" fmla="*/ 2 h 90"/>
                <a:gd name="T4" fmla="*/ 55 w 94"/>
                <a:gd name="T5" fmla="*/ 13 h 90"/>
                <a:gd name="T6" fmla="*/ 88 w 94"/>
                <a:gd name="T7" fmla="*/ 50 h 90"/>
                <a:gd name="T8" fmla="*/ 93 w 94"/>
                <a:gd name="T9" fmla="*/ 71 h 90"/>
                <a:gd name="T10" fmla="*/ 94 w 94"/>
                <a:gd name="T11" fmla="*/ 81 h 90"/>
                <a:gd name="T12" fmla="*/ 86 w 94"/>
                <a:gd name="T13" fmla="*/ 90 h 90"/>
                <a:gd name="T14" fmla="*/ 80 w 94"/>
                <a:gd name="T15" fmla="*/ 89 h 90"/>
                <a:gd name="T16" fmla="*/ 75 w 94"/>
                <a:gd name="T17" fmla="*/ 82 h 90"/>
                <a:gd name="T18" fmla="*/ 73 w 94"/>
                <a:gd name="T19" fmla="*/ 68 h 90"/>
                <a:gd name="T20" fmla="*/ 24 w 94"/>
                <a:gd name="T21" fmla="*/ 20 h 90"/>
                <a:gd name="T22" fmla="*/ 12 w 94"/>
                <a:gd name="T23" fmla="*/ 19 h 90"/>
                <a:gd name="T24" fmla="*/ 5 w 94"/>
                <a:gd name="T25" fmla="*/ 18 h 90"/>
                <a:gd name="T26" fmla="*/ 0 w 94"/>
                <a:gd name="T27" fmla="*/ 11 h 90"/>
                <a:gd name="T28" fmla="*/ 0 w 94"/>
                <a:gd name="T29" fmla="*/ 5 h 90"/>
                <a:gd name="T30" fmla="*/ 6 w 94"/>
                <a:gd name="T31" fmla="*/ 1 h 90"/>
                <a:gd name="T32" fmla="*/ 12 w 94"/>
                <a:gd name="T33" fmla="*/ 0 h 90"/>
                <a:gd name="T34" fmla="*/ 12 w 94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0">
                  <a:moveTo>
                    <a:pt x="12" y="0"/>
                  </a:moveTo>
                  <a:cubicBezTo>
                    <a:pt x="17" y="0"/>
                    <a:pt x="22" y="1"/>
                    <a:pt x="26" y="2"/>
                  </a:cubicBezTo>
                  <a:cubicBezTo>
                    <a:pt x="36" y="4"/>
                    <a:pt x="46" y="7"/>
                    <a:pt x="55" y="13"/>
                  </a:cubicBezTo>
                  <a:cubicBezTo>
                    <a:pt x="70" y="22"/>
                    <a:pt x="81" y="34"/>
                    <a:pt x="88" y="50"/>
                  </a:cubicBezTo>
                  <a:cubicBezTo>
                    <a:pt x="91" y="57"/>
                    <a:pt x="93" y="64"/>
                    <a:pt x="93" y="71"/>
                  </a:cubicBezTo>
                  <a:cubicBezTo>
                    <a:pt x="94" y="74"/>
                    <a:pt x="94" y="78"/>
                    <a:pt x="94" y="81"/>
                  </a:cubicBezTo>
                  <a:cubicBezTo>
                    <a:pt x="94" y="86"/>
                    <a:pt x="91" y="89"/>
                    <a:pt x="86" y="90"/>
                  </a:cubicBezTo>
                  <a:cubicBezTo>
                    <a:pt x="84" y="90"/>
                    <a:pt x="82" y="90"/>
                    <a:pt x="80" y="89"/>
                  </a:cubicBezTo>
                  <a:cubicBezTo>
                    <a:pt x="77" y="88"/>
                    <a:pt x="75" y="85"/>
                    <a:pt x="75" y="82"/>
                  </a:cubicBezTo>
                  <a:cubicBezTo>
                    <a:pt x="74" y="77"/>
                    <a:pt x="74" y="73"/>
                    <a:pt x="73" y="68"/>
                  </a:cubicBezTo>
                  <a:cubicBezTo>
                    <a:pt x="67" y="44"/>
                    <a:pt x="48" y="25"/>
                    <a:pt x="24" y="20"/>
                  </a:cubicBezTo>
                  <a:cubicBezTo>
                    <a:pt x="20" y="19"/>
                    <a:pt x="16" y="19"/>
                    <a:pt x="12" y="19"/>
                  </a:cubicBezTo>
                  <a:cubicBezTo>
                    <a:pt x="9" y="19"/>
                    <a:pt x="7" y="18"/>
                    <a:pt x="5" y="18"/>
                  </a:cubicBezTo>
                  <a:cubicBezTo>
                    <a:pt x="2" y="17"/>
                    <a:pt x="0" y="14"/>
                    <a:pt x="0" y="11"/>
                  </a:cubicBezTo>
                  <a:cubicBezTo>
                    <a:pt x="0" y="9"/>
                    <a:pt x="0" y="7"/>
                    <a:pt x="0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308">
              <a:extLst>
                <a:ext uri="{FF2B5EF4-FFF2-40B4-BE49-F238E27FC236}">
                  <a16:creationId xmlns:a16="http://schemas.microsoft.com/office/drawing/2014/main" id="{44C4EC1F-C662-4AAB-AC67-0C20C567C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0" y="566738"/>
              <a:ext cx="241300" cy="238125"/>
            </a:xfrm>
            <a:custGeom>
              <a:avLst/>
              <a:gdLst>
                <a:gd name="T0" fmla="*/ 62 w 62"/>
                <a:gd name="T1" fmla="*/ 49 h 60"/>
                <a:gd name="T2" fmla="*/ 62 w 62"/>
                <a:gd name="T3" fmla="*/ 53 h 60"/>
                <a:gd name="T4" fmla="*/ 56 w 62"/>
                <a:gd name="T5" fmla="*/ 59 h 60"/>
                <a:gd name="T6" fmla="*/ 49 w 62"/>
                <a:gd name="T7" fmla="*/ 60 h 60"/>
                <a:gd name="T8" fmla="*/ 42 w 62"/>
                <a:gd name="T9" fmla="*/ 52 h 60"/>
                <a:gd name="T10" fmla="*/ 41 w 62"/>
                <a:gd name="T11" fmla="*/ 42 h 60"/>
                <a:gd name="T12" fmla="*/ 16 w 62"/>
                <a:gd name="T13" fmla="*/ 20 h 60"/>
                <a:gd name="T14" fmla="*/ 8 w 62"/>
                <a:gd name="T15" fmla="*/ 19 h 60"/>
                <a:gd name="T16" fmla="*/ 5 w 62"/>
                <a:gd name="T17" fmla="*/ 18 h 60"/>
                <a:gd name="T18" fmla="*/ 0 w 62"/>
                <a:gd name="T19" fmla="*/ 10 h 60"/>
                <a:gd name="T20" fmla="*/ 0 w 62"/>
                <a:gd name="T21" fmla="*/ 7 h 60"/>
                <a:gd name="T22" fmla="*/ 8 w 62"/>
                <a:gd name="T23" fmla="*/ 1 h 60"/>
                <a:gd name="T24" fmla="*/ 18 w 62"/>
                <a:gd name="T25" fmla="*/ 2 h 60"/>
                <a:gd name="T26" fmla="*/ 42 w 62"/>
                <a:gd name="T27" fmla="*/ 12 h 60"/>
                <a:gd name="T28" fmla="*/ 61 w 62"/>
                <a:gd name="T29" fmla="*/ 40 h 60"/>
                <a:gd name="T30" fmla="*/ 62 w 62"/>
                <a:gd name="T3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60">
                  <a:moveTo>
                    <a:pt x="62" y="49"/>
                  </a:moveTo>
                  <a:cubicBezTo>
                    <a:pt x="62" y="51"/>
                    <a:pt x="62" y="52"/>
                    <a:pt x="62" y="53"/>
                  </a:cubicBezTo>
                  <a:cubicBezTo>
                    <a:pt x="61" y="56"/>
                    <a:pt x="59" y="58"/>
                    <a:pt x="56" y="59"/>
                  </a:cubicBezTo>
                  <a:cubicBezTo>
                    <a:pt x="54" y="60"/>
                    <a:pt x="51" y="60"/>
                    <a:pt x="49" y="60"/>
                  </a:cubicBezTo>
                  <a:cubicBezTo>
                    <a:pt x="45" y="59"/>
                    <a:pt x="43" y="56"/>
                    <a:pt x="42" y="52"/>
                  </a:cubicBezTo>
                  <a:cubicBezTo>
                    <a:pt x="42" y="49"/>
                    <a:pt x="42" y="45"/>
                    <a:pt x="41" y="42"/>
                  </a:cubicBezTo>
                  <a:cubicBezTo>
                    <a:pt x="37" y="30"/>
                    <a:pt x="28" y="23"/>
                    <a:pt x="16" y="20"/>
                  </a:cubicBezTo>
                  <a:cubicBezTo>
                    <a:pt x="13" y="20"/>
                    <a:pt x="10" y="20"/>
                    <a:pt x="8" y="19"/>
                  </a:cubicBezTo>
                  <a:cubicBezTo>
                    <a:pt x="7" y="19"/>
                    <a:pt x="6" y="19"/>
                    <a:pt x="5" y="18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1" y="3"/>
                    <a:pt x="4" y="1"/>
                    <a:pt x="8" y="1"/>
                  </a:cubicBezTo>
                  <a:cubicBezTo>
                    <a:pt x="11" y="0"/>
                    <a:pt x="15" y="1"/>
                    <a:pt x="18" y="2"/>
                  </a:cubicBezTo>
                  <a:cubicBezTo>
                    <a:pt x="27" y="3"/>
                    <a:pt x="35" y="7"/>
                    <a:pt x="42" y="12"/>
                  </a:cubicBezTo>
                  <a:cubicBezTo>
                    <a:pt x="52" y="19"/>
                    <a:pt x="58" y="28"/>
                    <a:pt x="61" y="40"/>
                  </a:cubicBezTo>
                  <a:cubicBezTo>
                    <a:pt x="61" y="43"/>
                    <a:pt x="62" y="47"/>
                    <a:pt x="62" y="49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1B65F04D-8E07-46BA-ADF5-832A781930E9}"/>
              </a:ext>
            </a:extLst>
          </p:cNvPr>
          <p:cNvGrpSpPr/>
          <p:nvPr/>
        </p:nvGrpSpPr>
        <p:grpSpPr>
          <a:xfrm>
            <a:off x="6940550" y="280988"/>
            <a:ext cx="844550" cy="841375"/>
            <a:chOff x="6940550" y="280988"/>
            <a:chExt cx="844550" cy="841375"/>
          </a:xfrm>
        </p:grpSpPr>
        <p:sp>
          <p:nvSpPr>
            <p:cNvPr id="383" name="AutoShape 310">
              <a:extLst>
                <a:ext uri="{FF2B5EF4-FFF2-40B4-BE49-F238E27FC236}">
                  <a16:creationId xmlns:a16="http://schemas.microsoft.com/office/drawing/2014/main" id="{7AEE2EFB-0F33-4AE0-B0A5-01216AA400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40550" y="280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Oval 312">
              <a:extLst>
                <a:ext uri="{FF2B5EF4-FFF2-40B4-BE49-F238E27FC236}">
                  <a16:creationId xmlns:a16="http://schemas.microsoft.com/office/drawing/2014/main" id="{7FE2E84F-DC6D-4549-94F1-0DD6472BD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0550" y="284163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313">
              <a:extLst>
                <a:ext uri="{FF2B5EF4-FFF2-40B4-BE49-F238E27FC236}">
                  <a16:creationId xmlns:a16="http://schemas.microsoft.com/office/drawing/2014/main" id="{A71A6306-3FA8-4D6A-B5E2-3C848225E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9125" y="312738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314">
              <a:extLst>
                <a:ext uri="{FF2B5EF4-FFF2-40B4-BE49-F238E27FC236}">
                  <a16:creationId xmlns:a16="http://schemas.microsoft.com/office/drawing/2014/main" id="{1238855D-CF14-4B5D-AA3E-CE5642646F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7875" y="569913"/>
              <a:ext cx="260350" cy="368300"/>
            </a:xfrm>
            <a:custGeom>
              <a:avLst/>
              <a:gdLst>
                <a:gd name="T0" fmla="*/ 0 w 64"/>
                <a:gd name="T1" fmla="*/ 22 h 92"/>
                <a:gd name="T2" fmla="*/ 0 w 64"/>
                <a:gd name="T3" fmla="*/ 19 h 92"/>
                <a:gd name="T4" fmla="*/ 0 w 64"/>
                <a:gd name="T5" fmla="*/ 9 h 92"/>
                <a:gd name="T6" fmla="*/ 1 w 64"/>
                <a:gd name="T7" fmla="*/ 5 h 92"/>
                <a:gd name="T8" fmla="*/ 8 w 64"/>
                <a:gd name="T9" fmla="*/ 0 h 92"/>
                <a:gd name="T10" fmla="*/ 11 w 64"/>
                <a:gd name="T11" fmla="*/ 0 h 92"/>
                <a:gd name="T12" fmla="*/ 17 w 64"/>
                <a:gd name="T13" fmla="*/ 6 h 92"/>
                <a:gd name="T14" fmla="*/ 18 w 64"/>
                <a:gd name="T15" fmla="*/ 15 h 92"/>
                <a:gd name="T16" fmla="*/ 18 w 64"/>
                <a:gd name="T17" fmla="*/ 30 h 92"/>
                <a:gd name="T18" fmla="*/ 18 w 64"/>
                <a:gd name="T19" fmla="*/ 31 h 92"/>
                <a:gd name="T20" fmla="*/ 23 w 64"/>
                <a:gd name="T21" fmla="*/ 29 h 92"/>
                <a:gd name="T22" fmla="*/ 60 w 64"/>
                <a:gd name="T23" fmla="*/ 52 h 92"/>
                <a:gd name="T24" fmla="*/ 38 w 64"/>
                <a:gd name="T25" fmla="*/ 88 h 92"/>
                <a:gd name="T26" fmla="*/ 1 w 64"/>
                <a:gd name="T27" fmla="*/ 67 h 92"/>
                <a:gd name="T28" fmla="*/ 0 w 64"/>
                <a:gd name="T29" fmla="*/ 58 h 92"/>
                <a:gd name="T30" fmla="*/ 0 w 64"/>
                <a:gd name="T31" fmla="*/ 45 h 92"/>
                <a:gd name="T32" fmla="*/ 0 w 64"/>
                <a:gd name="T33" fmla="*/ 44 h 92"/>
                <a:gd name="T34" fmla="*/ 0 w 64"/>
                <a:gd name="T35" fmla="*/ 22 h 92"/>
                <a:gd name="T36" fmla="*/ 31 w 64"/>
                <a:gd name="T37" fmla="*/ 46 h 92"/>
                <a:gd name="T38" fmla="*/ 18 w 64"/>
                <a:gd name="T39" fmla="*/ 58 h 92"/>
                <a:gd name="T40" fmla="*/ 30 w 64"/>
                <a:gd name="T41" fmla="*/ 71 h 92"/>
                <a:gd name="T42" fmla="*/ 43 w 64"/>
                <a:gd name="T43" fmla="*/ 59 h 92"/>
                <a:gd name="T44" fmla="*/ 31 w 64"/>
                <a:gd name="T45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92">
                  <a:moveTo>
                    <a:pt x="0" y="22"/>
                  </a:moveTo>
                  <a:cubicBezTo>
                    <a:pt x="0" y="21"/>
                    <a:pt x="0" y="20"/>
                    <a:pt x="0" y="19"/>
                  </a:cubicBezTo>
                  <a:cubicBezTo>
                    <a:pt x="0" y="16"/>
                    <a:pt x="0" y="12"/>
                    <a:pt x="0" y="9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2" y="2"/>
                    <a:pt x="4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5" y="1"/>
                    <a:pt x="16" y="3"/>
                    <a:pt x="17" y="6"/>
                  </a:cubicBezTo>
                  <a:cubicBezTo>
                    <a:pt x="18" y="9"/>
                    <a:pt x="18" y="12"/>
                    <a:pt x="18" y="15"/>
                  </a:cubicBezTo>
                  <a:cubicBezTo>
                    <a:pt x="18" y="20"/>
                    <a:pt x="18" y="25"/>
                    <a:pt x="18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20" y="30"/>
                    <a:pt x="22" y="30"/>
                    <a:pt x="23" y="29"/>
                  </a:cubicBezTo>
                  <a:cubicBezTo>
                    <a:pt x="41" y="25"/>
                    <a:pt x="56" y="36"/>
                    <a:pt x="60" y="52"/>
                  </a:cubicBezTo>
                  <a:cubicBezTo>
                    <a:pt x="64" y="68"/>
                    <a:pt x="54" y="84"/>
                    <a:pt x="38" y="88"/>
                  </a:cubicBezTo>
                  <a:cubicBezTo>
                    <a:pt x="22" y="92"/>
                    <a:pt x="6" y="83"/>
                    <a:pt x="1" y="67"/>
                  </a:cubicBezTo>
                  <a:cubicBezTo>
                    <a:pt x="1" y="64"/>
                    <a:pt x="0" y="61"/>
                    <a:pt x="0" y="58"/>
                  </a:cubicBezTo>
                  <a:cubicBezTo>
                    <a:pt x="0" y="54"/>
                    <a:pt x="0" y="49"/>
                    <a:pt x="0" y="45"/>
                  </a:cubicBezTo>
                  <a:cubicBezTo>
                    <a:pt x="0" y="45"/>
                    <a:pt x="0" y="44"/>
                    <a:pt x="0" y="44"/>
                  </a:cubicBezTo>
                  <a:cubicBezTo>
                    <a:pt x="0" y="37"/>
                    <a:pt x="0" y="30"/>
                    <a:pt x="0" y="22"/>
                  </a:cubicBezTo>
                  <a:close/>
                  <a:moveTo>
                    <a:pt x="31" y="46"/>
                  </a:moveTo>
                  <a:cubicBezTo>
                    <a:pt x="24" y="46"/>
                    <a:pt x="18" y="52"/>
                    <a:pt x="18" y="58"/>
                  </a:cubicBezTo>
                  <a:cubicBezTo>
                    <a:pt x="18" y="65"/>
                    <a:pt x="23" y="71"/>
                    <a:pt x="30" y="71"/>
                  </a:cubicBezTo>
                  <a:cubicBezTo>
                    <a:pt x="38" y="71"/>
                    <a:pt x="43" y="66"/>
                    <a:pt x="43" y="59"/>
                  </a:cubicBezTo>
                  <a:cubicBezTo>
                    <a:pt x="43" y="52"/>
                    <a:pt x="38" y="46"/>
                    <a:pt x="31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315">
              <a:extLst>
                <a:ext uri="{FF2B5EF4-FFF2-40B4-BE49-F238E27FC236}">
                  <a16:creationId xmlns:a16="http://schemas.microsoft.com/office/drawing/2014/main" id="{23AB24D8-EE28-4F97-A5F1-A3CEEFB27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8525" y="444501"/>
              <a:ext cx="382588" cy="361950"/>
            </a:xfrm>
            <a:custGeom>
              <a:avLst/>
              <a:gdLst>
                <a:gd name="T0" fmla="*/ 12 w 94"/>
                <a:gd name="T1" fmla="*/ 0 h 90"/>
                <a:gd name="T2" fmla="*/ 26 w 94"/>
                <a:gd name="T3" fmla="*/ 2 h 90"/>
                <a:gd name="T4" fmla="*/ 55 w 94"/>
                <a:gd name="T5" fmla="*/ 13 h 90"/>
                <a:gd name="T6" fmla="*/ 88 w 94"/>
                <a:gd name="T7" fmla="*/ 50 h 90"/>
                <a:gd name="T8" fmla="*/ 93 w 94"/>
                <a:gd name="T9" fmla="*/ 71 h 90"/>
                <a:gd name="T10" fmla="*/ 94 w 94"/>
                <a:gd name="T11" fmla="*/ 81 h 90"/>
                <a:gd name="T12" fmla="*/ 86 w 94"/>
                <a:gd name="T13" fmla="*/ 90 h 90"/>
                <a:gd name="T14" fmla="*/ 80 w 94"/>
                <a:gd name="T15" fmla="*/ 89 h 90"/>
                <a:gd name="T16" fmla="*/ 75 w 94"/>
                <a:gd name="T17" fmla="*/ 82 h 90"/>
                <a:gd name="T18" fmla="*/ 73 w 94"/>
                <a:gd name="T19" fmla="*/ 68 h 90"/>
                <a:gd name="T20" fmla="*/ 24 w 94"/>
                <a:gd name="T21" fmla="*/ 20 h 90"/>
                <a:gd name="T22" fmla="*/ 12 w 94"/>
                <a:gd name="T23" fmla="*/ 19 h 90"/>
                <a:gd name="T24" fmla="*/ 5 w 94"/>
                <a:gd name="T25" fmla="*/ 18 h 90"/>
                <a:gd name="T26" fmla="*/ 0 w 94"/>
                <a:gd name="T27" fmla="*/ 11 h 90"/>
                <a:gd name="T28" fmla="*/ 0 w 94"/>
                <a:gd name="T29" fmla="*/ 5 h 90"/>
                <a:gd name="T30" fmla="*/ 6 w 94"/>
                <a:gd name="T31" fmla="*/ 1 h 90"/>
                <a:gd name="T32" fmla="*/ 12 w 94"/>
                <a:gd name="T33" fmla="*/ 0 h 90"/>
                <a:gd name="T34" fmla="*/ 12 w 94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0">
                  <a:moveTo>
                    <a:pt x="12" y="0"/>
                  </a:moveTo>
                  <a:cubicBezTo>
                    <a:pt x="17" y="0"/>
                    <a:pt x="22" y="1"/>
                    <a:pt x="26" y="2"/>
                  </a:cubicBezTo>
                  <a:cubicBezTo>
                    <a:pt x="36" y="4"/>
                    <a:pt x="46" y="7"/>
                    <a:pt x="55" y="13"/>
                  </a:cubicBezTo>
                  <a:cubicBezTo>
                    <a:pt x="70" y="22"/>
                    <a:pt x="81" y="34"/>
                    <a:pt x="88" y="50"/>
                  </a:cubicBezTo>
                  <a:cubicBezTo>
                    <a:pt x="91" y="57"/>
                    <a:pt x="93" y="64"/>
                    <a:pt x="93" y="71"/>
                  </a:cubicBezTo>
                  <a:cubicBezTo>
                    <a:pt x="94" y="74"/>
                    <a:pt x="94" y="78"/>
                    <a:pt x="94" y="81"/>
                  </a:cubicBezTo>
                  <a:cubicBezTo>
                    <a:pt x="94" y="86"/>
                    <a:pt x="91" y="89"/>
                    <a:pt x="86" y="90"/>
                  </a:cubicBezTo>
                  <a:cubicBezTo>
                    <a:pt x="84" y="90"/>
                    <a:pt x="82" y="90"/>
                    <a:pt x="80" y="89"/>
                  </a:cubicBezTo>
                  <a:cubicBezTo>
                    <a:pt x="77" y="88"/>
                    <a:pt x="75" y="85"/>
                    <a:pt x="75" y="82"/>
                  </a:cubicBezTo>
                  <a:cubicBezTo>
                    <a:pt x="74" y="77"/>
                    <a:pt x="74" y="73"/>
                    <a:pt x="73" y="68"/>
                  </a:cubicBezTo>
                  <a:cubicBezTo>
                    <a:pt x="67" y="44"/>
                    <a:pt x="48" y="25"/>
                    <a:pt x="24" y="20"/>
                  </a:cubicBezTo>
                  <a:cubicBezTo>
                    <a:pt x="20" y="19"/>
                    <a:pt x="16" y="19"/>
                    <a:pt x="12" y="19"/>
                  </a:cubicBezTo>
                  <a:cubicBezTo>
                    <a:pt x="9" y="19"/>
                    <a:pt x="7" y="18"/>
                    <a:pt x="5" y="18"/>
                  </a:cubicBezTo>
                  <a:cubicBezTo>
                    <a:pt x="2" y="17"/>
                    <a:pt x="0" y="14"/>
                    <a:pt x="0" y="11"/>
                  </a:cubicBezTo>
                  <a:cubicBezTo>
                    <a:pt x="0" y="9"/>
                    <a:pt x="0" y="7"/>
                    <a:pt x="0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316">
              <a:extLst>
                <a:ext uri="{FF2B5EF4-FFF2-40B4-BE49-F238E27FC236}">
                  <a16:creationId xmlns:a16="http://schemas.microsoft.com/office/drawing/2014/main" id="{83E16D6C-96F9-4F95-8DE9-095D7C539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8525" y="565151"/>
              <a:ext cx="252413" cy="241300"/>
            </a:xfrm>
            <a:custGeom>
              <a:avLst/>
              <a:gdLst>
                <a:gd name="T0" fmla="*/ 62 w 62"/>
                <a:gd name="T1" fmla="*/ 49 h 60"/>
                <a:gd name="T2" fmla="*/ 62 w 62"/>
                <a:gd name="T3" fmla="*/ 53 h 60"/>
                <a:gd name="T4" fmla="*/ 56 w 62"/>
                <a:gd name="T5" fmla="*/ 59 h 60"/>
                <a:gd name="T6" fmla="*/ 49 w 62"/>
                <a:gd name="T7" fmla="*/ 60 h 60"/>
                <a:gd name="T8" fmla="*/ 42 w 62"/>
                <a:gd name="T9" fmla="*/ 52 h 60"/>
                <a:gd name="T10" fmla="*/ 41 w 62"/>
                <a:gd name="T11" fmla="*/ 42 h 60"/>
                <a:gd name="T12" fmla="*/ 16 w 62"/>
                <a:gd name="T13" fmla="*/ 20 h 60"/>
                <a:gd name="T14" fmla="*/ 8 w 62"/>
                <a:gd name="T15" fmla="*/ 19 h 60"/>
                <a:gd name="T16" fmla="*/ 5 w 62"/>
                <a:gd name="T17" fmla="*/ 18 h 60"/>
                <a:gd name="T18" fmla="*/ 0 w 62"/>
                <a:gd name="T19" fmla="*/ 10 h 60"/>
                <a:gd name="T20" fmla="*/ 0 w 62"/>
                <a:gd name="T21" fmla="*/ 7 h 60"/>
                <a:gd name="T22" fmla="*/ 8 w 62"/>
                <a:gd name="T23" fmla="*/ 1 h 60"/>
                <a:gd name="T24" fmla="*/ 18 w 62"/>
                <a:gd name="T25" fmla="*/ 2 h 60"/>
                <a:gd name="T26" fmla="*/ 42 w 62"/>
                <a:gd name="T27" fmla="*/ 12 h 60"/>
                <a:gd name="T28" fmla="*/ 61 w 62"/>
                <a:gd name="T29" fmla="*/ 40 h 60"/>
                <a:gd name="T30" fmla="*/ 62 w 62"/>
                <a:gd name="T3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60">
                  <a:moveTo>
                    <a:pt x="62" y="49"/>
                  </a:moveTo>
                  <a:cubicBezTo>
                    <a:pt x="62" y="51"/>
                    <a:pt x="62" y="52"/>
                    <a:pt x="62" y="53"/>
                  </a:cubicBezTo>
                  <a:cubicBezTo>
                    <a:pt x="61" y="56"/>
                    <a:pt x="59" y="58"/>
                    <a:pt x="56" y="59"/>
                  </a:cubicBezTo>
                  <a:cubicBezTo>
                    <a:pt x="54" y="60"/>
                    <a:pt x="51" y="60"/>
                    <a:pt x="49" y="60"/>
                  </a:cubicBezTo>
                  <a:cubicBezTo>
                    <a:pt x="45" y="59"/>
                    <a:pt x="43" y="56"/>
                    <a:pt x="42" y="52"/>
                  </a:cubicBezTo>
                  <a:cubicBezTo>
                    <a:pt x="42" y="49"/>
                    <a:pt x="42" y="45"/>
                    <a:pt x="41" y="42"/>
                  </a:cubicBezTo>
                  <a:cubicBezTo>
                    <a:pt x="37" y="30"/>
                    <a:pt x="28" y="23"/>
                    <a:pt x="16" y="20"/>
                  </a:cubicBezTo>
                  <a:cubicBezTo>
                    <a:pt x="13" y="20"/>
                    <a:pt x="10" y="20"/>
                    <a:pt x="8" y="19"/>
                  </a:cubicBezTo>
                  <a:cubicBezTo>
                    <a:pt x="7" y="19"/>
                    <a:pt x="6" y="19"/>
                    <a:pt x="5" y="18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1" y="3"/>
                    <a:pt x="4" y="1"/>
                    <a:pt x="8" y="1"/>
                  </a:cubicBezTo>
                  <a:cubicBezTo>
                    <a:pt x="11" y="0"/>
                    <a:pt x="15" y="1"/>
                    <a:pt x="18" y="2"/>
                  </a:cubicBezTo>
                  <a:cubicBezTo>
                    <a:pt x="27" y="3"/>
                    <a:pt x="35" y="7"/>
                    <a:pt x="42" y="12"/>
                  </a:cubicBezTo>
                  <a:cubicBezTo>
                    <a:pt x="52" y="19"/>
                    <a:pt x="58" y="28"/>
                    <a:pt x="61" y="40"/>
                  </a:cubicBezTo>
                  <a:cubicBezTo>
                    <a:pt x="61" y="43"/>
                    <a:pt x="62" y="47"/>
                    <a:pt x="62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5330621A-6B37-4C24-B04A-473CCD7766E9}"/>
              </a:ext>
            </a:extLst>
          </p:cNvPr>
          <p:cNvGrpSpPr/>
          <p:nvPr/>
        </p:nvGrpSpPr>
        <p:grpSpPr>
          <a:xfrm>
            <a:off x="7913688" y="317501"/>
            <a:ext cx="758825" cy="766763"/>
            <a:chOff x="7913688" y="317501"/>
            <a:chExt cx="758825" cy="766763"/>
          </a:xfrm>
        </p:grpSpPr>
        <p:sp>
          <p:nvSpPr>
            <p:cNvPr id="391" name="AutoShape 318">
              <a:extLst>
                <a:ext uri="{FF2B5EF4-FFF2-40B4-BE49-F238E27FC236}">
                  <a16:creationId xmlns:a16="http://schemas.microsoft.com/office/drawing/2014/main" id="{B80ADACE-2D99-4A86-A12F-1732D5C5B6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13688" y="3222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320">
              <a:extLst>
                <a:ext uri="{FF2B5EF4-FFF2-40B4-BE49-F238E27FC236}">
                  <a16:creationId xmlns:a16="http://schemas.microsoft.com/office/drawing/2014/main" id="{5C3EE237-C789-48EB-8162-8BEB90CB63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6863" y="317501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21">
              <a:extLst>
                <a:ext uri="{FF2B5EF4-FFF2-40B4-BE49-F238E27FC236}">
                  <a16:creationId xmlns:a16="http://schemas.microsoft.com/office/drawing/2014/main" id="{26FC131F-444E-4B62-ACEE-2C5BA118B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9263" y="571501"/>
              <a:ext cx="249238" cy="363538"/>
            </a:xfrm>
            <a:custGeom>
              <a:avLst/>
              <a:gdLst>
                <a:gd name="T0" fmla="*/ 0 w 64"/>
                <a:gd name="T1" fmla="*/ 22 h 92"/>
                <a:gd name="T2" fmla="*/ 0 w 64"/>
                <a:gd name="T3" fmla="*/ 19 h 92"/>
                <a:gd name="T4" fmla="*/ 0 w 64"/>
                <a:gd name="T5" fmla="*/ 9 h 92"/>
                <a:gd name="T6" fmla="*/ 1 w 64"/>
                <a:gd name="T7" fmla="*/ 5 h 92"/>
                <a:gd name="T8" fmla="*/ 8 w 64"/>
                <a:gd name="T9" fmla="*/ 0 h 92"/>
                <a:gd name="T10" fmla="*/ 11 w 64"/>
                <a:gd name="T11" fmla="*/ 0 h 92"/>
                <a:gd name="T12" fmla="*/ 17 w 64"/>
                <a:gd name="T13" fmla="*/ 6 h 92"/>
                <a:gd name="T14" fmla="*/ 18 w 64"/>
                <a:gd name="T15" fmla="*/ 15 h 92"/>
                <a:gd name="T16" fmla="*/ 18 w 64"/>
                <a:gd name="T17" fmla="*/ 30 h 92"/>
                <a:gd name="T18" fmla="*/ 18 w 64"/>
                <a:gd name="T19" fmla="*/ 31 h 92"/>
                <a:gd name="T20" fmla="*/ 23 w 64"/>
                <a:gd name="T21" fmla="*/ 29 h 92"/>
                <a:gd name="T22" fmla="*/ 60 w 64"/>
                <a:gd name="T23" fmla="*/ 52 h 92"/>
                <a:gd name="T24" fmla="*/ 38 w 64"/>
                <a:gd name="T25" fmla="*/ 88 h 92"/>
                <a:gd name="T26" fmla="*/ 1 w 64"/>
                <a:gd name="T27" fmla="*/ 67 h 92"/>
                <a:gd name="T28" fmla="*/ 0 w 64"/>
                <a:gd name="T29" fmla="*/ 58 h 92"/>
                <a:gd name="T30" fmla="*/ 0 w 64"/>
                <a:gd name="T31" fmla="*/ 45 h 92"/>
                <a:gd name="T32" fmla="*/ 0 w 64"/>
                <a:gd name="T33" fmla="*/ 44 h 92"/>
                <a:gd name="T34" fmla="*/ 0 w 64"/>
                <a:gd name="T35" fmla="*/ 22 h 92"/>
                <a:gd name="T36" fmla="*/ 31 w 64"/>
                <a:gd name="T37" fmla="*/ 46 h 92"/>
                <a:gd name="T38" fmla="*/ 18 w 64"/>
                <a:gd name="T39" fmla="*/ 58 h 92"/>
                <a:gd name="T40" fmla="*/ 30 w 64"/>
                <a:gd name="T41" fmla="*/ 71 h 92"/>
                <a:gd name="T42" fmla="*/ 43 w 64"/>
                <a:gd name="T43" fmla="*/ 59 h 92"/>
                <a:gd name="T44" fmla="*/ 31 w 64"/>
                <a:gd name="T45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92">
                  <a:moveTo>
                    <a:pt x="0" y="22"/>
                  </a:moveTo>
                  <a:cubicBezTo>
                    <a:pt x="0" y="21"/>
                    <a:pt x="0" y="20"/>
                    <a:pt x="0" y="19"/>
                  </a:cubicBezTo>
                  <a:cubicBezTo>
                    <a:pt x="0" y="16"/>
                    <a:pt x="0" y="12"/>
                    <a:pt x="0" y="9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2" y="2"/>
                    <a:pt x="4" y="0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5" y="1"/>
                    <a:pt x="16" y="3"/>
                    <a:pt x="17" y="6"/>
                  </a:cubicBezTo>
                  <a:cubicBezTo>
                    <a:pt x="18" y="9"/>
                    <a:pt x="18" y="12"/>
                    <a:pt x="18" y="15"/>
                  </a:cubicBezTo>
                  <a:cubicBezTo>
                    <a:pt x="18" y="20"/>
                    <a:pt x="18" y="25"/>
                    <a:pt x="18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20" y="30"/>
                    <a:pt x="22" y="30"/>
                    <a:pt x="23" y="29"/>
                  </a:cubicBezTo>
                  <a:cubicBezTo>
                    <a:pt x="41" y="25"/>
                    <a:pt x="56" y="36"/>
                    <a:pt x="60" y="52"/>
                  </a:cubicBezTo>
                  <a:cubicBezTo>
                    <a:pt x="64" y="68"/>
                    <a:pt x="54" y="84"/>
                    <a:pt x="38" y="88"/>
                  </a:cubicBezTo>
                  <a:cubicBezTo>
                    <a:pt x="22" y="92"/>
                    <a:pt x="6" y="83"/>
                    <a:pt x="1" y="67"/>
                  </a:cubicBezTo>
                  <a:cubicBezTo>
                    <a:pt x="1" y="64"/>
                    <a:pt x="0" y="61"/>
                    <a:pt x="0" y="58"/>
                  </a:cubicBezTo>
                  <a:cubicBezTo>
                    <a:pt x="0" y="54"/>
                    <a:pt x="0" y="49"/>
                    <a:pt x="0" y="45"/>
                  </a:cubicBezTo>
                  <a:cubicBezTo>
                    <a:pt x="0" y="45"/>
                    <a:pt x="0" y="44"/>
                    <a:pt x="0" y="44"/>
                  </a:cubicBezTo>
                  <a:cubicBezTo>
                    <a:pt x="0" y="37"/>
                    <a:pt x="0" y="30"/>
                    <a:pt x="0" y="22"/>
                  </a:cubicBezTo>
                  <a:close/>
                  <a:moveTo>
                    <a:pt x="31" y="46"/>
                  </a:moveTo>
                  <a:cubicBezTo>
                    <a:pt x="24" y="46"/>
                    <a:pt x="18" y="52"/>
                    <a:pt x="18" y="58"/>
                  </a:cubicBezTo>
                  <a:cubicBezTo>
                    <a:pt x="18" y="65"/>
                    <a:pt x="23" y="71"/>
                    <a:pt x="30" y="71"/>
                  </a:cubicBezTo>
                  <a:cubicBezTo>
                    <a:pt x="38" y="71"/>
                    <a:pt x="43" y="66"/>
                    <a:pt x="43" y="59"/>
                  </a:cubicBezTo>
                  <a:cubicBezTo>
                    <a:pt x="43" y="52"/>
                    <a:pt x="38" y="46"/>
                    <a:pt x="31" y="46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322">
              <a:extLst>
                <a:ext uri="{FF2B5EF4-FFF2-40B4-BE49-F238E27FC236}">
                  <a16:creationId xmlns:a16="http://schemas.microsoft.com/office/drawing/2014/main" id="{4B19895B-3DA1-4B7C-90CC-49C53E57C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6738" y="449263"/>
              <a:ext cx="365125" cy="355600"/>
            </a:xfrm>
            <a:custGeom>
              <a:avLst/>
              <a:gdLst>
                <a:gd name="T0" fmla="*/ 12 w 94"/>
                <a:gd name="T1" fmla="*/ 0 h 90"/>
                <a:gd name="T2" fmla="*/ 26 w 94"/>
                <a:gd name="T3" fmla="*/ 2 h 90"/>
                <a:gd name="T4" fmla="*/ 55 w 94"/>
                <a:gd name="T5" fmla="*/ 13 h 90"/>
                <a:gd name="T6" fmla="*/ 88 w 94"/>
                <a:gd name="T7" fmla="*/ 50 h 90"/>
                <a:gd name="T8" fmla="*/ 93 w 94"/>
                <a:gd name="T9" fmla="*/ 71 h 90"/>
                <a:gd name="T10" fmla="*/ 94 w 94"/>
                <a:gd name="T11" fmla="*/ 81 h 90"/>
                <a:gd name="T12" fmla="*/ 86 w 94"/>
                <a:gd name="T13" fmla="*/ 90 h 90"/>
                <a:gd name="T14" fmla="*/ 80 w 94"/>
                <a:gd name="T15" fmla="*/ 89 h 90"/>
                <a:gd name="T16" fmla="*/ 75 w 94"/>
                <a:gd name="T17" fmla="*/ 82 h 90"/>
                <a:gd name="T18" fmla="*/ 73 w 94"/>
                <a:gd name="T19" fmla="*/ 68 h 90"/>
                <a:gd name="T20" fmla="*/ 24 w 94"/>
                <a:gd name="T21" fmla="*/ 20 h 90"/>
                <a:gd name="T22" fmla="*/ 12 w 94"/>
                <a:gd name="T23" fmla="*/ 19 h 90"/>
                <a:gd name="T24" fmla="*/ 5 w 94"/>
                <a:gd name="T25" fmla="*/ 18 h 90"/>
                <a:gd name="T26" fmla="*/ 0 w 94"/>
                <a:gd name="T27" fmla="*/ 11 h 90"/>
                <a:gd name="T28" fmla="*/ 0 w 94"/>
                <a:gd name="T29" fmla="*/ 5 h 90"/>
                <a:gd name="T30" fmla="*/ 6 w 94"/>
                <a:gd name="T31" fmla="*/ 1 h 90"/>
                <a:gd name="T32" fmla="*/ 12 w 94"/>
                <a:gd name="T33" fmla="*/ 0 h 90"/>
                <a:gd name="T34" fmla="*/ 12 w 94"/>
                <a:gd name="T3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0">
                  <a:moveTo>
                    <a:pt x="12" y="0"/>
                  </a:moveTo>
                  <a:cubicBezTo>
                    <a:pt x="17" y="0"/>
                    <a:pt x="22" y="1"/>
                    <a:pt x="26" y="2"/>
                  </a:cubicBezTo>
                  <a:cubicBezTo>
                    <a:pt x="36" y="4"/>
                    <a:pt x="46" y="7"/>
                    <a:pt x="55" y="13"/>
                  </a:cubicBezTo>
                  <a:cubicBezTo>
                    <a:pt x="70" y="22"/>
                    <a:pt x="81" y="34"/>
                    <a:pt x="88" y="50"/>
                  </a:cubicBezTo>
                  <a:cubicBezTo>
                    <a:pt x="91" y="57"/>
                    <a:pt x="93" y="64"/>
                    <a:pt x="93" y="71"/>
                  </a:cubicBezTo>
                  <a:cubicBezTo>
                    <a:pt x="94" y="74"/>
                    <a:pt x="94" y="78"/>
                    <a:pt x="94" y="81"/>
                  </a:cubicBezTo>
                  <a:cubicBezTo>
                    <a:pt x="94" y="86"/>
                    <a:pt x="91" y="89"/>
                    <a:pt x="86" y="90"/>
                  </a:cubicBezTo>
                  <a:cubicBezTo>
                    <a:pt x="84" y="90"/>
                    <a:pt x="82" y="90"/>
                    <a:pt x="80" y="89"/>
                  </a:cubicBezTo>
                  <a:cubicBezTo>
                    <a:pt x="77" y="88"/>
                    <a:pt x="75" y="85"/>
                    <a:pt x="75" y="82"/>
                  </a:cubicBezTo>
                  <a:cubicBezTo>
                    <a:pt x="74" y="77"/>
                    <a:pt x="74" y="73"/>
                    <a:pt x="73" y="68"/>
                  </a:cubicBezTo>
                  <a:cubicBezTo>
                    <a:pt x="67" y="44"/>
                    <a:pt x="48" y="25"/>
                    <a:pt x="24" y="20"/>
                  </a:cubicBezTo>
                  <a:cubicBezTo>
                    <a:pt x="20" y="19"/>
                    <a:pt x="16" y="19"/>
                    <a:pt x="12" y="19"/>
                  </a:cubicBezTo>
                  <a:cubicBezTo>
                    <a:pt x="9" y="19"/>
                    <a:pt x="7" y="18"/>
                    <a:pt x="5" y="18"/>
                  </a:cubicBezTo>
                  <a:cubicBezTo>
                    <a:pt x="2" y="17"/>
                    <a:pt x="0" y="14"/>
                    <a:pt x="0" y="11"/>
                  </a:cubicBezTo>
                  <a:cubicBezTo>
                    <a:pt x="0" y="9"/>
                    <a:pt x="0" y="7"/>
                    <a:pt x="0" y="5"/>
                  </a:cubicBezTo>
                  <a:cubicBezTo>
                    <a:pt x="1" y="3"/>
                    <a:pt x="3" y="1"/>
                    <a:pt x="6" y="1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23">
              <a:extLst>
                <a:ext uri="{FF2B5EF4-FFF2-40B4-BE49-F238E27FC236}">
                  <a16:creationId xmlns:a16="http://schemas.microsoft.com/office/drawing/2014/main" id="{B2CFD01E-CFEF-49CD-B484-27A2B3E6B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6738" y="566738"/>
              <a:ext cx="241300" cy="238125"/>
            </a:xfrm>
            <a:custGeom>
              <a:avLst/>
              <a:gdLst>
                <a:gd name="T0" fmla="*/ 62 w 62"/>
                <a:gd name="T1" fmla="*/ 49 h 60"/>
                <a:gd name="T2" fmla="*/ 62 w 62"/>
                <a:gd name="T3" fmla="*/ 53 h 60"/>
                <a:gd name="T4" fmla="*/ 56 w 62"/>
                <a:gd name="T5" fmla="*/ 59 h 60"/>
                <a:gd name="T6" fmla="*/ 49 w 62"/>
                <a:gd name="T7" fmla="*/ 60 h 60"/>
                <a:gd name="T8" fmla="*/ 42 w 62"/>
                <a:gd name="T9" fmla="*/ 52 h 60"/>
                <a:gd name="T10" fmla="*/ 41 w 62"/>
                <a:gd name="T11" fmla="*/ 42 h 60"/>
                <a:gd name="T12" fmla="*/ 16 w 62"/>
                <a:gd name="T13" fmla="*/ 20 h 60"/>
                <a:gd name="T14" fmla="*/ 8 w 62"/>
                <a:gd name="T15" fmla="*/ 19 h 60"/>
                <a:gd name="T16" fmla="*/ 5 w 62"/>
                <a:gd name="T17" fmla="*/ 18 h 60"/>
                <a:gd name="T18" fmla="*/ 0 w 62"/>
                <a:gd name="T19" fmla="*/ 10 h 60"/>
                <a:gd name="T20" fmla="*/ 0 w 62"/>
                <a:gd name="T21" fmla="*/ 7 h 60"/>
                <a:gd name="T22" fmla="*/ 8 w 62"/>
                <a:gd name="T23" fmla="*/ 1 h 60"/>
                <a:gd name="T24" fmla="*/ 18 w 62"/>
                <a:gd name="T25" fmla="*/ 2 h 60"/>
                <a:gd name="T26" fmla="*/ 42 w 62"/>
                <a:gd name="T27" fmla="*/ 12 h 60"/>
                <a:gd name="T28" fmla="*/ 61 w 62"/>
                <a:gd name="T29" fmla="*/ 40 h 60"/>
                <a:gd name="T30" fmla="*/ 62 w 62"/>
                <a:gd name="T3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60">
                  <a:moveTo>
                    <a:pt x="62" y="49"/>
                  </a:moveTo>
                  <a:cubicBezTo>
                    <a:pt x="62" y="51"/>
                    <a:pt x="62" y="52"/>
                    <a:pt x="62" y="53"/>
                  </a:cubicBezTo>
                  <a:cubicBezTo>
                    <a:pt x="61" y="56"/>
                    <a:pt x="59" y="58"/>
                    <a:pt x="56" y="59"/>
                  </a:cubicBezTo>
                  <a:cubicBezTo>
                    <a:pt x="54" y="60"/>
                    <a:pt x="51" y="60"/>
                    <a:pt x="49" y="60"/>
                  </a:cubicBezTo>
                  <a:cubicBezTo>
                    <a:pt x="45" y="59"/>
                    <a:pt x="43" y="56"/>
                    <a:pt x="42" y="52"/>
                  </a:cubicBezTo>
                  <a:cubicBezTo>
                    <a:pt x="42" y="49"/>
                    <a:pt x="42" y="45"/>
                    <a:pt x="41" y="42"/>
                  </a:cubicBezTo>
                  <a:cubicBezTo>
                    <a:pt x="37" y="30"/>
                    <a:pt x="28" y="23"/>
                    <a:pt x="16" y="20"/>
                  </a:cubicBezTo>
                  <a:cubicBezTo>
                    <a:pt x="13" y="20"/>
                    <a:pt x="10" y="20"/>
                    <a:pt x="8" y="19"/>
                  </a:cubicBezTo>
                  <a:cubicBezTo>
                    <a:pt x="7" y="19"/>
                    <a:pt x="6" y="19"/>
                    <a:pt x="5" y="18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1" y="3"/>
                    <a:pt x="4" y="1"/>
                    <a:pt x="8" y="1"/>
                  </a:cubicBezTo>
                  <a:cubicBezTo>
                    <a:pt x="11" y="0"/>
                    <a:pt x="15" y="1"/>
                    <a:pt x="18" y="2"/>
                  </a:cubicBezTo>
                  <a:cubicBezTo>
                    <a:pt x="27" y="3"/>
                    <a:pt x="35" y="7"/>
                    <a:pt x="42" y="12"/>
                  </a:cubicBezTo>
                  <a:cubicBezTo>
                    <a:pt x="52" y="19"/>
                    <a:pt x="58" y="28"/>
                    <a:pt x="61" y="40"/>
                  </a:cubicBezTo>
                  <a:cubicBezTo>
                    <a:pt x="61" y="43"/>
                    <a:pt x="62" y="47"/>
                    <a:pt x="62" y="49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A062A467-46F6-44EE-85C5-30B9BCCA6903}"/>
              </a:ext>
            </a:extLst>
          </p:cNvPr>
          <p:cNvGrpSpPr/>
          <p:nvPr/>
        </p:nvGrpSpPr>
        <p:grpSpPr>
          <a:xfrm>
            <a:off x="388938" y="1541463"/>
            <a:ext cx="844550" cy="841375"/>
            <a:chOff x="388938" y="1541463"/>
            <a:chExt cx="844550" cy="841375"/>
          </a:xfrm>
        </p:grpSpPr>
        <p:sp>
          <p:nvSpPr>
            <p:cNvPr id="398" name="AutoShape 325">
              <a:extLst>
                <a:ext uri="{FF2B5EF4-FFF2-40B4-BE49-F238E27FC236}">
                  <a16:creationId xmlns:a16="http://schemas.microsoft.com/office/drawing/2014/main" id="{E1DAFB1B-BE49-4EF3-A02B-5E542EC61D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938" y="15414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Oval 327">
              <a:extLst>
                <a:ext uri="{FF2B5EF4-FFF2-40B4-BE49-F238E27FC236}">
                  <a16:creationId xmlns:a16="http://schemas.microsoft.com/office/drawing/2014/main" id="{BFB76F6F-F7DF-490A-8350-203270590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8" y="15446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328">
              <a:extLst>
                <a:ext uri="{FF2B5EF4-FFF2-40B4-BE49-F238E27FC236}">
                  <a16:creationId xmlns:a16="http://schemas.microsoft.com/office/drawing/2014/main" id="{C3D5303F-9F3B-4040-9ACF-3C3479525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3" y="15732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329">
              <a:extLst>
                <a:ext uri="{FF2B5EF4-FFF2-40B4-BE49-F238E27FC236}">
                  <a16:creationId xmlns:a16="http://schemas.microsoft.com/office/drawing/2014/main" id="{B4963A3D-3456-415B-9A8A-5A7E43A51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88" y="1797051"/>
              <a:ext cx="361950" cy="338138"/>
            </a:xfrm>
            <a:custGeom>
              <a:avLst/>
              <a:gdLst>
                <a:gd name="T0" fmla="*/ 73 w 89"/>
                <a:gd name="T1" fmla="*/ 47 h 84"/>
                <a:gd name="T2" fmla="*/ 45 w 89"/>
                <a:gd name="T3" fmla="*/ 47 h 84"/>
                <a:gd name="T4" fmla="*/ 45 w 89"/>
                <a:gd name="T5" fmla="*/ 46 h 84"/>
                <a:gd name="T6" fmla="*/ 45 w 89"/>
                <a:gd name="T7" fmla="*/ 33 h 84"/>
                <a:gd name="T8" fmla="*/ 46 w 89"/>
                <a:gd name="T9" fmla="*/ 33 h 84"/>
                <a:gd name="T10" fmla="*/ 86 w 89"/>
                <a:gd name="T11" fmla="*/ 33 h 84"/>
                <a:gd name="T12" fmla="*/ 86 w 89"/>
                <a:gd name="T13" fmla="*/ 33 h 84"/>
                <a:gd name="T14" fmla="*/ 80 w 89"/>
                <a:gd name="T15" fmla="*/ 66 h 84"/>
                <a:gd name="T16" fmla="*/ 57 w 89"/>
                <a:gd name="T17" fmla="*/ 82 h 84"/>
                <a:gd name="T18" fmla="*/ 41 w 89"/>
                <a:gd name="T19" fmla="*/ 84 h 84"/>
                <a:gd name="T20" fmla="*/ 4 w 89"/>
                <a:gd name="T21" fmla="*/ 51 h 84"/>
                <a:gd name="T22" fmla="*/ 31 w 89"/>
                <a:gd name="T23" fmla="*/ 3 h 84"/>
                <a:gd name="T24" fmla="*/ 47 w 89"/>
                <a:gd name="T25" fmla="*/ 0 h 84"/>
                <a:gd name="T26" fmla="*/ 73 w 89"/>
                <a:gd name="T27" fmla="*/ 11 h 84"/>
                <a:gd name="T28" fmla="*/ 74 w 89"/>
                <a:gd name="T29" fmla="*/ 11 h 84"/>
                <a:gd name="T30" fmla="*/ 64 w 89"/>
                <a:gd name="T31" fmla="*/ 21 h 84"/>
                <a:gd name="T32" fmla="*/ 41 w 89"/>
                <a:gd name="T33" fmla="*/ 14 h 84"/>
                <a:gd name="T34" fmla="*/ 26 w 89"/>
                <a:gd name="T35" fmla="*/ 22 h 84"/>
                <a:gd name="T36" fmla="*/ 21 w 89"/>
                <a:gd name="T37" fmla="*/ 55 h 84"/>
                <a:gd name="T38" fmla="*/ 50 w 89"/>
                <a:gd name="T39" fmla="*/ 70 h 84"/>
                <a:gd name="T40" fmla="*/ 73 w 89"/>
                <a:gd name="T41" fmla="*/ 4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84">
                  <a:moveTo>
                    <a:pt x="73" y="47"/>
                  </a:moveTo>
                  <a:cubicBezTo>
                    <a:pt x="64" y="47"/>
                    <a:pt x="55" y="47"/>
                    <a:pt x="45" y="47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2"/>
                    <a:pt x="45" y="38"/>
                    <a:pt x="45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59" y="33"/>
                    <a:pt x="72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9" y="45"/>
                    <a:pt x="87" y="56"/>
                    <a:pt x="80" y="66"/>
                  </a:cubicBezTo>
                  <a:cubicBezTo>
                    <a:pt x="74" y="74"/>
                    <a:pt x="67" y="79"/>
                    <a:pt x="57" y="82"/>
                  </a:cubicBezTo>
                  <a:cubicBezTo>
                    <a:pt x="52" y="84"/>
                    <a:pt x="46" y="84"/>
                    <a:pt x="41" y="84"/>
                  </a:cubicBezTo>
                  <a:cubicBezTo>
                    <a:pt x="23" y="82"/>
                    <a:pt x="8" y="69"/>
                    <a:pt x="4" y="51"/>
                  </a:cubicBezTo>
                  <a:cubicBezTo>
                    <a:pt x="0" y="31"/>
                    <a:pt x="11" y="9"/>
                    <a:pt x="31" y="3"/>
                  </a:cubicBezTo>
                  <a:cubicBezTo>
                    <a:pt x="36" y="1"/>
                    <a:pt x="42" y="0"/>
                    <a:pt x="47" y="0"/>
                  </a:cubicBezTo>
                  <a:cubicBezTo>
                    <a:pt x="57" y="1"/>
                    <a:pt x="66" y="4"/>
                    <a:pt x="73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0" y="14"/>
                    <a:pt x="67" y="18"/>
                    <a:pt x="64" y="21"/>
                  </a:cubicBezTo>
                  <a:cubicBezTo>
                    <a:pt x="57" y="15"/>
                    <a:pt x="50" y="13"/>
                    <a:pt x="41" y="14"/>
                  </a:cubicBezTo>
                  <a:cubicBezTo>
                    <a:pt x="35" y="15"/>
                    <a:pt x="30" y="18"/>
                    <a:pt x="26" y="22"/>
                  </a:cubicBezTo>
                  <a:cubicBezTo>
                    <a:pt x="17" y="31"/>
                    <a:pt x="15" y="44"/>
                    <a:pt x="21" y="55"/>
                  </a:cubicBezTo>
                  <a:cubicBezTo>
                    <a:pt x="27" y="66"/>
                    <a:pt x="38" y="71"/>
                    <a:pt x="50" y="70"/>
                  </a:cubicBezTo>
                  <a:cubicBezTo>
                    <a:pt x="62" y="68"/>
                    <a:pt x="71" y="58"/>
                    <a:pt x="73" y="47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330">
              <a:extLst>
                <a:ext uri="{FF2B5EF4-FFF2-40B4-BE49-F238E27FC236}">
                  <a16:creationId xmlns:a16="http://schemas.microsoft.com/office/drawing/2014/main" id="{6693C459-92E4-445A-99D4-57E54B969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451" y="1873251"/>
              <a:ext cx="153988" cy="149225"/>
            </a:xfrm>
            <a:custGeom>
              <a:avLst/>
              <a:gdLst>
                <a:gd name="T0" fmla="*/ 38 w 38"/>
                <a:gd name="T1" fmla="*/ 23 h 37"/>
                <a:gd name="T2" fmla="*/ 24 w 38"/>
                <a:gd name="T3" fmla="*/ 23 h 37"/>
                <a:gd name="T4" fmla="*/ 24 w 38"/>
                <a:gd name="T5" fmla="*/ 37 h 37"/>
                <a:gd name="T6" fmla="*/ 14 w 38"/>
                <a:gd name="T7" fmla="*/ 37 h 37"/>
                <a:gd name="T8" fmla="*/ 14 w 38"/>
                <a:gd name="T9" fmla="*/ 23 h 37"/>
                <a:gd name="T10" fmla="*/ 0 w 38"/>
                <a:gd name="T11" fmla="*/ 23 h 37"/>
                <a:gd name="T12" fmla="*/ 0 w 38"/>
                <a:gd name="T13" fmla="*/ 22 h 37"/>
                <a:gd name="T14" fmla="*/ 0 w 38"/>
                <a:gd name="T15" fmla="*/ 14 h 37"/>
                <a:gd name="T16" fmla="*/ 1 w 38"/>
                <a:gd name="T17" fmla="*/ 14 h 37"/>
                <a:gd name="T18" fmla="*/ 13 w 38"/>
                <a:gd name="T19" fmla="*/ 14 h 37"/>
                <a:gd name="T20" fmla="*/ 14 w 38"/>
                <a:gd name="T21" fmla="*/ 14 h 37"/>
                <a:gd name="T22" fmla="*/ 14 w 38"/>
                <a:gd name="T23" fmla="*/ 13 h 37"/>
                <a:gd name="T24" fmla="*/ 14 w 38"/>
                <a:gd name="T25" fmla="*/ 0 h 37"/>
                <a:gd name="T26" fmla="*/ 15 w 38"/>
                <a:gd name="T27" fmla="*/ 0 h 37"/>
                <a:gd name="T28" fmla="*/ 23 w 38"/>
                <a:gd name="T29" fmla="*/ 0 h 37"/>
                <a:gd name="T30" fmla="*/ 24 w 38"/>
                <a:gd name="T31" fmla="*/ 0 h 37"/>
                <a:gd name="T32" fmla="*/ 24 w 38"/>
                <a:gd name="T33" fmla="*/ 14 h 37"/>
                <a:gd name="T34" fmla="*/ 38 w 38"/>
                <a:gd name="T35" fmla="*/ 14 h 37"/>
                <a:gd name="T36" fmla="*/ 38 w 38"/>
                <a:gd name="T3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37">
                  <a:moveTo>
                    <a:pt x="38" y="23"/>
                  </a:moveTo>
                  <a:cubicBezTo>
                    <a:pt x="33" y="23"/>
                    <a:pt x="28" y="23"/>
                    <a:pt x="24" y="23"/>
                  </a:cubicBezTo>
                  <a:cubicBezTo>
                    <a:pt x="24" y="28"/>
                    <a:pt x="24" y="32"/>
                    <a:pt x="24" y="37"/>
                  </a:cubicBezTo>
                  <a:cubicBezTo>
                    <a:pt x="20" y="37"/>
                    <a:pt x="17" y="37"/>
                    <a:pt x="14" y="37"/>
                  </a:cubicBezTo>
                  <a:cubicBezTo>
                    <a:pt x="14" y="32"/>
                    <a:pt x="14" y="28"/>
                    <a:pt x="14" y="23"/>
                  </a:cubicBezTo>
                  <a:cubicBezTo>
                    <a:pt x="10" y="23"/>
                    <a:pt x="5" y="23"/>
                    <a:pt x="0" y="23"/>
                  </a:cubicBezTo>
                  <a:cubicBezTo>
                    <a:pt x="0" y="23"/>
                    <a:pt x="0" y="23"/>
                    <a:pt x="0" y="22"/>
                  </a:cubicBezTo>
                  <a:cubicBezTo>
                    <a:pt x="0" y="20"/>
                    <a:pt x="0" y="17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5" y="14"/>
                    <a:pt x="9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9"/>
                    <a:pt x="14" y="5"/>
                    <a:pt x="14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4" y="4"/>
                    <a:pt x="24" y="9"/>
                    <a:pt x="24" y="14"/>
                  </a:cubicBezTo>
                  <a:cubicBezTo>
                    <a:pt x="28" y="14"/>
                    <a:pt x="33" y="14"/>
                    <a:pt x="38" y="14"/>
                  </a:cubicBezTo>
                  <a:cubicBezTo>
                    <a:pt x="38" y="17"/>
                    <a:pt x="38" y="20"/>
                    <a:pt x="38" y="23"/>
                  </a:cubicBezTo>
                  <a:close/>
                </a:path>
              </a:pathLst>
            </a:custGeom>
            <a:noFill/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823E4985-CF9A-41BE-B67D-CE68A8E2761B}"/>
              </a:ext>
            </a:extLst>
          </p:cNvPr>
          <p:cNvGrpSpPr/>
          <p:nvPr/>
        </p:nvGrpSpPr>
        <p:grpSpPr>
          <a:xfrm>
            <a:off x="1422400" y="1577976"/>
            <a:ext cx="758825" cy="766763"/>
            <a:chOff x="1422400" y="1577976"/>
            <a:chExt cx="758825" cy="766763"/>
          </a:xfrm>
        </p:grpSpPr>
        <p:sp>
          <p:nvSpPr>
            <p:cNvPr id="405" name="AutoShape 332">
              <a:extLst>
                <a:ext uri="{FF2B5EF4-FFF2-40B4-BE49-F238E27FC236}">
                  <a16:creationId xmlns:a16="http://schemas.microsoft.com/office/drawing/2014/main" id="{ED59C3AF-903C-45D4-9139-E71875A361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2400" y="15827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334">
              <a:extLst>
                <a:ext uri="{FF2B5EF4-FFF2-40B4-BE49-F238E27FC236}">
                  <a16:creationId xmlns:a16="http://schemas.microsoft.com/office/drawing/2014/main" id="{C2E62EB3-BB4A-40A1-BD1E-01C2E5709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5575" y="1577976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335">
              <a:extLst>
                <a:ext uri="{FF2B5EF4-FFF2-40B4-BE49-F238E27FC236}">
                  <a16:creationId xmlns:a16="http://schemas.microsoft.com/office/drawing/2014/main" id="{22AE5667-6441-4C3B-A49C-D50CED4D6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1800226"/>
              <a:ext cx="346075" cy="331788"/>
            </a:xfrm>
            <a:custGeom>
              <a:avLst/>
              <a:gdLst>
                <a:gd name="T0" fmla="*/ 73 w 89"/>
                <a:gd name="T1" fmla="*/ 47 h 84"/>
                <a:gd name="T2" fmla="*/ 45 w 89"/>
                <a:gd name="T3" fmla="*/ 47 h 84"/>
                <a:gd name="T4" fmla="*/ 45 w 89"/>
                <a:gd name="T5" fmla="*/ 46 h 84"/>
                <a:gd name="T6" fmla="*/ 45 w 89"/>
                <a:gd name="T7" fmla="*/ 33 h 84"/>
                <a:gd name="T8" fmla="*/ 46 w 89"/>
                <a:gd name="T9" fmla="*/ 33 h 84"/>
                <a:gd name="T10" fmla="*/ 86 w 89"/>
                <a:gd name="T11" fmla="*/ 33 h 84"/>
                <a:gd name="T12" fmla="*/ 86 w 89"/>
                <a:gd name="T13" fmla="*/ 33 h 84"/>
                <a:gd name="T14" fmla="*/ 80 w 89"/>
                <a:gd name="T15" fmla="*/ 66 h 84"/>
                <a:gd name="T16" fmla="*/ 57 w 89"/>
                <a:gd name="T17" fmla="*/ 82 h 84"/>
                <a:gd name="T18" fmla="*/ 41 w 89"/>
                <a:gd name="T19" fmla="*/ 84 h 84"/>
                <a:gd name="T20" fmla="*/ 4 w 89"/>
                <a:gd name="T21" fmla="*/ 51 h 84"/>
                <a:gd name="T22" fmla="*/ 31 w 89"/>
                <a:gd name="T23" fmla="*/ 3 h 84"/>
                <a:gd name="T24" fmla="*/ 47 w 89"/>
                <a:gd name="T25" fmla="*/ 0 h 84"/>
                <a:gd name="T26" fmla="*/ 73 w 89"/>
                <a:gd name="T27" fmla="*/ 11 h 84"/>
                <a:gd name="T28" fmla="*/ 74 w 89"/>
                <a:gd name="T29" fmla="*/ 11 h 84"/>
                <a:gd name="T30" fmla="*/ 64 w 89"/>
                <a:gd name="T31" fmla="*/ 21 h 84"/>
                <a:gd name="T32" fmla="*/ 41 w 89"/>
                <a:gd name="T33" fmla="*/ 14 h 84"/>
                <a:gd name="T34" fmla="*/ 26 w 89"/>
                <a:gd name="T35" fmla="*/ 22 h 84"/>
                <a:gd name="T36" fmla="*/ 21 w 89"/>
                <a:gd name="T37" fmla="*/ 55 h 84"/>
                <a:gd name="T38" fmla="*/ 50 w 89"/>
                <a:gd name="T39" fmla="*/ 70 h 84"/>
                <a:gd name="T40" fmla="*/ 73 w 89"/>
                <a:gd name="T41" fmla="*/ 4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84">
                  <a:moveTo>
                    <a:pt x="73" y="47"/>
                  </a:moveTo>
                  <a:cubicBezTo>
                    <a:pt x="64" y="47"/>
                    <a:pt x="55" y="47"/>
                    <a:pt x="45" y="47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2"/>
                    <a:pt x="45" y="38"/>
                    <a:pt x="45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59" y="33"/>
                    <a:pt x="72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9" y="45"/>
                    <a:pt x="87" y="56"/>
                    <a:pt x="80" y="66"/>
                  </a:cubicBezTo>
                  <a:cubicBezTo>
                    <a:pt x="74" y="74"/>
                    <a:pt x="67" y="79"/>
                    <a:pt x="57" y="82"/>
                  </a:cubicBezTo>
                  <a:cubicBezTo>
                    <a:pt x="52" y="84"/>
                    <a:pt x="46" y="84"/>
                    <a:pt x="41" y="84"/>
                  </a:cubicBezTo>
                  <a:cubicBezTo>
                    <a:pt x="23" y="82"/>
                    <a:pt x="8" y="69"/>
                    <a:pt x="4" y="51"/>
                  </a:cubicBezTo>
                  <a:cubicBezTo>
                    <a:pt x="0" y="31"/>
                    <a:pt x="11" y="9"/>
                    <a:pt x="31" y="3"/>
                  </a:cubicBezTo>
                  <a:cubicBezTo>
                    <a:pt x="36" y="1"/>
                    <a:pt x="42" y="0"/>
                    <a:pt x="47" y="0"/>
                  </a:cubicBezTo>
                  <a:cubicBezTo>
                    <a:pt x="57" y="1"/>
                    <a:pt x="66" y="4"/>
                    <a:pt x="73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0" y="14"/>
                    <a:pt x="67" y="18"/>
                    <a:pt x="64" y="21"/>
                  </a:cubicBezTo>
                  <a:cubicBezTo>
                    <a:pt x="57" y="15"/>
                    <a:pt x="50" y="13"/>
                    <a:pt x="41" y="14"/>
                  </a:cubicBezTo>
                  <a:cubicBezTo>
                    <a:pt x="35" y="15"/>
                    <a:pt x="30" y="18"/>
                    <a:pt x="26" y="22"/>
                  </a:cubicBezTo>
                  <a:cubicBezTo>
                    <a:pt x="17" y="31"/>
                    <a:pt x="15" y="44"/>
                    <a:pt x="21" y="55"/>
                  </a:cubicBezTo>
                  <a:cubicBezTo>
                    <a:pt x="27" y="66"/>
                    <a:pt x="38" y="71"/>
                    <a:pt x="50" y="70"/>
                  </a:cubicBezTo>
                  <a:cubicBezTo>
                    <a:pt x="62" y="68"/>
                    <a:pt x="71" y="58"/>
                    <a:pt x="73" y="47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336">
              <a:extLst>
                <a:ext uri="{FF2B5EF4-FFF2-40B4-BE49-F238E27FC236}">
                  <a16:creationId xmlns:a16="http://schemas.microsoft.com/office/drawing/2014/main" id="{583DF77A-03E5-45D5-8B32-28FE90734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1874838"/>
              <a:ext cx="147638" cy="146050"/>
            </a:xfrm>
            <a:custGeom>
              <a:avLst/>
              <a:gdLst>
                <a:gd name="T0" fmla="*/ 38 w 38"/>
                <a:gd name="T1" fmla="*/ 23 h 37"/>
                <a:gd name="T2" fmla="*/ 24 w 38"/>
                <a:gd name="T3" fmla="*/ 23 h 37"/>
                <a:gd name="T4" fmla="*/ 24 w 38"/>
                <a:gd name="T5" fmla="*/ 37 h 37"/>
                <a:gd name="T6" fmla="*/ 14 w 38"/>
                <a:gd name="T7" fmla="*/ 37 h 37"/>
                <a:gd name="T8" fmla="*/ 14 w 38"/>
                <a:gd name="T9" fmla="*/ 23 h 37"/>
                <a:gd name="T10" fmla="*/ 0 w 38"/>
                <a:gd name="T11" fmla="*/ 23 h 37"/>
                <a:gd name="T12" fmla="*/ 0 w 38"/>
                <a:gd name="T13" fmla="*/ 22 h 37"/>
                <a:gd name="T14" fmla="*/ 0 w 38"/>
                <a:gd name="T15" fmla="*/ 14 h 37"/>
                <a:gd name="T16" fmla="*/ 1 w 38"/>
                <a:gd name="T17" fmla="*/ 14 h 37"/>
                <a:gd name="T18" fmla="*/ 13 w 38"/>
                <a:gd name="T19" fmla="*/ 14 h 37"/>
                <a:gd name="T20" fmla="*/ 14 w 38"/>
                <a:gd name="T21" fmla="*/ 14 h 37"/>
                <a:gd name="T22" fmla="*/ 14 w 38"/>
                <a:gd name="T23" fmla="*/ 13 h 37"/>
                <a:gd name="T24" fmla="*/ 14 w 38"/>
                <a:gd name="T25" fmla="*/ 0 h 37"/>
                <a:gd name="T26" fmla="*/ 15 w 38"/>
                <a:gd name="T27" fmla="*/ 0 h 37"/>
                <a:gd name="T28" fmla="*/ 23 w 38"/>
                <a:gd name="T29" fmla="*/ 0 h 37"/>
                <a:gd name="T30" fmla="*/ 24 w 38"/>
                <a:gd name="T31" fmla="*/ 0 h 37"/>
                <a:gd name="T32" fmla="*/ 24 w 38"/>
                <a:gd name="T33" fmla="*/ 14 h 37"/>
                <a:gd name="T34" fmla="*/ 38 w 38"/>
                <a:gd name="T35" fmla="*/ 14 h 37"/>
                <a:gd name="T36" fmla="*/ 38 w 38"/>
                <a:gd name="T3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37">
                  <a:moveTo>
                    <a:pt x="38" y="23"/>
                  </a:moveTo>
                  <a:cubicBezTo>
                    <a:pt x="33" y="23"/>
                    <a:pt x="28" y="23"/>
                    <a:pt x="24" y="23"/>
                  </a:cubicBezTo>
                  <a:cubicBezTo>
                    <a:pt x="24" y="28"/>
                    <a:pt x="24" y="32"/>
                    <a:pt x="24" y="37"/>
                  </a:cubicBezTo>
                  <a:cubicBezTo>
                    <a:pt x="20" y="37"/>
                    <a:pt x="17" y="37"/>
                    <a:pt x="14" y="37"/>
                  </a:cubicBezTo>
                  <a:cubicBezTo>
                    <a:pt x="14" y="32"/>
                    <a:pt x="14" y="28"/>
                    <a:pt x="14" y="23"/>
                  </a:cubicBezTo>
                  <a:cubicBezTo>
                    <a:pt x="10" y="23"/>
                    <a:pt x="5" y="23"/>
                    <a:pt x="0" y="23"/>
                  </a:cubicBezTo>
                  <a:cubicBezTo>
                    <a:pt x="0" y="23"/>
                    <a:pt x="0" y="23"/>
                    <a:pt x="0" y="22"/>
                  </a:cubicBezTo>
                  <a:cubicBezTo>
                    <a:pt x="0" y="20"/>
                    <a:pt x="0" y="17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5" y="14"/>
                    <a:pt x="9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9"/>
                    <a:pt x="14" y="5"/>
                    <a:pt x="14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4" y="4"/>
                    <a:pt x="24" y="9"/>
                    <a:pt x="24" y="14"/>
                  </a:cubicBezTo>
                  <a:cubicBezTo>
                    <a:pt x="28" y="14"/>
                    <a:pt x="33" y="14"/>
                    <a:pt x="38" y="14"/>
                  </a:cubicBezTo>
                  <a:cubicBezTo>
                    <a:pt x="38" y="17"/>
                    <a:pt x="38" y="20"/>
                    <a:pt x="38" y="23"/>
                  </a:cubicBezTo>
                  <a:close/>
                </a:path>
              </a:pathLst>
            </a:custGeom>
            <a:noFill/>
            <a:ln w="15875" cap="flat">
              <a:solidFill>
                <a:srgbClr val="0091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6" name="Group 415">
            <a:extLst>
              <a:ext uri="{FF2B5EF4-FFF2-40B4-BE49-F238E27FC236}">
                <a16:creationId xmlns:a16="http://schemas.microsoft.com/office/drawing/2014/main" id="{3F277995-637C-443E-A945-B0676CD13FBC}"/>
              </a:ext>
            </a:extLst>
          </p:cNvPr>
          <p:cNvGrpSpPr/>
          <p:nvPr/>
        </p:nvGrpSpPr>
        <p:grpSpPr>
          <a:xfrm>
            <a:off x="2598738" y="1541463"/>
            <a:ext cx="844550" cy="841375"/>
            <a:chOff x="2598738" y="1541463"/>
            <a:chExt cx="844550" cy="841375"/>
          </a:xfrm>
        </p:grpSpPr>
        <p:sp>
          <p:nvSpPr>
            <p:cNvPr id="411" name="AutoShape 338">
              <a:extLst>
                <a:ext uri="{FF2B5EF4-FFF2-40B4-BE49-F238E27FC236}">
                  <a16:creationId xmlns:a16="http://schemas.microsoft.com/office/drawing/2014/main" id="{7C985253-C48A-4413-A5A4-C2B447BB13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8738" y="15414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Oval 340">
              <a:extLst>
                <a:ext uri="{FF2B5EF4-FFF2-40B4-BE49-F238E27FC236}">
                  <a16:creationId xmlns:a16="http://schemas.microsoft.com/office/drawing/2014/main" id="{D922159A-826C-4A34-99F6-F8660110A2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8738" y="15446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Freeform 341">
              <a:extLst>
                <a:ext uri="{FF2B5EF4-FFF2-40B4-BE49-F238E27FC236}">
                  <a16:creationId xmlns:a16="http://schemas.microsoft.com/office/drawing/2014/main" id="{3CE9076F-CCBD-4765-9DD3-3655E52385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7313" y="15732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342">
              <a:extLst>
                <a:ext uri="{FF2B5EF4-FFF2-40B4-BE49-F238E27FC236}">
                  <a16:creationId xmlns:a16="http://schemas.microsoft.com/office/drawing/2014/main" id="{55263AE1-3994-4D40-85B3-61C49424C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8" y="1797051"/>
              <a:ext cx="361950" cy="338138"/>
            </a:xfrm>
            <a:custGeom>
              <a:avLst/>
              <a:gdLst>
                <a:gd name="T0" fmla="*/ 73 w 89"/>
                <a:gd name="T1" fmla="*/ 47 h 84"/>
                <a:gd name="T2" fmla="*/ 45 w 89"/>
                <a:gd name="T3" fmla="*/ 47 h 84"/>
                <a:gd name="T4" fmla="*/ 45 w 89"/>
                <a:gd name="T5" fmla="*/ 46 h 84"/>
                <a:gd name="T6" fmla="*/ 45 w 89"/>
                <a:gd name="T7" fmla="*/ 33 h 84"/>
                <a:gd name="T8" fmla="*/ 46 w 89"/>
                <a:gd name="T9" fmla="*/ 33 h 84"/>
                <a:gd name="T10" fmla="*/ 86 w 89"/>
                <a:gd name="T11" fmla="*/ 33 h 84"/>
                <a:gd name="T12" fmla="*/ 86 w 89"/>
                <a:gd name="T13" fmla="*/ 33 h 84"/>
                <a:gd name="T14" fmla="*/ 80 w 89"/>
                <a:gd name="T15" fmla="*/ 66 h 84"/>
                <a:gd name="T16" fmla="*/ 57 w 89"/>
                <a:gd name="T17" fmla="*/ 82 h 84"/>
                <a:gd name="T18" fmla="*/ 41 w 89"/>
                <a:gd name="T19" fmla="*/ 84 h 84"/>
                <a:gd name="T20" fmla="*/ 4 w 89"/>
                <a:gd name="T21" fmla="*/ 51 h 84"/>
                <a:gd name="T22" fmla="*/ 31 w 89"/>
                <a:gd name="T23" fmla="*/ 3 h 84"/>
                <a:gd name="T24" fmla="*/ 47 w 89"/>
                <a:gd name="T25" fmla="*/ 0 h 84"/>
                <a:gd name="T26" fmla="*/ 73 w 89"/>
                <a:gd name="T27" fmla="*/ 11 h 84"/>
                <a:gd name="T28" fmla="*/ 74 w 89"/>
                <a:gd name="T29" fmla="*/ 11 h 84"/>
                <a:gd name="T30" fmla="*/ 64 w 89"/>
                <a:gd name="T31" fmla="*/ 21 h 84"/>
                <a:gd name="T32" fmla="*/ 41 w 89"/>
                <a:gd name="T33" fmla="*/ 14 h 84"/>
                <a:gd name="T34" fmla="*/ 26 w 89"/>
                <a:gd name="T35" fmla="*/ 22 h 84"/>
                <a:gd name="T36" fmla="*/ 21 w 89"/>
                <a:gd name="T37" fmla="*/ 55 h 84"/>
                <a:gd name="T38" fmla="*/ 50 w 89"/>
                <a:gd name="T39" fmla="*/ 70 h 84"/>
                <a:gd name="T40" fmla="*/ 73 w 89"/>
                <a:gd name="T41" fmla="*/ 4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84">
                  <a:moveTo>
                    <a:pt x="73" y="47"/>
                  </a:moveTo>
                  <a:cubicBezTo>
                    <a:pt x="64" y="47"/>
                    <a:pt x="55" y="47"/>
                    <a:pt x="45" y="47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2"/>
                    <a:pt x="45" y="38"/>
                    <a:pt x="45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59" y="33"/>
                    <a:pt x="72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9" y="45"/>
                    <a:pt x="87" y="56"/>
                    <a:pt x="80" y="66"/>
                  </a:cubicBezTo>
                  <a:cubicBezTo>
                    <a:pt x="74" y="74"/>
                    <a:pt x="67" y="79"/>
                    <a:pt x="57" y="82"/>
                  </a:cubicBezTo>
                  <a:cubicBezTo>
                    <a:pt x="52" y="84"/>
                    <a:pt x="46" y="84"/>
                    <a:pt x="41" y="84"/>
                  </a:cubicBezTo>
                  <a:cubicBezTo>
                    <a:pt x="23" y="82"/>
                    <a:pt x="8" y="69"/>
                    <a:pt x="4" y="51"/>
                  </a:cubicBezTo>
                  <a:cubicBezTo>
                    <a:pt x="0" y="31"/>
                    <a:pt x="11" y="9"/>
                    <a:pt x="31" y="3"/>
                  </a:cubicBezTo>
                  <a:cubicBezTo>
                    <a:pt x="36" y="1"/>
                    <a:pt x="42" y="0"/>
                    <a:pt x="47" y="0"/>
                  </a:cubicBezTo>
                  <a:cubicBezTo>
                    <a:pt x="57" y="1"/>
                    <a:pt x="66" y="4"/>
                    <a:pt x="73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0" y="14"/>
                    <a:pt x="67" y="18"/>
                    <a:pt x="64" y="21"/>
                  </a:cubicBezTo>
                  <a:cubicBezTo>
                    <a:pt x="57" y="15"/>
                    <a:pt x="50" y="13"/>
                    <a:pt x="41" y="14"/>
                  </a:cubicBezTo>
                  <a:cubicBezTo>
                    <a:pt x="35" y="15"/>
                    <a:pt x="30" y="18"/>
                    <a:pt x="26" y="22"/>
                  </a:cubicBezTo>
                  <a:cubicBezTo>
                    <a:pt x="17" y="31"/>
                    <a:pt x="15" y="44"/>
                    <a:pt x="21" y="55"/>
                  </a:cubicBezTo>
                  <a:cubicBezTo>
                    <a:pt x="27" y="66"/>
                    <a:pt x="38" y="71"/>
                    <a:pt x="50" y="70"/>
                  </a:cubicBezTo>
                  <a:cubicBezTo>
                    <a:pt x="62" y="68"/>
                    <a:pt x="71" y="58"/>
                    <a:pt x="73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343">
              <a:extLst>
                <a:ext uri="{FF2B5EF4-FFF2-40B4-BE49-F238E27FC236}">
                  <a16:creationId xmlns:a16="http://schemas.microsoft.com/office/drawing/2014/main" id="{B59B6CEB-4E94-4514-8C1C-285DFBB3A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1" y="1873251"/>
              <a:ext cx="153988" cy="149225"/>
            </a:xfrm>
            <a:custGeom>
              <a:avLst/>
              <a:gdLst>
                <a:gd name="T0" fmla="*/ 38 w 38"/>
                <a:gd name="T1" fmla="*/ 23 h 37"/>
                <a:gd name="T2" fmla="*/ 24 w 38"/>
                <a:gd name="T3" fmla="*/ 23 h 37"/>
                <a:gd name="T4" fmla="*/ 24 w 38"/>
                <a:gd name="T5" fmla="*/ 37 h 37"/>
                <a:gd name="T6" fmla="*/ 14 w 38"/>
                <a:gd name="T7" fmla="*/ 37 h 37"/>
                <a:gd name="T8" fmla="*/ 14 w 38"/>
                <a:gd name="T9" fmla="*/ 23 h 37"/>
                <a:gd name="T10" fmla="*/ 0 w 38"/>
                <a:gd name="T11" fmla="*/ 23 h 37"/>
                <a:gd name="T12" fmla="*/ 0 w 38"/>
                <a:gd name="T13" fmla="*/ 22 h 37"/>
                <a:gd name="T14" fmla="*/ 0 w 38"/>
                <a:gd name="T15" fmla="*/ 14 h 37"/>
                <a:gd name="T16" fmla="*/ 1 w 38"/>
                <a:gd name="T17" fmla="*/ 14 h 37"/>
                <a:gd name="T18" fmla="*/ 13 w 38"/>
                <a:gd name="T19" fmla="*/ 14 h 37"/>
                <a:gd name="T20" fmla="*/ 14 w 38"/>
                <a:gd name="T21" fmla="*/ 14 h 37"/>
                <a:gd name="T22" fmla="*/ 14 w 38"/>
                <a:gd name="T23" fmla="*/ 13 h 37"/>
                <a:gd name="T24" fmla="*/ 14 w 38"/>
                <a:gd name="T25" fmla="*/ 0 h 37"/>
                <a:gd name="T26" fmla="*/ 15 w 38"/>
                <a:gd name="T27" fmla="*/ 0 h 37"/>
                <a:gd name="T28" fmla="*/ 23 w 38"/>
                <a:gd name="T29" fmla="*/ 0 h 37"/>
                <a:gd name="T30" fmla="*/ 24 w 38"/>
                <a:gd name="T31" fmla="*/ 0 h 37"/>
                <a:gd name="T32" fmla="*/ 24 w 38"/>
                <a:gd name="T33" fmla="*/ 14 h 37"/>
                <a:gd name="T34" fmla="*/ 38 w 38"/>
                <a:gd name="T35" fmla="*/ 14 h 37"/>
                <a:gd name="T36" fmla="*/ 38 w 38"/>
                <a:gd name="T3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37">
                  <a:moveTo>
                    <a:pt x="38" y="23"/>
                  </a:moveTo>
                  <a:cubicBezTo>
                    <a:pt x="33" y="23"/>
                    <a:pt x="28" y="23"/>
                    <a:pt x="24" y="23"/>
                  </a:cubicBezTo>
                  <a:cubicBezTo>
                    <a:pt x="24" y="28"/>
                    <a:pt x="24" y="32"/>
                    <a:pt x="24" y="37"/>
                  </a:cubicBezTo>
                  <a:cubicBezTo>
                    <a:pt x="20" y="37"/>
                    <a:pt x="17" y="37"/>
                    <a:pt x="14" y="37"/>
                  </a:cubicBezTo>
                  <a:cubicBezTo>
                    <a:pt x="14" y="32"/>
                    <a:pt x="14" y="28"/>
                    <a:pt x="14" y="23"/>
                  </a:cubicBezTo>
                  <a:cubicBezTo>
                    <a:pt x="10" y="23"/>
                    <a:pt x="5" y="23"/>
                    <a:pt x="0" y="23"/>
                  </a:cubicBezTo>
                  <a:cubicBezTo>
                    <a:pt x="0" y="23"/>
                    <a:pt x="0" y="23"/>
                    <a:pt x="0" y="22"/>
                  </a:cubicBezTo>
                  <a:cubicBezTo>
                    <a:pt x="0" y="20"/>
                    <a:pt x="0" y="17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5" y="14"/>
                    <a:pt x="9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9"/>
                    <a:pt x="14" y="5"/>
                    <a:pt x="14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4" y="4"/>
                    <a:pt x="24" y="9"/>
                    <a:pt x="24" y="14"/>
                  </a:cubicBezTo>
                  <a:cubicBezTo>
                    <a:pt x="28" y="14"/>
                    <a:pt x="33" y="14"/>
                    <a:pt x="38" y="14"/>
                  </a:cubicBezTo>
                  <a:cubicBezTo>
                    <a:pt x="38" y="17"/>
                    <a:pt x="38" y="20"/>
                    <a:pt x="38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153D4684-88D6-4405-A032-4ECE2192AF4D}"/>
              </a:ext>
            </a:extLst>
          </p:cNvPr>
          <p:cNvGrpSpPr/>
          <p:nvPr/>
        </p:nvGrpSpPr>
        <p:grpSpPr>
          <a:xfrm>
            <a:off x="3619500" y="1577976"/>
            <a:ext cx="760413" cy="766763"/>
            <a:chOff x="3619500" y="1577976"/>
            <a:chExt cx="760413" cy="766763"/>
          </a:xfrm>
        </p:grpSpPr>
        <p:sp>
          <p:nvSpPr>
            <p:cNvPr id="418" name="AutoShape 345">
              <a:extLst>
                <a:ext uri="{FF2B5EF4-FFF2-40B4-BE49-F238E27FC236}">
                  <a16:creationId xmlns:a16="http://schemas.microsoft.com/office/drawing/2014/main" id="{780F6B07-DE09-4EDF-8B37-40229A90E9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9500" y="1582738"/>
              <a:ext cx="760413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347">
              <a:extLst>
                <a:ext uri="{FF2B5EF4-FFF2-40B4-BE49-F238E27FC236}">
                  <a16:creationId xmlns:a16="http://schemas.microsoft.com/office/drawing/2014/main" id="{6FF7BE46-9BD0-4020-98C4-0325FC0F9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2675" y="1577976"/>
              <a:ext cx="757238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348">
              <a:extLst>
                <a:ext uri="{FF2B5EF4-FFF2-40B4-BE49-F238E27FC236}">
                  <a16:creationId xmlns:a16="http://schemas.microsoft.com/office/drawing/2014/main" id="{633AFD77-DC79-49DE-B7E6-87B942069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275" y="1800226"/>
              <a:ext cx="347663" cy="331788"/>
            </a:xfrm>
            <a:custGeom>
              <a:avLst/>
              <a:gdLst>
                <a:gd name="T0" fmla="*/ 73 w 89"/>
                <a:gd name="T1" fmla="*/ 47 h 84"/>
                <a:gd name="T2" fmla="*/ 45 w 89"/>
                <a:gd name="T3" fmla="*/ 47 h 84"/>
                <a:gd name="T4" fmla="*/ 45 w 89"/>
                <a:gd name="T5" fmla="*/ 46 h 84"/>
                <a:gd name="T6" fmla="*/ 45 w 89"/>
                <a:gd name="T7" fmla="*/ 33 h 84"/>
                <a:gd name="T8" fmla="*/ 46 w 89"/>
                <a:gd name="T9" fmla="*/ 33 h 84"/>
                <a:gd name="T10" fmla="*/ 86 w 89"/>
                <a:gd name="T11" fmla="*/ 33 h 84"/>
                <a:gd name="T12" fmla="*/ 86 w 89"/>
                <a:gd name="T13" fmla="*/ 33 h 84"/>
                <a:gd name="T14" fmla="*/ 80 w 89"/>
                <a:gd name="T15" fmla="*/ 66 h 84"/>
                <a:gd name="T16" fmla="*/ 57 w 89"/>
                <a:gd name="T17" fmla="*/ 82 h 84"/>
                <a:gd name="T18" fmla="*/ 41 w 89"/>
                <a:gd name="T19" fmla="*/ 84 h 84"/>
                <a:gd name="T20" fmla="*/ 4 w 89"/>
                <a:gd name="T21" fmla="*/ 51 h 84"/>
                <a:gd name="T22" fmla="*/ 31 w 89"/>
                <a:gd name="T23" fmla="*/ 3 h 84"/>
                <a:gd name="T24" fmla="*/ 47 w 89"/>
                <a:gd name="T25" fmla="*/ 0 h 84"/>
                <a:gd name="T26" fmla="*/ 73 w 89"/>
                <a:gd name="T27" fmla="*/ 11 h 84"/>
                <a:gd name="T28" fmla="*/ 74 w 89"/>
                <a:gd name="T29" fmla="*/ 11 h 84"/>
                <a:gd name="T30" fmla="*/ 64 w 89"/>
                <a:gd name="T31" fmla="*/ 21 h 84"/>
                <a:gd name="T32" fmla="*/ 41 w 89"/>
                <a:gd name="T33" fmla="*/ 14 h 84"/>
                <a:gd name="T34" fmla="*/ 26 w 89"/>
                <a:gd name="T35" fmla="*/ 22 h 84"/>
                <a:gd name="T36" fmla="*/ 21 w 89"/>
                <a:gd name="T37" fmla="*/ 55 h 84"/>
                <a:gd name="T38" fmla="*/ 50 w 89"/>
                <a:gd name="T39" fmla="*/ 70 h 84"/>
                <a:gd name="T40" fmla="*/ 73 w 89"/>
                <a:gd name="T41" fmla="*/ 4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84">
                  <a:moveTo>
                    <a:pt x="73" y="47"/>
                  </a:moveTo>
                  <a:cubicBezTo>
                    <a:pt x="64" y="47"/>
                    <a:pt x="55" y="47"/>
                    <a:pt x="45" y="47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2"/>
                    <a:pt x="45" y="38"/>
                    <a:pt x="45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59" y="33"/>
                    <a:pt x="72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9" y="45"/>
                    <a:pt x="87" y="56"/>
                    <a:pt x="80" y="66"/>
                  </a:cubicBezTo>
                  <a:cubicBezTo>
                    <a:pt x="74" y="74"/>
                    <a:pt x="67" y="79"/>
                    <a:pt x="57" y="82"/>
                  </a:cubicBezTo>
                  <a:cubicBezTo>
                    <a:pt x="52" y="84"/>
                    <a:pt x="46" y="84"/>
                    <a:pt x="41" y="84"/>
                  </a:cubicBezTo>
                  <a:cubicBezTo>
                    <a:pt x="23" y="82"/>
                    <a:pt x="8" y="69"/>
                    <a:pt x="4" y="51"/>
                  </a:cubicBezTo>
                  <a:cubicBezTo>
                    <a:pt x="0" y="31"/>
                    <a:pt x="11" y="9"/>
                    <a:pt x="31" y="3"/>
                  </a:cubicBezTo>
                  <a:cubicBezTo>
                    <a:pt x="36" y="1"/>
                    <a:pt x="42" y="0"/>
                    <a:pt x="47" y="0"/>
                  </a:cubicBezTo>
                  <a:cubicBezTo>
                    <a:pt x="57" y="1"/>
                    <a:pt x="66" y="4"/>
                    <a:pt x="73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0" y="14"/>
                    <a:pt x="67" y="18"/>
                    <a:pt x="64" y="21"/>
                  </a:cubicBezTo>
                  <a:cubicBezTo>
                    <a:pt x="57" y="15"/>
                    <a:pt x="50" y="13"/>
                    <a:pt x="41" y="14"/>
                  </a:cubicBezTo>
                  <a:cubicBezTo>
                    <a:pt x="35" y="15"/>
                    <a:pt x="30" y="18"/>
                    <a:pt x="26" y="22"/>
                  </a:cubicBezTo>
                  <a:cubicBezTo>
                    <a:pt x="17" y="31"/>
                    <a:pt x="15" y="44"/>
                    <a:pt x="21" y="55"/>
                  </a:cubicBezTo>
                  <a:cubicBezTo>
                    <a:pt x="27" y="66"/>
                    <a:pt x="38" y="71"/>
                    <a:pt x="50" y="70"/>
                  </a:cubicBezTo>
                  <a:cubicBezTo>
                    <a:pt x="62" y="68"/>
                    <a:pt x="71" y="58"/>
                    <a:pt x="73" y="4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349">
              <a:extLst>
                <a:ext uri="{FF2B5EF4-FFF2-40B4-BE49-F238E27FC236}">
                  <a16:creationId xmlns:a16="http://schemas.microsoft.com/office/drawing/2014/main" id="{872F696A-E084-4B4C-AE97-44FF88082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75" y="1874838"/>
              <a:ext cx="149225" cy="146050"/>
            </a:xfrm>
            <a:custGeom>
              <a:avLst/>
              <a:gdLst>
                <a:gd name="T0" fmla="*/ 38 w 38"/>
                <a:gd name="T1" fmla="*/ 23 h 37"/>
                <a:gd name="T2" fmla="*/ 24 w 38"/>
                <a:gd name="T3" fmla="*/ 23 h 37"/>
                <a:gd name="T4" fmla="*/ 24 w 38"/>
                <a:gd name="T5" fmla="*/ 37 h 37"/>
                <a:gd name="T6" fmla="*/ 14 w 38"/>
                <a:gd name="T7" fmla="*/ 37 h 37"/>
                <a:gd name="T8" fmla="*/ 14 w 38"/>
                <a:gd name="T9" fmla="*/ 23 h 37"/>
                <a:gd name="T10" fmla="*/ 0 w 38"/>
                <a:gd name="T11" fmla="*/ 23 h 37"/>
                <a:gd name="T12" fmla="*/ 0 w 38"/>
                <a:gd name="T13" fmla="*/ 22 h 37"/>
                <a:gd name="T14" fmla="*/ 0 w 38"/>
                <a:gd name="T15" fmla="*/ 14 h 37"/>
                <a:gd name="T16" fmla="*/ 1 w 38"/>
                <a:gd name="T17" fmla="*/ 14 h 37"/>
                <a:gd name="T18" fmla="*/ 13 w 38"/>
                <a:gd name="T19" fmla="*/ 14 h 37"/>
                <a:gd name="T20" fmla="*/ 14 w 38"/>
                <a:gd name="T21" fmla="*/ 14 h 37"/>
                <a:gd name="T22" fmla="*/ 14 w 38"/>
                <a:gd name="T23" fmla="*/ 13 h 37"/>
                <a:gd name="T24" fmla="*/ 14 w 38"/>
                <a:gd name="T25" fmla="*/ 0 h 37"/>
                <a:gd name="T26" fmla="*/ 15 w 38"/>
                <a:gd name="T27" fmla="*/ 0 h 37"/>
                <a:gd name="T28" fmla="*/ 23 w 38"/>
                <a:gd name="T29" fmla="*/ 0 h 37"/>
                <a:gd name="T30" fmla="*/ 24 w 38"/>
                <a:gd name="T31" fmla="*/ 0 h 37"/>
                <a:gd name="T32" fmla="*/ 24 w 38"/>
                <a:gd name="T33" fmla="*/ 14 h 37"/>
                <a:gd name="T34" fmla="*/ 38 w 38"/>
                <a:gd name="T35" fmla="*/ 14 h 37"/>
                <a:gd name="T36" fmla="*/ 38 w 38"/>
                <a:gd name="T3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37">
                  <a:moveTo>
                    <a:pt x="38" y="23"/>
                  </a:moveTo>
                  <a:cubicBezTo>
                    <a:pt x="33" y="23"/>
                    <a:pt x="28" y="23"/>
                    <a:pt x="24" y="23"/>
                  </a:cubicBezTo>
                  <a:cubicBezTo>
                    <a:pt x="24" y="28"/>
                    <a:pt x="24" y="32"/>
                    <a:pt x="24" y="37"/>
                  </a:cubicBezTo>
                  <a:cubicBezTo>
                    <a:pt x="20" y="37"/>
                    <a:pt x="17" y="37"/>
                    <a:pt x="14" y="37"/>
                  </a:cubicBezTo>
                  <a:cubicBezTo>
                    <a:pt x="14" y="32"/>
                    <a:pt x="14" y="28"/>
                    <a:pt x="14" y="23"/>
                  </a:cubicBezTo>
                  <a:cubicBezTo>
                    <a:pt x="10" y="23"/>
                    <a:pt x="5" y="23"/>
                    <a:pt x="0" y="23"/>
                  </a:cubicBezTo>
                  <a:cubicBezTo>
                    <a:pt x="0" y="23"/>
                    <a:pt x="0" y="23"/>
                    <a:pt x="0" y="22"/>
                  </a:cubicBezTo>
                  <a:cubicBezTo>
                    <a:pt x="0" y="20"/>
                    <a:pt x="0" y="17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5" y="14"/>
                    <a:pt x="9" y="14"/>
                    <a:pt x="13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9"/>
                    <a:pt x="14" y="5"/>
                    <a:pt x="14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4" y="4"/>
                    <a:pt x="24" y="9"/>
                    <a:pt x="24" y="14"/>
                  </a:cubicBezTo>
                  <a:cubicBezTo>
                    <a:pt x="28" y="14"/>
                    <a:pt x="33" y="14"/>
                    <a:pt x="38" y="14"/>
                  </a:cubicBezTo>
                  <a:cubicBezTo>
                    <a:pt x="38" y="17"/>
                    <a:pt x="38" y="20"/>
                    <a:pt x="38" y="2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22FC2806-2521-4FEB-A551-0DFD3653C8D4}"/>
              </a:ext>
            </a:extLst>
          </p:cNvPr>
          <p:cNvGrpSpPr/>
          <p:nvPr/>
        </p:nvGrpSpPr>
        <p:grpSpPr>
          <a:xfrm>
            <a:off x="4767263" y="1541463"/>
            <a:ext cx="844550" cy="841375"/>
            <a:chOff x="4767263" y="1541463"/>
            <a:chExt cx="844550" cy="841375"/>
          </a:xfrm>
        </p:grpSpPr>
        <p:sp>
          <p:nvSpPr>
            <p:cNvPr id="424" name="AutoShape 351">
              <a:extLst>
                <a:ext uri="{FF2B5EF4-FFF2-40B4-BE49-F238E27FC236}">
                  <a16:creationId xmlns:a16="http://schemas.microsoft.com/office/drawing/2014/main" id="{356FF7D6-8DC6-4446-98BC-957552B4AD0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7263" y="15414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Oval 353">
              <a:extLst>
                <a:ext uri="{FF2B5EF4-FFF2-40B4-BE49-F238E27FC236}">
                  <a16:creationId xmlns:a16="http://schemas.microsoft.com/office/drawing/2014/main" id="{7D907A45-1F37-49DE-9471-9D26BE5F5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263" y="15446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Freeform 354">
              <a:extLst>
                <a:ext uri="{FF2B5EF4-FFF2-40B4-BE49-F238E27FC236}">
                  <a16:creationId xmlns:a16="http://schemas.microsoft.com/office/drawing/2014/main" id="{983C9A40-42A0-4218-84C3-68A9522E4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15732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Freeform 355">
              <a:extLst>
                <a:ext uri="{FF2B5EF4-FFF2-40B4-BE49-F238E27FC236}">
                  <a16:creationId xmlns:a16="http://schemas.microsoft.com/office/drawing/2014/main" id="{D3658248-AEA4-43F2-A78C-AC09A6130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726" y="1725613"/>
              <a:ext cx="268288" cy="473075"/>
            </a:xfrm>
            <a:custGeom>
              <a:avLst/>
              <a:gdLst>
                <a:gd name="T0" fmla="*/ 66 w 66"/>
                <a:gd name="T1" fmla="*/ 23 h 118"/>
                <a:gd name="T2" fmla="*/ 57 w 66"/>
                <a:gd name="T3" fmla="*/ 23 h 118"/>
                <a:gd name="T4" fmla="*/ 57 w 66"/>
                <a:gd name="T5" fmla="*/ 23 h 118"/>
                <a:gd name="T6" fmla="*/ 45 w 66"/>
                <a:gd name="T7" fmla="*/ 28 h 118"/>
                <a:gd name="T8" fmla="*/ 42 w 66"/>
                <a:gd name="T9" fmla="*/ 39 h 118"/>
                <a:gd name="T10" fmla="*/ 42 w 66"/>
                <a:gd name="T11" fmla="*/ 43 h 118"/>
                <a:gd name="T12" fmla="*/ 43 w 66"/>
                <a:gd name="T13" fmla="*/ 48 h 118"/>
                <a:gd name="T14" fmla="*/ 43 w 66"/>
                <a:gd name="T15" fmla="*/ 49 h 118"/>
                <a:gd name="T16" fmla="*/ 64 w 66"/>
                <a:gd name="T17" fmla="*/ 49 h 118"/>
                <a:gd name="T18" fmla="*/ 64 w 66"/>
                <a:gd name="T19" fmla="*/ 71 h 118"/>
                <a:gd name="T20" fmla="*/ 42 w 66"/>
                <a:gd name="T21" fmla="*/ 72 h 118"/>
                <a:gd name="T22" fmla="*/ 42 w 66"/>
                <a:gd name="T23" fmla="*/ 118 h 118"/>
                <a:gd name="T24" fmla="*/ 15 w 66"/>
                <a:gd name="T25" fmla="*/ 118 h 118"/>
                <a:gd name="T26" fmla="*/ 15 w 66"/>
                <a:gd name="T27" fmla="*/ 71 h 118"/>
                <a:gd name="T28" fmla="*/ 0 w 66"/>
                <a:gd name="T29" fmla="*/ 70 h 118"/>
                <a:gd name="T30" fmla="*/ 0 w 66"/>
                <a:gd name="T31" fmla="*/ 48 h 118"/>
                <a:gd name="T32" fmla="*/ 17 w 66"/>
                <a:gd name="T33" fmla="*/ 48 h 118"/>
                <a:gd name="T34" fmla="*/ 17 w 66"/>
                <a:gd name="T35" fmla="*/ 39 h 118"/>
                <a:gd name="T36" fmla="*/ 17 w 66"/>
                <a:gd name="T37" fmla="*/ 39 h 118"/>
                <a:gd name="T38" fmla="*/ 33 w 66"/>
                <a:gd name="T39" fmla="*/ 3 h 118"/>
                <a:gd name="T40" fmla="*/ 44 w 66"/>
                <a:gd name="T41" fmla="*/ 1 h 118"/>
                <a:gd name="T42" fmla="*/ 56 w 66"/>
                <a:gd name="T43" fmla="*/ 0 h 118"/>
                <a:gd name="T44" fmla="*/ 56 w 66"/>
                <a:gd name="T45" fmla="*/ 0 h 118"/>
                <a:gd name="T46" fmla="*/ 66 w 66"/>
                <a:gd name="T47" fmla="*/ 1 h 118"/>
                <a:gd name="T48" fmla="*/ 66 w 66"/>
                <a:gd name="T49" fmla="*/ 2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118">
                  <a:moveTo>
                    <a:pt x="66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4" y="23"/>
                    <a:pt x="48" y="23"/>
                    <a:pt x="45" y="28"/>
                  </a:cubicBezTo>
                  <a:cubicBezTo>
                    <a:pt x="43" y="31"/>
                    <a:pt x="42" y="35"/>
                    <a:pt x="42" y="39"/>
                  </a:cubicBezTo>
                  <a:cubicBezTo>
                    <a:pt x="42" y="40"/>
                    <a:pt x="42" y="42"/>
                    <a:pt x="42" y="43"/>
                  </a:cubicBezTo>
                  <a:cubicBezTo>
                    <a:pt x="42" y="47"/>
                    <a:pt x="42" y="47"/>
                    <a:pt x="43" y="48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24"/>
                    <a:pt x="17" y="8"/>
                    <a:pt x="33" y="3"/>
                  </a:cubicBezTo>
                  <a:cubicBezTo>
                    <a:pt x="36" y="2"/>
                    <a:pt x="40" y="1"/>
                    <a:pt x="44" y="1"/>
                  </a:cubicBezTo>
                  <a:cubicBezTo>
                    <a:pt x="47" y="1"/>
                    <a:pt x="51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3" y="0"/>
                    <a:pt x="66" y="1"/>
                  </a:cubicBezTo>
                  <a:lnTo>
                    <a:pt x="66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B6435F17-F310-4B00-9B60-BB1637896916}"/>
              </a:ext>
            </a:extLst>
          </p:cNvPr>
          <p:cNvGrpSpPr/>
          <p:nvPr/>
        </p:nvGrpSpPr>
        <p:grpSpPr>
          <a:xfrm>
            <a:off x="5822950" y="1577976"/>
            <a:ext cx="758825" cy="766763"/>
            <a:chOff x="5822950" y="1577976"/>
            <a:chExt cx="758825" cy="766763"/>
          </a:xfrm>
        </p:grpSpPr>
        <p:sp>
          <p:nvSpPr>
            <p:cNvPr id="430" name="AutoShape 357">
              <a:extLst>
                <a:ext uri="{FF2B5EF4-FFF2-40B4-BE49-F238E27FC236}">
                  <a16:creationId xmlns:a16="http://schemas.microsoft.com/office/drawing/2014/main" id="{43DE3790-CE26-48AE-932E-7A59C824C8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2950" y="15827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359">
              <a:extLst>
                <a:ext uri="{FF2B5EF4-FFF2-40B4-BE49-F238E27FC236}">
                  <a16:creationId xmlns:a16="http://schemas.microsoft.com/office/drawing/2014/main" id="{96DB463F-0201-4BEA-B28E-7F091D63D7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5" y="1577976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360">
              <a:extLst>
                <a:ext uri="{FF2B5EF4-FFF2-40B4-BE49-F238E27FC236}">
                  <a16:creationId xmlns:a16="http://schemas.microsoft.com/office/drawing/2014/main" id="{891FC9AA-CC24-4F3F-A12A-8B35DA62D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5" y="1728788"/>
              <a:ext cx="255588" cy="466725"/>
            </a:xfrm>
            <a:custGeom>
              <a:avLst/>
              <a:gdLst>
                <a:gd name="T0" fmla="*/ 66 w 66"/>
                <a:gd name="T1" fmla="*/ 23 h 118"/>
                <a:gd name="T2" fmla="*/ 57 w 66"/>
                <a:gd name="T3" fmla="*/ 23 h 118"/>
                <a:gd name="T4" fmla="*/ 57 w 66"/>
                <a:gd name="T5" fmla="*/ 23 h 118"/>
                <a:gd name="T6" fmla="*/ 45 w 66"/>
                <a:gd name="T7" fmla="*/ 28 h 118"/>
                <a:gd name="T8" fmla="*/ 42 w 66"/>
                <a:gd name="T9" fmla="*/ 39 h 118"/>
                <a:gd name="T10" fmla="*/ 42 w 66"/>
                <a:gd name="T11" fmla="*/ 43 h 118"/>
                <a:gd name="T12" fmla="*/ 43 w 66"/>
                <a:gd name="T13" fmla="*/ 48 h 118"/>
                <a:gd name="T14" fmla="*/ 43 w 66"/>
                <a:gd name="T15" fmla="*/ 49 h 118"/>
                <a:gd name="T16" fmla="*/ 64 w 66"/>
                <a:gd name="T17" fmla="*/ 49 h 118"/>
                <a:gd name="T18" fmla="*/ 64 w 66"/>
                <a:gd name="T19" fmla="*/ 71 h 118"/>
                <a:gd name="T20" fmla="*/ 42 w 66"/>
                <a:gd name="T21" fmla="*/ 72 h 118"/>
                <a:gd name="T22" fmla="*/ 42 w 66"/>
                <a:gd name="T23" fmla="*/ 118 h 118"/>
                <a:gd name="T24" fmla="*/ 15 w 66"/>
                <a:gd name="T25" fmla="*/ 118 h 118"/>
                <a:gd name="T26" fmla="*/ 15 w 66"/>
                <a:gd name="T27" fmla="*/ 71 h 118"/>
                <a:gd name="T28" fmla="*/ 0 w 66"/>
                <a:gd name="T29" fmla="*/ 70 h 118"/>
                <a:gd name="T30" fmla="*/ 0 w 66"/>
                <a:gd name="T31" fmla="*/ 48 h 118"/>
                <a:gd name="T32" fmla="*/ 17 w 66"/>
                <a:gd name="T33" fmla="*/ 48 h 118"/>
                <a:gd name="T34" fmla="*/ 17 w 66"/>
                <a:gd name="T35" fmla="*/ 39 h 118"/>
                <a:gd name="T36" fmla="*/ 17 w 66"/>
                <a:gd name="T37" fmla="*/ 39 h 118"/>
                <a:gd name="T38" fmla="*/ 33 w 66"/>
                <a:gd name="T39" fmla="*/ 3 h 118"/>
                <a:gd name="T40" fmla="*/ 44 w 66"/>
                <a:gd name="T41" fmla="*/ 1 h 118"/>
                <a:gd name="T42" fmla="*/ 56 w 66"/>
                <a:gd name="T43" fmla="*/ 0 h 118"/>
                <a:gd name="T44" fmla="*/ 56 w 66"/>
                <a:gd name="T45" fmla="*/ 0 h 118"/>
                <a:gd name="T46" fmla="*/ 66 w 66"/>
                <a:gd name="T47" fmla="*/ 1 h 118"/>
                <a:gd name="T48" fmla="*/ 66 w 66"/>
                <a:gd name="T49" fmla="*/ 2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118">
                  <a:moveTo>
                    <a:pt x="66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4" y="23"/>
                    <a:pt x="48" y="23"/>
                    <a:pt x="45" y="28"/>
                  </a:cubicBezTo>
                  <a:cubicBezTo>
                    <a:pt x="43" y="31"/>
                    <a:pt x="42" y="35"/>
                    <a:pt x="42" y="39"/>
                  </a:cubicBezTo>
                  <a:cubicBezTo>
                    <a:pt x="42" y="40"/>
                    <a:pt x="42" y="42"/>
                    <a:pt x="42" y="43"/>
                  </a:cubicBezTo>
                  <a:cubicBezTo>
                    <a:pt x="42" y="47"/>
                    <a:pt x="42" y="47"/>
                    <a:pt x="43" y="48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24"/>
                    <a:pt x="17" y="8"/>
                    <a:pt x="33" y="3"/>
                  </a:cubicBezTo>
                  <a:cubicBezTo>
                    <a:pt x="36" y="2"/>
                    <a:pt x="40" y="1"/>
                    <a:pt x="44" y="1"/>
                  </a:cubicBezTo>
                  <a:cubicBezTo>
                    <a:pt x="47" y="1"/>
                    <a:pt x="51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3" y="0"/>
                    <a:pt x="66" y="1"/>
                  </a:cubicBezTo>
                  <a:lnTo>
                    <a:pt x="66" y="2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Freeform 361">
              <a:extLst>
                <a:ext uri="{FF2B5EF4-FFF2-40B4-BE49-F238E27FC236}">
                  <a16:creationId xmlns:a16="http://schemas.microsoft.com/office/drawing/2014/main" id="{44C3947A-122C-4E2C-B5AF-BCA94D4AC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5" y="1728788"/>
              <a:ext cx="255588" cy="466725"/>
            </a:xfrm>
            <a:custGeom>
              <a:avLst/>
              <a:gdLst>
                <a:gd name="T0" fmla="*/ 66 w 66"/>
                <a:gd name="T1" fmla="*/ 23 h 118"/>
                <a:gd name="T2" fmla="*/ 57 w 66"/>
                <a:gd name="T3" fmla="*/ 23 h 118"/>
                <a:gd name="T4" fmla="*/ 57 w 66"/>
                <a:gd name="T5" fmla="*/ 23 h 118"/>
                <a:gd name="T6" fmla="*/ 45 w 66"/>
                <a:gd name="T7" fmla="*/ 28 h 118"/>
                <a:gd name="T8" fmla="*/ 42 w 66"/>
                <a:gd name="T9" fmla="*/ 39 h 118"/>
                <a:gd name="T10" fmla="*/ 42 w 66"/>
                <a:gd name="T11" fmla="*/ 43 h 118"/>
                <a:gd name="T12" fmla="*/ 43 w 66"/>
                <a:gd name="T13" fmla="*/ 48 h 118"/>
                <a:gd name="T14" fmla="*/ 43 w 66"/>
                <a:gd name="T15" fmla="*/ 49 h 118"/>
                <a:gd name="T16" fmla="*/ 64 w 66"/>
                <a:gd name="T17" fmla="*/ 49 h 118"/>
                <a:gd name="T18" fmla="*/ 64 w 66"/>
                <a:gd name="T19" fmla="*/ 71 h 118"/>
                <a:gd name="T20" fmla="*/ 42 w 66"/>
                <a:gd name="T21" fmla="*/ 72 h 118"/>
                <a:gd name="T22" fmla="*/ 42 w 66"/>
                <a:gd name="T23" fmla="*/ 118 h 118"/>
                <a:gd name="T24" fmla="*/ 15 w 66"/>
                <a:gd name="T25" fmla="*/ 118 h 118"/>
                <a:gd name="T26" fmla="*/ 15 w 66"/>
                <a:gd name="T27" fmla="*/ 71 h 118"/>
                <a:gd name="T28" fmla="*/ 0 w 66"/>
                <a:gd name="T29" fmla="*/ 70 h 118"/>
                <a:gd name="T30" fmla="*/ 0 w 66"/>
                <a:gd name="T31" fmla="*/ 48 h 118"/>
                <a:gd name="T32" fmla="*/ 17 w 66"/>
                <a:gd name="T33" fmla="*/ 48 h 118"/>
                <a:gd name="T34" fmla="*/ 17 w 66"/>
                <a:gd name="T35" fmla="*/ 39 h 118"/>
                <a:gd name="T36" fmla="*/ 17 w 66"/>
                <a:gd name="T37" fmla="*/ 39 h 118"/>
                <a:gd name="T38" fmla="*/ 33 w 66"/>
                <a:gd name="T39" fmla="*/ 3 h 118"/>
                <a:gd name="T40" fmla="*/ 44 w 66"/>
                <a:gd name="T41" fmla="*/ 1 h 118"/>
                <a:gd name="T42" fmla="*/ 56 w 66"/>
                <a:gd name="T43" fmla="*/ 0 h 118"/>
                <a:gd name="T44" fmla="*/ 56 w 66"/>
                <a:gd name="T45" fmla="*/ 0 h 118"/>
                <a:gd name="T46" fmla="*/ 66 w 66"/>
                <a:gd name="T47" fmla="*/ 1 h 118"/>
                <a:gd name="T48" fmla="*/ 66 w 66"/>
                <a:gd name="T49" fmla="*/ 2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118">
                  <a:moveTo>
                    <a:pt x="66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4" y="23"/>
                    <a:pt x="48" y="23"/>
                    <a:pt x="45" y="28"/>
                  </a:cubicBezTo>
                  <a:cubicBezTo>
                    <a:pt x="43" y="31"/>
                    <a:pt x="42" y="35"/>
                    <a:pt x="42" y="39"/>
                  </a:cubicBezTo>
                  <a:cubicBezTo>
                    <a:pt x="42" y="40"/>
                    <a:pt x="42" y="42"/>
                    <a:pt x="42" y="43"/>
                  </a:cubicBezTo>
                  <a:cubicBezTo>
                    <a:pt x="42" y="47"/>
                    <a:pt x="42" y="47"/>
                    <a:pt x="43" y="48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24"/>
                    <a:pt x="17" y="8"/>
                    <a:pt x="33" y="3"/>
                  </a:cubicBezTo>
                  <a:cubicBezTo>
                    <a:pt x="36" y="2"/>
                    <a:pt x="40" y="1"/>
                    <a:pt x="44" y="1"/>
                  </a:cubicBezTo>
                  <a:cubicBezTo>
                    <a:pt x="47" y="1"/>
                    <a:pt x="51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3" y="0"/>
                    <a:pt x="66" y="1"/>
                  </a:cubicBezTo>
                  <a:lnTo>
                    <a:pt x="66" y="2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D578677D-DF22-4299-B3CD-FC1285467E5A}"/>
              </a:ext>
            </a:extLst>
          </p:cNvPr>
          <p:cNvGrpSpPr/>
          <p:nvPr/>
        </p:nvGrpSpPr>
        <p:grpSpPr>
          <a:xfrm>
            <a:off x="6934200" y="1541463"/>
            <a:ext cx="844550" cy="841375"/>
            <a:chOff x="6934200" y="1541463"/>
            <a:chExt cx="844550" cy="841375"/>
          </a:xfrm>
        </p:grpSpPr>
        <p:sp>
          <p:nvSpPr>
            <p:cNvPr id="436" name="AutoShape 363">
              <a:extLst>
                <a:ext uri="{FF2B5EF4-FFF2-40B4-BE49-F238E27FC236}">
                  <a16:creationId xmlns:a16="http://schemas.microsoft.com/office/drawing/2014/main" id="{FC2B0A87-9C90-4562-B919-ABFBC12381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34200" y="15414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Oval 365">
              <a:extLst>
                <a:ext uri="{FF2B5EF4-FFF2-40B4-BE49-F238E27FC236}">
                  <a16:creationId xmlns:a16="http://schemas.microsoft.com/office/drawing/2014/main" id="{F251206D-763A-4103-9FD8-C4B692BE9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200" y="1544638"/>
              <a:ext cx="844550" cy="83502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366">
              <a:extLst>
                <a:ext uri="{FF2B5EF4-FFF2-40B4-BE49-F238E27FC236}">
                  <a16:creationId xmlns:a16="http://schemas.microsoft.com/office/drawing/2014/main" id="{BE5C1946-4D3C-4F12-828D-D60955A6E4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2775" y="1573213"/>
              <a:ext cx="788988" cy="777875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Rectangle 367">
              <a:extLst>
                <a:ext uri="{FF2B5EF4-FFF2-40B4-BE49-F238E27FC236}">
                  <a16:creationId xmlns:a16="http://schemas.microsoft.com/office/drawing/2014/main" id="{274D9C21-34CB-463F-A7B9-B1785AD68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8038" y="1873251"/>
              <a:ext cx="84138" cy="265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Oval 368">
              <a:extLst>
                <a:ext uri="{FF2B5EF4-FFF2-40B4-BE49-F238E27FC236}">
                  <a16:creationId xmlns:a16="http://schemas.microsoft.com/office/drawing/2014/main" id="{9A8FFF35-4194-47A9-B123-5009E4B226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8038" y="1762126"/>
              <a:ext cx="84138" cy="841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Freeform 369">
              <a:extLst>
                <a:ext uri="{FF2B5EF4-FFF2-40B4-BE49-F238E27FC236}">
                  <a16:creationId xmlns:a16="http://schemas.microsoft.com/office/drawing/2014/main" id="{C546C1B4-A6A3-4136-BD8A-CF1005C0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1873251"/>
              <a:ext cx="257175" cy="265113"/>
            </a:xfrm>
            <a:custGeom>
              <a:avLst/>
              <a:gdLst>
                <a:gd name="T0" fmla="*/ 63 w 63"/>
                <a:gd name="T1" fmla="*/ 30 h 66"/>
                <a:gd name="T2" fmla="*/ 39 w 63"/>
                <a:gd name="T3" fmla="*/ 0 h 66"/>
                <a:gd name="T4" fmla="*/ 20 w 63"/>
                <a:gd name="T5" fmla="*/ 10 h 66"/>
                <a:gd name="T6" fmla="*/ 19 w 63"/>
                <a:gd name="T7" fmla="*/ 10 h 66"/>
                <a:gd name="T8" fmla="*/ 19 w 63"/>
                <a:gd name="T9" fmla="*/ 1 h 66"/>
                <a:gd name="T10" fmla="*/ 0 w 63"/>
                <a:gd name="T11" fmla="*/ 1 h 66"/>
                <a:gd name="T12" fmla="*/ 0 w 63"/>
                <a:gd name="T13" fmla="*/ 66 h 66"/>
                <a:gd name="T14" fmla="*/ 20 w 63"/>
                <a:gd name="T15" fmla="*/ 66 h 66"/>
                <a:gd name="T16" fmla="*/ 20 w 63"/>
                <a:gd name="T17" fmla="*/ 34 h 66"/>
                <a:gd name="T18" fmla="*/ 32 w 63"/>
                <a:gd name="T19" fmla="*/ 17 h 66"/>
                <a:gd name="T20" fmla="*/ 43 w 63"/>
                <a:gd name="T21" fmla="*/ 34 h 66"/>
                <a:gd name="T22" fmla="*/ 43 w 63"/>
                <a:gd name="T23" fmla="*/ 66 h 66"/>
                <a:gd name="T24" fmla="*/ 63 w 63"/>
                <a:gd name="T25" fmla="*/ 66 h 66"/>
                <a:gd name="T26" fmla="*/ 63 w 63"/>
                <a:gd name="T27" fmla="*/ 3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66">
                  <a:moveTo>
                    <a:pt x="63" y="30"/>
                  </a:moveTo>
                  <a:cubicBezTo>
                    <a:pt x="63" y="13"/>
                    <a:pt x="59" y="0"/>
                    <a:pt x="39" y="0"/>
                  </a:cubicBezTo>
                  <a:cubicBezTo>
                    <a:pt x="29" y="0"/>
                    <a:pt x="22" y="5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5"/>
                    <a:pt x="22" y="17"/>
                    <a:pt x="32" y="17"/>
                  </a:cubicBezTo>
                  <a:cubicBezTo>
                    <a:pt x="43" y="17"/>
                    <a:pt x="43" y="27"/>
                    <a:pt x="43" y="34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63" y="66"/>
                    <a:pt x="63" y="66"/>
                    <a:pt x="63" y="66"/>
                  </a:cubicBezTo>
                  <a:lnTo>
                    <a:pt x="6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A436A408-1ABD-4930-9A0F-BD451842999F}"/>
              </a:ext>
            </a:extLst>
          </p:cNvPr>
          <p:cNvGrpSpPr/>
          <p:nvPr/>
        </p:nvGrpSpPr>
        <p:grpSpPr>
          <a:xfrm>
            <a:off x="7913688" y="1577976"/>
            <a:ext cx="758825" cy="766763"/>
            <a:chOff x="7913688" y="1577976"/>
            <a:chExt cx="758825" cy="766763"/>
          </a:xfrm>
        </p:grpSpPr>
        <p:sp>
          <p:nvSpPr>
            <p:cNvPr id="444" name="AutoShape 371">
              <a:extLst>
                <a:ext uri="{FF2B5EF4-FFF2-40B4-BE49-F238E27FC236}">
                  <a16:creationId xmlns:a16="http://schemas.microsoft.com/office/drawing/2014/main" id="{41B2AA8E-8131-4A97-8345-71617E25B3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13688" y="15827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373">
              <a:extLst>
                <a:ext uri="{FF2B5EF4-FFF2-40B4-BE49-F238E27FC236}">
                  <a16:creationId xmlns:a16="http://schemas.microsoft.com/office/drawing/2014/main" id="{E1247590-FDB3-4FA1-B3AA-A5D7CFD30D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6863" y="1577976"/>
              <a:ext cx="755650" cy="766763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374">
              <a:extLst>
                <a:ext uri="{FF2B5EF4-FFF2-40B4-BE49-F238E27FC236}">
                  <a16:creationId xmlns:a16="http://schemas.microsoft.com/office/drawing/2014/main" id="{0A4BF1E0-43FD-474B-87D6-7C1E567B3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6251" y="1874838"/>
              <a:ext cx="82550" cy="2603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Oval 375">
              <a:extLst>
                <a:ext uri="{FF2B5EF4-FFF2-40B4-BE49-F238E27FC236}">
                  <a16:creationId xmlns:a16="http://schemas.microsoft.com/office/drawing/2014/main" id="{99226568-7879-4DE5-BFBA-2F7DFBFB6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6251" y="1763713"/>
              <a:ext cx="82550" cy="84138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376">
              <a:extLst>
                <a:ext uri="{FF2B5EF4-FFF2-40B4-BE49-F238E27FC236}">
                  <a16:creationId xmlns:a16="http://schemas.microsoft.com/office/drawing/2014/main" id="{C6EE2BCB-BA92-4B21-BE1F-E270AB0B2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6" y="1874838"/>
              <a:ext cx="244475" cy="260350"/>
            </a:xfrm>
            <a:custGeom>
              <a:avLst/>
              <a:gdLst>
                <a:gd name="T0" fmla="*/ 63 w 63"/>
                <a:gd name="T1" fmla="*/ 30 h 66"/>
                <a:gd name="T2" fmla="*/ 39 w 63"/>
                <a:gd name="T3" fmla="*/ 0 h 66"/>
                <a:gd name="T4" fmla="*/ 20 w 63"/>
                <a:gd name="T5" fmla="*/ 10 h 66"/>
                <a:gd name="T6" fmla="*/ 19 w 63"/>
                <a:gd name="T7" fmla="*/ 10 h 66"/>
                <a:gd name="T8" fmla="*/ 19 w 63"/>
                <a:gd name="T9" fmla="*/ 1 h 66"/>
                <a:gd name="T10" fmla="*/ 0 w 63"/>
                <a:gd name="T11" fmla="*/ 1 h 66"/>
                <a:gd name="T12" fmla="*/ 0 w 63"/>
                <a:gd name="T13" fmla="*/ 66 h 66"/>
                <a:gd name="T14" fmla="*/ 20 w 63"/>
                <a:gd name="T15" fmla="*/ 66 h 66"/>
                <a:gd name="T16" fmla="*/ 20 w 63"/>
                <a:gd name="T17" fmla="*/ 34 h 66"/>
                <a:gd name="T18" fmla="*/ 32 w 63"/>
                <a:gd name="T19" fmla="*/ 17 h 66"/>
                <a:gd name="T20" fmla="*/ 43 w 63"/>
                <a:gd name="T21" fmla="*/ 34 h 66"/>
                <a:gd name="T22" fmla="*/ 43 w 63"/>
                <a:gd name="T23" fmla="*/ 66 h 66"/>
                <a:gd name="T24" fmla="*/ 63 w 63"/>
                <a:gd name="T25" fmla="*/ 66 h 66"/>
                <a:gd name="T26" fmla="*/ 63 w 63"/>
                <a:gd name="T27" fmla="*/ 3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66">
                  <a:moveTo>
                    <a:pt x="63" y="30"/>
                  </a:moveTo>
                  <a:cubicBezTo>
                    <a:pt x="63" y="13"/>
                    <a:pt x="59" y="0"/>
                    <a:pt x="39" y="0"/>
                  </a:cubicBezTo>
                  <a:cubicBezTo>
                    <a:pt x="29" y="0"/>
                    <a:pt x="22" y="5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5"/>
                    <a:pt x="22" y="17"/>
                    <a:pt x="32" y="17"/>
                  </a:cubicBezTo>
                  <a:cubicBezTo>
                    <a:pt x="43" y="17"/>
                    <a:pt x="43" y="27"/>
                    <a:pt x="43" y="34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63" y="66"/>
                    <a:pt x="63" y="66"/>
                    <a:pt x="63" y="66"/>
                  </a:cubicBezTo>
                  <a:lnTo>
                    <a:pt x="63" y="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D8EB47A-20AD-41E1-BC21-6BBD5A6C3EC1}"/>
              </a:ext>
            </a:extLst>
          </p:cNvPr>
          <p:cNvGrpSpPr/>
          <p:nvPr/>
        </p:nvGrpSpPr>
        <p:grpSpPr>
          <a:xfrm>
            <a:off x="3621088" y="2859088"/>
            <a:ext cx="760412" cy="758825"/>
            <a:chOff x="3621088" y="2871788"/>
            <a:chExt cx="760412" cy="758825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E470D5D5-5A96-433F-B487-A367371C0C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21088" y="2871788"/>
              <a:ext cx="760412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B2EDEB70-69B8-492C-8784-AE61734FA0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4263" y="2874963"/>
              <a:ext cx="757237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57883F5-F2AB-4A06-9D14-F586021BD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0475" y="3030538"/>
              <a:ext cx="425450" cy="425450"/>
            </a:xfrm>
            <a:custGeom>
              <a:avLst/>
              <a:gdLst>
                <a:gd name="T0" fmla="*/ 105 w 109"/>
                <a:gd name="T1" fmla="*/ 106 h 109"/>
                <a:gd name="T2" fmla="*/ 100 w 109"/>
                <a:gd name="T3" fmla="*/ 106 h 109"/>
                <a:gd name="T4" fmla="*/ 100 w 109"/>
                <a:gd name="T5" fmla="*/ 42 h 109"/>
                <a:gd name="T6" fmla="*/ 98 w 109"/>
                <a:gd name="T7" fmla="*/ 40 h 109"/>
                <a:gd name="T8" fmla="*/ 11 w 109"/>
                <a:gd name="T9" fmla="*/ 40 h 109"/>
                <a:gd name="T10" fmla="*/ 9 w 109"/>
                <a:gd name="T11" fmla="*/ 42 h 109"/>
                <a:gd name="T12" fmla="*/ 9 w 109"/>
                <a:gd name="T13" fmla="*/ 106 h 109"/>
                <a:gd name="T14" fmla="*/ 3 w 109"/>
                <a:gd name="T15" fmla="*/ 106 h 109"/>
                <a:gd name="T16" fmla="*/ 3 w 109"/>
                <a:gd name="T17" fmla="*/ 32 h 109"/>
                <a:gd name="T18" fmla="*/ 54 w 109"/>
                <a:gd name="T19" fmla="*/ 4 h 109"/>
                <a:gd name="T20" fmla="*/ 105 w 109"/>
                <a:gd name="T21" fmla="*/ 34 h 109"/>
                <a:gd name="T22" fmla="*/ 105 w 109"/>
                <a:gd name="T23" fmla="*/ 106 h 109"/>
                <a:gd name="T24" fmla="*/ 108 w 109"/>
                <a:gd name="T25" fmla="*/ 32 h 109"/>
                <a:gd name="T26" fmla="*/ 55 w 109"/>
                <a:gd name="T27" fmla="*/ 1 h 109"/>
                <a:gd name="T28" fmla="*/ 53 w 109"/>
                <a:gd name="T29" fmla="*/ 1 h 109"/>
                <a:gd name="T30" fmla="*/ 1 w 109"/>
                <a:gd name="T31" fmla="*/ 30 h 109"/>
                <a:gd name="T32" fmla="*/ 0 w 109"/>
                <a:gd name="T33" fmla="*/ 31 h 109"/>
                <a:gd name="T34" fmla="*/ 0 w 109"/>
                <a:gd name="T35" fmla="*/ 107 h 109"/>
                <a:gd name="T36" fmla="*/ 2 w 109"/>
                <a:gd name="T37" fmla="*/ 109 h 109"/>
                <a:gd name="T38" fmla="*/ 11 w 109"/>
                <a:gd name="T39" fmla="*/ 109 h 109"/>
                <a:gd name="T40" fmla="*/ 13 w 109"/>
                <a:gd name="T41" fmla="*/ 107 h 109"/>
                <a:gd name="T42" fmla="*/ 13 w 109"/>
                <a:gd name="T43" fmla="*/ 44 h 109"/>
                <a:gd name="T44" fmla="*/ 96 w 109"/>
                <a:gd name="T45" fmla="*/ 44 h 109"/>
                <a:gd name="T46" fmla="*/ 96 w 109"/>
                <a:gd name="T47" fmla="*/ 107 h 109"/>
                <a:gd name="T48" fmla="*/ 98 w 109"/>
                <a:gd name="T49" fmla="*/ 109 h 109"/>
                <a:gd name="T50" fmla="*/ 107 w 109"/>
                <a:gd name="T51" fmla="*/ 109 h 109"/>
                <a:gd name="T52" fmla="*/ 109 w 109"/>
                <a:gd name="T53" fmla="*/ 107 h 109"/>
                <a:gd name="T54" fmla="*/ 109 w 109"/>
                <a:gd name="T55" fmla="*/ 33 h 109"/>
                <a:gd name="T56" fmla="*/ 108 w 109"/>
                <a:gd name="T5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109">
                  <a:moveTo>
                    <a:pt x="105" y="106"/>
                  </a:moveTo>
                  <a:cubicBezTo>
                    <a:pt x="100" y="106"/>
                    <a:pt x="100" y="106"/>
                    <a:pt x="100" y="106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1"/>
                    <a:pt x="99" y="40"/>
                    <a:pt x="98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0"/>
                    <a:pt x="9" y="41"/>
                    <a:pt x="9" y="42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105" y="34"/>
                    <a:pt x="105" y="34"/>
                    <a:pt x="105" y="34"/>
                  </a:cubicBezTo>
                  <a:lnTo>
                    <a:pt x="105" y="106"/>
                  </a:lnTo>
                  <a:close/>
                  <a:moveTo>
                    <a:pt x="108" y="32"/>
                  </a:moveTo>
                  <a:cubicBezTo>
                    <a:pt x="55" y="1"/>
                    <a:pt x="55" y="1"/>
                    <a:pt x="55" y="1"/>
                  </a:cubicBezTo>
                  <a:cubicBezTo>
                    <a:pt x="55" y="0"/>
                    <a:pt x="54" y="0"/>
                    <a:pt x="53" y="1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8"/>
                    <a:pt x="1" y="109"/>
                    <a:pt x="2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2" y="109"/>
                    <a:pt x="13" y="108"/>
                    <a:pt x="13" y="107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96" y="108"/>
                    <a:pt x="97" y="109"/>
                    <a:pt x="98" y="109"/>
                  </a:cubicBezTo>
                  <a:cubicBezTo>
                    <a:pt x="107" y="109"/>
                    <a:pt x="107" y="109"/>
                    <a:pt x="107" y="109"/>
                  </a:cubicBezTo>
                  <a:cubicBezTo>
                    <a:pt x="108" y="109"/>
                    <a:pt x="109" y="108"/>
                    <a:pt x="109" y="107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2"/>
                    <a:pt x="108" y="32"/>
                    <a:pt x="108" y="3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B6B4645-F5A2-45D8-A6A3-A8BCBCD7F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2413" y="3357563"/>
              <a:ext cx="96837" cy="98425"/>
            </a:xfrm>
            <a:custGeom>
              <a:avLst/>
              <a:gdLst>
                <a:gd name="T0" fmla="*/ 22 w 25"/>
                <a:gd name="T1" fmla="*/ 22 h 25"/>
                <a:gd name="T2" fmla="*/ 4 w 25"/>
                <a:gd name="T3" fmla="*/ 22 h 25"/>
                <a:gd name="T4" fmla="*/ 4 w 25"/>
                <a:gd name="T5" fmla="*/ 4 h 25"/>
                <a:gd name="T6" fmla="*/ 22 w 25"/>
                <a:gd name="T7" fmla="*/ 4 h 25"/>
                <a:gd name="T8" fmla="*/ 22 w 25"/>
                <a:gd name="T9" fmla="*/ 22 h 25"/>
                <a:gd name="T10" fmla="*/ 24 w 25"/>
                <a:gd name="T11" fmla="*/ 0 h 25"/>
                <a:gd name="T12" fmla="*/ 2 w 25"/>
                <a:gd name="T13" fmla="*/ 0 h 25"/>
                <a:gd name="T14" fmla="*/ 0 w 25"/>
                <a:gd name="T15" fmla="*/ 2 h 25"/>
                <a:gd name="T16" fmla="*/ 0 w 25"/>
                <a:gd name="T17" fmla="*/ 23 h 25"/>
                <a:gd name="T18" fmla="*/ 2 w 25"/>
                <a:gd name="T19" fmla="*/ 25 h 25"/>
                <a:gd name="T20" fmla="*/ 24 w 25"/>
                <a:gd name="T21" fmla="*/ 25 h 25"/>
                <a:gd name="T22" fmla="*/ 25 w 25"/>
                <a:gd name="T23" fmla="*/ 23 h 25"/>
                <a:gd name="T24" fmla="*/ 25 w 25"/>
                <a:gd name="T25" fmla="*/ 2 h 25"/>
                <a:gd name="T26" fmla="*/ 24 w 25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5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5" y="24"/>
                    <a:pt x="25" y="23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5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C1DB0AC5-36AE-4018-AFA2-7BF001A3E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400" y="3365501"/>
              <a:ext cx="42862" cy="34925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9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2743D67-6B8D-45C2-B4ED-0DA5DF6DD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6688" y="3357563"/>
              <a:ext cx="100012" cy="98425"/>
            </a:xfrm>
            <a:custGeom>
              <a:avLst/>
              <a:gdLst>
                <a:gd name="T0" fmla="*/ 22 w 26"/>
                <a:gd name="T1" fmla="*/ 22 h 25"/>
                <a:gd name="T2" fmla="*/ 4 w 26"/>
                <a:gd name="T3" fmla="*/ 22 h 25"/>
                <a:gd name="T4" fmla="*/ 4 w 26"/>
                <a:gd name="T5" fmla="*/ 4 h 25"/>
                <a:gd name="T6" fmla="*/ 22 w 26"/>
                <a:gd name="T7" fmla="*/ 4 h 25"/>
                <a:gd name="T8" fmla="*/ 22 w 26"/>
                <a:gd name="T9" fmla="*/ 22 h 25"/>
                <a:gd name="T10" fmla="*/ 24 w 26"/>
                <a:gd name="T11" fmla="*/ 0 h 25"/>
                <a:gd name="T12" fmla="*/ 2 w 26"/>
                <a:gd name="T13" fmla="*/ 0 h 25"/>
                <a:gd name="T14" fmla="*/ 0 w 26"/>
                <a:gd name="T15" fmla="*/ 2 h 25"/>
                <a:gd name="T16" fmla="*/ 0 w 26"/>
                <a:gd name="T17" fmla="*/ 23 h 25"/>
                <a:gd name="T18" fmla="*/ 2 w 26"/>
                <a:gd name="T19" fmla="*/ 25 h 25"/>
                <a:gd name="T20" fmla="*/ 24 w 26"/>
                <a:gd name="T21" fmla="*/ 25 h 25"/>
                <a:gd name="T22" fmla="*/ 26 w 26"/>
                <a:gd name="T23" fmla="*/ 23 h 25"/>
                <a:gd name="T24" fmla="*/ 26 w 26"/>
                <a:gd name="T25" fmla="*/ 2 h 25"/>
                <a:gd name="T26" fmla="*/ 24 w 26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5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6" y="24"/>
                    <a:pt x="26" y="2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862E16AB-C98F-41A3-950B-624525B32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675" y="3365501"/>
              <a:ext cx="42862" cy="34925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10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5497DB6B-7B26-4112-9D6E-E92538244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2413" y="3271838"/>
              <a:ext cx="96837" cy="101600"/>
            </a:xfrm>
            <a:custGeom>
              <a:avLst/>
              <a:gdLst>
                <a:gd name="T0" fmla="*/ 22 w 25"/>
                <a:gd name="T1" fmla="*/ 22 h 26"/>
                <a:gd name="T2" fmla="*/ 4 w 25"/>
                <a:gd name="T3" fmla="*/ 22 h 26"/>
                <a:gd name="T4" fmla="*/ 4 w 25"/>
                <a:gd name="T5" fmla="*/ 4 h 26"/>
                <a:gd name="T6" fmla="*/ 22 w 25"/>
                <a:gd name="T7" fmla="*/ 4 h 26"/>
                <a:gd name="T8" fmla="*/ 22 w 25"/>
                <a:gd name="T9" fmla="*/ 22 h 26"/>
                <a:gd name="T10" fmla="*/ 24 w 25"/>
                <a:gd name="T11" fmla="*/ 0 h 26"/>
                <a:gd name="T12" fmla="*/ 2 w 25"/>
                <a:gd name="T13" fmla="*/ 0 h 26"/>
                <a:gd name="T14" fmla="*/ 0 w 25"/>
                <a:gd name="T15" fmla="*/ 2 h 26"/>
                <a:gd name="T16" fmla="*/ 0 w 25"/>
                <a:gd name="T17" fmla="*/ 24 h 26"/>
                <a:gd name="T18" fmla="*/ 2 w 25"/>
                <a:gd name="T19" fmla="*/ 26 h 26"/>
                <a:gd name="T20" fmla="*/ 24 w 25"/>
                <a:gd name="T21" fmla="*/ 26 h 26"/>
                <a:gd name="T22" fmla="*/ 25 w 25"/>
                <a:gd name="T23" fmla="*/ 24 h 26"/>
                <a:gd name="T24" fmla="*/ 25 w 25"/>
                <a:gd name="T25" fmla="*/ 2 h 26"/>
                <a:gd name="T26" fmla="*/ 24 w 25"/>
                <a:gd name="T2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6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5"/>
                    <a:pt x="25" y="24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5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0C1710DB-6B28-4ED4-94DA-6D80C6BF4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400" y="3279776"/>
              <a:ext cx="42862" cy="34925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9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3">
              <a:extLst>
                <a:ext uri="{FF2B5EF4-FFF2-40B4-BE49-F238E27FC236}">
                  <a16:creationId xmlns:a16="http://schemas.microsoft.com/office/drawing/2014/main" id="{7AC3A315-3239-4B06-A514-4416B9868F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3338" y="3244851"/>
              <a:ext cx="339725" cy="1587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4">
              <a:extLst>
                <a:ext uri="{FF2B5EF4-FFF2-40B4-BE49-F238E27FC236}">
                  <a16:creationId xmlns:a16="http://schemas.microsoft.com/office/drawing/2014/main" id="{87148C3A-112C-4E6B-9A92-E6F2E69F9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3338" y="3217863"/>
              <a:ext cx="339725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E1D64D9D-F0A9-423E-892C-94B5466EA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750" y="3132138"/>
              <a:ext cx="85725" cy="42863"/>
            </a:xfrm>
            <a:custGeom>
              <a:avLst/>
              <a:gdLst>
                <a:gd name="T0" fmla="*/ 19 w 22"/>
                <a:gd name="T1" fmla="*/ 7 h 11"/>
                <a:gd name="T2" fmla="*/ 4 w 22"/>
                <a:gd name="T3" fmla="*/ 7 h 11"/>
                <a:gd name="T4" fmla="*/ 4 w 22"/>
                <a:gd name="T5" fmla="*/ 4 h 11"/>
                <a:gd name="T6" fmla="*/ 19 w 22"/>
                <a:gd name="T7" fmla="*/ 4 h 11"/>
                <a:gd name="T8" fmla="*/ 19 w 22"/>
                <a:gd name="T9" fmla="*/ 7 h 11"/>
                <a:gd name="T10" fmla="*/ 20 w 22"/>
                <a:gd name="T11" fmla="*/ 0 h 11"/>
                <a:gd name="T12" fmla="*/ 2 w 22"/>
                <a:gd name="T13" fmla="*/ 0 h 11"/>
                <a:gd name="T14" fmla="*/ 0 w 22"/>
                <a:gd name="T15" fmla="*/ 2 h 11"/>
                <a:gd name="T16" fmla="*/ 0 w 22"/>
                <a:gd name="T17" fmla="*/ 9 h 11"/>
                <a:gd name="T18" fmla="*/ 2 w 22"/>
                <a:gd name="T19" fmla="*/ 11 h 11"/>
                <a:gd name="T20" fmla="*/ 20 w 22"/>
                <a:gd name="T21" fmla="*/ 11 h 11"/>
                <a:gd name="T22" fmla="*/ 22 w 22"/>
                <a:gd name="T23" fmla="*/ 9 h 11"/>
                <a:gd name="T24" fmla="*/ 22 w 22"/>
                <a:gd name="T25" fmla="*/ 2 h 11"/>
                <a:gd name="T26" fmla="*/ 20 w 22"/>
                <a:gd name="T2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19" y="7"/>
                  </a:lnTo>
                  <a:close/>
                  <a:moveTo>
                    <a:pt x="2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2" y="10"/>
                    <a:pt x="22" y="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1" y="0"/>
                    <a:pt x="2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" name="Group 461">
            <a:extLst>
              <a:ext uri="{FF2B5EF4-FFF2-40B4-BE49-F238E27FC236}">
                <a16:creationId xmlns:a16="http://schemas.microsoft.com/office/drawing/2014/main" id="{D8C8C4EC-E6D5-4C03-B3A9-8C81E9AB3656}"/>
              </a:ext>
            </a:extLst>
          </p:cNvPr>
          <p:cNvGrpSpPr/>
          <p:nvPr/>
        </p:nvGrpSpPr>
        <p:grpSpPr>
          <a:xfrm>
            <a:off x="2571750" y="2816225"/>
            <a:ext cx="844550" cy="844550"/>
            <a:chOff x="2571750" y="2830513"/>
            <a:chExt cx="844550" cy="844550"/>
          </a:xfrm>
        </p:grpSpPr>
        <p:sp>
          <p:nvSpPr>
            <p:cNvPr id="30" name="AutoShape 17">
              <a:extLst>
                <a:ext uri="{FF2B5EF4-FFF2-40B4-BE49-F238E27FC236}">
                  <a16:creationId xmlns:a16="http://schemas.microsoft.com/office/drawing/2014/main" id="{10A75F78-DC2E-48CA-A92C-A07CED5912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71750" y="28305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19">
              <a:extLst>
                <a:ext uri="{FF2B5EF4-FFF2-40B4-BE49-F238E27FC236}">
                  <a16:creationId xmlns:a16="http://schemas.microsoft.com/office/drawing/2014/main" id="{D2AE57AE-F97E-4D7B-B5E4-CE34DEB28B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750" y="2830513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20">
              <a:extLst>
                <a:ext uri="{FF2B5EF4-FFF2-40B4-BE49-F238E27FC236}">
                  <a16:creationId xmlns:a16="http://schemas.microsoft.com/office/drawing/2014/main" id="{3A7F62B4-AA9F-4B89-A2D9-3E61871117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0325" y="2859088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21">
              <a:extLst>
                <a:ext uri="{FF2B5EF4-FFF2-40B4-BE49-F238E27FC236}">
                  <a16:creationId xmlns:a16="http://schemas.microsoft.com/office/drawing/2014/main" id="{4F1FA541-6826-4A28-900A-623897A8E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2888" y="3021013"/>
              <a:ext cx="442913" cy="442913"/>
            </a:xfrm>
            <a:custGeom>
              <a:avLst/>
              <a:gdLst>
                <a:gd name="T0" fmla="*/ 105 w 109"/>
                <a:gd name="T1" fmla="*/ 106 h 109"/>
                <a:gd name="T2" fmla="*/ 100 w 109"/>
                <a:gd name="T3" fmla="*/ 106 h 109"/>
                <a:gd name="T4" fmla="*/ 100 w 109"/>
                <a:gd name="T5" fmla="*/ 42 h 109"/>
                <a:gd name="T6" fmla="*/ 98 w 109"/>
                <a:gd name="T7" fmla="*/ 40 h 109"/>
                <a:gd name="T8" fmla="*/ 11 w 109"/>
                <a:gd name="T9" fmla="*/ 40 h 109"/>
                <a:gd name="T10" fmla="*/ 9 w 109"/>
                <a:gd name="T11" fmla="*/ 42 h 109"/>
                <a:gd name="T12" fmla="*/ 9 w 109"/>
                <a:gd name="T13" fmla="*/ 106 h 109"/>
                <a:gd name="T14" fmla="*/ 3 w 109"/>
                <a:gd name="T15" fmla="*/ 106 h 109"/>
                <a:gd name="T16" fmla="*/ 3 w 109"/>
                <a:gd name="T17" fmla="*/ 32 h 109"/>
                <a:gd name="T18" fmla="*/ 54 w 109"/>
                <a:gd name="T19" fmla="*/ 4 h 109"/>
                <a:gd name="T20" fmla="*/ 105 w 109"/>
                <a:gd name="T21" fmla="*/ 34 h 109"/>
                <a:gd name="T22" fmla="*/ 105 w 109"/>
                <a:gd name="T23" fmla="*/ 106 h 109"/>
                <a:gd name="T24" fmla="*/ 108 w 109"/>
                <a:gd name="T25" fmla="*/ 32 h 109"/>
                <a:gd name="T26" fmla="*/ 55 w 109"/>
                <a:gd name="T27" fmla="*/ 1 h 109"/>
                <a:gd name="T28" fmla="*/ 53 w 109"/>
                <a:gd name="T29" fmla="*/ 1 h 109"/>
                <a:gd name="T30" fmla="*/ 1 w 109"/>
                <a:gd name="T31" fmla="*/ 30 h 109"/>
                <a:gd name="T32" fmla="*/ 0 w 109"/>
                <a:gd name="T33" fmla="*/ 31 h 109"/>
                <a:gd name="T34" fmla="*/ 0 w 109"/>
                <a:gd name="T35" fmla="*/ 107 h 109"/>
                <a:gd name="T36" fmla="*/ 2 w 109"/>
                <a:gd name="T37" fmla="*/ 109 h 109"/>
                <a:gd name="T38" fmla="*/ 11 w 109"/>
                <a:gd name="T39" fmla="*/ 109 h 109"/>
                <a:gd name="T40" fmla="*/ 13 w 109"/>
                <a:gd name="T41" fmla="*/ 107 h 109"/>
                <a:gd name="T42" fmla="*/ 13 w 109"/>
                <a:gd name="T43" fmla="*/ 44 h 109"/>
                <a:gd name="T44" fmla="*/ 96 w 109"/>
                <a:gd name="T45" fmla="*/ 44 h 109"/>
                <a:gd name="T46" fmla="*/ 96 w 109"/>
                <a:gd name="T47" fmla="*/ 107 h 109"/>
                <a:gd name="T48" fmla="*/ 98 w 109"/>
                <a:gd name="T49" fmla="*/ 109 h 109"/>
                <a:gd name="T50" fmla="*/ 107 w 109"/>
                <a:gd name="T51" fmla="*/ 109 h 109"/>
                <a:gd name="T52" fmla="*/ 109 w 109"/>
                <a:gd name="T53" fmla="*/ 107 h 109"/>
                <a:gd name="T54" fmla="*/ 109 w 109"/>
                <a:gd name="T55" fmla="*/ 33 h 109"/>
                <a:gd name="T56" fmla="*/ 108 w 109"/>
                <a:gd name="T5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109">
                  <a:moveTo>
                    <a:pt x="105" y="106"/>
                  </a:moveTo>
                  <a:cubicBezTo>
                    <a:pt x="100" y="106"/>
                    <a:pt x="100" y="106"/>
                    <a:pt x="100" y="106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1"/>
                    <a:pt x="99" y="40"/>
                    <a:pt x="98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0"/>
                    <a:pt x="9" y="41"/>
                    <a:pt x="9" y="42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105" y="34"/>
                    <a:pt x="105" y="34"/>
                    <a:pt x="105" y="34"/>
                  </a:cubicBezTo>
                  <a:lnTo>
                    <a:pt x="105" y="106"/>
                  </a:lnTo>
                  <a:close/>
                  <a:moveTo>
                    <a:pt x="108" y="32"/>
                  </a:moveTo>
                  <a:cubicBezTo>
                    <a:pt x="55" y="1"/>
                    <a:pt x="55" y="1"/>
                    <a:pt x="55" y="1"/>
                  </a:cubicBezTo>
                  <a:cubicBezTo>
                    <a:pt x="55" y="0"/>
                    <a:pt x="54" y="0"/>
                    <a:pt x="53" y="1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8"/>
                    <a:pt x="1" y="109"/>
                    <a:pt x="2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2" y="109"/>
                    <a:pt x="13" y="108"/>
                    <a:pt x="13" y="107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96" y="108"/>
                    <a:pt x="97" y="109"/>
                    <a:pt x="98" y="109"/>
                  </a:cubicBezTo>
                  <a:cubicBezTo>
                    <a:pt x="107" y="109"/>
                    <a:pt x="107" y="109"/>
                    <a:pt x="107" y="109"/>
                  </a:cubicBezTo>
                  <a:cubicBezTo>
                    <a:pt x="108" y="109"/>
                    <a:pt x="109" y="108"/>
                    <a:pt x="109" y="107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2"/>
                    <a:pt x="108" y="32"/>
                    <a:pt x="108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22">
              <a:extLst>
                <a:ext uri="{FF2B5EF4-FFF2-40B4-BE49-F238E27FC236}">
                  <a16:creationId xmlns:a16="http://schemas.microsoft.com/office/drawing/2014/main" id="{C7D2E7B9-B862-4921-AD56-666E696A50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5938" y="3362326"/>
              <a:ext cx="101600" cy="101600"/>
            </a:xfrm>
            <a:custGeom>
              <a:avLst/>
              <a:gdLst>
                <a:gd name="T0" fmla="*/ 22 w 25"/>
                <a:gd name="T1" fmla="*/ 22 h 25"/>
                <a:gd name="T2" fmla="*/ 4 w 25"/>
                <a:gd name="T3" fmla="*/ 22 h 25"/>
                <a:gd name="T4" fmla="*/ 4 w 25"/>
                <a:gd name="T5" fmla="*/ 4 h 25"/>
                <a:gd name="T6" fmla="*/ 22 w 25"/>
                <a:gd name="T7" fmla="*/ 4 h 25"/>
                <a:gd name="T8" fmla="*/ 22 w 25"/>
                <a:gd name="T9" fmla="*/ 22 h 25"/>
                <a:gd name="T10" fmla="*/ 24 w 25"/>
                <a:gd name="T11" fmla="*/ 0 h 25"/>
                <a:gd name="T12" fmla="*/ 2 w 25"/>
                <a:gd name="T13" fmla="*/ 0 h 25"/>
                <a:gd name="T14" fmla="*/ 0 w 25"/>
                <a:gd name="T15" fmla="*/ 2 h 25"/>
                <a:gd name="T16" fmla="*/ 0 w 25"/>
                <a:gd name="T17" fmla="*/ 23 h 25"/>
                <a:gd name="T18" fmla="*/ 2 w 25"/>
                <a:gd name="T19" fmla="*/ 25 h 25"/>
                <a:gd name="T20" fmla="*/ 24 w 25"/>
                <a:gd name="T21" fmla="*/ 25 h 25"/>
                <a:gd name="T22" fmla="*/ 25 w 25"/>
                <a:gd name="T23" fmla="*/ 23 h 25"/>
                <a:gd name="T24" fmla="*/ 25 w 25"/>
                <a:gd name="T25" fmla="*/ 2 h 25"/>
                <a:gd name="T26" fmla="*/ 24 w 25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5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5" y="24"/>
                    <a:pt x="25" y="23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5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23">
              <a:extLst>
                <a:ext uri="{FF2B5EF4-FFF2-40B4-BE49-F238E27FC236}">
                  <a16:creationId xmlns:a16="http://schemas.microsoft.com/office/drawing/2014/main" id="{8409A0D3-CE48-4B01-8125-868BBB912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4513" y="3370263"/>
              <a:ext cx="44450" cy="36513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9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24">
              <a:extLst>
                <a:ext uri="{FF2B5EF4-FFF2-40B4-BE49-F238E27FC236}">
                  <a16:creationId xmlns:a16="http://schemas.microsoft.com/office/drawing/2014/main" id="{0DA42BC7-3F82-4C11-AFB5-D64AB4305A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5450" y="3362326"/>
              <a:ext cx="106363" cy="101600"/>
            </a:xfrm>
            <a:custGeom>
              <a:avLst/>
              <a:gdLst>
                <a:gd name="T0" fmla="*/ 22 w 26"/>
                <a:gd name="T1" fmla="*/ 22 h 25"/>
                <a:gd name="T2" fmla="*/ 4 w 26"/>
                <a:gd name="T3" fmla="*/ 22 h 25"/>
                <a:gd name="T4" fmla="*/ 4 w 26"/>
                <a:gd name="T5" fmla="*/ 4 h 25"/>
                <a:gd name="T6" fmla="*/ 22 w 26"/>
                <a:gd name="T7" fmla="*/ 4 h 25"/>
                <a:gd name="T8" fmla="*/ 22 w 26"/>
                <a:gd name="T9" fmla="*/ 22 h 25"/>
                <a:gd name="T10" fmla="*/ 24 w 26"/>
                <a:gd name="T11" fmla="*/ 0 h 25"/>
                <a:gd name="T12" fmla="*/ 2 w 26"/>
                <a:gd name="T13" fmla="*/ 0 h 25"/>
                <a:gd name="T14" fmla="*/ 0 w 26"/>
                <a:gd name="T15" fmla="*/ 2 h 25"/>
                <a:gd name="T16" fmla="*/ 0 w 26"/>
                <a:gd name="T17" fmla="*/ 23 h 25"/>
                <a:gd name="T18" fmla="*/ 2 w 26"/>
                <a:gd name="T19" fmla="*/ 25 h 25"/>
                <a:gd name="T20" fmla="*/ 24 w 26"/>
                <a:gd name="T21" fmla="*/ 25 h 25"/>
                <a:gd name="T22" fmla="*/ 26 w 26"/>
                <a:gd name="T23" fmla="*/ 23 h 25"/>
                <a:gd name="T24" fmla="*/ 26 w 26"/>
                <a:gd name="T25" fmla="*/ 2 h 25"/>
                <a:gd name="T26" fmla="*/ 24 w 26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5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6" y="24"/>
                    <a:pt x="26" y="2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25">
              <a:extLst>
                <a:ext uri="{FF2B5EF4-FFF2-40B4-BE49-F238E27FC236}">
                  <a16:creationId xmlns:a16="http://schemas.microsoft.com/office/drawing/2014/main" id="{7AB9C2F0-C416-4A81-A409-DC86D6703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5" y="3370263"/>
              <a:ext cx="44450" cy="36513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10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26">
              <a:extLst>
                <a:ext uri="{FF2B5EF4-FFF2-40B4-BE49-F238E27FC236}">
                  <a16:creationId xmlns:a16="http://schemas.microsoft.com/office/drawing/2014/main" id="{79320827-900A-494B-8B30-BB41011451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5938" y="3273426"/>
              <a:ext cx="101600" cy="106363"/>
            </a:xfrm>
            <a:custGeom>
              <a:avLst/>
              <a:gdLst>
                <a:gd name="T0" fmla="*/ 22 w 25"/>
                <a:gd name="T1" fmla="*/ 22 h 26"/>
                <a:gd name="T2" fmla="*/ 4 w 25"/>
                <a:gd name="T3" fmla="*/ 22 h 26"/>
                <a:gd name="T4" fmla="*/ 4 w 25"/>
                <a:gd name="T5" fmla="*/ 4 h 26"/>
                <a:gd name="T6" fmla="*/ 22 w 25"/>
                <a:gd name="T7" fmla="*/ 4 h 26"/>
                <a:gd name="T8" fmla="*/ 22 w 25"/>
                <a:gd name="T9" fmla="*/ 22 h 26"/>
                <a:gd name="T10" fmla="*/ 24 w 25"/>
                <a:gd name="T11" fmla="*/ 0 h 26"/>
                <a:gd name="T12" fmla="*/ 2 w 25"/>
                <a:gd name="T13" fmla="*/ 0 h 26"/>
                <a:gd name="T14" fmla="*/ 0 w 25"/>
                <a:gd name="T15" fmla="*/ 2 h 26"/>
                <a:gd name="T16" fmla="*/ 0 w 25"/>
                <a:gd name="T17" fmla="*/ 24 h 26"/>
                <a:gd name="T18" fmla="*/ 2 w 25"/>
                <a:gd name="T19" fmla="*/ 26 h 26"/>
                <a:gd name="T20" fmla="*/ 24 w 25"/>
                <a:gd name="T21" fmla="*/ 26 h 26"/>
                <a:gd name="T22" fmla="*/ 25 w 25"/>
                <a:gd name="T23" fmla="*/ 24 h 26"/>
                <a:gd name="T24" fmla="*/ 25 w 25"/>
                <a:gd name="T25" fmla="*/ 2 h 26"/>
                <a:gd name="T26" fmla="*/ 24 w 25"/>
                <a:gd name="T2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6">
                  <a:moveTo>
                    <a:pt x="22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22"/>
                  </a:lnTo>
                  <a:close/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5"/>
                    <a:pt x="25" y="24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5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27">
              <a:extLst>
                <a:ext uri="{FF2B5EF4-FFF2-40B4-BE49-F238E27FC236}">
                  <a16:creationId xmlns:a16="http://schemas.microsoft.com/office/drawing/2014/main" id="{34381014-D0D1-4483-9F46-DCF19600B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4513" y="3281363"/>
              <a:ext cx="44450" cy="36513"/>
            </a:xfrm>
            <a:custGeom>
              <a:avLst/>
              <a:gdLst>
                <a:gd name="T0" fmla="*/ 8 w 11"/>
                <a:gd name="T1" fmla="*/ 0 h 9"/>
                <a:gd name="T2" fmla="*/ 8 w 11"/>
                <a:gd name="T3" fmla="*/ 5 h 9"/>
                <a:gd name="T4" fmla="*/ 4 w 11"/>
                <a:gd name="T5" fmla="*/ 5 h 9"/>
                <a:gd name="T6" fmla="*/ 4 w 11"/>
                <a:gd name="T7" fmla="*/ 0 h 9"/>
                <a:gd name="T8" fmla="*/ 0 w 11"/>
                <a:gd name="T9" fmla="*/ 0 h 9"/>
                <a:gd name="T10" fmla="*/ 0 w 11"/>
                <a:gd name="T11" fmla="*/ 7 h 9"/>
                <a:gd name="T12" fmla="*/ 2 w 11"/>
                <a:gd name="T13" fmla="*/ 9 h 9"/>
                <a:gd name="T14" fmla="*/ 9 w 11"/>
                <a:gd name="T15" fmla="*/ 9 h 9"/>
                <a:gd name="T16" fmla="*/ 11 w 11"/>
                <a:gd name="T17" fmla="*/ 7 h 9"/>
                <a:gd name="T18" fmla="*/ 11 w 11"/>
                <a:gd name="T19" fmla="*/ 0 h 9"/>
                <a:gd name="T20" fmla="*/ 8 w 11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9"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7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Rectangle 28">
              <a:extLst>
                <a:ext uri="{FF2B5EF4-FFF2-40B4-BE49-F238E27FC236}">
                  <a16:creationId xmlns:a16="http://schemas.microsoft.com/office/drawing/2014/main" id="{A924436E-3DA7-400F-842A-69512313AC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3244851"/>
              <a:ext cx="354013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Rectangle 29">
              <a:extLst>
                <a:ext uri="{FF2B5EF4-FFF2-40B4-BE49-F238E27FC236}">
                  <a16:creationId xmlns:a16="http://schemas.microsoft.com/office/drawing/2014/main" id="{477A3754-014E-483E-8E5F-EE240E71D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338" y="3216276"/>
              <a:ext cx="354013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30">
              <a:extLst>
                <a:ext uri="{FF2B5EF4-FFF2-40B4-BE49-F238E27FC236}">
                  <a16:creationId xmlns:a16="http://schemas.microsoft.com/office/drawing/2014/main" id="{5275FE1F-BBD5-452E-8C50-87F6E78481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7513" y="3127376"/>
              <a:ext cx="88900" cy="44450"/>
            </a:xfrm>
            <a:custGeom>
              <a:avLst/>
              <a:gdLst>
                <a:gd name="T0" fmla="*/ 19 w 22"/>
                <a:gd name="T1" fmla="*/ 7 h 11"/>
                <a:gd name="T2" fmla="*/ 4 w 22"/>
                <a:gd name="T3" fmla="*/ 7 h 11"/>
                <a:gd name="T4" fmla="*/ 4 w 22"/>
                <a:gd name="T5" fmla="*/ 4 h 11"/>
                <a:gd name="T6" fmla="*/ 19 w 22"/>
                <a:gd name="T7" fmla="*/ 4 h 11"/>
                <a:gd name="T8" fmla="*/ 19 w 22"/>
                <a:gd name="T9" fmla="*/ 7 h 11"/>
                <a:gd name="T10" fmla="*/ 20 w 22"/>
                <a:gd name="T11" fmla="*/ 0 h 11"/>
                <a:gd name="T12" fmla="*/ 2 w 22"/>
                <a:gd name="T13" fmla="*/ 0 h 11"/>
                <a:gd name="T14" fmla="*/ 0 w 22"/>
                <a:gd name="T15" fmla="*/ 2 h 11"/>
                <a:gd name="T16" fmla="*/ 0 w 22"/>
                <a:gd name="T17" fmla="*/ 9 h 11"/>
                <a:gd name="T18" fmla="*/ 2 w 22"/>
                <a:gd name="T19" fmla="*/ 11 h 11"/>
                <a:gd name="T20" fmla="*/ 20 w 22"/>
                <a:gd name="T21" fmla="*/ 11 h 11"/>
                <a:gd name="T22" fmla="*/ 22 w 22"/>
                <a:gd name="T23" fmla="*/ 9 h 11"/>
                <a:gd name="T24" fmla="*/ 22 w 22"/>
                <a:gd name="T25" fmla="*/ 2 h 11"/>
                <a:gd name="T26" fmla="*/ 20 w 22"/>
                <a:gd name="T2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">
                  <a:moveTo>
                    <a:pt x="19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19" y="7"/>
                  </a:lnTo>
                  <a:close/>
                  <a:moveTo>
                    <a:pt x="2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2" y="10"/>
                    <a:pt x="22" y="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1" y="0"/>
                    <a:pt x="2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5" name="Group 474">
            <a:extLst>
              <a:ext uri="{FF2B5EF4-FFF2-40B4-BE49-F238E27FC236}">
                <a16:creationId xmlns:a16="http://schemas.microsoft.com/office/drawing/2014/main" id="{03EBB34A-DB07-48FC-8EED-44917B1166D0}"/>
              </a:ext>
            </a:extLst>
          </p:cNvPr>
          <p:cNvGrpSpPr/>
          <p:nvPr/>
        </p:nvGrpSpPr>
        <p:grpSpPr>
          <a:xfrm>
            <a:off x="5837238" y="2859088"/>
            <a:ext cx="758825" cy="758825"/>
            <a:chOff x="5837238" y="2830513"/>
            <a:chExt cx="758825" cy="758825"/>
          </a:xfrm>
        </p:grpSpPr>
        <p:sp>
          <p:nvSpPr>
            <p:cNvPr id="466" name="AutoShape 32">
              <a:extLst>
                <a:ext uri="{FF2B5EF4-FFF2-40B4-BE49-F238E27FC236}">
                  <a16:creationId xmlns:a16="http://schemas.microsoft.com/office/drawing/2014/main" id="{69BE66EA-2156-4DDA-8606-F1FE1B1DFF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37238" y="28305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34">
              <a:extLst>
                <a:ext uri="{FF2B5EF4-FFF2-40B4-BE49-F238E27FC236}">
                  <a16:creationId xmlns:a16="http://schemas.microsoft.com/office/drawing/2014/main" id="{244439FB-6F45-42C2-96F3-687DA6A7F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0413" y="283368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35">
              <a:extLst>
                <a:ext uri="{FF2B5EF4-FFF2-40B4-BE49-F238E27FC236}">
                  <a16:creationId xmlns:a16="http://schemas.microsoft.com/office/drawing/2014/main" id="{A27DB796-830F-40DE-9DF1-C8FAD3C6C4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7888" y="3305176"/>
              <a:ext cx="166688" cy="93663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36">
              <a:extLst>
                <a:ext uri="{FF2B5EF4-FFF2-40B4-BE49-F238E27FC236}">
                  <a16:creationId xmlns:a16="http://schemas.microsoft.com/office/drawing/2014/main" id="{70455D81-74D4-4D23-A48E-BA2BC21447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7888" y="3200401"/>
              <a:ext cx="166688" cy="93663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Freeform 37">
              <a:extLst>
                <a:ext uri="{FF2B5EF4-FFF2-40B4-BE49-F238E27FC236}">
                  <a16:creationId xmlns:a16="http://schemas.microsoft.com/office/drawing/2014/main" id="{F511D0C3-CC1E-40B7-8562-C5287E41C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7888" y="3095626"/>
              <a:ext cx="166688" cy="93663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Freeform 38">
              <a:extLst>
                <a:ext uri="{FF2B5EF4-FFF2-40B4-BE49-F238E27FC236}">
                  <a16:creationId xmlns:a16="http://schemas.microsoft.com/office/drawing/2014/main" id="{B7B81D3D-FA6D-42F6-9B15-831F2A45D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7276" y="3305176"/>
              <a:ext cx="163513" cy="93663"/>
            </a:xfrm>
            <a:custGeom>
              <a:avLst/>
              <a:gdLst>
                <a:gd name="T0" fmla="*/ 39 w 42"/>
                <a:gd name="T1" fmla="*/ 17 h 24"/>
                <a:gd name="T2" fmla="*/ 35 w 42"/>
                <a:gd name="T3" fmla="*/ 21 h 24"/>
                <a:gd name="T4" fmla="*/ 7 w 42"/>
                <a:gd name="T5" fmla="*/ 21 h 24"/>
                <a:gd name="T6" fmla="*/ 3 w 42"/>
                <a:gd name="T7" fmla="*/ 17 h 24"/>
                <a:gd name="T8" fmla="*/ 3 w 42"/>
                <a:gd name="T9" fmla="*/ 7 h 24"/>
                <a:gd name="T10" fmla="*/ 7 w 42"/>
                <a:gd name="T11" fmla="*/ 3 h 24"/>
                <a:gd name="T12" fmla="*/ 35 w 42"/>
                <a:gd name="T13" fmla="*/ 3 h 24"/>
                <a:gd name="T14" fmla="*/ 39 w 42"/>
                <a:gd name="T15" fmla="*/ 7 h 24"/>
                <a:gd name="T16" fmla="*/ 39 w 42"/>
                <a:gd name="T17" fmla="*/ 17 h 24"/>
                <a:gd name="T18" fmla="*/ 35 w 42"/>
                <a:gd name="T19" fmla="*/ 0 h 24"/>
                <a:gd name="T20" fmla="*/ 7 w 42"/>
                <a:gd name="T21" fmla="*/ 0 h 24"/>
                <a:gd name="T22" fmla="*/ 0 w 42"/>
                <a:gd name="T23" fmla="*/ 7 h 24"/>
                <a:gd name="T24" fmla="*/ 0 w 42"/>
                <a:gd name="T25" fmla="*/ 17 h 24"/>
                <a:gd name="T26" fmla="*/ 7 w 42"/>
                <a:gd name="T27" fmla="*/ 24 h 24"/>
                <a:gd name="T28" fmla="*/ 35 w 42"/>
                <a:gd name="T29" fmla="*/ 24 h 24"/>
                <a:gd name="T30" fmla="*/ 42 w 42"/>
                <a:gd name="T31" fmla="*/ 17 h 24"/>
                <a:gd name="T32" fmla="*/ 42 w 42"/>
                <a:gd name="T33" fmla="*/ 7 h 24"/>
                <a:gd name="T34" fmla="*/ 35 w 42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24">
                  <a:moveTo>
                    <a:pt x="39" y="17"/>
                  </a:moveTo>
                  <a:cubicBezTo>
                    <a:pt x="39" y="19"/>
                    <a:pt x="37" y="21"/>
                    <a:pt x="35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3" y="19"/>
                    <a:pt x="3" y="1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7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9" y="24"/>
                    <a:pt x="42" y="21"/>
                    <a:pt x="42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3"/>
                    <a:pt x="39" y="0"/>
                    <a:pt x="3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39">
              <a:extLst>
                <a:ext uri="{FF2B5EF4-FFF2-40B4-BE49-F238E27FC236}">
                  <a16:creationId xmlns:a16="http://schemas.microsoft.com/office/drawing/2014/main" id="{EC16836C-74B0-4B7A-8B6F-D81C87D24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7276" y="3200401"/>
              <a:ext cx="163513" cy="93663"/>
            </a:xfrm>
            <a:custGeom>
              <a:avLst/>
              <a:gdLst>
                <a:gd name="T0" fmla="*/ 39 w 42"/>
                <a:gd name="T1" fmla="*/ 17 h 24"/>
                <a:gd name="T2" fmla="*/ 35 w 42"/>
                <a:gd name="T3" fmla="*/ 21 h 24"/>
                <a:gd name="T4" fmla="*/ 7 w 42"/>
                <a:gd name="T5" fmla="*/ 21 h 24"/>
                <a:gd name="T6" fmla="*/ 3 w 42"/>
                <a:gd name="T7" fmla="*/ 17 h 24"/>
                <a:gd name="T8" fmla="*/ 3 w 42"/>
                <a:gd name="T9" fmla="*/ 7 h 24"/>
                <a:gd name="T10" fmla="*/ 7 w 42"/>
                <a:gd name="T11" fmla="*/ 3 h 24"/>
                <a:gd name="T12" fmla="*/ 35 w 42"/>
                <a:gd name="T13" fmla="*/ 3 h 24"/>
                <a:gd name="T14" fmla="*/ 39 w 42"/>
                <a:gd name="T15" fmla="*/ 7 h 24"/>
                <a:gd name="T16" fmla="*/ 39 w 42"/>
                <a:gd name="T17" fmla="*/ 17 h 24"/>
                <a:gd name="T18" fmla="*/ 35 w 42"/>
                <a:gd name="T19" fmla="*/ 0 h 24"/>
                <a:gd name="T20" fmla="*/ 7 w 42"/>
                <a:gd name="T21" fmla="*/ 0 h 24"/>
                <a:gd name="T22" fmla="*/ 0 w 42"/>
                <a:gd name="T23" fmla="*/ 7 h 24"/>
                <a:gd name="T24" fmla="*/ 0 w 42"/>
                <a:gd name="T25" fmla="*/ 17 h 24"/>
                <a:gd name="T26" fmla="*/ 7 w 42"/>
                <a:gd name="T27" fmla="*/ 24 h 24"/>
                <a:gd name="T28" fmla="*/ 35 w 42"/>
                <a:gd name="T29" fmla="*/ 24 h 24"/>
                <a:gd name="T30" fmla="*/ 42 w 42"/>
                <a:gd name="T31" fmla="*/ 17 h 24"/>
                <a:gd name="T32" fmla="*/ 42 w 42"/>
                <a:gd name="T33" fmla="*/ 7 h 24"/>
                <a:gd name="T34" fmla="*/ 35 w 42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24">
                  <a:moveTo>
                    <a:pt x="39" y="17"/>
                  </a:moveTo>
                  <a:cubicBezTo>
                    <a:pt x="39" y="19"/>
                    <a:pt x="37" y="21"/>
                    <a:pt x="35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3" y="19"/>
                    <a:pt x="3" y="1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7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9" y="24"/>
                    <a:pt x="42" y="21"/>
                    <a:pt x="42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3"/>
                    <a:pt x="39" y="0"/>
                    <a:pt x="3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40">
              <a:extLst>
                <a:ext uri="{FF2B5EF4-FFF2-40B4-BE49-F238E27FC236}">
                  <a16:creationId xmlns:a16="http://schemas.microsoft.com/office/drawing/2014/main" id="{8C774D2E-7BD1-4147-BD1D-97D507902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1901" y="3305176"/>
              <a:ext cx="166688" cy="93663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4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40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40" y="0"/>
                    <a:pt x="3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41">
              <a:extLst>
                <a:ext uri="{FF2B5EF4-FFF2-40B4-BE49-F238E27FC236}">
                  <a16:creationId xmlns:a16="http://schemas.microsoft.com/office/drawing/2014/main" id="{23763330-F670-4E97-805D-EEF6A70A6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2513" y="3025776"/>
              <a:ext cx="323850" cy="166688"/>
            </a:xfrm>
            <a:custGeom>
              <a:avLst/>
              <a:gdLst>
                <a:gd name="T0" fmla="*/ 44 w 83"/>
                <a:gd name="T1" fmla="*/ 4 h 43"/>
                <a:gd name="T2" fmla="*/ 38 w 83"/>
                <a:gd name="T3" fmla="*/ 16 h 43"/>
                <a:gd name="T4" fmla="*/ 27 w 83"/>
                <a:gd name="T5" fmla="*/ 11 h 43"/>
                <a:gd name="T6" fmla="*/ 25 w 83"/>
                <a:gd name="T7" fmla="*/ 12 h 43"/>
                <a:gd name="T8" fmla="*/ 26 w 83"/>
                <a:gd name="T9" fmla="*/ 15 h 43"/>
                <a:gd name="T10" fmla="*/ 37 w 83"/>
                <a:gd name="T11" fmla="*/ 20 h 43"/>
                <a:gd name="T12" fmla="*/ 31 w 83"/>
                <a:gd name="T13" fmla="*/ 32 h 43"/>
                <a:gd name="T14" fmla="*/ 6 w 83"/>
                <a:gd name="T15" fmla="*/ 3 h 43"/>
                <a:gd name="T16" fmla="*/ 44 w 83"/>
                <a:gd name="T17" fmla="*/ 4 h 43"/>
                <a:gd name="T18" fmla="*/ 55 w 83"/>
                <a:gd name="T19" fmla="*/ 24 h 43"/>
                <a:gd name="T20" fmla="*/ 55 w 83"/>
                <a:gd name="T21" fmla="*/ 23 h 43"/>
                <a:gd name="T22" fmla="*/ 56 w 83"/>
                <a:gd name="T23" fmla="*/ 24 h 43"/>
                <a:gd name="T24" fmla="*/ 78 w 83"/>
                <a:gd name="T25" fmla="*/ 34 h 43"/>
                <a:gd name="T26" fmla="*/ 79 w 83"/>
                <a:gd name="T27" fmla="*/ 37 h 43"/>
                <a:gd name="T28" fmla="*/ 78 w 83"/>
                <a:gd name="T29" fmla="*/ 38 h 43"/>
                <a:gd name="T30" fmla="*/ 77 w 83"/>
                <a:gd name="T31" fmla="*/ 39 h 43"/>
                <a:gd name="T32" fmla="*/ 76 w 83"/>
                <a:gd name="T33" fmla="*/ 39 h 43"/>
                <a:gd name="T34" fmla="*/ 54 w 83"/>
                <a:gd name="T35" fmla="*/ 29 h 43"/>
                <a:gd name="T36" fmla="*/ 53 w 83"/>
                <a:gd name="T37" fmla="*/ 26 h 43"/>
                <a:gd name="T38" fmla="*/ 53 w 83"/>
                <a:gd name="T39" fmla="*/ 25 h 43"/>
                <a:gd name="T40" fmla="*/ 55 w 83"/>
                <a:gd name="T41" fmla="*/ 24 h 43"/>
                <a:gd name="T42" fmla="*/ 31 w 83"/>
                <a:gd name="T43" fmla="*/ 37 h 43"/>
                <a:gd name="T44" fmla="*/ 32 w 83"/>
                <a:gd name="T45" fmla="*/ 37 h 43"/>
                <a:gd name="T46" fmla="*/ 33 w 83"/>
                <a:gd name="T47" fmla="*/ 36 h 43"/>
                <a:gd name="T48" fmla="*/ 40 w 83"/>
                <a:gd name="T49" fmla="*/ 21 h 43"/>
                <a:gd name="T50" fmla="*/ 49 w 83"/>
                <a:gd name="T51" fmla="*/ 25 h 43"/>
                <a:gd name="T52" fmla="*/ 52 w 83"/>
                <a:gd name="T53" fmla="*/ 32 h 43"/>
                <a:gd name="T54" fmla="*/ 74 w 83"/>
                <a:gd name="T55" fmla="*/ 42 h 43"/>
                <a:gd name="T56" fmla="*/ 76 w 83"/>
                <a:gd name="T57" fmla="*/ 43 h 43"/>
                <a:gd name="T58" fmla="*/ 82 w 83"/>
                <a:gd name="T59" fmla="*/ 39 h 43"/>
                <a:gd name="T60" fmla="*/ 82 w 83"/>
                <a:gd name="T61" fmla="*/ 38 h 43"/>
                <a:gd name="T62" fmla="*/ 79 w 83"/>
                <a:gd name="T63" fmla="*/ 31 h 43"/>
                <a:gd name="T64" fmla="*/ 58 w 83"/>
                <a:gd name="T65" fmla="*/ 21 h 43"/>
                <a:gd name="T66" fmla="*/ 51 w 83"/>
                <a:gd name="T67" fmla="*/ 22 h 43"/>
                <a:gd name="T68" fmla="*/ 41 w 83"/>
                <a:gd name="T69" fmla="*/ 18 h 43"/>
                <a:gd name="T70" fmla="*/ 48 w 83"/>
                <a:gd name="T71" fmla="*/ 3 h 43"/>
                <a:gd name="T72" fmla="*/ 48 w 83"/>
                <a:gd name="T73" fmla="*/ 1 h 43"/>
                <a:gd name="T74" fmla="*/ 47 w 83"/>
                <a:gd name="T75" fmla="*/ 1 h 43"/>
                <a:gd name="T76" fmla="*/ 2 w 83"/>
                <a:gd name="T77" fmla="*/ 0 h 43"/>
                <a:gd name="T78" fmla="*/ 0 w 83"/>
                <a:gd name="T79" fmla="*/ 1 h 43"/>
                <a:gd name="T80" fmla="*/ 1 w 83"/>
                <a:gd name="T81" fmla="*/ 3 h 43"/>
                <a:gd name="T82" fmla="*/ 30 w 83"/>
                <a:gd name="T83" fmla="*/ 36 h 43"/>
                <a:gd name="T84" fmla="*/ 31 w 83"/>
                <a:gd name="T85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43">
                  <a:moveTo>
                    <a:pt x="44" y="4"/>
                  </a:moveTo>
                  <a:cubicBezTo>
                    <a:pt x="38" y="16"/>
                    <a:pt x="38" y="16"/>
                    <a:pt x="38" y="1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6" y="11"/>
                    <a:pt x="25" y="12"/>
                  </a:cubicBezTo>
                  <a:cubicBezTo>
                    <a:pt x="25" y="13"/>
                    <a:pt x="25" y="14"/>
                    <a:pt x="26" y="15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44" y="4"/>
                  </a:lnTo>
                  <a:close/>
                  <a:moveTo>
                    <a:pt x="55" y="24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6" y="2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9" y="34"/>
                    <a:pt x="79" y="36"/>
                    <a:pt x="79" y="37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8" y="38"/>
                    <a:pt x="78" y="39"/>
                    <a:pt x="77" y="39"/>
                  </a:cubicBezTo>
                  <a:cubicBezTo>
                    <a:pt x="77" y="39"/>
                    <a:pt x="76" y="39"/>
                    <a:pt x="76" y="3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3" y="28"/>
                    <a:pt x="52" y="27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4" y="24"/>
                    <a:pt x="54" y="24"/>
                    <a:pt x="55" y="24"/>
                  </a:cubicBezTo>
                  <a:moveTo>
                    <a:pt x="31" y="37"/>
                  </a:moveTo>
                  <a:cubicBezTo>
                    <a:pt x="31" y="37"/>
                    <a:pt x="32" y="37"/>
                    <a:pt x="32" y="37"/>
                  </a:cubicBezTo>
                  <a:cubicBezTo>
                    <a:pt x="32" y="37"/>
                    <a:pt x="33" y="36"/>
                    <a:pt x="33" y="36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8"/>
                    <a:pt x="50" y="31"/>
                    <a:pt x="52" y="3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6" y="43"/>
                    <a:pt x="76" y="43"/>
                  </a:cubicBezTo>
                  <a:cubicBezTo>
                    <a:pt x="79" y="43"/>
                    <a:pt x="81" y="41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3" y="35"/>
                    <a:pt x="82" y="32"/>
                    <a:pt x="79" y="3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5" y="19"/>
                    <a:pt x="52" y="20"/>
                    <a:pt x="51" y="22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2"/>
                    <a:pt x="48" y="1"/>
                  </a:cubicBezTo>
                  <a:cubicBezTo>
                    <a:pt x="48" y="1"/>
                    <a:pt x="47" y="1"/>
                    <a:pt x="47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1" y="37"/>
                    <a:pt x="31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7247C038-AE83-4E3E-A086-DE1E7F62DB9A}"/>
              </a:ext>
            </a:extLst>
          </p:cNvPr>
          <p:cNvGrpSpPr/>
          <p:nvPr/>
        </p:nvGrpSpPr>
        <p:grpSpPr>
          <a:xfrm>
            <a:off x="4757738" y="2816225"/>
            <a:ext cx="844550" cy="844550"/>
            <a:chOff x="4757738" y="2801938"/>
            <a:chExt cx="844550" cy="844550"/>
          </a:xfrm>
        </p:grpSpPr>
        <p:sp>
          <p:nvSpPr>
            <p:cNvPr id="479" name="AutoShape 43">
              <a:extLst>
                <a:ext uri="{FF2B5EF4-FFF2-40B4-BE49-F238E27FC236}">
                  <a16:creationId xmlns:a16="http://schemas.microsoft.com/office/drawing/2014/main" id="{0D49682D-AFE0-4DAD-9CF2-B6720D92BD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57738" y="28019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45">
              <a:extLst>
                <a:ext uri="{FF2B5EF4-FFF2-40B4-BE49-F238E27FC236}">
                  <a16:creationId xmlns:a16="http://schemas.microsoft.com/office/drawing/2014/main" id="{224B96E5-2C5F-473C-B0F1-96BF648EBE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738" y="28019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46">
              <a:extLst>
                <a:ext uri="{FF2B5EF4-FFF2-40B4-BE49-F238E27FC236}">
                  <a16:creationId xmlns:a16="http://schemas.microsoft.com/office/drawing/2014/main" id="{680CDDFB-E1BD-45BF-82B9-5DD9320FAB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8305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47">
              <a:extLst>
                <a:ext uri="{FF2B5EF4-FFF2-40B4-BE49-F238E27FC236}">
                  <a16:creationId xmlns:a16="http://schemas.microsoft.com/office/drawing/2014/main" id="{AD21E7C2-2A3F-4E47-8E64-054BC3FF34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551" y="3322638"/>
              <a:ext cx="174625" cy="96838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48">
              <a:extLst>
                <a:ext uri="{FF2B5EF4-FFF2-40B4-BE49-F238E27FC236}">
                  <a16:creationId xmlns:a16="http://schemas.microsoft.com/office/drawing/2014/main" id="{8DA0B536-CF64-44D9-A271-4877796E1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551" y="3211513"/>
              <a:ext cx="174625" cy="98425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49">
              <a:extLst>
                <a:ext uri="{FF2B5EF4-FFF2-40B4-BE49-F238E27FC236}">
                  <a16:creationId xmlns:a16="http://schemas.microsoft.com/office/drawing/2014/main" id="{5C15A324-FF41-4554-A30D-E2BB3482A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551" y="3101976"/>
              <a:ext cx="174625" cy="98425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9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39" y="0"/>
                    <a:pt x="3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50">
              <a:extLst>
                <a:ext uri="{FF2B5EF4-FFF2-40B4-BE49-F238E27FC236}">
                  <a16:creationId xmlns:a16="http://schemas.microsoft.com/office/drawing/2014/main" id="{5F8904D2-077F-47BD-814C-2DDE145B3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4288" y="3322638"/>
              <a:ext cx="171450" cy="96838"/>
            </a:xfrm>
            <a:custGeom>
              <a:avLst/>
              <a:gdLst>
                <a:gd name="T0" fmla="*/ 39 w 42"/>
                <a:gd name="T1" fmla="*/ 17 h 24"/>
                <a:gd name="T2" fmla="*/ 35 w 42"/>
                <a:gd name="T3" fmla="*/ 21 h 24"/>
                <a:gd name="T4" fmla="*/ 7 w 42"/>
                <a:gd name="T5" fmla="*/ 21 h 24"/>
                <a:gd name="T6" fmla="*/ 3 w 42"/>
                <a:gd name="T7" fmla="*/ 17 h 24"/>
                <a:gd name="T8" fmla="*/ 3 w 42"/>
                <a:gd name="T9" fmla="*/ 7 h 24"/>
                <a:gd name="T10" fmla="*/ 7 w 42"/>
                <a:gd name="T11" fmla="*/ 3 h 24"/>
                <a:gd name="T12" fmla="*/ 35 w 42"/>
                <a:gd name="T13" fmla="*/ 3 h 24"/>
                <a:gd name="T14" fmla="*/ 39 w 42"/>
                <a:gd name="T15" fmla="*/ 7 h 24"/>
                <a:gd name="T16" fmla="*/ 39 w 42"/>
                <a:gd name="T17" fmla="*/ 17 h 24"/>
                <a:gd name="T18" fmla="*/ 35 w 42"/>
                <a:gd name="T19" fmla="*/ 0 h 24"/>
                <a:gd name="T20" fmla="*/ 7 w 42"/>
                <a:gd name="T21" fmla="*/ 0 h 24"/>
                <a:gd name="T22" fmla="*/ 0 w 42"/>
                <a:gd name="T23" fmla="*/ 7 h 24"/>
                <a:gd name="T24" fmla="*/ 0 w 42"/>
                <a:gd name="T25" fmla="*/ 17 h 24"/>
                <a:gd name="T26" fmla="*/ 7 w 42"/>
                <a:gd name="T27" fmla="*/ 24 h 24"/>
                <a:gd name="T28" fmla="*/ 35 w 42"/>
                <a:gd name="T29" fmla="*/ 24 h 24"/>
                <a:gd name="T30" fmla="*/ 42 w 42"/>
                <a:gd name="T31" fmla="*/ 17 h 24"/>
                <a:gd name="T32" fmla="*/ 42 w 42"/>
                <a:gd name="T33" fmla="*/ 7 h 24"/>
                <a:gd name="T34" fmla="*/ 35 w 42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24">
                  <a:moveTo>
                    <a:pt x="39" y="17"/>
                  </a:moveTo>
                  <a:cubicBezTo>
                    <a:pt x="39" y="19"/>
                    <a:pt x="37" y="21"/>
                    <a:pt x="35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3" y="19"/>
                    <a:pt x="3" y="1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7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9" y="24"/>
                    <a:pt x="42" y="21"/>
                    <a:pt x="42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3"/>
                    <a:pt x="39" y="0"/>
                    <a:pt x="3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51">
              <a:extLst>
                <a:ext uri="{FF2B5EF4-FFF2-40B4-BE49-F238E27FC236}">
                  <a16:creationId xmlns:a16="http://schemas.microsoft.com/office/drawing/2014/main" id="{A01A93D9-52DE-4203-9F7E-1B952ABDDF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4288" y="3211513"/>
              <a:ext cx="171450" cy="98425"/>
            </a:xfrm>
            <a:custGeom>
              <a:avLst/>
              <a:gdLst>
                <a:gd name="T0" fmla="*/ 39 w 42"/>
                <a:gd name="T1" fmla="*/ 17 h 24"/>
                <a:gd name="T2" fmla="*/ 35 w 42"/>
                <a:gd name="T3" fmla="*/ 21 h 24"/>
                <a:gd name="T4" fmla="*/ 7 w 42"/>
                <a:gd name="T5" fmla="*/ 21 h 24"/>
                <a:gd name="T6" fmla="*/ 3 w 42"/>
                <a:gd name="T7" fmla="*/ 17 h 24"/>
                <a:gd name="T8" fmla="*/ 3 w 42"/>
                <a:gd name="T9" fmla="*/ 7 h 24"/>
                <a:gd name="T10" fmla="*/ 7 w 42"/>
                <a:gd name="T11" fmla="*/ 3 h 24"/>
                <a:gd name="T12" fmla="*/ 35 w 42"/>
                <a:gd name="T13" fmla="*/ 3 h 24"/>
                <a:gd name="T14" fmla="*/ 39 w 42"/>
                <a:gd name="T15" fmla="*/ 7 h 24"/>
                <a:gd name="T16" fmla="*/ 39 w 42"/>
                <a:gd name="T17" fmla="*/ 17 h 24"/>
                <a:gd name="T18" fmla="*/ 35 w 42"/>
                <a:gd name="T19" fmla="*/ 0 h 24"/>
                <a:gd name="T20" fmla="*/ 7 w 42"/>
                <a:gd name="T21" fmla="*/ 0 h 24"/>
                <a:gd name="T22" fmla="*/ 0 w 42"/>
                <a:gd name="T23" fmla="*/ 7 h 24"/>
                <a:gd name="T24" fmla="*/ 0 w 42"/>
                <a:gd name="T25" fmla="*/ 17 h 24"/>
                <a:gd name="T26" fmla="*/ 7 w 42"/>
                <a:gd name="T27" fmla="*/ 24 h 24"/>
                <a:gd name="T28" fmla="*/ 35 w 42"/>
                <a:gd name="T29" fmla="*/ 24 h 24"/>
                <a:gd name="T30" fmla="*/ 42 w 42"/>
                <a:gd name="T31" fmla="*/ 17 h 24"/>
                <a:gd name="T32" fmla="*/ 42 w 42"/>
                <a:gd name="T33" fmla="*/ 7 h 24"/>
                <a:gd name="T34" fmla="*/ 35 w 42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24">
                  <a:moveTo>
                    <a:pt x="39" y="17"/>
                  </a:moveTo>
                  <a:cubicBezTo>
                    <a:pt x="39" y="19"/>
                    <a:pt x="37" y="21"/>
                    <a:pt x="35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3" y="19"/>
                    <a:pt x="3" y="1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7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3" y="24"/>
                    <a:pt x="7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9" y="24"/>
                    <a:pt x="42" y="21"/>
                    <a:pt x="42" y="1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3"/>
                    <a:pt x="39" y="0"/>
                    <a:pt x="3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52">
              <a:extLst>
                <a:ext uri="{FF2B5EF4-FFF2-40B4-BE49-F238E27FC236}">
                  <a16:creationId xmlns:a16="http://schemas.microsoft.com/office/drawing/2014/main" id="{45B54235-1B12-4245-B889-025A982ABC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8438" y="3322638"/>
              <a:ext cx="174625" cy="96838"/>
            </a:xfrm>
            <a:custGeom>
              <a:avLst/>
              <a:gdLst>
                <a:gd name="T0" fmla="*/ 39 w 43"/>
                <a:gd name="T1" fmla="*/ 17 h 24"/>
                <a:gd name="T2" fmla="*/ 36 w 43"/>
                <a:gd name="T3" fmla="*/ 21 h 24"/>
                <a:gd name="T4" fmla="*/ 7 w 43"/>
                <a:gd name="T5" fmla="*/ 21 h 24"/>
                <a:gd name="T6" fmla="*/ 4 w 43"/>
                <a:gd name="T7" fmla="*/ 17 h 24"/>
                <a:gd name="T8" fmla="*/ 4 w 43"/>
                <a:gd name="T9" fmla="*/ 7 h 24"/>
                <a:gd name="T10" fmla="*/ 7 w 43"/>
                <a:gd name="T11" fmla="*/ 3 h 24"/>
                <a:gd name="T12" fmla="*/ 36 w 43"/>
                <a:gd name="T13" fmla="*/ 3 h 24"/>
                <a:gd name="T14" fmla="*/ 39 w 43"/>
                <a:gd name="T15" fmla="*/ 7 h 24"/>
                <a:gd name="T16" fmla="*/ 39 w 43"/>
                <a:gd name="T17" fmla="*/ 17 h 24"/>
                <a:gd name="T18" fmla="*/ 36 w 43"/>
                <a:gd name="T19" fmla="*/ 0 h 24"/>
                <a:gd name="T20" fmla="*/ 7 w 43"/>
                <a:gd name="T21" fmla="*/ 0 h 24"/>
                <a:gd name="T22" fmla="*/ 0 w 43"/>
                <a:gd name="T23" fmla="*/ 7 h 24"/>
                <a:gd name="T24" fmla="*/ 0 w 43"/>
                <a:gd name="T25" fmla="*/ 17 h 24"/>
                <a:gd name="T26" fmla="*/ 7 w 43"/>
                <a:gd name="T27" fmla="*/ 24 h 24"/>
                <a:gd name="T28" fmla="*/ 36 w 43"/>
                <a:gd name="T29" fmla="*/ 24 h 24"/>
                <a:gd name="T30" fmla="*/ 43 w 43"/>
                <a:gd name="T31" fmla="*/ 17 h 24"/>
                <a:gd name="T32" fmla="*/ 43 w 43"/>
                <a:gd name="T33" fmla="*/ 7 h 24"/>
                <a:gd name="T34" fmla="*/ 36 w 43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24">
                  <a:moveTo>
                    <a:pt x="39" y="17"/>
                  </a:moveTo>
                  <a:cubicBezTo>
                    <a:pt x="39" y="19"/>
                    <a:pt x="38" y="21"/>
                    <a:pt x="3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1"/>
                    <a:pt x="4" y="19"/>
                    <a:pt x="4" y="1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3"/>
                    <a:pt x="39" y="5"/>
                    <a:pt x="39" y="7"/>
                  </a:cubicBezTo>
                  <a:lnTo>
                    <a:pt x="39" y="17"/>
                  </a:lnTo>
                  <a:close/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4" y="24"/>
                    <a:pt x="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40" y="24"/>
                    <a:pt x="43" y="21"/>
                    <a:pt x="43" y="1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40" y="0"/>
                    <a:pt x="3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53">
              <a:extLst>
                <a:ext uri="{FF2B5EF4-FFF2-40B4-BE49-F238E27FC236}">
                  <a16:creationId xmlns:a16="http://schemas.microsoft.com/office/drawing/2014/main" id="{2AF6C55F-71AF-49A3-A262-268D5F0F8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1113" y="3028951"/>
              <a:ext cx="336550" cy="174625"/>
            </a:xfrm>
            <a:custGeom>
              <a:avLst/>
              <a:gdLst>
                <a:gd name="T0" fmla="*/ 44 w 83"/>
                <a:gd name="T1" fmla="*/ 4 h 43"/>
                <a:gd name="T2" fmla="*/ 38 w 83"/>
                <a:gd name="T3" fmla="*/ 16 h 43"/>
                <a:gd name="T4" fmla="*/ 27 w 83"/>
                <a:gd name="T5" fmla="*/ 11 h 43"/>
                <a:gd name="T6" fmla="*/ 25 w 83"/>
                <a:gd name="T7" fmla="*/ 12 h 43"/>
                <a:gd name="T8" fmla="*/ 26 w 83"/>
                <a:gd name="T9" fmla="*/ 15 h 43"/>
                <a:gd name="T10" fmla="*/ 37 w 83"/>
                <a:gd name="T11" fmla="*/ 20 h 43"/>
                <a:gd name="T12" fmla="*/ 31 w 83"/>
                <a:gd name="T13" fmla="*/ 32 h 43"/>
                <a:gd name="T14" fmla="*/ 6 w 83"/>
                <a:gd name="T15" fmla="*/ 3 h 43"/>
                <a:gd name="T16" fmla="*/ 44 w 83"/>
                <a:gd name="T17" fmla="*/ 4 h 43"/>
                <a:gd name="T18" fmla="*/ 55 w 83"/>
                <a:gd name="T19" fmla="*/ 24 h 43"/>
                <a:gd name="T20" fmla="*/ 55 w 83"/>
                <a:gd name="T21" fmla="*/ 23 h 43"/>
                <a:gd name="T22" fmla="*/ 56 w 83"/>
                <a:gd name="T23" fmla="*/ 24 h 43"/>
                <a:gd name="T24" fmla="*/ 78 w 83"/>
                <a:gd name="T25" fmla="*/ 34 h 43"/>
                <a:gd name="T26" fmla="*/ 79 w 83"/>
                <a:gd name="T27" fmla="*/ 37 h 43"/>
                <a:gd name="T28" fmla="*/ 78 w 83"/>
                <a:gd name="T29" fmla="*/ 38 h 43"/>
                <a:gd name="T30" fmla="*/ 77 w 83"/>
                <a:gd name="T31" fmla="*/ 39 h 43"/>
                <a:gd name="T32" fmla="*/ 76 w 83"/>
                <a:gd name="T33" fmla="*/ 39 h 43"/>
                <a:gd name="T34" fmla="*/ 54 w 83"/>
                <a:gd name="T35" fmla="*/ 29 h 43"/>
                <a:gd name="T36" fmla="*/ 53 w 83"/>
                <a:gd name="T37" fmla="*/ 26 h 43"/>
                <a:gd name="T38" fmla="*/ 53 w 83"/>
                <a:gd name="T39" fmla="*/ 25 h 43"/>
                <a:gd name="T40" fmla="*/ 55 w 83"/>
                <a:gd name="T41" fmla="*/ 24 h 43"/>
                <a:gd name="T42" fmla="*/ 31 w 83"/>
                <a:gd name="T43" fmla="*/ 37 h 43"/>
                <a:gd name="T44" fmla="*/ 32 w 83"/>
                <a:gd name="T45" fmla="*/ 37 h 43"/>
                <a:gd name="T46" fmla="*/ 33 w 83"/>
                <a:gd name="T47" fmla="*/ 36 h 43"/>
                <a:gd name="T48" fmla="*/ 40 w 83"/>
                <a:gd name="T49" fmla="*/ 21 h 43"/>
                <a:gd name="T50" fmla="*/ 49 w 83"/>
                <a:gd name="T51" fmla="*/ 25 h 43"/>
                <a:gd name="T52" fmla="*/ 52 w 83"/>
                <a:gd name="T53" fmla="*/ 32 h 43"/>
                <a:gd name="T54" fmla="*/ 74 w 83"/>
                <a:gd name="T55" fmla="*/ 42 h 43"/>
                <a:gd name="T56" fmla="*/ 76 w 83"/>
                <a:gd name="T57" fmla="*/ 43 h 43"/>
                <a:gd name="T58" fmla="*/ 82 w 83"/>
                <a:gd name="T59" fmla="*/ 39 h 43"/>
                <a:gd name="T60" fmla="*/ 82 w 83"/>
                <a:gd name="T61" fmla="*/ 38 h 43"/>
                <a:gd name="T62" fmla="*/ 79 w 83"/>
                <a:gd name="T63" fmla="*/ 31 h 43"/>
                <a:gd name="T64" fmla="*/ 58 w 83"/>
                <a:gd name="T65" fmla="*/ 21 h 43"/>
                <a:gd name="T66" fmla="*/ 51 w 83"/>
                <a:gd name="T67" fmla="*/ 22 h 43"/>
                <a:gd name="T68" fmla="*/ 41 w 83"/>
                <a:gd name="T69" fmla="*/ 18 h 43"/>
                <a:gd name="T70" fmla="*/ 48 w 83"/>
                <a:gd name="T71" fmla="*/ 3 h 43"/>
                <a:gd name="T72" fmla="*/ 48 w 83"/>
                <a:gd name="T73" fmla="*/ 1 h 43"/>
                <a:gd name="T74" fmla="*/ 47 w 83"/>
                <a:gd name="T75" fmla="*/ 1 h 43"/>
                <a:gd name="T76" fmla="*/ 2 w 83"/>
                <a:gd name="T77" fmla="*/ 0 h 43"/>
                <a:gd name="T78" fmla="*/ 0 w 83"/>
                <a:gd name="T79" fmla="*/ 1 h 43"/>
                <a:gd name="T80" fmla="*/ 1 w 83"/>
                <a:gd name="T81" fmla="*/ 3 h 43"/>
                <a:gd name="T82" fmla="*/ 30 w 83"/>
                <a:gd name="T83" fmla="*/ 36 h 43"/>
                <a:gd name="T84" fmla="*/ 31 w 83"/>
                <a:gd name="T85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43">
                  <a:moveTo>
                    <a:pt x="44" y="4"/>
                  </a:moveTo>
                  <a:cubicBezTo>
                    <a:pt x="38" y="16"/>
                    <a:pt x="38" y="16"/>
                    <a:pt x="38" y="1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6" y="11"/>
                    <a:pt x="25" y="12"/>
                  </a:cubicBezTo>
                  <a:cubicBezTo>
                    <a:pt x="25" y="13"/>
                    <a:pt x="25" y="14"/>
                    <a:pt x="26" y="15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44" y="4"/>
                  </a:lnTo>
                  <a:close/>
                  <a:moveTo>
                    <a:pt x="55" y="24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6" y="2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9" y="34"/>
                    <a:pt x="79" y="36"/>
                    <a:pt x="79" y="37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8" y="38"/>
                    <a:pt x="78" y="39"/>
                    <a:pt x="77" y="39"/>
                  </a:cubicBezTo>
                  <a:cubicBezTo>
                    <a:pt x="77" y="39"/>
                    <a:pt x="76" y="39"/>
                    <a:pt x="76" y="3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3" y="28"/>
                    <a:pt x="52" y="27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4" y="24"/>
                    <a:pt x="54" y="24"/>
                    <a:pt x="55" y="24"/>
                  </a:cubicBezTo>
                  <a:moveTo>
                    <a:pt x="31" y="37"/>
                  </a:moveTo>
                  <a:cubicBezTo>
                    <a:pt x="31" y="37"/>
                    <a:pt x="32" y="37"/>
                    <a:pt x="32" y="37"/>
                  </a:cubicBezTo>
                  <a:cubicBezTo>
                    <a:pt x="32" y="37"/>
                    <a:pt x="33" y="36"/>
                    <a:pt x="33" y="36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8"/>
                    <a:pt x="50" y="31"/>
                    <a:pt x="52" y="3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6" y="43"/>
                    <a:pt x="76" y="43"/>
                  </a:cubicBezTo>
                  <a:cubicBezTo>
                    <a:pt x="79" y="43"/>
                    <a:pt x="81" y="41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3" y="35"/>
                    <a:pt x="82" y="32"/>
                    <a:pt x="79" y="3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5" y="19"/>
                    <a:pt x="52" y="20"/>
                    <a:pt x="51" y="22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2"/>
                    <a:pt x="48" y="1"/>
                  </a:cubicBezTo>
                  <a:cubicBezTo>
                    <a:pt x="48" y="1"/>
                    <a:pt x="47" y="1"/>
                    <a:pt x="47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1" y="37"/>
                    <a:pt x="31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8EE9F89E-69AB-44CD-B53C-98FF4028ADC0}"/>
              </a:ext>
            </a:extLst>
          </p:cNvPr>
          <p:cNvGrpSpPr/>
          <p:nvPr/>
        </p:nvGrpSpPr>
        <p:grpSpPr>
          <a:xfrm>
            <a:off x="6938963" y="2816225"/>
            <a:ext cx="844550" cy="844550"/>
            <a:chOff x="6938963" y="2811463"/>
            <a:chExt cx="844550" cy="844550"/>
          </a:xfrm>
        </p:grpSpPr>
        <p:sp>
          <p:nvSpPr>
            <p:cNvPr id="333" name="AutoShape 55">
              <a:extLst>
                <a:ext uri="{FF2B5EF4-FFF2-40B4-BE49-F238E27FC236}">
                  <a16:creationId xmlns:a16="http://schemas.microsoft.com/office/drawing/2014/main" id="{1FF01723-16C5-48CB-94B2-6EA0044357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38963" y="28114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57">
              <a:extLst>
                <a:ext uri="{FF2B5EF4-FFF2-40B4-BE49-F238E27FC236}">
                  <a16:creationId xmlns:a16="http://schemas.microsoft.com/office/drawing/2014/main" id="{FEF111CD-9230-4092-833C-A2756BAC8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2811463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58">
              <a:extLst>
                <a:ext uri="{FF2B5EF4-FFF2-40B4-BE49-F238E27FC236}">
                  <a16:creationId xmlns:a16="http://schemas.microsoft.com/office/drawing/2014/main" id="{7C5CAE17-4969-4367-B1DB-391E41C60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7538" y="2840038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59">
              <a:extLst>
                <a:ext uri="{FF2B5EF4-FFF2-40B4-BE49-F238E27FC236}">
                  <a16:creationId xmlns:a16="http://schemas.microsoft.com/office/drawing/2014/main" id="{EEC39C67-04EC-4618-A91D-4FFEDC38F6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651" y="3027363"/>
              <a:ext cx="520700" cy="388938"/>
            </a:xfrm>
            <a:custGeom>
              <a:avLst/>
              <a:gdLst>
                <a:gd name="T0" fmla="*/ 39 w 128"/>
                <a:gd name="T1" fmla="*/ 32 h 96"/>
                <a:gd name="T2" fmla="*/ 15 w 128"/>
                <a:gd name="T3" fmla="*/ 39 h 96"/>
                <a:gd name="T4" fmla="*/ 15 w 128"/>
                <a:gd name="T5" fmla="*/ 43 h 96"/>
                <a:gd name="T6" fmla="*/ 39 w 128"/>
                <a:gd name="T7" fmla="*/ 60 h 96"/>
                <a:gd name="T8" fmla="*/ 14 w 128"/>
                <a:gd name="T9" fmla="*/ 62 h 96"/>
                <a:gd name="T10" fmla="*/ 39 w 128"/>
                <a:gd name="T11" fmla="*/ 64 h 96"/>
                <a:gd name="T12" fmla="*/ 15 w 128"/>
                <a:gd name="T13" fmla="*/ 81 h 96"/>
                <a:gd name="T14" fmla="*/ 15 w 128"/>
                <a:gd name="T15" fmla="*/ 84 h 96"/>
                <a:gd name="T16" fmla="*/ 39 w 128"/>
                <a:gd name="T17" fmla="*/ 92 h 96"/>
                <a:gd name="T18" fmla="*/ 10 w 128"/>
                <a:gd name="T19" fmla="*/ 32 h 96"/>
                <a:gd name="T20" fmla="*/ 79 w 128"/>
                <a:gd name="T21" fmla="*/ 64 h 96"/>
                <a:gd name="T22" fmla="*/ 75 w 128"/>
                <a:gd name="T23" fmla="*/ 92 h 96"/>
                <a:gd name="T24" fmla="*/ 54 w 128"/>
                <a:gd name="T25" fmla="*/ 92 h 96"/>
                <a:gd name="T26" fmla="*/ 50 w 128"/>
                <a:gd name="T27" fmla="*/ 64 h 96"/>
                <a:gd name="T28" fmla="*/ 54 w 128"/>
                <a:gd name="T29" fmla="*/ 92 h 96"/>
                <a:gd name="T30" fmla="*/ 72 w 128"/>
                <a:gd name="T31" fmla="*/ 64 h 96"/>
                <a:gd name="T32" fmla="*/ 57 w 128"/>
                <a:gd name="T33" fmla="*/ 92 h 96"/>
                <a:gd name="T34" fmla="*/ 42 w 128"/>
                <a:gd name="T35" fmla="*/ 15 h 96"/>
                <a:gd name="T36" fmla="*/ 86 w 128"/>
                <a:gd name="T37" fmla="*/ 92 h 96"/>
                <a:gd name="T38" fmla="*/ 82 w 128"/>
                <a:gd name="T39" fmla="*/ 62 h 96"/>
                <a:gd name="T40" fmla="*/ 48 w 128"/>
                <a:gd name="T41" fmla="*/ 60 h 96"/>
                <a:gd name="T42" fmla="*/ 46 w 128"/>
                <a:gd name="T43" fmla="*/ 92 h 96"/>
                <a:gd name="T44" fmla="*/ 42 w 128"/>
                <a:gd name="T45" fmla="*/ 15 h 96"/>
                <a:gd name="T46" fmla="*/ 82 w 128"/>
                <a:gd name="T47" fmla="*/ 10 h 96"/>
                <a:gd name="T48" fmla="*/ 47 w 128"/>
                <a:gd name="T49" fmla="*/ 11 h 96"/>
                <a:gd name="T50" fmla="*/ 42 w 128"/>
                <a:gd name="T51" fmla="*/ 3 h 96"/>
                <a:gd name="T52" fmla="*/ 86 w 128"/>
                <a:gd name="T53" fmla="*/ 6 h 96"/>
                <a:gd name="T54" fmla="*/ 42 w 128"/>
                <a:gd name="T55" fmla="*/ 3 h 96"/>
                <a:gd name="T56" fmla="*/ 118 w 128"/>
                <a:gd name="T57" fmla="*/ 92 h 96"/>
                <a:gd name="T58" fmla="*/ 90 w 128"/>
                <a:gd name="T59" fmla="*/ 84 h 96"/>
                <a:gd name="T60" fmla="*/ 115 w 128"/>
                <a:gd name="T61" fmla="*/ 83 h 96"/>
                <a:gd name="T62" fmla="*/ 90 w 128"/>
                <a:gd name="T63" fmla="*/ 81 h 96"/>
                <a:gd name="T64" fmla="*/ 113 w 128"/>
                <a:gd name="T65" fmla="*/ 64 h 96"/>
                <a:gd name="T66" fmla="*/ 113 w 128"/>
                <a:gd name="T67" fmla="*/ 60 h 96"/>
                <a:gd name="T68" fmla="*/ 90 w 128"/>
                <a:gd name="T69" fmla="*/ 43 h 96"/>
                <a:gd name="T70" fmla="*/ 115 w 128"/>
                <a:gd name="T71" fmla="*/ 41 h 96"/>
                <a:gd name="T72" fmla="*/ 90 w 128"/>
                <a:gd name="T73" fmla="*/ 39 h 96"/>
                <a:gd name="T74" fmla="*/ 118 w 128"/>
                <a:gd name="T75" fmla="*/ 32 h 96"/>
                <a:gd name="T76" fmla="*/ 122 w 128"/>
                <a:gd name="T77" fmla="*/ 92 h 96"/>
                <a:gd name="T78" fmla="*/ 120 w 128"/>
                <a:gd name="T79" fmla="*/ 28 h 96"/>
                <a:gd name="T80" fmla="*/ 90 w 128"/>
                <a:gd name="T81" fmla="*/ 13 h 96"/>
                <a:gd name="T82" fmla="*/ 85 w 128"/>
                <a:gd name="T83" fmla="*/ 11 h 96"/>
                <a:gd name="T84" fmla="*/ 88 w 128"/>
                <a:gd name="T85" fmla="*/ 10 h 96"/>
                <a:gd name="T86" fmla="*/ 90 w 128"/>
                <a:gd name="T87" fmla="*/ 2 h 96"/>
                <a:gd name="T88" fmla="*/ 40 w 128"/>
                <a:gd name="T89" fmla="*/ 0 h 96"/>
                <a:gd name="T90" fmla="*/ 39 w 128"/>
                <a:gd name="T91" fmla="*/ 8 h 96"/>
                <a:gd name="T92" fmla="*/ 44 w 128"/>
                <a:gd name="T93" fmla="*/ 10 h 96"/>
                <a:gd name="T94" fmla="*/ 40 w 128"/>
                <a:gd name="T95" fmla="*/ 11 h 96"/>
                <a:gd name="T96" fmla="*/ 39 w 128"/>
                <a:gd name="T97" fmla="*/ 28 h 96"/>
                <a:gd name="T98" fmla="*/ 7 w 128"/>
                <a:gd name="T99" fmla="*/ 30 h 96"/>
                <a:gd name="T100" fmla="*/ 2 w 128"/>
                <a:gd name="T101" fmla="*/ 92 h 96"/>
                <a:gd name="T102" fmla="*/ 2 w 128"/>
                <a:gd name="T103" fmla="*/ 96 h 96"/>
                <a:gd name="T104" fmla="*/ 128 w 128"/>
                <a:gd name="T105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8" h="96">
                  <a:moveTo>
                    <a:pt x="1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5" y="39"/>
                    <a:pt x="14" y="40"/>
                    <a:pt x="14" y="41"/>
                  </a:cubicBezTo>
                  <a:cubicBezTo>
                    <a:pt x="14" y="42"/>
                    <a:pt x="15" y="43"/>
                    <a:pt x="15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4" y="61"/>
                    <a:pt x="14" y="62"/>
                  </a:cubicBezTo>
                  <a:cubicBezTo>
                    <a:pt x="14" y="63"/>
                    <a:pt x="15" y="64"/>
                    <a:pt x="15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4" y="82"/>
                    <a:pt x="14" y="83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10" y="92"/>
                    <a:pt x="10" y="92"/>
                    <a:pt x="10" y="92"/>
                  </a:cubicBezTo>
                  <a:lnTo>
                    <a:pt x="10" y="32"/>
                  </a:lnTo>
                  <a:close/>
                  <a:moveTo>
                    <a:pt x="75" y="64"/>
                  </a:moveTo>
                  <a:cubicBezTo>
                    <a:pt x="79" y="64"/>
                    <a:pt x="79" y="64"/>
                    <a:pt x="79" y="64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5" y="92"/>
                    <a:pt x="75" y="92"/>
                    <a:pt x="75" y="92"/>
                  </a:cubicBezTo>
                  <a:lnTo>
                    <a:pt x="75" y="64"/>
                  </a:lnTo>
                  <a:close/>
                  <a:moveTo>
                    <a:pt x="54" y="92"/>
                  </a:moveTo>
                  <a:cubicBezTo>
                    <a:pt x="50" y="92"/>
                    <a:pt x="50" y="92"/>
                    <a:pt x="50" y="92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4" y="64"/>
                    <a:pt x="54" y="64"/>
                    <a:pt x="54" y="64"/>
                  </a:cubicBezTo>
                  <a:lnTo>
                    <a:pt x="54" y="92"/>
                  </a:lnTo>
                  <a:close/>
                  <a:moveTo>
                    <a:pt x="57" y="64"/>
                  </a:moveTo>
                  <a:cubicBezTo>
                    <a:pt x="72" y="64"/>
                    <a:pt x="72" y="64"/>
                    <a:pt x="72" y="64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57" y="92"/>
                    <a:pt x="57" y="92"/>
                    <a:pt x="57" y="92"/>
                  </a:cubicBezTo>
                  <a:lnTo>
                    <a:pt x="57" y="64"/>
                  </a:lnTo>
                  <a:close/>
                  <a:moveTo>
                    <a:pt x="42" y="15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6" y="92"/>
                    <a:pt x="86" y="92"/>
                    <a:pt x="86" y="92"/>
                  </a:cubicBezTo>
                  <a:cubicBezTo>
                    <a:pt x="82" y="92"/>
                    <a:pt x="82" y="92"/>
                    <a:pt x="82" y="9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1"/>
                    <a:pt x="81" y="60"/>
                    <a:pt x="80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7" y="60"/>
                    <a:pt x="46" y="61"/>
                    <a:pt x="46" y="62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2" y="92"/>
                    <a:pt x="42" y="92"/>
                    <a:pt x="42" y="92"/>
                  </a:cubicBezTo>
                  <a:lnTo>
                    <a:pt x="42" y="15"/>
                  </a:lnTo>
                  <a:close/>
                  <a:moveTo>
                    <a:pt x="47" y="10"/>
                  </a:moveTo>
                  <a:cubicBezTo>
                    <a:pt x="82" y="10"/>
                    <a:pt x="82" y="10"/>
                    <a:pt x="82" y="10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7" y="11"/>
                    <a:pt x="47" y="11"/>
                    <a:pt x="47" y="11"/>
                  </a:cubicBezTo>
                  <a:lnTo>
                    <a:pt x="47" y="10"/>
                  </a:lnTo>
                  <a:close/>
                  <a:moveTo>
                    <a:pt x="42" y="3"/>
                  </a:moveTo>
                  <a:cubicBezTo>
                    <a:pt x="86" y="3"/>
                    <a:pt x="86" y="3"/>
                    <a:pt x="86" y="3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3"/>
                  </a:lnTo>
                  <a:close/>
                  <a:moveTo>
                    <a:pt x="118" y="32"/>
                  </a:moveTo>
                  <a:cubicBezTo>
                    <a:pt x="118" y="92"/>
                    <a:pt x="118" y="92"/>
                    <a:pt x="118" y="92"/>
                  </a:cubicBezTo>
                  <a:cubicBezTo>
                    <a:pt x="90" y="92"/>
                    <a:pt x="90" y="92"/>
                    <a:pt x="90" y="92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113" y="84"/>
                    <a:pt x="113" y="84"/>
                    <a:pt x="113" y="84"/>
                  </a:cubicBezTo>
                  <a:cubicBezTo>
                    <a:pt x="114" y="84"/>
                    <a:pt x="115" y="84"/>
                    <a:pt x="115" y="83"/>
                  </a:cubicBezTo>
                  <a:cubicBezTo>
                    <a:pt x="115" y="82"/>
                    <a:pt x="114" y="81"/>
                    <a:pt x="113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4" y="64"/>
                    <a:pt x="115" y="63"/>
                    <a:pt x="115" y="62"/>
                  </a:cubicBezTo>
                  <a:cubicBezTo>
                    <a:pt x="115" y="61"/>
                    <a:pt x="114" y="60"/>
                    <a:pt x="113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43"/>
                    <a:pt x="90" y="43"/>
                    <a:pt x="90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3"/>
                    <a:pt x="115" y="42"/>
                    <a:pt x="115" y="41"/>
                  </a:cubicBezTo>
                  <a:cubicBezTo>
                    <a:pt x="115" y="40"/>
                    <a:pt x="114" y="39"/>
                    <a:pt x="113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2"/>
                    <a:pt x="90" y="32"/>
                    <a:pt x="90" y="32"/>
                  </a:cubicBezTo>
                  <a:lnTo>
                    <a:pt x="118" y="32"/>
                  </a:lnTo>
                  <a:close/>
                  <a:moveTo>
                    <a:pt x="126" y="92"/>
                  </a:moveTo>
                  <a:cubicBezTo>
                    <a:pt x="122" y="92"/>
                    <a:pt x="122" y="92"/>
                    <a:pt x="122" y="92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29"/>
                    <a:pt x="121" y="28"/>
                    <a:pt x="12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12"/>
                    <a:pt x="89" y="11"/>
                    <a:pt x="88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89" y="10"/>
                    <a:pt x="90" y="9"/>
                    <a:pt x="90" y="8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0"/>
                    <a:pt x="8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1"/>
                    <a:pt x="39" y="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9"/>
                    <a:pt x="39" y="10"/>
                    <a:pt x="40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9" y="12"/>
                    <a:pt x="39" y="1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7" y="28"/>
                    <a:pt x="7" y="29"/>
                    <a:pt x="7" y="30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1" y="92"/>
                    <a:pt x="0" y="93"/>
                    <a:pt x="0" y="94"/>
                  </a:cubicBezTo>
                  <a:cubicBezTo>
                    <a:pt x="0" y="95"/>
                    <a:pt x="1" y="96"/>
                    <a:pt x="2" y="96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7" y="96"/>
                    <a:pt x="128" y="95"/>
                    <a:pt x="128" y="94"/>
                  </a:cubicBezTo>
                  <a:cubicBezTo>
                    <a:pt x="128" y="93"/>
                    <a:pt x="127" y="92"/>
                    <a:pt x="126" y="9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60">
              <a:extLst>
                <a:ext uri="{FF2B5EF4-FFF2-40B4-BE49-F238E27FC236}">
                  <a16:creationId xmlns:a16="http://schemas.microsoft.com/office/drawing/2014/main" id="{9CC2721E-4C63-4414-A636-A1062DFE0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4226" y="3429001"/>
              <a:ext cx="466725" cy="12700"/>
            </a:xfrm>
            <a:custGeom>
              <a:avLst/>
              <a:gdLst>
                <a:gd name="T0" fmla="*/ 113 w 115"/>
                <a:gd name="T1" fmla="*/ 0 h 3"/>
                <a:gd name="T2" fmla="*/ 1 w 115"/>
                <a:gd name="T3" fmla="*/ 0 h 3"/>
                <a:gd name="T4" fmla="*/ 0 w 115"/>
                <a:gd name="T5" fmla="*/ 1 h 3"/>
                <a:gd name="T6" fmla="*/ 1 w 115"/>
                <a:gd name="T7" fmla="*/ 3 h 3"/>
                <a:gd name="T8" fmla="*/ 113 w 115"/>
                <a:gd name="T9" fmla="*/ 3 h 3"/>
                <a:gd name="T10" fmla="*/ 115 w 115"/>
                <a:gd name="T11" fmla="*/ 1 h 3"/>
                <a:gd name="T12" fmla="*/ 113 w 1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3">
                  <a:moveTo>
                    <a:pt x="11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4" y="3"/>
                    <a:pt x="115" y="2"/>
                    <a:pt x="115" y="1"/>
                  </a:cubicBezTo>
                  <a:cubicBezTo>
                    <a:pt x="115" y="0"/>
                    <a:pt x="114" y="0"/>
                    <a:pt x="1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61">
              <a:extLst>
                <a:ext uri="{FF2B5EF4-FFF2-40B4-BE49-F238E27FC236}">
                  <a16:creationId xmlns:a16="http://schemas.microsoft.com/office/drawing/2014/main" id="{82389C46-F538-4DA8-916C-064291522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6" y="3111501"/>
              <a:ext cx="146050" cy="12700"/>
            </a:xfrm>
            <a:custGeom>
              <a:avLst/>
              <a:gdLst>
                <a:gd name="T0" fmla="*/ 2 w 36"/>
                <a:gd name="T1" fmla="*/ 3 h 3"/>
                <a:gd name="T2" fmla="*/ 34 w 36"/>
                <a:gd name="T3" fmla="*/ 3 h 3"/>
                <a:gd name="T4" fmla="*/ 36 w 36"/>
                <a:gd name="T5" fmla="*/ 2 h 3"/>
                <a:gd name="T6" fmla="*/ 34 w 36"/>
                <a:gd name="T7" fmla="*/ 0 h 3"/>
                <a:gd name="T8" fmla="*/ 2 w 36"/>
                <a:gd name="T9" fmla="*/ 0 h 3"/>
                <a:gd name="T10" fmla="*/ 0 w 36"/>
                <a:gd name="T11" fmla="*/ 2 h 3"/>
                <a:gd name="T12" fmla="*/ 2 w 3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">
                  <a:moveTo>
                    <a:pt x="2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62">
              <a:extLst>
                <a:ext uri="{FF2B5EF4-FFF2-40B4-BE49-F238E27FC236}">
                  <a16:creationId xmlns:a16="http://schemas.microsoft.com/office/drawing/2014/main" id="{9F40C9B6-7946-4496-A5E2-EA661CB80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6" y="3221038"/>
              <a:ext cx="146050" cy="17463"/>
            </a:xfrm>
            <a:custGeom>
              <a:avLst/>
              <a:gdLst>
                <a:gd name="T0" fmla="*/ 2 w 36"/>
                <a:gd name="T1" fmla="*/ 4 h 4"/>
                <a:gd name="T2" fmla="*/ 34 w 36"/>
                <a:gd name="T3" fmla="*/ 4 h 4"/>
                <a:gd name="T4" fmla="*/ 36 w 36"/>
                <a:gd name="T5" fmla="*/ 2 h 4"/>
                <a:gd name="T6" fmla="*/ 34 w 36"/>
                <a:gd name="T7" fmla="*/ 0 h 4"/>
                <a:gd name="T8" fmla="*/ 2 w 36"/>
                <a:gd name="T9" fmla="*/ 0 h 4"/>
                <a:gd name="T10" fmla="*/ 0 w 36"/>
                <a:gd name="T11" fmla="*/ 2 h 4"/>
                <a:gd name="T12" fmla="*/ 2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2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BB10D3C0-66A4-41F1-866C-97A616068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6" y="3168651"/>
              <a:ext cx="146050" cy="12700"/>
            </a:xfrm>
            <a:custGeom>
              <a:avLst/>
              <a:gdLst>
                <a:gd name="T0" fmla="*/ 2 w 36"/>
                <a:gd name="T1" fmla="*/ 3 h 3"/>
                <a:gd name="T2" fmla="*/ 34 w 36"/>
                <a:gd name="T3" fmla="*/ 3 h 3"/>
                <a:gd name="T4" fmla="*/ 36 w 36"/>
                <a:gd name="T5" fmla="*/ 1 h 3"/>
                <a:gd name="T6" fmla="*/ 34 w 36"/>
                <a:gd name="T7" fmla="*/ 0 h 3"/>
                <a:gd name="T8" fmla="*/ 2 w 36"/>
                <a:gd name="T9" fmla="*/ 0 h 3"/>
                <a:gd name="T10" fmla="*/ 0 w 36"/>
                <a:gd name="T11" fmla="*/ 1 h 3"/>
                <a:gd name="T12" fmla="*/ 2 w 3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">
                  <a:moveTo>
                    <a:pt x="2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6" y="2"/>
                    <a:pt x="36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1222D1B1-E2CF-4089-AEBF-2FFC6B416F05}"/>
              </a:ext>
            </a:extLst>
          </p:cNvPr>
          <p:cNvGrpSpPr/>
          <p:nvPr/>
        </p:nvGrpSpPr>
        <p:grpSpPr>
          <a:xfrm>
            <a:off x="7913688" y="2859088"/>
            <a:ext cx="758825" cy="758825"/>
            <a:chOff x="7913688" y="2833688"/>
            <a:chExt cx="758825" cy="758825"/>
          </a:xfrm>
        </p:grpSpPr>
        <p:sp>
          <p:nvSpPr>
            <p:cNvPr id="397" name="AutoShape 65">
              <a:extLst>
                <a:ext uri="{FF2B5EF4-FFF2-40B4-BE49-F238E27FC236}">
                  <a16:creationId xmlns:a16="http://schemas.microsoft.com/office/drawing/2014/main" id="{440FB810-B745-4C37-9DB1-B58F18FA9F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13688" y="283368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Freeform 67">
              <a:extLst>
                <a:ext uri="{FF2B5EF4-FFF2-40B4-BE49-F238E27FC236}">
                  <a16:creationId xmlns:a16="http://schemas.microsoft.com/office/drawing/2014/main" id="{D77F458C-3AD6-433F-8155-63010AA36E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6863" y="283686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68">
              <a:extLst>
                <a:ext uri="{FF2B5EF4-FFF2-40B4-BE49-F238E27FC236}">
                  <a16:creationId xmlns:a16="http://schemas.microsoft.com/office/drawing/2014/main" id="{DB7A32C6-C76C-4D03-A153-CFC44DECE5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0213" y="3016251"/>
              <a:ext cx="498475" cy="374650"/>
            </a:xfrm>
            <a:custGeom>
              <a:avLst/>
              <a:gdLst>
                <a:gd name="T0" fmla="*/ 39 w 128"/>
                <a:gd name="T1" fmla="*/ 32 h 96"/>
                <a:gd name="T2" fmla="*/ 15 w 128"/>
                <a:gd name="T3" fmla="*/ 39 h 96"/>
                <a:gd name="T4" fmla="*/ 15 w 128"/>
                <a:gd name="T5" fmla="*/ 43 h 96"/>
                <a:gd name="T6" fmla="*/ 39 w 128"/>
                <a:gd name="T7" fmla="*/ 60 h 96"/>
                <a:gd name="T8" fmla="*/ 14 w 128"/>
                <a:gd name="T9" fmla="*/ 62 h 96"/>
                <a:gd name="T10" fmla="*/ 39 w 128"/>
                <a:gd name="T11" fmla="*/ 64 h 96"/>
                <a:gd name="T12" fmla="*/ 15 w 128"/>
                <a:gd name="T13" fmla="*/ 81 h 96"/>
                <a:gd name="T14" fmla="*/ 15 w 128"/>
                <a:gd name="T15" fmla="*/ 84 h 96"/>
                <a:gd name="T16" fmla="*/ 39 w 128"/>
                <a:gd name="T17" fmla="*/ 92 h 96"/>
                <a:gd name="T18" fmla="*/ 10 w 128"/>
                <a:gd name="T19" fmla="*/ 32 h 96"/>
                <a:gd name="T20" fmla="*/ 79 w 128"/>
                <a:gd name="T21" fmla="*/ 64 h 96"/>
                <a:gd name="T22" fmla="*/ 75 w 128"/>
                <a:gd name="T23" fmla="*/ 92 h 96"/>
                <a:gd name="T24" fmla="*/ 54 w 128"/>
                <a:gd name="T25" fmla="*/ 92 h 96"/>
                <a:gd name="T26" fmla="*/ 50 w 128"/>
                <a:gd name="T27" fmla="*/ 64 h 96"/>
                <a:gd name="T28" fmla="*/ 54 w 128"/>
                <a:gd name="T29" fmla="*/ 92 h 96"/>
                <a:gd name="T30" fmla="*/ 72 w 128"/>
                <a:gd name="T31" fmla="*/ 64 h 96"/>
                <a:gd name="T32" fmla="*/ 57 w 128"/>
                <a:gd name="T33" fmla="*/ 92 h 96"/>
                <a:gd name="T34" fmla="*/ 42 w 128"/>
                <a:gd name="T35" fmla="*/ 15 h 96"/>
                <a:gd name="T36" fmla="*/ 86 w 128"/>
                <a:gd name="T37" fmla="*/ 92 h 96"/>
                <a:gd name="T38" fmla="*/ 82 w 128"/>
                <a:gd name="T39" fmla="*/ 62 h 96"/>
                <a:gd name="T40" fmla="*/ 48 w 128"/>
                <a:gd name="T41" fmla="*/ 60 h 96"/>
                <a:gd name="T42" fmla="*/ 46 w 128"/>
                <a:gd name="T43" fmla="*/ 92 h 96"/>
                <a:gd name="T44" fmla="*/ 42 w 128"/>
                <a:gd name="T45" fmla="*/ 15 h 96"/>
                <a:gd name="T46" fmla="*/ 82 w 128"/>
                <a:gd name="T47" fmla="*/ 10 h 96"/>
                <a:gd name="T48" fmla="*/ 47 w 128"/>
                <a:gd name="T49" fmla="*/ 11 h 96"/>
                <a:gd name="T50" fmla="*/ 42 w 128"/>
                <a:gd name="T51" fmla="*/ 3 h 96"/>
                <a:gd name="T52" fmla="*/ 86 w 128"/>
                <a:gd name="T53" fmla="*/ 6 h 96"/>
                <a:gd name="T54" fmla="*/ 42 w 128"/>
                <a:gd name="T55" fmla="*/ 3 h 96"/>
                <a:gd name="T56" fmla="*/ 118 w 128"/>
                <a:gd name="T57" fmla="*/ 92 h 96"/>
                <a:gd name="T58" fmla="*/ 90 w 128"/>
                <a:gd name="T59" fmla="*/ 84 h 96"/>
                <a:gd name="T60" fmla="*/ 115 w 128"/>
                <a:gd name="T61" fmla="*/ 83 h 96"/>
                <a:gd name="T62" fmla="*/ 90 w 128"/>
                <a:gd name="T63" fmla="*/ 81 h 96"/>
                <a:gd name="T64" fmla="*/ 113 w 128"/>
                <a:gd name="T65" fmla="*/ 64 h 96"/>
                <a:gd name="T66" fmla="*/ 113 w 128"/>
                <a:gd name="T67" fmla="*/ 60 h 96"/>
                <a:gd name="T68" fmla="*/ 90 w 128"/>
                <a:gd name="T69" fmla="*/ 43 h 96"/>
                <a:gd name="T70" fmla="*/ 115 w 128"/>
                <a:gd name="T71" fmla="*/ 41 h 96"/>
                <a:gd name="T72" fmla="*/ 90 w 128"/>
                <a:gd name="T73" fmla="*/ 39 h 96"/>
                <a:gd name="T74" fmla="*/ 118 w 128"/>
                <a:gd name="T75" fmla="*/ 32 h 96"/>
                <a:gd name="T76" fmla="*/ 122 w 128"/>
                <a:gd name="T77" fmla="*/ 92 h 96"/>
                <a:gd name="T78" fmla="*/ 120 w 128"/>
                <a:gd name="T79" fmla="*/ 28 h 96"/>
                <a:gd name="T80" fmla="*/ 90 w 128"/>
                <a:gd name="T81" fmla="*/ 13 h 96"/>
                <a:gd name="T82" fmla="*/ 85 w 128"/>
                <a:gd name="T83" fmla="*/ 11 h 96"/>
                <a:gd name="T84" fmla="*/ 88 w 128"/>
                <a:gd name="T85" fmla="*/ 10 h 96"/>
                <a:gd name="T86" fmla="*/ 90 w 128"/>
                <a:gd name="T87" fmla="*/ 2 h 96"/>
                <a:gd name="T88" fmla="*/ 40 w 128"/>
                <a:gd name="T89" fmla="*/ 0 h 96"/>
                <a:gd name="T90" fmla="*/ 39 w 128"/>
                <a:gd name="T91" fmla="*/ 8 h 96"/>
                <a:gd name="T92" fmla="*/ 44 w 128"/>
                <a:gd name="T93" fmla="*/ 10 h 96"/>
                <a:gd name="T94" fmla="*/ 40 w 128"/>
                <a:gd name="T95" fmla="*/ 11 h 96"/>
                <a:gd name="T96" fmla="*/ 39 w 128"/>
                <a:gd name="T97" fmla="*/ 28 h 96"/>
                <a:gd name="T98" fmla="*/ 7 w 128"/>
                <a:gd name="T99" fmla="*/ 30 h 96"/>
                <a:gd name="T100" fmla="*/ 2 w 128"/>
                <a:gd name="T101" fmla="*/ 92 h 96"/>
                <a:gd name="T102" fmla="*/ 2 w 128"/>
                <a:gd name="T103" fmla="*/ 96 h 96"/>
                <a:gd name="T104" fmla="*/ 128 w 128"/>
                <a:gd name="T105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8" h="96">
                  <a:moveTo>
                    <a:pt x="1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5" y="39"/>
                    <a:pt x="14" y="40"/>
                    <a:pt x="14" y="41"/>
                  </a:cubicBezTo>
                  <a:cubicBezTo>
                    <a:pt x="14" y="42"/>
                    <a:pt x="15" y="43"/>
                    <a:pt x="15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4" y="61"/>
                    <a:pt x="14" y="62"/>
                  </a:cubicBezTo>
                  <a:cubicBezTo>
                    <a:pt x="14" y="63"/>
                    <a:pt x="15" y="64"/>
                    <a:pt x="15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4" y="82"/>
                    <a:pt x="14" y="83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10" y="92"/>
                    <a:pt x="10" y="92"/>
                    <a:pt x="10" y="92"/>
                  </a:cubicBezTo>
                  <a:lnTo>
                    <a:pt x="10" y="32"/>
                  </a:lnTo>
                  <a:close/>
                  <a:moveTo>
                    <a:pt x="75" y="64"/>
                  </a:moveTo>
                  <a:cubicBezTo>
                    <a:pt x="79" y="64"/>
                    <a:pt x="79" y="64"/>
                    <a:pt x="79" y="64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5" y="92"/>
                    <a:pt x="75" y="92"/>
                    <a:pt x="75" y="92"/>
                  </a:cubicBezTo>
                  <a:lnTo>
                    <a:pt x="75" y="64"/>
                  </a:lnTo>
                  <a:close/>
                  <a:moveTo>
                    <a:pt x="54" y="92"/>
                  </a:moveTo>
                  <a:cubicBezTo>
                    <a:pt x="50" y="92"/>
                    <a:pt x="50" y="92"/>
                    <a:pt x="50" y="92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4" y="64"/>
                    <a:pt x="54" y="64"/>
                    <a:pt x="54" y="64"/>
                  </a:cubicBezTo>
                  <a:lnTo>
                    <a:pt x="54" y="92"/>
                  </a:lnTo>
                  <a:close/>
                  <a:moveTo>
                    <a:pt x="57" y="64"/>
                  </a:moveTo>
                  <a:cubicBezTo>
                    <a:pt x="72" y="64"/>
                    <a:pt x="72" y="64"/>
                    <a:pt x="72" y="64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57" y="92"/>
                    <a:pt x="57" y="92"/>
                    <a:pt x="57" y="92"/>
                  </a:cubicBezTo>
                  <a:lnTo>
                    <a:pt x="57" y="64"/>
                  </a:lnTo>
                  <a:close/>
                  <a:moveTo>
                    <a:pt x="42" y="15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6" y="92"/>
                    <a:pt x="86" y="92"/>
                    <a:pt x="86" y="92"/>
                  </a:cubicBezTo>
                  <a:cubicBezTo>
                    <a:pt x="82" y="92"/>
                    <a:pt x="82" y="92"/>
                    <a:pt x="82" y="9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1"/>
                    <a:pt x="81" y="60"/>
                    <a:pt x="80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7" y="60"/>
                    <a:pt x="46" y="61"/>
                    <a:pt x="46" y="62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2" y="92"/>
                    <a:pt x="42" y="92"/>
                    <a:pt x="42" y="92"/>
                  </a:cubicBezTo>
                  <a:lnTo>
                    <a:pt x="42" y="15"/>
                  </a:lnTo>
                  <a:close/>
                  <a:moveTo>
                    <a:pt x="47" y="10"/>
                  </a:moveTo>
                  <a:cubicBezTo>
                    <a:pt x="82" y="10"/>
                    <a:pt x="82" y="10"/>
                    <a:pt x="82" y="10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47" y="11"/>
                    <a:pt x="47" y="11"/>
                    <a:pt x="47" y="11"/>
                  </a:cubicBezTo>
                  <a:lnTo>
                    <a:pt x="47" y="10"/>
                  </a:lnTo>
                  <a:close/>
                  <a:moveTo>
                    <a:pt x="42" y="3"/>
                  </a:moveTo>
                  <a:cubicBezTo>
                    <a:pt x="86" y="3"/>
                    <a:pt x="86" y="3"/>
                    <a:pt x="86" y="3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3"/>
                  </a:lnTo>
                  <a:close/>
                  <a:moveTo>
                    <a:pt x="118" y="32"/>
                  </a:moveTo>
                  <a:cubicBezTo>
                    <a:pt x="118" y="92"/>
                    <a:pt x="118" y="92"/>
                    <a:pt x="118" y="92"/>
                  </a:cubicBezTo>
                  <a:cubicBezTo>
                    <a:pt x="90" y="92"/>
                    <a:pt x="90" y="92"/>
                    <a:pt x="90" y="92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113" y="84"/>
                    <a:pt x="113" y="84"/>
                    <a:pt x="113" y="84"/>
                  </a:cubicBezTo>
                  <a:cubicBezTo>
                    <a:pt x="114" y="84"/>
                    <a:pt x="115" y="84"/>
                    <a:pt x="115" y="83"/>
                  </a:cubicBezTo>
                  <a:cubicBezTo>
                    <a:pt x="115" y="82"/>
                    <a:pt x="114" y="81"/>
                    <a:pt x="113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4" y="64"/>
                    <a:pt x="115" y="63"/>
                    <a:pt x="115" y="62"/>
                  </a:cubicBezTo>
                  <a:cubicBezTo>
                    <a:pt x="115" y="61"/>
                    <a:pt x="114" y="60"/>
                    <a:pt x="113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43"/>
                    <a:pt x="90" y="43"/>
                    <a:pt x="90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3"/>
                    <a:pt x="115" y="42"/>
                    <a:pt x="115" y="41"/>
                  </a:cubicBezTo>
                  <a:cubicBezTo>
                    <a:pt x="115" y="40"/>
                    <a:pt x="114" y="39"/>
                    <a:pt x="113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2"/>
                    <a:pt x="90" y="32"/>
                    <a:pt x="90" y="32"/>
                  </a:cubicBezTo>
                  <a:lnTo>
                    <a:pt x="118" y="32"/>
                  </a:lnTo>
                  <a:close/>
                  <a:moveTo>
                    <a:pt x="126" y="92"/>
                  </a:moveTo>
                  <a:cubicBezTo>
                    <a:pt x="122" y="92"/>
                    <a:pt x="122" y="92"/>
                    <a:pt x="122" y="92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29"/>
                    <a:pt x="121" y="28"/>
                    <a:pt x="12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12"/>
                    <a:pt x="89" y="11"/>
                    <a:pt x="88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89" y="10"/>
                    <a:pt x="90" y="9"/>
                    <a:pt x="90" y="8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0"/>
                    <a:pt x="8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9" y="1"/>
                    <a:pt x="39" y="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9"/>
                    <a:pt x="39" y="10"/>
                    <a:pt x="40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9" y="12"/>
                    <a:pt x="39" y="1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7" y="28"/>
                    <a:pt x="7" y="29"/>
                    <a:pt x="7" y="30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1" y="92"/>
                    <a:pt x="0" y="93"/>
                    <a:pt x="0" y="94"/>
                  </a:cubicBezTo>
                  <a:cubicBezTo>
                    <a:pt x="0" y="95"/>
                    <a:pt x="1" y="96"/>
                    <a:pt x="2" y="96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7" y="96"/>
                    <a:pt x="128" y="95"/>
                    <a:pt x="128" y="94"/>
                  </a:cubicBezTo>
                  <a:cubicBezTo>
                    <a:pt x="128" y="93"/>
                    <a:pt x="127" y="92"/>
                    <a:pt x="126" y="9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69">
              <a:extLst>
                <a:ext uri="{FF2B5EF4-FFF2-40B4-BE49-F238E27FC236}">
                  <a16:creationId xmlns:a16="http://schemas.microsoft.com/office/drawing/2014/main" id="{279CB2AF-9562-4CB6-9638-12EC0BB3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7201" y="3402013"/>
              <a:ext cx="447675" cy="11113"/>
            </a:xfrm>
            <a:custGeom>
              <a:avLst/>
              <a:gdLst>
                <a:gd name="T0" fmla="*/ 113 w 115"/>
                <a:gd name="T1" fmla="*/ 0 h 3"/>
                <a:gd name="T2" fmla="*/ 1 w 115"/>
                <a:gd name="T3" fmla="*/ 0 h 3"/>
                <a:gd name="T4" fmla="*/ 0 w 115"/>
                <a:gd name="T5" fmla="*/ 1 h 3"/>
                <a:gd name="T6" fmla="*/ 1 w 115"/>
                <a:gd name="T7" fmla="*/ 3 h 3"/>
                <a:gd name="T8" fmla="*/ 113 w 115"/>
                <a:gd name="T9" fmla="*/ 3 h 3"/>
                <a:gd name="T10" fmla="*/ 115 w 115"/>
                <a:gd name="T11" fmla="*/ 1 h 3"/>
                <a:gd name="T12" fmla="*/ 113 w 1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3">
                  <a:moveTo>
                    <a:pt x="11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4" y="3"/>
                    <a:pt x="115" y="2"/>
                    <a:pt x="115" y="1"/>
                  </a:cubicBezTo>
                  <a:cubicBezTo>
                    <a:pt x="115" y="0"/>
                    <a:pt x="114" y="0"/>
                    <a:pt x="11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70">
              <a:extLst>
                <a:ext uri="{FF2B5EF4-FFF2-40B4-BE49-F238E27FC236}">
                  <a16:creationId xmlns:a16="http://schemas.microsoft.com/office/drawing/2014/main" id="{10C50BF0-2933-4C04-923F-93FC16CB2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9601" y="3098801"/>
              <a:ext cx="139700" cy="11113"/>
            </a:xfrm>
            <a:custGeom>
              <a:avLst/>
              <a:gdLst>
                <a:gd name="T0" fmla="*/ 2 w 36"/>
                <a:gd name="T1" fmla="*/ 3 h 3"/>
                <a:gd name="T2" fmla="*/ 34 w 36"/>
                <a:gd name="T3" fmla="*/ 3 h 3"/>
                <a:gd name="T4" fmla="*/ 36 w 36"/>
                <a:gd name="T5" fmla="*/ 2 h 3"/>
                <a:gd name="T6" fmla="*/ 34 w 36"/>
                <a:gd name="T7" fmla="*/ 0 h 3"/>
                <a:gd name="T8" fmla="*/ 2 w 36"/>
                <a:gd name="T9" fmla="*/ 0 h 3"/>
                <a:gd name="T10" fmla="*/ 0 w 36"/>
                <a:gd name="T11" fmla="*/ 2 h 3"/>
                <a:gd name="T12" fmla="*/ 2 w 3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">
                  <a:moveTo>
                    <a:pt x="2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71">
              <a:extLst>
                <a:ext uri="{FF2B5EF4-FFF2-40B4-BE49-F238E27FC236}">
                  <a16:creationId xmlns:a16="http://schemas.microsoft.com/office/drawing/2014/main" id="{7D8E5A66-B64A-4019-9ED5-1EF9627AB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9601" y="3203576"/>
              <a:ext cx="139700" cy="15875"/>
            </a:xfrm>
            <a:custGeom>
              <a:avLst/>
              <a:gdLst>
                <a:gd name="T0" fmla="*/ 2 w 36"/>
                <a:gd name="T1" fmla="*/ 4 h 4"/>
                <a:gd name="T2" fmla="*/ 34 w 36"/>
                <a:gd name="T3" fmla="*/ 4 h 4"/>
                <a:gd name="T4" fmla="*/ 36 w 36"/>
                <a:gd name="T5" fmla="*/ 2 h 4"/>
                <a:gd name="T6" fmla="*/ 34 w 36"/>
                <a:gd name="T7" fmla="*/ 0 h 4"/>
                <a:gd name="T8" fmla="*/ 2 w 36"/>
                <a:gd name="T9" fmla="*/ 0 h 4"/>
                <a:gd name="T10" fmla="*/ 0 w 36"/>
                <a:gd name="T11" fmla="*/ 2 h 4"/>
                <a:gd name="T12" fmla="*/ 2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2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Freeform 72">
              <a:extLst>
                <a:ext uri="{FF2B5EF4-FFF2-40B4-BE49-F238E27FC236}">
                  <a16:creationId xmlns:a16="http://schemas.microsoft.com/office/drawing/2014/main" id="{BA05B822-C1B0-4556-9D8B-08F26D753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9601" y="3152776"/>
              <a:ext cx="139700" cy="11113"/>
            </a:xfrm>
            <a:custGeom>
              <a:avLst/>
              <a:gdLst>
                <a:gd name="T0" fmla="*/ 2 w 36"/>
                <a:gd name="T1" fmla="*/ 3 h 3"/>
                <a:gd name="T2" fmla="*/ 34 w 36"/>
                <a:gd name="T3" fmla="*/ 3 h 3"/>
                <a:gd name="T4" fmla="*/ 36 w 36"/>
                <a:gd name="T5" fmla="*/ 1 h 3"/>
                <a:gd name="T6" fmla="*/ 34 w 36"/>
                <a:gd name="T7" fmla="*/ 0 h 3"/>
                <a:gd name="T8" fmla="*/ 2 w 36"/>
                <a:gd name="T9" fmla="*/ 0 h 3"/>
                <a:gd name="T10" fmla="*/ 0 w 36"/>
                <a:gd name="T11" fmla="*/ 1 h 3"/>
                <a:gd name="T12" fmla="*/ 2 w 3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">
                  <a:moveTo>
                    <a:pt x="2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6" y="2"/>
                    <a:pt x="36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0" name="Group 539">
            <a:extLst>
              <a:ext uri="{FF2B5EF4-FFF2-40B4-BE49-F238E27FC236}">
                <a16:creationId xmlns:a16="http://schemas.microsoft.com/office/drawing/2014/main" id="{AD178D31-CB90-4023-86F3-C8E597A09844}"/>
              </a:ext>
            </a:extLst>
          </p:cNvPr>
          <p:cNvGrpSpPr/>
          <p:nvPr/>
        </p:nvGrpSpPr>
        <p:grpSpPr>
          <a:xfrm>
            <a:off x="1417638" y="4145757"/>
            <a:ext cx="760412" cy="758825"/>
            <a:chOff x="1417638" y="4140200"/>
            <a:chExt cx="760412" cy="758825"/>
          </a:xfrm>
        </p:grpSpPr>
        <p:sp>
          <p:nvSpPr>
            <p:cNvPr id="483" name="AutoShape 74">
              <a:extLst>
                <a:ext uri="{FF2B5EF4-FFF2-40B4-BE49-F238E27FC236}">
                  <a16:creationId xmlns:a16="http://schemas.microsoft.com/office/drawing/2014/main" id="{B2F40FEC-1923-41FA-A1CA-278A55A673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7638" y="4140200"/>
              <a:ext cx="760412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76">
              <a:extLst>
                <a:ext uri="{FF2B5EF4-FFF2-40B4-BE49-F238E27FC236}">
                  <a16:creationId xmlns:a16="http://schemas.microsoft.com/office/drawing/2014/main" id="{D358C686-A0B8-42A5-BEF9-DC3ADE412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0813" y="4143375"/>
              <a:ext cx="757237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77">
              <a:extLst>
                <a:ext uri="{FF2B5EF4-FFF2-40B4-BE49-F238E27FC236}">
                  <a16:creationId xmlns:a16="http://schemas.microsoft.com/office/drawing/2014/main" id="{06D18154-4195-48FB-BDC1-1E424634DF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2100" y="4346575"/>
              <a:ext cx="300037" cy="346075"/>
            </a:xfrm>
            <a:custGeom>
              <a:avLst/>
              <a:gdLst>
                <a:gd name="T0" fmla="*/ 182 w 189"/>
                <a:gd name="T1" fmla="*/ 64 h 218"/>
                <a:gd name="T2" fmla="*/ 130 w 189"/>
                <a:gd name="T3" fmla="*/ 64 h 218"/>
                <a:gd name="T4" fmla="*/ 130 w 189"/>
                <a:gd name="T5" fmla="*/ 54 h 218"/>
                <a:gd name="T6" fmla="*/ 182 w 189"/>
                <a:gd name="T7" fmla="*/ 54 h 218"/>
                <a:gd name="T8" fmla="*/ 182 w 189"/>
                <a:gd name="T9" fmla="*/ 64 h 218"/>
                <a:gd name="T10" fmla="*/ 71 w 189"/>
                <a:gd name="T11" fmla="*/ 5 h 218"/>
                <a:gd name="T12" fmla="*/ 113 w 189"/>
                <a:gd name="T13" fmla="*/ 5 h 218"/>
                <a:gd name="T14" fmla="*/ 113 w 189"/>
                <a:gd name="T15" fmla="*/ 12 h 218"/>
                <a:gd name="T16" fmla="*/ 71 w 189"/>
                <a:gd name="T17" fmla="*/ 12 h 218"/>
                <a:gd name="T18" fmla="*/ 71 w 189"/>
                <a:gd name="T19" fmla="*/ 5 h 218"/>
                <a:gd name="T20" fmla="*/ 145 w 189"/>
                <a:gd name="T21" fmla="*/ 12 h 218"/>
                <a:gd name="T22" fmla="*/ 120 w 189"/>
                <a:gd name="T23" fmla="*/ 12 h 218"/>
                <a:gd name="T24" fmla="*/ 120 w 189"/>
                <a:gd name="T25" fmla="*/ 0 h 218"/>
                <a:gd name="T26" fmla="*/ 64 w 189"/>
                <a:gd name="T27" fmla="*/ 0 h 218"/>
                <a:gd name="T28" fmla="*/ 64 w 189"/>
                <a:gd name="T29" fmla="*/ 12 h 218"/>
                <a:gd name="T30" fmla="*/ 44 w 189"/>
                <a:gd name="T31" fmla="*/ 12 h 218"/>
                <a:gd name="T32" fmla="*/ 44 w 189"/>
                <a:gd name="T33" fmla="*/ 78 h 218"/>
                <a:gd name="T34" fmla="*/ 0 w 189"/>
                <a:gd name="T35" fmla="*/ 78 h 218"/>
                <a:gd name="T36" fmla="*/ 0 w 189"/>
                <a:gd name="T37" fmla="*/ 218 h 218"/>
                <a:gd name="T38" fmla="*/ 5 w 189"/>
                <a:gd name="T39" fmla="*/ 218 h 218"/>
                <a:gd name="T40" fmla="*/ 5 w 189"/>
                <a:gd name="T41" fmla="*/ 83 h 218"/>
                <a:gd name="T42" fmla="*/ 59 w 189"/>
                <a:gd name="T43" fmla="*/ 83 h 218"/>
                <a:gd name="T44" fmla="*/ 59 w 189"/>
                <a:gd name="T45" fmla="*/ 218 h 218"/>
                <a:gd name="T46" fmla="*/ 64 w 189"/>
                <a:gd name="T47" fmla="*/ 218 h 218"/>
                <a:gd name="T48" fmla="*/ 64 w 189"/>
                <a:gd name="T49" fmla="*/ 78 h 218"/>
                <a:gd name="T50" fmla="*/ 49 w 189"/>
                <a:gd name="T51" fmla="*/ 78 h 218"/>
                <a:gd name="T52" fmla="*/ 49 w 189"/>
                <a:gd name="T53" fmla="*/ 20 h 218"/>
                <a:gd name="T54" fmla="*/ 137 w 189"/>
                <a:gd name="T55" fmla="*/ 20 h 218"/>
                <a:gd name="T56" fmla="*/ 137 w 189"/>
                <a:gd name="T57" fmla="*/ 49 h 218"/>
                <a:gd name="T58" fmla="*/ 123 w 189"/>
                <a:gd name="T59" fmla="*/ 49 h 218"/>
                <a:gd name="T60" fmla="*/ 123 w 189"/>
                <a:gd name="T61" fmla="*/ 218 h 218"/>
                <a:gd name="T62" fmla="*/ 130 w 189"/>
                <a:gd name="T63" fmla="*/ 218 h 218"/>
                <a:gd name="T64" fmla="*/ 130 w 189"/>
                <a:gd name="T65" fmla="*/ 71 h 218"/>
                <a:gd name="T66" fmla="*/ 182 w 189"/>
                <a:gd name="T67" fmla="*/ 71 h 218"/>
                <a:gd name="T68" fmla="*/ 182 w 189"/>
                <a:gd name="T69" fmla="*/ 218 h 218"/>
                <a:gd name="T70" fmla="*/ 189 w 189"/>
                <a:gd name="T71" fmla="*/ 218 h 218"/>
                <a:gd name="T72" fmla="*/ 189 w 189"/>
                <a:gd name="T73" fmla="*/ 49 h 218"/>
                <a:gd name="T74" fmla="*/ 145 w 189"/>
                <a:gd name="T75" fmla="*/ 49 h 218"/>
                <a:gd name="T76" fmla="*/ 145 w 189"/>
                <a:gd name="T77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9" h="218">
                  <a:moveTo>
                    <a:pt x="182" y="64"/>
                  </a:moveTo>
                  <a:lnTo>
                    <a:pt x="130" y="64"/>
                  </a:lnTo>
                  <a:lnTo>
                    <a:pt x="130" y="54"/>
                  </a:lnTo>
                  <a:lnTo>
                    <a:pt x="182" y="54"/>
                  </a:lnTo>
                  <a:lnTo>
                    <a:pt x="182" y="64"/>
                  </a:lnTo>
                  <a:close/>
                  <a:moveTo>
                    <a:pt x="71" y="5"/>
                  </a:moveTo>
                  <a:lnTo>
                    <a:pt x="113" y="5"/>
                  </a:lnTo>
                  <a:lnTo>
                    <a:pt x="113" y="12"/>
                  </a:lnTo>
                  <a:lnTo>
                    <a:pt x="71" y="12"/>
                  </a:lnTo>
                  <a:lnTo>
                    <a:pt x="71" y="5"/>
                  </a:lnTo>
                  <a:close/>
                  <a:moveTo>
                    <a:pt x="145" y="12"/>
                  </a:moveTo>
                  <a:lnTo>
                    <a:pt x="120" y="12"/>
                  </a:lnTo>
                  <a:lnTo>
                    <a:pt x="120" y="0"/>
                  </a:lnTo>
                  <a:lnTo>
                    <a:pt x="64" y="0"/>
                  </a:lnTo>
                  <a:lnTo>
                    <a:pt x="64" y="12"/>
                  </a:lnTo>
                  <a:lnTo>
                    <a:pt x="44" y="12"/>
                  </a:lnTo>
                  <a:lnTo>
                    <a:pt x="44" y="78"/>
                  </a:lnTo>
                  <a:lnTo>
                    <a:pt x="0" y="78"/>
                  </a:lnTo>
                  <a:lnTo>
                    <a:pt x="0" y="218"/>
                  </a:lnTo>
                  <a:lnTo>
                    <a:pt x="5" y="218"/>
                  </a:lnTo>
                  <a:lnTo>
                    <a:pt x="5" y="83"/>
                  </a:lnTo>
                  <a:lnTo>
                    <a:pt x="59" y="83"/>
                  </a:lnTo>
                  <a:lnTo>
                    <a:pt x="59" y="218"/>
                  </a:lnTo>
                  <a:lnTo>
                    <a:pt x="64" y="218"/>
                  </a:lnTo>
                  <a:lnTo>
                    <a:pt x="64" y="78"/>
                  </a:lnTo>
                  <a:lnTo>
                    <a:pt x="49" y="78"/>
                  </a:lnTo>
                  <a:lnTo>
                    <a:pt x="49" y="20"/>
                  </a:lnTo>
                  <a:lnTo>
                    <a:pt x="137" y="20"/>
                  </a:lnTo>
                  <a:lnTo>
                    <a:pt x="137" y="49"/>
                  </a:lnTo>
                  <a:lnTo>
                    <a:pt x="123" y="49"/>
                  </a:lnTo>
                  <a:lnTo>
                    <a:pt x="123" y="218"/>
                  </a:lnTo>
                  <a:lnTo>
                    <a:pt x="130" y="218"/>
                  </a:lnTo>
                  <a:lnTo>
                    <a:pt x="130" y="71"/>
                  </a:lnTo>
                  <a:lnTo>
                    <a:pt x="182" y="71"/>
                  </a:lnTo>
                  <a:lnTo>
                    <a:pt x="182" y="218"/>
                  </a:lnTo>
                  <a:lnTo>
                    <a:pt x="189" y="218"/>
                  </a:lnTo>
                  <a:lnTo>
                    <a:pt x="189" y="49"/>
                  </a:lnTo>
                  <a:lnTo>
                    <a:pt x="145" y="49"/>
                  </a:lnTo>
                  <a:lnTo>
                    <a:pt x="145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78">
              <a:extLst>
                <a:ext uri="{FF2B5EF4-FFF2-40B4-BE49-F238E27FC236}">
                  <a16:creationId xmlns:a16="http://schemas.microsoft.com/office/drawing/2014/main" id="{22F131CC-B039-4DC2-9D77-2A10E8CC96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913" y="4510088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79">
              <a:extLst>
                <a:ext uri="{FF2B5EF4-FFF2-40B4-BE49-F238E27FC236}">
                  <a16:creationId xmlns:a16="http://schemas.microsoft.com/office/drawing/2014/main" id="{F5679375-53EB-42A7-A420-7F837EF0A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138" y="4510088"/>
              <a:ext cx="12700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Rectangle 80">
              <a:extLst>
                <a:ext uri="{FF2B5EF4-FFF2-40B4-BE49-F238E27FC236}">
                  <a16:creationId xmlns:a16="http://schemas.microsoft.com/office/drawing/2014/main" id="{3D4D7924-37B9-4013-ADE7-DFE293407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950" y="4510088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81">
              <a:extLst>
                <a:ext uri="{FF2B5EF4-FFF2-40B4-BE49-F238E27FC236}">
                  <a16:creationId xmlns:a16="http://schemas.microsoft.com/office/drawing/2014/main" id="{F41949B4-BFE5-4300-9086-92FB4DF5E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913" y="4545013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Rectangle 82">
              <a:extLst>
                <a:ext uri="{FF2B5EF4-FFF2-40B4-BE49-F238E27FC236}">
                  <a16:creationId xmlns:a16="http://schemas.microsoft.com/office/drawing/2014/main" id="{BFC60D9D-59E4-40B8-B3E1-EAFBFE349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138" y="4545013"/>
              <a:ext cx="12700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83">
              <a:extLst>
                <a:ext uri="{FF2B5EF4-FFF2-40B4-BE49-F238E27FC236}">
                  <a16:creationId xmlns:a16="http://schemas.microsoft.com/office/drawing/2014/main" id="{43BA4D05-C998-4073-A209-0B2DFD01D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950" y="4545013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Rectangle 84">
              <a:extLst>
                <a:ext uri="{FF2B5EF4-FFF2-40B4-BE49-F238E27FC236}">
                  <a16:creationId xmlns:a16="http://schemas.microsoft.com/office/drawing/2014/main" id="{161294F2-F975-4C76-A8FC-95302EC3B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913" y="4579938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85">
              <a:extLst>
                <a:ext uri="{FF2B5EF4-FFF2-40B4-BE49-F238E27FC236}">
                  <a16:creationId xmlns:a16="http://schemas.microsoft.com/office/drawing/2014/main" id="{F4061661-2746-4FC3-89BE-2DA800A4E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138" y="4579938"/>
              <a:ext cx="12700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Rectangle 86">
              <a:extLst>
                <a:ext uri="{FF2B5EF4-FFF2-40B4-BE49-F238E27FC236}">
                  <a16:creationId xmlns:a16="http://schemas.microsoft.com/office/drawing/2014/main" id="{AF863728-D718-4662-A490-C79B821F0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950" y="4579938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87">
              <a:extLst>
                <a:ext uri="{FF2B5EF4-FFF2-40B4-BE49-F238E27FC236}">
                  <a16:creationId xmlns:a16="http://schemas.microsoft.com/office/drawing/2014/main" id="{A104DD63-7494-47A0-A7B8-7456DDBFF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486275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Rectangle 88">
              <a:extLst>
                <a:ext uri="{FF2B5EF4-FFF2-40B4-BE49-F238E27FC236}">
                  <a16:creationId xmlns:a16="http://schemas.microsoft.com/office/drawing/2014/main" id="{D72D791A-2DA1-4905-A592-F8435FA1E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486275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89">
              <a:extLst>
                <a:ext uri="{FF2B5EF4-FFF2-40B4-BE49-F238E27FC236}">
                  <a16:creationId xmlns:a16="http://schemas.microsoft.com/office/drawing/2014/main" id="{8A5E0124-7E24-4165-9AFF-B2DF3D514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521200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Rectangle 90">
              <a:extLst>
                <a:ext uri="{FF2B5EF4-FFF2-40B4-BE49-F238E27FC236}">
                  <a16:creationId xmlns:a16="http://schemas.microsoft.com/office/drawing/2014/main" id="{4F4AE8E4-6B86-415F-B095-6F9E44759A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521200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Rectangle 91">
              <a:extLst>
                <a:ext uri="{FF2B5EF4-FFF2-40B4-BE49-F238E27FC236}">
                  <a16:creationId xmlns:a16="http://schemas.microsoft.com/office/drawing/2014/main" id="{16615A23-756C-427E-8B97-28A03B947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556125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92">
              <a:extLst>
                <a:ext uri="{FF2B5EF4-FFF2-40B4-BE49-F238E27FC236}">
                  <a16:creationId xmlns:a16="http://schemas.microsoft.com/office/drawing/2014/main" id="{63855692-9BA0-43EC-9630-29F6C7F95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556125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93">
              <a:extLst>
                <a:ext uri="{FF2B5EF4-FFF2-40B4-BE49-F238E27FC236}">
                  <a16:creationId xmlns:a16="http://schemas.microsoft.com/office/drawing/2014/main" id="{523E39E1-8AB9-47EA-934C-20E551D2F9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591050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94">
              <a:extLst>
                <a:ext uri="{FF2B5EF4-FFF2-40B4-BE49-F238E27FC236}">
                  <a16:creationId xmlns:a16="http://schemas.microsoft.com/office/drawing/2014/main" id="{9813EFBC-594C-4009-B9F5-106F1027B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591050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Rectangle 95">
              <a:extLst>
                <a:ext uri="{FF2B5EF4-FFF2-40B4-BE49-F238E27FC236}">
                  <a16:creationId xmlns:a16="http://schemas.microsoft.com/office/drawing/2014/main" id="{925C9885-5FA3-4979-A26D-727A68796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625975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96">
              <a:extLst>
                <a:ext uri="{FF2B5EF4-FFF2-40B4-BE49-F238E27FC236}">
                  <a16:creationId xmlns:a16="http://schemas.microsoft.com/office/drawing/2014/main" id="{8FF17EAA-A7BC-4924-9D77-8B8A1F859D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625975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Rectangle 97">
              <a:extLst>
                <a:ext uri="{FF2B5EF4-FFF2-40B4-BE49-F238E27FC236}">
                  <a16:creationId xmlns:a16="http://schemas.microsoft.com/office/drawing/2014/main" id="{BD111077-2503-497C-A3CC-264C01F3B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413" y="4660900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98">
              <a:extLst>
                <a:ext uri="{FF2B5EF4-FFF2-40B4-BE49-F238E27FC236}">
                  <a16:creationId xmlns:a16="http://schemas.microsoft.com/office/drawing/2014/main" id="{CB3972C2-AC79-4680-A07C-CE7D5D9A1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225" y="4660900"/>
              <a:ext cx="11112" cy="2063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Rectangle 99">
              <a:extLst>
                <a:ext uri="{FF2B5EF4-FFF2-40B4-BE49-F238E27FC236}">
                  <a16:creationId xmlns:a16="http://schemas.microsoft.com/office/drawing/2014/main" id="{A331030E-4C05-464E-9A4A-398A339C7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913" y="4638675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Rectangle 100">
              <a:extLst>
                <a:ext uri="{FF2B5EF4-FFF2-40B4-BE49-F238E27FC236}">
                  <a16:creationId xmlns:a16="http://schemas.microsoft.com/office/drawing/2014/main" id="{CEA4DA39-EC45-471F-8713-8169FCAF7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138" y="4638675"/>
              <a:ext cx="12700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101">
              <a:extLst>
                <a:ext uri="{FF2B5EF4-FFF2-40B4-BE49-F238E27FC236}">
                  <a16:creationId xmlns:a16="http://schemas.microsoft.com/office/drawing/2014/main" id="{B389829B-ED69-470F-8F60-204EB26CB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950" y="4638675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Rectangle 102">
              <a:extLst>
                <a:ext uri="{FF2B5EF4-FFF2-40B4-BE49-F238E27FC236}">
                  <a16:creationId xmlns:a16="http://schemas.microsoft.com/office/drawing/2014/main" id="{2D6CE00F-10C1-403D-B249-26BD371A4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913" y="4673600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Rectangle 103">
              <a:extLst>
                <a:ext uri="{FF2B5EF4-FFF2-40B4-BE49-F238E27FC236}">
                  <a16:creationId xmlns:a16="http://schemas.microsoft.com/office/drawing/2014/main" id="{404E5DC4-4867-45B6-A09D-C3F69AD0A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138" y="4673600"/>
              <a:ext cx="12700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104">
              <a:extLst>
                <a:ext uri="{FF2B5EF4-FFF2-40B4-BE49-F238E27FC236}">
                  <a16:creationId xmlns:a16="http://schemas.microsoft.com/office/drawing/2014/main" id="{E430C597-9DE0-49E8-8B47-B7957E6BB0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950" y="4673600"/>
              <a:ext cx="11112" cy="190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Rectangle 105">
              <a:extLst>
                <a:ext uri="{FF2B5EF4-FFF2-40B4-BE49-F238E27FC236}">
                  <a16:creationId xmlns:a16="http://schemas.microsoft.com/office/drawing/2014/main" id="{A68D6810-35DD-4548-AF7C-6BF0BC697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413250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106">
              <a:extLst>
                <a:ext uri="{FF2B5EF4-FFF2-40B4-BE49-F238E27FC236}">
                  <a16:creationId xmlns:a16="http://schemas.microsoft.com/office/drawing/2014/main" id="{577EBDC2-70F9-4A59-B95B-66D7BCE95E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413250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Rectangle 107">
              <a:extLst>
                <a:ext uri="{FF2B5EF4-FFF2-40B4-BE49-F238E27FC236}">
                  <a16:creationId xmlns:a16="http://schemas.microsoft.com/office/drawing/2014/main" id="{50764189-0BF9-4F14-844D-DC77E2671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435475"/>
              <a:ext cx="11112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108">
              <a:extLst>
                <a:ext uri="{FF2B5EF4-FFF2-40B4-BE49-F238E27FC236}">
                  <a16:creationId xmlns:a16="http://schemas.microsoft.com/office/drawing/2014/main" id="{D480633E-4CBB-4B65-9039-E5078AE6AE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435475"/>
              <a:ext cx="39687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Rectangle 109">
              <a:extLst>
                <a:ext uri="{FF2B5EF4-FFF2-40B4-BE49-F238E27FC236}">
                  <a16:creationId xmlns:a16="http://schemas.microsoft.com/office/drawing/2014/main" id="{3638FC60-D0D6-4872-8DA2-7D837D016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456113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110">
              <a:extLst>
                <a:ext uri="{FF2B5EF4-FFF2-40B4-BE49-F238E27FC236}">
                  <a16:creationId xmlns:a16="http://schemas.microsoft.com/office/drawing/2014/main" id="{3AA66240-8557-4A0A-B078-B8FFE99B6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456113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Rectangle 111">
              <a:extLst>
                <a:ext uri="{FF2B5EF4-FFF2-40B4-BE49-F238E27FC236}">
                  <a16:creationId xmlns:a16="http://schemas.microsoft.com/office/drawing/2014/main" id="{E7C4BB1F-D2D8-422F-9843-766F7C5CA8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491038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112">
              <a:extLst>
                <a:ext uri="{FF2B5EF4-FFF2-40B4-BE49-F238E27FC236}">
                  <a16:creationId xmlns:a16="http://schemas.microsoft.com/office/drawing/2014/main" id="{316D83E0-99D9-4B9F-A545-5F7720F7A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491038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Rectangle 113">
              <a:extLst>
                <a:ext uri="{FF2B5EF4-FFF2-40B4-BE49-F238E27FC236}">
                  <a16:creationId xmlns:a16="http://schemas.microsoft.com/office/drawing/2014/main" id="{FD74AE85-4C84-4FE0-94FD-80CDCD279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513263"/>
              <a:ext cx="11112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114">
              <a:extLst>
                <a:ext uri="{FF2B5EF4-FFF2-40B4-BE49-F238E27FC236}">
                  <a16:creationId xmlns:a16="http://schemas.microsoft.com/office/drawing/2014/main" id="{F4383CF3-821A-44AB-AB9D-2B7C38B59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513263"/>
              <a:ext cx="39687" cy="1270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Rectangle 115">
              <a:extLst>
                <a:ext uri="{FF2B5EF4-FFF2-40B4-BE49-F238E27FC236}">
                  <a16:creationId xmlns:a16="http://schemas.microsoft.com/office/drawing/2014/main" id="{BB290189-CF8D-420F-9F4D-1D074AC1B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537075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Rectangle 116">
              <a:extLst>
                <a:ext uri="{FF2B5EF4-FFF2-40B4-BE49-F238E27FC236}">
                  <a16:creationId xmlns:a16="http://schemas.microsoft.com/office/drawing/2014/main" id="{5F9088C9-FCF5-4830-9310-09A37B940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537075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Rectangle 117">
              <a:extLst>
                <a:ext uri="{FF2B5EF4-FFF2-40B4-BE49-F238E27FC236}">
                  <a16:creationId xmlns:a16="http://schemas.microsoft.com/office/drawing/2014/main" id="{5568A988-0317-4940-8EBD-D6FF600BB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572000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Rectangle 118">
              <a:extLst>
                <a:ext uri="{FF2B5EF4-FFF2-40B4-BE49-F238E27FC236}">
                  <a16:creationId xmlns:a16="http://schemas.microsoft.com/office/drawing/2014/main" id="{679F6496-A6AC-4FA3-8382-5A837A213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572000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Rectangle 119">
              <a:extLst>
                <a:ext uri="{FF2B5EF4-FFF2-40B4-BE49-F238E27FC236}">
                  <a16:creationId xmlns:a16="http://schemas.microsoft.com/office/drawing/2014/main" id="{505AD50B-C089-4CA0-9D08-6E3884308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595813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Rectangle 120">
              <a:extLst>
                <a:ext uri="{FF2B5EF4-FFF2-40B4-BE49-F238E27FC236}">
                  <a16:creationId xmlns:a16="http://schemas.microsoft.com/office/drawing/2014/main" id="{2CB45B45-C543-4131-9E88-C11DF8D8FC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595813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Rectangle 121">
              <a:extLst>
                <a:ext uri="{FF2B5EF4-FFF2-40B4-BE49-F238E27FC236}">
                  <a16:creationId xmlns:a16="http://schemas.microsoft.com/office/drawing/2014/main" id="{DCF30B08-1C48-4333-AC79-42F763B2A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619625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Rectangle 122">
              <a:extLst>
                <a:ext uri="{FF2B5EF4-FFF2-40B4-BE49-F238E27FC236}">
                  <a16:creationId xmlns:a16="http://schemas.microsoft.com/office/drawing/2014/main" id="{9F67F6C6-F5A5-43F5-BA8D-58F9DC503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619625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Rectangle 123">
              <a:extLst>
                <a:ext uri="{FF2B5EF4-FFF2-40B4-BE49-F238E27FC236}">
                  <a16:creationId xmlns:a16="http://schemas.microsoft.com/office/drawing/2014/main" id="{15A14B53-FB4F-4A2D-B6CE-BBA0929C3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654550"/>
              <a:ext cx="11112" cy="63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Rectangle 124">
              <a:extLst>
                <a:ext uri="{FF2B5EF4-FFF2-40B4-BE49-F238E27FC236}">
                  <a16:creationId xmlns:a16="http://schemas.microsoft.com/office/drawing/2014/main" id="{5289D27A-E711-467B-929B-74E5F933A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654550"/>
              <a:ext cx="39687" cy="635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Rectangle 125">
              <a:extLst>
                <a:ext uri="{FF2B5EF4-FFF2-40B4-BE49-F238E27FC236}">
                  <a16:creationId xmlns:a16="http://schemas.microsoft.com/office/drawing/2014/main" id="{3EB0C916-6056-4F0C-A405-FF015A0747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13" y="4673600"/>
              <a:ext cx="11112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" name="Rectangle 126">
              <a:extLst>
                <a:ext uri="{FF2B5EF4-FFF2-40B4-BE49-F238E27FC236}">
                  <a16:creationId xmlns:a16="http://schemas.microsoft.com/office/drawing/2014/main" id="{30277D7C-EC40-4CAD-BDCE-A6B000A78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800" y="4673600"/>
              <a:ext cx="39687" cy="11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Freeform 127">
              <a:extLst>
                <a:ext uri="{FF2B5EF4-FFF2-40B4-BE49-F238E27FC236}">
                  <a16:creationId xmlns:a16="http://schemas.microsoft.com/office/drawing/2014/main" id="{D0FD5F65-5E8E-4894-9E5C-C7B4C5740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800" y="4357688"/>
              <a:ext cx="82550" cy="74613"/>
            </a:xfrm>
            <a:custGeom>
              <a:avLst/>
              <a:gdLst>
                <a:gd name="T0" fmla="*/ 5 w 52"/>
                <a:gd name="T1" fmla="*/ 32 h 47"/>
                <a:gd name="T2" fmla="*/ 0 w 52"/>
                <a:gd name="T3" fmla="*/ 37 h 47"/>
                <a:gd name="T4" fmla="*/ 10 w 52"/>
                <a:gd name="T5" fmla="*/ 47 h 47"/>
                <a:gd name="T6" fmla="*/ 52 w 52"/>
                <a:gd name="T7" fmla="*/ 5 h 47"/>
                <a:gd name="T8" fmla="*/ 47 w 52"/>
                <a:gd name="T9" fmla="*/ 0 h 47"/>
                <a:gd name="T10" fmla="*/ 10 w 52"/>
                <a:gd name="T11" fmla="*/ 37 h 47"/>
                <a:gd name="T12" fmla="*/ 5 w 52"/>
                <a:gd name="T13" fmla="*/ 3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7">
                  <a:moveTo>
                    <a:pt x="5" y="32"/>
                  </a:moveTo>
                  <a:lnTo>
                    <a:pt x="0" y="37"/>
                  </a:lnTo>
                  <a:lnTo>
                    <a:pt x="10" y="47"/>
                  </a:lnTo>
                  <a:lnTo>
                    <a:pt x="52" y="5"/>
                  </a:lnTo>
                  <a:lnTo>
                    <a:pt x="47" y="0"/>
                  </a:lnTo>
                  <a:lnTo>
                    <a:pt x="10" y="37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" name="Freeform 128">
              <a:extLst>
                <a:ext uri="{FF2B5EF4-FFF2-40B4-BE49-F238E27FC236}">
                  <a16:creationId xmlns:a16="http://schemas.microsoft.com/office/drawing/2014/main" id="{B109CBF1-78F0-440F-B9F1-3AEECC6B2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813" y="4357688"/>
              <a:ext cx="101600" cy="101600"/>
            </a:xfrm>
            <a:custGeom>
              <a:avLst/>
              <a:gdLst>
                <a:gd name="T0" fmla="*/ 64 w 64"/>
                <a:gd name="T1" fmla="*/ 30 h 64"/>
                <a:gd name="T2" fmla="*/ 56 w 64"/>
                <a:gd name="T3" fmla="*/ 30 h 64"/>
                <a:gd name="T4" fmla="*/ 56 w 64"/>
                <a:gd name="T5" fmla="*/ 57 h 64"/>
                <a:gd name="T6" fmla="*/ 7 w 64"/>
                <a:gd name="T7" fmla="*/ 57 h 64"/>
                <a:gd name="T8" fmla="*/ 7 w 64"/>
                <a:gd name="T9" fmla="*/ 8 h 64"/>
                <a:gd name="T10" fmla="*/ 42 w 64"/>
                <a:gd name="T11" fmla="*/ 8 h 64"/>
                <a:gd name="T12" fmla="*/ 42 w 64"/>
                <a:gd name="T13" fmla="*/ 0 h 64"/>
                <a:gd name="T14" fmla="*/ 0 w 64"/>
                <a:gd name="T15" fmla="*/ 0 h 64"/>
                <a:gd name="T16" fmla="*/ 0 w 64"/>
                <a:gd name="T17" fmla="*/ 64 h 64"/>
                <a:gd name="T18" fmla="*/ 64 w 64"/>
                <a:gd name="T19" fmla="*/ 64 h 64"/>
                <a:gd name="T20" fmla="*/ 64 w 64"/>
                <a:gd name="T21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4">
                  <a:moveTo>
                    <a:pt x="64" y="30"/>
                  </a:moveTo>
                  <a:lnTo>
                    <a:pt x="56" y="30"/>
                  </a:lnTo>
                  <a:lnTo>
                    <a:pt x="56" y="57"/>
                  </a:lnTo>
                  <a:lnTo>
                    <a:pt x="7" y="57"/>
                  </a:lnTo>
                  <a:lnTo>
                    <a:pt x="7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64" y="64"/>
                  </a:lnTo>
                  <a:lnTo>
                    <a:pt x="64" y="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Freeform 129">
              <a:extLst>
                <a:ext uri="{FF2B5EF4-FFF2-40B4-BE49-F238E27FC236}">
                  <a16:creationId xmlns:a16="http://schemas.microsoft.com/office/drawing/2014/main" id="{AC51A7D2-A1D7-4BB7-B263-CF35E24F3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800" y="4478338"/>
              <a:ext cx="82550" cy="74613"/>
            </a:xfrm>
            <a:custGeom>
              <a:avLst/>
              <a:gdLst>
                <a:gd name="T0" fmla="*/ 10 w 52"/>
                <a:gd name="T1" fmla="*/ 37 h 47"/>
                <a:gd name="T2" fmla="*/ 5 w 52"/>
                <a:gd name="T3" fmla="*/ 32 h 47"/>
                <a:gd name="T4" fmla="*/ 0 w 52"/>
                <a:gd name="T5" fmla="*/ 37 h 47"/>
                <a:gd name="T6" fmla="*/ 10 w 52"/>
                <a:gd name="T7" fmla="*/ 47 h 47"/>
                <a:gd name="T8" fmla="*/ 52 w 52"/>
                <a:gd name="T9" fmla="*/ 5 h 47"/>
                <a:gd name="T10" fmla="*/ 47 w 52"/>
                <a:gd name="T11" fmla="*/ 0 h 47"/>
                <a:gd name="T12" fmla="*/ 10 w 52"/>
                <a:gd name="T13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7">
                  <a:moveTo>
                    <a:pt x="10" y="37"/>
                  </a:moveTo>
                  <a:lnTo>
                    <a:pt x="5" y="32"/>
                  </a:lnTo>
                  <a:lnTo>
                    <a:pt x="0" y="37"/>
                  </a:lnTo>
                  <a:lnTo>
                    <a:pt x="10" y="47"/>
                  </a:lnTo>
                  <a:lnTo>
                    <a:pt x="52" y="5"/>
                  </a:lnTo>
                  <a:lnTo>
                    <a:pt x="47" y="0"/>
                  </a:lnTo>
                  <a:lnTo>
                    <a:pt x="10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8" name="Freeform 130">
              <a:extLst>
                <a:ext uri="{FF2B5EF4-FFF2-40B4-BE49-F238E27FC236}">
                  <a16:creationId xmlns:a16="http://schemas.microsoft.com/office/drawing/2014/main" id="{6FEC5EF5-575C-47F3-AB67-B589652AF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813" y="4478338"/>
              <a:ext cx="101600" cy="98425"/>
            </a:xfrm>
            <a:custGeom>
              <a:avLst/>
              <a:gdLst>
                <a:gd name="T0" fmla="*/ 56 w 64"/>
                <a:gd name="T1" fmla="*/ 57 h 62"/>
                <a:gd name="T2" fmla="*/ 7 w 64"/>
                <a:gd name="T3" fmla="*/ 57 h 62"/>
                <a:gd name="T4" fmla="*/ 7 w 64"/>
                <a:gd name="T5" fmla="*/ 8 h 62"/>
                <a:gd name="T6" fmla="*/ 42 w 64"/>
                <a:gd name="T7" fmla="*/ 8 h 62"/>
                <a:gd name="T8" fmla="*/ 42 w 64"/>
                <a:gd name="T9" fmla="*/ 0 h 62"/>
                <a:gd name="T10" fmla="*/ 0 w 64"/>
                <a:gd name="T11" fmla="*/ 0 h 62"/>
                <a:gd name="T12" fmla="*/ 0 w 64"/>
                <a:gd name="T13" fmla="*/ 62 h 62"/>
                <a:gd name="T14" fmla="*/ 64 w 64"/>
                <a:gd name="T15" fmla="*/ 62 h 62"/>
                <a:gd name="T16" fmla="*/ 64 w 64"/>
                <a:gd name="T17" fmla="*/ 30 h 62"/>
                <a:gd name="T18" fmla="*/ 56 w 64"/>
                <a:gd name="T19" fmla="*/ 30 h 62"/>
                <a:gd name="T20" fmla="*/ 56 w 64"/>
                <a:gd name="T21" fmla="*/ 5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2">
                  <a:moveTo>
                    <a:pt x="56" y="57"/>
                  </a:moveTo>
                  <a:lnTo>
                    <a:pt x="7" y="57"/>
                  </a:lnTo>
                  <a:lnTo>
                    <a:pt x="7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64" y="62"/>
                  </a:lnTo>
                  <a:lnTo>
                    <a:pt x="64" y="30"/>
                  </a:lnTo>
                  <a:lnTo>
                    <a:pt x="56" y="30"/>
                  </a:lnTo>
                  <a:lnTo>
                    <a:pt x="56" y="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Freeform 131">
              <a:extLst>
                <a:ext uri="{FF2B5EF4-FFF2-40B4-BE49-F238E27FC236}">
                  <a16:creationId xmlns:a16="http://schemas.microsoft.com/office/drawing/2014/main" id="{0BE4B683-73D5-4228-B6F0-0738D7B61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8813" y="4598988"/>
              <a:ext cx="101600" cy="98425"/>
            </a:xfrm>
            <a:custGeom>
              <a:avLst/>
              <a:gdLst>
                <a:gd name="T0" fmla="*/ 7 w 64"/>
                <a:gd name="T1" fmla="*/ 8 h 62"/>
                <a:gd name="T2" fmla="*/ 56 w 64"/>
                <a:gd name="T3" fmla="*/ 8 h 62"/>
                <a:gd name="T4" fmla="*/ 56 w 64"/>
                <a:gd name="T5" fmla="*/ 54 h 62"/>
                <a:gd name="T6" fmla="*/ 7 w 64"/>
                <a:gd name="T7" fmla="*/ 54 h 62"/>
                <a:gd name="T8" fmla="*/ 7 w 64"/>
                <a:gd name="T9" fmla="*/ 8 h 62"/>
                <a:gd name="T10" fmla="*/ 0 w 64"/>
                <a:gd name="T11" fmla="*/ 62 h 62"/>
                <a:gd name="T12" fmla="*/ 64 w 64"/>
                <a:gd name="T13" fmla="*/ 62 h 62"/>
                <a:gd name="T14" fmla="*/ 64 w 64"/>
                <a:gd name="T15" fmla="*/ 0 h 62"/>
                <a:gd name="T16" fmla="*/ 0 w 64"/>
                <a:gd name="T17" fmla="*/ 0 h 62"/>
                <a:gd name="T18" fmla="*/ 0 w 64"/>
                <a:gd name="T1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2">
                  <a:moveTo>
                    <a:pt x="7" y="8"/>
                  </a:moveTo>
                  <a:lnTo>
                    <a:pt x="56" y="8"/>
                  </a:lnTo>
                  <a:lnTo>
                    <a:pt x="56" y="54"/>
                  </a:lnTo>
                  <a:lnTo>
                    <a:pt x="7" y="54"/>
                  </a:lnTo>
                  <a:lnTo>
                    <a:pt x="7" y="8"/>
                  </a:lnTo>
                  <a:close/>
                  <a:moveTo>
                    <a:pt x="0" y="62"/>
                  </a:moveTo>
                  <a:lnTo>
                    <a:pt x="64" y="62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2" name="Group 601">
            <a:extLst>
              <a:ext uri="{FF2B5EF4-FFF2-40B4-BE49-F238E27FC236}">
                <a16:creationId xmlns:a16="http://schemas.microsoft.com/office/drawing/2014/main" id="{CEAD617A-B084-4AB4-A7CA-F8360682AAFB}"/>
              </a:ext>
            </a:extLst>
          </p:cNvPr>
          <p:cNvGrpSpPr/>
          <p:nvPr/>
        </p:nvGrpSpPr>
        <p:grpSpPr>
          <a:xfrm>
            <a:off x="371475" y="4102894"/>
            <a:ext cx="844550" cy="844550"/>
            <a:chOff x="371475" y="4108450"/>
            <a:chExt cx="844550" cy="844550"/>
          </a:xfrm>
        </p:grpSpPr>
        <p:sp>
          <p:nvSpPr>
            <p:cNvPr id="544" name="AutoShape 133">
              <a:extLst>
                <a:ext uri="{FF2B5EF4-FFF2-40B4-BE49-F238E27FC236}">
                  <a16:creationId xmlns:a16="http://schemas.microsoft.com/office/drawing/2014/main" id="{FCAE3B79-8D5D-4C5A-8B58-3EF365B53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1475" y="410845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Oval 135">
              <a:extLst>
                <a:ext uri="{FF2B5EF4-FFF2-40B4-BE49-F238E27FC236}">
                  <a16:creationId xmlns:a16="http://schemas.microsoft.com/office/drawing/2014/main" id="{06BA06D0-3228-4698-A00C-AD6C11A883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475" y="410845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" name="Freeform 136">
              <a:extLst>
                <a:ext uri="{FF2B5EF4-FFF2-40B4-BE49-F238E27FC236}">
                  <a16:creationId xmlns:a16="http://schemas.microsoft.com/office/drawing/2014/main" id="{A24C03C9-4F43-4D18-A156-0AAA38DA50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" y="413702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" name="Freeform 137">
              <a:extLst>
                <a:ext uri="{FF2B5EF4-FFF2-40B4-BE49-F238E27FC236}">
                  <a16:creationId xmlns:a16="http://schemas.microsoft.com/office/drawing/2014/main" id="{340A25C4-37A3-400C-A2B3-932E67547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100" y="4348163"/>
              <a:ext cx="312738" cy="361950"/>
            </a:xfrm>
            <a:custGeom>
              <a:avLst/>
              <a:gdLst>
                <a:gd name="T0" fmla="*/ 189 w 197"/>
                <a:gd name="T1" fmla="*/ 67 h 228"/>
                <a:gd name="T2" fmla="*/ 136 w 197"/>
                <a:gd name="T3" fmla="*/ 67 h 228"/>
                <a:gd name="T4" fmla="*/ 136 w 197"/>
                <a:gd name="T5" fmla="*/ 56 h 228"/>
                <a:gd name="T6" fmla="*/ 189 w 197"/>
                <a:gd name="T7" fmla="*/ 56 h 228"/>
                <a:gd name="T8" fmla="*/ 189 w 197"/>
                <a:gd name="T9" fmla="*/ 67 h 228"/>
                <a:gd name="T10" fmla="*/ 74 w 197"/>
                <a:gd name="T11" fmla="*/ 5 h 228"/>
                <a:gd name="T12" fmla="*/ 118 w 197"/>
                <a:gd name="T13" fmla="*/ 5 h 228"/>
                <a:gd name="T14" fmla="*/ 118 w 197"/>
                <a:gd name="T15" fmla="*/ 13 h 228"/>
                <a:gd name="T16" fmla="*/ 74 w 197"/>
                <a:gd name="T17" fmla="*/ 13 h 228"/>
                <a:gd name="T18" fmla="*/ 74 w 197"/>
                <a:gd name="T19" fmla="*/ 5 h 228"/>
                <a:gd name="T20" fmla="*/ 151 w 197"/>
                <a:gd name="T21" fmla="*/ 13 h 228"/>
                <a:gd name="T22" fmla="*/ 125 w 197"/>
                <a:gd name="T23" fmla="*/ 13 h 228"/>
                <a:gd name="T24" fmla="*/ 125 w 197"/>
                <a:gd name="T25" fmla="*/ 0 h 228"/>
                <a:gd name="T26" fmla="*/ 67 w 197"/>
                <a:gd name="T27" fmla="*/ 0 h 228"/>
                <a:gd name="T28" fmla="*/ 67 w 197"/>
                <a:gd name="T29" fmla="*/ 13 h 228"/>
                <a:gd name="T30" fmla="*/ 46 w 197"/>
                <a:gd name="T31" fmla="*/ 13 h 228"/>
                <a:gd name="T32" fmla="*/ 46 w 197"/>
                <a:gd name="T33" fmla="*/ 82 h 228"/>
                <a:gd name="T34" fmla="*/ 0 w 197"/>
                <a:gd name="T35" fmla="*/ 82 h 228"/>
                <a:gd name="T36" fmla="*/ 0 w 197"/>
                <a:gd name="T37" fmla="*/ 228 h 228"/>
                <a:gd name="T38" fmla="*/ 5 w 197"/>
                <a:gd name="T39" fmla="*/ 228 h 228"/>
                <a:gd name="T40" fmla="*/ 5 w 197"/>
                <a:gd name="T41" fmla="*/ 87 h 228"/>
                <a:gd name="T42" fmla="*/ 61 w 197"/>
                <a:gd name="T43" fmla="*/ 87 h 228"/>
                <a:gd name="T44" fmla="*/ 61 w 197"/>
                <a:gd name="T45" fmla="*/ 228 h 228"/>
                <a:gd name="T46" fmla="*/ 67 w 197"/>
                <a:gd name="T47" fmla="*/ 228 h 228"/>
                <a:gd name="T48" fmla="*/ 67 w 197"/>
                <a:gd name="T49" fmla="*/ 82 h 228"/>
                <a:gd name="T50" fmla="*/ 51 w 197"/>
                <a:gd name="T51" fmla="*/ 82 h 228"/>
                <a:gd name="T52" fmla="*/ 51 w 197"/>
                <a:gd name="T53" fmla="*/ 20 h 228"/>
                <a:gd name="T54" fmla="*/ 143 w 197"/>
                <a:gd name="T55" fmla="*/ 20 h 228"/>
                <a:gd name="T56" fmla="*/ 143 w 197"/>
                <a:gd name="T57" fmla="*/ 51 h 228"/>
                <a:gd name="T58" fmla="*/ 128 w 197"/>
                <a:gd name="T59" fmla="*/ 51 h 228"/>
                <a:gd name="T60" fmla="*/ 128 w 197"/>
                <a:gd name="T61" fmla="*/ 228 h 228"/>
                <a:gd name="T62" fmla="*/ 136 w 197"/>
                <a:gd name="T63" fmla="*/ 228 h 228"/>
                <a:gd name="T64" fmla="*/ 136 w 197"/>
                <a:gd name="T65" fmla="*/ 74 h 228"/>
                <a:gd name="T66" fmla="*/ 189 w 197"/>
                <a:gd name="T67" fmla="*/ 74 h 228"/>
                <a:gd name="T68" fmla="*/ 189 w 197"/>
                <a:gd name="T69" fmla="*/ 228 h 228"/>
                <a:gd name="T70" fmla="*/ 197 w 197"/>
                <a:gd name="T71" fmla="*/ 228 h 228"/>
                <a:gd name="T72" fmla="*/ 197 w 197"/>
                <a:gd name="T73" fmla="*/ 51 h 228"/>
                <a:gd name="T74" fmla="*/ 151 w 197"/>
                <a:gd name="T75" fmla="*/ 51 h 228"/>
                <a:gd name="T76" fmla="*/ 151 w 197"/>
                <a:gd name="T77" fmla="*/ 13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7" h="228">
                  <a:moveTo>
                    <a:pt x="189" y="67"/>
                  </a:moveTo>
                  <a:lnTo>
                    <a:pt x="136" y="67"/>
                  </a:lnTo>
                  <a:lnTo>
                    <a:pt x="136" y="56"/>
                  </a:lnTo>
                  <a:lnTo>
                    <a:pt x="189" y="56"/>
                  </a:lnTo>
                  <a:lnTo>
                    <a:pt x="189" y="67"/>
                  </a:lnTo>
                  <a:close/>
                  <a:moveTo>
                    <a:pt x="74" y="5"/>
                  </a:moveTo>
                  <a:lnTo>
                    <a:pt x="118" y="5"/>
                  </a:lnTo>
                  <a:lnTo>
                    <a:pt x="118" y="13"/>
                  </a:lnTo>
                  <a:lnTo>
                    <a:pt x="74" y="13"/>
                  </a:lnTo>
                  <a:lnTo>
                    <a:pt x="74" y="5"/>
                  </a:lnTo>
                  <a:close/>
                  <a:moveTo>
                    <a:pt x="151" y="13"/>
                  </a:moveTo>
                  <a:lnTo>
                    <a:pt x="125" y="13"/>
                  </a:lnTo>
                  <a:lnTo>
                    <a:pt x="125" y="0"/>
                  </a:lnTo>
                  <a:lnTo>
                    <a:pt x="67" y="0"/>
                  </a:lnTo>
                  <a:lnTo>
                    <a:pt x="67" y="13"/>
                  </a:lnTo>
                  <a:lnTo>
                    <a:pt x="46" y="13"/>
                  </a:lnTo>
                  <a:lnTo>
                    <a:pt x="46" y="82"/>
                  </a:lnTo>
                  <a:lnTo>
                    <a:pt x="0" y="82"/>
                  </a:lnTo>
                  <a:lnTo>
                    <a:pt x="0" y="228"/>
                  </a:lnTo>
                  <a:lnTo>
                    <a:pt x="5" y="228"/>
                  </a:lnTo>
                  <a:lnTo>
                    <a:pt x="5" y="87"/>
                  </a:lnTo>
                  <a:lnTo>
                    <a:pt x="61" y="87"/>
                  </a:lnTo>
                  <a:lnTo>
                    <a:pt x="61" y="228"/>
                  </a:lnTo>
                  <a:lnTo>
                    <a:pt x="67" y="228"/>
                  </a:lnTo>
                  <a:lnTo>
                    <a:pt x="67" y="82"/>
                  </a:lnTo>
                  <a:lnTo>
                    <a:pt x="51" y="82"/>
                  </a:lnTo>
                  <a:lnTo>
                    <a:pt x="51" y="20"/>
                  </a:lnTo>
                  <a:lnTo>
                    <a:pt x="143" y="20"/>
                  </a:lnTo>
                  <a:lnTo>
                    <a:pt x="143" y="51"/>
                  </a:lnTo>
                  <a:lnTo>
                    <a:pt x="128" y="51"/>
                  </a:lnTo>
                  <a:lnTo>
                    <a:pt x="128" y="228"/>
                  </a:lnTo>
                  <a:lnTo>
                    <a:pt x="136" y="228"/>
                  </a:lnTo>
                  <a:lnTo>
                    <a:pt x="136" y="74"/>
                  </a:lnTo>
                  <a:lnTo>
                    <a:pt x="189" y="74"/>
                  </a:lnTo>
                  <a:lnTo>
                    <a:pt x="189" y="228"/>
                  </a:lnTo>
                  <a:lnTo>
                    <a:pt x="197" y="228"/>
                  </a:lnTo>
                  <a:lnTo>
                    <a:pt x="197" y="51"/>
                  </a:lnTo>
                  <a:lnTo>
                    <a:pt x="151" y="51"/>
                  </a:lnTo>
                  <a:lnTo>
                    <a:pt x="151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8" name="Rectangle 138">
              <a:extLst>
                <a:ext uri="{FF2B5EF4-FFF2-40B4-BE49-F238E27FC236}">
                  <a16:creationId xmlns:a16="http://schemas.microsoft.com/office/drawing/2014/main" id="{D89D569C-1828-437F-88D5-B133504A5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13" y="451802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9" name="Rectangle 139">
              <a:extLst>
                <a:ext uri="{FF2B5EF4-FFF2-40B4-BE49-F238E27FC236}">
                  <a16:creationId xmlns:a16="http://schemas.microsoft.com/office/drawing/2014/main" id="{29582353-362A-4C37-877C-2B7712F31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3" y="4518025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0" name="Rectangle 140">
              <a:extLst>
                <a:ext uri="{FF2B5EF4-FFF2-40B4-BE49-F238E27FC236}">
                  <a16:creationId xmlns:a16="http://schemas.microsoft.com/office/drawing/2014/main" id="{D3137B53-9672-47AE-894D-EC6920A12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" y="451802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1" name="Rectangle 141">
              <a:extLst>
                <a:ext uri="{FF2B5EF4-FFF2-40B4-BE49-F238E27FC236}">
                  <a16:creationId xmlns:a16="http://schemas.microsoft.com/office/drawing/2014/main" id="{09EA69EC-BF15-4BE4-BFFB-B33C541A2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13" y="4556125"/>
              <a:ext cx="12700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2" name="Rectangle 142">
              <a:extLst>
                <a:ext uri="{FF2B5EF4-FFF2-40B4-BE49-F238E27FC236}">
                  <a16:creationId xmlns:a16="http://schemas.microsoft.com/office/drawing/2014/main" id="{E2CB1DD8-2005-43FB-978C-1D92AEBDC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3" y="4556125"/>
              <a:ext cx="111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Rectangle 143">
              <a:extLst>
                <a:ext uri="{FF2B5EF4-FFF2-40B4-BE49-F238E27FC236}">
                  <a16:creationId xmlns:a16="http://schemas.microsoft.com/office/drawing/2014/main" id="{CCB906C1-DD9F-4E23-8634-816A1EB81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" y="4556125"/>
              <a:ext cx="12700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" name="Rectangle 144">
              <a:extLst>
                <a:ext uri="{FF2B5EF4-FFF2-40B4-BE49-F238E27FC236}">
                  <a16:creationId xmlns:a16="http://schemas.microsoft.com/office/drawing/2014/main" id="{E3610C61-FDE1-499D-96EE-F102381CE0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13" y="4592638"/>
              <a:ext cx="12700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Rectangle 145">
              <a:extLst>
                <a:ext uri="{FF2B5EF4-FFF2-40B4-BE49-F238E27FC236}">
                  <a16:creationId xmlns:a16="http://schemas.microsoft.com/office/drawing/2014/main" id="{38B4257B-8F31-4704-8E85-ED9F87E7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3" y="4592638"/>
              <a:ext cx="111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6" name="Rectangle 146">
              <a:extLst>
                <a:ext uri="{FF2B5EF4-FFF2-40B4-BE49-F238E27FC236}">
                  <a16:creationId xmlns:a16="http://schemas.microsoft.com/office/drawing/2014/main" id="{23BBAEA8-5F2C-486D-ADF5-7A68772D8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" y="4592638"/>
              <a:ext cx="12700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Rectangle 147">
              <a:extLst>
                <a:ext uri="{FF2B5EF4-FFF2-40B4-BE49-F238E27FC236}">
                  <a16:creationId xmlns:a16="http://schemas.microsoft.com/office/drawing/2014/main" id="{063E6371-4043-4A9E-95D3-94523E9815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494213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8" name="Rectangle 148">
              <a:extLst>
                <a:ext uri="{FF2B5EF4-FFF2-40B4-BE49-F238E27FC236}">
                  <a16:creationId xmlns:a16="http://schemas.microsoft.com/office/drawing/2014/main" id="{12307C7C-2968-4E86-88B0-87497936D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494213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Rectangle 149">
              <a:extLst>
                <a:ext uri="{FF2B5EF4-FFF2-40B4-BE49-F238E27FC236}">
                  <a16:creationId xmlns:a16="http://schemas.microsoft.com/office/drawing/2014/main" id="{BDD0416C-6EFF-4817-9081-9BFC919BE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530725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0" name="Rectangle 150">
              <a:extLst>
                <a:ext uri="{FF2B5EF4-FFF2-40B4-BE49-F238E27FC236}">
                  <a16:creationId xmlns:a16="http://schemas.microsoft.com/office/drawing/2014/main" id="{8BCC1F5F-C05C-4D81-88F7-93081CC51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53072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1" name="Rectangle 151">
              <a:extLst>
                <a:ext uri="{FF2B5EF4-FFF2-40B4-BE49-F238E27FC236}">
                  <a16:creationId xmlns:a16="http://schemas.microsoft.com/office/drawing/2014/main" id="{D603467A-0B70-4775-AF8B-CE7FDCDCF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567238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Rectangle 152">
              <a:extLst>
                <a:ext uri="{FF2B5EF4-FFF2-40B4-BE49-F238E27FC236}">
                  <a16:creationId xmlns:a16="http://schemas.microsoft.com/office/drawing/2014/main" id="{6E74B991-97FB-4C69-BB2B-E7D8CAB62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567238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3" name="Rectangle 153">
              <a:extLst>
                <a:ext uri="{FF2B5EF4-FFF2-40B4-BE49-F238E27FC236}">
                  <a16:creationId xmlns:a16="http://schemas.microsoft.com/office/drawing/2014/main" id="{E49A3371-C6CC-4BD6-8E26-1ED181A0D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603750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4" name="Rectangle 154">
              <a:extLst>
                <a:ext uri="{FF2B5EF4-FFF2-40B4-BE49-F238E27FC236}">
                  <a16:creationId xmlns:a16="http://schemas.microsoft.com/office/drawing/2014/main" id="{3A264D5B-D7E2-4903-AAB6-2109661B0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603750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5" name="Rectangle 155">
              <a:extLst>
                <a:ext uri="{FF2B5EF4-FFF2-40B4-BE49-F238E27FC236}">
                  <a16:creationId xmlns:a16="http://schemas.microsoft.com/office/drawing/2014/main" id="{933732F6-94F4-4135-847A-2AF8EEAD8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640263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6" name="Rectangle 156">
              <a:extLst>
                <a:ext uri="{FF2B5EF4-FFF2-40B4-BE49-F238E27FC236}">
                  <a16:creationId xmlns:a16="http://schemas.microsoft.com/office/drawing/2014/main" id="{67B744BE-D55A-4812-B208-7876B8792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640263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7" name="Rectangle 157">
              <a:extLst>
                <a:ext uri="{FF2B5EF4-FFF2-40B4-BE49-F238E27FC236}">
                  <a16:creationId xmlns:a16="http://schemas.microsoft.com/office/drawing/2014/main" id="{F053A0DE-B240-43B4-A4B5-0DC95FDA4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38" y="4676775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" name="Rectangle 158">
              <a:extLst>
                <a:ext uri="{FF2B5EF4-FFF2-40B4-BE49-F238E27FC236}">
                  <a16:creationId xmlns:a16="http://schemas.microsoft.com/office/drawing/2014/main" id="{4A71A813-E77D-4493-890B-0E149F6FE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" y="467677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" name="Rectangle 159">
              <a:extLst>
                <a:ext uri="{FF2B5EF4-FFF2-40B4-BE49-F238E27FC236}">
                  <a16:creationId xmlns:a16="http://schemas.microsoft.com/office/drawing/2014/main" id="{DB8ED0DC-2D4F-4E39-B78A-64F038BDE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13" y="4652963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" name="Rectangle 160">
              <a:extLst>
                <a:ext uri="{FF2B5EF4-FFF2-40B4-BE49-F238E27FC236}">
                  <a16:creationId xmlns:a16="http://schemas.microsoft.com/office/drawing/2014/main" id="{529B5CB7-2773-452F-97F9-864F0DAEC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3" y="4652963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Rectangle 161">
              <a:extLst>
                <a:ext uri="{FF2B5EF4-FFF2-40B4-BE49-F238E27FC236}">
                  <a16:creationId xmlns:a16="http://schemas.microsoft.com/office/drawing/2014/main" id="{24989D3C-FB14-44AA-90F3-764ED9B4A0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" y="4652963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" name="Rectangle 162">
              <a:extLst>
                <a:ext uri="{FF2B5EF4-FFF2-40B4-BE49-F238E27FC236}">
                  <a16:creationId xmlns:a16="http://schemas.microsoft.com/office/drawing/2014/main" id="{7BED28F9-561E-4127-9131-E50CA1408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13" y="468947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" name="Rectangle 163">
              <a:extLst>
                <a:ext uri="{FF2B5EF4-FFF2-40B4-BE49-F238E27FC236}">
                  <a16:creationId xmlns:a16="http://schemas.microsoft.com/office/drawing/2014/main" id="{1CE6E5E6-8ABD-4989-8DA2-C111C06F8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313" y="4689475"/>
              <a:ext cx="11113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4" name="Rectangle 164">
              <a:extLst>
                <a:ext uri="{FF2B5EF4-FFF2-40B4-BE49-F238E27FC236}">
                  <a16:creationId xmlns:a16="http://schemas.microsoft.com/office/drawing/2014/main" id="{77A0CA7F-72BD-4099-AD8F-5EE8A56FF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125" y="4689475"/>
              <a:ext cx="12700" cy="20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" name="Rectangle 165">
              <a:extLst>
                <a:ext uri="{FF2B5EF4-FFF2-40B4-BE49-F238E27FC236}">
                  <a16:creationId xmlns:a16="http://schemas.microsoft.com/office/drawing/2014/main" id="{5C28623E-72BA-4F99-9248-1CBD21C6E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416425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6" name="Rectangle 166">
              <a:extLst>
                <a:ext uri="{FF2B5EF4-FFF2-40B4-BE49-F238E27FC236}">
                  <a16:creationId xmlns:a16="http://schemas.microsoft.com/office/drawing/2014/main" id="{780D4BFE-FAC2-421A-A618-5A7750F8F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416425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7" name="Rectangle 167">
              <a:extLst>
                <a:ext uri="{FF2B5EF4-FFF2-40B4-BE49-F238E27FC236}">
                  <a16:creationId xmlns:a16="http://schemas.microsoft.com/office/drawing/2014/main" id="{7221ADFC-1E25-4EEC-A29D-320AA5BED5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441825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" name="Rectangle 168">
              <a:extLst>
                <a:ext uri="{FF2B5EF4-FFF2-40B4-BE49-F238E27FC236}">
                  <a16:creationId xmlns:a16="http://schemas.microsoft.com/office/drawing/2014/main" id="{A9EA9E24-1423-4EE6-B0E9-129FB1EBA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441825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" name="Rectangle 169">
              <a:extLst>
                <a:ext uri="{FF2B5EF4-FFF2-40B4-BE49-F238E27FC236}">
                  <a16:creationId xmlns:a16="http://schemas.microsoft.com/office/drawing/2014/main" id="{C2F6F858-CD00-451B-8821-85D93A221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462463"/>
              <a:ext cx="12700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" name="Rectangle 170">
              <a:extLst>
                <a:ext uri="{FF2B5EF4-FFF2-40B4-BE49-F238E27FC236}">
                  <a16:creationId xmlns:a16="http://schemas.microsoft.com/office/drawing/2014/main" id="{4A2A009C-9817-45A0-978A-49E4F6A10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462463"/>
              <a:ext cx="41275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1" name="Rectangle 171">
              <a:extLst>
                <a:ext uri="{FF2B5EF4-FFF2-40B4-BE49-F238E27FC236}">
                  <a16:creationId xmlns:a16="http://schemas.microsoft.com/office/drawing/2014/main" id="{AC4F60FD-E22C-42D2-8B81-197333E36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498975"/>
              <a:ext cx="12700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2" name="Rectangle 172">
              <a:extLst>
                <a:ext uri="{FF2B5EF4-FFF2-40B4-BE49-F238E27FC236}">
                  <a16:creationId xmlns:a16="http://schemas.microsoft.com/office/drawing/2014/main" id="{50B955E9-14B5-43D1-965E-A6852D3B9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498975"/>
              <a:ext cx="41275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3" name="Rectangle 173">
              <a:extLst>
                <a:ext uri="{FF2B5EF4-FFF2-40B4-BE49-F238E27FC236}">
                  <a16:creationId xmlns:a16="http://schemas.microsoft.com/office/drawing/2014/main" id="{757FD73D-DD1C-400B-AA62-591DBD45D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522788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4" name="Rectangle 174">
              <a:extLst>
                <a:ext uri="{FF2B5EF4-FFF2-40B4-BE49-F238E27FC236}">
                  <a16:creationId xmlns:a16="http://schemas.microsoft.com/office/drawing/2014/main" id="{2B8F7EFF-DF16-4439-9EEA-8923D5D281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522788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5" name="Rectangle 175">
              <a:extLst>
                <a:ext uri="{FF2B5EF4-FFF2-40B4-BE49-F238E27FC236}">
                  <a16:creationId xmlns:a16="http://schemas.microsoft.com/office/drawing/2014/main" id="{BE8703FE-81B1-4B6C-8E09-8E47A9222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546600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6" name="Rectangle 176">
              <a:extLst>
                <a:ext uri="{FF2B5EF4-FFF2-40B4-BE49-F238E27FC236}">
                  <a16:creationId xmlns:a16="http://schemas.microsoft.com/office/drawing/2014/main" id="{18FCF0D5-1324-4DAC-B686-E0112D5AD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546600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7" name="Rectangle 177">
              <a:extLst>
                <a:ext uri="{FF2B5EF4-FFF2-40B4-BE49-F238E27FC236}">
                  <a16:creationId xmlns:a16="http://schemas.microsoft.com/office/drawing/2014/main" id="{A6964055-A635-4639-9F61-A9C931634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583113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8" name="Rectangle 178">
              <a:extLst>
                <a:ext uri="{FF2B5EF4-FFF2-40B4-BE49-F238E27FC236}">
                  <a16:creationId xmlns:a16="http://schemas.microsoft.com/office/drawing/2014/main" id="{8707A46E-78FA-4AE8-B48F-CAA5CAB001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583113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9" name="Rectangle 179">
              <a:extLst>
                <a:ext uri="{FF2B5EF4-FFF2-40B4-BE49-F238E27FC236}">
                  <a16:creationId xmlns:a16="http://schemas.microsoft.com/office/drawing/2014/main" id="{F8C7C677-7902-4730-9BED-8D7B74E1FE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608513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Rectangle 180">
              <a:extLst>
                <a:ext uri="{FF2B5EF4-FFF2-40B4-BE49-F238E27FC236}">
                  <a16:creationId xmlns:a16="http://schemas.microsoft.com/office/drawing/2014/main" id="{594F2556-5ADB-4762-AAB0-916830C435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608513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Rectangle 181">
              <a:extLst>
                <a:ext uri="{FF2B5EF4-FFF2-40B4-BE49-F238E27FC236}">
                  <a16:creationId xmlns:a16="http://schemas.microsoft.com/office/drawing/2014/main" id="{B9D79E05-141F-4592-8672-E0E1D64B7C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632325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Rectangle 182">
              <a:extLst>
                <a:ext uri="{FF2B5EF4-FFF2-40B4-BE49-F238E27FC236}">
                  <a16:creationId xmlns:a16="http://schemas.microsoft.com/office/drawing/2014/main" id="{324C8DEF-576D-4388-B327-1E1DB80E40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632325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Rectangle 183">
              <a:extLst>
                <a:ext uri="{FF2B5EF4-FFF2-40B4-BE49-F238E27FC236}">
                  <a16:creationId xmlns:a16="http://schemas.microsoft.com/office/drawing/2014/main" id="{8ABF3B28-EDF4-41E2-AD39-30E1ED7C64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668838"/>
              <a:ext cx="12700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Rectangle 184">
              <a:extLst>
                <a:ext uri="{FF2B5EF4-FFF2-40B4-BE49-F238E27FC236}">
                  <a16:creationId xmlns:a16="http://schemas.microsoft.com/office/drawing/2014/main" id="{19E87BB8-E870-4AEC-85C0-FFF4D5E46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668838"/>
              <a:ext cx="41275" cy="79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Rectangle 185">
              <a:extLst>
                <a:ext uri="{FF2B5EF4-FFF2-40B4-BE49-F238E27FC236}">
                  <a16:creationId xmlns:a16="http://schemas.microsoft.com/office/drawing/2014/main" id="{7989AC5C-5A07-4D29-9B34-D6EEADC89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575" y="4689475"/>
              <a:ext cx="1270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Rectangle 186">
              <a:extLst>
                <a:ext uri="{FF2B5EF4-FFF2-40B4-BE49-F238E27FC236}">
                  <a16:creationId xmlns:a16="http://schemas.microsoft.com/office/drawing/2014/main" id="{F30358EC-C78C-45A3-B307-2CD62CDAF4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" y="4689475"/>
              <a:ext cx="41275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Freeform 187">
              <a:extLst>
                <a:ext uri="{FF2B5EF4-FFF2-40B4-BE49-F238E27FC236}">
                  <a16:creationId xmlns:a16="http://schemas.microsoft.com/office/drawing/2014/main" id="{63ED3424-C2E1-4F18-BEF0-DB5470A9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4360863"/>
              <a:ext cx="84138" cy="76200"/>
            </a:xfrm>
            <a:custGeom>
              <a:avLst/>
              <a:gdLst>
                <a:gd name="T0" fmla="*/ 5 w 53"/>
                <a:gd name="T1" fmla="*/ 33 h 48"/>
                <a:gd name="T2" fmla="*/ 0 w 53"/>
                <a:gd name="T3" fmla="*/ 38 h 48"/>
                <a:gd name="T4" fmla="*/ 10 w 53"/>
                <a:gd name="T5" fmla="*/ 48 h 48"/>
                <a:gd name="T6" fmla="*/ 53 w 53"/>
                <a:gd name="T7" fmla="*/ 5 h 48"/>
                <a:gd name="T8" fmla="*/ 48 w 53"/>
                <a:gd name="T9" fmla="*/ 0 h 48"/>
                <a:gd name="T10" fmla="*/ 10 w 53"/>
                <a:gd name="T11" fmla="*/ 38 h 48"/>
                <a:gd name="T12" fmla="*/ 5 w 53"/>
                <a:gd name="T13" fmla="*/ 3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8">
                  <a:moveTo>
                    <a:pt x="5" y="33"/>
                  </a:moveTo>
                  <a:lnTo>
                    <a:pt x="0" y="38"/>
                  </a:lnTo>
                  <a:lnTo>
                    <a:pt x="10" y="48"/>
                  </a:lnTo>
                  <a:lnTo>
                    <a:pt x="53" y="5"/>
                  </a:lnTo>
                  <a:lnTo>
                    <a:pt x="48" y="0"/>
                  </a:lnTo>
                  <a:lnTo>
                    <a:pt x="10" y="38"/>
                  </a:lnTo>
                  <a:lnTo>
                    <a:pt x="5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Freeform 188">
              <a:extLst>
                <a:ext uri="{FF2B5EF4-FFF2-40B4-BE49-F238E27FC236}">
                  <a16:creationId xmlns:a16="http://schemas.microsoft.com/office/drawing/2014/main" id="{14EFFDE9-E72D-4703-9F60-628869AD3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688" y="4360863"/>
              <a:ext cx="104775" cy="104775"/>
            </a:xfrm>
            <a:custGeom>
              <a:avLst/>
              <a:gdLst>
                <a:gd name="T0" fmla="*/ 66 w 66"/>
                <a:gd name="T1" fmla="*/ 30 h 66"/>
                <a:gd name="T2" fmla="*/ 59 w 66"/>
                <a:gd name="T3" fmla="*/ 30 h 66"/>
                <a:gd name="T4" fmla="*/ 59 w 66"/>
                <a:gd name="T5" fmla="*/ 59 h 66"/>
                <a:gd name="T6" fmla="*/ 7 w 66"/>
                <a:gd name="T7" fmla="*/ 59 h 66"/>
                <a:gd name="T8" fmla="*/ 7 w 66"/>
                <a:gd name="T9" fmla="*/ 7 h 66"/>
                <a:gd name="T10" fmla="*/ 43 w 66"/>
                <a:gd name="T11" fmla="*/ 7 h 66"/>
                <a:gd name="T12" fmla="*/ 43 w 66"/>
                <a:gd name="T13" fmla="*/ 0 h 66"/>
                <a:gd name="T14" fmla="*/ 0 w 66"/>
                <a:gd name="T15" fmla="*/ 0 h 66"/>
                <a:gd name="T16" fmla="*/ 0 w 66"/>
                <a:gd name="T17" fmla="*/ 66 h 66"/>
                <a:gd name="T18" fmla="*/ 66 w 66"/>
                <a:gd name="T19" fmla="*/ 66 h 66"/>
                <a:gd name="T20" fmla="*/ 66 w 66"/>
                <a:gd name="T21" fmla="*/ 3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66">
                  <a:moveTo>
                    <a:pt x="66" y="30"/>
                  </a:moveTo>
                  <a:lnTo>
                    <a:pt x="59" y="30"/>
                  </a:lnTo>
                  <a:lnTo>
                    <a:pt x="59" y="59"/>
                  </a:lnTo>
                  <a:lnTo>
                    <a:pt x="7" y="59"/>
                  </a:lnTo>
                  <a:lnTo>
                    <a:pt x="7" y="7"/>
                  </a:lnTo>
                  <a:lnTo>
                    <a:pt x="43" y="7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66" y="66"/>
                  </a:lnTo>
                  <a:lnTo>
                    <a:pt x="66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Freeform 189">
              <a:extLst>
                <a:ext uri="{FF2B5EF4-FFF2-40B4-BE49-F238E27FC236}">
                  <a16:creationId xmlns:a16="http://schemas.microsoft.com/office/drawing/2014/main" id="{3309EB29-FCAE-4C5E-B1F2-74BBCF3E7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4486275"/>
              <a:ext cx="84138" cy="77788"/>
            </a:xfrm>
            <a:custGeom>
              <a:avLst/>
              <a:gdLst>
                <a:gd name="T0" fmla="*/ 10 w 53"/>
                <a:gd name="T1" fmla="*/ 38 h 49"/>
                <a:gd name="T2" fmla="*/ 5 w 53"/>
                <a:gd name="T3" fmla="*/ 33 h 49"/>
                <a:gd name="T4" fmla="*/ 0 w 53"/>
                <a:gd name="T5" fmla="*/ 38 h 49"/>
                <a:gd name="T6" fmla="*/ 10 w 53"/>
                <a:gd name="T7" fmla="*/ 49 h 49"/>
                <a:gd name="T8" fmla="*/ 53 w 53"/>
                <a:gd name="T9" fmla="*/ 5 h 49"/>
                <a:gd name="T10" fmla="*/ 48 w 53"/>
                <a:gd name="T11" fmla="*/ 0 h 49"/>
                <a:gd name="T12" fmla="*/ 10 w 53"/>
                <a:gd name="T13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9">
                  <a:moveTo>
                    <a:pt x="10" y="38"/>
                  </a:moveTo>
                  <a:lnTo>
                    <a:pt x="5" y="33"/>
                  </a:lnTo>
                  <a:lnTo>
                    <a:pt x="0" y="38"/>
                  </a:lnTo>
                  <a:lnTo>
                    <a:pt x="10" y="49"/>
                  </a:lnTo>
                  <a:lnTo>
                    <a:pt x="53" y="5"/>
                  </a:lnTo>
                  <a:lnTo>
                    <a:pt x="48" y="0"/>
                  </a:lnTo>
                  <a:lnTo>
                    <a:pt x="10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Freeform 190">
              <a:extLst>
                <a:ext uri="{FF2B5EF4-FFF2-40B4-BE49-F238E27FC236}">
                  <a16:creationId xmlns:a16="http://schemas.microsoft.com/office/drawing/2014/main" id="{2CFDE5EC-8C2D-4C24-8B31-081681C4D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688" y="4486275"/>
              <a:ext cx="104775" cy="101600"/>
            </a:xfrm>
            <a:custGeom>
              <a:avLst/>
              <a:gdLst>
                <a:gd name="T0" fmla="*/ 59 w 66"/>
                <a:gd name="T1" fmla="*/ 59 h 64"/>
                <a:gd name="T2" fmla="*/ 7 w 66"/>
                <a:gd name="T3" fmla="*/ 59 h 64"/>
                <a:gd name="T4" fmla="*/ 7 w 66"/>
                <a:gd name="T5" fmla="*/ 8 h 64"/>
                <a:gd name="T6" fmla="*/ 43 w 66"/>
                <a:gd name="T7" fmla="*/ 8 h 64"/>
                <a:gd name="T8" fmla="*/ 43 w 66"/>
                <a:gd name="T9" fmla="*/ 0 h 64"/>
                <a:gd name="T10" fmla="*/ 0 w 66"/>
                <a:gd name="T11" fmla="*/ 0 h 64"/>
                <a:gd name="T12" fmla="*/ 0 w 66"/>
                <a:gd name="T13" fmla="*/ 64 h 64"/>
                <a:gd name="T14" fmla="*/ 66 w 66"/>
                <a:gd name="T15" fmla="*/ 64 h 64"/>
                <a:gd name="T16" fmla="*/ 66 w 66"/>
                <a:gd name="T17" fmla="*/ 31 h 64"/>
                <a:gd name="T18" fmla="*/ 59 w 66"/>
                <a:gd name="T19" fmla="*/ 31 h 64"/>
                <a:gd name="T20" fmla="*/ 59 w 66"/>
                <a:gd name="T21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64">
                  <a:moveTo>
                    <a:pt x="59" y="59"/>
                  </a:moveTo>
                  <a:lnTo>
                    <a:pt x="7" y="59"/>
                  </a:lnTo>
                  <a:lnTo>
                    <a:pt x="7" y="8"/>
                  </a:lnTo>
                  <a:lnTo>
                    <a:pt x="43" y="8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66" y="64"/>
                  </a:lnTo>
                  <a:lnTo>
                    <a:pt x="66" y="31"/>
                  </a:lnTo>
                  <a:lnTo>
                    <a:pt x="59" y="31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Freeform 191">
              <a:extLst>
                <a:ext uri="{FF2B5EF4-FFF2-40B4-BE49-F238E27FC236}">
                  <a16:creationId xmlns:a16="http://schemas.microsoft.com/office/drawing/2014/main" id="{4A540C52-D9F5-468B-9163-2A42F0978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8688" y="4611688"/>
              <a:ext cx="104775" cy="101600"/>
            </a:xfrm>
            <a:custGeom>
              <a:avLst/>
              <a:gdLst>
                <a:gd name="T0" fmla="*/ 7 w 66"/>
                <a:gd name="T1" fmla="*/ 8 h 64"/>
                <a:gd name="T2" fmla="*/ 59 w 66"/>
                <a:gd name="T3" fmla="*/ 8 h 64"/>
                <a:gd name="T4" fmla="*/ 59 w 66"/>
                <a:gd name="T5" fmla="*/ 57 h 64"/>
                <a:gd name="T6" fmla="*/ 7 w 66"/>
                <a:gd name="T7" fmla="*/ 57 h 64"/>
                <a:gd name="T8" fmla="*/ 7 w 66"/>
                <a:gd name="T9" fmla="*/ 8 h 64"/>
                <a:gd name="T10" fmla="*/ 0 w 66"/>
                <a:gd name="T11" fmla="*/ 64 h 64"/>
                <a:gd name="T12" fmla="*/ 66 w 66"/>
                <a:gd name="T13" fmla="*/ 64 h 64"/>
                <a:gd name="T14" fmla="*/ 66 w 66"/>
                <a:gd name="T15" fmla="*/ 0 h 64"/>
                <a:gd name="T16" fmla="*/ 0 w 66"/>
                <a:gd name="T17" fmla="*/ 0 h 64"/>
                <a:gd name="T18" fmla="*/ 0 w 66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4">
                  <a:moveTo>
                    <a:pt x="7" y="8"/>
                  </a:moveTo>
                  <a:lnTo>
                    <a:pt x="59" y="8"/>
                  </a:lnTo>
                  <a:lnTo>
                    <a:pt x="59" y="57"/>
                  </a:lnTo>
                  <a:lnTo>
                    <a:pt x="7" y="57"/>
                  </a:lnTo>
                  <a:lnTo>
                    <a:pt x="7" y="8"/>
                  </a:lnTo>
                  <a:close/>
                  <a:moveTo>
                    <a:pt x="0" y="64"/>
                  </a:moveTo>
                  <a:lnTo>
                    <a:pt x="66" y="64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0" name="Group 609">
            <a:extLst>
              <a:ext uri="{FF2B5EF4-FFF2-40B4-BE49-F238E27FC236}">
                <a16:creationId xmlns:a16="http://schemas.microsoft.com/office/drawing/2014/main" id="{5C868475-17CA-48D2-BC50-408B1630E08B}"/>
              </a:ext>
            </a:extLst>
          </p:cNvPr>
          <p:cNvGrpSpPr/>
          <p:nvPr/>
        </p:nvGrpSpPr>
        <p:grpSpPr>
          <a:xfrm>
            <a:off x="3597275" y="4145757"/>
            <a:ext cx="758825" cy="758825"/>
            <a:chOff x="3597275" y="4138613"/>
            <a:chExt cx="758825" cy="758825"/>
          </a:xfrm>
        </p:grpSpPr>
        <p:sp>
          <p:nvSpPr>
            <p:cNvPr id="606" name="AutoShape 193">
              <a:extLst>
                <a:ext uri="{FF2B5EF4-FFF2-40B4-BE49-F238E27FC236}">
                  <a16:creationId xmlns:a16="http://schemas.microsoft.com/office/drawing/2014/main" id="{BBD8C2BE-B60F-4EA5-A461-93B2F07F1D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7275" y="41386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" name="Freeform 195">
              <a:extLst>
                <a:ext uri="{FF2B5EF4-FFF2-40B4-BE49-F238E27FC236}">
                  <a16:creationId xmlns:a16="http://schemas.microsoft.com/office/drawing/2014/main" id="{944FEC10-6446-4594-9E9B-43702A68B6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0450" y="414178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8" name="Freeform 196">
              <a:extLst>
                <a:ext uri="{FF2B5EF4-FFF2-40B4-BE49-F238E27FC236}">
                  <a16:creationId xmlns:a16="http://schemas.microsoft.com/office/drawing/2014/main" id="{E3E4EDD7-7988-4581-A07B-BC33505A1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663" y="4291013"/>
              <a:ext cx="404813" cy="458788"/>
            </a:xfrm>
            <a:custGeom>
              <a:avLst/>
              <a:gdLst>
                <a:gd name="T0" fmla="*/ 233 w 255"/>
                <a:gd name="T1" fmla="*/ 255 h 289"/>
                <a:gd name="T2" fmla="*/ 189 w 255"/>
                <a:gd name="T3" fmla="*/ 242 h 289"/>
                <a:gd name="T4" fmla="*/ 29 w 255"/>
                <a:gd name="T5" fmla="*/ 262 h 289"/>
                <a:gd name="T6" fmla="*/ 41 w 255"/>
                <a:gd name="T7" fmla="*/ 218 h 289"/>
                <a:gd name="T8" fmla="*/ 29 w 255"/>
                <a:gd name="T9" fmla="*/ 262 h 289"/>
                <a:gd name="T10" fmla="*/ 73 w 255"/>
                <a:gd name="T11" fmla="*/ 262 h 289"/>
                <a:gd name="T12" fmla="*/ 61 w 255"/>
                <a:gd name="T13" fmla="*/ 218 h 289"/>
                <a:gd name="T14" fmla="*/ 90 w 255"/>
                <a:gd name="T15" fmla="*/ 262 h 289"/>
                <a:gd name="T16" fmla="*/ 103 w 255"/>
                <a:gd name="T17" fmla="*/ 218 h 289"/>
                <a:gd name="T18" fmla="*/ 90 w 255"/>
                <a:gd name="T19" fmla="*/ 262 h 289"/>
                <a:gd name="T20" fmla="*/ 233 w 255"/>
                <a:gd name="T21" fmla="*/ 225 h 289"/>
                <a:gd name="T22" fmla="*/ 189 w 255"/>
                <a:gd name="T23" fmla="*/ 213 h 289"/>
                <a:gd name="T24" fmla="*/ 44 w 255"/>
                <a:gd name="T25" fmla="*/ 196 h 289"/>
                <a:gd name="T26" fmla="*/ 88 w 255"/>
                <a:gd name="T27" fmla="*/ 183 h 289"/>
                <a:gd name="T28" fmla="*/ 44 w 255"/>
                <a:gd name="T29" fmla="*/ 196 h 289"/>
                <a:gd name="T30" fmla="*/ 233 w 255"/>
                <a:gd name="T31" fmla="*/ 196 h 289"/>
                <a:gd name="T32" fmla="*/ 189 w 255"/>
                <a:gd name="T33" fmla="*/ 183 h 289"/>
                <a:gd name="T34" fmla="*/ 44 w 255"/>
                <a:gd name="T35" fmla="*/ 166 h 289"/>
                <a:gd name="T36" fmla="*/ 88 w 255"/>
                <a:gd name="T37" fmla="*/ 154 h 289"/>
                <a:gd name="T38" fmla="*/ 44 w 255"/>
                <a:gd name="T39" fmla="*/ 166 h 289"/>
                <a:gd name="T40" fmla="*/ 88 w 255"/>
                <a:gd name="T41" fmla="*/ 137 h 289"/>
                <a:gd name="T42" fmla="*/ 44 w 255"/>
                <a:gd name="T43" fmla="*/ 125 h 289"/>
                <a:gd name="T44" fmla="*/ 29 w 255"/>
                <a:gd name="T45" fmla="*/ 105 h 289"/>
                <a:gd name="T46" fmla="*/ 41 w 255"/>
                <a:gd name="T47" fmla="*/ 63 h 289"/>
                <a:gd name="T48" fmla="*/ 29 w 255"/>
                <a:gd name="T49" fmla="*/ 105 h 289"/>
                <a:gd name="T50" fmla="*/ 73 w 255"/>
                <a:gd name="T51" fmla="*/ 105 h 289"/>
                <a:gd name="T52" fmla="*/ 61 w 255"/>
                <a:gd name="T53" fmla="*/ 63 h 289"/>
                <a:gd name="T54" fmla="*/ 90 w 255"/>
                <a:gd name="T55" fmla="*/ 105 h 289"/>
                <a:gd name="T56" fmla="*/ 103 w 255"/>
                <a:gd name="T57" fmla="*/ 63 h 289"/>
                <a:gd name="T58" fmla="*/ 90 w 255"/>
                <a:gd name="T59" fmla="*/ 105 h 289"/>
                <a:gd name="T60" fmla="*/ 245 w 255"/>
                <a:gd name="T61" fmla="*/ 161 h 289"/>
                <a:gd name="T62" fmla="*/ 176 w 255"/>
                <a:gd name="T63" fmla="*/ 279 h 289"/>
                <a:gd name="T64" fmla="*/ 10 w 255"/>
                <a:gd name="T65" fmla="*/ 46 h 289"/>
                <a:gd name="T66" fmla="*/ 122 w 255"/>
                <a:gd name="T67" fmla="*/ 279 h 289"/>
                <a:gd name="T68" fmla="*/ 10 w 255"/>
                <a:gd name="T69" fmla="*/ 46 h 289"/>
                <a:gd name="T70" fmla="*/ 164 w 255"/>
                <a:gd name="T71" fmla="*/ 9 h 289"/>
                <a:gd name="T72" fmla="*/ 135 w 255"/>
                <a:gd name="T73" fmla="*/ 279 h 289"/>
                <a:gd name="T74" fmla="*/ 135 w 255"/>
                <a:gd name="T75" fmla="*/ 34 h 289"/>
                <a:gd name="T76" fmla="*/ 51 w 255"/>
                <a:gd name="T77" fmla="*/ 34 h 289"/>
                <a:gd name="T78" fmla="*/ 41 w 255"/>
                <a:gd name="T79" fmla="*/ 0 h 289"/>
                <a:gd name="T80" fmla="*/ 41 w 255"/>
                <a:gd name="T81" fmla="*/ 34 h 289"/>
                <a:gd name="T82" fmla="*/ 0 w 255"/>
                <a:gd name="T83" fmla="*/ 34 h 289"/>
                <a:gd name="T84" fmla="*/ 0 w 255"/>
                <a:gd name="T85" fmla="*/ 284 h 289"/>
                <a:gd name="T86" fmla="*/ 5 w 255"/>
                <a:gd name="T87" fmla="*/ 289 h 289"/>
                <a:gd name="T88" fmla="*/ 255 w 255"/>
                <a:gd name="T89" fmla="*/ 289 h 289"/>
                <a:gd name="T90" fmla="*/ 252 w 255"/>
                <a:gd name="T91" fmla="*/ 152 h 289"/>
                <a:gd name="T92" fmla="*/ 176 w 255"/>
                <a:gd name="T93" fmla="*/ 4 h 289"/>
                <a:gd name="T94" fmla="*/ 41 w 255"/>
                <a:gd name="T95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5" h="289">
                  <a:moveTo>
                    <a:pt x="189" y="255"/>
                  </a:moveTo>
                  <a:lnTo>
                    <a:pt x="233" y="255"/>
                  </a:lnTo>
                  <a:lnTo>
                    <a:pt x="233" y="242"/>
                  </a:lnTo>
                  <a:lnTo>
                    <a:pt x="189" y="242"/>
                  </a:lnTo>
                  <a:lnTo>
                    <a:pt x="189" y="255"/>
                  </a:lnTo>
                  <a:close/>
                  <a:moveTo>
                    <a:pt x="29" y="262"/>
                  </a:moveTo>
                  <a:lnTo>
                    <a:pt x="41" y="262"/>
                  </a:lnTo>
                  <a:lnTo>
                    <a:pt x="41" y="218"/>
                  </a:lnTo>
                  <a:lnTo>
                    <a:pt x="29" y="218"/>
                  </a:lnTo>
                  <a:lnTo>
                    <a:pt x="29" y="262"/>
                  </a:lnTo>
                  <a:close/>
                  <a:moveTo>
                    <a:pt x="61" y="262"/>
                  </a:moveTo>
                  <a:lnTo>
                    <a:pt x="73" y="262"/>
                  </a:lnTo>
                  <a:lnTo>
                    <a:pt x="73" y="218"/>
                  </a:lnTo>
                  <a:lnTo>
                    <a:pt x="61" y="218"/>
                  </a:lnTo>
                  <a:lnTo>
                    <a:pt x="61" y="262"/>
                  </a:lnTo>
                  <a:close/>
                  <a:moveTo>
                    <a:pt x="90" y="262"/>
                  </a:moveTo>
                  <a:lnTo>
                    <a:pt x="103" y="262"/>
                  </a:lnTo>
                  <a:lnTo>
                    <a:pt x="103" y="218"/>
                  </a:lnTo>
                  <a:lnTo>
                    <a:pt x="90" y="218"/>
                  </a:lnTo>
                  <a:lnTo>
                    <a:pt x="90" y="262"/>
                  </a:lnTo>
                  <a:close/>
                  <a:moveTo>
                    <a:pt x="189" y="225"/>
                  </a:moveTo>
                  <a:lnTo>
                    <a:pt x="233" y="225"/>
                  </a:lnTo>
                  <a:lnTo>
                    <a:pt x="233" y="213"/>
                  </a:lnTo>
                  <a:lnTo>
                    <a:pt x="189" y="213"/>
                  </a:lnTo>
                  <a:lnTo>
                    <a:pt x="189" y="225"/>
                  </a:lnTo>
                  <a:close/>
                  <a:moveTo>
                    <a:pt x="44" y="196"/>
                  </a:moveTo>
                  <a:lnTo>
                    <a:pt x="88" y="196"/>
                  </a:lnTo>
                  <a:lnTo>
                    <a:pt x="88" y="183"/>
                  </a:lnTo>
                  <a:lnTo>
                    <a:pt x="44" y="183"/>
                  </a:lnTo>
                  <a:lnTo>
                    <a:pt x="44" y="196"/>
                  </a:lnTo>
                  <a:close/>
                  <a:moveTo>
                    <a:pt x="189" y="196"/>
                  </a:moveTo>
                  <a:lnTo>
                    <a:pt x="233" y="196"/>
                  </a:lnTo>
                  <a:lnTo>
                    <a:pt x="233" y="183"/>
                  </a:lnTo>
                  <a:lnTo>
                    <a:pt x="189" y="183"/>
                  </a:lnTo>
                  <a:lnTo>
                    <a:pt x="189" y="196"/>
                  </a:lnTo>
                  <a:close/>
                  <a:moveTo>
                    <a:pt x="44" y="166"/>
                  </a:moveTo>
                  <a:lnTo>
                    <a:pt x="88" y="166"/>
                  </a:lnTo>
                  <a:lnTo>
                    <a:pt x="88" y="154"/>
                  </a:lnTo>
                  <a:lnTo>
                    <a:pt x="44" y="154"/>
                  </a:lnTo>
                  <a:lnTo>
                    <a:pt x="44" y="166"/>
                  </a:lnTo>
                  <a:close/>
                  <a:moveTo>
                    <a:pt x="44" y="137"/>
                  </a:moveTo>
                  <a:lnTo>
                    <a:pt x="88" y="137"/>
                  </a:lnTo>
                  <a:lnTo>
                    <a:pt x="88" y="125"/>
                  </a:lnTo>
                  <a:lnTo>
                    <a:pt x="44" y="125"/>
                  </a:lnTo>
                  <a:lnTo>
                    <a:pt x="44" y="137"/>
                  </a:lnTo>
                  <a:close/>
                  <a:moveTo>
                    <a:pt x="29" y="105"/>
                  </a:moveTo>
                  <a:lnTo>
                    <a:pt x="41" y="105"/>
                  </a:lnTo>
                  <a:lnTo>
                    <a:pt x="41" y="63"/>
                  </a:lnTo>
                  <a:lnTo>
                    <a:pt x="29" y="63"/>
                  </a:lnTo>
                  <a:lnTo>
                    <a:pt x="29" y="105"/>
                  </a:lnTo>
                  <a:close/>
                  <a:moveTo>
                    <a:pt x="61" y="105"/>
                  </a:moveTo>
                  <a:lnTo>
                    <a:pt x="73" y="105"/>
                  </a:lnTo>
                  <a:lnTo>
                    <a:pt x="73" y="63"/>
                  </a:lnTo>
                  <a:lnTo>
                    <a:pt x="61" y="63"/>
                  </a:lnTo>
                  <a:lnTo>
                    <a:pt x="61" y="105"/>
                  </a:lnTo>
                  <a:close/>
                  <a:moveTo>
                    <a:pt x="90" y="105"/>
                  </a:moveTo>
                  <a:lnTo>
                    <a:pt x="103" y="105"/>
                  </a:lnTo>
                  <a:lnTo>
                    <a:pt x="103" y="63"/>
                  </a:lnTo>
                  <a:lnTo>
                    <a:pt x="90" y="63"/>
                  </a:lnTo>
                  <a:lnTo>
                    <a:pt x="90" y="105"/>
                  </a:lnTo>
                  <a:close/>
                  <a:moveTo>
                    <a:pt x="176" y="144"/>
                  </a:moveTo>
                  <a:lnTo>
                    <a:pt x="245" y="161"/>
                  </a:lnTo>
                  <a:lnTo>
                    <a:pt x="245" y="279"/>
                  </a:lnTo>
                  <a:lnTo>
                    <a:pt x="176" y="279"/>
                  </a:lnTo>
                  <a:lnTo>
                    <a:pt x="176" y="144"/>
                  </a:lnTo>
                  <a:close/>
                  <a:moveTo>
                    <a:pt x="10" y="46"/>
                  </a:moveTo>
                  <a:lnTo>
                    <a:pt x="122" y="46"/>
                  </a:lnTo>
                  <a:lnTo>
                    <a:pt x="122" y="279"/>
                  </a:lnTo>
                  <a:lnTo>
                    <a:pt x="10" y="279"/>
                  </a:lnTo>
                  <a:lnTo>
                    <a:pt x="10" y="46"/>
                  </a:lnTo>
                  <a:close/>
                  <a:moveTo>
                    <a:pt x="51" y="9"/>
                  </a:moveTo>
                  <a:lnTo>
                    <a:pt x="164" y="9"/>
                  </a:lnTo>
                  <a:lnTo>
                    <a:pt x="164" y="279"/>
                  </a:lnTo>
                  <a:lnTo>
                    <a:pt x="135" y="279"/>
                  </a:lnTo>
                  <a:lnTo>
                    <a:pt x="135" y="41"/>
                  </a:lnTo>
                  <a:lnTo>
                    <a:pt x="135" y="34"/>
                  </a:lnTo>
                  <a:lnTo>
                    <a:pt x="130" y="34"/>
                  </a:lnTo>
                  <a:lnTo>
                    <a:pt x="51" y="34"/>
                  </a:lnTo>
                  <a:lnTo>
                    <a:pt x="51" y="9"/>
                  </a:lnTo>
                  <a:close/>
                  <a:moveTo>
                    <a:pt x="41" y="0"/>
                  </a:moveTo>
                  <a:lnTo>
                    <a:pt x="41" y="4"/>
                  </a:lnTo>
                  <a:lnTo>
                    <a:pt x="41" y="34"/>
                  </a:lnTo>
                  <a:lnTo>
                    <a:pt x="5" y="34"/>
                  </a:lnTo>
                  <a:lnTo>
                    <a:pt x="0" y="34"/>
                  </a:lnTo>
                  <a:lnTo>
                    <a:pt x="0" y="41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5" y="289"/>
                  </a:lnTo>
                  <a:lnTo>
                    <a:pt x="250" y="289"/>
                  </a:lnTo>
                  <a:lnTo>
                    <a:pt x="255" y="289"/>
                  </a:lnTo>
                  <a:lnTo>
                    <a:pt x="255" y="154"/>
                  </a:lnTo>
                  <a:lnTo>
                    <a:pt x="252" y="152"/>
                  </a:lnTo>
                  <a:lnTo>
                    <a:pt x="176" y="132"/>
                  </a:lnTo>
                  <a:lnTo>
                    <a:pt x="176" y="4"/>
                  </a:lnTo>
                  <a:lnTo>
                    <a:pt x="176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9" name="Freeform 197">
              <a:extLst>
                <a:ext uri="{FF2B5EF4-FFF2-40B4-BE49-F238E27FC236}">
                  <a16:creationId xmlns:a16="http://schemas.microsoft.com/office/drawing/2014/main" id="{0DC283D7-9D54-422C-8F32-4146CBB37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663" y="4291013"/>
              <a:ext cx="404813" cy="458788"/>
            </a:xfrm>
            <a:custGeom>
              <a:avLst/>
              <a:gdLst>
                <a:gd name="T0" fmla="*/ 233 w 255"/>
                <a:gd name="T1" fmla="*/ 255 h 289"/>
                <a:gd name="T2" fmla="*/ 189 w 255"/>
                <a:gd name="T3" fmla="*/ 242 h 289"/>
                <a:gd name="T4" fmla="*/ 29 w 255"/>
                <a:gd name="T5" fmla="*/ 262 h 289"/>
                <a:gd name="T6" fmla="*/ 41 w 255"/>
                <a:gd name="T7" fmla="*/ 218 h 289"/>
                <a:gd name="T8" fmla="*/ 29 w 255"/>
                <a:gd name="T9" fmla="*/ 262 h 289"/>
                <a:gd name="T10" fmla="*/ 73 w 255"/>
                <a:gd name="T11" fmla="*/ 262 h 289"/>
                <a:gd name="T12" fmla="*/ 61 w 255"/>
                <a:gd name="T13" fmla="*/ 218 h 289"/>
                <a:gd name="T14" fmla="*/ 90 w 255"/>
                <a:gd name="T15" fmla="*/ 262 h 289"/>
                <a:gd name="T16" fmla="*/ 103 w 255"/>
                <a:gd name="T17" fmla="*/ 218 h 289"/>
                <a:gd name="T18" fmla="*/ 90 w 255"/>
                <a:gd name="T19" fmla="*/ 262 h 289"/>
                <a:gd name="T20" fmla="*/ 233 w 255"/>
                <a:gd name="T21" fmla="*/ 225 h 289"/>
                <a:gd name="T22" fmla="*/ 189 w 255"/>
                <a:gd name="T23" fmla="*/ 213 h 289"/>
                <a:gd name="T24" fmla="*/ 44 w 255"/>
                <a:gd name="T25" fmla="*/ 196 h 289"/>
                <a:gd name="T26" fmla="*/ 88 w 255"/>
                <a:gd name="T27" fmla="*/ 183 h 289"/>
                <a:gd name="T28" fmla="*/ 44 w 255"/>
                <a:gd name="T29" fmla="*/ 196 h 289"/>
                <a:gd name="T30" fmla="*/ 233 w 255"/>
                <a:gd name="T31" fmla="*/ 196 h 289"/>
                <a:gd name="T32" fmla="*/ 189 w 255"/>
                <a:gd name="T33" fmla="*/ 183 h 289"/>
                <a:gd name="T34" fmla="*/ 44 w 255"/>
                <a:gd name="T35" fmla="*/ 166 h 289"/>
                <a:gd name="T36" fmla="*/ 88 w 255"/>
                <a:gd name="T37" fmla="*/ 154 h 289"/>
                <a:gd name="T38" fmla="*/ 44 w 255"/>
                <a:gd name="T39" fmla="*/ 166 h 289"/>
                <a:gd name="T40" fmla="*/ 88 w 255"/>
                <a:gd name="T41" fmla="*/ 137 h 289"/>
                <a:gd name="T42" fmla="*/ 44 w 255"/>
                <a:gd name="T43" fmla="*/ 125 h 289"/>
                <a:gd name="T44" fmla="*/ 29 w 255"/>
                <a:gd name="T45" fmla="*/ 105 h 289"/>
                <a:gd name="T46" fmla="*/ 41 w 255"/>
                <a:gd name="T47" fmla="*/ 63 h 289"/>
                <a:gd name="T48" fmla="*/ 29 w 255"/>
                <a:gd name="T49" fmla="*/ 105 h 289"/>
                <a:gd name="T50" fmla="*/ 73 w 255"/>
                <a:gd name="T51" fmla="*/ 105 h 289"/>
                <a:gd name="T52" fmla="*/ 61 w 255"/>
                <a:gd name="T53" fmla="*/ 63 h 289"/>
                <a:gd name="T54" fmla="*/ 90 w 255"/>
                <a:gd name="T55" fmla="*/ 105 h 289"/>
                <a:gd name="T56" fmla="*/ 103 w 255"/>
                <a:gd name="T57" fmla="*/ 63 h 289"/>
                <a:gd name="T58" fmla="*/ 90 w 255"/>
                <a:gd name="T59" fmla="*/ 105 h 289"/>
                <a:gd name="T60" fmla="*/ 245 w 255"/>
                <a:gd name="T61" fmla="*/ 161 h 289"/>
                <a:gd name="T62" fmla="*/ 176 w 255"/>
                <a:gd name="T63" fmla="*/ 279 h 289"/>
                <a:gd name="T64" fmla="*/ 10 w 255"/>
                <a:gd name="T65" fmla="*/ 46 h 289"/>
                <a:gd name="T66" fmla="*/ 122 w 255"/>
                <a:gd name="T67" fmla="*/ 279 h 289"/>
                <a:gd name="T68" fmla="*/ 10 w 255"/>
                <a:gd name="T69" fmla="*/ 46 h 289"/>
                <a:gd name="T70" fmla="*/ 164 w 255"/>
                <a:gd name="T71" fmla="*/ 9 h 289"/>
                <a:gd name="T72" fmla="*/ 135 w 255"/>
                <a:gd name="T73" fmla="*/ 279 h 289"/>
                <a:gd name="T74" fmla="*/ 135 w 255"/>
                <a:gd name="T75" fmla="*/ 34 h 289"/>
                <a:gd name="T76" fmla="*/ 51 w 255"/>
                <a:gd name="T77" fmla="*/ 34 h 289"/>
                <a:gd name="T78" fmla="*/ 41 w 255"/>
                <a:gd name="T79" fmla="*/ 0 h 289"/>
                <a:gd name="T80" fmla="*/ 41 w 255"/>
                <a:gd name="T81" fmla="*/ 34 h 289"/>
                <a:gd name="T82" fmla="*/ 0 w 255"/>
                <a:gd name="T83" fmla="*/ 34 h 289"/>
                <a:gd name="T84" fmla="*/ 0 w 255"/>
                <a:gd name="T85" fmla="*/ 284 h 289"/>
                <a:gd name="T86" fmla="*/ 5 w 255"/>
                <a:gd name="T87" fmla="*/ 289 h 289"/>
                <a:gd name="T88" fmla="*/ 255 w 255"/>
                <a:gd name="T89" fmla="*/ 289 h 289"/>
                <a:gd name="T90" fmla="*/ 252 w 255"/>
                <a:gd name="T91" fmla="*/ 152 h 289"/>
                <a:gd name="T92" fmla="*/ 176 w 255"/>
                <a:gd name="T93" fmla="*/ 4 h 289"/>
                <a:gd name="T94" fmla="*/ 41 w 255"/>
                <a:gd name="T95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5" h="289">
                  <a:moveTo>
                    <a:pt x="189" y="255"/>
                  </a:moveTo>
                  <a:lnTo>
                    <a:pt x="233" y="255"/>
                  </a:lnTo>
                  <a:lnTo>
                    <a:pt x="233" y="242"/>
                  </a:lnTo>
                  <a:lnTo>
                    <a:pt x="189" y="242"/>
                  </a:lnTo>
                  <a:lnTo>
                    <a:pt x="189" y="255"/>
                  </a:lnTo>
                  <a:close/>
                  <a:moveTo>
                    <a:pt x="29" y="262"/>
                  </a:moveTo>
                  <a:lnTo>
                    <a:pt x="41" y="262"/>
                  </a:lnTo>
                  <a:lnTo>
                    <a:pt x="41" y="218"/>
                  </a:lnTo>
                  <a:lnTo>
                    <a:pt x="29" y="218"/>
                  </a:lnTo>
                  <a:lnTo>
                    <a:pt x="29" y="262"/>
                  </a:lnTo>
                  <a:close/>
                  <a:moveTo>
                    <a:pt x="61" y="262"/>
                  </a:moveTo>
                  <a:lnTo>
                    <a:pt x="73" y="262"/>
                  </a:lnTo>
                  <a:lnTo>
                    <a:pt x="73" y="218"/>
                  </a:lnTo>
                  <a:lnTo>
                    <a:pt x="61" y="218"/>
                  </a:lnTo>
                  <a:lnTo>
                    <a:pt x="61" y="262"/>
                  </a:lnTo>
                  <a:close/>
                  <a:moveTo>
                    <a:pt x="90" y="262"/>
                  </a:moveTo>
                  <a:lnTo>
                    <a:pt x="103" y="262"/>
                  </a:lnTo>
                  <a:lnTo>
                    <a:pt x="103" y="218"/>
                  </a:lnTo>
                  <a:lnTo>
                    <a:pt x="90" y="218"/>
                  </a:lnTo>
                  <a:lnTo>
                    <a:pt x="90" y="262"/>
                  </a:lnTo>
                  <a:close/>
                  <a:moveTo>
                    <a:pt x="189" y="225"/>
                  </a:moveTo>
                  <a:lnTo>
                    <a:pt x="233" y="225"/>
                  </a:lnTo>
                  <a:lnTo>
                    <a:pt x="233" y="213"/>
                  </a:lnTo>
                  <a:lnTo>
                    <a:pt x="189" y="213"/>
                  </a:lnTo>
                  <a:lnTo>
                    <a:pt x="189" y="225"/>
                  </a:lnTo>
                  <a:close/>
                  <a:moveTo>
                    <a:pt x="44" y="196"/>
                  </a:moveTo>
                  <a:lnTo>
                    <a:pt x="88" y="196"/>
                  </a:lnTo>
                  <a:lnTo>
                    <a:pt x="88" y="183"/>
                  </a:lnTo>
                  <a:lnTo>
                    <a:pt x="44" y="183"/>
                  </a:lnTo>
                  <a:lnTo>
                    <a:pt x="44" y="196"/>
                  </a:lnTo>
                  <a:close/>
                  <a:moveTo>
                    <a:pt x="189" y="196"/>
                  </a:moveTo>
                  <a:lnTo>
                    <a:pt x="233" y="196"/>
                  </a:lnTo>
                  <a:lnTo>
                    <a:pt x="233" y="183"/>
                  </a:lnTo>
                  <a:lnTo>
                    <a:pt x="189" y="183"/>
                  </a:lnTo>
                  <a:lnTo>
                    <a:pt x="189" y="196"/>
                  </a:lnTo>
                  <a:close/>
                  <a:moveTo>
                    <a:pt x="44" y="166"/>
                  </a:moveTo>
                  <a:lnTo>
                    <a:pt x="88" y="166"/>
                  </a:lnTo>
                  <a:lnTo>
                    <a:pt x="88" y="154"/>
                  </a:lnTo>
                  <a:lnTo>
                    <a:pt x="44" y="154"/>
                  </a:lnTo>
                  <a:lnTo>
                    <a:pt x="44" y="166"/>
                  </a:lnTo>
                  <a:close/>
                  <a:moveTo>
                    <a:pt x="44" y="137"/>
                  </a:moveTo>
                  <a:lnTo>
                    <a:pt x="88" y="137"/>
                  </a:lnTo>
                  <a:lnTo>
                    <a:pt x="88" y="125"/>
                  </a:lnTo>
                  <a:lnTo>
                    <a:pt x="44" y="125"/>
                  </a:lnTo>
                  <a:lnTo>
                    <a:pt x="44" y="137"/>
                  </a:lnTo>
                  <a:close/>
                  <a:moveTo>
                    <a:pt x="29" y="105"/>
                  </a:moveTo>
                  <a:lnTo>
                    <a:pt x="41" y="105"/>
                  </a:lnTo>
                  <a:lnTo>
                    <a:pt x="41" y="63"/>
                  </a:lnTo>
                  <a:lnTo>
                    <a:pt x="29" y="63"/>
                  </a:lnTo>
                  <a:lnTo>
                    <a:pt x="29" y="105"/>
                  </a:lnTo>
                  <a:close/>
                  <a:moveTo>
                    <a:pt x="61" y="105"/>
                  </a:moveTo>
                  <a:lnTo>
                    <a:pt x="73" y="105"/>
                  </a:lnTo>
                  <a:lnTo>
                    <a:pt x="73" y="63"/>
                  </a:lnTo>
                  <a:lnTo>
                    <a:pt x="61" y="63"/>
                  </a:lnTo>
                  <a:lnTo>
                    <a:pt x="61" y="105"/>
                  </a:lnTo>
                  <a:close/>
                  <a:moveTo>
                    <a:pt x="90" y="105"/>
                  </a:moveTo>
                  <a:lnTo>
                    <a:pt x="103" y="105"/>
                  </a:lnTo>
                  <a:lnTo>
                    <a:pt x="103" y="63"/>
                  </a:lnTo>
                  <a:lnTo>
                    <a:pt x="90" y="63"/>
                  </a:lnTo>
                  <a:lnTo>
                    <a:pt x="90" y="105"/>
                  </a:lnTo>
                  <a:close/>
                  <a:moveTo>
                    <a:pt x="176" y="144"/>
                  </a:moveTo>
                  <a:lnTo>
                    <a:pt x="245" y="161"/>
                  </a:lnTo>
                  <a:lnTo>
                    <a:pt x="245" y="279"/>
                  </a:lnTo>
                  <a:lnTo>
                    <a:pt x="176" y="279"/>
                  </a:lnTo>
                  <a:lnTo>
                    <a:pt x="176" y="144"/>
                  </a:lnTo>
                  <a:close/>
                  <a:moveTo>
                    <a:pt x="10" y="46"/>
                  </a:moveTo>
                  <a:lnTo>
                    <a:pt x="122" y="46"/>
                  </a:lnTo>
                  <a:lnTo>
                    <a:pt x="122" y="279"/>
                  </a:lnTo>
                  <a:lnTo>
                    <a:pt x="10" y="279"/>
                  </a:lnTo>
                  <a:lnTo>
                    <a:pt x="10" y="46"/>
                  </a:lnTo>
                  <a:close/>
                  <a:moveTo>
                    <a:pt x="51" y="9"/>
                  </a:moveTo>
                  <a:lnTo>
                    <a:pt x="164" y="9"/>
                  </a:lnTo>
                  <a:lnTo>
                    <a:pt x="164" y="279"/>
                  </a:lnTo>
                  <a:lnTo>
                    <a:pt x="135" y="279"/>
                  </a:lnTo>
                  <a:lnTo>
                    <a:pt x="135" y="41"/>
                  </a:lnTo>
                  <a:lnTo>
                    <a:pt x="135" y="34"/>
                  </a:lnTo>
                  <a:lnTo>
                    <a:pt x="130" y="34"/>
                  </a:lnTo>
                  <a:lnTo>
                    <a:pt x="51" y="34"/>
                  </a:lnTo>
                  <a:lnTo>
                    <a:pt x="51" y="9"/>
                  </a:lnTo>
                  <a:close/>
                  <a:moveTo>
                    <a:pt x="41" y="0"/>
                  </a:moveTo>
                  <a:lnTo>
                    <a:pt x="41" y="4"/>
                  </a:lnTo>
                  <a:lnTo>
                    <a:pt x="41" y="34"/>
                  </a:lnTo>
                  <a:lnTo>
                    <a:pt x="5" y="34"/>
                  </a:lnTo>
                  <a:lnTo>
                    <a:pt x="0" y="34"/>
                  </a:lnTo>
                  <a:lnTo>
                    <a:pt x="0" y="41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5" y="289"/>
                  </a:lnTo>
                  <a:lnTo>
                    <a:pt x="250" y="289"/>
                  </a:lnTo>
                  <a:lnTo>
                    <a:pt x="255" y="289"/>
                  </a:lnTo>
                  <a:lnTo>
                    <a:pt x="255" y="154"/>
                  </a:lnTo>
                  <a:lnTo>
                    <a:pt x="252" y="152"/>
                  </a:lnTo>
                  <a:lnTo>
                    <a:pt x="176" y="132"/>
                  </a:lnTo>
                  <a:lnTo>
                    <a:pt x="176" y="4"/>
                  </a:lnTo>
                  <a:lnTo>
                    <a:pt x="176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8" name="Group 617">
            <a:extLst>
              <a:ext uri="{FF2B5EF4-FFF2-40B4-BE49-F238E27FC236}">
                <a16:creationId xmlns:a16="http://schemas.microsoft.com/office/drawing/2014/main" id="{381E567A-B45E-4219-8C7B-5A03A2CB336D}"/>
              </a:ext>
            </a:extLst>
          </p:cNvPr>
          <p:cNvGrpSpPr/>
          <p:nvPr/>
        </p:nvGrpSpPr>
        <p:grpSpPr>
          <a:xfrm>
            <a:off x="2600325" y="4102894"/>
            <a:ext cx="844550" cy="844550"/>
            <a:chOff x="2600325" y="4108450"/>
            <a:chExt cx="844550" cy="844550"/>
          </a:xfrm>
        </p:grpSpPr>
        <p:sp>
          <p:nvSpPr>
            <p:cNvPr id="614" name="AutoShape 199">
              <a:extLst>
                <a:ext uri="{FF2B5EF4-FFF2-40B4-BE49-F238E27FC236}">
                  <a16:creationId xmlns:a16="http://schemas.microsoft.com/office/drawing/2014/main" id="{46C108BA-82A6-4CDC-9112-38D5C66F4C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0325" y="410845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5" name="Oval 201">
              <a:extLst>
                <a:ext uri="{FF2B5EF4-FFF2-40B4-BE49-F238E27FC236}">
                  <a16:creationId xmlns:a16="http://schemas.microsoft.com/office/drawing/2014/main" id="{48A03B32-5367-4F26-8813-DD039C393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325" y="410845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6" name="Freeform 202">
              <a:extLst>
                <a:ext uri="{FF2B5EF4-FFF2-40B4-BE49-F238E27FC236}">
                  <a16:creationId xmlns:a16="http://schemas.microsoft.com/office/drawing/2014/main" id="{40B5A645-7522-44D6-890E-43CB064AE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8900" y="413702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" name="Freeform 203">
              <a:extLst>
                <a:ext uri="{FF2B5EF4-FFF2-40B4-BE49-F238E27FC236}">
                  <a16:creationId xmlns:a16="http://schemas.microsoft.com/office/drawing/2014/main" id="{71C071E0-1502-4882-9CC9-E30C1534F0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1463" y="4291013"/>
              <a:ext cx="422275" cy="479425"/>
            </a:xfrm>
            <a:custGeom>
              <a:avLst/>
              <a:gdLst>
                <a:gd name="T0" fmla="*/ 243 w 266"/>
                <a:gd name="T1" fmla="*/ 266 h 302"/>
                <a:gd name="T2" fmla="*/ 197 w 266"/>
                <a:gd name="T3" fmla="*/ 254 h 302"/>
                <a:gd name="T4" fmla="*/ 31 w 266"/>
                <a:gd name="T5" fmla="*/ 274 h 302"/>
                <a:gd name="T6" fmla="*/ 44 w 266"/>
                <a:gd name="T7" fmla="*/ 228 h 302"/>
                <a:gd name="T8" fmla="*/ 31 w 266"/>
                <a:gd name="T9" fmla="*/ 274 h 302"/>
                <a:gd name="T10" fmla="*/ 77 w 266"/>
                <a:gd name="T11" fmla="*/ 274 h 302"/>
                <a:gd name="T12" fmla="*/ 64 w 266"/>
                <a:gd name="T13" fmla="*/ 228 h 302"/>
                <a:gd name="T14" fmla="*/ 95 w 266"/>
                <a:gd name="T15" fmla="*/ 274 h 302"/>
                <a:gd name="T16" fmla="*/ 108 w 266"/>
                <a:gd name="T17" fmla="*/ 228 h 302"/>
                <a:gd name="T18" fmla="*/ 95 w 266"/>
                <a:gd name="T19" fmla="*/ 274 h 302"/>
                <a:gd name="T20" fmla="*/ 243 w 266"/>
                <a:gd name="T21" fmla="*/ 236 h 302"/>
                <a:gd name="T22" fmla="*/ 197 w 266"/>
                <a:gd name="T23" fmla="*/ 223 h 302"/>
                <a:gd name="T24" fmla="*/ 46 w 266"/>
                <a:gd name="T25" fmla="*/ 205 h 302"/>
                <a:gd name="T26" fmla="*/ 92 w 266"/>
                <a:gd name="T27" fmla="*/ 192 h 302"/>
                <a:gd name="T28" fmla="*/ 46 w 266"/>
                <a:gd name="T29" fmla="*/ 205 h 302"/>
                <a:gd name="T30" fmla="*/ 243 w 266"/>
                <a:gd name="T31" fmla="*/ 205 h 302"/>
                <a:gd name="T32" fmla="*/ 197 w 266"/>
                <a:gd name="T33" fmla="*/ 192 h 302"/>
                <a:gd name="T34" fmla="*/ 46 w 266"/>
                <a:gd name="T35" fmla="*/ 174 h 302"/>
                <a:gd name="T36" fmla="*/ 92 w 266"/>
                <a:gd name="T37" fmla="*/ 161 h 302"/>
                <a:gd name="T38" fmla="*/ 46 w 266"/>
                <a:gd name="T39" fmla="*/ 174 h 302"/>
                <a:gd name="T40" fmla="*/ 92 w 266"/>
                <a:gd name="T41" fmla="*/ 143 h 302"/>
                <a:gd name="T42" fmla="*/ 46 w 266"/>
                <a:gd name="T43" fmla="*/ 131 h 302"/>
                <a:gd name="T44" fmla="*/ 31 w 266"/>
                <a:gd name="T45" fmla="*/ 110 h 302"/>
                <a:gd name="T46" fmla="*/ 44 w 266"/>
                <a:gd name="T47" fmla="*/ 67 h 302"/>
                <a:gd name="T48" fmla="*/ 31 w 266"/>
                <a:gd name="T49" fmla="*/ 110 h 302"/>
                <a:gd name="T50" fmla="*/ 77 w 266"/>
                <a:gd name="T51" fmla="*/ 110 h 302"/>
                <a:gd name="T52" fmla="*/ 64 w 266"/>
                <a:gd name="T53" fmla="*/ 67 h 302"/>
                <a:gd name="T54" fmla="*/ 95 w 266"/>
                <a:gd name="T55" fmla="*/ 110 h 302"/>
                <a:gd name="T56" fmla="*/ 108 w 266"/>
                <a:gd name="T57" fmla="*/ 67 h 302"/>
                <a:gd name="T58" fmla="*/ 95 w 266"/>
                <a:gd name="T59" fmla="*/ 110 h 302"/>
                <a:gd name="T60" fmla="*/ 256 w 266"/>
                <a:gd name="T61" fmla="*/ 169 h 302"/>
                <a:gd name="T62" fmla="*/ 184 w 266"/>
                <a:gd name="T63" fmla="*/ 292 h 302"/>
                <a:gd name="T64" fmla="*/ 10 w 266"/>
                <a:gd name="T65" fmla="*/ 49 h 302"/>
                <a:gd name="T66" fmla="*/ 128 w 266"/>
                <a:gd name="T67" fmla="*/ 292 h 302"/>
                <a:gd name="T68" fmla="*/ 10 w 266"/>
                <a:gd name="T69" fmla="*/ 49 h 302"/>
                <a:gd name="T70" fmla="*/ 172 w 266"/>
                <a:gd name="T71" fmla="*/ 10 h 302"/>
                <a:gd name="T72" fmla="*/ 141 w 266"/>
                <a:gd name="T73" fmla="*/ 292 h 302"/>
                <a:gd name="T74" fmla="*/ 141 w 266"/>
                <a:gd name="T75" fmla="*/ 36 h 302"/>
                <a:gd name="T76" fmla="*/ 54 w 266"/>
                <a:gd name="T77" fmla="*/ 36 h 302"/>
                <a:gd name="T78" fmla="*/ 44 w 266"/>
                <a:gd name="T79" fmla="*/ 0 h 302"/>
                <a:gd name="T80" fmla="*/ 44 w 266"/>
                <a:gd name="T81" fmla="*/ 36 h 302"/>
                <a:gd name="T82" fmla="*/ 0 w 266"/>
                <a:gd name="T83" fmla="*/ 36 h 302"/>
                <a:gd name="T84" fmla="*/ 0 w 266"/>
                <a:gd name="T85" fmla="*/ 297 h 302"/>
                <a:gd name="T86" fmla="*/ 5 w 266"/>
                <a:gd name="T87" fmla="*/ 302 h 302"/>
                <a:gd name="T88" fmla="*/ 266 w 266"/>
                <a:gd name="T89" fmla="*/ 302 h 302"/>
                <a:gd name="T90" fmla="*/ 264 w 266"/>
                <a:gd name="T91" fmla="*/ 159 h 302"/>
                <a:gd name="T92" fmla="*/ 184 w 266"/>
                <a:gd name="T93" fmla="*/ 5 h 302"/>
                <a:gd name="T94" fmla="*/ 44 w 266"/>
                <a:gd name="T9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302">
                  <a:moveTo>
                    <a:pt x="197" y="266"/>
                  </a:moveTo>
                  <a:lnTo>
                    <a:pt x="243" y="266"/>
                  </a:lnTo>
                  <a:lnTo>
                    <a:pt x="243" y="254"/>
                  </a:lnTo>
                  <a:lnTo>
                    <a:pt x="197" y="254"/>
                  </a:lnTo>
                  <a:lnTo>
                    <a:pt x="197" y="266"/>
                  </a:lnTo>
                  <a:close/>
                  <a:moveTo>
                    <a:pt x="31" y="274"/>
                  </a:moveTo>
                  <a:lnTo>
                    <a:pt x="44" y="274"/>
                  </a:lnTo>
                  <a:lnTo>
                    <a:pt x="44" y="228"/>
                  </a:lnTo>
                  <a:lnTo>
                    <a:pt x="31" y="228"/>
                  </a:lnTo>
                  <a:lnTo>
                    <a:pt x="31" y="274"/>
                  </a:lnTo>
                  <a:close/>
                  <a:moveTo>
                    <a:pt x="64" y="274"/>
                  </a:moveTo>
                  <a:lnTo>
                    <a:pt x="77" y="274"/>
                  </a:lnTo>
                  <a:lnTo>
                    <a:pt x="77" y="228"/>
                  </a:lnTo>
                  <a:lnTo>
                    <a:pt x="64" y="228"/>
                  </a:lnTo>
                  <a:lnTo>
                    <a:pt x="64" y="274"/>
                  </a:lnTo>
                  <a:close/>
                  <a:moveTo>
                    <a:pt x="95" y="274"/>
                  </a:moveTo>
                  <a:lnTo>
                    <a:pt x="108" y="274"/>
                  </a:lnTo>
                  <a:lnTo>
                    <a:pt x="108" y="228"/>
                  </a:lnTo>
                  <a:lnTo>
                    <a:pt x="95" y="228"/>
                  </a:lnTo>
                  <a:lnTo>
                    <a:pt x="95" y="274"/>
                  </a:lnTo>
                  <a:close/>
                  <a:moveTo>
                    <a:pt x="197" y="236"/>
                  </a:moveTo>
                  <a:lnTo>
                    <a:pt x="243" y="236"/>
                  </a:lnTo>
                  <a:lnTo>
                    <a:pt x="243" y="223"/>
                  </a:lnTo>
                  <a:lnTo>
                    <a:pt x="197" y="223"/>
                  </a:lnTo>
                  <a:lnTo>
                    <a:pt x="197" y="236"/>
                  </a:lnTo>
                  <a:close/>
                  <a:moveTo>
                    <a:pt x="46" y="205"/>
                  </a:moveTo>
                  <a:lnTo>
                    <a:pt x="92" y="205"/>
                  </a:lnTo>
                  <a:lnTo>
                    <a:pt x="92" y="192"/>
                  </a:lnTo>
                  <a:lnTo>
                    <a:pt x="46" y="192"/>
                  </a:lnTo>
                  <a:lnTo>
                    <a:pt x="46" y="205"/>
                  </a:lnTo>
                  <a:close/>
                  <a:moveTo>
                    <a:pt x="197" y="205"/>
                  </a:moveTo>
                  <a:lnTo>
                    <a:pt x="243" y="205"/>
                  </a:lnTo>
                  <a:lnTo>
                    <a:pt x="243" y="192"/>
                  </a:lnTo>
                  <a:lnTo>
                    <a:pt x="197" y="192"/>
                  </a:lnTo>
                  <a:lnTo>
                    <a:pt x="197" y="205"/>
                  </a:lnTo>
                  <a:close/>
                  <a:moveTo>
                    <a:pt x="46" y="174"/>
                  </a:moveTo>
                  <a:lnTo>
                    <a:pt x="92" y="174"/>
                  </a:lnTo>
                  <a:lnTo>
                    <a:pt x="92" y="161"/>
                  </a:lnTo>
                  <a:lnTo>
                    <a:pt x="46" y="161"/>
                  </a:lnTo>
                  <a:lnTo>
                    <a:pt x="46" y="174"/>
                  </a:lnTo>
                  <a:close/>
                  <a:moveTo>
                    <a:pt x="46" y="143"/>
                  </a:moveTo>
                  <a:lnTo>
                    <a:pt x="92" y="143"/>
                  </a:lnTo>
                  <a:lnTo>
                    <a:pt x="92" y="131"/>
                  </a:lnTo>
                  <a:lnTo>
                    <a:pt x="46" y="131"/>
                  </a:lnTo>
                  <a:lnTo>
                    <a:pt x="46" y="143"/>
                  </a:lnTo>
                  <a:close/>
                  <a:moveTo>
                    <a:pt x="31" y="110"/>
                  </a:moveTo>
                  <a:lnTo>
                    <a:pt x="44" y="110"/>
                  </a:lnTo>
                  <a:lnTo>
                    <a:pt x="44" y="67"/>
                  </a:lnTo>
                  <a:lnTo>
                    <a:pt x="31" y="67"/>
                  </a:lnTo>
                  <a:lnTo>
                    <a:pt x="31" y="110"/>
                  </a:lnTo>
                  <a:close/>
                  <a:moveTo>
                    <a:pt x="64" y="110"/>
                  </a:moveTo>
                  <a:lnTo>
                    <a:pt x="77" y="110"/>
                  </a:lnTo>
                  <a:lnTo>
                    <a:pt x="77" y="67"/>
                  </a:lnTo>
                  <a:lnTo>
                    <a:pt x="64" y="67"/>
                  </a:lnTo>
                  <a:lnTo>
                    <a:pt x="64" y="110"/>
                  </a:lnTo>
                  <a:close/>
                  <a:moveTo>
                    <a:pt x="95" y="110"/>
                  </a:moveTo>
                  <a:lnTo>
                    <a:pt x="108" y="110"/>
                  </a:lnTo>
                  <a:lnTo>
                    <a:pt x="108" y="67"/>
                  </a:lnTo>
                  <a:lnTo>
                    <a:pt x="95" y="67"/>
                  </a:lnTo>
                  <a:lnTo>
                    <a:pt x="95" y="110"/>
                  </a:lnTo>
                  <a:close/>
                  <a:moveTo>
                    <a:pt x="184" y="151"/>
                  </a:moveTo>
                  <a:lnTo>
                    <a:pt x="256" y="169"/>
                  </a:lnTo>
                  <a:lnTo>
                    <a:pt x="256" y="292"/>
                  </a:lnTo>
                  <a:lnTo>
                    <a:pt x="184" y="292"/>
                  </a:lnTo>
                  <a:lnTo>
                    <a:pt x="184" y="151"/>
                  </a:lnTo>
                  <a:close/>
                  <a:moveTo>
                    <a:pt x="10" y="49"/>
                  </a:moveTo>
                  <a:lnTo>
                    <a:pt x="128" y="49"/>
                  </a:lnTo>
                  <a:lnTo>
                    <a:pt x="128" y="292"/>
                  </a:lnTo>
                  <a:lnTo>
                    <a:pt x="10" y="292"/>
                  </a:lnTo>
                  <a:lnTo>
                    <a:pt x="10" y="49"/>
                  </a:lnTo>
                  <a:close/>
                  <a:moveTo>
                    <a:pt x="54" y="10"/>
                  </a:moveTo>
                  <a:lnTo>
                    <a:pt x="172" y="10"/>
                  </a:lnTo>
                  <a:lnTo>
                    <a:pt x="172" y="292"/>
                  </a:lnTo>
                  <a:lnTo>
                    <a:pt x="141" y="292"/>
                  </a:lnTo>
                  <a:lnTo>
                    <a:pt x="141" y="44"/>
                  </a:lnTo>
                  <a:lnTo>
                    <a:pt x="141" y="36"/>
                  </a:lnTo>
                  <a:lnTo>
                    <a:pt x="136" y="36"/>
                  </a:lnTo>
                  <a:lnTo>
                    <a:pt x="54" y="36"/>
                  </a:lnTo>
                  <a:lnTo>
                    <a:pt x="54" y="10"/>
                  </a:lnTo>
                  <a:close/>
                  <a:moveTo>
                    <a:pt x="44" y="0"/>
                  </a:moveTo>
                  <a:lnTo>
                    <a:pt x="44" y="5"/>
                  </a:lnTo>
                  <a:lnTo>
                    <a:pt x="44" y="36"/>
                  </a:lnTo>
                  <a:lnTo>
                    <a:pt x="5" y="36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297"/>
                  </a:lnTo>
                  <a:lnTo>
                    <a:pt x="0" y="302"/>
                  </a:lnTo>
                  <a:lnTo>
                    <a:pt x="5" y="302"/>
                  </a:lnTo>
                  <a:lnTo>
                    <a:pt x="261" y="302"/>
                  </a:lnTo>
                  <a:lnTo>
                    <a:pt x="266" y="302"/>
                  </a:lnTo>
                  <a:lnTo>
                    <a:pt x="266" y="161"/>
                  </a:lnTo>
                  <a:lnTo>
                    <a:pt x="264" y="159"/>
                  </a:lnTo>
                  <a:lnTo>
                    <a:pt x="184" y="138"/>
                  </a:lnTo>
                  <a:lnTo>
                    <a:pt x="184" y="5"/>
                  </a:lnTo>
                  <a:lnTo>
                    <a:pt x="18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5" name="Group 624">
            <a:extLst>
              <a:ext uri="{FF2B5EF4-FFF2-40B4-BE49-F238E27FC236}">
                <a16:creationId xmlns:a16="http://schemas.microsoft.com/office/drawing/2014/main" id="{EAB0B78D-A381-40B6-8E88-1EA08099A519}"/>
              </a:ext>
            </a:extLst>
          </p:cNvPr>
          <p:cNvGrpSpPr/>
          <p:nvPr/>
        </p:nvGrpSpPr>
        <p:grpSpPr>
          <a:xfrm>
            <a:off x="5848350" y="4145757"/>
            <a:ext cx="758825" cy="758825"/>
            <a:chOff x="5848350" y="4130675"/>
            <a:chExt cx="758825" cy="758825"/>
          </a:xfrm>
        </p:grpSpPr>
        <p:sp>
          <p:nvSpPr>
            <p:cNvPr id="622" name="AutoShape 205">
              <a:extLst>
                <a:ext uri="{FF2B5EF4-FFF2-40B4-BE49-F238E27FC236}">
                  <a16:creationId xmlns:a16="http://schemas.microsoft.com/office/drawing/2014/main" id="{FCD34CF6-2344-444D-8E1B-6830C6E185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48350" y="413067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" name="Freeform 207">
              <a:extLst>
                <a:ext uri="{FF2B5EF4-FFF2-40B4-BE49-F238E27FC236}">
                  <a16:creationId xmlns:a16="http://schemas.microsoft.com/office/drawing/2014/main" id="{E0180A50-2F95-4C5A-A424-2CF5A8EA0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525" y="4133850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" name="Freeform 208">
              <a:extLst>
                <a:ext uri="{FF2B5EF4-FFF2-40B4-BE49-F238E27FC236}">
                  <a16:creationId xmlns:a16="http://schemas.microsoft.com/office/drawing/2014/main" id="{81EC34D0-B451-4469-9CCB-6B42B4E91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6788" y="4219575"/>
              <a:ext cx="365125" cy="552450"/>
            </a:xfrm>
            <a:custGeom>
              <a:avLst/>
              <a:gdLst>
                <a:gd name="T0" fmla="*/ 123 w 230"/>
                <a:gd name="T1" fmla="*/ 312 h 348"/>
                <a:gd name="T2" fmla="*/ 137 w 230"/>
                <a:gd name="T3" fmla="*/ 322 h 348"/>
                <a:gd name="T4" fmla="*/ 137 w 230"/>
                <a:gd name="T5" fmla="*/ 312 h 348"/>
                <a:gd name="T6" fmla="*/ 123 w 230"/>
                <a:gd name="T7" fmla="*/ 297 h 348"/>
                <a:gd name="T8" fmla="*/ 93 w 230"/>
                <a:gd name="T9" fmla="*/ 297 h 348"/>
                <a:gd name="T10" fmla="*/ 169 w 230"/>
                <a:gd name="T11" fmla="*/ 285 h 348"/>
                <a:gd name="T12" fmla="*/ 93 w 230"/>
                <a:gd name="T13" fmla="*/ 270 h 348"/>
                <a:gd name="T14" fmla="*/ 93 w 230"/>
                <a:gd name="T15" fmla="*/ 258 h 348"/>
                <a:gd name="T16" fmla="*/ 169 w 230"/>
                <a:gd name="T17" fmla="*/ 270 h 348"/>
                <a:gd name="T18" fmla="*/ 137 w 230"/>
                <a:gd name="T19" fmla="*/ 270 h 348"/>
                <a:gd name="T20" fmla="*/ 123 w 230"/>
                <a:gd name="T21" fmla="*/ 233 h 348"/>
                <a:gd name="T22" fmla="*/ 137 w 230"/>
                <a:gd name="T23" fmla="*/ 243 h 348"/>
                <a:gd name="T24" fmla="*/ 137 w 230"/>
                <a:gd name="T25" fmla="*/ 233 h 348"/>
                <a:gd name="T26" fmla="*/ 123 w 230"/>
                <a:gd name="T27" fmla="*/ 216 h 348"/>
                <a:gd name="T28" fmla="*/ 93 w 230"/>
                <a:gd name="T29" fmla="*/ 216 h 348"/>
                <a:gd name="T30" fmla="*/ 169 w 230"/>
                <a:gd name="T31" fmla="*/ 206 h 348"/>
                <a:gd name="T32" fmla="*/ 93 w 230"/>
                <a:gd name="T33" fmla="*/ 192 h 348"/>
                <a:gd name="T34" fmla="*/ 93 w 230"/>
                <a:gd name="T35" fmla="*/ 179 h 348"/>
                <a:gd name="T36" fmla="*/ 169 w 230"/>
                <a:gd name="T37" fmla="*/ 192 h 348"/>
                <a:gd name="T38" fmla="*/ 137 w 230"/>
                <a:gd name="T39" fmla="*/ 192 h 348"/>
                <a:gd name="T40" fmla="*/ 123 w 230"/>
                <a:gd name="T41" fmla="*/ 155 h 348"/>
                <a:gd name="T42" fmla="*/ 137 w 230"/>
                <a:gd name="T43" fmla="*/ 165 h 348"/>
                <a:gd name="T44" fmla="*/ 137 w 230"/>
                <a:gd name="T45" fmla="*/ 155 h 348"/>
                <a:gd name="T46" fmla="*/ 123 w 230"/>
                <a:gd name="T47" fmla="*/ 138 h 348"/>
                <a:gd name="T48" fmla="*/ 93 w 230"/>
                <a:gd name="T49" fmla="*/ 138 h 348"/>
                <a:gd name="T50" fmla="*/ 169 w 230"/>
                <a:gd name="T51" fmla="*/ 128 h 348"/>
                <a:gd name="T52" fmla="*/ 93 w 230"/>
                <a:gd name="T53" fmla="*/ 113 h 348"/>
                <a:gd name="T54" fmla="*/ 93 w 230"/>
                <a:gd name="T55" fmla="*/ 101 h 348"/>
                <a:gd name="T56" fmla="*/ 169 w 230"/>
                <a:gd name="T57" fmla="*/ 113 h 348"/>
                <a:gd name="T58" fmla="*/ 137 w 230"/>
                <a:gd name="T59" fmla="*/ 113 h 348"/>
                <a:gd name="T60" fmla="*/ 32 w 230"/>
                <a:gd name="T61" fmla="*/ 336 h 348"/>
                <a:gd name="T62" fmla="*/ 191 w 230"/>
                <a:gd name="T63" fmla="*/ 196 h 348"/>
                <a:gd name="T64" fmla="*/ 191 w 230"/>
                <a:gd name="T65" fmla="*/ 336 h 348"/>
                <a:gd name="T66" fmla="*/ 69 w 230"/>
                <a:gd name="T67" fmla="*/ 128 h 348"/>
                <a:gd name="T68" fmla="*/ 42 w 230"/>
                <a:gd name="T69" fmla="*/ 128 h 348"/>
                <a:gd name="T70" fmla="*/ 181 w 230"/>
                <a:gd name="T71" fmla="*/ 91 h 348"/>
                <a:gd name="T72" fmla="*/ 81 w 230"/>
                <a:gd name="T73" fmla="*/ 91 h 348"/>
                <a:gd name="T74" fmla="*/ 71 w 230"/>
                <a:gd name="T75" fmla="*/ 84 h 348"/>
                <a:gd name="T76" fmla="*/ 69 w 230"/>
                <a:gd name="T77" fmla="*/ 118 h 348"/>
                <a:gd name="T78" fmla="*/ 32 w 230"/>
                <a:gd name="T79" fmla="*/ 123 h 348"/>
                <a:gd name="T80" fmla="*/ 0 w 230"/>
                <a:gd name="T81" fmla="*/ 258 h 348"/>
                <a:gd name="T82" fmla="*/ 0 w 230"/>
                <a:gd name="T83" fmla="*/ 348 h 348"/>
                <a:gd name="T84" fmla="*/ 230 w 230"/>
                <a:gd name="T85" fmla="*/ 348 h 348"/>
                <a:gd name="T86" fmla="*/ 191 w 230"/>
                <a:gd name="T87" fmla="*/ 187 h 348"/>
                <a:gd name="T88" fmla="*/ 189 w 230"/>
                <a:gd name="T89" fmla="*/ 84 h 348"/>
                <a:gd name="T90" fmla="*/ 125 w 230"/>
                <a:gd name="T91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348">
                  <a:moveTo>
                    <a:pt x="93" y="322"/>
                  </a:moveTo>
                  <a:lnTo>
                    <a:pt x="123" y="322"/>
                  </a:lnTo>
                  <a:lnTo>
                    <a:pt x="123" y="312"/>
                  </a:lnTo>
                  <a:lnTo>
                    <a:pt x="93" y="312"/>
                  </a:lnTo>
                  <a:lnTo>
                    <a:pt x="93" y="322"/>
                  </a:lnTo>
                  <a:close/>
                  <a:moveTo>
                    <a:pt x="137" y="322"/>
                  </a:moveTo>
                  <a:lnTo>
                    <a:pt x="169" y="322"/>
                  </a:lnTo>
                  <a:lnTo>
                    <a:pt x="169" y="312"/>
                  </a:lnTo>
                  <a:lnTo>
                    <a:pt x="137" y="312"/>
                  </a:lnTo>
                  <a:lnTo>
                    <a:pt x="137" y="322"/>
                  </a:lnTo>
                  <a:close/>
                  <a:moveTo>
                    <a:pt x="93" y="297"/>
                  </a:moveTo>
                  <a:lnTo>
                    <a:pt x="123" y="297"/>
                  </a:lnTo>
                  <a:lnTo>
                    <a:pt x="123" y="285"/>
                  </a:lnTo>
                  <a:lnTo>
                    <a:pt x="93" y="285"/>
                  </a:lnTo>
                  <a:lnTo>
                    <a:pt x="93" y="297"/>
                  </a:lnTo>
                  <a:close/>
                  <a:moveTo>
                    <a:pt x="137" y="297"/>
                  </a:moveTo>
                  <a:lnTo>
                    <a:pt x="169" y="297"/>
                  </a:lnTo>
                  <a:lnTo>
                    <a:pt x="169" y="285"/>
                  </a:lnTo>
                  <a:lnTo>
                    <a:pt x="137" y="285"/>
                  </a:lnTo>
                  <a:lnTo>
                    <a:pt x="137" y="297"/>
                  </a:lnTo>
                  <a:close/>
                  <a:moveTo>
                    <a:pt x="93" y="270"/>
                  </a:moveTo>
                  <a:lnTo>
                    <a:pt x="123" y="270"/>
                  </a:lnTo>
                  <a:lnTo>
                    <a:pt x="123" y="258"/>
                  </a:lnTo>
                  <a:lnTo>
                    <a:pt x="93" y="258"/>
                  </a:lnTo>
                  <a:lnTo>
                    <a:pt x="93" y="270"/>
                  </a:lnTo>
                  <a:close/>
                  <a:moveTo>
                    <a:pt x="137" y="270"/>
                  </a:moveTo>
                  <a:lnTo>
                    <a:pt x="169" y="270"/>
                  </a:lnTo>
                  <a:lnTo>
                    <a:pt x="169" y="258"/>
                  </a:lnTo>
                  <a:lnTo>
                    <a:pt x="137" y="258"/>
                  </a:lnTo>
                  <a:lnTo>
                    <a:pt x="137" y="270"/>
                  </a:lnTo>
                  <a:close/>
                  <a:moveTo>
                    <a:pt x="93" y="243"/>
                  </a:moveTo>
                  <a:lnTo>
                    <a:pt x="123" y="243"/>
                  </a:lnTo>
                  <a:lnTo>
                    <a:pt x="123" y="233"/>
                  </a:lnTo>
                  <a:lnTo>
                    <a:pt x="93" y="233"/>
                  </a:lnTo>
                  <a:lnTo>
                    <a:pt x="93" y="243"/>
                  </a:lnTo>
                  <a:close/>
                  <a:moveTo>
                    <a:pt x="137" y="243"/>
                  </a:moveTo>
                  <a:lnTo>
                    <a:pt x="169" y="243"/>
                  </a:lnTo>
                  <a:lnTo>
                    <a:pt x="169" y="233"/>
                  </a:lnTo>
                  <a:lnTo>
                    <a:pt x="137" y="233"/>
                  </a:lnTo>
                  <a:lnTo>
                    <a:pt x="137" y="243"/>
                  </a:lnTo>
                  <a:close/>
                  <a:moveTo>
                    <a:pt x="93" y="216"/>
                  </a:moveTo>
                  <a:lnTo>
                    <a:pt x="123" y="216"/>
                  </a:lnTo>
                  <a:lnTo>
                    <a:pt x="123" y="206"/>
                  </a:lnTo>
                  <a:lnTo>
                    <a:pt x="93" y="206"/>
                  </a:lnTo>
                  <a:lnTo>
                    <a:pt x="93" y="216"/>
                  </a:lnTo>
                  <a:close/>
                  <a:moveTo>
                    <a:pt x="137" y="216"/>
                  </a:moveTo>
                  <a:lnTo>
                    <a:pt x="169" y="216"/>
                  </a:lnTo>
                  <a:lnTo>
                    <a:pt x="169" y="206"/>
                  </a:lnTo>
                  <a:lnTo>
                    <a:pt x="137" y="206"/>
                  </a:lnTo>
                  <a:lnTo>
                    <a:pt x="137" y="216"/>
                  </a:lnTo>
                  <a:close/>
                  <a:moveTo>
                    <a:pt x="93" y="192"/>
                  </a:moveTo>
                  <a:lnTo>
                    <a:pt x="123" y="192"/>
                  </a:lnTo>
                  <a:lnTo>
                    <a:pt x="123" y="179"/>
                  </a:lnTo>
                  <a:lnTo>
                    <a:pt x="93" y="179"/>
                  </a:lnTo>
                  <a:lnTo>
                    <a:pt x="93" y="192"/>
                  </a:lnTo>
                  <a:close/>
                  <a:moveTo>
                    <a:pt x="137" y="192"/>
                  </a:moveTo>
                  <a:lnTo>
                    <a:pt x="169" y="192"/>
                  </a:lnTo>
                  <a:lnTo>
                    <a:pt x="169" y="179"/>
                  </a:lnTo>
                  <a:lnTo>
                    <a:pt x="137" y="179"/>
                  </a:lnTo>
                  <a:lnTo>
                    <a:pt x="137" y="192"/>
                  </a:lnTo>
                  <a:close/>
                  <a:moveTo>
                    <a:pt x="93" y="165"/>
                  </a:moveTo>
                  <a:lnTo>
                    <a:pt x="123" y="165"/>
                  </a:lnTo>
                  <a:lnTo>
                    <a:pt x="123" y="155"/>
                  </a:lnTo>
                  <a:lnTo>
                    <a:pt x="93" y="155"/>
                  </a:lnTo>
                  <a:lnTo>
                    <a:pt x="93" y="165"/>
                  </a:lnTo>
                  <a:close/>
                  <a:moveTo>
                    <a:pt x="137" y="165"/>
                  </a:moveTo>
                  <a:lnTo>
                    <a:pt x="169" y="165"/>
                  </a:lnTo>
                  <a:lnTo>
                    <a:pt x="169" y="155"/>
                  </a:lnTo>
                  <a:lnTo>
                    <a:pt x="137" y="155"/>
                  </a:lnTo>
                  <a:lnTo>
                    <a:pt x="137" y="165"/>
                  </a:lnTo>
                  <a:close/>
                  <a:moveTo>
                    <a:pt x="93" y="138"/>
                  </a:moveTo>
                  <a:lnTo>
                    <a:pt x="123" y="138"/>
                  </a:lnTo>
                  <a:lnTo>
                    <a:pt x="123" y="128"/>
                  </a:lnTo>
                  <a:lnTo>
                    <a:pt x="93" y="128"/>
                  </a:lnTo>
                  <a:lnTo>
                    <a:pt x="93" y="138"/>
                  </a:lnTo>
                  <a:close/>
                  <a:moveTo>
                    <a:pt x="137" y="138"/>
                  </a:moveTo>
                  <a:lnTo>
                    <a:pt x="169" y="138"/>
                  </a:lnTo>
                  <a:lnTo>
                    <a:pt x="169" y="128"/>
                  </a:lnTo>
                  <a:lnTo>
                    <a:pt x="137" y="128"/>
                  </a:lnTo>
                  <a:lnTo>
                    <a:pt x="137" y="138"/>
                  </a:lnTo>
                  <a:close/>
                  <a:moveTo>
                    <a:pt x="93" y="113"/>
                  </a:moveTo>
                  <a:lnTo>
                    <a:pt x="123" y="113"/>
                  </a:lnTo>
                  <a:lnTo>
                    <a:pt x="123" y="101"/>
                  </a:lnTo>
                  <a:lnTo>
                    <a:pt x="93" y="101"/>
                  </a:lnTo>
                  <a:lnTo>
                    <a:pt x="93" y="113"/>
                  </a:lnTo>
                  <a:close/>
                  <a:moveTo>
                    <a:pt x="137" y="113"/>
                  </a:moveTo>
                  <a:lnTo>
                    <a:pt x="169" y="113"/>
                  </a:lnTo>
                  <a:lnTo>
                    <a:pt x="169" y="101"/>
                  </a:lnTo>
                  <a:lnTo>
                    <a:pt x="137" y="101"/>
                  </a:lnTo>
                  <a:lnTo>
                    <a:pt x="137" y="113"/>
                  </a:lnTo>
                  <a:close/>
                  <a:moveTo>
                    <a:pt x="12" y="268"/>
                  </a:moveTo>
                  <a:lnTo>
                    <a:pt x="32" y="268"/>
                  </a:lnTo>
                  <a:lnTo>
                    <a:pt x="32" y="336"/>
                  </a:lnTo>
                  <a:lnTo>
                    <a:pt x="12" y="336"/>
                  </a:lnTo>
                  <a:lnTo>
                    <a:pt x="12" y="268"/>
                  </a:lnTo>
                  <a:close/>
                  <a:moveTo>
                    <a:pt x="191" y="196"/>
                  </a:moveTo>
                  <a:lnTo>
                    <a:pt x="218" y="196"/>
                  </a:lnTo>
                  <a:lnTo>
                    <a:pt x="218" y="336"/>
                  </a:lnTo>
                  <a:lnTo>
                    <a:pt x="191" y="336"/>
                  </a:lnTo>
                  <a:lnTo>
                    <a:pt x="191" y="196"/>
                  </a:lnTo>
                  <a:close/>
                  <a:moveTo>
                    <a:pt x="42" y="128"/>
                  </a:moveTo>
                  <a:lnTo>
                    <a:pt x="69" y="128"/>
                  </a:lnTo>
                  <a:lnTo>
                    <a:pt x="69" y="336"/>
                  </a:lnTo>
                  <a:lnTo>
                    <a:pt x="42" y="336"/>
                  </a:lnTo>
                  <a:lnTo>
                    <a:pt x="42" y="128"/>
                  </a:lnTo>
                  <a:close/>
                  <a:moveTo>
                    <a:pt x="81" y="91"/>
                  </a:moveTo>
                  <a:lnTo>
                    <a:pt x="130" y="49"/>
                  </a:lnTo>
                  <a:lnTo>
                    <a:pt x="181" y="91"/>
                  </a:lnTo>
                  <a:lnTo>
                    <a:pt x="181" y="336"/>
                  </a:lnTo>
                  <a:lnTo>
                    <a:pt x="81" y="336"/>
                  </a:lnTo>
                  <a:lnTo>
                    <a:pt x="81" y="91"/>
                  </a:lnTo>
                  <a:close/>
                  <a:moveTo>
                    <a:pt x="125" y="0"/>
                  </a:moveTo>
                  <a:lnTo>
                    <a:pt x="125" y="40"/>
                  </a:lnTo>
                  <a:lnTo>
                    <a:pt x="71" y="84"/>
                  </a:lnTo>
                  <a:lnTo>
                    <a:pt x="69" y="84"/>
                  </a:lnTo>
                  <a:lnTo>
                    <a:pt x="69" y="89"/>
                  </a:lnTo>
                  <a:lnTo>
                    <a:pt x="69" y="118"/>
                  </a:lnTo>
                  <a:lnTo>
                    <a:pt x="37" y="118"/>
                  </a:lnTo>
                  <a:lnTo>
                    <a:pt x="32" y="118"/>
                  </a:lnTo>
                  <a:lnTo>
                    <a:pt x="32" y="123"/>
                  </a:lnTo>
                  <a:lnTo>
                    <a:pt x="32" y="258"/>
                  </a:lnTo>
                  <a:lnTo>
                    <a:pt x="7" y="258"/>
                  </a:lnTo>
                  <a:lnTo>
                    <a:pt x="0" y="258"/>
                  </a:lnTo>
                  <a:lnTo>
                    <a:pt x="0" y="263"/>
                  </a:lnTo>
                  <a:lnTo>
                    <a:pt x="0" y="341"/>
                  </a:lnTo>
                  <a:lnTo>
                    <a:pt x="0" y="348"/>
                  </a:lnTo>
                  <a:lnTo>
                    <a:pt x="7" y="348"/>
                  </a:lnTo>
                  <a:lnTo>
                    <a:pt x="223" y="348"/>
                  </a:lnTo>
                  <a:lnTo>
                    <a:pt x="230" y="348"/>
                  </a:lnTo>
                  <a:lnTo>
                    <a:pt x="230" y="187"/>
                  </a:lnTo>
                  <a:lnTo>
                    <a:pt x="223" y="187"/>
                  </a:lnTo>
                  <a:lnTo>
                    <a:pt x="191" y="187"/>
                  </a:lnTo>
                  <a:lnTo>
                    <a:pt x="191" y="89"/>
                  </a:lnTo>
                  <a:lnTo>
                    <a:pt x="191" y="84"/>
                  </a:lnTo>
                  <a:lnTo>
                    <a:pt x="189" y="84"/>
                  </a:lnTo>
                  <a:lnTo>
                    <a:pt x="135" y="40"/>
                  </a:lnTo>
                  <a:lnTo>
                    <a:pt x="135" y="0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3" name="Group 632">
            <a:extLst>
              <a:ext uri="{FF2B5EF4-FFF2-40B4-BE49-F238E27FC236}">
                <a16:creationId xmlns:a16="http://schemas.microsoft.com/office/drawing/2014/main" id="{F2CE4211-2756-4D57-A7FB-6BC31F4DF87E}"/>
              </a:ext>
            </a:extLst>
          </p:cNvPr>
          <p:cNvGrpSpPr/>
          <p:nvPr/>
        </p:nvGrpSpPr>
        <p:grpSpPr>
          <a:xfrm>
            <a:off x="4770438" y="4102894"/>
            <a:ext cx="844550" cy="844550"/>
            <a:chOff x="4770438" y="4089400"/>
            <a:chExt cx="844550" cy="844550"/>
          </a:xfrm>
        </p:grpSpPr>
        <p:sp>
          <p:nvSpPr>
            <p:cNvPr id="629" name="AutoShape 210">
              <a:extLst>
                <a:ext uri="{FF2B5EF4-FFF2-40B4-BE49-F238E27FC236}">
                  <a16:creationId xmlns:a16="http://schemas.microsoft.com/office/drawing/2014/main" id="{4AF4E11F-4F0E-4CA9-91F3-1085B41BCC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0438" y="40894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0" name="Oval 212">
              <a:extLst>
                <a:ext uri="{FF2B5EF4-FFF2-40B4-BE49-F238E27FC236}">
                  <a16:creationId xmlns:a16="http://schemas.microsoft.com/office/drawing/2014/main" id="{4621C8D9-BA3C-43DB-9F27-31558568C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8" y="408940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1" name="Freeform 213">
              <a:extLst>
                <a:ext uri="{FF2B5EF4-FFF2-40B4-BE49-F238E27FC236}">
                  <a16:creationId xmlns:a16="http://schemas.microsoft.com/office/drawing/2014/main" id="{BCBF4E1F-7043-41FA-B5E4-2CBBA5C35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9013" y="411797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2" name="Freeform 214">
              <a:extLst>
                <a:ext uri="{FF2B5EF4-FFF2-40B4-BE49-F238E27FC236}">
                  <a16:creationId xmlns:a16="http://schemas.microsoft.com/office/drawing/2014/main" id="{9CC0967A-94FC-4EC2-AD36-3C9ADE3DE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6338" y="4206875"/>
              <a:ext cx="381000" cy="577850"/>
            </a:xfrm>
            <a:custGeom>
              <a:avLst/>
              <a:gdLst>
                <a:gd name="T0" fmla="*/ 128 w 240"/>
                <a:gd name="T1" fmla="*/ 325 h 364"/>
                <a:gd name="T2" fmla="*/ 143 w 240"/>
                <a:gd name="T3" fmla="*/ 336 h 364"/>
                <a:gd name="T4" fmla="*/ 143 w 240"/>
                <a:gd name="T5" fmla="*/ 325 h 364"/>
                <a:gd name="T6" fmla="*/ 128 w 240"/>
                <a:gd name="T7" fmla="*/ 310 h 364"/>
                <a:gd name="T8" fmla="*/ 97 w 240"/>
                <a:gd name="T9" fmla="*/ 310 h 364"/>
                <a:gd name="T10" fmla="*/ 176 w 240"/>
                <a:gd name="T11" fmla="*/ 297 h 364"/>
                <a:gd name="T12" fmla="*/ 97 w 240"/>
                <a:gd name="T13" fmla="*/ 282 h 364"/>
                <a:gd name="T14" fmla="*/ 97 w 240"/>
                <a:gd name="T15" fmla="*/ 269 h 364"/>
                <a:gd name="T16" fmla="*/ 176 w 240"/>
                <a:gd name="T17" fmla="*/ 282 h 364"/>
                <a:gd name="T18" fmla="*/ 143 w 240"/>
                <a:gd name="T19" fmla="*/ 282 h 364"/>
                <a:gd name="T20" fmla="*/ 128 w 240"/>
                <a:gd name="T21" fmla="*/ 243 h 364"/>
                <a:gd name="T22" fmla="*/ 143 w 240"/>
                <a:gd name="T23" fmla="*/ 254 h 364"/>
                <a:gd name="T24" fmla="*/ 143 w 240"/>
                <a:gd name="T25" fmla="*/ 243 h 364"/>
                <a:gd name="T26" fmla="*/ 128 w 240"/>
                <a:gd name="T27" fmla="*/ 225 h 364"/>
                <a:gd name="T28" fmla="*/ 97 w 240"/>
                <a:gd name="T29" fmla="*/ 225 h 364"/>
                <a:gd name="T30" fmla="*/ 176 w 240"/>
                <a:gd name="T31" fmla="*/ 215 h 364"/>
                <a:gd name="T32" fmla="*/ 97 w 240"/>
                <a:gd name="T33" fmla="*/ 200 h 364"/>
                <a:gd name="T34" fmla="*/ 97 w 240"/>
                <a:gd name="T35" fmla="*/ 187 h 364"/>
                <a:gd name="T36" fmla="*/ 176 w 240"/>
                <a:gd name="T37" fmla="*/ 200 h 364"/>
                <a:gd name="T38" fmla="*/ 143 w 240"/>
                <a:gd name="T39" fmla="*/ 200 h 364"/>
                <a:gd name="T40" fmla="*/ 128 w 240"/>
                <a:gd name="T41" fmla="*/ 161 h 364"/>
                <a:gd name="T42" fmla="*/ 143 w 240"/>
                <a:gd name="T43" fmla="*/ 172 h 364"/>
                <a:gd name="T44" fmla="*/ 143 w 240"/>
                <a:gd name="T45" fmla="*/ 161 h 364"/>
                <a:gd name="T46" fmla="*/ 128 w 240"/>
                <a:gd name="T47" fmla="*/ 144 h 364"/>
                <a:gd name="T48" fmla="*/ 97 w 240"/>
                <a:gd name="T49" fmla="*/ 144 h 364"/>
                <a:gd name="T50" fmla="*/ 176 w 240"/>
                <a:gd name="T51" fmla="*/ 133 h 364"/>
                <a:gd name="T52" fmla="*/ 97 w 240"/>
                <a:gd name="T53" fmla="*/ 118 h 364"/>
                <a:gd name="T54" fmla="*/ 97 w 240"/>
                <a:gd name="T55" fmla="*/ 105 h 364"/>
                <a:gd name="T56" fmla="*/ 176 w 240"/>
                <a:gd name="T57" fmla="*/ 118 h 364"/>
                <a:gd name="T58" fmla="*/ 143 w 240"/>
                <a:gd name="T59" fmla="*/ 118 h 364"/>
                <a:gd name="T60" fmla="*/ 33 w 240"/>
                <a:gd name="T61" fmla="*/ 351 h 364"/>
                <a:gd name="T62" fmla="*/ 199 w 240"/>
                <a:gd name="T63" fmla="*/ 205 h 364"/>
                <a:gd name="T64" fmla="*/ 199 w 240"/>
                <a:gd name="T65" fmla="*/ 351 h 364"/>
                <a:gd name="T66" fmla="*/ 71 w 240"/>
                <a:gd name="T67" fmla="*/ 133 h 364"/>
                <a:gd name="T68" fmla="*/ 43 w 240"/>
                <a:gd name="T69" fmla="*/ 133 h 364"/>
                <a:gd name="T70" fmla="*/ 189 w 240"/>
                <a:gd name="T71" fmla="*/ 95 h 364"/>
                <a:gd name="T72" fmla="*/ 84 w 240"/>
                <a:gd name="T73" fmla="*/ 95 h 364"/>
                <a:gd name="T74" fmla="*/ 74 w 240"/>
                <a:gd name="T75" fmla="*/ 87 h 364"/>
                <a:gd name="T76" fmla="*/ 71 w 240"/>
                <a:gd name="T77" fmla="*/ 123 h 364"/>
                <a:gd name="T78" fmla="*/ 33 w 240"/>
                <a:gd name="T79" fmla="*/ 128 h 364"/>
                <a:gd name="T80" fmla="*/ 0 w 240"/>
                <a:gd name="T81" fmla="*/ 269 h 364"/>
                <a:gd name="T82" fmla="*/ 0 w 240"/>
                <a:gd name="T83" fmla="*/ 364 h 364"/>
                <a:gd name="T84" fmla="*/ 240 w 240"/>
                <a:gd name="T85" fmla="*/ 364 h 364"/>
                <a:gd name="T86" fmla="*/ 199 w 240"/>
                <a:gd name="T87" fmla="*/ 195 h 364"/>
                <a:gd name="T88" fmla="*/ 197 w 240"/>
                <a:gd name="T89" fmla="*/ 87 h 364"/>
                <a:gd name="T90" fmla="*/ 130 w 240"/>
                <a:gd name="T91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0" h="364">
                  <a:moveTo>
                    <a:pt x="97" y="336"/>
                  </a:moveTo>
                  <a:lnTo>
                    <a:pt x="128" y="336"/>
                  </a:lnTo>
                  <a:lnTo>
                    <a:pt x="128" y="325"/>
                  </a:lnTo>
                  <a:lnTo>
                    <a:pt x="97" y="325"/>
                  </a:lnTo>
                  <a:lnTo>
                    <a:pt x="97" y="336"/>
                  </a:lnTo>
                  <a:close/>
                  <a:moveTo>
                    <a:pt x="143" y="336"/>
                  </a:moveTo>
                  <a:lnTo>
                    <a:pt x="176" y="336"/>
                  </a:lnTo>
                  <a:lnTo>
                    <a:pt x="176" y="325"/>
                  </a:lnTo>
                  <a:lnTo>
                    <a:pt x="143" y="325"/>
                  </a:lnTo>
                  <a:lnTo>
                    <a:pt x="143" y="336"/>
                  </a:lnTo>
                  <a:close/>
                  <a:moveTo>
                    <a:pt x="97" y="310"/>
                  </a:moveTo>
                  <a:lnTo>
                    <a:pt x="128" y="310"/>
                  </a:lnTo>
                  <a:lnTo>
                    <a:pt x="128" y="297"/>
                  </a:lnTo>
                  <a:lnTo>
                    <a:pt x="97" y="297"/>
                  </a:lnTo>
                  <a:lnTo>
                    <a:pt x="97" y="310"/>
                  </a:lnTo>
                  <a:close/>
                  <a:moveTo>
                    <a:pt x="143" y="310"/>
                  </a:moveTo>
                  <a:lnTo>
                    <a:pt x="176" y="310"/>
                  </a:lnTo>
                  <a:lnTo>
                    <a:pt x="176" y="297"/>
                  </a:lnTo>
                  <a:lnTo>
                    <a:pt x="143" y="297"/>
                  </a:lnTo>
                  <a:lnTo>
                    <a:pt x="143" y="310"/>
                  </a:lnTo>
                  <a:close/>
                  <a:moveTo>
                    <a:pt x="97" y="282"/>
                  </a:moveTo>
                  <a:lnTo>
                    <a:pt x="128" y="282"/>
                  </a:lnTo>
                  <a:lnTo>
                    <a:pt x="128" y="269"/>
                  </a:lnTo>
                  <a:lnTo>
                    <a:pt x="97" y="269"/>
                  </a:lnTo>
                  <a:lnTo>
                    <a:pt x="97" y="282"/>
                  </a:lnTo>
                  <a:close/>
                  <a:moveTo>
                    <a:pt x="143" y="282"/>
                  </a:moveTo>
                  <a:lnTo>
                    <a:pt x="176" y="282"/>
                  </a:lnTo>
                  <a:lnTo>
                    <a:pt x="176" y="269"/>
                  </a:lnTo>
                  <a:lnTo>
                    <a:pt x="143" y="269"/>
                  </a:lnTo>
                  <a:lnTo>
                    <a:pt x="143" y="282"/>
                  </a:lnTo>
                  <a:close/>
                  <a:moveTo>
                    <a:pt x="97" y="254"/>
                  </a:moveTo>
                  <a:lnTo>
                    <a:pt x="128" y="254"/>
                  </a:lnTo>
                  <a:lnTo>
                    <a:pt x="128" y="243"/>
                  </a:lnTo>
                  <a:lnTo>
                    <a:pt x="97" y="243"/>
                  </a:lnTo>
                  <a:lnTo>
                    <a:pt x="97" y="254"/>
                  </a:lnTo>
                  <a:close/>
                  <a:moveTo>
                    <a:pt x="143" y="254"/>
                  </a:moveTo>
                  <a:lnTo>
                    <a:pt x="176" y="254"/>
                  </a:lnTo>
                  <a:lnTo>
                    <a:pt x="176" y="243"/>
                  </a:lnTo>
                  <a:lnTo>
                    <a:pt x="143" y="243"/>
                  </a:lnTo>
                  <a:lnTo>
                    <a:pt x="143" y="254"/>
                  </a:lnTo>
                  <a:close/>
                  <a:moveTo>
                    <a:pt x="97" y="225"/>
                  </a:moveTo>
                  <a:lnTo>
                    <a:pt x="128" y="225"/>
                  </a:lnTo>
                  <a:lnTo>
                    <a:pt x="128" y="215"/>
                  </a:lnTo>
                  <a:lnTo>
                    <a:pt x="97" y="215"/>
                  </a:lnTo>
                  <a:lnTo>
                    <a:pt x="97" y="225"/>
                  </a:lnTo>
                  <a:close/>
                  <a:moveTo>
                    <a:pt x="143" y="225"/>
                  </a:moveTo>
                  <a:lnTo>
                    <a:pt x="176" y="225"/>
                  </a:lnTo>
                  <a:lnTo>
                    <a:pt x="176" y="215"/>
                  </a:lnTo>
                  <a:lnTo>
                    <a:pt x="143" y="215"/>
                  </a:lnTo>
                  <a:lnTo>
                    <a:pt x="143" y="225"/>
                  </a:lnTo>
                  <a:close/>
                  <a:moveTo>
                    <a:pt x="97" y="200"/>
                  </a:moveTo>
                  <a:lnTo>
                    <a:pt x="128" y="200"/>
                  </a:lnTo>
                  <a:lnTo>
                    <a:pt x="128" y="187"/>
                  </a:lnTo>
                  <a:lnTo>
                    <a:pt x="97" y="187"/>
                  </a:lnTo>
                  <a:lnTo>
                    <a:pt x="97" y="200"/>
                  </a:lnTo>
                  <a:close/>
                  <a:moveTo>
                    <a:pt x="143" y="200"/>
                  </a:moveTo>
                  <a:lnTo>
                    <a:pt x="176" y="200"/>
                  </a:lnTo>
                  <a:lnTo>
                    <a:pt x="176" y="187"/>
                  </a:lnTo>
                  <a:lnTo>
                    <a:pt x="143" y="187"/>
                  </a:lnTo>
                  <a:lnTo>
                    <a:pt x="143" y="200"/>
                  </a:lnTo>
                  <a:close/>
                  <a:moveTo>
                    <a:pt x="97" y="172"/>
                  </a:moveTo>
                  <a:lnTo>
                    <a:pt x="128" y="172"/>
                  </a:lnTo>
                  <a:lnTo>
                    <a:pt x="128" y="161"/>
                  </a:lnTo>
                  <a:lnTo>
                    <a:pt x="97" y="161"/>
                  </a:lnTo>
                  <a:lnTo>
                    <a:pt x="97" y="172"/>
                  </a:lnTo>
                  <a:close/>
                  <a:moveTo>
                    <a:pt x="143" y="172"/>
                  </a:moveTo>
                  <a:lnTo>
                    <a:pt x="176" y="172"/>
                  </a:lnTo>
                  <a:lnTo>
                    <a:pt x="176" y="161"/>
                  </a:lnTo>
                  <a:lnTo>
                    <a:pt x="143" y="161"/>
                  </a:lnTo>
                  <a:lnTo>
                    <a:pt x="143" y="172"/>
                  </a:lnTo>
                  <a:close/>
                  <a:moveTo>
                    <a:pt x="97" y="144"/>
                  </a:moveTo>
                  <a:lnTo>
                    <a:pt x="128" y="144"/>
                  </a:lnTo>
                  <a:lnTo>
                    <a:pt x="128" y="133"/>
                  </a:lnTo>
                  <a:lnTo>
                    <a:pt x="97" y="133"/>
                  </a:lnTo>
                  <a:lnTo>
                    <a:pt x="97" y="144"/>
                  </a:lnTo>
                  <a:close/>
                  <a:moveTo>
                    <a:pt x="143" y="144"/>
                  </a:moveTo>
                  <a:lnTo>
                    <a:pt x="176" y="144"/>
                  </a:lnTo>
                  <a:lnTo>
                    <a:pt x="176" y="133"/>
                  </a:lnTo>
                  <a:lnTo>
                    <a:pt x="143" y="133"/>
                  </a:lnTo>
                  <a:lnTo>
                    <a:pt x="143" y="144"/>
                  </a:lnTo>
                  <a:close/>
                  <a:moveTo>
                    <a:pt x="97" y="118"/>
                  </a:moveTo>
                  <a:lnTo>
                    <a:pt x="128" y="118"/>
                  </a:lnTo>
                  <a:lnTo>
                    <a:pt x="128" y="105"/>
                  </a:lnTo>
                  <a:lnTo>
                    <a:pt x="97" y="105"/>
                  </a:lnTo>
                  <a:lnTo>
                    <a:pt x="97" y="118"/>
                  </a:lnTo>
                  <a:close/>
                  <a:moveTo>
                    <a:pt x="143" y="118"/>
                  </a:moveTo>
                  <a:lnTo>
                    <a:pt x="176" y="118"/>
                  </a:lnTo>
                  <a:lnTo>
                    <a:pt x="176" y="105"/>
                  </a:lnTo>
                  <a:lnTo>
                    <a:pt x="143" y="105"/>
                  </a:lnTo>
                  <a:lnTo>
                    <a:pt x="143" y="118"/>
                  </a:lnTo>
                  <a:close/>
                  <a:moveTo>
                    <a:pt x="12" y="279"/>
                  </a:moveTo>
                  <a:lnTo>
                    <a:pt x="33" y="279"/>
                  </a:lnTo>
                  <a:lnTo>
                    <a:pt x="33" y="351"/>
                  </a:lnTo>
                  <a:lnTo>
                    <a:pt x="12" y="351"/>
                  </a:lnTo>
                  <a:lnTo>
                    <a:pt x="12" y="279"/>
                  </a:lnTo>
                  <a:close/>
                  <a:moveTo>
                    <a:pt x="199" y="205"/>
                  </a:moveTo>
                  <a:lnTo>
                    <a:pt x="227" y="205"/>
                  </a:lnTo>
                  <a:lnTo>
                    <a:pt x="227" y="351"/>
                  </a:lnTo>
                  <a:lnTo>
                    <a:pt x="199" y="351"/>
                  </a:lnTo>
                  <a:lnTo>
                    <a:pt x="199" y="205"/>
                  </a:lnTo>
                  <a:close/>
                  <a:moveTo>
                    <a:pt x="43" y="133"/>
                  </a:moveTo>
                  <a:lnTo>
                    <a:pt x="71" y="133"/>
                  </a:lnTo>
                  <a:lnTo>
                    <a:pt x="71" y="351"/>
                  </a:lnTo>
                  <a:lnTo>
                    <a:pt x="43" y="351"/>
                  </a:lnTo>
                  <a:lnTo>
                    <a:pt x="43" y="133"/>
                  </a:lnTo>
                  <a:close/>
                  <a:moveTo>
                    <a:pt x="84" y="95"/>
                  </a:moveTo>
                  <a:lnTo>
                    <a:pt x="135" y="51"/>
                  </a:lnTo>
                  <a:lnTo>
                    <a:pt x="189" y="95"/>
                  </a:lnTo>
                  <a:lnTo>
                    <a:pt x="189" y="351"/>
                  </a:lnTo>
                  <a:lnTo>
                    <a:pt x="84" y="351"/>
                  </a:lnTo>
                  <a:lnTo>
                    <a:pt x="84" y="95"/>
                  </a:lnTo>
                  <a:close/>
                  <a:moveTo>
                    <a:pt x="130" y="0"/>
                  </a:moveTo>
                  <a:lnTo>
                    <a:pt x="130" y="41"/>
                  </a:lnTo>
                  <a:lnTo>
                    <a:pt x="74" y="87"/>
                  </a:lnTo>
                  <a:lnTo>
                    <a:pt x="71" y="87"/>
                  </a:lnTo>
                  <a:lnTo>
                    <a:pt x="71" y="92"/>
                  </a:lnTo>
                  <a:lnTo>
                    <a:pt x="71" y="123"/>
                  </a:lnTo>
                  <a:lnTo>
                    <a:pt x="38" y="123"/>
                  </a:lnTo>
                  <a:lnTo>
                    <a:pt x="33" y="123"/>
                  </a:lnTo>
                  <a:lnTo>
                    <a:pt x="33" y="128"/>
                  </a:lnTo>
                  <a:lnTo>
                    <a:pt x="33" y="269"/>
                  </a:lnTo>
                  <a:lnTo>
                    <a:pt x="7" y="269"/>
                  </a:lnTo>
                  <a:lnTo>
                    <a:pt x="0" y="269"/>
                  </a:lnTo>
                  <a:lnTo>
                    <a:pt x="0" y="274"/>
                  </a:lnTo>
                  <a:lnTo>
                    <a:pt x="0" y="356"/>
                  </a:lnTo>
                  <a:lnTo>
                    <a:pt x="0" y="364"/>
                  </a:lnTo>
                  <a:lnTo>
                    <a:pt x="7" y="364"/>
                  </a:lnTo>
                  <a:lnTo>
                    <a:pt x="233" y="364"/>
                  </a:lnTo>
                  <a:lnTo>
                    <a:pt x="240" y="364"/>
                  </a:lnTo>
                  <a:lnTo>
                    <a:pt x="240" y="195"/>
                  </a:lnTo>
                  <a:lnTo>
                    <a:pt x="233" y="195"/>
                  </a:lnTo>
                  <a:lnTo>
                    <a:pt x="199" y="195"/>
                  </a:lnTo>
                  <a:lnTo>
                    <a:pt x="199" y="92"/>
                  </a:lnTo>
                  <a:lnTo>
                    <a:pt x="199" y="87"/>
                  </a:lnTo>
                  <a:lnTo>
                    <a:pt x="197" y="87"/>
                  </a:lnTo>
                  <a:lnTo>
                    <a:pt x="140" y="41"/>
                  </a:lnTo>
                  <a:lnTo>
                    <a:pt x="140" y="0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1" name="Group 640">
            <a:extLst>
              <a:ext uri="{FF2B5EF4-FFF2-40B4-BE49-F238E27FC236}">
                <a16:creationId xmlns:a16="http://schemas.microsoft.com/office/drawing/2014/main" id="{6A163A8A-B597-4E80-8438-9783881B1FB0}"/>
              </a:ext>
            </a:extLst>
          </p:cNvPr>
          <p:cNvGrpSpPr/>
          <p:nvPr/>
        </p:nvGrpSpPr>
        <p:grpSpPr>
          <a:xfrm>
            <a:off x="7913688" y="4145757"/>
            <a:ext cx="758825" cy="758825"/>
            <a:chOff x="7913688" y="4140200"/>
            <a:chExt cx="758825" cy="758825"/>
          </a:xfrm>
        </p:grpSpPr>
        <p:sp>
          <p:nvSpPr>
            <p:cNvPr id="637" name="AutoShape 216">
              <a:extLst>
                <a:ext uri="{FF2B5EF4-FFF2-40B4-BE49-F238E27FC236}">
                  <a16:creationId xmlns:a16="http://schemas.microsoft.com/office/drawing/2014/main" id="{8110F121-44FA-4646-9E35-2392EAFAFF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13688" y="414020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8" name="Freeform 218">
              <a:extLst>
                <a:ext uri="{FF2B5EF4-FFF2-40B4-BE49-F238E27FC236}">
                  <a16:creationId xmlns:a16="http://schemas.microsoft.com/office/drawing/2014/main" id="{55804875-2F1E-4CD7-9A9B-9DBBDF4D6B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6863" y="414337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9" name="Freeform 219">
              <a:extLst>
                <a:ext uri="{FF2B5EF4-FFF2-40B4-BE49-F238E27FC236}">
                  <a16:creationId xmlns:a16="http://schemas.microsoft.com/office/drawing/2014/main" id="{B03D87E0-3885-45D3-AFE6-1A23564B5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96251" y="4268788"/>
              <a:ext cx="396875" cy="506413"/>
            </a:xfrm>
            <a:custGeom>
              <a:avLst/>
              <a:gdLst>
                <a:gd name="T0" fmla="*/ 84 w 250"/>
                <a:gd name="T1" fmla="*/ 294 h 319"/>
                <a:gd name="T2" fmla="*/ 47 w 250"/>
                <a:gd name="T3" fmla="*/ 284 h 319"/>
                <a:gd name="T4" fmla="*/ 106 w 250"/>
                <a:gd name="T5" fmla="*/ 294 h 319"/>
                <a:gd name="T6" fmla="*/ 145 w 250"/>
                <a:gd name="T7" fmla="*/ 284 h 319"/>
                <a:gd name="T8" fmla="*/ 106 w 250"/>
                <a:gd name="T9" fmla="*/ 294 h 319"/>
                <a:gd name="T10" fmla="*/ 79 w 250"/>
                <a:gd name="T11" fmla="*/ 265 h 319"/>
                <a:gd name="T12" fmla="*/ 42 w 250"/>
                <a:gd name="T13" fmla="*/ 255 h 319"/>
                <a:gd name="T14" fmla="*/ 103 w 250"/>
                <a:gd name="T15" fmla="*/ 265 h 319"/>
                <a:gd name="T16" fmla="*/ 140 w 250"/>
                <a:gd name="T17" fmla="*/ 255 h 319"/>
                <a:gd name="T18" fmla="*/ 103 w 250"/>
                <a:gd name="T19" fmla="*/ 265 h 319"/>
                <a:gd name="T20" fmla="*/ 76 w 250"/>
                <a:gd name="T21" fmla="*/ 238 h 319"/>
                <a:gd name="T22" fmla="*/ 37 w 250"/>
                <a:gd name="T23" fmla="*/ 225 h 319"/>
                <a:gd name="T24" fmla="*/ 98 w 250"/>
                <a:gd name="T25" fmla="*/ 238 h 319"/>
                <a:gd name="T26" fmla="*/ 137 w 250"/>
                <a:gd name="T27" fmla="*/ 225 h 319"/>
                <a:gd name="T28" fmla="*/ 98 w 250"/>
                <a:gd name="T29" fmla="*/ 238 h 319"/>
                <a:gd name="T30" fmla="*/ 71 w 250"/>
                <a:gd name="T31" fmla="*/ 208 h 319"/>
                <a:gd name="T32" fmla="*/ 35 w 250"/>
                <a:gd name="T33" fmla="*/ 196 h 319"/>
                <a:gd name="T34" fmla="*/ 96 w 250"/>
                <a:gd name="T35" fmla="*/ 208 h 319"/>
                <a:gd name="T36" fmla="*/ 133 w 250"/>
                <a:gd name="T37" fmla="*/ 196 h 319"/>
                <a:gd name="T38" fmla="*/ 96 w 250"/>
                <a:gd name="T39" fmla="*/ 208 h 319"/>
                <a:gd name="T40" fmla="*/ 69 w 250"/>
                <a:gd name="T41" fmla="*/ 179 h 319"/>
                <a:gd name="T42" fmla="*/ 30 w 250"/>
                <a:gd name="T43" fmla="*/ 169 h 319"/>
                <a:gd name="T44" fmla="*/ 91 w 250"/>
                <a:gd name="T45" fmla="*/ 179 h 319"/>
                <a:gd name="T46" fmla="*/ 128 w 250"/>
                <a:gd name="T47" fmla="*/ 169 h 319"/>
                <a:gd name="T48" fmla="*/ 91 w 250"/>
                <a:gd name="T49" fmla="*/ 179 h 319"/>
                <a:gd name="T50" fmla="*/ 86 w 250"/>
                <a:gd name="T51" fmla="*/ 120 h 319"/>
                <a:gd name="T52" fmla="*/ 155 w 250"/>
                <a:gd name="T53" fmla="*/ 196 h 319"/>
                <a:gd name="T54" fmla="*/ 179 w 250"/>
                <a:gd name="T55" fmla="*/ 208 h 319"/>
                <a:gd name="T56" fmla="*/ 160 w 250"/>
                <a:gd name="T57" fmla="*/ 225 h 319"/>
                <a:gd name="T58" fmla="*/ 179 w 250"/>
                <a:gd name="T59" fmla="*/ 238 h 319"/>
                <a:gd name="T60" fmla="*/ 164 w 250"/>
                <a:gd name="T61" fmla="*/ 255 h 319"/>
                <a:gd name="T62" fmla="*/ 179 w 250"/>
                <a:gd name="T63" fmla="*/ 265 h 319"/>
                <a:gd name="T64" fmla="*/ 167 w 250"/>
                <a:gd name="T65" fmla="*/ 284 h 319"/>
                <a:gd name="T66" fmla="*/ 179 w 250"/>
                <a:gd name="T67" fmla="*/ 294 h 319"/>
                <a:gd name="T68" fmla="*/ 32 w 250"/>
                <a:gd name="T69" fmla="*/ 309 h 319"/>
                <a:gd name="T70" fmla="*/ 59 w 250"/>
                <a:gd name="T71" fmla="*/ 76 h 319"/>
                <a:gd name="T72" fmla="*/ 187 w 250"/>
                <a:gd name="T73" fmla="*/ 44 h 319"/>
                <a:gd name="T74" fmla="*/ 118 w 250"/>
                <a:gd name="T75" fmla="*/ 54 h 319"/>
                <a:gd name="T76" fmla="*/ 211 w 250"/>
                <a:gd name="T77" fmla="*/ 76 h 319"/>
                <a:gd name="T78" fmla="*/ 91 w 250"/>
                <a:gd name="T79" fmla="*/ 86 h 319"/>
                <a:gd name="T80" fmla="*/ 226 w 250"/>
                <a:gd name="T81" fmla="*/ 105 h 319"/>
                <a:gd name="T82" fmla="*/ 128 w 250"/>
                <a:gd name="T83" fmla="*/ 118 h 319"/>
                <a:gd name="T84" fmla="*/ 238 w 250"/>
                <a:gd name="T85" fmla="*/ 135 h 319"/>
                <a:gd name="T86" fmla="*/ 164 w 250"/>
                <a:gd name="T87" fmla="*/ 137 h 319"/>
                <a:gd name="T88" fmla="*/ 236 w 250"/>
                <a:gd name="T89" fmla="*/ 149 h 319"/>
                <a:gd name="T90" fmla="*/ 201 w 250"/>
                <a:gd name="T91" fmla="*/ 169 h 319"/>
                <a:gd name="T92" fmla="*/ 233 w 250"/>
                <a:gd name="T93" fmla="*/ 181 h 319"/>
                <a:gd name="T94" fmla="*/ 189 w 250"/>
                <a:gd name="T95" fmla="*/ 309 h 319"/>
                <a:gd name="T96" fmla="*/ 189 w 250"/>
                <a:gd name="T97" fmla="*/ 194 h 319"/>
                <a:gd name="T98" fmla="*/ 91 w 250"/>
                <a:gd name="T99" fmla="*/ 110 h 319"/>
                <a:gd name="T100" fmla="*/ 84 w 250"/>
                <a:gd name="T101" fmla="*/ 108 h 319"/>
                <a:gd name="T102" fmla="*/ 59 w 250"/>
                <a:gd name="T103" fmla="*/ 76 h 319"/>
                <a:gd name="T104" fmla="*/ 115 w 250"/>
                <a:gd name="T105" fmla="*/ 2 h 319"/>
                <a:gd name="T106" fmla="*/ 47 w 250"/>
                <a:gd name="T107" fmla="*/ 73 h 319"/>
                <a:gd name="T108" fmla="*/ 52 w 250"/>
                <a:gd name="T109" fmla="*/ 127 h 319"/>
                <a:gd name="T110" fmla="*/ 0 w 250"/>
                <a:gd name="T111" fmla="*/ 154 h 319"/>
                <a:gd name="T112" fmla="*/ 22 w 250"/>
                <a:gd name="T113" fmla="*/ 314 h 319"/>
                <a:gd name="T114" fmla="*/ 27 w 250"/>
                <a:gd name="T115" fmla="*/ 319 h 319"/>
                <a:gd name="T116" fmla="*/ 223 w 250"/>
                <a:gd name="T117" fmla="*/ 319 h 319"/>
                <a:gd name="T118" fmla="*/ 250 w 250"/>
                <a:gd name="T119" fmla="*/ 135 h 319"/>
                <a:gd name="T120" fmla="*/ 250 w 250"/>
                <a:gd name="T121" fmla="*/ 132 h 319"/>
                <a:gd name="T122" fmla="*/ 209 w 250"/>
                <a:gd name="T123" fmla="*/ 42 h 319"/>
                <a:gd name="T124" fmla="*/ 123 w 250"/>
                <a:gd name="T125" fmla="*/ 2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0" h="319">
                  <a:moveTo>
                    <a:pt x="47" y="294"/>
                  </a:moveTo>
                  <a:lnTo>
                    <a:pt x="84" y="294"/>
                  </a:lnTo>
                  <a:lnTo>
                    <a:pt x="84" y="284"/>
                  </a:lnTo>
                  <a:lnTo>
                    <a:pt x="47" y="284"/>
                  </a:lnTo>
                  <a:lnTo>
                    <a:pt x="47" y="294"/>
                  </a:lnTo>
                  <a:close/>
                  <a:moveTo>
                    <a:pt x="106" y="294"/>
                  </a:moveTo>
                  <a:lnTo>
                    <a:pt x="145" y="294"/>
                  </a:lnTo>
                  <a:lnTo>
                    <a:pt x="145" y="284"/>
                  </a:lnTo>
                  <a:lnTo>
                    <a:pt x="106" y="284"/>
                  </a:lnTo>
                  <a:lnTo>
                    <a:pt x="106" y="294"/>
                  </a:lnTo>
                  <a:close/>
                  <a:moveTo>
                    <a:pt x="42" y="265"/>
                  </a:moveTo>
                  <a:lnTo>
                    <a:pt x="79" y="265"/>
                  </a:lnTo>
                  <a:lnTo>
                    <a:pt x="79" y="255"/>
                  </a:lnTo>
                  <a:lnTo>
                    <a:pt x="42" y="255"/>
                  </a:lnTo>
                  <a:lnTo>
                    <a:pt x="42" y="265"/>
                  </a:lnTo>
                  <a:close/>
                  <a:moveTo>
                    <a:pt x="103" y="265"/>
                  </a:moveTo>
                  <a:lnTo>
                    <a:pt x="140" y="265"/>
                  </a:lnTo>
                  <a:lnTo>
                    <a:pt x="140" y="255"/>
                  </a:lnTo>
                  <a:lnTo>
                    <a:pt x="103" y="255"/>
                  </a:lnTo>
                  <a:lnTo>
                    <a:pt x="103" y="265"/>
                  </a:lnTo>
                  <a:close/>
                  <a:moveTo>
                    <a:pt x="37" y="238"/>
                  </a:moveTo>
                  <a:lnTo>
                    <a:pt x="76" y="238"/>
                  </a:lnTo>
                  <a:lnTo>
                    <a:pt x="76" y="225"/>
                  </a:lnTo>
                  <a:lnTo>
                    <a:pt x="37" y="225"/>
                  </a:lnTo>
                  <a:lnTo>
                    <a:pt x="37" y="238"/>
                  </a:lnTo>
                  <a:close/>
                  <a:moveTo>
                    <a:pt x="98" y="238"/>
                  </a:moveTo>
                  <a:lnTo>
                    <a:pt x="137" y="238"/>
                  </a:lnTo>
                  <a:lnTo>
                    <a:pt x="137" y="225"/>
                  </a:lnTo>
                  <a:lnTo>
                    <a:pt x="98" y="225"/>
                  </a:lnTo>
                  <a:lnTo>
                    <a:pt x="98" y="238"/>
                  </a:lnTo>
                  <a:close/>
                  <a:moveTo>
                    <a:pt x="35" y="208"/>
                  </a:moveTo>
                  <a:lnTo>
                    <a:pt x="71" y="208"/>
                  </a:lnTo>
                  <a:lnTo>
                    <a:pt x="71" y="196"/>
                  </a:lnTo>
                  <a:lnTo>
                    <a:pt x="35" y="196"/>
                  </a:lnTo>
                  <a:lnTo>
                    <a:pt x="35" y="208"/>
                  </a:lnTo>
                  <a:close/>
                  <a:moveTo>
                    <a:pt x="96" y="208"/>
                  </a:moveTo>
                  <a:lnTo>
                    <a:pt x="133" y="208"/>
                  </a:lnTo>
                  <a:lnTo>
                    <a:pt x="133" y="196"/>
                  </a:lnTo>
                  <a:lnTo>
                    <a:pt x="96" y="196"/>
                  </a:lnTo>
                  <a:lnTo>
                    <a:pt x="96" y="208"/>
                  </a:lnTo>
                  <a:close/>
                  <a:moveTo>
                    <a:pt x="30" y="179"/>
                  </a:moveTo>
                  <a:lnTo>
                    <a:pt x="69" y="179"/>
                  </a:lnTo>
                  <a:lnTo>
                    <a:pt x="69" y="169"/>
                  </a:lnTo>
                  <a:lnTo>
                    <a:pt x="30" y="169"/>
                  </a:lnTo>
                  <a:lnTo>
                    <a:pt x="30" y="179"/>
                  </a:lnTo>
                  <a:close/>
                  <a:moveTo>
                    <a:pt x="91" y="179"/>
                  </a:moveTo>
                  <a:lnTo>
                    <a:pt x="128" y="179"/>
                  </a:lnTo>
                  <a:lnTo>
                    <a:pt x="128" y="169"/>
                  </a:lnTo>
                  <a:lnTo>
                    <a:pt x="91" y="169"/>
                  </a:lnTo>
                  <a:lnTo>
                    <a:pt x="91" y="179"/>
                  </a:lnTo>
                  <a:close/>
                  <a:moveTo>
                    <a:pt x="12" y="159"/>
                  </a:moveTo>
                  <a:lnTo>
                    <a:pt x="86" y="120"/>
                  </a:lnTo>
                  <a:lnTo>
                    <a:pt x="177" y="196"/>
                  </a:lnTo>
                  <a:lnTo>
                    <a:pt x="155" y="196"/>
                  </a:lnTo>
                  <a:lnTo>
                    <a:pt x="155" y="208"/>
                  </a:lnTo>
                  <a:lnTo>
                    <a:pt x="179" y="208"/>
                  </a:lnTo>
                  <a:lnTo>
                    <a:pt x="179" y="225"/>
                  </a:lnTo>
                  <a:lnTo>
                    <a:pt x="160" y="225"/>
                  </a:lnTo>
                  <a:lnTo>
                    <a:pt x="160" y="238"/>
                  </a:lnTo>
                  <a:lnTo>
                    <a:pt x="179" y="238"/>
                  </a:lnTo>
                  <a:lnTo>
                    <a:pt x="179" y="255"/>
                  </a:lnTo>
                  <a:lnTo>
                    <a:pt x="164" y="255"/>
                  </a:lnTo>
                  <a:lnTo>
                    <a:pt x="164" y="265"/>
                  </a:lnTo>
                  <a:lnTo>
                    <a:pt x="179" y="265"/>
                  </a:lnTo>
                  <a:lnTo>
                    <a:pt x="179" y="284"/>
                  </a:lnTo>
                  <a:lnTo>
                    <a:pt x="167" y="284"/>
                  </a:lnTo>
                  <a:lnTo>
                    <a:pt x="167" y="294"/>
                  </a:lnTo>
                  <a:lnTo>
                    <a:pt x="179" y="294"/>
                  </a:lnTo>
                  <a:lnTo>
                    <a:pt x="179" y="309"/>
                  </a:lnTo>
                  <a:lnTo>
                    <a:pt x="32" y="309"/>
                  </a:lnTo>
                  <a:lnTo>
                    <a:pt x="12" y="159"/>
                  </a:lnTo>
                  <a:close/>
                  <a:moveTo>
                    <a:pt x="59" y="76"/>
                  </a:moveTo>
                  <a:lnTo>
                    <a:pt x="120" y="12"/>
                  </a:lnTo>
                  <a:lnTo>
                    <a:pt x="187" y="44"/>
                  </a:lnTo>
                  <a:lnTo>
                    <a:pt x="118" y="44"/>
                  </a:lnTo>
                  <a:lnTo>
                    <a:pt x="118" y="54"/>
                  </a:lnTo>
                  <a:lnTo>
                    <a:pt x="204" y="54"/>
                  </a:lnTo>
                  <a:lnTo>
                    <a:pt x="211" y="76"/>
                  </a:lnTo>
                  <a:lnTo>
                    <a:pt x="91" y="76"/>
                  </a:lnTo>
                  <a:lnTo>
                    <a:pt x="91" y="86"/>
                  </a:lnTo>
                  <a:lnTo>
                    <a:pt x="216" y="86"/>
                  </a:lnTo>
                  <a:lnTo>
                    <a:pt x="226" y="105"/>
                  </a:lnTo>
                  <a:lnTo>
                    <a:pt x="128" y="105"/>
                  </a:lnTo>
                  <a:lnTo>
                    <a:pt x="128" y="118"/>
                  </a:lnTo>
                  <a:lnTo>
                    <a:pt x="231" y="118"/>
                  </a:lnTo>
                  <a:lnTo>
                    <a:pt x="238" y="135"/>
                  </a:lnTo>
                  <a:lnTo>
                    <a:pt x="238" y="137"/>
                  </a:lnTo>
                  <a:lnTo>
                    <a:pt x="164" y="137"/>
                  </a:lnTo>
                  <a:lnTo>
                    <a:pt x="164" y="149"/>
                  </a:lnTo>
                  <a:lnTo>
                    <a:pt x="236" y="149"/>
                  </a:lnTo>
                  <a:lnTo>
                    <a:pt x="233" y="169"/>
                  </a:lnTo>
                  <a:lnTo>
                    <a:pt x="201" y="169"/>
                  </a:lnTo>
                  <a:lnTo>
                    <a:pt x="201" y="181"/>
                  </a:lnTo>
                  <a:lnTo>
                    <a:pt x="233" y="181"/>
                  </a:lnTo>
                  <a:lnTo>
                    <a:pt x="213" y="309"/>
                  </a:lnTo>
                  <a:lnTo>
                    <a:pt x="189" y="309"/>
                  </a:lnTo>
                  <a:lnTo>
                    <a:pt x="189" y="196"/>
                  </a:lnTo>
                  <a:lnTo>
                    <a:pt x="189" y="194"/>
                  </a:lnTo>
                  <a:lnTo>
                    <a:pt x="187" y="191"/>
                  </a:lnTo>
                  <a:lnTo>
                    <a:pt x="91" y="110"/>
                  </a:lnTo>
                  <a:lnTo>
                    <a:pt x="88" y="108"/>
                  </a:lnTo>
                  <a:lnTo>
                    <a:pt x="84" y="108"/>
                  </a:lnTo>
                  <a:lnTo>
                    <a:pt x="61" y="120"/>
                  </a:lnTo>
                  <a:lnTo>
                    <a:pt x="59" y="76"/>
                  </a:lnTo>
                  <a:close/>
                  <a:moveTo>
                    <a:pt x="118" y="0"/>
                  </a:moveTo>
                  <a:lnTo>
                    <a:pt x="115" y="2"/>
                  </a:lnTo>
                  <a:lnTo>
                    <a:pt x="49" y="71"/>
                  </a:lnTo>
                  <a:lnTo>
                    <a:pt x="47" y="73"/>
                  </a:lnTo>
                  <a:lnTo>
                    <a:pt x="49" y="76"/>
                  </a:lnTo>
                  <a:lnTo>
                    <a:pt x="52" y="127"/>
                  </a:lnTo>
                  <a:lnTo>
                    <a:pt x="3" y="152"/>
                  </a:lnTo>
                  <a:lnTo>
                    <a:pt x="0" y="154"/>
                  </a:lnTo>
                  <a:lnTo>
                    <a:pt x="0" y="157"/>
                  </a:lnTo>
                  <a:lnTo>
                    <a:pt x="22" y="314"/>
                  </a:lnTo>
                  <a:lnTo>
                    <a:pt x="22" y="319"/>
                  </a:lnTo>
                  <a:lnTo>
                    <a:pt x="27" y="319"/>
                  </a:lnTo>
                  <a:lnTo>
                    <a:pt x="218" y="319"/>
                  </a:lnTo>
                  <a:lnTo>
                    <a:pt x="223" y="319"/>
                  </a:lnTo>
                  <a:lnTo>
                    <a:pt x="223" y="314"/>
                  </a:lnTo>
                  <a:lnTo>
                    <a:pt x="250" y="135"/>
                  </a:lnTo>
                  <a:lnTo>
                    <a:pt x="250" y="132"/>
                  </a:lnTo>
                  <a:lnTo>
                    <a:pt x="250" y="132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09" y="42"/>
                  </a:lnTo>
                  <a:lnTo>
                    <a:pt x="123" y="2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0" name="Freeform 220">
              <a:extLst>
                <a:ext uri="{FF2B5EF4-FFF2-40B4-BE49-F238E27FC236}">
                  <a16:creationId xmlns:a16="http://schemas.microsoft.com/office/drawing/2014/main" id="{B0465800-D4C8-4877-BACF-66903B912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96251" y="4268788"/>
              <a:ext cx="396875" cy="506413"/>
            </a:xfrm>
            <a:custGeom>
              <a:avLst/>
              <a:gdLst>
                <a:gd name="T0" fmla="*/ 84 w 250"/>
                <a:gd name="T1" fmla="*/ 294 h 319"/>
                <a:gd name="T2" fmla="*/ 47 w 250"/>
                <a:gd name="T3" fmla="*/ 284 h 319"/>
                <a:gd name="T4" fmla="*/ 106 w 250"/>
                <a:gd name="T5" fmla="*/ 294 h 319"/>
                <a:gd name="T6" fmla="*/ 145 w 250"/>
                <a:gd name="T7" fmla="*/ 284 h 319"/>
                <a:gd name="T8" fmla="*/ 106 w 250"/>
                <a:gd name="T9" fmla="*/ 294 h 319"/>
                <a:gd name="T10" fmla="*/ 79 w 250"/>
                <a:gd name="T11" fmla="*/ 265 h 319"/>
                <a:gd name="T12" fmla="*/ 42 w 250"/>
                <a:gd name="T13" fmla="*/ 255 h 319"/>
                <a:gd name="T14" fmla="*/ 103 w 250"/>
                <a:gd name="T15" fmla="*/ 265 h 319"/>
                <a:gd name="T16" fmla="*/ 140 w 250"/>
                <a:gd name="T17" fmla="*/ 255 h 319"/>
                <a:gd name="T18" fmla="*/ 103 w 250"/>
                <a:gd name="T19" fmla="*/ 265 h 319"/>
                <a:gd name="T20" fmla="*/ 76 w 250"/>
                <a:gd name="T21" fmla="*/ 238 h 319"/>
                <a:gd name="T22" fmla="*/ 37 w 250"/>
                <a:gd name="T23" fmla="*/ 225 h 319"/>
                <a:gd name="T24" fmla="*/ 98 w 250"/>
                <a:gd name="T25" fmla="*/ 238 h 319"/>
                <a:gd name="T26" fmla="*/ 137 w 250"/>
                <a:gd name="T27" fmla="*/ 225 h 319"/>
                <a:gd name="T28" fmla="*/ 98 w 250"/>
                <a:gd name="T29" fmla="*/ 238 h 319"/>
                <a:gd name="T30" fmla="*/ 71 w 250"/>
                <a:gd name="T31" fmla="*/ 208 h 319"/>
                <a:gd name="T32" fmla="*/ 35 w 250"/>
                <a:gd name="T33" fmla="*/ 196 h 319"/>
                <a:gd name="T34" fmla="*/ 96 w 250"/>
                <a:gd name="T35" fmla="*/ 208 h 319"/>
                <a:gd name="T36" fmla="*/ 133 w 250"/>
                <a:gd name="T37" fmla="*/ 196 h 319"/>
                <a:gd name="T38" fmla="*/ 96 w 250"/>
                <a:gd name="T39" fmla="*/ 208 h 319"/>
                <a:gd name="T40" fmla="*/ 69 w 250"/>
                <a:gd name="T41" fmla="*/ 179 h 319"/>
                <a:gd name="T42" fmla="*/ 30 w 250"/>
                <a:gd name="T43" fmla="*/ 169 h 319"/>
                <a:gd name="T44" fmla="*/ 91 w 250"/>
                <a:gd name="T45" fmla="*/ 179 h 319"/>
                <a:gd name="T46" fmla="*/ 128 w 250"/>
                <a:gd name="T47" fmla="*/ 169 h 319"/>
                <a:gd name="T48" fmla="*/ 91 w 250"/>
                <a:gd name="T49" fmla="*/ 179 h 319"/>
                <a:gd name="T50" fmla="*/ 86 w 250"/>
                <a:gd name="T51" fmla="*/ 120 h 319"/>
                <a:gd name="T52" fmla="*/ 155 w 250"/>
                <a:gd name="T53" fmla="*/ 196 h 319"/>
                <a:gd name="T54" fmla="*/ 179 w 250"/>
                <a:gd name="T55" fmla="*/ 208 h 319"/>
                <a:gd name="T56" fmla="*/ 160 w 250"/>
                <a:gd name="T57" fmla="*/ 225 h 319"/>
                <a:gd name="T58" fmla="*/ 179 w 250"/>
                <a:gd name="T59" fmla="*/ 238 h 319"/>
                <a:gd name="T60" fmla="*/ 164 w 250"/>
                <a:gd name="T61" fmla="*/ 255 h 319"/>
                <a:gd name="T62" fmla="*/ 179 w 250"/>
                <a:gd name="T63" fmla="*/ 265 h 319"/>
                <a:gd name="T64" fmla="*/ 167 w 250"/>
                <a:gd name="T65" fmla="*/ 284 h 319"/>
                <a:gd name="T66" fmla="*/ 179 w 250"/>
                <a:gd name="T67" fmla="*/ 294 h 319"/>
                <a:gd name="T68" fmla="*/ 32 w 250"/>
                <a:gd name="T69" fmla="*/ 309 h 319"/>
                <a:gd name="T70" fmla="*/ 59 w 250"/>
                <a:gd name="T71" fmla="*/ 76 h 319"/>
                <a:gd name="T72" fmla="*/ 187 w 250"/>
                <a:gd name="T73" fmla="*/ 44 h 319"/>
                <a:gd name="T74" fmla="*/ 118 w 250"/>
                <a:gd name="T75" fmla="*/ 54 h 319"/>
                <a:gd name="T76" fmla="*/ 211 w 250"/>
                <a:gd name="T77" fmla="*/ 76 h 319"/>
                <a:gd name="T78" fmla="*/ 91 w 250"/>
                <a:gd name="T79" fmla="*/ 86 h 319"/>
                <a:gd name="T80" fmla="*/ 226 w 250"/>
                <a:gd name="T81" fmla="*/ 105 h 319"/>
                <a:gd name="T82" fmla="*/ 128 w 250"/>
                <a:gd name="T83" fmla="*/ 118 h 319"/>
                <a:gd name="T84" fmla="*/ 238 w 250"/>
                <a:gd name="T85" fmla="*/ 135 h 319"/>
                <a:gd name="T86" fmla="*/ 164 w 250"/>
                <a:gd name="T87" fmla="*/ 137 h 319"/>
                <a:gd name="T88" fmla="*/ 236 w 250"/>
                <a:gd name="T89" fmla="*/ 149 h 319"/>
                <a:gd name="T90" fmla="*/ 201 w 250"/>
                <a:gd name="T91" fmla="*/ 169 h 319"/>
                <a:gd name="T92" fmla="*/ 233 w 250"/>
                <a:gd name="T93" fmla="*/ 181 h 319"/>
                <a:gd name="T94" fmla="*/ 189 w 250"/>
                <a:gd name="T95" fmla="*/ 309 h 319"/>
                <a:gd name="T96" fmla="*/ 189 w 250"/>
                <a:gd name="T97" fmla="*/ 194 h 319"/>
                <a:gd name="T98" fmla="*/ 91 w 250"/>
                <a:gd name="T99" fmla="*/ 110 h 319"/>
                <a:gd name="T100" fmla="*/ 84 w 250"/>
                <a:gd name="T101" fmla="*/ 108 h 319"/>
                <a:gd name="T102" fmla="*/ 59 w 250"/>
                <a:gd name="T103" fmla="*/ 76 h 319"/>
                <a:gd name="T104" fmla="*/ 115 w 250"/>
                <a:gd name="T105" fmla="*/ 2 h 319"/>
                <a:gd name="T106" fmla="*/ 47 w 250"/>
                <a:gd name="T107" fmla="*/ 73 h 319"/>
                <a:gd name="T108" fmla="*/ 52 w 250"/>
                <a:gd name="T109" fmla="*/ 127 h 319"/>
                <a:gd name="T110" fmla="*/ 0 w 250"/>
                <a:gd name="T111" fmla="*/ 154 h 319"/>
                <a:gd name="T112" fmla="*/ 22 w 250"/>
                <a:gd name="T113" fmla="*/ 314 h 319"/>
                <a:gd name="T114" fmla="*/ 27 w 250"/>
                <a:gd name="T115" fmla="*/ 319 h 319"/>
                <a:gd name="T116" fmla="*/ 223 w 250"/>
                <a:gd name="T117" fmla="*/ 319 h 319"/>
                <a:gd name="T118" fmla="*/ 250 w 250"/>
                <a:gd name="T119" fmla="*/ 135 h 319"/>
                <a:gd name="T120" fmla="*/ 250 w 250"/>
                <a:gd name="T121" fmla="*/ 132 h 319"/>
                <a:gd name="T122" fmla="*/ 209 w 250"/>
                <a:gd name="T123" fmla="*/ 42 h 319"/>
                <a:gd name="T124" fmla="*/ 123 w 250"/>
                <a:gd name="T125" fmla="*/ 2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0" h="319">
                  <a:moveTo>
                    <a:pt x="47" y="294"/>
                  </a:moveTo>
                  <a:lnTo>
                    <a:pt x="84" y="294"/>
                  </a:lnTo>
                  <a:lnTo>
                    <a:pt x="84" y="284"/>
                  </a:lnTo>
                  <a:lnTo>
                    <a:pt x="47" y="284"/>
                  </a:lnTo>
                  <a:lnTo>
                    <a:pt x="47" y="294"/>
                  </a:lnTo>
                  <a:close/>
                  <a:moveTo>
                    <a:pt x="106" y="294"/>
                  </a:moveTo>
                  <a:lnTo>
                    <a:pt x="145" y="294"/>
                  </a:lnTo>
                  <a:lnTo>
                    <a:pt x="145" y="284"/>
                  </a:lnTo>
                  <a:lnTo>
                    <a:pt x="106" y="284"/>
                  </a:lnTo>
                  <a:lnTo>
                    <a:pt x="106" y="294"/>
                  </a:lnTo>
                  <a:close/>
                  <a:moveTo>
                    <a:pt x="42" y="265"/>
                  </a:moveTo>
                  <a:lnTo>
                    <a:pt x="79" y="265"/>
                  </a:lnTo>
                  <a:lnTo>
                    <a:pt x="79" y="255"/>
                  </a:lnTo>
                  <a:lnTo>
                    <a:pt x="42" y="255"/>
                  </a:lnTo>
                  <a:lnTo>
                    <a:pt x="42" y="265"/>
                  </a:lnTo>
                  <a:close/>
                  <a:moveTo>
                    <a:pt x="103" y="265"/>
                  </a:moveTo>
                  <a:lnTo>
                    <a:pt x="140" y="265"/>
                  </a:lnTo>
                  <a:lnTo>
                    <a:pt x="140" y="255"/>
                  </a:lnTo>
                  <a:lnTo>
                    <a:pt x="103" y="255"/>
                  </a:lnTo>
                  <a:lnTo>
                    <a:pt x="103" y="265"/>
                  </a:lnTo>
                  <a:close/>
                  <a:moveTo>
                    <a:pt x="37" y="238"/>
                  </a:moveTo>
                  <a:lnTo>
                    <a:pt x="76" y="238"/>
                  </a:lnTo>
                  <a:lnTo>
                    <a:pt x="76" y="225"/>
                  </a:lnTo>
                  <a:lnTo>
                    <a:pt x="37" y="225"/>
                  </a:lnTo>
                  <a:lnTo>
                    <a:pt x="37" y="238"/>
                  </a:lnTo>
                  <a:close/>
                  <a:moveTo>
                    <a:pt x="98" y="238"/>
                  </a:moveTo>
                  <a:lnTo>
                    <a:pt x="137" y="238"/>
                  </a:lnTo>
                  <a:lnTo>
                    <a:pt x="137" y="225"/>
                  </a:lnTo>
                  <a:lnTo>
                    <a:pt x="98" y="225"/>
                  </a:lnTo>
                  <a:lnTo>
                    <a:pt x="98" y="238"/>
                  </a:lnTo>
                  <a:close/>
                  <a:moveTo>
                    <a:pt x="35" y="208"/>
                  </a:moveTo>
                  <a:lnTo>
                    <a:pt x="71" y="208"/>
                  </a:lnTo>
                  <a:lnTo>
                    <a:pt x="71" y="196"/>
                  </a:lnTo>
                  <a:lnTo>
                    <a:pt x="35" y="196"/>
                  </a:lnTo>
                  <a:lnTo>
                    <a:pt x="35" y="208"/>
                  </a:lnTo>
                  <a:close/>
                  <a:moveTo>
                    <a:pt x="96" y="208"/>
                  </a:moveTo>
                  <a:lnTo>
                    <a:pt x="133" y="208"/>
                  </a:lnTo>
                  <a:lnTo>
                    <a:pt x="133" y="196"/>
                  </a:lnTo>
                  <a:lnTo>
                    <a:pt x="96" y="196"/>
                  </a:lnTo>
                  <a:lnTo>
                    <a:pt x="96" y="208"/>
                  </a:lnTo>
                  <a:close/>
                  <a:moveTo>
                    <a:pt x="30" y="179"/>
                  </a:moveTo>
                  <a:lnTo>
                    <a:pt x="69" y="179"/>
                  </a:lnTo>
                  <a:lnTo>
                    <a:pt x="69" y="169"/>
                  </a:lnTo>
                  <a:lnTo>
                    <a:pt x="30" y="169"/>
                  </a:lnTo>
                  <a:lnTo>
                    <a:pt x="30" y="179"/>
                  </a:lnTo>
                  <a:close/>
                  <a:moveTo>
                    <a:pt x="91" y="179"/>
                  </a:moveTo>
                  <a:lnTo>
                    <a:pt x="128" y="179"/>
                  </a:lnTo>
                  <a:lnTo>
                    <a:pt x="128" y="169"/>
                  </a:lnTo>
                  <a:lnTo>
                    <a:pt x="91" y="169"/>
                  </a:lnTo>
                  <a:lnTo>
                    <a:pt x="91" y="179"/>
                  </a:lnTo>
                  <a:close/>
                  <a:moveTo>
                    <a:pt x="12" y="159"/>
                  </a:moveTo>
                  <a:lnTo>
                    <a:pt x="86" y="120"/>
                  </a:lnTo>
                  <a:lnTo>
                    <a:pt x="177" y="196"/>
                  </a:lnTo>
                  <a:lnTo>
                    <a:pt x="155" y="196"/>
                  </a:lnTo>
                  <a:lnTo>
                    <a:pt x="155" y="208"/>
                  </a:lnTo>
                  <a:lnTo>
                    <a:pt x="179" y="208"/>
                  </a:lnTo>
                  <a:lnTo>
                    <a:pt x="179" y="225"/>
                  </a:lnTo>
                  <a:lnTo>
                    <a:pt x="160" y="225"/>
                  </a:lnTo>
                  <a:lnTo>
                    <a:pt x="160" y="238"/>
                  </a:lnTo>
                  <a:lnTo>
                    <a:pt x="179" y="238"/>
                  </a:lnTo>
                  <a:lnTo>
                    <a:pt x="179" y="255"/>
                  </a:lnTo>
                  <a:lnTo>
                    <a:pt x="164" y="255"/>
                  </a:lnTo>
                  <a:lnTo>
                    <a:pt x="164" y="265"/>
                  </a:lnTo>
                  <a:lnTo>
                    <a:pt x="179" y="265"/>
                  </a:lnTo>
                  <a:lnTo>
                    <a:pt x="179" y="284"/>
                  </a:lnTo>
                  <a:lnTo>
                    <a:pt x="167" y="284"/>
                  </a:lnTo>
                  <a:lnTo>
                    <a:pt x="167" y="294"/>
                  </a:lnTo>
                  <a:lnTo>
                    <a:pt x="179" y="294"/>
                  </a:lnTo>
                  <a:lnTo>
                    <a:pt x="179" y="309"/>
                  </a:lnTo>
                  <a:lnTo>
                    <a:pt x="32" y="309"/>
                  </a:lnTo>
                  <a:lnTo>
                    <a:pt x="12" y="159"/>
                  </a:lnTo>
                  <a:close/>
                  <a:moveTo>
                    <a:pt x="59" y="76"/>
                  </a:moveTo>
                  <a:lnTo>
                    <a:pt x="120" y="12"/>
                  </a:lnTo>
                  <a:lnTo>
                    <a:pt x="187" y="44"/>
                  </a:lnTo>
                  <a:lnTo>
                    <a:pt x="118" y="44"/>
                  </a:lnTo>
                  <a:lnTo>
                    <a:pt x="118" y="54"/>
                  </a:lnTo>
                  <a:lnTo>
                    <a:pt x="204" y="54"/>
                  </a:lnTo>
                  <a:lnTo>
                    <a:pt x="211" y="76"/>
                  </a:lnTo>
                  <a:lnTo>
                    <a:pt x="91" y="76"/>
                  </a:lnTo>
                  <a:lnTo>
                    <a:pt x="91" y="86"/>
                  </a:lnTo>
                  <a:lnTo>
                    <a:pt x="216" y="86"/>
                  </a:lnTo>
                  <a:lnTo>
                    <a:pt x="226" y="105"/>
                  </a:lnTo>
                  <a:lnTo>
                    <a:pt x="128" y="105"/>
                  </a:lnTo>
                  <a:lnTo>
                    <a:pt x="128" y="118"/>
                  </a:lnTo>
                  <a:lnTo>
                    <a:pt x="231" y="118"/>
                  </a:lnTo>
                  <a:lnTo>
                    <a:pt x="238" y="135"/>
                  </a:lnTo>
                  <a:lnTo>
                    <a:pt x="238" y="137"/>
                  </a:lnTo>
                  <a:lnTo>
                    <a:pt x="164" y="137"/>
                  </a:lnTo>
                  <a:lnTo>
                    <a:pt x="164" y="149"/>
                  </a:lnTo>
                  <a:lnTo>
                    <a:pt x="236" y="149"/>
                  </a:lnTo>
                  <a:lnTo>
                    <a:pt x="233" y="169"/>
                  </a:lnTo>
                  <a:lnTo>
                    <a:pt x="201" y="169"/>
                  </a:lnTo>
                  <a:lnTo>
                    <a:pt x="201" y="181"/>
                  </a:lnTo>
                  <a:lnTo>
                    <a:pt x="233" y="181"/>
                  </a:lnTo>
                  <a:lnTo>
                    <a:pt x="213" y="309"/>
                  </a:lnTo>
                  <a:lnTo>
                    <a:pt x="189" y="309"/>
                  </a:lnTo>
                  <a:lnTo>
                    <a:pt x="189" y="196"/>
                  </a:lnTo>
                  <a:lnTo>
                    <a:pt x="189" y="194"/>
                  </a:lnTo>
                  <a:lnTo>
                    <a:pt x="187" y="191"/>
                  </a:lnTo>
                  <a:lnTo>
                    <a:pt x="91" y="110"/>
                  </a:lnTo>
                  <a:lnTo>
                    <a:pt x="88" y="108"/>
                  </a:lnTo>
                  <a:lnTo>
                    <a:pt x="84" y="108"/>
                  </a:lnTo>
                  <a:lnTo>
                    <a:pt x="61" y="120"/>
                  </a:lnTo>
                  <a:lnTo>
                    <a:pt x="59" y="76"/>
                  </a:lnTo>
                  <a:close/>
                  <a:moveTo>
                    <a:pt x="118" y="0"/>
                  </a:moveTo>
                  <a:lnTo>
                    <a:pt x="115" y="2"/>
                  </a:lnTo>
                  <a:lnTo>
                    <a:pt x="49" y="71"/>
                  </a:lnTo>
                  <a:lnTo>
                    <a:pt x="47" y="73"/>
                  </a:lnTo>
                  <a:lnTo>
                    <a:pt x="49" y="76"/>
                  </a:lnTo>
                  <a:lnTo>
                    <a:pt x="52" y="127"/>
                  </a:lnTo>
                  <a:lnTo>
                    <a:pt x="3" y="152"/>
                  </a:lnTo>
                  <a:lnTo>
                    <a:pt x="0" y="154"/>
                  </a:lnTo>
                  <a:lnTo>
                    <a:pt x="0" y="157"/>
                  </a:lnTo>
                  <a:lnTo>
                    <a:pt x="22" y="314"/>
                  </a:lnTo>
                  <a:lnTo>
                    <a:pt x="22" y="319"/>
                  </a:lnTo>
                  <a:lnTo>
                    <a:pt x="27" y="319"/>
                  </a:lnTo>
                  <a:lnTo>
                    <a:pt x="218" y="319"/>
                  </a:lnTo>
                  <a:lnTo>
                    <a:pt x="223" y="319"/>
                  </a:lnTo>
                  <a:lnTo>
                    <a:pt x="223" y="314"/>
                  </a:lnTo>
                  <a:lnTo>
                    <a:pt x="250" y="135"/>
                  </a:lnTo>
                  <a:lnTo>
                    <a:pt x="250" y="132"/>
                  </a:lnTo>
                  <a:lnTo>
                    <a:pt x="250" y="132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09" y="42"/>
                  </a:lnTo>
                  <a:lnTo>
                    <a:pt x="123" y="2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9" name="Group 648">
            <a:extLst>
              <a:ext uri="{FF2B5EF4-FFF2-40B4-BE49-F238E27FC236}">
                <a16:creationId xmlns:a16="http://schemas.microsoft.com/office/drawing/2014/main" id="{C6ED90BA-ABA6-45B0-9C7A-86D4E6CAA9C9}"/>
              </a:ext>
            </a:extLst>
          </p:cNvPr>
          <p:cNvGrpSpPr/>
          <p:nvPr/>
        </p:nvGrpSpPr>
        <p:grpSpPr>
          <a:xfrm>
            <a:off x="6938963" y="4102894"/>
            <a:ext cx="844550" cy="844550"/>
            <a:chOff x="6938963" y="4116388"/>
            <a:chExt cx="844550" cy="844550"/>
          </a:xfrm>
        </p:grpSpPr>
        <p:sp>
          <p:nvSpPr>
            <p:cNvPr id="645" name="AutoShape 222">
              <a:extLst>
                <a:ext uri="{FF2B5EF4-FFF2-40B4-BE49-F238E27FC236}">
                  <a16:creationId xmlns:a16="http://schemas.microsoft.com/office/drawing/2014/main" id="{BBF873CD-3471-434D-A994-5B98F25467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38963" y="41163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6" name="Oval 224">
              <a:extLst>
                <a:ext uri="{FF2B5EF4-FFF2-40B4-BE49-F238E27FC236}">
                  <a16:creationId xmlns:a16="http://schemas.microsoft.com/office/drawing/2014/main" id="{359303BA-49D6-4D17-8D67-52E3DEE59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963" y="41163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7" name="Freeform 225">
              <a:extLst>
                <a:ext uri="{FF2B5EF4-FFF2-40B4-BE49-F238E27FC236}">
                  <a16:creationId xmlns:a16="http://schemas.microsoft.com/office/drawing/2014/main" id="{74EC2BF8-1E69-4C21-A811-8B03F1FE3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67538" y="41449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8" name="Freeform 226">
              <a:extLst>
                <a:ext uri="{FF2B5EF4-FFF2-40B4-BE49-F238E27FC236}">
                  <a16:creationId xmlns:a16="http://schemas.microsoft.com/office/drawing/2014/main" id="{53BB86D9-C697-42F8-BCB6-CA37D9C679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4863" y="4275138"/>
              <a:ext cx="414338" cy="528638"/>
            </a:xfrm>
            <a:custGeom>
              <a:avLst/>
              <a:gdLst>
                <a:gd name="T0" fmla="*/ 87 w 261"/>
                <a:gd name="T1" fmla="*/ 307 h 333"/>
                <a:gd name="T2" fmla="*/ 48 w 261"/>
                <a:gd name="T3" fmla="*/ 297 h 333"/>
                <a:gd name="T4" fmla="*/ 110 w 261"/>
                <a:gd name="T5" fmla="*/ 307 h 333"/>
                <a:gd name="T6" fmla="*/ 151 w 261"/>
                <a:gd name="T7" fmla="*/ 297 h 333"/>
                <a:gd name="T8" fmla="*/ 110 w 261"/>
                <a:gd name="T9" fmla="*/ 307 h 333"/>
                <a:gd name="T10" fmla="*/ 82 w 261"/>
                <a:gd name="T11" fmla="*/ 276 h 333"/>
                <a:gd name="T12" fmla="*/ 43 w 261"/>
                <a:gd name="T13" fmla="*/ 266 h 333"/>
                <a:gd name="T14" fmla="*/ 107 w 261"/>
                <a:gd name="T15" fmla="*/ 276 h 333"/>
                <a:gd name="T16" fmla="*/ 146 w 261"/>
                <a:gd name="T17" fmla="*/ 266 h 333"/>
                <a:gd name="T18" fmla="*/ 107 w 261"/>
                <a:gd name="T19" fmla="*/ 276 h 333"/>
                <a:gd name="T20" fmla="*/ 79 w 261"/>
                <a:gd name="T21" fmla="*/ 248 h 333"/>
                <a:gd name="T22" fmla="*/ 38 w 261"/>
                <a:gd name="T23" fmla="*/ 235 h 333"/>
                <a:gd name="T24" fmla="*/ 102 w 261"/>
                <a:gd name="T25" fmla="*/ 248 h 333"/>
                <a:gd name="T26" fmla="*/ 143 w 261"/>
                <a:gd name="T27" fmla="*/ 235 h 333"/>
                <a:gd name="T28" fmla="*/ 102 w 261"/>
                <a:gd name="T29" fmla="*/ 248 h 333"/>
                <a:gd name="T30" fmla="*/ 74 w 261"/>
                <a:gd name="T31" fmla="*/ 217 h 333"/>
                <a:gd name="T32" fmla="*/ 35 w 261"/>
                <a:gd name="T33" fmla="*/ 205 h 333"/>
                <a:gd name="T34" fmla="*/ 99 w 261"/>
                <a:gd name="T35" fmla="*/ 217 h 333"/>
                <a:gd name="T36" fmla="*/ 138 w 261"/>
                <a:gd name="T37" fmla="*/ 205 h 333"/>
                <a:gd name="T38" fmla="*/ 99 w 261"/>
                <a:gd name="T39" fmla="*/ 217 h 333"/>
                <a:gd name="T40" fmla="*/ 71 w 261"/>
                <a:gd name="T41" fmla="*/ 187 h 333"/>
                <a:gd name="T42" fmla="*/ 30 w 261"/>
                <a:gd name="T43" fmla="*/ 176 h 333"/>
                <a:gd name="T44" fmla="*/ 94 w 261"/>
                <a:gd name="T45" fmla="*/ 187 h 333"/>
                <a:gd name="T46" fmla="*/ 133 w 261"/>
                <a:gd name="T47" fmla="*/ 176 h 333"/>
                <a:gd name="T48" fmla="*/ 94 w 261"/>
                <a:gd name="T49" fmla="*/ 187 h 333"/>
                <a:gd name="T50" fmla="*/ 89 w 261"/>
                <a:gd name="T51" fmla="*/ 125 h 333"/>
                <a:gd name="T52" fmla="*/ 161 w 261"/>
                <a:gd name="T53" fmla="*/ 205 h 333"/>
                <a:gd name="T54" fmla="*/ 187 w 261"/>
                <a:gd name="T55" fmla="*/ 217 h 333"/>
                <a:gd name="T56" fmla="*/ 166 w 261"/>
                <a:gd name="T57" fmla="*/ 235 h 333"/>
                <a:gd name="T58" fmla="*/ 187 w 261"/>
                <a:gd name="T59" fmla="*/ 248 h 333"/>
                <a:gd name="T60" fmla="*/ 171 w 261"/>
                <a:gd name="T61" fmla="*/ 266 h 333"/>
                <a:gd name="T62" fmla="*/ 187 w 261"/>
                <a:gd name="T63" fmla="*/ 276 h 333"/>
                <a:gd name="T64" fmla="*/ 174 w 261"/>
                <a:gd name="T65" fmla="*/ 297 h 333"/>
                <a:gd name="T66" fmla="*/ 187 w 261"/>
                <a:gd name="T67" fmla="*/ 307 h 333"/>
                <a:gd name="T68" fmla="*/ 33 w 261"/>
                <a:gd name="T69" fmla="*/ 322 h 333"/>
                <a:gd name="T70" fmla="*/ 61 w 261"/>
                <a:gd name="T71" fmla="*/ 79 h 333"/>
                <a:gd name="T72" fmla="*/ 194 w 261"/>
                <a:gd name="T73" fmla="*/ 46 h 333"/>
                <a:gd name="T74" fmla="*/ 122 w 261"/>
                <a:gd name="T75" fmla="*/ 56 h 333"/>
                <a:gd name="T76" fmla="*/ 220 w 261"/>
                <a:gd name="T77" fmla="*/ 79 h 333"/>
                <a:gd name="T78" fmla="*/ 94 w 261"/>
                <a:gd name="T79" fmla="*/ 89 h 333"/>
                <a:gd name="T80" fmla="*/ 235 w 261"/>
                <a:gd name="T81" fmla="*/ 110 h 333"/>
                <a:gd name="T82" fmla="*/ 133 w 261"/>
                <a:gd name="T83" fmla="*/ 123 h 333"/>
                <a:gd name="T84" fmla="*/ 248 w 261"/>
                <a:gd name="T85" fmla="*/ 141 h 333"/>
                <a:gd name="T86" fmla="*/ 171 w 261"/>
                <a:gd name="T87" fmla="*/ 143 h 333"/>
                <a:gd name="T88" fmla="*/ 245 w 261"/>
                <a:gd name="T89" fmla="*/ 156 h 333"/>
                <a:gd name="T90" fmla="*/ 210 w 261"/>
                <a:gd name="T91" fmla="*/ 176 h 333"/>
                <a:gd name="T92" fmla="*/ 243 w 261"/>
                <a:gd name="T93" fmla="*/ 189 h 333"/>
                <a:gd name="T94" fmla="*/ 197 w 261"/>
                <a:gd name="T95" fmla="*/ 322 h 333"/>
                <a:gd name="T96" fmla="*/ 197 w 261"/>
                <a:gd name="T97" fmla="*/ 202 h 333"/>
                <a:gd name="T98" fmla="*/ 94 w 261"/>
                <a:gd name="T99" fmla="*/ 115 h 333"/>
                <a:gd name="T100" fmla="*/ 87 w 261"/>
                <a:gd name="T101" fmla="*/ 112 h 333"/>
                <a:gd name="T102" fmla="*/ 61 w 261"/>
                <a:gd name="T103" fmla="*/ 79 h 333"/>
                <a:gd name="T104" fmla="*/ 120 w 261"/>
                <a:gd name="T105" fmla="*/ 2 h 333"/>
                <a:gd name="T106" fmla="*/ 48 w 261"/>
                <a:gd name="T107" fmla="*/ 77 h 333"/>
                <a:gd name="T108" fmla="*/ 53 w 261"/>
                <a:gd name="T109" fmla="*/ 133 h 333"/>
                <a:gd name="T110" fmla="*/ 0 w 261"/>
                <a:gd name="T111" fmla="*/ 161 h 333"/>
                <a:gd name="T112" fmla="*/ 23 w 261"/>
                <a:gd name="T113" fmla="*/ 327 h 333"/>
                <a:gd name="T114" fmla="*/ 28 w 261"/>
                <a:gd name="T115" fmla="*/ 333 h 333"/>
                <a:gd name="T116" fmla="*/ 233 w 261"/>
                <a:gd name="T117" fmla="*/ 333 h 333"/>
                <a:gd name="T118" fmla="*/ 261 w 261"/>
                <a:gd name="T119" fmla="*/ 141 h 333"/>
                <a:gd name="T120" fmla="*/ 261 w 261"/>
                <a:gd name="T121" fmla="*/ 138 h 333"/>
                <a:gd name="T122" fmla="*/ 217 w 261"/>
                <a:gd name="T123" fmla="*/ 43 h 333"/>
                <a:gd name="T124" fmla="*/ 128 w 261"/>
                <a:gd name="T125" fmla="*/ 2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1" h="333">
                  <a:moveTo>
                    <a:pt x="48" y="307"/>
                  </a:moveTo>
                  <a:lnTo>
                    <a:pt x="87" y="307"/>
                  </a:lnTo>
                  <a:lnTo>
                    <a:pt x="87" y="297"/>
                  </a:lnTo>
                  <a:lnTo>
                    <a:pt x="48" y="297"/>
                  </a:lnTo>
                  <a:lnTo>
                    <a:pt x="48" y="307"/>
                  </a:lnTo>
                  <a:close/>
                  <a:moveTo>
                    <a:pt x="110" y="307"/>
                  </a:moveTo>
                  <a:lnTo>
                    <a:pt x="151" y="307"/>
                  </a:lnTo>
                  <a:lnTo>
                    <a:pt x="151" y="297"/>
                  </a:lnTo>
                  <a:lnTo>
                    <a:pt x="110" y="297"/>
                  </a:lnTo>
                  <a:lnTo>
                    <a:pt x="110" y="307"/>
                  </a:lnTo>
                  <a:close/>
                  <a:moveTo>
                    <a:pt x="43" y="276"/>
                  </a:moveTo>
                  <a:lnTo>
                    <a:pt x="82" y="276"/>
                  </a:lnTo>
                  <a:lnTo>
                    <a:pt x="82" y="266"/>
                  </a:lnTo>
                  <a:lnTo>
                    <a:pt x="43" y="266"/>
                  </a:lnTo>
                  <a:lnTo>
                    <a:pt x="43" y="276"/>
                  </a:lnTo>
                  <a:close/>
                  <a:moveTo>
                    <a:pt x="107" y="276"/>
                  </a:moveTo>
                  <a:lnTo>
                    <a:pt x="146" y="276"/>
                  </a:lnTo>
                  <a:lnTo>
                    <a:pt x="146" y="266"/>
                  </a:lnTo>
                  <a:lnTo>
                    <a:pt x="107" y="266"/>
                  </a:lnTo>
                  <a:lnTo>
                    <a:pt x="107" y="276"/>
                  </a:lnTo>
                  <a:close/>
                  <a:moveTo>
                    <a:pt x="38" y="248"/>
                  </a:moveTo>
                  <a:lnTo>
                    <a:pt x="79" y="248"/>
                  </a:lnTo>
                  <a:lnTo>
                    <a:pt x="79" y="235"/>
                  </a:lnTo>
                  <a:lnTo>
                    <a:pt x="38" y="235"/>
                  </a:lnTo>
                  <a:lnTo>
                    <a:pt x="38" y="248"/>
                  </a:lnTo>
                  <a:close/>
                  <a:moveTo>
                    <a:pt x="102" y="248"/>
                  </a:moveTo>
                  <a:lnTo>
                    <a:pt x="143" y="248"/>
                  </a:lnTo>
                  <a:lnTo>
                    <a:pt x="143" y="235"/>
                  </a:lnTo>
                  <a:lnTo>
                    <a:pt x="102" y="235"/>
                  </a:lnTo>
                  <a:lnTo>
                    <a:pt x="102" y="248"/>
                  </a:lnTo>
                  <a:close/>
                  <a:moveTo>
                    <a:pt x="35" y="217"/>
                  </a:moveTo>
                  <a:lnTo>
                    <a:pt x="74" y="217"/>
                  </a:lnTo>
                  <a:lnTo>
                    <a:pt x="74" y="205"/>
                  </a:lnTo>
                  <a:lnTo>
                    <a:pt x="35" y="205"/>
                  </a:lnTo>
                  <a:lnTo>
                    <a:pt x="35" y="217"/>
                  </a:lnTo>
                  <a:close/>
                  <a:moveTo>
                    <a:pt x="99" y="217"/>
                  </a:moveTo>
                  <a:lnTo>
                    <a:pt x="138" y="217"/>
                  </a:lnTo>
                  <a:lnTo>
                    <a:pt x="138" y="205"/>
                  </a:lnTo>
                  <a:lnTo>
                    <a:pt x="99" y="205"/>
                  </a:lnTo>
                  <a:lnTo>
                    <a:pt x="99" y="217"/>
                  </a:lnTo>
                  <a:close/>
                  <a:moveTo>
                    <a:pt x="30" y="187"/>
                  </a:moveTo>
                  <a:lnTo>
                    <a:pt x="71" y="187"/>
                  </a:lnTo>
                  <a:lnTo>
                    <a:pt x="71" y="176"/>
                  </a:lnTo>
                  <a:lnTo>
                    <a:pt x="30" y="176"/>
                  </a:lnTo>
                  <a:lnTo>
                    <a:pt x="30" y="187"/>
                  </a:lnTo>
                  <a:close/>
                  <a:moveTo>
                    <a:pt x="94" y="187"/>
                  </a:moveTo>
                  <a:lnTo>
                    <a:pt x="133" y="187"/>
                  </a:lnTo>
                  <a:lnTo>
                    <a:pt x="133" y="176"/>
                  </a:lnTo>
                  <a:lnTo>
                    <a:pt x="94" y="176"/>
                  </a:lnTo>
                  <a:lnTo>
                    <a:pt x="94" y="187"/>
                  </a:lnTo>
                  <a:close/>
                  <a:moveTo>
                    <a:pt x="12" y="166"/>
                  </a:moveTo>
                  <a:lnTo>
                    <a:pt x="89" y="125"/>
                  </a:lnTo>
                  <a:lnTo>
                    <a:pt x="184" y="205"/>
                  </a:lnTo>
                  <a:lnTo>
                    <a:pt x="161" y="205"/>
                  </a:lnTo>
                  <a:lnTo>
                    <a:pt x="161" y="217"/>
                  </a:lnTo>
                  <a:lnTo>
                    <a:pt x="187" y="217"/>
                  </a:lnTo>
                  <a:lnTo>
                    <a:pt x="187" y="235"/>
                  </a:lnTo>
                  <a:lnTo>
                    <a:pt x="166" y="235"/>
                  </a:lnTo>
                  <a:lnTo>
                    <a:pt x="166" y="248"/>
                  </a:lnTo>
                  <a:lnTo>
                    <a:pt x="187" y="248"/>
                  </a:lnTo>
                  <a:lnTo>
                    <a:pt x="187" y="266"/>
                  </a:lnTo>
                  <a:lnTo>
                    <a:pt x="171" y="266"/>
                  </a:lnTo>
                  <a:lnTo>
                    <a:pt x="171" y="276"/>
                  </a:lnTo>
                  <a:lnTo>
                    <a:pt x="187" y="276"/>
                  </a:lnTo>
                  <a:lnTo>
                    <a:pt x="187" y="297"/>
                  </a:lnTo>
                  <a:lnTo>
                    <a:pt x="174" y="297"/>
                  </a:lnTo>
                  <a:lnTo>
                    <a:pt x="174" y="307"/>
                  </a:lnTo>
                  <a:lnTo>
                    <a:pt x="187" y="307"/>
                  </a:lnTo>
                  <a:lnTo>
                    <a:pt x="187" y="322"/>
                  </a:lnTo>
                  <a:lnTo>
                    <a:pt x="33" y="322"/>
                  </a:lnTo>
                  <a:lnTo>
                    <a:pt x="12" y="166"/>
                  </a:lnTo>
                  <a:close/>
                  <a:moveTo>
                    <a:pt x="61" y="79"/>
                  </a:moveTo>
                  <a:lnTo>
                    <a:pt x="125" y="13"/>
                  </a:lnTo>
                  <a:lnTo>
                    <a:pt x="194" y="46"/>
                  </a:lnTo>
                  <a:lnTo>
                    <a:pt x="122" y="46"/>
                  </a:lnTo>
                  <a:lnTo>
                    <a:pt x="122" y="56"/>
                  </a:lnTo>
                  <a:lnTo>
                    <a:pt x="212" y="56"/>
                  </a:lnTo>
                  <a:lnTo>
                    <a:pt x="220" y="79"/>
                  </a:lnTo>
                  <a:lnTo>
                    <a:pt x="94" y="79"/>
                  </a:lnTo>
                  <a:lnTo>
                    <a:pt x="94" y="89"/>
                  </a:lnTo>
                  <a:lnTo>
                    <a:pt x="225" y="89"/>
                  </a:lnTo>
                  <a:lnTo>
                    <a:pt x="235" y="110"/>
                  </a:lnTo>
                  <a:lnTo>
                    <a:pt x="133" y="110"/>
                  </a:lnTo>
                  <a:lnTo>
                    <a:pt x="133" y="123"/>
                  </a:lnTo>
                  <a:lnTo>
                    <a:pt x="240" y="123"/>
                  </a:lnTo>
                  <a:lnTo>
                    <a:pt x="248" y="141"/>
                  </a:lnTo>
                  <a:lnTo>
                    <a:pt x="248" y="143"/>
                  </a:lnTo>
                  <a:lnTo>
                    <a:pt x="171" y="143"/>
                  </a:lnTo>
                  <a:lnTo>
                    <a:pt x="171" y="156"/>
                  </a:lnTo>
                  <a:lnTo>
                    <a:pt x="245" y="156"/>
                  </a:lnTo>
                  <a:lnTo>
                    <a:pt x="243" y="176"/>
                  </a:lnTo>
                  <a:lnTo>
                    <a:pt x="210" y="176"/>
                  </a:lnTo>
                  <a:lnTo>
                    <a:pt x="210" y="189"/>
                  </a:lnTo>
                  <a:lnTo>
                    <a:pt x="243" y="189"/>
                  </a:lnTo>
                  <a:lnTo>
                    <a:pt x="222" y="322"/>
                  </a:lnTo>
                  <a:lnTo>
                    <a:pt x="197" y="322"/>
                  </a:lnTo>
                  <a:lnTo>
                    <a:pt x="197" y="205"/>
                  </a:lnTo>
                  <a:lnTo>
                    <a:pt x="197" y="202"/>
                  </a:lnTo>
                  <a:lnTo>
                    <a:pt x="194" y="199"/>
                  </a:lnTo>
                  <a:lnTo>
                    <a:pt x="94" y="115"/>
                  </a:lnTo>
                  <a:lnTo>
                    <a:pt x="92" y="112"/>
                  </a:lnTo>
                  <a:lnTo>
                    <a:pt x="87" y="112"/>
                  </a:lnTo>
                  <a:lnTo>
                    <a:pt x="64" y="125"/>
                  </a:lnTo>
                  <a:lnTo>
                    <a:pt x="61" y="79"/>
                  </a:lnTo>
                  <a:close/>
                  <a:moveTo>
                    <a:pt x="122" y="0"/>
                  </a:moveTo>
                  <a:lnTo>
                    <a:pt x="120" y="2"/>
                  </a:lnTo>
                  <a:lnTo>
                    <a:pt x="51" y="74"/>
                  </a:lnTo>
                  <a:lnTo>
                    <a:pt x="48" y="77"/>
                  </a:lnTo>
                  <a:lnTo>
                    <a:pt x="51" y="79"/>
                  </a:lnTo>
                  <a:lnTo>
                    <a:pt x="53" y="133"/>
                  </a:lnTo>
                  <a:lnTo>
                    <a:pt x="2" y="158"/>
                  </a:lnTo>
                  <a:lnTo>
                    <a:pt x="0" y="161"/>
                  </a:lnTo>
                  <a:lnTo>
                    <a:pt x="0" y="164"/>
                  </a:lnTo>
                  <a:lnTo>
                    <a:pt x="23" y="327"/>
                  </a:lnTo>
                  <a:lnTo>
                    <a:pt x="23" y="333"/>
                  </a:lnTo>
                  <a:lnTo>
                    <a:pt x="28" y="333"/>
                  </a:lnTo>
                  <a:lnTo>
                    <a:pt x="227" y="333"/>
                  </a:lnTo>
                  <a:lnTo>
                    <a:pt x="233" y="333"/>
                  </a:lnTo>
                  <a:lnTo>
                    <a:pt x="233" y="327"/>
                  </a:lnTo>
                  <a:lnTo>
                    <a:pt x="261" y="141"/>
                  </a:lnTo>
                  <a:lnTo>
                    <a:pt x="261" y="138"/>
                  </a:lnTo>
                  <a:lnTo>
                    <a:pt x="261" y="138"/>
                  </a:lnTo>
                  <a:lnTo>
                    <a:pt x="220" y="46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128" y="2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7" name="Group 656">
            <a:extLst>
              <a:ext uri="{FF2B5EF4-FFF2-40B4-BE49-F238E27FC236}">
                <a16:creationId xmlns:a16="http://schemas.microsoft.com/office/drawing/2014/main" id="{A974831E-C76E-46F8-A1FF-A372B4EFD261}"/>
              </a:ext>
            </a:extLst>
          </p:cNvPr>
          <p:cNvGrpSpPr/>
          <p:nvPr/>
        </p:nvGrpSpPr>
        <p:grpSpPr>
          <a:xfrm>
            <a:off x="1431925" y="5514182"/>
            <a:ext cx="758825" cy="758825"/>
            <a:chOff x="1431925" y="5507038"/>
            <a:chExt cx="758825" cy="758825"/>
          </a:xfrm>
        </p:grpSpPr>
        <p:sp>
          <p:nvSpPr>
            <p:cNvPr id="653" name="AutoShape 228">
              <a:extLst>
                <a:ext uri="{FF2B5EF4-FFF2-40B4-BE49-F238E27FC236}">
                  <a16:creationId xmlns:a16="http://schemas.microsoft.com/office/drawing/2014/main" id="{9A668E2F-8611-4146-A7BD-B6B172909E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31925" y="55070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4" name="Freeform 230">
              <a:extLst>
                <a:ext uri="{FF2B5EF4-FFF2-40B4-BE49-F238E27FC236}">
                  <a16:creationId xmlns:a16="http://schemas.microsoft.com/office/drawing/2014/main" id="{A2E8AF0E-80EC-415B-977D-D9A16ACF65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5100" y="551021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5" name="Freeform 231">
              <a:extLst>
                <a:ext uri="{FF2B5EF4-FFF2-40B4-BE49-F238E27FC236}">
                  <a16:creationId xmlns:a16="http://schemas.microsoft.com/office/drawing/2014/main" id="{11BB3648-042C-4C64-97B8-1125A377B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0050" y="5584826"/>
              <a:ext cx="287338" cy="576263"/>
            </a:xfrm>
            <a:custGeom>
              <a:avLst/>
              <a:gdLst>
                <a:gd name="T0" fmla="*/ 61 w 181"/>
                <a:gd name="T1" fmla="*/ 282 h 363"/>
                <a:gd name="T2" fmla="*/ 73 w 181"/>
                <a:gd name="T3" fmla="*/ 306 h 363"/>
                <a:gd name="T4" fmla="*/ 73 w 181"/>
                <a:gd name="T5" fmla="*/ 282 h 363"/>
                <a:gd name="T6" fmla="*/ 107 w 181"/>
                <a:gd name="T7" fmla="*/ 306 h 363"/>
                <a:gd name="T8" fmla="*/ 98 w 181"/>
                <a:gd name="T9" fmla="*/ 306 h 363"/>
                <a:gd name="T10" fmla="*/ 129 w 181"/>
                <a:gd name="T11" fmla="*/ 282 h 363"/>
                <a:gd name="T12" fmla="*/ 51 w 181"/>
                <a:gd name="T13" fmla="*/ 267 h 363"/>
                <a:gd name="T14" fmla="*/ 51 w 181"/>
                <a:gd name="T15" fmla="*/ 240 h 363"/>
                <a:gd name="T16" fmla="*/ 83 w 181"/>
                <a:gd name="T17" fmla="*/ 267 h 363"/>
                <a:gd name="T18" fmla="*/ 73 w 181"/>
                <a:gd name="T19" fmla="*/ 267 h 363"/>
                <a:gd name="T20" fmla="*/ 107 w 181"/>
                <a:gd name="T21" fmla="*/ 240 h 363"/>
                <a:gd name="T22" fmla="*/ 120 w 181"/>
                <a:gd name="T23" fmla="*/ 267 h 363"/>
                <a:gd name="T24" fmla="*/ 120 w 181"/>
                <a:gd name="T25" fmla="*/ 240 h 363"/>
                <a:gd name="T26" fmla="*/ 61 w 181"/>
                <a:gd name="T27" fmla="*/ 228 h 363"/>
                <a:gd name="T28" fmla="*/ 51 w 181"/>
                <a:gd name="T29" fmla="*/ 228 h 363"/>
                <a:gd name="T30" fmla="*/ 83 w 181"/>
                <a:gd name="T31" fmla="*/ 201 h 363"/>
                <a:gd name="T32" fmla="*/ 98 w 181"/>
                <a:gd name="T33" fmla="*/ 228 h 363"/>
                <a:gd name="T34" fmla="*/ 98 w 181"/>
                <a:gd name="T35" fmla="*/ 201 h 363"/>
                <a:gd name="T36" fmla="*/ 129 w 181"/>
                <a:gd name="T37" fmla="*/ 228 h 363"/>
                <a:gd name="T38" fmla="*/ 120 w 181"/>
                <a:gd name="T39" fmla="*/ 228 h 363"/>
                <a:gd name="T40" fmla="*/ 83 w 181"/>
                <a:gd name="T41" fmla="*/ 140 h 363"/>
                <a:gd name="T42" fmla="*/ 98 w 181"/>
                <a:gd name="T43" fmla="*/ 164 h 363"/>
                <a:gd name="T44" fmla="*/ 98 w 181"/>
                <a:gd name="T45" fmla="*/ 140 h 363"/>
                <a:gd name="T46" fmla="*/ 83 w 181"/>
                <a:gd name="T47" fmla="*/ 125 h 363"/>
                <a:gd name="T48" fmla="*/ 73 w 181"/>
                <a:gd name="T49" fmla="*/ 125 h 363"/>
                <a:gd name="T50" fmla="*/ 107 w 181"/>
                <a:gd name="T51" fmla="*/ 101 h 363"/>
                <a:gd name="T52" fmla="*/ 9 w 181"/>
                <a:gd name="T53" fmla="*/ 331 h 363"/>
                <a:gd name="T54" fmla="*/ 9 w 181"/>
                <a:gd name="T55" fmla="*/ 353 h 363"/>
                <a:gd name="T56" fmla="*/ 147 w 181"/>
                <a:gd name="T57" fmla="*/ 186 h 363"/>
                <a:gd name="T58" fmla="*/ 34 w 181"/>
                <a:gd name="T59" fmla="*/ 186 h 363"/>
                <a:gd name="T60" fmla="*/ 122 w 181"/>
                <a:gd name="T61" fmla="*/ 177 h 363"/>
                <a:gd name="T62" fmla="*/ 83 w 181"/>
                <a:gd name="T63" fmla="*/ 34 h 363"/>
                <a:gd name="T64" fmla="*/ 83 w 181"/>
                <a:gd name="T65" fmla="*/ 78 h 363"/>
                <a:gd name="T66" fmla="*/ 85 w 181"/>
                <a:gd name="T67" fmla="*/ 25 h 363"/>
                <a:gd name="T68" fmla="*/ 71 w 181"/>
                <a:gd name="T69" fmla="*/ 29 h 363"/>
                <a:gd name="T70" fmla="*/ 49 w 181"/>
                <a:gd name="T71" fmla="*/ 78 h 363"/>
                <a:gd name="T72" fmla="*/ 29 w 181"/>
                <a:gd name="T73" fmla="*/ 177 h 363"/>
                <a:gd name="T74" fmla="*/ 24 w 181"/>
                <a:gd name="T75" fmla="*/ 321 h 363"/>
                <a:gd name="T76" fmla="*/ 0 w 181"/>
                <a:gd name="T77" fmla="*/ 326 h 363"/>
                <a:gd name="T78" fmla="*/ 4 w 181"/>
                <a:gd name="T79" fmla="*/ 363 h 363"/>
                <a:gd name="T80" fmla="*/ 181 w 181"/>
                <a:gd name="T81" fmla="*/ 321 h 363"/>
                <a:gd name="T82" fmla="*/ 156 w 181"/>
                <a:gd name="T83" fmla="*/ 181 h 363"/>
                <a:gd name="T84" fmla="*/ 134 w 181"/>
                <a:gd name="T85" fmla="*/ 177 h 363"/>
                <a:gd name="T86" fmla="*/ 127 w 181"/>
                <a:gd name="T87" fmla="*/ 78 h 363"/>
                <a:gd name="T88" fmla="*/ 110 w 181"/>
                <a:gd name="T89" fmla="*/ 25 h 363"/>
                <a:gd name="T90" fmla="*/ 95 w 181"/>
                <a:gd name="T9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1" h="363">
                  <a:moveTo>
                    <a:pt x="51" y="306"/>
                  </a:moveTo>
                  <a:lnTo>
                    <a:pt x="61" y="306"/>
                  </a:lnTo>
                  <a:lnTo>
                    <a:pt x="61" y="282"/>
                  </a:lnTo>
                  <a:lnTo>
                    <a:pt x="51" y="282"/>
                  </a:lnTo>
                  <a:lnTo>
                    <a:pt x="51" y="306"/>
                  </a:lnTo>
                  <a:close/>
                  <a:moveTo>
                    <a:pt x="73" y="306"/>
                  </a:moveTo>
                  <a:lnTo>
                    <a:pt x="83" y="306"/>
                  </a:lnTo>
                  <a:lnTo>
                    <a:pt x="83" y="282"/>
                  </a:lnTo>
                  <a:lnTo>
                    <a:pt x="73" y="282"/>
                  </a:lnTo>
                  <a:lnTo>
                    <a:pt x="73" y="306"/>
                  </a:lnTo>
                  <a:close/>
                  <a:moveTo>
                    <a:pt x="98" y="306"/>
                  </a:moveTo>
                  <a:lnTo>
                    <a:pt x="107" y="306"/>
                  </a:lnTo>
                  <a:lnTo>
                    <a:pt x="107" y="282"/>
                  </a:lnTo>
                  <a:lnTo>
                    <a:pt x="98" y="282"/>
                  </a:lnTo>
                  <a:lnTo>
                    <a:pt x="98" y="306"/>
                  </a:lnTo>
                  <a:close/>
                  <a:moveTo>
                    <a:pt x="120" y="306"/>
                  </a:moveTo>
                  <a:lnTo>
                    <a:pt x="129" y="306"/>
                  </a:lnTo>
                  <a:lnTo>
                    <a:pt x="129" y="282"/>
                  </a:lnTo>
                  <a:lnTo>
                    <a:pt x="120" y="282"/>
                  </a:lnTo>
                  <a:lnTo>
                    <a:pt x="120" y="306"/>
                  </a:lnTo>
                  <a:close/>
                  <a:moveTo>
                    <a:pt x="51" y="267"/>
                  </a:moveTo>
                  <a:lnTo>
                    <a:pt x="61" y="267"/>
                  </a:lnTo>
                  <a:lnTo>
                    <a:pt x="61" y="240"/>
                  </a:lnTo>
                  <a:lnTo>
                    <a:pt x="51" y="240"/>
                  </a:lnTo>
                  <a:lnTo>
                    <a:pt x="51" y="267"/>
                  </a:lnTo>
                  <a:close/>
                  <a:moveTo>
                    <a:pt x="73" y="267"/>
                  </a:moveTo>
                  <a:lnTo>
                    <a:pt x="83" y="267"/>
                  </a:lnTo>
                  <a:lnTo>
                    <a:pt x="83" y="240"/>
                  </a:lnTo>
                  <a:lnTo>
                    <a:pt x="73" y="240"/>
                  </a:lnTo>
                  <a:lnTo>
                    <a:pt x="73" y="267"/>
                  </a:lnTo>
                  <a:close/>
                  <a:moveTo>
                    <a:pt x="98" y="267"/>
                  </a:moveTo>
                  <a:lnTo>
                    <a:pt x="107" y="267"/>
                  </a:lnTo>
                  <a:lnTo>
                    <a:pt x="107" y="240"/>
                  </a:lnTo>
                  <a:lnTo>
                    <a:pt x="98" y="240"/>
                  </a:lnTo>
                  <a:lnTo>
                    <a:pt x="98" y="267"/>
                  </a:lnTo>
                  <a:close/>
                  <a:moveTo>
                    <a:pt x="120" y="267"/>
                  </a:moveTo>
                  <a:lnTo>
                    <a:pt x="129" y="267"/>
                  </a:lnTo>
                  <a:lnTo>
                    <a:pt x="129" y="240"/>
                  </a:lnTo>
                  <a:lnTo>
                    <a:pt x="120" y="240"/>
                  </a:lnTo>
                  <a:lnTo>
                    <a:pt x="120" y="267"/>
                  </a:lnTo>
                  <a:close/>
                  <a:moveTo>
                    <a:pt x="51" y="228"/>
                  </a:moveTo>
                  <a:lnTo>
                    <a:pt x="61" y="228"/>
                  </a:lnTo>
                  <a:lnTo>
                    <a:pt x="61" y="201"/>
                  </a:lnTo>
                  <a:lnTo>
                    <a:pt x="51" y="201"/>
                  </a:lnTo>
                  <a:lnTo>
                    <a:pt x="51" y="228"/>
                  </a:lnTo>
                  <a:close/>
                  <a:moveTo>
                    <a:pt x="73" y="228"/>
                  </a:moveTo>
                  <a:lnTo>
                    <a:pt x="83" y="228"/>
                  </a:lnTo>
                  <a:lnTo>
                    <a:pt x="83" y="201"/>
                  </a:lnTo>
                  <a:lnTo>
                    <a:pt x="73" y="201"/>
                  </a:lnTo>
                  <a:lnTo>
                    <a:pt x="73" y="228"/>
                  </a:lnTo>
                  <a:close/>
                  <a:moveTo>
                    <a:pt x="98" y="228"/>
                  </a:moveTo>
                  <a:lnTo>
                    <a:pt x="107" y="228"/>
                  </a:lnTo>
                  <a:lnTo>
                    <a:pt x="107" y="201"/>
                  </a:lnTo>
                  <a:lnTo>
                    <a:pt x="98" y="201"/>
                  </a:lnTo>
                  <a:lnTo>
                    <a:pt x="98" y="228"/>
                  </a:lnTo>
                  <a:close/>
                  <a:moveTo>
                    <a:pt x="120" y="228"/>
                  </a:moveTo>
                  <a:lnTo>
                    <a:pt x="129" y="228"/>
                  </a:lnTo>
                  <a:lnTo>
                    <a:pt x="129" y="201"/>
                  </a:lnTo>
                  <a:lnTo>
                    <a:pt x="120" y="201"/>
                  </a:lnTo>
                  <a:lnTo>
                    <a:pt x="120" y="228"/>
                  </a:lnTo>
                  <a:close/>
                  <a:moveTo>
                    <a:pt x="73" y="164"/>
                  </a:moveTo>
                  <a:lnTo>
                    <a:pt x="83" y="164"/>
                  </a:lnTo>
                  <a:lnTo>
                    <a:pt x="83" y="140"/>
                  </a:lnTo>
                  <a:lnTo>
                    <a:pt x="73" y="140"/>
                  </a:lnTo>
                  <a:lnTo>
                    <a:pt x="73" y="164"/>
                  </a:lnTo>
                  <a:close/>
                  <a:moveTo>
                    <a:pt x="98" y="164"/>
                  </a:moveTo>
                  <a:lnTo>
                    <a:pt x="107" y="164"/>
                  </a:lnTo>
                  <a:lnTo>
                    <a:pt x="107" y="140"/>
                  </a:lnTo>
                  <a:lnTo>
                    <a:pt x="98" y="140"/>
                  </a:lnTo>
                  <a:lnTo>
                    <a:pt x="98" y="164"/>
                  </a:lnTo>
                  <a:close/>
                  <a:moveTo>
                    <a:pt x="73" y="125"/>
                  </a:moveTo>
                  <a:lnTo>
                    <a:pt x="83" y="125"/>
                  </a:lnTo>
                  <a:lnTo>
                    <a:pt x="83" y="101"/>
                  </a:lnTo>
                  <a:lnTo>
                    <a:pt x="73" y="101"/>
                  </a:lnTo>
                  <a:lnTo>
                    <a:pt x="73" y="125"/>
                  </a:lnTo>
                  <a:close/>
                  <a:moveTo>
                    <a:pt x="98" y="125"/>
                  </a:moveTo>
                  <a:lnTo>
                    <a:pt x="107" y="125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8" y="125"/>
                  </a:lnTo>
                  <a:close/>
                  <a:moveTo>
                    <a:pt x="9" y="331"/>
                  </a:moveTo>
                  <a:lnTo>
                    <a:pt x="171" y="331"/>
                  </a:lnTo>
                  <a:lnTo>
                    <a:pt x="171" y="353"/>
                  </a:lnTo>
                  <a:lnTo>
                    <a:pt x="9" y="353"/>
                  </a:lnTo>
                  <a:lnTo>
                    <a:pt x="9" y="331"/>
                  </a:lnTo>
                  <a:close/>
                  <a:moveTo>
                    <a:pt x="34" y="186"/>
                  </a:moveTo>
                  <a:lnTo>
                    <a:pt x="147" y="186"/>
                  </a:lnTo>
                  <a:lnTo>
                    <a:pt x="147" y="321"/>
                  </a:lnTo>
                  <a:lnTo>
                    <a:pt x="34" y="321"/>
                  </a:lnTo>
                  <a:lnTo>
                    <a:pt x="34" y="186"/>
                  </a:lnTo>
                  <a:close/>
                  <a:moveTo>
                    <a:pt x="58" y="88"/>
                  </a:moveTo>
                  <a:lnTo>
                    <a:pt x="122" y="88"/>
                  </a:lnTo>
                  <a:lnTo>
                    <a:pt x="122" y="177"/>
                  </a:lnTo>
                  <a:lnTo>
                    <a:pt x="58" y="177"/>
                  </a:lnTo>
                  <a:lnTo>
                    <a:pt x="58" y="88"/>
                  </a:lnTo>
                  <a:close/>
                  <a:moveTo>
                    <a:pt x="83" y="34"/>
                  </a:moveTo>
                  <a:lnTo>
                    <a:pt x="100" y="34"/>
                  </a:lnTo>
                  <a:lnTo>
                    <a:pt x="100" y="78"/>
                  </a:lnTo>
                  <a:lnTo>
                    <a:pt x="83" y="78"/>
                  </a:lnTo>
                  <a:lnTo>
                    <a:pt x="83" y="34"/>
                  </a:lnTo>
                  <a:close/>
                  <a:moveTo>
                    <a:pt x="85" y="0"/>
                  </a:moveTo>
                  <a:lnTo>
                    <a:pt x="85" y="25"/>
                  </a:lnTo>
                  <a:lnTo>
                    <a:pt x="76" y="25"/>
                  </a:lnTo>
                  <a:lnTo>
                    <a:pt x="71" y="25"/>
                  </a:lnTo>
                  <a:lnTo>
                    <a:pt x="71" y="29"/>
                  </a:lnTo>
                  <a:lnTo>
                    <a:pt x="71" y="78"/>
                  </a:lnTo>
                  <a:lnTo>
                    <a:pt x="53" y="78"/>
                  </a:lnTo>
                  <a:lnTo>
                    <a:pt x="49" y="78"/>
                  </a:lnTo>
                  <a:lnTo>
                    <a:pt x="49" y="83"/>
                  </a:lnTo>
                  <a:lnTo>
                    <a:pt x="49" y="177"/>
                  </a:lnTo>
                  <a:lnTo>
                    <a:pt x="29" y="177"/>
                  </a:lnTo>
                  <a:lnTo>
                    <a:pt x="24" y="177"/>
                  </a:lnTo>
                  <a:lnTo>
                    <a:pt x="24" y="181"/>
                  </a:lnTo>
                  <a:lnTo>
                    <a:pt x="24" y="321"/>
                  </a:lnTo>
                  <a:lnTo>
                    <a:pt x="4" y="321"/>
                  </a:lnTo>
                  <a:lnTo>
                    <a:pt x="0" y="321"/>
                  </a:lnTo>
                  <a:lnTo>
                    <a:pt x="0" y="326"/>
                  </a:lnTo>
                  <a:lnTo>
                    <a:pt x="0" y="358"/>
                  </a:lnTo>
                  <a:lnTo>
                    <a:pt x="0" y="363"/>
                  </a:lnTo>
                  <a:lnTo>
                    <a:pt x="4" y="363"/>
                  </a:lnTo>
                  <a:lnTo>
                    <a:pt x="176" y="363"/>
                  </a:lnTo>
                  <a:lnTo>
                    <a:pt x="181" y="363"/>
                  </a:lnTo>
                  <a:lnTo>
                    <a:pt x="181" y="321"/>
                  </a:lnTo>
                  <a:lnTo>
                    <a:pt x="176" y="321"/>
                  </a:lnTo>
                  <a:lnTo>
                    <a:pt x="156" y="321"/>
                  </a:lnTo>
                  <a:lnTo>
                    <a:pt x="156" y="181"/>
                  </a:lnTo>
                  <a:lnTo>
                    <a:pt x="156" y="177"/>
                  </a:lnTo>
                  <a:lnTo>
                    <a:pt x="152" y="177"/>
                  </a:lnTo>
                  <a:lnTo>
                    <a:pt x="134" y="177"/>
                  </a:lnTo>
                  <a:lnTo>
                    <a:pt x="134" y="83"/>
                  </a:lnTo>
                  <a:lnTo>
                    <a:pt x="134" y="78"/>
                  </a:lnTo>
                  <a:lnTo>
                    <a:pt x="127" y="78"/>
                  </a:lnTo>
                  <a:lnTo>
                    <a:pt x="110" y="78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05" y="25"/>
                  </a:lnTo>
                  <a:lnTo>
                    <a:pt x="95" y="25"/>
                  </a:lnTo>
                  <a:lnTo>
                    <a:pt x="95" y="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6" name="Freeform 232">
              <a:extLst>
                <a:ext uri="{FF2B5EF4-FFF2-40B4-BE49-F238E27FC236}">
                  <a16:creationId xmlns:a16="http://schemas.microsoft.com/office/drawing/2014/main" id="{40D0CCD3-2EE3-44E1-AF9A-A75DB06F1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0050" y="5584826"/>
              <a:ext cx="287338" cy="576263"/>
            </a:xfrm>
            <a:custGeom>
              <a:avLst/>
              <a:gdLst>
                <a:gd name="T0" fmla="*/ 61 w 181"/>
                <a:gd name="T1" fmla="*/ 282 h 363"/>
                <a:gd name="T2" fmla="*/ 73 w 181"/>
                <a:gd name="T3" fmla="*/ 306 h 363"/>
                <a:gd name="T4" fmla="*/ 73 w 181"/>
                <a:gd name="T5" fmla="*/ 282 h 363"/>
                <a:gd name="T6" fmla="*/ 107 w 181"/>
                <a:gd name="T7" fmla="*/ 306 h 363"/>
                <a:gd name="T8" fmla="*/ 98 w 181"/>
                <a:gd name="T9" fmla="*/ 306 h 363"/>
                <a:gd name="T10" fmla="*/ 129 w 181"/>
                <a:gd name="T11" fmla="*/ 282 h 363"/>
                <a:gd name="T12" fmla="*/ 51 w 181"/>
                <a:gd name="T13" fmla="*/ 267 h 363"/>
                <a:gd name="T14" fmla="*/ 51 w 181"/>
                <a:gd name="T15" fmla="*/ 240 h 363"/>
                <a:gd name="T16" fmla="*/ 83 w 181"/>
                <a:gd name="T17" fmla="*/ 267 h 363"/>
                <a:gd name="T18" fmla="*/ 73 w 181"/>
                <a:gd name="T19" fmla="*/ 267 h 363"/>
                <a:gd name="T20" fmla="*/ 107 w 181"/>
                <a:gd name="T21" fmla="*/ 240 h 363"/>
                <a:gd name="T22" fmla="*/ 120 w 181"/>
                <a:gd name="T23" fmla="*/ 267 h 363"/>
                <a:gd name="T24" fmla="*/ 120 w 181"/>
                <a:gd name="T25" fmla="*/ 240 h 363"/>
                <a:gd name="T26" fmla="*/ 61 w 181"/>
                <a:gd name="T27" fmla="*/ 228 h 363"/>
                <a:gd name="T28" fmla="*/ 51 w 181"/>
                <a:gd name="T29" fmla="*/ 228 h 363"/>
                <a:gd name="T30" fmla="*/ 83 w 181"/>
                <a:gd name="T31" fmla="*/ 201 h 363"/>
                <a:gd name="T32" fmla="*/ 98 w 181"/>
                <a:gd name="T33" fmla="*/ 228 h 363"/>
                <a:gd name="T34" fmla="*/ 98 w 181"/>
                <a:gd name="T35" fmla="*/ 201 h 363"/>
                <a:gd name="T36" fmla="*/ 129 w 181"/>
                <a:gd name="T37" fmla="*/ 228 h 363"/>
                <a:gd name="T38" fmla="*/ 120 w 181"/>
                <a:gd name="T39" fmla="*/ 228 h 363"/>
                <a:gd name="T40" fmla="*/ 83 w 181"/>
                <a:gd name="T41" fmla="*/ 140 h 363"/>
                <a:gd name="T42" fmla="*/ 98 w 181"/>
                <a:gd name="T43" fmla="*/ 164 h 363"/>
                <a:gd name="T44" fmla="*/ 98 w 181"/>
                <a:gd name="T45" fmla="*/ 140 h 363"/>
                <a:gd name="T46" fmla="*/ 83 w 181"/>
                <a:gd name="T47" fmla="*/ 125 h 363"/>
                <a:gd name="T48" fmla="*/ 73 w 181"/>
                <a:gd name="T49" fmla="*/ 125 h 363"/>
                <a:gd name="T50" fmla="*/ 107 w 181"/>
                <a:gd name="T51" fmla="*/ 101 h 363"/>
                <a:gd name="T52" fmla="*/ 9 w 181"/>
                <a:gd name="T53" fmla="*/ 331 h 363"/>
                <a:gd name="T54" fmla="*/ 9 w 181"/>
                <a:gd name="T55" fmla="*/ 353 h 363"/>
                <a:gd name="T56" fmla="*/ 147 w 181"/>
                <a:gd name="T57" fmla="*/ 186 h 363"/>
                <a:gd name="T58" fmla="*/ 34 w 181"/>
                <a:gd name="T59" fmla="*/ 186 h 363"/>
                <a:gd name="T60" fmla="*/ 122 w 181"/>
                <a:gd name="T61" fmla="*/ 177 h 363"/>
                <a:gd name="T62" fmla="*/ 83 w 181"/>
                <a:gd name="T63" fmla="*/ 34 h 363"/>
                <a:gd name="T64" fmla="*/ 83 w 181"/>
                <a:gd name="T65" fmla="*/ 78 h 363"/>
                <a:gd name="T66" fmla="*/ 85 w 181"/>
                <a:gd name="T67" fmla="*/ 25 h 363"/>
                <a:gd name="T68" fmla="*/ 71 w 181"/>
                <a:gd name="T69" fmla="*/ 29 h 363"/>
                <a:gd name="T70" fmla="*/ 49 w 181"/>
                <a:gd name="T71" fmla="*/ 78 h 363"/>
                <a:gd name="T72" fmla="*/ 29 w 181"/>
                <a:gd name="T73" fmla="*/ 177 h 363"/>
                <a:gd name="T74" fmla="*/ 24 w 181"/>
                <a:gd name="T75" fmla="*/ 321 h 363"/>
                <a:gd name="T76" fmla="*/ 0 w 181"/>
                <a:gd name="T77" fmla="*/ 326 h 363"/>
                <a:gd name="T78" fmla="*/ 4 w 181"/>
                <a:gd name="T79" fmla="*/ 363 h 363"/>
                <a:gd name="T80" fmla="*/ 181 w 181"/>
                <a:gd name="T81" fmla="*/ 321 h 363"/>
                <a:gd name="T82" fmla="*/ 156 w 181"/>
                <a:gd name="T83" fmla="*/ 181 h 363"/>
                <a:gd name="T84" fmla="*/ 134 w 181"/>
                <a:gd name="T85" fmla="*/ 177 h 363"/>
                <a:gd name="T86" fmla="*/ 127 w 181"/>
                <a:gd name="T87" fmla="*/ 78 h 363"/>
                <a:gd name="T88" fmla="*/ 110 w 181"/>
                <a:gd name="T89" fmla="*/ 25 h 363"/>
                <a:gd name="T90" fmla="*/ 95 w 181"/>
                <a:gd name="T91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1" h="363">
                  <a:moveTo>
                    <a:pt x="51" y="306"/>
                  </a:moveTo>
                  <a:lnTo>
                    <a:pt x="61" y="306"/>
                  </a:lnTo>
                  <a:lnTo>
                    <a:pt x="61" y="282"/>
                  </a:lnTo>
                  <a:lnTo>
                    <a:pt x="51" y="282"/>
                  </a:lnTo>
                  <a:lnTo>
                    <a:pt x="51" y="306"/>
                  </a:lnTo>
                  <a:close/>
                  <a:moveTo>
                    <a:pt x="73" y="306"/>
                  </a:moveTo>
                  <a:lnTo>
                    <a:pt x="83" y="306"/>
                  </a:lnTo>
                  <a:lnTo>
                    <a:pt x="83" y="282"/>
                  </a:lnTo>
                  <a:lnTo>
                    <a:pt x="73" y="282"/>
                  </a:lnTo>
                  <a:lnTo>
                    <a:pt x="73" y="306"/>
                  </a:lnTo>
                  <a:close/>
                  <a:moveTo>
                    <a:pt x="98" y="306"/>
                  </a:moveTo>
                  <a:lnTo>
                    <a:pt x="107" y="306"/>
                  </a:lnTo>
                  <a:lnTo>
                    <a:pt x="107" y="282"/>
                  </a:lnTo>
                  <a:lnTo>
                    <a:pt x="98" y="282"/>
                  </a:lnTo>
                  <a:lnTo>
                    <a:pt x="98" y="306"/>
                  </a:lnTo>
                  <a:close/>
                  <a:moveTo>
                    <a:pt x="120" y="306"/>
                  </a:moveTo>
                  <a:lnTo>
                    <a:pt x="129" y="306"/>
                  </a:lnTo>
                  <a:lnTo>
                    <a:pt x="129" y="282"/>
                  </a:lnTo>
                  <a:lnTo>
                    <a:pt x="120" y="282"/>
                  </a:lnTo>
                  <a:lnTo>
                    <a:pt x="120" y="306"/>
                  </a:lnTo>
                  <a:close/>
                  <a:moveTo>
                    <a:pt x="51" y="267"/>
                  </a:moveTo>
                  <a:lnTo>
                    <a:pt x="61" y="267"/>
                  </a:lnTo>
                  <a:lnTo>
                    <a:pt x="61" y="240"/>
                  </a:lnTo>
                  <a:lnTo>
                    <a:pt x="51" y="240"/>
                  </a:lnTo>
                  <a:lnTo>
                    <a:pt x="51" y="267"/>
                  </a:lnTo>
                  <a:close/>
                  <a:moveTo>
                    <a:pt x="73" y="267"/>
                  </a:moveTo>
                  <a:lnTo>
                    <a:pt x="83" y="267"/>
                  </a:lnTo>
                  <a:lnTo>
                    <a:pt x="83" y="240"/>
                  </a:lnTo>
                  <a:lnTo>
                    <a:pt x="73" y="240"/>
                  </a:lnTo>
                  <a:lnTo>
                    <a:pt x="73" y="267"/>
                  </a:lnTo>
                  <a:close/>
                  <a:moveTo>
                    <a:pt x="98" y="267"/>
                  </a:moveTo>
                  <a:lnTo>
                    <a:pt x="107" y="267"/>
                  </a:lnTo>
                  <a:lnTo>
                    <a:pt x="107" y="240"/>
                  </a:lnTo>
                  <a:lnTo>
                    <a:pt x="98" y="240"/>
                  </a:lnTo>
                  <a:lnTo>
                    <a:pt x="98" y="267"/>
                  </a:lnTo>
                  <a:close/>
                  <a:moveTo>
                    <a:pt x="120" y="267"/>
                  </a:moveTo>
                  <a:lnTo>
                    <a:pt x="129" y="267"/>
                  </a:lnTo>
                  <a:lnTo>
                    <a:pt x="129" y="240"/>
                  </a:lnTo>
                  <a:lnTo>
                    <a:pt x="120" y="240"/>
                  </a:lnTo>
                  <a:lnTo>
                    <a:pt x="120" y="267"/>
                  </a:lnTo>
                  <a:close/>
                  <a:moveTo>
                    <a:pt x="51" y="228"/>
                  </a:moveTo>
                  <a:lnTo>
                    <a:pt x="61" y="228"/>
                  </a:lnTo>
                  <a:lnTo>
                    <a:pt x="61" y="201"/>
                  </a:lnTo>
                  <a:lnTo>
                    <a:pt x="51" y="201"/>
                  </a:lnTo>
                  <a:lnTo>
                    <a:pt x="51" y="228"/>
                  </a:lnTo>
                  <a:close/>
                  <a:moveTo>
                    <a:pt x="73" y="228"/>
                  </a:moveTo>
                  <a:lnTo>
                    <a:pt x="83" y="228"/>
                  </a:lnTo>
                  <a:lnTo>
                    <a:pt x="83" y="201"/>
                  </a:lnTo>
                  <a:lnTo>
                    <a:pt x="73" y="201"/>
                  </a:lnTo>
                  <a:lnTo>
                    <a:pt x="73" y="228"/>
                  </a:lnTo>
                  <a:close/>
                  <a:moveTo>
                    <a:pt x="98" y="228"/>
                  </a:moveTo>
                  <a:lnTo>
                    <a:pt x="107" y="228"/>
                  </a:lnTo>
                  <a:lnTo>
                    <a:pt x="107" y="201"/>
                  </a:lnTo>
                  <a:lnTo>
                    <a:pt x="98" y="201"/>
                  </a:lnTo>
                  <a:lnTo>
                    <a:pt x="98" y="228"/>
                  </a:lnTo>
                  <a:close/>
                  <a:moveTo>
                    <a:pt x="120" y="228"/>
                  </a:moveTo>
                  <a:lnTo>
                    <a:pt x="129" y="228"/>
                  </a:lnTo>
                  <a:lnTo>
                    <a:pt x="129" y="201"/>
                  </a:lnTo>
                  <a:lnTo>
                    <a:pt x="120" y="201"/>
                  </a:lnTo>
                  <a:lnTo>
                    <a:pt x="120" y="228"/>
                  </a:lnTo>
                  <a:close/>
                  <a:moveTo>
                    <a:pt x="73" y="164"/>
                  </a:moveTo>
                  <a:lnTo>
                    <a:pt x="83" y="164"/>
                  </a:lnTo>
                  <a:lnTo>
                    <a:pt x="83" y="140"/>
                  </a:lnTo>
                  <a:lnTo>
                    <a:pt x="73" y="140"/>
                  </a:lnTo>
                  <a:lnTo>
                    <a:pt x="73" y="164"/>
                  </a:lnTo>
                  <a:close/>
                  <a:moveTo>
                    <a:pt x="98" y="164"/>
                  </a:moveTo>
                  <a:lnTo>
                    <a:pt x="107" y="164"/>
                  </a:lnTo>
                  <a:lnTo>
                    <a:pt x="107" y="140"/>
                  </a:lnTo>
                  <a:lnTo>
                    <a:pt x="98" y="140"/>
                  </a:lnTo>
                  <a:lnTo>
                    <a:pt x="98" y="164"/>
                  </a:lnTo>
                  <a:close/>
                  <a:moveTo>
                    <a:pt x="73" y="125"/>
                  </a:moveTo>
                  <a:lnTo>
                    <a:pt x="83" y="125"/>
                  </a:lnTo>
                  <a:lnTo>
                    <a:pt x="83" y="101"/>
                  </a:lnTo>
                  <a:lnTo>
                    <a:pt x="73" y="101"/>
                  </a:lnTo>
                  <a:lnTo>
                    <a:pt x="73" y="125"/>
                  </a:lnTo>
                  <a:close/>
                  <a:moveTo>
                    <a:pt x="98" y="125"/>
                  </a:moveTo>
                  <a:lnTo>
                    <a:pt x="107" y="125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8" y="125"/>
                  </a:lnTo>
                  <a:close/>
                  <a:moveTo>
                    <a:pt x="9" y="331"/>
                  </a:moveTo>
                  <a:lnTo>
                    <a:pt x="171" y="331"/>
                  </a:lnTo>
                  <a:lnTo>
                    <a:pt x="171" y="353"/>
                  </a:lnTo>
                  <a:lnTo>
                    <a:pt x="9" y="353"/>
                  </a:lnTo>
                  <a:lnTo>
                    <a:pt x="9" y="331"/>
                  </a:lnTo>
                  <a:close/>
                  <a:moveTo>
                    <a:pt x="34" y="186"/>
                  </a:moveTo>
                  <a:lnTo>
                    <a:pt x="147" y="186"/>
                  </a:lnTo>
                  <a:lnTo>
                    <a:pt x="147" y="321"/>
                  </a:lnTo>
                  <a:lnTo>
                    <a:pt x="34" y="321"/>
                  </a:lnTo>
                  <a:lnTo>
                    <a:pt x="34" y="186"/>
                  </a:lnTo>
                  <a:close/>
                  <a:moveTo>
                    <a:pt x="58" y="88"/>
                  </a:moveTo>
                  <a:lnTo>
                    <a:pt x="122" y="88"/>
                  </a:lnTo>
                  <a:lnTo>
                    <a:pt x="122" y="177"/>
                  </a:lnTo>
                  <a:lnTo>
                    <a:pt x="58" y="177"/>
                  </a:lnTo>
                  <a:lnTo>
                    <a:pt x="58" y="88"/>
                  </a:lnTo>
                  <a:close/>
                  <a:moveTo>
                    <a:pt x="83" y="34"/>
                  </a:moveTo>
                  <a:lnTo>
                    <a:pt x="100" y="34"/>
                  </a:lnTo>
                  <a:lnTo>
                    <a:pt x="100" y="78"/>
                  </a:lnTo>
                  <a:lnTo>
                    <a:pt x="83" y="78"/>
                  </a:lnTo>
                  <a:lnTo>
                    <a:pt x="83" y="34"/>
                  </a:lnTo>
                  <a:close/>
                  <a:moveTo>
                    <a:pt x="85" y="0"/>
                  </a:moveTo>
                  <a:lnTo>
                    <a:pt x="85" y="25"/>
                  </a:lnTo>
                  <a:lnTo>
                    <a:pt x="76" y="25"/>
                  </a:lnTo>
                  <a:lnTo>
                    <a:pt x="71" y="25"/>
                  </a:lnTo>
                  <a:lnTo>
                    <a:pt x="71" y="29"/>
                  </a:lnTo>
                  <a:lnTo>
                    <a:pt x="71" y="78"/>
                  </a:lnTo>
                  <a:lnTo>
                    <a:pt x="53" y="78"/>
                  </a:lnTo>
                  <a:lnTo>
                    <a:pt x="49" y="78"/>
                  </a:lnTo>
                  <a:lnTo>
                    <a:pt x="49" y="83"/>
                  </a:lnTo>
                  <a:lnTo>
                    <a:pt x="49" y="177"/>
                  </a:lnTo>
                  <a:lnTo>
                    <a:pt x="29" y="177"/>
                  </a:lnTo>
                  <a:lnTo>
                    <a:pt x="24" y="177"/>
                  </a:lnTo>
                  <a:lnTo>
                    <a:pt x="24" y="181"/>
                  </a:lnTo>
                  <a:lnTo>
                    <a:pt x="24" y="321"/>
                  </a:lnTo>
                  <a:lnTo>
                    <a:pt x="4" y="321"/>
                  </a:lnTo>
                  <a:lnTo>
                    <a:pt x="0" y="321"/>
                  </a:lnTo>
                  <a:lnTo>
                    <a:pt x="0" y="326"/>
                  </a:lnTo>
                  <a:lnTo>
                    <a:pt x="0" y="358"/>
                  </a:lnTo>
                  <a:lnTo>
                    <a:pt x="0" y="363"/>
                  </a:lnTo>
                  <a:lnTo>
                    <a:pt x="4" y="363"/>
                  </a:lnTo>
                  <a:lnTo>
                    <a:pt x="176" y="363"/>
                  </a:lnTo>
                  <a:lnTo>
                    <a:pt x="181" y="363"/>
                  </a:lnTo>
                  <a:lnTo>
                    <a:pt x="181" y="321"/>
                  </a:lnTo>
                  <a:lnTo>
                    <a:pt x="176" y="321"/>
                  </a:lnTo>
                  <a:lnTo>
                    <a:pt x="156" y="321"/>
                  </a:lnTo>
                  <a:lnTo>
                    <a:pt x="156" y="181"/>
                  </a:lnTo>
                  <a:lnTo>
                    <a:pt x="156" y="177"/>
                  </a:lnTo>
                  <a:lnTo>
                    <a:pt x="152" y="177"/>
                  </a:lnTo>
                  <a:lnTo>
                    <a:pt x="134" y="177"/>
                  </a:lnTo>
                  <a:lnTo>
                    <a:pt x="134" y="83"/>
                  </a:lnTo>
                  <a:lnTo>
                    <a:pt x="134" y="78"/>
                  </a:lnTo>
                  <a:lnTo>
                    <a:pt x="127" y="78"/>
                  </a:lnTo>
                  <a:lnTo>
                    <a:pt x="110" y="78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05" y="25"/>
                  </a:lnTo>
                  <a:lnTo>
                    <a:pt x="95" y="25"/>
                  </a:lnTo>
                  <a:lnTo>
                    <a:pt x="95" y="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5" name="Group 664">
            <a:extLst>
              <a:ext uri="{FF2B5EF4-FFF2-40B4-BE49-F238E27FC236}">
                <a16:creationId xmlns:a16="http://schemas.microsoft.com/office/drawing/2014/main" id="{4999021C-AFE7-4380-BD97-8E137D5D7CCD}"/>
              </a:ext>
            </a:extLst>
          </p:cNvPr>
          <p:cNvGrpSpPr/>
          <p:nvPr/>
        </p:nvGrpSpPr>
        <p:grpSpPr>
          <a:xfrm>
            <a:off x="360363" y="5471320"/>
            <a:ext cx="844550" cy="844549"/>
            <a:chOff x="360363" y="5443538"/>
            <a:chExt cx="844550" cy="844549"/>
          </a:xfrm>
        </p:grpSpPr>
        <p:sp>
          <p:nvSpPr>
            <p:cNvPr id="661" name="AutoShape 234">
              <a:extLst>
                <a:ext uri="{FF2B5EF4-FFF2-40B4-BE49-F238E27FC236}">
                  <a16:creationId xmlns:a16="http://schemas.microsoft.com/office/drawing/2014/main" id="{B8074896-1F8E-4752-ADB5-D4DE29F880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0363" y="5443538"/>
              <a:ext cx="841375" cy="839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2" name="Oval 236">
              <a:extLst>
                <a:ext uri="{FF2B5EF4-FFF2-40B4-BE49-F238E27FC236}">
                  <a16:creationId xmlns:a16="http://schemas.microsoft.com/office/drawing/2014/main" id="{00C1B004-DDD6-4704-93F8-50C95E977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63" y="5443538"/>
              <a:ext cx="844550" cy="84454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3" name="Freeform 237">
              <a:extLst>
                <a:ext uri="{FF2B5EF4-FFF2-40B4-BE49-F238E27FC236}">
                  <a16:creationId xmlns:a16="http://schemas.microsoft.com/office/drawing/2014/main" id="{5F8C4D1C-C7B1-461B-94A7-888B9A525D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938" y="5472113"/>
              <a:ext cx="788988" cy="78740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4" name="Freeform 238">
              <a:extLst>
                <a:ext uri="{FF2B5EF4-FFF2-40B4-BE49-F238E27FC236}">
                  <a16:creationId xmlns:a16="http://schemas.microsoft.com/office/drawing/2014/main" id="{8433B8D3-9960-4B5D-8F8D-CA7C809BE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826" y="5548313"/>
              <a:ext cx="301625" cy="601662"/>
            </a:xfrm>
            <a:custGeom>
              <a:avLst/>
              <a:gdLst>
                <a:gd name="T0" fmla="*/ 64 w 190"/>
                <a:gd name="T1" fmla="*/ 294 h 379"/>
                <a:gd name="T2" fmla="*/ 77 w 190"/>
                <a:gd name="T3" fmla="*/ 320 h 379"/>
                <a:gd name="T4" fmla="*/ 77 w 190"/>
                <a:gd name="T5" fmla="*/ 294 h 379"/>
                <a:gd name="T6" fmla="*/ 113 w 190"/>
                <a:gd name="T7" fmla="*/ 320 h 379"/>
                <a:gd name="T8" fmla="*/ 103 w 190"/>
                <a:gd name="T9" fmla="*/ 320 h 379"/>
                <a:gd name="T10" fmla="*/ 136 w 190"/>
                <a:gd name="T11" fmla="*/ 294 h 379"/>
                <a:gd name="T12" fmla="*/ 54 w 190"/>
                <a:gd name="T13" fmla="*/ 279 h 379"/>
                <a:gd name="T14" fmla="*/ 54 w 190"/>
                <a:gd name="T15" fmla="*/ 251 h 379"/>
                <a:gd name="T16" fmla="*/ 87 w 190"/>
                <a:gd name="T17" fmla="*/ 279 h 379"/>
                <a:gd name="T18" fmla="*/ 77 w 190"/>
                <a:gd name="T19" fmla="*/ 279 h 379"/>
                <a:gd name="T20" fmla="*/ 113 w 190"/>
                <a:gd name="T21" fmla="*/ 251 h 379"/>
                <a:gd name="T22" fmla="*/ 126 w 190"/>
                <a:gd name="T23" fmla="*/ 279 h 379"/>
                <a:gd name="T24" fmla="*/ 126 w 190"/>
                <a:gd name="T25" fmla="*/ 251 h 379"/>
                <a:gd name="T26" fmla="*/ 64 w 190"/>
                <a:gd name="T27" fmla="*/ 238 h 379"/>
                <a:gd name="T28" fmla="*/ 54 w 190"/>
                <a:gd name="T29" fmla="*/ 238 h 379"/>
                <a:gd name="T30" fmla="*/ 87 w 190"/>
                <a:gd name="T31" fmla="*/ 210 h 379"/>
                <a:gd name="T32" fmla="*/ 103 w 190"/>
                <a:gd name="T33" fmla="*/ 238 h 379"/>
                <a:gd name="T34" fmla="*/ 103 w 190"/>
                <a:gd name="T35" fmla="*/ 210 h 379"/>
                <a:gd name="T36" fmla="*/ 136 w 190"/>
                <a:gd name="T37" fmla="*/ 238 h 379"/>
                <a:gd name="T38" fmla="*/ 126 w 190"/>
                <a:gd name="T39" fmla="*/ 238 h 379"/>
                <a:gd name="T40" fmla="*/ 87 w 190"/>
                <a:gd name="T41" fmla="*/ 146 h 379"/>
                <a:gd name="T42" fmla="*/ 103 w 190"/>
                <a:gd name="T43" fmla="*/ 172 h 379"/>
                <a:gd name="T44" fmla="*/ 103 w 190"/>
                <a:gd name="T45" fmla="*/ 146 h 379"/>
                <a:gd name="T46" fmla="*/ 87 w 190"/>
                <a:gd name="T47" fmla="*/ 131 h 379"/>
                <a:gd name="T48" fmla="*/ 77 w 190"/>
                <a:gd name="T49" fmla="*/ 131 h 379"/>
                <a:gd name="T50" fmla="*/ 113 w 190"/>
                <a:gd name="T51" fmla="*/ 105 h 379"/>
                <a:gd name="T52" fmla="*/ 11 w 190"/>
                <a:gd name="T53" fmla="*/ 345 h 379"/>
                <a:gd name="T54" fmla="*/ 11 w 190"/>
                <a:gd name="T55" fmla="*/ 368 h 379"/>
                <a:gd name="T56" fmla="*/ 154 w 190"/>
                <a:gd name="T57" fmla="*/ 195 h 379"/>
                <a:gd name="T58" fmla="*/ 36 w 190"/>
                <a:gd name="T59" fmla="*/ 195 h 379"/>
                <a:gd name="T60" fmla="*/ 128 w 190"/>
                <a:gd name="T61" fmla="*/ 184 h 379"/>
                <a:gd name="T62" fmla="*/ 87 w 190"/>
                <a:gd name="T63" fmla="*/ 36 h 379"/>
                <a:gd name="T64" fmla="*/ 87 w 190"/>
                <a:gd name="T65" fmla="*/ 82 h 379"/>
                <a:gd name="T66" fmla="*/ 90 w 190"/>
                <a:gd name="T67" fmla="*/ 26 h 379"/>
                <a:gd name="T68" fmla="*/ 75 w 190"/>
                <a:gd name="T69" fmla="*/ 31 h 379"/>
                <a:gd name="T70" fmla="*/ 52 w 190"/>
                <a:gd name="T71" fmla="*/ 82 h 379"/>
                <a:gd name="T72" fmla="*/ 31 w 190"/>
                <a:gd name="T73" fmla="*/ 184 h 379"/>
                <a:gd name="T74" fmla="*/ 26 w 190"/>
                <a:gd name="T75" fmla="*/ 335 h 379"/>
                <a:gd name="T76" fmla="*/ 0 w 190"/>
                <a:gd name="T77" fmla="*/ 340 h 379"/>
                <a:gd name="T78" fmla="*/ 6 w 190"/>
                <a:gd name="T79" fmla="*/ 379 h 379"/>
                <a:gd name="T80" fmla="*/ 190 w 190"/>
                <a:gd name="T81" fmla="*/ 335 h 379"/>
                <a:gd name="T82" fmla="*/ 164 w 190"/>
                <a:gd name="T83" fmla="*/ 189 h 379"/>
                <a:gd name="T84" fmla="*/ 141 w 190"/>
                <a:gd name="T85" fmla="*/ 184 h 379"/>
                <a:gd name="T86" fmla="*/ 134 w 190"/>
                <a:gd name="T87" fmla="*/ 82 h 379"/>
                <a:gd name="T88" fmla="*/ 116 w 190"/>
                <a:gd name="T89" fmla="*/ 26 h 379"/>
                <a:gd name="T90" fmla="*/ 100 w 190"/>
                <a:gd name="T91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0" h="379">
                  <a:moveTo>
                    <a:pt x="54" y="320"/>
                  </a:moveTo>
                  <a:lnTo>
                    <a:pt x="64" y="320"/>
                  </a:lnTo>
                  <a:lnTo>
                    <a:pt x="64" y="294"/>
                  </a:lnTo>
                  <a:lnTo>
                    <a:pt x="54" y="294"/>
                  </a:lnTo>
                  <a:lnTo>
                    <a:pt x="54" y="320"/>
                  </a:lnTo>
                  <a:close/>
                  <a:moveTo>
                    <a:pt x="77" y="320"/>
                  </a:moveTo>
                  <a:lnTo>
                    <a:pt x="87" y="320"/>
                  </a:lnTo>
                  <a:lnTo>
                    <a:pt x="87" y="294"/>
                  </a:lnTo>
                  <a:lnTo>
                    <a:pt x="77" y="294"/>
                  </a:lnTo>
                  <a:lnTo>
                    <a:pt x="77" y="320"/>
                  </a:lnTo>
                  <a:close/>
                  <a:moveTo>
                    <a:pt x="103" y="320"/>
                  </a:moveTo>
                  <a:lnTo>
                    <a:pt x="113" y="320"/>
                  </a:lnTo>
                  <a:lnTo>
                    <a:pt x="113" y="294"/>
                  </a:lnTo>
                  <a:lnTo>
                    <a:pt x="103" y="294"/>
                  </a:lnTo>
                  <a:lnTo>
                    <a:pt x="103" y="320"/>
                  </a:lnTo>
                  <a:close/>
                  <a:moveTo>
                    <a:pt x="126" y="320"/>
                  </a:moveTo>
                  <a:lnTo>
                    <a:pt x="136" y="320"/>
                  </a:lnTo>
                  <a:lnTo>
                    <a:pt x="136" y="294"/>
                  </a:lnTo>
                  <a:lnTo>
                    <a:pt x="126" y="294"/>
                  </a:lnTo>
                  <a:lnTo>
                    <a:pt x="126" y="320"/>
                  </a:lnTo>
                  <a:close/>
                  <a:moveTo>
                    <a:pt x="54" y="279"/>
                  </a:moveTo>
                  <a:lnTo>
                    <a:pt x="64" y="279"/>
                  </a:lnTo>
                  <a:lnTo>
                    <a:pt x="64" y="251"/>
                  </a:lnTo>
                  <a:lnTo>
                    <a:pt x="54" y="251"/>
                  </a:lnTo>
                  <a:lnTo>
                    <a:pt x="54" y="279"/>
                  </a:lnTo>
                  <a:close/>
                  <a:moveTo>
                    <a:pt x="77" y="279"/>
                  </a:moveTo>
                  <a:lnTo>
                    <a:pt x="87" y="279"/>
                  </a:lnTo>
                  <a:lnTo>
                    <a:pt x="87" y="251"/>
                  </a:lnTo>
                  <a:lnTo>
                    <a:pt x="77" y="251"/>
                  </a:lnTo>
                  <a:lnTo>
                    <a:pt x="77" y="279"/>
                  </a:lnTo>
                  <a:close/>
                  <a:moveTo>
                    <a:pt x="103" y="279"/>
                  </a:moveTo>
                  <a:lnTo>
                    <a:pt x="113" y="279"/>
                  </a:lnTo>
                  <a:lnTo>
                    <a:pt x="113" y="251"/>
                  </a:lnTo>
                  <a:lnTo>
                    <a:pt x="103" y="251"/>
                  </a:lnTo>
                  <a:lnTo>
                    <a:pt x="103" y="279"/>
                  </a:lnTo>
                  <a:close/>
                  <a:moveTo>
                    <a:pt x="126" y="279"/>
                  </a:moveTo>
                  <a:lnTo>
                    <a:pt x="136" y="279"/>
                  </a:lnTo>
                  <a:lnTo>
                    <a:pt x="136" y="251"/>
                  </a:lnTo>
                  <a:lnTo>
                    <a:pt x="126" y="251"/>
                  </a:lnTo>
                  <a:lnTo>
                    <a:pt x="126" y="279"/>
                  </a:lnTo>
                  <a:close/>
                  <a:moveTo>
                    <a:pt x="54" y="238"/>
                  </a:moveTo>
                  <a:lnTo>
                    <a:pt x="64" y="238"/>
                  </a:lnTo>
                  <a:lnTo>
                    <a:pt x="64" y="210"/>
                  </a:lnTo>
                  <a:lnTo>
                    <a:pt x="54" y="210"/>
                  </a:lnTo>
                  <a:lnTo>
                    <a:pt x="54" y="238"/>
                  </a:lnTo>
                  <a:close/>
                  <a:moveTo>
                    <a:pt x="77" y="238"/>
                  </a:moveTo>
                  <a:lnTo>
                    <a:pt x="87" y="238"/>
                  </a:lnTo>
                  <a:lnTo>
                    <a:pt x="87" y="210"/>
                  </a:lnTo>
                  <a:lnTo>
                    <a:pt x="77" y="210"/>
                  </a:lnTo>
                  <a:lnTo>
                    <a:pt x="77" y="238"/>
                  </a:lnTo>
                  <a:close/>
                  <a:moveTo>
                    <a:pt x="103" y="238"/>
                  </a:moveTo>
                  <a:lnTo>
                    <a:pt x="113" y="238"/>
                  </a:lnTo>
                  <a:lnTo>
                    <a:pt x="113" y="210"/>
                  </a:lnTo>
                  <a:lnTo>
                    <a:pt x="103" y="210"/>
                  </a:lnTo>
                  <a:lnTo>
                    <a:pt x="103" y="238"/>
                  </a:lnTo>
                  <a:close/>
                  <a:moveTo>
                    <a:pt x="126" y="238"/>
                  </a:moveTo>
                  <a:lnTo>
                    <a:pt x="136" y="238"/>
                  </a:lnTo>
                  <a:lnTo>
                    <a:pt x="136" y="210"/>
                  </a:lnTo>
                  <a:lnTo>
                    <a:pt x="126" y="210"/>
                  </a:lnTo>
                  <a:lnTo>
                    <a:pt x="126" y="238"/>
                  </a:lnTo>
                  <a:close/>
                  <a:moveTo>
                    <a:pt x="77" y="172"/>
                  </a:moveTo>
                  <a:lnTo>
                    <a:pt x="87" y="172"/>
                  </a:lnTo>
                  <a:lnTo>
                    <a:pt x="87" y="146"/>
                  </a:lnTo>
                  <a:lnTo>
                    <a:pt x="77" y="146"/>
                  </a:lnTo>
                  <a:lnTo>
                    <a:pt x="77" y="172"/>
                  </a:lnTo>
                  <a:close/>
                  <a:moveTo>
                    <a:pt x="103" y="172"/>
                  </a:moveTo>
                  <a:lnTo>
                    <a:pt x="113" y="172"/>
                  </a:lnTo>
                  <a:lnTo>
                    <a:pt x="113" y="146"/>
                  </a:lnTo>
                  <a:lnTo>
                    <a:pt x="103" y="146"/>
                  </a:lnTo>
                  <a:lnTo>
                    <a:pt x="103" y="172"/>
                  </a:lnTo>
                  <a:close/>
                  <a:moveTo>
                    <a:pt x="77" y="131"/>
                  </a:moveTo>
                  <a:lnTo>
                    <a:pt x="87" y="131"/>
                  </a:lnTo>
                  <a:lnTo>
                    <a:pt x="87" y="105"/>
                  </a:lnTo>
                  <a:lnTo>
                    <a:pt x="77" y="105"/>
                  </a:lnTo>
                  <a:lnTo>
                    <a:pt x="77" y="131"/>
                  </a:lnTo>
                  <a:close/>
                  <a:moveTo>
                    <a:pt x="103" y="131"/>
                  </a:moveTo>
                  <a:lnTo>
                    <a:pt x="113" y="131"/>
                  </a:lnTo>
                  <a:lnTo>
                    <a:pt x="113" y="105"/>
                  </a:lnTo>
                  <a:lnTo>
                    <a:pt x="103" y="105"/>
                  </a:lnTo>
                  <a:lnTo>
                    <a:pt x="103" y="131"/>
                  </a:lnTo>
                  <a:close/>
                  <a:moveTo>
                    <a:pt x="11" y="345"/>
                  </a:moveTo>
                  <a:lnTo>
                    <a:pt x="180" y="345"/>
                  </a:lnTo>
                  <a:lnTo>
                    <a:pt x="180" y="368"/>
                  </a:lnTo>
                  <a:lnTo>
                    <a:pt x="11" y="368"/>
                  </a:lnTo>
                  <a:lnTo>
                    <a:pt x="11" y="345"/>
                  </a:lnTo>
                  <a:close/>
                  <a:moveTo>
                    <a:pt x="36" y="195"/>
                  </a:moveTo>
                  <a:lnTo>
                    <a:pt x="154" y="195"/>
                  </a:lnTo>
                  <a:lnTo>
                    <a:pt x="154" y="335"/>
                  </a:lnTo>
                  <a:lnTo>
                    <a:pt x="36" y="335"/>
                  </a:lnTo>
                  <a:lnTo>
                    <a:pt x="36" y="195"/>
                  </a:lnTo>
                  <a:close/>
                  <a:moveTo>
                    <a:pt x="62" y="92"/>
                  </a:moveTo>
                  <a:lnTo>
                    <a:pt x="128" y="92"/>
                  </a:lnTo>
                  <a:lnTo>
                    <a:pt x="128" y="184"/>
                  </a:lnTo>
                  <a:lnTo>
                    <a:pt x="62" y="184"/>
                  </a:lnTo>
                  <a:lnTo>
                    <a:pt x="62" y="92"/>
                  </a:lnTo>
                  <a:close/>
                  <a:moveTo>
                    <a:pt x="87" y="36"/>
                  </a:moveTo>
                  <a:lnTo>
                    <a:pt x="105" y="36"/>
                  </a:lnTo>
                  <a:lnTo>
                    <a:pt x="105" y="82"/>
                  </a:lnTo>
                  <a:lnTo>
                    <a:pt x="87" y="82"/>
                  </a:lnTo>
                  <a:lnTo>
                    <a:pt x="87" y="36"/>
                  </a:lnTo>
                  <a:close/>
                  <a:moveTo>
                    <a:pt x="90" y="0"/>
                  </a:moveTo>
                  <a:lnTo>
                    <a:pt x="90" y="26"/>
                  </a:lnTo>
                  <a:lnTo>
                    <a:pt x="80" y="26"/>
                  </a:lnTo>
                  <a:lnTo>
                    <a:pt x="75" y="26"/>
                  </a:lnTo>
                  <a:lnTo>
                    <a:pt x="75" y="31"/>
                  </a:lnTo>
                  <a:lnTo>
                    <a:pt x="75" y="82"/>
                  </a:lnTo>
                  <a:lnTo>
                    <a:pt x="57" y="82"/>
                  </a:lnTo>
                  <a:lnTo>
                    <a:pt x="52" y="82"/>
                  </a:lnTo>
                  <a:lnTo>
                    <a:pt x="52" y="87"/>
                  </a:lnTo>
                  <a:lnTo>
                    <a:pt x="52" y="184"/>
                  </a:lnTo>
                  <a:lnTo>
                    <a:pt x="31" y="184"/>
                  </a:lnTo>
                  <a:lnTo>
                    <a:pt x="26" y="184"/>
                  </a:lnTo>
                  <a:lnTo>
                    <a:pt x="26" y="189"/>
                  </a:lnTo>
                  <a:lnTo>
                    <a:pt x="26" y="335"/>
                  </a:lnTo>
                  <a:lnTo>
                    <a:pt x="6" y="335"/>
                  </a:lnTo>
                  <a:lnTo>
                    <a:pt x="0" y="335"/>
                  </a:lnTo>
                  <a:lnTo>
                    <a:pt x="0" y="340"/>
                  </a:lnTo>
                  <a:lnTo>
                    <a:pt x="0" y="374"/>
                  </a:lnTo>
                  <a:lnTo>
                    <a:pt x="0" y="379"/>
                  </a:lnTo>
                  <a:lnTo>
                    <a:pt x="6" y="379"/>
                  </a:lnTo>
                  <a:lnTo>
                    <a:pt x="185" y="379"/>
                  </a:lnTo>
                  <a:lnTo>
                    <a:pt x="190" y="379"/>
                  </a:lnTo>
                  <a:lnTo>
                    <a:pt x="190" y="335"/>
                  </a:lnTo>
                  <a:lnTo>
                    <a:pt x="185" y="335"/>
                  </a:lnTo>
                  <a:lnTo>
                    <a:pt x="164" y="335"/>
                  </a:lnTo>
                  <a:lnTo>
                    <a:pt x="164" y="189"/>
                  </a:lnTo>
                  <a:lnTo>
                    <a:pt x="164" y="184"/>
                  </a:lnTo>
                  <a:lnTo>
                    <a:pt x="159" y="184"/>
                  </a:lnTo>
                  <a:lnTo>
                    <a:pt x="141" y="184"/>
                  </a:lnTo>
                  <a:lnTo>
                    <a:pt x="141" y="87"/>
                  </a:lnTo>
                  <a:lnTo>
                    <a:pt x="141" y="82"/>
                  </a:lnTo>
                  <a:lnTo>
                    <a:pt x="134" y="82"/>
                  </a:lnTo>
                  <a:lnTo>
                    <a:pt x="116" y="82"/>
                  </a:lnTo>
                  <a:lnTo>
                    <a:pt x="116" y="31"/>
                  </a:lnTo>
                  <a:lnTo>
                    <a:pt x="116" y="26"/>
                  </a:lnTo>
                  <a:lnTo>
                    <a:pt x="111" y="26"/>
                  </a:lnTo>
                  <a:lnTo>
                    <a:pt x="100" y="26"/>
                  </a:lnTo>
                  <a:lnTo>
                    <a:pt x="100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7" name="Group 686">
            <a:extLst>
              <a:ext uri="{FF2B5EF4-FFF2-40B4-BE49-F238E27FC236}">
                <a16:creationId xmlns:a16="http://schemas.microsoft.com/office/drawing/2014/main" id="{5C313C2F-966B-458A-B7DB-B51B8971F744}"/>
              </a:ext>
            </a:extLst>
          </p:cNvPr>
          <p:cNvGrpSpPr/>
          <p:nvPr/>
        </p:nvGrpSpPr>
        <p:grpSpPr>
          <a:xfrm>
            <a:off x="3592513" y="5514182"/>
            <a:ext cx="760412" cy="758825"/>
            <a:chOff x="3592513" y="5502275"/>
            <a:chExt cx="760412" cy="758825"/>
          </a:xfrm>
        </p:grpSpPr>
        <p:sp>
          <p:nvSpPr>
            <p:cNvPr id="669" name="AutoShape 240">
              <a:extLst>
                <a:ext uri="{FF2B5EF4-FFF2-40B4-BE49-F238E27FC236}">
                  <a16:creationId xmlns:a16="http://schemas.microsoft.com/office/drawing/2014/main" id="{D825064A-BA19-401F-81C2-476BF90491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2513" y="5502275"/>
              <a:ext cx="760412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0" name="Freeform 242">
              <a:extLst>
                <a:ext uri="{FF2B5EF4-FFF2-40B4-BE49-F238E27FC236}">
                  <a16:creationId xmlns:a16="http://schemas.microsoft.com/office/drawing/2014/main" id="{DDA8E98E-2ED2-4894-9A27-0F4E59965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688" y="5505450"/>
              <a:ext cx="757237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1" name="Freeform 243">
              <a:extLst>
                <a:ext uri="{FF2B5EF4-FFF2-40B4-BE49-F238E27FC236}">
                  <a16:creationId xmlns:a16="http://schemas.microsoft.com/office/drawing/2014/main" id="{E609499C-1DC8-4998-840F-2C0B7D5C69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673725"/>
              <a:ext cx="265112" cy="69850"/>
            </a:xfrm>
            <a:custGeom>
              <a:avLst/>
              <a:gdLst>
                <a:gd name="T0" fmla="*/ 165 w 167"/>
                <a:gd name="T1" fmla="*/ 44 h 44"/>
                <a:gd name="T2" fmla="*/ 165 w 167"/>
                <a:gd name="T3" fmla="*/ 44 h 44"/>
                <a:gd name="T4" fmla="*/ 167 w 167"/>
                <a:gd name="T5" fmla="*/ 44 h 44"/>
                <a:gd name="T6" fmla="*/ 167 w 167"/>
                <a:gd name="T7" fmla="*/ 42 h 44"/>
                <a:gd name="T8" fmla="*/ 167 w 167"/>
                <a:gd name="T9" fmla="*/ 42 h 44"/>
                <a:gd name="T10" fmla="*/ 167 w 167"/>
                <a:gd name="T11" fmla="*/ 42 h 44"/>
                <a:gd name="T12" fmla="*/ 167 w 167"/>
                <a:gd name="T13" fmla="*/ 2 h 44"/>
                <a:gd name="T14" fmla="*/ 167 w 167"/>
                <a:gd name="T15" fmla="*/ 2 h 44"/>
                <a:gd name="T16" fmla="*/ 167 w 167"/>
                <a:gd name="T17" fmla="*/ 0 h 44"/>
                <a:gd name="T18" fmla="*/ 167 w 167"/>
                <a:gd name="T19" fmla="*/ 0 h 44"/>
                <a:gd name="T20" fmla="*/ 165 w 167"/>
                <a:gd name="T21" fmla="*/ 0 h 44"/>
                <a:gd name="T22" fmla="*/ 165 w 167"/>
                <a:gd name="T23" fmla="*/ 0 h 44"/>
                <a:gd name="T24" fmla="*/ 3 w 167"/>
                <a:gd name="T25" fmla="*/ 0 h 44"/>
                <a:gd name="T26" fmla="*/ 0 w 167"/>
                <a:gd name="T27" fmla="*/ 0 h 44"/>
                <a:gd name="T28" fmla="*/ 0 w 167"/>
                <a:gd name="T29" fmla="*/ 0 h 44"/>
                <a:gd name="T30" fmla="*/ 0 w 167"/>
                <a:gd name="T31" fmla="*/ 2 h 44"/>
                <a:gd name="T32" fmla="*/ 0 w 167"/>
                <a:gd name="T33" fmla="*/ 2 h 44"/>
                <a:gd name="T34" fmla="*/ 0 w 167"/>
                <a:gd name="T35" fmla="*/ 42 h 44"/>
                <a:gd name="T36" fmla="*/ 0 w 167"/>
                <a:gd name="T37" fmla="*/ 42 h 44"/>
                <a:gd name="T38" fmla="*/ 0 w 167"/>
                <a:gd name="T39" fmla="*/ 44 h 44"/>
                <a:gd name="T40" fmla="*/ 3 w 167"/>
                <a:gd name="T41" fmla="*/ 44 h 44"/>
                <a:gd name="T42" fmla="*/ 3 w 167"/>
                <a:gd name="T43" fmla="*/ 44 h 44"/>
                <a:gd name="T44" fmla="*/ 3 w 167"/>
                <a:gd name="T45" fmla="*/ 44 h 44"/>
                <a:gd name="T46" fmla="*/ 165 w 167"/>
                <a:gd name="T47" fmla="*/ 44 h 44"/>
                <a:gd name="T48" fmla="*/ 8 w 167"/>
                <a:gd name="T49" fmla="*/ 7 h 44"/>
                <a:gd name="T50" fmla="*/ 160 w 167"/>
                <a:gd name="T51" fmla="*/ 7 h 44"/>
                <a:gd name="T52" fmla="*/ 160 w 167"/>
                <a:gd name="T53" fmla="*/ 37 h 44"/>
                <a:gd name="T54" fmla="*/ 8 w 167"/>
                <a:gd name="T55" fmla="*/ 37 h 44"/>
                <a:gd name="T56" fmla="*/ 8 w 167"/>
                <a:gd name="T57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7" h="44">
                  <a:moveTo>
                    <a:pt x="165" y="44"/>
                  </a:moveTo>
                  <a:lnTo>
                    <a:pt x="165" y="44"/>
                  </a:lnTo>
                  <a:lnTo>
                    <a:pt x="167" y="44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165" y="44"/>
                  </a:lnTo>
                  <a:close/>
                  <a:moveTo>
                    <a:pt x="8" y="7"/>
                  </a:moveTo>
                  <a:lnTo>
                    <a:pt x="160" y="7"/>
                  </a:lnTo>
                  <a:lnTo>
                    <a:pt x="160" y="37"/>
                  </a:lnTo>
                  <a:lnTo>
                    <a:pt x="8" y="37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2" name="Freeform 244">
              <a:extLst>
                <a:ext uri="{FF2B5EF4-FFF2-40B4-BE49-F238E27FC236}">
                  <a16:creationId xmlns:a16="http://schemas.microsoft.com/office/drawing/2014/main" id="{90C21A69-D15E-4F7D-9066-58B9513FF3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3350" y="5762625"/>
              <a:ext cx="61912" cy="98425"/>
            </a:xfrm>
            <a:custGeom>
              <a:avLst/>
              <a:gdLst>
                <a:gd name="T0" fmla="*/ 39 w 39"/>
                <a:gd name="T1" fmla="*/ 3 h 62"/>
                <a:gd name="T2" fmla="*/ 39 w 39"/>
                <a:gd name="T3" fmla="*/ 3 h 62"/>
                <a:gd name="T4" fmla="*/ 39 w 39"/>
                <a:gd name="T5" fmla="*/ 3 h 62"/>
                <a:gd name="T6" fmla="*/ 37 w 39"/>
                <a:gd name="T7" fmla="*/ 0 h 62"/>
                <a:gd name="T8" fmla="*/ 37 w 39"/>
                <a:gd name="T9" fmla="*/ 0 h 62"/>
                <a:gd name="T10" fmla="*/ 3 w 39"/>
                <a:gd name="T11" fmla="*/ 0 h 62"/>
                <a:gd name="T12" fmla="*/ 0 w 39"/>
                <a:gd name="T13" fmla="*/ 0 h 62"/>
                <a:gd name="T14" fmla="*/ 0 w 39"/>
                <a:gd name="T15" fmla="*/ 3 h 62"/>
                <a:gd name="T16" fmla="*/ 0 w 39"/>
                <a:gd name="T17" fmla="*/ 3 h 62"/>
                <a:gd name="T18" fmla="*/ 0 w 39"/>
                <a:gd name="T19" fmla="*/ 5 h 62"/>
                <a:gd name="T20" fmla="*/ 0 w 39"/>
                <a:gd name="T21" fmla="*/ 5 h 62"/>
                <a:gd name="T22" fmla="*/ 0 w 39"/>
                <a:gd name="T23" fmla="*/ 59 h 62"/>
                <a:gd name="T24" fmla="*/ 0 w 39"/>
                <a:gd name="T25" fmla="*/ 59 h 62"/>
                <a:gd name="T26" fmla="*/ 0 w 39"/>
                <a:gd name="T27" fmla="*/ 59 h 62"/>
                <a:gd name="T28" fmla="*/ 3 w 39"/>
                <a:gd name="T29" fmla="*/ 62 h 62"/>
                <a:gd name="T30" fmla="*/ 3 w 39"/>
                <a:gd name="T31" fmla="*/ 62 h 62"/>
                <a:gd name="T32" fmla="*/ 37 w 39"/>
                <a:gd name="T33" fmla="*/ 62 h 62"/>
                <a:gd name="T34" fmla="*/ 37 w 39"/>
                <a:gd name="T35" fmla="*/ 62 h 62"/>
                <a:gd name="T36" fmla="*/ 39 w 39"/>
                <a:gd name="T37" fmla="*/ 59 h 62"/>
                <a:gd name="T38" fmla="*/ 39 w 39"/>
                <a:gd name="T39" fmla="*/ 59 h 62"/>
                <a:gd name="T40" fmla="*/ 39 w 39"/>
                <a:gd name="T41" fmla="*/ 57 h 62"/>
                <a:gd name="T42" fmla="*/ 39 w 39"/>
                <a:gd name="T43" fmla="*/ 57 h 62"/>
                <a:gd name="T44" fmla="*/ 39 w 39"/>
                <a:gd name="T45" fmla="*/ 3 h 62"/>
                <a:gd name="T46" fmla="*/ 39 w 39"/>
                <a:gd name="T47" fmla="*/ 3 h 62"/>
                <a:gd name="T48" fmla="*/ 32 w 39"/>
                <a:gd name="T49" fmla="*/ 54 h 62"/>
                <a:gd name="T50" fmla="*/ 7 w 39"/>
                <a:gd name="T51" fmla="*/ 54 h 62"/>
                <a:gd name="T52" fmla="*/ 7 w 39"/>
                <a:gd name="T53" fmla="*/ 10 h 62"/>
                <a:gd name="T54" fmla="*/ 32 w 39"/>
                <a:gd name="T55" fmla="*/ 10 h 62"/>
                <a:gd name="T56" fmla="*/ 32 w 39"/>
                <a:gd name="T5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62">
                  <a:moveTo>
                    <a:pt x="39" y="3"/>
                  </a:moveTo>
                  <a:lnTo>
                    <a:pt x="39" y="3"/>
                  </a:lnTo>
                  <a:lnTo>
                    <a:pt x="39" y="3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3"/>
                  </a:lnTo>
                  <a:lnTo>
                    <a:pt x="39" y="3"/>
                  </a:lnTo>
                  <a:close/>
                  <a:moveTo>
                    <a:pt x="32" y="54"/>
                  </a:moveTo>
                  <a:lnTo>
                    <a:pt x="7" y="54"/>
                  </a:lnTo>
                  <a:lnTo>
                    <a:pt x="7" y="10"/>
                  </a:lnTo>
                  <a:lnTo>
                    <a:pt x="32" y="10"/>
                  </a:lnTo>
                  <a:lnTo>
                    <a:pt x="32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3" name="Freeform 245">
              <a:extLst>
                <a:ext uri="{FF2B5EF4-FFF2-40B4-BE49-F238E27FC236}">
                  <a16:creationId xmlns:a16="http://schemas.microsoft.com/office/drawing/2014/main" id="{E5184B05-971E-48CD-9F46-A8A8AE635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872163"/>
              <a:ext cx="66675" cy="93663"/>
            </a:xfrm>
            <a:custGeom>
              <a:avLst/>
              <a:gdLst>
                <a:gd name="T0" fmla="*/ 0 w 42"/>
                <a:gd name="T1" fmla="*/ 59 h 59"/>
                <a:gd name="T2" fmla="*/ 3 w 42"/>
                <a:gd name="T3" fmla="*/ 59 h 59"/>
                <a:gd name="T4" fmla="*/ 3 w 42"/>
                <a:gd name="T5" fmla="*/ 59 h 59"/>
                <a:gd name="T6" fmla="*/ 5 w 42"/>
                <a:gd name="T7" fmla="*/ 59 h 59"/>
                <a:gd name="T8" fmla="*/ 40 w 42"/>
                <a:gd name="T9" fmla="*/ 59 h 59"/>
                <a:gd name="T10" fmla="*/ 40 w 42"/>
                <a:gd name="T11" fmla="*/ 59 h 59"/>
                <a:gd name="T12" fmla="*/ 42 w 42"/>
                <a:gd name="T13" fmla="*/ 59 h 59"/>
                <a:gd name="T14" fmla="*/ 42 w 42"/>
                <a:gd name="T15" fmla="*/ 59 h 59"/>
                <a:gd name="T16" fmla="*/ 42 w 42"/>
                <a:gd name="T17" fmla="*/ 56 h 59"/>
                <a:gd name="T18" fmla="*/ 42 w 42"/>
                <a:gd name="T19" fmla="*/ 56 h 59"/>
                <a:gd name="T20" fmla="*/ 42 w 42"/>
                <a:gd name="T21" fmla="*/ 2 h 59"/>
                <a:gd name="T22" fmla="*/ 42 w 42"/>
                <a:gd name="T23" fmla="*/ 2 h 59"/>
                <a:gd name="T24" fmla="*/ 42 w 42"/>
                <a:gd name="T25" fmla="*/ 0 h 59"/>
                <a:gd name="T26" fmla="*/ 40 w 42"/>
                <a:gd name="T27" fmla="*/ 0 h 59"/>
                <a:gd name="T28" fmla="*/ 40 w 42"/>
                <a:gd name="T29" fmla="*/ 0 h 59"/>
                <a:gd name="T30" fmla="*/ 37 w 42"/>
                <a:gd name="T31" fmla="*/ 0 h 59"/>
                <a:gd name="T32" fmla="*/ 3 w 42"/>
                <a:gd name="T33" fmla="*/ 0 h 59"/>
                <a:gd name="T34" fmla="*/ 3 w 42"/>
                <a:gd name="T35" fmla="*/ 0 h 59"/>
                <a:gd name="T36" fmla="*/ 3 w 42"/>
                <a:gd name="T37" fmla="*/ 0 h 59"/>
                <a:gd name="T38" fmla="*/ 0 w 42"/>
                <a:gd name="T39" fmla="*/ 2 h 59"/>
                <a:gd name="T40" fmla="*/ 0 w 42"/>
                <a:gd name="T41" fmla="*/ 2 h 59"/>
                <a:gd name="T42" fmla="*/ 0 w 42"/>
                <a:gd name="T43" fmla="*/ 5 h 59"/>
                <a:gd name="T44" fmla="*/ 0 w 42"/>
                <a:gd name="T45" fmla="*/ 56 h 59"/>
                <a:gd name="T46" fmla="*/ 0 w 42"/>
                <a:gd name="T47" fmla="*/ 59 h 59"/>
                <a:gd name="T48" fmla="*/ 8 w 42"/>
                <a:gd name="T49" fmla="*/ 7 h 59"/>
                <a:gd name="T50" fmla="*/ 35 w 42"/>
                <a:gd name="T51" fmla="*/ 7 h 59"/>
                <a:gd name="T52" fmla="*/ 35 w 42"/>
                <a:gd name="T53" fmla="*/ 51 h 59"/>
                <a:gd name="T54" fmla="*/ 8 w 42"/>
                <a:gd name="T55" fmla="*/ 51 h 59"/>
                <a:gd name="T56" fmla="*/ 8 w 42"/>
                <a:gd name="T57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59">
                  <a:moveTo>
                    <a:pt x="0" y="59"/>
                  </a:moveTo>
                  <a:lnTo>
                    <a:pt x="3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8" y="7"/>
                  </a:moveTo>
                  <a:lnTo>
                    <a:pt x="35" y="7"/>
                  </a:lnTo>
                  <a:lnTo>
                    <a:pt x="35" y="51"/>
                  </a:lnTo>
                  <a:lnTo>
                    <a:pt x="8" y="51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4" name="Freeform 246">
              <a:extLst>
                <a:ext uri="{FF2B5EF4-FFF2-40B4-BE49-F238E27FC236}">
                  <a16:creationId xmlns:a16="http://schemas.microsoft.com/office/drawing/2014/main" id="{1EC2E005-5B03-4929-9303-A969D92CEF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5" y="5762625"/>
              <a:ext cx="65087" cy="98425"/>
            </a:xfrm>
            <a:custGeom>
              <a:avLst/>
              <a:gdLst>
                <a:gd name="T0" fmla="*/ 39 w 41"/>
                <a:gd name="T1" fmla="*/ 0 h 62"/>
                <a:gd name="T2" fmla="*/ 36 w 41"/>
                <a:gd name="T3" fmla="*/ 0 h 62"/>
                <a:gd name="T4" fmla="*/ 2 w 41"/>
                <a:gd name="T5" fmla="*/ 0 h 62"/>
                <a:gd name="T6" fmla="*/ 2 w 41"/>
                <a:gd name="T7" fmla="*/ 0 h 62"/>
                <a:gd name="T8" fmla="*/ 2 w 41"/>
                <a:gd name="T9" fmla="*/ 3 h 62"/>
                <a:gd name="T10" fmla="*/ 0 w 41"/>
                <a:gd name="T11" fmla="*/ 3 h 62"/>
                <a:gd name="T12" fmla="*/ 0 w 41"/>
                <a:gd name="T13" fmla="*/ 5 h 62"/>
                <a:gd name="T14" fmla="*/ 0 w 41"/>
                <a:gd name="T15" fmla="*/ 5 h 62"/>
                <a:gd name="T16" fmla="*/ 0 w 41"/>
                <a:gd name="T17" fmla="*/ 59 h 62"/>
                <a:gd name="T18" fmla="*/ 0 w 41"/>
                <a:gd name="T19" fmla="*/ 59 h 62"/>
                <a:gd name="T20" fmla="*/ 2 w 41"/>
                <a:gd name="T21" fmla="*/ 59 h 62"/>
                <a:gd name="T22" fmla="*/ 2 w 41"/>
                <a:gd name="T23" fmla="*/ 62 h 62"/>
                <a:gd name="T24" fmla="*/ 4 w 41"/>
                <a:gd name="T25" fmla="*/ 62 h 62"/>
                <a:gd name="T26" fmla="*/ 36 w 41"/>
                <a:gd name="T27" fmla="*/ 62 h 62"/>
                <a:gd name="T28" fmla="*/ 39 w 41"/>
                <a:gd name="T29" fmla="*/ 62 h 62"/>
                <a:gd name="T30" fmla="*/ 39 w 41"/>
                <a:gd name="T31" fmla="*/ 59 h 62"/>
                <a:gd name="T32" fmla="*/ 41 w 41"/>
                <a:gd name="T33" fmla="*/ 59 h 62"/>
                <a:gd name="T34" fmla="*/ 41 w 41"/>
                <a:gd name="T35" fmla="*/ 57 h 62"/>
                <a:gd name="T36" fmla="*/ 41 w 41"/>
                <a:gd name="T37" fmla="*/ 57 h 62"/>
                <a:gd name="T38" fmla="*/ 41 w 41"/>
                <a:gd name="T39" fmla="*/ 5 h 62"/>
                <a:gd name="T40" fmla="*/ 41 w 41"/>
                <a:gd name="T41" fmla="*/ 3 h 62"/>
                <a:gd name="T42" fmla="*/ 39 w 41"/>
                <a:gd name="T43" fmla="*/ 3 h 62"/>
                <a:gd name="T44" fmla="*/ 39 w 41"/>
                <a:gd name="T45" fmla="*/ 0 h 62"/>
                <a:gd name="T46" fmla="*/ 39 w 41"/>
                <a:gd name="T47" fmla="*/ 0 h 62"/>
                <a:gd name="T48" fmla="*/ 34 w 41"/>
                <a:gd name="T49" fmla="*/ 54 h 62"/>
                <a:gd name="T50" fmla="*/ 7 w 41"/>
                <a:gd name="T51" fmla="*/ 54 h 62"/>
                <a:gd name="T52" fmla="*/ 7 w 41"/>
                <a:gd name="T53" fmla="*/ 10 h 62"/>
                <a:gd name="T54" fmla="*/ 34 w 41"/>
                <a:gd name="T55" fmla="*/ 10 h 62"/>
                <a:gd name="T56" fmla="*/ 34 w 41"/>
                <a:gd name="T5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62">
                  <a:moveTo>
                    <a:pt x="39" y="0"/>
                  </a:moveTo>
                  <a:lnTo>
                    <a:pt x="3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36" y="62"/>
                  </a:lnTo>
                  <a:lnTo>
                    <a:pt x="39" y="62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"/>
                  </a:lnTo>
                  <a:lnTo>
                    <a:pt x="41" y="3"/>
                  </a:lnTo>
                  <a:lnTo>
                    <a:pt x="39" y="3"/>
                  </a:lnTo>
                  <a:lnTo>
                    <a:pt x="39" y="0"/>
                  </a:lnTo>
                  <a:lnTo>
                    <a:pt x="39" y="0"/>
                  </a:lnTo>
                  <a:close/>
                  <a:moveTo>
                    <a:pt x="34" y="54"/>
                  </a:moveTo>
                  <a:lnTo>
                    <a:pt x="7" y="54"/>
                  </a:lnTo>
                  <a:lnTo>
                    <a:pt x="7" y="10"/>
                  </a:lnTo>
                  <a:lnTo>
                    <a:pt x="34" y="10"/>
                  </a:lnTo>
                  <a:lnTo>
                    <a:pt x="34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5" name="Freeform 247">
              <a:extLst>
                <a:ext uri="{FF2B5EF4-FFF2-40B4-BE49-F238E27FC236}">
                  <a16:creationId xmlns:a16="http://schemas.microsoft.com/office/drawing/2014/main" id="{F7FED1F7-3A15-45B8-A10F-8B202BE455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3350" y="5872163"/>
              <a:ext cx="61912" cy="93663"/>
            </a:xfrm>
            <a:custGeom>
              <a:avLst/>
              <a:gdLst>
                <a:gd name="T0" fmla="*/ 0 w 39"/>
                <a:gd name="T1" fmla="*/ 59 h 59"/>
                <a:gd name="T2" fmla="*/ 0 w 39"/>
                <a:gd name="T3" fmla="*/ 59 h 59"/>
                <a:gd name="T4" fmla="*/ 3 w 39"/>
                <a:gd name="T5" fmla="*/ 59 h 59"/>
                <a:gd name="T6" fmla="*/ 3 w 39"/>
                <a:gd name="T7" fmla="*/ 59 h 59"/>
                <a:gd name="T8" fmla="*/ 37 w 39"/>
                <a:gd name="T9" fmla="*/ 59 h 59"/>
                <a:gd name="T10" fmla="*/ 39 w 39"/>
                <a:gd name="T11" fmla="*/ 59 h 59"/>
                <a:gd name="T12" fmla="*/ 39 w 39"/>
                <a:gd name="T13" fmla="*/ 56 h 59"/>
                <a:gd name="T14" fmla="*/ 39 w 39"/>
                <a:gd name="T15" fmla="*/ 56 h 59"/>
                <a:gd name="T16" fmla="*/ 39 w 39"/>
                <a:gd name="T17" fmla="*/ 56 h 59"/>
                <a:gd name="T18" fmla="*/ 39 w 39"/>
                <a:gd name="T19" fmla="*/ 2 h 59"/>
                <a:gd name="T20" fmla="*/ 39 w 39"/>
                <a:gd name="T21" fmla="*/ 2 h 59"/>
                <a:gd name="T22" fmla="*/ 39 w 39"/>
                <a:gd name="T23" fmla="*/ 0 h 59"/>
                <a:gd name="T24" fmla="*/ 37 w 39"/>
                <a:gd name="T25" fmla="*/ 0 h 59"/>
                <a:gd name="T26" fmla="*/ 37 w 39"/>
                <a:gd name="T27" fmla="*/ 0 h 59"/>
                <a:gd name="T28" fmla="*/ 3 w 39"/>
                <a:gd name="T29" fmla="*/ 0 h 59"/>
                <a:gd name="T30" fmla="*/ 0 w 39"/>
                <a:gd name="T31" fmla="*/ 0 h 59"/>
                <a:gd name="T32" fmla="*/ 0 w 39"/>
                <a:gd name="T33" fmla="*/ 0 h 59"/>
                <a:gd name="T34" fmla="*/ 0 w 39"/>
                <a:gd name="T35" fmla="*/ 2 h 59"/>
                <a:gd name="T36" fmla="*/ 0 w 39"/>
                <a:gd name="T37" fmla="*/ 2 h 59"/>
                <a:gd name="T38" fmla="*/ 0 w 39"/>
                <a:gd name="T39" fmla="*/ 5 h 59"/>
                <a:gd name="T40" fmla="*/ 0 w 39"/>
                <a:gd name="T41" fmla="*/ 56 h 59"/>
                <a:gd name="T42" fmla="*/ 0 w 39"/>
                <a:gd name="T43" fmla="*/ 59 h 59"/>
                <a:gd name="T44" fmla="*/ 7 w 39"/>
                <a:gd name="T45" fmla="*/ 7 h 59"/>
                <a:gd name="T46" fmla="*/ 32 w 39"/>
                <a:gd name="T47" fmla="*/ 7 h 59"/>
                <a:gd name="T48" fmla="*/ 32 w 39"/>
                <a:gd name="T49" fmla="*/ 51 h 59"/>
                <a:gd name="T50" fmla="*/ 7 w 39"/>
                <a:gd name="T51" fmla="*/ 51 h 59"/>
                <a:gd name="T52" fmla="*/ 7 w 39"/>
                <a:gd name="T5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9" h="59">
                  <a:moveTo>
                    <a:pt x="0" y="59"/>
                  </a:moveTo>
                  <a:lnTo>
                    <a:pt x="0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7" y="7"/>
                  </a:moveTo>
                  <a:lnTo>
                    <a:pt x="32" y="7"/>
                  </a:lnTo>
                  <a:lnTo>
                    <a:pt x="32" y="51"/>
                  </a:lnTo>
                  <a:lnTo>
                    <a:pt x="7" y="51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6" name="Freeform 248">
              <a:extLst>
                <a:ext uri="{FF2B5EF4-FFF2-40B4-BE49-F238E27FC236}">
                  <a16:creationId xmlns:a16="http://schemas.microsoft.com/office/drawing/2014/main" id="{917F2D29-E346-4CBE-A41A-9DFCC9B9A4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762625"/>
              <a:ext cx="66675" cy="98425"/>
            </a:xfrm>
            <a:custGeom>
              <a:avLst/>
              <a:gdLst>
                <a:gd name="T0" fmla="*/ 42 w 42"/>
                <a:gd name="T1" fmla="*/ 3 h 62"/>
                <a:gd name="T2" fmla="*/ 42 w 42"/>
                <a:gd name="T3" fmla="*/ 3 h 62"/>
                <a:gd name="T4" fmla="*/ 40 w 42"/>
                <a:gd name="T5" fmla="*/ 0 h 62"/>
                <a:gd name="T6" fmla="*/ 37 w 42"/>
                <a:gd name="T7" fmla="*/ 0 h 62"/>
                <a:gd name="T8" fmla="*/ 3 w 42"/>
                <a:gd name="T9" fmla="*/ 0 h 62"/>
                <a:gd name="T10" fmla="*/ 3 w 42"/>
                <a:gd name="T11" fmla="*/ 0 h 62"/>
                <a:gd name="T12" fmla="*/ 3 w 42"/>
                <a:gd name="T13" fmla="*/ 3 h 62"/>
                <a:gd name="T14" fmla="*/ 0 w 42"/>
                <a:gd name="T15" fmla="*/ 3 h 62"/>
                <a:gd name="T16" fmla="*/ 0 w 42"/>
                <a:gd name="T17" fmla="*/ 5 h 62"/>
                <a:gd name="T18" fmla="*/ 0 w 42"/>
                <a:gd name="T19" fmla="*/ 5 h 62"/>
                <a:gd name="T20" fmla="*/ 0 w 42"/>
                <a:gd name="T21" fmla="*/ 57 h 62"/>
                <a:gd name="T22" fmla="*/ 0 w 42"/>
                <a:gd name="T23" fmla="*/ 59 h 62"/>
                <a:gd name="T24" fmla="*/ 3 w 42"/>
                <a:gd name="T25" fmla="*/ 59 h 62"/>
                <a:gd name="T26" fmla="*/ 3 w 42"/>
                <a:gd name="T27" fmla="*/ 62 h 62"/>
                <a:gd name="T28" fmla="*/ 5 w 42"/>
                <a:gd name="T29" fmla="*/ 62 h 62"/>
                <a:gd name="T30" fmla="*/ 37 w 42"/>
                <a:gd name="T31" fmla="*/ 62 h 62"/>
                <a:gd name="T32" fmla="*/ 40 w 42"/>
                <a:gd name="T33" fmla="*/ 62 h 62"/>
                <a:gd name="T34" fmla="*/ 42 w 42"/>
                <a:gd name="T35" fmla="*/ 59 h 62"/>
                <a:gd name="T36" fmla="*/ 42 w 42"/>
                <a:gd name="T37" fmla="*/ 59 h 62"/>
                <a:gd name="T38" fmla="*/ 42 w 42"/>
                <a:gd name="T39" fmla="*/ 57 h 62"/>
                <a:gd name="T40" fmla="*/ 42 w 42"/>
                <a:gd name="T41" fmla="*/ 57 h 62"/>
                <a:gd name="T42" fmla="*/ 42 w 42"/>
                <a:gd name="T43" fmla="*/ 5 h 62"/>
                <a:gd name="T44" fmla="*/ 42 w 42"/>
                <a:gd name="T45" fmla="*/ 3 h 62"/>
                <a:gd name="T46" fmla="*/ 35 w 42"/>
                <a:gd name="T47" fmla="*/ 54 h 62"/>
                <a:gd name="T48" fmla="*/ 8 w 42"/>
                <a:gd name="T49" fmla="*/ 54 h 62"/>
                <a:gd name="T50" fmla="*/ 8 w 42"/>
                <a:gd name="T51" fmla="*/ 10 h 62"/>
                <a:gd name="T52" fmla="*/ 35 w 42"/>
                <a:gd name="T53" fmla="*/ 10 h 62"/>
                <a:gd name="T54" fmla="*/ 35 w 42"/>
                <a:gd name="T55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62">
                  <a:moveTo>
                    <a:pt x="42" y="3"/>
                  </a:moveTo>
                  <a:lnTo>
                    <a:pt x="42" y="3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3" y="59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37" y="62"/>
                  </a:lnTo>
                  <a:lnTo>
                    <a:pt x="40" y="62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"/>
                  </a:lnTo>
                  <a:lnTo>
                    <a:pt x="42" y="3"/>
                  </a:lnTo>
                  <a:close/>
                  <a:moveTo>
                    <a:pt x="35" y="54"/>
                  </a:moveTo>
                  <a:lnTo>
                    <a:pt x="8" y="54"/>
                  </a:lnTo>
                  <a:lnTo>
                    <a:pt x="8" y="10"/>
                  </a:lnTo>
                  <a:lnTo>
                    <a:pt x="35" y="10"/>
                  </a:lnTo>
                  <a:lnTo>
                    <a:pt x="35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7" name="Freeform 249">
              <a:extLst>
                <a:ext uri="{FF2B5EF4-FFF2-40B4-BE49-F238E27FC236}">
                  <a16:creationId xmlns:a16="http://schemas.microsoft.com/office/drawing/2014/main" id="{490A2615-381A-4A61-B558-AA80AF6879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5713" y="5638800"/>
              <a:ext cx="358775" cy="490538"/>
            </a:xfrm>
            <a:custGeom>
              <a:avLst/>
              <a:gdLst>
                <a:gd name="T0" fmla="*/ 226 w 226"/>
                <a:gd name="T1" fmla="*/ 2 h 309"/>
                <a:gd name="T2" fmla="*/ 223 w 226"/>
                <a:gd name="T3" fmla="*/ 0 h 309"/>
                <a:gd name="T4" fmla="*/ 223 w 226"/>
                <a:gd name="T5" fmla="*/ 0 h 309"/>
                <a:gd name="T6" fmla="*/ 223 w 226"/>
                <a:gd name="T7" fmla="*/ 0 h 309"/>
                <a:gd name="T8" fmla="*/ 221 w 226"/>
                <a:gd name="T9" fmla="*/ 0 h 309"/>
                <a:gd name="T10" fmla="*/ 2 w 226"/>
                <a:gd name="T11" fmla="*/ 0 h 309"/>
                <a:gd name="T12" fmla="*/ 2 w 226"/>
                <a:gd name="T13" fmla="*/ 0 h 309"/>
                <a:gd name="T14" fmla="*/ 2 w 226"/>
                <a:gd name="T15" fmla="*/ 0 h 309"/>
                <a:gd name="T16" fmla="*/ 0 w 226"/>
                <a:gd name="T17" fmla="*/ 2 h 309"/>
                <a:gd name="T18" fmla="*/ 0 w 226"/>
                <a:gd name="T19" fmla="*/ 5 h 309"/>
                <a:gd name="T20" fmla="*/ 0 w 226"/>
                <a:gd name="T21" fmla="*/ 306 h 309"/>
                <a:gd name="T22" fmla="*/ 2 w 226"/>
                <a:gd name="T23" fmla="*/ 309 h 309"/>
                <a:gd name="T24" fmla="*/ 2 w 226"/>
                <a:gd name="T25" fmla="*/ 309 h 309"/>
                <a:gd name="T26" fmla="*/ 2 w 226"/>
                <a:gd name="T27" fmla="*/ 309 h 309"/>
                <a:gd name="T28" fmla="*/ 5 w 226"/>
                <a:gd name="T29" fmla="*/ 309 h 309"/>
                <a:gd name="T30" fmla="*/ 223 w 226"/>
                <a:gd name="T31" fmla="*/ 309 h 309"/>
                <a:gd name="T32" fmla="*/ 223 w 226"/>
                <a:gd name="T33" fmla="*/ 309 h 309"/>
                <a:gd name="T34" fmla="*/ 223 w 226"/>
                <a:gd name="T35" fmla="*/ 309 h 309"/>
                <a:gd name="T36" fmla="*/ 226 w 226"/>
                <a:gd name="T37" fmla="*/ 306 h 309"/>
                <a:gd name="T38" fmla="*/ 226 w 226"/>
                <a:gd name="T39" fmla="*/ 306 h 309"/>
                <a:gd name="T40" fmla="*/ 226 w 226"/>
                <a:gd name="T41" fmla="*/ 304 h 309"/>
                <a:gd name="T42" fmla="*/ 226 w 226"/>
                <a:gd name="T43" fmla="*/ 2 h 309"/>
                <a:gd name="T44" fmla="*/ 226 w 226"/>
                <a:gd name="T45" fmla="*/ 2 h 309"/>
                <a:gd name="T46" fmla="*/ 140 w 226"/>
                <a:gd name="T47" fmla="*/ 301 h 309"/>
                <a:gd name="T48" fmla="*/ 86 w 226"/>
                <a:gd name="T49" fmla="*/ 301 h 309"/>
                <a:gd name="T50" fmla="*/ 86 w 226"/>
                <a:gd name="T51" fmla="*/ 225 h 309"/>
                <a:gd name="T52" fmla="*/ 140 w 226"/>
                <a:gd name="T53" fmla="*/ 225 h 309"/>
                <a:gd name="T54" fmla="*/ 140 w 226"/>
                <a:gd name="T55" fmla="*/ 301 h 309"/>
                <a:gd name="T56" fmla="*/ 218 w 226"/>
                <a:gd name="T57" fmla="*/ 301 h 309"/>
                <a:gd name="T58" fmla="*/ 147 w 226"/>
                <a:gd name="T59" fmla="*/ 301 h 309"/>
                <a:gd name="T60" fmla="*/ 147 w 226"/>
                <a:gd name="T61" fmla="*/ 220 h 309"/>
                <a:gd name="T62" fmla="*/ 147 w 226"/>
                <a:gd name="T63" fmla="*/ 220 h 309"/>
                <a:gd name="T64" fmla="*/ 147 w 226"/>
                <a:gd name="T65" fmla="*/ 218 h 309"/>
                <a:gd name="T66" fmla="*/ 145 w 226"/>
                <a:gd name="T67" fmla="*/ 218 h 309"/>
                <a:gd name="T68" fmla="*/ 145 w 226"/>
                <a:gd name="T69" fmla="*/ 218 h 309"/>
                <a:gd name="T70" fmla="*/ 81 w 226"/>
                <a:gd name="T71" fmla="*/ 218 h 309"/>
                <a:gd name="T72" fmla="*/ 78 w 226"/>
                <a:gd name="T73" fmla="*/ 218 h 309"/>
                <a:gd name="T74" fmla="*/ 78 w 226"/>
                <a:gd name="T75" fmla="*/ 218 h 309"/>
                <a:gd name="T76" fmla="*/ 78 w 226"/>
                <a:gd name="T77" fmla="*/ 220 h 309"/>
                <a:gd name="T78" fmla="*/ 78 w 226"/>
                <a:gd name="T79" fmla="*/ 220 h 309"/>
                <a:gd name="T80" fmla="*/ 78 w 226"/>
                <a:gd name="T81" fmla="*/ 301 h 309"/>
                <a:gd name="T82" fmla="*/ 7 w 226"/>
                <a:gd name="T83" fmla="*/ 301 h 309"/>
                <a:gd name="T84" fmla="*/ 7 w 226"/>
                <a:gd name="T85" fmla="*/ 7 h 309"/>
                <a:gd name="T86" fmla="*/ 218 w 226"/>
                <a:gd name="T87" fmla="*/ 7 h 309"/>
                <a:gd name="T88" fmla="*/ 218 w 226"/>
                <a:gd name="T89" fmla="*/ 30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" h="309">
                  <a:moveTo>
                    <a:pt x="226" y="2"/>
                  </a:move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306"/>
                  </a:lnTo>
                  <a:lnTo>
                    <a:pt x="2" y="309"/>
                  </a:lnTo>
                  <a:lnTo>
                    <a:pt x="2" y="309"/>
                  </a:lnTo>
                  <a:lnTo>
                    <a:pt x="2" y="309"/>
                  </a:lnTo>
                  <a:lnTo>
                    <a:pt x="5" y="309"/>
                  </a:lnTo>
                  <a:lnTo>
                    <a:pt x="223" y="309"/>
                  </a:lnTo>
                  <a:lnTo>
                    <a:pt x="223" y="309"/>
                  </a:lnTo>
                  <a:lnTo>
                    <a:pt x="223" y="309"/>
                  </a:lnTo>
                  <a:lnTo>
                    <a:pt x="226" y="306"/>
                  </a:lnTo>
                  <a:lnTo>
                    <a:pt x="226" y="306"/>
                  </a:lnTo>
                  <a:lnTo>
                    <a:pt x="226" y="304"/>
                  </a:lnTo>
                  <a:lnTo>
                    <a:pt x="226" y="2"/>
                  </a:lnTo>
                  <a:lnTo>
                    <a:pt x="226" y="2"/>
                  </a:lnTo>
                  <a:close/>
                  <a:moveTo>
                    <a:pt x="140" y="301"/>
                  </a:moveTo>
                  <a:lnTo>
                    <a:pt x="86" y="301"/>
                  </a:lnTo>
                  <a:lnTo>
                    <a:pt x="86" y="225"/>
                  </a:lnTo>
                  <a:lnTo>
                    <a:pt x="140" y="225"/>
                  </a:lnTo>
                  <a:lnTo>
                    <a:pt x="140" y="301"/>
                  </a:lnTo>
                  <a:close/>
                  <a:moveTo>
                    <a:pt x="218" y="301"/>
                  </a:moveTo>
                  <a:lnTo>
                    <a:pt x="147" y="30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7" y="218"/>
                  </a:lnTo>
                  <a:lnTo>
                    <a:pt x="145" y="218"/>
                  </a:lnTo>
                  <a:lnTo>
                    <a:pt x="145" y="218"/>
                  </a:lnTo>
                  <a:lnTo>
                    <a:pt x="81" y="218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78" y="301"/>
                  </a:lnTo>
                  <a:lnTo>
                    <a:pt x="7" y="301"/>
                  </a:lnTo>
                  <a:lnTo>
                    <a:pt x="7" y="7"/>
                  </a:lnTo>
                  <a:lnTo>
                    <a:pt x="218" y="7"/>
                  </a:lnTo>
                  <a:lnTo>
                    <a:pt x="218" y="30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8" name="Freeform 250">
              <a:extLst>
                <a:ext uri="{FF2B5EF4-FFF2-40B4-BE49-F238E27FC236}">
                  <a16:creationId xmlns:a16="http://schemas.microsoft.com/office/drawing/2014/main" id="{0AF8A774-9378-489B-A7E3-64A175A99E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5" y="5872163"/>
              <a:ext cx="65087" cy="93663"/>
            </a:xfrm>
            <a:custGeom>
              <a:avLst/>
              <a:gdLst>
                <a:gd name="T0" fmla="*/ 0 w 41"/>
                <a:gd name="T1" fmla="*/ 59 h 59"/>
                <a:gd name="T2" fmla="*/ 0 w 41"/>
                <a:gd name="T3" fmla="*/ 59 h 59"/>
                <a:gd name="T4" fmla="*/ 2 w 41"/>
                <a:gd name="T5" fmla="*/ 59 h 59"/>
                <a:gd name="T6" fmla="*/ 2 w 41"/>
                <a:gd name="T7" fmla="*/ 59 h 59"/>
                <a:gd name="T8" fmla="*/ 4 w 41"/>
                <a:gd name="T9" fmla="*/ 59 h 59"/>
                <a:gd name="T10" fmla="*/ 39 w 41"/>
                <a:gd name="T11" fmla="*/ 59 h 59"/>
                <a:gd name="T12" fmla="*/ 39 w 41"/>
                <a:gd name="T13" fmla="*/ 59 h 59"/>
                <a:gd name="T14" fmla="*/ 39 w 41"/>
                <a:gd name="T15" fmla="*/ 59 h 59"/>
                <a:gd name="T16" fmla="*/ 41 w 41"/>
                <a:gd name="T17" fmla="*/ 59 h 59"/>
                <a:gd name="T18" fmla="*/ 41 w 41"/>
                <a:gd name="T19" fmla="*/ 56 h 59"/>
                <a:gd name="T20" fmla="*/ 41 w 41"/>
                <a:gd name="T21" fmla="*/ 56 h 59"/>
                <a:gd name="T22" fmla="*/ 41 w 41"/>
                <a:gd name="T23" fmla="*/ 2 h 59"/>
                <a:gd name="T24" fmla="*/ 41 w 41"/>
                <a:gd name="T25" fmla="*/ 2 h 59"/>
                <a:gd name="T26" fmla="*/ 39 w 41"/>
                <a:gd name="T27" fmla="*/ 0 h 59"/>
                <a:gd name="T28" fmla="*/ 39 w 41"/>
                <a:gd name="T29" fmla="*/ 0 h 59"/>
                <a:gd name="T30" fmla="*/ 39 w 41"/>
                <a:gd name="T31" fmla="*/ 0 h 59"/>
                <a:gd name="T32" fmla="*/ 36 w 41"/>
                <a:gd name="T33" fmla="*/ 0 h 59"/>
                <a:gd name="T34" fmla="*/ 2 w 41"/>
                <a:gd name="T35" fmla="*/ 0 h 59"/>
                <a:gd name="T36" fmla="*/ 2 w 41"/>
                <a:gd name="T37" fmla="*/ 0 h 59"/>
                <a:gd name="T38" fmla="*/ 0 w 41"/>
                <a:gd name="T39" fmla="*/ 0 h 59"/>
                <a:gd name="T40" fmla="*/ 0 w 41"/>
                <a:gd name="T41" fmla="*/ 2 h 59"/>
                <a:gd name="T42" fmla="*/ 0 w 41"/>
                <a:gd name="T43" fmla="*/ 2 h 59"/>
                <a:gd name="T44" fmla="*/ 0 w 41"/>
                <a:gd name="T45" fmla="*/ 5 h 59"/>
                <a:gd name="T46" fmla="*/ 0 w 41"/>
                <a:gd name="T47" fmla="*/ 56 h 59"/>
                <a:gd name="T48" fmla="*/ 0 w 41"/>
                <a:gd name="T49" fmla="*/ 59 h 59"/>
                <a:gd name="T50" fmla="*/ 7 w 41"/>
                <a:gd name="T51" fmla="*/ 7 h 59"/>
                <a:gd name="T52" fmla="*/ 34 w 41"/>
                <a:gd name="T53" fmla="*/ 7 h 59"/>
                <a:gd name="T54" fmla="*/ 34 w 41"/>
                <a:gd name="T55" fmla="*/ 51 h 59"/>
                <a:gd name="T56" fmla="*/ 7 w 41"/>
                <a:gd name="T57" fmla="*/ 51 h 59"/>
                <a:gd name="T58" fmla="*/ 7 w 41"/>
                <a:gd name="T59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1" h="59">
                  <a:moveTo>
                    <a:pt x="0" y="59"/>
                  </a:moveTo>
                  <a:lnTo>
                    <a:pt x="0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7" y="7"/>
                  </a:moveTo>
                  <a:lnTo>
                    <a:pt x="34" y="7"/>
                  </a:lnTo>
                  <a:lnTo>
                    <a:pt x="34" y="51"/>
                  </a:lnTo>
                  <a:lnTo>
                    <a:pt x="7" y="51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9" name="Freeform 251">
              <a:extLst>
                <a:ext uri="{FF2B5EF4-FFF2-40B4-BE49-F238E27FC236}">
                  <a16:creationId xmlns:a16="http://schemas.microsoft.com/office/drawing/2014/main" id="{4D465B6D-6CE2-47E3-BDBC-92F0A5486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673725"/>
              <a:ext cx="265112" cy="69850"/>
            </a:xfrm>
            <a:custGeom>
              <a:avLst/>
              <a:gdLst>
                <a:gd name="T0" fmla="*/ 165 w 167"/>
                <a:gd name="T1" fmla="*/ 44 h 44"/>
                <a:gd name="T2" fmla="*/ 165 w 167"/>
                <a:gd name="T3" fmla="*/ 44 h 44"/>
                <a:gd name="T4" fmla="*/ 167 w 167"/>
                <a:gd name="T5" fmla="*/ 44 h 44"/>
                <a:gd name="T6" fmla="*/ 167 w 167"/>
                <a:gd name="T7" fmla="*/ 42 h 44"/>
                <a:gd name="T8" fmla="*/ 167 w 167"/>
                <a:gd name="T9" fmla="*/ 42 h 44"/>
                <a:gd name="T10" fmla="*/ 167 w 167"/>
                <a:gd name="T11" fmla="*/ 42 h 44"/>
                <a:gd name="T12" fmla="*/ 167 w 167"/>
                <a:gd name="T13" fmla="*/ 2 h 44"/>
                <a:gd name="T14" fmla="*/ 167 w 167"/>
                <a:gd name="T15" fmla="*/ 2 h 44"/>
                <a:gd name="T16" fmla="*/ 167 w 167"/>
                <a:gd name="T17" fmla="*/ 0 h 44"/>
                <a:gd name="T18" fmla="*/ 167 w 167"/>
                <a:gd name="T19" fmla="*/ 0 h 44"/>
                <a:gd name="T20" fmla="*/ 165 w 167"/>
                <a:gd name="T21" fmla="*/ 0 h 44"/>
                <a:gd name="T22" fmla="*/ 165 w 167"/>
                <a:gd name="T23" fmla="*/ 0 h 44"/>
                <a:gd name="T24" fmla="*/ 3 w 167"/>
                <a:gd name="T25" fmla="*/ 0 h 44"/>
                <a:gd name="T26" fmla="*/ 0 w 167"/>
                <a:gd name="T27" fmla="*/ 0 h 44"/>
                <a:gd name="T28" fmla="*/ 0 w 167"/>
                <a:gd name="T29" fmla="*/ 0 h 44"/>
                <a:gd name="T30" fmla="*/ 0 w 167"/>
                <a:gd name="T31" fmla="*/ 2 h 44"/>
                <a:gd name="T32" fmla="*/ 0 w 167"/>
                <a:gd name="T33" fmla="*/ 2 h 44"/>
                <a:gd name="T34" fmla="*/ 0 w 167"/>
                <a:gd name="T35" fmla="*/ 42 h 44"/>
                <a:gd name="T36" fmla="*/ 0 w 167"/>
                <a:gd name="T37" fmla="*/ 42 h 44"/>
                <a:gd name="T38" fmla="*/ 0 w 167"/>
                <a:gd name="T39" fmla="*/ 44 h 44"/>
                <a:gd name="T40" fmla="*/ 3 w 167"/>
                <a:gd name="T41" fmla="*/ 44 h 44"/>
                <a:gd name="T42" fmla="*/ 3 w 167"/>
                <a:gd name="T43" fmla="*/ 44 h 44"/>
                <a:gd name="T44" fmla="*/ 3 w 167"/>
                <a:gd name="T45" fmla="*/ 44 h 44"/>
                <a:gd name="T46" fmla="*/ 165 w 167"/>
                <a:gd name="T47" fmla="*/ 44 h 44"/>
                <a:gd name="T48" fmla="*/ 8 w 167"/>
                <a:gd name="T49" fmla="*/ 7 h 44"/>
                <a:gd name="T50" fmla="*/ 160 w 167"/>
                <a:gd name="T51" fmla="*/ 7 h 44"/>
                <a:gd name="T52" fmla="*/ 160 w 167"/>
                <a:gd name="T53" fmla="*/ 37 h 44"/>
                <a:gd name="T54" fmla="*/ 8 w 167"/>
                <a:gd name="T55" fmla="*/ 37 h 44"/>
                <a:gd name="T56" fmla="*/ 8 w 167"/>
                <a:gd name="T57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7" h="44">
                  <a:moveTo>
                    <a:pt x="165" y="44"/>
                  </a:moveTo>
                  <a:lnTo>
                    <a:pt x="165" y="44"/>
                  </a:lnTo>
                  <a:lnTo>
                    <a:pt x="167" y="44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165" y="44"/>
                  </a:lnTo>
                  <a:close/>
                  <a:moveTo>
                    <a:pt x="8" y="7"/>
                  </a:moveTo>
                  <a:lnTo>
                    <a:pt x="160" y="7"/>
                  </a:lnTo>
                  <a:lnTo>
                    <a:pt x="160" y="37"/>
                  </a:lnTo>
                  <a:lnTo>
                    <a:pt x="8" y="37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0" name="Freeform 252">
              <a:extLst>
                <a:ext uri="{FF2B5EF4-FFF2-40B4-BE49-F238E27FC236}">
                  <a16:creationId xmlns:a16="http://schemas.microsoft.com/office/drawing/2014/main" id="{9C7D26F7-394B-479E-92EE-99AE3FE8D5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3350" y="5762625"/>
              <a:ext cx="61912" cy="98425"/>
            </a:xfrm>
            <a:custGeom>
              <a:avLst/>
              <a:gdLst>
                <a:gd name="T0" fmla="*/ 39 w 39"/>
                <a:gd name="T1" fmla="*/ 3 h 62"/>
                <a:gd name="T2" fmla="*/ 39 w 39"/>
                <a:gd name="T3" fmla="*/ 3 h 62"/>
                <a:gd name="T4" fmla="*/ 39 w 39"/>
                <a:gd name="T5" fmla="*/ 3 h 62"/>
                <a:gd name="T6" fmla="*/ 37 w 39"/>
                <a:gd name="T7" fmla="*/ 0 h 62"/>
                <a:gd name="T8" fmla="*/ 37 w 39"/>
                <a:gd name="T9" fmla="*/ 0 h 62"/>
                <a:gd name="T10" fmla="*/ 3 w 39"/>
                <a:gd name="T11" fmla="*/ 0 h 62"/>
                <a:gd name="T12" fmla="*/ 0 w 39"/>
                <a:gd name="T13" fmla="*/ 0 h 62"/>
                <a:gd name="T14" fmla="*/ 0 w 39"/>
                <a:gd name="T15" fmla="*/ 3 h 62"/>
                <a:gd name="T16" fmla="*/ 0 w 39"/>
                <a:gd name="T17" fmla="*/ 3 h 62"/>
                <a:gd name="T18" fmla="*/ 0 w 39"/>
                <a:gd name="T19" fmla="*/ 5 h 62"/>
                <a:gd name="T20" fmla="*/ 0 w 39"/>
                <a:gd name="T21" fmla="*/ 5 h 62"/>
                <a:gd name="T22" fmla="*/ 0 w 39"/>
                <a:gd name="T23" fmla="*/ 59 h 62"/>
                <a:gd name="T24" fmla="*/ 0 w 39"/>
                <a:gd name="T25" fmla="*/ 59 h 62"/>
                <a:gd name="T26" fmla="*/ 0 w 39"/>
                <a:gd name="T27" fmla="*/ 59 h 62"/>
                <a:gd name="T28" fmla="*/ 3 w 39"/>
                <a:gd name="T29" fmla="*/ 62 h 62"/>
                <a:gd name="T30" fmla="*/ 3 w 39"/>
                <a:gd name="T31" fmla="*/ 62 h 62"/>
                <a:gd name="T32" fmla="*/ 37 w 39"/>
                <a:gd name="T33" fmla="*/ 62 h 62"/>
                <a:gd name="T34" fmla="*/ 37 w 39"/>
                <a:gd name="T35" fmla="*/ 62 h 62"/>
                <a:gd name="T36" fmla="*/ 39 w 39"/>
                <a:gd name="T37" fmla="*/ 59 h 62"/>
                <a:gd name="T38" fmla="*/ 39 w 39"/>
                <a:gd name="T39" fmla="*/ 59 h 62"/>
                <a:gd name="T40" fmla="*/ 39 w 39"/>
                <a:gd name="T41" fmla="*/ 57 h 62"/>
                <a:gd name="T42" fmla="*/ 39 w 39"/>
                <a:gd name="T43" fmla="*/ 57 h 62"/>
                <a:gd name="T44" fmla="*/ 39 w 39"/>
                <a:gd name="T45" fmla="*/ 3 h 62"/>
                <a:gd name="T46" fmla="*/ 39 w 39"/>
                <a:gd name="T47" fmla="*/ 3 h 62"/>
                <a:gd name="T48" fmla="*/ 32 w 39"/>
                <a:gd name="T49" fmla="*/ 54 h 62"/>
                <a:gd name="T50" fmla="*/ 7 w 39"/>
                <a:gd name="T51" fmla="*/ 54 h 62"/>
                <a:gd name="T52" fmla="*/ 7 w 39"/>
                <a:gd name="T53" fmla="*/ 10 h 62"/>
                <a:gd name="T54" fmla="*/ 32 w 39"/>
                <a:gd name="T55" fmla="*/ 10 h 62"/>
                <a:gd name="T56" fmla="*/ 32 w 39"/>
                <a:gd name="T5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62">
                  <a:moveTo>
                    <a:pt x="39" y="3"/>
                  </a:moveTo>
                  <a:lnTo>
                    <a:pt x="39" y="3"/>
                  </a:lnTo>
                  <a:lnTo>
                    <a:pt x="39" y="3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3"/>
                  </a:lnTo>
                  <a:lnTo>
                    <a:pt x="39" y="3"/>
                  </a:lnTo>
                  <a:close/>
                  <a:moveTo>
                    <a:pt x="32" y="54"/>
                  </a:moveTo>
                  <a:lnTo>
                    <a:pt x="7" y="54"/>
                  </a:lnTo>
                  <a:lnTo>
                    <a:pt x="7" y="10"/>
                  </a:lnTo>
                  <a:lnTo>
                    <a:pt x="32" y="10"/>
                  </a:lnTo>
                  <a:lnTo>
                    <a:pt x="32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1" name="Freeform 253">
              <a:extLst>
                <a:ext uri="{FF2B5EF4-FFF2-40B4-BE49-F238E27FC236}">
                  <a16:creationId xmlns:a16="http://schemas.microsoft.com/office/drawing/2014/main" id="{8944441D-D2E8-4E03-A6C7-2D30FA4147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872163"/>
              <a:ext cx="66675" cy="93663"/>
            </a:xfrm>
            <a:custGeom>
              <a:avLst/>
              <a:gdLst>
                <a:gd name="T0" fmla="*/ 0 w 42"/>
                <a:gd name="T1" fmla="*/ 59 h 59"/>
                <a:gd name="T2" fmla="*/ 3 w 42"/>
                <a:gd name="T3" fmla="*/ 59 h 59"/>
                <a:gd name="T4" fmla="*/ 3 w 42"/>
                <a:gd name="T5" fmla="*/ 59 h 59"/>
                <a:gd name="T6" fmla="*/ 5 w 42"/>
                <a:gd name="T7" fmla="*/ 59 h 59"/>
                <a:gd name="T8" fmla="*/ 40 w 42"/>
                <a:gd name="T9" fmla="*/ 59 h 59"/>
                <a:gd name="T10" fmla="*/ 40 w 42"/>
                <a:gd name="T11" fmla="*/ 59 h 59"/>
                <a:gd name="T12" fmla="*/ 42 w 42"/>
                <a:gd name="T13" fmla="*/ 59 h 59"/>
                <a:gd name="T14" fmla="*/ 42 w 42"/>
                <a:gd name="T15" fmla="*/ 59 h 59"/>
                <a:gd name="T16" fmla="*/ 42 w 42"/>
                <a:gd name="T17" fmla="*/ 56 h 59"/>
                <a:gd name="T18" fmla="*/ 42 w 42"/>
                <a:gd name="T19" fmla="*/ 56 h 59"/>
                <a:gd name="T20" fmla="*/ 42 w 42"/>
                <a:gd name="T21" fmla="*/ 2 h 59"/>
                <a:gd name="T22" fmla="*/ 42 w 42"/>
                <a:gd name="T23" fmla="*/ 2 h 59"/>
                <a:gd name="T24" fmla="*/ 42 w 42"/>
                <a:gd name="T25" fmla="*/ 0 h 59"/>
                <a:gd name="T26" fmla="*/ 40 w 42"/>
                <a:gd name="T27" fmla="*/ 0 h 59"/>
                <a:gd name="T28" fmla="*/ 40 w 42"/>
                <a:gd name="T29" fmla="*/ 0 h 59"/>
                <a:gd name="T30" fmla="*/ 37 w 42"/>
                <a:gd name="T31" fmla="*/ 0 h 59"/>
                <a:gd name="T32" fmla="*/ 3 w 42"/>
                <a:gd name="T33" fmla="*/ 0 h 59"/>
                <a:gd name="T34" fmla="*/ 3 w 42"/>
                <a:gd name="T35" fmla="*/ 0 h 59"/>
                <a:gd name="T36" fmla="*/ 3 w 42"/>
                <a:gd name="T37" fmla="*/ 0 h 59"/>
                <a:gd name="T38" fmla="*/ 0 w 42"/>
                <a:gd name="T39" fmla="*/ 2 h 59"/>
                <a:gd name="T40" fmla="*/ 0 w 42"/>
                <a:gd name="T41" fmla="*/ 2 h 59"/>
                <a:gd name="T42" fmla="*/ 0 w 42"/>
                <a:gd name="T43" fmla="*/ 5 h 59"/>
                <a:gd name="T44" fmla="*/ 0 w 42"/>
                <a:gd name="T45" fmla="*/ 56 h 59"/>
                <a:gd name="T46" fmla="*/ 0 w 42"/>
                <a:gd name="T47" fmla="*/ 59 h 59"/>
                <a:gd name="T48" fmla="*/ 8 w 42"/>
                <a:gd name="T49" fmla="*/ 7 h 59"/>
                <a:gd name="T50" fmla="*/ 35 w 42"/>
                <a:gd name="T51" fmla="*/ 7 h 59"/>
                <a:gd name="T52" fmla="*/ 35 w 42"/>
                <a:gd name="T53" fmla="*/ 51 h 59"/>
                <a:gd name="T54" fmla="*/ 8 w 42"/>
                <a:gd name="T55" fmla="*/ 51 h 59"/>
                <a:gd name="T56" fmla="*/ 8 w 42"/>
                <a:gd name="T57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59">
                  <a:moveTo>
                    <a:pt x="0" y="59"/>
                  </a:moveTo>
                  <a:lnTo>
                    <a:pt x="3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8" y="7"/>
                  </a:moveTo>
                  <a:lnTo>
                    <a:pt x="35" y="7"/>
                  </a:lnTo>
                  <a:lnTo>
                    <a:pt x="35" y="51"/>
                  </a:lnTo>
                  <a:lnTo>
                    <a:pt x="8" y="51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2" name="Freeform 254">
              <a:extLst>
                <a:ext uri="{FF2B5EF4-FFF2-40B4-BE49-F238E27FC236}">
                  <a16:creationId xmlns:a16="http://schemas.microsoft.com/office/drawing/2014/main" id="{D68F37A4-EFA5-4109-9D38-833BA4C135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5" y="5762625"/>
              <a:ext cx="65087" cy="98425"/>
            </a:xfrm>
            <a:custGeom>
              <a:avLst/>
              <a:gdLst>
                <a:gd name="T0" fmla="*/ 39 w 41"/>
                <a:gd name="T1" fmla="*/ 0 h 62"/>
                <a:gd name="T2" fmla="*/ 36 w 41"/>
                <a:gd name="T3" fmla="*/ 0 h 62"/>
                <a:gd name="T4" fmla="*/ 2 w 41"/>
                <a:gd name="T5" fmla="*/ 0 h 62"/>
                <a:gd name="T6" fmla="*/ 2 w 41"/>
                <a:gd name="T7" fmla="*/ 0 h 62"/>
                <a:gd name="T8" fmla="*/ 2 w 41"/>
                <a:gd name="T9" fmla="*/ 3 h 62"/>
                <a:gd name="T10" fmla="*/ 0 w 41"/>
                <a:gd name="T11" fmla="*/ 3 h 62"/>
                <a:gd name="T12" fmla="*/ 0 w 41"/>
                <a:gd name="T13" fmla="*/ 5 h 62"/>
                <a:gd name="T14" fmla="*/ 0 w 41"/>
                <a:gd name="T15" fmla="*/ 5 h 62"/>
                <a:gd name="T16" fmla="*/ 0 w 41"/>
                <a:gd name="T17" fmla="*/ 59 h 62"/>
                <a:gd name="T18" fmla="*/ 0 w 41"/>
                <a:gd name="T19" fmla="*/ 59 h 62"/>
                <a:gd name="T20" fmla="*/ 2 w 41"/>
                <a:gd name="T21" fmla="*/ 59 h 62"/>
                <a:gd name="T22" fmla="*/ 2 w 41"/>
                <a:gd name="T23" fmla="*/ 62 h 62"/>
                <a:gd name="T24" fmla="*/ 4 w 41"/>
                <a:gd name="T25" fmla="*/ 62 h 62"/>
                <a:gd name="T26" fmla="*/ 36 w 41"/>
                <a:gd name="T27" fmla="*/ 62 h 62"/>
                <a:gd name="T28" fmla="*/ 39 w 41"/>
                <a:gd name="T29" fmla="*/ 62 h 62"/>
                <a:gd name="T30" fmla="*/ 39 w 41"/>
                <a:gd name="T31" fmla="*/ 59 h 62"/>
                <a:gd name="T32" fmla="*/ 41 w 41"/>
                <a:gd name="T33" fmla="*/ 59 h 62"/>
                <a:gd name="T34" fmla="*/ 41 w 41"/>
                <a:gd name="T35" fmla="*/ 57 h 62"/>
                <a:gd name="T36" fmla="*/ 41 w 41"/>
                <a:gd name="T37" fmla="*/ 57 h 62"/>
                <a:gd name="T38" fmla="*/ 41 w 41"/>
                <a:gd name="T39" fmla="*/ 5 h 62"/>
                <a:gd name="T40" fmla="*/ 41 w 41"/>
                <a:gd name="T41" fmla="*/ 3 h 62"/>
                <a:gd name="T42" fmla="*/ 39 w 41"/>
                <a:gd name="T43" fmla="*/ 3 h 62"/>
                <a:gd name="T44" fmla="*/ 39 w 41"/>
                <a:gd name="T45" fmla="*/ 0 h 62"/>
                <a:gd name="T46" fmla="*/ 39 w 41"/>
                <a:gd name="T47" fmla="*/ 0 h 62"/>
                <a:gd name="T48" fmla="*/ 34 w 41"/>
                <a:gd name="T49" fmla="*/ 54 h 62"/>
                <a:gd name="T50" fmla="*/ 7 w 41"/>
                <a:gd name="T51" fmla="*/ 54 h 62"/>
                <a:gd name="T52" fmla="*/ 7 w 41"/>
                <a:gd name="T53" fmla="*/ 10 h 62"/>
                <a:gd name="T54" fmla="*/ 34 w 41"/>
                <a:gd name="T55" fmla="*/ 10 h 62"/>
                <a:gd name="T56" fmla="*/ 34 w 41"/>
                <a:gd name="T5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62">
                  <a:moveTo>
                    <a:pt x="39" y="0"/>
                  </a:moveTo>
                  <a:lnTo>
                    <a:pt x="3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36" y="62"/>
                  </a:lnTo>
                  <a:lnTo>
                    <a:pt x="39" y="62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"/>
                  </a:lnTo>
                  <a:lnTo>
                    <a:pt x="41" y="3"/>
                  </a:lnTo>
                  <a:lnTo>
                    <a:pt x="39" y="3"/>
                  </a:lnTo>
                  <a:lnTo>
                    <a:pt x="39" y="0"/>
                  </a:lnTo>
                  <a:lnTo>
                    <a:pt x="39" y="0"/>
                  </a:lnTo>
                  <a:close/>
                  <a:moveTo>
                    <a:pt x="34" y="54"/>
                  </a:moveTo>
                  <a:lnTo>
                    <a:pt x="7" y="54"/>
                  </a:lnTo>
                  <a:lnTo>
                    <a:pt x="7" y="10"/>
                  </a:lnTo>
                  <a:lnTo>
                    <a:pt x="34" y="10"/>
                  </a:lnTo>
                  <a:lnTo>
                    <a:pt x="34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3" name="Freeform 255">
              <a:extLst>
                <a:ext uri="{FF2B5EF4-FFF2-40B4-BE49-F238E27FC236}">
                  <a16:creationId xmlns:a16="http://schemas.microsoft.com/office/drawing/2014/main" id="{D711D699-3E41-4055-9CB7-2AB2B09BBC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3350" y="5872163"/>
              <a:ext cx="61912" cy="93663"/>
            </a:xfrm>
            <a:custGeom>
              <a:avLst/>
              <a:gdLst>
                <a:gd name="T0" fmla="*/ 0 w 39"/>
                <a:gd name="T1" fmla="*/ 59 h 59"/>
                <a:gd name="T2" fmla="*/ 0 w 39"/>
                <a:gd name="T3" fmla="*/ 59 h 59"/>
                <a:gd name="T4" fmla="*/ 3 w 39"/>
                <a:gd name="T5" fmla="*/ 59 h 59"/>
                <a:gd name="T6" fmla="*/ 3 w 39"/>
                <a:gd name="T7" fmla="*/ 59 h 59"/>
                <a:gd name="T8" fmla="*/ 37 w 39"/>
                <a:gd name="T9" fmla="*/ 59 h 59"/>
                <a:gd name="T10" fmla="*/ 39 w 39"/>
                <a:gd name="T11" fmla="*/ 59 h 59"/>
                <a:gd name="T12" fmla="*/ 39 w 39"/>
                <a:gd name="T13" fmla="*/ 56 h 59"/>
                <a:gd name="T14" fmla="*/ 39 w 39"/>
                <a:gd name="T15" fmla="*/ 56 h 59"/>
                <a:gd name="T16" fmla="*/ 39 w 39"/>
                <a:gd name="T17" fmla="*/ 56 h 59"/>
                <a:gd name="T18" fmla="*/ 39 w 39"/>
                <a:gd name="T19" fmla="*/ 2 h 59"/>
                <a:gd name="T20" fmla="*/ 39 w 39"/>
                <a:gd name="T21" fmla="*/ 2 h 59"/>
                <a:gd name="T22" fmla="*/ 39 w 39"/>
                <a:gd name="T23" fmla="*/ 0 h 59"/>
                <a:gd name="T24" fmla="*/ 37 w 39"/>
                <a:gd name="T25" fmla="*/ 0 h 59"/>
                <a:gd name="T26" fmla="*/ 37 w 39"/>
                <a:gd name="T27" fmla="*/ 0 h 59"/>
                <a:gd name="T28" fmla="*/ 3 w 39"/>
                <a:gd name="T29" fmla="*/ 0 h 59"/>
                <a:gd name="T30" fmla="*/ 0 w 39"/>
                <a:gd name="T31" fmla="*/ 0 h 59"/>
                <a:gd name="T32" fmla="*/ 0 w 39"/>
                <a:gd name="T33" fmla="*/ 0 h 59"/>
                <a:gd name="T34" fmla="*/ 0 w 39"/>
                <a:gd name="T35" fmla="*/ 2 h 59"/>
                <a:gd name="T36" fmla="*/ 0 w 39"/>
                <a:gd name="T37" fmla="*/ 2 h 59"/>
                <a:gd name="T38" fmla="*/ 0 w 39"/>
                <a:gd name="T39" fmla="*/ 5 h 59"/>
                <a:gd name="T40" fmla="*/ 0 w 39"/>
                <a:gd name="T41" fmla="*/ 56 h 59"/>
                <a:gd name="T42" fmla="*/ 0 w 39"/>
                <a:gd name="T43" fmla="*/ 59 h 59"/>
                <a:gd name="T44" fmla="*/ 7 w 39"/>
                <a:gd name="T45" fmla="*/ 7 h 59"/>
                <a:gd name="T46" fmla="*/ 32 w 39"/>
                <a:gd name="T47" fmla="*/ 7 h 59"/>
                <a:gd name="T48" fmla="*/ 32 w 39"/>
                <a:gd name="T49" fmla="*/ 51 h 59"/>
                <a:gd name="T50" fmla="*/ 7 w 39"/>
                <a:gd name="T51" fmla="*/ 51 h 59"/>
                <a:gd name="T52" fmla="*/ 7 w 39"/>
                <a:gd name="T5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9" h="59">
                  <a:moveTo>
                    <a:pt x="0" y="59"/>
                  </a:moveTo>
                  <a:lnTo>
                    <a:pt x="0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7" y="7"/>
                  </a:moveTo>
                  <a:lnTo>
                    <a:pt x="32" y="7"/>
                  </a:lnTo>
                  <a:lnTo>
                    <a:pt x="32" y="51"/>
                  </a:lnTo>
                  <a:lnTo>
                    <a:pt x="7" y="51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4" name="Freeform 256">
              <a:extLst>
                <a:ext uri="{FF2B5EF4-FFF2-40B4-BE49-F238E27FC236}">
                  <a16:creationId xmlns:a16="http://schemas.microsoft.com/office/drawing/2014/main" id="{93397450-80F9-4B2A-83ED-C67F9E97C3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1750" y="5762625"/>
              <a:ext cx="66675" cy="98425"/>
            </a:xfrm>
            <a:custGeom>
              <a:avLst/>
              <a:gdLst>
                <a:gd name="T0" fmla="*/ 42 w 42"/>
                <a:gd name="T1" fmla="*/ 3 h 62"/>
                <a:gd name="T2" fmla="*/ 42 w 42"/>
                <a:gd name="T3" fmla="*/ 3 h 62"/>
                <a:gd name="T4" fmla="*/ 40 w 42"/>
                <a:gd name="T5" fmla="*/ 0 h 62"/>
                <a:gd name="T6" fmla="*/ 37 w 42"/>
                <a:gd name="T7" fmla="*/ 0 h 62"/>
                <a:gd name="T8" fmla="*/ 3 w 42"/>
                <a:gd name="T9" fmla="*/ 0 h 62"/>
                <a:gd name="T10" fmla="*/ 3 w 42"/>
                <a:gd name="T11" fmla="*/ 0 h 62"/>
                <a:gd name="T12" fmla="*/ 3 w 42"/>
                <a:gd name="T13" fmla="*/ 3 h 62"/>
                <a:gd name="T14" fmla="*/ 0 w 42"/>
                <a:gd name="T15" fmla="*/ 3 h 62"/>
                <a:gd name="T16" fmla="*/ 0 w 42"/>
                <a:gd name="T17" fmla="*/ 5 h 62"/>
                <a:gd name="T18" fmla="*/ 0 w 42"/>
                <a:gd name="T19" fmla="*/ 5 h 62"/>
                <a:gd name="T20" fmla="*/ 0 w 42"/>
                <a:gd name="T21" fmla="*/ 57 h 62"/>
                <a:gd name="T22" fmla="*/ 0 w 42"/>
                <a:gd name="T23" fmla="*/ 59 h 62"/>
                <a:gd name="T24" fmla="*/ 3 w 42"/>
                <a:gd name="T25" fmla="*/ 59 h 62"/>
                <a:gd name="T26" fmla="*/ 3 w 42"/>
                <a:gd name="T27" fmla="*/ 62 h 62"/>
                <a:gd name="T28" fmla="*/ 5 w 42"/>
                <a:gd name="T29" fmla="*/ 62 h 62"/>
                <a:gd name="T30" fmla="*/ 37 w 42"/>
                <a:gd name="T31" fmla="*/ 62 h 62"/>
                <a:gd name="T32" fmla="*/ 40 w 42"/>
                <a:gd name="T33" fmla="*/ 62 h 62"/>
                <a:gd name="T34" fmla="*/ 42 w 42"/>
                <a:gd name="T35" fmla="*/ 59 h 62"/>
                <a:gd name="T36" fmla="*/ 42 w 42"/>
                <a:gd name="T37" fmla="*/ 59 h 62"/>
                <a:gd name="T38" fmla="*/ 42 w 42"/>
                <a:gd name="T39" fmla="*/ 57 h 62"/>
                <a:gd name="T40" fmla="*/ 42 w 42"/>
                <a:gd name="T41" fmla="*/ 57 h 62"/>
                <a:gd name="T42" fmla="*/ 42 w 42"/>
                <a:gd name="T43" fmla="*/ 5 h 62"/>
                <a:gd name="T44" fmla="*/ 42 w 42"/>
                <a:gd name="T45" fmla="*/ 3 h 62"/>
                <a:gd name="T46" fmla="*/ 35 w 42"/>
                <a:gd name="T47" fmla="*/ 54 h 62"/>
                <a:gd name="T48" fmla="*/ 8 w 42"/>
                <a:gd name="T49" fmla="*/ 54 h 62"/>
                <a:gd name="T50" fmla="*/ 8 w 42"/>
                <a:gd name="T51" fmla="*/ 10 h 62"/>
                <a:gd name="T52" fmla="*/ 35 w 42"/>
                <a:gd name="T53" fmla="*/ 10 h 62"/>
                <a:gd name="T54" fmla="*/ 35 w 42"/>
                <a:gd name="T55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62">
                  <a:moveTo>
                    <a:pt x="42" y="3"/>
                  </a:moveTo>
                  <a:lnTo>
                    <a:pt x="42" y="3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3" y="59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37" y="62"/>
                  </a:lnTo>
                  <a:lnTo>
                    <a:pt x="40" y="62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"/>
                  </a:lnTo>
                  <a:lnTo>
                    <a:pt x="42" y="3"/>
                  </a:lnTo>
                  <a:close/>
                  <a:moveTo>
                    <a:pt x="35" y="54"/>
                  </a:moveTo>
                  <a:lnTo>
                    <a:pt x="8" y="54"/>
                  </a:lnTo>
                  <a:lnTo>
                    <a:pt x="8" y="10"/>
                  </a:lnTo>
                  <a:lnTo>
                    <a:pt x="35" y="10"/>
                  </a:lnTo>
                  <a:lnTo>
                    <a:pt x="35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5" name="Freeform 257">
              <a:extLst>
                <a:ext uri="{FF2B5EF4-FFF2-40B4-BE49-F238E27FC236}">
                  <a16:creationId xmlns:a16="http://schemas.microsoft.com/office/drawing/2014/main" id="{51EEAD38-69F7-4EA2-B1DF-561703283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5713" y="5638800"/>
              <a:ext cx="358775" cy="490538"/>
            </a:xfrm>
            <a:custGeom>
              <a:avLst/>
              <a:gdLst>
                <a:gd name="T0" fmla="*/ 226 w 226"/>
                <a:gd name="T1" fmla="*/ 2 h 309"/>
                <a:gd name="T2" fmla="*/ 223 w 226"/>
                <a:gd name="T3" fmla="*/ 0 h 309"/>
                <a:gd name="T4" fmla="*/ 223 w 226"/>
                <a:gd name="T5" fmla="*/ 0 h 309"/>
                <a:gd name="T6" fmla="*/ 223 w 226"/>
                <a:gd name="T7" fmla="*/ 0 h 309"/>
                <a:gd name="T8" fmla="*/ 221 w 226"/>
                <a:gd name="T9" fmla="*/ 0 h 309"/>
                <a:gd name="T10" fmla="*/ 2 w 226"/>
                <a:gd name="T11" fmla="*/ 0 h 309"/>
                <a:gd name="T12" fmla="*/ 2 w 226"/>
                <a:gd name="T13" fmla="*/ 0 h 309"/>
                <a:gd name="T14" fmla="*/ 2 w 226"/>
                <a:gd name="T15" fmla="*/ 0 h 309"/>
                <a:gd name="T16" fmla="*/ 0 w 226"/>
                <a:gd name="T17" fmla="*/ 2 h 309"/>
                <a:gd name="T18" fmla="*/ 0 w 226"/>
                <a:gd name="T19" fmla="*/ 5 h 309"/>
                <a:gd name="T20" fmla="*/ 0 w 226"/>
                <a:gd name="T21" fmla="*/ 306 h 309"/>
                <a:gd name="T22" fmla="*/ 2 w 226"/>
                <a:gd name="T23" fmla="*/ 309 h 309"/>
                <a:gd name="T24" fmla="*/ 2 w 226"/>
                <a:gd name="T25" fmla="*/ 309 h 309"/>
                <a:gd name="T26" fmla="*/ 2 w 226"/>
                <a:gd name="T27" fmla="*/ 309 h 309"/>
                <a:gd name="T28" fmla="*/ 5 w 226"/>
                <a:gd name="T29" fmla="*/ 309 h 309"/>
                <a:gd name="T30" fmla="*/ 223 w 226"/>
                <a:gd name="T31" fmla="*/ 309 h 309"/>
                <a:gd name="T32" fmla="*/ 223 w 226"/>
                <a:gd name="T33" fmla="*/ 309 h 309"/>
                <a:gd name="T34" fmla="*/ 223 w 226"/>
                <a:gd name="T35" fmla="*/ 309 h 309"/>
                <a:gd name="T36" fmla="*/ 226 w 226"/>
                <a:gd name="T37" fmla="*/ 306 h 309"/>
                <a:gd name="T38" fmla="*/ 226 w 226"/>
                <a:gd name="T39" fmla="*/ 306 h 309"/>
                <a:gd name="T40" fmla="*/ 226 w 226"/>
                <a:gd name="T41" fmla="*/ 304 h 309"/>
                <a:gd name="T42" fmla="*/ 226 w 226"/>
                <a:gd name="T43" fmla="*/ 2 h 309"/>
                <a:gd name="T44" fmla="*/ 226 w 226"/>
                <a:gd name="T45" fmla="*/ 2 h 309"/>
                <a:gd name="T46" fmla="*/ 140 w 226"/>
                <a:gd name="T47" fmla="*/ 301 h 309"/>
                <a:gd name="T48" fmla="*/ 86 w 226"/>
                <a:gd name="T49" fmla="*/ 301 h 309"/>
                <a:gd name="T50" fmla="*/ 86 w 226"/>
                <a:gd name="T51" fmla="*/ 225 h 309"/>
                <a:gd name="T52" fmla="*/ 140 w 226"/>
                <a:gd name="T53" fmla="*/ 225 h 309"/>
                <a:gd name="T54" fmla="*/ 140 w 226"/>
                <a:gd name="T55" fmla="*/ 301 h 309"/>
                <a:gd name="T56" fmla="*/ 218 w 226"/>
                <a:gd name="T57" fmla="*/ 301 h 309"/>
                <a:gd name="T58" fmla="*/ 147 w 226"/>
                <a:gd name="T59" fmla="*/ 301 h 309"/>
                <a:gd name="T60" fmla="*/ 147 w 226"/>
                <a:gd name="T61" fmla="*/ 220 h 309"/>
                <a:gd name="T62" fmla="*/ 147 w 226"/>
                <a:gd name="T63" fmla="*/ 220 h 309"/>
                <a:gd name="T64" fmla="*/ 147 w 226"/>
                <a:gd name="T65" fmla="*/ 218 h 309"/>
                <a:gd name="T66" fmla="*/ 145 w 226"/>
                <a:gd name="T67" fmla="*/ 218 h 309"/>
                <a:gd name="T68" fmla="*/ 145 w 226"/>
                <a:gd name="T69" fmla="*/ 218 h 309"/>
                <a:gd name="T70" fmla="*/ 81 w 226"/>
                <a:gd name="T71" fmla="*/ 218 h 309"/>
                <a:gd name="T72" fmla="*/ 78 w 226"/>
                <a:gd name="T73" fmla="*/ 218 h 309"/>
                <a:gd name="T74" fmla="*/ 78 w 226"/>
                <a:gd name="T75" fmla="*/ 218 h 309"/>
                <a:gd name="T76" fmla="*/ 78 w 226"/>
                <a:gd name="T77" fmla="*/ 220 h 309"/>
                <a:gd name="T78" fmla="*/ 78 w 226"/>
                <a:gd name="T79" fmla="*/ 220 h 309"/>
                <a:gd name="T80" fmla="*/ 78 w 226"/>
                <a:gd name="T81" fmla="*/ 301 h 309"/>
                <a:gd name="T82" fmla="*/ 7 w 226"/>
                <a:gd name="T83" fmla="*/ 301 h 309"/>
                <a:gd name="T84" fmla="*/ 7 w 226"/>
                <a:gd name="T85" fmla="*/ 7 h 309"/>
                <a:gd name="T86" fmla="*/ 218 w 226"/>
                <a:gd name="T87" fmla="*/ 7 h 309"/>
                <a:gd name="T88" fmla="*/ 218 w 226"/>
                <a:gd name="T89" fmla="*/ 30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" h="309">
                  <a:moveTo>
                    <a:pt x="226" y="2"/>
                  </a:move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306"/>
                  </a:lnTo>
                  <a:lnTo>
                    <a:pt x="2" y="309"/>
                  </a:lnTo>
                  <a:lnTo>
                    <a:pt x="2" y="309"/>
                  </a:lnTo>
                  <a:lnTo>
                    <a:pt x="2" y="309"/>
                  </a:lnTo>
                  <a:lnTo>
                    <a:pt x="5" y="309"/>
                  </a:lnTo>
                  <a:lnTo>
                    <a:pt x="223" y="309"/>
                  </a:lnTo>
                  <a:lnTo>
                    <a:pt x="223" y="309"/>
                  </a:lnTo>
                  <a:lnTo>
                    <a:pt x="223" y="309"/>
                  </a:lnTo>
                  <a:lnTo>
                    <a:pt x="226" y="306"/>
                  </a:lnTo>
                  <a:lnTo>
                    <a:pt x="226" y="306"/>
                  </a:lnTo>
                  <a:lnTo>
                    <a:pt x="226" y="304"/>
                  </a:lnTo>
                  <a:lnTo>
                    <a:pt x="226" y="2"/>
                  </a:lnTo>
                  <a:lnTo>
                    <a:pt x="226" y="2"/>
                  </a:lnTo>
                  <a:close/>
                  <a:moveTo>
                    <a:pt x="140" y="301"/>
                  </a:moveTo>
                  <a:lnTo>
                    <a:pt x="86" y="301"/>
                  </a:lnTo>
                  <a:lnTo>
                    <a:pt x="86" y="225"/>
                  </a:lnTo>
                  <a:lnTo>
                    <a:pt x="140" y="225"/>
                  </a:lnTo>
                  <a:lnTo>
                    <a:pt x="140" y="301"/>
                  </a:lnTo>
                  <a:close/>
                  <a:moveTo>
                    <a:pt x="218" y="301"/>
                  </a:moveTo>
                  <a:lnTo>
                    <a:pt x="147" y="301"/>
                  </a:lnTo>
                  <a:lnTo>
                    <a:pt x="147" y="220"/>
                  </a:lnTo>
                  <a:lnTo>
                    <a:pt x="147" y="220"/>
                  </a:lnTo>
                  <a:lnTo>
                    <a:pt x="147" y="218"/>
                  </a:lnTo>
                  <a:lnTo>
                    <a:pt x="145" y="218"/>
                  </a:lnTo>
                  <a:lnTo>
                    <a:pt x="145" y="218"/>
                  </a:lnTo>
                  <a:lnTo>
                    <a:pt x="81" y="218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78" y="301"/>
                  </a:lnTo>
                  <a:lnTo>
                    <a:pt x="7" y="301"/>
                  </a:lnTo>
                  <a:lnTo>
                    <a:pt x="7" y="7"/>
                  </a:lnTo>
                  <a:lnTo>
                    <a:pt x="218" y="7"/>
                  </a:lnTo>
                  <a:lnTo>
                    <a:pt x="218" y="30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6" name="Freeform 258">
              <a:extLst>
                <a:ext uri="{FF2B5EF4-FFF2-40B4-BE49-F238E27FC236}">
                  <a16:creationId xmlns:a16="http://schemas.microsoft.com/office/drawing/2014/main" id="{F7F16973-754F-4162-85E8-47F51247E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5" y="5872163"/>
              <a:ext cx="65087" cy="93663"/>
            </a:xfrm>
            <a:custGeom>
              <a:avLst/>
              <a:gdLst>
                <a:gd name="T0" fmla="*/ 0 w 41"/>
                <a:gd name="T1" fmla="*/ 59 h 59"/>
                <a:gd name="T2" fmla="*/ 0 w 41"/>
                <a:gd name="T3" fmla="*/ 59 h 59"/>
                <a:gd name="T4" fmla="*/ 2 w 41"/>
                <a:gd name="T5" fmla="*/ 59 h 59"/>
                <a:gd name="T6" fmla="*/ 2 w 41"/>
                <a:gd name="T7" fmla="*/ 59 h 59"/>
                <a:gd name="T8" fmla="*/ 4 w 41"/>
                <a:gd name="T9" fmla="*/ 59 h 59"/>
                <a:gd name="T10" fmla="*/ 39 w 41"/>
                <a:gd name="T11" fmla="*/ 59 h 59"/>
                <a:gd name="T12" fmla="*/ 39 w 41"/>
                <a:gd name="T13" fmla="*/ 59 h 59"/>
                <a:gd name="T14" fmla="*/ 39 w 41"/>
                <a:gd name="T15" fmla="*/ 59 h 59"/>
                <a:gd name="T16" fmla="*/ 41 w 41"/>
                <a:gd name="T17" fmla="*/ 59 h 59"/>
                <a:gd name="T18" fmla="*/ 41 w 41"/>
                <a:gd name="T19" fmla="*/ 56 h 59"/>
                <a:gd name="T20" fmla="*/ 41 w 41"/>
                <a:gd name="T21" fmla="*/ 56 h 59"/>
                <a:gd name="T22" fmla="*/ 41 w 41"/>
                <a:gd name="T23" fmla="*/ 2 h 59"/>
                <a:gd name="T24" fmla="*/ 41 w 41"/>
                <a:gd name="T25" fmla="*/ 2 h 59"/>
                <a:gd name="T26" fmla="*/ 39 w 41"/>
                <a:gd name="T27" fmla="*/ 0 h 59"/>
                <a:gd name="T28" fmla="*/ 39 w 41"/>
                <a:gd name="T29" fmla="*/ 0 h 59"/>
                <a:gd name="T30" fmla="*/ 39 w 41"/>
                <a:gd name="T31" fmla="*/ 0 h 59"/>
                <a:gd name="T32" fmla="*/ 36 w 41"/>
                <a:gd name="T33" fmla="*/ 0 h 59"/>
                <a:gd name="T34" fmla="*/ 2 w 41"/>
                <a:gd name="T35" fmla="*/ 0 h 59"/>
                <a:gd name="T36" fmla="*/ 2 w 41"/>
                <a:gd name="T37" fmla="*/ 0 h 59"/>
                <a:gd name="T38" fmla="*/ 0 w 41"/>
                <a:gd name="T39" fmla="*/ 0 h 59"/>
                <a:gd name="T40" fmla="*/ 0 w 41"/>
                <a:gd name="T41" fmla="*/ 2 h 59"/>
                <a:gd name="T42" fmla="*/ 0 w 41"/>
                <a:gd name="T43" fmla="*/ 2 h 59"/>
                <a:gd name="T44" fmla="*/ 0 w 41"/>
                <a:gd name="T45" fmla="*/ 5 h 59"/>
                <a:gd name="T46" fmla="*/ 0 w 41"/>
                <a:gd name="T47" fmla="*/ 56 h 59"/>
                <a:gd name="T48" fmla="*/ 0 w 41"/>
                <a:gd name="T49" fmla="*/ 59 h 59"/>
                <a:gd name="T50" fmla="*/ 7 w 41"/>
                <a:gd name="T51" fmla="*/ 7 h 59"/>
                <a:gd name="T52" fmla="*/ 34 w 41"/>
                <a:gd name="T53" fmla="*/ 7 h 59"/>
                <a:gd name="T54" fmla="*/ 34 w 41"/>
                <a:gd name="T55" fmla="*/ 51 h 59"/>
                <a:gd name="T56" fmla="*/ 7 w 41"/>
                <a:gd name="T57" fmla="*/ 51 h 59"/>
                <a:gd name="T58" fmla="*/ 7 w 41"/>
                <a:gd name="T59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1" h="59">
                  <a:moveTo>
                    <a:pt x="0" y="59"/>
                  </a:moveTo>
                  <a:lnTo>
                    <a:pt x="0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6"/>
                  </a:lnTo>
                  <a:lnTo>
                    <a:pt x="0" y="59"/>
                  </a:lnTo>
                  <a:close/>
                  <a:moveTo>
                    <a:pt x="7" y="7"/>
                  </a:moveTo>
                  <a:lnTo>
                    <a:pt x="34" y="7"/>
                  </a:lnTo>
                  <a:lnTo>
                    <a:pt x="34" y="51"/>
                  </a:lnTo>
                  <a:lnTo>
                    <a:pt x="7" y="51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6" name="Group 705">
            <a:extLst>
              <a:ext uri="{FF2B5EF4-FFF2-40B4-BE49-F238E27FC236}">
                <a16:creationId xmlns:a16="http://schemas.microsoft.com/office/drawing/2014/main" id="{49C6C8C1-CE8D-4F52-866D-AB39C56C6A67}"/>
              </a:ext>
            </a:extLst>
          </p:cNvPr>
          <p:cNvGrpSpPr/>
          <p:nvPr/>
        </p:nvGrpSpPr>
        <p:grpSpPr>
          <a:xfrm>
            <a:off x="2590800" y="5471319"/>
            <a:ext cx="844550" cy="844550"/>
            <a:chOff x="2590800" y="5472113"/>
            <a:chExt cx="844550" cy="844550"/>
          </a:xfrm>
        </p:grpSpPr>
        <p:sp>
          <p:nvSpPr>
            <p:cNvPr id="695" name="AutoShape 260">
              <a:extLst>
                <a:ext uri="{FF2B5EF4-FFF2-40B4-BE49-F238E27FC236}">
                  <a16:creationId xmlns:a16="http://schemas.microsoft.com/office/drawing/2014/main" id="{CCF9960D-86F6-4056-B57A-CDD7617457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0800" y="547211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6" name="Oval 262">
              <a:extLst>
                <a:ext uri="{FF2B5EF4-FFF2-40B4-BE49-F238E27FC236}">
                  <a16:creationId xmlns:a16="http://schemas.microsoft.com/office/drawing/2014/main" id="{3206412F-7445-48B7-B97E-3E5FFEA40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0800" y="5472113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7" name="Freeform 263">
              <a:extLst>
                <a:ext uri="{FF2B5EF4-FFF2-40B4-BE49-F238E27FC236}">
                  <a16:creationId xmlns:a16="http://schemas.microsoft.com/office/drawing/2014/main" id="{ADD4FD88-8FD3-47A1-AFF9-D27667306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375" y="5500688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8" name="Freeform 264">
              <a:extLst>
                <a:ext uri="{FF2B5EF4-FFF2-40B4-BE49-F238E27FC236}">
                  <a16:creationId xmlns:a16="http://schemas.microsoft.com/office/drawing/2014/main" id="{472FBFC6-F92A-42A4-807E-4C6D053D28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4963" y="5675313"/>
              <a:ext cx="276225" cy="73025"/>
            </a:xfrm>
            <a:custGeom>
              <a:avLst/>
              <a:gdLst>
                <a:gd name="T0" fmla="*/ 172 w 174"/>
                <a:gd name="T1" fmla="*/ 46 h 46"/>
                <a:gd name="T2" fmla="*/ 172 w 174"/>
                <a:gd name="T3" fmla="*/ 46 h 46"/>
                <a:gd name="T4" fmla="*/ 174 w 174"/>
                <a:gd name="T5" fmla="*/ 46 h 46"/>
                <a:gd name="T6" fmla="*/ 174 w 174"/>
                <a:gd name="T7" fmla="*/ 43 h 46"/>
                <a:gd name="T8" fmla="*/ 174 w 174"/>
                <a:gd name="T9" fmla="*/ 43 h 46"/>
                <a:gd name="T10" fmla="*/ 174 w 174"/>
                <a:gd name="T11" fmla="*/ 43 h 46"/>
                <a:gd name="T12" fmla="*/ 174 w 174"/>
                <a:gd name="T13" fmla="*/ 2 h 46"/>
                <a:gd name="T14" fmla="*/ 174 w 174"/>
                <a:gd name="T15" fmla="*/ 2 h 46"/>
                <a:gd name="T16" fmla="*/ 174 w 174"/>
                <a:gd name="T17" fmla="*/ 0 h 46"/>
                <a:gd name="T18" fmla="*/ 174 w 174"/>
                <a:gd name="T19" fmla="*/ 0 h 46"/>
                <a:gd name="T20" fmla="*/ 172 w 174"/>
                <a:gd name="T21" fmla="*/ 0 h 46"/>
                <a:gd name="T22" fmla="*/ 172 w 174"/>
                <a:gd name="T23" fmla="*/ 0 h 46"/>
                <a:gd name="T24" fmla="*/ 3 w 174"/>
                <a:gd name="T25" fmla="*/ 0 h 46"/>
                <a:gd name="T26" fmla="*/ 0 w 174"/>
                <a:gd name="T27" fmla="*/ 0 h 46"/>
                <a:gd name="T28" fmla="*/ 0 w 174"/>
                <a:gd name="T29" fmla="*/ 0 h 46"/>
                <a:gd name="T30" fmla="*/ 0 w 174"/>
                <a:gd name="T31" fmla="*/ 2 h 46"/>
                <a:gd name="T32" fmla="*/ 0 w 174"/>
                <a:gd name="T33" fmla="*/ 2 h 46"/>
                <a:gd name="T34" fmla="*/ 0 w 174"/>
                <a:gd name="T35" fmla="*/ 43 h 46"/>
                <a:gd name="T36" fmla="*/ 0 w 174"/>
                <a:gd name="T37" fmla="*/ 43 h 46"/>
                <a:gd name="T38" fmla="*/ 0 w 174"/>
                <a:gd name="T39" fmla="*/ 46 h 46"/>
                <a:gd name="T40" fmla="*/ 3 w 174"/>
                <a:gd name="T41" fmla="*/ 46 h 46"/>
                <a:gd name="T42" fmla="*/ 3 w 174"/>
                <a:gd name="T43" fmla="*/ 46 h 46"/>
                <a:gd name="T44" fmla="*/ 3 w 174"/>
                <a:gd name="T45" fmla="*/ 46 h 46"/>
                <a:gd name="T46" fmla="*/ 172 w 174"/>
                <a:gd name="T47" fmla="*/ 46 h 46"/>
                <a:gd name="T48" fmla="*/ 8 w 174"/>
                <a:gd name="T49" fmla="*/ 8 h 46"/>
                <a:gd name="T50" fmla="*/ 167 w 174"/>
                <a:gd name="T51" fmla="*/ 8 h 46"/>
                <a:gd name="T52" fmla="*/ 167 w 174"/>
                <a:gd name="T53" fmla="*/ 38 h 46"/>
                <a:gd name="T54" fmla="*/ 8 w 174"/>
                <a:gd name="T55" fmla="*/ 38 h 46"/>
                <a:gd name="T56" fmla="*/ 8 w 174"/>
                <a:gd name="T5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4" h="46">
                  <a:moveTo>
                    <a:pt x="172" y="46"/>
                  </a:moveTo>
                  <a:lnTo>
                    <a:pt x="172" y="46"/>
                  </a:lnTo>
                  <a:lnTo>
                    <a:pt x="174" y="46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4" y="2"/>
                  </a:lnTo>
                  <a:lnTo>
                    <a:pt x="174" y="2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172" y="46"/>
                  </a:lnTo>
                  <a:close/>
                  <a:moveTo>
                    <a:pt x="8" y="8"/>
                  </a:moveTo>
                  <a:lnTo>
                    <a:pt x="167" y="8"/>
                  </a:lnTo>
                  <a:lnTo>
                    <a:pt x="167" y="38"/>
                  </a:lnTo>
                  <a:lnTo>
                    <a:pt x="8" y="3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9" name="Freeform 265">
              <a:extLst>
                <a:ext uri="{FF2B5EF4-FFF2-40B4-BE49-F238E27FC236}">
                  <a16:creationId xmlns:a16="http://schemas.microsoft.com/office/drawing/2014/main" id="{BC8A50B7-271B-4591-8A7D-7ECD85789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325" y="5768976"/>
              <a:ext cx="65088" cy="101600"/>
            </a:xfrm>
            <a:custGeom>
              <a:avLst/>
              <a:gdLst>
                <a:gd name="T0" fmla="*/ 41 w 41"/>
                <a:gd name="T1" fmla="*/ 2 h 64"/>
                <a:gd name="T2" fmla="*/ 41 w 41"/>
                <a:gd name="T3" fmla="*/ 2 h 64"/>
                <a:gd name="T4" fmla="*/ 41 w 41"/>
                <a:gd name="T5" fmla="*/ 2 h 64"/>
                <a:gd name="T6" fmla="*/ 38 w 41"/>
                <a:gd name="T7" fmla="*/ 0 h 64"/>
                <a:gd name="T8" fmla="*/ 38 w 41"/>
                <a:gd name="T9" fmla="*/ 0 h 64"/>
                <a:gd name="T10" fmla="*/ 2 w 41"/>
                <a:gd name="T11" fmla="*/ 0 h 64"/>
                <a:gd name="T12" fmla="*/ 0 w 41"/>
                <a:gd name="T13" fmla="*/ 0 h 64"/>
                <a:gd name="T14" fmla="*/ 0 w 41"/>
                <a:gd name="T15" fmla="*/ 2 h 64"/>
                <a:gd name="T16" fmla="*/ 0 w 41"/>
                <a:gd name="T17" fmla="*/ 2 h 64"/>
                <a:gd name="T18" fmla="*/ 0 w 41"/>
                <a:gd name="T19" fmla="*/ 5 h 64"/>
                <a:gd name="T20" fmla="*/ 0 w 41"/>
                <a:gd name="T21" fmla="*/ 5 h 64"/>
                <a:gd name="T22" fmla="*/ 0 w 41"/>
                <a:gd name="T23" fmla="*/ 61 h 64"/>
                <a:gd name="T24" fmla="*/ 0 w 41"/>
                <a:gd name="T25" fmla="*/ 61 h 64"/>
                <a:gd name="T26" fmla="*/ 0 w 41"/>
                <a:gd name="T27" fmla="*/ 61 h 64"/>
                <a:gd name="T28" fmla="*/ 2 w 41"/>
                <a:gd name="T29" fmla="*/ 64 h 64"/>
                <a:gd name="T30" fmla="*/ 2 w 41"/>
                <a:gd name="T31" fmla="*/ 64 h 64"/>
                <a:gd name="T32" fmla="*/ 38 w 41"/>
                <a:gd name="T33" fmla="*/ 64 h 64"/>
                <a:gd name="T34" fmla="*/ 38 w 41"/>
                <a:gd name="T35" fmla="*/ 64 h 64"/>
                <a:gd name="T36" fmla="*/ 41 w 41"/>
                <a:gd name="T37" fmla="*/ 61 h 64"/>
                <a:gd name="T38" fmla="*/ 41 w 41"/>
                <a:gd name="T39" fmla="*/ 61 h 64"/>
                <a:gd name="T40" fmla="*/ 41 w 41"/>
                <a:gd name="T41" fmla="*/ 59 h 64"/>
                <a:gd name="T42" fmla="*/ 41 w 41"/>
                <a:gd name="T43" fmla="*/ 59 h 64"/>
                <a:gd name="T44" fmla="*/ 41 w 41"/>
                <a:gd name="T45" fmla="*/ 2 h 64"/>
                <a:gd name="T46" fmla="*/ 41 w 41"/>
                <a:gd name="T47" fmla="*/ 2 h 64"/>
                <a:gd name="T48" fmla="*/ 33 w 41"/>
                <a:gd name="T49" fmla="*/ 56 h 64"/>
                <a:gd name="T50" fmla="*/ 7 w 41"/>
                <a:gd name="T51" fmla="*/ 56 h 64"/>
                <a:gd name="T52" fmla="*/ 7 w 41"/>
                <a:gd name="T53" fmla="*/ 10 h 64"/>
                <a:gd name="T54" fmla="*/ 33 w 41"/>
                <a:gd name="T55" fmla="*/ 10 h 64"/>
                <a:gd name="T56" fmla="*/ 33 w 41"/>
                <a:gd name="T57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64">
                  <a:moveTo>
                    <a:pt x="41" y="2"/>
                  </a:moveTo>
                  <a:lnTo>
                    <a:pt x="41" y="2"/>
                  </a:lnTo>
                  <a:lnTo>
                    <a:pt x="41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2"/>
                  </a:lnTo>
                  <a:lnTo>
                    <a:pt x="41" y="2"/>
                  </a:lnTo>
                  <a:close/>
                  <a:moveTo>
                    <a:pt x="33" y="56"/>
                  </a:moveTo>
                  <a:lnTo>
                    <a:pt x="7" y="56"/>
                  </a:lnTo>
                  <a:lnTo>
                    <a:pt x="7" y="10"/>
                  </a:lnTo>
                  <a:lnTo>
                    <a:pt x="33" y="10"/>
                  </a:lnTo>
                  <a:lnTo>
                    <a:pt x="33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0" name="Freeform 266">
              <a:extLst>
                <a:ext uri="{FF2B5EF4-FFF2-40B4-BE49-F238E27FC236}">
                  <a16:creationId xmlns:a16="http://schemas.microsoft.com/office/drawing/2014/main" id="{4F56941D-608B-4E4B-9FA7-34E6EF07B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4963" y="5881688"/>
              <a:ext cx="69850" cy="98425"/>
            </a:xfrm>
            <a:custGeom>
              <a:avLst/>
              <a:gdLst>
                <a:gd name="T0" fmla="*/ 0 w 44"/>
                <a:gd name="T1" fmla="*/ 62 h 62"/>
                <a:gd name="T2" fmla="*/ 3 w 44"/>
                <a:gd name="T3" fmla="*/ 62 h 62"/>
                <a:gd name="T4" fmla="*/ 3 w 44"/>
                <a:gd name="T5" fmla="*/ 62 h 62"/>
                <a:gd name="T6" fmla="*/ 5 w 44"/>
                <a:gd name="T7" fmla="*/ 62 h 62"/>
                <a:gd name="T8" fmla="*/ 41 w 44"/>
                <a:gd name="T9" fmla="*/ 62 h 62"/>
                <a:gd name="T10" fmla="*/ 41 w 44"/>
                <a:gd name="T11" fmla="*/ 62 h 62"/>
                <a:gd name="T12" fmla="*/ 44 w 44"/>
                <a:gd name="T13" fmla="*/ 62 h 62"/>
                <a:gd name="T14" fmla="*/ 44 w 44"/>
                <a:gd name="T15" fmla="*/ 62 h 62"/>
                <a:gd name="T16" fmla="*/ 44 w 44"/>
                <a:gd name="T17" fmla="*/ 59 h 62"/>
                <a:gd name="T18" fmla="*/ 44 w 44"/>
                <a:gd name="T19" fmla="*/ 59 h 62"/>
                <a:gd name="T20" fmla="*/ 44 w 44"/>
                <a:gd name="T21" fmla="*/ 3 h 62"/>
                <a:gd name="T22" fmla="*/ 44 w 44"/>
                <a:gd name="T23" fmla="*/ 3 h 62"/>
                <a:gd name="T24" fmla="*/ 44 w 44"/>
                <a:gd name="T25" fmla="*/ 0 h 62"/>
                <a:gd name="T26" fmla="*/ 41 w 44"/>
                <a:gd name="T27" fmla="*/ 0 h 62"/>
                <a:gd name="T28" fmla="*/ 41 w 44"/>
                <a:gd name="T29" fmla="*/ 0 h 62"/>
                <a:gd name="T30" fmla="*/ 39 w 44"/>
                <a:gd name="T31" fmla="*/ 0 h 62"/>
                <a:gd name="T32" fmla="*/ 3 w 44"/>
                <a:gd name="T33" fmla="*/ 0 h 62"/>
                <a:gd name="T34" fmla="*/ 3 w 44"/>
                <a:gd name="T35" fmla="*/ 0 h 62"/>
                <a:gd name="T36" fmla="*/ 3 w 44"/>
                <a:gd name="T37" fmla="*/ 0 h 62"/>
                <a:gd name="T38" fmla="*/ 0 w 44"/>
                <a:gd name="T39" fmla="*/ 3 h 62"/>
                <a:gd name="T40" fmla="*/ 0 w 44"/>
                <a:gd name="T41" fmla="*/ 3 h 62"/>
                <a:gd name="T42" fmla="*/ 0 w 44"/>
                <a:gd name="T43" fmla="*/ 6 h 62"/>
                <a:gd name="T44" fmla="*/ 0 w 44"/>
                <a:gd name="T45" fmla="*/ 59 h 62"/>
                <a:gd name="T46" fmla="*/ 0 w 44"/>
                <a:gd name="T47" fmla="*/ 62 h 62"/>
                <a:gd name="T48" fmla="*/ 8 w 44"/>
                <a:gd name="T49" fmla="*/ 8 h 62"/>
                <a:gd name="T50" fmla="*/ 36 w 44"/>
                <a:gd name="T51" fmla="*/ 8 h 62"/>
                <a:gd name="T52" fmla="*/ 36 w 44"/>
                <a:gd name="T53" fmla="*/ 54 h 62"/>
                <a:gd name="T54" fmla="*/ 8 w 44"/>
                <a:gd name="T55" fmla="*/ 54 h 62"/>
                <a:gd name="T56" fmla="*/ 8 w 44"/>
                <a:gd name="T5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62">
                  <a:moveTo>
                    <a:pt x="0" y="62"/>
                  </a:moveTo>
                  <a:lnTo>
                    <a:pt x="3" y="62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59"/>
                  </a:lnTo>
                  <a:lnTo>
                    <a:pt x="0" y="62"/>
                  </a:lnTo>
                  <a:close/>
                  <a:moveTo>
                    <a:pt x="8" y="8"/>
                  </a:moveTo>
                  <a:lnTo>
                    <a:pt x="36" y="8"/>
                  </a:lnTo>
                  <a:lnTo>
                    <a:pt x="36" y="54"/>
                  </a:lnTo>
                  <a:lnTo>
                    <a:pt x="8" y="54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1" name="Freeform 267">
              <a:extLst>
                <a:ext uri="{FF2B5EF4-FFF2-40B4-BE49-F238E27FC236}">
                  <a16:creationId xmlns:a16="http://schemas.microsoft.com/office/drawing/2014/main" id="{F39EAC59-4F17-4B82-9374-DA0AC7084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2925" y="5768976"/>
              <a:ext cx="68263" cy="101600"/>
            </a:xfrm>
            <a:custGeom>
              <a:avLst/>
              <a:gdLst>
                <a:gd name="T0" fmla="*/ 41 w 43"/>
                <a:gd name="T1" fmla="*/ 0 h 64"/>
                <a:gd name="T2" fmla="*/ 38 w 43"/>
                <a:gd name="T3" fmla="*/ 0 h 64"/>
                <a:gd name="T4" fmla="*/ 2 w 43"/>
                <a:gd name="T5" fmla="*/ 0 h 64"/>
                <a:gd name="T6" fmla="*/ 2 w 43"/>
                <a:gd name="T7" fmla="*/ 0 h 64"/>
                <a:gd name="T8" fmla="*/ 2 w 43"/>
                <a:gd name="T9" fmla="*/ 2 h 64"/>
                <a:gd name="T10" fmla="*/ 0 w 43"/>
                <a:gd name="T11" fmla="*/ 2 h 64"/>
                <a:gd name="T12" fmla="*/ 0 w 43"/>
                <a:gd name="T13" fmla="*/ 5 h 64"/>
                <a:gd name="T14" fmla="*/ 0 w 43"/>
                <a:gd name="T15" fmla="*/ 5 h 64"/>
                <a:gd name="T16" fmla="*/ 0 w 43"/>
                <a:gd name="T17" fmla="*/ 61 h 64"/>
                <a:gd name="T18" fmla="*/ 0 w 43"/>
                <a:gd name="T19" fmla="*/ 61 h 64"/>
                <a:gd name="T20" fmla="*/ 2 w 43"/>
                <a:gd name="T21" fmla="*/ 61 h 64"/>
                <a:gd name="T22" fmla="*/ 2 w 43"/>
                <a:gd name="T23" fmla="*/ 64 h 64"/>
                <a:gd name="T24" fmla="*/ 5 w 43"/>
                <a:gd name="T25" fmla="*/ 64 h 64"/>
                <a:gd name="T26" fmla="*/ 38 w 43"/>
                <a:gd name="T27" fmla="*/ 64 h 64"/>
                <a:gd name="T28" fmla="*/ 41 w 43"/>
                <a:gd name="T29" fmla="*/ 64 h 64"/>
                <a:gd name="T30" fmla="*/ 41 w 43"/>
                <a:gd name="T31" fmla="*/ 61 h 64"/>
                <a:gd name="T32" fmla="*/ 43 w 43"/>
                <a:gd name="T33" fmla="*/ 61 h 64"/>
                <a:gd name="T34" fmla="*/ 43 w 43"/>
                <a:gd name="T35" fmla="*/ 59 h 64"/>
                <a:gd name="T36" fmla="*/ 43 w 43"/>
                <a:gd name="T37" fmla="*/ 59 h 64"/>
                <a:gd name="T38" fmla="*/ 43 w 43"/>
                <a:gd name="T39" fmla="*/ 5 h 64"/>
                <a:gd name="T40" fmla="*/ 43 w 43"/>
                <a:gd name="T41" fmla="*/ 2 h 64"/>
                <a:gd name="T42" fmla="*/ 41 w 43"/>
                <a:gd name="T43" fmla="*/ 2 h 64"/>
                <a:gd name="T44" fmla="*/ 41 w 43"/>
                <a:gd name="T45" fmla="*/ 0 h 64"/>
                <a:gd name="T46" fmla="*/ 41 w 43"/>
                <a:gd name="T47" fmla="*/ 0 h 64"/>
                <a:gd name="T48" fmla="*/ 36 w 43"/>
                <a:gd name="T49" fmla="*/ 56 h 64"/>
                <a:gd name="T50" fmla="*/ 7 w 43"/>
                <a:gd name="T51" fmla="*/ 56 h 64"/>
                <a:gd name="T52" fmla="*/ 7 w 43"/>
                <a:gd name="T53" fmla="*/ 10 h 64"/>
                <a:gd name="T54" fmla="*/ 36 w 43"/>
                <a:gd name="T55" fmla="*/ 10 h 64"/>
                <a:gd name="T56" fmla="*/ 36 w 43"/>
                <a:gd name="T57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64">
                  <a:moveTo>
                    <a:pt x="41" y="0"/>
                  </a:moveTo>
                  <a:lnTo>
                    <a:pt x="38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61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38" y="64"/>
                  </a:lnTo>
                  <a:lnTo>
                    <a:pt x="41" y="64"/>
                  </a:lnTo>
                  <a:lnTo>
                    <a:pt x="41" y="61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1" y="0"/>
                  </a:lnTo>
                  <a:close/>
                  <a:moveTo>
                    <a:pt x="36" y="56"/>
                  </a:moveTo>
                  <a:lnTo>
                    <a:pt x="7" y="56"/>
                  </a:lnTo>
                  <a:lnTo>
                    <a:pt x="7" y="10"/>
                  </a:lnTo>
                  <a:lnTo>
                    <a:pt x="36" y="10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2" name="Freeform 268">
              <a:extLst>
                <a:ext uri="{FF2B5EF4-FFF2-40B4-BE49-F238E27FC236}">
                  <a16:creationId xmlns:a16="http://schemas.microsoft.com/office/drawing/2014/main" id="{146CB123-9F2C-4B9E-AD86-76DD54425D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325" y="5881688"/>
              <a:ext cx="65088" cy="98425"/>
            </a:xfrm>
            <a:custGeom>
              <a:avLst/>
              <a:gdLst>
                <a:gd name="T0" fmla="*/ 0 w 41"/>
                <a:gd name="T1" fmla="*/ 62 h 62"/>
                <a:gd name="T2" fmla="*/ 0 w 41"/>
                <a:gd name="T3" fmla="*/ 62 h 62"/>
                <a:gd name="T4" fmla="*/ 2 w 41"/>
                <a:gd name="T5" fmla="*/ 62 h 62"/>
                <a:gd name="T6" fmla="*/ 2 w 41"/>
                <a:gd name="T7" fmla="*/ 62 h 62"/>
                <a:gd name="T8" fmla="*/ 38 w 41"/>
                <a:gd name="T9" fmla="*/ 62 h 62"/>
                <a:gd name="T10" fmla="*/ 41 w 41"/>
                <a:gd name="T11" fmla="*/ 62 h 62"/>
                <a:gd name="T12" fmla="*/ 41 w 41"/>
                <a:gd name="T13" fmla="*/ 59 h 62"/>
                <a:gd name="T14" fmla="*/ 41 w 41"/>
                <a:gd name="T15" fmla="*/ 59 h 62"/>
                <a:gd name="T16" fmla="*/ 41 w 41"/>
                <a:gd name="T17" fmla="*/ 59 h 62"/>
                <a:gd name="T18" fmla="*/ 41 w 41"/>
                <a:gd name="T19" fmla="*/ 3 h 62"/>
                <a:gd name="T20" fmla="*/ 41 w 41"/>
                <a:gd name="T21" fmla="*/ 3 h 62"/>
                <a:gd name="T22" fmla="*/ 41 w 41"/>
                <a:gd name="T23" fmla="*/ 0 h 62"/>
                <a:gd name="T24" fmla="*/ 38 w 41"/>
                <a:gd name="T25" fmla="*/ 0 h 62"/>
                <a:gd name="T26" fmla="*/ 38 w 41"/>
                <a:gd name="T27" fmla="*/ 0 h 62"/>
                <a:gd name="T28" fmla="*/ 2 w 41"/>
                <a:gd name="T29" fmla="*/ 0 h 62"/>
                <a:gd name="T30" fmla="*/ 0 w 41"/>
                <a:gd name="T31" fmla="*/ 0 h 62"/>
                <a:gd name="T32" fmla="*/ 0 w 41"/>
                <a:gd name="T33" fmla="*/ 0 h 62"/>
                <a:gd name="T34" fmla="*/ 0 w 41"/>
                <a:gd name="T35" fmla="*/ 3 h 62"/>
                <a:gd name="T36" fmla="*/ 0 w 41"/>
                <a:gd name="T37" fmla="*/ 3 h 62"/>
                <a:gd name="T38" fmla="*/ 0 w 41"/>
                <a:gd name="T39" fmla="*/ 6 h 62"/>
                <a:gd name="T40" fmla="*/ 0 w 41"/>
                <a:gd name="T41" fmla="*/ 59 h 62"/>
                <a:gd name="T42" fmla="*/ 0 w 41"/>
                <a:gd name="T43" fmla="*/ 62 h 62"/>
                <a:gd name="T44" fmla="*/ 7 w 41"/>
                <a:gd name="T45" fmla="*/ 8 h 62"/>
                <a:gd name="T46" fmla="*/ 33 w 41"/>
                <a:gd name="T47" fmla="*/ 8 h 62"/>
                <a:gd name="T48" fmla="*/ 33 w 41"/>
                <a:gd name="T49" fmla="*/ 54 h 62"/>
                <a:gd name="T50" fmla="*/ 7 w 41"/>
                <a:gd name="T51" fmla="*/ 54 h 62"/>
                <a:gd name="T52" fmla="*/ 7 w 41"/>
                <a:gd name="T53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" h="62">
                  <a:moveTo>
                    <a:pt x="0" y="62"/>
                  </a:moveTo>
                  <a:lnTo>
                    <a:pt x="0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38" y="62"/>
                  </a:lnTo>
                  <a:lnTo>
                    <a:pt x="41" y="62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59"/>
                  </a:lnTo>
                  <a:lnTo>
                    <a:pt x="0" y="62"/>
                  </a:lnTo>
                  <a:close/>
                  <a:moveTo>
                    <a:pt x="7" y="8"/>
                  </a:moveTo>
                  <a:lnTo>
                    <a:pt x="33" y="8"/>
                  </a:lnTo>
                  <a:lnTo>
                    <a:pt x="33" y="54"/>
                  </a:lnTo>
                  <a:lnTo>
                    <a:pt x="7" y="54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3" name="Freeform 269">
              <a:extLst>
                <a:ext uri="{FF2B5EF4-FFF2-40B4-BE49-F238E27FC236}">
                  <a16:creationId xmlns:a16="http://schemas.microsoft.com/office/drawing/2014/main" id="{A140C494-DE29-4FBD-BD7B-AE94D0DA7A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4963" y="5768976"/>
              <a:ext cx="69850" cy="101600"/>
            </a:xfrm>
            <a:custGeom>
              <a:avLst/>
              <a:gdLst>
                <a:gd name="T0" fmla="*/ 44 w 44"/>
                <a:gd name="T1" fmla="*/ 2 h 64"/>
                <a:gd name="T2" fmla="*/ 44 w 44"/>
                <a:gd name="T3" fmla="*/ 2 h 64"/>
                <a:gd name="T4" fmla="*/ 41 w 44"/>
                <a:gd name="T5" fmla="*/ 0 h 64"/>
                <a:gd name="T6" fmla="*/ 39 w 44"/>
                <a:gd name="T7" fmla="*/ 0 h 64"/>
                <a:gd name="T8" fmla="*/ 3 w 44"/>
                <a:gd name="T9" fmla="*/ 0 h 64"/>
                <a:gd name="T10" fmla="*/ 3 w 44"/>
                <a:gd name="T11" fmla="*/ 0 h 64"/>
                <a:gd name="T12" fmla="*/ 3 w 44"/>
                <a:gd name="T13" fmla="*/ 2 h 64"/>
                <a:gd name="T14" fmla="*/ 0 w 44"/>
                <a:gd name="T15" fmla="*/ 2 h 64"/>
                <a:gd name="T16" fmla="*/ 0 w 44"/>
                <a:gd name="T17" fmla="*/ 5 h 64"/>
                <a:gd name="T18" fmla="*/ 0 w 44"/>
                <a:gd name="T19" fmla="*/ 5 h 64"/>
                <a:gd name="T20" fmla="*/ 0 w 44"/>
                <a:gd name="T21" fmla="*/ 59 h 64"/>
                <a:gd name="T22" fmla="*/ 0 w 44"/>
                <a:gd name="T23" fmla="*/ 61 h 64"/>
                <a:gd name="T24" fmla="*/ 3 w 44"/>
                <a:gd name="T25" fmla="*/ 61 h 64"/>
                <a:gd name="T26" fmla="*/ 3 w 44"/>
                <a:gd name="T27" fmla="*/ 64 h 64"/>
                <a:gd name="T28" fmla="*/ 5 w 44"/>
                <a:gd name="T29" fmla="*/ 64 h 64"/>
                <a:gd name="T30" fmla="*/ 39 w 44"/>
                <a:gd name="T31" fmla="*/ 64 h 64"/>
                <a:gd name="T32" fmla="*/ 41 w 44"/>
                <a:gd name="T33" fmla="*/ 64 h 64"/>
                <a:gd name="T34" fmla="*/ 44 w 44"/>
                <a:gd name="T35" fmla="*/ 61 h 64"/>
                <a:gd name="T36" fmla="*/ 44 w 44"/>
                <a:gd name="T37" fmla="*/ 61 h 64"/>
                <a:gd name="T38" fmla="*/ 44 w 44"/>
                <a:gd name="T39" fmla="*/ 59 h 64"/>
                <a:gd name="T40" fmla="*/ 44 w 44"/>
                <a:gd name="T41" fmla="*/ 59 h 64"/>
                <a:gd name="T42" fmla="*/ 44 w 44"/>
                <a:gd name="T43" fmla="*/ 5 h 64"/>
                <a:gd name="T44" fmla="*/ 44 w 44"/>
                <a:gd name="T45" fmla="*/ 2 h 64"/>
                <a:gd name="T46" fmla="*/ 36 w 44"/>
                <a:gd name="T47" fmla="*/ 56 h 64"/>
                <a:gd name="T48" fmla="*/ 8 w 44"/>
                <a:gd name="T49" fmla="*/ 56 h 64"/>
                <a:gd name="T50" fmla="*/ 8 w 44"/>
                <a:gd name="T51" fmla="*/ 10 h 64"/>
                <a:gd name="T52" fmla="*/ 36 w 44"/>
                <a:gd name="T53" fmla="*/ 10 h 64"/>
                <a:gd name="T54" fmla="*/ 36 w 44"/>
                <a:gd name="T55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4" h="64">
                  <a:moveTo>
                    <a:pt x="44" y="2"/>
                  </a:moveTo>
                  <a:lnTo>
                    <a:pt x="44" y="2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39" y="64"/>
                  </a:lnTo>
                  <a:lnTo>
                    <a:pt x="41" y="64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"/>
                  </a:lnTo>
                  <a:lnTo>
                    <a:pt x="44" y="2"/>
                  </a:lnTo>
                  <a:close/>
                  <a:moveTo>
                    <a:pt x="36" y="56"/>
                  </a:moveTo>
                  <a:lnTo>
                    <a:pt x="8" y="56"/>
                  </a:lnTo>
                  <a:lnTo>
                    <a:pt x="8" y="10"/>
                  </a:lnTo>
                  <a:lnTo>
                    <a:pt x="36" y="10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4" name="Freeform 270">
              <a:extLst>
                <a:ext uri="{FF2B5EF4-FFF2-40B4-BE49-F238E27FC236}">
                  <a16:creationId xmlns:a16="http://schemas.microsoft.com/office/drawing/2014/main" id="{B889FE7F-CADC-4438-8859-3D9F46FA2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5750" y="5638801"/>
              <a:ext cx="374650" cy="511175"/>
            </a:xfrm>
            <a:custGeom>
              <a:avLst/>
              <a:gdLst>
                <a:gd name="T0" fmla="*/ 236 w 236"/>
                <a:gd name="T1" fmla="*/ 2 h 322"/>
                <a:gd name="T2" fmla="*/ 233 w 236"/>
                <a:gd name="T3" fmla="*/ 0 h 322"/>
                <a:gd name="T4" fmla="*/ 233 w 236"/>
                <a:gd name="T5" fmla="*/ 0 h 322"/>
                <a:gd name="T6" fmla="*/ 233 w 236"/>
                <a:gd name="T7" fmla="*/ 0 h 322"/>
                <a:gd name="T8" fmla="*/ 231 w 236"/>
                <a:gd name="T9" fmla="*/ 0 h 322"/>
                <a:gd name="T10" fmla="*/ 3 w 236"/>
                <a:gd name="T11" fmla="*/ 0 h 322"/>
                <a:gd name="T12" fmla="*/ 3 w 236"/>
                <a:gd name="T13" fmla="*/ 0 h 322"/>
                <a:gd name="T14" fmla="*/ 3 w 236"/>
                <a:gd name="T15" fmla="*/ 0 h 322"/>
                <a:gd name="T16" fmla="*/ 0 w 236"/>
                <a:gd name="T17" fmla="*/ 2 h 322"/>
                <a:gd name="T18" fmla="*/ 0 w 236"/>
                <a:gd name="T19" fmla="*/ 5 h 322"/>
                <a:gd name="T20" fmla="*/ 0 w 236"/>
                <a:gd name="T21" fmla="*/ 320 h 322"/>
                <a:gd name="T22" fmla="*/ 3 w 236"/>
                <a:gd name="T23" fmla="*/ 322 h 322"/>
                <a:gd name="T24" fmla="*/ 3 w 236"/>
                <a:gd name="T25" fmla="*/ 322 h 322"/>
                <a:gd name="T26" fmla="*/ 3 w 236"/>
                <a:gd name="T27" fmla="*/ 322 h 322"/>
                <a:gd name="T28" fmla="*/ 6 w 236"/>
                <a:gd name="T29" fmla="*/ 322 h 322"/>
                <a:gd name="T30" fmla="*/ 233 w 236"/>
                <a:gd name="T31" fmla="*/ 322 h 322"/>
                <a:gd name="T32" fmla="*/ 233 w 236"/>
                <a:gd name="T33" fmla="*/ 322 h 322"/>
                <a:gd name="T34" fmla="*/ 233 w 236"/>
                <a:gd name="T35" fmla="*/ 322 h 322"/>
                <a:gd name="T36" fmla="*/ 236 w 236"/>
                <a:gd name="T37" fmla="*/ 320 h 322"/>
                <a:gd name="T38" fmla="*/ 236 w 236"/>
                <a:gd name="T39" fmla="*/ 320 h 322"/>
                <a:gd name="T40" fmla="*/ 236 w 236"/>
                <a:gd name="T41" fmla="*/ 317 h 322"/>
                <a:gd name="T42" fmla="*/ 236 w 236"/>
                <a:gd name="T43" fmla="*/ 2 h 322"/>
                <a:gd name="T44" fmla="*/ 236 w 236"/>
                <a:gd name="T45" fmla="*/ 2 h 322"/>
                <a:gd name="T46" fmla="*/ 146 w 236"/>
                <a:gd name="T47" fmla="*/ 315 h 322"/>
                <a:gd name="T48" fmla="*/ 90 w 236"/>
                <a:gd name="T49" fmla="*/ 315 h 322"/>
                <a:gd name="T50" fmla="*/ 90 w 236"/>
                <a:gd name="T51" fmla="*/ 235 h 322"/>
                <a:gd name="T52" fmla="*/ 146 w 236"/>
                <a:gd name="T53" fmla="*/ 235 h 322"/>
                <a:gd name="T54" fmla="*/ 146 w 236"/>
                <a:gd name="T55" fmla="*/ 315 h 322"/>
                <a:gd name="T56" fmla="*/ 228 w 236"/>
                <a:gd name="T57" fmla="*/ 315 h 322"/>
                <a:gd name="T58" fmla="*/ 154 w 236"/>
                <a:gd name="T59" fmla="*/ 315 h 322"/>
                <a:gd name="T60" fmla="*/ 154 w 236"/>
                <a:gd name="T61" fmla="*/ 230 h 322"/>
                <a:gd name="T62" fmla="*/ 154 w 236"/>
                <a:gd name="T63" fmla="*/ 230 h 322"/>
                <a:gd name="T64" fmla="*/ 154 w 236"/>
                <a:gd name="T65" fmla="*/ 228 h 322"/>
                <a:gd name="T66" fmla="*/ 151 w 236"/>
                <a:gd name="T67" fmla="*/ 228 h 322"/>
                <a:gd name="T68" fmla="*/ 151 w 236"/>
                <a:gd name="T69" fmla="*/ 228 h 322"/>
                <a:gd name="T70" fmla="*/ 85 w 236"/>
                <a:gd name="T71" fmla="*/ 228 h 322"/>
                <a:gd name="T72" fmla="*/ 82 w 236"/>
                <a:gd name="T73" fmla="*/ 228 h 322"/>
                <a:gd name="T74" fmla="*/ 82 w 236"/>
                <a:gd name="T75" fmla="*/ 228 h 322"/>
                <a:gd name="T76" fmla="*/ 82 w 236"/>
                <a:gd name="T77" fmla="*/ 230 h 322"/>
                <a:gd name="T78" fmla="*/ 82 w 236"/>
                <a:gd name="T79" fmla="*/ 230 h 322"/>
                <a:gd name="T80" fmla="*/ 82 w 236"/>
                <a:gd name="T81" fmla="*/ 315 h 322"/>
                <a:gd name="T82" fmla="*/ 8 w 236"/>
                <a:gd name="T83" fmla="*/ 315 h 322"/>
                <a:gd name="T84" fmla="*/ 8 w 236"/>
                <a:gd name="T85" fmla="*/ 8 h 322"/>
                <a:gd name="T86" fmla="*/ 228 w 236"/>
                <a:gd name="T87" fmla="*/ 8 h 322"/>
                <a:gd name="T88" fmla="*/ 228 w 236"/>
                <a:gd name="T89" fmla="*/ 315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6" h="322">
                  <a:moveTo>
                    <a:pt x="236" y="2"/>
                  </a:move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320"/>
                  </a:lnTo>
                  <a:lnTo>
                    <a:pt x="3" y="322"/>
                  </a:lnTo>
                  <a:lnTo>
                    <a:pt x="3" y="322"/>
                  </a:lnTo>
                  <a:lnTo>
                    <a:pt x="3" y="322"/>
                  </a:lnTo>
                  <a:lnTo>
                    <a:pt x="6" y="322"/>
                  </a:lnTo>
                  <a:lnTo>
                    <a:pt x="233" y="322"/>
                  </a:lnTo>
                  <a:lnTo>
                    <a:pt x="233" y="322"/>
                  </a:lnTo>
                  <a:lnTo>
                    <a:pt x="233" y="322"/>
                  </a:lnTo>
                  <a:lnTo>
                    <a:pt x="236" y="320"/>
                  </a:lnTo>
                  <a:lnTo>
                    <a:pt x="236" y="320"/>
                  </a:lnTo>
                  <a:lnTo>
                    <a:pt x="236" y="317"/>
                  </a:lnTo>
                  <a:lnTo>
                    <a:pt x="236" y="2"/>
                  </a:lnTo>
                  <a:lnTo>
                    <a:pt x="236" y="2"/>
                  </a:lnTo>
                  <a:close/>
                  <a:moveTo>
                    <a:pt x="146" y="315"/>
                  </a:moveTo>
                  <a:lnTo>
                    <a:pt x="90" y="315"/>
                  </a:lnTo>
                  <a:lnTo>
                    <a:pt x="90" y="235"/>
                  </a:lnTo>
                  <a:lnTo>
                    <a:pt x="146" y="235"/>
                  </a:lnTo>
                  <a:lnTo>
                    <a:pt x="146" y="315"/>
                  </a:lnTo>
                  <a:close/>
                  <a:moveTo>
                    <a:pt x="228" y="315"/>
                  </a:moveTo>
                  <a:lnTo>
                    <a:pt x="154" y="315"/>
                  </a:lnTo>
                  <a:lnTo>
                    <a:pt x="154" y="230"/>
                  </a:lnTo>
                  <a:lnTo>
                    <a:pt x="154" y="230"/>
                  </a:lnTo>
                  <a:lnTo>
                    <a:pt x="154" y="228"/>
                  </a:lnTo>
                  <a:lnTo>
                    <a:pt x="151" y="228"/>
                  </a:lnTo>
                  <a:lnTo>
                    <a:pt x="151" y="228"/>
                  </a:lnTo>
                  <a:lnTo>
                    <a:pt x="85" y="228"/>
                  </a:lnTo>
                  <a:lnTo>
                    <a:pt x="82" y="228"/>
                  </a:lnTo>
                  <a:lnTo>
                    <a:pt x="82" y="228"/>
                  </a:lnTo>
                  <a:lnTo>
                    <a:pt x="82" y="230"/>
                  </a:lnTo>
                  <a:lnTo>
                    <a:pt x="82" y="230"/>
                  </a:lnTo>
                  <a:lnTo>
                    <a:pt x="82" y="315"/>
                  </a:lnTo>
                  <a:lnTo>
                    <a:pt x="8" y="315"/>
                  </a:lnTo>
                  <a:lnTo>
                    <a:pt x="8" y="8"/>
                  </a:lnTo>
                  <a:lnTo>
                    <a:pt x="228" y="8"/>
                  </a:lnTo>
                  <a:lnTo>
                    <a:pt x="228" y="3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5" name="Freeform 271">
              <a:extLst>
                <a:ext uri="{FF2B5EF4-FFF2-40B4-BE49-F238E27FC236}">
                  <a16:creationId xmlns:a16="http://schemas.microsoft.com/office/drawing/2014/main" id="{EEAE4ACB-4BD9-4EE4-A11D-4713FB8BD7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2925" y="5881688"/>
              <a:ext cx="68263" cy="98425"/>
            </a:xfrm>
            <a:custGeom>
              <a:avLst/>
              <a:gdLst>
                <a:gd name="T0" fmla="*/ 0 w 43"/>
                <a:gd name="T1" fmla="*/ 62 h 62"/>
                <a:gd name="T2" fmla="*/ 0 w 43"/>
                <a:gd name="T3" fmla="*/ 62 h 62"/>
                <a:gd name="T4" fmla="*/ 2 w 43"/>
                <a:gd name="T5" fmla="*/ 62 h 62"/>
                <a:gd name="T6" fmla="*/ 2 w 43"/>
                <a:gd name="T7" fmla="*/ 62 h 62"/>
                <a:gd name="T8" fmla="*/ 5 w 43"/>
                <a:gd name="T9" fmla="*/ 62 h 62"/>
                <a:gd name="T10" fmla="*/ 41 w 43"/>
                <a:gd name="T11" fmla="*/ 62 h 62"/>
                <a:gd name="T12" fmla="*/ 41 w 43"/>
                <a:gd name="T13" fmla="*/ 62 h 62"/>
                <a:gd name="T14" fmla="*/ 41 w 43"/>
                <a:gd name="T15" fmla="*/ 62 h 62"/>
                <a:gd name="T16" fmla="*/ 43 w 43"/>
                <a:gd name="T17" fmla="*/ 62 h 62"/>
                <a:gd name="T18" fmla="*/ 43 w 43"/>
                <a:gd name="T19" fmla="*/ 59 h 62"/>
                <a:gd name="T20" fmla="*/ 43 w 43"/>
                <a:gd name="T21" fmla="*/ 59 h 62"/>
                <a:gd name="T22" fmla="*/ 43 w 43"/>
                <a:gd name="T23" fmla="*/ 3 h 62"/>
                <a:gd name="T24" fmla="*/ 43 w 43"/>
                <a:gd name="T25" fmla="*/ 3 h 62"/>
                <a:gd name="T26" fmla="*/ 41 w 43"/>
                <a:gd name="T27" fmla="*/ 0 h 62"/>
                <a:gd name="T28" fmla="*/ 41 w 43"/>
                <a:gd name="T29" fmla="*/ 0 h 62"/>
                <a:gd name="T30" fmla="*/ 41 w 43"/>
                <a:gd name="T31" fmla="*/ 0 h 62"/>
                <a:gd name="T32" fmla="*/ 38 w 43"/>
                <a:gd name="T33" fmla="*/ 0 h 62"/>
                <a:gd name="T34" fmla="*/ 2 w 43"/>
                <a:gd name="T35" fmla="*/ 0 h 62"/>
                <a:gd name="T36" fmla="*/ 2 w 43"/>
                <a:gd name="T37" fmla="*/ 0 h 62"/>
                <a:gd name="T38" fmla="*/ 0 w 43"/>
                <a:gd name="T39" fmla="*/ 0 h 62"/>
                <a:gd name="T40" fmla="*/ 0 w 43"/>
                <a:gd name="T41" fmla="*/ 3 h 62"/>
                <a:gd name="T42" fmla="*/ 0 w 43"/>
                <a:gd name="T43" fmla="*/ 3 h 62"/>
                <a:gd name="T44" fmla="*/ 0 w 43"/>
                <a:gd name="T45" fmla="*/ 6 h 62"/>
                <a:gd name="T46" fmla="*/ 0 w 43"/>
                <a:gd name="T47" fmla="*/ 59 h 62"/>
                <a:gd name="T48" fmla="*/ 0 w 43"/>
                <a:gd name="T49" fmla="*/ 62 h 62"/>
                <a:gd name="T50" fmla="*/ 7 w 43"/>
                <a:gd name="T51" fmla="*/ 8 h 62"/>
                <a:gd name="T52" fmla="*/ 36 w 43"/>
                <a:gd name="T53" fmla="*/ 8 h 62"/>
                <a:gd name="T54" fmla="*/ 36 w 43"/>
                <a:gd name="T55" fmla="*/ 54 h 62"/>
                <a:gd name="T56" fmla="*/ 7 w 43"/>
                <a:gd name="T57" fmla="*/ 54 h 62"/>
                <a:gd name="T58" fmla="*/ 7 w 43"/>
                <a:gd name="T59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62">
                  <a:moveTo>
                    <a:pt x="0" y="62"/>
                  </a:moveTo>
                  <a:lnTo>
                    <a:pt x="0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5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3" y="62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59"/>
                  </a:lnTo>
                  <a:lnTo>
                    <a:pt x="0" y="62"/>
                  </a:lnTo>
                  <a:close/>
                  <a:moveTo>
                    <a:pt x="7" y="8"/>
                  </a:moveTo>
                  <a:lnTo>
                    <a:pt x="36" y="8"/>
                  </a:lnTo>
                  <a:lnTo>
                    <a:pt x="36" y="54"/>
                  </a:lnTo>
                  <a:lnTo>
                    <a:pt x="7" y="54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2" name="Group 711">
            <a:extLst>
              <a:ext uri="{FF2B5EF4-FFF2-40B4-BE49-F238E27FC236}">
                <a16:creationId xmlns:a16="http://schemas.microsoft.com/office/drawing/2014/main" id="{8216E4EF-7E15-4D45-8204-3F791D2C4BDE}"/>
              </a:ext>
            </a:extLst>
          </p:cNvPr>
          <p:cNvGrpSpPr/>
          <p:nvPr/>
        </p:nvGrpSpPr>
        <p:grpSpPr>
          <a:xfrm>
            <a:off x="4767263" y="5471319"/>
            <a:ext cx="844550" cy="844551"/>
            <a:chOff x="4767263" y="5499100"/>
            <a:chExt cx="844550" cy="844551"/>
          </a:xfrm>
        </p:grpSpPr>
        <p:sp>
          <p:nvSpPr>
            <p:cNvPr id="708" name="AutoShape 273">
              <a:extLst>
                <a:ext uri="{FF2B5EF4-FFF2-40B4-BE49-F238E27FC236}">
                  <a16:creationId xmlns:a16="http://schemas.microsoft.com/office/drawing/2014/main" id="{E03B53FC-5464-4F8B-A0C4-D5A0A97462F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7263" y="5499100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9" name="Oval 275">
              <a:extLst>
                <a:ext uri="{FF2B5EF4-FFF2-40B4-BE49-F238E27FC236}">
                  <a16:creationId xmlns:a16="http://schemas.microsoft.com/office/drawing/2014/main" id="{679A018B-179C-4543-9CC9-64CD820C0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263" y="5499100"/>
              <a:ext cx="844550" cy="844551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0" name="Freeform 276">
              <a:extLst>
                <a:ext uri="{FF2B5EF4-FFF2-40B4-BE49-F238E27FC236}">
                  <a16:creationId xmlns:a16="http://schemas.microsoft.com/office/drawing/2014/main" id="{3DAE16D0-C477-46CD-BD85-1D0B30BF90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5838" y="5527675"/>
              <a:ext cx="788988" cy="78740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1" name="Freeform 277">
              <a:extLst>
                <a:ext uri="{FF2B5EF4-FFF2-40B4-BE49-F238E27FC236}">
                  <a16:creationId xmlns:a16="http://schemas.microsoft.com/office/drawing/2014/main" id="{941CFC52-C8CF-4B42-A48B-F0DFF6380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5701" y="5632450"/>
              <a:ext cx="447675" cy="544513"/>
            </a:xfrm>
            <a:custGeom>
              <a:avLst/>
              <a:gdLst>
                <a:gd name="T0" fmla="*/ 103 w 110"/>
                <a:gd name="T1" fmla="*/ 17 h 134"/>
                <a:gd name="T2" fmla="*/ 77 w 110"/>
                <a:gd name="T3" fmla="*/ 14 h 134"/>
                <a:gd name="T4" fmla="*/ 71 w 110"/>
                <a:gd name="T5" fmla="*/ 0 h 134"/>
                <a:gd name="T6" fmla="*/ 51 w 110"/>
                <a:gd name="T7" fmla="*/ 14 h 134"/>
                <a:gd name="T8" fmla="*/ 48 w 110"/>
                <a:gd name="T9" fmla="*/ 73 h 134"/>
                <a:gd name="T10" fmla="*/ 7 w 110"/>
                <a:gd name="T11" fmla="*/ 76 h 134"/>
                <a:gd name="T12" fmla="*/ 0 w 110"/>
                <a:gd name="T13" fmla="*/ 128 h 134"/>
                <a:gd name="T14" fmla="*/ 10 w 110"/>
                <a:gd name="T15" fmla="*/ 134 h 134"/>
                <a:gd name="T16" fmla="*/ 13 w 110"/>
                <a:gd name="T17" fmla="*/ 79 h 134"/>
                <a:gd name="T18" fmla="*/ 54 w 110"/>
                <a:gd name="T19" fmla="*/ 76 h 134"/>
                <a:gd name="T20" fmla="*/ 97 w 110"/>
                <a:gd name="T21" fmla="*/ 20 h 134"/>
                <a:gd name="T22" fmla="*/ 100 w 110"/>
                <a:gd name="T23" fmla="*/ 134 h 134"/>
                <a:gd name="T24" fmla="*/ 110 w 110"/>
                <a:gd name="T25" fmla="*/ 128 h 134"/>
                <a:gd name="T26" fmla="*/ 20 w 110"/>
                <a:gd name="T27" fmla="*/ 122 h 134"/>
                <a:gd name="T28" fmla="*/ 44 w 110"/>
                <a:gd name="T29" fmla="*/ 116 h 134"/>
                <a:gd name="T30" fmla="*/ 20 w 110"/>
                <a:gd name="T31" fmla="*/ 122 h 134"/>
                <a:gd name="T32" fmla="*/ 44 w 110"/>
                <a:gd name="T33" fmla="*/ 108 h 134"/>
                <a:gd name="T34" fmla="*/ 20 w 110"/>
                <a:gd name="T35" fmla="*/ 102 h 134"/>
                <a:gd name="T36" fmla="*/ 20 w 110"/>
                <a:gd name="T37" fmla="*/ 93 h 134"/>
                <a:gd name="T38" fmla="*/ 44 w 110"/>
                <a:gd name="T39" fmla="*/ 87 h 134"/>
                <a:gd name="T40" fmla="*/ 20 w 110"/>
                <a:gd name="T41" fmla="*/ 93 h 134"/>
                <a:gd name="T42" fmla="*/ 89 w 110"/>
                <a:gd name="T43" fmla="*/ 122 h 134"/>
                <a:gd name="T44" fmla="*/ 60 w 110"/>
                <a:gd name="T45" fmla="*/ 116 h 134"/>
                <a:gd name="T46" fmla="*/ 60 w 110"/>
                <a:gd name="T47" fmla="*/ 108 h 134"/>
                <a:gd name="T48" fmla="*/ 89 w 110"/>
                <a:gd name="T49" fmla="*/ 102 h 134"/>
                <a:gd name="T50" fmla="*/ 60 w 110"/>
                <a:gd name="T51" fmla="*/ 108 h 134"/>
                <a:gd name="T52" fmla="*/ 89 w 110"/>
                <a:gd name="T53" fmla="*/ 93 h 134"/>
                <a:gd name="T54" fmla="*/ 60 w 110"/>
                <a:gd name="T55" fmla="*/ 87 h 134"/>
                <a:gd name="T56" fmla="*/ 60 w 110"/>
                <a:gd name="T57" fmla="*/ 79 h 134"/>
                <a:gd name="T58" fmla="*/ 89 w 110"/>
                <a:gd name="T59" fmla="*/ 73 h 134"/>
                <a:gd name="T60" fmla="*/ 60 w 110"/>
                <a:gd name="T61" fmla="*/ 79 h 134"/>
                <a:gd name="T62" fmla="*/ 89 w 110"/>
                <a:gd name="T63" fmla="*/ 64 h 134"/>
                <a:gd name="T64" fmla="*/ 60 w 110"/>
                <a:gd name="T65" fmla="*/ 58 h 134"/>
                <a:gd name="T66" fmla="*/ 60 w 110"/>
                <a:gd name="T67" fmla="*/ 49 h 134"/>
                <a:gd name="T68" fmla="*/ 89 w 110"/>
                <a:gd name="T69" fmla="*/ 44 h 134"/>
                <a:gd name="T70" fmla="*/ 60 w 110"/>
                <a:gd name="T71" fmla="*/ 49 h 134"/>
                <a:gd name="T72" fmla="*/ 89 w 110"/>
                <a:gd name="T73" fmla="*/ 35 h 134"/>
                <a:gd name="T74" fmla="*/ 60 w 110"/>
                <a:gd name="T75" fmla="*/ 2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134">
                  <a:moveTo>
                    <a:pt x="103" y="128"/>
                  </a:moveTo>
                  <a:cubicBezTo>
                    <a:pt x="103" y="17"/>
                    <a:pt x="103" y="17"/>
                    <a:pt x="103" y="17"/>
                  </a:cubicBezTo>
                  <a:cubicBezTo>
                    <a:pt x="103" y="15"/>
                    <a:pt x="101" y="14"/>
                    <a:pt x="100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9" y="14"/>
                    <a:pt x="48" y="15"/>
                    <a:pt x="48" y="17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7" y="74"/>
                    <a:pt x="7" y="76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2" y="134"/>
                    <a:pt x="13" y="132"/>
                    <a:pt x="13" y="131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3" y="79"/>
                    <a:pt x="54" y="78"/>
                    <a:pt x="54" y="76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97" y="132"/>
                    <a:pt x="98" y="134"/>
                    <a:pt x="100" y="134"/>
                  </a:cubicBezTo>
                  <a:cubicBezTo>
                    <a:pt x="110" y="134"/>
                    <a:pt x="110" y="134"/>
                    <a:pt x="110" y="134"/>
                  </a:cubicBezTo>
                  <a:cubicBezTo>
                    <a:pt x="110" y="128"/>
                    <a:pt x="110" y="128"/>
                    <a:pt x="110" y="128"/>
                  </a:cubicBezTo>
                  <a:lnTo>
                    <a:pt x="103" y="128"/>
                  </a:lnTo>
                  <a:close/>
                  <a:moveTo>
                    <a:pt x="20" y="122"/>
                  </a:moveTo>
                  <a:cubicBezTo>
                    <a:pt x="44" y="122"/>
                    <a:pt x="44" y="122"/>
                    <a:pt x="44" y="12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20" y="116"/>
                    <a:pt x="20" y="116"/>
                    <a:pt x="20" y="116"/>
                  </a:cubicBezTo>
                  <a:lnTo>
                    <a:pt x="20" y="122"/>
                  </a:lnTo>
                  <a:close/>
                  <a:moveTo>
                    <a:pt x="20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20" y="102"/>
                    <a:pt x="20" y="102"/>
                    <a:pt x="20" y="102"/>
                  </a:cubicBezTo>
                  <a:lnTo>
                    <a:pt x="20" y="108"/>
                  </a:lnTo>
                  <a:close/>
                  <a:moveTo>
                    <a:pt x="20" y="93"/>
                  </a:moveTo>
                  <a:cubicBezTo>
                    <a:pt x="44" y="93"/>
                    <a:pt x="44" y="93"/>
                    <a:pt x="44" y="93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20" y="87"/>
                    <a:pt x="20" y="87"/>
                    <a:pt x="20" y="87"/>
                  </a:cubicBezTo>
                  <a:lnTo>
                    <a:pt x="20" y="93"/>
                  </a:lnTo>
                  <a:close/>
                  <a:moveTo>
                    <a:pt x="60" y="122"/>
                  </a:moveTo>
                  <a:cubicBezTo>
                    <a:pt x="89" y="122"/>
                    <a:pt x="89" y="122"/>
                    <a:pt x="89" y="122"/>
                  </a:cubicBezTo>
                  <a:cubicBezTo>
                    <a:pt x="89" y="116"/>
                    <a:pt x="89" y="116"/>
                    <a:pt x="89" y="116"/>
                  </a:cubicBezTo>
                  <a:cubicBezTo>
                    <a:pt x="60" y="116"/>
                    <a:pt x="60" y="116"/>
                    <a:pt x="60" y="116"/>
                  </a:cubicBezTo>
                  <a:lnTo>
                    <a:pt x="60" y="122"/>
                  </a:lnTo>
                  <a:close/>
                  <a:moveTo>
                    <a:pt x="60" y="108"/>
                  </a:moveTo>
                  <a:cubicBezTo>
                    <a:pt x="89" y="108"/>
                    <a:pt x="89" y="108"/>
                    <a:pt x="89" y="108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60" y="102"/>
                    <a:pt x="60" y="102"/>
                    <a:pt x="60" y="102"/>
                  </a:cubicBezTo>
                  <a:lnTo>
                    <a:pt x="60" y="108"/>
                  </a:lnTo>
                  <a:close/>
                  <a:moveTo>
                    <a:pt x="60" y="93"/>
                  </a:moveTo>
                  <a:cubicBezTo>
                    <a:pt x="89" y="93"/>
                    <a:pt x="89" y="93"/>
                    <a:pt x="89" y="93"/>
                  </a:cubicBezTo>
                  <a:cubicBezTo>
                    <a:pt x="89" y="87"/>
                    <a:pt x="89" y="87"/>
                    <a:pt x="89" y="87"/>
                  </a:cubicBezTo>
                  <a:cubicBezTo>
                    <a:pt x="60" y="87"/>
                    <a:pt x="60" y="87"/>
                    <a:pt x="60" y="87"/>
                  </a:cubicBezTo>
                  <a:lnTo>
                    <a:pt x="60" y="93"/>
                  </a:lnTo>
                  <a:close/>
                  <a:moveTo>
                    <a:pt x="60" y="79"/>
                  </a:moveTo>
                  <a:cubicBezTo>
                    <a:pt x="89" y="79"/>
                    <a:pt x="89" y="79"/>
                    <a:pt x="89" y="79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60" y="73"/>
                    <a:pt x="60" y="73"/>
                    <a:pt x="60" y="73"/>
                  </a:cubicBezTo>
                  <a:lnTo>
                    <a:pt x="60" y="79"/>
                  </a:lnTo>
                  <a:close/>
                  <a:moveTo>
                    <a:pt x="60" y="64"/>
                  </a:moveTo>
                  <a:cubicBezTo>
                    <a:pt x="89" y="64"/>
                    <a:pt x="89" y="64"/>
                    <a:pt x="89" y="64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60" y="58"/>
                    <a:pt x="60" y="58"/>
                    <a:pt x="60" y="58"/>
                  </a:cubicBezTo>
                  <a:lnTo>
                    <a:pt x="60" y="64"/>
                  </a:lnTo>
                  <a:close/>
                  <a:moveTo>
                    <a:pt x="60" y="49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60" y="44"/>
                    <a:pt x="60" y="44"/>
                    <a:pt x="60" y="44"/>
                  </a:cubicBezTo>
                  <a:lnTo>
                    <a:pt x="60" y="49"/>
                  </a:lnTo>
                  <a:close/>
                  <a:moveTo>
                    <a:pt x="60" y="35"/>
                  </a:moveTo>
                  <a:cubicBezTo>
                    <a:pt x="89" y="35"/>
                    <a:pt x="89" y="35"/>
                    <a:pt x="89" y="35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60" y="29"/>
                    <a:pt x="60" y="29"/>
                    <a:pt x="60" y="29"/>
                  </a:cubicBezTo>
                  <a:lnTo>
                    <a:pt x="60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E191E903-98DA-47BB-A0A7-9E2C5B1F0C43}"/>
              </a:ext>
            </a:extLst>
          </p:cNvPr>
          <p:cNvGrpSpPr/>
          <p:nvPr/>
        </p:nvGrpSpPr>
        <p:grpSpPr>
          <a:xfrm>
            <a:off x="5826125" y="5514182"/>
            <a:ext cx="758825" cy="758825"/>
            <a:chOff x="5826125" y="5530850"/>
            <a:chExt cx="758825" cy="758825"/>
          </a:xfrm>
        </p:grpSpPr>
        <p:sp>
          <p:nvSpPr>
            <p:cNvPr id="714" name="AutoShape 279">
              <a:extLst>
                <a:ext uri="{FF2B5EF4-FFF2-40B4-BE49-F238E27FC236}">
                  <a16:creationId xmlns:a16="http://schemas.microsoft.com/office/drawing/2014/main" id="{DD875A7C-1FED-4CC9-AF16-482FCEC7693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6125" y="553085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5" name="Freeform 281">
              <a:extLst>
                <a:ext uri="{FF2B5EF4-FFF2-40B4-BE49-F238E27FC236}">
                  <a16:creationId xmlns:a16="http://schemas.microsoft.com/office/drawing/2014/main" id="{2217C1FB-9EE5-43D6-9E12-6902DCD60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9300" y="553402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6" name="Freeform 282">
              <a:extLst>
                <a:ext uri="{FF2B5EF4-FFF2-40B4-BE49-F238E27FC236}">
                  <a16:creationId xmlns:a16="http://schemas.microsoft.com/office/drawing/2014/main" id="{EEC8E4BF-DFA6-4328-BB2D-3DE541676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2813" y="5635625"/>
              <a:ext cx="428625" cy="522288"/>
            </a:xfrm>
            <a:custGeom>
              <a:avLst/>
              <a:gdLst>
                <a:gd name="T0" fmla="*/ 103 w 110"/>
                <a:gd name="T1" fmla="*/ 17 h 134"/>
                <a:gd name="T2" fmla="*/ 77 w 110"/>
                <a:gd name="T3" fmla="*/ 14 h 134"/>
                <a:gd name="T4" fmla="*/ 71 w 110"/>
                <a:gd name="T5" fmla="*/ 0 h 134"/>
                <a:gd name="T6" fmla="*/ 51 w 110"/>
                <a:gd name="T7" fmla="*/ 14 h 134"/>
                <a:gd name="T8" fmla="*/ 48 w 110"/>
                <a:gd name="T9" fmla="*/ 73 h 134"/>
                <a:gd name="T10" fmla="*/ 7 w 110"/>
                <a:gd name="T11" fmla="*/ 76 h 134"/>
                <a:gd name="T12" fmla="*/ 0 w 110"/>
                <a:gd name="T13" fmla="*/ 128 h 134"/>
                <a:gd name="T14" fmla="*/ 10 w 110"/>
                <a:gd name="T15" fmla="*/ 134 h 134"/>
                <a:gd name="T16" fmla="*/ 13 w 110"/>
                <a:gd name="T17" fmla="*/ 79 h 134"/>
                <a:gd name="T18" fmla="*/ 54 w 110"/>
                <a:gd name="T19" fmla="*/ 76 h 134"/>
                <a:gd name="T20" fmla="*/ 97 w 110"/>
                <a:gd name="T21" fmla="*/ 20 h 134"/>
                <a:gd name="T22" fmla="*/ 100 w 110"/>
                <a:gd name="T23" fmla="*/ 134 h 134"/>
                <a:gd name="T24" fmla="*/ 110 w 110"/>
                <a:gd name="T25" fmla="*/ 128 h 134"/>
                <a:gd name="T26" fmla="*/ 20 w 110"/>
                <a:gd name="T27" fmla="*/ 122 h 134"/>
                <a:gd name="T28" fmla="*/ 44 w 110"/>
                <a:gd name="T29" fmla="*/ 116 h 134"/>
                <a:gd name="T30" fmla="*/ 20 w 110"/>
                <a:gd name="T31" fmla="*/ 122 h 134"/>
                <a:gd name="T32" fmla="*/ 44 w 110"/>
                <a:gd name="T33" fmla="*/ 108 h 134"/>
                <a:gd name="T34" fmla="*/ 20 w 110"/>
                <a:gd name="T35" fmla="*/ 102 h 134"/>
                <a:gd name="T36" fmla="*/ 20 w 110"/>
                <a:gd name="T37" fmla="*/ 93 h 134"/>
                <a:gd name="T38" fmla="*/ 44 w 110"/>
                <a:gd name="T39" fmla="*/ 87 h 134"/>
                <a:gd name="T40" fmla="*/ 20 w 110"/>
                <a:gd name="T41" fmla="*/ 93 h 134"/>
                <a:gd name="T42" fmla="*/ 89 w 110"/>
                <a:gd name="T43" fmla="*/ 122 h 134"/>
                <a:gd name="T44" fmla="*/ 60 w 110"/>
                <a:gd name="T45" fmla="*/ 116 h 134"/>
                <a:gd name="T46" fmla="*/ 60 w 110"/>
                <a:gd name="T47" fmla="*/ 108 h 134"/>
                <a:gd name="T48" fmla="*/ 89 w 110"/>
                <a:gd name="T49" fmla="*/ 102 h 134"/>
                <a:gd name="T50" fmla="*/ 60 w 110"/>
                <a:gd name="T51" fmla="*/ 108 h 134"/>
                <a:gd name="T52" fmla="*/ 89 w 110"/>
                <a:gd name="T53" fmla="*/ 93 h 134"/>
                <a:gd name="T54" fmla="*/ 60 w 110"/>
                <a:gd name="T55" fmla="*/ 87 h 134"/>
                <a:gd name="T56" fmla="*/ 60 w 110"/>
                <a:gd name="T57" fmla="*/ 79 h 134"/>
                <a:gd name="T58" fmla="*/ 89 w 110"/>
                <a:gd name="T59" fmla="*/ 73 h 134"/>
                <a:gd name="T60" fmla="*/ 60 w 110"/>
                <a:gd name="T61" fmla="*/ 79 h 134"/>
                <a:gd name="T62" fmla="*/ 89 w 110"/>
                <a:gd name="T63" fmla="*/ 64 h 134"/>
                <a:gd name="T64" fmla="*/ 60 w 110"/>
                <a:gd name="T65" fmla="*/ 58 h 134"/>
                <a:gd name="T66" fmla="*/ 60 w 110"/>
                <a:gd name="T67" fmla="*/ 49 h 134"/>
                <a:gd name="T68" fmla="*/ 89 w 110"/>
                <a:gd name="T69" fmla="*/ 44 h 134"/>
                <a:gd name="T70" fmla="*/ 60 w 110"/>
                <a:gd name="T71" fmla="*/ 49 h 134"/>
                <a:gd name="T72" fmla="*/ 89 w 110"/>
                <a:gd name="T73" fmla="*/ 35 h 134"/>
                <a:gd name="T74" fmla="*/ 60 w 110"/>
                <a:gd name="T75" fmla="*/ 2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134">
                  <a:moveTo>
                    <a:pt x="103" y="128"/>
                  </a:moveTo>
                  <a:cubicBezTo>
                    <a:pt x="103" y="17"/>
                    <a:pt x="103" y="17"/>
                    <a:pt x="103" y="17"/>
                  </a:cubicBezTo>
                  <a:cubicBezTo>
                    <a:pt x="103" y="15"/>
                    <a:pt x="101" y="14"/>
                    <a:pt x="100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9" y="14"/>
                    <a:pt x="48" y="15"/>
                    <a:pt x="48" y="17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7" y="74"/>
                    <a:pt x="7" y="76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2" y="134"/>
                    <a:pt x="13" y="132"/>
                    <a:pt x="13" y="131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3" y="79"/>
                    <a:pt x="54" y="78"/>
                    <a:pt x="54" y="76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97" y="132"/>
                    <a:pt x="98" y="134"/>
                    <a:pt x="100" y="134"/>
                  </a:cubicBezTo>
                  <a:cubicBezTo>
                    <a:pt x="110" y="134"/>
                    <a:pt x="110" y="134"/>
                    <a:pt x="110" y="134"/>
                  </a:cubicBezTo>
                  <a:cubicBezTo>
                    <a:pt x="110" y="128"/>
                    <a:pt x="110" y="128"/>
                    <a:pt x="110" y="128"/>
                  </a:cubicBezTo>
                  <a:lnTo>
                    <a:pt x="103" y="128"/>
                  </a:lnTo>
                  <a:close/>
                  <a:moveTo>
                    <a:pt x="20" y="122"/>
                  </a:moveTo>
                  <a:cubicBezTo>
                    <a:pt x="44" y="122"/>
                    <a:pt x="44" y="122"/>
                    <a:pt x="44" y="12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20" y="116"/>
                    <a:pt x="20" y="116"/>
                    <a:pt x="20" y="116"/>
                  </a:cubicBezTo>
                  <a:lnTo>
                    <a:pt x="20" y="122"/>
                  </a:lnTo>
                  <a:close/>
                  <a:moveTo>
                    <a:pt x="20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20" y="102"/>
                    <a:pt x="20" y="102"/>
                    <a:pt x="20" y="102"/>
                  </a:cubicBezTo>
                  <a:lnTo>
                    <a:pt x="20" y="108"/>
                  </a:lnTo>
                  <a:close/>
                  <a:moveTo>
                    <a:pt x="20" y="93"/>
                  </a:moveTo>
                  <a:cubicBezTo>
                    <a:pt x="44" y="93"/>
                    <a:pt x="44" y="93"/>
                    <a:pt x="44" y="93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20" y="87"/>
                    <a:pt x="20" y="87"/>
                    <a:pt x="20" y="87"/>
                  </a:cubicBezTo>
                  <a:lnTo>
                    <a:pt x="20" y="93"/>
                  </a:lnTo>
                  <a:close/>
                  <a:moveTo>
                    <a:pt x="60" y="122"/>
                  </a:moveTo>
                  <a:cubicBezTo>
                    <a:pt x="89" y="122"/>
                    <a:pt x="89" y="122"/>
                    <a:pt x="89" y="122"/>
                  </a:cubicBezTo>
                  <a:cubicBezTo>
                    <a:pt x="89" y="116"/>
                    <a:pt x="89" y="116"/>
                    <a:pt x="89" y="116"/>
                  </a:cubicBezTo>
                  <a:cubicBezTo>
                    <a:pt x="60" y="116"/>
                    <a:pt x="60" y="116"/>
                    <a:pt x="60" y="116"/>
                  </a:cubicBezTo>
                  <a:lnTo>
                    <a:pt x="60" y="122"/>
                  </a:lnTo>
                  <a:close/>
                  <a:moveTo>
                    <a:pt x="60" y="108"/>
                  </a:moveTo>
                  <a:cubicBezTo>
                    <a:pt x="89" y="108"/>
                    <a:pt x="89" y="108"/>
                    <a:pt x="89" y="108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60" y="102"/>
                    <a:pt x="60" y="102"/>
                    <a:pt x="60" y="102"/>
                  </a:cubicBezTo>
                  <a:lnTo>
                    <a:pt x="60" y="108"/>
                  </a:lnTo>
                  <a:close/>
                  <a:moveTo>
                    <a:pt x="60" y="93"/>
                  </a:moveTo>
                  <a:cubicBezTo>
                    <a:pt x="89" y="93"/>
                    <a:pt x="89" y="93"/>
                    <a:pt x="89" y="93"/>
                  </a:cubicBezTo>
                  <a:cubicBezTo>
                    <a:pt x="89" y="87"/>
                    <a:pt x="89" y="87"/>
                    <a:pt x="89" y="87"/>
                  </a:cubicBezTo>
                  <a:cubicBezTo>
                    <a:pt x="60" y="87"/>
                    <a:pt x="60" y="87"/>
                    <a:pt x="60" y="87"/>
                  </a:cubicBezTo>
                  <a:lnTo>
                    <a:pt x="60" y="93"/>
                  </a:lnTo>
                  <a:close/>
                  <a:moveTo>
                    <a:pt x="60" y="79"/>
                  </a:moveTo>
                  <a:cubicBezTo>
                    <a:pt x="89" y="79"/>
                    <a:pt x="89" y="79"/>
                    <a:pt x="89" y="79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60" y="73"/>
                    <a:pt x="60" y="73"/>
                    <a:pt x="60" y="73"/>
                  </a:cubicBezTo>
                  <a:lnTo>
                    <a:pt x="60" y="79"/>
                  </a:lnTo>
                  <a:close/>
                  <a:moveTo>
                    <a:pt x="60" y="64"/>
                  </a:moveTo>
                  <a:cubicBezTo>
                    <a:pt x="89" y="64"/>
                    <a:pt x="89" y="64"/>
                    <a:pt x="89" y="64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60" y="58"/>
                    <a:pt x="60" y="58"/>
                    <a:pt x="60" y="58"/>
                  </a:cubicBezTo>
                  <a:lnTo>
                    <a:pt x="60" y="64"/>
                  </a:lnTo>
                  <a:close/>
                  <a:moveTo>
                    <a:pt x="60" y="49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60" y="44"/>
                    <a:pt x="60" y="44"/>
                    <a:pt x="60" y="44"/>
                  </a:cubicBezTo>
                  <a:lnTo>
                    <a:pt x="60" y="49"/>
                  </a:lnTo>
                  <a:close/>
                  <a:moveTo>
                    <a:pt x="60" y="35"/>
                  </a:moveTo>
                  <a:cubicBezTo>
                    <a:pt x="89" y="35"/>
                    <a:pt x="89" y="35"/>
                    <a:pt x="89" y="35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60" y="29"/>
                    <a:pt x="60" y="29"/>
                    <a:pt x="60" y="29"/>
                  </a:cubicBezTo>
                  <a:lnTo>
                    <a:pt x="60" y="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7" name="Freeform 283">
              <a:extLst>
                <a:ext uri="{FF2B5EF4-FFF2-40B4-BE49-F238E27FC236}">
                  <a16:creationId xmlns:a16="http://schemas.microsoft.com/office/drawing/2014/main" id="{D333528F-1269-473A-89C4-5A3CADF60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2813" y="5635625"/>
              <a:ext cx="428625" cy="522288"/>
            </a:xfrm>
            <a:custGeom>
              <a:avLst/>
              <a:gdLst>
                <a:gd name="T0" fmla="*/ 103 w 110"/>
                <a:gd name="T1" fmla="*/ 17 h 134"/>
                <a:gd name="T2" fmla="*/ 77 w 110"/>
                <a:gd name="T3" fmla="*/ 14 h 134"/>
                <a:gd name="T4" fmla="*/ 71 w 110"/>
                <a:gd name="T5" fmla="*/ 0 h 134"/>
                <a:gd name="T6" fmla="*/ 51 w 110"/>
                <a:gd name="T7" fmla="*/ 14 h 134"/>
                <a:gd name="T8" fmla="*/ 48 w 110"/>
                <a:gd name="T9" fmla="*/ 73 h 134"/>
                <a:gd name="T10" fmla="*/ 7 w 110"/>
                <a:gd name="T11" fmla="*/ 76 h 134"/>
                <a:gd name="T12" fmla="*/ 0 w 110"/>
                <a:gd name="T13" fmla="*/ 128 h 134"/>
                <a:gd name="T14" fmla="*/ 10 w 110"/>
                <a:gd name="T15" fmla="*/ 134 h 134"/>
                <a:gd name="T16" fmla="*/ 13 w 110"/>
                <a:gd name="T17" fmla="*/ 79 h 134"/>
                <a:gd name="T18" fmla="*/ 54 w 110"/>
                <a:gd name="T19" fmla="*/ 76 h 134"/>
                <a:gd name="T20" fmla="*/ 97 w 110"/>
                <a:gd name="T21" fmla="*/ 20 h 134"/>
                <a:gd name="T22" fmla="*/ 100 w 110"/>
                <a:gd name="T23" fmla="*/ 134 h 134"/>
                <a:gd name="T24" fmla="*/ 110 w 110"/>
                <a:gd name="T25" fmla="*/ 128 h 134"/>
                <a:gd name="T26" fmla="*/ 20 w 110"/>
                <a:gd name="T27" fmla="*/ 122 h 134"/>
                <a:gd name="T28" fmla="*/ 44 w 110"/>
                <a:gd name="T29" fmla="*/ 116 h 134"/>
                <a:gd name="T30" fmla="*/ 20 w 110"/>
                <a:gd name="T31" fmla="*/ 122 h 134"/>
                <a:gd name="T32" fmla="*/ 44 w 110"/>
                <a:gd name="T33" fmla="*/ 108 h 134"/>
                <a:gd name="T34" fmla="*/ 20 w 110"/>
                <a:gd name="T35" fmla="*/ 102 h 134"/>
                <a:gd name="T36" fmla="*/ 20 w 110"/>
                <a:gd name="T37" fmla="*/ 93 h 134"/>
                <a:gd name="T38" fmla="*/ 44 w 110"/>
                <a:gd name="T39" fmla="*/ 87 h 134"/>
                <a:gd name="T40" fmla="*/ 20 w 110"/>
                <a:gd name="T41" fmla="*/ 93 h 134"/>
                <a:gd name="T42" fmla="*/ 89 w 110"/>
                <a:gd name="T43" fmla="*/ 122 h 134"/>
                <a:gd name="T44" fmla="*/ 60 w 110"/>
                <a:gd name="T45" fmla="*/ 116 h 134"/>
                <a:gd name="T46" fmla="*/ 60 w 110"/>
                <a:gd name="T47" fmla="*/ 108 h 134"/>
                <a:gd name="T48" fmla="*/ 89 w 110"/>
                <a:gd name="T49" fmla="*/ 102 h 134"/>
                <a:gd name="T50" fmla="*/ 60 w 110"/>
                <a:gd name="T51" fmla="*/ 108 h 134"/>
                <a:gd name="T52" fmla="*/ 89 w 110"/>
                <a:gd name="T53" fmla="*/ 93 h 134"/>
                <a:gd name="T54" fmla="*/ 60 w 110"/>
                <a:gd name="T55" fmla="*/ 87 h 134"/>
                <a:gd name="T56" fmla="*/ 60 w 110"/>
                <a:gd name="T57" fmla="*/ 79 h 134"/>
                <a:gd name="T58" fmla="*/ 89 w 110"/>
                <a:gd name="T59" fmla="*/ 73 h 134"/>
                <a:gd name="T60" fmla="*/ 60 w 110"/>
                <a:gd name="T61" fmla="*/ 79 h 134"/>
                <a:gd name="T62" fmla="*/ 89 w 110"/>
                <a:gd name="T63" fmla="*/ 64 h 134"/>
                <a:gd name="T64" fmla="*/ 60 w 110"/>
                <a:gd name="T65" fmla="*/ 58 h 134"/>
                <a:gd name="T66" fmla="*/ 60 w 110"/>
                <a:gd name="T67" fmla="*/ 49 h 134"/>
                <a:gd name="T68" fmla="*/ 89 w 110"/>
                <a:gd name="T69" fmla="*/ 44 h 134"/>
                <a:gd name="T70" fmla="*/ 60 w 110"/>
                <a:gd name="T71" fmla="*/ 49 h 134"/>
                <a:gd name="T72" fmla="*/ 89 w 110"/>
                <a:gd name="T73" fmla="*/ 35 h 134"/>
                <a:gd name="T74" fmla="*/ 60 w 110"/>
                <a:gd name="T75" fmla="*/ 2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134">
                  <a:moveTo>
                    <a:pt x="103" y="128"/>
                  </a:moveTo>
                  <a:cubicBezTo>
                    <a:pt x="103" y="17"/>
                    <a:pt x="103" y="17"/>
                    <a:pt x="103" y="17"/>
                  </a:cubicBezTo>
                  <a:cubicBezTo>
                    <a:pt x="103" y="15"/>
                    <a:pt x="101" y="14"/>
                    <a:pt x="100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9" y="14"/>
                    <a:pt x="48" y="15"/>
                    <a:pt x="48" y="17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9" y="73"/>
                    <a:pt x="7" y="74"/>
                    <a:pt x="7" y="76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2" y="134"/>
                    <a:pt x="13" y="132"/>
                    <a:pt x="13" y="131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3" y="79"/>
                    <a:pt x="54" y="78"/>
                    <a:pt x="54" y="76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131"/>
                    <a:pt x="97" y="131"/>
                    <a:pt x="97" y="131"/>
                  </a:cubicBezTo>
                  <a:cubicBezTo>
                    <a:pt x="97" y="132"/>
                    <a:pt x="98" y="134"/>
                    <a:pt x="100" y="134"/>
                  </a:cubicBezTo>
                  <a:cubicBezTo>
                    <a:pt x="110" y="134"/>
                    <a:pt x="110" y="134"/>
                    <a:pt x="110" y="134"/>
                  </a:cubicBezTo>
                  <a:cubicBezTo>
                    <a:pt x="110" y="128"/>
                    <a:pt x="110" y="128"/>
                    <a:pt x="110" y="128"/>
                  </a:cubicBezTo>
                  <a:lnTo>
                    <a:pt x="103" y="128"/>
                  </a:lnTo>
                  <a:close/>
                  <a:moveTo>
                    <a:pt x="20" y="122"/>
                  </a:moveTo>
                  <a:cubicBezTo>
                    <a:pt x="44" y="122"/>
                    <a:pt x="44" y="122"/>
                    <a:pt x="44" y="12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20" y="116"/>
                    <a:pt x="20" y="116"/>
                    <a:pt x="20" y="116"/>
                  </a:cubicBezTo>
                  <a:lnTo>
                    <a:pt x="20" y="122"/>
                  </a:lnTo>
                  <a:close/>
                  <a:moveTo>
                    <a:pt x="20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20" y="102"/>
                    <a:pt x="20" y="102"/>
                    <a:pt x="20" y="102"/>
                  </a:cubicBezTo>
                  <a:lnTo>
                    <a:pt x="20" y="108"/>
                  </a:lnTo>
                  <a:close/>
                  <a:moveTo>
                    <a:pt x="20" y="93"/>
                  </a:moveTo>
                  <a:cubicBezTo>
                    <a:pt x="44" y="93"/>
                    <a:pt x="44" y="93"/>
                    <a:pt x="44" y="93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20" y="87"/>
                    <a:pt x="20" y="87"/>
                    <a:pt x="20" y="87"/>
                  </a:cubicBezTo>
                  <a:lnTo>
                    <a:pt x="20" y="93"/>
                  </a:lnTo>
                  <a:close/>
                  <a:moveTo>
                    <a:pt x="60" y="122"/>
                  </a:moveTo>
                  <a:cubicBezTo>
                    <a:pt x="89" y="122"/>
                    <a:pt x="89" y="122"/>
                    <a:pt x="89" y="122"/>
                  </a:cubicBezTo>
                  <a:cubicBezTo>
                    <a:pt x="89" y="116"/>
                    <a:pt x="89" y="116"/>
                    <a:pt x="89" y="116"/>
                  </a:cubicBezTo>
                  <a:cubicBezTo>
                    <a:pt x="60" y="116"/>
                    <a:pt x="60" y="116"/>
                    <a:pt x="60" y="116"/>
                  </a:cubicBezTo>
                  <a:lnTo>
                    <a:pt x="60" y="122"/>
                  </a:lnTo>
                  <a:close/>
                  <a:moveTo>
                    <a:pt x="60" y="108"/>
                  </a:moveTo>
                  <a:cubicBezTo>
                    <a:pt x="89" y="108"/>
                    <a:pt x="89" y="108"/>
                    <a:pt x="89" y="108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60" y="102"/>
                    <a:pt x="60" y="102"/>
                    <a:pt x="60" y="102"/>
                  </a:cubicBezTo>
                  <a:lnTo>
                    <a:pt x="60" y="108"/>
                  </a:lnTo>
                  <a:close/>
                  <a:moveTo>
                    <a:pt x="60" y="93"/>
                  </a:moveTo>
                  <a:cubicBezTo>
                    <a:pt x="89" y="93"/>
                    <a:pt x="89" y="93"/>
                    <a:pt x="89" y="93"/>
                  </a:cubicBezTo>
                  <a:cubicBezTo>
                    <a:pt x="89" y="87"/>
                    <a:pt x="89" y="87"/>
                    <a:pt x="89" y="87"/>
                  </a:cubicBezTo>
                  <a:cubicBezTo>
                    <a:pt x="60" y="87"/>
                    <a:pt x="60" y="87"/>
                    <a:pt x="60" y="87"/>
                  </a:cubicBezTo>
                  <a:lnTo>
                    <a:pt x="60" y="93"/>
                  </a:lnTo>
                  <a:close/>
                  <a:moveTo>
                    <a:pt x="60" y="79"/>
                  </a:moveTo>
                  <a:cubicBezTo>
                    <a:pt x="89" y="79"/>
                    <a:pt x="89" y="79"/>
                    <a:pt x="89" y="79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60" y="73"/>
                    <a:pt x="60" y="73"/>
                    <a:pt x="60" y="73"/>
                  </a:cubicBezTo>
                  <a:lnTo>
                    <a:pt x="60" y="79"/>
                  </a:lnTo>
                  <a:close/>
                  <a:moveTo>
                    <a:pt x="60" y="64"/>
                  </a:moveTo>
                  <a:cubicBezTo>
                    <a:pt x="89" y="64"/>
                    <a:pt x="89" y="64"/>
                    <a:pt x="89" y="64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60" y="58"/>
                    <a:pt x="60" y="58"/>
                    <a:pt x="60" y="58"/>
                  </a:cubicBezTo>
                  <a:lnTo>
                    <a:pt x="60" y="64"/>
                  </a:lnTo>
                  <a:close/>
                  <a:moveTo>
                    <a:pt x="60" y="49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60" y="44"/>
                    <a:pt x="60" y="44"/>
                    <a:pt x="60" y="44"/>
                  </a:cubicBezTo>
                  <a:lnTo>
                    <a:pt x="60" y="49"/>
                  </a:lnTo>
                  <a:close/>
                  <a:moveTo>
                    <a:pt x="60" y="35"/>
                  </a:moveTo>
                  <a:cubicBezTo>
                    <a:pt x="89" y="35"/>
                    <a:pt x="89" y="35"/>
                    <a:pt x="89" y="35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60" y="29"/>
                    <a:pt x="60" y="29"/>
                    <a:pt x="60" y="29"/>
                  </a:cubicBezTo>
                  <a:lnTo>
                    <a:pt x="60" y="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6" name="Group 725">
            <a:extLst>
              <a:ext uri="{FF2B5EF4-FFF2-40B4-BE49-F238E27FC236}">
                <a16:creationId xmlns:a16="http://schemas.microsoft.com/office/drawing/2014/main" id="{F9FD02D2-24DE-4C32-9793-3830225ADF3F}"/>
              </a:ext>
            </a:extLst>
          </p:cNvPr>
          <p:cNvGrpSpPr/>
          <p:nvPr/>
        </p:nvGrpSpPr>
        <p:grpSpPr>
          <a:xfrm>
            <a:off x="7908925" y="5513388"/>
            <a:ext cx="760413" cy="760412"/>
            <a:chOff x="7908925" y="5538788"/>
            <a:chExt cx="760413" cy="760412"/>
          </a:xfrm>
        </p:grpSpPr>
        <p:sp>
          <p:nvSpPr>
            <p:cNvPr id="722" name="AutoShape 285">
              <a:extLst>
                <a:ext uri="{FF2B5EF4-FFF2-40B4-BE49-F238E27FC236}">
                  <a16:creationId xmlns:a16="http://schemas.microsoft.com/office/drawing/2014/main" id="{9FCFEAA9-14E4-447B-86DF-10B43889F4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08925" y="5538788"/>
              <a:ext cx="760413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3" name="Freeform 287">
              <a:extLst>
                <a:ext uri="{FF2B5EF4-FFF2-40B4-BE49-F238E27FC236}">
                  <a16:creationId xmlns:a16="http://schemas.microsoft.com/office/drawing/2014/main" id="{D157AE6B-A223-4CB7-9EB0-52E11F663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2100" y="5541963"/>
              <a:ext cx="757238" cy="75723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4" name="Freeform 288">
              <a:extLst>
                <a:ext uri="{FF2B5EF4-FFF2-40B4-BE49-F238E27FC236}">
                  <a16:creationId xmlns:a16="http://schemas.microsoft.com/office/drawing/2014/main" id="{3EF9121C-08C0-4FEF-AB99-A990C43B0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42275" y="5686425"/>
              <a:ext cx="498475" cy="468312"/>
            </a:xfrm>
            <a:custGeom>
              <a:avLst/>
              <a:gdLst>
                <a:gd name="T0" fmla="*/ 110 w 314"/>
                <a:gd name="T1" fmla="*/ 239 h 295"/>
                <a:gd name="T2" fmla="*/ 144 w 314"/>
                <a:gd name="T3" fmla="*/ 239 h 295"/>
                <a:gd name="T4" fmla="*/ 169 w 314"/>
                <a:gd name="T5" fmla="*/ 248 h 295"/>
                <a:gd name="T6" fmla="*/ 181 w 314"/>
                <a:gd name="T7" fmla="*/ 248 h 295"/>
                <a:gd name="T8" fmla="*/ 181 w 314"/>
                <a:gd name="T9" fmla="*/ 248 h 295"/>
                <a:gd name="T10" fmla="*/ 22 w 314"/>
                <a:gd name="T11" fmla="*/ 236 h 295"/>
                <a:gd name="T12" fmla="*/ 289 w 314"/>
                <a:gd name="T13" fmla="*/ 236 h 295"/>
                <a:gd name="T14" fmla="*/ 120 w 314"/>
                <a:gd name="T15" fmla="*/ 224 h 295"/>
                <a:gd name="T16" fmla="*/ 135 w 314"/>
                <a:gd name="T17" fmla="*/ 224 h 295"/>
                <a:gd name="T18" fmla="*/ 135 w 314"/>
                <a:gd name="T19" fmla="*/ 224 h 295"/>
                <a:gd name="T20" fmla="*/ 159 w 314"/>
                <a:gd name="T21" fmla="*/ 214 h 295"/>
                <a:gd name="T22" fmla="*/ 194 w 314"/>
                <a:gd name="T23" fmla="*/ 214 h 295"/>
                <a:gd name="T24" fmla="*/ 289 w 314"/>
                <a:gd name="T25" fmla="*/ 224 h 295"/>
                <a:gd name="T26" fmla="*/ 135 w 314"/>
                <a:gd name="T27" fmla="*/ 199 h 295"/>
                <a:gd name="T28" fmla="*/ 135 w 314"/>
                <a:gd name="T29" fmla="*/ 199 h 295"/>
                <a:gd name="T30" fmla="*/ 159 w 314"/>
                <a:gd name="T31" fmla="*/ 190 h 295"/>
                <a:gd name="T32" fmla="*/ 289 w 314"/>
                <a:gd name="T33" fmla="*/ 190 h 295"/>
                <a:gd name="T34" fmla="*/ 144 w 314"/>
                <a:gd name="T35" fmla="*/ 177 h 295"/>
                <a:gd name="T36" fmla="*/ 56 w 314"/>
                <a:gd name="T37" fmla="*/ 271 h 295"/>
                <a:gd name="T38" fmla="*/ 56 w 314"/>
                <a:gd name="T39" fmla="*/ 271 h 295"/>
                <a:gd name="T40" fmla="*/ 218 w 314"/>
                <a:gd name="T41" fmla="*/ 285 h 295"/>
                <a:gd name="T42" fmla="*/ 85 w 314"/>
                <a:gd name="T43" fmla="*/ 261 h 295"/>
                <a:gd name="T44" fmla="*/ 255 w 314"/>
                <a:gd name="T45" fmla="*/ 248 h 295"/>
                <a:gd name="T46" fmla="*/ 9 w 314"/>
                <a:gd name="T47" fmla="*/ 224 h 295"/>
                <a:gd name="T48" fmla="*/ 31 w 314"/>
                <a:gd name="T49" fmla="*/ 261 h 295"/>
                <a:gd name="T50" fmla="*/ 9 w 314"/>
                <a:gd name="T51" fmla="*/ 224 h 295"/>
                <a:gd name="T52" fmla="*/ 56 w 314"/>
                <a:gd name="T53" fmla="*/ 236 h 295"/>
                <a:gd name="T54" fmla="*/ 255 w 314"/>
                <a:gd name="T55" fmla="*/ 236 h 295"/>
                <a:gd name="T56" fmla="*/ 85 w 314"/>
                <a:gd name="T57" fmla="*/ 199 h 295"/>
                <a:gd name="T58" fmla="*/ 218 w 314"/>
                <a:gd name="T59" fmla="*/ 199 h 295"/>
                <a:gd name="T60" fmla="*/ 218 w 314"/>
                <a:gd name="T61" fmla="*/ 199 h 295"/>
                <a:gd name="T62" fmla="*/ 31 w 314"/>
                <a:gd name="T63" fmla="*/ 190 h 295"/>
                <a:gd name="T64" fmla="*/ 255 w 314"/>
                <a:gd name="T65" fmla="*/ 190 h 295"/>
                <a:gd name="T66" fmla="*/ 304 w 314"/>
                <a:gd name="T67" fmla="*/ 177 h 295"/>
                <a:gd name="T68" fmla="*/ 280 w 314"/>
                <a:gd name="T69" fmla="*/ 261 h 295"/>
                <a:gd name="T70" fmla="*/ 31 w 314"/>
                <a:gd name="T71" fmla="*/ 153 h 295"/>
                <a:gd name="T72" fmla="*/ 31 w 314"/>
                <a:gd name="T73" fmla="*/ 153 h 295"/>
                <a:gd name="T74" fmla="*/ 157 w 314"/>
                <a:gd name="T75" fmla="*/ 153 h 295"/>
                <a:gd name="T76" fmla="*/ 206 w 314"/>
                <a:gd name="T77" fmla="*/ 199 h 295"/>
                <a:gd name="T78" fmla="*/ 181 w 314"/>
                <a:gd name="T79" fmla="*/ 261 h 295"/>
                <a:gd name="T80" fmla="*/ 159 w 314"/>
                <a:gd name="T81" fmla="*/ 261 h 295"/>
                <a:gd name="T82" fmla="*/ 135 w 314"/>
                <a:gd name="T83" fmla="*/ 261 h 295"/>
                <a:gd name="T84" fmla="*/ 110 w 314"/>
                <a:gd name="T85" fmla="*/ 261 h 295"/>
                <a:gd name="T86" fmla="*/ 167 w 314"/>
                <a:gd name="T87" fmla="*/ 153 h 295"/>
                <a:gd name="T88" fmla="*/ 167 w 314"/>
                <a:gd name="T89" fmla="*/ 153 h 295"/>
                <a:gd name="T90" fmla="*/ 31 w 314"/>
                <a:gd name="T91" fmla="*/ 143 h 295"/>
                <a:gd name="T92" fmla="*/ 255 w 314"/>
                <a:gd name="T93" fmla="*/ 143 h 295"/>
                <a:gd name="T94" fmla="*/ 110 w 314"/>
                <a:gd name="T95" fmla="*/ 106 h 295"/>
                <a:gd name="T96" fmla="*/ 167 w 314"/>
                <a:gd name="T97" fmla="*/ 106 h 295"/>
                <a:gd name="T98" fmla="*/ 167 w 314"/>
                <a:gd name="T99" fmla="*/ 106 h 295"/>
                <a:gd name="T100" fmla="*/ 31 w 314"/>
                <a:gd name="T101" fmla="*/ 94 h 295"/>
                <a:gd name="T102" fmla="*/ 255 w 314"/>
                <a:gd name="T103" fmla="*/ 94 h 295"/>
                <a:gd name="T104" fmla="*/ 110 w 314"/>
                <a:gd name="T105" fmla="*/ 57 h 295"/>
                <a:gd name="T106" fmla="*/ 167 w 314"/>
                <a:gd name="T107" fmla="*/ 57 h 295"/>
                <a:gd name="T108" fmla="*/ 167 w 314"/>
                <a:gd name="T109" fmla="*/ 57 h 295"/>
                <a:gd name="T110" fmla="*/ 167 w 314"/>
                <a:gd name="T111" fmla="*/ 47 h 295"/>
                <a:gd name="T112" fmla="*/ 255 w 314"/>
                <a:gd name="T113" fmla="*/ 25 h 295"/>
                <a:gd name="T114" fmla="*/ 157 w 314"/>
                <a:gd name="T115" fmla="*/ 143 h 295"/>
                <a:gd name="T116" fmla="*/ 22 w 314"/>
                <a:gd name="T117" fmla="*/ 214 h 295"/>
                <a:gd name="T118" fmla="*/ 314 w 314"/>
                <a:gd name="T119" fmla="*/ 16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4" h="295">
                  <a:moveTo>
                    <a:pt x="110" y="248"/>
                  </a:moveTo>
                  <a:lnTo>
                    <a:pt x="120" y="248"/>
                  </a:lnTo>
                  <a:lnTo>
                    <a:pt x="120" y="239"/>
                  </a:lnTo>
                  <a:lnTo>
                    <a:pt x="110" y="239"/>
                  </a:lnTo>
                  <a:lnTo>
                    <a:pt x="110" y="248"/>
                  </a:lnTo>
                  <a:close/>
                  <a:moveTo>
                    <a:pt x="135" y="248"/>
                  </a:moveTo>
                  <a:lnTo>
                    <a:pt x="144" y="248"/>
                  </a:lnTo>
                  <a:lnTo>
                    <a:pt x="144" y="239"/>
                  </a:lnTo>
                  <a:lnTo>
                    <a:pt x="135" y="239"/>
                  </a:lnTo>
                  <a:lnTo>
                    <a:pt x="135" y="248"/>
                  </a:lnTo>
                  <a:close/>
                  <a:moveTo>
                    <a:pt x="159" y="248"/>
                  </a:moveTo>
                  <a:lnTo>
                    <a:pt x="169" y="248"/>
                  </a:lnTo>
                  <a:lnTo>
                    <a:pt x="169" y="239"/>
                  </a:lnTo>
                  <a:lnTo>
                    <a:pt x="159" y="239"/>
                  </a:lnTo>
                  <a:lnTo>
                    <a:pt x="159" y="248"/>
                  </a:lnTo>
                  <a:close/>
                  <a:moveTo>
                    <a:pt x="181" y="248"/>
                  </a:moveTo>
                  <a:lnTo>
                    <a:pt x="194" y="248"/>
                  </a:lnTo>
                  <a:lnTo>
                    <a:pt x="194" y="239"/>
                  </a:lnTo>
                  <a:lnTo>
                    <a:pt x="181" y="239"/>
                  </a:lnTo>
                  <a:lnTo>
                    <a:pt x="181" y="248"/>
                  </a:lnTo>
                  <a:close/>
                  <a:moveTo>
                    <a:pt x="22" y="248"/>
                  </a:moveTo>
                  <a:lnTo>
                    <a:pt x="31" y="248"/>
                  </a:lnTo>
                  <a:lnTo>
                    <a:pt x="31" y="236"/>
                  </a:lnTo>
                  <a:lnTo>
                    <a:pt x="22" y="236"/>
                  </a:lnTo>
                  <a:lnTo>
                    <a:pt x="22" y="248"/>
                  </a:lnTo>
                  <a:close/>
                  <a:moveTo>
                    <a:pt x="280" y="248"/>
                  </a:moveTo>
                  <a:lnTo>
                    <a:pt x="289" y="248"/>
                  </a:lnTo>
                  <a:lnTo>
                    <a:pt x="289" y="236"/>
                  </a:lnTo>
                  <a:lnTo>
                    <a:pt x="280" y="236"/>
                  </a:lnTo>
                  <a:lnTo>
                    <a:pt x="280" y="248"/>
                  </a:lnTo>
                  <a:close/>
                  <a:moveTo>
                    <a:pt x="110" y="224"/>
                  </a:moveTo>
                  <a:lnTo>
                    <a:pt x="120" y="224"/>
                  </a:lnTo>
                  <a:lnTo>
                    <a:pt x="120" y="214"/>
                  </a:lnTo>
                  <a:lnTo>
                    <a:pt x="110" y="214"/>
                  </a:lnTo>
                  <a:lnTo>
                    <a:pt x="110" y="224"/>
                  </a:lnTo>
                  <a:close/>
                  <a:moveTo>
                    <a:pt x="135" y="224"/>
                  </a:moveTo>
                  <a:lnTo>
                    <a:pt x="144" y="224"/>
                  </a:lnTo>
                  <a:lnTo>
                    <a:pt x="144" y="214"/>
                  </a:lnTo>
                  <a:lnTo>
                    <a:pt x="135" y="214"/>
                  </a:lnTo>
                  <a:lnTo>
                    <a:pt x="135" y="224"/>
                  </a:lnTo>
                  <a:close/>
                  <a:moveTo>
                    <a:pt x="159" y="224"/>
                  </a:moveTo>
                  <a:lnTo>
                    <a:pt x="169" y="224"/>
                  </a:lnTo>
                  <a:lnTo>
                    <a:pt x="169" y="214"/>
                  </a:lnTo>
                  <a:lnTo>
                    <a:pt x="159" y="214"/>
                  </a:lnTo>
                  <a:lnTo>
                    <a:pt x="159" y="224"/>
                  </a:lnTo>
                  <a:close/>
                  <a:moveTo>
                    <a:pt x="181" y="224"/>
                  </a:moveTo>
                  <a:lnTo>
                    <a:pt x="194" y="224"/>
                  </a:lnTo>
                  <a:lnTo>
                    <a:pt x="194" y="214"/>
                  </a:lnTo>
                  <a:lnTo>
                    <a:pt x="181" y="214"/>
                  </a:lnTo>
                  <a:lnTo>
                    <a:pt x="181" y="224"/>
                  </a:lnTo>
                  <a:close/>
                  <a:moveTo>
                    <a:pt x="280" y="224"/>
                  </a:moveTo>
                  <a:lnTo>
                    <a:pt x="289" y="224"/>
                  </a:lnTo>
                  <a:lnTo>
                    <a:pt x="289" y="214"/>
                  </a:lnTo>
                  <a:lnTo>
                    <a:pt x="280" y="214"/>
                  </a:lnTo>
                  <a:lnTo>
                    <a:pt x="280" y="224"/>
                  </a:lnTo>
                  <a:close/>
                  <a:moveTo>
                    <a:pt x="135" y="199"/>
                  </a:moveTo>
                  <a:lnTo>
                    <a:pt x="144" y="199"/>
                  </a:lnTo>
                  <a:lnTo>
                    <a:pt x="144" y="190"/>
                  </a:lnTo>
                  <a:lnTo>
                    <a:pt x="135" y="190"/>
                  </a:lnTo>
                  <a:lnTo>
                    <a:pt x="135" y="199"/>
                  </a:lnTo>
                  <a:close/>
                  <a:moveTo>
                    <a:pt x="159" y="199"/>
                  </a:moveTo>
                  <a:lnTo>
                    <a:pt x="169" y="199"/>
                  </a:lnTo>
                  <a:lnTo>
                    <a:pt x="169" y="190"/>
                  </a:lnTo>
                  <a:lnTo>
                    <a:pt x="159" y="190"/>
                  </a:lnTo>
                  <a:lnTo>
                    <a:pt x="159" y="199"/>
                  </a:lnTo>
                  <a:close/>
                  <a:moveTo>
                    <a:pt x="280" y="199"/>
                  </a:moveTo>
                  <a:lnTo>
                    <a:pt x="289" y="199"/>
                  </a:lnTo>
                  <a:lnTo>
                    <a:pt x="289" y="190"/>
                  </a:lnTo>
                  <a:lnTo>
                    <a:pt x="280" y="190"/>
                  </a:lnTo>
                  <a:lnTo>
                    <a:pt x="280" y="199"/>
                  </a:lnTo>
                  <a:close/>
                  <a:moveTo>
                    <a:pt x="135" y="177"/>
                  </a:moveTo>
                  <a:lnTo>
                    <a:pt x="144" y="177"/>
                  </a:lnTo>
                  <a:lnTo>
                    <a:pt x="144" y="167"/>
                  </a:lnTo>
                  <a:lnTo>
                    <a:pt x="135" y="167"/>
                  </a:lnTo>
                  <a:lnTo>
                    <a:pt x="135" y="177"/>
                  </a:lnTo>
                  <a:close/>
                  <a:moveTo>
                    <a:pt x="56" y="271"/>
                  </a:moveTo>
                  <a:lnTo>
                    <a:pt x="85" y="271"/>
                  </a:lnTo>
                  <a:lnTo>
                    <a:pt x="85" y="285"/>
                  </a:lnTo>
                  <a:lnTo>
                    <a:pt x="56" y="285"/>
                  </a:lnTo>
                  <a:lnTo>
                    <a:pt x="56" y="271"/>
                  </a:lnTo>
                  <a:close/>
                  <a:moveTo>
                    <a:pt x="218" y="271"/>
                  </a:moveTo>
                  <a:lnTo>
                    <a:pt x="255" y="271"/>
                  </a:lnTo>
                  <a:lnTo>
                    <a:pt x="255" y="285"/>
                  </a:lnTo>
                  <a:lnTo>
                    <a:pt x="218" y="285"/>
                  </a:lnTo>
                  <a:lnTo>
                    <a:pt x="218" y="271"/>
                  </a:lnTo>
                  <a:close/>
                  <a:moveTo>
                    <a:pt x="56" y="248"/>
                  </a:moveTo>
                  <a:lnTo>
                    <a:pt x="85" y="248"/>
                  </a:lnTo>
                  <a:lnTo>
                    <a:pt x="85" y="261"/>
                  </a:lnTo>
                  <a:lnTo>
                    <a:pt x="56" y="261"/>
                  </a:lnTo>
                  <a:lnTo>
                    <a:pt x="56" y="248"/>
                  </a:lnTo>
                  <a:close/>
                  <a:moveTo>
                    <a:pt x="218" y="248"/>
                  </a:moveTo>
                  <a:lnTo>
                    <a:pt x="255" y="248"/>
                  </a:lnTo>
                  <a:lnTo>
                    <a:pt x="255" y="261"/>
                  </a:lnTo>
                  <a:lnTo>
                    <a:pt x="218" y="261"/>
                  </a:lnTo>
                  <a:lnTo>
                    <a:pt x="218" y="248"/>
                  </a:lnTo>
                  <a:close/>
                  <a:moveTo>
                    <a:pt x="9" y="224"/>
                  </a:moveTo>
                  <a:lnTo>
                    <a:pt x="44" y="224"/>
                  </a:lnTo>
                  <a:lnTo>
                    <a:pt x="44" y="285"/>
                  </a:lnTo>
                  <a:lnTo>
                    <a:pt x="31" y="285"/>
                  </a:lnTo>
                  <a:lnTo>
                    <a:pt x="31" y="261"/>
                  </a:lnTo>
                  <a:lnTo>
                    <a:pt x="22" y="261"/>
                  </a:lnTo>
                  <a:lnTo>
                    <a:pt x="22" y="285"/>
                  </a:lnTo>
                  <a:lnTo>
                    <a:pt x="9" y="285"/>
                  </a:lnTo>
                  <a:lnTo>
                    <a:pt x="9" y="224"/>
                  </a:lnTo>
                  <a:close/>
                  <a:moveTo>
                    <a:pt x="56" y="224"/>
                  </a:moveTo>
                  <a:lnTo>
                    <a:pt x="85" y="224"/>
                  </a:lnTo>
                  <a:lnTo>
                    <a:pt x="85" y="236"/>
                  </a:lnTo>
                  <a:lnTo>
                    <a:pt x="56" y="236"/>
                  </a:lnTo>
                  <a:lnTo>
                    <a:pt x="56" y="224"/>
                  </a:lnTo>
                  <a:close/>
                  <a:moveTo>
                    <a:pt x="218" y="224"/>
                  </a:moveTo>
                  <a:lnTo>
                    <a:pt x="255" y="224"/>
                  </a:lnTo>
                  <a:lnTo>
                    <a:pt x="255" y="236"/>
                  </a:lnTo>
                  <a:lnTo>
                    <a:pt x="218" y="236"/>
                  </a:lnTo>
                  <a:lnTo>
                    <a:pt x="218" y="224"/>
                  </a:lnTo>
                  <a:close/>
                  <a:moveTo>
                    <a:pt x="31" y="199"/>
                  </a:moveTo>
                  <a:lnTo>
                    <a:pt x="85" y="199"/>
                  </a:lnTo>
                  <a:lnTo>
                    <a:pt x="85" y="214"/>
                  </a:lnTo>
                  <a:lnTo>
                    <a:pt x="31" y="214"/>
                  </a:lnTo>
                  <a:lnTo>
                    <a:pt x="31" y="199"/>
                  </a:lnTo>
                  <a:close/>
                  <a:moveTo>
                    <a:pt x="218" y="199"/>
                  </a:moveTo>
                  <a:lnTo>
                    <a:pt x="255" y="199"/>
                  </a:lnTo>
                  <a:lnTo>
                    <a:pt x="255" y="214"/>
                  </a:lnTo>
                  <a:lnTo>
                    <a:pt x="218" y="214"/>
                  </a:lnTo>
                  <a:lnTo>
                    <a:pt x="218" y="199"/>
                  </a:lnTo>
                  <a:close/>
                  <a:moveTo>
                    <a:pt x="31" y="177"/>
                  </a:moveTo>
                  <a:lnTo>
                    <a:pt x="110" y="177"/>
                  </a:lnTo>
                  <a:lnTo>
                    <a:pt x="110" y="190"/>
                  </a:lnTo>
                  <a:lnTo>
                    <a:pt x="31" y="190"/>
                  </a:lnTo>
                  <a:lnTo>
                    <a:pt x="31" y="177"/>
                  </a:lnTo>
                  <a:close/>
                  <a:moveTo>
                    <a:pt x="194" y="177"/>
                  </a:moveTo>
                  <a:lnTo>
                    <a:pt x="255" y="177"/>
                  </a:lnTo>
                  <a:lnTo>
                    <a:pt x="255" y="190"/>
                  </a:lnTo>
                  <a:lnTo>
                    <a:pt x="194" y="190"/>
                  </a:lnTo>
                  <a:lnTo>
                    <a:pt x="194" y="177"/>
                  </a:lnTo>
                  <a:close/>
                  <a:moveTo>
                    <a:pt x="265" y="177"/>
                  </a:moveTo>
                  <a:lnTo>
                    <a:pt x="304" y="177"/>
                  </a:lnTo>
                  <a:lnTo>
                    <a:pt x="304" y="285"/>
                  </a:lnTo>
                  <a:lnTo>
                    <a:pt x="289" y="285"/>
                  </a:lnTo>
                  <a:lnTo>
                    <a:pt x="289" y="261"/>
                  </a:lnTo>
                  <a:lnTo>
                    <a:pt x="280" y="261"/>
                  </a:lnTo>
                  <a:lnTo>
                    <a:pt x="280" y="285"/>
                  </a:lnTo>
                  <a:lnTo>
                    <a:pt x="265" y="285"/>
                  </a:lnTo>
                  <a:lnTo>
                    <a:pt x="265" y="177"/>
                  </a:lnTo>
                  <a:close/>
                  <a:moveTo>
                    <a:pt x="31" y="153"/>
                  </a:moveTo>
                  <a:lnTo>
                    <a:pt x="110" y="153"/>
                  </a:lnTo>
                  <a:lnTo>
                    <a:pt x="110" y="167"/>
                  </a:lnTo>
                  <a:lnTo>
                    <a:pt x="31" y="167"/>
                  </a:lnTo>
                  <a:lnTo>
                    <a:pt x="31" y="153"/>
                  </a:lnTo>
                  <a:close/>
                  <a:moveTo>
                    <a:pt x="95" y="199"/>
                  </a:moveTo>
                  <a:lnTo>
                    <a:pt x="120" y="199"/>
                  </a:lnTo>
                  <a:lnTo>
                    <a:pt x="120" y="153"/>
                  </a:lnTo>
                  <a:lnTo>
                    <a:pt x="157" y="153"/>
                  </a:lnTo>
                  <a:lnTo>
                    <a:pt x="157" y="177"/>
                  </a:lnTo>
                  <a:lnTo>
                    <a:pt x="181" y="177"/>
                  </a:lnTo>
                  <a:lnTo>
                    <a:pt x="181" y="199"/>
                  </a:lnTo>
                  <a:lnTo>
                    <a:pt x="206" y="199"/>
                  </a:lnTo>
                  <a:lnTo>
                    <a:pt x="206" y="285"/>
                  </a:lnTo>
                  <a:lnTo>
                    <a:pt x="194" y="285"/>
                  </a:lnTo>
                  <a:lnTo>
                    <a:pt x="194" y="261"/>
                  </a:lnTo>
                  <a:lnTo>
                    <a:pt x="181" y="261"/>
                  </a:lnTo>
                  <a:lnTo>
                    <a:pt x="181" y="285"/>
                  </a:lnTo>
                  <a:lnTo>
                    <a:pt x="169" y="285"/>
                  </a:lnTo>
                  <a:lnTo>
                    <a:pt x="169" y="261"/>
                  </a:lnTo>
                  <a:lnTo>
                    <a:pt x="159" y="261"/>
                  </a:lnTo>
                  <a:lnTo>
                    <a:pt x="159" y="285"/>
                  </a:lnTo>
                  <a:lnTo>
                    <a:pt x="144" y="285"/>
                  </a:lnTo>
                  <a:lnTo>
                    <a:pt x="144" y="261"/>
                  </a:lnTo>
                  <a:lnTo>
                    <a:pt x="135" y="261"/>
                  </a:lnTo>
                  <a:lnTo>
                    <a:pt x="135" y="285"/>
                  </a:lnTo>
                  <a:lnTo>
                    <a:pt x="120" y="285"/>
                  </a:lnTo>
                  <a:lnTo>
                    <a:pt x="120" y="261"/>
                  </a:lnTo>
                  <a:lnTo>
                    <a:pt x="110" y="261"/>
                  </a:lnTo>
                  <a:lnTo>
                    <a:pt x="110" y="285"/>
                  </a:lnTo>
                  <a:lnTo>
                    <a:pt x="95" y="285"/>
                  </a:lnTo>
                  <a:lnTo>
                    <a:pt x="95" y="199"/>
                  </a:lnTo>
                  <a:close/>
                  <a:moveTo>
                    <a:pt x="167" y="153"/>
                  </a:moveTo>
                  <a:lnTo>
                    <a:pt x="255" y="153"/>
                  </a:lnTo>
                  <a:lnTo>
                    <a:pt x="255" y="167"/>
                  </a:lnTo>
                  <a:lnTo>
                    <a:pt x="167" y="167"/>
                  </a:lnTo>
                  <a:lnTo>
                    <a:pt x="167" y="153"/>
                  </a:lnTo>
                  <a:close/>
                  <a:moveTo>
                    <a:pt x="31" y="128"/>
                  </a:moveTo>
                  <a:lnTo>
                    <a:pt x="110" y="128"/>
                  </a:lnTo>
                  <a:lnTo>
                    <a:pt x="110" y="143"/>
                  </a:lnTo>
                  <a:lnTo>
                    <a:pt x="31" y="143"/>
                  </a:lnTo>
                  <a:lnTo>
                    <a:pt x="31" y="128"/>
                  </a:lnTo>
                  <a:close/>
                  <a:moveTo>
                    <a:pt x="167" y="128"/>
                  </a:moveTo>
                  <a:lnTo>
                    <a:pt x="255" y="128"/>
                  </a:lnTo>
                  <a:lnTo>
                    <a:pt x="255" y="143"/>
                  </a:lnTo>
                  <a:lnTo>
                    <a:pt x="167" y="143"/>
                  </a:lnTo>
                  <a:lnTo>
                    <a:pt x="167" y="128"/>
                  </a:lnTo>
                  <a:close/>
                  <a:moveTo>
                    <a:pt x="31" y="106"/>
                  </a:moveTo>
                  <a:lnTo>
                    <a:pt x="110" y="106"/>
                  </a:lnTo>
                  <a:lnTo>
                    <a:pt x="110" y="118"/>
                  </a:lnTo>
                  <a:lnTo>
                    <a:pt x="31" y="118"/>
                  </a:lnTo>
                  <a:lnTo>
                    <a:pt x="31" y="106"/>
                  </a:lnTo>
                  <a:close/>
                  <a:moveTo>
                    <a:pt x="167" y="106"/>
                  </a:moveTo>
                  <a:lnTo>
                    <a:pt x="255" y="106"/>
                  </a:lnTo>
                  <a:lnTo>
                    <a:pt x="255" y="118"/>
                  </a:lnTo>
                  <a:lnTo>
                    <a:pt x="167" y="118"/>
                  </a:lnTo>
                  <a:lnTo>
                    <a:pt x="167" y="106"/>
                  </a:lnTo>
                  <a:close/>
                  <a:moveTo>
                    <a:pt x="31" y="81"/>
                  </a:moveTo>
                  <a:lnTo>
                    <a:pt x="110" y="81"/>
                  </a:lnTo>
                  <a:lnTo>
                    <a:pt x="110" y="94"/>
                  </a:lnTo>
                  <a:lnTo>
                    <a:pt x="31" y="94"/>
                  </a:lnTo>
                  <a:lnTo>
                    <a:pt x="31" y="81"/>
                  </a:lnTo>
                  <a:close/>
                  <a:moveTo>
                    <a:pt x="167" y="81"/>
                  </a:moveTo>
                  <a:lnTo>
                    <a:pt x="255" y="81"/>
                  </a:lnTo>
                  <a:lnTo>
                    <a:pt x="255" y="94"/>
                  </a:lnTo>
                  <a:lnTo>
                    <a:pt x="167" y="94"/>
                  </a:lnTo>
                  <a:lnTo>
                    <a:pt x="167" y="81"/>
                  </a:lnTo>
                  <a:close/>
                  <a:moveTo>
                    <a:pt x="31" y="57"/>
                  </a:moveTo>
                  <a:lnTo>
                    <a:pt x="110" y="57"/>
                  </a:lnTo>
                  <a:lnTo>
                    <a:pt x="110" y="72"/>
                  </a:lnTo>
                  <a:lnTo>
                    <a:pt x="31" y="72"/>
                  </a:lnTo>
                  <a:lnTo>
                    <a:pt x="31" y="57"/>
                  </a:lnTo>
                  <a:close/>
                  <a:moveTo>
                    <a:pt x="167" y="57"/>
                  </a:moveTo>
                  <a:lnTo>
                    <a:pt x="255" y="57"/>
                  </a:lnTo>
                  <a:lnTo>
                    <a:pt x="255" y="72"/>
                  </a:lnTo>
                  <a:lnTo>
                    <a:pt x="167" y="72"/>
                  </a:lnTo>
                  <a:lnTo>
                    <a:pt x="167" y="57"/>
                  </a:lnTo>
                  <a:close/>
                  <a:moveTo>
                    <a:pt x="167" y="35"/>
                  </a:moveTo>
                  <a:lnTo>
                    <a:pt x="255" y="35"/>
                  </a:lnTo>
                  <a:lnTo>
                    <a:pt x="255" y="47"/>
                  </a:lnTo>
                  <a:lnTo>
                    <a:pt x="167" y="47"/>
                  </a:lnTo>
                  <a:lnTo>
                    <a:pt x="167" y="35"/>
                  </a:lnTo>
                  <a:close/>
                  <a:moveTo>
                    <a:pt x="167" y="10"/>
                  </a:moveTo>
                  <a:lnTo>
                    <a:pt x="255" y="10"/>
                  </a:lnTo>
                  <a:lnTo>
                    <a:pt x="255" y="25"/>
                  </a:lnTo>
                  <a:lnTo>
                    <a:pt x="167" y="25"/>
                  </a:lnTo>
                  <a:lnTo>
                    <a:pt x="167" y="10"/>
                  </a:lnTo>
                  <a:close/>
                  <a:moveTo>
                    <a:pt x="157" y="0"/>
                  </a:moveTo>
                  <a:lnTo>
                    <a:pt x="157" y="143"/>
                  </a:lnTo>
                  <a:lnTo>
                    <a:pt x="120" y="143"/>
                  </a:lnTo>
                  <a:lnTo>
                    <a:pt x="120" y="47"/>
                  </a:lnTo>
                  <a:lnTo>
                    <a:pt x="22" y="47"/>
                  </a:lnTo>
                  <a:lnTo>
                    <a:pt x="22" y="214"/>
                  </a:lnTo>
                  <a:lnTo>
                    <a:pt x="0" y="214"/>
                  </a:lnTo>
                  <a:lnTo>
                    <a:pt x="0" y="295"/>
                  </a:lnTo>
                  <a:lnTo>
                    <a:pt x="314" y="295"/>
                  </a:lnTo>
                  <a:lnTo>
                    <a:pt x="314" y="167"/>
                  </a:lnTo>
                  <a:lnTo>
                    <a:pt x="265" y="167"/>
                  </a:lnTo>
                  <a:lnTo>
                    <a:pt x="265" y="0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5" name="Freeform 289">
              <a:extLst>
                <a:ext uri="{FF2B5EF4-FFF2-40B4-BE49-F238E27FC236}">
                  <a16:creationId xmlns:a16="http://schemas.microsoft.com/office/drawing/2014/main" id="{3D98DA2D-83EB-4C0E-ACAB-7F3497BF7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42275" y="5686425"/>
              <a:ext cx="498475" cy="468312"/>
            </a:xfrm>
            <a:custGeom>
              <a:avLst/>
              <a:gdLst>
                <a:gd name="T0" fmla="*/ 110 w 314"/>
                <a:gd name="T1" fmla="*/ 239 h 295"/>
                <a:gd name="T2" fmla="*/ 144 w 314"/>
                <a:gd name="T3" fmla="*/ 239 h 295"/>
                <a:gd name="T4" fmla="*/ 169 w 314"/>
                <a:gd name="T5" fmla="*/ 248 h 295"/>
                <a:gd name="T6" fmla="*/ 181 w 314"/>
                <a:gd name="T7" fmla="*/ 248 h 295"/>
                <a:gd name="T8" fmla="*/ 181 w 314"/>
                <a:gd name="T9" fmla="*/ 248 h 295"/>
                <a:gd name="T10" fmla="*/ 22 w 314"/>
                <a:gd name="T11" fmla="*/ 236 h 295"/>
                <a:gd name="T12" fmla="*/ 289 w 314"/>
                <a:gd name="T13" fmla="*/ 236 h 295"/>
                <a:gd name="T14" fmla="*/ 120 w 314"/>
                <a:gd name="T15" fmla="*/ 224 h 295"/>
                <a:gd name="T16" fmla="*/ 135 w 314"/>
                <a:gd name="T17" fmla="*/ 224 h 295"/>
                <a:gd name="T18" fmla="*/ 135 w 314"/>
                <a:gd name="T19" fmla="*/ 224 h 295"/>
                <a:gd name="T20" fmla="*/ 159 w 314"/>
                <a:gd name="T21" fmla="*/ 214 h 295"/>
                <a:gd name="T22" fmla="*/ 194 w 314"/>
                <a:gd name="T23" fmla="*/ 214 h 295"/>
                <a:gd name="T24" fmla="*/ 289 w 314"/>
                <a:gd name="T25" fmla="*/ 224 h 295"/>
                <a:gd name="T26" fmla="*/ 135 w 314"/>
                <a:gd name="T27" fmla="*/ 199 h 295"/>
                <a:gd name="T28" fmla="*/ 135 w 314"/>
                <a:gd name="T29" fmla="*/ 199 h 295"/>
                <a:gd name="T30" fmla="*/ 159 w 314"/>
                <a:gd name="T31" fmla="*/ 190 h 295"/>
                <a:gd name="T32" fmla="*/ 289 w 314"/>
                <a:gd name="T33" fmla="*/ 190 h 295"/>
                <a:gd name="T34" fmla="*/ 144 w 314"/>
                <a:gd name="T35" fmla="*/ 177 h 295"/>
                <a:gd name="T36" fmla="*/ 56 w 314"/>
                <a:gd name="T37" fmla="*/ 271 h 295"/>
                <a:gd name="T38" fmla="*/ 56 w 314"/>
                <a:gd name="T39" fmla="*/ 271 h 295"/>
                <a:gd name="T40" fmla="*/ 218 w 314"/>
                <a:gd name="T41" fmla="*/ 285 h 295"/>
                <a:gd name="T42" fmla="*/ 85 w 314"/>
                <a:gd name="T43" fmla="*/ 261 h 295"/>
                <a:gd name="T44" fmla="*/ 255 w 314"/>
                <a:gd name="T45" fmla="*/ 248 h 295"/>
                <a:gd name="T46" fmla="*/ 9 w 314"/>
                <a:gd name="T47" fmla="*/ 224 h 295"/>
                <a:gd name="T48" fmla="*/ 31 w 314"/>
                <a:gd name="T49" fmla="*/ 261 h 295"/>
                <a:gd name="T50" fmla="*/ 9 w 314"/>
                <a:gd name="T51" fmla="*/ 224 h 295"/>
                <a:gd name="T52" fmla="*/ 56 w 314"/>
                <a:gd name="T53" fmla="*/ 236 h 295"/>
                <a:gd name="T54" fmla="*/ 255 w 314"/>
                <a:gd name="T55" fmla="*/ 236 h 295"/>
                <a:gd name="T56" fmla="*/ 85 w 314"/>
                <a:gd name="T57" fmla="*/ 199 h 295"/>
                <a:gd name="T58" fmla="*/ 218 w 314"/>
                <a:gd name="T59" fmla="*/ 199 h 295"/>
                <a:gd name="T60" fmla="*/ 218 w 314"/>
                <a:gd name="T61" fmla="*/ 199 h 295"/>
                <a:gd name="T62" fmla="*/ 31 w 314"/>
                <a:gd name="T63" fmla="*/ 190 h 295"/>
                <a:gd name="T64" fmla="*/ 255 w 314"/>
                <a:gd name="T65" fmla="*/ 190 h 295"/>
                <a:gd name="T66" fmla="*/ 304 w 314"/>
                <a:gd name="T67" fmla="*/ 177 h 295"/>
                <a:gd name="T68" fmla="*/ 280 w 314"/>
                <a:gd name="T69" fmla="*/ 261 h 295"/>
                <a:gd name="T70" fmla="*/ 31 w 314"/>
                <a:gd name="T71" fmla="*/ 153 h 295"/>
                <a:gd name="T72" fmla="*/ 31 w 314"/>
                <a:gd name="T73" fmla="*/ 153 h 295"/>
                <a:gd name="T74" fmla="*/ 157 w 314"/>
                <a:gd name="T75" fmla="*/ 153 h 295"/>
                <a:gd name="T76" fmla="*/ 206 w 314"/>
                <a:gd name="T77" fmla="*/ 199 h 295"/>
                <a:gd name="T78" fmla="*/ 181 w 314"/>
                <a:gd name="T79" fmla="*/ 261 h 295"/>
                <a:gd name="T80" fmla="*/ 159 w 314"/>
                <a:gd name="T81" fmla="*/ 261 h 295"/>
                <a:gd name="T82" fmla="*/ 135 w 314"/>
                <a:gd name="T83" fmla="*/ 261 h 295"/>
                <a:gd name="T84" fmla="*/ 110 w 314"/>
                <a:gd name="T85" fmla="*/ 261 h 295"/>
                <a:gd name="T86" fmla="*/ 167 w 314"/>
                <a:gd name="T87" fmla="*/ 153 h 295"/>
                <a:gd name="T88" fmla="*/ 167 w 314"/>
                <a:gd name="T89" fmla="*/ 153 h 295"/>
                <a:gd name="T90" fmla="*/ 31 w 314"/>
                <a:gd name="T91" fmla="*/ 143 h 295"/>
                <a:gd name="T92" fmla="*/ 255 w 314"/>
                <a:gd name="T93" fmla="*/ 143 h 295"/>
                <a:gd name="T94" fmla="*/ 110 w 314"/>
                <a:gd name="T95" fmla="*/ 106 h 295"/>
                <a:gd name="T96" fmla="*/ 167 w 314"/>
                <a:gd name="T97" fmla="*/ 106 h 295"/>
                <a:gd name="T98" fmla="*/ 167 w 314"/>
                <a:gd name="T99" fmla="*/ 106 h 295"/>
                <a:gd name="T100" fmla="*/ 31 w 314"/>
                <a:gd name="T101" fmla="*/ 94 h 295"/>
                <a:gd name="T102" fmla="*/ 255 w 314"/>
                <a:gd name="T103" fmla="*/ 94 h 295"/>
                <a:gd name="T104" fmla="*/ 110 w 314"/>
                <a:gd name="T105" fmla="*/ 57 h 295"/>
                <a:gd name="T106" fmla="*/ 167 w 314"/>
                <a:gd name="T107" fmla="*/ 57 h 295"/>
                <a:gd name="T108" fmla="*/ 167 w 314"/>
                <a:gd name="T109" fmla="*/ 57 h 295"/>
                <a:gd name="T110" fmla="*/ 167 w 314"/>
                <a:gd name="T111" fmla="*/ 47 h 295"/>
                <a:gd name="T112" fmla="*/ 255 w 314"/>
                <a:gd name="T113" fmla="*/ 25 h 295"/>
                <a:gd name="T114" fmla="*/ 157 w 314"/>
                <a:gd name="T115" fmla="*/ 143 h 295"/>
                <a:gd name="T116" fmla="*/ 22 w 314"/>
                <a:gd name="T117" fmla="*/ 214 h 295"/>
                <a:gd name="T118" fmla="*/ 314 w 314"/>
                <a:gd name="T119" fmla="*/ 16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4" h="295">
                  <a:moveTo>
                    <a:pt x="110" y="248"/>
                  </a:moveTo>
                  <a:lnTo>
                    <a:pt x="120" y="248"/>
                  </a:lnTo>
                  <a:lnTo>
                    <a:pt x="120" y="239"/>
                  </a:lnTo>
                  <a:lnTo>
                    <a:pt x="110" y="239"/>
                  </a:lnTo>
                  <a:lnTo>
                    <a:pt x="110" y="248"/>
                  </a:lnTo>
                  <a:close/>
                  <a:moveTo>
                    <a:pt x="135" y="248"/>
                  </a:moveTo>
                  <a:lnTo>
                    <a:pt x="144" y="248"/>
                  </a:lnTo>
                  <a:lnTo>
                    <a:pt x="144" y="239"/>
                  </a:lnTo>
                  <a:lnTo>
                    <a:pt x="135" y="239"/>
                  </a:lnTo>
                  <a:lnTo>
                    <a:pt x="135" y="248"/>
                  </a:lnTo>
                  <a:close/>
                  <a:moveTo>
                    <a:pt x="159" y="248"/>
                  </a:moveTo>
                  <a:lnTo>
                    <a:pt x="169" y="248"/>
                  </a:lnTo>
                  <a:lnTo>
                    <a:pt x="169" y="239"/>
                  </a:lnTo>
                  <a:lnTo>
                    <a:pt x="159" y="239"/>
                  </a:lnTo>
                  <a:lnTo>
                    <a:pt x="159" y="248"/>
                  </a:lnTo>
                  <a:close/>
                  <a:moveTo>
                    <a:pt x="181" y="248"/>
                  </a:moveTo>
                  <a:lnTo>
                    <a:pt x="194" y="248"/>
                  </a:lnTo>
                  <a:lnTo>
                    <a:pt x="194" y="239"/>
                  </a:lnTo>
                  <a:lnTo>
                    <a:pt x="181" y="239"/>
                  </a:lnTo>
                  <a:lnTo>
                    <a:pt x="181" y="248"/>
                  </a:lnTo>
                  <a:close/>
                  <a:moveTo>
                    <a:pt x="22" y="248"/>
                  </a:moveTo>
                  <a:lnTo>
                    <a:pt x="31" y="248"/>
                  </a:lnTo>
                  <a:lnTo>
                    <a:pt x="31" y="236"/>
                  </a:lnTo>
                  <a:lnTo>
                    <a:pt x="22" y="236"/>
                  </a:lnTo>
                  <a:lnTo>
                    <a:pt x="22" y="248"/>
                  </a:lnTo>
                  <a:close/>
                  <a:moveTo>
                    <a:pt x="280" y="248"/>
                  </a:moveTo>
                  <a:lnTo>
                    <a:pt x="289" y="248"/>
                  </a:lnTo>
                  <a:lnTo>
                    <a:pt x="289" y="236"/>
                  </a:lnTo>
                  <a:lnTo>
                    <a:pt x="280" y="236"/>
                  </a:lnTo>
                  <a:lnTo>
                    <a:pt x="280" y="248"/>
                  </a:lnTo>
                  <a:close/>
                  <a:moveTo>
                    <a:pt x="110" y="224"/>
                  </a:moveTo>
                  <a:lnTo>
                    <a:pt x="120" y="224"/>
                  </a:lnTo>
                  <a:lnTo>
                    <a:pt x="120" y="214"/>
                  </a:lnTo>
                  <a:lnTo>
                    <a:pt x="110" y="214"/>
                  </a:lnTo>
                  <a:lnTo>
                    <a:pt x="110" y="224"/>
                  </a:lnTo>
                  <a:close/>
                  <a:moveTo>
                    <a:pt x="135" y="224"/>
                  </a:moveTo>
                  <a:lnTo>
                    <a:pt x="144" y="224"/>
                  </a:lnTo>
                  <a:lnTo>
                    <a:pt x="144" y="214"/>
                  </a:lnTo>
                  <a:lnTo>
                    <a:pt x="135" y="214"/>
                  </a:lnTo>
                  <a:lnTo>
                    <a:pt x="135" y="224"/>
                  </a:lnTo>
                  <a:close/>
                  <a:moveTo>
                    <a:pt x="159" y="224"/>
                  </a:moveTo>
                  <a:lnTo>
                    <a:pt x="169" y="224"/>
                  </a:lnTo>
                  <a:lnTo>
                    <a:pt x="169" y="214"/>
                  </a:lnTo>
                  <a:lnTo>
                    <a:pt x="159" y="214"/>
                  </a:lnTo>
                  <a:lnTo>
                    <a:pt x="159" y="224"/>
                  </a:lnTo>
                  <a:close/>
                  <a:moveTo>
                    <a:pt x="181" y="224"/>
                  </a:moveTo>
                  <a:lnTo>
                    <a:pt x="194" y="224"/>
                  </a:lnTo>
                  <a:lnTo>
                    <a:pt x="194" y="214"/>
                  </a:lnTo>
                  <a:lnTo>
                    <a:pt x="181" y="214"/>
                  </a:lnTo>
                  <a:lnTo>
                    <a:pt x="181" y="224"/>
                  </a:lnTo>
                  <a:close/>
                  <a:moveTo>
                    <a:pt x="280" y="224"/>
                  </a:moveTo>
                  <a:lnTo>
                    <a:pt x="289" y="224"/>
                  </a:lnTo>
                  <a:lnTo>
                    <a:pt x="289" y="214"/>
                  </a:lnTo>
                  <a:lnTo>
                    <a:pt x="280" y="214"/>
                  </a:lnTo>
                  <a:lnTo>
                    <a:pt x="280" y="224"/>
                  </a:lnTo>
                  <a:close/>
                  <a:moveTo>
                    <a:pt x="135" y="199"/>
                  </a:moveTo>
                  <a:lnTo>
                    <a:pt x="144" y="199"/>
                  </a:lnTo>
                  <a:lnTo>
                    <a:pt x="144" y="190"/>
                  </a:lnTo>
                  <a:lnTo>
                    <a:pt x="135" y="190"/>
                  </a:lnTo>
                  <a:lnTo>
                    <a:pt x="135" y="199"/>
                  </a:lnTo>
                  <a:close/>
                  <a:moveTo>
                    <a:pt x="159" y="199"/>
                  </a:moveTo>
                  <a:lnTo>
                    <a:pt x="169" y="199"/>
                  </a:lnTo>
                  <a:lnTo>
                    <a:pt x="169" y="190"/>
                  </a:lnTo>
                  <a:lnTo>
                    <a:pt x="159" y="190"/>
                  </a:lnTo>
                  <a:lnTo>
                    <a:pt x="159" y="199"/>
                  </a:lnTo>
                  <a:close/>
                  <a:moveTo>
                    <a:pt x="280" y="199"/>
                  </a:moveTo>
                  <a:lnTo>
                    <a:pt x="289" y="199"/>
                  </a:lnTo>
                  <a:lnTo>
                    <a:pt x="289" y="190"/>
                  </a:lnTo>
                  <a:lnTo>
                    <a:pt x="280" y="190"/>
                  </a:lnTo>
                  <a:lnTo>
                    <a:pt x="280" y="199"/>
                  </a:lnTo>
                  <a:close/>
                  <a:moveTo>
                    <a:pt x="135" y="177"/>
                  </a:moveTo>
                  <a:lnTo>
                    <a:pt x="144" y="177"/>
                  </a:lnTo>
                  <a:lnTo>
                    <a:pt x="144" y="167"/>
                  </a:lnTo>
                  <a:lnTo>
                    <a:pt x="135" y="167"/>
                  </a:lnTo>
                  <a:lnTo>
                    <a:pt x="135" y="177"/>
                  </a:lnTo>
                  <a:close/>
                  <a:moveTo>
                    <a:pt x="56" y="271"/>
                  </a:moveTo>
                  <a:lnTo>
                    <a:pt x="85" y="271"/>
                  </a:lnTo>
                  <a:lnTo>
                    <a:pt x="85" y="285"/>
                  </a:lnTo>
                  <a:lnTo>
                    <a:pt x="56" y="285"/>
                  </a:lnTo>
                  <a:lnTo>
                    <a:pt x="56" y="271"/>
                  </a:lnTo>
                  <a:close/>
                  <a:moveTo>
                    <a:pt x="218" y="271"/>
                  </a:moveTo>
                  <a:lnTo>
                    <a:pt x="255" y="271"/>
                  </a:lnTo>
                  <a:lnTo>
                    <a:pt x="255" y="285"/>
                  </a:lnTo>
                  <a:lnTo>
                    <a:pt x="218" y="285"/>
                  </a:lnTo>
                  <a:lnTo>
                    <a:pt x="218" y="271"/>
                  </a:lnTo>
                  <a:close/>
                  <a:moveTo>
                    <a:pt x="56" y="248"/>
                  </a:moveTo>
                  <a:lnTo>
                    <a:pt x="85" y="248"/>
                  </a:lnTo>
                  <a:lnTo>
                    <a:pt x="85" y="261"/>
                  </a:lnTo>
                  <a:lnTo>
                    <a:pt x="56" y="261"/>
                  </a:lnTo>
                  <a:lnTo>
                    <a:pt x="56" y="248"/>
                  </a:lnTo>
                  <a:close/>
                  <a:moveTo>
                    <a:pt x="218" y="248"/>
                  </a:moveTo>
                  <a:lnTo>
                    <a:pt x="255" y="248"/>
                  </a:lnTo>
                  <a:lnTo>
                    <a:pt x="255" y="261"/>
                  </a:lnTo>
                  <a:lnTo>
                    <a:pt x="218" y="261"/>
                  </a:lnTo>
                  <a:lnTo>
                    <a:pt x="218" y="248"/>
                  </a:lnTo>
                  <a:close/>
                  <a:moveTo>
                    <a:pt x="9" y="224"/>
                  </a:moveTo>
                  <a:lnTo>
                    <a:pt x="44" y="224"/>
                  </a:lnTo>
                  <a:lnTo>
                    <a:pt x="44" y="285"/>
                  </a:lnTo>
                  <a:lnTo>
                    <a:pt x="31" y="285"/>
                  </a:lnTo>
                  <a:lnTo>
                    <a:pt x="31" y="261"/>
                  </a:lnTo>
                  <a:lnTo>
                    <a:pt x="22" y="261"/>
                  </a:lnTo>
                  <a:lnTo>
                    <a:pt x="22" y="285"/>
                  </a:lnTo>
                  <a:lnTo>
                    <a:pt x="9" y="285"/>
                  </a:lnTo>
                  <a:lnTo>
                    <a:pt x="9" y="224"/>
                  </a:lnTo>
                  <a:close/>
                  <a:moveTo>
                    <a:pt x="56" y="224"/>
                  </a:moveTo>
                  <a:lnTo>
                    <a:pt x="85" y="224"/>
                  </a:lnTo>
                  <a:lnTo>
                    <a:pt x="85" y="236"/>
                  </a:lnTo>
                  <a:lnTo>
                    <a:pt x="56" y="236"/>
                  </a:lnTo>
                  <a:lnTo>
                    <a:pt x="56" y="224"/>
                  </a:lnTo>
                  <a:close/>
                  <a:moveTo>
                    <a:pt x="218" y="224"/>
                  </a:moveTo>
                  <a:lnTo>
                    <a:pt x="255" y="224"/>
                  </a:lnTo>
                  <a:lnTo>
                    <a:pt x="255" y="236"/>
                  </a:lnTo>
                  <a:lnTo>
                    <a:pt x="218" y="236"/>
                  </a:lnTo>
                  <a:lnTo>
                    <a:pt x="218" y="224"/>
                  </a:lnTo>
                  <a:close/>
                  <a:moveTo>
                    <a:pt x="31" y="199"/>
                  </a:moveTo>
                  <a:lnTo>
                    <a:pt x="85" y="199"/>
                  </a:lnTo>
                  <a:lnTo>
                    <a:pt x="85" y="214"/>
                  </a:lnTo>
                  <a:lnTo>
                    <a:pt x="31" y="214"/>
                  </a:lnTo>
                  <a:lnTo>
                    <a:pt x="31" y="199"/>
                  </a:lnTo>
                  <a:close/>
                  <a:moveTo>
                    <a:pt x="218" y="199"/>
                  </a:moveTo>
                  <a:lnTo>
                    <a:pt x="255" y="199"/>
                  </a:lnTo>
                  <a:lnTo>
                    <a:pt x="255" y="214"/>
                  </a:lnTo>
                  <a:lnTo>
                    <a:pt x="218" y="214"/>
                  </a:lnTo>
                  <a:lnTo>
                    <a:pt x="218" y="199"/>
                  </a:lnTo>
                  <a:close/>
                  <a:moveTo>
                    <a:pt x="31" y="177"/>
                  </a:moveTo>
                  <a:lnTo>
                    <a:pt x="110" y="177"/>
                  </a:lnTo>
                  <a:lnTo>
                    <a:pt x="110" y="190"/>
                  </a:lnTo>
                  <a:lnTo>
                    <a:pt x="31" y="190"/>
                  </a:lnTo>
                  <a:lnTo>
                    <a:pt x="31" y="177"/>
                  </a:lnTo>
                  <a:close/>
                  <a:moveTo>
                    <a:pt x="194" y="177"/>
                  </a:moveTo>
                  <a:lnTo>
                    <a:pt x="255" y="177"/>
                  </a:lnTo>
                  <a:lnTo>
                    <a:pt x="255" y="190"/>
                  </a:lnTo>
                  <a:lnTo>
                    <a:pt x="194" y="190"/>
                  </a:lnTo>
                  <a:lnTo>
                    <a:pt x="194" y="177"/>
                  </a:lnTo>
                  <a:close/>
                  <a:moveTo>
                    <a:pt x="265" y="177"/>
                  </a:moveTo>
                  <a:lnTo>
                    <a:pt x="304" y="177"/>
                  </a:lnTo>
                  <a:lnTo>
                    <a:pt x="304" y="285"/>
                  </a:lnTo>
                  <a:lnTo>
                    <a:pt x="289" y="285"/>
                  </a:lnTo>
                  <a:lnTo>
                    <a:pt x="289" y="261"/>
                  </a:lnTo>
                  <a:lnTo>
                    <a:pt x="280" y="261"/>
                  </a:lnTo>
                  <a:lnTo>
                    <a:pt x="280" y="285"/>
                  </a:lnTo>
                  <a:lnTo>
                    <a:pt x="265" y="285"/>
                  </a:lnTo>
                  <a:lnTo>
                    <a:pt x="265" y="177"/>
                  </a:lnTo>
                  <a:close/>
                  <a:moveTo>
                    <a:pt x="31" y="153"/>
                  </a:moveTo>
                  <a:lnTo>
                    <a:pt x="110" y="153"/>
                  </a:lnTo>
                  <a:lnTo>
                    <a:pt x="110" y="167"/>
                  </a:lnTo>
                  <a:lnTo>
                    <a:pt x="31" y="167"/>
                  </a:lnTo>
                  <a:lnTo>
                    <a:pt x="31" y="153"/>
                  </a:lnTo>
                  <a:close/>
                  <a:moveTo>
                    <a:pt x="95" y="199"/>
                  </a:moveTo>
                  <a:lnTo>
                    <a:pt x="120" y="199"/>
                  </a:lnTo>
                  <a:lnTo>
                    <a:pt x="120" y="153"/>
                  </a:lnTo>
                  <a:lnTo>
                    <a:pt x="157" y="153"/>
                  </a:lnTo>
                  <a:lnTo>
                    <a:pt x="157" y="177"/>
                  </a:lnTo>
                  <a:lnTo>
                    <a:pt x="181" y="177"/>
                  </a:lnTo>
                  <a:lnTo>
                    <a:pt x="181" y="199"/>
                  </a:lnTo>
                  <a:lnTo>
                    <a:pt x="206" y="199"/>
                  </a:lnTo>
                  <a:lnTo>
                    <a:pt x="206" y="285"/>
                  </a:lnTo>
                  <a:lnTo>
                    <a:pt x="194" y="285"/>
                  </a:lnTo>
                  <a:lnTo>
                    <a:pt x="194" y="261"/>
                  </a:lnTo>
                  <a:lnTo>
                    <a:pt x="181" y="261"/>
                  </a:lnTo>
                  <a:lnTo>
                    <a:pt x="181" y="285"/>
                  </a:lnTo>
                  <a:lnTo>
                    <a:pt x="169" y="285"/>
                  </a:lnTo>
                  <a:lnTo>
                    <a:pt x="169" y="261"/>
                  </a:lnTo>
                  <a:lnTo>
                    <a:pt x="159" y="261"/>
                  </a:lnTo>
                  <a:lnTo>
                    <a:pt x="159" y="285"/>
                  </a:lnTo>
                  <a:lnTo>
                    <a:pt x="144" y="285"/>
                  </a:lnTo>
                  <a:lnTo>
                    <a:pt x="144" y="261"/>
                  </a:lnTo>
                  <a:lnTo>
                    <a:pt x="135" y="261"/>
                  </a:lnTo>
                  <a:lnTo>
                    <a:pt x="135" y="285"/>
                  </a:lnTo>
                  <a:lnTo>
                    <a:pt x="120" y="285"/>
                  </a:lnTo>
                  <a:lnTo>
                    <a:pt x="120" y="261"/>
                  </a:lnTo>
                  <a:lnTo>
                    <a:pt x="110" y="261"/>
                  </a:lnTo>
                  <a:lnTo>
                    <a:pt x="110" y="285"/>
                  </a:lnTo>
                  <a:lnTo>
                    <a:pt x="95" y="285"/>
                  </a:lnTo>
                  <a:lnTo>
                    <a:pt x="95" y="199"/>
                  </a:lnTo>
                  <a:close/>
                  <a:moveTo>
                    <a:pt x="167" y="153"/>
                  </a:moveTo>
                  <a:lnTo>
                    <a:pt x="255" y="153"/>
                  </a:lnTo>
                  <a:lnTo>
                    <a:pt x="255" y="167"/>
                  </a:lnTo>
                  <a:lnTo>
                    <a:pt x="167" y="167"/>
                  </a:lnTo>
                  <a:lnTo>
                    <a:pt x="167" y="153"/>
                  </a:lnTo>
                  <a:close/>
                  <a:moveTo>
                    <a:pt x="31" y="128"/>
                  </a:moveTo>
                  <a:lnTo>
                    <a:pt x="110" y="128"/>
                  </a:lnTo>
                  <a:lnTo>
                    <a:pt x="110" y="143"/>
                  </a:lnTo>
                  <a:lnTo>
                    <a:pt x="31" y="143"/>
                  </a:lnTo>
                  <a:lnTo>
                    <a:pt x="31" y="128"/>
                  </a:lnTo>
                  <a:close/>
                  <a:moveTo>
                    <a:pt x="167" y="128"/>
                  </a:moveTo>
                  <a:lnTo>
                    <a:pt x="255" y="128"/>
                  </a:lnTo>
                  <a:lnTo>
                    <a:pt x="255" y="143"/>
                  </a:lnTo>
                  <a:lnTo>
                    <a:pt x="167" y="143"/>
                  </a:lnTo>
                  <a:lnTo>
                    <a:pt x="167" y="128"/>
                  </a:lnTo>
                  <a:close/>
                  <a:moveTo>
                    <a:pt x="31" y="106"/>
                  </a:moveTo>
                  <a:lnTo>
                    <a:pt x="110" y="106"/>
                  </a:lnTo>
                  <a:lnTo>
                    <a:pt x="110" y="118"/>
                  </a:lnTo>
                  <a:lnTo>
                    <a:pt x="31" y="118"/>
                  </a:lnTo>
                  <a:lnTo>
                    <a:pt x="31" y="106"/>
                  </a:lnTo>
                  <a:close/>
                  <a:moveTo>
                    <a:pt x="167" y="106"/>
                  </a:moveTo>
                  <a:lnTo>
                    <a:pt x="255" y="106"/>
                  </a:lnTo>
                  <a:lnTo>
                    <a:pt x="255" y="118"/>
                  </a:lnTo>
                  <a:lnTo>
                    <a:pt x="167" y="118"/>
                  </a:lnTo>
                  <a:lnTo>
                    <a:pt x="167" y="106"/>
                  </a:lnTo>
                  <a:close/>
                  <a:moveTo>
                    <a:pt x="31" y="81"/>
                  </a:moveTo>
                  <a:lnTo>
                    <a:pt x="110" y="81"/>
                  </a:lnTo>
                  <a:lnTo>
                    <a:pt x="110" y="94"/>
                  </a:lnTo>
                  <a:lnTo>
                    <a:pt x="31" y="94"/>
                  </a:lnTo>
                  <a:lnTo>
                    <a:pt x="31" y="81"/>
                  </a:lnTo>
                  <a:close/>
                  <a:moveTo>
                    <a:pt x="167" y="81"/>
                  </a:moveTo>
                  <a:lnTo>
                    <a:pt x="255" y="81"/>
                  </a:lnTo>
                  <a:lnTo>
                    <a:pt x="255" y="94"/>
                  </a:lnTo>
                  <a:lnTo>
                    <a:pt x="167" y="94"/>
                  </a:lnTo>
                  <a:lnTo>
                    <a:pt x="167" y="81"/>
                  </a:lnTo>
                  <a:close/>
                  <a:moveTo>
                    <a:pt x="31" y="57"/>
                  </a:moveTo>
                  <a:lnTo>
                    <a:pt x="110" y="57"/>
                  </a:lnTo>
                  <a:lnTo>
                    <a:pt x="110" y="72"/>
                  </a:lnTo>
                  <a:lnTo>
                    <a:pt x="31" y="72"/>
                  </a:lnTo>
                  <a:lnTo>
                    <a:pt x="31" y="57"/>
                  </a:lnTo>
                  <a:close/>
                  <a:moveTo>
                    <a:pt x="167" y="57"/>
                  </a:moveTo>
                  <a:lnTo>
                    <a:pt x="255" y="57"/>
                  </a:lnTo>
                  <a:lnTo>
                    <a:pt x="255" y="72"/>
                  </a:lnTo>
                  <a:lnTo>
                    <a:pt x="167" y="72"/>
                  </a:lnTo>
                  <a:lnTo>
                    <a:pt x="167" y="57"/>
                  </a:lnTo>
                  <a:close/>
                  <a:moveTo>
                    <a:pt x="167" y="35"/>
                  </a:moveTo>
                  <a:lnTo>
                    <a:pt x="255" y="35"/>
                  </a:lnTo>
                  <a:lnTo>
                    <a:pt x="255" y="47"/>
                  </a:lnTo>
                  <a:lnTo>
                    <a:pt x="167" y="47"/>
                  </a:lnTo>
                  <a:lnTo>
                    <a:pt x="167" y="35"/>
                  </a:lnTo>
                  <a:close/>
                  <a:moveTo>
                    <a:pt x="167" y="10"/>
                  </a:moveTo>
                  <a:lnTo>
                    <a:pt x="255" y="10"/>
                  </a:lnTo>
                  <a:lnTo>
                    <a:pt x="255" y="25"/>
                  </a:lnTo>
                  <a:lnTo>
                    <a:pt x="167" y="25"/>
                  </a:lnTo>
                  <a:lnTo>
                    <a:pt x="167" y="10"/>
                  </a:lnTo>
                  <a:close/>
                  <a:moveTo>
                    <a:pt x="157" y="0"/>
                  </a:moveTo>
                  <a:lnTo>
                    <a:pt x="157" y="143"/>
                  </a:lnTo>
                  <a:lnTo>
                    <a:pt x="120" y="143"/>
                  </a:lnTo>
                  <a:lnTo>
                    <a:pt x="120" y="47"/>
                  </a:lnTo>
                  <a:lnTo>
                    <a:pt x="22" y="47"/>
                  </a:lnTo>
                  <a:lnTo>
                    <a:pt x="22" y="214"/>
                  </a:lnTo>
                  <a:lnTo>
                    <a:pt x="0" y="214"/>
                  </a:lnTo>
                  <a:lnTo>
                    <a:pt x="0" y="295"/>
                  </a:lnTo>
                  <a:lnTo>
                    <a:pt x="314" y="295"/>
                  </a:lnTo>
                  <a:lnTo>
                    <a:pt x="314" y="167"/>
                  </a:lnTo>
                  <a:lnTo>
                    <a:pt x="265" y="167"/>
                  </a:lnTo>
                  <a:lnTo>
                    <a:pt x="265" y="0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4" name="Group 733">
            <a:extLst>
              <a:ext uri="{FF2B5EF4-FFF2-40B4-BE49-F238E27FC236}">
                <a16:creationId xmlns:a16="http://schemas.microsoft.com/office/drawing/2014/main" id="{92FF1EBF-A57C-4DA5-8F7D-7328833539FD}"/>
              </a:ext>
            </a:extLst>
          </p:cNvPr>
          <p:cNvGrpSpPr/>
          <p:nvPr/>
        </p:nvGrpSpPr>
        <p:grpSpPr>
          <a:xfrm>
            <a:off x="6919913" y="5471319"/>
            <a:ext cx="844550" cy="844550"/>
            <a:chOff x="6919913" y="5491163"/>
            <a:chExt cx="844550" cy="844550"/>
          </a:xfrm>
        </p:grpSpPr>
        <p:sp>
          <p:nvSpPr>
            <p:cNvPr id="730" name="AutoShape 291">
              <a:extLst>
                <a:ext uri="{FF2B5EF4-FFF2-40B4-BE49-F238E27FC236}">
                  <a16:creationId xmlns:a16="http://schemas.microsoft.com/office/drawing/2014/main" id="{4A94164E-BD03-4F6E-AACE-9609D47D71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19913" y="54911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1" name="Oval 293">
              <a:extLst>
                <a:ext uri="{FF2B5EF4-FFF2-40B4-BE49-F238E27FC236}">
                  <a16:creationId xmlns:a16="http://schemas.microsoft.com/office/drawing/2014/main" id="{7F06B43D-14A6-4736-8F99-F9AD8F6E1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9913" y="5491163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2" name="Freeform 294">
              <a:extLst>
                <a:ext uri="{FF2B5EF4-FFF2-40B4-BE49-F238E27FC236}">
                  <a16:creationId xmlns:a16="http://schemas.microsoft.com/office/drawing/2014/main" id="{495C3C30-200D-4E24-8035-D703D7968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8488" y="5519738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3" name="Freeform 295">
              <a:extLst>
                <a:ext uri="{FF2B5EF4-FFF2-40B4-BE49-F238E27FC236}">
                  <a16:creationId xmlns:a16="http://schemas.microsoft.com/office/drawing/2014/main" id="{CCFCF590-0BFA-4F00-8B03-96CFF93D0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1838" y="5670551"/>
              <a:ext cx="520700" cy="487363"/>
            </a:xfrm>
            <a:custGeom>
              <a:avLst/>
              <a:gdLst>
                <a:gd name="T0" fmla="*/ 116 w 328"/>
                <a:gd name="T1" fmla="*/ 248 h 307"/>
                <a:gd name="T2" fmla="*/ 151 w 328"/>
                <a:gd name="T3" fmla="*/ 248 h 307"/>
                <a:gd name="T4" fmla="*/ 177 w 328"/>
                <a:gd name="T5" fmla="*/ 258 h 307"/>
                <a:gd name="T6" fmla="*/ 190 w 328"/>
                <a:gd name="T7" fmla="*/ 258 h 307"/>
                <a:gd name="T8" fmla="*/ 190 w 328"/>
                <a:gd name="T9" fmla="*/ 258 h 307"/>
                <a:gd name="T10" fmla="*/ 23 w 328"/>
                <a:gd name="T11" fmla="*/ 245 h 307"/>
                <a:gd name="T12" fmla="*/ 302 w 328"/>
                <a:gd name="T13" fmla="*/ 245 h 307"/>
                <a:gd name="T14" fmla="*/ 126 w 328"/>
                <a:gd name="T15" fmla="*/ 233 h 307"/>
                <a:gd name="T16" fmla="*/ 141 w 328"/>
                <a:gd name="T17" fmla="*/ 233 h 307"/>
                <a:gd name="T18" fmla="*/ 141 w 328"/>
                <a:gd name="T19" fmla="*/ 233 h 307"/>
                <a:gd name="T20" fmla="*/ 167 w 328"/>
                <a:gd name="T21" fmla="*/ 222 h 307"/>
                <a:gd name="T22" fmla="*/ 203 w 328"/>
                <a:gd name="T23" fmla="*/ 222 h 307"/>
                <a:gd name="T24" fmla="*/ 302 w 328"/>
                <a:gd name="T25" fmla="*/ 233 h 307"/>
                <a:gd name="T26" fmla="*/ 141 w 328"/>
                <a:gd name="T27" fmla="*/ 207 h 307"/>
                <a:gd name="T28" fmla="*/ 141 w 328"/>
                <a:gd name="T29" fmla="*/ 207 h 307"/>
                <a:gd name="T30" fmla="*/ 167 w 328"/>
                <a:gd name="T31" fmla="*/ 197 h 307"/>
                <a:gd name="T32" fmla="*/ 302 w 328"/>
                <a:gd name="T33" fmla="*/ 197 h 307"/>
                <a:gd name="T34" fmla="*/ 151 w 328"/>
                <a:gd name="T35" fmla="*/ 184 h 307"/>
                <a:gd name="T36" fmla="*/ 59 w 328"/>
                <a:gd name="T37" fmla="*/ 281 h 307"/>
                <a:gd name="T38" fmla="*/ 59 w 328"/>
                <a:gd name="T39" fmla="*/ 281 h 307"/>
                <a:gd name="T40" fmla="*/ 228 w 328"/>
                <a:gd name="T41" fmla="*/ 297 h 307"/>
                <a:gd name="T42" fmla="*/ 90 w 328"/>
                <a:gd name="T43" fmla="*/ 271 h 307"/>
                <a:gd name="T44" fmla="*/ 267 w 328"/>
                <a:gd name="T45" fmla="*/ 258 h 307"/>
                <a:gd name="T46" fmla="*/ 11 w 328"/>
                <a:gd name="T47" fmla="*/ 233 h 307"/>
                <a:gd name="T48" fmla="*/ 34 w 328"/>
                <a:gd name="T49" fmla="*/ 271 h 307"/>
                <a:gd name="T50" fmla="*/ 11 w 328"/>
                <a:gd name="T51" fmla="*/ 233 h 307"/>
                <a:gd name="T52" fmla="*/ 59 w 328"/>
                <a:gd name="T53" fmla="*/ 245 h 307"/>
                <a:gd name="T54" fmla="*/ 267 w 328"/>
                <a:gd name="T55" fmla="*/ 245 h 307"/>
                <a:gd name="T56" fmla="*/ 90 w 328"/>
                <a:gd name="T57" fmla="*/ 207 h 307"/>
                <a:gd name="T58" fmla="*/ 228 w 328"/>
                <a:gd name="T59" fmla="*/ 207 h 307"/>
                <a:gd name="T60" fmla="*/ 228 w 328"/>
                <a:gd name="T61" fmla="*/ 207 h 307"/>
                <a:gd name="T62" fmla="*/ 34 w 328"/>
                <a:gd name="T63" fmla="*/ 197 h 307"/>
                <a:gd name="T64" fmla="*/ 267 w 328"/>
                <a:gd name="T65" fmla="*/ 197 h 307"/>
                <a:gd name="T66" fmla="*/ 318 w 328"/>
                <a:gd name="T67" fmla="*/ 184 h 307"/>
                <a:gd name="T68" fmla="*/ 292 w 328"/>
                <a:gd name="T69" fmla="*/ 271 h 307"/>
                <a:gd name="T70" fmla="*/ 34 w 328"/>
                <a:gd name="T71" fmla="*/ 158 h 307"/>
                <a:gd name="T72" fmla="*/ 34 w 328"/>
                <a:gd name="T73" fmla="*/ 158 h 307"/>
                <a:gd name="T74" fmla="*/ 164 w 328"/>
                <a:gd name="T75" fmla="*/ 158 h 307"/>
                <a:gd name="T76" fmla="*/ 215 w 328"/>
                <a:gd name="T77" fmla="*/ 207 h 307"/>
                <a:gd name="T78" fmla="*/ 190 w 328"/>
                <a:gd name="T79" fmla="*/ 271 h 307"/>
                <a:gd name="T80" fmla="*/ 167 w 328"/>
                <a:gd name="T81" fmla="*/ 271 h 307"/>
                <a:gd name="T82" fmla="*/ 141 w 328"/>
                <a:gd name="T83" fmla="*/ 271 h 307"/>
                <a:gd name="T84" fmla="*/ 116 w 328"/>
                <a:gd name="T85" fmla="*/ 271 h 307"/>
                <a:gd name="T86" fmla="*/ 174 w 328"/>
                <a:gd name="T87" fmla="*/ 158 h 307"/>
                <a:gd name="T88" fmla="*/ 174 w 328"/>
                <a:gd name="T89" fmla="*/ 158 h 307"/>
                <a:gd name="T90" fmla="*/ 34 w 328"/>
                <a:gd name="T91" fmla="*/ 148 h 307"/>
                <a:gd name="T92" fmla="*/ 267 w 328"/>
                <a:gd name="T93" fmla="*/ 148 h 307"/>
                <a:gd name="T94" fmla="*/ 116 w 328"/>
                <a:gd name="T95" fmla="*/ 110 h 307"/>
                <a:gd name="T96" fmla="*/ 174 w 328"/>
                <a:gd name="T97" fmla="*/ 110 h 307"/>
                <a:gd name="T98" fmla="*/ 174 w 328"/>
                <a:gd name="T99" fmla="*/ 110 h 307"/>
                <a:gd name="T100" fmla="*/ 34 w 328"/>
                <a:gd name="T101" fmla="*/ 97 h 307"/>
                <a:gd name="T102" fmla="*/ 267 w 328"/>
                <a:gd name="T103" fmla="*/ 97 h 307"/>
                <a:gd name="T104" fmla="*/ 116 w 328"/>
                <a:gd name="T105" fmla="*/ 58 h 307"/>
                <a:gd name="T106" fmla="*/ 174 w 328"/>
                <a:gd name="T107" fmla="*/ 58 h 307"/>
                <a:gd name="T108" fmla="*/ 174 w 328"/>
                <a:gd name="T109" fmla="*/ 58 h 307"/>
                <a:gd name="T110" fmla="*/ 174 w 328"/>
                <a:gd name="T111" fmla="*/ 48 h 307"/>
                <a:gd name="T112" fmla="*/ 267 w 328"/>
                <a:gd name="T113" fmla="*/ 25 h 307"/>
                <a:gd name="T114" fmla="*/ 164 w 328"/>
                <a:gd name="T115" fmla="*/ 148 h 307"/>
                <a:gd name="T116" fmla="*/ 23 w 328"/>
                <a:gd name="T117" fmla="*/ 222 h 307"/>
                <a:gd name="T118" fmla="*/ 328 w 328"/>
                <a:gd name="T119" fmla="*/ 174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8" h="307">
                  <a:moveTo>
                    <a:pt x="116" y="258"/>
                  </a:moveTo>
                  <a:lnTo>
                    <a:pt x="126" y="258"/>
                  </a:lnTo>
                  <a:lnTo>
                    <a:pt x="126" y="248"/>
                  </a:lnTo>
                  <a:lnTo>
                    <a:pt x="116" y="248"/>
                  </a:lnTo>
                  <a:lnTo>
                    <a:pt x="116" y="258"/>
                  </a:lnTo>
                  <a:close/>
                  <a:moveTo>
                    <a:pt x="141" y="258"/>
                  </a:moveTo>
                  <a:lnTo>
                    <a:pt x="151" y="258"/>
                  </a:lnTo>
                  <a:lnTo>
                    <a:pt x="151" y="248"/>
                  </a:lnTo>
                  <a:lnTo>
                    <a:pt x="141" y="248"/>
                  </a:lnTo>
                  <a:lnTo>
                    <a:pt x="141" y="258"/>
                  </a:lnTo>
                  <a:close/>
                  <a:moveTo>
                    <a:pt x="167" y="258"/>
                  </a:moveTo>
                  <a:lnTo>
                    <a:pt x="177" y="258"/>
                  </a:lnTo>
                  <a:lnTo>
                    <a:pt x="177" y="248"/>
                  </a:lnTo>
                  <a:lnTo>
                    <a:pt x="167" y="248"/>
                  </a:lnTo>
                  <a:lnTo>
                    <a:pt x="167" y="258"/>
                  </a:lnTo>
                  <a:close/>
                  <a:moveTo>
                    <a:pt x="190" y="258"/>
                  </a:moveTo>
                  <a:lnTo>
                    <a:pt x="203" y="258"/>
                  </a:lnTo>
                  <a:lnTo>
                    <a:pt x="203" y="248"/>
                  </a:lnTo>
                  <a:lnTo>
                    <a:pt x="190" y="248"/>
                  </a:lnTo>
                  <a:lnTo>
                    <a:pt x="190" y="258"/>
                  </a:lnTo>
                  <a:close/>
                  <a:moveTo>
                    <a:pt x="23" y="258"/>
                  </a:moveTo>
                  <a:lnTo>
                    <a:pt x="34" y="258"/>
                  </a:lnTo>
                  <a:lnTo>
                    <a:pt x="34" y="245"/>
                  </a:lnTo>
                  <a:lnTo>
                    <a:pt x="23" y="245"/>
                  </a:lnTo>
                  <a:lnTo>
                    <a:pt x="23" y="258"/>
                  </a:lnTo>
                  <a:close/>
                  <a:moveTo>
                    <a:pt x="292" y="258"/>
                  </a:moveTo>
                  <a:lnTo>
                    <a:pt x="302" y="258"/>
                  </a:lnTo>
                  <a:lnTo>
                    <a:pt x="302" y="245"/>
                  </a:lnTo>
                  <a:lnTo>
                    <a:pt x="292" y="245"/>
                  </a:lnTo>
                  <a:lnTo>
                    <a:pt x="292" y="258"/>
                  </a:lnTo>
                  <a:close/>
                  <a:moveTo>
                    <a:pt x="116" y="233"/>
                  </a:moveTo>
                  <a:lnTo>
                    <a:pt x="126" y="233"/>
                  </a:lnTo>
                  <a:lnTo>
                    <a:pt x="126" y="222"/>
                  </a:lnTo>
                  <a:lnTo>
                    <a:pt x="116" y="222"/>
                  </a:lnTo>
                  <a:lnTo>
                    <a:pt x="116" y="233"/>
                  </a:lnTo>
                  <a:close/>
                  <a:moveTo>
                    <a:pt x="141" y="233"/>
                  </a:moveTo>
                  <a:lnTo>
                    <a:pt x="151" y="233"/>
                  </a:lnTo>
                  <a:lnTo>
                    <a:pt x="151" y="222"/>
                  </a:lnTo>
                  <a:lnTo>
                    <a:pt x="141" y="222"/>
                  </a:lnTo>
                  <a:lnTo>
                    <a:pt x="141" y="233"/>
                  </a:lnTo>
                  <a:close/>
                  <a:moveTo>
                    <a:pt x="167" y="233"/>
                  </a:moveTo>
                  <a:lnTo>
                    <a:pt x="177" y="233"/>
                  </a:lnTo>
                  <a:lnTo>
                    <a:pt x="177" y="222"/>
                  </a:lnTo>
                  <a:lnTo>
                    <a:pt x="167" y="222"/>
                  </a:lnTo>
                  <a:lnTo>
                    <a:pt x="167" y="233"/>
                  </a:lnTo>
                  <a:close/>
                  <a:moveTo>
                    <a:pt x="190" y="233"/>
                  </a:moveTo>
                  <a:lnTo>
                    <a:pt x="203" y="233"/>
                  </a:lnTo>
                  <a:lnTo>
                    <a:pt x="203" y="222"/>
                  </a:lnTo>
                  <a:lnTo>
                    <a:pt x="190" y="222"/>
                  </a:lnTo>
                  <a:lnTo>
                    <a:pt x="190" y="233"/>
                  </a:lnTo>
                  <a:close/>
                  <a:moveTo>
                    <a:pt x="292" y="233"/>
                  </a:moveTo>
                  <a:lnTo>
                    <a:pt x="302" y="233"/>
                  </a:lnTo>
                  <a:lnTo>
                    <a:pt x="302" y="222"/>
                  </a:lnTo>
                  <a:lnTo>
                    <a:pt x="292" y="222"/>
                  </a:lnTo>
                  <a:lnTo>
                    <a:pt x="292" y="233"/>
                  </a:lnTo>
                  <a:close/>
                  <a:moveTo>
                    <a:pt x="141" y="207"/>
                  </a:moveTo>
                  <a:lnTo>
                    <a:pt x="151" y="207"/>
                  </a:lnTo>
                  <a:lnTo>
                    <a:pt x="151" y="197"/>
                  </a:lnTo>
                  <a:lnTo>
                    <a:pt x="141" y="197"/>
                  </a:lnTo>
                  <a:lnTo>
                    <a:pt x="141" y="207"/>
                  </a:lnTo>
                  <a:close/>
                  <a:moveTo>
                    <a:pt x="167" y="207"/>
                  </a:moveTo>
                  <a:lnTo>
                    <a:pt x="177" y="207"/>
                  </a:lnTo>
                  <a:lnTo>
                    <a:pt x="177" y="197"/>
                  </a:lnTo>
                  <a:lnTo>
                    <a:pt x="167" y="197"/>
                  </a:lnTo>
                  <a:lnTo>
                    <a:pt x="167" y="207"/>
                  </a:lnTo>
                  <a:close/>
                  <a:moveTo>
                    <a:pt x="292" y="207"/>
                  </a:moveTo>
                  <a:lnTo>
                    <a:pt x="302" y="207"/>
                  </a:lnTo>
                  <a:lnTo>
                    <a:pt x="302" y="197"/>
                  </a:lnTo>
                  <a:lnTo>
                    <a:pt x="292" y="197"/>
                  </a:lnTo>
                  <a:lnTo>
                    <a:pt x="292" y="207"/>
                  </a:lnTo>
                  <a:close/>
                  <a:moveTo>
                    <a:pt x="141" y="184"/>
                  </a:moveTo>
                  <a:lnTo>
                    <a:pt x="151" y="184"/>
                  </a:lnTo>
                  <a:lnTo>
                    <a:pt x="151" y="174"/>
                  </a:lnTo>
                  <a:lnTo>
                    <a:pt x="141" y="174"/>
                  </a:lnTo>
                  <a:lnTo>
                    <a:pt x="141" y="184"/>
                  </a:lnTo>
                  <a:close/>
                  <a:moveTo>
                    <a:pt x="59" y="281"/>
                  </a:moveTo>
                  <a:lnTo>
                    <a:pt x="90" y="281"/>
                  </a:lnTo>
                  <a:lnTo>
                    <a:pt x="90" y="297"/>
                  </a:lnTo>
                  <a:lnTo>
                    <a:pt x="59" y="297"/>
                  </a:lnTo>
                  <a:lnTo>
                    <a:pt x="59" y="281"/>
                  </a:lnTo>
                  <a:close/>
                  <a:moveTo>
                    <a:pt x="228" y="281"/>
                  </a:moveTo>
                  <a:lnTo>
                    <a:pt x="267" y="281"/>
                  </a:lnTo>
                  <a:lnTo>
                    <a:pt x="267" y="297"/>
                  </a:lnTo>
                  <a:lnTo>
                    <a:pt x="228" y="297"/>
                  </a:lnTo>
                  <a:lnTo>
                    <a:pt x="228" y="281"/>
                  </a:lnTo>
                  <a:close/>
                  <a:moveTo>
                    <a:pt x="59" y="258"/>
                  </a:moveTo>
                  <a:lnTo>
                    <a:pt x="90" y="258"/>
                  </a:lnTo>
                  <a:lnTo>
                    <a:pt x="90" y="271"/>
                  </a:lnTo>
                  <a:lnTo>
                    <a:pt x="59" y="271"/>
                  </a:lnTo>
                  <a:lnTo>
                    <a:pt x="59" y="258"/>
                  </a:lnTo>
                  <a:close/>
                  <a:moveTo>
                    <a:pt x="228" y="258"/>
                  </a:moveTo>
                  <a:lnTo>
                    <a:pt x="267" y="258"/>
                  </a:lnTo>
                  <a:lnTo>
                    <a:pt x="267" y="271"/>
                  </a:lnTo>
                  <a:lnTo>
                    <a:pt x="228" y="271"/>
                  </a:lnTo>
                  <a:lnTo>
                    <a:pt x="228" y="258"/>
                  </a:lnTo>
                  <a:close/>
                  <a:moveTo>
                    <a:pt x="11" y="233"/>
                  </a:moveTo>
                  <a:lnTo>
                    <a:pt x="46" y="233"/>
                  </a:lnTo>
                  <a:lnTo>
                    <a:pt x="46" y="297"/>
                  </a:lnTo>
                  <a:lnTo>
                    <a:pt x="34" y="297"/>
                  </a:lnTo>
                  <a:lnTo>
                    <a:pt x="34" y="271"/>
                  </a:lnTo>
                  <a:lnTo>
                    <a:pt x="23" y="271"/>
                  </a:lnTo>
                  <a:lnTo>
                    <a:pt x="23" y="297"/>
                  </a:lnTo>
                  <a:lnTo>
                    <a:pt x="11" y="297"/>
                  </a:lnTo>
                  <a:lnTo>
                    <a:pt x="11" y="233"/>
                  </a:lnTo>
                  <a:close/>
                  <a:moveTo>
                    <a:pt x="59" y="233"/>
                  </a:moveTo>
                  <a:lnTo>
                    <a:pt x="90" y="233"/>
                  </a:lnTo>
                  <a:lnTo>
                    <a:pt x="90" y="245"/>
                  </a:lnTo>
                  <a:lnTo>
                    <a:pt x="59" y="245"/>
                  </a:lnTo>
                  <a:lnTo>
                    <a:pt x="59" y="233"/>
                  </a:lnTo>
                  <a:close/>
                  <a:moveTo>
                    <a:pt x="228" y="233"/>
                  </a:moveTo>
                  <a:lnTo>
                    <a:pt x="267" y="233"/>
                  </a:lnTo>
                  <a:lnTo>
                    <a:pt x="267" y="245"/>
                  </a:lnTo>
                  <a:lnTo>
                    <a:pt x="228" y="245"/>
                  </a:lnTo>
                  <a:lnTo>
                    <a:pt x="228" y="233"/>
                  </a:lnTo>
                  <a:close/>
                  <a:moveTo>
                    <a:pt x="34" y="207"/>
                  </a:moveTo>
                  <a:lnTo>
                    <a:pt x="90" y="207"/>
                  </a:lnTo>
                  <a:lnTo>
                    <a:pt x="90" y="222"/>
                  </a:lnTo>
                  <a:lnTo>
                    <a:pt x="34" y="222"/>
                  </a:lnTo>
                  <a:lnTo>
                    <a:pt x="34" y="207"/>
                  </a:lnTo>
                  <a:close/>
                  <a:moveTo>
                    <a:pt x="228" y="207"/>
                  </a:moveTo>
                  <a:lnTo>
                    <a:pt x="267" y="207"/>
                  </a:lnTo>
                  <a:lnTo>
                    <a:pt x="267" y="222"/>
                  </a:lnTo>
                  <a:lnTo>
                    <a:pt x="228" y="222"/>
                  </a:lnTo>
                  <a:lnTo>
                    <a:pt x="228" y="207"/>
                  </a:lnTo>
                  <a:close/>
                  <a:moveTo>
                    <a:pt x="34" y="184"/>
                  </a:moveTo>
                  <a:lnTo>
                    <a:pt x="116" y="184"/>
                  </a:lnTo>
                  <a:lnTo>
                    <a:pt x="116" y="197"/>
                  </a:lnTo>
                  <a:lnTo>
                    <a:pt x="34" y="197"/>
                  </a:lnTo>
                  <a:lnTo>
                    <a:pt x="34" y="184"/>
                  </a:lnTo>
                  <a:close/>
                  <a:moveTo>
                    <a:pt x="203" y="184"/>
                  </a:moveTo>
                  <a:lnTo>
                    <a:pt x="267" y="184"/>
                  </a:lnTo>
                  <a:lnTo>
                    <a:pt x="267" y="197"/>
                  </a:lnTo>
                  <a:lnTo>
                    <a:pt x="203" y="197"/>
                  </a:lnTo>
                  <a:lnTo>
                    <a:pt x="203" y="184"/>
                  </a:lnTo>
                  <a:close/>
                  <a:moveTo>
                    <a:pt x="277" y="184"/>
                  </a:moveTo>
                  <a:lnTo>
                    <a:pt x="318" y="184"/>
                  </a:lnTo>
                  <a:lnTo>
                    <a:pt x="318" y="297"/>
                  </a:lnTo>
                  <a:lnTo>
                    <a:pt x="302" y="297"/>
                  </a:lnTo>
                  <a:lnTo>
                    <a:pt x="302" y="271"/>
                  </a:lnTo>
                  <a:lnTo>
                    <a:pt x="292" y="271"/>
                  </a:lnTo>
                  <a:lnTo>
                    <a:pt x="292" y="297"/>
                  </a:lnTo>
                  <a:lnTo>
                    <a:pt x="277" y="297"/>
                  </a:lnTo>
                  <a:lnTo>
                    <a:pt x="277" y="184"/>
                  </a:lnTo>
                  <a:close/>
                  <a:moveTo>
                    <a:pt x="34" y="158"/>
                  </a:moveTo>
                  <a:lnTo>
                    <a:pt x="116" y="158"/>
                  </a:lnTo>
                  <a:lnTo>
                    <a:pt x="116" y="174"/>
                  </a:lnTo>
                  <a:lnTo>
                    <a:pt x="34" y="174"/>
                  </a:lnTo>
                  <a:lnTo>
                    <a:pt x="34" y="158"/>
                  </a:lnTo>
                  <a:close/>
                  <a:moveTo>
                    <a:pt x="100" y="207"/>
                  </a:moveTo>
                  <a:lnTo>
                    <a:pt x="126" y="207"/>
                  </a:lnTo>
                  <a:lnTo>
                    <a:pt x="126" y="158"/>
                  </a:lnTo>
                  <a:lnTo>
                    <a:pt x="164" y="158"/>
                  </a:lnTo>
                  <a:lnTo>
                    <a:pt x="164" y="184"/>
                  </a:lnTo>
                  <a:lnTo>
                    <a:pt x="190" y="184"/>
                  </a:lnTo>
                  <a:lnTo>
                    <a:pt x="190" y="207"/>
                  </a:lnTo>
                  <a:lnTo>
                    <a:pt x="215" y="207"/>
                  </a:lnTo>
                  <a:lnTo>
                    <a:pt x="215" y="297"/>
                  </a:lnTo>
                  <a:lnTo>
                    <a:pt x="203" y="297"/>
                  </a:lnTo>
                  <a:lnTo>
                    <a:pt x="203" y="271"/>
                  </a:lnTo>
                  <a:lnTo>
                    <a:pt x="190" y="271"/>
                  </a:lnTo>
                  <a:lnTo>
                    <a:pt x="190" y="297"/>
                  </a:lnTo>
                  <a:lnTo>
                    <a:pt x="177" y="297"/>
                  </a:lnTo>
                  <a:lnTo>
                    <a:pt x="177" y="271"/>
                  </a:lnTo>
                  <a:lnTo>
                    <a:pt x="167" y="271"/>
                  </a:lnTo>
                  <a:lnTo>
                    <a:pt x="167" y="297"/>
                  </a:lnTo>
                  <a:lnTo>
                    <a:pt x="151" y="297"/>
                  </a:lnTo>
                  <a:lnTo>
                    <a:pt x="151" y="271"/>
                  </a:lnTo>
                  <a:lnTo>
                    <a:pt x="141" y="271"/>
                  </a:lnTo>
                  <a:lnTo>
                    <a:pt x="141" y="297"/>
                  </a:lnTo>
                  <a:lnTo>
                    <a:pt x="126" y="297"/>
                  </a:lnTo>
                  <a:lnTo>
                    <a:pt x="126" y="271"/>
                  </a:lnTo>
                  <a:lnTo>
                    <a:pt x="116" y="271"/>
                  </a:lnTo>
                  <a:lnTo>
                    <a:pt x="116" y="297"/>
                  </a:lnTo>
                  <a:lnTo>
                    <a:pt x="100" y="297"/>
                  </a:lnTo>
                  <a:lnTo>
                    <a:pt x="100" y="207"/>
                  </a:lnTo>
                  <a:close/>
                  <a:moveTo>
                    <a:pt x="174" y="158"/>
                  </a:moveTo>
                  <a:lnTo>
                    <a:pt x="267" y="158"/>
                  </a:lnTo>
                  <a:lnTo>
                    <a:pt x="267" y="174"/>
                  </a:lnTo>
                  <a:lnTo>
                    <a:pt x="174" y="174"/>
                  </a:lnTo>
                  <a:lnTo>
                    <a:pt x="174" y="158"/>
                  </a:lnTo>
                  <a:close/>
                  <a:moveTo>
                    <a:pt x="34" y="133"/>
                  </a:moveTo>
                  <a:lnTo>
                    <a:pt x="116" y="133"/>
                  </a:lnTo>
                  <a:lnTo>
                    <a:pt x="116" y="148"/>
                  </a:lnTo>
                  <a:lnTo>
                    <a:pt x="34" y="148"/>
                  </a:lnTo>
                  <a:lnTo>
                    <a:pt x="34" y="133"/>
                  </a:lnTo>
                  <a:close/>
                  <a:moveTo>
                    <a:pt x="174" y="133"/>
                  </a:moveTo>
                  <a:lnTo>
                    <a:pt x="267" y="133"/>
                  </a:lnTo>
                  <a:lnTo>
                    <a:pt x="267" y="148"/>
                  </a:lnTo>
                  <a:lnTo>
                    <a:pt x="174" y="148"/>
                  </a:lnTo>
                  <a:lnTo>
                    <a:pt x="174" y="133"/>
                  </a:lnTo>
                  <a:close/>
                  <a:moveTo>
                    <a:pt x="34" y="110"/>
                  </a:moveTo>
                  <a:lnTo>
                    <a:pt x="116" y="110"/>
                  </a:lnTo>
                  <a:lnTo>
                    <a:pt x="116" y="122"/>
                  </a:lnTo>
                  <a:lnTo>
                    <a:pt x="34" y="122"/>
                  </a:lnTo>
                  <a:lnTo>
                    <a:pt x="34" y="110"/>
                  </a:lnTo>
                  <a:close/>
                  <a:moveTo>
                    <a:pt x="174" y="110"/>
                  </a:moveTo>
                  <a:lnTo>
                    <a:pt x="267" y="110"/>
                  </a:lnTo>
                  <a:lnTo>
                    <a:pt x="267" y="122"/>
                  </a:lnTo>
                  <a:lnTo>
                    <a:pt x="174" y="122"/>
                  </a:lnTo>
                  <a:lnTo>
                    <a:pt x="174" y="110"/>
                  </a:lnTo>
                  <a:close/>
                  <a:moveTo>
                    <a:pt x="34" y="84"/>
                  </a:moveTo>
                  <a:lnTo>
                    <a:pt x="116" y="84"/>
                  </a:lnTo>
                  <a:lnTo>
                    <a:pt x="116" y="97"/>
                  </a:lnTo>
                  <a:lnTo>
                    <a:pt x="34" y="97"/>
                  </a:lnTo>
                  <a:lnTo>
                    <a:pt x="34" y="84"/>
                  </a:lnTo>
                  <a:close/>
                  <a:moveTo>
                    <a:pt x="174" y="84"/>
                  </a:moveTo>
                  <a:lnTo>
                    <a:pt x="267" y="84"/>
                  </a:lnTo>
                  <a:lnTo>
                    <a:pt x="267" y="97"/>
                  </a:lnTo>
                  <a:lnTo>
                    <a:pt x="174" y="97"/>
                  </a:lnTo>
                  <a:lnTo>
                    <a:pt x="174" y="84"/>
                  </a:lnTo>
                  <a:close/>
                  <a:moveTo>
                    <a:pt x="34" y="58"/>
                  </a:moveTo>
                  <a:lnTo>
                    <a:pt x="116" y="58"/>
                  </a:lnTo>
                  <a:lnTo>
                    <a:pt x="116" y="74"/>
                  </a:lnTo>
                  <a:lnTo>
                    <a:pt x="34" y="74"/>
                  </a:lnTo>
                  <a:lnTo>
                    <a:pt x="34" y="58"/>
                  </a:lnTo>
                  <a:close/>
                  <a:moveTo>
                    <a:pt x="174" y="58"/>
                  </a:moveTo>
                  <a:lnTo>
                    <a:pt x="267" y="58"/>
                  </a:lnTo>
                  <a:lnTo>
                    <a:pt x="267" y="74"/>
                  </a:lnTo>
                  <a:lnTo>
                    <a:pt x="174" y="74"/>
                  </a:lnTo>
                  <a:lnTo>
                    <a:pt x="174" y="58"/>
                  </a:lnTo>
                  <a:close/>
                  <a:moveTo>
                    <a:pt x="174" y="35"/>
                  </a:moveTo>
                  <a:lnTo>
                    <a:pt x="267" y="35"/>
                  </a:lnTo>
                  <a:lnTo>
                    <a:pt x="267" y="48"/>
                  </a:lnTo>
                  <a:lnTo>
                    <a:pt x="174" y="48"/>
                  </a:lnTo>
                  <a:lnTo>
                    <a:pt x="174" y="35"/>
                  </a:lnTo>
                  <a:close/>
                  <a:moveTo>
                    <a:pt x="174" y="10"/>
                  </a:moveTo>
                  <a:lnTo>
                    <a:pt x="267" y="10"/>
                  </a:lnTo>
                  <a:lnTo>
                    <a:pt x="267" y="25"/>
                  </a:lnTo>
                  <a:lnTo>
                    <a:pt x="174" y="25"/>
                  </a:lnTo>
                  <a:lnTo>
                    <a:pt x="174" y="10"/>
                  </a:lnTo>
                  <a:close/>
                  <a:moveTo>
                    <a:pt x="164" y="0"/>
                  </a:moveTo>
                  <a:lnTo>
                    <a:pt x="164" y="148"/>
                  </a:lnTo>
                  <a:lnTo>
                    <a:pt x="126" y="148"/>
                  </a:lnTo>
                  <a:lnTo>
                    <a:pt x="126" y="48"/>
                  </a:lnTo>
                  <a:lnTo>
                    <a:pt x="23" y="48"/>
                  </a:lnTo>
                  <a:lnTo>
                    <a:pt x="23" y="222"/>
                  </a:lnTo>
                  <a:lnTo>
                    <a:pt x="0" y="222"/>
                  </a:lnTo>
                  <a:lnTo>
                    <a:pt x="0" y="307"/>
                  </a:lnTo>
                  <a:lnTo>
                    <a:pt x="328" y="307"/>
                  </a:lnTo>
                  <a:lnTo>
                    <a:pt x="328" y="174"/>
                  </a:lnTo>
                  <a:lnTo>
                    <a:pt x="277" y="174"/>
                  </a:lnTo>
                  <a:lnTo>
                    <a:pt x="277" y="0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65979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1F4FD7-AAEF-4A70-BE67-13227B564F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830015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nk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nk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ow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al Estat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al Estate in Han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identia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4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tory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rehouse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rehouse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ore Front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ore Front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me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me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me 4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use of Worship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use of Worship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8117F16D-224C-4BA1-B90D-3EFE3689B4D1}"/>
              </a:ext>
            </a:extLst>
          </p:cNvPr>
          <p:cNvGrpSpPr/>
          <p:nvPr/>
        </p:nvGrpSpPr>
        <p:grpSpPr>
          <a:xfrm>
            <a:off x="5822792" y="328564"/>
            <a:ext cx="760412" cy="758825"/>
            <a:chOff x="5738813" y="331788"/>
            <a:chExt cx="760412" cy="758825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457179FF-7BD8-411A-A463-7F2F31B7BF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38813" y="331788"/>
              <a:ext cx="760412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ADCB4BC-D776-481C-A192-2D7F2E1334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334963"/>
              <a:ext cx="757237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4524E76F-7701-41A0-9168-ADE95D048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4388" y="449263"/>
              <a:ext cx="452437" cy="496888"/>
            </a:xfrm>
            <a:custGeom>
              <a:avLst/>
              <a:gdLst>
                <a:gd name="T0" fmla="*/ 107 w 116"/>
                <a:gd name="T1" fmla="*/ 108 h 128"/>
                <a:gd name="T2" fmla="*/ 103 w 116"/>
                <a:gd name="T3" fmla="*/ 112 h 128"/>
                <a:gd name="T4" fmla="*/ 96 w 116"/>
                <a:gd name="T5" fmla="*/ 112 h 128"/>
                <a:gd name="T6" fmla="*/ 92 w 116"/>
                <a:gd name="T7" fmla="*/ 108 h 128"/>
                <a:gd name="T8" fmla="*/ 105 w 116"/>
                <a:gd name="T9" fmla="*/ 99 h 128"/>
                <a:gd name="T10" fmla="*/ 105 w 116"/>
                <a:gd name="T11" fmla="*/ 90 h 128"/>
                <a:gd name="T12" fmla="*/ 105 w 116"/>
                <a:gd name="T13" fmla="*/ 99 h 128"/>
                <a:gd name="T14" fmla="*/ 96 w 116"/>
                <a:gd name="T15" fmla="*/ 93 h 128"/>
                <a:gd name="T16" fmla="*/ 92 w 116"/>
                <a:gd name="T17" fmla="*/ 97 h 128"/>
                <a:gd name="T18" fmla="*/ 107 w 116"/>
                <a:gd name="T19" fmla="*/ 82 h 128"/>
                <a:gd name="T20" fmla="*/ 103 w 116"/>
                <a:gd name="T21" fmla="*/ 77 h 128"/>
                <a:gd name="T22" fmla="*/ 94 w 116"/>
                <a:gd name="T23" fmla="*/ 84 h 128"/>
                <a:gd name="T24" fmla="*/ 94 w 116"/>
                <a:gd name="T25" fmla="*/ 75 h 128"/>
                <a:gd name="T26" fmla="*/ 94 w 116"/>
                <a:gd name="T27" fmla="*/ 84 h 128"/>
                <a:gd name="T28" fmla="*/ 107 w 116"/>
                <a:gd name="T29" fmla="*/ 62 h 128"/>
                <a:gd name="T30" fmla="*/ 103 w 116"/>
                <a:gd name="T31" fmla="*/ 66 h 128"/>
                <a:gd name="T32" fmla="*/ 96 w 116"/>
                <a:gd name="T33" fmla="*/ 66 h 128"/>
                <a:gd name="T34" fmla="*/ 92 w 116"/>
                <a:gd name="T35" fmla="*/ 62 h 128"/>
                <a:gd name="T36" fmla="*/ 67 w 116"/>
                <a:gd name="T37" fmla="*/ 18 h 128"/>
                <a:gd name="T38" fmla="*/ 71 w 116"/>
                <a:gd name="T39" fmla="*/ 115 h 128"/>
                <a:gd name="T40" fmla="*/ 67 w 116"/>
                <a:gd name="T41" fmla="*/ 18 h 128"/>
                <a:gd name="T42" fmla="*/ 80 w 116"/>
                <a:gd name="T43" fmla="*/ 62 h 128"/>
                <a:gd name="T44" fmla="*/ 112 w 116"/>
                <a:gd name="T45" fmla="*/ 123 h 128"/>
                <a:gd name="T46" fmla="*/ 60 w 116"/>
                <a:gd name="T47" fmla="*/ 6 h 128"/>
                <a:gd name="T48" fmla="*/ 76 w 116"/>
                <a:gd name="T49" fmla="*/ 13 h 128"/>
                <a:gd name="T50" fmla="*/ 40 w 116"/>
                <a:gd name="T51" fmla="*/ 123 h 128"/>
                <a:gd name="T52" fmla="*/ 48 w 116"/>
                <a:gd name="T53" fmla="*/ 11 h 128"/>
                <a:gd name="T54" fmla="*/ 36 w 116"/>
                <a:gd name="T55" fmla="*/ 123 h 128"/>
                <a:gd name="T56" fmla="*/ 22 w 116"/>
                <a:gd name="T57" fmla="*/ 115 h 128"/>
                <a:gd name="T58" fmla="*/ 4 w 116"/>
                <a:gd name="T59" fmla="*/ 110 h 128"/>
                <a:gd name="T60" fmla="*/ 24 w 116"/>
                <a:gd name="T61" fmla="*/ 99 h 128"/>
                <a:gd name="T62" fmla="*/ 4 w 116"/>
                <a:gd name="T63" fmla="*/ 92 h 128"/>
                <a:gd name="T64" fmla="*/ 22 w 116"/>
                <a:gd name="T65" fmla="*/ 84 h 128"/>
                <a:gd name="T66" fmla="*/ 23 w 116"/>
                <a:gd name="T67" fmla="*/ 75 h 128"/>
                <a:gd name="T68" fmla="*/ 4 w 116"/>
                <a:gd name="T69" fmla="*/ 76 h 128"/>
                <a:gd name="T70" fmla="*/ 24 w 116"/>
                <a:gd name="T71" fmla="*/ 59 h 128"/>
                <a:gd name="T72" fmla="*/ 4 w 116"/>
                <a:gd name="T73" fmla="*/ 59 h 128"/>
                <a:gd name="T74" fmla="*/ 36 w 116"/>
                <a:gd name="T75" fmla="*/ 123 h 128"/>
                <a:gd name="T76" fmla="*/ 116 w 116"/>
                <a:gd name="T77" fmla="*/ 52 h 128"/>
                <a:gd name="T78" fmla="*/ 115 w 116"/>
                <a:gd name="T79" fmla="*/ 51 h 128"/>
                <a:gd name="T80" fmla="*/ 90 w 116"/>
                <a:gd name="T81" fmla="*/ 44 h 128"/>
                <a:gd name="T82" fmla="*/ 80 w 116"/>
                <a:gd name="T83" fmla="*/ 12 h 128"/>
                <a:gd name="T84" fmla="*/ 80 w 116"/>
                <a:gd name="T85" fmla="*/ 11 h 128"/>
                <a:gd name="T86" fmla="*/ 79 w 116"/>
                <a:gd name="T87" fmla="*/ 10 h 128"/>
                <a:gd name="T88" fmla="*/ 70 w 116"/>
                <a:gd name="T89" fmla="*/ 7 h 128"/>
                <a:gd name="T90" fmla="*/ 46 w 116"/>
                <a:gd name="T91" fmla="*/ 7 h 128"/>
                <a:gd name="T92" fmla="*/ 37 w 116"/>
                <a:gd name="T93" fmla="*/ 10 h 128"/>
                <a:gd name="T94" fmla="*/ 36 w 116"/>
                <a:gd name="T95" fmla="*/ 11 h 128"/>
                <a:gd name="T96" fmla="*/ 36 w 116"/>
                <a:gd name="T97" fmla="*/ 12 h 128"/>
                <a:gd name="T98" fmla="*/ 23 w 116"/>
                <a:gd name="T99" fmla="*/ 42 h 128"/>
                <a:gd name="T100" fmla="*/ 0 w 116"/>
                <a:gd name="T101" fmla="*/ 126 h 128"/>
                <a:gd name="T102" fmla="*/ 116 w 116"/>
                <a:gd name="T103" fmla="*/ 126 h 128"/>
                <a:gd name="T104" fmla="*/ 45 w 116"/>
                <a:gd name="T105" fmla="*/ 18 h 128"/>
                <a:gd name="T106" fmla="*/ 49 w 116"/>
                <a:gd name="T107" fmla="*/ 115 h 128"/>
                <a:gd name="T108" fmla="*/ 45 w 116"/>
                <a:gd name="T109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8">
                  <a:moveTo>
                    <a:pt x="105" y="115"/>
                  </a:moveTo>
                  <a:cubicBezTo>
                    <a:pt x="106" y="115"/>
                    <a:pt x="107" y="114"/>
                    <a:pt x="107" y="112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07" y="107"/>
                    <a:pt x="106" y="106"/>
                    <a:pt x="105" y="106"/>
                  </a:cubicBezTo>
                  <a:cubicBezTo>
                    <a:pt x="104" y="106"/>
                    <a:pt x="103" y="107"/>
                    <a:pt x="103" y="108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3" y="114"/>
                    <a:pt x="104" y="115"/>
                    <a:pt x="105" y="115"/>
                  </a:cubicBezTo>
                  <a:moveTo>
                    <a:pt x="94" y="115"/>
                  </a:moveTo>
                  <a:cubicBezTo>
                    <a:pt x="95" y="115"/>
                    <a:pt x="96" y="114"/>
                    <a:pt x="96" y="112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7"/>
                    <a:pt x="95" y="106"/>
                    <a:pt x="94" y="106"/>
                  </a:cubicBezTo>
                  <a:cubicBezTo>
                    <a:pt x="93" y="106"/>
                    <a:pt x="92" y="107"/>
                    <a:pt x="92" y="108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2" y="114"/>
                    <a:pt x="93" y="115"/>
                    <a:pt x="94" y="115"/>
                  </a:cubicBezTo>
                  <a:moveTo>
                    <a:pt x="105" y="99"/>
                  </a:moveTo>
                  <a:cubicBezTo>
                    <a:pt x="106" y="99"/>
                    <a:pt x="107" y="98"/>
                    <a:pt x="107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7" y="91"/>
                    <a:pt x="106" y="90"/>
                    <a:pt x="105" y="90"/>
                  </a:cubicBezTo>
                  <a:cubicBezTo>
                    <a:pt x="104" y="90"/>
                    <a:pt x="103" y="91"/>
                    <a:pt x="103" y="93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8"/>
                    <a:pt x="104" y="99"/>
                    <a:pt x="105" y="99"/>
                  </a:cubicBezTo>
                  <a:moveTo>
                    <a:pt x="94" y="99"/>
                  </a:moveTo>
                  <a:cubicBezTo>
                    <a:pt x="95" y="99"/>
                    <a:pt x="96" y="98"/>
                    <a:pt x="96" y="97"/>
                  </a:cubicBezTo>
                  <a:cubicBezTo>
                    <a:pt x="96" y="93"/>
                    <a:pt x="96" y="93"/>
                    <a:pt x="96" y="93"/>
                  </a:cubicBezTo>
                  <a:cubicBezTo>
                    <a:pt x="96" y="91"/>
                    <a:pt x="95" y="90"/>
                    <a:pt x="94" y="90"/>
                  </a:cubicBezTo>
                  <a:cubicBezTo>
                    <a:pt x="93" y="90"/>
                    <a:pt x="92" y="91"/>
                    <a:pt x="92" y="9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8"/>
                    <a:pt x="93" y="99"/>
                    <a:pt x="94" y="99"/>
                  </a:cubicBezTo>
                  <a:moveTo>
                    <a:pt x="105" y="84"/>
                  </a:moveTo>
                  <a:cubicBezTo>
                    <a:pt x="106" y="84"/>
                    <a:pt x="107" y="83"/>
                    <a:pt x="107" y="82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6"/>
                    <a:pt x="106" y="75"/>
                    <a:pt x="105" y="75"/>
                  </a:cubicBezTo>
                  <a:cubicBezTo>
                    <a:pt x="104" y="75"/>
                    <a:pt x="103" y="76"/>
                    <a:pt x="103" y="77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3"/>
                    <a:pt x="104" y="84"/>
                    <a:pt x="105" y="84"/>
                  </a:cubicBezTo>
                  <a:moveTo>
                    <a:pt x="94" y="84"/>
                  </a:moveTo>
                  <a:cubicBezTo>
                    <a:pt x="95" y="84"/>
                    <a:pt x="96" y="83"/>
                    <a:pt x="96" y="82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6"/>
                    <a:pt x="95" y="75"/>
                    <a:pt x="94" y="75"/>
                  </a:cubicBezTo>
                  <a:cubicBezTo>
                    <a:pt x="93" y="75"/>
                    <a:pt x="92" y="76"/>
                    <a:pt x="92" y="77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83"/>
                    <a:pt x="93" y="84"/>
                    <a:pt x="94" y="84"/>
                  </a:cubicBezTo>
                  <a:moveTo>
                    <a:pt x="105" y="68"/>
                  </a:moveTo>
                  <a:cubicBezTo>
                    <a:pt x="106" y="68"/>
                    <a:pt x="107" y="67"/>
                    <a:pt x="107" y="66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1"/>
                    <a:pt x="106" y="60"/>
                    <a:pt x="105" y="60"/>
                  </a:cubicBezTo>
                  <a:cubicBezTo>
                    <a:pt x="104" y="60"/>
                    <a:pt x="103" y="61"/>
                    <a:pt x="103" y="62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4" y="68"/>
                    <a:pt x="105" y="68"/>
                  </a:cubicBezTo>
                  <a:moveTo>
                    <a:pt x="94" y="68"/>
                  </a:moveTo>
                  <a:cubicBezTo>
                    <a:pt x="95" y="68"/>
                    <a:pt x="96" y="67"/>
                    <a:pt x="96" y="66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ubicBezTo>
                    <a:pt x="93" y="60"/>
                    <a:pt x="92" y="61"/>
                    <a:pt x="92" y="62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7"/>
                    <a:pt x="93" y="68"/>
                    <a:pt x="94" y="68"/>
                  </a:cubicBezTo>
                  <a:moveTo>
                    <a:pt x="67" y="18"/>
                  </a:moveTo>
                  <a:cubicBezTo>
                    <a:pt x="67" y="115"/>
                    <a:pt x="67" y="115"/>
                    <a:pt x="67" y="115"/>
                  </a:cubicBezTo>
                  <a:cubicBezTo>
                    <a:pt x="67" y="116"/>
                    <a:pt x="68" y="117"/>
                    <a:pt x="69" y="117"/>
                  </a:cubicBezTo>
                  <a:cubicBezTo>
                    <a:pt x="70" y="117"/>
                    <a:pt x="71" y="116"/>
                    <a:pt x="71" y="115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7"/>
                    <a:pt x="70" y="16"/>
                    <a:pt x="69" y="16"/>
                  </a:cubicBezTo>
                  <a:cubicBezTo>
                    <a:pt x="68" y="16"/>
                    <a:pt x="67" y="17"/>
                    <a:pt x="67" y="18"/>
                  </a:cubicBezTo>
                  <a:moveTo>
                    <a:pt x="112" y="123"/>
                  </a:moveTo>
                  <a:cubicBezTo>
                    <a:pt x="80" y="123"/>
                    <a:pt x="80" y="123"/>
                    <a:pt x="80" y="123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12" y="55"/>
                    <a:pt x="112" y="55"/>
                    <a:pt x="112" y="55"/>
                  </a:cubicBezTo>
                  <a:lnTo>
                    <a:pt x="112" y="123"/>
                  </a:lnTo>
                  <a:close/>
                  <a:moveTo>
                    <a:pt x="76" y="123"/>
                  </a:moveTo>
                  <a:cubicBezTo>
                    <a:pt x="60" y="123"/>
                    <a:pt x="60" y="123"/>
                    <a:pt x="60" y="123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9" y="11"/>
                  </a:cubicBezTo>
                  <a:cubicBezTo>
                    <a:pt x="76" y="13"/>
                    <a:pt x="76" y="13"/>
                    <a:pt x="76" y="13"/>
                  </a:cubicBezTo>
                  <a:lnTo>
                    <a:pt x="76" y="123"/>
                  </a:lnTo>
                  <a:close/>
                  <a:moveTo>
                    <a:pt x="56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6" y="6"/>
                    <a:pt x="56" y="6"/>
                    <a:pt x="56" y="6"/>
                  </a:cubicBezTo>
                  <a:lnTo>
                    <a:pt x="56" y="123"/>
                  </a:lnTo>
                  <a:close/>
                  <a:moveTo>
                    <a:pt x="36" y="123"/>
                  </a:moveTo>
                  <a:cubicBezTo>
                    <a:pt x="4" y="123"/>
                    <a:pt x="4" y="123"/>
                    <a:pt x="4" y="123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3" y="115"/>
                    <a:pt x="24" y="114"/>
                    <a:pt x="24" y="112"/>
                  </a:cubicBezTo>
                  <a:cubicBezTo>
                    <a:pt x="24" y="111"/>
                    <a:pt x="23" y="110"/>
                    <a:pt x="22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4" y="101"/>
                    <a:pt x="25" y="100"/>
                    <a:pt x="24" y="99"/>
                  </a:cubicBezTo>
                  <a:cubicBezTo>
                    <a:pt x="24" y="98"/>
                    <a:pt x="23" y="97"/>
                    <a:pt x="22" y="97"/>
                  </a:cubicBezTo>
                  <a:cubicBezTo>
                    <a:pt x="4" y="99"/>
                    <a:pt x="4" y="99"/>
                    <a:pt x="4" y="99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5" y="87"/>
                    <a:pt x="24" y="86"/>
                  </a:cubicBezTo>
                  <a:cubicBezTo>
                    <a:pt x="24" y="84"/>
                    <a:pt x="23" y="84"/>
                    <a:pt x="22" y="84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4" y="74"/>
                    <a:pt x="25" y="73"/>
                    <a:pt x="24" y="72"/>
                  </a:cubicBezTo>
                  <a:cubicBezTo>
                    <a:pt x="24" y="71"/>
                    <a:pt x="23" y="70"/>
                    <a:pt x="21" y="71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4" y="61"/>
                    <a:pt x="25" y="60"/>
                    <a:pt x="24" y="59"/>
                  </a:cubicBezTo>
                  <a:cubicBezTo>
                    <a:pt x="24" y="58"/>
                    <a:pt x="22" y="57"/>
                    <a:pt x="21" y="58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36" y="123"/>
                  </a:lnTo>
                  <a:close/>
                  <a:moveTo>
                    <a:pt x="116" y="53"/>
                  </a:moveTo>
                  <a:cubicBezTo>
                    <a:pt x="116" y="53"/>
                    <a:pt x="116" y="53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9" y="44"/>
                    <a:pt x="88" y="44"/>
                    <a:pt x="88" y="4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9"/>
                    <a:pt x="79" y="9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0"/>
                    <a:pt x="58" y="0"/>
                    <a:pt x="57" y="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2"/>
                    <a:pt x="36" y="12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4" y="42"/>
                    <a:pt x="23" y="42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7"/>
                    <a:pt x="1" y="128"/>
                    <a:pt x="2" y="128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8"/>
                    <a:pt x="116" y="127"/>
                    <a:pt x="116" y="126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6" y="53"/>
                    <a:pt x="116" y="53"/>
                    <a:pt x="116" y="53"/>
                  </a:cubicBezTo>
                  <a:moveTo>
                    <a:pt x="45" y="18"/>
                  </a:moveTo>
                  <a:cubicBezTo>
                    <a:pt x="45" y="115"/>
                    <a:pt x="45" y="115"/>
                    <a:pt x="45" y="115"/>
                  </a:cubicBezTo>
                  <a:cubicBezTo>
                    <a:pt x="45" y="116"/>
                    <a:pt x="46" y="117"/>
                    <a:pt x="47" y="117"/>
                  </a:cubicBezTo>
                  <a:cubicBezTo>
                    <a:pt x="48" y="117"/>
                    <a:pt x="49" y="116"/>
                    <a:pt x="49" y="115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7"/>
                    <a:pt x="48" y="16"/>
                    <a:pt x="47" y="16"/>
                  </a:cubicBezTo>
                  <a:cubicBezTo>
                    <a:pt x="46" y="16"/>
                    <a:pt x="45" y="17"/>
                    <a:pt x="45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677CD21-30AF-40C0-87F7-06E29BBC0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4388" y="449263"/>
              <a:ext cx="452437" cy="496888"/>
            </a:xfrm>
            <a:custGeom>
              <a:avLst/>
              <a:gdLst>
                <a:gd name="T0" fmla="*/ 107 w 116"/>
                <a:gd name="T1" fmla="*/ 108 h 128"/>
                <a:gd name="T2" fmla="*/ 103 w 116"/>
                <a:gd name="T3" fmla="*/ 112 h 128"/>
                <a:gd name="T4" fmla="*/ 96 w 116"/>
                <a:gd name="T5" fmla="*/ 112 h 128"/>
                <a:gd name="T6" fmla="*/ 92 w 116"/>
                <a:gd name="T7" fmla="*/ 108 h 128"/>
                <a:gd name="T8" fmla="*/ 105 w 116"/>
                <a:gd name="T9" fmla="*/ 99 h 128"/>
                <a:gd name="T10" fmla="*/ 105 w 116"/>
                <a:gd name="T11" fmla="*/ 90 h 128"/>
                <a:gd name="T12" fmla="*/ 105 w 116"/>
                <a:gd name="T13" fmla="*/ 99 h 128"/>
                <a:gd name="T14" fmla="*/ 96 w 116"/>
                <a:gd name="T15" fmla="*/ 93 h 128"/>
                <a:gd name="T16" fmla="*/ 92 w 116"/>
                <a:gd name="T17" fmla="*/ 97 h 128"/>
                <a:gd name="T18" fmla="*/ 107 w 116"/>
                <a:gd name="T19" fmla="*/ 82 h 128"/>
                <a:gd name="T20" fmla="*/ 103 w 116"/>
                <a:gd name="T21" fmla="*/ 77 h 128"/>
                <a:gd name="T22" fmla="*/ 94 w 116"/>
                <a:gd name="T23" fmla="*/ 84 h 128"/>
                <a:gd name="T24" fmla="*/ 94 w 116"/>
                <a:gd name="T25" fmla="*/ 75 h 128"/>
                <a:gd name="T26" fmla="*/ 94 w 116"/>
                <a:gd name="T27" fmla="*/ 84 h 128"/>
                <a:gd name="T28" fmla="*/ 107 w 116"/>
                <a:gd name="T29" fmla="*/ 62 h 128"/>
                <a:gd name="T30" fmla="*/ 103 w 116"/>
                <a:gd name="T31" fmla="*/ 66 h 128"/>
                <a:gd name="T32" fmla="*/ 96 w 116"/>
                <a:gd name="T33" fmla="*/ 66 h 128"/>
                <a:gd name="T34" fmla="*/ 92 w 116"/>
                <a:gd name="T35" fmla="*/ 62 h 128"/>
                <a:gd name="T36" fmla="*/ 67 w 116"/>
                <a:gd name="T37" fmla="*/ 18 h 128"/>
                <a:gd name="T38" fmla="*/ 71 w 116"/>
                <a:gd name="T39" fmla="*/ 115 h 128"/>
                <a:gd name="T40" fmla="*/ 67 w 116"/>
                <a:gd name="T41" fmla="*/ 18 h 128"/>
                <a:gd name="T42" fmla="*/ 80 w 116"/>
                <a:gd name="T43" fmla="*/ 62 h 128"/>
                <a:gd name="T44" fmla="*/ 112 w 116"/>
                <a:gd name="T45" fmla="*/ 123 h 128"/>
                <a:gd name="T46" fmla="*/ 60 w 116"/>
                <a:gd name="T47" fmla="*/ 6 h 128"/>
                <a:gd name="T48" fmla="*/ 76 w 116"/>
                <a:gd name="T49" fmla="*/ 13 h 128"/>
                <a:gd name="T50" fmla="*/ 40 w 116"/>
                <a:gd name="T51" fmla="*/ 123 h 128"/>
                <a:gd name="T52" fmla="*/ 48 w 116"/>
                <a:gd name="T53" fmla="*/ 11 h 128"/>
                <a:gd name="T54" fmla="*/ 36 w 116"/>
                <a:gd name="T55" fmla="*/ 123 h 128"/>
                <a:gd name="T56" fmla="*/ 22 w 116"/>
                <a:gd name="T57" fmla="*/ 115 h 128"/>
                <a:gd name="T58" fmla="*/ 4 w 116"/>
                <a:gd name="T59" fmla="*/ 110 h 128"/>
                <a:gd name="T60" fmla="*/ 24 w 116"/>
                <a:gd name="T61" fmla="*/ 99 h 128"/>
                <a:gd name="T62" fmla="*/ 4 w 116"/>
                <a:gd name="T63" fmla="*/ 92 h 128"/>
                <a:gd name="T64" fmla="*/ 22 w 116"/>
                <a:gd name="T65" fmla="*/ 84 h 128"/>
                <a:gd name="T66" fmla="*/ 23 w 116"/>
                <a:gd name="T67" fmla="*/ 75 h 128"/>
                <a:gd name="T68" fmla="*/ 4 w 116"/>
                <a:gd name="T69" fmla="*/ 76 h 128"/>
                <a:gd name="T70" fmla="*/ 24 w 116"/>
                <a:gd name="T71" fmla="*/ 59 h 128"/>
                <a:gd name="T72" fmla="*/ 4 w 116"/>
                <a:gd name="T73" fmla="*/ 59 h 128"/>
                <a:gd name="T74" fmla="*/ 36 w 116"/>
                <a:gd name="T75" fmla="*/ 123 h 128"/>
                <a:gd name="T76" fmla="*/ 116 w 116"/>
                <a:gd name="T77" fmla="*/ 52 h 128"/>
                <a:gd name="T78" fmla="*/ 115 w 116"/>
                <a:gd name="T79" fmla="*/ 51 h 128"/>
                <a:gd name="T80" fmla="*/ 90 w 116"/>
                <a:gd name="T81" fmla="*/ 44 h 128"/>
                <a:gd name="T82" fmla="*/ 80 w 116"/>
                <a:gd name="T83" fmla="*/ 12 h 128"/>
                <a:gd name="T84" fmla="*/ 80 w 116"/>
                <a:gd name="T85" fmla="*/ 11 h 128"/>
                <a:gd name="T86" fmla="*/ 79 w 116"/>
                <a:gd name="T87" fmla="*/ 10 h 128"/>
                <a:gd name="T88" fmla="*/ 70 w 116"/>
                <a:gd name="T89" fmla="*/ 7 h 128"/>
                <a:gd name="T90" fmla="*/ 46 w 116"/>
                <a:gd name="T91" fmla="*/ 7 h 128"/>
                <a:gd name="T92" fmla="*/ 37 w 116"/>
                <a:gd name="T93" fmla="*/ 10 h 128"/>
                <a:gd name="T94" fmla="*/ 36 w 116"/>
                <a:gd name="T95" fmla="*/ 11 h 128"/>
                <a:gd name="T96" fmla="*/ 36 w 116"/>
                <a:gd name="T97" fmla="*/ 12 h 128"/>
                <a:gd name="T98" fmla="*/ 23 w 116"/>
                <a:gd name="T99" fmla="*/ 42 h 128"/>
                <a:gd name="T100" fmla="*/ 0 w 116"/>
                <a:gd name="T101" fmla="*/ 126 h 128"/>
                <a:gd name="T102" fmla="*/ 116 w 116"/>
                <a:gd name="T103" fmla="*/ 126 h 128"/>
                <a:gd name="T104" fmla="*/ 45 w 116"/>
                <a:gd name="T105" fmla="*/ 18 h 128"/>
                <a:gd name="T106" fmla="*/ 49 w 116"/>
                <a:gd name="T107" fmla="*/ 115 h 128"/>
                <a:gd name="T108" fmla="*/ 45 w 116"/>
                <a:gd name="T109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8">
                  <a:moveTo>
                    <a:pt x="105" y="115"/>
                  </a:moveTo>
                  <a:cubicBezTo>
                    <a:pt x="106" y="115"/>
                    <a:pt x="107" y="114"/>
                    <a:pt x="107" y="112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07" y="107"/>
                    <a:pt x="106" y="106"/>
                    <a:pt x="105" y="106"/>
                  </a:cubicBezTo>
                  <a:cubicBezTo>
                    <a:pt x="104" y="106"/>
                    <a:pt x="103" y="107"/>
                    <a:pt x="103" y="108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3" y="114"/>
                    <a:pt x="104" y="115"/>
                    <a:pt x="105" y="115"/>
                  </a:cubicBezTo>
                  <a:moveTo>
                    <a:pt x="94" y="115"/>
                  </a:moveTo>
                  <a:cubicBezTo>
                    <a:pt x="95" y="115"/>
                    <a:pt x="96" y="114"/>
                    <a:pt x="96" y="112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7"/>
                    <a:pt x="95" y="106"/>
                    <a:pt x="94" y="106"/>
                  </a:cubicBezTo>
                  <a:cubicBezTo>
                    <a:pt x="93" y="106"/>
                    <a:pt x="92" y="107"/>
                    <a:pt x="92" y="108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2" y="114"/>
                    <a:pt x="93" y="115"/>
                    <a:pt x="94" y="115"/>
                  </a:cubicBezTo>
                  <a:moveTo>
                    <a:pt x="105" y="99"/>
                  </a:moveTo>
                  <a:cubicBezTo>
                    <a:pt x="106" y="99"/>
                    <a:pt x="107" y="98"/>
                    <a:pt x="107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7" y="91"/>
                    <a:pt x="106" y="90"/>
                    <a:pt x="105" y="90"/>
                  </a:cubicBezTo>
                  <a:cubicBezTo>
                    <a:pt x="104" y="90"/>
                    <a:pt x="103" y="91"/>
                    <a:pt x="103" y="93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8"/>
                    <a:pt x="104" y="99"/>
                    <a:pt x="105" y="99"/>
                  </a:cubicBezTo>
                  <a:moveTo>
                    <a:pt x="94" y="99"/>
                  </a:moveTo>
                  <a:cubicBezTo>
                    <a:pt x="95" y="99"/>
                    <a:pt x="96" y="98"/>
                    <a:pt x="96" y="97"/>
                  </a:cubicBezTo>
                  <a:cubicBezTo>
                    <a:pt x="96" y="93"/>
                    <a:pt x="96" y="93"/>
                    <a:pt x="96" y="93"/>
                  </a:cubicBezTo>
                  <a:cubicBezTo>
                    <a:pt x="96" y="91"/>
                    <a:pt x="95" y="90"/>
                    <a:pt x="94" y="90"/>
                  </a:cubicBezTo>
                  <a:cubicBezTo>
                    <a:pt x="93" y="90"/>
                    <a:pt x="92" y="91"/>
                    <a:pt x="92" y="9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8"/>
                    <a:pt x="93" y="99"/>
                    <a:pt x="94" y="99"/>
                  </a:cubicBezTo>
                  <a:moveTo>
                    <a:pt x="105" y="84"/>
                  </a:moveTo>
                  <a:cubicBezTo>
                    <a:pt x="106" y="84"/>
                    <a:pt x="107" y="83"/>
                    <a:pt x="107" y="82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6"/>
                    <a:pt x="106" y="75"/>
                    <a:pt x="105" y="75"/>
                  </a:cubicBezTo>
                  <a:cubicBezTo>
                    <a:pt x="104" y="75"/>
                    <a:pt x="103" y="76"/>
                    <a:pt x="103" y="77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3"/>
                    <a:pt x="104" y="84"/>
                    <a:pt x="105" y="84"/>
                  </a:cubicBezTo>
                  <a:moveTo>
                    <a:pt x="94" y="84"/>
                  </a:moveTo>
                  <a:cubicBezTo>
                    <a:pt x="95" y="84"/>
                    <a:pt x="96" y="83"/>
                    <a:pt x="96" y="82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6"/>
                    <a:pt x="95" y="75"/>
                    <a:pt x="94" y="75"/>
                  </a:cubicBezTo>
                  <a:cubicBezTo>
                    <a:pt x="93" y="75"/>
                    <a:pt x="92" y="76"/>
                    <a:pt x="92" y="77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83"/>
                    <a:pt x="93" y="84"/>
                    <a:pt x="94" y="84"/>
                  </a:cubicBezTo>
                  <a:moveTo>
                    <a:pt x="105" y="68"/>
                  </a:moveTo>
                  <a:cubicBezTo>
                    <a:pt x="106" y="68"/>
                    <a:pt x="107" y="67"/>
                    <a:pt x="107" y="66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1"/>
                    <a:pt x="106" y="60"/>
                    <a:pt x="105" y="60"/>
                  </a:cubicBezTo>
                  <a:cubicBezTo>
                    <a:pt x="104" y="60"/>
                    <a:pt x="103" y="61"/>
                    <a:pt x="103" y="62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4" y="68"/>
                    <a:pt x="105" y="68"/>
                  </a:cubicBezTo>
                  <a:moveTo>
                    <a:pt x="94" y="68"/>
                  </a:moveTo>
                  <a:cubicBezTo>
                    <a:pt x="95" y="68"/>
                    <a:pt x="96" y="67"/>
                    <a:pt x="96" y="66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ubicBezTo>
                    <a:pt x="93" y="60"/>
                    <a:pt x="92" y="61"/>
                    <a:pt x="92" y="62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7"/>
                    <a:pt x="93" y="68"/>
                    <a:pt x="94" y="68"/>
                  </a:cubicBezTo>
                  <a:moveTo>
                    <a:pt x="67" y="18"/>
                  </a:moveTo>
                  <a:cubicBezTo>
                    <a:pt x="67" y="115"/>
                    <a:pt x="67" y="115"/>
                    <a:pt x="67" y="115"/>
                  </a:cubicBezTo>
                  <a:cubicBezTo>
                    <a:pt x="67" y="116"/>
                    <a:pt x="68" y="117"/>
                    <a:pt x="69" y="117"/>
                  </a:cubicBezTo>
                  <a:cubicBezTo>
                    <a:pt x="70" y="117"/>
                    <a:pt x="71" y="116"/>
                    <a:pt x="71" y="115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7"/>
                    <a:pt x="70" y="16"/>
                    <a:pt x="69" y="16"/>
                  </a:cubicBezTo>
                  <a:cubicBezTo>
                    <a:pt x="68" y="16"/>
                    <a:pt x="67" y="17"/>
                    <a:pt x="67" y="18"/>
                  </a:cubicBezTo>
                  <a:moveTo>
                    <a:pt x="112" y="123"/>
                  </a:moveTo>
                  <a:cubicBezTo>
                    <a:pt x="80" y="123"/>
                    <a:pt x="80" y="123"/>
                    <a:pt x="80" y="123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12" y="55"/>
                    <a:pt x="112" y="55"/>
                    <a:pt x="112" y="55"/>
                  </a:cubicBezTo>
                  <a:lnTo>
                    <a:pt x="112" y="123"/>
                  </a:lnTo>
                  <a:close/>
                  <a:moveTo>
                    <a:pt x="76" y="123"/>
                  </a:moveTo>
                  <a:cubicBezTo>
                    <a:pt x="60" y="123"/>
                    <a:pt x="60" y="123"/>
                    <a:pt x="60" y="123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9" y="11"/>
                  </a:cubicBezTo>
                  <a:cubicBezTo>
                    <a:pt x="76" y="13"/>
                    <a:pt x="76" y="13"/>
                    <a:pt x="76" y="13"/>
                  </a:cubicBezTo>
                  <a:lnTo>
                    <a:pt x="76" y="123"/>
                  </a:lnTo>
                  <a:close/>
                  <a:moveTo>
                    <a:pt x="56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6" y="6"/>
                    <a:pt x="56" y="6"/>
                    <a:pt x="56" y="6"/>
                  </a:cubicBezTo>
                  <a:lnTo>
                    <a:pt x="56" y="123"/>
                  </a:lnTo>
                  <a:close/>
                  <a:moveTo>
                    <a:pt x="36" y="123"/>
                  </a:moveTo>
                  <a:cubicBezTo>
                    <a:pt x="4" y="123"/>
                    <a:pt x="4" y="123"/>
                    <a:pt x="4" y="123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3" y="115"/>
                    <a:pt x="24" y="114"/>
                    <a:pt x="24" y="112"/>
                  </a:cubicBezTo>
                  <a:cubicBezTo>
                    <a:pt x="24" y="111"/>
                    <a:pt x="23" y="110"/>
                    <a:pt x="22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4" y="101"/>
                    <a:pt x="25" y="100"/>
                    <a:pt x="24" y="99"/>
                  </a:cubicBezTo>
                  <a:cubicBezTo>
                    <a:pt x="24" y="98"/>
                    <a:pt x="23" y="97"/>
                    <a:pt x="22" y="97"/>
                  </a:cubicBezTo>
                  <a:cubicBezTo>
                    <a:pt x="4" y="99"/>
                    <a:pt x="4" y="99"/>
                    <a:pt x="4" y="99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5" y="87"/>
                    <a:pt x="24" y="86"/>
                  </a:cubicBezTo>
                  <a:cubicBezTo>
                    <a:pt x="24" y="84"/>
                    <a:pt x="23" y="84"/>
                    <a:pt x="22" y="84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4" y="74"/>
                    <a:pt x="25" y="73"/>
                    <a:pt x="24" y="72"/>
                  </a:cubicBezTo>
                  <a:cubicBezTo>
                    <a:pt x="24" y="71"/>
                    <a:pt x="23" y="70"/>
                    <a:pt x="21" y="71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4" y="61"/>
                    <a:pt x="25" y="60"/>
                    <a:pt x="24" y="59"/>
                  </a:cubicBezTo>
                  <a:cubicBezTo>
                    <a:pt x="24" y="58"/>
                    <a:pt x="22" y="57"/>
                    <a:pt x="21" y="58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36" y="123"/>
                  </a:lnTo>
                  <a:close/>
                  <a:moveTo>
                    <a:pt x="116" y="53"/>
                  </a:moveTo>
                  <a:cubicBezTo>
                    <a:pt x="116" y="53"/>
                    <a:pt x="116" y="53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9" y="44"/>
                    <a:pt x="88" y="44"/>
                    <a:pt x="88" y="4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9"/>
                    <a:pt x="79" y="9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0"/>
                    <a:pt x="58" y="0"/>
                    <a:pt x="57" y="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2"/>
                    <a:pt x="36" y="12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4" y="42"/>
                    <a:pt x="23" y="42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7"/>
                    <a:pt x="1" y="128"/>
                    <a:pt x="2" y="128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8"/>
                    <a:pt x="116" y="127"/>
                    <a:pt x="116" y="126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6" y="53"/>
                    <a:pt x="116" y="53"/>
                    <a:pt x="116" y="53"/>
                  </a:cubicBezTo>
                  <a:moveTo>
                    <a:pt x="45" y="18"/>
                  </a:moveTo>
                  <a:cubicBezTo>
                    <a:pt x="45" y="115"/>
                    <a:pt x="45" y="115"/>
                    <a:pt x="45" y="115"/>
                  </a:cubicBezTo>
                  <a:cubicBezTo>
                    <a:pt x="45" y="116"/>
                    <a:pt x="46" y="117"/>
                    <a:pt x="47" y="117"/>
                  </a:cubicBezTo>
                  <a:cubicBezTo>
                    <a:pt x="48" y="117"/>
                    <a:pt x="49" y="116"/>
                    <a:pt x="49" y="115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7"/>
                    <a:pt x="48" y="16"/>
                    <a:pt x="47" y="16"/>
                  </a:cubicBezTo>
                  <a:cubicBezTo>
                    <a:pt x="46" y="16"/>
                    <a:pt x="45" y="17"/>
                    <a:pt x="45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0DC71FC-3455-40B2-89C5-05825B387A90}"/>
              </a:ext>
            </a:extLst>
          </p:cNvPr>
          <p:cNvGrpSpPr/>
          <p:nvPr/>
        </p:nvGrpSpPr>
        <p:grpSpPr>
          <a:xfrm>
            <a:off x="4777600" y="285701"/>
            <a:ext cx="844550" cy="844550"/>
            <a:chOff x="4344988" y="3201988"/>
            <a:chExt cx="844550" cy="844550"/>
          </a:xfrm>
        </p:grpSpPr>
        <p:sp>
          <p:nvSpPr>
            <p:cNvPr id="14" name="AutoShape 9">
              <a:extLst>
                <a:ext uri="{FF2B5EF4-FFF2-40B4-BE49-F238E27FC236}">
                  <a16:creationId xmlns:a16="http://schemas.microsoft.com/office/drawing/2014/main" id="{349F45BD-2E29-4D65-AE00-11B1F9B737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4988" y="3201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2BA98D41-C410-4BC0-9D1C-875328945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988" y="32019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A4C9F940-FF5B-40D7-9D32-C410BEE1F2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563" y="32305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EAB50CE5-9615-4FD5-A251-CA5B4869D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2313" y="3348038"/>
              <a:ext cx="471488" cy="520700"/>
            </a:xfrm>
            <a:custGeom>
              <a:avLst/>
              <a:gdLst>
                <a:gd name="T0" fmla="*/ 107 w 116"/>
                <a:gd name="T1" fmla="*/ 108 h 128"/>
                <a:gd name="T2" fmla="*/ 103 w 116"/>
                <a:gd name="T3" fmla="*/ 112 h 128"/>
                <a:gd name="T4" fmla="*/ 96 w 116"/>
                <a:gd name="T5" fmla="*/ 112 h 128"/>
                <a:gd name="T6" fmla="*/ 92 w 116"/>
                <a:gd name="T7" fmla="*/ 108 h 128"/>
                <a:gd name="T8" fmla="*/ 105 w 116"/>
                <a:gd name="T9" fmla="*/ 99 h 128"/>
                <a:gd name="T10" fmla="*/ 105 w 116"/>
                <a:gd name="T11" fmla="*/ 90 h 128"/>
                <a:gd name="T12" fmla="*/ 105 w 116"/>
                <a:gd name="T13" fmla="*/ 99 h 128"/>
                <a:gd name="T14" fmla="*/ 96 w 116"/>
                <a:gd name="T15" fmla="*/ 93 h 128"/>
                <a:gd name="T16" fmla="*/ 92 w 116"/>
                <a:gd name="T17" fmla="*/ 97 h 128"/>
                <a:gd name="T18" fmla="*/ 107 w 116"/>
                <a:gd name="T19" fmla="*/ 82 h 128"/>
                <a:gd name="T20" fmla="*/ 103 w 116"/>
                <a:gd name="T21" fmla="*/ 77 h 128"/>
                <a:gd name="T22" fmla="*/ 94 w 116"/>
                <a:gd name="T23" fmla="*/ 84 h 128"/>
                <a:gd name="T24" fmla="*/ 94 w 116"/>
                <a:gd name="T25" fmla="*/ 75 h 128"/>
                <a:gd name="T26" fmla="*/ 94 w 116"/>
                <a:gd name="T27" fmla="*/ 84 h 128"/>
                <a:gd name="T28" fmla="*/ 107 w 116"/>
                <a:gd name="T29" fmla="*/ 62 h 128"/>
                <a:gd name="T30" fmla="*/ 103 w 116"/>
                <a:gd name="T31" fmla="*/ 66 h 128"/>
                <a:gd name="T32" fmla="*/ 96 w 116"/>
                <a:gd name="T33" fmla="*/ 66 h 128"/>
                <a:gd name="T34" fmla="*/ 92 w 116"/>
                <a:gd name="T35" fmla="*/ 62 h 128"/>
                <a:gd name="T36" fmla="*/ 67 w 116"/>
                <a:gd name="T37" fmla="*/ 18 h 128"/>
                <a:gd name="T38" fmla="*/ 71 w 116"/>
                <a:gd name="T39" fmla="*/ 115 h 128"/>
                <a:gd name="T40" fmla="*/ 67 w 116"/>
                <a:gd name="T41" fmla="*/ 18 h 128"/>
                <a:gd name="T42" fmla="*/ 80 w 116"/>
                <a:gd name="T43" fmla="*/ 62 h 128"/>
                <a:gd name="T44" fmla="*/ 112 w 116"/>
                <a:gd name="T45" fmla="*/ 123 h 128"/>
                <a:gd name="T46" fmla="*/ 60 w 116"/>
                <a:gd name="T47" fmla="*/ 6 h 128"/>
                <a:gd name="T48" fmla="*/ 76 w 116"/>
                <a:gd name="T49" fmla="*/ 13 h 128"/>
                <a:gd name="T50" fmla="*/ 40 w 116"/>
                <a:gd name="T51" fmla="*/ 123 h 128"/>
                <a:gd name="T52" fmla="*/ 48 w 116"/>
                <a:gd name="T53" fmla="*/ 11 h 128"/>
                <a:gd name="T54" fmla="*/ 36 w 116"/>
                <a:gd name="T55" fmla="*/ 123 h 128"/>
                <a:gd name="T56" fmla="*/ 22 w 116"/>
                <a:gd name="T57" fmla="*/ 115 h 128"/>
                <a:gd name="T58" fmla="*/ 4 w 116"/>
                <a:gd name="T59" fmla="*/ 110 h 128"/>
                <a:gd name="T60" fmla="*/ 24 w 116"/>
                <a:gd name="T61" fmla="*/ 99 h 128"/>
                <a:gd name="T62" fmla="*/ 4 w 116"/>
                <a:gd name="T63" fmla="*/ 92 h 128"/>
                <a:gd name="T64" fmla="*/ 22 w 116"/>
                <a:gd name="T65" fmla="*/ 84 h 128"/>
                <a:gd name="T66" fmla="*/ 23 w 116"/>
                <a:gd name="T67" fmla="*/ 75 h 128"/>
                <a:gd name="T68" fmla="*/ 4 w 116"/>
                <a:gd name="T69" fmla="*/ 76 h 128"/>
                <a:gd name="T70" fmla="*/ 24 w 116"/>
                <a:gd name="T71" fmla="*/ 59 h 128"/>
                <a:gd name="T72" fmla="*/ 4 w 116"/>
                <a:gd name="T73" fmla="*/ 59 h 128"/>
                <a:gd name="T74" fmla="*/ 36 w 116"/>
                <a:gd name="T75" fmla="*/ 123 h 128"/>
                <a:gd name="T76" fmla="*/ 116 w 116"/>
                <a:gd name="T77" fmla="*/ 52 h 128"/>
                <a:gd name="T78" fmla="*/ 115 w 116"/>
                <a:gd name="T79" fmla="*/ 51 h 128"/>
                <a:gd name="T80" fmla="*/ 90 w 116"/>
                <a:gd name="T81" fmla="*/ 44 h 128"/>
                <a:gd name="T82" fmla="*/ 80 w 116"/>
                <a:gd name="T83" fmla="*/ 12 h 128"/>
                <a:gd name="T84" fmla="*/ 80 w 116"/>
                <a:gd name="T85" fmla="*/ 11 h 128"/>
                <a:gd name="T86" fmla="*/ 79 w 116"/>
                <a:gd name="T87" fmla="*/ 10 h 128"/>
                <a:gd name="T88" fmla="*/ 70 w 116"/>
                <a:gd name="T89" fmla="*/ 7 h 128"/>
                <a:gd name="T90" fmla="*/ 46 w 116"/>
                <a:gd name="T91" fmla="*/ 7 h 128"/>
                <a:gd name="T92" fmla="*/ 37 w 116"/>
                <a:gd name="T93" fmla="*/ 10 h 128"/>
                <a:gd name="T94" fmla="*/ 36 w 116"/>
                <a:gd name="T95" fmla="*/ 11 h 128"/>
                <a:gd name="T96" fmla="*/ 36 w 116"/>
                <a:gd name="T97" fmla="*/ 12 h 128"/>
                <a:gd name="T98" fmla="*/ 23 w 116"/>
                <a:gd name="T99" fmla="*/ 42 h 128"/>
                <a:gd name="T100" fmla="*/ 0 w 116"/>
                <a:gd name="T101" fmla="*/ 126 h 128"/>
                <a:gd name="T102" fmla="*/ 116 w 116"/>
                <a:gd name="T103" fmla="*/ 126 h 128"/>
                <a:gd name="T104" fmla="*/ 45 w 116"/>
                <a:gd name="T105" fmla="*/ 18 h 128"/>
                <a:gd name="T106" fmla="*/ 49 w 116"/>
                <a:gd name="T107" fmla="*/ 115 h 128"/>
                <a:gd name="T108" fmla="*/ 45 w 116"/>
                <a:gd name="T109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8">
                  <a:moveTo>
                    <a:pt x="105" y="115"/>
                  </a:moveTo>
                  <a:cubicBezTo>
                    <a:pt x="106" y="115"/>
                    <a:pt x="107" y="114"/>
                    <a:pt x="107" y="112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07" y="107"/>
                    <a:pt x="106" y="106"/>
                    <a:pt x="105" y="106"/>
                  </a:cubicBezTo>
                  <a:cubicBezTo>
                    <a:pt x="104" y="106"/>
                    <a:pt x="103" y="107"/>
                    <a:pt x="103" y="108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3" y="114"/>
                    <a:pt x="104" y="115"/>
                    <a:pt x="105" y="115"/>
                  </a:cubicBezTo>
                  <a:moveTo>
                    <a:pt x="94" y="115"/>
                  </a:moveTo>
                  <a:cubicBezTo>
                    <a:pt x="95" y="115"/>
                    <a:pt x="96" y="114"/>
                    <a:pt x="96" y="112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7"/>
                    <a:pt x="95" y="106"/>
                    <a:pt x="94" y="106"/>
                  </a:cubicBezTo>
                  <a:cubicBezTo>
                    <a:pt x="93" y="106"/>
                    <a:pt x="92" y="107"/>
                    <a:pt x="92" y="108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2" y="114"/>
                    <a:pt x="93" y="115"/>
                    <a:pt x="94" y="115"/>
                  </a:cubicBezTo>
                  <a:moveTo>
                    <a:pt x="105" y="99"/>
                  </a:moveTo>
                  <a:cubicBezTo>
                    <a:pt x="106" y="99"/>
                    <a:pt x="107" y="98"/>
                    <a:pt x="107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7" y="91"/>
                    <a:pt x="106" y="90"/>
                    <a:pt x="105" y="90"/>
                  </a:cubicBezTo>
                  <a:cubicBezTo>
                    <a:pt x="104" y="90"/>
                    <a:pt x="103" y="91"/>
                    <a:pt x="103" y="93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8"/>
                    <a:pt x="104" y="99"/>
                    <a:pt x="105" y="99"/>
                  </a:cubicBezTo>
                  <a:moveTo>
                    <a:pt x="94" y="99"/>
                  </a:moveTo>
                  <a:cubicBezTo>
                    <a:pt x="95" y="99"/>
                    <a:pt x="96" y="98"/>
                    <a:pt x="96" y="97"/>
                  </a:cubicBezTo>
                  <a:cubicBezTo>
                    <a:pt x="96" y="93"/>
                    <a:pt x="96" y="93"/>
                    <a:pt x="96" y="93"/>
                  </a:cubicBezTo>
                  <a:cubicBezTo>
                    <a:pt x="96" y="91"/>
                    <a:pt x="95" y="90"/>
                    <a:pt x="94" y="90"/>
                  </a:cubicBezTo>
                  <a:cubicBezTo>
                    <a:pt x="93" y="90"/>
                    <a:pt x="92" y="91"/>
                    <a:pt x="92" y="9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8"/>
                    <a:pt x="93" y="99"/>
                    <a:pt x="94" y="99"/>
                  </a:cubicBezTo>
                  <a:moveTo>
                    <a:pt x="105" y="84"/>
                  </a:moveTo>
                  <a:cubicBezTo>
                    <a:pt x="106" y="84"/>
                    <a:pt x="107" y="83"/>
                    <a:pt x="107" y="82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6"/>
                    <a:pt x="106" y="75"/>
                    <a:pt x="105" y="75"/>
                  </a:cubicBezTo>
                  <a:cubicBezTo>
                    <a:pt x="104" y="75"/>
                    <a:pt x="103" y="76"/>
                    <a:pt x="103" y="77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3"/>
                    <a:pt x="104" y="84"/>
                    <a:pt x="105" y="84"/>
                  </a:cubicBezTo>
                  <a:moveTo>
                    <a:pt x="94" y="84"/>
                  </a:moveTo>
                  <a:cubicBezTo>
                    <a:pt x="95" y="84"/>
                    <a:pt x="96" y="83"/>
                    <a:pt x="96" y="82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6"/>
                    <a:pt x="95" y="75"/>
                    <a:pt x="94" y="75"/>
                  </a:cubicBezTo>
                  <a:cubicBezTo>
                    <a:pt x="93" y="75"/>
                    <a:pt x="92" y="76"/>
                    <a:pt x="92" y="77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83"/>
                    <a:pt x="93" y="84"/>
                    <a:pt x="94" y="84"/>
                  </a:cubicBezTo>
                  <a:moveTo>
                    <a:pt x="105" y="68"/>
                  </a:moveTo>
                  <a:cubicBezTo>
                    <a:pt x="106" y="68"/>
                    <a:pt x="107" y="67"/>
                    <a:pt x="107" y="66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1"/>
                    <a:pt x="106" y="60"/>
                    <a:pt x="105" y="60"/>
                  </a:cubicBezTo>
                  <a:cubicBezTo>
                    <a:pt x="104" y="60"/>
                    <a:pt x="103" y="61"/>
                    <a:pt x="103" y="62"/>
                  </a:cubicBezTo>
                  <a:cubicBezTo>
                    <a:pt x="103" y="66"/>
                    <a:pt x="103" y="66"/>
                    <a:pt x="103" y="66"/>
                  </a:cubicBezTo>
                  <a:cubicBezTo>
                    <a:pt x="103" y="67"/>
                    <a:pt x="104" y="68"/>
                    <a:pt x="105" y="68"/>
                  </a:cubicBezTo>
                  <a:moveTo>
                    <a:pt x="94" y="68"/>
                  </a:moveTo>
                  <a:cubicBezTo>
                    <a:pt x="95" y="68"/>
                    <a:pt x="96" y="67"/>
                    <a:pt x="96" y="66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1"/>
                    <a:pt x="95" y="60"/>
                    <a:pt x="94" y="60"/>
                  </a:cubicBezTo>
                  <a:cubicBezTo>
                    <a:pt x="93" y="60"/>
                    <a:pt x="92" y="61"/>
                    <a:pt x="92" y="62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7"/>
                    <a:pt x="93" y="68"/>
                    <a:pt x="94" y="68"/>
                  </a:cubicBezTo>
                  <a:moveTo>
                    <a:pt x="67" y="18"/>
                  </a:moveTo>
                  <a:cubicBezTo>
                    <a:pt x="67" y="115"/>
                    <a:pt x="67" y="115"/>
                    <a:pt x="67" y="115"/>
                  </a:cubicBezTo>
                  <a:cubicBezTo>
                    <a:pt x="67" y="116"/>
                    <a:pt x="68" y="117"/>
                    <a:pt x="69" y="117"/>
                  </a:cubicBezTo>
                  <a:cubicBezTo>
                    <a:pt x="70" y="117"/>
                    <a:pt x="71" y="116"/>
                    <a:pt x="71" y="115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7"/>
                    <a:pt x="70" y="16"/>
                    <a:pt x="69" y="16"/>
                  </a:cubicBezTo>
                  <a:cubicBezTo>
                    <a:pt x="68" y="16"/>
                    <a:pt x="67" y="17"/>
                    <a:pt x="67" y="18"/>
                  </a:cubicBezTo>
                  <a:moveTo>
                    <a:pt x="112" y="123"/>
                  </a:moveTo>
                  <a:cubicBezTo>
                    <a:pt x="80" y="123"/>
                    <a:pt x="80" y="123"/>
                    <a:pt x="80" y="123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112" y="55"/>
                    <a:pt x="112" y="55"/>
                    <a:pt x="112" y="55"/>
                  </a:cubicBezTo>
                  <a:lnTo>
                    <a:pt x="112" y="123"/>
                  </a:lnTo>
                  <a:close/>
                  <a:moveTo>
                    <a:pt x="76" y="123"/>
                  </a:moveTo>
                  <a:cubicBezTo>
                    <a:pt x="60" y="123"/>
                    <a:pt x="60" y="123"/>
                    <a:pt x="60" y="123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9" y="11"/>
                  </a:cubicBezTo>
                  <a:cubicBezTo>
                    <a:pt x="76" y="13"/>
                    <a:pt x="76" y="13"/>
                    <a:pt x="76" y="13"/>
                  </a:cubicBezTo>
                  <a:lnTo>
                    <a:pt x="76" y="123"/>
                  </a:lnTo>
                  <a:close/>
                  <a:moveTo>
                    <a:pt x="56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6" y="6"/>
                    <a:pt x="56" y="6"/>
                    <a:pt x="56" y="6"/>
                  </a:cubicBezTo>
                  <a:lnTo>
                    <a:pt x="56" y="123"/>
                  </a:lnTo>
                  <a:close/>
                  <a:moveTo>
                    <a:pt x="36" y="123"/>
                  </a:moveTo>
                  <a:cubicBezTo>
                    <a:pt x="4" y="123"/>
                    <a:pt x="4" y="123"/>
                    <a:pt x="4" y="123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3" y="115"/>
                    <a:pt x="24" y="114"/>
                    <a:pt x="24" y="112"/>
                  </a:cubicBezTo>
                  <a:cubicBezTo>
                    <a:pt x="24" y="111"/>
                    <a:pt x="23" y="110"/>
                    <a:pt x="22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4" y="101"/>
                    <a:pt x="25" y="100"/>
                    <a:pt x="24" y="99"/>
                  </a:cubicBezTo>
                  <a:cubicBezTo>
                    <a:pt x="24" y="98"/>
                    <a:pt x="23" y="97"/>
                    <a:pt x="22" y="97"/>
                  </a:cubicBezTo>
                  <a:cubicBezTo>
                    <a:pt x="4" y="99"/>
                    <a:pt x="4" y="99"/>
                    <a:pt x="4" y="99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4" y="88"/>
                    <a:pt x="25" y="87"/>
                    <a:pt x="24" y="86"/>
                  </a:cubicBezTo>
                  <a:cubicBezTo>
                    <a:pt x="24" y="84"/>
                    <a:pt x="23" y="84"/>
                    <a:pt x="22" y="84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4" y="74"/>
                    <a:pt x="25" y="73"/>
                    <a:pt x="24" y="72"/>
                  </a:cubicBezTo>
                  <a:cubicBezTo>
                    <a:pt x="24" y="71"/>
                    <a:pt x="23" y="70"/>
                    <a:pt x="21" y="71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4" y="61"/>
                    <a:pt x="25" y="60"/>
                    <a:pt x="24" y="59"/>
                  </a:cubicBezTo>
                  <a:cubicBezTo>
                    <a:pt x="24" y="58"/>
                    <a:pt x="22" y="57"/>
                    <a:pt x="21" y="58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36" y="123"/>
                  </a:lnTo>
                  <a:close/>
                  <a:moveTo>
                    <a:pt x="116" y="53"/>
                  </a:moveTo>
                  <a:cubicBezTo>
                    <a:pt x="116" y="53"/>
                    <a:pt x="116" y="53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9" y="44"/>
                    <a:pt x="88" y="44"/>
                    <a:pt x="88" y="4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9"/>
                    <a:pt x="79" y="9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0"/>
                    <a:pt x="58" y="0"/>
                    <a:pt x="57" y="0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2"/>
                    <a:pt x="36" y="12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4" y="42"/>
                    <a:pt x="23" y="42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7"/>
                    <a:pt x="1" y="128"/>
                    <a:pt x="2" y="128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8"/>
                    <a:pt x="116" y="127"/>
                    <a:pt x="116" y="126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6" y="53"/>
                    <a:pt x="116" y="53"/>
                    <a:pt x="116" y="53"/>
                  </a:cubicBezTo>
                  <a:moveTo>
                    <a:pt x="45" y="18"/>
                  </a:moveTo>
                  <a:cubicBezTo>
                    <a:pt x="45" y="115"/>
                    <a:pt x="45" y="115"/>
                    <a:pt x="45" y="115"/>
                  </a:cubicBezTo>
                  <a:cubicBezTo>
                    <a:pt x="45" y="116"/>
                    <a:pt x="46" y="117"/>
                    <a:pt x="47" y="117"/>
                  </a:cubicBezTo>
                  <a:cubicBezTo>
                    <a:pt x="48" y="117"/>
                    <a:pt x="49" y="116"/>
                    <a:pt x="49" y="115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7"/>
                    <a:pt x="48" y="16"/>
                    <a:pt x="47" y="16"/>
                  </a:cubicBezTo>
                  <a:cubicBezTo>
                    <a:pt x="46" y="16"/>
                    <a:pt x="45" y="17"/>
                    <a:pt x="45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BD9A8BA-9276-4539-8A28-E3FEC1C13B69}"/>
              </a:ext>
            </a:extLst>
          </p:cNvPr>
          <p:cNvGrpSpPr/>
          <p:nvPr/>
        </p:nvGrpSpPr>
        <p:grpSpPr>
          <a:xfrm>
            <a:off x="1420813" y="327770"/>
            <a:ext cx="758825" cy="760412"/>
            <a:chOff x="1420813" y="331788"/>
            <a:chExt cx="758825" cy="760412"/>
          </a:xfrm>
        </p:grpSpPr>
        <p:sp>
          <p:nvSpPr>
            <p:cNvPr id="22" name="AutoShape 15">
              <a:extLst>
                <a:ext uri="{FF2B5EF4-FFF2-40B4-BE49-F238E27FC236}">
                  <a16:creationId xmlns:a16="http://schemas.microsoft.com/office/drawing/2014/main" id="{F7A77500-58D2-4847-8DB9-F8C03B0B5B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0813" y="331788"/>
              <a:ext cx="758825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0C313364-50AA-4E96-A7B8-F47195E3B1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3988" y="334963"/>
              <a:ext cx="755650" cy="75723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955D0E01-F00A-4D1D-9561-E98217A090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2263" y="487363"/>
              <a:ext cx="420688" cy="422275"/>
            </a:xfrm>
            <a:custGeom>
              <a:avLst/>
              <a:gdLst>
                <a:gd name="T0" fmla="*/ 64 w 265"/>
                <a:gd name="T1" fmla="*/ 62 h 266"/>
                <a:gd name="T2" fmla="*/ 68 w 265"/>
                <a:gd name="T3" fmla="*/ 67 h 266"/>
                <a:gd name="T4" fmla="*/ 196 w 265"/>
                <a:gd name="T5" fmla="*/ 67 h 266"/>
                <a:gd name="T6" fmla="*/ 201 w 265"/>
                <a:gd name="T7" fmla="*/ 62 h 266"/>
                <a:gd name="T8" fmla="*/ 132 w 265"/>
                <a:gd name="T9" fmla="*/ 25 h 266"/>
                <a:gd name="T10" fmla="*/ 29 w 265"/>
                <a:gd name="T11" fmla="*/ 212 h 266"/>
                <a:gd name="T12" fmla="*/ 174 w 265"/>
                <a:gd name="T13" fmla="*/ 219 h 266"/>
                <a:gd name="T14" fmla="*/ 34 w 265"/>
                <a:gd name="T15" fmla="*/ 140 h 266"/>
                <a:gd name="T16" fmla="*/ 230 w 265"/>
                <a:gd name="T17" fmla="*/ 140 h 266"/>
                <a:gd name="T18" fmla="*/ 24 w 265"/>
                <a:gd name="T19" fmla="*/ 128 h 266"/>
                <a:gd name="T20" fmla="*/ 24 w 265"/>
                <a:gd name="T21" fmla="*/ 123 h 266"/>
                <a:gd name="T22" fmla="*/ 51 w 265"/>
                <a:gd name="T23" fmla="*/ 121 h 266"/>
                <a:gd name="T24" fmla="*/ 56 w 265"/>
                <a:gd name="T25" fmla="*/ 123 h 266"/>
                <a:gd name="T26" fmla="*/ 56 w 265"/>
                <a:gd name="T27" fmla="*/ 128 h 266"/>
                <a:gd name="T28" fmla="*/ 59 w 265"/>
                <a:gd name="T29" fmla="*/ 209 h 266"/>
                <a:gd name="T30" fmla="*/ 56 w 265"/>
                <a:gd name="T31" fmla="*/ 202 h 266"/>
                <a:gd name="T32" fmla="*/ 64 w 265"/>
                <a:gd name="T33" fmla="*/ 133 h 266"/>
                <a:gd name="T34" fmla="*/ 76 w 265"/>
                <a:gd name="T35" fmla="*/ 121 h 266"/>
                <a:gd name="T36" fmla="*/ 78 w 265"/>
                <a:gd name="T37" fmla="*/ 133 h 266"/>
                <a:gd name="T38" fmla="*/ 86 w 265"/>
                <a:gd name="T39" fmla="*/ 202 h 266"/>
                <a:gd name="T40" fmla="*/ 83 w 265"/>
                <a:gd name="T41" fmla="*/ 209 h 266"/>
                <a:gd name="T42" fmla="*/ 86 w 265"/>
                <a:gd name="T43" fmla="*/ 128 h 266"/>
                <a:gd name="T44" fmla="*/ 86 w 265"/>
                <a:gd name="T45" fmla="*/ 123 h 266"/>
                <a:gd name="T46" fmla="*/ 113 w 265"/>
                <a:gd name="T47" fmla="*/ 121 h 266"/>
                <a:gd name="T48" fmla="*/ 118 w 265"/>
                <a:gd name="T49" fmla="*/ 123 h 266"/>
                <a:gd name="T50" fmla="*/ 118 w 265"/>
                <a:gd name="T51" fmla="*/ 128 h 266"/>
                <a:gd name="T52" fmla="*/ 120 w 265"/>
                <a:gd name="T53" fmla="*/ 209 h 266"/>
                <a:gd name="T54" fmla="*/ 118 w 265"/>
                <a:gd name="T55" fmla="*/ 202 h 266"/>
                <a:gd name="T56" fmla="*/ 125 w 265"/>
                <a:gd name="T57" fmla="*/ 133 h 266"/>
                <a:gd name="T58" fmla="*/ 137 w 265"/>
                <a:gd name="T59" fmla="*/ 121 h 266"/>
                <a:gd name="T60" fmla="*/ 140 w 265"/>
                <a:gd name="T61" fmla="*/ 133 h 266"/>
                <a:gd name="T62" fmla="*/ 147 w 265"/>
                <a:gd name="T63" fmla="*/ 202 h 266"/>
                <a:gd name="T64" fmla="*/ 144 w 265"/>
                <a:gd name="T65" fmla="*/ 209 h 266"/>
                <a:gd name="T66" fmla="*/ 147 w 265"/>
                <a:gd name="T67" fmla="*/ 128 h 266"/>
                <a:gd name="T68" fmla="*/ 147 w 265"/>
                <a:gd name="T69" fmla="*/ 123 h 266"/>
                <a:gd name="T70" fmla="*/ 174 w 265"/>
                <a:gd name="T71" fmla="*/ 121 h 266"/>
                <a:gd name="T72" fmla="*/ 179 w 265"/>
                <a:gd name="T73" fmla="*/ 123 h 266"/>
                <a:gd name="T74" fmla="*/ 179 w 265"/>
                <a:gd name="T75" fmla="*/ 128 h 266"/>
                <a:gd name="T76" fmla="*/ 181 w 265"/>
                <a:gd name="T77" fmla="*/ 209 h 266"/>
                <a:gd name="T78" fmla="*/ 179 w 265"/>
                <a:gd name="T79" fmla="*/ 202 h 266"/>
                <a:gd name="T80" fmla="*/ 186 w 265"/>
                <a:gd name="T81" fmla="*/ 133 h 266"/>
                <a:gd name="T82" fmla="*/ 198 w 265"/>
                <a:gd name="T83" fmla="*/ 121 h 266"/>
                <a:gd name="T84" fmla="*/ 201 w 265"/>
                <a:gd name="T85" fmla="*/ 133 h 266"/>
                <a:gd name="T86" fmla="*/ 208 w 265"/>
                <a:gd name="T87" fmla="*/ 202 h 266"/>
                <a:gd name="T88" fmla="*/ 206 w 265"/>
                <a:gd name="T89" fmla="*/ 209 h 266"/>
                <a:gd name="T90" fmla="*/ 208 w 265"/>
                <a:gd name="T91" fmla="*/ 128 h 266"/>
                <a:gd name="T92" fmla="*/ 208 w 265"/>
                <a:gd name="T93" fmla="*/ 123 h 266"/>
                <a:gd name="T94" fmla="*/ 235 w 265"/>
                <a:gd name="T95" fmla="*/ 121 h 266"/>
                <a:gd name="T96" fmla="*/ 240 w 265"/>
                <a:gd name="T97" fmla="*/ 123 h 266"/>
                <a:gd name="T98" fmla="*/ 240 w 265"/>
                <a:gd name="T99" fmla="*/ 128 h 266"/>
                <a:gd name="T100" fmla="*/ 230 w 265"/>
                <a:gd name="T101" fmla="*/ 86 h 266"/>
                <a:gd name="T102" fmla="*/ 17 w 265"/>
                <a:gd name="T103" fmla="*/ 86 h 266"/>
                <a:gd name="T104" fmla="*/ 15 w 265"/>
                <a:gd name="T105" fmla="*/ 118 h 266"/>
                <a:gd name="T106" fmla="*/ 17 w 265"/>
                <a:gd name="T107" fmla="*/ 133 h 266"/>
                <a:gd name="T108" fmla="*/ 24 w 265"/>
                <a:gd name="T109" fmla="*/ 202 h 266"/>
                <a:gd name="T110" fmla="*/ 22 w 265"/>
                <a:gd name="T111" fmla="*/ 207 h 266"/>
                <a:gd name="T112" fmla="*/ 260 w 265"/>
                <a:gd name="T113" fmla="*/ 256 h 266"/>
                <a:gd name="T114" fmla="*/ 243 w 265"/>
                <a:gd name="T115" fmla="*/ 204 h 266"/>
                <a:gd name="T116" fmla="*/ 243 w 265"/>
                <a:gd name="T117" fmla="*/ 138 h 266"/>
                <a:gd name="T118" fmla="*/ 250 w 265"/>
                <a:gd name="T119" fmla="*/ 126 h 266"/>
                <a:gd name="T120" fmla="*/ 245 w 265"/>
                <a:gd name="T121" fmla="*/ 11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5" h="266">
                  <a:moveTo>
                    <a:pt x="66" y="57"/>
                  </a:moveTo>
                  <a:lnTo>
                    <a:pt x="66" y="57"/>
                  </a:lnTo>
                  <a:lnTo>
                    <a:pt x="64" y="57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71" y="67"/>
                  </a:lnTo>
                  <a:lnTo>
                    <a:pt x="132" y="3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7"/>
                  </a:lnTo>
                  <a:lnTo>
                    <a:pt x="201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32" y="25"/>
                  </a:lnTo>
                  <a:lnTo>
                    <a:pt x="66" y="57"/>
                  </a:lnTo>
                  <a:close/>
                  <a:moveTo>
                    <a:pt x="15" y="246"/>
                  </a:moveTo>
                  <a:lnTo>
                    <a:pt x="250" y="246"/>
                  </a:lnTo>
                  <a:lnTo>
                    <a:pt x="250" y="256"/>
                  </a:lnTo>
                  <a:lnTo>
                    <a:pt x="15" y="256"/>
                  </a:lnTo>
                  <a:lnTo>
                    <a:pt x="15" y="246"/>
                  </a:lnTo>
                  <a:close/>
                  <a:moveTo>
                    <a:pt x="17" y="229"/>
                  </a:moveTo>
                  <a:lnTo>
                    <a:pt x="247" y="229"/>
                  </a:lnTo>
                  <a:lnTo>
                    <a:pt x="247" y="239"/>
                  </a:lnTo>
                  <a:lnTo>
                    <a:pt x="17" y="239"/>
                  </a:lnTo>
                  <a:lnTo>
                    <a:pt x="17" y="229"/>
                  </a:lnTo>
                  <a:close/>
                  <a:moveTo>
                    <a:pt x="29" y="212"/>
                  </a:moveTo>
                  <a:lnTo>
                    <a:pt x="49" y="212"/>
                  </a:lnTo>
                  <a:lnTo>
                    <a:pt x="49" y="219"/>
                  </a:lnTo>
                  <a:lnTo>
                    <a:pt x="29" y="219"/>
                  </a:lnTo>
                  <a:lnTo>
                    <a:pt x="29" y="212"/>
                  </a:lnTo>
                  <a:close/>
                  <a:moveTo>
                    <a:pt x="93" y="212"/>
                  </a:moveTo>
                  <a:lnTo>
                    <a:pt x="110" y="212"/>
                  </a:lnTo>
                  <a:lnTo>
                    <a:pt x="110" y="219"/>
                  </a:lnTo>
                  <a:lnTo>
                    <a:pt x="93" y="219"/>
                  </a:lnTo>
                  <a:lnTo>
                    <a:pt x="93" y="212"/>
                  </a:lnTo>
                  <a:close/>
                  <a:moveTo>
                    <a:pt x="154" y="212"/>
                  </a:moveTo>
                  <a:lnTo>
                    <a:pt x="174" y="212"/>
                  </a:lnTo>
                  <a:lnTo>
                    <a:pt x="174" y="219"/>
                  </a:lnTo>
                  <a:lnTo>
                    <a:pt x="154" y="219"/>
                  </a:lnTo>
                  <a:lnTo>
                    <a:pt x="154" y="212"/>
                  </a:lnTo>
                  <a:close/>
                  <a:moveTo>
                    <a:pt x="216" y="212"/>
                  </a:moveTo>
                  <a:lnTo>
                    <a:pt x="235" y="212"/>
                  </a:lnTo>
                  <a:lnTo>
                    <a:pt x="235" y="219"/>
                  </a:lnTo>
                  <a:lnTo>
                    <a:pt x="216" y="219"/>
                  </a:lnTo>
                  <a:lnTo>
                    <a:pt x="216" y="212"/>
                  </a:lnTo>
                  <a:close/>
                  <a:moveTo>
                    <a:pt x="34" y="140"/>
                  </a:moveTo>
                  <a:lnTo>
                    <a:pt x="44" y="140"/>
                  </a:lnTo>
                  <a:lnTo>
                    <a:pt x="44" y="202"/>
                  </a:lnTo>
                  <a:lnTo>
                    <a:pt x="34" y="202"/>
                  </a:lnTo>
                  <a:lnTo>
                    <a:pt x="34" y="140"/>
                  </a:lnTo>
                  <a:close/>
                  <a:moveTo>
                    <a:pt x="98" y="140"/>
                  </a:moveTo>
                  <a:lnTo>
                    <a:pt x="105" y="140"/>
                  </a:lnTo>
                  <a:lnTo>
                    <a:pt x="105" y="202"/>
                  </a:lnTo>
                  <a:lnTo>
                    <a:pt x="98" y="202"/>
                  </a:lnTo>
                  <a:lnTo>
                    <a:pt x="98" y="140"/>
                  </a:lnTo>
                  <a:close/>
                  <a:moveTo>
                    <a:pt x="159" y="140"/>
                  </a:moveTo>
                  <a:lnTo>
                    <a:pt x="167" y="140"/>
                  </a:lnTo>
                  <a:lnTo>
                    <a:pt x="167" y="202"/>
                  </a:lnTo>
                  <a:lnTo>
                    <a:pt x="159" y="202"/>
                  </a:lnTo>
                  <a:lnTo>
                    <a:pt x="159" y="140"/>
                  </a:lnTo>
                  <a:close/>
                  <a:moveTo>
                    <a:pt x="220" y="140"/>
                  </a:moveTo>
                  <a:lnTo>
                    <a:pt x="230" y="140"/>
                  </a:lnTo>
                  <a:lnTo>
                    <a:pt x="230" y="202"/>
                  </a:lnTo>
                  <a:lnTo>
                    <a:pt x="220" y="202"/>
                  </a:lnTo>
                  <a:lnTo>
                    <a:pt x="220" y="140"/>
                  </a:lnTo>
                  <a:close/>
                  <a:moveTo>
                    <a:pt x="29" y="130"/>
                  </a:moveTo>
                  <a:lnTo>
                    <a:pt x="29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51" y="121"/>
                  </a:lnTo>
                  <a:lnTo>
                    <a:pt x="51" y="121"/>
                  </a:lnTo>
                  <a:lnTo>
                    <a:pt x="51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29" y="130"/>
                  </a:lnTo>
                  <a:lnTo>
                    <a:pt x="29" y="130"/>
                  </a:lnTo>
                  <a:close/>
                  <a:moveTo>
                    <a:pt x="59" y="209"/>
                  </a:moveTo>
                  <a:lnTo>
                    <a:pt x="59" y="209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6" y="204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4" y="202"/>
                  </a:lnTo>
                  <a:lnTo>
                    <a:pt x="54" y="140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61" y="138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3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8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8" y="140"/>
                  </a:lnTo>
                  <a:lnTo>
                    <a:pt x="88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9"/>
                  </a:lnTo>
                  <a:lnTo>
                    <a:pt x="83" y="209"/>
                  </a:lnTo>
                  <a:lnTo>
                    <a:pt x="83" y="219"/>
                  </a:lnTo>
                  <a:lnTo>
                    <a:pt x="59" y="219"/>
                  </a:lnTo>
                  <a:lnTo>
                    <a:pt x="59" y="209"/>
                  </a:lnTo>
                  <a:close/>
                  <a:moveTo>
                    <a:pt x="91" y="130"/>
                  </a:moveTo>
                  <a:lnTo>
                    <a:pt x="91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8" y="121"/>
                  </a:lnTo>
                  <a:lnTo>
                    <a:pt x="118" y="121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5" y="128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91" y="130"/>
                  </a:lnTo>
                  <a:lnTo>
                    <a:pt x="91" y="130"/>
                  </a:lnTo>
                  <a:close/>
                  <a:moveTo>
                    <a:pt x="120" y="209"/>
                  </a:moveTo>
                  <a:lnTo>
                    <a:pt x="120" y="209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5" y="202"/>
                  </a:lnTo>
                  <a:lnTo>
                    <a:pt x="115" y="140"/>
                  </a:lnTo>
                  <a:lnTo>
                    <a:pt x="118" y="138"/>
                  </a:lnTo>
                  <a:lnTo>
                    <a:pt x="118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2" y="138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27" y="130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40" y="133"/>
                  </a:lnTo>
                  <a:lnTo>
                    <a:pt x="140" y="133"/>
                  </a:lnTo>
                  <a:lnTo>
                    <a:pt x="140" y="133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9" y="140"/>
                  </a:lnTo>
                  <a:lnTo>
                    <a:pt x="149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19"/>
                  </a:lnTo>
                  <a:lnTo>
                    <a:pt x="120" y="219"/>
                  </a:lnTo>
                  <a:lnTo>
                    <a:pt x="120" y="209"/>
                  </a:lnTo>
                  <a:close/>
                  <a:moveTo>
                    <a:pt x="152" y="130"/>
                  </a:moveTo>
                  <a:lnTo>
                    <a:pt x="152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74" y="121"/>
                  </a:lnTo>
                  <a:lnTo>
                    <a:pt x="174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9" y="121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6" y="128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52" y="130"/>
                  </a:lnTo>
                  <a:lnTo>
                    <a:pt x="152" y="130"/>
                  </a:lnTo>
                  <a:close/>
                  <a:moveTo>
                    <a:pt x="181" y="209"/>
                  </a:moveTo>
                  <a:lnTo>
                    <a:pt x="181" y="209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6" y="202"/>
                  </a:lnTo>
                  <a:lnTo>
                    <a:pt x="176" y="140"/>
                  </a:lnTo>
                  <a:lnTo>
                    <a:pt x="179" y="138"/>
                  </a:lnTo>
                  <a:lnTo>
                    <a:pt x="179" y="138"/>
                  </a:lnTo>
                  <a:lnTo>
                    <a:pt x="181" y="138"/>
                  </a:lnTo>
                  <a:lnTo>
                    <a:pt x="181" y="138"/>
                  </a:lnTo>
                  <a:lnTo>
                    <a:pt x="184" y="138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9" y="130"/>
                  </a:lnTo>
                  <a:lnTo>
                    <a:pt x="189" y="130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6"/>
                  </a:lnTo>
                  <a:lnTo>
                    <a:pt x="189" y="126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30"/>
                  </a:lnTo>
                  <a:lnTo>
                    <a:pt x="198" y="130"/>
                  </a:lnTo>
                  <a:lnTo>
                    <a:pt x="201" y="133"/>
                  </a:lnTo>
                  <a:lnTo>
                    <a:pt x="201" y="133"/>
                  </a:lnTo>
                  <a:lnTo>
                    <a:pt x="201" y="133"/>
                  </a:lnTo>
                  <a:lnTo>
                    <a:pt x="203" y="135"/>
                  </a:lnTo>
                  <a:lnTo>
                    <a:pt x="203" y="135"/>
                  </a:lnTo>
                  <a:lnTo>
                    <a:pt x="203" y="138"/>
                  </a:lnTo>
                  <a:lnTo>
                    <a:pt x="206" y="138"/>
                  </a:lnTo>
                  <a:lnTo>
                    <a:pt x="206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11" y="140"/>
                  </a:lnTo>
                  <a:lnTo>
                    <a:pt x="211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9"/>
                  </a:lnTo>
                  <a:lnTo>
                    <a:pt x="206" y="209"/>
                  </a:lnTo>
                  <a:lnTo>
                    <a:pt x="206" y="219"/>
                  </a:lnTo>
                  <a:lnTo>
                    <a:pt x="181" y="219"/>
                  </a:lnTo>
                  <a:lnTo>
                    <a:pt x="181" y="209"/>
                  </a:lnTo>
                  <a:close/>
                  <a:moveTo>
                    <a:pt x="213" y="130"/>
                  </a:moveTo>
                  <a:lnTo>
                    <a:pt x="213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1"/>
                  </a:lnTo>
                  <a:lnTo>
                    <a:pt x="208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21"/>
                  </a:lnTo>
                  <a:lnTo>
                    <a:pt x="213" y="121"/>
                  </a:lnTo>
                  <a:lnTo>
                    <a:pt x="235" y="121"/>
                  </a:lnTo>
                  <a:lnTo>
                    <a:pt x="235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0" y="121"/>
                  </a:lnTo>
                  <a:lnTo>
                    <a:pt x="240" y="121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38" y="128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5" y="130"/>
                  </a:lnTo>
                  <a:lnTo>
                    <a:pt x="235" y="130"/>
                  </a:lnTo>
                  <a:lnTo>
                    <a:pt x="213" y="130"/>
                  </a:lnTo>
                  <a:lnTo>
                    <a:pt x="213" y="130"/>
                  </a:lnTo>
                  <a:close/>
                  <a:moveTo>
                    <a:pt x="34" y="86"/>
                  </a:moveTo>
                  <a:lnTo>
                    <a:pt x="230" y="86"/>
                  </a:lnTo>
                  <a:lnTo>
                    <a:pt x="230" y="111"/>
                  </a:lnTo>
                  <a:lnTo>
                    <a:pt x="34" y="111"/>
                  </a:lnTo>
                  <a:lnTo>
                    <a:pt x="34" y="86"/>
                  </a:lnTo>
                  <a:close/>
                  <a:moveTo>
                    <a:pt x="17" y="69"/>
                  </a:moveTo>
                  <a:lnTo>
                    <a:pt x="132" y="10"/>
                  </a:lnTo>
                  <a:lnTo>
                    <a:pt x="247" y="69"/>
                  </a:lnTo>
                  <a:lnTo>
                    <a:pt x="243" y="76"/>
                  </a:lnTo>
                  <a:lnTo>
                    <a:pt x="22" y="76"/>
                  </a:lnTo>
                  <a:lnTo>
                    <a:pt x="17" y="69"/>
                  </a:lnTo>
                  <a:close/>
                  <a:moveTo>
                    <a:pt x="132" y="0"/>
                  </a:moveTo>
                  <a:lnTo>
                    <a:pt x="2" y="67"/>
                  </a:lnTo>
                  <a:lnTo>
                    <a:pt x="17" y="86"/>
                  </a:lnTo>
                  <a:lnTo>
                    <a:pt x="24" y="86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2" y="111"/>
                  </a:lnTo>
                  <a:lnTo>
                    <a:pt x="22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5"/>
                  </a:lnTo>
                  <a:lnTo>
                    <a:pt x="19" y="135"/>
                  </a:lnTo>
                  <a:lnTo>
                    <a:pt x="19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7" y="140"/>
                  </a:lnTo>
                  <a:lnTo>
                    <a:pt x="27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2" y="219"/>
                  </a:lnTo>
                  <a:lnTo>
                    <a:pt x="7" y="219"/>
                  </a:lnTo>
                  <a:lnTo>
                    <a:pt x="7" y="239"/>
                  </a:lnTo>
                  <a:lnTo>
                    <a:pt x="5" y="239"/>
                  </a:lnTo>
                  <a:lnTo>
                    <a:pt x="5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265" y="266"/>
                  </a:lnTo>
                  <a:lnTo>
                    <a:pt x="265" y="256"/>
                  </a:lnTo>
                  <a:lnTo>
                    <a:pt x="260" y="256"/>
                  </a:lnTo>
                  <a:lnTo>
                    <a:pt x="260" y="239"/>
                  </a:lnTo>
                  <a:lnTo>
                    <a:pt x="257" y="239"/>
                  </a:lnTo>
                  <a:lnTo>
                    <a:pt x="257" y="219"/>
                  </a:lnTo>
                  <a:lnTo>
                    <a:pt x="243" y="219"/>
                  </a:lnTo>
                  <a:lnTo>
                    <a:pt x="243" y="209"/>
                  </a:lnTo>
                  <a:lnTo>
                    <a:pt x="243" y="209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38" y="202"/>
                  </a:lnTo>
                  <a:lnTo>
                    <a:pt x="238" y="140"/>
                  </a:lnTo>
                  <a:lnTo>
                    <a:pt x="240" y="138"/>
                  </a:lnTo>
                  <a:lnTo>
                    <a:pt x="240" y="138"/>
                  </a:lnTo>
                  <a:lnTo>
                    <a:pt x="243" y="138"/>
                  </a:lnTo>
                  <a:lnTo>
                    <a:pt x="243" y="138"/>
                  </a:lnTo>
                  <a:lnTo>
                    <a:pt x="245" y="138"/>
                  </a:lnTo>
                  <a:lnTo>
                    <a:pt x="245" y="135"/>
                  </a:lnTo>
                  <a:lnTo>
                    <a:pt x="247" y="135"/>
                  </a:lnTo>
                  <a:lnTo>
                    <a:pt x="247" y="133"/>
                  </a:lnTo>
                  <a:lnTo>
                    <a:pt x="247" y="133"/>
                  </a:lnTo>
                  <a:lnTo>
                    <a:pt x="247" y="133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8"/>
                  </a:lnTo>
                  <a:lnTo>
                    <a:pt x="250" y="128"/>
                  </a:lnTo>
                  <a:lnTo>
                    <a:pt x="250" y="126"/>
                  </a:lnTo>
                  <a:lnTo>
                    <a:pt x="250" y="126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1"/>
                  </a:lnTo>
                  <a:lnTo>
                    <a:pt x="250" y="121"/>
                  </a:lnTo>
                  <a:lnTo>
                    <a:pt x="250" y="118"/>
                  </a:lnTo>
                  <a:lnTo>
                    <a:pt x="250" y="118"/>
                  </a:lnTo>
                  <a:lnTo>
                    <a:pt x="247" y="118"/>
                  </a:lnTo>
                  <a:lnTo>
                    <a:pt x="247" y="116"/>
                  </a:lnTo>
                  <a:lnTo>
                    <a:pt x="247" y="116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3" y="113"/>
                  </a:lnTo>
                  <a:lnTo>
                    <a:pt x="243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86"/>
                  </a:lnTo>
                  <a:lnTo>
                    <a:pt x="247" y="86"/>
                  </a:lnTo>
                  <a:lnTo>
                    <a:pt x="262" y="67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2BA9CCA7-2FB3-4820-9B6E-545727D858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2263" y="487363"/>
              <a:ext cx="420688" cy="422275"/>
            </a:xfrm>
            <a:custGeom>
              <a:avLst/>
              <a:gdLst>
                <a:gd name="T0" fmla="*/ 64 w 265"/>
                <a:gd name="T1" fmla="*/ 62 h 266"/>
                <a:gd name="T2" fmla="*/ 68 w 265"/>
                <a:gd name="T3" fmla="*/ 67 h 266"/>
                <a:gd name="T4" fmla="*/ 196 w 265"/>
                <a:gd name="T5" fmla="*/ 67 h 266"/>
                <a:gd name="T6" fmla="*/ 201 w 265"/>
                <a:gd name="T7" fmla="*/ 62 h 266"/>
                <a:gd name="T8" fmla="*/ 132 w 265"/>
                <a:gd name="T9" fmla="*/ 25 h 266"/>
                <a:gd name="T10" fmla="*/ 29 w 265"/>
                <a:gd name="T11" fmla="*/ 212 h 266"/>
                <a:gd name="T12" fmla="*/ 174 w 265"/>
                <a:gd name="T13" fmla="*/ 219 h 266"/>
                <a:gd name="T14" fmla="*/ 34 w 265"/>
                <a:gd name="T15" fmla="*/ 140 h 266"/>
                <a:gd name="T16" fmla="*/ 230 w 265"/>
                <a:gd name="T17" fmla="*/ 140 h 266"/>
                <a:gd name="T18" fmla="*/ 24 w 265"/>
                <a:gd name="T19" fmla="*/ 128 h 266"/>
                <a:gd name="T20" fmla="*/ 24 w 265"/>
                <a:gd name="T21" fmla="*/ 123 h 266"/>
                <a:gd name="T22" fmla="*/ 51 w 265"/>
                <a:gd name="T23" fmla="*/ 121 h 266"/>
                <a:gd name="T24" fmla="*/ 56 w 265"/>
                <a:gd name="T25" fmla="*/ 123 h 266"/>
                <a:gd name="T26" fmla="*/ 56 w 265"/>
                <a:gd name="T27" fmla="*/ 128 h 266"/>
                <a:gd name="T28" fmla="*/ 59 w 265"/>
                <a:gd name="T29" fmla="*/ 209 h 266"/>
                <a:gd name="T30" fmla="*/ 56 w 265"/>
                <a:gd name="T31" fmla="*/ 202 h 266"/>
                <a:gd name="T32" fmla="*/ 64 w 265"/>
                <a:gd name="T33" fmla="*/ 133 h 266"/>
                <a:gd name="T34" fmla="*/ 76 w 265"/>
                <a:gd name="T35" fmla="*/ 121 h 266"/>
                <a:gd name="T36" fmla="*/ 78 w 265"/>
                <a:gd name="T37" fmla="*/ 133 h 266"/>
                <a:gd name="T38" fmla="*/ 86 w 265"/>
                <a:gd name="T39" fmla="*/ 202 h 266"/>
                <a:gd name="T40" fmla="*/ 83 w 265"/>
                <a:gd name="T41" fmla="*/ 209 h 266"/>
                <a:gd name="T42" fmla="*/ 86 w 265"/>
                <a:gd name="T43" fmla="*/ 128 h 266"/>
                <a:gd name="T44" fmla="*/ 86 w 265"/>
                <a:gd name="T45" fmla="*/ 123 h 266"/>
                <a:gd name="T46" fmla="*/ 113 w 265"/>
                <a:gd name="T47" fmla="*/ 121 h 266"/>
                <a:gd name="T48" fmla="*/ 118 w 265"/>
                <a:gd name="T49" fmla="*/ 123 h 266"/>
                <a:gd name="T50" fmla="*/ 118 w 265"/>
                <a:gd name="T51" fmla="*/ 128 h 266"/>
                <a:gd name="T52" fmla="*/ 120 w 265"/>
                <a:gd name="T53" fmla="*/ 209 h 266"/>
                <a:gd name="T54" fmla="*/ 118 w 265"/>
                <a:gd name="T55" fmla="*/ 202 h 266"/>
                <a:gd name="T56" fmla="*/ 125 w 265"/>
                <a:gd name="T57" fmla="*/ 133 h 266"/>
                <a:gd name="T58" fmla="*/ 137 w 265"/>
                <a:gd name="T59" fmla="*/ 121 h 266"/>
                <a:gd name="T60" fmla="*/ 140 w 265"/>
                <a:gd name="T61" fmla="*/ 133 h 266"/>
                <a:gd name="T62" fmla="*/ 147 w 265"/>
                <a:gd name="T63" fmla="*/ 202 h 266"/>
                <a:gd name="T64" fmla="*/ 144 w 265"/>
                <a:gd name="T65" fmla="*/ 209 h 266"/>
                <a:gd name="T66" fmla="*/ 147 w 265"/>
                <a:gd name="T67" fmla="*/ 128 h 266"/>
                <a:gd name="T68" fmla="*/ 147 w 265"/>
                <a:gd name="T69" fmla="*/ 123 h 266"/>
                <a:gd name="T70" fmla="*/ 174 w 265"/>
                <a:gd name="T71" fmla="*/ 121 h 266"/>
                <a:gd name="T72" fmla="*/ 179 w 265"/>
                <a:gd name="T73" fmla="*/ 123 h 266"/>
                <a:gd name="T74" fmla="*/ 179 w 265"/>
                <a:gd name="T75" fmla="*/ 128 h 266"/>
                <a:gd name="T76" fmla="*/ 181 w 265"/>
                <a:gd name="T77" fmla="*/ 209 h 266"/>
                <a:gd name="T78" fmla="*/ 179 w 265"/>
                <a:gd name="T79" fmla="*/ 202 h 266"/>
                <a:gd name="T80" fmla="*/ 186 w 265"/>
                <a:gd name="T81" fmla="*/ 133 h 266"/>
                <a:gd name="T82" fmla="*/ 198 w 265"/>
                <a:gd name="T83" fmla="*/ 121 h 266"/>
                <a:gd name="T84" fmla="*/ 201 w 265"/>
                <a:gd name="T85" fmla="*/ 133 h 266"/>
                <a:gd name="T86" fmla="*/ 208 w 265"/>
                <a:gd name="T87" fmla="*/ 202 h 266"/>
                <a:gd name="T88" fmla="*/ 206 w 265"/>
                <a:gd name="T89" fmla="*/ 209 h 266"/>
                <a:gd name="T90" fmla="*/ 208 w 265"/>
                <a:gd name="T91" fmla="*/ 128 h 266"/>
                <a:gd name="T92" fmla="*/ 208 w 265"/>
                <a:gd name="T93" fmla="*/ 123 h 266"/>
                <a:gd name="T94" fmla="*/ 235 w 265"/>
                <a:gd name="T95" fmla="*/ 121 h 266"/>
                <a:gd name="T96" fmla="*/ 240 w 265"/>
                <a:gd name="T97" fmla="*/ 123 h 266"/>
                <a:gd name="T98" fmla="*/ 240 w 265"/>
                <a:gd name="T99" fmla="*/ 128 h 266"/>
                <a:gd name="T100" fmla="*/ 230 w 265"/>
                <a:gd name="T101" fmla="*/ 86 h 266"/>
                <a:gd name="T102" fmla="*/ 17 w 265"/>
                <a:gd name="T103" fmla="*/ 86 h 266"/>
                <a:gd name="T104" fmla="*/ 15 w 265"/>
                <a:gd name="T105" fmla="*/ 118 h 266"/>
                <a:gd name="T106" fmla="*/ 17 w 265"/>
                <a:gd name="T107" fmla="*/ 133 h 266"/>
                <a:gd name="T108" fmla="*/ 24 w 265"/>
                <a:gd name="T109" fmla="*/ 202 h 266"/>
                <a:gd name="T110" fmla="*/ 22 w 265"/>
                <a:gd name="T111" fmla="*/ 207 h 266"/>
                <a:gd name="T112" fmla="*/ 260 w 265"/>
                <a:gd name="T113" fmla="*/ 256 h 266"/>
                <a:gd name="T114" fmla="*/ 243 w 265"/>
                <a:gd name="T115" fmla="*/ 204 h 266"/>
                <a:gd name="T116" fmla="*/ 243 w 265"/>
                <a:gd name="T117" fmla="*/ 138 h 266"/>
                <a:gd name="T118" fmla="*/ 250 w 265"/>
                <a:gd name="T119" fmla="*/ 126 h 266"/>
                <a:gd name="T120" fmla="*/ 245 w 265"/>
                <a:gd name="T121" fmla="*/ 11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5" h="266">
                  <a:moveTo>
                    <a:pt x="66" y="57"/>
                  </a:moveTo>
                  <a:lnTo>
                    <a:pt x="66" y="57"/>
                  </a:lnTo>
                  <a:lnTo>
                    <a:pt x="64" y="57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71" y="67"/>
                  </a:lnTo>
                  <a:lnTo>
                    <a:pt x="132" y="3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01" y="57"/>
                  </a:lnTo>
                  <a:lnTo>
                    <a:pt x="201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32" y="25"/>
                  </a:lnTo>
                  <a:lnTo>
                    <a:pt x="66" y="57"/>
                  </a:lnTo>
                  <a:close/>
                  <a:moveTo>
                    <a:pt x="15" y="246"/>
                  </a:moveTo>
                  <a:lnTo>
                    <a:pt x="250" y="246"/>
                  </a:lnTo>
                  <a:lnTo>
                    <a:pt x="250" y="256"/>
                  </a:lnTo>
                  <a:lnTo>
                    <a:pt x="15" y="256"/>
                  </a:lnTo>
                  <a:lnTo>
                    <a:pt x="15" y="246"/>
                  </a:lnTo>
                  <a:close/>
                  <a:moveTo>
                    <a:pt x="17" y="229"/>
                  </a:moveTo>
                  <a:lnTo>
                    <a:pt x="247" y="229"/>
                  </a:lnTo>
                  <a:lnTo>
                    <a:pt x="247" y="239"/>
                  </a:lnTo>
                  <a:lnTo>
                    <a:pt x="17" y="239"/>
                  </a:lnTo>
                  <a:lnTo>
                    <a:pt x="17" y="229"/>
                  </a:lnTo>
                  <a:close/>
                  <a:moveTo>
                    <a:pt x="29" y="212"/>
                  </a:moveTo>
                  <a:lnTo>
                    <a:pt x="49" y="212"/>
                  </a:lnTo>
                  <a:lnTo>
                    <a:pt x="49" y="219"/>
                  </a:lnTo>
                  <a:lnTo>
                    <a:pt x="29" y="219"/>
                  </a:lnTo>
                  <a:lnTo>
                    <a:pt x="29" y="212"/>
                  </a:lnTo>
                  <a:close/>
                  <a:moveTo>
                    <a:pt x="93" y="212"/>
                  </a:moveTo>
                  <a:lnTo>
                    <a:pt x="110" y="212"/>
                  </a:lnTo>
                  <a:lnTo>
                    <a:pt x="110" y="219"/>
                  </a:lnTo>
                  <a:lnTo>
                    <a:pt x="93" y="219"/>
                  </a:lnTo>
                  <a:lnTo>
                    <a:pt x="93" y="212"/>
                  </a:lnTo>
                  <a:close/>
                  <a:moveTo>
                    <a:pt x="154" y="212"/>
                  </a:moveTo>
                  <a:lnTo>
                    <a:pt x="174" y="212"/>
                  </a:lnTo>
                  <a:lnTo>
                    <a:pt x="174" y="219"/>
                  </a:lnTo>
                  <a:lnTo>
                    <a:pt x="154" y="219"/>
                  </a:lnTo>
                  <a:lnTo>
                    <a:pt x="154" y="212"/>
                  </a:lnTo>
                  <a:close/>
                  <a:moveTo>
                    <a:pt x="216" y="212"/>
                  </a:moveTo>
                  <a:lnTo>
                    <a:pt x="235" y="212"/>
                  </a:lnTo>
                  <a:lnTo>
                    <a:pt x="235" y="219"/>
                  </a:lnTo>
                  <a:lnTo>
                    <a:pt x="216" y="219"/>
                  </a:lnTo>
                  <a:lnTo>
                    <a:pt x="216" y="212"/>
                  </a:lnTo>
                  <a:close/>
                  <a:moveTo>
                    <a:pt x="34" y="140"/>
                  </a:moveTo>
                  <a:lnTo>
                    <a:pt x="44" y="140"/>
                  </a:lnTo>
                  <a:lnTo>
                    <a:pt x="44" y="202"/>
                  </a:lnTo>
                  <a:lnTo>
                    <a:pt x="34" y="202"/>
                  </a:lnTo>
                  <a:lnTo>
                    <a:pt x="34" y="140"/>
                  </a:lnTo>
                  <a:close/>
                  <a:moveTo>
                    <a:pt x="98" y="140"/>
                  </a:moveTo>
                  <a:lnTo>
                    <a:pt x="105" y="140"/>
                  </a:lnTo>
                  <a:lnTo>
                    <a:pt x="105" y="202"/>
                  </a:lnTo>
                  <a:lnTo>
                    <a:pt x="98" y="202"/>
                  </a:lnTo>
                  <a:lnTo>
                    <a:pt x="98" y="140"/>
                  </a:lnTo>
                  <a:close/>
                  <a:moveTo>
                    <a:pt x="159" y="140"/>
                  </a:moveTo>
                  <a:lnTo>
                    <a:pt x="167" y="140"/>
                  </a:lnTo>
                  <a:lnTo>
                    <a:pt x="167" y="202"/>
                  </a:lnTo>
                  <a:lnTo>
                    <a:pt x="159" y="202"/>
                  </a:lnTo>
                  <a:lnTo>
                    <a:pt x="159" y="140"/>
                  </a:lnTo>
                  <a:close/>
                  <a:moveTo>
                    <a:pt x="220" y="140"/>
                  </a:moveTo>
                  <a:lnTo>
                    <a:pt x="230" y="140"/>
                  </a:lnTo>
                  <a:lnTo>
                    <a:pt x="230" y="202"/>
                  </a:lnTo>
                  <a:lnTo>
                    <a:pt x="220" y="202"/>
                  </a:lnTo>
                  <a:lnTo>
                    <a:pt x="220" y="140"/>
                  </a:lnTo>
                  <a:close/>
                  <a:moveTo>
                    <a:pt x="29" y="130"/>
                  </a:moveTo>
                  <a:lnTo>
                    <a:pt x="29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51" y="121"/>
                  </a:lnTo>
                  <a:lnTo>
                    <a:pt x="51" y="121"/>
                  </a:lnTo>
                  <a:lnTo>
                    <a:pt x="51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51" y="130"/>
                  </a:lnTo>
                  <a:lnTo>
                    <a:pt x="29" y="130"/>
                  </a:lnTo>
                  <a:lnTo>
                    <a:pt x="29" y="130"/>
                  </a:lnTo>
                  <a:close/>
                  <a:moveTo>
                    <a:pt x="59" y="209"/>
                  </a:moveTo>
                  <a:lnTo>
                    <a:pt x="59" y="209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9" y="204"/>
                  </a:lnTo>
                  <a:lnTo>
                    <a:pt x="56" y="204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4" y="202"/>
                  </a:lnTo>
                  <a:lnTo>
                    <a:pt x="54" y="140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61" y="138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3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1" y="138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8" y="140"/>
                  </a:lnTo>
                  <a:lnTo>
                    <a:pt x="88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9"/>
                  </a:lnTo>
                  <a:lnTo>
                    <a:pt x="83" y="209"/>
                  </a:lnTo>
                  <a:lnTo>
                    <a:pt x="83" y="219"/>
                  </a:lnTo>
                  <a:lnTo>
                    <a:pt x="59" y="219"/>
                  </a:lnTo>
                  <a:lnTo>
                    <a:pt x="59" y="209"/>
                  </a:lnTo>
                  <a:close/>
                  <a:moveTo>
                    <a:pt x="91" y="130"/>
                  </a:moveTo>
                  <a:lnTo>
                    <a:pt x="91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8" y="121"/>
                  </a:lnTo>
                  <a:lnTo>
                    <a:pt x="118" y="121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5" y="128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91" y="130"/>
                  </a:lnTo>
                  <a:lnTo>
                    <a:pt x="91" y="130"/>
                  </a:lnTo>
                  <a:close/>
                  <a:moveTo>
                    <a:pt x="120" y="209"/>
                  </a:moveTo>
                  <a:lnTo>
                    <a:pt x="120" y="209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7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5" y="202"/>
                  </a:lnTo>
                  <a:lnTo>
                    <a:pt x="115" y="140"/>
                  </a:lnTo>
                  <a:lnTo>
                    <a:pt x="118" y="138"/>
                  </a:lnTo>
                  <a:lnTo>
                    <a:pt x="118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2" y="138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27" y="130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40" y="133"/>
                  </a:lnTo>
                  <a:lnTo>
                    <a:pt x="140" y="133"/>
                  </a:lnTo>
                  <a:lnTo>
                    <a:pt x="140" y="133"/>
                  </a:lnTo>
                  <a:lnTo>
                    <a:pt x="142" y="135"/>
                  </a:lnTo>
                  <a:lnTo>
                    <a:pt x="142" y="135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9" y="140"/>
                  </a:lnTo>
                  <a:lnTo>
                    <a:pt x="149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19"/>
                  </a:lnTo>
                  <a:lnTo>
                    <a:pt x="120" y="219"/>
                  </a:lnTo>
                  <a:lnTo>
                    <a:pt x="120" y="209"/>
                  </a:lnTo>
                  <a:close/>
                  <a:moveTo>
                    <a:pt x="152" y="130"/>
                  </a:moveTo>
                  <a:lnTo>
                    <a:pt x="152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30"/>
                  </a:lnTo>
                  <a:lnTo>
                    <a:pt x="149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49" y="121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74" y="121"/>
                  </a:lnTo>
                  <a:lnTo>
                    <a:pt x="174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6" y="121"/>
                  </a:lnTo>
                  <a:lnTo>
                    <a:pt x="179" y="121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6" y="128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52" y="130"/>
                  </a:lnTo>
                  <a:lnTo>
                    <a:pt x="152" y="130"/>
                  </a:lnTo>
                  <a:close/>
                  <a:moveTo>
                    <a:pt x="181" y="209"/>
                  </a:moveTo>
                  <a:lnTo>
                    <a:pt x="181" y="209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81" y="204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6" y="202"/>
                  </a:lnTo>
                  <a:lnTo>
                    <a:pt x="176" y="140"/>
                  </a:lnTo>
                  <a:lnTo>
                    <a:pt x="179" y="138"/>
                  </a:lnTo>
                  <a:lnTo>
                    <a:pt x="179" y="138"/>
                  </a:lnTo>
                  <a:lnTo>
                    <a:pt x="181" y="138"/>
                  </a:lnTo>
                  <a:lnTo>
                    <a:pt x="181" y="138"/>
                  </a:lnTo>
                  <a:lnTo>
                    <a:pt x="184" y="138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9" y="130"/>
                  </a:lnTo>
                  <a:lnTo>
                    <a:pt x="189" y="130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6"/>
                  </a:lnTo>
                  <a:lnTo>
                    <a:pt x="189" y="126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30"/>
                  </a:lnTo>
                  <a:lnTo>
                    <a:pt x="198" y="130"/>
                  </a:lnTo>
                  <a:lnTo>
                    <a:pt x="201" y="133"/>
                  </a:lnTo>
                  <a:lnTo>
                    <a:pt x="201" y="133"/>
                  </a:lnTo>
                  <a:lnTo>
                    <a:pt x="201" y="133"/>
                  </a:lnTo>
                  <a:lnTo>
                    <a:pt x="203" y="135"/>
                  </a:lnTo>
                  <a:lnTo>
                    <a:pt x="203" y="135"/>
                  </a:lnTo>
                  <a:lnTo>
                    <a:pt x="203" y="138"/>
                  </a:lnTo>
                  <a:lnTo>
                    <a:pt x="206" y="138"/>
                  </a:lnTo>
                  <a:lnTo>
                    <a:pt x="206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11" y="140"/>
                  </a:lnTo>
                  <a:lnTo>
                    <a:pt x="211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2"/>
                  </a:lnTo>
                  <a:lnTo>
                    <a:pt x="208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6" y="209"/>
                  </a:lnTo>
                  <a:lnTo>
                    <a:pt x="206" y="209"/>
                  </a:lnTo>
                  <a:lnTo>
                    <a:pt x="206" y="219"/>
                  </a:lnTo>
                  <a:lnTo>
                    <a:pt x="181" y="219"/>
                  </a:lnTo>
                  <a:lnTo>
                    <a:pt x="181" y="209"/>
                  </a:lnTo>
                  <a:close/>
                  <a:moveTo>
                    <a:pt x="213" y="130"/>
                  </a:moveTo>
                  <a:lnTo>
                    <a:pt x="213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3"/>
                  </a:lnTo>
                  <a:lnTo>
                    <a:pt x="208" y="121"/>
                  </a:lnTo>
                  <a:lnTo>
                    <a:pt x="208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21"/>
                  </a:lnTo>
                  <a:lnTo>
                    <a:pt x="213" y="121"/>
                  </a:lnTo>
                  <a:lnTo>
                    <a:pt x="235" y="121"/>
                  </a:lnTo>
                  <a:lnTo>
                    <a:pt x="235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0" y="121"/>
                  </a:lnTo>
                  <a:lnTo>
                    <a:pt x="240" y="121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38" y="128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5" y="130"/>
                  </a:lnTo>
                  <a:lnTo>
                    <a:pt x="235" y="130"/>
                  </a:lnTo>
                  <a:lnTo>
                    <a:pt x="213" y="130"/>
                  </a:lnTo>
                  <a:lnTo>
                    <a:pt x="213" y="130"/>
                  </a:lnTo>
                  <a:close/>
                  <a:moveTo>
                    <a:pt x="34" y="86"/>
                  </a:moveTo>
                  <a:lnTo>
                    <a:pt x="230" y="86"/>
                  </a:lnTo>
                  <a:lnTo>
                    <a:pt x="230" y="111"/>
                  </a:lnTo>
                  <a:lnTo>
                    <a:pt x="34" y="111"/>
                  </a:lnTo>
                  <a:lnTo>
                    <a:pt x="34" y="86"/>
                  </a:lnTo>
                  <a:close/>
                  <a:moveTo>
                    <a:pt x="17" y="69"/>
                  </a:moveTo>
                  <a:lnTo>
                    <a:pt x="132" y="10"/>
                  </a:lnTo>
                  <a:lnTo>
                    <a:pt x="247" y="69"/>
                  </a:lnTo>
                  <a:lnTo>
                    <a:pt x="243" y="76"/>
                  </a:lnTo>
                  <a:lnTo>
                    <a:pt x="22" y="76"/>
                  </a:lnTo>
                  <a:lnTo>
                    <a:pt x="17" y="69"/>
                  </a:lnTo>
                  <a:close/>
                  <a:moveTo>
                    <a:pt x="132" y="0"/>
                  </a:moveTo>
                  <a:lnTo>
                    <a:pt x="2" y="67"/>
                  </a:lnTo>
                  <a:lnTo>
                    <a:pt x="17" y="86"/>
                  </a:lnTo>
                  <a:lnTo>
                    <a:pt x="24" y="86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2" y="111"/>
                  </a:lnTo>
                  <a:lnTo>
                    <a:pt x="22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5"/>
                  </a:lnTo>
                  <a:lnTo>
                    <a:pt x="19" y="135"/>
                  </a:lnTo>
                  <a:lnTo>
                    <a:pt x="19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7" y="140"/>
                  </a:lnTo>
                  <a:lnTo>
                    <a:pt x="27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2" y="219"/>
                  </a:lnTo>
                  <a:lnTo>
                    <a:pt x="7" y="219"/>
                  </a:lnTo>
                  <a:lnTo>
                    <a:pt x="7" y="239"/>
                  </a:lnTo>
                  <a:lnTo>
                    <a:pt x="5" y="239"/>
                  </a:lnTo>
                  <a:lnTo>
                    <a:pt x="5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265" y="266"/>
                  </a:lnTo>
                  <a:lnTo>
                    <a:pt x="265" y="256"/>
                  </a:lnTo>
                  <a:lnTo>
                    <a:pt x="260" y="256"/>
                  </a:lnTo>
                  <a:lnTo>
                    <a:pt x="260" y="239"/>
                  </a:lnTo>
                  <a:lnTo>
                    <a:pt x="257" y="239"/>
                  </a:lnTo>
                  <a:lnTo>
                    <a:pt x="257" y="219"/>
                  </a:lnTo>
                  <a:lnTo>
                    <a:pt x="243" y="219"/>
                  </a:lnTo>
                  <a:lnTo>
                    <a:pt x="243" y="209"/>
                  </a:lnTo>
                  <a:lnTo>
                    <a:pt x="243" y="209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38" y="202"/>
                  </a:lnTo>
                  <a:lnTo>
                    <a:pt x="238" y="140"/>
                  </a:lnTo>
                  <a:lnTo>
                    <a:pt x="240" y="138"/>
                  </a:lnTo>
                  <a:lnTo>
                    <a:pt x="240" y="138"/>
                  </a:lnTo>
                  <a:lnTo>
                    <a:pt x="243" y="138"/>
                  </a:lnTo>
                  <a:lnTo>
                    <a:pt x="243" y="138"/>
                  </a:lnTo>
                  <a:lnTo>
                    <a:pt x="245" y="138"/>
                  </a:lnTo>
                  <a:lnTo>
                    <a:pt x="245" y="135"/>
                  </a:lnTo>
                  <a:lnTo>
                    <a:pt x="247" y="135"/>
                  </a:lnTo>
                  <a:lnTo>
                    <a:pt x="247" y="133"/>
                  </a:lnTo>
                  <a:lnTo>
                    <a:pt x="247" y="133"/>
                  </a:lnTo>
                  <a:lnTo>
                    <a:pt x="247" y="133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8"/>
                  </a:lnTo>
                  <a:lnTo>
                    <a:pt x="250" y="128"/>
                  </a:lnTo>
                  <a:lnTo>
                    <a:pt x="250" y="126"/>
                  </a:lnTo>
                  <a:lnTo>
                    <a:pt x="250" y="126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1"/>
                  </a:lnTo>
                  <a:lnTo>
                    <a:pt x="250" y="121"/>
                  </a:lnTo>
                  <a:lnTo>
                    <a:pt x="250" y="118"/>
                  </a:lnTo>
                  <a:lnTo>
                    <a:pt x="250" y="118"/>
                  </a:lnTo>
                  <a:lnTo>
                    <a:pt x="247" y="118"/>
                  </a:lnTo>
                  <a:lnTo>
                    <a:pt x="247" y="116"/>
                  </a:lnTo>
                  <a:lnTo>
                    <a:pt x="247" y="116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3" y="113"/>
                  </a:lnTo>
                  <a:lnTo>
                    <a:pt x="243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86"/>
                  </a:lnTo>
                  <a:lnTo>
                    <a:pt x="247" y="86"/>
                  </a:lnTo>
                  <a:lnTo>
                    <a:pt x="262" y="67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16B40B-2C35-455E-B2C3-FEA7480910E5}"/>
              </a:ext>
            </a:extLst>
          </p:cNvPr>
          <p:cNvGrpSpPr/>
          <p:nvPr/>
        </p:nvGrpSpPr>
        <p:grpSpPr>
          <a:xfrm>
            <a:off x="373063" y="285701"/>
            <a:ext cx="844550" cy="844550"/>
            <a:chOff x="373063" y="274638"/>
            <a:chExt cx="844550" cy="844550"/>
          </a:xfrm>
        </p:grpSpPr>
        <p:sp>
          <p:nvSpPr>
            <p:cNvPr id="30" name="AutoShape 21">
              <a:extLst>
                <a:ext uri="{FF2B5EF4-FFF2-40B4-BE49-F238E27FC236}">
                  <a16:creationId xmlns:a16="http://schemas.microsoft.com/office/drawing/2014/main" id="{AF63B741-00CB-49D1-8349-02914AD320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3063" y="2746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3">
              <a:extLst>
                <a:ext uri="{FF2B5EF4-FFF2-40B4-BE49-F238E27FC236}">
                  <a16:creationId xmlns:a16="http://schemas.microsoft.com/office/drawing/2014/main" id="{5D2E8806-24B6-46A1-9ED8-3E0CA1534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063" y="2746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7C882478-6877-4CC4-8F68-0B6FA468C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638" y="3032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41EDA419-4763-49A8-886D-EF3BC45D63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263" y="461963"/>
              <a:ext cx="438150" cy="438150"/>
            </a:xfrm>
            <a:custGeom>
              <a:avLst/>
              <a:gdLst>
                <a:gd name="T0" fmla="*/ 66 w 276"/>
                <a:gd name="T1" fmla="*/ 64 h 276"/>
                <a:gd name="T2" fmla="*/ 72 w 276"/>
                <a:gd name="T3" fmla="*/ 69 h 276"/>
                <a:gd name="T4" fmla="*/ 205 w 276"/>
                <a:gd name="T5" fmla="*/ 69 h 276"/>
                <a:gd name="T6" fmla="*/ 210 w 276"/>
                <a:gd name="T7" fmla="*/ 64 h 276"/>
                <a:gd name="T8" fmla="*/ 138 w 276"/>
                <a:gd name="T9" fmla="*/ 25 h 276"/>
                <a:gd name="T10" fmla="*/ 31 w 276"/>
                <a:gd name="T11" fmla="*/ 220 h 276"/>
                <a:gd name="T12" fmla="*/ 182 w 276"/>
                <a:gd name="T13" fmla="*/ 228 h 276"/>
                <a:gd name="T14" fmla="*/ 36 w 276"/>
                <a:gd name="T15" fmla="*/ 146 h 276"/>
                <a:gd name="T16" fmla="*/ 241 w 276"/>
                <a:gd name="T17" fmla="*/ 146 h 276"/>
                <a:gd name="T18" fmla="*/ 26 w 276"/>
                <a:gd name="T19" fmla="*/ 133 h 276"/>
                <a:gd name="T20" fmla="*/ 26 w 276"/>
                <a:gd name="T21" fmla="*/ 128 h 276"/>
                <a:gd name="T22" fmla="*/ 54 w 276"/>
                <a:gd name="T23" fmla="*/ 125 h 276"/>
                <a:gd name="T24" fmla="*/ 59 w 276"/>
                <a:gd name="T25" fmla="*/ 128 h 276"/>
                <a:gd name="T26" fmla="*/ 59 w 276"/>
                <a:gd name="T27" fmla="*/ 133 h 276"/>
                <a:gd name="T28" fmla="*/ 61 w 276"/>
                <a:gd name="T29" fmla="*/ 217 h 276"/>
                <a:gd name="T30" fmla="*/ 59 w 276"/>
                <a:gd name="T31" fmla="*/ 210 h 276"/>
                <a:gd name="T32" fmla="*/ 66 w 276"/>
                <a:gd name="T33" fmla="*/ 138 h 276"/>
                <a:gd name="T34" fmla="*/ 79 w 276"/>
                <a:gd name="T35" fmla="*/ 125 h 276"/>
                <a:gd name="T36" fmla="*/ 82 w 276"/>
                <a:gd name="T37" fmla="*/ 138 h 276"/>
                <a:gd name="T38" fmla="*/ 90 w 276"/>
                <a:gd name="T39" fmla="*/ 210 h 276"/>
                <a:gd name="T40" fmla="*/ 87 w 276"/>
                <a:gd name="T41" fmla="*/ 217 h 276"/>
                <a:gd name="T42" fmla="*/ 90 w 276"/>
                <a:gd name="T43" fmla="*/ 133 h 276"/>
                <a:gd name="T44" fmla="*/ 90 w 276"/>
                <a:gd name="T45" fmla="*/ 128 h 276"/>
                <a:gd name="T46" fmla="*/ 118 w 276"/>
                <a:gd name="T47" fmla="*/ 125 h 276"/>
                <a:gd name="T48" fmla="*/ 123 w 276"/>
                <a:gd name="T49" fmla="*/ 128 h 276"/>
                <a:gd name="T50" fmla="*/ 123 w 276"/>
                <a:gd name="T51" fmla="*/ 133 h 276"/>
                <a:gd name="T52" fmla="*/ 125 w 276"/>
                <a:gd name="T53" fmla="*/ 217 h 276"/>
                <a:gd name="T54" fmla="*/ 123 w 276"/>
                <a:gd name="T55" fmla="*/ 210 h 276"/>
                <a:gd name="T56" fmla="*/ 130 w 276"/>
                <a:gd name="T57" fmla="*/ 138 h 276"/>
                <a:gd name="T58" fmla="*/ 143 w 276"/>
                <a:gd name="T59" fmla="*/ 125 h 276"/>
                <a:gd name="T60" fmla="*/ 146 w 276"/>
                <a:gd name="T61" fmla="*/ 138 h 276"/>
                <a:gd name="T62" fmla="*/ 154 w 276"/>
                <a:gd name="T63" fmla="*/ 210 h 276"/>
                <a:gd name="T64" fmla="*/ 151 w 276"/>
                <a:gd name="T65" fmla="*/ 217 h 276"/>
                <a:gd name="T66" fmla="*/ 154 w 276"/>
                <a:gd name="T67" fmla="*/ 133 h 276"/>
                <a:gd name="T68" fmla="*/ 154 w 276"/>
                <a:gd name="T69" fmla="*/ 128 h 276"/>
                <a:gd name="T70" fmla="*/ 182 w 276"/>
                <a:gd name="T71" fmla="*/ 125 h 276"/>
                <a:gd name="T72" fmla="*/ 187 w 276"/>
                <a:gd name="T73" fmla="*/ 128 h 276"/>
                <a:gd name="T74" fmla="*/ 187 w 276"/>
                <a:gd name="T75" fmla="*/ 133 h 276"/>
                <a:gd name="T76" fmla="*/ 189 w 276"/>
                <a:gd name="T77" fmla="*/ 217 h 276"/>
                <a:gd name="T78" fmla="*/ 187 w 276"/>
                <a:gd name="T79" fmla="*/ 210 h 276"/>
                <a:gd name="T80" fmla="*/ 195 w 276"/>
                <a:gd name="T81" fmla="*/ 138 h 276"/>
                <a:gd name="T82" fmla="*/ 207 w 276"/>
                <a:gd name="T83" fmla="*/ 125 h 276"/>
                <a:gd name="T84" fmla="*/ 210 w 276"/>
                <a:gd name="T85" fmla="*/ 138 h 276"/>
                <a:gd name="T86" fmla="*/ 218 w 276"/>
                <a:gd name="T87" fmla="*/ 210 h 276"/>
                <a:gd name="T88" fmla="*/ 215 w 276"/>
                <a:gd name="T89" fmla="*/ 217 h 276"/>
                <a:gd name="T90" fmla="*/ 218 w 276"/>
                <a:gd name="T91" fmla="*/ 133 h 276"/>
                <a:gd name="T92" fmla="*/ 218 w 276"/>
                <a:gd name="T93" fmla="*/ 128 h 276"/>
                <a:gd name="T94" fmla="*/ 246 w 276"/>
                <a:gd name="T95" fmla="*/ 125 h 276"/>
                <a:gd name="T96" fmla="*/ 251 w 276"/>
                <a:gd name="T97" fmla="*/ 128 h 276"/>
                <a:gd name="T98" fmla="*/ 251 w 276"/>
                <a:gd name="T99" fmla="*/ 133 h 276"/>
                <a:gd name="T100" fmla="*/ 241 w 276"/>
                <a:gd name="T101" fmla="*/ 89 h 276"/>
                <a:gd name="T102" fmla="*/ 18 w 276"/>
                <a:gd name="T103" fmla="*/ 89 h 276"/>
                <a:gd name="T104" fmla="*/ 15 w 276"/>
                <a:gd name="T105" fmla="*/ 123 h 276"/>
                <a:gd name="T106" fmla="*/ 18 w 276"/>
                <a:gd name="T107" fmla="*/ 138 h 276"/>
                <a:gd name="T108" fmla="*/ 26 w 276"/>
                <a:gd name="T109" fmla="*/ 210 h 276"/>
                <a:gd name="T110" fmla="*/ 23 w 276"/>
                <a:gd name="T111" fmla="*/ 215 h 276"/>
                <a:gd name="T112" fmla="*/ 271 w 276"/>
                <a:gd name="T113" fmla="*/ 266 h 276"/>
                <a:gd name="T114" fmla="*/ 253 w 276"/>
                <a:gd name="T115" fmla="*/ 212 h 276"/>
                <a:gd name="T116" fmla="*/ 253 w 276"/>
                <a:gd name="T117" fmla="*/ 143 h 276"/>
                <a:gd name="T118" fmla="*/ 261 w 276"/>
                <a:gd name="T119" fmla="*/ 130 h 276"/>
                <a:gd name="T120" fmla="*/ 256 w 276"/>
                <a:gd name="T121" fmla="*/ 1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6" h="276">
                  <a:moveTo>
                    <a:pt x="69" y="59"/>
                  </a:moveTo>
                  <a:lnTo>
                    <a:pt x="69" y="59"/>
                  </a:lnTo>
                  <a:lnTo>
                    <a:pt x="66" y="59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9" y="66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138" y="36"/>
                  </a:lnTo>
                  <a:lnTo>
                    <a:pt x="202" y="69"/>
                  </a:lnTo>
                  <a:lnTo>
                    <a:pt x="205" y="69"/>
                  </a:lnTo>
                  <a:lnTo>
                    <a:pt x="205" y="69"/>
                  </a:lnTo>
                  <a:lnTo>
                    <a:pt x="205" y="69"/>
                  </a:lnTo>
                  <a:lnTo>
                    <a:pt x="205" y="69"/>
                  </a:lnTo>
                  <a:lnTo>
                    <a:pt x="205" y="69"/>
                  </a:lnTo>
                  <a:lnTo>
                    <a:pt x="207" y="69"/>
                  </a:lnTo>
                  <a:lnTo>
                    <a:pt x="207" y="69"/>
                  </a:lnTo>
                  <a:lnTo>
                    <a:pt x="207" y="69"/>
                  </a:lnTo>
                  <a:lnTo>
                    <a:pt x="207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10" y="61"/>
                  </a:lnTo>
                  <a:lnTo>
                    <a:pt x="210" y="61"/>
                  </a:lnTo>
                  <a:lnTo>
                    <a:pt x="210" y="61"/>
                  </a:lnTo>
                  <a:lnTo>
                    <a:pt x="210" y="61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138" y="25"/>
                  </a:lnTo>
                  <a:lnTo>
                    <a:pt x="69" y="59"/>
                  </a:lnTo>
                  <a:close/>
                  <a:moveTo>
                    <a:pt x="15" y="256"/>
                  </a:moveTo>
                  <a:lnTo>
                    <a:pt x="261" y="256"/>
                  </a:lnTo>
                  <a:lnTo>
                    <a:pt x="261" y="266"/>
                  </a:lnTo>
                  <a:lnTo>
                    <a:pt x="15" y="266"/>
                  </a:lnTo>
                  <a:lnTo>
                    <a:pt x="15" y="256"/>
                  </a:lnTo>
                  <a:close/>
                  <a:moveTo>
                    <a:pt x="18" y="238"/>
                  </a:moveTo>
                  <a:lnTo>
                    <a:pt x="259" y="238"/>
                  </a:lnTo>
                  <a:lnTo>
                    <a:pt x="259" y="248"/>
                  </a:lnTo>
                  <a:lnTo>
                    <a:pt x="18" y="248"/>
                  </a:lnTo>
                  <a:lnTo>
                    <a:pt x="18" y="238"/>
                  </a:lnTo>
                  <a:close/>
                  <a:moveTo>
                    <a:pt x="31" y="220"/>
                  </a:moveTo>
                  <a:lnTo>
                    <a:pt x="51" y="220"/>
                  </a:lnTo>
                  <a:lnTo>
                    <a:pt x="51" y="228"/>
                  </a:lnTo>
                  <a:lnTo>
                    <a:pt x="31" y="228"/>
                  </a:lnTo>
                  <a:lnTo>
                    <a:pt x="31" y="220"/>
                  </a:lnTo>
                  <a:close/>
                  <a:moveTo>
                    <a:pt x="97" y="220"/>
                  </a:moveTo>
                  <a:lnTo>
                    <a:pt x="115" y="220"/>
                  </a:lnTo>
                  <a:lnTo>
                    <a:pt x="115" y="228"/>
                  </a:lnTo>
                  <a:lnTo>
                    <a:pt x="97" y="228"/>
                  </a:lnTo>
                  <a:lnTo>
                    <a:pt x="97" y="220"/>
                  </a:lnTo>
                  <a:close/>
                  <a:moveTo>
                    <a:pt x="161" y="220"/>
                  </a:moveTo>
                  <a:lnTo>
                    <a:pt x="182" y="220"/>
                  </a:lnTo>
                  <a:lnTo>
                    <a:pt x="182" y="228"/>
                  </a:lnTo>
                  <a:lnTo>
                    <a:pt x="161" y="228"/>
                  </a:lnTo>
                  <a:lnTo>
                    <a:pt x="161" y="220"/>
                  </a:lnTo>
                  <a:close/>
                  <a:moveTo>
                    <a:pt x="225" y="220"/>
                  </a:moveTo>
                  <a:lnTo>
                    <a:pt x="246" y="220"/>
                  </a:lnTo>
                  <a:lnTo>
                    <a:pt x="246" y="228"/>
                  </a:lnTo>
                  <a:lnTo>
                    <a:pt x="225" y="228"/>
                  </a:lnTo>
                  <a:lnTo>
                    <a:pt x="225" y="220"/>
                  </a:lnTo>
                  <a:close/>
                  <a:moveTo>
                    <a:pt x="36" y="146"/>
                  </a:moveTo>
                  <a:lnTo>
                    <a:pt x="46" y="146"/>
                  </a:lnTo>
                  <a:lnTo>
                    <a:pt x="46" y="210"/>
                  </a:lnTo>
                  <a:lnTo>
                    <a:pt x="36" y="210"/>
                  </a:lnTo>
                  <a:lnTo>
                    <a:pt x="36" y="146"/>
                  </a:lnTo>
                  <a:close/>
                  <a:moveTo>
                    <a:pt x="102" y="146"/>
                  </a:moveTo>
                  <a:lnTo>
                    <a:pt x="110" y="146"/>
                  </a:lnTo>
                  <a:lnTo>
                    <a:pt x="110" y="210"/>
                  </a:lnTo>
                  <a:lnTo>
                    <a:pt x="102" y="210"/>
                  </a:lnTo>
                  <a:lnTo>
                    <a:pt x="102" y="146"/>
                  </a:lnTo>
                  <a:close/>
                  <a:moveTo>
                    <a:pt x="166" y="146"/>
                  </a:moveTo>
                  <a:lnTo>
                    <a:pt x="174" y="146"/>
                  </a:lnTo>
                  <a:lnTo>
                    <a:pt x="174" y="210"/>
                  </a:lnTo>
                  <a:lnTo>
                    <a:pt x="166" y="210"/>
                  </a:lnTo>
                  <a:lnTo>
                    <a:pt x="166" y="146"/>
                  </a:lnTo>
                  <a:close/>
                  <a:moveTo>
                    <a:pt x="230" y="146"/>
                  </a:moveTo>
                  <a:lnTo>
                    <a:pt x="241" y="146"/>
                  </a:lnTo>
                  <a:lnTo>
                    <a:pt x="241" y="210"/>
                  </a:lnTo>
                  <a:lnTo>
                    <a:pt x="230" y="210"/>
                  </a:lnTo>
                  <a:lnTo>
                    <a:pt x="230" y="146"/>
                  </a:lnTo>
                  <a:close/>
                  <a:moveTo>
                    <a:pt x="31" y="135"/>
                  </a:moveTo>
                  <a:lnTo>
                    <a:pt x="31" y="135"/>
                  </a:lnTo>
                  <a:lnTo>
                    <a:pt x="28" y="135"/>
                  </a:lnTo>
                  <a:lnTo>
                    <a:pt x="28" y="135"/>
                  </a:lnTo>
                  <a:lnTo>
                    <a:pt x="28" y="135"/>
                  </a:lnTo>
                  <a:lnTo>
                    <a:pt x="28" y="135"/>
                  </a:lnTo>
                  <a:lnTo>
                    <a:pt x="28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5"/>
                  </a:lnTo>
                  <a:lnTo>
                    <a:pt x="26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9" y="125"/>
                  </a:lnTo>
                  <a:lnTo>
                    <a:pt x="59" y="125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6" y="133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54" y="135"/>
                  </a:lnTo>
                  <a:lnTo>
                    <a:pt x="31" y="135"/>
                  </a:lnTo>
                  <a:lnTo>
                    <a:pt x="31" y="135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5"/>
                  </a:lnTo>
                  <a:lnTo>
                    <a:pt x="61" y="215"/>
                  </a:lnTo>
                  <a:lnTo>
                    <a:pt x="61" y="215"/>
                  </a:lnTo>
                  <a:lnTo>
                    <a:pt x="61" y="215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59" y="212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6" y="210"/>
                  </a:lnTo>
                  <a:lnTo>
                    <a:pt x="56" y="146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61" y="143"/>
                  </a:lnTo>
                  <a:lnTo>
                    <a:pt x="61" y="143"/>
                  </a:lnTo>
                  <a:lnTo>
                    <a:pt x="64" y="143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5"/>
                  </a:lnTo>
                  <a:lnTo>
                    <a:pt x="69" y="125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30"/>
                  </a:lnTo>
                  <a:lnTo>
                    <a:pt x="79" y="130"/>
                  </a:lnTo>
                  <a:lnTo>
                    <a:pt x="79" y="133"/>
                  </a:lnTo>
                  <a:lnTo>
                    <a:pt x="79" y="133"/>
                  </a:lnTo>
                  <a:lnTo>
                    <a:pt x="79" y="135"/>
                  </a:lnTo>
                  <a:lnTo>
                    <a:pt x="79" y="135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82" y="138"/>
                  </a:lnTo>
                  <a:lnTo>
                    <a:pt x="84" y="140"/>
                  </a:lnTo>
                  <a:lnTo>
                    <a:pt x="84" y="140"/>
                  </a:lnTo>
                  <a:lnTo>
                    <a:pt x="84" y="143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92" y="146"/>
                  </a:lnTo>
                  <a:lnTo>
                    <a:pt x="92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7" y="212"/>
                  </a:lnTo>
                  <a:lnTo>
                    <a:pt x="87" y="212"/>
                  </a:lnTo>
                  <a:lnTo>
                    <a:pt x="87" y="212"/>
                  </a:lnTo>
                  <a:lnTo>
                    <a:pt x="87" y="212"/>
                  </a:lnTo>
                  <a:lnTo>
                    <a:pt x="87" y="212"/>
                  </a:lnTo>
                  <a:lnTo>
                    <a:pt x="87" y="215"/>
                  </a:lnTo>
                  <a:lnTo>
                    <a:pt x="87" y="215"/>
                  </a:lnTo>
                  <a:lnTo>
                    <a:pt x="87" y="215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7" y="228"/>
                  </a:lnTo>
                  <a:lnTo>
                    <a:pt x="61" y="228"/>
                  </a:lnTo>
                  <a:lnTo>
                    <a:pt x="61" y="217"/>
                  </a:lnTo>
                  <a:close/>
                  <a:moveTo>
                    <a:pt x="95" y="135"/>
                  </a:moveTo>
                  <a:lnTo>
                    <a:pt x="95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5" y="125"/>
                  </a:lnTo>
                  <a:lnTo>
                    <a:pt x="95" y="125"/>
                  </a:lnTo>
                  <a:lnTo>
                    <a:pt x="118" y="125"/>
                  </a:lnTo>
                  <a:lnTo>
                    <a:pt x="118" y="125"/>
                  </a:lnTo>
                  <a:lnTo>
                    <a:pt x="118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30"/>
                  </a:lnTo>
                  <a:lnTo>
                    <a:pt x="123" y="130"/>
                  </a:lnTo>
                  <a:lnTo>
                    <a:pt x="123" y="130"/>
                  </a:lnTo>
                  <a:lnTo>
                    <a:pt x="123" y="130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0" y="133"/>
                  </a:lnTo>
                  <a:lnTo>
                    <a:pt x="120" y="135"/>
                  </a:lnTo>
                  <a:lnTo>
                    <a:pt x="120" y="135"/>
                  </a:lnTo>
                  <a:lnTo>
                    <a:pt x="120" y="135"/>
                  </a:lnTo>
                  <a:lnTo>
                    <a:pt x="120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95" y="135"/>
                  </a:lnTo>
                  <a:lnTo>
                    <a:pt x="95" y="135"/>
                  </a:lnTo>
                  <a:close/>
                  <a:moveTo>
                    <a:pt x="125" y="217"/>
                  </a:moveTo>
                  <a:lnTo>
                    <a:pt x="125" y="217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0" y="210"/>
                  </a:lnTo>
                  <a:lnTo>
                    <a:pt x="120" y="146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3"/>
                  </a:lnTo>
                  <a:lnTo>
                    <a:pt x="128" y="143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0"/>
                  </a:lnTo>
                  <a:lnTo>
                    <a:pt x="133" y="130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43" y="125"/>
                  </a:lnTo>
                  <a:lnTo>
                    <a:pt x="143" y="125"/>
                  </a:lnTo>
                  <a:lnTo>
                    <a:pt x="143" y="128"/>
                  </a:lnTo>
                  <a:lnTo>
                    <a:pt x="143" y="128"/>
                  </a:lnTo>
                  <a:lnTo>
                    <a:pt x="143" y="130"/>
                  </a:lnTo>
                  <a:lnTo>
                    <a:pt x="143" y="130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6" y="138"/>
                  </a:lnTo>
                  <a:lnTo>
                    <a:pt x="146" y="138"/>
                  </a:lnTo>
                  <a:lnTo>
                    <a:pt x="146" y="138"/>
                  </a:lnTo>
                  <a:lnTo>
                    <a:pt x="148" y="140"/>
                  </a:lnTo>
                  <a:lnTo>
                    <a:pt x="148" y="140"/>
                  </a:lnTo>
                  <a:lnTo>
                    <a:pt x="148" y="143"/>
                  </a:lnTo>
                  <a:lnTo>
                    <a:pt x="151" y="143"/>
                  </a:lnTo>
                  <a:lnTo>
                    <a:pt x="151" y="143"/>
                  </a:lnTo>
                  <a:lnTo>
                    <a:pt x="154" y="143"/>
                  </a:lnTo>
                  <a:lnTo>
                    <a:pt x="154" y="143"/>
                  </a:lnTo>
                  <a:lnTo>
                    <a:pt x="156" y="146"/>
                  </a:lnTo>
                  <a:lnTo>
                    <a:pt x="156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1" y="215"/>
                  </a:lnTo>
                  <a:lnTo>
                    <a:pt x="151" y="215"/>
                  </a:lnTo>
                  <a:lnTo>
                    <a:pt x="151" y="215"/>
                  </a:lnTo>
                  <a:lnTo>
                    <a:pt x="151" y="215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28"/>
                  </a:lnTo>
                  <a:lnTo>
                    <a:pt x="125" y="228"/>
                  </a:lnTo>
                  <a:lnTo>
                    <a:pt x="125" y="217"/>
                  </a:lnTo>
                  <a:close/>
                  <a:moveTo>
                    <a:pt x="159" y="135"/>
                  </a:moveTo>
                  <a:lnTo>
                    <a:pt x="159" y="135"/>
                  </a:lnTo>
                  <a:lnTo>
                    <a:pt x="156" y="135"/>
                  </a:lnTo>
                  <a:lnTo>
                    <a:pt x="156" y="135"/>
                  </a:lnTo>
                  <a:lnTo>
                    <a:pt x="156" y="135"/>
                  </a:lnTo>
                  <a:lnTo>
                    <a:pt x="156" y="135"/>
                  </a:lnTo>
                  <a:lnTo>
                    <a:pt x="156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6" y="125"/>
                  </a:lnTo>
                  <a:lnTo>
                    <a:pt x="156" y="125"/>
                  </a:lnTo>
                  <a:lnTo>
                    <a:pt x="156" y="125"/>
                  </a:lnTo>
                  <a:lnTo>
                    <a:pt x="156" y="125"/>
                  </a:lnTo>
                  <a:lnTo>
                    <a:pt x="156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4" y="133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59" y="135"/>
                  </a:lnTo>
                  <a:lnTo>
                    <a:pt x="159" y="135"/>
                  </a:lnTo>
                  <a:close/>
                  <a:moveTo>
                    <a:pt x="189" y="217"/>
                  </a:moveTo>
                  <a:lnTo>
                    <a:pt x="189" y="217"/>
                  </a:lnTo>
                  <a:lnTo>
                    <a:pt x="189" y="215"/>
                  </a:lnTo>
                  <a:lnTo>
                    <a:pt x="189" y="215"/>
                  </a:lnTo>
                  <a:lnTo>
                    <a:pt x="189" y="215"/>
                  </a:lnTo>
                  <a:lnTo>
                    <a:pt x="189" y="215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4" y="210"/>
                  </a:lnTo>
                  <a:lnTo>
                    <a:pt x="184" y="146"/>
                  </a:lnTo>
                  <a:lnTo>
                    <a:pt x="187" y="143"/>
                  </a:lnTo>
                  <a:lnTo>
                    <a:pt x="187" y="143"/>
                  </a:lnTo>
                  <a:lnTo>
                    <a:pt x="189" y="143"/>
                  </a:lnTo>
                  <a:lnTo>
                    <a:pt x="189" y="143"/>
                  </a:lnTo>
                  <a:lnTo>
                    <a:pt x="192" y="143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5" y="138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7" y="125"/>
                  </a:lnTo>
                  <a:lnTo>
                    <a:pt x="197" y="125"/>
                  </a:lnTo>
                  <a:lnTo>
                    <a:pt x="207" y="125"/>
                  </a:lnTo>
                  <a:lnTo>
                    <a:pt x="207" y="125"/>
                  </a:lnTo>
                  <a:lnTo>
                    <a:pt x="207" y="128"/>
                  </a:lnTo>
                  <a:lnTo>
                    <a:pt x="207" y="128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07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12" y="140"/>
                  </a:lnTo>
                  <a:lnTo>
                    <a:pt x="212" y="140"/>
                  </a:lnTo>
                  <a:lnTo>
                    <a:pt x="212" y="143"/>
                  </a:lnTo>
                  <a:lnTo>
                    <a:pt x="215" y="143"/>
                  </a:lnTo>
                  <a:lnTo>
                    <a:pt x="215" y="143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20" y="146"/>
                  </a:lnTo>
                  <a:lnTo>
                    <a:pt x="220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18" y="212"/>
                  </a:lnTo>
                  <a:lnTo>
                    <a:pt x="215" y="212"/>
                  </a:lnTo>
                  <a:lnTo>
                    <a:pt x="215" y="212"/>
                  </a:lnTo>
                  <a:lnTo>
                    <a:pt x="215" y="212"/>
                  </a:lnTo>
                  <a:lnTo>
                    <a:pt x="215" y="212"/>
                  </a:lnTo>
                  <a:lnTo>
                    <a:pt x="215" y="215"/>
                  </a:lnTo>
                  <a:lnTo>
                    <a:pt x="215" y="215"/>
                  </a:lnTo>
                  <a:lnTo>
                    <a:pt x="215" y="215"/>
                  </a:lnTo>
                  <a:lnTo>
                    <a:pt x="215" y="215"/>
                  </a:lnTo>
                  <a:lnTo>
                    <a:pt x="215" y="217"/>
                  </a:lnTo>
                  <a:lnTo>
                    <a:pt x="215" y="217"/>
                  </a:lnTo>
                  <a:lnTo>
                    <a:pt x="215" y="228"/>
                  </a:lnTo>
                  <a:lnTo>
                    <a:pt x="189" y="228"/>
                  </a:lnTo>
                  <a:lnTo>
                    <a:pt x="189" y="217"/>
                  </a:lnTo>
                  <a:close/>
                  <a:moveTo>
                    <a:pt x="223" y="135"/>
                  </a:moveTo>
                  <a:lnTo>
                    <a:pt x="223" y="135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0" y="133"/>
                  </a:lnTo>
                  <a:lnTo>
                    <a:pt x="220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5"/>
                  </a:lnTo>
                  <a:lnTo>
                    <a:pt x="218" y="125"/>
                  </a:lnTo>
                  <a:lnTo>
                    <a:pt x="220" y="125"/>
                  </a:lnTo>
                  <a:lnTo>
                    <a:pt x="220" y="125"/>
                  </a:lnTo>
                  <a:lnTo>
                    <a:pt x="220" y="125"/>
                  </a:lnTo>
                  <a:lnTo>
                    <a:pt x="220" y="125"/>
                  </a:lnTo>
                  <a:lnTo>
                    <a:pt x="220" y="125"/>
                  </a:lnTo>
                  <a:lnTo>
                    <a:pt x="223" y="125"/>
                  </a:lnTo>
                  <a:lnTo>
                    <a:pt x="223" y="125"/>
                  </a:lnTo>
                  <a:lnTo>
                    <a:pt x="223" y="125"/>
                  </a:lnTo>
                  <a:lnTo>
                    <a:pt x="246" y="125"/>
                  </a:lnTo>
                  <a:lnTo>
                    <a:pt x="246" y="125"/>
                  </a:lnTo>
                  <a:lnTo>
                    <a:pt x="248" y="125"/>
                  </a:lnTo>
                  <a:lnTo>
                    <a:pt x="248" y="125"/>
                  </a:lnTo>
                  <a:lnTo>
                    <a:pt x="248" y="125"/>
                  </a:lnTo>
                  <a:lnTo>
                    <a:pt x="248" y="125"/>
                  </a:lnTo>
                  <a:lnTo>
                    <a:pt x="248" y="125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48" y="133"/>
                  </a:lnTo>
                  <a:lnTo>
                    <a:pt x="248" y="135"/>
                  </a:lnTo>
                  <a:lnTo>
                    <a:pt x="248" y="135"/>
                  </a:lnTo>
                  <a:lnTo>
                    <a:pt x="248" y="135"/>
                  </a:lnTo>
                  <a:lnTo>
                    <a:pt x="248" y="135"/>
                  </a:lnTo>
                  <a:lnTo>
                    <a:pt x="248" y="135"/>
                  </a:lnTo>
                  <a:lnTo>
                    <a:pt x="246" y="135"/>
                  </a:lnTo>
                  <a:lnTo>
                    <a:pt x="246" y="135"/>
                  </a:lnTo>
                  <a:lnTo>
                    <a:pt x="223" y="135"/>
                  </a:lnTo>
                  <a:lnTo>
                    <a:pt x="223" y="135"/>
                  </a:lnTo>
                  <a:close/>
                  <a:moveTo>
                    <a:pt x="36" y="89"/>
                  </a:moveTo>
                  <a:lnTo>
                    <a:pt x="241" y="89"/>
                  </a:lnTo>
                  <a:lnTo>
                    <a:pt x="241" y="115"/>
                  </a:lnTo>
                  <a:lnTo>
                    <a:pt x="36" y="115"/>
                  </a:lnTo>
                  <a:lnTo>
                    <a:pt x="36" y="89"/>
                  </a:lnTo>
                  <a:close/>
                  <a:moveTo>
                    <a:pt x="18" y="71"/>
                  </a:moveTo>
                  <a:lnTo>
                    <a:pt x="138" y="10"/>
                  </a:lnTo>
                  <a:lnTo>
                    <a:pt x="259" y="71"/>
                  </a:lnTo>
                  <a:lnTo>
                    <a:pt x="253" y="79"/>
                  </a:lnTo>
                  <a:lnTo>
                    <a:pt x="23" y="79"/>
                  </a:lnTo>
                  <a:lnTo>
                    <a:pt x="18" y="71"/>
                  </a:lnTo>
                  <a:close/>
                  <a:moveTo>
                    <a:pt x="138" y="0"/>
                  </a:moveTo>
                  <a:lnTo>
                    <a:pt x="2" y="69"/>
                  </a:lnTo>
                  <a:lnTo>
                    <a:pt x="18" y="89"/>
                  </a:lnTo>
                  <a:lnTo>
                    <a:pt x="26" y="89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3"/>
                  </a:lnTo>
                  <a:lnTo>
                    <a:pt x="15" y="133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40"/>
                  </a:lnTo>
                  <a:lnTo>
                    <a:pt x="20" y="140"/>
                  </a:lnTo>
                  <a:lnTo>
                    <a:pt x="20" y="143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8" y="146"/>
                  </a:lnTo>
                  <a:lnTo>
                    <a:pt x="28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5"/>
                  </a:lnTo>
                  <a:lnTo>
                    <a:pt x="23" y="215"/>
                  </a:lnTo>
                  <a:lnTo>
                    <a:pt x="23" y="215"/>
                  </a:lnTo>
                  <a:lnTo>
                    <a:pt x="23" y="215"/>
                  </a:lnTo>
                  <a:lnTo>
                    <a:pt x="23" y="217"/>
                  </a:lnTo>
                  <a:lnTo>
                    <a:pt x="23" y="217"/>
                  </a:lnTo>
                  <a:lnTo>
                    <a:pt x="23" y="228"/>
                  </a:lnTo>
                  <a:lnTo>
                    <a:pt x="8" y="228"/>
                  </a:lnTo>
                  <a:lnTo>
                    <a:pt x="8" y="248"/>
                  </a:lnTo>
                  <a:lnTo>
                    <a:pt x="5" y="248"/>
                  </a:lnTo>
                  <a:lnTo>
                    <a:pt x="5" y="266"/>
                  </a:lnTo>
                  <a:lnTo>
                    <a:pt x="0" y="266"/>
                  </a:lnTo>
                  <a:lnTo>
                    <a:pt x="0" y="276"/>
                  </a:lnTo>
                  <a:lnTo>
                    <a:pt x="276" y="276"/>
                  </a:lnTo>
                  <a:lnTo>
                    <a:pt x="276" y="266"/>
                  </a:lnTo>
                  <a:lnTo>
                    <a:pt x="271" y="266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9" y="228"/>
                  </a:lnTo>
                  <a:lnTo>
                    <a:pt x="253" y="228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8" y="210"/>
                  </a:lnTo>
                  <a:lnTo>
                    <a:pt x="248" y="146"/>
                  </a:lnTo>
                  <a:lnTo>
                    <a:pt x="251" y="143"/>
                  </a:lnTo>
                  <a:lnTo>
                    <a:pt x="251" y="143"/>
                  </a:lnTo>
                  <a:lnTo>
                    <a:pt x="253" y="143"/>
                  </a:lnTo>
                  <a:lnTo>
                    <a:pt x="253" y="143"/>
                  </a:lnTo>
                  <a:lnTo>
                    <a:pt x="256" y="143"/>
                  </a:lnTo>
                  <a:lnTo>
                    <a:pt x="256" y="140"/>
                  </a:lnTo>
                  <a:lnTo>
                    <a:pt x="259" y="140"/>
                  </a:lnTo>
                  <a:lnTo>
                    <a:pt x="259" y="138"/>
                  </a:lnTo>
                  <a:lnTo>
                    <a:pt x="259" y="138"/>
                  </a:lnTo>
                  <a:lnTo>
                    <a:pt x="259" y="138"/>
                  </a:lnTo>
                  <a:lnTo>
                    <a:pt x="261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3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28"/>
                  </a:lnTo>
                  <a:lnTo>
                    <a:pt x="261" y="125"/>
                  </a:lnTo>
                  <a:lnTo>
                    <a:pt x="261" y="125"/>
                  </a:lnTo>
                  <a:lnTo>
                    <a:pt x="261" y="123"/>
                  </a:lnTo>
                  <a:lnTo>
                    <a:pt x="261" y="123"/>
                  </a:lnTo>
                  <a:lnTo>
                    <a:pt x="259" y="123"/>
                  </a:lnTo>
                  <a:lnTo>
                    <a:pt x="259" y="120"/>
                  </a:lnTo>
                  <a:lnTo>
                    <a:pt x="259" y="120"/>
                  </a:lnTo>
                  <a:lnTo>
                    <a:pt x="256" y="117"/>
                  </a:lnTo>
                  <a:lnTo>
                    <a:pt x="256" y="117"/>
                  </a:lnTo>
                  <a:lnTo>
                    <a:pt x="256" y="117"/>
                  </a:lnTo>
                  <a:lnTo>
                    <a:pt x="253" y="117"/>
                  </a:lnTo>
                  <a:lnTo>
                    <a:pt x="253" y="115"/>
                  </a:lnTo>
                  <a:lnTo>
                    <a:pt x="251" y="115"/>
                  </a:lnTo>
                  <a:lnTo>
                    <a:pt x="251" y="115"/>
                  </a:lnTo>
                  <a:lnTo>
                    <a:pt x="251" y="89"/>
                  </a:lnTo>
                  <a:lnTo>
                    <a:pt x="259" y="89"/>
                  </a:lnTo>
                  <a:lnTo>
                    <a:pt x="274" y="69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C99487D-2B22-4B7D-9A38-0F6EAF9EB44B}"/>
              </a:ext>
            </a:extLst>
          </p:cNvPr>
          <p:cNvGrpSpPr/>
          <p:nvPr/>
        </p:nvGrpSpPr>
        <p:grpSpPr>
          <a:xfrm>
            <a:off x="3584575" y="328564"/>
            <a:ext cx="760413" cy="758825"/>
            <a:chOff x="3584575" y="325438"/>
            <a:chExt cx="760413" cy="758825"/>
          </a:xfrm>
        </p:grpSpPr>
        <p:sp>
          <p:nvSpPr>
            <p:cNvPr id="38" name="AutoShape 27">
              <a:extLst>
                <a:ext uri="{FF2B5EF4-FFF2-40B4-BE49-F238E27FC236}">
                  <a16:creationId xmlns:a16="http://schemas.microsoft.com/office/drawing/2014/main" id="{26109B20-0F83-4239-A051-5C42720A1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4575" y="325438"/>
              <a:ext cx="760413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0851B3C0-9F75-428B-BC79-258FC9B38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7750" y="328613"/>
              <a:ext cx="757238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6EBD493D-DB60-425E-B285-09DA50DB2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469901"/>
              <a:ext cx="404813" cy="412750"/>
            </a:xfrm>
            <a:custGeom>
              <a:avLst/>
              <a:gdLst>
                <a:gd name="T0" fmla="*/ 104 w 104"/>
                <a:gd name="T1" fmla="*/ 106 h 106"/>
                <a:gd name="T2" fmla="*/ 98 w 104"/>
                <a:gd name="T3" fmla="*/ 100 h 106"/>
                <a:gd name="T4" fmla="*/ 90 w 104"/>
                <a:gd name="T5" fmla="*/ 89 h 106"/>
                <a:gd name="T6" fmla="*/ 92 w 104"/>
                <a:gd name="T7" fmla="*/ 61 h 106"/>
                <a:gd name="T8" fmla="*/ 92 w 104"/>
                <a:gd name="T9" fmla="*/ 37 h 106"/>
                <a:gd name="T10" fmla="*/ 101 w 104"/>
                <a:gd name="T11" fmla="*/ 31 h 106"/>
                <a:gd name="T12" fmla="*/ 4 w 104"/>
                <a:gd name="T13" fmla="*/ 37 h 106"/>
                <a:gd name="T14" fmla="*/ 12 w 104"/>
                <a:gd name="T15" fmla="*/ 61 h 106"/>
                <a:gd name="T16" fmla="*/ 14 w 104"/>
                <a:gd name="T17" fmla="*/ 62 h 106"/>
                <a:gd name="T18" fmla="*/ 6 w 104"/>
                <a:gd name="T19" fmla="*/ 90 h 106"/>
                <a:gd name="T20" fmla="*/ 0 w 104"/>
                <a:gd name="T21" fmla="*/ 100 h 106"/>
                <a:gd name="T22" fmla="*/ 52 w 104"/>
                <a:gd name="T23" fmla="*/ 7 h 106"/>
                <a:gd name="T24" fmla="*/ 88 w 104"/>
                <a:gd name="T25" fmla="*/ 31 h 106"/>
                <a:gd name="T26" fmla="*/ 16 w 104"/>
                <a:gd name="T27" fmla="*/ 29 h 106"/>
                <a:gd name="T28" fmla="*/ 88 w 104"/>
                <a:gd name="T29" fmla="*/ 37 h 106"/>
                <a:gd name="T30" fmla="*/ 88 w 104"/>
                <a:gd name="T31" fmla="*/ 48 h 106"/>
                <a:gd name="T32" fmla="*/ 16 w 104"/>
                <a:gd name="T33" fmla="*/ 37 h 106"/>
                <a:gd name="T34" fmla="*/ 76 w 104"/>
                <a:gd name="T35" fmla="*/ 52 h 106"/>
                <a:gd name="T36" fmla="*/ 88 w 104"/>
                <a:gd name="T37" fmla="*/ 52 h 106"/>
                <a:gd name="T38" fmla="*/ 77 w 104"/>
                <a:gd name="T39" fmla="*/ 58 h 106"/>
                <a:gd name="T40" fmla="*/ 85 w 104"/>
                <a:gd name="T41" fmla="*/ 90 h 106"/>
                <a:gd name="T42" fmla="*/ 79 w 104"/>
                <a:gd name="T43" fmla="*/ 62 h 106"/>
                <a:gd name="T44" fmla="*/ 86 w 104"/>
                <a:gd name="T45" fmla="*/ 62 h 106"/>
                <a:gd name="T46" fmla="*/ 71 w 104"/>
                <a:gd name="T47" fmla="*/ 52 h 106"/>
                <a:gd name="T48" fmla="*/ 73 w 104"/>
                <a:gd name="T49" fmla="*/ 61 h 106"/>
                <a:gd name="T50" fmla="*/ 74 w 104"/>
                <a:gd name="T51" fmla="*/ 89 h 106"/>
                <a:gd name="T52" fmla="*/ 60 w 104"/>
                <a:gd name="T53" fmla="*/ 89 h 106"/>
                <a:gd name="T54" fmla="*/ 61 w 104"/>
                <a:gd name="T55" fmla="*/ 61 h 106"/>
                <a:gd name="T56" fmla="*/ 62 w 104"/>
                <a:gd name="T57" fmla="*/ 52 h 106"/>
                <a:gd name="T58" fmla="*/ 46 w 104"/>
                <a:gd name="T59" fmla="*/ 52 h 106"/>
                <a:gd name="T60" fmla="*/ 58 w 104"/>
                <a:gd name="T61" fmla="*/ 52 h 106"/>
                <a:gd name="T62" fmla="*/ 47 w 104"/>
                <a:gd name="T63" fmla="*/ 58 h 106"/>
                <a:gd name="T64" fmla="*/ 55 w 104"/>
                <a:gd name="T65" fmla="*/ 90 h 106"/>
                <a:gd name="T66" fmla="*/ 48 w 104"/>
                <a:gd name="T67" fmla="*/ 62 h 106"/>
                <a:gd name="T68" fmla="*/ 56 w 104"/>
                <a:gd name="T69" fmla="*/ 62 h 106"/>
                <a:gd name="T70" fmla="*/ 33 w 104"/>
                <a:gd name="T71" fmla="*/ 52 h 106"/>
                <a:gd name="T72" fmla="*/ 42 w 104"/>
                <a:gd name="T73" fmla="*/ 61 h 106"/>
                <a:gd name="T74" fmla="*/ 44 w 104"/>
                <a:gd name="T75" fmla="*/ 62 h 106"/>
                <a:gd name="T76" fmla="*/ 30 w 104"/>
                <a:gd name="T77" fmla="*/ 90 h 106"/>
                <a:gd name="T78" fmla="*/ 30 w 104"/>
                <a:gd name="T79" fmla="*/ 62 h 106"/>
                <a:gd name="T80" fmla="*/ 32 w 104"/>
                <a:gd name="T81" fmla="*/ 60 h 106"/>
                <a:gd name="T82" fmla="*/ 27 w 104"/>
                <a:gd name="T83" fmla="*/ 52 h 106"/>
                <a:gd name="T84" fmla="*/ 27 w 104"/>
                <a:gd name="T85" fmla="*/ 58 h 106"/>
                <a:gd name="T86" fmla="*/ 16 w 104"/>
                <a:gd name="T87" fmla="*/ 52 h 106"/>
                <a:gd name="T88" fmla="*/ 25 w 104"/>
                <a:gd name="T89" fmla="*/ 90 h 106"/>
                <a:gd name="T90" fmla="*/ 18 w 104"/>
                <a:gd name="T91" fmla="*/ 62 h 106"/>
                <a:gd name="T92" fmla="*/ 25 w 104"/>
                <a:gd name="T93" fmla="*/ 62 h 106"/>
                <a:gd name="T94" fmla="*/ 93 w 104"/>
                <a:gd name="T95" fmla="*/ 94 h 106"/>
                <a:gd name="T96" fmla="*/ 93 w 104"/>
                <a:gd name="T97" fmla="*/ 100 h 106"/>
                <a:gd name="T98" fmla="*/ 10 w 104"/>
                <a:gd name="T99" fmla="*/ 9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06">
                  <a:moveTo>
                    <a:pt x="0" y="10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0" y="90"/>
                    <a:pt x="90" y="90"/>
                    <a:pt x="90" y="89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2"/>
                    <a:pt x="91" y="62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2" y="37"/>
                    <a:pt x="93" y="37"/>
                    <a:pt x="93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2" y="37"/>
                    <a:pt x="12" y="37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0"/>
                    <a:pt x="14" y="90"/>
                    <a:pt x="13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100"/>
                    <a:pt x="6" y="100"/>
                    <a:pt x="6" y="100"/>
                  </a:cubicBezTo>
                  <a:lnTo>
                    <a:pt x="0" y="100"/>
                  </a:lnTo>
                  <a:close/>
                  <a:moveTo>
                    <a:pt x="16" y="29"/>
                  </a:move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0"/>
                    <a:pt x="16" y="30"/>
                  </a:cubicBezTo>
                  <a:cubicBezTo>
                    <a:pt x="16" y="30"/>
                    <a:pt x="16" y="29"/>
                    <a:pt x="16" y="29"/>
                  </a:cubicBezTo>
                  <a:close/>
                  <a:moveTo>
                    <a:pt x="16" y="37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8"/>
                    <a:pt x="88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7"/>
                    <a:pt x="16" y="47"/>
                  </a:cubicBezTo>
                  <a:lnTo>
                    <a:pt x="16" y="37"/>
                  </a:lnTo>
                  <a:close/>
                  <a:moveTo>
                    <a:pt x="77" y="58"/>
                  </a:moveTo>
                  <a:cubicBezTo>
                    <a:pt x="76" y="58"/>
                    <a:pt x="76" y="57"/>
                    <a:pt x="76" y="57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8"/>
                    <a:pt x="88" y="58"/>
                  </a:cubicBezTo>
                  <a:lnTo>
                    <a:pt x="77" y="58"/>
                  </a:lnTo>
                  <a:close/>
                  <a:moveTo>
                    <a:pt x="86" y="62"/>
                  </a:moveTo>
                  <a:cubicBezTo>
                    <a:pt x="86" y="89"/>
                    <a:pt x="86" y="89"/>
                    <a:pt x="86" y="89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79" y="90"/>
                    <a:pt x="79" y="89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5" y="62"/>
                    <a:pt x="86" y="62"/>
                    <a:pt x="86" y="62"/>
                  </a:cubicBezTo>
                  <a:close/>
                  <a:moveTo>
                    <a:pt x="62" y="52"/>
                  </a:moveTo>
                  <a:cubicBezTo>
                    <a:pt x="62" y="52"/>
                    <a:pt x="63" y="52"/>
                    <a:pt x="63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89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lnTo>
                    <a:pt x="62" y="52"/>
                  </a:lnTo>
                  <a:close/>
                  <a:moveTo>
                    <a:pt x="47" y="58"/>
                  </a:moveTo>
                  <a:cubicBezTo>
                    <a:pt x="46" y="58"/>
                    <a:pt x="46" y="57"/>
                    <a:pt x="46" y="57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6" y="52"/>
                    <a:pt x="4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57"/>
                    <a:pt x="58" y="58"/>
                    <a:pt x="57" y="58"/>
                  </a:cubicBezTo>
                  <a:lnTo>
                    <a:pt x="47" y="58"/>
                  </a:lnTo>
                  <a:close/>
                  <a:moveTo>
                    <a:pt x="56" y="62"/>
                  </a:moveTo>
                  <a:cubicBezTo>
                    <a:pt x="56" y="89"/>
                    <a:pt x="56" y="89"/>
                    <a:pt x="56" y="89"/>
                  </a:cubicBezTo>
                  <a:cubicBezTo>
                    <a:pt x="56" y="90"/>
                    <a:pt x="55" y="90"/>
                    <a:pt x="55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8" y="90"/>
                    <a:pt x="48" y="89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62"/>
                    <a:pt x="49" y="62"/>
                    <a:pt x="49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6" y="62"/>
                    <a:pt x="56" y="62"/>
                  </a:cubicBezTo>
                  <a:close/>
                  <a:moveTo>
                    <a:pt x="32" y="60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30" y="90"/>
                    <a:pt x="30" y="90"/>
                    <a:pt x="30" y="89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0"/>
                    <a:pt x="32" y="60"/>
                    <a:pt x="32" y="60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8"/>
                    <a:pt x="27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7"/>
                    <a:pt x="16" y="57"/>
                  </a:cubicBezTo>
                  <a:lnTo>
                    <a:pt x="16" y="52"/>
                  </a:lnTo>
                  <a:close/>
                  <a:moveTo>
                    <a:pt x="25" y="62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9" y="90"/>
                    <a:pt x="18" y="90"/>
                    <a:pt x="18" y="89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9" y="62"/>
                    <a:pt x="19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5" y="62"/>
                  </a:cubicBezTo>
                  <a:close/>
                  <a:moveTo>
                    <a:pt x="10" y="95"/>
                  </a:moveTo>
                  <a:cubicBezTo>
                    <a:pt x="10" y="94"/>
                    <a:pt x="11" y="94"/>
                    <a:pt x="11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94"/>
                    <a:pt x="94" y="94"/>
                    <a:pt x="94" y="95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4" y="100"/>
                    <a:pt x="93" y="100"/>
                    <a:pt x="93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0" y="100"/>
                    <a:pt x="10" y="100"/>
                  </a:cubicBezTo>
                  <a:lnTo>
                    <a:pt x="10" y="9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0528E432-BA22-41CC-B7A2-B72B37D0C6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469901"/>
              <a:ext cx="404813" cy="412750"/>
            </a:xfrm>
            <a:custGeom>
              <a:avLst/>
              <a:gdLst>
                <a:gd name="T0" fmla="*/ 104 w 104"/>
                <a:gd name="T1" fmla="*/ 106 h 106"/>
                <a:gd name="T2" fmla="*/ 98 w 104"/>
                <a:gd name="T3" fmla="*/ 100 h 106"/>
                <a:gd name="T4" fmla="*/ 90 w 104"/>
                <a:gd name="T5" fmla="*/ 89 h 106"/>
                <a:gd name="T6" fmla="*/ 92 w 104"/>
                <a:gd name="T7" fmla="*/ 61 h 106"/>
                <a:gd name="T8" fmla="*/ 92 w 104"/>
                <a:gd name="T9" fmla="*/ 37 h 106"/>
                <a:gd name="T10" fmla="*/ 101 w 104"/>
                <a:gd name="T11" fmla="*/ 31 h 106"/>
                <a:gd name="T12" fmla="*/ 4 w 104"/>
                <a:gd name="T13" fmla="*/ 37 h 106"/>
                <a:gd name="T14" fmla="*/ 12 w 104"/>
                <a:gd name="T15" fmla="*/ 61 h 106"/>
                <a:gd name="T16" fmla="*/ 14 w 104"/>
                <a:gd name="T17" fmla="*/ 62 h 106"/>
                <a:gd name="T18" fmla="*/ 6 w 104"/>
                <a:gd name="T19" fmla="*/ 90 h 106"/>
                <a:gd name="T20" fmla="*/ 0 w 104"/>
                <a:gd name="T21" fmla="*/ 100 h 106"/>
                <a:gd name="T22" fmla="*/ 52 w 104"/>
                <a:gd name="T23" fmla="*/ 7 h 106"/>
                <a:gd name="T24" fmla="*/ 88 w 104"/>
                <a:gd name="T25" fmla="*/ 31 h 106"/>
                <a:gd name="T26" fmla="*/ 16 w 104"/>
                <a:gd name="T27" fmla="*/ 29 h 106"/>
                <a:gd name="T28" fmla="*/ 88 w 104"/>
                <a:gd name="T29" fmla="*/ 37 h 106"/>
                <a:gd name="T30" fmla="*/ 88 w 104"/>
                <a:gd name="T31" fmla="*/ 48 h 106"/>
                <a:gd name="T32" fmla="*/ 16 w 104"/>
                <a:gd name="T33" fmla="*/ 37 h 106"/>
                <a:gd name="T34" fmla="*/ 76 w 104"/>
                <a:gd name="T35" fmla="*/ 52 h 106"/>
                <a:gd name="T36" fmla="*/ 88 w 104"/>
                <a:gd name="T37" fmla="*/ 52 h 106"/>
                <a:gd name="T38" fmla="*/ 77 w 104"/>
                <a:gd name="T39" fmla="*/ 58 h 106"/>
                <a:gd name="T40" fmla="*/ 85 w 104"/>
                <a:gd name="T41" fmla="*/ 90 h 106"/>
                <a:gd name="T42" fmla="*/ 79 w 104"/>
                <a:gd name="T43" fmla="*/ 62 h 106"/>
                <a:gd name="T44" fmla="*/ 86 w 104"/>
                <a:gd name="T45" fmla="*/ 62 h 106"/>
                <a:gd name="T46" fmla="*/ 71 w 104"/>
                <a:gd name="T47" fmla="*/ 52 h 106"/>
                <a:gd name="T48" fmla="*/ 73 w 104"/>
                <a:gd name="T49" fmla="*/ 61 h 106"/>
                <a:gd name="T50" fmla="*/ 74 w 104"/>
                <a:gd name="T51" fmla="*/ 89 h 106"/>
                <a:gd name="T52" fmla="*/ 60 w 104"/>
                <a:gd name="T53" fmla="*/ 89 h 106"/>
                <a:gd name="T54" fmla="*/ 61 w 104"/>
                <a:gd name="T55" fmla="*/ 61 h 106"/>
                <a:gd name="T56" fmla="*/ 62 w 104"/>
                <a:gd name="T57" fmla="*/ 52 h 106"/>
                <a:gd name="T58" fmla="*/ 46 w 104"/>
                <a:gd name="T59" fmla="*/ 52 h 106"/>
                <a:gd name="T60" fmla="*/ 58 w 104"/>
                <a:gd name="T61" fmla="*/ 52 h 106"/>
                <a:gd name="T62" fmla="*/ 47 w 104"/>
                <a:gd name="T63" fmla="*/ 58 h 106"/>
                <a:gd name="T64" fmla="*/ 55 w 104"/>
                <a:gd name="T65" fmla="*/ 90 h 106"/>
                <a:gd name="T66" fmla="*/ 48 w 104"/>
                <a:gd name="T67" fmla="*/ 62 h 106"/>
                <a:gd name="T68" fmla="*/ 56 w 104"/>
                <a:gd name="T69" fmla="*/ 62 h 106"/>
                <a:gd name="T70" fmla="*/ 33 w 104"/>
                <a:gd name="T71" fmla="*/ 52 h 106"/>
                <a:gd name="T72" fmla="*/ 42 w 104"/>
                <a:gd name="T73" fmla="*/ 61 h 106"/>
                <a:gd name="T74" fmla="*/ 44 w 104"/>
                <a:gd name="T75" fmla="*/ 62 h 106"/>
                <a:gd name="T76" fmla="*/ 30 w 104"/>
                <a:gd name="T77" fmla="*/ 90 h 106"/>
                <a:gd name="T78" fmla="*/ 30 w 104"/>
                <a:gd name="T79" fmla="*/ 62 h 106"/>
                <a:gd name="T80" fmla="*/ 32 w 104"/>
                <a:gd name="T81" fmla="*/ 60 h 106"/>
                <a:gd name="T82" fmla="*/ 27 w 104"/>
                <a:gd name="T83" fmla="*/ 52 h 106"/>
                <a:gd name="T84" fmla="*/ 27 w 104"/>
                <a:gd name="T85" fmla="*/ 58 h 106"/>
                <a:gd name="T86" fmla="*/ 16 w 104"/>
                <a:gd name="T87" fmla="*/ 52 h 106"/>
                <a:gd name="T88" fmla="*/ 25 w 104"/>
                <a:gd name="T89" fmla="*/ 90 h 106"/>
                <a:gd name="T90" fmla="*/ 18 w 104"/>
                <a:gd name="T91" fmla="*/ 62 h 106"/>
                <a:gd name="T92" fmla="*/ 25 w 104"/>
                <a:gd name="T93" fmla="*/ 62 h 106"/>
                <a:gd name="T94" fmla="*/ 93 w 104"/>
                <a:gd name="T95" fmla="*/ 94 h 106"/>
                <a:gd name="T96" fmla="*/ 93 w 104"/>
                <a:gd name="T97" fmla="*/ 100 h 106"/>
                <a:gd name="T98" fmla="*/ 10 w 104"/>
                <a:gd name="T99" fmla="*/ 9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06">
                  <a:moveTo>
                    <a:pt x="0" y="10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0" y="90"/>
                    <a:pt x="90" y="90"/>
                    <a:pt x="90" y="89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2"/>
                    <a:pt x="91" y="62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2" y="37"/>
                    <a:pt x="93" y="37"/>
                    <a:pt x="93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2" y="37"/>
                    <a:pt x="12" y="37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0"/>
                    <a:pt x="14" y="90"/>
                    <a:pt x="13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100"/>
                    <a:pt x="6" y="100"/>
                    <a:pt x="6" y="100"/>
                  </a:cubicBezTo>
                  <a:lnTo>
                    <a:pt x="0" y="100"/>
                  </a:lnTo>
                  <a:close/>
                  <a:moveTo>
                    <a:pt x="16" y="29"/>
                  </a:move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0"/>
                    <a:pt x="16" y="30"/>
                  </a:cubicBezTo>
                  <a:cubicBezTo>
                    <a:pt x="16" y="30"/>
                    <a:pt x="16" y="29"/>
                    <a:pt x="16" y="29"/>
                  </a:cubicBezTo>
                  <a:close/>
                  <a:moveTo>
                    <a:pt x="16" y="37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8"/>
                    <a:pt x="88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7"/>
                    <a:pt x="16" y="47"/>
                  </a:cubicBezTo>
                  <a:lnTo>
                    <a:pt x="16" y="37"/>
                  </a:lnTo>
                  <a:close/>
                  <a:moveTo>
                    <a:pt x="77" y="58"/>
                  </a:moveTo>
                  <a:cubicBezTo>
                    <a:pt x="76" y="58"/>
                    <a:pt x="76" y="57"/>
                    <a:pt x="76" y="57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8"/>
                    <a:pt x="88" y="58"/>
                  </a:cubicBezTo>
                  <a:lnTo>
                    <a:pt x="77" y="58"/>
                  </a:lnTo>
                  <a:close/>
                  <a:moveTo>
                    <a:pt x="86" y="62"/>
                  </a:moveTo>
                  <a:cubicBezTo>
                    <a:pt x="86" y="89"/>
                    <a:pt x="86" y="89"/>
                    <a:pt x="86" y="89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79" y="90"/>
                    <a:pt x="79" y="89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5" y="62"/>
                    <a:pt x="86" y="62"/>
                    <a:pt x="86" y="62"/>
                  </a:cubicBezTo>
                  <a:close/>
                  <a:moveTo>
                    <a:pt x="62" y="52"/>
                  </a:moveTo>
                  <a:cubicBezTo>
                    <a:pt x="62" y="52"/>
                    <a:pt x="63" y="52"/>
                    <a:pt x="63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89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lnTo>
                    <a:pt x="62" y="52"/>
                  </a:lnTo>
                  <a:close/>
                  <a:moveTo>
                    <a:pt x="47" y="58"/>
                  </a:moveTo>
                  <a:cubicBezTo>
                    <a:pt x="46" y="58"/>
                    <a:pt x="46" y="57"/>
                    <a:pt x="46" y="57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6" y="52"/>
                    <a:pt x="4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57"/>
                    <a:pt x="58" y="58"/>
                    <a:pt x="57" y="58"/>
                  </a:cubicBezTo>
                  <a:lnTo>
                    <a:pt x="47" y="58"/>
                  </a:lnTo>
                  <a:close/>
                  <a:moveTo>
                    <a:pt x="56" y="62"/>
                  </a:moveTo>
                  <a:cubicBezTo>
                    <a:pt x="56" y="89"/>
                    <a:pt x="56" y="89"/>
                    <a:pt x="56" y="89"/>
                  </a:cubicBezTo>
                  <a:cubicBezTo>
                    <a:pt x="56" y="90"/>
                    <a:pt x="55" y="90"/>
                    <a:pt x="55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8" y="90"/>
                    <a:pt x="48" y="89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62"/>
                    <a:pt x="49" y="62"/>
                    <a:pt x="49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6" y="62"/>
                    <a:pt x="56" y="62"/>
                  </a:cubicBezTo>
                  <a:close/>
                  <a:moveTo>
                    <a:pt x="32" y="60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30" y="90"/>
                    <a:pt x="30" y="90"/>
                    <a:pt x="30" y="89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0"/>
                    <a:pt x="32" y="60"/>
                    <a:pt x="32" y="60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8"/>
                    <a:pt x="27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7"/>
                    <a:pt x="16" y="57"/>
                  </a:cubicBezTo>
                  <a:lnTo>
                    <a:pt x="16" y="52"/>
                  </a:lnTo>
                  <a:close/>
                  <a:moveTo>
                    <a:pt x="25" y="62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9" y="90"/>
                    <a:pt x="18" y="90"/>
                    <a:pt x="18" y="89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9" y="62"/>
                    <a:pt x="19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5" y="62"/>
                  </a:cubicBezTo>
                  <a:close/>
                  <a:moveTo>
                    <a:pt x="10" y="95"/>
                  </a:moveTo>
                  <a:cubicBezTo>
                    <a:pt x="10" y="94"/>
                    <a:pt x="11" y="94"/>
                    <a:pt x="11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94"/>
                    <a:pt x="94" y="94"/>
                    <a:pt x="94" y="95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4" y="100"/>
                    <a:pt x="93" y="100"/>
                    <a:pt x="93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0" y="100"/>
                    <a:pt x="10" y="100"/>
                  </a:cubicBezTo>
                  <a:lnTo>
                    <a:pt x="10" y="9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59A16A0-FB4D-4B58-B2EE-083FA5E5EB4E}"/>
              </a:ext>
            </a:extLst>
          </p:cNvPr>
          <p:cNvGrpSpPr/>
          <p:nvPr/>
        </p:nvGrpSpPr>
        <p:grpSpPr>
          <a:xfrm>
            <a:off x="2590800" y="285701"/>
            <a:ext cx="844550" cy="844550"/>
            <a:chOff x="2590800" y="292100"/>
            <a:chExt cx="844550" cy="844550"/>
          </a:xfrm>
        </p:grpSpPr>
        <p:sp>
          <p:nvSpPr>
            <p:cNvPr id="46" name="AutoShape 33">
              <a:extLst>
                <a:ext uri="{FF2B5EF4-FFF2-40B4-BE49-F238E27FC236}">
                  <a16:creationId xmlns:a16="http://schemas.microsoft.com/office/drawing/2014/main" id="{6E029911-567F-4CBB-B0EE-5BB712244D5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0800" y="2921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35">
              <a:extLst>
                <a:ext uri="{FF2B5EF4-FFF2-40B4-BE49-F238E27FC236}">
                  <a16:creationId xmlns:a16="http://schemas.microsoft.com/office/drawing/2014/main" id="{16C996AF-2362-437D-9285-CB1FCEEA3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0800" y="29210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CBE3461F-9FF2-4649-A5E3-0F6021BE5D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375" y="32067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B3444ABE-D5EB-40C2-9023-0CE50DCF03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938" y="466725"/>
              <a:ext cx="422275" cy="430213"/>
            </a:xfrm>
            <a:custGeom>
              <a:avLst/>
              <a:gdLst>
                <a:gd name="T0" fmla="*/ 104 w 104"/>
                <a:gd name="T1" fmla="*/ 106 h 106"/>
                <a:gd name="T2" fmla="*/ 98 w 104"/>
                <a:gd name="T3" fmla="*/ 100 h 106"/>
                <a:gd name="T4" fmla="*/ 90 w 104"/>
                <a:gd name="T5" fmla="*/ 89 h 106"/>
                <a:gd name="T6" fmla="*/ 92 w 104"/>
                <a:gd name="T7" fmla="*/ 61 h 106"/>
                <a:gd name="T8" fmla="*/ 92 w 104"/>
                <a:gd name="T9" fmla="*/ 37 h 106"/>
                <a:gd name="T10" fmla="*/ 101 w 104"/>
                <a:gd name="T11" fmla="*/ 31 h 106"/>
                <a:gd name="T12" fmla="*/ 4 w 104"/>
                <a:gd name="T13" fmla="*/ 37 h 106"/>
                <a:gd name="T14" fmla="*/ 12 w 104"/>
                <a:gd name="T15" fmla="*/ 61 h 106"/>
                <a:gd name="T16" fmla="*/ 14 w 104"/>
                <a:gd name="T17" fmla="*/ 62 h 106"/>
                <a:gd name="T18" fmla="*/ 6 w 104"/>
                <a:gd name="T19" fmla="*/ 90 h 106"/>
                <a:gd name="T20" fmla="*/ 0 w 104"/>
                <a:gd name="T21" fmla="*/ 100 h 106"/>
                <a:gd name="T22" fmla="*/ 52 w 104"/>
                <a:gd name="T23" fmla="*/ 7 h 106"/>
                <a:gd name="T24" fmla="*/ 88 w 104"/>
                <a:gd name="T25" fmla="*/ 31 h 106"/>
                <a:gd name="T26" fmla="*/ 16 w 104"/>
                <a:gd name="T27" fmla="*/ 29 h 106"/>
                <a:gd name="T28" fmla="*/ 88 w 104"/>
                <a:gd name="T29" fmla="*/ 37 h 106"/>
                <a:gd name="T30" fmla="*/ 88 w 104"/>
                <a:gd name="T31" fmla="*/ 48 h 106"/>
                <a:gd name="T32" fmla="*/ 16 w 104"/>
                <a:gd name="T33" fmla="*/ 37 h 106"/>
                <a:gd name="T34" fmla="*/ 76 w 104"/>
                <a:gd name="T35" fmla="*/ 52 h 106"/>
                <a:gd name="T36" fmla="*/ 88 w 104"/>
                <a:gd name="T37" fmla="*/ 52 h 106"/>
                <a:gd name="T38" fmla="*/ 77 w 104"/>
                <a:gd name="T39" fmla="*/ 58 h 106"/>
                <a:gd name="T40" fmla="*/ 85 w 104"/>
                <a:gd name="T41" fmla="*/ 90 h 106"/>
                <a:gd name="T42" fmla="*/ 79 w 104"/>
                <a:gd name="T43" fmla="*/ 62 h 106"/>
                <a:gd name="T44" fmla="*/ 86 w 104"/>
                <a:gd name="T45" fmla="*/ 62 h 106"/>
                <a:gd name="T46" fmla="*/ 71 w 104"/>
                <a:gd name="T47" fmla="*/ 52 h 106"/>
                <a:gd name="T48" fmla="*/ 73 w 104"/>
                <a:gd name="T49" fmla="*/ 61 h 106"/>
                <a:gd name="T50" fmla="*/ 74 w 104"/>
                <a:gd name="T51" fmla="*/ 89 h 106"/>
                <a:gd name="T52" fmla="*/ 60 w 104"/>
                <a:gd name="T53" fmla="*/ 89 h 106"/>
                <a:gd name="T54" fmla="*/ 61 w 104"/>
                <a:gd name="T55" fmla="*/ 61 h 106"/>
                <a:gd name="T56" fmla="*/ 62 w 104"/>
                <a:gd name="T57" fmla="*/ 52 h 106"/>
                <a:gd name="T58" fmla="*/ 46 w 104"/>
                <a:gd name="T59" fmla="*/ 52 h 106"/>
                <a:gd name="T60" fmla="*/ 58 w 104"/>
                <a:gd name="T61" fmla="*/ 52 h 106"/>
                <a:gd name="T62" fmla="*/ 47 w 104"/>
                <a:gd name="T63" fmla="*/ 58 h 106"/>
                <a:gd name="T64" fmla="*/ 55 w 104"/>
                <a:gd name="T65" fmla="*/ 90 h 106"/>
                <a:gd name="T66" fmla="*/ 48 w 104"/>
                <a:gd name="T67" fmla="*/ 62 h 106"/>
                <a:gd name="T68" fmla="*/ 56 w 104"/>
                <a:gd name="T69" fmla="*/ 62 h 106"/>
                <a:gd name="T70" fmla="*/ 33 w 104"/>
                <a:gd name="T71" fmla="*/ 52 h 106"/>
                <a:gd name="T72" fmla="*/ 42 w 104"/>
                <a:gd name="T73" fmla="*/ 61 h 106"/>
                <a:gd name="T74" fmla="*/ 44 w 104"/>
                <a:gd name="T75" fmla="*/ 62 h 106"/>
                <a:gd name="T76" fmla="*/ 30 w 104"/>
                <a:gd name="T77" fmla="*/ 90 h 106"/>
                <a:gd name="T78" fmla="*/ 30 w 104"/>
                <a:gd name="T79" fmla="*/ 62 h 106"/>
                <a:gd name="T80" fmla="*/ 32 w 104"/>
                <a:gd name="T81" fmla="*/ 60 h 106"/>
                <a:gd name="T82" fmla="*/ 27 w 104"/>
                <a:gd name="T83" fmla="*/ 52 h 106"/>
                <a:gd name="T84" fmla="*/ 27 w 104"/>
                <a:gd name="T85" fmla="*/ 58 h 106"/>
                <a:gd name="T86" fmla="*/ 16 w 104"/>
                <a:gd name="T87" fmla="*/ 52 h 106"/>
                <a:gd name="T88" fmla="*/ 25 w 104"/>
                <a:gd name="T89" fmla="*/ 90 h 106"/>
                <a:gd name="T90" fmla="*/ 18 w 104"/>
                <a:gd name="T91" fmla="*/ 62 h 106"/>
                <a:gd name="T92" fmla="*/ 25 w 104"/>
                <a:gd name="T93" fmla="*/ 62 h 106"/>
                <a:gd name="T94" fmla="*/ 93 w 104"/>
                <a:gd name="T95" fmla="*/ 94 h 106"/>
                <a:gd name="T96" fmla="*/ 93 w 104"/>
                <a:gd name="T97" fmla="*/ 100 h 106"/>
                <a:gd name="T98" fmla="*/ 10 w 104"/>
                <a:gd name="T99" fmla="*/ 9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06">
                  <a:moveTo>
                    <a:pt x="0" y="100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100"/>
                    <a:pt x="98" y="100"/>
                    <a:pt x="98" y="100"/>
                  </a:cubicBezTo>
                  <a:cubicBezTo>
                    <a:pt x="98" y="90"/>
                    <a:pt x="98" y="90"/>
                    <a:pt x="98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0" y="90"/>
                    <a:pt x="90" y="90"/>
                    <a:pt x="90" y="89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2"/>
                    <a:pt x="91" y="62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2" y="37"/>
                    <a:pt x="93" y="37"/>
                    <a:pt x="93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2" y="37"/>
                    <a:pt x="12" y="37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0"/>
                    <a:pt x="14" y="90"/>
                    <a:pt x="13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100"/>
                    <a:pt x="6" y="100"/>
                    <a:pt x="6" y="100"/>
                  </a:cubicBezTo>
                  <a:lnTo>
                    <a:pt x="0" y="100"/>
                  </a:lnTo>
                  <a:close/>
                  <a:moveTo>
                    <a:pt x="16" y="29"/>
                  </a:move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0"/>
                    <a:pt x="16" y="30"/>
                  </a:cubicBezTo>
                  <a:cubicBezTo>
                    <a:pt x="16" y="30"/>
                    <a:pt x="16" y="29"/>
                    <a:pt x="16" y="29"/>
                  </a:cubicBezTo>
                  <a:close/>
                  <a:moveTo>
                    <a:pt x="16" y="37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8"/>
                    <a:pt x="88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7"/>
                    <a:pt x="16" y="47"/>
                  </a:cubicBezTo>
                  <a:lnTo>
                    <a:pt x="16" y="37"/>
                  </a:lnTo>
                  <a:close/>
                  <a:moveTo>
                    <a:pt x="77" y="58"/>
                  </a:moveTo>
                  <a:cubicBezTo>
                    <a:pt x="76" y="58"/>
                    <a:pt x="76" y="57"/>
                    <a:pt x="76" y="57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8"/>
                    <a:pt x="88" y="58"/>
                  </a:cubicBezTo>
                  <a:lnTo>
                    <a:pt x="77" y="58"/>
                  </a:lnTo>
                  <a:close/>
                  <a:moveTo>
                    <a:pt x="86" y="62"/>
                  </a:moveTo>
                  <a:cubicBezTo>
                    <a:pt x="86" y="89"/>
                    <a:pt x="86" y="89"/>
                    <a:pt x="86" y="89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79" y="90"/>
                    <a:pt x="79" y="89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5" y="62"/>
                    <a:pt x="86" y="62"/>
                    <a:pt x="86" y="62"/>
                  </a:cubicBezTo>
                  <a:close/>
                  <a:moveTo>
                    <a:pt x="62" y="52"/>
                  </a:moveTo>
                  <a:cubicBezTo>
                    <a:pt x="62" y="52"/>
                    <a:pt x="63" y="52"/>
                    <a:pt x="63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89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lnTo>
                    <a:pt x="62" y="52"/>
                  </a:lnTo>
                  <a:close/>
                  <a:moveTo>
                    <a:pt x="47" y="58"/>
                  </a:moveTo>
                  <a:cubicBezTo>
                    <a:pt x="46" y="58"/>
                    <a:pt x="46" y="57"/>
                    <a:pt x="46" y="57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6" y="52"/>
                    <a:pt x="4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57"/>
                    <a:pt x="58" y="58"/>
                    <a:pt x="57" y="58"/>
                  </a:cubicBezTo>
                  <a:lnTo>
                    <a:pt x="47" y="58"/>
                  </a:lnTo>
                  <a:close/>
                  <a:moveTo>
                    <a:pt x="56" y="62"/>
                  </a:moveTo>
                  <a:cubicBezTo>
                    <a:pt x="56" y="89"/>
                    <a:pt x="56" y="89"/>
                    <a:pt x="56" y="89"/>
                  </a:cubicBezTo>
                  <a:cubicBezTo>
                    <a:pt x="56" y="90"/>
                    <a:pt x="55" y="90"/>
                    <a:pt x="55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8" y="90"/>
                    <a:pt x="48" y="89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62"/>
                    <a:pt x="49" y="62"/>
                    <a:pt x="49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6" y="62"/>
                    <a:pt x="56" y="62"/>
                  </a:cubicBezTo>
                  <a:close/>
                  <a:moveTo>
                    <a:pt x="32" y="60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30" y="90"/>
                    <a:pt x="30" y="90"/>
                    <a:pt x="30" y="89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0"/>
                    <a:pt x="32" y="60"/>
                    <a:pt x="32" y="60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8"/>
                    <a:pt x="27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7"/>
                    <a:pt x="16" y="57"/>
                  </a:cubicBezTo>
                  <a:lnTo>
                    <a:pt x="16" y="52"/>
                  </a:lnTo>
                  <a:close/>
                  <a:moveTo>
                    <a:pt x="25" y="62"/>
                  </a:moveTo>
                  <a:cubicBezTo>
                    <a:pt x="25" y="89"/>
                    <a:pt x="25" y="89"/>
                    <a:pt x="25" y="89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9" y="90"/>
                    <a:pt x="18" y="90"/>
                    <a:pt x="18" y="89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9" y="62"/>
                    <a:pt x="19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5" y="62"/>
                  </a:cubicBezTo>
                  <a:close/>
                  <a:moveTo>
                    <a:pt x="10" y="95"/>
                  </a:moveTo>
                  <a:cubicBezTo>
                    <a:pt x="10" y="94"/>
                    <a:pt x="11" y="94"/>
                    <a:pt x="11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94"/>
                    <a:pt x="94" y="94"/>
                    <a:pt x="94" y="95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4" y="100"/>
                    <a:pt x="93" y="100"/>
                    <a:pt x="93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0" y="100"/>
                    <a:pt x="10" y="100"/>
                  </a:cubicBezTo>
                  <a:lnTo>
                    <a:pt x="10" y="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8CCC410-B840-41F5-8EF2-1F1E15CE617E}"/>
              </a:ext>
            </a:extLst>
          </p:cNvPr>
          <p:cNvGrpSpPr/>
          <p:nvPr/>
        </p:nvGrpSpPr>
        <p:grpSpPr>
          <a:xfrm>
            <a:off x="8019239" y="328564"/>
            <a:ext cx="758825" cy="758825"/>
            <a:chOff x="8056563" y="350838"/>
            <a:chExt cx="758825" cy="758825"/>
          </a:xfrm>
        </p:grpSpPr>
        <p:sp>
          <p:nvSpPr>
            <p:cNvPr id="54" name="AutoShape 39">
              <a:extLst>
                <a:ext uri="{FF2B5EF4-FFF2-40B4-BE49-F238E27FC236}">
                  <a16:creationId xmlns:a16="http://schemas.microsoft.com/office/drawing/2014/main" id="{C5365CEC-613D-4F7F-A7CF-F1A2C3738F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56563" y="3508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1">
              <a:extLst>
                <a:ext uri="{FF2B5EF4-FFF2-40B4-BE49-F238E27FC236}">
                  <a16:creationId xmlns:a16="http://schemas.microsoft.com/office/drawing/2014/main" id="{5B1988D0-6E25-4320-9B0E-5229D26789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9738" y="35401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2">
              <a:extLst>
                <a:ext uri="{FF2B5EF4-FFF2-40B4-BE49-F238E27FC236}">
                  <a16:creationId xmlns:a16="http://schemas.microsoft.com/office/drawing/2014/main" id="{AD54E85C-03CC-4F32-B422-F66A78634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7063" y="503238"/>
              <a:ext cx="381000" cy="458788"/>
            </a:xfrm>
            <a:custGeom>
              <a:avLst/>
              <a:gdLst>
                <a:gd name="T0" fmla="*/ 56 w 240"/>
                <a:gd name="T1" fmla="*/ 235 h 289"/>
                <a:gd name="T2" fmla="*/ 20 w 240"/>
                <a:gd name="T3" fmla="*/ 269 h 289"/>
                <a:gd name="T4" fmla="*/ 184 w 240"/>
                <a:gd name="T5" fmla="*/ 235 h 289"/>
                <a:gd name="T6" fmla="*/ 221 w 240"/>
                <a:gd name="T7" fmla="*/ 269 h 289"/>
                <a:gd name="T8" fmla="*/ 184 w 240"/>
                <a:gd name="T9" fmla="*/ 235 h 289"/>
                <a:gd name="T10" fmla="*/ 113 w 240"/>
                <a:gd name="T11" fmla="*/ 232 h 289"/>
                <a:gd name="T12" fmla="*/ 76 w 240"/>
                <a:gd name="T13" fmla="*/ 269 h 289"/>
                <a:gd name="T14" fmla="*/ 128 w 240"/>
                <a:gd name="T15" fmla="*/ 232 h 289"/>
                <a:gd name="T16" fmla="*/ 164 w 240"/>
                <a:gd name="T17" fmla="*/ 269 h 289"/>
                <a:gd name="T18" fmla="*/ 128 w 240"/>
                <a:gd name="T19" fmla="*/ 232 h 289"/>
                <a:gd name="T20" fmla="*/ 56 w 240"/>
                <a:gd name="T21" fmla="*/ 181 h 289"/>
                <a:gd name="T22" fmla="*/ 20 w 240"/>
                <a:gd name="T23" fmla="*/ 215 h 289"/>
                <a:gd name="T24" fmla="*/ 184 w 240"/>
                <a:gd name="T25" fmla="*/ 181 h 289"/>
                <a:gd name="T26" fmla="*/ 221 w 240"/>
                <a:gd name="T27" fmla="*/ 215 h 289"/>
                <a:gd name="T28" fmla="*/ 184 w 240"/>
                <a:gd name="T29" fmla="*/ 181 h 289"/>
                <a:gd name="T30" fmla="*/ 113 w 240"/>
                <a:gd name="T31" fmla="*/ 179 h 289"/>
                <a:gd name="T32" fmla="*/ 76 w 240"/>
                <a:gd name="T33" fmla="*/ 218 h 289"/>
                <a:gd name="T34" fmla="*/ 128 w 240"/>
                <a:gd name="T35" fmla="*/ 179 h 289"/>
                <a:gd name="T36" fmla="*/ 164 w 240"/>
                <a:gd name="T37" fmla="*/ 218 h 289"/>
                <a:gd name="T38" fmla="*/ 128 w 240"/>
                <a:gd name="T39" fmla="*/ 179 h 289"/>
                <a:gd name="T40" fmla="*/ 221 w 240"/>
                <a:gd name="T41" fmla="*/ 127 h 289"/>
                <a:gd name="T42" fmla="*/ 184 w 240"/>
                <a:gd name="T43" fmla="*/ 161 h 289"/>
                <a:gd name="T44" fmla="*/ 76 w 240"/>
                <a:gd name="T45" fmla="*/ 125 h 289"/>
                <a:gd name="T46" fmla="*/ 113 w 240"/>
                <a:gd name="T47" fmla="*/ 164 h 289"/>
                <a:gd name="T48" fmla="*/ 76 w 240"/>
                <a:gd name="T49" fmla="*/ 125 h 289"/>
                <a:gd name="T50" fmla="*/ 164 w 240"/>
                <a:gd name="T51" fmla="*/ 125 h 289"/>
                <a:gd name="T52" fmla="*/ 128 w 240"/>
                <a:gd name="T53" fmla="*/ 164 h 289"/>
                <a:gd name="T54" fmla="*/ 76 w 240"/>
                <a:gd name="T55" fmla="*/ 71 h 289"/>
                <a:gd name="T56" fmla="*/ 113 w 240"/>
                <a:gd name="T57" fmla="*/ 110 h 289"/>
                <a:gd name="T58" fmla="*/ 76 w 240"/>
                <a:gd name="T59" fmla="*/ 71 h 289"/>
                <a:gd name="T60" fmla="*/ 164 w 240"/>
                <a:gd name="T61" fmla="*/ 71 h 289"/>
                <a:gd name="T62" fmla="*/ 128 w 240"/>
                <a:gd name="T63" fmla="*/ 110 h 289"/>
                <a:gd name="T64" fmla="*/ 76 w 240"/>
                <a:gd name="T65" fmla="*/ 19 h 289"/>
                <a:gd name="T66" fmla="*/ 113 w 240"/>
                <a:gd name="T67" fmla="*/ 56 h 289"/>
                <a:gd name="T68" fmla="*/ 76 w 240"/>
                <a:gd name="T69" fmla="*/ 19 h 289"/>
                <a:gd name="T70" fmla="*/ 164 w 240"/>
                <a:gd name="T71" fmla="*/ 19 h 289"/>
                <a:gd name="T72" fmla="*/ 128 w 240"/>
                <a:gd name="T73" fmla="*/ 56 h 289"/>
                <a:gd name="T74" fmla="*/ 56 w 240"/>
                <a:gd name="T75" fmla="*/ 0 h 289"/>
                <a:gd name="T76" fmla="*/ 0 w 240"/>
                <a:gd name="T77" fmla="*/ 161 h 289"/>
                <a:gd name="T78" fmla="*/ 240 w 240"/>
                <a:gd name="T79" fmla="*/ 289 h 289"/>
                <a:gd name="T80" fmla="*/ 184 w 240"/>
                <a:gd name="T81" fmla="*/ 107 h 289"/>
                <a:gd name="T82" fmla="*/ 56 w 240"/>
                <a:gd name="T8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0" h="289">
                  <a:moveTo>
                    <a:pt x="20" y="235"/>
                  </a:moveTo>
                  <a:lnTo>
                    <a:pt x="56" y="235"/>
                  </a:lnTo>
                  <a:lnTo>
                    <a:pt x="56" y="269"/>
                  </a:lnTo>
                  <a:lnTo>
                    <a:pt x="20" y="269"/>
                  </a:lnTo>
                  <a:lnTo>
                    <a:pt x="20" y="235"/>
                  </a:lnTo>
                  <a:close/>
                  <a:moveTo>
                    <a:pt x="184" y="235"/>
                  </a:moveTo>
                  <a:lnTo>
                    <a:pt x="221" y="235"/>
                  </a:lnTo>
                  <a:lnTo>
                    <a:pt x="221" y="269"/>
                  </a:lnTo>
                  <a:lnTo>
                    <a:pt x="184" y="269"/>
                  </a:lnTo>
                  <a:lnTo>
                    <a:pt x="184" y="235"/>
                  </a:lnTo>
                  <a:close/>
                  <a:moveTo>
                    <a:pt x="76" y="232"/>
                  </a:moveTo>
                  <a:lnTo>
                    <a:pt x="113" y="232"/>
                  </a:lnTo>
                  <a:lnTo>
                    <a:pt x="113" y="269"/>
                  </a:lnTo>
                  <a:lnTo>
                    <a:pt x="76" y="269"/>
                  </a:lnTo>
                  <a:lnTo>
                    <a:pt x="76" y="232"/>
                  </a:lnTo>
                  <a:close/>
                  <a:moveTo>
                    <a:pt x="128" y="232"/>
                  </a:moveTo>
                  <a:lnTo>
                    <a:pt x="164" y="232"/>
                  </a:lnTo>
                  <a:lnTo>
                    <a:pt x="164" y="269"/>
                  </a:lnTo>
                  <a:lnTo>
                    <a:pt x="128" y="269"/>
                  </a:lnTo>
                  <a:lnTo>
                    <a:pt x="128" y="232"/>
                  </a:lnTo>
                  <a:close/>
                  <a:moveTo>
                    <a:pt x="20" y="181"/>
                  </a:moveTo>
                  <a:lnTo>
                    <a:pt x="56" y="181"/>
                  </a:lnTo>
                  <a:lnTo>
                    <a:pt x="56" y="215"/>
                  </a:lnTo>
                  <a:lnTo>
                    <a:pt x="20" y="215"/>
                  </a:lnTo>
                  <a:lnTo>
                    <a:pt x="20" y="181"/>
                  </a:lnTo>
                  <a:close/>
                  <a:moveTo>
                    <a:pt x="184" y="181"/>
                  </a:moveTo>
                  <a:lnTo>
                    <a:pt x="221" y="181"/>
                  </a:lnTo>
                  <a:lnTo>
                    <a:pt x="221" y="215"/>
                  </a:lnTo>
                  <a:lnTo>
                    <a:pt x="184" y="215"/>
                  </a:lnTo>
                  <a:lnTo>
                    <a:pt x="184" y="181"/>
                  </a:lnTo>
                  <a:close/>
                  <a:moveTo>
                    <a:pt x="76" y="179"/>
                  </a:moveTo>
                  <a:lnTo>
                    <a:pt x="113" y="179"/>
                  </a:lnTo>
                  <a:lnTo>
                    <a:pt x="113" y="218"/>
                  </a:lnTo>
                  <a:lnTo>
                    <a:pt x="76" y="218"/>
                  </a:lnTo>
                  <a:lnTo>
                    <a:pt x="76" y="179"/>
                  </a:lnTo>
                  <a:close/>
                  <a:moveTo>
                    <a:pt x="128" y="179"/>
                  </a:moveTo>
                  <a:lnTo>
                    <a:pt x="164" y="179"/>
                  </a:lnTo>
                  <a:lnTo>
                    <a:pt x="164" y="218"/>
                  </a:lnTo>
                  <a:lnTo>
                    <a:pt x="128" y="218"/>
                  </a:lnTo>
                  <a:lnTo>
                    <a:pt x="128" y="179"/>
                  </a:lnTo>
                  <a:close/>
                  <a:moveTo>
                    <a:pt x="184" y="127"/>
                  </a:moveTo>
                  <a:lnTo>
                    <a:pt x="221" y="127"/>
                  </a:lnTo>
                  <a:lnTo>
                    <a:pt x="221" y="161"/>
                  </a:lnTo>
                  <a:lnTo>
                    <a:pt x="184" y="161"/>
                  </a:lnTo>
                  <a:lnTo>
                    <a:pt x="184" y="127"/>
                  </a:lnTo>
                  <a:close/>
                  <a:moveTo>
                    <a:pt x="76" y="125"/>
                  </a:moveTo>
                  <a:lnTo>
                    <a:pt x="113" y="125"/>
                  </a:lnTo>
                  <a:lnTo>
                    <a:pt x="113" y="164"/>
                  </a:lnTo>
                  <a:lnTo>
                    <a:pt x="76" y="164"/>
                  </a:lnTo>
                  <a:lnTo>
                    <a:pt x="76" y="125"/>
                  </a:lnTo>
                  <a:close/>
                  <a:moveTo>
                    <a:pt x="128" y="125"/>
                  </a:moveTo>
                  <a:lnTo>
                    <a:pt x="164" y="125"/>
                  </a:lnTo>
                  <a:lnTo>
                    <a:pt x="164" y="164"/>
                  </a:lnTo>
                  <a:lnTo>
                    <a:pt x="128" y="164"/>
                  </a:lnTo>
                  <a:lnTo>
                    <a:pt x="128" y="125"/>
                  </a:lnTo>
                  <a:close/>
                  <a:moveTo>
                    <a:pt x="76" y="71"/>
                  </a:moveTo>
                  <a:lnTo>
                    <a:pt x="113" y="71"/>
                  </a:lnTo>
                  <a:lnTo>
                    <a:pt x="113" y="110"/>
                  </a:lnTo>
                  <a:lnTo>
                    <a:pt x="76" y="110"/>
                  </a:lnTo>
                  <a:lnTo>
                    <a:pt x="76" y="71"/>
                  </a:lnTo>
                  <a:close/>
                  <a:moveTo>
                    <a:pt x="128" y="71"/>
                  </a:moveTo>
                  <a:lnTo>
                    <a:pt x="164" y="71"/>
                  </a:lnTo>
                  <a:lnTo>
                    <a:pt x="164" y="110"/>
                  </a:lnTo>
                  <a:lnTo>
                    <a:pt x="128" y="110"/>
                  </a:lnTo>
                  <a:lnTo>
                    <a:pt x="128" y="71"/>
                  </a:lnTo>
                  <a:close/>
                  <a:moveTo>
                    <a:pt x="76" y="19"/>
                  </a:moveTo>
                  <a:lnTo>
                    <a:pt x="113" y="19"/>
                  </a:lnTo>
                  <a:lnTo>
                    <a:pt x="113" y="56"/>
                  </a:lnTo>
                  <a:lnTo>
                    <a:pt x="76" y="56"/>
                  </a:lnTo>
                  <a:lnTo>
                    <a:pt x="76" y="19"/>
                  </a:lnTo>
                  <a:close/>
                  <a:moveTo>
                    <a:pt x="128" y="19"/>
                  </a:moveTo>
                  <a:lnTo>
                    <a:pt x="164" y="19"/>
                  </a:lnTo>
                  <a:lnTo>
                    <a:pt x="164" y="56"/>
                  </a:lnTo>
                  <a:lnTo>
                    <a:pt x="128" y="56"/>
                  </a:lnTo>
                  <a:lnTo>
                    <a:pt x="128" y="19"/>
                  </a:lnTo>
                  <a:close/>
                  <a:moveTo>
                    <a:pt x="56" y="0"/>
                  </a:moveTo>
                  <a:lnTo>
                    <a:pt x="56" y="161"/>
                  </a:lnTo>
                  <a:lnTo>
                    <a:pt x="0" y="161"/>
                  </a:lnTo>
                  <a:lnTo>
                    <a:pt x="0" y="289"/>
                  </a:lnTo>
                  <a:lnTo>
                    <a:pt x="240" y="289"/>
                  </a:lnTo>
                  <a:lnTo>
                    <a:pt x="240" y="107"/>
                  </a:lnTo>
                  <a:lnTo>
                    <a:pt x="184" y="107"/>
                  </a:lnTo>
                  <a:lnTo>
                    <a:pt x="184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0C6FC7D6-10D7-4832-A145-D07986181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7063" y="503238"/>
              <a:ext cx="381000" cy="458788"/>
            </a:xfrm>
            <a:custGeom>
              <a:avLst/>
              <a:gdLst>
                <a:gd name="T0" fmla="*/ 56 w 240"/>
                <a:gd name="T1" fmla="*/ 235 h 289"/>
                <a:gd name="T2" fmla="*/ 20 w 240"/>
                <a:gd name="T3" fmla="*/ 269 h 289"/>
                <a:gd name="T4" fmla="*/ 184 w 240"/>
                <a:gd name="T5" fmla="*/ 235 h 289"/>
                <a:gd name="T6" fmla="*/ 221 w 240"/>
                <a:gd name="T7" fmla="*/ 269 h 289"/>
                <a:gd name="T8" fmla="*/ 184 w 240"/>
                <a:gd name="T9" fmla="*/ 235 h 289"/>
                <a:gd name="T10" fmla="*/ 113 w 240"/>
                <a:gd name="T11" fmla="*/ 232 h 289"/>
                <a:gd name="T12" fmla="*/ 76 w 240"/>
                <a:gd name="T13" fmla="*/ 269 h 289"/>
                <a:gd name="T14" fmla="*/ 128 w 240"/>
                <a:gd name="T15" fmla="*/ 232 h 289"/>
                <a:gd name="T16" fmla="*/ 164 w 240"/>
                <a:gd name="T17" fmla="*/ 269 h 289"/>
                <a:gd name="T18" fmla="*/ 128 w 240"/>
                <a:gd name="T19" fmla="*/ 232 h 289"/>
                <a:gd name="T20" fmla="*/ 56 w 240"/>
                <a:gd name="T21" fmla="*/ 181 h 289"/>
                <a:gd name="T22" fmla="*/ 20 w 240"/>
                <a:gd name="T23" fmla="*/ 215 h 289"/>
                <a:gd name="T24" fmla="*/ 184 w 240"/>
                <a:gd name="T25" fmla="*/ 181 h 289"/>
                <a:gd name="T26" fmla="*/ 221 w 240"/>
                <a:gd name="T27" fmla="*/ 215 h 289"/>
                <a:gd name="T28" fmla="*/ 184 w 240"/>
                <a:gd name="T29" fmla="*/ 181 h 289"/>
                <a:gd name="T30" fmla="*/ 113 w 240"/>
                <a:gd name="T31" fmla="*/ 179 h 289"/>
                <a:gd name="T32" fmla="*/ 76 w 240"/>
                <a:gd name="T33" fmla="*/ 218 h 289"/>
                <a:gd name="T34" fmla="*/ 128 w 240"/>
                <a:gd name="T35" fmla="*/ 179 h 289"/>
                <a:gd name="T36" fmla="*/ 164 w 240"/>
                <a:gd name="T37" fmla="*/ 218 h 289"/>
                <a:gd name="T38" fmla="*/ 128 w 240"/>
                <a:gd name="T39" fmla="*/ 179 h 289"/>
                <a:gd name="T40" fmla="*/ 221 w 240"/>
                <a:gd name="T41" fmla="*/ 127 h 289"/>
                <a:gd name="T42" fmla="*/ 184 w 240"/>
                <a:gd name="T43" fmla="*/ 161 h 289"/>
                <a:gd name="T44" fmla="*/ 76 w 240"/>
                <a:gd name="T45" fmla="*/ 125 h 289"/>
                <a:gd name="T46" fmla="*/ 113 w 240"/>
                <a:gd name="T47" fmla="*/ 164 h 289"/>
                <a:gd name="T48" fmla="*/ 76 w 240"/>
                <a:gd name="T49" fmla="*/ 125 h 289"/>
                <a:gd name="T50" fmla="*/ 164 w 240"/>
                <a:gd name="T51" fmla="*/ 125 h 289"/>
                <a:gd name="T52" fmla="*/ 128 w 240"/>
                <a:gd name="T53" fmla="*/ 164 h 289"/>
                <a:gd name="T54" fmla="*/ 76 w 240"/>
                <a:gd name="T55" fmla="*/ 71 h 289"/>
                <a:gd name="T56" fmla="*/ 113 w 240"/>
                <a:gd name="T57" fmla="*/ 110 h 289"/>
                <a:gd name="T58" fmla="*/ 76 w 240"/>
                <a:gd name="T59" fmla="*/ 71 h 289"/>
                <a:gd name="T60" fmla="*/ 164 w 240"/>
                <a:gd name="T61" fmla="*/ 71 h 289"/>
                <a:gd name="T62" fmla="*/ 128 w 240"/>
                <a:gd name="T63" fmla="*/ 110 h 289"/>
                <a:gd name="T64" fmla="*/ 76 w 240"/>
                <a:gd name="T65" fmla="*/ 19 h 289"/>
                <a:gd name="T66" fmla="*/ 113 w 240"/>
                <a:gd name="T67" fmla="*/ 56 h 289"/>
                <a:gd name="T68" fmla="*/ 76 w 240"/>
                <a:gd name="T69" fmla="*/ 19 h 289"/>
                <a:gd name="T70" fmla="*/ 164 w 240"/>
                <a:gd name="T71" fmla="*/ 19 h 289"/>
                <a:gd name="T72" fmla="*/ 128 w 240"/>
                <a:gd name="T73" fmla="*/ 56 h 289"/>
                <a:gd name="T74" fmla="*/ 56 w 240"/>
                <a:gd name="T75" fmla="*/ 0 h 289"/>
                <a:gd name="T76" fmla="*/ 0 w 240"/>
                <a:gd name="T77" fmla="*/ 161 h 289"/>
                <a:gd name="T78" fmla="*/ 240 w 240"/>
                <a:gd name="T79" fmla="*/ 289 h 289"/>
                <a:gd name="T80" fmla="*/ 184 w 240"/>
                <a:gd name="T81" fmla="*/ 107 h 289"/>
                <a:gd name="T82" fmla="*/ 56 w 240"/>
                <a:gd name="T8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0" h="289">
                  <a:moveTo>
                    <a:pt x="20" y="235"/>
                  </a:moveTo>
                  <a:lnTo>
                    <a:pt x="56" y="235"/>
                  </a:lnTo>
                  <a:lnTo>
                    <a:pt x="56" y="269"/>
                  </a:lnTo>
                  <a:lnTo>
                    <a:pt x="20" y="269"/>
                  </a:lnTo>
                  <a:lnTo>
                    <a:pt x="20" y="235"/>
                  </a:lnTo>
                  <a:close/>
                  <a:moveTo>
                    <a:pt x="184" y="235"/>
                  </a:moveTo>
                  <a:lnTo>
                    <a:pt x="221" y="235"/>
                  </a:lnTo>
                  <a:lnTo>
                    <a:pt x="221" y="269"/>
                  </a:lnTo>
                  <a:lnTo>
                    <a:pt x="184" y="269"/>
                  </a:lnTo>
                  <a:lnTo>
                    <a:pt x="184" y="235"/>
                  </a:lnTo>
                  <a:close/>
                  <a:moveTo>
                    <a:pt x="76" y="232"/>
                  </a:moveTo>
                  <a:lnTo>
                    <a:pt x="113" y="232"/>
                  </a:lnTo>
                  <a:lnTo>
                    <a:pt x="113" y="269"/>
                  </a:lnTo>
                  <a:lnTo>
                    <a:pt x="76" y="269"/>
                  </a:lnTo>
                  <a:lnTo>
                    <a:pt x="76" y="232"/>
                  </a:lnTo>
                  <a:close/>
                  <a:moveTo>
                    <a:pt x="128" y="232"/>
                  </a:moveTo>
                  <a:lnTo>
                    <a:pt x="164" y="232"/>
                  </a:lnTo>
                  <a:lnTo>
                    <a:pt x="164" y="269"/>
                  </a:lnTo>
                  <a:lnTo>
                    <a:pt x="128" y="269"/>
                  </a:lnTo>
                  <a:lnTo>
                    <a:pt x="128" y="232"/>
                  </a:lnTo>
                  <a:close/>
                  <a:moveTo>
                    <a:pt x="20" y="181"/>
                  </a:moveTo>
                  <a:lnTo>
                    <a:pt x="56" y="181"/>
                  </a:lnTo>
                  <a:lnTo>
                    <a:pt x="56" y="215"/>
                  </a:lnTo>
                  <a:lnTo>
                    <a:pt x="20" y="215"/>
                  </a:lnTo>
                  <a:lnTo>
                    <a:pt x="20" y="181"/>
                  </a:lnTo>
                  <a:close/>
                  <a:moveTo>
                    <a:pt x="184" y="181"/>
                  </a:moveTo>
                  <a:lnTo>
                    <a:pt x="221" y="181"/>
                  </a:lnTo>
                  <a:lnTo>
                    <a:pt x="221" y="215"/>
                  </a:lnTo>
                  <a:lnTo>
                    <a:pt x="184" y="215"/>
                  </a:lnTo>
                  <a:lnTo>
                    <a:pt x="184" y="181"/>
                  </a:lnTo>
                  <a:close/>
                  <a:moveTo>
                    <a:pt x="76" y="179"/>
                  </a:moveTo>
                  <a:lnTo>
                    <a:pt x="113" y="179"/>
                  </a:lnTo>
                  <a:lnTo>
                    <a:pt x="113" y="218"/>
                  </a:lnTo>
                  <a:lnTo>
                    <a:pt x="76" y="218"/>
                  </a:lnTo>
                  <a:lnTo>
                    <a:pt x="76" y="179"/>
                  </a:lnTo>
                  <a:close/>
                  <a:moveTo>
                    <a:pt x="128" y="179"/>
                  </a:moveTo>
                  <a:lnTo>
                    <a:pt x="164" y="179"/>
                  </a:lnTo>
                  <a:lnTo>
                    <a:pt x="164" y="218"/>
                  </a:lnTo>
                  <a:lnTo>
                    <a:pt x="128" y="218"/>
                  </a:lnTo>
                  <a:lnTo>
                    <a:pt x="128" y="179"/>
                  </a:lnTo>
                  <a:close/>
                  <a:moveTo>
                    <a:pt x="184" y="127"/>
                  </a:moveTo>
                  <a:lnTo>
                    <a:pt x="221" y="127"/>
                  </a:lnTo>
                  <a:lnTo>
                    <a:pt x="221" y="161"/>
                  </a:lnTo>
                  <a:lnTo>
                    <a:pt x="184" y="161"/>
                  </a:lnTo>
                  <a:lnTo>
                    <a:pt x="184" y="127"/>
                  </a:lnTo>
                  <a:close/>
                  <a:moveTo>
                    <a:pt x="76" y="125"/>
                  </a:moveTo>
                  <a:lnTo>
                    <a:pt x="113" y="125"/>
                  </a:lnTo>
                  <a:lnTo>
                    <a:pt x="113" y="164"/>
                  </a:lnTo>
                  <a:lnTo>
                    <a:pt x="76" y="164"/>
                  </a:lnTo>
                  <a:lnTo>
                    <a:pt x="76" y="125"/>
                  </a:lnTo>
                  <a:close/>
                  <a:moveTo>
                    <a:pt x="128" y="125"/>
                  </a:moveTo>
                  <a:lnTo>
                    <a:pt x="164" y="125"/>
                  </a:lnTo>
                  <a:lnTo>
                    <a:pt x="164" y="164"/>
                  </a:lnTo>
                  <a:lnTo>
                    <a:pt x="128" y="164"/>
                  </a:lnTo>
                  <a:lnTo>
                    <a:pt x="128" y="125"/>
                  </a:lnTo>
                  <a:close/>
                  <a:moveTo>
                    <a:pt x="76" y="71"/>
                  </a:moveTo>
                  <a:lnTo>
                    <a:pt x="113" y="71"/>
                  </a:lnTo>
                  <a:lnTo>
                    <a:pt x="113" y="110"/>
                  </a:lnTo>
                  <a:lnTo>
                    <a:pt x="76" y="110"/>
                  </a:lnTo>
                  <a:lnTo>
                    <a:pt x="76" y="71"/>
                  </a:lnTo>
                  <a:close/>
                  <a:moveTo>
                    <a:pt x="128" y="71"/>
                  </a:moveTo>
                  <a:lnTo>
                    <a:pt x="164" y="71"/>
                  </a:lnTo>
                  <a:lnTo>
                    <a:pt x="164" y="110"/>
                  </a:lnTo>
                  <a:lnTo>
                    <a:pt x="128" y="110"/>
                  </a:lnTo>
                  <a:lnTo>
                    <a:pt x="128" y="71"/>
                  </a:lnTo>
                  <a:close/>
                  <a:moveTo>
                    <a:pt x="76" y="19"/>
                  </a:moveTo>
                  <a:lnTo>
                    <a:pt x="113" y="19"/>
                  </a:lnTo>
                  <a:lnTo>
                    <a:pt x="113" y="56"/>
                  </a:lnTo>
                  <a:lnTo>
                    <a:pt x="76" y="56"/>
                  </a:lnTo>
                  <a:lnTo>
                    <a:pt x="76" y="19"/>
                  </a:lnTo>
                  <a:close/>
                  <a:moveTo>
                    <a:pt x="128" y="19"/>
                  </a:moveTo>
                  <a:lnTo>
                    <a:pt x="164" y="19"/>
                  </a:lnTo>
                  <a:lnTo>
                    <a:pt x="164" y="56"/>
                  </a:lnTo>
                  <a:lnTo>
                    <a:pt x="128" y="56"/>
                  </a:lnTo>
                  <a:lnTo>
                    <a:pt x="128" y="19"/>
                  </a:lnTo>
                  <a:close/>
                  <a:moveTo>
                    <a:pt x="56" y="0"/>
                  </a:moveTo>
                  <a:lnTo>
                    <a:pt x="56" y="161"/>
                  </a:lnTo>
                  <a:lnTo>
                    <a:pt x="0" y="161"/>
                  </a:lnTo>
                  <a:lnTo>
                    <a:pt x="0" y="289"/>
                  </a:lnTo>
                  <a:lnTo>
                    <a:pt x="240" y="289"/>
                  </a:lnTo>
                  <a:lnTo>
                    <a:pt x="240" y="107"/>
                  </a:lnTo>
                  <a:lnTo>
                    <a:pt x="184" y="107"/>
                  </a:lnTo>
                  <a:lnTo>
                    <a:pt x="184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1FE8288-F211-4968-8606-E8B3D5A8D174}"/>
              </a:ext>
            </a:extLst>
          </p:cNvPr>
          <p:cNvGrpSpPr/>
          <p:nvPr/>
        </p:nvGrpSpPr>
        <p:grpSpPr>
          <a:xfrm>
            <a:off x="1423988" y="1587500"/>
            <a:ext cx="758825" cy="758825"/>
            <a:chOff x="1423988" y="1554163"/>
            <a:chExt cx="758825" cy="758825"/>
          </a:xfrm>
        </p:grpSpPr>
        <p:sp>
          <p:nvSpPr>
            <p:cNvPr id="64" name="AutoShape 45">
              <a:extLst>
                <a:ext uri="{FF2B5EF4-FFF2-40B4-BE49-F238E27FC236}">
                  <a16:creationId xmlns:a16="http://schemas.microsoft.com/office/drawing/2014/main" id="{45617B27-9948-4A3D-875B-E4D68A5DD97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23988" y="15541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F6970E7C-D59B-4130-AF44-CE89D56783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7163" y="155733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2B56AEC6-7452-4859-84E1-4C184041D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6388" y="1717676"/>
              <a:ext cx="458788" cy="436563"/>
            </a:xfrm>
            <a:custGeom>
              <a:avLst/>
              <a:gdLst>
                <a:gd name="T0" fmla="*/ 117 w 118"/>
                <a:gd name="T1" fmla="*/ 85 h 112"/>
                <a:gd name="T2" fmla="*/ 107 w 118"/>
                <a:gd name="T3" fmla="*/ 79 h 112"/>
                <a:gd name="T4" fmla="*/ 101 w 118"/>
                <a:gd name="T5" fmla="*/ 20 h 112"/>
                <a:gd name="T6" fmla="*/ 40 w 118"/>
                <a:gd name="T7" fmla="*/ 0 h 112"/>
                <a:gd name="T8" fmla="*/ 15 w 118"/>
                <a:gd name="T9" fmla="*/ 61 h 112"/>
                <a:gd name="T10" fmla="*/ 0 w 118"/>
                <a:gd name="T11" fmla="*/ 72 h 112"/>
                <a:gd name="T12" fmla="*/ 74 w 118"/>
                <a:gd name="T13" fmla="*/ 110 h 112"/>
                <a:gd name="T14" fmla="*/ 118 w 118"/>
                <a:gd name="T15" fmla="*/ 95 h 112"/>
                <a:gd name="T16" fmla="*/ 93 w 118"/>
                <a:gd name="T17" fmla="*/ 26 h 112"/>
                <a:gd name="T18" fmla="*/ 85 w 118"/>
                <a:gd name="T19" fmla="*/ 36 h 112"/>
                <a:gd name="T20" fmla="*/ 85 w 118"/>
                <a:gd name="T21" fmla="*/ 40 h 112"/>
                <a:gd name="T22" fmla="*/ 93 w 118"/>
                <a:gd name="T23" fmla="*/ 50 h 112"/>
                <a:gd name="T24" fmla="*/ 84 w 118"/>
                <a:gd name="T25" fmla="*/ 55 h 112"/>
                <a:gd name="T26" fmla="*/ 94 w 118"/>
                <a:gd name="T27" fmla="*/ 63 h 112"/>
                <a:gd name="T28" fmla="*/ 84 w 118"/>
                <a:gd name="T29" fmla="*/ 55 h 112"/>
                <a:gd name="T30" fmla="*/ 94 w 118"/>
                <a:gd name="T31" fmla="*/ 69 h 112"/>
                <a:gd name="T32" fmla="*/ 84 w 118"/>
                <a:gd name="T33" fmla="*/ 78 h 112"/>
                <a:gd name="T34" fmla="*/ 77 w 118"/>
                <a:gd name="T35" fmla="*/ 6 h 112"/>
                <a:gd name="T36" fmla="*/ 65 w 118"/>
                <a:gd name="T37" fmla="*/ 18 h 112"/>
                <a:gd name="T38" fmla="*/ 65 w 118"/>
                <a:gd name="T39" fmla="*/ 22 h 112"/>
                <a:gd name="T40" fmla="*/ 77 w 118"/>
                <a:gd name="T41" fmla="*/ 36 h 112"/>
                <a:gd name="T42" fmla="*/ 64 w 118"/>
                <a:gd name="T43" fmla="*/ 41 h 112"/>
                <a:gd name="T44" fmla="*/ 78 w 118"/>
                <a:gd name="T45" fmla="*/ 52 h 112"/>
                <a:gd name="T46" fmla="*/ 64 w 118"/>
                <a:gd name="T47" fmla="*/ 41 h 112"/>
                <a:gd name="T48" fmla="*/ 78 w 118"/>
                <a:gd name="T49" fmla="*/ 58 h 112"/>
                <a:gd name="T50" fmla="*/ 77 w 118"/>
                <a:gd name="T51" fmla="*/ 67 h 112"/>
                <a:gd name="T52" fmla="*/ 65 w 118"/>
                <a:gd name="T53" fmla="*/ 66 h 112"/>
                <a:gd name="T54" fmla="*/ 46 w 118"/>
                <a:gd name="T55" fmla="*/ 7 h 112"/>
                <a:gd name="T56" fmla="*/ 60 w 118"/>
                <a:gd name="T57" fmla="*/ 17 h 112"/>
                <a:gd name="T58" fmla="*/ 46 w 118"/>
                <a:gd name="T59" fmla="*/ 7 h 112"/>
                <a:gd name="T60" fmla="*/ 60 w 118"/>
                <a:gd name="T61" fmla="*/ 23 h 112"/>
                <a:gd name="T62" fmla="*/ 46 w 118"/>
                <a:gd name="T63" fmla="*/ 35 h 112"/>
                <a:gd name="T64" fmla="*/ 59 w 118"/>
                <a:gd name="T65" fmla="*/ 40 h 112"/>
                <a:gd name="T66" fmla="*/ 47 w 118"/>
                <a:gd name="T67" fmla="*/ 53 h 112"/>
                <a:gd name="T68" fmla="*/ 47 w 118"/>
                <a:gd name="T69" fmla="*/ 57 h 112"/>
                <a:gd name="T70" fmla="*/ 59 w 118"/>
                <a:gd name="T71" fmla="*/ 66 h 112"/>
                <a:gd name="T72" fmla="*/ 53 w 118"/>
                <a:gd name="T73" fmla="*/ 66 h 112"/>
                <a:gd name="T74" fmla="*/ 46 w 118"/>
                <a:gd name="T75" fmla="*/ 58 h 112"/>
                <a:gd name="T76" fmla="*/ 40 w 118"/>
                <a:gd name="T77" fmla="*/ 42 h 112"/>
                <a:gd name="T78" fmla="*/ 38 w 118"/>
                <a:gd name="T79" fmla="*/ 60 h 112"/>
                <a:gd name="T80" fmla="*/ 32 w 118"/>
                <a:gd name="T81" fmla="*/ 42 h 112"/>
                <a:gd name="T82" fmla="*/ 28 w 118"/>
                <a:gd name="T83" fmla="*/ 42 h 112"/>
                <a:gd name="T84" fmla="*/ 22 w 118"/>
                <a:gd name="T85" fmla="*/ 60 h 112"/>
                <a:gd name="T86" fmla="*/ 21 w 118"/>
                <a:gd name="T87" fmla="*/ 42 h 112"/>
                <a:gd name="T88" fmla="*/ 83 w 118"/>
                <a:gd name="T89" fmla="*/ 101 h 112"/>
                <a:gd name="T90" fmla="*/ 7 w 118"/>
                <a:gd name="T91" fmla="*/ 106 h 112"/>
                <a:gd name="T92" fmla="*/ 11 w 118"/>
                <a:gd name="T93" fmla="*/ 71 h 112"/>
                <a:gd name="T94" fmla="*/ 31 w 118"/>
                <a:gd name="T95" fmla="*/ 65 h 112"/>
                <a:gd name="T96" fmla="*/ 49 w 118"/>
                <a:gd name="T97" fmla="*/ 71 h 112"/>
                <a:gd name="T98" fmla="*/ 60 w 118"/>
                <a:gd name="T99" fmla="*/ 72 h 112"/>
                <a:gd name="T100" fmla="*/ 76 w 118"/>
                <a:gd name="T101" fmla="*/ 75 h 112"/>
                <a:gd name="T102" fmla="*/ 78 w 118"/>
                <a:gd name="T103" fmla="*/ 81 h 112"/>
                <a:gd name="T104" fmla="*/ 75 w 118"/>
                <a:gd name="T105" fmla="*/ 84 h 112"/>
                <a:gd name="T106" fmla="*/ 57 w 118"/>
                <a:gd name="T107" fmla="*/ 85 h 112"/>
                <a:gd name="T108" fmla="*/ 42 w 118"/>
                <a:gd name="T109" fmla="*/ 90 h 112"/>
                <a:gd name="T110" fmla="*/ 44 w 118"/>
                <a:gd name="T111" fmla="*/ 94 h 112"/>
                <a:gd name="T112" fmla="*/ 55 w 118"/>
                <a:gd name="T113" fmla="*/ 91 h 112"/>
                <a:gd name="T114" fmla="*/ 77 w 118"/>
                <a:gd name="T115" fmla="*/ 90 h 112"/>
                <a:gd name="T116" fmla="*/ 83 w 118"/>
                <a:gd name="T117" fmla="*/ 85 h 112"/>
                <a:gd name="T118" fmla="*/ 111 w 118"/>
                <a:gd name="T119" fmla="*/ 8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12">
                  <a:moveTo>
                    <a:pt x="118" y="92"/>
                  </a:moveTo>
                  <a:cubicBezTo>
                    <a:pt x="118" y="91"/>
                    <a:pt x="118" y="91"/>
                    <a:pt x="118" y="91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6" y="83"/>
                    <a:pt x="116" y="83"/>
                    <a:pt x="116" y="83"/>
                  </a:cubicBezTo>
                  <a:cubicBezTo>
                    <a:pt x="113" y="81"/>
                    <a:pt x="113" y="81"/>
                    <a:pt x="113" y="81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1" y="79"/>
                    <a:pt x="101" y="78"/>
                    <a:pt x="101" y="78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20"/>
                    <a:pt x="84" y="20"/>
                    <a:pt x="84" y="1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39" y="35"/>
                    <a:pt x="39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2"/>
                    <a:pt x="14" y="62"/>
                    <a:pt x="14" y="62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87" y="106"/>
                    <a:pt x="87" y="106"/>
                    <a:pt x="87" y="106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8" y="95"/>
                    <a:pt x="118" y="95"/>
                    <a:pt x="118" y="95"/>
                  </a:cubicBezTo>
                  <a:lnTo>
                    <a:pt x="118" y="92"/>
                  </a:lnTo>
                  <a:close/>
                  <a:moveTo>
                    <a:pt x="84" y="27"/>
                  </a:moveTo>
                  <a:cubicBezTo>
                    <a:pt x="84" y="27"/>
                    <a:pt x="84" y="26"/>
                    <a:pt x="85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6"/>
                    <a:pt x="93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4" y="36"/>
                    <a:pt x="84" y="35"/>
                    <a:pt x="84" y="35"/>
                  </a:cubicBezTo>
                  <a:lnTo>
                    <a:pt x="84" y="27"/>
                  </a:lnTo>
                  <a:close/>
                  <a:moveTo>
                    <a:pt x="84" y="41"/>
                  </a:moveTo>
                  <a:cubicBezTo>
                    <a:pt x="84" y="40"/>
                    <a:pt x="84" y="40"/>
                    <a:pt x="85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4" y="41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50"/>
                    <a:pt x="93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lnTo>
                    <a:pt x="84" y="41"/>
                  </a:lnTo>
                  <a:close/>
                  <a:moveTo>
                    <a:pt x="84" y="55"/>
                  </a:moveTo>
                  <a:cubicBezTo>
                    <a:pt x="84" y="54"/>
                    <a:pt x="84" y="54"/>
                    <a:pt x="85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4" y="54"/>
                    <a:pt x="94" y="54"/>
                    <a:pt x="94" y="55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94" y="64"/>
                    <a:pt x="94" y="64"/>
                    <a:pt x="93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4" y="64"/>
                    <a:pt x="84" y="64"/>
                    <a:pt x="84" y="63"/>
                  </a:cubicBezTo>
                  <a:lnTo>
                    <a:pt x="84" y="55"/>
                  </a:lnTo>
                  <a:close/>
                  <a:moveTo>
                    <a:pt x="84" y="69"/>
                  </a:moveTo>
                  <a:cubicBezTo>
                    <a:pt x="84" y="69"/>
                    <a:pt x="84" y="68"/>
                    <a:pt x="85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4" y="68"/>
                    <a:pt x="94" y="69"/>
                    <a:pt x="94" y="69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8"/>
                    <a:pt x="94" y="79"/>
                    <a:pt x="93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4" y="79"/>
                    <a:pt x="84" y="78"/>
                    <a:pt x="84" y="78"/>
                  </a:cubicBezTo>
                  <a:lnTo>
                    <a:pt x="84" y="69"/>
                  </a:lnTo>
                  <a:close/>
                  <a:moveTo>
                    <a:pt x="64" y="7"/>
                  </a:moveTo>
                  <a:cubicBezTo>
                    <a:pt x="64" y="6"/>
                    <a:pt x="64" y="6"/>
                    <a:pt x="65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6"/>
                    <a:pt x="78" y="6"/>
                    <a:pt x="78" y="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8"/>
                    <a:pt x="77" y="18"/>
                    <a:pt x="77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7"/>
                  </a:cubicBezTo>
                  <a:lnTo>
                    <a:pt x="64" y="7"/>
                  </a:lnTo>
                  <a:close/>
                  <a:moveTo>
                    <a:pt x="64" y="23"/>
                  </a:moveTo>
                  <a:cubicBezTo>
                    <a:pt x="64" y="23"/>
                    <a:pt x="64" y="22"/>
                    <a:pt x="65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8" y="23"/>
                    <a:pt x="78" y="23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6"/>
                    <a:pt x="77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4" y="36"/>
                    <a:pt x="64" y="35"/>
                    <a:pt x="64" y="35"/>
                  </a:cubicBezTo>
                  <a:lnTo>
                    <a:pt x="64" y="23"/>
                  </a:lnTo>
                  <a:close/>
                  <a:moveTo>
                    <a:pt x="64" y="41"/>
                  </a:moveTo>
                  <a:cubicBezTo>
                    <a:pt x="64" y="40"/>
                    <a:pt x="64" y="40"/>
                    <a:pt x="65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8" y="40"/>
                    <a:pt x="78" y="41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3"/>
                    <a:pt x="77" y="53"/>
                    <a:pt x="77" y="53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3"/>
                    <a:pt x="64" y="53"/>
                    <a:pt x="64" y="52"/>
                  </a:cubicBezTo>
                  <a:lnTo>
                    <a:pt x="64" y="41"/>
                  </a:lnTo>
                  <a:close/>
                  <a:moveTo>
                    <a:pt x="64" y="58"/>
                  </a:moveTo>
                  <a:cubicBezTo>
                    <a:pt x="64" y="58"/>
                    <a:pt x="64" y="57"/>
                    <a:pt x="65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8"/>
                    <a:pt x="78" y="58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7"/>
                    <a:pt x="78" y="67"/>
                    <a:pt x="77" y="67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4" y="66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lnTo>
                    <a:pt x="64" y="58"/>
                  </a:lnTo>
                  <a:close/>
                  <a:moveTo>
                    <a:pt x="46" y="7"/>
                  </a:moveTo>
                  <a:cubicBezTo>
                    <a:pt x="46" y="6"/>
                    <a:pt x="46" y="6"/>
                    <a:pt x="47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60" y="6"/>
                    <a:pt x="60" y="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59" y="18"/>
                    <a:pt x="59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8"/>
                    <a:pt x="46" y="18"/>
                    <a:pt x="46" y="17"/>
                  </a:cubicBezTo>
                  <a:lnTo>
                    <a:pt x="46" y="7"/>
                  </a:ln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7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60" y="23"/>
                    <a:pt x="60" y="23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5"/>
                    <a:pt x="46" y="35"/>
                  </a:cubicBezTo>
                  <a:lnTo>
                    <a:pt x="46" y="23"/>
                  </a:lnTo>
                  <a:close/>
                  <a:moveTo>
                    <a:pt x="46" y="41"/>
                  </a:moveTo>
                  <a:cubicBezTo>
                    <a:pt x="46" y="40"/>
                    <a:pt x="46" y="40"/>
                    <a:pt x="47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9" y="40"/>
                    <a:pt x="60" y="40"/>
                    <a:pt x="60" y="41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3"/>
                    <a:pt x="59" y="53"/>
                    <a:pt x="59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6" y="53"/>
                    <a:pt x="46" y="53"/>
                    <a:pt x="46" y="52"/>
                  </a:cubicBezTo>
                  <a:lnTo>
                    <a:pt x="46" y="41"/>
                  </a:lnTo>
                  <a:close/>
                  <a:moveTo>
                    <a:pt x="46" y="58"/>
                  </a:moveTo>
                  <a:cubicBezTo>
                    <a:pt x="46" y="58"/>
                    <a:pt x="46" y="57"/>
                    <a:pt x="47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60" y="58"/>
                    <a:pt x="60" y="5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59" y="66"/>
                    <a:pt x="59" y="66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2"/>
                  </a:cubicBezTo>
                  <a:lnTo>
                    <a:pt x="46" y="58"/>
                  </a:lnTo>
                  <a:close/>
                  <a:moveTo>
                    <a:pt x="32" y="42"/>
                  </a:moveTo>
                  <a:cubicBezTo>
                    <a:pt x="32" y="41"/>
                    <a:pt x="33" y="41"/>
                    <a:pt x="33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40" y="41"/>
                    <a:pt x="40" y="42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8"/>
                    <a:pt x="32" y="58"/>
                  </a:cubicBezTo>
                  <a:lnTo>
                    <a:pt x="32" y="42"/>
                  </a:lnTo>
                  <a:close/>
                  <a:moveTo>
                    <a:pt x="21" y="42"/>
                  </a:moveTo>
                  <a:cubicBezTo>
                    <a:pt x="21" y="41"/>
                    <a:pt x="21" y="41"/>
                    <a:pt x="22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7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0"/>
                    <a:pt x="21" y="60"/>
                    <a:pt x="21" y="59"/>
                  </a:cubicBezTo>
                  <a:cubicBezTo>
                    <a:pt x="21" y="59"/>
                    <a:pt x="21" y="59"/>
                    <a:pt x="21" y="59"/>
                  </a:cubicBezTo>
                  <a:lnTo>
                    <a:pt x="21" y="42"/>
                  </a:lnTo>
                  <a:close/>
                  <a:moveTo>
                    <a:pt x="111" y="94"/>
                  </a:moveTo>
                  <a:cubicBezTo>
                    <a:pt x="111" y="95"/>
                    <a:pt x="111" y="95"/>
                    <a:pt x="111" y="95"/>
                  </a:cubicBezTo>
                  <a:cubicBezTo>
                    <a:pt x="111" y="95"/>
                    <a:pt x="111" y="95"/>
                    <a:pt x="111" y="96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69" y="105"/>
                    <a:pt x="69" y="105"/>
                    <a:pt x="69" y="105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6" y="106"/>
                    <a:pt x="6" y="106"/>
                    <a:pt x="6" y="10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4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1"/>
                    <a:pt x="112" y="91"/>
                    <a:pt x="112" y="91"/>
                  </a:cubicBezTo>
                  <a:lnTo>
                    <a:pt x="111" y="9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882CAAC0-8195-4A9B-814F-C45CB7EE5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6388" y="1717676"/>
              <a:ext cx="458788" cy="436563"/>
            </a:xfrm>
            <a:custGeom>
              <a:avLst/>
              <a:gdLst>
                <a:gd name="T0" fmla="*/ 117 w 118"/>
                <a:gd name="T1" fmla="*/ 85 h 112"/>
                <a:gd name="T2" fmla="*/ 107 w 118"/>
                <a:gd name="T3" fmla="*/ 79 h 112"/>
                <a:gd name="T4" fmla="*/ 101 w 118"/>
                <a:gd name="T5" fmla="*/ 20 h 112"/>
                <a:gd name="T6" fmla="*/ 40 w 118"/>
                <a:gd name="T7" fmla="*/ 0 h 112"/>
                <a:gd name="T8" fmla="*/ 15 w 118"/>
                <a:gd name="T9" fmla="*/ 61 h 112"/>
                <a:gd name="T10" fmla="*/ 0 w 118"/>
                <a:gd name="T11" fmla="*/ 72 h 112"/>
                <a:gd name="T12" fmla="*/ 74 w 118"/>
                <a:gd name="T13" fmla="*/ 110 h 112"/>
                <a:gd name="T14" fmla="*/ 118 w 118"/>
                <a:gd name="T15" fmla="*/ 95 h 112"/>
                <a:gd name="T16" fmla="*/ 93 w 118"/>
                <a:gd name="T17" fmla="*/ 26 h 112"/>
                <a:gd name="T18" fmla="*/ 85 w 118"/>
                <a:gd name="T19" fmla="*/ 36 h 112"/>
                <a:gd name="T20" fmla="*/ 85 w 118"/>
                <a:gd name="T21" fmla="*/ 40 h 112"/>
                <a:gd name="T22" fmla="*/ 93 w 118"/>
                <a:gd name="T23" fmla="*/ 50 h 112"/>
                <a:gd name="T24" fmla="*/ 84 w 118"/>
                <a:gd name="T25" fmla="*/ 55 h 112"/>
                <a:gd name="T26" fmla="*/ 94 w 118"/>
                <a:gd name="T27" fmla="*/ 63 h 112"/>
                <a:gd name="T28" fmla="*/ 84 w 118"/>
                <a:gd name="T29" fmla="*/ 55 h 112"/>
                <a:gd name="T30" fmla="*/ 94 w 118"/>
                <a:gd name="T31" fmla="*/ 69 h 112"/>
                <a:gd name="T32" fmla="*/ 84 w 118"/>
                <a:gd name="T33" fmla="*/ 78 h 112"/>
                <a:gd name="T34" fmla="*/ 77 w 118"/>
                <a:gd name="T35" fmla="*/ 6 h 112"/>
                <a:gd name="T36" fmla="*/ 65 w 118"/>
                <a:gd name="T37" fmla="*/ 18 h 112"/>
                <a:gd name="T38" fmla="*/ 65 w 118"/>
                <a:gd name="T39" fmla="*/ 22 h 112"/>
                <a:gd name="T40" fmla="*/ 77 w 118"/>
                <a:gd name="T41" fmla="*/ 36 h 112"/>
                <a:gd name="T42" fmla="*/ 64 w 118"/>
                <a:gd name="T43" fmla="*/ 41 h 112"/>
                <a:gd name="T44" fmla="*/ 78 w 118"/>
                <a:gd name="T45" fmla="*/ 52 h 112"/>
                <a:gd name="T46" fmla="*/ 64 w 118"/>
                <a:gd name="T47" fmla="*/ 41 h 112"/>
                <a:gd name="T48" fmla="*/ 78 w 118"/>
                <a:gd name="T49" fmla="*/ 58 h 112"/>
                <a:gd name="T50" fmla="*/ 77 w 118"/>
                <a:gd name="T51" fmla="*/ 67 h 112"/>
                <a:gd name="T52" fmla="*/ 65 w 118"/>
                <a:gd name="T53" fmla="*/ 66 h 112"/>
                <a:gd name="T54" fmla="*/ 46 w 118"/>
                <a:gd name="T55" fmla="*/ 7 h 112"/>
                <a:gd name="T56" fmla="*/ 60 w 118"/>
                <a:gd name="T57" fmla="*/ 17 h 112"/>
                <a:gd name="T58" fmla="*/ 46 w 118"/>
                <a:gd name="T59" fmla="*/ 7 h 112"/>
                <a:gd name="T60" fmla="*/ 60 w 118"/>
                <a:gd name="T61" fmla="*/ 23 h 112"/>
                <a:gd name="T62" fmla="*/ 46 w 118"/>
                <a:gd name="T63" fmla="*/ 35 h 112"/>
                <a:gd name="T64" fmla="*/ 59 w 118"/>
                <a:gd name="T65" fmla="*/ 40 h 112"/>
                <a:gd name="T66" fmla="*/ 47 w 118"/>
                <a:gd name="T67" fmla="*/ 53 h 112"/>
                <a:gd name="T68" fmla="*/ 47 w 118"/>
                <a:gd name="T69" fmla="*/ 57 h 112"/>
                <a:gd name="T70" fmla="*/ 59 w 118"/>
                <a:gd name="T71" fmla="*/ 66 h 112"/>
                <a:gd name="T72" fmla="*/ 53 w 118"/>
                <a:gd name="T73" fmla="*/ 66 h 112"/>
                <a:gd name="T74" fmla="*/ 46 w 118"/>
                <a:gd name="T75" fmla="*/ 58 h 112"/>
                <a:gd name="T76" fmla="*/ 40 w 118"/>
                <a:gd name="T77" fmla="*/ 42 h 112"/>
                <a:gd name="T78" fmla="*/ 38 w 118"/>
                <a:gd name="T79" fmla="*/ 60 h 112"/>
                <a:gd name="T80" fmla="*/ 32 w 118"/>
                <a:gd name="T81" fmla="*/ 42 h 112"/>
                <a:gd name="T82" fmla="*/ 28 w 118"/>
                <a:gd name="T83" fmla="*/ 42 h 112"/>
                <a:gd name="T84" fmla="*/ 22 w 118"/>
                <a:gd name="T85" fmla="*/ 60 h 112"/>
                <a:gd name="T86" fmla="*/ 21 w 118"/>
                <a:gd name="T87" fmla="*/ 42 h 112"/>
                <a:gd name="T88" fmla="*/ 83 w 118"/>
                <a:gd name="T89" fmla="*/ 101 h 112"/>
                <a:gd name="T90" fmla="*/ 7 w 118"/>
                <a:gd name="T91" fmla="*/ 106 h 112"/>
                <a:gd name="T92" fmla="*/ 11 w 118"/>
                <a:gd name="T93" fmla="*/ 71 h 112"/>
                <a:gd name="T94" fmla="*/ 31 w 118"/>
                <a:gd name="T95" fmla="*/ 65 h 112"/>
                <a:gd name="T96" fmla="*/ 49 w 118"/>
                <a:gd name="T97" fmla="*/ 71 h 112"/>
                <a:gd name="T98" fmla="*/ 60 w 118"/>
                <a:gd name="T99" fmla="*/ 72 h 112"/>
                <a:gd name="T100" fmla="*/ 76 w 118"/>
                <a:gd name="T101" fmla="*/ 75 h 112"/>
                <a:gd name="T102" fmla="*/ 78 w 118"/>
                <a:gd name="T103" fmla="*/ 81 h 112"/>
                <a:gd name="T104" fmla="*/ 75 w 118"/>
                <a:gd name="T105" fmla="*/ 84 h 112"/>
                <a:gd name="T106" fmla="*/ 57 w 118"/>
                <a:gd name="T107" fmla="*/ 85 h 112"/>
                <a:gd name="T108" fmla="*/ 42 w 118"/>
                <a:gd name="T109" fmla="*/ 90 h 112"/>
                <a:gd name="T110" fmla="*/ 44 w 118"/>
                <a:gd name="T111" fmla="*/ 94 h 112"/>
                <a:gd name="T112" fmla="*/ 55 w 118"/>
                <a:gd name="T113" fmla="*/ 91 h 112"/>
                <a:gd name="T114" fmla="*/ 77 w 118"/>
                <a:gd name="T115" fmla="*/ 90 h 112"/>
                <a:gd name="T116" fmla="*/ 83 w 118"/>
                <a:gd name="T117" fmla="*/ 85 h 112"/>
                <a:gd name="T118" fmla="*/ 111 w 118"/>
                <a:gd name="T119" fmla="*/ 8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12">
                  <a:moveTo>
                    <a:pt x="118" y="92"/>
                  </a:moveTo>
                  <a:cubicBezTo>
                    <a:pt x="118" y="91"/>
                    <a:pt x="118" y="91"/>
                    <a:pt x="118" y="91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6" y="83"/>
                    <a:pt x="116" y="83"/>
                    <a:pt x="116" y="83"/>
                  </a:cubicBezTo>
                  <a:cubicBezTo>
                    <a:pt x="113" y="81"/>
                    <a:pt x="113" y="81"/>
                    <a:pt x="113" y="81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1" y="79"/>
                    <a:pt x="101" y="78"/>
                    <a:pt x="101" y="78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20"/>
                    <a:pt x="84" y="20"/>
                    <a:pt x="84" y="1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39" y="35"/>
                    <a:pt x="39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2"/>
                    <a:pt x="14" y="62"/>
                    <a:pt x="14" y="62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87" y="106"/>
                    <a:pt x="87" y="106"/>
                    <a:pt x="87" y="106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8" y="95"/>
                    <a:pt x="118" y="95"/>
                    <a:pt x="118" y="95"/>
                  </a:cubicBezTo>
                  <a:lnTo>
                    <a:pt x="118" y="92"/>
                  </a:lnTo>
                  <a:close/>
                  <a:moveTo>
                    <a:pt x="84" y="27"/>
                  </a:moveTo>
                  <a:cubicBezTo>
                    <a:pt x="84" y="27"/>
                    <a:pt x="84" y="26"/>
                    <a:pt x="85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6"/>
                    <a:pt x="93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4" y="36"/>
                    <a:pt x="84" y="35"/>
                    <a:pt x="84" y="35"/>
                  </a:cubicBezTo>
                  <a:lnTo>
                    <a:pt x="84" y="27"/>
                  </a:lnTo>
                  <a:close/>
                  <a:moveTo>
                    <a:pt x="84" y="41"/>
                  </a:moveTo>
                  <a:cubicBezTo>
                    <a:pt x="84" y="40"/>
                    <a:pt x="84" y="40"/>
                    <a:pt x="85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4" y="41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50"/>
                    <a:pt x="93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lnTo>
                    <a:pt x="84" y="41"/>
                  </a:lnTo>
                  <a:close/>
                  <a:moveTo>
                    <a:pt x="84" y="55"/>
                  </a:moveTo>
                  <a:cubicBezTo>
                    <a:pt x="84" y="54"/>
                    <a:pt x="84" y="54"/>
                    <a:pt x="85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4" y="54"/>
                    <a:pt x="94" y="54"/>
                    <a:pt x="94" y="55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94" y="64"/>
                    <a:pt x="94" y="64"/>
                    <a:pt x="93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4" y="64"/>
                    <a:pt x="84" y="64"/>
                    <a:pt x="84" y="63"/>
                  </a:cubicBezTo>
                  <a:lnTo>
                    <a:pt x="84" y="55"/>
                  </a:lnTo>
                  <a:close/>
                  <a:moveTo>
                    <a:pt x="84" y="69"/>
                  </a:moveTo>
                  <a:cubicBezTo>
                    <a:pt x="84" y="69"/>
                    <a:pt x="84" y="68"/>
                    <a:pt x="85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4" y="68"/>
                    <a:pt x="94" y="69"/>
                    <a:pt x="94" y="69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8"/>
                    <a:pt x="94" y="79"/>
                    <a:pt x="93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4" y="79"/>
                    <a:pt x="84" y="78"/>
                    <a:pt x="84" y="78"/>
                  </a:cubicBezTo>
                  <a:lnTo>
                    <a:pt x="84" y="69"/>
                  </a:lnTo>
                  <a:close/>
                  <a:moveTo>
                    <a:pt x="64" y="7"/>
                  </a:moveTo>
                  <a:cubicBezTo>
                    <a:pt x="64" y="6"/>
                    <a:pt x="64" y="6"/>
                    <a:pt x="65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6"/>
                    <a:pt x="78" y="6"/>
                    <a:pt x="78" y="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8"/>
                    <a:pt x="77" y="18"/>
                    <a:pt x="77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7"/>
                  </a:cubicBezTo>
                  <a:lnTo>
                    <a:pt x="64" y="7"/>
                  </a:lnTo>
                  <a:close/>
                  <a:moveTo>
                    <a:pt x="64" y="23"/>
                  </a:moveTo>
                  <a:cubicBezTo>
                    <a:pt x="64" y="23"/>
                    <a:pt x="64" y="22"/>
                    <a:pt x="65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8" y="23"/>
                    <a:pt x="78" y="23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6"/>
                    <a:pt x="77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4" y="36"/>
                    <a:pt x="64" y="35"/>
                    <a:pt x="64" y="35"/>
                  </a:cubicBezTo>
                  <a:lnTo>
                    <a:pt x="64" y="23"/>
                  </a:lnTo>
                  <a:close/>
                  <a:moveTo>
                    <a:pt x="64" y="41"/>
                  </a:moveTo>
                  <a:cubicBezTo>
                    <a:pt x="64" y="40"/>
                    <a:pt x="64" y="40"/>
                    <a:pt x="65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8" y="40"/>
                    <a:pt x="78" y="41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3"/>
                    <a:pt x="77" y="53"/>
                    <a:pt x="77" y="53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3"/>
                    <a:pt x="64" y="53"/>
                    <a:pt x="64" y="52"/>
                  </a:cubicBezTo>
                  <a:lnTo>
                    <a:pt x="64" y="41"/>
                  </a:lnTo>
                  <a:close/>
                  <a:moveTo>
                    <a:pt x="64" y="58"/>
                  </a:moveTo>
                  <a:cubicBezTo>
                    <a:pt x="64" y="58"/>
                    <a:pt x="64" y="57"/>
                    <a:pt x="65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8"/>
                    <a:pt x="78" y="58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7"/>
                    <a:pt x="78" y="67"/>
                    <a:pt x="77" y="67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4" y="66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lnTo>
                    <a:pt x="64" y="58"/>
                  </a:lnTo>
                  <a:close/>
                  <a:moveTo>
                    <a:pt x="46" y="7"/>
                  </a:moveTo>
                  <a:cubicBezTo>
                    <a:pt x="46" y="6"/>
                    <a:pt x="46" y="6"/>
                    <a:pt x="47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60" y="6"/>
                    <a:pt x="60" y="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59" y="18"/>
                    <a:pt x="59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8"/>
                    <a:pt x="46" y="18"/>
                    <a:pt x="46" y="17"/>
                  </a:cubicBezTo>
                  <a:lnTo>
                    <a:pt x="46" y="7"/>
                  </a:ln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7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60" y="23"/>
                    <a:pt x="60" y="23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5"/>
                    <a:pt x="46" y="35"/>
                  </a:cubicBezTo>
                  <a:lnTo>
                    <a:pt x="46" y="23"/>
                  </a:lnTo>
                  <a:close/>
                  <a:moveTo>
                    <a:pt x="46" y="41"/>
                  </a:moveTo>
                  <a:cubicBezTo>
                    <a:pt x="46" y="40"/>
                    <a:pt x="46" y="40"/>
                    <a:pt x="47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9" y="40"/>
                    <a:pt x="60" y="40"/>
                    <a:pt x="60" y="41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3"/>
                    <a:pt x="59" y="53"/>
                    <a:pt x="59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6" y="53"/>
                    <a:pt x="46" y="53"/>
                    <a:pt x="46" y="52"/>
                  </a:cubicBezTo>
                  <a:lnTo>
                    <a:pt x="46" y="41"/>
                  </a:lnTo>
                  <a:close/>
                  <a:moveTo>
                    <a:pt x="46" y="58"/>
                  </a:moveTo>
                  <a:cubicBezTo>
                    <a:pt x="46" y="58"/>
                    <a:pt x="46" y="57"/>
                    <a:pt x="47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60" y="58"/>
                    <a:pt x="60" y="5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59" y="66"/>
                    <a:pt x="59" y="66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2"/>
                  </a:cubicBezTo>
                  <a:lnTo>
                    <a:pt x="46" y="58"/>
                  </a:lnTo>
                  <a:close/>
                  <a:moveTo>
                    <a:pt x="32" y="42"/>
                  </a:moveTo>
                  <a:cubicBezTo>
                    <a:pt x="32" y="41"/>
                    <a:pt x="33" y="41"/>
                    <a:pt x="33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40" y="41"/>
                    <a:pt x="40" y="42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8"/>
                    <a:pt x="32" y="58"/>
                  </a:cubicBezTo>
                  <a:lnTo>
                    <a:pt x="32" y="42"/>
                  </a:lnTo>
                  <a:close/>
                  <a:moveTo>
                    <a:pt x="21" y="42"/>
                  </a:moveTo>
                  <a:cubicBezTo>
                    <a:pt x="21" y="41"/>
                    <a:pt x="21" y="41"/>
                    <a:pt x="22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7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0"/>
                    <a:pt x="21" y="60"/>
                    <a:pt x="21" y="59"/>
                  </a:cubicBezTo>
                  <a:cubicBezTo>
                    <a:pt x="21" y="59"/>
                    <a:pt x="21" y="59"/>
                    <a:pt x="21" y="59"/>
                  </a:cubicBezTo>
                  <a:lnTo>
                    <a:pt x="21" y="42"/>
                  </a:lnTo>
                  <a:close/>
                  <a:moveTo>
                    <a:pt x="111" y="94"/>
                  </a:moveTo>
                  <a:cubicBezTo>
                    <a:pt x="111" y="95"/>
                    <a:pt x="111" y="95"/>
                    <a:pt x="111" y="95"/>
                  </a:cubicBezTo>
                  <a:cubicBezTo>
                    <a:pt x="111" y="95"/>
                    <a:pt x="111" y="95"/>
                    <a:pt x="111" y="96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69" y="105"/>
                    <a:pt x="69" y="105"/>
                    <a:pt x="69" y="105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6" y="106"/>
                    <a:pt x="6" y="106"/>
                    <a:pt x="6" y="10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4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1"/>
                    <a:pt x="112" y="91"/>
                    <a:pt x="112" y="91"/>
                  </a:cubicBezTo>
                  <a:lnTo>
                    <a:pt x="111" y="9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0868040-066E-46AF-BECB-0CF9BF4ADFB0}"/>
              </a:ext>
            </a:extLst>
          </p:cNvPr>
          <p:cNvGrpSpPr/>
          <p:nvPr/>
        </p:nvGrpSpPr>
        <p:grpSpPr>
          <a:xfrm>
            <a:off x="369888" y="1544637"/>
            <a:ext cx="844550" cy="844550"/>
            <a:chOff x="4344988" y="3201988"/>
            <a:chExt cx="844550" cy="844550"/>
          </a:xfrm>
        </p:grpSpPr>
        <p:sp>
          <p:nvSpPr>
            <p:cNvPr id="72" name="AutoShape 51">
              <a:extLst>
                <a:ext uri="{FF2B5EF4-FFF2-40B4-BE49-F238E27FC236}">
                  <a16:creationId xmlns:a16="http://schemas.microsoft.com/office/drawing/2014/main" id="{4DBFBAE9-9597-46FF-ABC3-1458565F08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4988" y="3201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53">
              <a:extLst>
                <a:ext uri="{FF2B5EF4-FFF2-40B4-BE49-F238E27FC236}">
                  <a16:creationId xmlns:a16="http://schemas.microsoft.com/office/drawing/2014/main" id="{FE0B81FB-0539-454A-B9D8-7506D5B36E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988" y="32019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4">
              <a:extLst>
                <a:ext uri="{FF2B5EF4-FFF2-40B4-BE49-F238E27FC236}">
                  <a16:creationId xmlns:a16="http://schemas.microsoft.com/office/drawing/2014/main" id="{B80CA54D-2FEF-4D52-BC99-787646827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563" y="32305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5">
              <a:extLst>
                <a:ext uri="{FF2B5EF4-FFF2-40B4-BE49-F238E27FC236}">
                  <a16:creationId xmlns:a16="http://schemas.microsoft.com/office/drawing/2014/main" id="{ABA18E8F-9C10-442C-9F26-C79EB9F93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7551" y="3397251"/>
              <a:ext cx="479425" cy="455613"/>
            </a:xfrm>
            <a:custGeom>
              <a:avLst/>
              <a:gdLst>
                <a:gd name="T0" fmla="*/ 117 w 118"/>
                <a:gd name="T1" fmla="*/ 85 h 112"/>
                <a:gd name="T2" fmla="*/ 107 w 118"/>
                <a:gd name="T3" fmla="*/ 79 h 112"/>
                <a:gd name="T4" fmla="*/ 101 w 118"/>
                <a:gd name="T5" fmla="*/ 20 h 112"/>
                <a:gd name="T6" fmla="*/ 40 w 118"/>
                <a:gd name="T7" fmla="*/ 0 h 112"/>
                <a:gd name="T8" fmla="*/ 15 w 118"/>
                <a:gd name="T9" fmla="*/ 61 h 112"/>
                <a:gd name="T10" fmla="*/ 0 w 118"/>
                <a:gd name="T11" fmla="*/ 72 h 112"/>
                <a:gd name="T12" fmla="*/ 74 w 118"/>
                <a:gd name="T13" fmla="*/ 110 h 112"/>
                <a:gd name="T14" fmla="*/ 118 w 118"/>
                <a:gd name="T15" fmla="*/ 95 h 112"/>
                <a:gd name="T16" fmla="*/ 93 w 118"/>
                <a:gd name="T17" fmla="*/ 26 h 112"/>
                <a:gd name="T18" fmla="*/ 85 w 118"/>
                <a:gd name="T19" fmla="*/ 36 h 112"/>
                <a:gd name="T20" fmla="*/ 85 w 118"/>
                <a:gd name="T21" fmla="*/ 40 h 112"/>
                <a:gd name="T22" fmla="*/ 93 w 118"/>
                <a:gd name="T23" fmla="*/ 50 h 112"/>
                <a:gd name="T24" fmla="*/ 84 w 118"/>
                <a:gd name="T25" fmla="*/ 55 h 112"/>
                <a:gd name="T26" fmla="*/ 94 w 118"/>
                <a:gd name="T27" fmla="*/ 63 h 112"/>
                <a:gd name="T28" fmla="*/ 84 w 118"/>
                <a:gd name="T29" fmla="*/ 55 h 112"/>
                <a:gd name="T30" fmla="*/ 94 w 118"/>
                <a:gd name="T31" fmla="*/ 69 h 112"/>
                <a:gd name="T32" fmla="*/ 84 w 118"/>
                <a:gd name="T33" fmla="*/ 78 h 112"/>
                <a:gd name="T34" fmla="*/ 77 w 118"/>
                <a:gd name="T35" fmla="*/ 6 h 112"/>
                <a:gd name="T36" fmla="*/ 65 w 118"/>
                <a:gd name="T37" fmla="*/ 18 h 112"/>
                <a:gd name="T38" fmla="*/ 65 w 118"/>
                <a:gd name="T39" fmla="*/ 22 h 112"/>
                <a:gd name="T40" fmla="*/ 77 w 118"/>
                <a:gd name="T41" fmla="*/ 36 h 112"/>
                <a:gd name="T42" fmla="*/ 64 w 118"/>
                <a:gd name="T43" fmla="*/ 41 h 112"/>
                <a:gd name="T44" fmla="*/ 78 w 118"/>
                <a:gd name="T45" fmla="*/ 52 h 112"/>
                <a:gd name="T46" fmla="*/ 64 w 118"/>
                <a:gd name="T47" fmla="*/ 41 h 112"/>
                <a:gd name="T48" fmla="*/ 78 w 118"/>
                <a:gd name="T49" fmla="*/ 58 h 112"/>
                <a:gd name="T50" fmla="*/ 77 w 118"/>
                <a:gd name="T51" fmla="*/ 67 h 112"/>
                <a:gd name="T52" fmla="*/ 65 w 118"/>
                <a:gd name="T53" fmla="*/ 66 h 112"/>
                <a:gd name="T54" fmla="*/ 46 w 118"/>
                <a:gd name="T55" fmla="*/ 7 h 112"/>
                <a:gd name="T56" fmla="*/ 60 w 118"/>
                <a:gd name="T57" fmla="*/ 17 h 112"/>
                <a:gd name="T58" fmla="*/ 46 w 118"/>
                <a:gd name="T59" fmla="*/ 7 h 112"/>
                <a:gd name="T60" fmla="*/ 60 w 118"/>
                <a:gd name="T61" fmla="*/ 23 h 112"/>
                <a:gd name="T62" fmla="*/ 46 w 118"/>
                <a:gd name="T63" fmla="*/ 35 h 112"/>
                <a:gd name="T64" fmla="*/ 59 w 118"/>
                <a:gd name="T65" fmla="*/ 40 h 112"/>
                <a:gd name="T66" fmla="*/ 47 w 118"/>
                <a:gd name="T67" fmla="*/ 53 h 112"/>
                <a:gd name="T68" fmla="*/ 47 w 118"/>
                <a:gd name="T69" fmla="*/ 57 h 112"/>
                <a:gd name="T70" fmla="*/ 59 w 118"/>
                <a:gd name="T71" fmla="*/ 66 h 112"/>
                <a:gd name="T72" fmla="*/ 53 w 118"/>
                <a:gd name="T73" fmla="*/ 66 h 112"/>
                <a:gd name="T74" fmla="*/ 46 w 118"/>
                <a:gd name="T75" fmla="*/ 58 h 112"/>
                <a:gd name="T76" fmla="*/ 40 w 118"/>
                <a:gd name="T77" fmla="*/ 42 h 112"/>
                <a:gd name="T78" fmla="*/ 38 w 118"/>
                <a:gd name="T79" fmla="*/ 60 h 112"/>
                <a:gd name="T80" fmla="*/ 32 w 118"/>
                <a:gd name="T81" fmla="*/ 42 h 112"/>
                <a:gd name="T82" fmla="*/ 28 w 118"/>
                <a:gd name="T83" fmla="*/ 42 h 112"/>
                <a:gd name="T84" fmla="*/ 22 w 118"/>
                <a:gd name="T85" fmla="*/ 60 h 112"/>
                <a:gd name="T86" fmla="*/ 21 w 118"/>
                <a:gd name="T87" fmla="*/ 42 h 112"/>
                <a:gd name="T88" fmla="*/ 83 w 118"/>
                <a:gd name="T89" fmla="*/ 101 h 112"/>
                <a:gd name="T90" fmla="*/ 7 w 118"/>
                <a:gd name="T91" fmla="*/ 106 h 112"/>
                <a:gd name="T92" fmla="*/ 11 w 118"/>
                <a:gd name="T93" fmla="*/ 71 h 112"/>
                <a:gd name="T94" fmla="*/ 31 w 118"/>
                <a:gd name="T95" fmla="*/ 65 h 112"/>
                <a:gd name="T96" fmla="*/ 49 w 118"/>
                <a:gd name="T97" fmla="*/ 71 h 112"/>
                <a:gd name="T98" fmla="*/ 60 w 118"/>
                <a:gd name="T99" fmla="*/ 72 h 112"/>
                <a:gd name="T100" fmla="*/ 76 w 118"/>
                <a:gd name="T101" fmla="*/ 75 h 112"/>
                <a:gd name="T102" fmla="*/ 78 w 118"/>
                <a:gd name="T103" fmla="*/ 81 h 112"/>
                <a:gd name="T104" fmla="*/ 75 w 118"/>
                <a:gd name="T105" fmla="*/ 84 h 112"/>
                <a:gd name="T106" fmla="*/ 57 w 118"/>
                <a:gd name="T107" fmla="*/ 85 h 112"/>
                <a:gd name="T108" fmla="*/ 42 w 118"/>
                <a:gd name="T109" fmla="*/ 90 h 112"/>
                <a:gd name="T110" fmla="*/ 44 w 118"/>
                <a:gd name="T111" fmla="*/ 94 h 112"/>
                <a:gd name="T112" fmla="*/ 55 w 118"/>
                <a:gd name="T113" fmla="*/ 91 h 112"/>
                <a:gd name="T114" fmla="*/ 77 w 118"/>
                <a:gd name="T115" fmla="*/ 90 h 112"/>
                <a:gd name="T116" fmla="*/ 83 w 118"/>
                <a:gd name="T117" fmla="*/ 85 h 112"/>
                <a:gd name="T118" fmla="*/ 111 w 118"/>
                <a:gd name="T119" fmla="*/ 8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12">
                  <a:moveTo>
                    <a:pt x="118" y="92"/>
                  </a:moveTo>
                  <a:cubicBezTo>
                    <a:pt x="118" y="91"/>
                    <a:pt x="118" y="91"/>
                    <a:pt x="118" y="91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6" y="83"/>
                    <a:pt x="116" y="83"/>
                    <a:pt x="116" y="83"/>
                  </a:cubicBezTo>
                  <a:cubicBezTo>
                    <a:pt x="113" y="81"/>
                    <a:pt x="113" y="81"/>
                    <a:pt x="113" y="81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1" y="79"/>
                    <a:pt x="101" y="78"/>
                    <a:pt x="101" y="78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4" y="20"/>
                    <a:pt x="84" y="20"/>
                    <a:pt x="84" y="1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0" y="34"/>
                    <a:pt x="39" y="35"/>
                    <a:pt x="39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2"/>
                    <a:pt x="14" y="62"/>
                    <a:pt x="14" y="62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87" y="106"/>
                    <a:pt x="87" y="106"/>
                    <a:pt x="87" y="106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8" y="95"/>
                    <a:pt x="118" y="95"/>
                    <a:pt x="118" y="95"/>
                  </a:cubicBezTo>
                  <a:lnTo>
                    <a:pt x="118" y="92"/>
                  </a:lnTo>
                  <a:close/>
                  <a:moveTo>
                    <a:pt x="84" y="27"/>
                  </a:moveTo>
                  <a:cubicBezTo>
                    <a:pt x="84" y="27"/>
                    <a:pt x="84" y="26"/>
                    <a:pt x="85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6"/>
                    <a:pt x="93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4" y="36"/>
                    <a:pt x="84" y="35"/>
                    <a:pt x="84" y="35"/>
                  </a:cubicBezTo>
                  <a:lnTo>
                    <a:pt x="84" y="27"/>
                  </a:lnTo>
                  <a:close/>
                  <a:moveTo>
                    <a:pt x="84" y="41"/>
                  </a:moveTo>
                  <a:cubicBezTo>
                    <a:pt x="84" y="40"/>
                    <a:pt x="84" y="40"/>
                    <a:pt x="85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4" y="41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50"/>
                    <a:pt x="93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49"/>
                    <a:pt x="84" y="49"/>
                  </a:cubicBezTo>
                  <a:lnTo>
                    <a:pt x="84" y="41"/>
                  </a:lnTo>
                  <a:close/>
                  <a:moveTo>
                    <a:pt x="84" y="55"/>
                  </a:moveTo>
                  <a:cubicBezTo>
                    <a:pt x="84" y="54"/>
                    <a:pt x="84" y="54"/>
                    <a:pt x="85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4" y="54"/>
                    <a:pt x="94" y="54"/>
                    <a:pt x="94" y="55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94" y="64"/>
                    <a:pt x="94" y="64"/>
                    <a:pt x="93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4" y="64"/>
                    <a:pt x="84" y="64"/>
                    <a:pt x="84" y="63"/>
                  </a:cubicBezTo>
                  <a:lnTo>
                    <a:pt x="84" y="55"/>
                  </a:lnTo>
                  <a:close/>
                  <a:moveTo>
                    <a:pt x="84" y="69"/>
                  </a:moveTo>
                  <a:cubicBezTo>
                    <a:pt x="84" y="69"/>
                    <a:pt x="84" y="68"/>
                    <a:pt x="85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4" y="68"/>
                    <a:pt x="94" y="69"/>
                    <a:pt x="94" y="69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8"/>
                    <a:pt x="94" y="79"/>
                    <a:pt x="93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4" y="79"/>
                    <a:pt x="84" y="78"/>
                    <a:pt x="84" y="78"/>
                  </a:cubicBezTo>
                  <a:lnTo>
                    <a:pt x="84" y="69"/>
                  </a:lnTo>
                  <a:close/>
                  <a:moveTo>
                    <a:pt x="64" y="7"/>
                  </a:moveTo>
                  <a:cubicBezTo>
                    <a:pt x="64" y="6"/>
                    <a:pt x="64" y="6"/>
                    <a:pt x="65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6"/>
                    <a:pt x="78" y="6"/>
                    <a:pt x="78" y="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8"/>
                    <a:pt x="77" y="18"/>
                    <a:pt x="77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7"/>
                  </a:cubicBezTo>
                  <a:lnTo>
                    <a:pt x="64" y="7"/>
                  </a:lnTo>
                  <a:close/>
                  <a:moveTo>
                    <a:pt x="64" y="23"/>
                  </a:moveTo>
                  <a:cubicBezTo>
                    <a:pt x="64" y="23"/>
                    <a:pt x="64" y="22"/>
                    <a:pt x="65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8" y="23"/>
                    <a:pt x="78" y="23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6"/>
                    <a:pt x="77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4" y="36"/>
                    <a:pt x="64" y="35"/>
                    <a:pt x="64" y="35"/>
                  </a:cubicBezTo>
                  <a:lnTo>
                    <a:pt x="64" y="23"/>
                  </a:lnTo>
                  <a:close/>
                  <a:moveTo>
                    <a:pt x="64" y="41"/>
                  </a:moveTo>
                  <a:cubicBezTo>
                    <a:pt x="64" y="40"/>
                    <a:pt x="64" y="40"/>
                    <a:pt x="65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8" y="40"/>
                    <a:pt x="78" y="41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3"/>
                    <a:pt x="77" y="53"/>
                    <a:pt x="77" y="53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3"/>
                    <a:pt x="64" y="53"/>
                    <a:pt x="64" y="52"/>
                  </a:cubicBezTo>
                  <a:lnTo>
                    <a:pt x="64" y="41"/>
                  </a:lnTo>
                  <a:close/>
                  <a:moveTo>
                    <a:pt x="64" y="58"/>
                  </a:moveTo>
                  <a:cubicBezTo>
                    <a:pt x="64" y="58"/>
                    <a:pt x="64" y="57"/>
                    <a:pt x="65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8"/>
                    <a:pt x="78" y="58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7"/>
                    <a:pt x="78" y="67"/>
                    <a:pt x="77" y="67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4" y="66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lnTo>
                    <a:pt x="64" y="58"/>
                  </a:lnTo>
                  <a:close/>
                  <a:moveTo>
                    <a:pt x="46" y="7"/>
                  </a:moveTo>
                  <a:cubicBezTo>
                    <a:pt x="46" y="6"/>
                    <a:pt x="46" y="6"/>
                    <a:pt x="47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60" y="6"/>
                    <a:pt x="60" y="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59" y="18"/>
                    <a:pt x="59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8"/>
                    <a:pt x="46" y="18"/>
                    <a:pt x="46" y="17"/>
                  </a:cubicBezTo>
                  <a:lnTo>
                    <a:pt x="46" y="7"/>
                  </a:ln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7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60" y="23"/>
                    <a:pt x="60" y="23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59" y="36"/>
                    <a:pt x="59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5"/>
                    <a:pt x="46" y="35"/>
                  </a:cubicBezTo>
                  <a:lnTo>
                    <a:pt x="46" y="23"/>
                  </a:lnTo>
                  <a:close/>
                  <a:moveTo>
                    <a:pt x="46" y="41"/>
                  </a:moveTo>
                  <a:cubicBezTo>
                    <a:pt x="46" y="40"/>
                    <a:pt x="46" y="40"/>
                    <a:pt x="47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9" y="40"/>
                    <a:pt x="60" y="40"/>
                    <a:pt x="60" y="41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3"/>
                    <a:pt x="59" y="53"/>
                    <a:pt x="59" y="53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6" y="53"/>
                    <a:pt x="46" y="53"/>
                    <a:pt x="46" y="52"/>
                  </a:cubicBezTo>
                  <a:lnTo>
                    <a:pt x="46" y="41"/>
                  </a:lnTo>
                  <a:close/>
                  <a:moveTo>
                    <a:pt x="46" y="58"/>
                  </a:moveTo>
                  <a:cubicBezTo>
                    <a:pt x="46" y="58"/>
                    <a:pt x="46" y="57"/>
                    <a:pt x="47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60" y="58"/>
                    <a:pt x="60" y="5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59" y="66"/>
                    <a:pt x="59" y="66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2"/>
                  </a:cubicBezTo>
                  <a:lnTo>
                    <a:pt x="46" y="58"/>
                  </a:lnTo>
                  <a:close/>
                  <a:moveTo>
                    <a:pt x="32" y="42"/>
                  </a:moveTo>
                  <a:cubicBezTo>
                    <a:pt x="32" y="41"/>
                    <a:pt x="33" y="41"/>
                    <a:pt x="33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40" y="41"/>
                    <a:pt x="40" y="42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8"/>
                    <a:pt x="32" y="58"/>
                  </a:cubicBezTo>
                  <a:lnTo>
                    <a:pt x="32" y="42"/>
                  </a:lnTo>
                  <a:close/>
                  <a:moveTo>
                    <a:pt x="21" y="42"/>
                  </a:moveTo>
                  <a:cubicBezTo>
                    <a:pt x="21" y="41"/>
                    <a:pt x="21" y="41"/>
                    <a:pt x="22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9"/>
                    <a:pt x="27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0"/>
                    <a:pt x="21" y="60"/>
                    <a:pt x="21" y="59"/>
                  </a:cubicBezTo>
                  <a:cubicBezTo>
                    <a:pt x="21" y="59"/>
                    <a:pt x="21" y="59"/>
                    <a:pt x="21" y="59"/>
                  </a:cubicBezTo>
                  <a:lnTo>
                    <a:pt x="21" y="42"/>
                  </a:lnTo>
                  <a:close/>
                  <a:moveTo>
                    <a:pt x="111" y="94"/>
                  </a:moveTo>
                  <a:cubicBezTo>
                    <a:pt x="111" y="95"/>
                    <a:pt x="111" y="95"/>
                    <a:pt x="111" y="95"/>
                  </a:cubicBezTo>
                  <a:cubicBezTo>
                    <a:pt x="111" y="95"/>
                    <a:pt x="111" y="95"/>
                    <a:pt x="111" y="96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69" y="105"/>
                    <a:pt x="69" y="105"/>
                    <a:pt x="69" y="105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6" y="106"/>
                    <a:pt x="6" y="106"/>
                    <a:pt x="6" y="10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4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110" y="86"/>
                    <a:pt x="110" y="86"/>
                    <a:pt x="110" y="86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1"/>
                    <a:pt x="112" y="91"/>
                    <a:pt x="112" y="91"/>
                  </a:cubicBezTo>
                  <a:lnTo>
                    <a:pt x="111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72C479C-F551-4125-A77A-E4444EEC9AC6}"/>
              </a:ext>
            </a:extLst>
          </p:cNvPr>
          <p:cNvGrpSpPr/>
          <p:nvPr/>
        </p:nvGrpSpPr>
        <p:grpSpPr>
          <a:xfrm>
            <a:off x="3587750" y="1587500"/>
            <a:ext cx="758825" cy="758825"/>
            <a:chOff x="3587750" y="1554163"/>
            <a:chExt cx="758825" cy="758825"/>
          </a:xfrm>
        </p:grpSpPr>
        <p:sp>
          <p:nvSpPr>
            <p:cNvPr id="80" name="AutoShape 57">
              <a:extLst>
                <a:ext uri="{FF2B5EF4-FFF2-40B4-BE49-F238E27FC236}">
                  <a16:creationId xmlns:a16="http://schemas.microsoft.com/office/drawing/2014/main" id="{E8AEFF86-0BCF-446B-8FB7-A5EDD8EE52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7750" y="15541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9">
              <a:extLst>
                <a:ext uri="{FF2B5EF4-FFF2-40B4-BE49-F238E27FC236}">
                  <a16:creationId xmlns:a16="http://schemas.microsoft.com/office/drawing/2014/main" id="{7D8EA275-AC7F-4188-8A18-408DD1952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0925" y="155733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6AD66DC4-F209-495D-ABD9-9C0B0C70DA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500" y="1701801"/>
              <a:ext cx="444500" cy="466725"/>
            </a:xfrm>
            <a:custGeom>
              <a:avLst/>
              <a:gdLst>
                <a:gd name="T0" fmla="*/ 47 w 114"/>
                <a:gd name="T1" fmla="*/ 76 h 120"/>
                <a:gd name="T2" fmla="*/ 42 w 114"/>
                <a:gd name="T3" fmla="*/ 82 h 120"/>
                <a:gd name="T4" fmla="*/ 47 w 114"/>
                <a:gd name="T5" fmla="*/ 62 h 120"/>
                <a:gd name="T6" fmla="*/ 42 w 114"/>
                <a:gd name="T7" fmla="*/ 56 h 120"/>
                <a:gd name="T8" fmla="*/ 27 w 114"/>
                <a:gd name="T9" fmla="*/ 105 h 120"/>
                <a:gd name="T10" fmla="*/ 27 w 114"/>
                <a:gd name="T11" fmla="*/ 94 h 120"/>
                <a:gd name="T12" fmla="*/ 27 w 114"/>
                <a:gd name="T13" fmla="*/ 105 h 120"/>
                <a:gd name="T14" fmla="*/ 47 w 114"/>
                <a:gd name="T15" fmla="*/ 36 h 120"/>
                <a:gd name="T16" fmla="*/ 42 w 114"/>
                <a:gd name="T17" fmla="*/ 42 h 120"/>
                <a:gd name="T18" fmla="*/ 47 w 114"/>
                <a:gd name="T19" fmla="*/ 22 h 120"/>
                <a:gd name="T20" fmla="*/ 42 w 114"/>
                <a:gd name="T21" fmla="*/ 16 h 120"/>
                <a:gd name="T22" fmla="*/ 27 w 114"/>
                <a:gd name="T23" fmla="*/ 24 h 120"/>
                <a:gd name="T24" fmla="*/ 27 w 114"/>
                <a:gd name="T25" fmla="*/ 13 h 120"/>
                <a:gd name="T26" fmla="*/ 27 w 114"/>
                <a:gd name="T27" fmla="*/ 24 h 120"/>
                <a:gd name="T28" fmla="*/ 29 w 114"/>
                <a:gd name="T29" fmla="*/ 36 h 120"/>
                <a:gd name="T30" fmla="*/ 24 w 114"/>
                <a:gd name="T31" fmla="*/ 42 h 120"/>
                <a:gd name="T32" fmla="*/ 29 w 114"/>
                <a:gd name="T33" fmla="*/ 82 h 120"/>
                <a:gd name="T34" fmla="*/ 24 w 114"/>
                <a:gd name="T35" fmla="*/ 76 h 120"/>
                <a:gd name="T36" fmla="*/ 27 w 114"/>
                <a:gd name="T37" fmla="*/ 65 h 120"/>
                <a:gd name="T38" fmla="*/ 27 w 114"/>
                <a:gd name="T39" fmla="*/ 54 h 120"/>
                <a:gd name="T40" fmla="*/ 27 w 114"/>
                <a:gd name="T41" fmla="*/ 65 h 120"/>
                <a:gd name="T42" fmla="*/ 66 w 114"/>
                <a:gd name="T43" fmla="*/ 56 h 120"/>
                <a:gd name="T44" fmla="*/ 61 w 114"/>
                <a:gd name="T45" fmla="*/ 62 h 120"/>
                <a:gd name="T46" fmla="*/ 88 w 114"/>
                <a:gd name="T47" fmla="*/ 96 h 120"/>
                <a:gd name="T48" fmla="*/ 93 w 114"/>
                <a:gd name="T49" fmla="*/ 102 h 120"/>
                <a:gd name="T50" fmla="*/ 90 w 114"/>
                <a:gd name="T51" fmla="*/ 74 h 120"/>
                <a:gd name="T52" fmla="*/ 90 w 114"/>
                <a:gd name="T53" fmla="*/ 85 h 120"/>
                <a:gd name="T54" fmla="*/ 90 w 114"/>
                <a:gd name="T55" fmla="*/ 74 h 120"/>
                <a:gd name="T56" fmla="*/ 88 w 114"/>
                <a:gd name="T57" fmla="*/ 42 h 120"/>
                <a:gd name="T58" fmla="*/ 93 w 114"/>
                <a:gd name="T59" fmla="*/ 36 h 120"/>
                <a:gd name="T60" fmla="*/ 66 w 114"/>
                <a:gd name="T61" fmla="*/ 102 h 120"/>
                <a:gd name="T62" fmla="*/ 61 w 114"/>
                <a:gd name="T63" fmla="*/ 96 h 120"/>
                <a:gd name="T64" fmla="*/ 90 w 114"/>
                <a:gd name="T65" fmla="*/ 54 h 120"/>
                <a:gd name="T66" fmla="*/ 90 w 114"/>
                <a:gd name="T67" fmla="*/ 65 h 120"/>
                <a:gd name="T68" fmla="*/ 90 w 114"/>
                <a:gd name="T69" fmla="*/ 54 h 120"/>
                <a:gd name="T70" fmla="*/ 66 w 114"/>
                <a:gd name="T71" fmla="*/ 76 h 120"/>
                <a:gd name="T72" fmla="*/ 61 w 114"/>
                <a:gd name="T73" fmla="*/ 82 h 120"/>
                <a:gd name="T74" fmla="*/ 66 w 114"/>
                <a:gd name="T75" fmla="*/ 42 h 120"/>
                <a:gd name="T76" fmla="*/ 61 w 114"/>
                <a:gd name="T77" fmla="*/ 36 h 120"/>
                <a:gd name="T78" fmla="*/ 63 w 114"/>
                <a:gd name="T79" fmla="*/ 24 h 120"/>
                <a:gd name="T80" fmla="*/ 63 w 114"/>
                <a:gd name="T81" fmla="*/ 13 h 120"/>
                <a:gd name="T82" fmla="*/ 63 w 114"/>
                <a:gd name="T83" fmla="*/ 24 h 120"/>
                <a:gd name="T84" fmla="*/ 100 w 114"/>
                <a:gd name="T85" fmla="*/ 24 h 120"/>
                <a:gd name="T86" fmla="*/ 81 w 114"/>
                <a:gd name="T87" fmla="*/ 115 h 120"/>
                <a:gd name="T88" fmla="*/ 54 w 114"/>
                <a:gd name="T89" fmla="*/ 95 h 120"/>
                <a:gd name="T90" fmla="*/ 36 w 114"/>
                <a:gd name="T91" fmla="*/ 95 h 120"/>
                <a:gd name="T92" fmla="*/ 14 w 114"/>
                <a:gd name="T93" fmla="*/ 5 h 120"/>
                <a:gd name="T94" fmla="*/ 49 w 114"/>
                <a:gd name="T95" fmla="*/ 115 h 120"/>
                <a:gd name="T96" fmla="*/ 49 w 114"/>
                <a:gd name="T97" fmla="*/ 98 h 120"/>
                <a:gd name="T98" fmla="*/ 105 w 114"/>
                <a:gd name="T99" fmla="*/ 115 h 120"/>
                <a:gd name="T100" fmla="*/ 103 w 114"/>
                <a:gd name="T101" fmla="*/ 19 h 120"/>
                <a:gd name="T102" fmla="*/ 78 w 114"/>
                <a:gd name="T103" fmla="*/ 0 h 120"/>
                <a:gd name="T104" fmla="*/ 9 w 114"/>
                <a:gd name="T105" fmla="*/ 115 h 120"/>
                <a:gd name="T106" fmla="*/ 2 w 114"/>
                <a:gd name="T107" fmla="*/ 120 h 120"/>
                <a:gd name="T108" fmla="*/ 112 w 114"/>
                <a:gd name="T109" fmla="*/ 11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" h="120">
                  <a:moveTo>
                    <a:pt x="45" y="85"/>
                  </a:moveTo>
                  <a:cubicBezTo>
                    <a:pt x="46" y="85"/>
                    <a:pt x="47" y="84"/>
                    <a:pt x="47" y="82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4"/>
                    <a:pt x="45" y="74"/>
                  </a:cubicBezTo>
                  <a:cubicBezTo>
                    <a:pt x="44" y="74"/>
                    <a:pt x="42" y="75"/>
                    <a:pt x="42" y="76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4"/>
                    <a:pt x="44" y="85"/>
                    <a:pt x="45" y="85"/>
                  </a:cubicBezTo>
                  <a:moveTo>
                    <a:pt x="45" y="65"/>
                  </a:moveTo>
                  <a:cubicBezTo>
                    <a:pt x="46" y="65"/>
                    <a:pt x="47" y="63"/>
                    <a:pt x="47" y="62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6" y="54"/>
                    <a:pt x="45" y="54"/>
                  </a:cubicBezTo>
                  <a:cubicBezTo>
                    <a:pt x="44" y="54"/>
                    <a:pt x="42" y="55"/>
                    <a:pt x="42" y="5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3"/>
                    <a:pt x="44" y="65"/>
                    <a:pt x="45" y="65"/>
                  </a:cubicBezTo>
                  <a:moveTo>
                    <a:pt x="27" y="105"/>
                  </a:moveTo>
                  <a:cubicBezTo>
                    <a:pt x="28" y="105"/>
                    <a:pt x="29" y="104"/>
                    <a:pt x="29" y="102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5"/>
                    <a:pt x="28" y="94"/>
                    <a:pt x="27" y="94"/>
                  </a:cubicBezTo>
                  <a:cubicBezTo>
                    <a:pt x="25" y="94"/>
                    <a:pt x="24" y="95"/>
                    <a:pt x="24" y="96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4"/>
                    <a:pt x="25" y="105"/>
                    <a:pt x="27" y="105"/>
                  </a:cubicBezTo>
                  <a:moveTo>
                    <a:pt x="45" y="44"/>
                  </a:moveTo>
                  <a:cubicBezTo>
                    <a:pt x="46" y="44"/>
                    <a:pt x="47" y="43"/>
                    <a:pt x="47" y="4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5"/>
                    <a:pt x="46" y="34"/>
                    <a:pt x="45" y="34"/>
                  </a:cubicBezTo>
                  <a:cubicBezTo>
                    <a:pt x="44" y="34"/>
                    <a:pt x="42" y="35"/>
                    <a:pt x="42" y="36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3"/>
                    <a:pt x="44" y="44"/>
                    <a:pt x="45" y="44"/>
                  </a:cubicBezTo>
                  <a:moveTo>
                    <a:pt x="45" y="24"/>
                  </a:moveTo>
                  <a:cubicBezTo>
                    <a:pt x="46" y="24"/>
                    <a:pt x="47" y="23"/>
                    <a:pt x="47" y="22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4"/>
                    <a:pt x="46" y="13"/>
                    <a:pt x="45" y="13"/>
                  </a:cubicBezTo>
                  <a:cubicBezTo>
                    <a:pt x="44" y="13"/>
                    <a:pt x="42" y="14"/>
                    <a:pt x="42" y="16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3"/>
                    <a:pt x="44" y="24"/>
                    <a:pt x="45" y="24"/>
                  </a:cubicBezTo>
                  <a:moveTo>
                    <a:pt x="27" y="24"/>
                  </a:moveTo>
                  <a:cubicBezTo>
                    <a:pt x="28" y="24"/>
                    <a:pt x="29" y="23"/>
                    <a:pt x="29" y="22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3"/>
                    <a:pt x="27" y="13"/>
                  </a:cubicBezTo>
                  <a:cubicBezTo>
                    <a:pt x="25" y="13"/>
                    <a:pt x="24" y="14"/>
                    <a:pt x="24" y="16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3"/>
                    <a:pt x="25" y="24"/>
                    <a:pt x="27" y="24"/>
                  </a:cubicBezTo>
                  <a:moveTo>
                    <a:pt x="27" y="44"/>
                  </a:moveTo>
                  <a:cubicBezTo>
                    <a:pt x="28" y="44"/>
                    <a:pt x="29" y="43"/>
                    <a:pt x="29" y="4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5"/>
                    <a:pt x="28" y="34"/>
                    <a:pt x="27" y="34"/>
                  </a:cubicBezTo>
                  <a:cubicBezTo>
                    <a:pt x="25" y="34"/>
                    <a:pt x="24" y="35"/>
                    <a:pt x="24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43"/>
                    <a:pt x="25" y="44"/>
                    <a:pt x="27" y="44"/>
                  </a:cubicBezTo>
                  <a:moveTo>
                    <a:pt x="27" y="85"/>
                  </a:moveTo>
                  <a:cubicBezTo>
                    <a:pt x="28" y="85"/>
                    <a:pt x="29" y="84"/>
                    <a:pt x="29" y="82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8" y="74"/>
                    <a:pt x="27" y="74"/>
                  </a:cubicBezTo>
                  <a:cubicBezTo>
                    <a:pt x="25" y="74"/>
                    <a:pt x="24" y="75"/>
                    <a:pt x="24" y="76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5" y="85"/>
                    <a:pt x="27" y="85"/>
                  </a:cubicBezTo>
                  <a:moveTo>
                    <a:pt x="27" y="65"/>
                  </a:moveTo>
                  <a:cubicBezTo>
                    <a:pt x="28" y="65"/>
                    <a:pt x="29" y="63"/>
                    <a:pt x="29" y="62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28" y="54"/>
                    <a:pt x="27" y="54"/>
                  </a:cubicBezTo>
                  <a:cubicBezTo>
                    <a:pt x="25" y="54"/>
                    <a:pt x="24" y="55"/>
                    <a:pt x="24" y="5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3"/>
                    <a:pt x="25" y="65"/>
                    <a:pt x="27" y="65"/>
                  </a:cubicBezTo>
                  <a:moveTo>
                    <a:pt x="63" y="65"/>
                  </a:moveTo>
                  <a:cubicBezTo>
                    <a:pt x="64" y="65"/>
                    <a:pt x="66" y="63"/>
                    <a:pt x="66" y="62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5"/>
                    <a:pt x="64" y="54"/>
                    <a:pt x="63" y="54"/>
                  </a:cubicBezTo>
                  <a:cubicBezTo>
                    <a:pt x="62" y="54"/>
                    <a:pt x="61" y="55"/>
                    <a:pt x="61" y="56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2" y="65"/>
                    <a:pt x="63" y="65"/>
                  </a:cubicBezTo>
                  <a:moveTo>
                    <a:pt x="90" y="94"/>
                  </a:moveTo>
                  <a:cubicBezTo>
                    <a:pt x="89" y="94"/>
                    <a:pt x="88" y="95"/>
                    <a:pt x="88" y="96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88" y="104"/>
                    <a:pt x="89" y="105"/>
                    <a:pt x="90" y="105"/>
                  </a:cubicBezTo>
                  <a:cubicBezTo>
                    <a:pt x="91" y="105"/>
                    <a:pt x="93" y="104"/>
                    <a:pt x="93" y="102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5"/>
                    <a:pt x="91" y="94"/>
                    <a:pt x="90" y="94"/>
                  </a:cubicBezTo>
                  <a:moveTo>
                    <a:pt x="90" y="74"/>
                  </a:moveTo>
                  <a:cubicBezTo>
                    <a:pt x="89" y="74"/>
                    <a:pt x="88" y="75"/>
                    <a:pt x="88" y="76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4"/>
                    <a:pt x="89" y="85"/>
                    <a:pt x="90" y="85"/>
                  </a:cubicBezTo>
                  <a:cubicBezTo>
                    <a:pt x="91" y="85"/>
                    <a:pt x="93" y="84"/>
                    <a:pt x="93" y="82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1" y="74"/>
                    <a:pt x="90" y="74"/>
                  </a:cubicBezTo>
                  <a:moveTo>
                    <a:pt x="90" y="34"/>
                  </a:moveTo>
                  <a:cubicBezTo>
                    <a:pt x="89" y="34"/>
                    <a:pt x="88" y="35"/>
                    <a:pt x="88" y="36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3"/>
                    <a:pt x="89" y="44"/>
                    <a:pt x="90" y="44"/>
                  </a:cubicBezTo>
                  <a:cubicBezTo>
                    <a:pt x="91" y="44"/>
                    <a:pt x="93" y="43"/>
                    <a:pt x="93" y="42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1" y="34"/>
                    <a:pt x="90" y="34"/>
                  </a:cubicBezTo>
                  <a:moveTo>
                    <a:pt x="63" y="105"/>
                  </a:moveTo>
                  <a:cubicBezTo>
                    <a:pt x="64" y="105"/>
                    <a:pt x="66" y="104"/>
                    <a:pt x="66" y="102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5"/>
                    <a:pt x="64" y="94"/>
                    <a:pt x="63" y="94"/>
                  </a:cubicBezTo>
                  <a:cubicBezTo>
                    <a:pt x="62" y="94"/>
                    <a:pt x="61" y="95"/>
                    <a:pt x="61" y="96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04"/>
                    <a:pt x="62" y="105"/>
                    <a:pt x="63" y="105"/>
                  </a:cubicBezTo>
                  <a:moveTo>
                    <a:pt x="90" y="54"/>
                  </a:moveTo>
                  <a:cubicBezTo>
                    <a:pt x="89" y="54"/>
                    <a:pt x="88" y="55"/>
                    <a:pt x="88" y="56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9" y="65"/>
                    <a:pt x="90" y="65"/>
                  </a:cubicBezTo>
                  <a:cubicBezTo>
                    <a:pt x="91" y="65"/>
                    <a:pt x="93" y="63"/>
                    <a:pt x="93" y="62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1" y="54"/>
                    <a:pt x="90" y="54"/>
                  </a:cubicBezTo>
                  <a:moveTo>
                    <a:pt x="63" y="85"/>
                  </a:moveTo>
                  <a:cubicBezTo>
                    <a:pt x="64" y="85"/>
                    <a:pt x="66" y="84"/>
                    <a:pt x="66" y="82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5"/>
                    <a:pt x="64" y="74"/>
                    <a:pt x="63" y="74"/>
                  </a:cubicBezTo>
                  <a:cubicBezTo>
                    <a:pt x="62" y="74"/>
                    <a:pt x="61" y="75"/>
                    <a:pt x="61" y="76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4"/>
                    <a:pt x="62" y="85"/>
                    <a:pt x="63" y="85"/>
                  </a:cubicBezTo>
                  <a:moveTo>
                    <a:pt x="63" y="44"/>
                  </a:moveTo>
                  <a:cubicBezTo>
                    <a:pt x="64" y="44"/>
                    <a:pt x="66" y="43"/>
                    <a:pt x="66" y="42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4" y="34"/>
                    <a:pt x="63" y="34"/>
                  </a:cubicBezTo>
                  <a:cubicBezTo>
                    <a:pt x="62" y="34"/>
                    <a:pt x="61" y="35"/>
                    <a:pt x="61" y="3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3"/>
                    <a:pt x="62" y="44"/>
                    <a:pt x="63" y="44"/>
                  </a:cubicBezTo>
                  <a:moveTo>
                    <a:pt x="63" y="24"/>
                  </a:moveTo>
                  <a:cubicBezTo>
                    <a:pt x="64" y="24"/>
                    <a:pt x="66" y="23"/>
                    <a:pt x="66" y="22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6" y="14"/>
                    <a:pt x="64" y="13"/>
                    <a:pt x="63" y="13"/>
                  </a:cubicBezTo>
                  <a:cubicBezTo>
                    <a:pt x="62" y="13"/>
                    <a:pt x="61" y="14"/>
                    <a:pt x="61" y="16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3"/>
                    <a:pt x="62" y="24"/>
                    <a:pt x="63" y="24"/>
                  </a:cubicBezTo>
                  <a:moveTo>
                    <a:pt x="81" y="115"/>
                  </a:moveTo>
                  <a:cubicBezTo>
                    <a:pt x="81" y="24"/>
                    <a:pt x="81" y="24"/>
                    <a:pt x="81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0" y="115"/>
                    <a:pt x="100" y="115"/>
                    <a:pt x="100" y="115"/>
                  </a:cubicBezTo>
                  <a:lnTo>
                    <a:pt x="81" y="115"/>
                  </a:lnTo>
                  <a:close/>
                  <a:moveTo>
                    <a:pt x="7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4"/>
                    <a:pt x="52" y="93"/>
                    <a:pt x="51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7" y="93"/>
                    <a:pt x="36" y="94"/>
                    <a:pt x="36" y="9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6" y="5"/>
                    <a:pt x="76" y="5"/>
                    <a:pt x="76" y="5"/>
                  </a:cubicBezTo>
                  <a:lnTo>
                    <a:pt x="76" y="115"/>
                  </a:lnTo>
                  <a:close/>
                  <a:moveTo>
                    <a:pt x="49" y="115"/>
                  </a:moveTo>
                  <a:cubicBezTo>
                    <a:pt x="41" y="115"/>
                    <a:pt x="41" y="115"/>
                    <a:pt x="41" y="115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9" y="98"/>
                    <a:pt x="49" y="98"/>
                    <a:pt x="49" y="98"/>
                  </a:cubicBezTo>
                  <a:lnTo>
                    <a:pt x="49" y="115"/>
                  </a:lnTo>
                  <a:close/>
                  <a:moveTo>
                    <a:pt x="112" y="115"/>
                  </a:moveTo>
                  <a:cubicBezTo>
                    <a:pt x="105" y="115"/>
                    <a:pt x="105" y="115"/>
                    <a:pt x="105" y="115"/>
                  </a:cubicBezTo>
                  <a:cubicBezTo>
                    <a:pt x="105" y="115"/>
                    <a:pt x="105" y="115"/>
                    <a:pt x="105" y="115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0"/>
                    <a:pt x="104" y="19"/>
                    <a:pt x="10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1"/>
                    <a:pt x="80" y="0"/>
                    <a:pt x="7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1" y="115"/>
                    <a:pt x="0" y="117"/>
                    <a:pt x="0" y="118"/>
                  </a:cubicBezTo>
                  <a:cubicBezTo>
                    <a:pt x="0" y="119"/>
                    <a:pt x="1" y="120"/>
                    <a:pt x="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3" y="120"/>
                    <a:pt x="114" y="119"/>
                    <a:pt x="114" y="118"/>
                  </a:cubicBezTo>
                  <a:cubicBezTo>
                    <a:pt x="114" y="117"/>
                    <a:pt x="113" y="115"/>
                    <a:pt x="112" y="1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F76A58CA-0C0E-4CBD-AAEE-30D6156FD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500" y="1701801"/>
              <a:ext cx="444500" cy="466725"/>
            </a:xfrm>
            <a:custGeom>
              <a:avLst/>
              <a:gdLst>
                <a:gd name="T0" fmla="*/ 47 w 114"/>
                <a:gd name="T1" fmla="*/ 76 h 120"/>
                <a:gd name="T2" fmla="*/ 42 w 114"/>
                <a:gd name="T3" fmla="*/ 82 h 120"/>
                <a:gd name="T4" fmla="*/ 47 w 114"/>
                <a:gd name="T5" fmla="*/ 62 h 120"/>
                <a:gd name="T6" fmla="*/ 42 w 114"/>
                <a:gd name="T7" fmla="*/ 56 h 120"/>
                <a:gd name="T8" fmla="*/ 27 w 114"/>
                <a:gd name="T9" fmla="*/ 105 h 120"/>
                <a:gd name="T10" fmla="*/ 27 w 114"/>
                <a:gd name="T11" fmla="*/ 94 h 120"/>
                <a:gd name="T12" fmla="*/ 27 w 114"/>
                <a:gd name="T13" fmla="*/ 105 h 120"/>
                <a:gd name="T14" fmla="*/ 47 w 114"/>
                <a:gd name="T15" fmla="*/ 36 h 120"/>
                <a:gd name="T16" fmla="*/ 42 w 114"/>
                <a:gd name="T17" fmla="*/ 42 h 120"/>
                <a:gd name="T18" fmla="*/ 47 w 114"/>
                <a:gd name="T19" fmla="*/ 22 h 120"/>
                <a:gd name="T20" fmla="*/ 42 w 114"/>
                <a:gd name="T21" fmla="*/ 16 h 120"/>
                <a:gd name="T22" fmla="*/ 27 w 114"/>
                <a:gd name="T23" fmla="*/ 24 h 120"/>
                <a:gd name="T24" fmla="*/ 27 w 114"/>
                <a:gd name="T25" fmla="*/ 13 h 120"/>
                <a:gd name="T26" fmla="*/ 27 w 114"/>
                <a:gd name="T27" fmla="*/ 24 h 120"/>
                <a:gd name="T28" fmla="*/ 29 w 114"/>
                <a:gd name="T29" fmla="*/ 36 h 120"/>
                <a:gd name="T30" fmla="*/ 24 w 114"/>
                <a:gd name="T31" fmla="*/ 42 h 120"/>
                <a:gd name="T32" fmla="*/ 29 w 114"/>
                <a:gd name="T33" fmla="*/ 82 h 120"/>
                <a:gd name="T34" fmla="*/ 24 w 114"/>
                <a:gd name="T35" fmla="*/ 76 h 120"/>
                <a:gd name="T36" fmla="*/ 27 w 114"/>
                <a:gd name="T37" fmla="*/ 65 h 120"/>
                <a:gd name="T38" fmla="*/ 27 w 114"/>
                <a:gd name="T39" fmla="*/ 54 h 120"/>
                <a:gd name="T40" fmla="*/ 27 w 114"/>
                <a:gd name="T41" fmla="*/ 65 h 120"/>
                <a:gd name="T42" fmla="*/ 66 w 114"/>
                <a:gd name="T43" fmla="*/ 56 h 120"/>
                <a:gd name="T44" fmla="*/ 61 w 114"/>
                <a:gd name="T45" fmla="*/ 62 h 120"/>
                <a:gd name="T46" fmla="*/ 88 w 114"/>
                <a:gd name="T47" fmla="*/ 96 h 120"/>
                <a:gd name="T48" fmla="*/ 93 w 114"/>
                <a:gd name="T49" fmla="*/ 102 h 120"/>
                <a:gd name="T50" fmla="*/ 90 w 114"/>
                <a:gd name="T51" fmla="*/ 74 h 120"/>
                <a:gd name="T52" fmla="*/ 90 w 114"/>
                <a:gd name="T53" fmla="*/ 85 h 120"/>
                <a:gd name="T54" fmla="*/ 90 w 114"/>
                <a:gd name="T55" fmla="*/ 74 h 120"/>
                <a:gd name="T56" fmla="*/ 88 w 114"/>
                <a:gd name="T57" fmla="*/ 42 h 120"/>
                <a:gd name="T58" fmla="*/ 93 w 114"/>
                <a:gd name="T59" fmla="*/ 36 h 120"/>
                <a:gd name="T60" fmla="*/ 66 w 114"/>
                <a:gd name="T61" fmla="*/ 102 h 120"/>
                <a:gd name="T62" fmla="*/ 61 w 114"/>
                <a:gd name="T63" fmla="*/ 96 h 120"/>
                <a:gd name="T64" fmla="*/ 90 w 114"/>
                <a:gd name="T65" fmla="*/ 54 h 120"/>
                <a:gd name="T66" fmla="*/ 90 w 114"/>
                <a:gd name="T67" fmla="*/ 65 h 120"/>
                <a:gd name="T68" fmla="*/ 90 w 114"/>
                <a:gd name="T69" fmla="*/ 54 h 120"/>
                <a:gd name="T70" fmla="*/ 66 w 114"/>
                <a:gd name="T71" fmla="*/ 76 h 120"/>
                <a:gd name="T72" fmla="*/ 61 w 114"/>
                <a:gd name="T73" fmla="*/ 82 h 120"/>
                <a:gd name="T74" fmla="*/ 66 w 114"/>
                <a:gd name="T75" fmla="*/ 42 h 120"/>
                <a:gd name="T76" fmla="*/ 61 w 114"/>
                <a:gd name="T77" fmla="*/ 36 h 120"/>
                <a:gd name="T78" fmla="*/ 63 w 114"/>
                <a:gd name="T79" fmla="*/ 24 h 120"/>
                <a:gd name="T80" fmla="*/ 63 w 114"/>
                <a:gd name="T81" fmla="*/ 13 h 120"/>
                <a:gd name="T82" fmla="*/ 63 w 114"/>
                <a:gd name="T83" fmla="*/ 24 h 120"/>
                <a:gd name="T84" fmla="*/ 100 w 114"/>
                <a:gd name="T85" fmla="*/ 24 h 120"/>
                <a:gd name="T86" fmla="*/ 81 w 114"/>
                <a:gd name="T87" fmla="*/ 115 h 120"/>
                <a:gd name="T88" fmla="*/ 54 w 114"/>
                <a:gd name="T89" fmla="*/ 95 h 120"/>
                <a:gd name="T90" fmla="*/ 36 w 114"/>
                <a:gd name="T91" fmla="*/ 95 h 120"/>
                <a:gd name="T92" fmla="*/ 14 w 114"/>
                <a:gd name="T93" fmla="*/ 5 h 120"/>
                <a:gd name="T94" fmla="*/ 49 w 114"/>
                <a:gd name="T95" fmla="*/ 115 h 120"/>
                <a:gd name="T96" fmla="*/ 49 w 114"/>
                <a:gd name="T97" fmla="*/ 98 h 120"/>
                <a:gd name="T98" fmla="*/ 105 w 114"/>
                <a:gd name="T99" fmla="*/ 115 h 120"/>
                <a:gd name="T100" fmla="*/ 103 w 114"/>
                <a:gd name="T101" fmla="*/ 19 h 120"/>
                <a:gd name="T102" fmla="*/ 78 w 114"/>
                <a:gd name="T103" fmla="*/ 0 h 120"/>
                <a:gd name="T104" fmla="*/ 9 w 114"/>
                <a:gd name="T105" fmla="*/ 115 h 120"/>
                <a:gd name="T106" fmla="*/ 2 w 114"/>
                <a:gd name="T107" fmla="*/ 120 h 120"/>
                <a:gd name="T108" fmla="*/ 112 w 114"/>
                <a:gd name="T109" fmla="*/ 11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" h="120">
                  <a:moveTo>
                    <a:pt x="45" y="85"/>
                  </a:moveTo>
                  <a:cubicBezTo>
                    <a:pt x="46" y="85"/>
                    <a:pt x="47" y="84"/>
                    <a:pt x="47" y="82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4"/>
                    <a:pt x="45" y="74"/>
                  </a:cubicBezTo>
                  <a:cubicBezTo>
                    <a:pt x="44" y="74"/>
                    <a:pt x="42" y="75"/>
                    <a:pt x="42" y="76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4"/>
                    <a:pt x="44" y="85"/>
                    <a:pt x="45" y="85"/>
                  </a:cubicBezTo>
                  <a:moveTo>
                    <a:pt x="45" y="65"/>
                  </a:moveTo>
                  <a:cubicBezTo>
                    <a:pt x="46" y="65"/>
                    <a:pt x="47" y="63"/>
                    <a:pt x="47" y="62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6" y="54"/>
                    <a:pt x="45" y="54"/>
                  </a:cubicBezTo>
                  <a:cubicBezTo>
                    <a:pt x="44" y="54"/>
                    <a:pt x="42" y="55"/>
                    <a:pt x="42" y="5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3"/>
                    <a:pt x="44" y="65"/>
                    <a:pt x="45" y="65"/>
                  </a:cubicBezTo>
                  <a:moveTo>
                    <a:pt x="27" y="105"/>
                  </a:moveTo>
                  <a:cubicBezTo>
                    <a:pt x="28" y="105"/>
                    <a:pt x="29" y="104"/>
                    <a:pt x="29" y="102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5"/>
                    <a:pt x="28" y="94"/>
                    <a:pt x="27" y="94"/>
                  </a:cubicBezTo>
                  <a:cubicBezTo>
                    <a:pt x="25" y="94"/>
                    <a:pt x="24" y="95"/>
                    <a:pt x="24" y="96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4"/>
                    <a:pt x="25" y="105"/>
                    <a:pt x="27" y="105"/>
                  </a:cubicBezTo>
                  <a:moveTo>
                    <a:pt x="45" y="44"/>
                  </a:moveTo>
                  <a:cubicBezTo>
                    <a:pt x="46" y="44"/>
                    <a:pt x="47" y="43"/>
                    <a:pt x="47" y="4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5"/>
                    <a:pt x="46" y="34"/>
                    <a:pt x="45" y="34"/>
                  </a:cubicBezTo>
                  <a:cubicBezTo>
                    <a:pt x="44" y="34"/>
                    <a:pt x="42" y="35"/>
                    <a:pt x="42" y="36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3"/>
                    <a:pt x="44" y="44"/>
                    <a:pt x="45" y="44"/>
                  </a:cubicBezTo>
                  <a:moveTo>
                    <a:pt x="45" y="24"/>
                  </a:moveTo>
                  <a:cubicBezTo>
                    <a:pt x="46" y="24"/>
                    <a:pt x="47" y="23"/>
                    <a:pt x="47" y="22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4"/>
                    <a:pt x="46" y="13"/>
                    <a:pt x="45" y="13"/>
                  </a:cubicBezTo>
                  <a:cubicBezTo>
                    <a:pt x="44" y="13"/>
                    <a:pt x="42" y="14"/>
                    <a:pt x="42" y="16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3"/>
                    <a:pt x="44" y="24"/>
                    <a:pt x="45" y="24"/>
                  </a:cubicBezTo>
                  <a:moveTo>
                    <a:pt x="27" y="24"/>
                  </a:moveTo>
                  <a:cubicBezTo>
                    <a:pt x="28" y="24"/>
                    <a:pt x="29" y="23"/>
                    <a:pt x="29" y="22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3"/>
                    <a:pt x="27" y="13"/>
                  </a:cubicBezTo>
                  <a:cubicBezTo>
                    <a:pt x="25" y="13"/>
                    <a:pt x="24" y="14"/>
                    <a:pt x="24" y="16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3"/>
                    <a:pt x="25" y="24"/>
                    <a:pt x="27" y="24"/>
                  </a:cubicBezTo>
                  <a:moveTo>
                    <a:pt x="27" y="44"/>
                  </a:moveTo>
                  <a:cubicBezTo>
                    <a:pt x="28" y="44"/>
                    <a:pt x="29" y="43"/>
                    <a:pt x="29" y="4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5"/>
                    <a:pt x="28" y="34"/>
                    <a:pt x="27" y="34"/>
                  </a:cubicBezTo>
                  <a:cubicBezTo>
                    <a:pt x="25" y="34"/>
                    <a:pt x="24" y="35"/>
                    <a:pt x="24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43"/>
                    <a:pt x="25" y="44"/>
                    <a:pt x="27" y="44"/>
                  </a:cubicBezTo>
                  <a:moveTo>
                    <a:pt x="27" y="85"/>
                  </a:moveTo>
                  <a:cubicBezTo>
                    <a:pt x="28" y="85"/>
                    <a:pt x="29" y="84"/>
                    <a:pt x="29" y="82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8" y="74"/>
                    <a:pt x="27" y="74"/>
                  </a:cubicBezTo>
                  <a:cubicBezTo>
                    <a:pt x="25" y="74"/>
                    <a:pt x="24" y="75"/>
                    <a:pt x="24" y="76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5" y="85"/>
                    <a:pt x="27" y="85"/>
                  </a:cubicBezTo>
                  <a:moveTo>
                    <a:pt x="27" y="65"/>
                  </a:moveTo>
                  <a:cubicBezTo>
                    <a:pt x="28" y="65"/>
                    <a:pt x="29" y="63"/>
                    <a:pt x="29" y="62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28" y="54"/>
                    <a:pt x="27" y="54"/>
                  </a:cubicBezTo>
                  <a:cubicBezTo>
                    <a:pt x="25" y="54"/>
                    <a:pt x="24" y="55"/>
                    <a:pt x="24" y="5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3"/>
                    <a:pt x="25" y="65"/>
                    <a:pt x="27" y="65"/>
                  </a:cubicBezTo>
                  <a:moveTo>
                    <a:pt x="63" y="65"/>
                  </a:moveTo>
                  <a:cubicBezTo>
                    <a:pt x="64" y="65"/>
                    <a:pt x="66" y="63"/>
                    <a:pt x="66" y="62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5"/>
                    <a:pt x="64" y="54"/>
                    <a:pt x="63" y="54"/>
                  </a:cubicBezTo>
                  <a:cubicBezTo>
                    <a:pt x="62" y="54"/>
                    <a:pt x="61" y="55"/>
                    <a:pt x="61" y="56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2" y="65"/>
                    <a:pt x="63" y="65"/>
                  </a:cubicBezTo>
                  <a:moveTo>
                    <a:pt x="90" y="94"/>
                  </a:moveTo>
                  <a:cubicBezTo>
                    <a:pt x="89" y="94"/>
                    <a:pt x="88" y="95"/>
                    <a:pt x="88" y="96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88" y="104"/>
                    <a:pt x="89" y="105"/>
                    <a:pt x="90" y="105"/>
                  </a:cubicBezTo>
                  <a:cubicBezTo>
                    <a:pt x="91" y="105"/>
                    <a:pt x="93" y="104"/>
                    <a:pt x="93" y="102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5"/>
                    <a:pt x="91" y="94"/>
                    <a:pt x="90" y="94"/>
                  </a:cubicBezTo>
                  <a:moveTo>
                    <a:pt x="90" y="74"/>
                  </a:moveTo>
                  <a:cubicBezTo>
                    <a:pt x="89" y="74"/>
                    <a:pt x="88" y="75"/>
                    <a:pt x="88" y="76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4"/>
                    <a:pt x="89" y="85"/>
                    <a:pt x="90" y="85"/>
                  </a:cubicBezTo>
                  <a:cubicBezTo>
                    <a:pt x="91" y="85"/>
                    <a:pt x="93" y="84"/>
                    <a:pt x="93" y="82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1" y="74"/>
                    <a:pt x="90" y="74"/>
                  </a:cubicBezTo>
                  <a:moveTo>
                    <a:pt x="90" y="34"/>
                  </a:moveTo>
                  <a:cubicBezTo>
                    <a:pt x="89" y="34"/>
                    <a:pt x="88" y="35"/>
                    <a:pt x="88" y="36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3"/>
                    <a:pt x="89" y="44"/>
                    <a:pt x="90" y="44"/>
                  </a:cubicBezTo>
                  <a:cubicBezTo>
                    <a:pt x="91" y="44"/>
                    <a:pt x="93" y="43"/>
                    <a:pt x="93" y="42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1" y="34"/>
                    <a:pt x="90" y="34"/>
                  </a:cubicBezTo>
                  <a:moveTo>
                    <a:pt x="63" y="105"/>
                  </a:moveTo>
                  <a:cubicBezTo>
                    <a:pt x="64" y="105"/>
                    <a:pt x="66" y="104"/>
                    <a:pt x="66" y="102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5"/>
                    <a:pt x="64" y="94"/>
                    <a:pt x="63" y="94"/>
                  </a:cubicBezTo>
                  <a:cubicBezTo>
                    <a:pt x="62" y="94"/>
                    <a:pt x="61" y="95"/>
                    <a:pt x="61" y="96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04"/>
                    <a:pt x="62" y="105"/>
                    <a:pt x="63" y="105"/>
                  </a:cubicBezTo>
                  <a:moveTo>
                    <a:pt x="90" y="54"/>
                  </a:moveTo>
                  <a:cubicBezTo>
                    <a:pt x="89" y="54"/>
                    <a:pt x="88" y="55"/>
                    <a:pt x="88" y="56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9" y="65"/>
                    <a:pt x="90" y="65"/>
                  </a:cubicBezTo>
                  <a:cubicBezTo>
                    <a:pt x="91" y="65"/>
                    <a:pt x="93" y="63"/>
                    <a:pt x="93" y="62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1" y="54"/>
                    <a:pt x="90" y="54"/>
                  </a:cubicBezTo>
                  <a:moveTo>
                    <a:pt x="63" y="85"/>
                  </a:moveTo>
                  <a:cubicBezTo>
                    <a:pt x="64" y="85"/>
                    <a:pt x="66" y="84"/>
                    <a:pt x="66" y="82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5"/>
                    <a:pt x="64" y="74"/>
                    <a:pt x="63" y="74"/>
                  </a:cubicBezTo>
                  <a:cubicBezTo>
                    <a:pt x="62" y="74"/>
                    <a:pt x="61" y="75"/>
                    <a:pt x="61" y="76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4"/>
                    <a:pt x="62" y="85"/>
                    <a:pt x="63" y="85"/>
                  </a:cubicBezTo>
                  <a:moveTo>
                    <a:pt x="63" y="44"/>
                  </a:moveTo>
                  <a:cubicBezTo>
                    <a:pt x="64" y="44"/>
                    <a:pt x="66" y="43"/>
                    <a:pt x="66" y="42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4" y="34"/>
                    <a:pt x="63" y="34"/>
                  </a:cubicBezTo>
                  <a:cubicBezTo>
                    <a:pt x="62" y="34"/>
                    <a:pt x="61" y="35"/>
                    <a:pt x="61" y="3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3"/>
                    <a:pt x="62" y="44"/>
                    <a:pt x="63" y="44"/>
                  </a:cubicBezTo>
                  <a:moveTo>
                    <a:pt x="63" y="24"/>
                  </a:moveTo>
                  <a:cubicBezTo>
                    <a:pt x="64" y="24"/>
                    <a:pt x="66" y="23"/>
                    <a:pt x="66" y="22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6" y="14"/>
                    <a:pt x="64" y="13"/>
                    <a:pt x="63" y="13"/>
                  </a:cubicBezTo>
                  <a:cubicBezTo>
                    <a:pt x="62" y="13"/>
                    <a:pt x="61" y="14"/>
                    <a:pt x="61" y="16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3"/>
                    <a:pt x="62" y="24"/>
                    <a:pt x="63" y="24"/>
                  </a:cubicBezTo>
                  <a:moveTo>
                    <a:pt x="81" y="115"/>
                  </a:moveTo>
                  <a:cubicBezTo>
                    <a:pt x="81" y="24"/>
                    <a:pt x="81" y="24"/>
                    <a:pt x="81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0" y="115"/>
                    <a:pt x="100" y="115"/>
                    <a:pt x="100" y="115"/>
                  </a:cubicBezTo>
                  <a:lnTo>
                    <a:pt x="81" y="115"/>
                  </a:lnTo>
                  <a:close/>
                  <a:moveTo>
                    <a:pt x="7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4"/>
                    <a:pt x="52" y="93"/>
                    <a:pt x="51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7" y="93"/>
                    <a:pt x="36" y="94"/>
                    <a:pt x="36" y="9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6" y="5"/>
                    <a:pt x="76" y="5"/>
                    <a:pt x="76" y="5"/>
                  </a:cubicBezTo>
                  <a:lnTo>
                    <a:pt x="76" y="115"/>
                  </a:lnTo>
                  <a:close/>
                  <a:moveTo>
                    <a:pt x="49" y="115"/>
                  </a:moveTo>
                  <a:cubicBezTo>
                    <a:pt x="41" y="115"/>
                    <a:pt x="41" y="115"/>
                    <a:pt x="41" y="115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9" y="98"/>
                    <a:pt x="49" y="98"/>
                    <a:pt x="49" y="98"/>
                  </a:cubicBezTo>
                  <a:lnTo>
                    <a:pt x="49" y="115"/>
                  </a:lnTo>
                  <a:close/>
                  <a:moveTo>
                    <a:pt x="112" y="115"/>
                  </a:moveTo>
                  <a:cubicBezTo>
                    <a:pt x="105" y="115"/>
                    <a:pt x="105" y="115"/>
                    <a:pt x="105" y="115"/>
                  </a:cubicBezTo>
                  <a:cubicBezTo>
                    <a:pt x="105" y="115"/>
                    <a:pt x="105" y="115"/>
                    <a:pt x="105" y="115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0"/>
                    <a:pt x="104" y="19"/>
                    <a:pt x="10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1"/>
                    <a:pt x="80" y="0"/>
                    <a:pt x="7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1" y="115"/>
                    <a:pt x="0" y="117"/>
                    <a:pt x="0" y="118"/>
                  </a:cubicBezTo>
                  <a:cubicBezTo>
                    <a:pt x="0" y="119"/>
                    <a:pt x="1" y="120"/>
                    <a:pt x="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3" y="120"/>
                    <a:pt x="114" y="119"/>
                    <a:pt x="114" y="118"/>
                  </a:cubicBezTo>
                  <a:cubicBezTo>
                    <a:pt x="114" y="117"/>
                    <a:pt x="113" y="115"/>
                    <a:pt x="112" y="1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E8F964E-AA41-424F-AD30-9570680114DE}"/>
              </a:ext>
            </a:extLst>
          </p:cNvPr>
          <p:cNvGrpSpPr/>
          <p:nvPr/>
        </p:nvGrpSpPr>
        <p:grpSpPr>
          <a:xfrm>
            <a:off x="2590800" y="1544637"/>
            <a:ext cx="844550" cy="844550"/>
            <a:chOff x="2590800" y="1554163"/>
            <a:chExt cx="844550" cy="844550"/>
          </a:xfrm>
        </p:grpSpPr>
        <p:sp>
          <p:nvSpPr>
            <p:cNvPr id="88" name="AutoShape 63">
              <a:extLst>
                <a:ext uri="{FF2B5EF4-FFF2-40B4-BE49-F238E27FC236}">
                  <a16:creationId xmlns:a16="http://schemas.microsoft.com/office/drawing/2014/main" id="{4EF20683-0E1C-41BE-ADAD-7DAC732C94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90800" y="1554163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65">
              <a:extLst>
                <a:ext uri="{FF2B5EF4-FFF2-40B4-BE49-F238E27FC236}">
                  <a16:creationId xmlns:a16="http://schemas.microsoft.com/office/drawing/2014/main" id="{23DE0A03-E7AA-4DE3-A59C-D73B08AD8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0800" y="1554163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6">
              <a:extLst>
                <a:ext uri="{FF2B5EF4-FFF2-40B4-BE49-F238E27FC236}">
                  <a16:creationId xmlns:a16="http://schemas.microsoft.com/office/drawing/2014/main" id="{A8C47F05-5BAF-4F0D-8973-B1ED975D8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375" y="1582738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7">
              <a:extLst>
                <a:ext uri="{FF2B5EF4-FFF2-40B4-BE49-F238E27FC236}">
                  <a16:creationId xmlns:a16="http://schemas.microsoft.com/office/drawing/2014/main" id="{33EDDEB3-4260-49CB-876E-BE5420BAA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0" y="1733551"/>
              <a:ext cx="463550" cy="487363"/>
            </a:xfrm>
            <a:custGeom>
              <a:avLst/>
              <a:gdLst>
                <a:gd name="T0" fmla="*/ 47 w 114"/>
                <a:gd name="T1" fmla="*/ 76 h 120"/>
                <a:gd name="T2" fmla="*/ 42 w 114"/>
                <a:gd name="T3" fmla="*/ 82 h 120"/>
                <a:gd name="T4" fmla="*/ 47 w 114"/>
                <a:gd name="T5" fmla="*/ 62 h 120"/>
                <a:gd name="T6" fmla="*/ 42 w 114"/>
                <a:gd name="T7" fmla="*/ 56 h 120"/>
                <a:gd name="T8" fmla="*/ 27 w 114"/>
                <a:gd name="T9" fmla="*/ 105 h 120"/>
                <a:gd name="T10" fmla="*/ 27 w 114"/>
                <a:gd name="T11" fmla="*/ 94 h 120"/>
                <a:gd name="T12" fmla="*/ 27 w 114"/>
                <a:gd name="T13" fmla="*/ 105 h 120"/>
                <a:gd name="T14" fmla="*/ 47 w 114"/>
                <a:gd name="T15" fmla="*/ 36 h 120"/>
                <a:gd name="T16" fmla="*/ 42 w 114"/>
                <a:gd name="T17" fmla="*/ 42 h 120"/>
                <a:gd name="T18" fmla="*/ 47 w 114"/>
                <a:gd name="T19" fmla="*/ 22 h 120"/>
                <a:gd name="T20" fmla="*/ 42 w 114"/>
                <a:gd name="T21" fmla="*/ 16 h 120"/>
                <a:gd name="T22" fmla="*/ 27 w 114"/>
                <a:gd name="T23" fmla="*/ 24 h 120"/>
                <a:gd name="T24" fmla="*/ 27 w 114"/>
                <a:gd name="T25" fmla="*/ 13 h 120"/>
                <a:gd name="T26" fmla="*/ 27 w 114"/>
                <a:gd name="T27" fmla="*/ 24 h 120"/>
                <a:gd name="T28" fmla="*/ 29 w 114"/>
                <a:gd name="T29" fmla="*/ 36 h 120"/>
                <a:gd name="T30" fmla="*/ 24 w 114"/>
                <a:gd name="T31" fmla="*/ 42 h 120"/>
                <a:gd name="T32" fmla="*/ 29 w 114"/>
                <a:gd name="T33" fmla="*/ 82 h 120"/>
                <a:gd name="T34" fmla="*/ 24 w 114"/>
                <a:gd name="T35" fmla="*/ 76 h 120"/>
                <a:gd name="T36" fmla="*/ 27 w 114"/>
                <a:gd name="T37" fmla="*/ 65 h 120"/>
                <a:gd name="T38" fmla="*/ 27 w 114"/>
                <a:gd name="T39" fmla="*/ 54 h 120"/>
                <a:gd name="T40" fmla="*/ 27 w 114"/>
                <a:gd name="T41" fmla="*/ 65 h 120"/>
                <a:gd name="T42" fmla="*/ 66 w 114"/>
                <a:gd name="T43" fmla="*/ 56 h 120"/>
                <a:gd name="T44" fmla="*/ 61 w 114"/>
                <a:gd name="T45" fmla="*/ 62 h 120"/>
                <a:gd name="T46" fmla="*/ 88 w 114"/>
                <a:gd name="T47" fmla="*/ 96 h 120"/>
                <a:gd name="T48" fmla="*/ 93 w 114"/>
                <a:gd name="T49" fmla="*/ 102 h 120"/>
                <a:gd name="T50" fmla="*/ 90 w 114"/>
                <a:gd name="T51" fmla="*/ 74 h 120"/>
                <a:gd name="T52" fmla="*/ 90 w 114"/>
                <a:gd name="T53" fmla="*/ 85 h 120"/>
                <a:gd name="T54" fmla="*/ 90 w 114"/>
                <a:gd name="T55" fmla="*/ 74 h 120"/>
                <a:gd name="T56" fmla="*/ 88 w 114"/>
                <a:gd name="T57" fmla="*/ 42 h 120"/>
                <a:gd name="T58" fmla="*/ 93 w 114"/>
                <a:gd name="T59" fmla="*/ 36 h 120"/>
                <a:gd name="T60" fmla="*/ 66 w 114"/>
                <a:gd name="T61" fmla="*/ 102 h 120"/>
                <a:gd name="T62" fmla="*/ 61 w 114"/>
                <a:gd name="T63" fmla="*/ 96 h 120"/>
                <a:gd name="T64" fmla="*/ 90 w 114"/>
                <a:gd name="T65" fmla="*/ 54 h 120"/>
                <a:gd name="T66" fmla="*/ 90 w 114"/>
                <a:gd name="T67" fmla="*/ 65 h 120"/>
                <a:gd name="T68" fmla="*/ 90 w 114"/>
                <a:gd name="T69" fmla="*/ 54 h 120"/>
                <a:gd name="T70" fmla="*/ 66 w 114"/>
                <a:gd name="T71" fmla="*/ 76 h 120"/>
                <a:gd name="T72" fmla="*/ 61 w 114"/>
                <a:gd name="T73" fmla="*/ 82 h 120"/>
                <a:gd name="T74" fmla="*/ 66 w 114"/>
                <a:gd name="T75" fmla="*/ 42 h 120"/>
                <a:gd name="T76" fmla="*/ 61 w 114"/>
                <a:gd name="T77" fmla="*/ 36 h 120"/>
                <a:gd name="T78" fmla="*/ 63 w 114"/>
                <a:gd name="T79" fmla="*/ 24 h 120"/>
                <a:gd name="T80" fmla="*/ 63 w 114"/>
                <a:gd name="T81" fmla="*/ 13 h 120"/>
                <a:gd name="T82" fmla="*/ 63 w 114"/>
                <a:gd name="T83" fmla="*/ 24 h 120"/>
                <a:gd name="T84" fmla="*/ 100 w 114"/>
                <a:gd name="T85" fmla="*/ 24 h 120"/>
                <a:gd name="T86" fmla="*/ 81 w 114"/>
                <a:gd name="T87" fmla="*/ 115 h 120"/>
                <a:gd name="T88" fmla="*/ 54 w 114"/>
                <a:gd name="T89" fmla="*/ 95 h 120"/>
                <a:gd name="T90" fmla="*/ 36 w 114"/>
                <a:gd name="T91" fmla="*/ 95 h 120"/>
                <a:gd name="T92" fmla="*/ 14 w 114"/>
                <a:gd name="T93" fmla="*/ 5 h 120"/>
                <a:gd name="T94" fmla="*/ 49 w 114"/>
                <a:gd name="T95" fmla="*/ 115 h 120"/>
                <a:gd name="T96" fmla="*/ 49 w 114"/>
                <a:gd name="T97" fmla="*/ 98 h 120"/>
                <a:gd name="T98" fmla="*/ 105 w 114"/>
                <a:gd name="T99" fmla="*/ 115 h 120"/>
                <a:gd name="T100" fmla="*/ 103 w 114"/>
                <a:gd name="T101" fmla="*/ 19 h 120"/>
                <a:gd name="T102" fmla="*/ 78 w 114"/>
                <a:gd name="T103" fmla="*/ 0 h 120"/>
                <a:gd name="T104" fmla="*/ 9 w 114"/>
                <a:gd name="T105" fmla="*/ 115 h 120"/>
                <a:gd name="T106" fmla="*/ 2 w 114"/>
                <a:gd name="T107" fmla="*/ 120 h 120"/>
                <a:gd name="T108" fmla="*/ 112 w 114"/>
                <a:gd name="T109" fmla="*/ 11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" h="120">
                  <a:moveTo>
                    <a:pt x="45" y="85"/>
                  </a:moveTo>
                  <a:cubicBezTo>
                    <a:pt x="46" y="85"/>
                    <a:pt x="47" y="84"/>
                    <a:pt x="47" y="82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4"/>
                    <a:pt x="45" y="74"/>
                  </a:cubicBezTo>
                  <a:cubicBezTo>
                    <a:pt x="44" y="74"/>
                    <a:pt x="42" y="75"/>
                    <a:pt x="42" y="76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4"/>
                    <a:pt x="44" y="85"/>
                    <a:pt x="45" y="85"/>
                  </a:cubicBezTo>
                  <a:moveTo>
                    <a:pt x="45" y="65"/>
                  </a:moveTo>
                  <a:cubicBezTo>
                    <a:pt x="46" y="65"/>
                    <a:pt x="47" y="63"/>
                    <a:pt x="47" y="62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6" y="54"/>
                    <a:pt x="45" y="54"/>
                  </a:cubicBezTo>
                  <a:cubicBezTo>
                    <a:pt x="44" y="54"/>
                    <a:pt x="42" y="55"/>
                    <a:pt x="42" y="56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3"/>
                    <a:pt x="44" y="65"/>
                    <a:pt x="45" y="65"/>
                  </a:cubicBezTo>
                  <a:moveTo>
                    <a:pt x="27" y="105"/>
                  </a:moveTo>
                  <a:cubicBezTo>
                    <a:pt x="28" y="105"/>
                    <a:pt x="29" y="104"/>
                    <a:pt x="29" y="102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5"/>
                    <a:pt x="28" y="94"/>
                    <a:pt x="27" y="94"/>
                  </a:cubicBezTo>
                  <a:cubicBezTo>
                    <a:pt x="25" y="94"/>
                    <a:pt x="24" y="95"/>
                    <a:pt x="24" y="96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4"/>
                    <a:pt x="25" y="105"/>
                    <a:pt x="27" y="105"/>
                  </a:cubicBezTo>
                  <a:moveTo>
                    <a:pt x="45" y="44"/>
                  </a:moveTo>
                  <a:cubicBezTo>
                    <a:pt x="46" y="44"/>
                    <a:pt x="47" y="43"/>
                    <a:pt x="47" y="42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5"/>
                    <a:pt x="46" y="34"/>
                    <a:pt x="45" y="34"/>
                  </a:cubicBezTo>
                  <a:cubicBezTo>
                    <a:pt x="44" y="34"/>
                    <a:pt x="42" y="35"/>
                    <a:pt x="42" y="36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3"/>
                    <a:pt x="44" y="44"/>
                    <a:pt x="45" y="44"/>
                  </a:cubicBezTo>
                  <a:moveTo>
                    <a:pt x="45" y="24"/>
                  </a:moveTo>
                  <a:cubicBezTo>
                    <a:pt x="46" y="24"/>
                    <a:pt x="47" y="23"/>
                    <a:pt x="47" y="22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4"/>
                    <a:pt x="46" y="13"/>
                    <a:pt x="45" y="13"/>
                  </a:cubicBezTo>
                  <a:cubicBezTo>
                    <a:pt x="44" y="13"/>
                    <a:pt x="42" y="14"/>
                    <a:pt x="42" y="16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3"/>
                    <a:pt x="44" y="24"/>
                    <a:pt x="45" y="24"/>
                  </a:cubicBezTo>
                  <a:moveTo>
                    <a:pt x="27" y="24"/>
                  </a:moveTo>
                  <a:cubicBezTo>
                    <a:pt x="28" y="24"/>
                    <a:pt x="29" y="23"/>
                    <a:pt x="29" y="22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3"/>
                    <a:pt x="27" y="13"/>
                  </a:cubicBezTo>
                  <a:cubicBezTo>
                    <a:pt x="25" y="13"/>
                    <a:pt x="24" y="14"/>
                    <a:pt x="24" y="16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3"/>
                    <a:pt x="25" y="24"/>
                    <a:pt x="27" y="24"/>
                  </a:cubicBezTo>
                  <a:moveTo>
                    <a:pt x="27" y="44"/>
                  </a:moveTo>
                  <a:cubicBezTo>
                    <a:pt x="28" y="44"/>
                    <a:pt x="29" y="43"/>
                    <a:pt x="29" y="42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5"/>
                    <a:pt x="28" y="34"/>
                    <a:pt x="27" y="34"/>
                  </a:cubicBezTo>
                  <a:cubicBezTo>
                    <a:pt x="25" y="34"/>
                    <a:pt x="24" y="35"/>
                    <a:pt x="24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43"/>
                    <a:pt x="25" y="44"/>
                    <a:pt x="27" y="44"/>
                  </a:cubicBezTo>
                  <a:moveTo>
                    <a:pt x="27" y="85"/>
                  </a:moveTo>
                  <a:cubicBezTo>
                    <a:pt x="28" y="85"/>
                    <a:pt x="29" y="84"/>
                    <a:pt x="29" y="82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8" y="74"/>
                    <a:pt x="27" y="74"/>
                  </a:cubicBezTo>
                  <a:cubicBezTo>
                    <a:pt x="25" y="74"/>
                    <a:pt x="24" y="75"/>
                    <a:pt x="24" y="76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5" y="85"/>
                    <a:pt x="27" y="85"/>
                  </a:cubicBezTo>
                  <a:moveTo>
                    <a:pt x="27" y="65"/>
                  </a:moveTo>
                  <a:cubicBezTo>
                    <a:pt x="28" y="65"/>
                    <a:pt x="29" y="63"/>
                    <a:pt x="29" y="62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28" y="54"/>
                    <a:pt x="27" y="54"/>
                  </a:cubicBezTo>
                  <a:cubicBezTo>
                    <a:pt x="25" y="54"/>
                    <a:pt x="24" y="55"/>
                    <a:pt x="24" y="5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3"/>
                    <a:pt x="25" y="65"/>
                    <a:pt x="27" y="65"/>
                  </a:cubicBezTo>
                  <a:moveTo>
                    <a:pt x="63" y="65"/>
                  </a:moveTo>
                  <a:cubicBezTo>
                    <a:pt x="64" y="65"/>
                    <a:pt x="66" y="63"/>
                    <a:pt x="66" y="62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5"/>
                    <a:pt x="64" y="54"/>
                    <a:pt x="63" y="54"/>
                  </a:cubicBezTo>
                  <a:cubicBezTo>
                    <a:pt x="62" y="54"/>
                    <a:pt x="61" y="55"/>
                    <a:pt x="61" y="56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2" y="65"/>
                    <a:pt x="63" y="65"/>
                  </a:cubicBezTo>
                  <a:moveTo>
                    <a:pt x="90" y="94"/>
                  </a:moveTo>
                  <a:cubicBezTo>
                    <a:pt x="89" y="94"/>
                    <a:pt x="88" y="95"/>
                    <a:pt x="88" y="96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88" y="104"/>
                    <a:pt x="89" y="105"/>
                    <a:pt x="90" y="105"/>
                  </a:cubicBezTo>
                  <a:cubicBezTo>
                    <a:pt x="91" y="105"/>
                    <a:pt x="93" y="104"/>
                    <a:pt x="93" y="102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5"/>
                    <a:pt x="91" y="94"/>
                    <a:pt x="90" y="94"/>
                  </a:cubicBezTo>
                  <a:moveTo>
                    <a:pt x="90" y="74"/>
                  </a:moveTo>
                  <a:cubicBezTo>
                    <a:pt x="89" y="74"/>
                    <a:pt x="88" y="75"/>
                    <a:pt x="88" y="76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4"/>
                    <a:pt x="89" y="85"/>
                    <a:pt x="90" y="85"/>
                  </a:cubicBezTo>
                  <a:cubicBezTo>
                    <a:pt x="91" y="85"/>
                    <a:pt x="93" y="84"/>
                    <a:pt x="93" y="82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1" y="74"/>
                    <a:pt x="90" y="74"/>
                  </a:cubicBezTo>
                  <a:moveTo>
                    <a:pt x="90" y="34"/>
                  </a:moveTo>
                  <a:cubicBezTo>
                    <a:pt x="89" y="34"/>
                    <a:pt x="88" y="35"/>
                    <a:pt x="88" y="36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3"/>
                    <a:pt x="89" y="44"/>
                    <a:pt x="90" y="44"/>
                  </a:cubicBezTo>
                  <a:cubicBezTo>
                    <a:pt x="91" y="44"/>
                    <a:pt x="93" y="43"/>
                    <a:pt x="93" y="42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1" y="34"/>
                    <a:pt x="90" y="34"/>
                  </a:cubicBezTo>
                  <a:moveTo>
                    <a:pt x="63" y="105"/>
                  </a:moveTo>
                  <a:cubicBezTo>
                    <a:pt x="64" y="105"/>
                    <a:pt x="66" y="104"/>
                    <a:pt x="66" y="102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5"/>
                    <a:pt x="64" y="94"/>
                    <a:pt x="63" y="94"/>
                  </a:cubicBezTo>
                  <a:cubicBezTo>
                    <a:pt x="62" y="94"/>
                    <a:pt x="61" y="95"/>
                    <a:pt x="61" y="96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04"/>
                    <a:pt x="62" y="105"/>
                    <a:pt x="63" y="105"/>
                  </a:cubicBezTo>
                  <a:moveTo>
                    <a:pt x="90" y="54"/>
                  </a:moveTo>
                  <a:cubicBezTo>
                    <a:pt x="89" y="54"/>
                    <a:pt x="88" y="55"/>
                    <a:pt x="88" y="56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9" y="65"/>
                    <a:pt x="90" y="65"/>
                  </a:cubicBezTo>
                  <a:cubicBezTo>
                    <a:pt x="91" y="65"/>
                    <a:pt x="93" y="63"/>
                    <a:pt x="93" y="62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1" y="54"/>
                    <a:pt x="90" y="54"/>
                  </a:cubicBezTo>
                  <a:moveTo>
                    <a:pt x="63" y="85"/>
                  </a:moveTo>
                  <a:cubicBezTo>
                    <a:pt x="64" y="85"/>
                    <a:pt x="66" y="84"/>
                    <a:pt x="66" y="82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5"/>
                    <a:pt x="64" y="74"/>
                    <a:pt x="63" y="74"/>
                  </a:cubicBezTo>
                  <a:cubicBezTo>
                    <a:pt x="62" y="74"/>
                    <a:pt x="61" y="75"/>
                    <a:pt x="61" y="76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4"/>
                    <a:pt x="62" y="85"/>
                    <a:pt x="63" y="85"/>
                  </a:cubicBezTo>
                  <a:moveTo>
                    <a:pt x="63" y="44"/>
                  </a:moveTo>
                  <a:cubicBezTo>
                    <a:pt x="64" y="44"/>
                    <a:pt x="66" y="43"/>
                    <a:pt x="66" y="42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4" y="34"/>
                    <a:pt x="63" y="34"/>
                  </a:cubicBezTo>
                  <a:cubicBezTo>
                    <a:pt x="62" y="34"/>
                    <a:pt x="61" y="35"/>
                    <a:pt x="61" y="3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3"/>
                    <a:pt x="62" y="44"/>
                    <a:pt x="63" y="44"/>
                  </a:cubicBezTo>
                  <a:moveTo>
                    <a:pt x="63" y="24"/>
                  </a:moveTo>
                  <a:cubicBezTo>
                    <a:pt x="64" y="24"/>
                    <a:pt x="66" y="23"/>
                    <a:pt x="66" y="22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6" y="14"/>
                    <a:pt x="64" y="13"/>
                    <a:pt x="63" y="13"/>
                  </a:cubicBezTo>
                  <a:cubicBezTo>
                    <a:pt x="62" y="13"/>
                    <a:pt x="61" y="14"/>
                    <a:pt x="61" y="16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3"/>
                    <a:pt x="62" y="24"/>
                    <a:pt x="63" y="24"/>
                  </a:cubicBezTo>
                  <a:moveTo>
                    <a:pt x="81" y="115"/>
                  </a:moveTo>
                  <a:cubicBezTo>
                    <a:pt x="81" y="24"/>
                    <a:pt x="81" y="24"/>
                    <a:pt x="81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0" y="115"/>
                    <a:pt x="100" y="115"/>
                    <a:pt x="100" y="115"/>
                  </a:cubicBezTo>
                  <a:lnTo>
                    <a:pt x="81" y="115"/>
                  </a:lnTo>
                  <a:close/>
                  <a:moveTo>
                    <a:pt x="7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4"/>
                    <a:pt x="52" y="93"/>
                    <a:pt x="51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7" y="93"/>
                    <a:pt x="36" y="94"/>
                    <a:pt x="36" y="95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6" y="5"/>
                    <a:pt x="76" y="5"/>
                    <a:pt x="76" y="5"/>
                  </a:cubicBezTo>
                  <a:lnTo>
                    <a:pt x="76" y="115"/>
                  </a:lnTo>
                  <a:close/>
                  <a:moveTo>
                    <a:pt x="49" y="115"/>
                  </a:moveTo>
                  <a:cubicBezTo>
                    <a:pt x="41" y="115"/>
                    <a:pt x="41" y="115"/>
                    <a:pt x="41" y="115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9" y="98"/>
                    <a:pt x="49" y="98"/>
                    <a:pt x="49" y="98"/>
                  </a:cubicBezTo>
                  <a:lnTo>
                    <a:pt x="49" y="115"/>
                  </a:lnTo>
                  <a:close/>
                  <a:moveTo>
                    <a:pt x="112" y="115"/>
                  </a:moveTo>
                  <a:cubicBezTo>
                    <a:pt x="105" y="115"/>
                    <a:pt x="105" y="115"/>
                    <a:pt x="105" y="115"/>
                  </a:cubicBezTo>
                  <a:cubicBezTo>
                    <a:pt x="105" y="115"/>
                    <a:pt x="105" y="115"/>
                    <a:pt x="105" y="115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0"/>
                    <a:pt x="104" y="19"/>
                    <a:pt x="10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1"/>
                    <a:pt x="80" y="0"/>
                    <a:pt x="7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1" y="115"/>
                    <a:pt x="0" y="117"/>
                    <a:pt x="0" y="118"/>
                  </a:cubicBezTo>
                  <a:cubicBezTo>
                    <a:pt x="0" y="119"/>
                    <a:pt x="1" y="120"/>
                    <a:pt x="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3" y="120"/>
                    <a:pt x="114" y="119"/>
                    <a:pt x="114" y="118"/>
                  </a:cubicBezTo>
                  <a:cubicBezTo>
                    <a:pt x="114" y="117"/>
                    <a:pt x="113" y="115"/>
                    <a:pt x="112" y="1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E4DBEB5-3E80-4AFD-93C8-B2EC2C506723}"/>
              </a:ext>
            </a:extLst>
          </p:cNvPr>
          <p:cNvGrpSpPr/>
          <p:nvPr/>
        </p:nvGrpSpPr>
        <p:grpSpPr>
          <a:xfrm>
            <a:off x="5822950" y="1587500"/>
            <a:ext cx="758825" cy="758825"/>
            <a:chOff x="5822950" y="1554163"/>
            <a:chExt cx="758825" cy="758825"/>
          </a:xfrm>
        </p:grpSpPr>
        <p:sp>
          <p:nvSpPr>
            <p:cNvPr id="96" name="AutoShape 69">
              <a:extLst>
                <a:ext uri="{FF2B5EF4-FFF2-40B4-BE49-F238E27FC236}">
                  <a16:creationId xmlns:a16="http://schemas.microsoft.com/office/drawing/2014/main" id="{8B622B3F-993B-4E21-BE20-1ED54BC54F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22950" y="15541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1">
              <a:extLst>
                <a:ext uri="{FF2B5EF4-FFF2-40B4-BE49-F238E27FC236}">
                  <a16:creationId xmlns:a16="http://schemas.microsoft.com/office/drawing/2014/main" id="{E14E0ACD-1736-4AE0-B2A6-4902D0B68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6125" y="155733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2">
              <a:extLst>
                <a:ext uri="{FF2B5EF4-FFF2-40B4-BE49-F238E27FC236}">
                  <a16:creationId xmlns:a16="http://schemas.microsoft.com/office/drawing/2014/main" id="{4711068E-FDE9-4370-8656-0278B4E92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9638" y="1693863"/>
              <a:ext cx="428625" cy="482600"/>
            </a:xfrm>
            <a:custGeom>
              <a:avLst/>
              <a:gdLst>
                <a:gd name="T0" fmla="*/ 92 w 110"/>
                <a:gd name="T1" fmla="*/ 87 h 124"/>
                <a:gd name="T2" fmla="*/ 105 w 110"/>
                <a:gd name="T3" fmla="*/ 119 h 124"/>
                <a:gd name="T4" fmla="*/ 93 w 110"/>
                <a:gd name="T5" fmla="*/ 56 h 124"/>
                <a:gd name="T6" fmla="*/ 104 w 110"/>
                <a:gd name="T7" fmla="*/ 82 h 124"/>
                <a:gd name="T8" fmla="*/ 93 w 110"/>
                <a:gd name="T9" fmla="*/ 56 h 124"/>
                <a:gd name="T10" fmla="*/ 103 w 110"/>
                <a:gd name="T11" fmla="*/ 29 h 124"/>
                <a:gd name="T12" fmla="*/ 93 w 110"/>
                <a:gd name="T13" fmla="*/ 52 h 124"/>
                <a:gd name="T14" fmla="*/ 94 w 110"/>
                <a:gd name="T15" fmla="*/ 9 h 124"/>
                <a:gd name="T16" fmla="*/ 98 w 110"/>
                <a:gd name="T17" fmla="*/ 5 h 124"/>
                <a:gd name="T18" fmla="*/ 103 w 110"/>
                <a:gd name="T19" fmla="*/ 9 h 124"/>
                <a:gd name="T20" fmla="*/ 93 w 110"/>
                <a:gd name="T21" fmla="*/ 24 h 124"/>
                <a:gd name="T22" fmla="*/ 87 w 110"/>
                <a:gd name="T23" fmla="*/ 119 h 124"/>
                <a:gd name="T24" fmla="*/ 81 w 110"/>
                <a:gd name="T25" fmla="*/ 68 h 124"/>
                <a:gd name="T26" fmla="*/ 81 w 110"/>
                <a:gd name="T27" fmla="*/ 67 h 124"/>
                <a:gd name="T28" fmla="*/ 70 w 110"/>
                <a:gd name="T29" fmla="*/ 61 h 124"/>
                <a:gd name="T30" fmla="*/ 57 w 110"/>
                <a:gd name="T31" fmla="*/ 62 h 124"/>
                <a:gd name="T32" fmla="*/ 41 w 110"/>
                <a:gd name="T33" fmla="*/ 67 h 124"/>
                <a:gd name="T34" fmla="*/ 40 w 110"/>
                <a:gd name="T35" fmla="*/ 68 h 124"/>
                <a:gd name="T36" fmla="*/ 17 w 110"/>
                <a:gd name="T37" fmla="*/ 98 h 124"/>
                <a:gd name="T38" fmla="*/ 49 w 110"/>
                <a:gd name="T39" fmla="*/ 53 h 124"/>
                <a:gd name="T40" fmla="*/ 26 w 110"/>
                <a:gd name="T41" fmla="*/ 48 h 124"/>
                <a:gd name="T42" fmla="*/ 89 w 110"/>
                <a:gd name="T43" fmla="*/ 37 h 124"/>
                <a:gd name="T44" fmla="*/ 76 w 110"/>
                <a:gd name="T45" fmla="*/ 119 h 124"/>
                <a:gd name="T46" fmla="*/ 63 w 110"/>
                <a:gd name="T47" fmla="*/ 69 h 124"/>
                <a:gd name="T48" fmla="*/ 74 w 110"/>
                <a:gd name="T49" fmla="*/ 66 h 124"/>
                <a:gd name="T50" fmla="*/ 76 w 110"/>
                <a:gd name="T51" fmla="*/ 119 h 124"/>
                <a:gd name="T52" fmla="*/ 45 w 110"/>
                <a:gd name="T53" fmla="*/ 119 h 124"/>
                <a:gd name="T54" fmla="*/ 48 w 110"/>
                <a:gd name="T55" fmla="*/ 66 h 124"/>
                <a:gd name="T56" fmla="*/ 58 w 110"/>
                <a:gd name="T57" fmla="*/ 69 h 124"/>
                <a:gd name="T58" fmla="*/ 39 w 110"/>
                <a:gd name="T59" fmla="*/ 119 h 124"/>
                <a:gd name="T60" fmla="*/ 5 w 110"/>
                <a:gd name="T61" fmla="*/ 102 h 124"/>
                <a:gd name="T62" fmla="*/ 39 w 110"/>
                <a:gd name="T63" fmla="*/ 119 h 124"/>
                <a:gd name="T64" fmla="*/ 107 w 110"/>
                <a:gd name="T65" fmla="*/ 9 h 124"/>
                <a:gd name="T66" fmla="*/ 98 w 110"/>
                <a:gd name="T67" fmla="*/ 0 h 124"/>
                <a:gd name="T68" fmla="*/ 89 w 110"/>
                <a:gd name="T69" fmla="*/ 9 h 124"/>
                <a:gd name="T70" fmla="*/ 23 w 110"/>
                <a:gd name="T71" fmla="*/ 33 h 124"/>
                <a:gd name="T72" fmla="*/ 21 w 110"/>
                <a:gd name="T73" fmla="*/ 35 h 124"/>
                <a:gd name="T74" fmla="*/ 15 w 110"/>
                <a:gd name="T75" fmla="*/ 48 h 124"/>
                <a:gd name="T76" fmla="*/ 12 w 110"/>
                <a:gd name="T77" fmla="*/ 51 h 124"/>
                <a:gd name="T78" fmla="*/ 3 w 110"/>
                <a:gd name="T79" fmla="*/ 98 h 124"/>
                <a:gd name="T80" fmla="*/ 0 w 110"/>
                <a:gd name="T81" fmla="*/ 100 h 124"/>
                <a:gd name="T82" fmla="*/ 0 w 110"/>
                <a:gd name="T83" fmla="*/ 124 h 124"/>
                <a:gd name="T84" fmla="*/ 107 w 110"/>
                <a:gd name="T85" fmla="*/ 124 h 124"/>
                <a:gd name="T86" fmla="*/ 110 w 110"/>
                <a:gd name="T87" fmla="*/ 1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0" h="124">
                  <a:moveTo>
                    <a:pt x="92" y="119"/>
                  </a:moveTo>
                  <a:cubicBezTo>
                    <a:pt x="92" y="87"/>
                    <a:pt x="92" y="87"/>
                    <a:pt x="92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5" y="119"/>
                    <a:pt x="105" y="119"/>
                    <a:pt x="105" y="119"/>
                  </a:cubicBezTo>
                  <a:lnTo>
                    <a:pt x="92" y="119"/>
                  </a:lnTo>
                  <a:close/>
                  <a:moveTo>
                    <a:pt x="93" y="56"/>
                  </a:moveTo>
                  <a:cubicBezTo>
                    <a:pt x="104" y="56"/>
                    <a:pt x="104" y="56"/>
                    <a:pt x="104" y="5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92" y="82"/>
                    <a:pt x="92" y="82"/>
                    <a:pt x="92" y="82"/>
                  </a:cubicBezTo>
                  <a:lnTo>
                    <a:pt x="93" y="56"/>
                  </a:lnTo>
                  <a:close/>
                  <a:moveTo>
                    <a:pt x="93" y="29"/>
                  </a:moveTo>
                  <a:cubicBezTo>
                    <a:pt x="103" y="29"/>
                    <a:pt x="103" y="29"/>
                    <a:pt x="103" y="29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93" y="52"/>
                    <a:pt x="93" y="52"/>
                    <a:pt x="93" y="52"/>
                  </a:cubicBezTo>
                  <a:lnTo>
                    <a:pt x="93" y="29"/>
                  </a:lnTo>
                  <a:close/>
                  <a:moveTo>
                    <a:pt x="94" y="9"/>
                  </a:moveTo>
                  <a:cubicBezTo>
                    <a:pt x="94" y="7"/>
                    <a:pt x="95" y="6"/>
                    <a:pt x="96" y="5"/>
                  </a:cubicBezTo>
                  <a:cubicBezTo>
                    <a:pt x="97" y="5"/>
                    <a:pt x="98" y="5"/>
                    <a:pt x="98" y="5"/>
                  </a:cubicBezTo>
                  <a:cubicBezTo>
                    <a:pt x="99" y="5"/>
                    <a:pt x="100" y="5"/>
                    <a:pt x="100" y="5"/>
                  </a:cubicBezTo>
                  <a:cubicBezTo>
                    <a:pt x="102" y="6"/>
                    <a:pt x="103" y="7"/>
                    <a:pt x="103" y="9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3" y="24"/>
                    <a:pt x="93" y="24"/>
                    <a:pt x="93" y="24"/>
                  </a:cubicBezTo>
                  <a:lnTo>
                    <a:pt x="94" y="9"/>
                  </a:lnTo>
                  <a:close/>
                  <a:moveTo>
                    <a:pt x="87" y="119"/>
                  </a:moveTo>
                  <a:cubicBezTo>
                    <a:pt x="81" y="119"/>
                    <a:pt x="81" y="119"/>
                    <a:pt x="81" y="119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0" y="65"/>
                    <a:pt x="78" y="63"/>
                    <a:pt x="75" y="62"/>
                  </a:cubicBezTo>
                  <a:cubicBezTo>
                    <a:pt x="74" y="61"/>
                    <a:pt x="72" y="61"/>
                    <a:pt x="70" y="61"/>
                  </a:cubicBezTo>
                  <a:cubicBezTo>
                    <a:pt x="66" y="61"/>
                    <a:pt x="63" y="62"/>
                    <a:pt x="61" y="64"/>
                  </a:cubicBezTo>
                  <a:cubicBezTo>
                    <a:pt x="60" y="63"/>
                    <a:pt x="59" y="62"/>
                    <a:pt x="57" y="62"/>
                  </a:cubicBezTo>
                  <a:cubicBezTo>
                    <a:pt x="54" y="60"/>
                    <a:pt x="50" y="60"/>
                    <a:pt x="46" y="62"/>
                  </a:cubicBezTo>
                  <a:cubicBezTo>
                    <a:pt x="44" y="63"/>
                    <a:pt x="42" y="65"/>
                    <a:pt x="41" y="67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89" y="37"/>
                    <a:pt x="89" y="37"/>
                    <a:pt x="89" y="37"/>
                  </a:cubicBezTo>
                  <a:lnTo>
                    <a:pt x="87" y="119"/>
                  </a:lnTo>
                  <a:close/>
                  <a:moveTo>
                    <a:pt x="76" y="119"/>
                  </a:moveTo>
                  <a:cubicBezTo>
                    <a:pt x="63" y="119"/>
                    <a:pt x="63" y="119"/>
                    <a:pt x="63" y="11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4" y="66"/>
                    <a:pt x="67" y="65"/>
                    <a:pt x="70" y="65"/>
                  </a:cubicBezTo>
                  <a:cubicBezTo>
                    <a:pt x="71" y="65"/>
                    <a:pt x="72" y="65"/>
                    <a:pt x="74" y="66"/>
                  </a:cubicBezTo>
                  <a:cubicBezTo>
                    <a:pt x="75" y="67"/>
                    <a:pt x="76" y="67"/>
                    <a:pt x="76" y="69"/>
                  </a:cubicBezTo>
                  <a:lnTo>
                    <a:pt x="76" y="119"/>
                  </a:lnTo>
                  <a:close/>
                  <a:moveTo>
                    <a:pt x="58" y="119"/>
                  </a:moveTo>
                  <a:cubicBezTo>
                    <a:pt x="45" y="119"/>
                    <a:pt x="45" y="119"/>
                    <a:pt x="45" y="11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6" y="67"/>
                    <a:pt x="47" y="67"/>
                    <a:pt x="48" y="66"/>
                  </a:cubicBezTo>
                  <a:cubicBezTo>
                    <a:pt x="50" y="65"/>
                    <a:pt x="53" y="65"/>
                    <a:pt x="55" y="66"/>
                  </a:cubicBezTo>
                  <a:cubicBezTo>
                    <a:pt x="57" y="67"/>
                    <a:pt x="58" y="67"/>
                    <a:pt x="58" y="69"/>
                  </a:cubicBezTo>
                  <a:lnTo>
                    <a:pt x="58" y="119"/>
                  </a:lnTo>
                  <a:close/>
                  <a:moveTo>
                    <a:pt x="39" y="119"/>
                  </a:moveTo>
                  <a:cubicBezTo>
                    <a:pt x="5" y="119"/>
                    <a:pt x="5" y="119"/>
                    <a:pt x="5" y="119"/>
                  </a:cubicBezTo>
                  <a:cubicBezTo>
                    <a:pt x="5" y="102"/>
                    <a:pt x="5" y="102"/>
                    <a:pt x="5" y="102"/>
                  </a:cubicBezTo>
                  <a:cubicBezTo>
                    <a:pt x="39" y="102"/>
                    <a:pt x="39" y="102"/>
                    <a:pt x="39" y="102"/>
                  </a:cubicBezTo>
                  <a:lnTo>
                    <a:pt x="39" y="119"/>
                  </a:lnTo>
                  <a:close/>
                  <a:moveTo>
                    <a:pt x="110" y="121"/>
                  </a:moveTo>
                  <a:cubicBezTo>
                    <a:pt x="107" y="9"/>
                    <a:pt x="107" y="9"/>
                    <a:pt x="107" y="9"/>
                  </a:cubicBezTo>
                  <a:cubicBezTo>
                    <a:pt x="107" y="5"/>
                    <a:pt x="105" y="2"/>
                    <a:pt x="102" y="1"/>
                  </a:cubicBezTo>
                  <a:cubicBezTo>
                    <a:pt x="101" y="1"/>
                    <a:pt x="100" y="0"/>
                    <a:pt x="98" y="0"/>
                  </a:cubicBezTo>
                  <a:cubicBezTo>
                    <a:pt x="97" y="0"/>
                    <a:pt x="96" y="1"/>
                    <a:pt x="95" y="1"/>
                  </a:cubicBezTo>
                  <a:cubicBezTo>
                    <a:pt x="92" y="2"/>
                    <a:pt x="89" y="5"/>
                    <a:pt x="89" y="9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110" y="1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3">
              <a:extLst>
                <a:ext uri="{FF2B5EF4-FFF2-40B4-BE49-F238E27FC236}">
                  <a16:creationId xmlns:a16="http://schemas.microsoft.com/office/drawing/2014/main" id="{FF21A2B4-C595-426D-BE95-EE652944E7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9638" y="1693863"/>
              <a:ext cx="428625" cy="482600"/>
            </a:xfrm>
            <a:custGeom>
              <a:avLst/>
              <a:gdLst>
                <a:gd name="T0" fmla="*/ 92 w 110"/>
                <a:gd name="T1" fmla="*/ 87 h 124"/>
                <a:gd name="T2" fmla="*/ 105 w 110"/>
                <a:gd name="T3" fmla="*/ 119 h 124"/>
                <a:gd name="T4" fmla="*/ 93 w 110"/>
                <a:gd name="T5" fmla="*/ 56 h 124"/>
                <a:gd name="T6" fmla="*/ 104 w 110"/>
                <a:gd name="T7" fmla="*/ 82 h 124"/>
                <a:gd name="T8" fmla="*/ 93 w 110"/>
                <a:gd name="T9" fmla="*/ 56 h 124"/>
                <a:gd name="T10" fmla="*/ 103 w 110"/>
                <a:gd name="T11" fmla="*/ 29 h 124"/>
                <a:gd name="T12" fmla="*/ 93 w 110"/>
                <a:gd name="T13" fmla="*/ 52 h 124"/>
                <a:gd name="T14" fmla="*/ 94 w 110"/>
                <a:gd name="T15" fmla="*/ 9 h 124"/>
                <a:gd name="T16" fmla="*/ 98 w 110"/>
                <a:gd name="T17" fmla="*/ 5 h 124"/>
                <a:gd name="T18" fmla="*/ 103 w 110"/>
                <a:gd name="T19" fmla="*/ 9 h 124"/>
                <a:gd name="T20" fmla="*/ 93 w 110"/>
                <a:gd name="T21" fmla="*/ 24 h 124"/>
                <a:gd name="T22" fmla="*/ 87 w 110"/>
                <a:gd name="T23" fmla="*/ 119 h 124"/>
                <a:gd name="T24" fmla="*/ 81 w 110"/>
                <a:gd name="T25" fmla="*/ 68 h 124"/>
                <a:gd name="T26" fmla="*/ 81 w 110"/>
                <a:gd name="T27" fmla="*/ 67 h 124"/>
                <a:gd name="T28" fmla="*/ 70 w 110"/>
                <a:gd name="T29" fmla="*/ 61 h 124"/>
                <a:gd name="T30" fmla="*/ 57 w 110"/>
                <a:gd name="T31" fmla="*/ 62 h 124"/>
                <a:gd name="T32" fmla="*/ 41 w 110"/>
                <a:gd name="T33" fmla="*/ 67 h 124"/>
                <a:gd name="T34" fmla="*/ 40 w 110"/>
                <a:gd name="T35" fmla="*/ 68 h 124"/>
                <a:gd name="T36" fmla="*/ 17 w 110"/>
                <a:gd name="T37" fmla="*/ 98 h 124"/>
                <a:gd name="T38" fmla="*/ 49 w 110"/>
                <a:gd name="T39" fmla="*/ 53 h 124"/>
                <a:gd name="T40" fmla="*/ 26 w 110"/>
                <a:gd name="T41" fmla="*/ 48 h 124"/>
                <a:gd name="T42" fmla="*/ 89 w 110"/>
                <a:gd name="T43" fmla="*/ 37 h 124"/>
                <a:gd name="T44" fmla="*/ 76 w 110"/>
                <a:gd name="T45" fmla="*/ 119 h 124"/>
                <a:gd name="T46" fmla="*/ 63 w 110"/>
                <a:gd name="T47" fmla="*/ 69 h 124"/>
                <a:gd name="T48" fmla="*/ 74 w 110"/>
                <a:gd name="T49" fmla="*/ 66 h 124"/>
                <a:gd name="T50" fmla="*/ 76 w 110"/>
                <a:gd name="T51" fmla="*/ 119 h 124"/>
                <a:gd name="T52" fmla="*/ 45 w 110"/>
                <a:gd name="T53" fmla="*/ 119 h 124"/>
                <a:gd name="T54" fmla="*/ 48 w 110"/>
                <a:gd name="T55" fmla="*/ 66 h 124"/>
                <a:gd name="T56" fmla="*/ 58 w 110"/>
                <a:gd name="T57" fmla="*/ 69 h 124"/>
                <a:gd name="T58" fmla="*/ 39 w 110"/>
                <a:gd name="T59" fmla="*/ 119 h 124"/>
                <a:gd name="T60" fmla="*/ 5 w 110"/>
                <a:gd name="T61" fmla="*/ 102 h 124"/>
                <a:gd name="T62" fmla="*/ 39 w 110"/>
                <a:gd name="T63" fmla="*/ 119 h 124"/>
                <a:gd name="T64" fmla="*/ 107 w 110"/>
                <a:gd name="T65" fmla="*/ 9 h 124"/>
                <a:gd name="T66" fmla="*/ 98 w 110"/>
                <a:gd name="T67" fmla="*/ 0 h 124"/>
                <a:gd name="T68" fmla="*/ 89 w 110"/>
                <a:gd name="T69" fmla="*/ 9 h 124"/>
                <a:gd name="T70" fmla="*/ 23 w 110"/>
                <a:gd name="T71" fmla="*/ 33 h 124"/>
                <a:gd name="T72" fmla="*/ 21 w 110"/>
                <a:gd name="T73" fmla="*/ 35 h 124"/>
                <a:gd name="T74" fmla="*/ 15 w 110"/>
                <a:gd name="T75" fmla="*/ 48 h 124"/>
                <a:gd name="T76" fmla="*/ 12 w 110"/>
                <a:gd name="T77" fmla="*/ 51 h 124"/>
                <a:gd name="T78" fmla="*/ 3 w 110"/>
                <a:gd name="T79" fmla="*/ 98 h 124"/>
                <a:gd name="T80" fmla="*/ 0 w 110"/>
                <a:gd name="T81" fmla="*/ 100 h 124"/>
                <a:gd name="T82" fmla="*/ 0 w 110"/>
                <a:gd name="T83" fmla="*/ 124 h 124"/>
                <a:gd name="T84" fmla="*/ 107 w 110"/>
                <a:gd name="T85" fmla="*/ 124 h 124"/>
                <a:gd name="T86" fmla="*/ 110 w 110"/>
                <a:gd name="T87" fmla="*/ 1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0" h="124">
                  <a:moveTo>
                    <a:pt x="92" y="119"/>
                  </a:moveTo>
                  <a:cubicBezTo>
                    <a:pt x="92" y="87"/>
                    <a:pt x="92" y="87"/>
                    <a:pt x="92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5" y="119"/>
                    <a:pt x="105" y="119"/>
                    <a:pt x="105" y="119"/>
                  </a:cubicBezTo>
                  <a:lnTo>
                    <a:pt x="92" y="119"/>
                  </a:lnTo>
                  <a:close/>
                  <a:moveTo>
                    <a:pt x="93" y="56"/>
                  </a:moveTo>
                  <a:cubicBezTo>
                    <a:pt x="104" y="56"/>
                    <a:pt x="104" y="56"/>
                    <a:pt x="104" y="5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92" y="82"/>
                    <a:pt x="92" y="82"/>
                    <a:pt x="92" y="82"/>
                  </a:cubicBezTo>
                  <a:lnTo>
                    <a:pt x="93" y="56"/>
                  </a:lnTo>
                  <a:close/>
                  <a:moveTo>
                    <a:pt x="93" y="29"/>
                  </a:moveTo>
                  <a:cubicBezTo>
                    <a:pt x="103" y="29"/>
                    <a:pt x="103" y="29"/>
                    <a:pt x="103" y="29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93" y="52"/>
                    <a:pt x="93" y="52"/>
                    <a:pt x="93" y="52"/>
                  </a:cubicBezTo>
                  <a:lnTo>
                    <a:pt x="93" y="29"/>
                  </a:lnTo>
                  <a:close/>
                  <a:moveTo>
                    <a:pt x="94" y="9"/>
                  </a:moveTo>
                  <a:cubicBezTo>
                    <a:pt x="94" y="7"/>
                    <a:pt x="95" y="6"/>
                    <a:pt x="96" y="5"/>
                  </a:cubicBezTo>
                  <a:cubicBezTo>
                    <a:pt x="97" y="5"/>
                    <a:pt x="98" y="5"/>
                    <a:pt x="98" y="5"/>
                  </a:cubicBezTo>
                  <a:cubicBezTo>
                    <a:pt x="99" y="5"/>
                    <a:pt x="100" y="5"/>
                    <a:pt x="100" y="5"/>
                  </a:cubicBezTo>
                  <a:cubicBezTo>
                    <a:pt x="102" y="6"/>
                    <a:pt x="103" y="7"/>
                    <a:pt x="103" y="9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3" y="24"/>
                    <a:pt x="93" y="24"/>
                    <a:pt x="93" y="24"/>
                  </a:cubicBezTo>
                  <a:lnTo>
                    <a:pt x="94" y="9"/>
                  </a:lnTo>
                  <a:close/>
                  <a:moveTo>
                    <a:pt x="87" y="119"/>
                  </a:moveTo>
                  <a:cubicBezTo>
                    <a:pt x="81" y="119"/>
                    <a:pt x="81" y="119"/>
                    <a:pt x="81" y="119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0" y="65"/>
                    <a:pt x="78" y="63"/>
                    <a:pt x="75" y="62"/>
                  </a:cubicBezTo>
                  <a:cubicBezTo>
                    <a:pt x="74" y="61"/>
                    <a:pt x="72" y="61"/>
                    <a:pt x="70" y="61"/>
                  </a:cubicBezTo>
                  <a:cubicBezTo>
                    <a:pt x="66" y="61"/>
                    <a:pt x="63" y="62"/>
                    <a:pt x="61" y="64"/>
                  </a:cubicBezTo>
                  <a:cubicBezTo>
                    <a:pt x="60" y="63"/>
                    <a:pt x="59" y="62"/>
                    <a:pt x="57" y="62"/>
                  </a:cubicBezTo>
                  <a:cubicBezTo>
                    <a:pt x="54" y="60"/>
                    <a:pt x="50" y="60"/>
                    <a:pt x="46" y="62"/>
                  </a:cubicBezTo>
                  <a:cubicBezTo>
                    <a:pt x="44" y="63"/>
                    <a:pt x="42" y="65"/>
                    <a:pt x="41" y="67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89" y="37"/>
                    <a:pt x="89" y="37"/>
                    <a:pt x="89" y="37"/>
                  </a:cubicBezTo>
                  <a:lnTo>
                    <a:pt x="87" y="119"/>
                  </a:lnTo>
                  <a:close/>
                  <a:moveTo>
                    <a:pt x="76" y="119"/>
                  </a:moveTo>
                  <a:cubicBezTo>
                    <a:pt x="63" y="119"/>
                    <a:pt x="63" y="119"/>
                    <a:pt x="63" y="11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4" y="66"/>
                    <a:pt x="67" y="65"/>
                    <a:pt x="70" y="65"/>
                  </a:cubicBezTo>
                  <a:cubicBezTo>
                    <a:pt x="71" y="65"/>
                    <a:pt x="72" y="65"/>
                    <a:pt x="74" y="66"/>
                  </a:cubicBezTo>
                  <a:cubicBezTo>
                    <a:pt x="75" y="67"/>
                    <a:pt x="76" y="67"/>
                    <a:pt x="76" y="69"/>
                  </a:cubicBezTo>
                  <a:lnTo>
                    <a:pt x="76" y="119"/>
                  </a:lnTo>
                  <a:close/>
                  <a:moveTo>
                    <a:pt x="58" y="119"/>
                  </a:moveTo>
                  <a:cubicBezTo>
                    <a:pt x="45" y="119"/>
                    <a:pt x="45" y="119"/>
                    <a:pt x="45" y="11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6" y="67"/>
                    <a:pt x="47" y="67"/>
                    <a:pt x="48" y="66"/>
                  </a:cubicBezTo>
                  <a:cubicBezTo>
                    <a:pt x="50" y="65"/>
                    <a:pt x="53" y="65"/>
                    <a:pt x="55" y="66"/>
                  </a:cubicBezTo>
                  <a:cubicBezTo>
                    <a:pt x="57" y="67"/>
                    <a:pt x="58" y="67"/>
                    <a:pt x="58" y="69"/>
                  </a:cubicBezTo>
                  <a:lnTo>
                    <a:pt x="58" y="119"/>
                  </a:lnTo>
                  <a:close/>
                  <a:moveTo>
                    <a:pt x="39" y="119"/>
                  </a:moveTo>
                  <a:cubicBezTo>
                    <a:pt x="5" y="119"/>
                    <a:pt x="5" y="119"/>
                    <a:pt x="5" y="119"/>
                  </a:cubicBezTo>
                  <a:cubicBezTo>
                    <a:pt x="5" y="102"/>
                    <a:pt x="5" y="102"/>
                    <a:pt x="5" y="102"/>
                  </a:cubicBezTo>
                  <a:cubicBezTo>
                    <a:pt x="39" y="102"/>
                    <a:pt x="39" y="102"/>
                    <a:pt x="39" y="102"/>
                  </a:cubicBezTo>
                  <a:lnTo>
                    <a:pt x="39" y="119"/>
                  </a:lnTo>
                  <a:close/>
                  <a:moveTo>
                    <a:pt x="110" y="121"/>
                  </a:moveTo>
                  <a:cubicBezTo>
                    <a:pt x="107" y="9"/>
                    <a:pt x="107" y="9"/>
                    <a:pt x="107" y="9"/>
                  </a:cubicBezTo>
                  <a:cubicBezTo>
                    <a:pt x="107" y="5"/>
                    <a:pt x="105" y="2"/>
                    <a:pt x="102" y="1"/>
                  </a:cubicBezTo>
                  <a:cubicBezTo>
                    <a:pt x="101" y="1"/>
                    <a:pt x="100" y="0"/>
                    <a:pt x="98" y="0"/>
                  </a:cubicBezTo>
                  <a:cubicBezTo>
                    <a:pt x="97" y="0"/>
                    <a:pt x="96" y="1"/>
                    <a:pt x="95" y="1"/>
                  </a:cubicBezTo>
                  <a:cubicBezTo>
                    <a:pt x="92" y="2"/>
                    <a:pt x="89" y="5"/>
                    <a:pt x="89" y="9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110" y="1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BEBC069-D374-4FD5-926A-55DEF45D0196}"/>
              </a:ext>
            </a:extLst>
          </p:cNvPr>
          <p:cNvGrpSpPr/>
          <p:nvPr/>
        </p:nvGrpSpPr>
        <p:grpSpPr>
          <a:xfrm>
            <a:off x="4776788" y="1544637"/>
            <a:ext cx="847724" cy="844550"/>
            <a:chOff x="4776788" y="1530350"/>
            <a:chExt cx="847724" cy="844550"/>
          </a:xfrm>
        </p:grpSpPr>
        <p:sp>
          <p:nvSpPr>
            <p:cNvPr id="104" name="AutoShape 75">
              <a:extLst>
                <a:ext uri="{FF2B5EF4-FFF2-40B4-BE49-F238E27FC236}">
                  <a16:creationId xmlns:a16="http://schemas.microsoft.com/office/drawing/2014/main" id="{DB94F13F-320B-4F78-B734-2BEBA4F560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76788" y="1530350"/>
              <a:ext cx="842962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Oval 77">
              <a:extLst>
                <a:ext uri="{FF2B5EF4-FFF2-40B4-BE49-F238E27FC236}">
                  <a16:creationId xmlns:a16="http://schemas.microsoft.com/office/drawing/2014/main" id="{98A33FB1-98DA-4136-8B39-62CEECA27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6788" y="1530350"/>
              <a:ext cx="847724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8">
              <a:extLst>
                <a:ext uri="{FF2B5EF4-FFF2-40B4-BE49-F238E27FC236}">
                  <a16:creationId xmlns:a16="http://schemas.microsoft.com/office/drawing/2014/main" id="{1B37A884-4422-419F-B482-94CC11DC44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5363" y="1558925"/>
              <a:ext cx="790575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79">
              <a:extLst>
                <a:ext uri="{FF2B5EF4-FFF2-40B4-BE49-F238E27FC236}">
                  <a16:creationId xmlns:a16="http://schemas.microsoft.com/office/drawing/2014/main" id="{FD000659-1CA4-4361-9567-8FC6BF7BC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1700213"/>
              <a:ext cx="447675" cy="504825"/>
            </a:xfrm>
            <a:custGeom>
              <a:avLst/>
              <a:gdLst>
                <a:gd name="T0" fmla="*/ 92 w 110"/>
                <a:gd name="T1" fmla="*/ 87 h 124"/>
                <a:gd name="T2" fmla="*/ 105 w 110"/>
                <a:gd name="T3" fmla="*/ 119 h 124"/>
                <a:gd name="T4" fmla="*/ 93 w 110"/>
                <a:gd name="T5" fmla="*/ 56 h 124"/>
                <a:gd name="T6" fmla="*/ 104 w 110"/>
                <a:gd name="T7" fmla="*/ 82 h 124"/>
                <a:gd name="T8" fmla="*/ 93 w 110"/>
                <a:gd name="T9" fmla="*/ 56 h 124"/>
                <a:gd name="T10" fmla="*/ 103 w 110"/>
                <a:gd name="T11" fmla="*/ 29 h 124"/>
                <a:gd name="T12" fmla="*/ 93 w 110"/>
                <a:gd name="T13" fmla="*/ 52 h 124"/>
                <a:gd name="T14" fmla="*/ 94 w 110"/>
                <a:gd name="T15" fmla="*/ 9 h 124"/>
                <a:gd name="T16" fmla="*/ 98 w 110"/>
                <a:gd name="T17" fmla="*/ 5 h 124"/>
                <a:gd name="T18" fmla="*/ 103 w 110"/>
                <a:gd name="T19" fmla="*/ 9 h 124"/>
                <a:gd name="T20" fmla="*/ 93 w 110"/>
                <a:gd name="T21" fmla="*/ 24 h 124"/>
                <a:gd name="T22" fmla="*/ 87 w 110"/>
                <a:gd name="T23" fmla="*/ 119 h 124"/>
                <a:gd name="T24" fmla="*/ 81 w 110"/>
                <a:gd name="T25" fmla="*/ 68 h 124"/>
                <a:gd name="T26" fmla="*/ 81 w 110"/>
                <a:gd name="T27" fmla="*/ 67 h 124"/>
                <a:gd name="T28" fmla="*/ 70 w 110"/>
                <a:gd name="T29" fmla="*/ 61 h 124"/>
                <a:gd name="T30" fmla="*/ 57 w 110"/>
                <a:gd name="T31" fmla="*/ 62 h 124"/>
                <a:gd name="T32" fmla="*/ 41 w 110"/>
                <a:gd name="T33" fmla="*/ 67 h 124"/>
                <a:gd name="T34" fmla="*/ 40 w 110"/>
                <a:gd name="T35" fmla="*/ 68 h 124"/>
                <a:gd name="T36" fmla="*/ 17 w 110"/>
                <a:gd name="T37" fmla="*/ 98 h 124"/>
                <a:gd name="T38" fmla="*/ 49 w 110"/>
                <a:gd name="T39" fmla="*/ 53 h 124"/>
                <a:gd name="T40" fmla="*/ 26 w 110"/>
                <a:gd name="T41" fmla="*/ 48 h 124"/>
                <a:gd name="T42" fmla="*/ 89 w 110"/>
                <a:gd name="T43" fmla="*/ 37 h 124"/>
                <a:gd name="T44" fmla="*/ 76 w 110"/>
                <a:gd name="T45" fmla="*/ 119 h 124"/>
                <a:gd name="T46" fmla="*/ 63 w 110"/>
                <a:gd name="T47" fmla="*/ 69 h 124"/>
                <a:gd name="T48" fmla="*/ 74 w 110"/>
                <a:gd name="T49" fmla="*/ 66 h 124"/>
                <a:gd name="T50" fmla="*/ 76 w 110"/>
                <a:gd name="T51" fmla="*/ 119 h 124"/>
                <a:gd name="T52" fmla="*/ 45 w 110"/>
                <a:gd name="T53" fmla="*/ 119 h 124"/>
                <a:gd name="T54" fmla="*/ 48 w 110"/>
                <a:gd name="T55" fmla="*/ 66 h 124"/>
                <a:gd name="T56" fmla="*/ 58 w 110"/>
                <a:gd name="T57" fmla="*/ 69 h 124"/>
                <a:gd name="T58" fmla="*/ 39 w 110"/>
                <a:gd name="T59" fmla="*/ 119 h 124"/>
                <a:gd name="T60" fmla="*/ 5 w 110"/>
                <a:gd name="T61" fmla="*/ 102 h 124"/>
                <a:gd name="T62" fmla="*/ 39 w 110"/>
                <a:gd name="T63" fmla="*/ 119 h 124"/>
                <a:gd name="T64" fmla="*/ 107 w 110"/>
                <a:gd name="T65" fmla="*/ 9 h 124"/>
                <a:gd name="T66" fmla="*/ 98 w 110"/>
                <a:gd name="T67" fmla="*/ 0 h 124"/>
                <a:gd name="T68" fmla="*/ 89 w 110"/>
                <a:gd name="T69" fmla="*/ 9 h 124"/>
                <a:gd name="T70" fmla="*/ 23 w 110"/>
                <a:gd name="T71" fmla="*/ 33 h 124"/>
                <a:gd name="T72" fmla="*/ 21 w 110"/>
                <a:gd name="T73" fmla="*/ 35 h 124"/>
                <a:gd name="T74" fmla="*/ 15 w 110"/>
                <a:gd name="T75" fmla="*/ 48 h 124"/>
                <a:gd name="T76" fmla="*/ 12 w 110"/>
                <a:gd name="T77" fmla="*/ 51 h 124"/>
                <a:gd name="T78" fmla="*/ 3 w 110"/>
                <a:gd name="T79" fmla="*/ 98 h 124"/>
                <a:gd name="T80" fmla="*/ 0 w 110"/>
                <a:gd name="T81" fmla="*/ 100 h 124"/>
                <a:gd name="T82" fmla="*/ 0 w 110"/>
                <a:gd name="T83" fmla="*/ 124 h 124"/>
                <a:gd name="T84" fmla="*/ 107 w 110"/>
                <a:gd name="T85" fmla="*/ 124 h 124"/>
                <a:gd name="T86" fmla="*/ 110 w 110"/>
                <a:gd name="T87" fmla="*/ 1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0" h="124">
                  <a:moveTo>
                    <a:pt x="92" y="119"/>
                  </a:moveTo>
                  <a:cubicBezTo>
                    <a:pt x="92" y="87"/>
                    <a:pt x="92" y="87"/>
                    <a:pt x="92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05" y="119"/>
                    <a:pt x="105" y="119"/>
                    <a:pt x="105" y="119"/>
                  </a:cubicBezTo>
                  <a:lnTo>
                    <a:pt x="92" y="119"/>
                  </a:lnTo>
                  <a:close/>
                  <a:moveTo>
                    <a:pt x="93" y="56"/>
                  </a:moveTo>
                  <a:cubicBezTo>
                    <a:pt x="104" y="56"/>
                    <a:pt x="104" y="56"/>
                    <a:pt x="104" y="5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92" y="82"/>
                    <a:pt x="92" y="82"/>
                    <a:pt x="92" y="82"/>
                  </a:cubicBezTo>
                  <a:lnTo>
                    <a:pt x="93" y="56"/>
                  </a:lnTo>
                  <a:close/>
                  <a:moveTo>
                    <a:pt x="93" y="29"/>
                  </a:moveTo>
                  <a:cubicBezTo>
                    <a:pt x="103" y="29"/>
                    <a:pt x="103" y="29"/>
                    <a:pt x="103" y="29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93" y="52"/>
                    <a:pt x="93" y="52"/>
                    <a:pt x="93" y="52"/>
                  </a:cubicBezTo>
                  <a:lnTo>
                    <a:pt x="93" y="29"/>
                  </a:lnTo>
                  <a:close/>
                  <a:moveTo>
                    <a:pt x="94" y="9"/>
                  </a:moveTo>
                  <a:cubicBezTo>
                    <a:pt x="94" y="7"/>
                    <a:pt x="95" y="6"/>
                    <a:pt x="96" y="5"/>
                  </a:cubicBezTo>
                  <a:cubicBezTo>
                    <a:pt x="97" y="5"/>
                    <a:pt x="98" y="5"/>
                    <a:pt x="98" y="5"/>
                  </a:cubicBezTo>
                  <a:cubicBezTo>
                    <a:pt x="99" y="5"/>
                    <a:pt x="100" y="5"/>
                    <a:pt x="100" y="5"/>
                  </a:cubicBezTo>
                  <a:cubicBezTo>
                    <a:pt x="102" y="6"/>
                    <a:pt x="103" y="7"/>
                    <a:pt x="103" y="9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3" y="24"/>
                    <a:pt x="93" y="24"/>
                    <a:pt x="93" y="24"/>
                  </a:cubicBezTo>
                  <a:lnTo>
                    <a:pt x="94" y="9"/>
                  </a:lnTo>
                  <a:close/>
                  <a:moveTo>
                    <a:pt x="87" y="119"/>
                  </a:moveTo>
                  <a:cubicBezTo>
                    <a:pt x="81" y="119"/>
                    <a:pt x="81" y="119"/>
                    <a:pt x="81" y="119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0" y="65"/>
                    <a:pt x="78" y="63"/>
                    <a:pt x="75" y="62"/>
                  </a:cubicBezTo>
                  <a:cubicBezTo>
                    <a:pt x="74" y="61"/>
                    <a:pt x="72" y="61"/>
                    <a:pt x="70" y="61"/>
                  </a:cubicBezTo>
                  <a:cubicBezTo>
                    <a:pt x="66" y="61"/>
                    <a:pt x="63" y="62"/>
                    <a:pt x="61" y="64"/>
                  </a:cubicBezTo>
                  <a:cubicBezTo>
                    <a:pt x="60" y="63"/>
                    <a:pt x="59" y="62"/>
                    <a:pt x="57" y="62"/>
                  </a:cubicBezTo>
                  <a:cubicBezTo>
                    <a:pt x="54" y="60"/>
                    <a:pt x="50" y="60"/>
                    <a:pt x="46" y="62"/>
                  </a:cubicBezTo>
                  <a:cubicBezTo>
                    <a:pt x="44" y="63"/>
                    <a:pt x="42" y="65"/>
                    <a:pt x="41" y="67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89" y="37"/>
                    <a:pt x="89" y="37"/>
                    <a:pt x="89" y="37"/>
                  </a:cubicBezTo>
                  <a:lnTo>
                    <a:pt x="87" y="119"/>
                  </a:lnTo>
                  <a:close/>
                  <a:moveTo>
                    <a:pt x="76" y="119"/>
                  </a:moveTo>
                  <a:cubicBezTo>
                    <a:pt x="63" y="119"/>
                    <a:pt x="63" y="119"/>
                    <a:pt x="63" y="11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4" y="66"/>
                    <a:pt x="67" y="65"/>
                    <a:pt x="70" y="65"/>
                  </a:cubicBezTo>
                  <a:cubicBezTo>
                    <a:pt x="71" y="65"/>
                    <a:pt x="72" y="65"/>
                    <a:pt x="74" y="66"/>
                  </a:cubicBezTo>
                  <a:cubicBezTo>
                    <a:pt x="75" y="67"/>
                    <a:pt x="76" y="67"/>
                    <a:pt x="76" y="69"/>
                  </a:cubicBezTo>
                  <a:lnTo>
                    <a:pt x="76" y="119"/>
                  </a:lnTo>
                  <a:close/>
                  <a:moveTo>
                    <a:pt x="58" y="119"/>
                  </a:moveTo>
                  <a:cubicBezTo>
                    <a:pt x="45" y="119"/>
                    <a:pt x="45" y="119"/>
                    <a:pt x="45" y="11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6" y="67"/>
                    <a:pt x="47" y="67"/>
                    <a:pt x="48" y="66"/>
                  </a:cubicBezTo>
                  <a:cubicBezTo>
                    <a:pt x="50" y="65"/>
                    <a:pt x="53" y="65"/>
                    <a:pt x="55" y="66"/>
                  </a:cubicBezTo>
                  <a:cubicBezTo>
                    <a:pt x="57" y="67"/>
                    <a:pt x="58" y="67"/>
                    <a:pt x="58" y="69"/>
                  </a:cubicBezTo>
                  <a:lnTo>
                    <a:pt x="58" y="119"/>
                  </a:lnTo>
                  <a:close/>
                  <a:moveTo>
                    <a:pt x="39" y="119"/>
                  </a:moveTo>
                  <a:cubicBezTo>
                    <a:pt x="5" y="119"/>
                    <a:pt x="5" y="119"/>
                    <a:pt x="5" y="119"/>
                  </a:cubicBezTo>
                  <a:cubicBezTo>
                    <a:pt x="5" y="102"/>
                    <a:pt x="5" y="102"/>
                    <a:pt x="5" y="102"/>
                  </a:cubicBezTo>
                  <a:cubicBezTo>
                    <a:pt x="39" y="102"/>
                    <a:pt x="39" y="102"/>
                    <a:pt x="39" y="102"/>
                  </a:cubicBezTo>
                  <a:lnTo>
                    <a:pt x="39" y="119"/>
                  </a:lnTo>
                  <a:close/>
                  <a:moveTo>
                    <a:pt x="110" y="121"/>
                  </a:moveTo>
                  <a:cubicBezTo>
                    <a:pt x="107" y="9"/>
                    <a:pt x="107" y="9"/>
                    <a:pt x="107" y="9"/>
                  </a:cubicBezTo>
                  <a:cubicBezTo>
                    <a:pt x="107" y="5"/>
                    <a:pt x="105" y="2"/>
                    <a:pt x="102" y="1"/>
                  </a:cubicBezTo>
                  <a:cubicBezTo>
                    <a:pt x="101" y="1"/>
                    <a:pt x="100" y="0"/>
                    <a:pt x="98" y="0"/>
                  </a:cubicBezTo>
                  <a:cubicBezTo>
                    <a:pt x="97" y="0"/>
                    <a:pt x="96" y="1"/>
                    <a:pt x="95" y="1"/>
                  </a:cubicBezTo>
                  <a:cubicBezTo>
                    <a:pt x="92" y="2"/>
                    <a:pt x="89" y="5"/>
                    <a:pt x="89" y="9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110" y="1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25EF0DE-1529-4ED7-ACE3-959B48DBB743}"/>
              </a:ext>
            </a:extLst>
          </p:cNvPr>
          <p:cNvGrpSpPr/>
          <p:nvPr/>
        </p:nvGrpSpPr>
        <p:grpSpPr>
          <a:xfrm>
            <a:off x="8018463" y="1587500"/>
            <a:ext cx="758825" cy="758825"/>
            <a:chOff x="8018463" y="1595438"/>
            <a:chExt cx="758825" cy="758825"/>
          </a:xfrm>
        </p:grpSpPr>
        <p:sp>
          <p:nvSpPr>
            <p:cNvPr id="112" name="AutoShape 81">
              <a:extLst>
                <a:ext uri="{FF2B5EF4-FFF2-40B4-BE49-F238E27FC236}">
                  <a16:creationId xmlns:a16="http://schemas.microsoft.com/office/drawing/2014/main" id="{C50E33F3-F540-4FDC-BCF3-4348495BB9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18463" y="15954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3">
              <a:extLst>
                <a:ext uri="{FF2B5EF4-FFF2-40B4-BE49-F238E27FC236}">
                  <a16:creationId xmlns:a16="http://schemas.microsoft.com/office/drawing/2014/main" id="{29382772-46D4-4563-9E4C-812CC31A4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159861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84">
              <a:extLst>
                <a:ext uri="{FF2B5EF4-FFF2-40B4-BE49-F238E27FC236}">
                  <a16:creationId xmlns:a16="http://schemas.microsoft.com/office/drawing/2014/main" id="{D5315CC0-D1AE-4C59-B55D-A861332DB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54988" y="1712913"/>
              <a:ext cx="520700" cy="466725"/>
            </a:xfrm>
            <a:custGeom>
              <a:avLst/>
              <a:gdLst>
                <a:gd name="T0" fmla="*/ 101 w 134"/>
                <a:gd name="T1" fmla="*/ 46 h 120"/>
                <a:gd name="T2" fmla="*/ 97 w 134"/>
                <a:gd name="T3" fmla="*/ 42 h 120"/>
                <a:gd name="T4" fmla="*/ 93 w 134"/>
                <a:gd name="T5" fmla="*/ 46 h 120"/>
                <a:gd name="T6" fmla="*/ 101 w 134"/>
                <a:gd name="T7" fmla="*/ 55 h 120"/>
                <a:gd name="T8" fmla="*/ 77 w 134"/>
                <a:gd name="T9" fmla="*/ 116 h 120"/>
                <a:gd name="T10" fmla="*/ 117 w 134"/>
                <a:gd name="T11" fmla="*/ 98 h 120"/>
                <a:gd name="T12" fmla="*/ 102 w 134"/>
                <a:gd name="T13" fmla="*/ 98 h 120"/>
                <a:gd name="T14" fmla="*/ 101 w 134"/>
                <a:gd name="T15" fmla="*/ 59 h 120"/>
                <a:gd name="T16" fmla="*/ 92 w 134"/>
                <a:gd name="T17" fmla="*/ 72 h 120"/>
                <a:gd name="T18" fmla="*/ 90 w 134"/>
                <a:gd name="T19" fmla="*/ 74 h 120"/>
                <a:gd name="T20" fmla="*/ 24 w 134"/>
                <a:gd name="T21" fmla="*/ 91 h 120"/>
                <a:gd name="T22" fmla="*/ 4 w 134"/>
                <a:gd name="T23" fmla="*/ 116 h 120"/>
                <a:gd name="T24" fmla="*/ 45 w 134"/>
                <a:gd name="T25" fmla="*/ 95 h 120"/>
                <a:gd name="T26" fmla="*/ 28 w 134"/>
                <a:gd name="T27" fmla="*/ 87 h 120"/>
                <a:gd name="T28" fmla="*/ 49 w 134"/>
                <a:gd name="T29" fmla="*/ 92 h 120"/>
                <a:gd name="T30" fmla="*/ 49 w 134"/>
                <a:gd name="T31" fmla="*/ 116 h 120"/>
                <a:gd name="T32" fmla="*/ 72 w 134"/>
                <a:gd name="T33" fmla="*/ 76 h 120"/>
                <a:gd name="T34" fmla="*/ 39 w 134"/>
                <a:gd name="T35" fmla="*/ 81 h 120"/>
                <a:gd name="T36" fmla="*/ 38 w 134"/>
                <a:gd name="T37" fmla="*/ 39 h 120"/>
                <a:gd name="T38" fmla="*/ 28 w 134"/>
                <a:gd name="T39" fmla="*/ 87 h 120"/>
                <a:gd name="T40" fmla="*/ 24 w 134"/>
                <a:gd name="T41" fmla="*/ 87 h 120"/>
                <a:gd name="T42" fmla="*/ 30 w 134"/>
                <a:gd name="T43" fmla="*/ 18 h 120"/>
                <a:gd name="T44" fmla="*/ 42 w 134"/>
                <a:gd name="T45" fmla="*/ 25 h 120"/>
                <a:gd name="T46" fmla="*/ 88 w 134"/>
                <a:gd name="T47" fmla="*/ 70 h 120"/>
                <a:gd name="T48" fmla="*/ 93 w 134"/>
                <a:gd name="T49" fmla="*/ 38 h 120"/>
                <a:gd name="T50" fmla="*/ 100 w 134"/>
                <a:gd name="T51" fmla="*/ 38 h 120"/>
                <a:gd name="T52" fmla="*/ 106 w 134"/>
                <a:gd name="T53" fmla="*/ 93 h 120"/>
                <a:gd name="T54" fmla="*/ 121 w 134"/>
                <a:gd name="T55" fmla="*/ 93 h 120"/>
                <a:gd name="T56" fmla="*/ 121 w 134"/>
                <a:gd name="T57" fmla="*/ 118 h 120"/>
                <a:gd name="T58" fmla="*/ 119 w 134"/>
                <a:gd name="T59" fmla="*/ 120 h 120"/>
                <a:gd name="T60" fmla="*/ 0 w 134"/>
                <a:gd name="T61" fmla="*/ 120 h 120"/>
                <a:gd name="T62" fmla="*/ 0 w 134"/>
                <a:gd name="T63" fmla="*/ 94 h 120"/>
                <a:gd name="T64" fmla="*/ 1 w 134"/>
                <a:gd name="T65" fmla="*/ 92 h 120"/>
                <a:gd name="T66" fmla="*/ 115 w 134"/>
                <a:gd name="T67" fmla="*/ 23 h 120"/>
                <a:gd name="T68" fmla="*/ 134 w 134"/>
                <a:gd name="T69" fmla="*/ 24 h 120"/>
                <a:gd name="T70" fmla="*/ 98 w 134"/>
                <a:gd name="T71" fmla="*/ 33 h 120"/>
                <a:gd name="T72" fmla="*/ 32 w 134"/>
                <a:gd name="T73" fmla="*/ 9 h 120"/>
                <a:gd name="T74" fmla="*/ 69 w 134"/>
                <a:gd name="T75" fmla="*/ 0 h 120"/>
                <a:gd name="T76" fmla="*/ 52 w 134"/>
                <a:gd name="T77" fmla="*/ 7 h 120"/>
                <a:gd name="T78" fmla="*/ 32 w 134"/>
                <a:gd name="T79" fmla="*/ 9 h 120"/>
                <a:gd name="T80" fmla="*/ 38 w 134"/>
                <a:gd name="T81" fmla="*/ 34 h 120"/>
                <a:gd name="T82" fmla="*/ 36 w 134"/>
                <a:gd name="T83" fmla="*/ 22 h 120"/>
                <a:gd name="T84" fmla="*/ 30 w 134"/>
                <a:gd name="T85" fmla="*/ 2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4" h="120">
                  <a:moveTo>
                    <a:pt x="101" y="55"/>
                  </a:moveTo>
                  <a:cubicBezTo>
                    <a:pt x="101" y="46"/>
                    <a:pt x="101" y="46"/>
                    <a:pt x="101" y="46"/>
                  </a:cubicBezTo>
                  <a:cubicBezTo>
                    <a:pt x="101" y="44"/>
                    <a:pt x="100" y="43"/>
                    <a:pt x="99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3" y="43"/>
                    <a:pt x="93" y="44"/>
                    <a:pt x="93" y="46"/>
                  </a:cubicBezTo>
                  <a:cubicBezTo>
                    <a:pt x="93" y="55"/>
                    <a:pt x="93" y="55"/>
                    <a:pt x="93" y="55"/>
                  </a:cubicBezTo>
                  <a:lnTo>
                    <a:pt x="101" y="55"/>
                  </a:lnTo>
                  <a:close/>
                  <a:moveTo>
                    <a:pt x="77" y="76"/>
                  </a:moveTo>
                  <a:cubicBezTo>
                    <a:pt x="77" y="116"/>
                    <a:pt x="77" y="116"/>
                    <a:pt x="7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98"/>
                    <a:pt x="117" y="98"/>
                    <a:pt x="117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0" y="74"/>
                    <a:pt x="90" y="74"/>
                    <a:pt x="90" y="74"/>
                  </a:cubicBezTo>
                  <a:lnTo>
                    <a:pt x="77" y="76"/>
                  </a:lnTo>
                  <a:close/>
                  <a:moveTo>
                    <a:pt x="24" y="91"/>
                  </a:moveTo>
                  <a:cubicBezTo>
                    <a:pt x="18" y="91"/>
                    <a:pt x="11" y="92"/>
                    <a:pt x="4" y="95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38" y="92"/>
                    <a:pt x="31" y="91"/>
                    <a:pt x="24" y="91"/>
                  </a:cubicBezTo>
                  <a:moveTo>
                    <a:pt x="28" y="87"/>
                  </a:moveTo>
                  <a:cubicBezTo>
                    <a:pt x="35" y="87"/>
                    <a:pt x="41" y="89"/>
                    <a:pt x="48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28" y="87"/>
                  </a:lnTo>
                  <a:close/>
                  <a:moveTo>
                    <a:pt x="1" y="92"/>
                  </a:moveTo>
                  <a:cubicBezTo>
                    <a:pt x="9" y="88"/>
                    <a:pt x="16" y="87"/>
                    <a:pt x="24" y="8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1"/>
                    <a:pt x="27" y="19"/>
                    <a:pt x="30" y="18"/>
                  </a:cubicBezTo>
                  <a:cubicBezTo>
                    <a:pt x="32" y="17"/>
                    <a:pt x="35" y="17"/>
                    <a:pt x="37" y="18"/>
                  </a:cubicBezTo>
                  <a:cubicBezTo>
                    <a:pt x="40" y="19"/>
                    <a:pt x="42" y="21"/>
                    <a:pt x="42" y="25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2"/>
                    <a:pt x="90" y="39"/>
                    <a:pt x="93" y="38"/>
                  </a:cubicBezTo>
                  <a:cubicBezTo>
                    <a:pt x="94" y="38"/>
                    <a:pt x="96" y="37"/>
                    <a:pt x="97" y="37"/>
                  </a:cubicBezTo>
                  <a:cubicBezTo>
                    <a:pt x="98" y="37"/>
                    <a:pt x="99" y="38"/>
                    <a:pt x="100" y="38"/>
                  </a:cubicBezTo>
                  <a:cubicBezTo>
                    <a:pt x="103" y="39"/>
                    <a:pt x="105" y="42"/>
                    <a:pt x="105" y="46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5"/>
                    <a:pt x="121" y="95"/>
                    <a:pt x="121" y="9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19" y="120"/>
                    <a:pt x="119" y="120"/>
                    <a:pt x="119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2"/>
                    <a:pt x="0" y="92"/>
                    <a:pt x="0" y="92"/>
                  </a:cubicBezTo>
                  <a:lnTo>
                    <a:pt x="1" y="92"/>
                  </a:lnTo>
                  <a:close/>
                  <a:moveTo>
                    <a:pt x="94" y="30"/>
                  </a:moveTo>
                  <a:cubicBezTo>
                    <a:pt x="101" y="22"/>
                    <a:pt x="108" y="22"/>
                    <a:pt x="115" y="23"/>
                  </a:cubicBezTo>
                  <a:cubicBezTo>
                    <a:pt x="121" y="24"/>
                    <a:pt x="126" y="24"/>
                    <a:pt x="132" y="2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28" y="29"/>
                    <a:pt x="121" y="28"/>
                    <a:pt x="115" y="28"/>
                  </a:cubicBezTo>
                  <a:cubicBezTo>
                    <a:pt x="109" y="27"/>
                    <a:pt x="103" y="26"/>
                    <a:pt x="98" y="33"/>
                  </a:cubicBezTo>
                  <a:lnTo>
                    <a:pt x="94" y="30"/>
                  </a:lnTo>
                  <a:close/>
                  <a:moveTo>
                    <a:pt x="32" y="9"/>
                  </a:moveTo>
                  <a:cubicBezTo>
                    <a:pt x="39" y="1"/>
                    <a:pt x="46" y="2"/>
                    <a:pt x="53" y="3"/>
                  </a:cubicBezTo>
                  <a:cubicBezTo>
                    <a:pt x="58" y="3"/>
                    <a:pt x="64" y="4"/>
                    <a:pt x="69" y="0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65" y="9"/>
                    <a:pt x="59" y="8"/>
                    <a:pt x="52" y="7"/>
                  </a:cubicBezTo>
                  <a:cubicBezTo>
                    <a:pt x="46" y="7"/>
                    <a:pt x="40" y="6"/>
                    <a:pt x="35" y="12"/>
                  </a:cubicBezTo>
                  <a:lnTo>
                    <a:pt x="32" y="9"/>
                  </a:lnTo>
                  <a:close/>
                  <a:moveTo>
                    <a:pt x="29" y="34"/>
                  </a:moveTo>
                  <a:cubicBezTo>
                    <a:pt x="38" y="34"/>
                    <a:pt x="38" y="34"/>
                    <a:pt x="38" y="3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7" y="22"/>
                    <a:pt x="36" y="22"/>
                  </a:cubicBezTo>
                  <a:cubicBezTo>
                    <a:pt x="34" y="21"/>
                    <a:pt x="33" y="21"/>
                    <a:pt x="32" y="22"/>
                  </a:cubicBezTo>
                  <a:cubicBezTo>
                    <a:pt x="30" y="22"/>
                    <a:pt x="30" y="24"/>
                    <a:pt x="30" y="25"/>
                  </a:cubicBezTo>
                  <a:lnTo>
                    <a:pt x="29" y="3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85">
              <a:extLst>
                <a:ext uri="{FF2B5EF4-FFF2-40B4-BE49-F238E27FC236}">
                  <a16:creationId xmlns:a16="http://schemas.microsoft.com/office/drawing/2014/main" id="{CDFA9C55-768E-44CB-BCE0-2AA02BC99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54988" y="1712913"/>
              <a:ext cx="520700" cy="466725"/>
            </a:xfrm>
            <a:custGeom>
              <a:avLst/>
              <a:gdLst>
                <a:gd name="T0" fmla="*/ 101 w 134"/>
                <a:gd name="T1" fmla="*/ 46 h 120"/>
                <a:gd name="T2" fmla="*/ 97 w 134"/>
                <a:gd name="T3" fmla="*/ 42 h 120"/>
                <a:gd name="T4" fmla="*/ 93 w 134"/>
                <a:gd name="T5" fmla="*/ 46 h 120"/>
                <a:gd name="T6" fmla="*/ 101 w 134"/>
                <a:gd name="T7" fmla="*/ 55 h 120"/>
                <a:gd name="T8" fmla="*/ 77 w 134"/>
                <a:gd name="T9" fmla="*/ 116 h 120"/>
                <a:gd name="T10" fmla="*/ 117 w 134"/>
                <a:gd name="T11" fmla="*/ 98 h 120"/>
                <a:gd name="T12" fmla="*/ 102 w 134"/>
                <a:gd name="T13" fmla="*/ 98 h 120"/>
                <a:gd name="T14" fmla="*/ 101 w 134"/>
                <a:gd name="T15" fmla="*/ 59 h 120"/>
                <a:gd name="T16" fmla="*/ 92 w 134"/>
                <a:gd name="T17" fmla="*/ 72 h 120"/>
                <a:gd name="T18" fmla="*/ 90 w 134"/>
                <a:gd name="T19" fmla="*/ 74 h 120"/>
                <a:gd name="T20" fmla="*/ 24 w 134"/>
                <a:gd name="T21" fmla="*/ 91 h 120"/>
                <a:gd name="T22" fmla="*/ 4 w 134"/>
                <a:gd name="T23" fmla="*/ 116 h 120"/>
                <a:gd name="T24" fmla="*/ 45 w 134"/>
                <a:gd name="T25" fmla="*/ 95 h 120"/>
                <a:gd name="T26" fmla="*/ 28 w 134"/>
                <a:gd name="T27" fmla="*/ 87 h 120"/>
                <a:gd name="T28" fmla="*/ 49 w 134"/>
                <a:gd name="T29" fmla="*/ 92 h 120"/>
                <a:gd name="T30" fmla="*/ 49 w 134"/>
                <a:gd name="T31" fmla="*/ 116 h 120"/>
                <a:gd name="T32" fmla="*/ 72 w 134"/>
                <a:gd name="T33" fmla="*/ 76 h 120"/>
                <a:gd name="T34" fmla="*/ 39 w 134"/>
                <a:gd name="T35" fmla="*/ 81 h 120"/>
                <a:gd name="T36" fmla="*/ 38 w 134"/>
                <a:gd name="T37" fmla="*/ 39 h 120"/>
                <a:gd name="T38" fmla="*/ 28 w 134"/>
                <a:gd name="T39" fmla="*/ 87 h 120"/>
                <a:gd name="T40" fmla="*/ 24 w 134"/>
                <a:gd name="T41" fmla="*/ 87 h 120"/>
                <a:gd name="T42" fmla="*/ 30 w 134"/>
                <a:gd name="T43" fmla="*/ 18 h 120"/>
                <a:gd name="T44" fmla="*/ 42 w 134"/>
                <a:gd name="T45" fmla="*/ 25 h 120"/>
                <a:gd name="T46" fmla="*/ 88 w 134"/>
                <a:gd name="T47" fmla="*/ 70 h 120"/>
                <a:gd name="T48" fmla="*/ 93 w 134"/>
                <a:gd name="T49" fmla="*/ 38 h 120"/>
                <a:gd name="T50" fmla="*/ 100 w 134"/>
                <a:gd name="T51" fmla="*/ 38 h 120"/>
                <a:gd name="T52" fmla="*/ 106 w 134"/>
                <a:gd name="T53" fmla="*/ 93 h 120"/>
                <a:gd name="T54" fmla="*/ 121 w 134"/>
                <a:gd name="T55" fmla="*/ 93 h 120"/>
                <a:gd name="T56" fmla="*/ 121 w 134"/>
                <a:gd name="T57" fmla="*/ 118 h 120"/>
                <a:gd name="T58" fmla="*/ 119 w 134"/>
                <a:gd name="T59" fmla="*/ 120 h 120"/>
                <a:gd name="T60" fmla="*/ 0 w 134"/>
                <a:gd name="T61" fmla="*/ 120 h 120"/>
                <a:gd name="T62" fmla="*/ 0 w 134"/>
                <a:gd name="T63" fmla="*/ 94 h 120"/>
                <a:gd name="T64" fmla="*/ 1 w 134"/>
                <a:gd name="T65" fmla="*/ 92 h 120"/>
                <a:gd name="T66" fmla="*/ 115 w 134"/>
                <a:gd name="T67" fmla="*/ 23 h 120"/>
                <a:gd name="T68" fmla="*/ 134 w 134"/>
                <a:gd name="T69" fmla="*/ 24 h 120"/>
                <a:gd name="T70" fmla="*/ 98 w 134"/>
                <a:gd name="T71" fmla="*/ 33 h 120"/>
                <a:gd name="T72" fmla="*/ 32 w 134"/>
                <a:gd name="T73" fmla="*/ 9 h 120"/>
                <a:gd name="T74" fmla="*/ 69 w 134"/>
                <a:gd name="T75" fmla="*/ 0 h 120"/>
                <a:gd name="T76" fmla="*/ 52 w 134"/>
                <a:gd name="T77" fmla="*/ 7 h 120"/>
                <a:gd name="T78" fmla="*/ 32 w 134"/>
                <a:gd name="T79" fmla="*/ 9 h 120"/>
                <a:gd name="T80" fmla="*/ 38 w 134"/>
                <a:gd name="T81" fmla="*/ 34 h 120"/>
                <a:gd name="T82" fmla="*/ 36 w 134"/>
                <a:gd name="T83" fmla="*/ 22 h 120"/>
                <a:gd name="T84" fmla="*/ 30 w 134"/>
                <a:gd name="T85" fmla="*/ 2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4" h="120">
                  <a:moveTo>
                    <a:pt x="101" y="55"/>
                  </a:moveTo>
                  <a:cubicBezTo>
                    <a:pt x="101" y="46"/>
                    <a:pt x="101" y="46"/>
                    <a:pt x="101" y="46"/>
                  </a:cubicBezTo>
                  <a:cubicBezTo>
                    <a:pt x="101" y="44"/>
                    <a:pt x="100" y="43"/>
                    <a:pt x="99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3" y="43"/>
                    <a:pt x="93" y="44"/>
                    <a:pt x="93" y="46"/>
                  </a:cubicBezTo>
                  <a:cubicBezTo>
                    <a:pt x="93" y="55"/>
                    <a:pt x="93" y="55"/>
                    <a:pt x="93" y="55"/>
                  </a:cubicBezTo>
                  <a:lnTo>
                    <a:pt x="101" y="55"/>
                  </a:lnTo>
                  <a:close/>
                  <a:moveTo>
                    <a:pt x="77" y="76"/>
                  </a:moveTo>
                  <a:cubicBezTo>
                    <a:pt x="77" y="116"/>
                    <a:pt x="77" y="116"/>
                    <a:pt x="7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98"/>
                    <a:pt x="117" y="98"/>
                    <a:pt x="117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0" y="74"/>
                    <a:pt x="90" y="74"/>
                    <a:pt x="90" y="74"/>
                  </a:cubicBezTo>
                  <a:lnTo>
                    <a:pt x="77" y="76"/>
                  </a:lnTo>
                  <a:close/>
                  <a:moveTo>
                    <a:pt x="24" y="91"/>
                  </a:moveTo>
                  <a:cubicBezTo>
                    <a:pt x="18" y="91"/>
                    <a:pt x="11" y="92"/>
                    <a:pt x="4" y="95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38" y="92"/>
                    <a:pt x="31" y="91"/>
                    <a:pt x="24" y="91"/>
                  </a:cubicBezTo>
                  <a:moveTo>
                    <a:pt x="28" y="87"/>
                  </a:moveTo>
                  <a:cubicBezTo>
                    <a:pt x="35" y="87"/>
                    <a:pt x="41" y="89"/>
                    <a:pt x="48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28" y="87"/>
                  </a:lnTo>
                  <a:close/>
                  <a:moveTo>
                    <a:pt x="1" y="92"/>
                  </a:moveTo>
                  <a:cubicBezTo>
                    <a:pt x="9" y="88"/>
                    <a:pt x="16" y="87"/>
                    <a:pt x="24" y="8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1"/>
                    <a:pt x="27" y="19"/>
                    <a:pt x="30" y="18"/>
                  </a:cubicBezTo>
                  <a:cubicBezTo>
                    <a:pt x="32" y="17"/>
                    <a:pt x="35" y="17"/>
                    <a:pt x="37" y="18"/>
                  </a:cubicBezTo>
                  <a:cubicBezTo>
                    <a:pt x="40" y="19"/>
                    <a:pt x="42" y="21"/>
                    <a:pt x="42" y="25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2"/>
                    <a:pt x="90" y="39"/>
                    <a:pt x="93" y="38"/>
                  </a:cubicBezTo>
                  <a:cubicBezTo>
                    <a:pt x="94" y="38"/>
                    <a:pt x="96" y="37"/>
                    <a:pt x="97" y="37"/>
                  </a:cubicBezTo>
                  <a:cubicBezTo>
                    <a:pt x="98" y="37"/>
                    <a:pt x="99" y="38"/>
                    <a:pt x="100" y="38"/>
                  </a:cubicBezTo>
                  <a:cubicBezTo>
                    <a:pt x="103" y="39"/>
                    <a:pt x="105" y="42"/>
                    <a:pt x="105" y="46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5"/>
                    <a:pt x="121" y="95"/>
                    <a:pt x="121" y="9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19" y="120"/>
                    <a:pt x="119" y="120"/>
                    <a:pt x="119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2"/>
                    <a:pt x="0" y="92"/>
                    <a:pt x="0" y="92"/>
                  </a:cubicBezTo>
                  <a:lnTo>
                    <a:pt x="1" y="92"/>
                  </a:lnTo>
                  <a:close/>
                  <a:moveTo>
                    <a:pt x="94" y="30"/>
                  </a:moveTo>
                  <a:cubicBezTo>
                    <a:pt x="101" y="22"/>
                    <a:pt x="108" y="22"/>
                    <a:pt x="115" y="23"/>
                  </a:cubicBezTo>
                  <a:cubicBezTo>
                    <a:pt x="121" y="24"/>
                    <a:pt x="126" y="24"/>
                    <a:pt x="132" y="2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28" y="29"/>
                    <a:pt x="121" y="28"/>
                    <a:pt x="115" y="28"/>
                  </a:cubicBezTo>
                  <a:cubicBezTo>
                    <a:pt x="109" y="27"/>
                    <a:pt x="103" y="26"/>
                    <a:pt x="98" y="33"/>
                  </a:cubicBezTo>
                  <a:lnTo>
                    <a:pt x="94" y="30"/>
                  </a:lnTo>
                  <a:close/>
                  <a:moveTo>
                    <a:pt x="32" y="9"/>
                  </a:moveTo>
                  <a:cubicBezTo>
                    <a:pt x="39" y="1"/>
                    <a:pt x="46" y="2"/>
                    <a:pt x="53" y="3"/>
                  </a:cubicBezTo>
                  <a:cubicBezTo>
                    <a:pt x="58" y="3"/>
                    <a:pt x="64" y="4"/>
                    <a:pt x="69" y="0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65" y="9"/>
                    <a:pt x="59" y="8"/>
                    <a:pt x="52" y="7"/>
                  </a:cubicBezTo>
                  <a:cubicBezTo>
                    <a:pt x="46" y="7"/>
                    <a:pt x="40" y="6"/>
                    <a:pt x="35" y="12"/>
                  </a:cubicBezTo>
                  <a:lnTo>
                    <a:pt x="32" y="9"/>
                  </a:lnTo>
                  <a:close/>
                  <a:moveTo>
                    <a:pt x="29" y="34"/>
                  </a:moveTo>
                  <a:cubicBezTo>
                    <a:pt x="38" y="34"/>
                    <a:pt x="38" y="34"/>
                    <a:pt x="38" y="3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7" y="22"/>
                    <a:pt x="36" y="22"/>
                  </a:cubicBezTo>
                  <a:cubicBezTo>
                    <a:pt x="34" y="21"/>
                    <a:pt x="33" y="21"/>
                    <a:pt x="32" y="22"/>
                  </a:cubicBezTo>
                  <a:cubicBezTo>
                    <a:pt x="30" y="22"/>
                    <a:pt x="30" y="24"/>
                    <a:pt x="30" y="25"/>
                  </a:cubicBezTo>
                  <a:lnTo>
                    <a:pt x="29" y="3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FC79AD3-5156-474F-8D70-ACE5BEC3BDC3}"/>
              </a:ext>
            </a:extLst>
          </p:cNvPr>
          <p:cNvGrpSpPr/>
          <p:nvPr/>
        </p:nvGrpSpPr>
        <p:grpSpPr>
          <a:xfrm>
            <a:off x="6986588" y="287338"/>
            <a:ext cx="844550" cy="844550"/>
            <a:chOff x="6986588" y="287338"/>
            <a:chExt cx="844550" cy="844550"/>
          </a:xfrm>
        </p:grpSpPr>
        <p:sp>
          <p:nvSpPr>
            <p:cNvPr id="118" name="AutoShape 87">
              <a:extLst>
                <a:ext uri="{FF2B5EF4-FFF2-40B4-BE49-F238E27FC236}">
                  <a16:creationId xmlns:a16="http://schemas.microsoft.com/office/drawing/2014/main" id="{6CAAA049-F5BF-473E-BA25-BF78AD8313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86588" y="2873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Oval 89">
              <a:extLst>
                <a:ext uri="{FF2B5EF4-FFF2-40B4-BE49-F238E27FC236}">
                  <a16:creationId xmlns:a16="http://schemas.microsoft.com/office/drawing/2014/main" id="{29DB981A-19BE-45C1-A1E0-47A62A381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6588" y="2873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0">
              <a:extLst>
                <a:ext uri="{FF2B5EF4-FFF2-40B4-BE49-F238E27FC236}">
                  <a16:creationId xmlns:a16="http://schemas.microsoft.com/office/drawing/2014/main" id="{31DAAB65-F3D8-4E6D-949C-7FAFB65BF0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5163" y="3159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1">
              <a:extLst>
                <a:ext uri="{FF2B5EF4-FFF2-40B4-BE49-F238E27FC236}">
                  <a16:creationId xmlns:a16="http://schemas.microsoft.com/office/drawing/2014/main" id="{5B696938-42E9-4AE4-948C-F7A7A1EEB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0426" y="469901"/>
              <a:ext cx="398463" cy="479425"/>
            </a:xfrm>
            <a:custGeom>
              <a:avLst/>
              <a:gdLst>
                <a:gd name="T0" fmla="*/ 59 w 251"/>
                <a:gd name="T1" fmla="*/ 246 h 302"/>
                <a:gd name="T2" fmla="*/ 20 w 251"/>
                <a:gd name="T3" fmla="*/ 282 h 302"/>
                <a:gd name="T4" fmla="*/ 192 w 251"/>
                <a:gd name="T5" fmla="*/ 246 h 302"/>
                <a:gd name="T6" fmla="*/ 230 w 251"/>
                <a:gd name="T7" fmla="*/ 282 h 302"/>
                <a:gd name="T8" fmla="*/ 192 w 251"/>
                <a:gd name="T9" fmla="*/ 246 h 302"/>
                <a:gd name="T10" fmla="*/ 117 w 251"/>
                <a:gd name="T11" fmla="*/ 243 h 302"/>
                <a:gd name="T12" fmla="*/ 79 w 251"/>
                <a:gd name="T13" fmla="*/ 282 h 302"/>
                <a:gd name="T14" fmla="*/ 133 w 251"/>
                <a:gd name="T15" fmla="*/ 243 h 302"/>
                <a:gd name="T16" fmla="*/ 171 w 251"/>
                <a:gd name="T17" fmla="*/ 282 h 302"/>
                <a:gd name="T18" fmla="*/ 133 w 251"/>
                <a:gd name="T19" fmla="*/ 243 h 302"/>
                <a:gd name="T20" fmla="*/ 59 w 251"/>
                <a:gd name="T21" fmla="*/ 190 h 302"/>
                <a:gd name="T22" fmla="*/ 20 w 251"/>
                <a:gd name="T23" fmla="*/ 225 h 302"/>
                <a:gd name="T24" fmla="*/ 192 w 251"/>
                <a:gd name="T25" fmla="*/ 190 h 302"/>
                <a:gd name="T26" fmla="*/ 230 w 251"/>
                <a:gd name="T27" fmla="*/ 225 h 302"/>
                <a:gd name="T28" fmla="*/ 192 w 251"/>
                <a:gd name="T29" fmla="*/ 190 h 302"/>
                <a:gd name="T30" fmla="*/ 117 w 251"/>
                <a:gd name="T31" fmla="*/ 187 h 302"/>
                <a:gd name="T32" fmla="*/ 79 w 251"/>
                <a:gd name="T33" fmla="*/ 228 h 302"/>
                <a:gd name="T34" fmla="*/ 133 w 251"/>
                <a:gd name="T35" fmla="*/ 187 h 302"/>
                <a:gd name="T36" fmla="*/ 171 w 251"/>
                <a:gd name="T37" fmla="*/ 228 h 302"/>
                <a:gd name="T38" fmla="*/ 133 w 251"/>
                <a:gd name="T39" fmla="*/ 187 h 302"/>
                <a:gd name="T40" fmla="*/ 230 w 251"/>
                <a:gd name="T41" fmla="*/ 133 h 302"/>
                <a:gd name="T42" fmla="*/ 192 w 251"/>
                <a:gd name="T43" fmla="*/ 169 h 302"/>
                <a:gd name="T44" fmla="*/ 79 w 251"/>
                <a:gd name="T45" fmla="*/ 131 h 302"/>
                <a:gd name="T46" fmla="*/ 117 w 251"/>
                <a:gd name="T47" fmla="*/ 172 h 302"/>
                <a:gd name="T48" fmla="*/ 79 w 251"/>
                <a:gd name="T49" fmla="*/ 131 h 302"/>
                <a:gd name="T50" fmla="*/ 171 w 251"/>
                <a:gd name="T51" fmla="*/ 131 h 302"/>
                <a:gd name="T52" fmla="*/ 133 w 251"/>
                <a:gd name="T53" fmla="*/ 172 h 302"/>
                <a:gd name="T54" fmla="*/ 79 w 251"/>
                <a:gd name="T55" fmla="*/ 74 h 302"/>
                <a:gd name="T56" fmla="*/ 117 w 251"/>
                <a:gd name="T57" fmla="*/ 115 h 302"/>
                <a:gd name="T58" fmla="*/ 79 w 251"/>
                <a:gd name="T59" fmla="*/ 74 h 302"/>
                <a:gd name="T60" fmla="*/ 171 w 251"/>
                <a:gd name="T61" fmla="*/ 74 h 302"/>
                <a:gd name="T62" fmla="*/ 133 w 251"/>
                <a:gd name="T63" fmla="*/ 115 h 302"/>
                <a:gd name="T64" fmla="*/ 79 w 251"/>
                <a:gd name="T65" fmla="*/ 21 h 302"/>
                <a:gd name="T66" fmla="*/ 117 w 251"/>
                <a:gd name="T67" fmla="*/ 59 h 302"/>
                <a:gd name="T68" fmla="*/ 79 w 251"/>
                <a:gd name="T69" fmla="*/ 21 h 302"/>
                <a:gd name="T70" fmla="*/ 171 w 251"/>
                <a:gd name="T71" fmla="*/ 21 h 302"/>
                <a:gd name="T72" fmla="*/ 133 w 251"/>
                <a:gd name="T73" fmla="*/ 59 h 302"/>
                <a:gd name="T74" fmla="*/ 59 w 251"/>
                <a:gd name="T75" fmla="*/ 0 h 302"/>
                <a:gd name="T76" fmla="*/ 0 w 251"/>
                <a:gd name="T77" fmla="*/ 169 h 302"/>
                <a:gd name="T78" fmla="*/ 251 w 251"/>
                <a:gd name="T79" fmla="*/ 302 h 302"/>
                <a:gd name="T80" fmla="*/ 192 w 251"/>
                <a:gd name="T81" fmla="*/ 113 h 302"/>
                <a:gd name="T82" fmla="*/ 59 w 251"/>
                <a:gd name="T8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1" h="302">
                  <a:moveTo>
                    <a:pt x="20" y="246"/>
                  </a:moveTo>
                  <a:lnTo>
                    <a:pt x="59" y="246"/>
                  </a:lnTo>
                  <a:lnTo>
                    <a:pt x="59" y="282"/>
                  </a:lnTo>
                  <a:lnTo>
                    <a:pt x="20" y="282"/>
                  </a:lnTo>
                  <a:lnTo>
                    <a:pt x="20" y="246"/>
                  </a:lnTo>
                  <a:close/>
                  <a:moveTo>
                    <a:pt x="192" y="246"/>
                  </a:moveTo>
                  <a:lnTo>
                    <a:pt x="230" y="246"/>
                  </a:lnTo>
                  <a:lnTo>
                    <a:pt x="230" y="282"/>
                  </a:lnTo>
                  <a:lnTo>
                    <a:pt x="192" y="282"/>
                  </a:lnTo>
                  <a:lnTo>
                    <a:pt x="192" y="246"/>
                  </a:lnTo>
                  <a:close/>
                  <a:moveTo>
                    <a:pt x="79" y="243"/>
                  </a:moveTo>
                  <a:lnTo>
                    <a:pt x="117" y="243"/>
                  </a:lnTo>
                  <a:lnTo>
                    <a:pt x="117" y="282"/>
                  </a:lnTo>
                  <a:lnTo>
                    <a:pt x="79" y="282"/>
                  </a:lnTo>
                  <a:lnTo>
                    <a:pt x="79" y="243"/>
                  </a:lnTo>
                  <a:close/>
                  <a:moveTo>
                    <a:pt x="133" y="243"/>
                  </a:moveTo>
                  <a:lnTo>
                    <a:pt x="171" y="243"/>
                  </a:lnTo>
                  <a:lnTo>
                    <a:pt x="171" y="282"/>
                  </a:lnTo>
                  <a:lnTo>
                    <a:pt x="133" y="282"/>
                  </a:lnTo>
                  <a:lnTo>
                    <a:pt x="133" y="243"/>
                  </a:lnTo>
                  <a:close/>
                  <a:moveTo>
                    <a:pt x="20" y="190"/>
                  </a:moveTo>
                  <a:lnTo>
                    <a:pt x="59" y="190"/>
                  </a:lnTo>
                  <a:lnTo>
                    <a:pt x="59" y="225"/>
                  </a:lnTo>
                  <a:lnTo>
                    <a:pt x="20" y="225"/>
                  </a:lnTo>
                  <a:lnTo>
                    <a:pt x="20" y="190"/>
                  </a:lnTo>
                  <a:close/>
                  <a:moveTo>
                    <a:pt x="192" y="190"/>
                  </a:moveTo>
                  <a:lnTo>
                    <a:pt x="230" y="190"/>
                  </a:lnTo>
                  <a:lnTo>
                    <a:pt x="230" y="225"/>
                  </a:lnTo>
                  <a:lnTo>
                    <a:pt x="192" y="225"/>
                  </a:lnTo>
                  <a:lnTo>
                    <a:pt x="192" y="190"/>
                  </a:lnTo>
                  <a:close/>
                  <a:moveTo>
                    <a:pt x="79" y="187"/>
                  </a:moveTo>
                  <a:lnTo>
                    <a:pt x="117" y="187"/>
                  </a:lnTo>
                  <a:lnTo>
                    <a:pt x="117" y="228"/>
                  </a:lnTo>
                  <a:lnTo>
                    <a:pt x="79" y="228"/>
                  </a:lnTo>
                  <a:lnTo>
                    <a:pt x="79" y="187"/>
                  </a:lnTo>
                  <a:close/>
                  <a:moveTo>
                    <a:pt x="133" y="187"/>
                  </a:moveTo>
                  <a:lnTo>
                    <a:pt x="171" y="187"/>
                  </a:lnTo>
                  <a:lnTo>
                    <a:pt x="171" y="228"/>
                  </a:lnTo>
                  <a:lnTo>
                    <a:pt x="133" y="228"/>
                  </a:lnTo>
                  <a:lnTo>
                    <a:pt x="133" y="187"/>
                  </a:lnTo>
                  <a:close/>
                  <a:moveTo>
                    <a:pt x="192" y="133"/>
                  </a:moveTo>
                  <a:lnTo>
                    <a:pt x="230" y="133"/>
                  </a:lnTo>
                  <a:lnTo>
                    <a:pt x="230" y="169"/>
                  </a:lnTo>
                  <a:lnTo>
                    <a:pt x="192" y="169"/>
                  </a:lnTo>
                  <a:lnTo>
                    <a:pt x="192" y="133"/>
                  </a:lnTo>
                  <a:close/>
                  <a:moveTo>
                    <a:pt x="79" y="131"/>
                  </a:moveTo>
                  <a:lnTo>
                    <a:pt x="117" y="131"/>
                  </a:lnTo>
                  <a:lnTo>
                    <a:pt x="117" y="172"/>
                  </a:lnTo>
                  <a:lnTo>
                    <a:pt x="79" y="172"/>
                  </a:lnTo>
                  <a:lnTo>
                    <a:pt x="79" y="131"/>
                  </a:lnTo>
                  <a:close/>
                  <a:moveTo>
                    <a:pt x="133" y="131"/>
                  </a:moveTo>
                  <a:lnTo>
                    <a:pt x="171" y="131"/>
                  </a:lnTo>
                  <a:lnTo>
                    <a:pt x="171" y="172"/>
                  </a:lnTo>
                  <a:lnTo>
                    <a:pt x="133" y="172"/>
                  </a:lnTo>
                  <a:lnTo>
                    <a:pt x="133" y="131"/>
                  </a:lnTo>
                  <a:close/>
                  <a:moveTo>
                    <a:pt x="79" y="74"/>
                  </a:moveTo>
                  <a:lnTo>
                    <a:pt x="117" y="74"/>
                  </a:lnTo>
                  <a:lnTo>
                    <a:pt x="117" y="115"/>
                  </a:lnTo>
                  <a:lnTo>
                    <a:pt x="79" y="115"/>
                  </a:lnTo>
                  <a:lnTo>
                    <a:pt x="79" y="74"/>
                  </a:lnTo>
                  <a:close/>
                  <a:moveTo>
                    <a:pt x="133" y="74"/>
                  </a:moveTo>
                  <a:lnTo>
                    <a:pt x="171" y="74"/>
                  </a:lnTo>
                  <a:lnTo>
                    <a:pt x="171" y="115"/>
                  </a:lnTo>
                  <a:lnTo>
                    <a:pt x="133" y="115"/>
                  </a:lnTo>
                  <a:lnTo>
                    <a:pt x="133" y="74"/>
                  </a:lnTo>
                  <a:close/>
                  <a:moveTo>
                    <a:pt x="79" y="21"/>
                  </a:moveTo>
                  <a:lnTo>
                    <a:pt x="117" y="21"/>
                  </a:lnTo>
                  <a:lnTo>
                    <a:pt x="117" y="59"/>
                  </a:lnTo>
                  <a:lnTo>
                    <a:pt x="79" y="59"/>
                  </a:lnTo>
                  <a:lnTo>
                    <a:pt x="79" y="21"/>
                  </a:lnTo>
                  <a:close/>
                  <a:moveTo>
                    <a:pt x="133" y="21"/>
                  </a:moveTo>
                  <a:lnTo>
                    <a:pt x="171" y="21"/>
                  </a:lnTo>
                  <a:lnTo>
                    <a:pt x="171" y="59"/>
                  </a:lnTo>
                  <a:lnTo>
                    <a:pt x="133" y="59"/>
                  </a:lnTo>
                  <a:lnTo>
                    <a:pt x="133" y="21"/>
                  </a:lnTo>
                  <a:close/>
                  <a:moveTo>
                    <a:pt x="59" y="0"/>
                  </a:moveTo>
                  <a:lnTo>
                    <a:pt x="59" y="169"/>
                  </a:lnTo>
                  <a:lnTo>
                    <a:pt x="0" y="169"/>
                  </a:lnTo>
                  <a:lnTo>
                    <a:pt x="0" y="302"/>
                  </a:lnTo>
                  <a:lnTo>
                    <a:pt x="251" y="302"/>
                  </a:lnTo>
                  <a:lnTo>
                    <a:pt x="251" y="113"/>
                  </a:lnTo>
                  <a:lnTo>
                    <a:pt x="192" y="113"/>
                  </a:lnTo>
                  <a:lnTo>
                    <a:pt x="192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2342B4BD-C0F7-42ED-8856-4568D7621F1A}"/>
              </a:ext>
            </a:extLst>
          </p:cNvPr>
          <p:cNvGrpSpPr/>
          <p:nvPr/>
        </p:nvGrpSpPr>
        <p:grpSpPr>
          <a:xfrm>
            <a:off x="6994525" y="1544637"/>
            <a:ext cx="844550" cy="844550"/>
            <a:chOff x="4344988" y="3201988"/>
            <a:chExt cx="844550" cy="844550"/>
          </a:xfrm>
        </p:grpSpPr>
        <p:sp>
          <p:nvSpPr>
            <p:cNvPr id="126" name="AutoShape 93">
              <a:extLst>
                <a:ext uri="{FF2B5EF4-FFF2-40B4-BE49-F238E27FC236}">
                  <a16:creationId xmlns:a16="http://schemas.microsoft.com/office/drawing/2014/main" id="{C78BDF37-9905-4B21-B583-C4E25DE231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4988" y="3201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95">
              <a:extLst>
                <a:ext uri="{FF2B5EF4-FFF2-40B4-BE49-F238E27FC236}">
                  <a16:creationId xmlns:a16="http://schemas.microsoft.com/office/drawing/2014/main" id="{EFC0D48B-9F50-4F7D-B93E-7FB3783AD1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988" y="32019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6">
              <a:extLst>
                <a:ext uri="{FF2B5EF4-FFF2-40B4-BE49-F238E27FC236}">
                  <a16:creationId xmlns:a16="http://schemas.microsoft.com/office/drawing/2014/main" id="{8A103474-995E-4477-B720-F179A58DB4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563" y="32305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97">
              <a:extLst>
                <a:ext uri="{FF2B5EF4-FFF2-40B4-BE49-F238E27FC236}">
                  <a16:creationId xmlns:a16="http://schemas.microsoft.com/office/drawing/2014/main" id="{7E120287-CA12-461E-9D64-7766645EE0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1676" y="3348038"/>
              <a:ext cx="544513" cy="487363"/>
            </a:xfrm>
            <a:custGeom>
              <a:avLst/>
              <a:gdLst>
                <a:gd name="T0" fmla="*/ 101 w 134"/>
                <a:gd name="T1" fmla="*/ 46 h 120"/>
                <a:gd name="T2" fmla="*/ 97 w 134"/>
                <a:gd name="T3" fmla="*/ 42 h 120"/>
                <a:gd name="T4" fmla="*/ 93 w 134"/>
                <a:gd name="T5" fmla="*/ 46 h 120"/>
                <a:gd name="T6" fmla="*/ 101 w 134"/>
                <a:gd name="T7" fmla="*/ 55 h 120"/>
                <a:gd name="T8" fmla="*/ 77 w 134"/>
                <a:gd name="T9" fmla="*/ 116 h 120"/>
                <a:gd name="T10" fmla="*/ 117 w 134"/>
                <a:gd name="T11" fmla="*/ 98 h 120"/>
                <a:gd name="T12" fmla="*/ 102 w 134"/>
                <a:gd name="T13" fmla="*/ 98 h 120"/>
                <a:gd name="T14" fmla="*/ 101 w 134"/>
                <a:gd name="T15" fmla="*/ 59 h 120"/>
                <a:gd name="T16" fmla="*/ 92 w 134"/>
                <a:gd name="T17" fmla="*/ 72 h 120"/>
                <a:gd name="T18" fmla="*/ 90 w 134"/>
                <a:gd name="T19" fmla="*/ 74 h 120"/>
                <a:gd name="T20" fmla="*/ 24 w 134"/>
                <a:gd name="T21" fmla="*/ 91 h 120"/>
                <a:gd name="T22" fmla="*/ 4 w 134"/>
                <a:gd name="T23" fmla="*/ 116 h 120"/>
                <a:gd name="T24" fmla="*/ 45 w 134"/>
                <a:gd name="T25" fmla="*/ 95 h 120"/>
                <a:gd name="T26" fmla="*/ 28 w 134"/>
                <a:gd name="T27" fmla="*/ 87 h 120"/>
                <a:gd name="T28" fmla="*/ 49 w 134"/>
                <a:gd name="T29" fmla="*/ 92 h 120"/>
                <a:gd name="T30" fmla="*/ 49 w 134"/>
                <a:gd name="T31" fmla="*/ 116 h 120"/>
                <a:gd name="T32" fmla="*/ 72 w 134"/>
                <a:gd name="T33" fmla="*/ 76 h 120"/>
                <a:gd name="T34" fmla="*/ 39 w 134"/>
                <a:gd name="T35" fmla="*/ 81 h 120"/>
                <a:gd name="T36" fmla="*/ 38 w 134"/>
                <a:gd name="T37" fmla="*/ 39 h 120"/>
                <a:gd name="T38" fmla="*/ 28 w 134"/>
                <a:gd name="T39" fmla="*/ 87 h 120"/>
                <a:gd name="T40" fmla="*/ 24 w 134"/>
                <a:gd name="T41" fmla="*/ 87 h 120"/>
                <a:gd name="T42" fmla="*/ 30 w 134"/>
                <a:gd name="T43" fmla="*/ 18 h 120"/>
                <a:gd name="T44" fmla="*/ 42 w 134"/>
                <a:gd name="T45" fmla="*/ 25 h 120"/>
                <a:gd name="T46" fmla="*/ 88 w 134"/>
                <a:gd name="T47" fmla="*/ 70 h 120"/>
                <a:gd name="T48" fmla="*/ 93 w 134"/>
                <a:gd name="T49" fmla="*/ 38 h 120"/>
                <a:gd name="T50" fmla="*/ 100 w 134"/>
                <a:gd name="T51" fmla="*/ 38 h 120"/>
                <a:gd name="T52" fmla="*/ 106 w 134"/>
                <a:gd name="T53" fmla="*/ 93 h 120"/>
                <a:gd name="T54" fmla="*/ 121 w 134"/>
                <a:gd name="T55" fmla="*/ 93 h 120"/>
                <a:gd name="T56" fmla="*/ 121 w 134"/>
                <a:gd name="T57" fmla="*/ 118 h 120"/>
                <a:gd name="T58" fmla="*/ 119 w 134"/>
                <a:gd name="T59" fmla="*/ 120 h 120"/>
                <a:gd name="T60" fmla="*/ 0 w 134"/>
                <a:gd name="T61" fmla="*/ 120 h 120"/>
                <a:gd name="T62" fmla="*/ 0 w 134"/>
                <a:gd name="T63" fmla="*/ 94 h 120"/>
                <a:gd name="T64" fmla="*/ 1 w 134"/>
                <a:gd name="T65" fmla="*/ 92 h 120"/>
                <a:gd name="T66" fmla="*/ 115 w 134"/>
                <a:gd name="T67" fmla="*/ 23 h 120"/>
                <a:gd name="T68" fmla="*/ 134 w 134"/>
                <a:gd name="T69" fmla="*/ 24 h 120"/>
                <a:gd name="T70" fmla="*/ 98 w 134"/>
                <a:gd name="T71" fmla="*/ 33 h 120"/>
                <a:gd name="T72" fmla="*/ 32 w 134"/>
                <a:gd name="T73" fmla="*/ 9 h 120"/>
                <a:gd name="T74" fmla="*/ 69 w 134"/>
                <a:gd name="T75" fmla="*/ 0 h 120"/>
                <a:gd name="T76" fmla="*/ 52 w 134"/>
                <a:gd name="T77" fmla="*/ 7 h 120"/>
                <a:gd name="T78" fmla="*/ 32 w 134"/>
                <a:gd name="T79" fmla="*/ 9 h 120"/>
                <a:gd name="T80" fmla="*/ 38 w 134"/>
                <a:gd name="T81" fmla="*/ 34 h 120"/>
                <a:gd name="T82" fmla="*/ 36 w 134"/>
                <a:gd name="T83" fmla="*/ 22 h 120"/>
                <a:gd name="T84" fmla="*/ 30 w 134"/>
                <a:gd name="T85" fmla="*/ 2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4" h="120">
                  <a:moveTo>
                    <a:pt x="101" y="55"/>
                  </a:moveTo>
                  <a:cubicBezTo>
                    <a:pt x="101" y="46"/>
                    <a:pt x="101" y="46"/>
                    <a:pt x="101" y="46"/>
                  </a:cubicBezTo>
                  <a:cubicBezTo>
                    <a:pt x="101" y="44"/>
                    <a:pt x="100" y="43"/>
                    <a:pt x="99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3" y="43"/>
                    <a:pt x="93" y="44"/>
                    <a:pt x="93" y="46"/>
                  </a:cubicBezTo>
                  <a:cubicBezTo>
                    <a:pt x="93" y="55"/>
                    <a:pt x="93" y="55"/>
                    <a:pt x="93" y="55"/>
                  </a:cubicBezTo>
                  <a:lnTo>
                    <a:pt x="101" y="55"/>
                  </a:lnTo>
                  <a:close/>
                  <a:moveTo>
                    <a:pt x="77" y="76"/>
                  </a:moveTo>
                  <a:cubicBezTo>
                    <a:pt x="77" y="116"/>
                    <a:pt x="77" y="116"/>
                    <a:pt x="7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98"/>
                    <a:pt x="117" y="98"/>
                    <a:pt x="117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0" y="74"/>
                    <a:pt x="90" y="74"/>
                    <a:pt x="90" y="74"/>
                  </a:cubicBezTo>
                  <a:lnTo>
                    <a:pt x="77" y="76"/>
                  </a:lnTo>
                  <a:close/>
                  <a:moveTo>
                    <a:pt x="24" y="91"/>
                  </a:moveTo>
                  <a:cubicBezTo>
                    <a:pt x="18" y="91"/>
                    <a:pt x="11" y="92"/>
                    <a:pt x="4" y="95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38" y="92"/>
                    <a:pt x="31" y="91"/>
                    <a:pt x="24" y="91"/>
                  </a:cubicBezTo>
                  <a:moveTo>
                    <a:pt x="28" y="87"/>
                  </a:moveTo>
                  <a:cubicBezTo>
                    <a:pt x="35" y="87"/>
                    <a:pt x="41" y="89"/>
                    <a:pt x="48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28" y="87"/>
                  </a:lnTo>
                  <a:close/>
                  <a:moveTo>
                    <a:pt x="1" y="92"/>
                  </a:moveTo>
                  <a:cubicBezTo>
                    <a:pt x="9" y="88"/>
                    <a:pt x="16" y="87"/>
                    <a:pt x="24" y="8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1"/>
                    <a:pt x="27" y="19"/>
                    <a:pt x="30" y="18"/>
                  </a:cubicBezTo>
                  <a:cubicBezTo>
                    <a:pt x="32" y="17"/>
                    <a:pt x="35" y="17"/>
                    <a:pt x="37" y="18"/>
                  </a:cubicBezTo>
                  <a:cubicBezTo>
                    <a:pt x="40" y="19"/>
                    <a:pt x="42" y="21"/>
                    <a:pt x="42" y="25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2"/>
                    <a:pt x="90" y="39"/>
                    <a:pt x="93" y="38"/>
                  </a:cubicBezTo>
                  <a:cubicBezTo>
                    <a:pt x="94" y="38"/>
                    <a:pt x="96" y="37"/>
                    <a:pt x="97" y="37"/>
                  </a:cubicBezTo>
                  <a:cubicBezTo>
                    <a:pt x="98" y="37"/>
                    <a:pt x="99" y="38"/>
                    <a:pt x="100" y="38"/>
                  </a:cubicBezTo>
                  <a:cubicBezTo>
                    <a:pt x="103" y="39"/>
                    <a:pt x="105" y="42"/>
                    <a:pt x="105" y="46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5"/>
                    <a:pt x="121" y="95"/>
                    <a:pt x="121" y="9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19" y="120"/>
                    <a:pt x="119" y="120"/>
                    <a:pt x="119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2"/>
                    <a:pt x="0" y="92"/>
                    <a:pt x="0" y="92"/>
                  </a:cubicBezTo>
                  <a:lnTo>
                    <a:pt x="1" y="92"/>
                  </a:lnTo>
                  <a:close/>
                  <a:moveTo>
                    <a:pt x="94" y="30"/>
                  </a:moveTo>
                  <a:cubicBezTo>
                    <a:pt x="101" y="22"/>
                    <a:pt x="108" y="22"/>
                    <a:pt x="115" y="23"/>
                  </a:cubicBezTo>
                  <a:cubicBezTo>
                    <a:pt x="121" y="24"/>
                    <a:pt x="126" y="24"/>
                    <a:pt x="132" y="2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28" y="29"/>
                    <a:pt x="121" y="28"/>
                    <a:pt x="115" y="28"/>
                  </a:cubicBezTo>
                  <a:cubicBezTo>
                    <a:pt x="109" y="27"/>
                    <a:pt x="103" y="26"/>
                    <a:pt x="98" y="33"/>
                  </a:cubicBezTo>
                  <a:lnTo>
                    <a:pt x="94" y="30"/>
                  </a:lnTo>
                  <a:close/>
                  <a:moveTo>
                    <a:pt x="32" y="9"/>
                  </a:moveTo>
                  <a:cubicBezTo>
                    <a:pt x="39" y="1"/>
                    <a:pt x="46" y="2"/>
                    <a:pt x="53" y="3"/>
                  </a:cubicBezTo>
                  <a:cubicBezTo>
                    <a:pt x="58" y="3"/>
                    <a:pt x="64" y="4"/>
                    <a:pt x="69" y="0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65" y="9"/>
                    <a:pt x="59" y="8"/>
                    <a:pt x="52" y="7"/>
                  </a:cubicBezTo>
                  <a:cubicBezTo>
                    <a:pt x="46" y="7"/>
                    <a:pt x="40" y="6"/>
                    <a:pt x="35" y="12"/>
                  </a:cubicBezTo>
                  <a:lnTo>
                    <a:pt x="32" y="9"/>
                  </a:lnTo>
                  <a:close/>
                  <a:moveTo>
                    <a:pt x="29" y="34"/>
                  </a:moveTo>
                  <a:cubicBezTo>
                    <a:pt x="38" y="34"/>
                    <a:pt x="38" y="34"/>
                    <a:pt x="38" y="3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7" y="22"/>
                    <a:pt x="36" y="22"/>
                  </a:cubicBezTo>
                  <a:cubicBezTo>
                    <a:pt x="34" y="21"/>
                    <a:pt x="33" y="21"/>
                    <a:pt x="32" y="22"/>
                  </a:cubicBezTo>
                  <a:cubicBezTo>
                    <a:pt x="30" y="22"/>
                    <a:pt x="30" y="24"/>
                    <a:pt x="30" y="25"/>
                  </a:cubicBezTo>
                  <a:lnTo>
                    <a:pt x="29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E5691FC0-E2E3-45A2-9422-192AD203E7C0}"/>
              </a:ext>
            </a:extLst>
          </p:cNvPr>
          <p:cNvGrpSpPr/>
          <p:nvPr/>
        </p:nvGrpSpPr>
        <p:grpSpPr>
          <a:xfrm>
            <a:off x="1403350" y="2839818"/>
            <a:ext cx="758825" cy="758825"/>
            <a:chOff x="1403350" y="2846388"/>
            <a:chExt cx="758825" cy="758825"/>
          </a:xfrm>
        </p:grpSpPr>
        <p:sp>
          <p:nvSpPr>
            <p:cNvPr id="134" name="AutoShape 99">
              <a:extLst>
                <a:ext uri="{FF2B5EF4-FFF2-40B4-BE49-F238E27FC236}">
                  <a16:creationId xmlns:a16="http://schemas.microsoft.com/office/drawing/2014/main" id="{99D78C3B-9F93-4BE9-8105-1A153A2E2B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03350" y="284638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1">
              <a:extLst>
                <a:ext uri="{FF2B5EF4-FFF2-40B4-BE49-F238E27FC236}">
                  <a16:creationId xmlns:a16="http://schemas.microsoft.com/office/drawing/2014/main" id="{C44D482E-B3BC-4CF5-B223-12BC686B6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6525" y="284956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2">
              <a:extLst>
                <a:ext uri="{FF2B5EF4-FFF2-40B4-BE49-F238E27FC236}">
                  <a16:creationId xmlns:a16="http://schemas.microsoft.com/office/drawing/2014/main" id="{6E8FB6D7-0AAE-4FBC-A441-A30F59F318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0988" y="2982913"/>
              <a:ext cx="466725" cy="490538"/>
            </a:xfrm>
            <a:custGeom>
              <a:avLst/>
              <a:gdLst>
                <a:gd name="T0" fmla="*/ 116 w 120"/>
                <a:gd name="T1" fmla="*/ 121 h 126"/>
                <a:gd name="T2" fmla="*/ 93 w 120"/>
                <a:gd name="T3" fmla="*/ 61 h 126"/>
                <a:gd name="T4" fmla="*/ 12 w 120"/>
                <a:gd name="T5" fmla="*/ 86 h 126"/>
                <a:gd name="T6" fmla="*/ 27 w 120"/>
                <a:gd name="T7" fmla="*/ 86 h 126"/>
                <a:gd name="T8" fmla="*/ 27 w 120"/>
                <a:gd name="T9" fmla="*/ 86 h 126"/>
                <a:gd name="T10" fmla="*/ 37 w 120"/>
                <a:gd name="T11" fmla="*/ 99 h 126"/>
                <a:gd name="T12" fmla="*/ 43 w 120"/>
                <a:gd name="T13" fmla="*/ 99 h 126"/>
                <a:gd name="T14" fmla="*/ 53 w 120"/>
                <a:gd name="T15" fmla="*/ 86 h 126"/>
                <a:gd name="T16" fmla="*/ 67 w 120"/>
                <a:gd name="T17" fmla="*/ 86 h 126"/>
                <a:gd name="T18" fmla="*/ 67 w 120"/>
                <a:gd name="T19" fmla="*/ 86 h 126"/>
                <a:gd name="T20" fmla="*/ 77 w 120"/>
                <a:gd name="T21" fmla="*/ 99 h 126"/>
                <a:gd name="T22" fmla="*/ 83 w 120"/>
                <a:gd name="T23" fmla="*/ 99 h 126"/>
                <a:gd name="T24" fmla="*/ 93 w 120"/>
                <a:gd name="T25" fmla="*/ 86 h 126"/>
                <a:gd name="T26" fmla="*/ 108 w 120"/>
                <a:gd name="T27" fmla="*/ 86 h 126"/>
                <a:gd name="T28" fmla="*/ 108 w 120"/>
                <a:gd name="T29" fmla="*/ 86 h 126"/>
                <a:gd name="T30" fmla="*/ 17 w 120"/>
                <a:gd name="T31" fmla="*/ 116 h 126"/>
                <a:gd name="T32" fmla="*/ 22 w 120"/>
                <a:gd name="T33" fmla="*/ 116 h 126"/>
                <a:gd name="T34" fmla="*/ 32 w 120"/>
                <a:gd name="T35" fmla="*/ 104 h 126"/>
                <a:gd name="T36" fmla="*/ 47 w 120"/>
                <a:gd name="T37" fmla="*/ 104 h 126"/>
                <a:gd name="T38" fmla="*/ 47 w 120"/>
                <a:gd name="T39" fmla="*/ 104 h 126"/>
                <a:gd name="T40" fmla="*/ 57 w 120"/>
                <a:gd name="T41" fmla="*/ 116 h 126"/>
                <a:gd name="T42" fmla="*/ 63 w 120"/>
                <a:gd name="T43" fmla="*/ 116 h 126"/>
                <a:gd name="T44" fmla="*/ 73 w 120"/>
                <a:gd name="T45" fmla="*/ 104 h 126"/>
                <a:gd name="T46" fmla="*/ 88 w 120"/>
                <a:gd name="T47" fmla="*/ 104 h 126"/>
                <a:gd name="T48" fmla="*/ 88 w 120"/>
                <a:gd name="T49" fmla="*/ 104 h 126"/>
                <a:gd name="T50" fmla="*/ 98 w 120"/>
                <a:gd name="T51" fmla="*/ 116 h 126"/>
                <a:gd name="T52" fmla="*/ 103 w 120"/>
                <a:gd name="T53" fmla="*/ 116 h 126"/>
                <a:gd name="T54" fmla="*/ 86 w 120"/>
                <a:gd name="T55" fmla="*/ 57 h 126"/>
                <a:gd name="T56" fmla="*/ 9 w 120"/>
                <a:gd name="T57" fmla="*/ 76 h 126"/>
                <a:gd name="T58" fmla="*/ 9 w 120"/>
                <a:gd name="T59" fmla="*/ 76 h 126"/>
                <a:gd name="T60" fmla="*/ 47 w 120"/>
                <a:gd name="T61" fmla="*/ 29 h 126"/>
                <a:gd name="T62" fmla="*/ 78 w 120"/>
                <a:gd name="T63" fmla="*/ 20 h 126"/>
                <a:gd name="T64" fmla="*/ 111 w 120"/>
                <a:gd name="T65" fmla="*/ 76 h 126"/>
                <a:gd name="T66" fmla="*/ 4 w 120"/>
                <a:gd name="T67" fmla="*/ 6 h 126"/>
                <a:gd name="T68" fmla="*/ 19 w 120"/>
                <a:gd name="T69" fmla="*/ 8 h 126"/>
                <a:gd name="T70" fmla="*/ 33 w 120"/>
                <a:gd name="T71" fmla="*/ 13 h 126"/>
                <a:gd name="T72" fmla="*/ 42 w 120"/>
                <a:gd name="T73" fmla="*/ 16 h 126"/>
                <a:gd name="T74" fmla="*/ 48 w 120"/>
                <a:gd name="T75" fmla="*/ 15 h 126"/>
                <a:gd name="T76" fmla="*/ 37 w 120"/>
                <a:gd name="T77" fmla="*/ 10 h 126"/>
                <a:gd name="T78" fmla="*/ 17 w 120"/>
                <a:gd name="T79" fmla="*/ 1 h 126"/>
                <a:gd name="T80" fmla="*/ 4 w 120"/>
                <a:gd name="T81" fmla="*/ 76 h 126"/>
                <a:gd name="T82" fmla="*/ 20 w 120"/>
                <a:gd name="T83" fmla="*/ 38 h 126"/>
                <a:gd name="T84" fmla="*/ 22 w 120"/>
                <a:gd name="T85" fmla="*/ 76 h 126"/>
                <a:gd name="T86" fmla="*/ 42 w 120"/>
                <a:gd name="T87" fmla="*/ 57 h 126"/>
                <a:gd name="T88" fmla="*/ 57 w 120"/>
                <a:gd name="T89" fmla="*/ 25 h 126"/>
                <a:gd name="T90" fmla="*/ 61 w 120"/>
                <a:gd name="T91" fmla="*/ 57 h 126"/>
                <a:gd name="T92" fmla="*/ 70 w 120"/>
                <a:gd name="T93" fmla="*/ 44 h 126"/>
                <a:gd name="T94" fmla="*/ 85 w 120"/>
                <a:gd name="T95" fmla="*/ 16 h 126"/>
                <a:gd name="T96" fmla="*/ 88 w 120"/>
                <a:gd name="T97" fmla="*/ 44 h 126"/>
                <a:gd name="T98" fmla="*/ 96 w 120"/>
                <a:gd name="T99" fmla="*/ 57 h 126"/>
                <a:gd name="T100" fmla="*/ 103 w 120"/>
                <a:gd name="T101" fmla="*/ 76 h 126"/>
                <a:gd name="T102" fmla="*/ 119 w 120"/>
                <a:gd name="T103" fmla="*/ 6 h 126"/>
                <a:gd name="T104" fmla="*/ 118 w 120"/>
                <a:gd name="T105" fmla="*/ 76 h 126"/>
                <a:gd name="T106" fmla="*/ 120 w 120"/>
                <a:gd name="T107" fmla="*/ 126 h 126"/>
                <a:gd name="T108" fmla="*/ 0 w 120"/>
                <a:gd name="T109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" h="126">
                  <a:moveTo>
                    <a:pt x="11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116" y="121"/>
                    <a:pt x="116" y="121"/>
                    <a:pt x="116" y="121"/>
                  </a:cubicBezTo>
                  <a:lnTo>
                    <a:pt x="116" y="81"/>
                  </a:lnTo>
                  <a:close/>
                  <a:moveTo>
                    <a:pt x="27" y="76"/>
                  </a:moveTo>
                  <a:cubicBezTo>
                    <a:pt x="93" y="76"/>
                    <a:pt x="93" y="76"/>
                    <a:pt x="93" y="76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27" y="61"/>
                    <a:pt x="27" y="61"/>
                    <a:pt x="27" y="61"/>
                  </a:cubicBezTo>
                  <a:lnTo>
                    <a:pt x="27" y="76"/>
                  </a:lnTo>
                  <a:close/>
                  <a:moveTo>
                    <a:pt x="17" y="86"/>
                  </a:moveTo>
                  <a:cubicBezTo>
                    <a:pt x="12" y="86"/>
                    <a:pt x="12" y="86"/>
                    <a:pt x="12" y="86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7" y="99"/>
                    <a:pt x="17" y="99"/>
                    <a:pt x="17" y="99"/>
                  </a:cubicBezTo>
                  <a:lnTo>
                    <a:pt x="17" y="86"/>
                  </a:lnTo>
                  <a:close/>
                  <a:moveTo>
                    <a:pt x="2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7" y="99"/>
                    <a:pt x="27" y="99"/>
                    <a:pt x="27" y="99"/>
                  </a:cubicBezTo>
                  <a:lnTo>
                    <a:pt x="27" y="86"/>
                  </a:lnTo>
                  <a:close/>
                  <a:moveTo>
                    <a:pt x="37" y="86"/>
                  </a:moveTo>
                  <a:cubicBezTo>
                    <a:pt x="32" y="86"/>
                    <a:pt x="32" y="86"/>
                    <a:pt x="32" y="86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7" y="99"/>
                    <a:pt x="37" y="99"/>
                    <a:pt x="37" y="99"/>
                  </a:cubicBezTo>
                  <a:lnTo>
                    <a:pt x="37" y="86"/>
                  </a:lnTo>
                  <a:close/>
                  <a:moveTo>
                    <a:pt x="47" y="86"/>
                  </a:moveTo>
                  <a:cubicBezTo>
                    <a:pt x="43" y="86"/>
                    <a:pt x="43" y="86"/>
                    <a:pt x="43" y="86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7" y="99"/>
                    <a:pt x="47" y="99"/>
                    <a:pt x="47" y="99"/>
                  </a:cubicBezTo>
                  <a:lnTo>
                    <a:pt x="47" y="86"/>
                  </a:lnTo>
                  <a:close/>
                  <a:moveTo>
                    <a:pt x="57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7" y="99"/>
                    <a:pt x="57" y="99"/>
                    <a:pt x="57" y="99"/>
                  </a:cubicBezTo>
                  <a:lnTo>
                    <a:pt x="57" y="86"/>
                  </a:lnTo>
                  <a:close/>
                  <a:moveTo>
                    <a:pt x="67" y="86"/>
                  </a:moveTo>
                  <a:cubicBezTo>
                    <a:pt x="63" y="86"/>
                    <a:pt x="63" y="86"/>
                    <a:pt x="63" y="86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7" y="99"/>
                    <a:pt x="67" y="99"/>
                    <a:pt x="67" y="99"/>
                  </a:cubicBezTo>
                  <a:lnTo>
                    <a:pt x="67" y="86"/>
                  </a:lnTo>
                  <a:close/>
                  <a:moveTo>
                    <a:pt x="77" y="86"/>
                  </a:moveTo>
                  <a:cubicBezTo>
                    <a:pt x="73" y="86"/>
                    <a:pt x="73" y="86"/>
                    <a:pt x="73" y="8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7" y="99"/>
                    <a:pt x="77" y="99"/>
                    <a:pt x="77" y="99"/>
                  </a:cubicBezTo>
                  <a:lnTo>
                    <a:pt x="77" y="86"/>
                  </a:lnTo>
                  <a:close/>
                  <a:moveTo>
                    <a:pt x="88" y="86"/>
                  </a:moveTo>
                  <a:cubicBezTo>
                    <a:pt x="83" y="86"/>
                    <a:pt x="83" y="86"/>
                    <a:pt x="83" y="86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8" y="99"/>
                    <a:pt x="88" y="99"/>
                    <a:pt x="88" y="99"/>
                  </a:cubicBezTo>
                  <a:lnTo>
                    <a:pt x="88" y="86"/>
                  </a:lnTo>
                  <a:close/>
                  <a:moveTo>
                    <a:pt x="98" y="86"/>
                  </a:moveTo>
                  <a:cubicBezTo>
                    <a:pt x="93" y="86"/>
                    <a:pt x="93" y="86"/>
                    <a:pt x="93" y="86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8" y="99"/>
                    <a:pt x="98" y="99"/>
                    <a:pt x="98" y="99"/>
                  </a:cubicBezTo>
                  <a:lnTo>
                    <a:pt x="98" y="86"/>
                  </a:lnTo>
                  <a:close/>
                  <a:moveTo>
                    <a:pt x="108" y="86"/>
                  </a:moveTo>
                  <a:cubicBezTo>
                    <a:pt x="103" y="86"/>
                    <a:pt x="103" y="86"/>
                    <a:pt x="103" y="86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8" y="99"/>
                    <a:pt x="108" y="99"/>
                    <a:pt x="108" y="99"/>
                  </a:cubicBezTo>
                  <a:lnTo>
                    <a:pt x="108" y="86"/>
                  </a:lnTo>
                  <a:close/>
                  <a:moveTo>
                    <a:pt x="17" y="104"/>
                  </a:moveTo>
                  <a:cubicBezTo>
                    <a:pt x="12" y="104"/>
                    <a:pt x="12" y="104"/>
                    <a:pt x="12" y="104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7" y="116"/>
                    <a:pt x="17" y="116"/>
                    <a:pt x="17" y="116"/>
                  </a:cubicBezTo>
                  <a:lnTo>
                    <a:pt x="17" y="104"/>
                  </a:lnTo>
                  <a:close/>
                  <a:moveTo>
                    <a:pt x="27" y="104"/>
                  </a:moveTo>
                  <a:cubicBezTo>
                    <a:pt x="22" y="104"/>
                    <a:pt x="22" y="104"/>
                    <a:pt x="22" y="104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7" y="116"/>
                    <a:pt x="27" y="116"/>
                    <a:pt x="27" y="116"/>
                  </a:cubicBezTo>
                  <a:lnTo>
                    <a:pt x="27" y="104"/>
                  </a:lnTo>
                  <a:close/>
                  <a:moveTo>
                    <a:pt x="37" y="104"/>
                  </a:moveTo>
                  <a:cubicBezTo>
                    <a:pt x="32" y="104"/>
                    <a:pt x="32" y="104"/>
                    <a:pt x="32" y="104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16"/>
                    <a:pt x="37" y="116"/>
                    <a:pt x="37" y="116"/>
                  </a:cubicBezTo>
                  <a:lnTo>
                    <a:pt x="37" y="104"/>
                  </a:lnTo>
                  <a:close/>
                  <a:moveTo>
                    <a:pt x="47" y="104"/>
                  </a:moveTo>
                  <a:cubicBezTo>
                    <a:pt x="43" y="104"/>
                    <a:pt x="43" y="104"/>
                    <a:pt x="43" y="104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7" y="116"/>
                    <a:pt x="47" y="116"/>
                    <a:pt x="47" y="116"/>
                  </a:cubicBezTo>
                  <a:lnTo>
                    <a:pt x="47" y="104"/>
                  </a:lnTo>
                  <a:close/>
                  <a:moveTo>
                    <a:pt x="57" y="104"/>
                  </a:moveTo>
                  <a:cubicBezTo>
                    <a:pt x="53" y="104"/>
                    <a:pt x="53" y="104"/>
                    <a:pt x="53" y="104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7" y="116"/>
                    <a:pt x="57" y="116"/>
                    <a:pt x="57" y="116"/>
                  </a:cubicBezTo>
                  <a:lnTo>
                    <a:pt x="57" y="104"/>
                  </a:lnTo>
                  <a:close/>
                  <a:moveTo>
                    <a:pt x="67" y="104"/>
                  </a:moveTo>
                  <a:cubicBezTo>
                    <a:pt x="63" y="104"/>
                    <a:pt x="63" y="104"/>
                    <a:pt x="63" y="104"/>
                  </a:cubicBezTo>
                  <a:cubicBezTo>
                    <a:pt x="63" y="116"/>
                    <a:pt x="63" y="116"/>
                    <a:pt x="63" y="116"/>
                  </a:cubicBezTo>
                  <a:cubicBezTo>
                    <a:pt x="67" y="116"/>
                    <a:pt x="67" y="116"/>
                    <a:pt x="67" y="116"/>
                  </a:cubicBezTo>
                  <a:lnTo>
                    <a:pt x="67" y="104"/>
                  </a:lnTo>
                  <a:close/>
                  <a:moveTo>
                    <a:pt x="77" y="104"/>
                  </a:moveTo>
                  <a:cubicBezTo>
                    <a:pt x="73" y="104"/>
                    <a:pt x="73" y="104"/>
                    <a:pt x="73" y="104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7" y="116"/>
                    <a:pt x="77" y="116"/>
                    <a:pt x="77" y="116"/>
                  </a:cubicBezTo>
                  <a:lnTo>
                    <a:pt x="77" y="104"/>
                  </a:lnTo>
                  <a:close/>
                  <a:moveTo>
                    <a:pt x="88" y="104"/>
                  </a:moveTo>
                  <a:cubicBezTo>
                    <a:pt x="83" y="104"/>
                    <a:pt x="83" y="104"/>
                    <a:pt x="83" y="104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88" y="116"/>
                    <a:pt x="88" y="116"/>
                    <a:pt x="88" y="116"/>
                  </a:cubicBezTo>
                  <a:lnTo>
                    <a:pt x="88" y="104"/>
                  </a:lnTo>
                  <a:close/>
                  <a:moveTo>
                    <a:pt x="98" y="104"/>
                  </a:moveTo>
                  <a:cubicBezTo>
                    <a:pt x="93" y="104"/>
                    <a:pt x="93" y="104"/>
                    <a:pt x="93" y="104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8" y="116"/>
                    <a:pt x="98" y="116"/>
                    <a:pt x="98" y="116"/>
                  </a:cubicBezTo>
                  <a:lnTo>
                    <a:pt x="98" y="104"/>
                  </a:lnTo>
                  <a:close/>
                  <a:moveTo>
                    <a:pt x="108" y="104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08" y="116"/>
                    <a:pt x="108" y="116"/>
                    <a:pt x="108" y="116"/>
                  </a:cubicBezTo>
                  <a:lnTo>
                    <a:pt x="108" y="104"/>
                  </a:lnTo>
                  <a:close/>
                  <a:moveTo>
                    <a:pt x="66" y="57"/>
                  </a:moveTo>
                  <a:cubicBezTo>
                    <a:pt x="86" y="57"/>
                    <a:pt x="86" y="57"/>
                    <a:pt x="86" y="57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66" y="49"/>
                    <a:pt x="66" y="49"/>
                    <a:pt x="66" y="49"/>
                  </a:cubicBezTo>
                  <a:lnTo>
                    <a:pt x="66" y="57"/>
                  </a:lnTo>
                  <a:close/>
                  <a:moveTo>
                    <a:pt x="9" y="76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9" y="43"/>
                    <a:pt x="9" y="43"/>
                    <a:pt x="9" y="43"/>
                  </a:cubicBezTo>
                  <a:lnTo>
                    <a:pt x="9" y="76"/>
                  </a:lnTo>
                  <a:close/>
                  <a:moveTo>
                    <a:pt x="46" y="57"/>
                  </a:moveTo>
                  <a:cubicBezTo>
                    <a:pt x="50" y="57"/>
                    <a:pt x="50" y="57"/>
                    <a:pt x="50" y="57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46" y="57"/>
                  </a:lnTo>
                  <a:close/>
                  <a:moveTo>
                    <a:pt x="74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5" y="20"/>
                    <a:pt x="75" y="20"/>
                    <a:pt x="75" y="20"/>
                  </a:cubicBezTo>
                  <a:lnTo>
                    <a:pt x="74" y="44"/>
                  </a:lnTo>
                  <a:close/>
                  <a:moveTo>
                    <a:pt x="107" y="76"/>
                  </a:moveTo>
                  <a:cubicBezTo>
                    <a:pt x="111" y="76"/>
                    <a:pt x="111" y="76"/>
                    <a:pt x="111" y="76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lnTo>
                    <a:pt x="107" y="76"/>
                  </a:lnTo>
                  <a:close/>
                  <a:moveTo>
                    <a:pt x="4" y="6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10" y="5"/>
                    <a:pt x="11" y="5"/>
                  </a:cubicBezTo>
                  <a:cubicBezTo>
                    <a:pt x="12" y="4"/>
                    <a:pt x="14" y="4"/>
                    <a:pt x="15" y="5"/>
                  </a:cubicBezTo>
                  <a:cubicBezTo>
                    <a:pt x="17" y="6"/>
                    <a:pt x="18" y="7"/>
                    <a:pt x="19" y="8"/>
                  </a:cubicBezTo>
                  <a:cubicBezTo>
                    <a:pt x="20" y="9"/>
                    <a:pt x="20" y="10"/>
                    <a:pt x="20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5" y="11"/>
                    <a:pt x="26" y="11"/>
                  </a:cubicBezTo>
                  <a:cubicBezTo>
                    <a:pt x="28" y="10"/>
                    <a:pt x="32" y="11"/>
                    <a:pt x="33" y="13"/>
                  </a:cubicBezTo>
                  <a:cubicBezTo>
                    <a:pt x="34" y="14"/>
                    <a:pt x="34" y="14"/>
                    <a:pt x="33" y="15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6"/>
                    <a:pt x="39" y="16"/>
                    <a:pt x="39" y="15"/>
                  </a:cubicBezTo>
                  <a:cubicBezTo>
                    <a:pt x="40" y="15"/>
                    <a:pt x="41" y="15"/>
                    <a:pt x="42" y="16"/>
                  </a:cubicBezTo>
                  <a:cubicBezTo>
                    <a:pt x="43" y="16"/>
                    <a:pt x="44" y="17"/>
                    <a:pt x="45" y="17"/>
                  </a:cubicBezTo>
                  <a:cubicBezTo>
                    <a:pt x="45" y="18"/>
                    <a:pt x="45" y="18"/>
                    <a:pt x="45" y="19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0" y="18"/>
                    <a:pt x="50" y="16"/>
                    <a:pt x="48" y="15"/>
                  </a:cubicBezTo>
                  <a:cubicBezTo>
                    <a:pt x="47" y="13"/>
                    <a:pt x="46" y="12"/>
                    <a:pt x="44" y="11"/>
                  </a:cubicBezTo>
                  <a:cubicBezTo>
                    <a:pt x="42" y="11"/>
                    <a:pt x="39" y="11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4" y="6"/>
                    <a:pt x="29" y="5"/>
                    <a:pt x="24" y="6"/>
                  </a:cubicBezTo>
                  <a:cubicBezTo>
                    <a:pt x="24" y="6"/>
                    <a:pt x="24" y="6"/>
                    <a:pt x="24" y="7"/>
                  </a:cubicBezTo>
                  <a:cubicBezTo>
                    <a:pt x="24" y="6"/>
                    <a:pt x="23" y="6"/>
                    <a:pt x="23" y="5"/>
                  </a:cubicBezTo>
                  <a:cubicBezTo>
                    <a:pt x="22" y="3"/>
                    <a:pt x="19" y="2"/>
                    <a:pt x="17" y="1"/>
                  </a:cubicBezTo>
                  <a:cubicBezTo>
                    <a:pt x="14" y="0"/>
                    <a:pt x="11" y="0"/>
                    <a:pt x="9" y="1"/>
                  </a:cubicBezTo>
                  <a:cubicBezTo>
                    <a:pt x="7" y="1"/>
                    <a:pt x="5" y="3"/>
                    <a:pt x="4" y="6"/>
                  </a:cubicBezTo>
                  <a:moveTo>
                    <a:pt x="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124"/>
                    <a:pt x="120" y="124"/>
                    <a:pt x="120" y="124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18" y="126"/>
                    <a:pt x="118" y="126"/>
                    <a:pt x="118" y="126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2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3">
              <a:extLst>
                <a:ext uri="{FF2B5EF4-FFF2-40B4-BE49-F238E27FC236}">
                  <a16:creationId xmlns:a16="http://schemas.microsoft.com/office/drawing/2014/main" id="{43AEF73F-A703-48A0-B489-1793818224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0988" y="2982913"/>
              <a:ext cx="466725" cy="490538"/>
            </a:xfrm>
            <a:custGeom>
              <a:avLst/>
              <a:gdLst>
                <a:gd name="T0" fmla="*/ 116 w 120"/>
                <a:gd name="T1" fmla="*/ 121 h 126"/>
                <a:gd name="T2" fmla="*/ 93 w 120"/>
                <a:gd name="T3" fmla="*/ 61 h 126"/>
                <a:gd name="T4" fmla="*/ 12 w 120"/>
                <a:gd name="T5" fmla="*/ 86 h 126"/>
                <a:gd name="T6" fmla="*/ 27 w 120"/>
                <a:gd name="T7" fmla="*/ 86 h 126"/>
                <a:gd name="T8" fmla="*/ 27 w 120"/>
                <a:gd name="T9" fmla="*/ 86 h 126"/>
                <a:gd name="T10" fmla="*/ 37 w 120"/>
                <a:gd name="T11" fmla="*/ 99 h 126"/>
                <a:gd name="T12" fmla="*/ 43 w 120"/>
                <a:gd name="T13" fmla="*/ 99 h 126"/>
                <a:gd name="T14" fmla="*/ 53 w 120"/>
                <a:gd name="T15" fmla="*/ 86 h 126"/>
                <a:gd name="T16" fmla="*/ 67 w 120"/>
                <a:gd name="T17" fmla="*/ 86 h 126"/>
                <a:gd name="T18" fmla="*/ 67 w 120"/>
                <a:gd name="T19" fmla="*/ 86 h 126"/>
                <a:gd name="T20" fmla="*/ 77 w 120"/>
                <a:gd name="T21" fmla="*/ 99 h 126"/>
                <a:gd name="T22" fmla="*/ 83 w 120"/>
                <a:gd name="T23" fmla="*/ 99 h 126"/>
                <a:gd name="T24" fmla="*/ 93 w 120"/>
                <a:gd name="T25" fmla="*/ 86 h 126"/>
                <a:gd name="T26" fmla="*/ 108 w 120"/>
                <a:gd name="T27" fmla="*/ 86 h 126"/>
                <a:gd name="T28" fmla="*/ 108 w 120"/>
                <a:gd name="T29" fmla="*/ 86 h 126"/>
                <a:gd name="T30" fmla="*/ 17 w 120"/>
                <a:gd name="T31" fmla="*/ 116 h 126"/>
                <a:gd name="T32" fmla="*/ 22 w 120"/>
                <a:gd name="T33" fmla="*/ 116 h 126"/>
                <a:gd name="T34" fmla="*/ 32 w 120"/>
                <a:gd name="T35" fmla="*/ 104 h 126"/>
                <a:gd name="T36" fmla="*/ 47 w 120"/>
                <a:gd name="T37" fmla="*/ 104 h 126"/>
                <a:gd name="T38" fmla="*/ 47 w 120"/>
                <a:gd name="T39" fmla="*/ 104 h 126"/>
                <a:gd name="T40" fmla="*/ 57 w 120"/>
                <a:gd name="T41" fmla="*/ 116 h 126"/>
                <a:gd name="T42" fmla="*/ 63 w 120"/>
                <a:gd name="T43" fmla="*/ 116 h 126"/>
                <a:gd name="T44" fmla="*/ 73 w 120"/>
                <a:gd name="T45" fmla="*/ 104 h 126"/>
                <a:gd name="T46" fmla="*/ 88 w 120"/>
                <a:gd name="T47" fmla="*/ 104 h 126"/>
                <a:gd name="T48" fmla="*/ 88 w 120"/>
                <a:gd name="T49" fmla="*/ 104 h 126"/>
                <a:gd name="T50" fmla="*/ 98 w 120"/>
                <a:gd name="T51" fmla="*/ 116 h 126"/>
                <a:gd name="T52" fmla="*/ 103 w 120"/>
                <a:gd name="T53" fmla="*/ 116 h 126"/>
                <a:gd name="T54" fmla="*/ 86 w 120"/>
                <a:gd name="T55" fmla="*/ 57 h 126"/>
                <a:gd name="T56" fmla="*/ 9 w 120"/>
                <a:gd name="T57" fmla="*/ 76 h 126"/>
                <a:gd name="T58" fmla="*/ 9 w 120"/>
                <a:gd name="T59" fmla="*/ 76 h 126"/>
                <a:gd name="T60" fmla="*/ 47 w 120"/>
                <a:gd name="T61" fmla="*/ 29 h 126"/>
                <a:gd name="T62" fmla="*/ 78 w 120"/>
                <a:gd name="T63" fmla="*/ 20 h 126"/>
                <a:gd name="T64" fmla="*/ 111 w 120"/>
                <a:gd name="T65" fmla="*/ 76 h 126"/>
                <a:gd name="T66" fmla="*/ 4 w 120"/>
                <a:gd name="T67" fmla="*/ 6 h 126"/>
                <a:gd name="T68" fmla="*/ 19 w 120"/>
                <a:gd name="T69" fmla="*/ 8 h 126"/>
                <a:gd name="T70" fmla="*/ 33 w 120"/>
                <a:gd name="T71" fmla="*/ 13 h 126"/>
                <a:gd name="T72" fmla="*/ 42 w 120"/>
                <a:gd name="T73" fmla="*/ 16 h 126"/>
                <a:gd name="T74" fmla="*/ 48 w 120"/>
                <a:gd name="T75" fmla="*/ 15 h 126"/>
                <a:gd name="T76" fmla="*/ 37 w 120"/>
                <a:gd name="T77" fmla="*/ 10 h 126"/>
                <a:gd name="T78" fmla="*/ 17 w 120"/>
                <a:gd name="T79" fmla="*/ 1 h 126"/>
                <a:gd name="T80" fmla="*/ 4 w 120"/>
                <a:gd name="T81" fmla="*/ 76 h 126"/>
                <a:gd name="T82" fmla="*/ 20 w 120"/>
                <a:gd name="T83" fmla="*/ 38 h 126"/>
                <a:gd name="T84" fmla="*/ 22 w 120"/>
                <a:gd name="T85" fmla="*/ 76 h 126"/>
                <a:gd name="T86" fmla="*/ 42 w 120"/>
                <a:gd name="T87" fmla="*/ 57 h 126"/>
                <a:gd name="T88" fmla="*/ 57 w 120"/>
                <a:gd name="T89" fmla="*/ 25 h 126"/>
                <a:gd name="T90" fmla="*/ 61 w 120"/>
                <a:gd name="T91" fmla="*/ 57 h 126"/>
                <a:gd name="T92" fmla="*/ 70 w 120"/>
                <a:gd name="T93" fmla="*/ 44 h 126"/>
                <a:gd name="T94" fmla="*/ 85 w 120"/>
                <a:gd name="T95" fmla="*/ 16 h 126"/>
                <a:gd name="T96" fmla="*/ 88 w 120"/>
                <a:gd name="T97" fmla="*/ 44 h 126"/>
                <a:gd name="T98" fmla="*/ 96 w 120"/>
                <a:gd name="T99" fmla="*/ 57 h 126"/>
                <a:gd name="T100" fmla="*/ 103 w 120"/>
                <a:gd name="T101" fmla="*/ 76 h 126"/>
                <a:gd name="T102" fmla="*/ 119 w 120"/>
                <a:gd name="T103" fmla="*/ 6 h 126"/>
                <a:gd name="T104" fmla="*/ 118 w 120"/>
                <a:gd name="T105" fmla="*/ 76 h 126"/>
                <a:gd name="T106" fmla="*/ 120 w 120"/>
                <a:gd name="T107" fmla="*/ 126 h 126"/>
                <a:gd name="T108" fmla="*/ 0 w 120"/>
                <a:gd name="T109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" h="126">
                  <a:moveTo>
                    <a:pt x="11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116" y="121"/>
                    <a:pt x="116" y="121"/>
                    <a:pt x="116" y="121"/>
                  </a:cubicBezTo>
                  <a:lnTo>
                    <a:pt x="116" y="81"/>
                  </a:lnTo>
                  <a:close/>
                  <a:moveTo>
                    <a:pt x="27" y="76"/>
                  </a:moveTo>
                  <a:cubicBezTo>
                    <a:pt x="93" y="76"/>
                    <a:pt x="93" y="76"/>
                    <a:pt x="93" y="76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27" y="61"/>
                    <a:pt x="27" y="61"/>
                    <a:pt x="27" y="61"/>
                  </a:cubicBezTo>
                  <a:lnTo>
                    <a:pt x="27" y="76"/>
                  </a:lnTo>
                  <a:close/>
                  <a:moveTo>
                    <a:pt x="17" y="86"/>
                  </a:moveTo>
                  <a:cubicBezTo>
                    <a:pt x="12" y="86"/>
                    <a:pt x="12" y="86"/>
                    <a:pt x="12" y="86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7" y="99"/>
                    <a:pt x="17" y="99"/>
                    <a:pt x="17" y="99"/>
                  </a:cubicBezTo>
                  <a:lnTo>
                    <a:pt x="17" y="86"/>
                  </a:lnTo>
                  <a:close/>
                  <a:moveTo>
                    <a:pt x="2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7" y="99"/>
                    <a:pt x="27" y="99"/>
                    <a:pt x="27" y="99"/>
                  </a:cubicBezTo>
                  <a:lnTo>
                    <a:pt x="27" y="86"/>
                  </a:lnTo>
                  <a:close/>
                  <a:moveTo>
                    <a:pt x="37" y="86"/>
                  </a:moveTo>
                  <a:cubicBezTo>
                    <a:pt x="32" y="86"/>
                    <a:pt x="32" y="86"/>
                    <a:pt x="32" y="86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7" y="99"/>
                    <a:pt x="37" y="99"/>
                    <a:pt x="37" y="99"/>
                  </a:cubicBezTo>
                  <a:lnTo>
                    <a:pt x="37" y="86"/>
                  </a:lnTo>
                  <a:close/>
                  <a:moveTo>
                    <a:pt x="47" y="86"/>
                  </a:moveTo>
                  <a:cubicBezTo>
                    <a:pt x="43" y="86"/>
                    <a:pt x="43" y="86"/>
                    <a:pt x="43" y="86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7" y="99"/>
                    <a:pt x="47" y="99"/>
                    <a:pt x="47" y="99"/>
                  </a:cubicBezTo>
                  <a:lnTo>
                    <a:pt x="47" y="86"/>
                  </a:lnTo>
                  <a:close/>
                  <a:moveTo>
                    <a:pt x="57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7" y="99"/>
                    <a:pt x="57" y="99"/>
                    <a:pt x="57" y="99"/>
                  </a:cubicBezTo>
                  <a:lnTo>
                    <a:pt x="57" y="86"/>
                  </a:lnTo>
                  <a:close/>
                  <a:moveTo>
                    <a:pt x="67" y="86"/>
                  </a:moveTo>
                  <a:cubicBezTo>
                    <a:pt x="63" y="86"/>
                    <a:pt x="63" y="86"/>
                    <a:pt x="63" y="86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7" y="99"/>
                    <a:pt x="67" y="99"/>
                    <a:pt x="67" y="99"/>
                  </a:cubicBezTo>
                  <a:lnTo>
                    <a:pt x="67" y="86"/>
                  </a:lnTo>
                  <a:close/>
                  <a:moveTo>
                    <a:pt x="77" y="86"/>
                  </a:moveTo>
                  <a:cubicBezTo>
                    <a:pt x="73" y="86"/>
                    <a:pt x="73" y="86"/>
                    <a:pt x="73" y="8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7" y="99"/>
                    <a:pt x="77" y="99"/>
                    <a:pt x="77" y="99"/>
                  </a:cubicBezTo>
                  <a:lnTo>
                    <a:pt x="77" y="86"/>
                  </a:lnTo>
                  <a:close/>
                  <a:moveTo>
                    <a:pt x="88" y="86"/>
                  </a:moveTo>
                  <a:cubicBezTo>
                    <a:pt x="83" y="86"/>
                    <a:pt x="83" y="86"/>
                    <a:pt x="83" y="86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8" y="99"/>
                    <a:pt x="88" y="99"/>
                    <a:pt x="88" y="99"/>
                  </a:cubicBezTo>
                  <a:lnTo>
                    <a:pt x="88" y="86"/>
                  </a:lnTo>
                  <a:close/>
                  <a:moveTo>
                    <a:pt x="98" y="86"/>
                  </a:moveTo>
                  <a:cubicBezTo>
                    <a:pt x="93" y="86"/>
                    <a:pt x="93" y="86"/>
                    <a:pt x="93" y="86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8" y="99"/>
                    <a:pt x="98" y="99"/>
                    <a:pt x="98" y="99"/>
                  </a:cubicBezTo>
                  <a:lnTo>
                    <a:pt x="98" y="86"/>
                  </a:lnTo>
                  <a:close/>
                  <a:moveTo>
                    <a:pt x="108" y="86"/>
                  </a:moveTo>
                  <a:cubicBezTo>
                    <a:pt x="103" y="86"/>
                    <a:pt x="103" y="86"/>
                    <a:pt x="103" y="86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8" y="99"/>
                    <a:pt x="108" y="99"/>
                    <a:pt x="108" y="99"/>
                  </a:cubicBezTo>
                  <a:lnTo>
                    <a:pt x="108" y="86"/>
                  </a:lnTo>
                  <a:close/>
                  <a:moveTo>
                    <a:pt x="17" y="104"/>
                  </a:moveTo>
                  <a:cubicBezTo>
                    <a:pt x="12" y="104"/>
                    <a:pt x="12" y="104"/>
                    <a:pt x="12" y="104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7" y="116"/>
                    <a:pt x="17" y="116"/>
                    <a:pt x="17" y="116"/>
                  </a:cubicBezTo>
                  <a:lnTo>
                    <a:pt x="17" y="104"/>
                  </a:lnTo>
                  <a:close/>
                  <a:moveTo>
                    <a:pt x="27" y="104"/>
                  </a:moveTo>
                  <a:cubicBezTo>
                    <a:pt x="22" y="104"/>
                    <a:pt x="22" y="104"/>
                    <a:pt x="22" y="104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7" y="116"/>
                    <a:pt x="27" y="116"/>
                    <a:pt x="27" y="116"/>
                  </a:cubicBezTo>
                  <a:lnTo>
                    <a:pt x="27" y="104"/>
                  </a:lnTo>
                  <a:close/>
                  <a:moveTo>
                    <a:pt x="37" y="104"/>
                  </a:moveTo>
                  <a:cubicBezTo>
                    <a:pt x="32" y="104"/>
                    <a:pt x="32" y="104"/>
                    <a:pt x="32" y="104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16"/>
                    <a:pt x="37" y="116"/>
                    <a:pt x="37" y="116"/>
                  </a:cubicBezTo>
                  <a:lnTo>
                    <a:pt x="37" y="104"/>
                  </a:lnTo>
                  <a:close/>
                  <a:moveTo>
                    <a:pt x="47" y="104"/>
                  </a:moveTo>
                  <a:cubicBezTo>
                    <a:pt x="43" y="104"/>
                    <a:pt x="43" y="104"/>
                    <a:pt x="43" y="104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7" y="116"/>
                    <a:pt x="47" y="116"/>
                    <a:pt x="47" y="116"/>
                  </a:cubicBezTo>
                  <a:lnTo>
                    <a:pt x="47" y="104"/>
                  </a:lnTo>
                  <a:close/>
                  <a:moveTo>
                    <a:pt x="57" y="104"/>
                  </a:moveTo>
                  <a:cubicBezTo>
                    <a:pt x="53" y="104"/>
                    <a:pt x="53" y="104"/>
                    <a:pt x="53" y="104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7" y="116"/>
                    <a:pt x="57" y="116"/>
                    <a:pt x="57" y="116"/>
                  </a:cubicBezTo>
                  <a:lnTo>
                    <a:pt x="57" y="104"/>
                  </a:lnTo>
                  <a:close/>
                  <a:moveTo>
                    <a:pt x="67" y="104"/>
                  </a:moveTo>
                  <a:cubicBezTo>
                    <a:pt x="63" y="104"/>
                    <a:pt x="63" y="104"/>
                    <a:pt x="63" y="104"/>
                  </a:cubicBezTo>
                  <a:cubicBezTo>
                    <a:pt x="63" y="116"/>
                    <a:pt x="63" y="116"/>
                    <a:pt x="63" y="116"/>
                  </a:cubicBezTo>
                  <a:cubicBezTo>
                    <a:pt x="67" y="116"/>
                    <a:pt x="67" y="116"/>
                    <a:pt x="67" y="116"/>
                  </a:cubicBezTo>
                  <a:lnTo>
                    <a:pt x="67" y="104"/>
                  </a:lnTo>
                  <a:close/>
                  <a:moveTo>
                    <a:pt x="77" y="104"/>
                  </a:moveTo>
                  <a:cubicBezTo>
                    <a:pt x="73" y="104"/>
                    <a:pt x="73" y="104"/>
                    <a:pt x="73" y="104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7" y="116"/>
                    <a:pt x="77" y="116"/>
                    <a:pt x="77" y="116"/>
                  </a:cubicBezTo>
                  <a:lnTo>
                    <a:pt x="77" y="104"/>
                  </a:lnTo>
                  <a:close/>
                  <a:moveTo>
                    <a:pt x="88" y="104"/>
                  </a:moveTo>
                  <a:cubicBezTo>
                    <a:pt x="83" y="104"/>
                    <a:pt x="83" y="104"/>
                    <a:pt x="83" y="104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88" y="116"/>
                    <a:pt x="88" y="116"/>
                    <a:pt x="88" y="116"/>
                  </a:cubicBezTo>
                  <a:lnTo>
                    <a:pt x="88" y="104"/>
                  </a:lnTo>
                  <a:close/>
                  <a:moveTo>
                    <a:pt x="98" y="104"/>
                  </a:moveTo>
                  <a:cubicBezTo>
                    <a:pt x="93" y="104"/>
                    <a:pt x="93" y="104"/>
                    <a:pt x="93" y="104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8" y="116"/>
                    <a:pt x="98" y="116"/>
                    <a:pt x="98" y="116"/>
                  </a:cubicBezTo>
                  <a:lnTo>
                    <a:pt x="98" y="104"/>
                  </a:lnTo>
                  <a:close/>
                  <a:moveTo>
                    <a:pt x="108" y="104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08" y="116"/>
                    <a:pt x="108" y="116"/>
                    <a:pt x="108" y="116"/>
                  </a:cubicBezTo>
                  <a:lnTo>
                    <a:pt x="108" y="104"/>
                  </a:lnTo>
                  <a:close/>
                  <a:moveTo>
                    <a:pt x="66" y="57"/>
                  </a:moveTo>
                  <a:cubicBezTo>
                    <a:pt x="86" y="57"/>
                    <a:pt x="86" y="57"/>
                    <a:pt x="86" y="57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66" y="49"/>
                    <a:pt x="66" y="49"/>
                    <a:pt x="66" y="49"/>
                  </a:cubicBezTo>
                  <a:lnTo>
                    <a:pt x="66" y="57"/>
                  </a:lnTo>
                  <a:close/>
                  <a:moveTo>
                    <a:pt x="9" y="76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9" y="43"/>
                    <a:pt x="9" y="43"/>
                    <a:pt x="9" y="43"/>
                  </a:cubicBezTo>
                  <a:lnTo>
                    <a:pt x="9" y="76"/>
                  </a:lnTo>
                  <a:close/>
                  <a:moveTo>
                    <a:pt x="46" y="57"/>
                  </a:moveTo>
                  <a:cubicBezTo>
                    <a:pt x="50" y="57"/>
                    <a:pt x="50" y="57"/>
                    <a:pt x="50" y="57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46" y="57"/>
                  </a:lnTo>
                  <a:close/>
                  <a:moveTo>
                    <a:pt x="74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5" y="20"/>
                    <a:pt x="75" y="20"/>
                    <a:pt x="75" y="20"/>
                  </a:cubicBezTo>
                  <a:lnTo>
                    <a:pt x="74" y="44"/>
                  </a:lnTo>
                  <a:close/>
                  <a:moveTo>
                    <a:pt x="107" y="76"/>
                  </a:moveTo>
                  <a:cubicBezTo>
                    <a:pt x="111" y="76"/>
                    <a:pt x="111" y="76"/>
                    <a:pt x="111" y="76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lnTo>
                    <a:pt x="107" y="76"/>
                  </a:lnTo>
                  <a:close/>
                  <a:moveTo>
                    <a:pt x="4" y="6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10" y="5"/>
                    <a:pt x="11" y="5"/>
                  </a:cubicBezTo>
                  <a:cubicBezTo>
                    <a:pt x="12" y="4"/>
                    <a:pt x="14" y="4"/>
                    <a:pt x="15" y="5"/>
                  </a:cubicBezTo>
                  <a:cubicBezTo>
                    <a:pt x="17" y="6"/>
                    <a:pt x="18" y="7"/>
                    <a:pt x="19" y="8"/>
                  </a:cubicBezTo>
                  <a:cubicBezTo>
                    <a:pt x="20" y="9"/>
                    <a:pt x="20" y="10"/>
                    <a:pt x="20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5" y="11"/>
                    <a:pt x="26" y="11"/>
                  </a:cubicBezTo>
                  <a:cubicBezTo>
                    <a:pt x="28" y="10"/>
                    <a:pt x="32" y="11"/>
                    <a:pt x="33" y="13"/>
                  </a:cubicBezTo>
                  <a:cubicBezTo>
                    <a:pt x="34" y="14"/>
                    <a:pt x="34" y="14"/>
                    <a:pt x="33" y="15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6"/>
                    <a:pt x="39" y="16"/>
                    <a:pt x="39" y="15"/>
                  </a:cubicBezTo>
                  <a:cubicBezTo>
                    <a:pt x="40" y="15"/>
                    <a:pt x="41" y="15"/>
                    <a:pt x="42" y="16"/>
                  </a:cubicBezTo>
                  <a:cubicBezTo>
                    <a:pt x="43" y="16"/>
                    <a:pt x="44" y="17"/>
                    <a:pt x="45" y="17"/>
                  </a:cubicBezTo>
                  <a:cubicBezTo>
                    <a:pt x="45" y="18"/>
                    <a:pt x="45" y="18"/>
                    <a:pt x="45" y="19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0" y="18"/>
                    <a:pt x="50" y="16"/>
                    <a:pt x="48" y="15"/>
                  </a:cubicBezTo>
                  <a:cubicBezTo>
                    <a:pt x="47" y="13"/>
                    <a:pt x="46" y="12"/>
                    <a:pt x="44" y="11"/>
                  </a:cubicBezTo>
                  <a:cubicBezTo>
                    <a:pt x="42" y="11"/>
                    <a:pt x="39" y="11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4" y="6"/>
                    <a:pt x="29" y="5"/>
                    <a:pt x="24" y="6"/>
                  </a:cubicBezTo>
                  <a:cubicBezTo>
                    <a:pt x="24" y="6"/>
                    <a:pt x="24" y="6"/>
                    <a:pt x="24" y="7"/>
                  </a:cubicBezTo>
                  <a:cubicBezTo>
                    <a:pt x="24" y="6"/>
                    <a:pt x="23" y="6"/>
                    <a:pt x="23" y="5"/>
                  </a:cubicBezTo>
                  <a:cubicBezTo>
                    <a:pt x="22" y="3"/>
                    <a:pt x="19" y="2"/>
                    <a:pt x="17" y="1"/>
                  </a:cubicBezTo>
                  <a:cubicBezTo>
                    <a:pt x="14" y="0"/>
                    <a:pt x="11" y="0"/>
                    <a:pt x="9" y="1"/>
                  </a:cubicBezTo>
                  <a:cubicBezTo>
                    <a:pt x="7" y="1"/>
                    <a:pt x="5" y="3"/>
                    <a:pt x="4" y="6"/>
                  </a:cubicBezTo>
                  <a:moveTo>
                    <a:pt x="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124"/>
                    <a:pt x="120" y="124"/>
                    <a:pt x="120" y="124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18" y="126"/>
                    <a:pt x="118" y="126"/>
                    <a:pt x="118" y="126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2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DFC49780-70C5-4944-8A24-5B9453C6A56C}"/>
              </a:ext>
            </a:extLst>
          </p:cNvPr>
          <p:cNvGrpSpPr/>
          <p:nvPr/>
        </p:nvGrpSpPr>
        <p:grpSpPr>
          <a:xfrm>
            <a:off x="388938" y="2796955"/>
            <a:ext cx="844550" cy="844550"/>
            <a:chOff x="388938" y="2809875"/>
            <a:chExt cx="844550" cy="844550"/>
          </a:xfrm>
        </p:grpSpPr>
        <p:sp>
          <p:nvSpPr>
            <p:cNvPr id="142" name="AutoShape 105">
              <a:extLst>
                <a:ext uri="{FF2B5EF4-FFF2-40B4-BE49-F238E27FC236}">
                  <a16:creationId xmlns:a16="http://schemas.microsoft.com/office/drawing/2014/main" id="{E622AFAD-852D-4687-9316-B220EDB7A6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938" y="2809875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107">
              <a:extLst>
                <a:ext uri="{FF2B5EF4-FFF2-40B4-BE49-F238E27FC236}">
                  <a16:creationId xmlns:a16="http://schemas.microsoft.com/office/drawing/2014/main" id="{EBFAC61D-FA54-48B1-BCD7-B31C7C40C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38" y="2809875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8">
              <a:extLst>
                <a:ext uri="{FF2B5EF4-FFF2-40B4-BE49-F238E27FC236}">
                  <a16:creationId xmlns:a16="http://schemas.microsoft.com/office/drawing/2014/main" id="{BEDC5950-CBE5-4761-A50B-5C5770387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3" y="2838450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9">
              <a:extLst>
                <a:ext uri="{FF2B5EF4-FFF2-40B4-BE49-F238E27FC236}">
                  <a16:creationId xmlns:a16="http://schemas.microsoft.com/office/drawing/2014/main" id="{B0A54037-DC7E-4615-B6DF-6D8978728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326" y="2976563"/>
              <a:ext cx="487363" cy="511175"/>
            </a:xfrm>
            <a:custGeom>
              <a:avLst/>
              <a:gdLst>
                <a:gd name="T0" fmla="*/ 116 w 120"/>
                <a:gd name="T1" fmla="*/ 121 h 126"/>
                <a:gd name="T2" fmla="*/ 93 w 120"/>
                <a:gd name="T3" fmla="*/ 61 h 126"/>
                <a:gd name="T4" fmla="*/ 12 w 120"/>
                <a:gd name="T5" fmla="*/ 86 h 126"/>
                <a:gd name="T6" fmla="*/ 27 w 120"/>
                <a:gd name="T7" fmla="*/ 86 h 126"/>
                <a:gd name="T8" fmla="*/ 27 w 120"/>
                <a:gd name="T9" fmla="*/ 86 h 126"/>
                <a:gd name="T10" fmla="*/ 37 w 120"/>
                <a:gd name="T11" fmla="*/ 99 h 126"/>
                <a:gd name="T12" fmla="*/ 43 w 120"/>
                <a:gd name="T13" fmla="*/ 99 h 126"/>
                <a:gd name="T14" fmla="*/ 53 w 120"/>
                <a:gd name="T15" fmla="*/ 86 h 126"/>
                <a:gd name="T16" fmla="*/ 67 w 120"/>
                <a:gd name="T17" fmla="*/ 86 h 126"/>
                <a:gd name="T18" fmla="*/ 67 w 120"/>
                <a:gd name="T19" fmla="*/ 86 h 126"/>
                <a:gd name="T20" fmla="*/ 77 w 120"/>
                <a:gd name="T21" fmla="*/ 99 h 126"/>
                <a:gd name="T22" fmla="*/ 83 w 120"/>
                <a:gd name="T23" fmla="*/ 99 h 126"/>
                <a:gd name="T24" fmla="*/ 93 w 120"/>
                <a:gd name="T25" fmla="*/ 86 h 126"/>
                <a:gd name="T26" fmla="*/ 108 w 120"/>
                <a:gd name="T27" fmla="*/ 86 h 126"/>
                <a:gd name="T28" fmla="*/ 108 w 120"/>
                <a:gd name="T29" fmla="*/ 86 h 126"/>
                <a:gd name="T30" fmla="*/ 17 w 120"/>
                <a:gd name="T31" fmla="*/ 116 h 126"/>
                <a:gd name="T32" fmla="*/ 22 w 120"/>
                <a:gd name="T33" fmla="*/ 116 h 126"/>
                <a:gd name="T34" fmla="*/ 32 w 120"/>
                <a:gd name="T35" fmla="*/ 104 h 126"/>
                <a:gd name="T36" fmla="*/ 47 w 120"/>
                <a:gd name="T37" fmla="*/ 104 h 126"/>
                <a:gd name="T38" fmla="*/ 47 w 120"/>
                <a:gd name="T39" fmla="*/ 104 h 126"/>
                <a:gd name="T40" fmla="*/ 57 w 120"/>
                <a:gd name="T41" fmla="*/ 116 h 126"/>
                <a:gd name="T42" fmla="*/ 63 w 120"/>
                <a:gd name="T43" fmla="*/ 116 h 126"/>
                <a:gd name="T44" fmla="*/ 73 w 120"/>
                <a:gd name="T45" fmla="*/ 104 h 126"/>
                <a:gd name="T46" fmla="*/ 88 w 120"/>
                <a:gd name="T47" fmla="*/ 104 h 126"/>
                <a:gd name="T48" fmla="*/ 88 w 120"/>
                <a:gd name="T49" fmla="*/ 104 h 126"/>
                <a:gd name="T50" fmla="*/ 98 w 120"/>
                <a:gd name="T51" fmla="*/ 116 h 126"/>
                <a:gd name="T52" fmla="*/ 103 w 120"/>
                <a:gd name="T53" fmla="*/ 116 h 126"/>
                <a:gd name="T54" fmla="*/ 86 w 120"/>
                <a:gd name="T55" fmla="*/ 57 h 126"/>
                <a:gd name="T56" fmla="*/ 9 w 120"/>
                <a:gd name="T57" fmla="*/ 76 h 126"/>
                <a:gd name="T58" fmla="*/ 9 w 120"/>
                <a:gd name="T59" fmla="*/ 76 h 126"/>
                <a:gd name="T60" fmla="*/ 47 w 120"/>
                <a:gd name="T61" fmla="*/ 29 h 126"/>
                <a:gd name="T62" fmla="*/ 78 w 120"/>
                <a:gd name="T63" fmla="*/ 20 h 126"/>
                <a:gd name="T64" fmla="*/ 111 w 120"/>
                <a:gd name="T65" fmla="*/ 76 h 126"/>
                <a:gd name="T66" fmla="*/ 4 w 120"/>
                <a:gd name="T67" fmla="*/ 6 h 126"/>
                <a:gd name="T68" fmla="*/ 19 w 120"/>
                <a:gd name="T69" fmla="*/ 8 h 126"/>
                <a:gd name="T70" fmla="*/ 33 w 120"/>
                <a:gd name="T71" fmla="*/ 13 h 126"/>
                <a:gd name="T72" fmla="*/ 42 w 120"/>
                <a:gd name="T73" fmla="*/ 16 h 126"/>
                <a:gd name="T74" fmla="*/ 48 w 120"/>
                <a:gd name="T75" fmla="*/ 15 h 126"/>
                <a:gd name="T76" fmla="*/ 37 w 120"/>
                <a:gd name="T77" fmla="*/ 10 h 126"/>
                <a:gd name="T78" fmla="*/ 17 w 120"/>
                <a:gd name="T79" fmla="*/ 1 h 126"/>
                <a:gd name="T80" fmla="*/ 4 w 120"/>
                <a:gd name="T81" fmla="*/ 76 h 126"/>
                <a:gd name="T82" fmla="*/ 20 w 120"/>
                <a:gd name="T83" fmla="*/ 38 h 126"/>
                <a:gd name="T84" fmla="*/ 22 w 120"/>
                <a:gd name="T85" fmla="*/ 76 h 126"/>
                <a:gd name="T86" fmla="*/ 42 w 120"/>
                <a:gd name="T87" fmla="*/ 57 h 126"/>
                <a:gd name="T88" fmla="*/ 57 w 120"/>
                <a:gd name="T89" fmla="*/ 25 h 126"/>
                <a:gd name="T90" fmla="*/ 61 w 120"/>
                <a:gd name="T91" fmla="*/ 57 h 126"/>
                <a:gd name="T92" fmla="*/ 70 w 120"/>
                <a:gd name="T93" fmla="*/ 44 h 126"/>
                <a:gd name="T94" fmla="*/ 85 w 120"/>
                <a:gd name="T95" fmla="*/ 16 h 126"/>
                <a:gd name="T96" fmla="*/ 88 w 120"/>
                <a:gd name="T97" fmla="*/ 44 h 126"/>
                <a:gd name="T98" fmla="*/ 96 w 120"/>
                <a:gd name="T99" fmla="*/ 57 h 126"/>
                <a:gd name="T100" fmla="*/ 103 w 120"/>
                <a:gd name="T101" fmla="*/ 76 h 126"/>
                <a:gd name="T102" fmla="*/ 119 w 120"/>
                <a:gd name="T103" fmla="*/ 6 h 126"/>
                <a:gd name="T104" fmla="*/ 118 w 120"/>
                <a:gd name="T105" fmla="*/ 76 h 126"/>
                <a:gd name="T106" fmla="*/ 120 w 120"/>
                <a:gd name="T107" fmla="*/ 126 h 126"/>
                <a:gd name="T108" fmla="*/ 0 w 120"/>
                <a:gd name="T109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" h="126">
                  <a:moveTo>
                    <a:pt x="116" y="81"/>
                  </a:moveTo>
                  <a:cubicBezTo>
                    <a:pt x="4" y="81"/>
                    <a:pt x="4" y="81"/>
                    <a:pt x="4" y="8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116" y="121"/>
                    <a:pt x="116" y="121"/>
                    <a:pt x="116" y="121"/>
                  </a:cubicBezTo>
                  <a:lnTo>
                    <a:pt x="116" y="81"/>
                  </a:lnTo>
                  <a:close/>
                  <a:moveTo>
                    <a:pt x="27" y="76"/>
                  </a:moveTo>
                  <a:cubicBezTo>
                    <a:pt x="93" y="76"/>
                    <a:pt x="93" y="76"/>
                    <a:pt x="93" y="76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27" y="61"/>
                    <a:pt x="27" y="61"/>
                    <a:pt x="27" y="61"/>
                  </a:cubicBezTo>
                  <a:lnTo>
                    <a:pt x="27" y="76"/>
                  </a:lnTo>
                  <a:close/>
                  <a:moveTo>
                    <a:pt x="17" y="86"/>
                  </a:moveTo>
                  <a:cubicBezTo>
                    <a:pt x="12" y="86"/>
                    <a:pt x="12" y="86"/>
                    <a:pt x="12" y="86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7" y="99"/>
                    <a:pt x="17" y="99"/>
                    <a:pt x="17" y="99"/>
                  </a:cubicBezTo>
                  <a:lnTo>
                    <a:pt x="17" y="86"/>
                  </a:lnTo>
                  <a:close/>
                  <a:moveTo>
                    <a:pt x="2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7" y="99"/>
                    <a:pt x="27" y="99"/>
                    <a:pt x="27" y="99"/>
                  </a:cubicBezTo>
                  <a:lnTo>
                    <a:pt x="27" y="86"/>
                  </a:lnTo>
                  <a:close/>
                  <a:moveTo>
                    <a:pt x="37" y="86"/>
                  </a:moveTo>
                  <a:cubicBezTo>
                    <a:pt x="32" y="86"/>
                    <a:pt x="32" y="86"/>
                    <a:pt x="32" y="86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7" y="99"/>
                    <a:pt x="37" y="99"/>
                    <a:pt x="37" y="99"/>
                  </a:cubicBezTo>
                  <a:lnTo>
                    <a:pt x="37" y="86"/>
                  </a:lnTo>
                  <a:close/>
                  <a:moveTo>
                    <a:pt x="47" y="86"/>
                  </a:moveTo>
                  <a:cubicBezTo>
                    <a:pt x="43" y="86"/>
                    <a:pt x="43" y="86"/>
                    <a:pt x="43" y="86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7" y="99"/>
                    <a:pt x="47" y="99"/>
                    <a:pt x="47" y="99"/>
                  </a:cubicBezTo>
                  <a:lnTo>
                    <a:pt x="47" y="86"/>
                  </a:lnTo>
                  <a:close/>
                  <a:moveTo>
                    <a:pt x="57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7" y="99"/>
                    <a:pt x="57" y="99"/>
                    <a:pt x="57" y="99"/>
                  </a:cubicBezTo>
                  <a:lnTo>
                    <a:pt x="57" y="86"/>
                  </a:lnTo>
                  <a:close/>
                  <a:moveTo>
                    <a:pt x="67" y="86"/>
                  </a:moveTo>
                  <a:cubicBezTo>
                    <a:pt x="63" y="86"/>
                    <a:pt x="63" y="86"/>
                    <a:pt x="63" y="86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7" y="99"/>
                    <a:pt x="67" y="99"/>
                    <a:pt x="67" y="99"/>
                  </a:cubicBezTo>
                  <a:lnTo>
                    <a:pt x="67" y="86"/>
                  </a:lnTo>
                  <a:close/>
                  <a:moveTo>
                    <a:pt x="77" y="86"/>
                  </a:moveTo>
                  <a:cubicBezTo>
                    <a:pt x="73" y="86"/>
                    <a:pt x="73" y="86"/>
                    <a:pt x="73" y="86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7" y="99"/>
                    <a:pt x="77" y="99"/>
                    <a:pt x="77" y="99"/>
                  </a:cubicBezTo>
                  <a:lnTo>
                    <a:pt x="77" y="86"/>
                  </a:lnTo>
                  <a:close/>
                  <a:moveTo>
                    <a:pt x="88" y="86"/>
                  </a:moveTo>
                  <a:cubicBezTo>
                    <a:pt x="83" y="86"/>
                    <a:pt x="83" y="86"/>
                    <a:pt x="83" y="86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8" y="99"/>
                    <a:pt x="88" y="99"/>
                    <a:pt x="88" y="99"/>
                  </a:cubicBezTo>
                  <a:lnTo>
                    <a:pt x="88" y="86"/>
                  </a:lnTo>
                  <a:close/>
                  <a:moveTo>
                    <a:pt x="98" y="86"/>
                  </a:moveTo>
                  <a:cubicBezTo>
                    <a:pt x="93" y="86"/>
                    <a:pt x="93" y="86"/>
                    <a:pt x="93" y="86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8" y="99"/>
                    <a:pt x="98" y="99"/>
                    <a:pt x="98" y="99"/>
                  </a:cubicBezTo>
                  <a:lnTo>
                    <a:pt x="98" y="86"/>
                  </a:lnTo>
                  <a:close/>
                  <a:moveTo>
                    <a:pt x="108" y="86"/>
                  </a:moveTo>
                  <a:cubicBezTo>
                    <a:pt x="103" y="86"/>
                    <a:pt x="103" y="86"/>
                    <a:pt x="103" y="86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8" y="99"/>
                    <a:pt x="108" y="99"/>
                    <a:pt x="108" y="99"/>
                  </a:cubicBezTo>
                  <a:lnTo>
                    <a:pt x="108" y="86"/>
                  </a:lnTo>
                  <a:close/>
                  <a:moveTo>
                    <a:pt x="17" y="104"/>
                  </a:moveTo>
                  <a:cubicBezTo>
                    <a:pt x="12" y="104"/>
                    <a:pt x="12" y="104"/>
                    <a:pt x="12" y="104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7" y="116"/>
                    <a:pt x="17" y="116"/>
                    <a:pt x="17" y="116"/>
                  </a:cubicBezTo>
                  <a:lnTo>
                    <a:pt x="17" y="104"/>
                  </a:lnTo>
                  <a:close/>
                  <a:moveTo>
                    <a:pt x="27" y="104"/>
                  </a:moveTo>
                  <a:cubicBezTo>
                    <a:pt x="22" y="104"/>
                    <a:pt x="22" y="104"/>
                    <a:pt x="22" y="104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7" y="116"/>
                    <a:pt x="27" y="116"/>
                    <a:pt x="27" y="116"/>
                  </a:cubicBezTo>
                  <a:lnTo>
                    <a:pt x="27" y="104"/>
                  </a:lnTo>
                  <a:close/>
                  <a:moveTo>
                    <a:pt x="37" y="104"/>
                  </a:moveTo>
                  <a:cubicBezTo>
                    <a:pt x="32" y="104"/>
                    <a:pt x="32" y="104"/>
                    <a:pt x="32" y="104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16"/>
                    <a:pt x="37" y="116"/>
                    <a:pt x="37" y="116"/>
                  </a:cubicBezTo>
                  <a:lnTo>
                    <a:pt x="37" y="104"/>
                  </a:lnTo>
                  <a:close/>
                  <a:moveTo>
                    <a:pt x="47" y="104"/>
                  </a:moveTo>
                  <a:cubicBezTo>
                    <a:pt x="43" y="104"/>
                    <a:pt x="43" y="104"/>
                    <a:pt x="43" y="104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7" y="116"/>
                    <a:pt x="47" y="116"/>
                    <a:pt x="47" y="116"/>
                  </a:cubicBezTo>
                  <a:lnTo>
                    <a:pt x="47" y="104"/>
                  </a:lnTo>
                  <a:close/>
                  <a:moveTo>
                    <a:pt x="57" y="104"/>
                  </a:moveTo>
                  <a:cubicBezTo>
                    <a:pt x="53" y="104"/>
                    <a:pt x="53" y="104"/>
                    <a:pt x="53" y="104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7" y="116"/>
                    <a:pt x="57" y="116"/>
                    <a:pt x="57" y="116"/>
                  </a:cubicBezTo>
                  <a:lnTo>
                    <a:pt x="57" y="104"/>
                  </a:lnTo>
                  <a:close/>
                  <a:moveTo>
                    <a:pt x="67" y="104"/>
                  </a:moveTo>
                  <a:cubicBezTo>
                    <a:pt x="63" y="104"/>
                    <a:pt x="63" y="104"/>
                    <a:pt x="63" y="104"/>
                  </a:cubicBezTo>
                  <a:cubicBezTo>
                    <a:pt x="63" y="116"/>
                    <a:pt x="63" y="116"/>
                    <a:pt x="63" y="116"/>
                  </a:cubicBezTo>
                  <a:cubicBezTo>
                    <a:pt x="67" y="116"/>
                    <a:pt x="67" y="116"/>
                    <a:pt x="67" y="116"/>
                  </a:cubicBezTo>
                  <a:lnTo>
                    <a:pt x="67" y="104"/>
                  </a:lnTo>
                  <a:close/>
                  <a:moveTo>
                    <a:pt x="77" y="104"/>
                  </a:moveTo>
                  <a:cubicBezTo>
                    <a:pt x="73" y="104"/>
                    <a:pt x="73" y="104"/>
                    <a:pt x="73" y="104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7" y="116"/>
                    <a:pt x="77" y="116"/>
                    <a:pt x="77" y="116"/>
                  </a:cubicBezTo>
                  <a:lnTo>
                    <a:pt x="77" y="104"/>
                  </a:lnTo>
                  <a:close/>
                  <a:moveTo>
                    <a:pt x="88" y="104"/>
                  </a:moveTo>
                  <a:cubicBezTo>
                    <a:pt x="83" y="104"/>
                    <a:pt x="83" y="104"/>
                    <a:pt x="83" y="104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88" y="116"/>
                    <a:pt x="88" y="116"/>
                    <a:pt x="88" y="116"/>
                  </a:cubicBezTo>
                  <a:lnTo>
                    <a:pt x="88" y="104"/>
                  </a:lnTo>
                  <a:close/>
                  <a:moveTo>
                    <a:pt x="98" y="104"/>
                  </a:moveTo>
                  <a:cubicBezTo>
                    <a:pt x="93" y="104"/>
                    <a:pt x="93" y="104"/>
                    <a:pt x="93" y="104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8" y="116"/>
                    <a:pt x="98" y="116"/>
                    <a:pt x="98" y="116"/>
                  </a:cubicBezTo>
                  <a:lnTo>
                    <a:pt x="98" y="104"/>
                  </a:lnTo>
                  <a:close/>
                  <a:moveTo>
                    <a:pt x="108" y="104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103" y="116"/>
                    <a:pt x="103" y="116"/>
                    <a:pt x="103" y="116"/>
                  </a:cubicBezTo>
                  <a:cubicBezTo>
                    <a:pt x="108" y="116"/>
                    <a:pt x="108" y="116"/>
                    <a:pt x="108" y="116"/>
                  </a:cubicBezTo>
                  <a:lnTo>
                    <a:pt x="108" y="104"/>
                  </a:lnTo>
                  <a:close/>
                  <a:moveTo>
                    <a:pt x="66" y="57"/>
                  </a:moveTo>
                  <a:cubicBezTo>
                    <a:pt x="86" y="57"/>
                    <a:pt x="86" y="57"/>
                    <a:pt x="86" y="57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66" y="49"/>
                    <a:pt x="66" y="49"/>
                    <a:pt x="66" y="49"/>
                  </a:cubicBezTo>
                  <a:lnTo>
                    <a:pt x="66" y="57"/>
                  </a:lnTo>
                  <a:close/>
                  <a:moveTo>
                    <a:pt x="9" y="76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9" y="43"/>
                    <a:pt x="9" y="43"/>
                    <a:pt x="9" y="43"/>
                  </a:cubicBezTo>
                  <a:lnTo>
                    <a:pt x="9" y="76"/>
                  </a:lnTo>
                  <a:close/>
                  <a:moveTo>
                    <a:pt x="46" y="57"/>
                  </a:moveTo>
                  <a:cubicBezTo>
                    <a:pt x="50" y="57"/>
                    <a:pt x="50" y="57"/>
                    <a:pt x="50" y="57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46" y="57"/>
                  </a:lnTo>
                  <a:close/>
                  <a:moveTo>
                    <a:pt x="74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5" y="20"/>
                    <a:pt x="75" y="20"/>
                    <a:pt x="75" y="20"/>
                  </a:cubicBezTo>
                  <a:lnTo>
                    <a:pt x="74" y="44"/>
                  </a:lnTo>
                  <a:close/>
                  <a:moveTo>
                    <a:pt x="107" y="76"/>
                  </a:moveTo>
                  <a:cubicBezTo>
                    <a:pt x="111" y="76"/>
                    <a:pt x="111" y="76"/>
                    <a:pt x="111" y="76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lnTo>
                    <a:pt x="107" y="76"/>
                  </a:lnTo>
                  <a:close/>
                  <a:moveTo>
                    <a:pt x="4" y="6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10" y="5"/>
                    <a:pt x="11" y="5"/>
                  </a:cubicBezTo>
                  <a:cubicBezTo>
                    <a:pt x="12" y="4"/>
                    <a:pt x="14" y="4"/>
                    <a:pt x="15" y="5"/>
                  </a:cubicBezTo>
                  <a:cubicBezTo>
                    <a:pt x="17" y="6"/>
                    <a:pt x="18" y="7"/>
                    <a:pt x="19" y="8"/>
                  </a:cubicBezTo>
                  <a:cubicBezTo>
                    <a:pt x="20" y="9"/>
                    <a:pt x="20" y="10"/>
                    <a:pt x="20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5" y="11"/>
                    <a:pt x="26" y="11"/>
                  </a:cubicBezTo>
                  <a:cubicBezTo>
                    <a:pt x="28" y="10"/>
                    <a:pt x="32" y="11"/>
                    <a:pt x="33" y="13"/>
                  </a:cubicBezTo>
                  <a:cubicBezTo>
                    <a:pt x="34" y="14"/>
                    <a:pt x="34" y="14"/>
                    <a:pt x="33" y="15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6"/>
                    <a:pt x="39" y="16"/>
                    <a:pt x="39" y="15"/>
                  </a:cubicBezTo>
                  <a:cubicBezTo>
                    <a:pt x="40" y="15"/>
                    <a:pt x="41" y="15"/>
                    <a:pt x="42" y="16"/>
                  </a:cubicBezTo>
                  <a:cubicBezTo>
                    <a:pt x="43" y="16"/>
                    <a:pt x="44" y="17"/>
                    <a:pt x="45" y="17"/>
                  </a:cubicBezTo>
                  <a:cubicBezTo>
                    <a:pt x="45" y="18"/>
                    <a:pt x="45" y="18"/>
                    <a:pt x="45" y="19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0" y="18"/>
                    <a:pt x="50" y="16"/>
                    <a:pt x="48" y="15"/>
                  </a:cubicBezTo>
                  <a:cubicBezTo>
                    <a:pt x="47" y="13"/>
                    <a:pt x="46" y="12"/>
                    <a:pt x="44" y="11"/>
                  </a:cubicBezTo>
                  <a:cubicBezTo>
                    <a:pt x="42" y="11"/>
                    <a:pt x="39" y="11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4" y="6"/>
                    <a:pt x="29" y="5"/>
                    <a:pt x="24" y="6"/>
                  </a:cubicBezTo>
                  <a:cubicBezTo>
                    <a:pt x="24" y="6"/>
                    <a:pt x="24" y="6"/>
                    <a:pt x="24" y="7"/>
                  </a:cubicBezTo>
                  <a:cubicBezTo>
                    <a:pt x="24" y="6"/>
                    <a:pt x="23" y="6"/>
                    <a:pt x="23" y="5"/>
                  </a:cubicBezTo>
                  <a:cubicBezTo>
                    <a:pt x="22" y="3"/>
                    <a:pt x="19" y="2"/>
                    <a:pt x="17" y="1"/>
                  </a:cubicBezTo>
                  <a:cubicBezTo>
                    <a:pt x="14" y="0"/>
                    <a:pt x="11" y="0"/>
                    <a:pt x="9" y="1"/>
                  </a:cubicBezTo>
                  <a:cubicBezTo>
                    <a:pt x="7" y="1"/>
                    <a:pt x="5" y="3"/>
                    <a:pt x="4" y="6"/>
                  </a:cubicBezTo>
                  <a:moveTo>
                    <a:pt x="2" y="76"/>
                  </a:moveTo>
                  <a:cubicBezTo>
                    <a:pt x="4" y="76"/>
                    <a:pt x="4" y="76"/>
                    <a:pt x="4" y="76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6"/>
                    <a:pt x="100" y="6"/>
                    <a:pt x="100" y="6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124"/>
                    <a:pt x="120" y="124"/>
                    <a:pt x="120" y="124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18" y="126"/>
                    <a:pt x="118" y="126"/>
                    <a:pt x="118" y="126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2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3934984-026A-4715-B770-F4AD9C246812}"/>
              </a:ext>
            </a:extLst>
          </p:cNvPr>
          <p:cNvGrpSpPr/>
          <p:nvPr/>
        </p:nvGrpSpPr>
        <p:grpSpPr>
          <a:xfrm>
            <a:off x="3590925" y="2839818"/>
            <a:ext cx="758825" cy="758825"/>
            <a:chOff x="3590925" y="2809875"/>
            <a:chExt cx="758825" cy="758825"/>
          </a:xfrm>
        </p:grpSpPr>
        <p:sp>
          <p:nvSpPr>
            <p:cNvPr id="150" name="AutoShape 111">
              <a:extLst>
                <a:ext uri="{FF2B5EF4-FFF2-40B4-BE49-F238E27FC236}">
                  <a16:creationId xmlns:a16="http://schemas.microsoft.com/office/drawing/2014/main" id="{93DB9AD1-5FD4-4C43-84DC-39C809EFA7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0925" y="280987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3">
              <a:extLst>
                <a:ext uri="{FF2B5EF4-FFF2-40B4-BE49-F238E27FC236}">
                  <a16:creationId xmlns:a16="http://schemas.microsoft.com/office/drawing/2014/main" id="{6655CF82-9CD8-4EBB-B572-6D61F021D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0" y="2813050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4">
              <a:extLst>
                <a:ext uri="{FF2B5EF4-FFF2-40B4-BE49-F238E27FC236}">
                  <a16:creationId xmlns:a16="http://schemas.microsoft.com/office/drawing/2014/main" id="{690D0CD5-F2EE-4C05-84ED-120C5485E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5700" y="2949575"/>
              <a:ext cx="584200" cy="417513"/>
            </a:xfrm>
            <a:custGeom>
              <a:avLst/>
              <a:gdLst>
                <a:gd name="T0" fmla="*/ 47 w 150"/>
                <a:gd name="T1" fmla="*/ 46 h 107"/>
                <a:gd name="T2" fmla="*/ 11 w 150"/>
                <a:gd name="T3" fmla="*/ 77 h 107"/>
                <a:gd name="T4" fmla="*/ 55 w 150"/>
                <a:gd name="T5" fmla="*/ 103 h 107"/>
                <a:gd name="T6" fmla="*/ 69 w 150"/>
                <a:gd name="T7" fmla="*/ 1 h 107"/>
                <a:gd name="T8" fmla="*/ 73 w 150"/>
                <a:gd name="T9" fmla="*/ 8 h 107"/>
                <a:gd name="T10" fmla="*/ 56 w 150"/>
                <a:gd name="T11" fmla="*/ 12 h 107"/>
                <a:gd name="T12" fmla="*/ 52 w 150"/>
                <a:gd name="T13" fmla="*/ 19 h 107"/>
                <a:gd name="T14" fmla="*/ 42 w 150"/>
                <a:gd name="T15" fmla="*/ 18 h 107"/>
                <a:gd name="T16" fmla="*/ 38 w 150"/>
                <a:gd name="T17" fmla="*/ 27 h 107"/>
                <a:gd name="T18" fmla="*/ 31 w 150"/>
                <a:gd name="T19" fmla="*/ 27 h 107"/>
                <a:gd name="T20" fmla="*/ 23 w 150"/>
                <a:gd name="T21" fmla="*/ 32 h 107"/>
                <a:gd name="T22" fmla="*/ 19 w 150"/>
                <a:gd name="T23" fmla="*/ 37 h 107"/>
                <a:gd name="T24" fmla="*/ 24 w 150"/>
                <a:gd name="T25" fmla="*/ 24 h 107"/>
                <a:gd name="T26" fmla="*/ 33 w 150"/>
                <a:gd name="T27" fmla="*/ 23 h 107"/>
                <a:gd name="T28" fmla="*/ 40 w 150"/>
                <a:gd name="T29" fmla="*/ 14 h 107"/>
                <a:gd name="T30" fmla="*/ 51 w 150"/>
                <a:gd name="T31" fmla="*/ 13 h 107"/>
                <a:gd name="T32" fmla="*/ 59 w 150"/>
                <a:gd name="T33" fmla="*/ 3 h 107"/>
                <a:gd name="T34" fmla="*/ 146 w 150"/>
                <a:gd name="T35" fmla="*/ 30 h 107"/>
                <a:gd name="T36" fmla="*/ 144 w 150"/>
                <a:gd name="T37" fmla="*/ 24 h 107"/>
                <a:gd name="T38" fmla="*/ 131 w 150"/>
                <a:gd name="T39" fmla="*/ 32 h 107"/>
                <a:gd name="T40" fmla="*/ 118 w 150"/>
                <a:gd name="T41" fmla="*/ 39 h 107"/>
                <a:gd name="T42" fmla="*/ 117 w 150"/>
                <a:gd name="T43" fmla="*/ 40 h 107"/>
                <a:gd name="T44" fmla="*/ 107 w 150"/>
                <a:gd name="T45" fmla="*/ 51 h 107"/>
                <a:gd name="T46" fmla="*/ 111 w 150"/>
                <a:gd name="T47" fmla="*/ 47 h 107"/>
                <a:gd name="T48" fmla="*/ 118 w 150"/>
                <a:gd name="T49" fmla="*/ 45 h 107"/>
                <a:gd name="T50" fmla="*/ 122 w 150"/>
                <a:gd name="T51" fmla="*/ 40 h 107"/>
                <a:gd name="T52" fmla="*/ 131 w 150"/>
                <a:gd name="T53" fmla="*/ 38 h 107"/>
                <a:gd name="T54" fmla="*/ 135 w 150"/>
                <a:gd name="T55" fmla="*/ 33 h 107"/>
                <a:gd name="T56" fmla="*/ 146 w 150"/>
                <a:gd name="T57" fmla="*/ 30 h 107"/>
                <a:gd name="T58" fmla="*/ 78 w 150"/>
                <a:gd name="T59" fmla="*/ 80 h 107"/>
                <a:gd name="T60" fmla="*/ 102 w 150"/>
                <a:gd name="T61" fmla="*/ 103 h 107"/>
                <a:gd name="T62" fmla="*/ 90 w 150"/>
                <a:gd name="T63" fmla="*/ 77 h 107"/>
                <a:gd name="T64" fmla="*/ 106 w 150"/>
                <a:gd name="T65" fmla="*/ 78 h 107"/>
                <a:gd name="T66" fmla="*/ 107 w 150"/>
                <a:gd name="T67" fmla="*/ 79 h 107"/>
                <a:gd name="T68" fmla="*/ 134 w 150"/>
                <a:gd name="T69" fmla="*/ 103 h 107"/>
                <a:gd name="T70" fmla="*/ 128 w 150"/>
                <a:gd name="T71" fmla="*/ 60 h 107"/>
                <a:gd name="T72" fmla="*/ 103 w 150"/>
                <a:gd name="T73" fmla="*/ 67 h 107"/>
                <a:gd name="T74" fmla="*/ 57 w 150"/>
                <a:gd name="T75" fmla="*/ 91 h 107"/>
                <a:gd name="T76" fmla="*/ 73 w 150"/>
                <a:gd name="T77" fmla="*/ 103 h 107"/>
                <a:gd name="T78" fmla="*/ 57 w 150"/>
                <a:gd name="T79" fmla="*/ 91 h 107"/>
                <a:gd name="T80" fmla="*/ 54 w 150"/>
                <a:gd name="T81" fmla="*/ 77 h 107"/>
                <a:gd name="T82" fmla="*/ 73 w 150"/>
                <a:gd name="T83" fmla="*/ 87 h 107"/>
                <a:gd name="T84" fmla="*/ 73 w 150"/>
                <a:gd name="T85" fmla="*/ 78 h 107"/>
                <a:gd name="T86" fmla="*/ 90 w 150"/>
                <a:gd name="T87" fmla="*/ 73 h 107"/>
                <a:gd name="T88" fmla="*/ 98 w 150"/>
                <a:gd name="T89" fmla="*/ 67 h 107"/>
                <a:gd name="T90" fmla="*/ 99 w 150"/>
                <a:gd name="T91" fmla="*/ 56 h 107"/>
                <a:gd name="T92" fmla="*/ 130 w 150"/>
                <a:gd name="T93" fmla="*/ 56 h 107"/>
                <a:gd name="T94" fmla="*/ 133 w 150"/>
                <a:gd name="T95" fmla="*/ 58 h 107"/>
                <a:gd name="T96" fmla="*/ 139 w 150"/>
                <a:gd name="T97" fmla="*/ 104 h 107"/>
                <a:gd name="T98" fmla="*/ 137 w 150"/>
                <a:gd name="T99" fmla="*/ 107 h 107"/>
                <a:gd name="T100" fmla="*/ 104 w 150"/>
                <a:gd name="T101" fmla="*/ 107 h 107"/>
                <a:gd name="T102" fmla="*/ 0 w 150"/>
                <a:gd name="T103" fmla="*/ 107 h 107"/>
                <a:gd name="T104" fmla="*/ 7 w 150"/>
                <a:gd name="T105" fmla="*/ 77 h 107"/>
                <a:gd name="T106" fmla="*/ 9 w 150"/>
                <a:gd name="T107" fmla="*/ 42 h 107"/>
                <a:gd name="T108" fmla="*/ 50 w 150"/>
                <a:gd name="T109" fmla="*/ 42 h 107"/>
                <a:gd name="T110" fmla="*/ 52 w 150"/>
                <a:gd name="T111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" h="107">
                  <a:moveTo>
                    <a:pt x="50" y="77"/>
                  </a:moveTo>
                  <a:cubicBezTo>
                    <a:pt x="48" y="67"/>
                    <a:pt x="48" y="56"/>
                    <a:pt x="47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3" y="56"/>
                    <a:pt x="13" y="67"/>
                    <a:pt x="11" y="77"/>
                  </a:cubicBezTo>
                  <a:cubicBezTo>
                    <a:pt x="10" y="86"/>
                    <a:pt x="8" y="95"/>
                    <a:pt x="6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3" y="95"/>
                    <a:pt x="51" y="86"/>
                    <a:pt x="50" y="77"/>
                  </a:cubicBezTo>
                  <a:moveTo>
                    <a:pt x="69" y="1"/>
                  </a:moveTo>
                  <a:cubicBezTo>
                    <a:pt x="72" y="1"/>
                    <a:pt x="75" y="3"/>
                    <a:pt x="77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7"/>
                    <a:pt x="70" y="6"/>
                    <a:pt x="68" y="5"/>
                  </a:cubicBezTo>
                  <a:cubicBezTo>
                    <a:pt x="63" y="4"/>
                    <a:pt x="58" y="7"/>
                    <a:pt x="56" y="12"/>
                  </a:cubicBezTo>
                  <a:cubicBezTo>
                    <a:pt x="55" y="14"/>
                    <a:pt x="55" y="16"/>
                    <a:pt x="56" y="17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8"/>
                    <a:pt x="50" y="17"/>
                    <a:pt x="48" y="17"/>
                  </a:cubicBezTo>
                  <a:cubicBezTo>
                    <a:pt x="46" y="17"/>
                    <a:pt x="44" y="17"/>
                    <a:pt x="42" y="18"/>
                  </a:cubicBezTo>
                  <a:cubicBezTo>
                    <a:pt x="40" y="19"/>
                    <a:pt x="39" y="21"/>
                    <a:pt x="38" y="23"/>
                  </a:cubicBezTo>
                  <a:cubicBezTo>
                    <a:pt x="37" y="24"/>
                    <a:pt x="37" y="26"/>
                    <a:pt x="38" y="27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28"/>
                    <a:pt x="32" y="27"/>
                    <a:pt x="31" y="27"/>
                  </a:cubicBezTo>
                  <a:cubicBezTo>
                    <a:pt x="30" y="27"/>
                    <a:pt x="28" y="27"/>
                    <a:pt x="26" y="28"/>
                  </a:cubicBezTo>
                  <a:cubicBezTo>
                    <a:pt x="24" y="29"/>
                    <a:pt x="23" y="30"/>
                    <a:pt x="23" y="32"/>
                  </a:cubicBezTo>
                  <a:cubicBezTo>
                    <a:pt x="22" y="33"/>
                    <a:pt x="22" y="34"/>
                    <a:pt x="23" y="35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2"/>
                    <a:pt x="19" y="30"/>
                  </a:cubicBezTo>
                  <a:cubicBezTo>
                    <a:pt x="20" y="28"/>
                    <a:pt x="22" y="26"/>
                    <a:pt x="24" y="24"/>
                  </a:cubicBezTo>
                  <a:cubicBezTo>
                    <a:pt x="27" y="23"/>
                    <a:pt x="29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2"/>
                    <a:pt x="33" y="22"/>
                    <a:pt x="34" y="21"/>
                  </a:cubicBezTo>
                  <a:cubicBezTo>
                    <a:pt x="35" y="18"/>
                    <a:pt x="37" y="16"/>
                    <a:pt x="40" y="14"/>
                  </a:cubicBezTo>
                  <a:cubicBezTo>
                    <a:pt x="43" y="13"/>
                    <a:pt x="46" y="12"/>
                    <a:pt x="49" y="13"/>
                  </a:cubicBezTo>
                  <a:cubicBezTo>
                    <a:pt x="50" y="13"/>
                    <a:pt x="50" y="13"/>
                    <a:pt x="51" y="13"/>
                  </a:cubicBezTo>
                  <a:cubicBezTo>
                    <a:pt x="51" y="12"/>
                    <a:pt x="51" y="11"/>
                    <a:pt x="52" y="10"/>
                  </a:cubicBezTo>
                  <a:cubicBezTo>
                    <a:pt x="53" y="7"/>
                    <a:pt x="56" y="5"/>
                    <a:pt x="59" y="3"/>
                  </a:cubicBezTo>
                  <a:cubicBezTo>
                    <a:pt x="62" y="1"/>
                    <a:pt x="66" y="0"/>
                    <a:pt x="69" y="1"/>
                  </a:cubicBezTo>
                  <a:moveTo>
                    <a:pt x="146" y="30"/>
                  </a:moveTo>
                  <a:cubicBezTo>
                    <a:pt x="150" y="28"/>
                    <a:pt x="150" y="28"/>
                    <a:pt x="150" y="28"/>
                  </a:cubicBezTo>
                  <a:cubicBezTo>
                    <a:pt x="149" y="26"/>
                    <a:pt x="147" y="24"/>
                    <a:pt x="144" y="24"/>
                  </a:cubicBezTo>
                  <a:cubicBezTo>
                    <a:pt x="139" y="23"/>
                    <a:pt x="133" y="26"/>
                    <a:pt x="131" y="31"/>
                  </a:cubicBezTo>
                  <a:cubicBezTo>
                    <a:pt x="131" y="31"/>
                    <a:pt x="131" y="32"/>
                    <a:pt x="131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25" y="32"/>
                    <a:pt x="120" y="34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3" y="39"/>
                    <a:pt x="109" y="41"/>
                    <a:pt x="107" y="45"/>
                  </a:cubicBezTo>
                  <a:cubicBezTo>
                    <a:pt x="106" y="47"/>
                    <a:pt x="106" y="49"/>
                    <a:pt x="107" y="51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8"/>
                    <a:pt x="111" y="48"/>
                    <a:pt x="111" y="47"/>
                  </a:cubicBezTo>
                  <a:cubicBezTo>
                    <a:pt x="112" y="45"/>
                    <a:pt x="115" y="44"/>
                    <a:pt x="117" y="44"/>
                  </a:cubicBezTo>
                  <a:cubicBezTo>
                    <a:pt x="118" y="44"/>
                    <a:pt x="118" y="44"/>
                    <a:pt x="118" y="45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2"/>
                    <a:pt x="122" y="41"/>
                    <a:pt x="122" y="40"/>
                  </a:cubicBezTo>
                  <a:cubicBezTo>
                    <a:pt x="123" y="38"/>
                    <a:pt x="127" y="36"/>
                    <a:pt x="129" y="37"/>
                  </a:cubicBezTo>
                  <a:cubicBezTo>
                    <a:pt x="130" y="37"/>
                    <a:pt x="131" y="37"/>
                    <a:pt x="131" y="38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5" y="35"/>
                    <a:pt x="135" y="34"/>
                    <a:pt x="135" y="33"/>
                  </a:cubicBezTo>
                  <a:cubicBezTo>
                    <a:pt x="137" y="30"/>
                    <a:pt x="140" y="28"/>
                    <a:pt x="144" y="28"/>
                  </a:cubicBezTo>
                  <a:cubicBezTo>
                    <a:pt x="145" y="28"/>
                    <a:pt x="146" y="29"/>
                    <a:pt x="146" y="30"/>
                  </a:cubicBezTo>
                  <a:moveTo>
                    <a:pt x="90" y="77"/>
                  </a:moveTo>
                  <a:cubicBezTo>
                    <a:pt x="85" y="77"/>
                    <a:pt x="81" y="78"/>
                    <a:pt x="78" y="80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02" y="103"/>
                    <a:pt x="102" y="103"/>
                    <a:pt x="102" y="103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99" y="78"/>
                    <a:pt x="95" y="77"/>
                    <a:pt x="90" y="77"/>
                  </a:cubicBezTo>
                  <a:moveTo>
                    <a:pt x="102" y="75"/>
                  </a:moveTo>
                  <a:cubicBezTo>
                    <a:pt x="104" y="76"/>
                    <a:pt x="105" y="77"/>
                    <a:pt x="106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34" y="103"/>
                    <a:pt x="134" y="103"/>
                    <a:pt x="134" y="103"/>
                  </a:cubicBezTo>
                  <a:cubicBezTo>
                    <a:pt x="132" y="97"/>
                    <a:pt x="131" y="90"/>
                    <a:pt x="130" y="84"/>
                  </a:cubicBezTo>
                  <a:cubicBezTo>
                    <a:pt x="129" y="76"/>
                    <a:pt x="128" y="68"/>
                    <a:pt x="128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3"/>
                    <a:pt x="103" y="65"/>
                    <a:pt x="103" y="67"/>
                  </a:cubicBezTo>
                  <a:cubicBezTo>
                    <a:pt x="103" y="70"/>
                    <a:pt x="102" y="73"/>
                    <a:pt x="102" y="75"/>
                  </a:cubicBezTo>
                  <a:moveTo>
                    <a:pt x="57" y="91"/>
                  </a:moveTo>
                  <a:cubicBezTo>
                    <a:pt x="58" y="95"/>
                    <a:pt x="59" y="99"/>
                    <a:pt x="60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91"/>
                    <a:pt x="73" y="91"/>
                    <a:pt x="73" y="91"/>
                  </a:cubicBezTo>
                  <a:lnTo>
                    <a:pt x="57" y="91"/>
                  </a:lnTo>
                  <a:close/>
                  <a:moveTo>
                    <a:pt x="52" y="44"/>
                  </a:moveTo>
                  <a:cubicBezTo>
                    <a:pt x="52" y="55"/>
                    <a:pt x="53" y="66"/>
                    <a:pt x="54" y="77"/>
                  </a:cubicBezTo>
                  <a:cubicBezTo>
                    <a:pt x="55" y="80"/>
                    <a:pt x="55" y="84"/>
                    <a:pt x="56" y="87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8" y="74"/>
                    <a:pt x="84" y="73"/>
                    <a:pt x="90" y="73"/>
                  </a:cubicBezTo>
                  <a:cubicBezTo>
                    <a:pt x="93" y="73"/>
                    <a:pt x="95" y="73"/>
                    <a:pt x="98" y="74"/>
                  </a:cubicBezTo>
                  <a:cubicBezTo>
                    <a:pt x="98" y="71"/>
                    <a:pt x="98" y="69"/>
                    <a:pt x="98" y="67"/>
                  </a:cubicBezTo>
                  <a:cubicBezTo>
                    <a:pt x="99" y="64"/>
                    <a:pt x="99" y="61"/>
                    <a:pt x="99" y="58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3" y="66"/>
                    <a:pt x="133" y="75"/>
                    <a:pt x="134" y="83"/>
                  </a:cubicBezTo>
                  <a:cubicBezTo>
                    <a:pt x="135" y="90"/>
                    <a:pt x="137" y="98"/>
                    <a:pt x="139" y="104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4" y="96"/>
                    <a:pt x="6" y="86"/>
                    <a:pt x="7" y="77"/>
                  </a:cubicBezTo>
                  <a:cubicBezTo>
                    <a:pt x="8" y="66"/>
                    <a:pt x="9" y="55"/>
                    <a:pt x="9" y="44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2" y="42"/>
                    <a:pt x="52" y="42"/>
                    <a:pt x="52" y="42"/>
                  </a:cubicBezTo>
                  <a:lnTo>
                    <a:pt x="52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FC28A31F-DF5F-40E0-BFDB-E3FC66D349EB}"/>
              </a:ext>
            </a:extLst>
          </p:cNvPr>
          <p:cNvGrpSpPr/>
          <p:nvPr/>
        </p:nvGrpSpPr>
        <p:grpSpPr>
          <a:xfrm>
            <a:off x="2587625" y="2796955"/>
            <a:ext cx="844550" cy="844550"/>
            <a:chOff x="4344988" y="3201988"/>
            <a:chExt cx="844550" cy="844550"/>
          </a:xfrm>
        </p:grpSpPr>
        <p:sp>
          <p:nvSpPr>
            <p:cNvPr id="157" name="AutoShape 116">
              <a:extLst>
                <a:ext uri="{FF2B5EF4-FFF2-40B4-BE49-F238E27FC236}">
                  <a16:creationId xmlns:a16="http://schemas.microsoft.com/office/drawing/2014/main" id="{CE7DCFE7-9718-4756-BE31-FB0B1CB98A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4988" y="3201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118">
              <a:extLst>
                <a:ext uri="{FF2B5EF4-FFF2-40B4-BE49-F238E27FC236}">
                  <a16:creationId xmlns:a16="http://schemas.microsoft.com/office/drawing/2014/main" id="{D4CD6EA3-42B4-4FAF-9C69-95CC1D4D6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988" y="32019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19">
              <a:extLst>
                <a:ext uri="{FF2B5EF4-FFF2-40B4-BE49-F238E27FC236}">
                  <a16:creationId xmlns:a16="http://schemas.microsoft.com/office/drawing/2014/main" id="{842E085F-911A-4AC4-96A6-DE1DD2FDD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563" y="32305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0">
              <a:extLst>
                <a:ext uri="{FF2B5EF4-FFF2-40B4-BE49-F238E27FC236}">
                  <a16:creationId xmlns:a16="http://schemas.microsoft.com/office/drawing/2014/main" id="{FB772813-A1E2-4E2F-A915-2F1F5287D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338" y="3371851"/>
              <a:ext cx="609600" cy="434975"/>
            </a:xfrm>
            <a:custGeom>
              <a:avLst/>
              <a:gdLst>
                <a:gd name="T0" fmla="*/ 47 w 150"/>
                <a:gd name="T1" fmla="*/ 46 h 107"/>
                <a:gd name="T2" fmla="*/ 11 w 150"/>
                <a:gd name="T3" fmla="*/ 77 h 107"/>
                <a:gd name="T4" fmla="*/ 55 w 150"/>
                <a:gd name="T5" fmla="*/ 103 h 107"/>
                <a:gd name="T6" fmla="*/ 69 w 150"/>
                <a:gd name="T7" fmla="*/ 1 h 107"/>
                <a:gd name="T8" fmla="*/ 73 w 150"/>
                <a:gd name="T9" fmla="*/ 8 h 107"/>
                <a:gd name="T10" fmla="*/ 56 w 150"/>
                <a:gd name="T11" fmla="*/ 12 h 107"/>
                <a:gd name="T12" fmla="*/ 52 w 150"/>
                <a:gd name="T13" fmla="*/ 19 h 107"/>
                <a:gd name="T14" fmla="*/ 42 w 150"/>
                <a:gd name="T15" fmla="*/ 18 h 107"/>
                <a:gd name="T16" fmla="*/ 38 w 150"/>
                <a:gd name="T17" fmla="*/ 27 h 107"/>
                <a:gd name="T18" fmla="*/ 31 w 150"/>
                <a:gd name="T19" fmla="*/ 27 h 107"/>
                <a:gd name="T20" fmla="*/ 23 w 150"/>
                <a:gd name="T21" fmla="*/ 32 h 107"/>
                <a:gd name="T22" fmla="*/ 19 w 150"/>
                <a:gd name="T23" fmla="*/ 37 h 107"/>
                <a:gd name="T24" fmla="*/ 24 w 150"/>
                <a:gd name="T25" fmla="*/ 24 h 107"/>
                <a:gd name="T26" fmla="*/ 33 w 150"/>
                <a:gd name="T27" fmla="*/ 23 h 107"/>
                <a:gd name="T28" fmla="*/ 40 w 150"/>
                <a:gd name="T29" fmla="*/ 14 h 107"/>
                <a:gd name="T30" fmla="*/ 51 w 150"/>
                <a:gd name="T31" fmla="*/ 13 h 107"/>
                <a:gd name="T32" fmla="*/ 59 w 150"/>
                <a:gd name="T33" fmla="*/ 3 h 107"/>
                <a:gd name="T34" fmla="*/ 146 w 150"/>
                <a:gd name="T35" fmla="*/ 30 h 107"/>
                <a:gd name="T36" fmla="*/ 144 w 150"/>
                <a:gd name="T37" fmla="*/ 24 h 107"/>
                <a:gd name="T38" fmla="*/ 131 w 150"/>
                <a:gd name="T39" fmla="*/ 32 h 107"/>
                <a:gd name="T40" fmla="*/ 118 w 150"/>
                <a:gd name="T41" fmla="*/ 39 h 107"/>
                <a:gd name="T42" fmla="*/ 117 w 150"/>
                <a:gd name="T43" fmla="*/ 40 h 107"/>
                <a:gd name="T44" fmla="*/ 107 w 150"/>
                <a:gd name="T45" fmla="*/ 51 h 107"/>
                <a:gd name="T46" fmla="*/ 111 w 150"/>
                <a:gd name="T47" fmla="*/ 47 h 107"/>
                <a:gd name="T48" fmla="*/ 118 w 150"/>
                <a:gd name="T49" fmla="*/ 45 h 107"/>
                <a:gd name="T50" fmla="*/ 122 w 150"/>
                <a:gd name="T51" fmla="*/ 40 h 107"/>
                <a:gd name="T52" fmla="*/ 131 w 150"/>
                <a:gd name="T53" fmla="*/ 38 h 107"/>
                <a:gd name="T54" fmla="*/ 135 w 150"/>
                <a:gd name="T55" fmla="*/ 33 h 107"/>
                <a:gd name="T56" fmla="*/ 146 w 150"/>
                <a:gd name="T57" fmla="*/ 30 h 107"/>
                <a:gd name="T58" fmla="*/ 78 w 150"/>
                <a:gd name="T59" fmla="*/ 80 h 107"/>
                <a:gd name="T60" fmla="*/ 102 w 150"/>
                <a:gd name="T61" fmla="*/ 103 h 107"/>
                <a:gd name="T62" fmla="*/ 90 w 150"/>
                <a:gd name="T63" fmla="*/ 77 h 107"/>
                <a:gd name="T64" fmla="*/ 106 w 150"/>
                <a:gd name="T65" fmla="*/ 78 h 107"/>
                <a:gd name="T66" fmla="*/ 107 w 150"/>
                <a:gd name="T67" fmla="*/ 79 h 107"/>
                <a:gd name="T68" fmla="*/ 134 w 150"/>
                <a:gd name="T69" fmla="*/ 103 h 107"/>
                <a:gd name="T70" fmla="*/ 128 w 150"/>
                <a:gd name="T71" fmla="*/ 60 h 107"/>
                <a:gd name="T72" fmla="*/ 103 w 150"/>
                <a:gd name="T73" fmla="*/ 67 h 107"/>
                <a:gd name="T74" fmla="*/ 57 w 150"/>
                <a:gd name="T75" fmla="*/ 91 h 107"/>
                <a:gd name="T76" fmla="*/ 73 w 150"/>
                <a:gd name="T77" fmla="*/ 103 h 107"/>
                <a:gd name="T78" fmla="*/ 57 w 150"/>
                <a:gd name="T79" fmla="*/ 91 h 107"/>
                <a:gd name="T80" fmla="*/ 54 w 150"/>
                <a:gd name="T81" fmla="*/ 77 h 107"/>
                <a:gd name="T82" fmla="*/ 73 w 150"/>
                <a:gd name="T83" fmla="*/ 87 h 107"/>
                <a:gd name="T84" fmla="*/ 73 w 150"/>
                <a:gd name="T85" fmla="*/ 78 h 107"/>
                <a:gd name="T86" fmla="*/ 90 w 150"/>
                <a:gd name="T87" fmla="*/ 73 h 107"/>
                <a:gd name="T88" fmla="*/ 98 w 150"/>
                <a:gd name="T89" fmla="*/ 67 h 107"/>
                <a:gd name="T90" fmla="*/ 99 w 150"/>
                <a:gd name="T91" fmla="*/ 56 h 107"/>
                <a:gd name="T92" fmla="*/ 130 w 150"/>
                <a:gd name="T93" fmla="*/ 56 h 107"/>
                <a:gd name="T94" fmla="*/ 133 w 150"/>
                <a:gd name="T95" fmla="*/ 58 h 107"/>
                <a:gd name="T96" fmla="*/ 139 w 150"/>
                <a:gd name="T97" fmla="*/ 104 h 107"/>
                <a:gd name="T98" fmla="*/ 137 w 150"/>
                <a:gd name="T99" fmla="*/ 107 h 107"/>
                <a:gd name="T100" fmla="*/ 104 w 150"/>
                <a:gd name="T101" fmla="*/ 107 h 107"/>
                <a:gd name="T102" fmla="*/ 0 w 150"/>
                <a:gd name="T103" fmla="*/ 107 h 107"/>
                <a:gd name="T104" fmla="*/ 7 w 150"/>
                <a:gd name="T105" fmla="*/ 77 h 107"/>
                <a:gd name="T106" fmla="*/ 9 w 150"/>
                <a:gd name="T107" fmla="*/ 42 h 107"/>
                <a:gd name="T108" fmla="*/ 50 w 150"/>
                <a:gd name="T109" fmla="*/ 42 h 107"/>
                <a:gd name="T110" fmla="*/ 52 w 150"/>
                <a:gd name="T111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" h="107">
                  <a:moveTo>
                    <a:pt x="50" y="77"/>
                  </a:moveTo>
                  <a:cubicBezTo>
                    <a:pt x="48" y="67"/>
                    <a:pt x="48" y="56"/>
                    <a:pt x="47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3" y="56"/>
                    <a:pt x="13" y="67"/>
                    <a:pt x="11" y="77"/>
                  </a:cubicBezTo>
                  <a:cubicBezTo>
                    <a:pt x="10" y="86"/>
                    <a:pt x="8" y="95"/>
                    <a:pt x="6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3" y="95"/>
                    <a:pt x="51" y="86"/>
                    <a:pt x="50" y="77"/>
                  </a:cubicBezTo>
                  <a:moveTo>
                    <a:pt x="69" y="1"/>
                  </a:moveTo>
                  <a:cubicBezTo>
                    <a:pt x="72" y="1"/>
                    <a:pt x="75" y="3"/>
                    <a:pt x="77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7"/>
                    <a:pt x="70" y="6"/>
                    <a:pt x="68" y="5"/>
                  </a:cubicBezTo>
                  <a:cubicBezTo>
                    <a:pt x="63" y="4"/>
                    <a:pt x="58" y="7"/>
                    <a:pt x="56" y="12"/>
                  </a:cubicBezTo>
                  <a:cubicBezTo>
                    <a:pt x="55" y="14"/>
                    <a:pt x="55" y="16"/>
                    <a:pt x="56" y="17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8"/>
                    <a:pt x="50" y="17"/>
                    <a:pt x="48" y="17"/>
                  </a:cubicBezTo>
                  <a:cubicBezTo>
                    <a:pt x="46" y="17"/>
                    <a:pt x="44" y="17"/>
                    <a:pt x="42" y="18"/>
                  </a:cubicBezTo>
                  <a:cubicBezTo>
                    <a:pt x="40" y="19"/>
                    <a:pt x="39" y="21"/>
                    <a:pt x="38" y="23"/>
                  </a:cubicBezTo>
                  <a:cubicBezTo>
                    <a:pt x="37" y="24"/>
                    <a:pt x="37" y="26"/>
                    <a:pt x="38" y="27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28"/>
                    <a:pt x="32" y="27"/>
                    <a:pt x="31" y="27"/>
                  </a:cubicBezTo>
                  <a:cubicBezTo>
                    <a:pt x="30" y="27"/>
                    <a:pt x="28" y="27"/>
                    <a:pt x="26" y="28"/>
                  </a:cubicBezTo>
                  <a:cubicBezTo>
                    <a:pt x="24" y="29"/>
                    <a:pt x="23" y="30"/>
                    <a:pt x="23" y="32"/>
                  </a:cubicBezTo>
                  <a:cubicBezTo>
                    <a:pt x="22" y="33"/>
                    <a:pt x="22" y="34"/>
                    <a:pt x="23" y="35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8" y="35"/>
                    <a:pt x="18" y="32"/>
                    <a:pt x="19" y="30"/>
                  </a:cubicBezTo>
                  <a:cubicBezTo>
                    <a:pt x="20" y="28"/>
                    <a:pt x="22" y="26"/>
                    <a:pt x="24" y="24"/>
                  </a:cubicBezTo>
                  <a:cubicBezTo>
                    <a:pt x="27" y="23"/>
                    <a:pt x="29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2"/>
                    <a:pt x="33" y="22"/>
                    <a:pt x="34" y="21"/>
                  </a:cubicBezTo>
                  <a:cubicBezTo>
                    <a:pt x="35" y="18"/>
                    <a:pt x="37" y="16"/>
                    <a:pt x="40" y="14"/>
                  </a:cubicBezTo>
                  <a:cubicBezTo>
                    <a:pt x="43" y="13"/>
                    <a:pt x="46" y="12"/>
                    <a:pt x="49" y="13"/>
                  </a:cubicBezTo>
                  <a:cubicBezTo>
                    <a:pt x="50" y="13"/>
                    <a:pt x="50" y="13"/>
                    <a:pt x="51" y="13"/>
                  </a:cubicBezTo>
                  <a:cubicBezTo>
                    <a:pt x="51" y="12"/>
                    <a:pt x="51" y="11"/>
                    <a:pt x="52" y="10"/>
                  </a:cubicBezTo>
                  <a:cubicBezTo>
                    <a:pt x="53" y="7"/>
                    <a:pt x="56" y="5"/>
                    <a:pt x="59" y="3"/>
                  </a:cubicBezTo>
                  <a:cubicBezTo>
                    <a:pt x="62" y="1"/>
                    <a:pt x="66" y="0"/>
                    <a:pt x="69" y="1"/>
                  </a:cubicBezTo>
                  <a:moveTo>
                    <a:pt x="146" y="30"/>
                  </a:moveTo>
                  <a:cubicBezTo>
                    <a:pt x="150" y="28"/>
                    <a:pt x="150" y="28"/>
                    <a:pt x="150" y="28"/>
                  </a:cubicBezTo>
                  <a:cubicBezTo>
                    <a:pt x="149" y="26"/>
                    <a:pt x="147" y="24"/>
                    <a:pt x="144" y="24"/>
                  </a:cubicBezTo>
                  <a:cubicBezTo>
                    <a:pt x="139" y="23"/>
                    <a:pt x="133" y="26"/>
                    <a:pt x="131" y="31"/>
                  </a:cubicBezTo>
                  <a:cubicBezTo>
                    <a:pt x="131" y="31"/>
                    <a:pt x="131" y="32"/>
                    <a:pt x="131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25" y="32"/>
                    <a:pt x="120" y="34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3" y="39"/>
                    <a:pt x="109" y="41"/>
                    <a:pt x="107" y="45"/>
                  </a:cubicBezTo>
                  <a:cubicBezTo>
                    <a:pt x="106" y="47"/>
                    <a:pt x="106" y="49"/>
                    <a:pt x="107" y="51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8"/>
                    <a:pt x="111" y="48"/>
                    <a:pt x="111" y="47"/>
                  </a:cubicBezTo>
                  <a:cubicBezTo>
                    <a:pt x="112" y="45"/>
                    <a:pt x="115" y="44"/>
                    <a:pt x="117" y="44"/>
                  </a:cubicBezTo>
                  <a:cubicBezTo>
                    <a:pt x="118" y="44"/>
                    <a:pt x="118" y="44"/>
                    <a:pt x="118" y="45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2"/>
                    <a:pt x="122" y="41"/>
                    <a:pt x="122" y="40"/>
                  </a:cubicBezTo>
                  <a:cubicBezTo>
                    <a:pt x="123" y="38"/>
                    <a:pt x="127" y="36"/>
                    <a:pt x="129" y="37"/>
                  </a:cubicBezTo>
                  <a:cubicBezTo>
                    <a:pt x="130" y="37"/>
                    <a:pt x="131" y="37"/>
                    <a:pt x="131" y="38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5" y="35"/>
                    <a:pt x="135" y="34"/>
                    <a:pt x="135" y="33"/>
                  </a:cubicBezTo>
                  <a:cubicBezTo>
                    <a:pt x="137" y="30"/>
                    <a:pt x="140" y="28"/>
                    <a:pt x="144" y="28"/>
                  </a:cubicBezTo>
                  <a:cubicBezTo>
                    <a:pt x="145" y="28"/>
                    <a:pt x="146" y="29"/>
                    <a:pt x="146" y="30"/>
                  </a:cubicBezTo>
                  <a:moveTo>
                    <a:pt x="90" y="77"/>
                  </a:moveTo>
                  <a:cubicBezTo>
                    <a:pt x="85" y="77"/>
                    <a:pt x="81" y="78"/>
                    <a:pt x="78" y="80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02" y="103"/>
                    <a:pt x="102" y="103"/>
                    <a:pt x="102" y="103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99" y="78"/>
                    <a:pt x="95" y="77"/>
                    <a:pt x="90" y="77"/>
                  </a:cubicBezTo>
                  <a:moveTo>
                    <a:pt x="102" y="75"/>
                  </a:moveTo>
                  <a:cubicBezTo>
                    <a:pt x="104" y="76"/>
                    <a:pt x="105" y="77"/>
                    <a:pt x="106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34" y="103"/>
                    <a:pt x="134" y="103"/>
                    <a:pt x="134" y="103"/>
                  </a:cubicBezTo>
                  <a:cubicBezTo>
                    <a:pt x="132" y="97"/>
                    <a:pt x="131" y="90"/>
                    <a:pt x="130" y="84"/>
                  </a:cubicBezTo>
                  <a:cubicBezTo>
                    <a:pt x="129" y="76"/>
                    <a:pt x="128" y="68"/>
                    <a:pt x="128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3"/>
                    <a:pt x="103" y="65"/>
                    <a:pt x="103" y="67"/>
                  </a:cubicBezTo>
                  <a:cubicBezTo>
                    <a:pt x="103" y="70"/>
                    <a:pt x="102" y="73"/>
                    <a:pt x="102" y="75"/>
                  </a:cubicBezTo>
                  <a:moveTo>
                    <a:pt x="57" y="91"/>
                  </a:moveTo>
                  <a:cubicBezTo>
                    <a:pt x="58" y="95"/>
                    <a:pt x="59" y="99"/>
                    <a:pt x="60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91"/>
                    <a:pt x="73" y="91"/>
                    <a:pt x="73" y="91"/>
                  </a:cubicBezTo>
                  <a:lnTo>
                    <a:pt x="57" y="91"/>
                  </a:lnTo>
                  <a:close/>
                  <a:moveTo>
                    <a:pt x="52" y="44"/>
                  </a:moveTo>
                  <a:cubicBezTo>
                    <a:pt x="52" y="55"/>
                    <a:pt x="53" y="66"/>
                    <a:pt x="54" y="77"/>
                  </a:cubicBezTo>
                  <a:cubicBezTo>
                    <a:pt x="55" y="80"/>
                    <a:pt x="55" y="84"/>
                    <a:pt x="56" y="87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8" y="74"/>
                    <a:pt x="84" y="73"/>
                    <a:pt x="90" y="73"/>
                  </a:cubicBezTo>
                  <a:cubicBezTo>
                    <a:pt x="93" y="73"/>
                    <a:pt x="95" y="73"/>
                    <a:pt x="98" y="74"/>
                  </a:cubicBezTo>
                  <a:cubicBezTo>
                    <a:pt x="98" y="71"/>
                    <a:pt x="98" y="69"/>
                    <a:pt x="98" y="67"/>
                  </a:cubicBezTo>
                  <a:cubicBezTo>
                    <a:pt x="99" y="64"/>
                    <a:pt x="99" y="61"/>
                    <a:pt x="99" y="58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3" y="66"/>
                    <a:pt x="133" y="75"/>
                    <a:pt x="134" y="83"/>
                  </a:cubicBezTo>
                  <a:cubicBezTo>
                    <a:pt x="135" y="90"/>
                    <a:pt x="137" y="98"/>
                    <a:pt x="139" y="104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4" y="96"/>
                    <a:pt x="6" y="86"/>
                    <a:pt x="7" y="77"/>
                  </a:cubicBezTo>
                  <a:cubicBezTo>
                    <a:pt x="8" y="66"/>
                    <a:pt x="9" y="55"/>
                    <a:pt x="9" y="44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2" y="42"/>
                    <a:pt x="52" y="42"/>
                    <a:pt x="52" y="42"/>
                  </a:cubicBezTo>
                  <a:lnTo>
                    <a:pt x="52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E4A2E71E-1614-4B41-8EC5-DD59B9926F18}"/>
              </a:ext>
            </a:extLst>
          </p:cNvPr>
          <p:cNvGrpSpPr/>
          <p:nvPr/>
        </p:nvGrpSpPr>
        <p:grpSpPr>
          <a:xfrm>
            <a:off x="5818188" y="2839818"/>
            <a:ext cx="758825" cy="758825"/>
            <a:chOff x="5818188" y="2841625"/>
            <a:chExt cx="758825" cy="758825"/>
          </a:xfrm>
        </p:grpSpPr>
        <p:sp>
          <p:nvSpPr>
            <p:cNvPr id="165" name="AutoShape 122">
              <a:extLst>
                <a:ext uri="{FF2B5EF4-FFF2-40B4-BE49-F238E27FC236}">
                  <a16:creationId xmlns:a16="http://schemas.microsoft.com/office/drawing/2014/main" id="{3CA92064-92B1-4CE8-B30C-6958E95956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18188" y="28416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4">
              <a:extLst>
                <a:ext uri="{FF2B5EF4-FFF2-40B4-BE49-F238E27FC236}">
                  <a16:creationId xmlns:a16="http://schemas.microsoft.com/office/drawing/2014/main" id="{7079A93F-E7E9-4DE9-8FD0-2BF85309D9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1363" y="2844800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Rectangle 125">
              <a:extLst>
                <a:ext uri="{FF2B5EF4-FFF2-40B4-BE49-F238E27FC236}">
                  <a16:creationId xmlns:a16="http://schemas.microsoft.com/office/drawing/2014/main" id="{9DF28329-3AED-4060-8225-68DD5F65F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5713" y="3308350"/>
              <a:ext cx="23813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Rectangle 126">
              <a:extLst>
                <a:ext uri="{FF2B5EF4-FFF2-40B4-BE49-F238E27FC236}">
                  <a16:creationId xmlns:a16="http://schemas.microsoft.com/office/drawing/2014/main" id="{056CB142-6533-4D3C-A0CF-5DE401948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6" y="3308350"/>
              <a:ext cx="20638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127">
              <a:extLst>
                <a:ext uri="{FF2B5EF4-FFF2-40B4-BE49-F238E27FC236}">
                  <a16:creationId xmlns:a16="http://schemas.microsoft.com/office/drawing/2014/main" id="{574D7273-3452-4820-882E-E066807B9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8238" y="3308350"/>
              <a:ext cx="20638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Rectangle 128">
              <a:extLst>
                <a:ext uri="{FF2B5EF4-FFF2-40B4-BE49-F238E27FC236}">
                  <a16:creationId xmlns:a16="http://schemas.microsoft.com/office/drawing/2014/main" id="{4DC56397-DFA9-4745-8671-4FEF65436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1" y="3308350"/>
              <a:ext cx="19050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129">
              <a:extLst>
                <a:ext uri="{FF2B5EF4-FFF2-40B4-BE49-F238E27FC236}">
                  <a16:creationId xmlns:a16="http://schemas.microsoft.com/office/drawing/2014/main" id="{4E7B6E31-2078-4F33-8408-66F35FE16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1088" y="3308350"/>
              <a:ext cx="19050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Rectangle 130">
              <a:extLst>
                <a:ext uri="{FF2B5EF4-FFF2-40B4-BE49-F238E27FC236}">
                  <a16:creationId xmlns:a16="http://schemas.microsoft.com/office/drawing/2014/main" id="{390BE4E8-4730-4048-8ACA-06CF3C6716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0438" y="3308350"/>
              <a:ext cx="22225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31">
              <a:extLst>
                <a:ext uri="{FF2B5EF4-FFF2-40B4-BE49-F238E27FC236}">
                  <a16:creationId xmlns:a16="http://schemas.microsoft.com/office/drawing/2014/main" id="{AA776482-7651-4AFA-A77F-CE038EA4BE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4876" y="3005138"/>
              <a:ext cx="428625" cy="436563"/>
            </a:xfrm>
            <a:custGeom>
              <a:avLst/>
              <a:gdLst>
                <a:gd name="T0" fmla="*/ 110 w 110"/>
                <a:gd name="T1" fmla="*/ 112 h 112"/>
                <a:gd name="T2" fmla="*/ 96 w 110"/>
                <a:gd name="T3" fmla="*/ 39 h 112"/>
                <a:gd name="T4" fmla="*/ 97 w 110"/>
                <a:gd name="T5" fmla="*/ 36 h 112"/>
                <a:gd name="T6" fmla="*/ 96 w 110"/>
                <a:gd name="T7" fmla="*/ 10 h 112"/>
                <a:gd name="T8" fmla="*/ 86 w 110"/>
                <a:gd name="T9" fmla="*/ 2 h 112"/>
                <a:gd name="T10" fmla="*/ 69 w 110"/>
                <a:gd name="T11" fmla="*/ 5 h 112"/>
                <a:gd name="T12" fmla="*/ 54 w 110"/>
                <a:gd name="T13" fmla="*/ 0 h 112"/>
                <a:gd name="T14" fmla="*/ 41 w 110"/>
                <a:gd name="T15" fmla="*/ 5 h 112"/>
                <a:gd name="T16" fmla="*/ 23 w 110"/>
                <a:gd name="T17" fmla="*/ 3 h 112"/>
                <a:gd name="T18" fmla="*/ 11 w 110"/>
                <a:gd name="T19" fmla="*/ 12 h 112"/>
                <a:gd name="T20" fmla="*/ 16 w 110"/>
                <a:gd name="T21" fmla="*/ 23 h 112"/>
                <a:gd name="T22" fmla="*/ 28 w 110"/>
                <a:gd name="T23" fmla="*/ 23 h 112"/>
                <a:gd name="T24" fmla="*/ 39 w 110"/>
                <a:gd name="T25" fmla="*/ 28 h 112"/>
                <a:gd name="T26" fmla="*/ 51 w 110"/>
                <a:gd name="T27" fmla="*/ 25 h 112"/>
                <a:gd name="T28" fmla="*/ 69 w 110"/>
                <a:gd name="T29" fmla="*/ 26 h 112"/>
                <a:gd name="T30" fmla="*/ 74 w 110"/>
                <a:gd name="T31" fmla="*/ 35 h 112"/>
                <a:gd name="T32" fmla="*/ 72 w 110"/>
                <a:gd name="T33" fmla="*/ 37 h 112"/>
                <a:gd name="T34" fmla="*/ 74 w 110"/>
                <a:gd name="T35" fmla="*/ 39 h 112"/>
                <a:gd name="T36" fmla="*/ 73 w 110"/>
                <a:gd name="T37" fmla="*/ 59 h 112"/>
                <a:gd name="T38" fmla="*/ 49 w 110"/>
                <a:gd name="T39" fmla="*/ 59 h 112"/>
                <a:gd name="T40" fmla="*/ 24 w 110"/>
                <a:gd name="T41" fmla="*/ 59 h 112"/>
                <a:gd name="T42" fmla="*/ 61 w 110"/>
                <a:gd name="T43" fmla="*/ 24 h 112"/>
                <a:gd name="T44" fmla="*/ 47 w 110"/>
                <a:gd name="T45" fmla="*/ 16 h 112"/>
                <a:gd name="T46" fmla="*/ 45 w 110"/>
                <a:gd name="T47" fmla="*/ 20 h 112"/>
                <a:gd name="T48" fmla="*/ 43 w 110"/>
                <a:gd name="T49" fmla="*/ 24 h 112"/>
                <a:gd name="T50" fmla="*/ 31 w 110"/>
                <a:gd name="T51" fmla="*/ 21 h 112"/>
                <a:gd name="T52" fmla="*/ 19 w 110"/>
                <a:gd name="T53" fmla="*/ 20 h 112"/>
                <a:gd name="T54" fmla="*/ 14 w 110"/>
                <a:gd name="T55" fmla="*/ 16 h 112"/>
                <a:gd name="T56" fmla="*/ 18 w 110"/>
                <a:gd name="T57" fmla="*/ 9 h 112"/>
                <a:gd name="T58" fmla="*/ 31 w 110"/>
                <a:gd name="T59" fmla="*/ 6 h 112"/>
                <a:gd name="T60" fmla="*/ 44 w 110"/>
                <a:gd name="T61" fmla="*/ 7 h 112"/>
                <a:gd name="T62" fmla="*/ 58 w 110"/>
                <a:gd name="T63" fmla="*/ 3 h 112"/>
                <a:gd name="T64" fmla="*/ 63 w 110"/>
                <a:gd name="T65" fmla="*/ 12 h 112"/>
                <a:gd name="T66" fmla="*/ 64 w 110"/>
                <a:gd name="T67" fmla="*/ 16 h 112"/>
                <a:gd name="T68" fmla="*/ 77 w 110"/>
                <a:gd name="T69" fmla="*/ 5 h 112"/>
                <a:gd name="T70" fmla="*/ 92 w 110"/>
                <a:gd name="T71" fmla="*/ 9 h 112"/>
                <a:gd name="T72" fmla="*/ 91 w 110"/>
                <a:gd name="T73" fmla="*/ 18 h 112"/>
                <a:gd name="T74" fmla="*/ 80 w 110"/>
                <a:gd name="T75" fmla="*/ 25 h 112"/>
                <a:gd name="T76" fmla="*/ 89 w 110"/>
                <a:gd name="T77" fmla="*/ 35 h 112"/>
                <a:gd name="T78" fmla="*/ 80 w 110"/>
                <a:gd name="T79" fmla="*/ 62 h 112"/>
                <a:gd name="T80" fmla="*/ 27 w 110"/>
                <a:gd name="T81" fmla="*/ 68 h 112"/>
                <a:gd name="T82" fmla="*/ 52 w 110"/>
                <a:gd name="T83" fmla="*/ 68 h 112"/>
                <a:gd name="T84" fmla="*/ 77 w 110"/>
                <a:gd name="T85" fmla="*/ 68 h 112"/>
                <a:gd name="T86" fmla="*/ 97 w 110"/>
                <a:gd name="T87" fmla="*/ 107 h 112"/>
                <a:gd name="T88" fmla="*/ 89 w 110"/>
                <a:gd name="T89" fmla="*/ 107 h 112"/>
                <a:gd name="T90" fmla="*/ 75 w 110"/>
                <a:gd name="T91" fmla="*/ 106 h 112"/>
                <a:gd name="T92" fmla="*/ 60 w 110"/>
                <a:gd name="T93" fmla="*/ 95 h 112"/>
                <a:gd name="T94" fmla="*/ 50 w 110"/>
                <a:gd name="T95" fmla="*/ 95 h 112"/>
                <a:gd name="T96" fmla="*/ 35 w 110"/>
                <a:gd name="T97" fmla="*/ 106 h 112"/>
                <a:gd name="T98" fmla="*/ 21 w 110"/>
                <a:gd name="T99" fmla="*/ 107 h 112"/>
                <a:gd name="T100" fmla="*/ 13 w 110"/>
                <a:gd name="T101" fmla="*/ 107 h 112"/>
                <a:gd name="T102" fmla="*/ 7 w 110"/>
                <a:gd name="T103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112">
                  <a:moveTo>
                    <a:pt x="24" y="59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97" y="63"/>
                    <a:pt x="97" y="63"/>
                    <a:pt x="97" y="63"/>
                  </a:cubicBezTo>
                  <a:cubicBezTo>
                    <a:pt x="96" y="63"/>
                    <a:pt x="96" y="62"/>
                    <a:pt x="96" y="62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39"/>
                    <a:pt x="96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8" y="5"/>
                    <a:pt x="68" y="4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0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8" y="22"/>
                    <a:pt x="28" y="23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1" y="25"/>
                    <a:pt x="51" y="25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5" y="23"/>
                    <a:pt x="75" y="24"/>
                    <a:pt x="75" y="2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5"/>
                    <a:pt x="74" y="35"/>
                    <a:pt x="74" y="35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5" y="40"/>
                    <a:pt x="75" y="40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4" y="59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9" y="60"/>
                    <a:pt x="49" y="60"/>
                    <a:pt x="49" y="59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4" y="60"/>
                    <a:pt x="24" y="60"/>
                    <a:pt x="24" y="59"/>
                  </a:cubicBezTo>
                  <a:close/>
                  <a:moveTo>
                    <a:pt x="74" y="1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21"/>
                    <a:pt x="47" y="22"/>
                    <a:pt x="47" y="22"/>
                  </a:cubicBezTo>
                  <a:cubicBezTo>
                    <a:pt x="47" y="22"/>
                    <a:pt x="47" y="22"/>
                    <a:pt x="46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8"/>
                    <a:pt x="91" y="18"/>
                    <a:pt x="91" y="18"/>
                  </a:cubicBezTo>
                  <a:lnTo>
                    <a:pt x="74" y="18"/>
                  </a:lnTo>
                  <a:close/>
                  <a:moveTo>
                    <a:pt x="89" y="35"/>
                  </a:move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0" y="35"/>
                    <a:pt x="80" y="34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4"/>
                    <a:pt x="81" y="24"/>
                    <a:pt x="81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0" y="25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5"/>
                    <a:pt x="90" y="35"/>
                    <a:pt x="89" y="35"/>
                  </a:cubicBezTo>
                  <a:close/>
                  <a:moveTo>
                    <a:pt x="90" y="40"/>
                  </a:move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3"/>
                    <a:pt x="89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0" y="62"/>
                    <a:pt x="80" y="62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1" y="39"/>
                    <a:pt x="81" y="39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0" y="39"/>
                    <a:pt x="90" y="40"/>
                    <a:pt x="90" y="40"/>
                  </a:cubicBezTo>
                  <a:close/>
                  <a:moveTo>
                    <a:pt x="27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2" y="55"/>
                    <a:pt x="32" y="55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04" y="68"/>
                    <a:pt x="105" y="69"/>
                    <a:pt x="105" y="69"/>
                  </a:cubicBezTo>
                  <a:cubicBezTo>
                    <a:pt x="105" y="106"/>
                    <a:pt x="105" y="106"/>
                    <a:pt x="105" y="106"/>
                  </a:cubicBezTo>
                  <a:cubicBezTo>
                    <a:pt x="105" y="106"/>
                    <a:pt x="104" y="107"/>
                    <a:pt x="104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6" y="107"/>
                    <a:pt x="96" y="106"/>
                    <a:pt x="96" y="106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0" y="95"/>
                    <a:pt x="90" y="95"/>
                    <a:pt x="90" y="9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06"/>
                    <a:pt x="90" y="107"/>
                    <a:pt x="89" y="107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1" y="107"/>
                    <a:pt x="80" y="106"/>
                    <a:pt x="80" y="106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75" y="106"/>
                    <a:pt x="74" y="107"/>
                    <a:pt x="74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5" y="106"/>
                    <a:pt x="65" y="10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59" y="107"/>
                    <a:pt x="59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0" y="106"/>
                    <a:pt x="50" y="106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4" y="107"/>
                    <a:pt x="44" y="107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35" y="106"/>
                    <a:pt x="35" y="106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30" y="106"/>
                    <a:pt x="29" y="107"/>
                    <a:pt x="29" y="107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0" y="107"/>
                    <a:pt x="20" y="106"/>
                    <a:pt x="20" y="106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7"/>
                    <a:pt x="13" y="107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6" y="107"/>
                    <a:pt x="5" y="106"/>
                    <a:pt x="5" y="10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5"/>
                    <a:pt x="6" y="55"/>
                    <a:pt x="6" y="55"/>
                  </a:cubicBezTo>
                  <a:cubicBezTo>
                    <a:pt x="6" y="55"/>
                    <a:pt x="7" y="55"/>
                    <a:pt x="7" y="55"/>
                  </a:cubicBezTo>
                  <a:lnTo>
                    <a:pt x="27" y="6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Rectangle 132">
              <a:extLst>
                <a:ext uri="{FF2B5EF4-FFF2-40B4-BE49-F238E27FC236}">
                  <a16:creationId xmlns:a16="http://schemas.microsoft.com/office/drawing/2014/main" id="{60D32C68-F491-4473-84F8-6F1E25EC78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5713" y="3308350"/>
              <a:ext cx="23813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133">
              <a:extLst>
                <a:ext uri="{FF2B5EF4-FFF2-40B4-BE49-F238E27FC236}">
                  <a16:creationId xmlns:a16="http://schemas.microsoft.com/office/drawing/2014/main" id="{A6C5D2CE-ADD6-42F7-A1EF-FF9F7E2F6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6976" y="3308350"/>
              <a:ext cx="20638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134">
              <a:extLst>
                <a:ext uri="{FF2B5EF4-FFF2-40B4-BE49-F238E27FC236}">
                  <a16:creationId xmlns:a16="http://schemas.microsoft.com/office/drawing/2014/main" id="{8CBC8451-AE90-4713-9638-38AA2DDD6E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8238" y="3308350"/>
              <a:ext cx="20638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Rectangle 135">
              <a:extLst>
                <a:ext uri="{FF2B5EF4-FFF2-40B4-BE49-F238E27FC236}">
                  <a16:creationId xmlns:a16="http://schemas.microsoft.com/office/drawing/2014/main" id="{D03D9A53-DBA4-4BDE-8EC8-C12DC7AAA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2351" y="3308350"/>
              <a:ext cx="19050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Rectangle 136">
              <a:extLst>
                <a:ext uri="{FF2B5EF4-FFF2-40B4-BE49-F238E27FC236}">
                  <a16:creationId xmlns:a16="http://schemas.microsoft.com/office/drawing/2014/main" id="{284B9B9E-D9C3-4C03-895E-A0642E103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1088" y="3308350"/>
              <a:ext cx="19050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Rectangle 137">
              <a:extLst>
                <a:ext uri="{FF2B5EF4-FFF2-40B4-BE49-F238E27FC236}">
                  <a16:creationId xmlns:a16="http://schemas.microsoft.com/office/drawing/2014/main" id="{CB16B58E-B8DD-4D08-921D-A6B23CD13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0438" y="3308350"/>
              <a:ext cx="22225" cy="2698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38">
              <a:extLst>
                <a:ext uri="{FF2B5EF4-FFF2-40B4-BE49-F238E27FC236}">
                  <a16:creationId xmlns:a16="http://schemas.microsoft.com/office/drawing/2014/main" id="{D5F0DC14-8336-4072-A7D1-9A7DBF8D6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4876" y="3005138"/>
              <a:ext cx="428625" cy="436563"/>
            </a:xfrm>
            <a:custGeom>
              <a:avLst/>
              <a:gdLst>
                <a:gd name="T0" fmla="*/ 110 w 110"/>
                <a:gd name="T1" fmla="*/ 112 h 112"/>
                <a:gd name="T2" fmla="*/ 96 w 110"/>
                <a:gd name="T3" fmla="*/ 39 h 112"/>
                <a:gd name="T4" fmla="*/ 97 w 110"/>
                <a:gd name="T5" fmla="*/ 36 h 112"/>
                <a:gd name="T6" fmla="*/ 96 w 110"/>
                <a:gd name="T7" fmla="*/ 10 h 112"/>
                <a:gd name="T8" fmla="*/ 86 w 110"/>
                <a:gd name="T9" fmla="*/ 2 h 112"/>
                <a:gd name="T10" fmla="*/ 69 w 110"/>
                <a:gd name="T11" fmla="*/ 5 h 112"/>
                <a:gd name="T12" fmla="*/ 54 w 110"/>
                <a:gd name="T13" fmla="*/ 0 h 112"/>
                <a:gd name="T14" fmla="*/ 41 w 110"/>
                <a:gd name="T15" fmla="*/ 5 h 112"/>
                <a:gd name="T16" fmla="*/ 23 w 110"/>
                <a:gd name="T17" fmla="*/ 3 h 112"/>
                <a:gd name="T18" fmla="*/ 11 w 110"/>
                <a:gd name="T19" fmla="*/ 12 h 112"/>
                <a:gd name="T20" fmla="*/ 16 w 110"/>
                <a:gd name="T21" fmla="*/ 23 h 112"/>
                <a:gd name="T22" fmla="*/ 28 w 110"/>
                <a:gd name="T23" fmla="*/ 23 h 112"/>
                <a:gd name="T24" fmla="*/ 39 w 110"/>
                <a:gd name="T25" fmla="*/ 28 h 112"/>
                <a:gd name="T26" fmla="*/ 51 w 110"/>
                <a:gd name="T27" fmla="*/ 25 h 112"/>
                <a:gd name="T28" fmla="*/ 69 w 110"/>
                <a:gd name="T29" fmla="*/ 26 h 112"/>
                <a:gd name="T30" fmla="*/ 74 w 110"/>
                <a:gd name="T31" fmla="*/ 35 h 112"/>
                <a:gd name="T32" fmla="*/ 72 w 110"/>
                <a:gd name="T33" fmla="*/ 37 h 112"/>
                <a:gd name="T34" fmla="*/ 74 w 110"/>
                <a:gd name="T35" fmla="*/ 39 h 112"/>
                <a:gd name="T36" fmla="*/ 73 w 110"/>
                <a:gd name="T37" fmla="*/ 59 h 112"/>
                <a:gd name="T38" fmla="*/ 49 w 110"/>
                <a:gd name="T39" fmla="*/ 59 h 112"/>
                <a:gd name="T40" fmla="*/ 24 w 110"/>
                <a:gd name="T41" fmla="*/ 59 h 112"/>
                <a:gd name="T42" fmla="*/ 61 w 110"/>
                <a:gd name="T43" fmla="*/ 24 h 112"/>
                <a:gd name="T44" fmla="*/ 47 w 110"/>
                <a:gd name="T45" fmla="*/ 16 h 112"/>
                <a:gd name="T46" fmla="*/ 45 w 110"/>
                <a:gd name="T47" fmla="*/ 20 h 112"/>
                <a:gd name="T48" fmla="*/ 43 w 110"/>
                <a:gd name="T49" fmla="*/ 24 h 112"/>
                <a:gd name="T50" fmla="*/ 31 w 110"/>
                <a:gd name="T51" fmla="*/ 21 h 112"/>
                <a:gd name="T52" fmla="*/ 19 w 110"/>
                <a:gd name="T53" fmla="*/ 20 h 112"/>
                <a:gd name="T54" fmla="*/ 14 w 110"/>
                <a:gd name="T55" fmla="*/ 16 h 112"/>
                <a:gd name="T56" fmla="*/ 18 w 110"/>
                <a:gd name="T57" fmla="*/ 9 h 112"/>
                <a:gd name="T58" fmla="*/ 31 w 110"/>
                <a:gd name="T59" fmla="*/ 6 h 112"/>
                <a:gd name="T60" fmla="*/ 44 w 110"/>
                <a:gd name="T61" fmla="*/ 7 h 112"/>
                <a:gd name="T62" fmla="*/ 58 w 110"/>
                <a:gd name="T63" fmla="*/ 3 h 112"/>
                <a:gd name="T64" fmla="*/ 63 w 110"/>
                <a:gd name="T65" fmla="*/ 12 h 112"/>
                <a:gd name="T66" fmla="*/ 64 w 110"/>
                <a:gd name="T67" fmla="*/ 16 h 112"/>
                <a:gd name="T68" fmla="*/ 77 w 110"/>
                <a:gd name="T69" fmla="*/ 5 h 112"/>
                <a:gd name="T70" fmla="*/ 92 w 110"/>
                <a:gd name="T71" fmla="*/ 9 h 112"/>
                <a:gd name="T72" fmla="*/ 91 w 110"/>
                <a:gd name="T73" fmla="*/ 18 h 112"/>
                <a:gd name="T74" fmla="*/ 80 w 110"/>
                <a:gd name="T75" fmla="*/ 25 h 112"/>
                <a:gd name="T76" fmla="*/ 89 w 110"/>
                <a:gd name="T77" fmla="*/ 35 h 112"/>
                <a:gd name="T78" fmla="*/ 80 w 110"/>
                <a:gd name="T79" fmla="*/ 62 h 112"/>
                <a:gd name="T80" fmla="*/ 27 w 110"/>
                <a:gd name="T81" fmla="*/ 68 h 112"/>
                <a:gd name="T82" fmla="*/ 52 w 110"/>
                <a:gd name="T83" fmla="*/ 68 h 112"/>
                <a:gd name="T84" fmla="*/ 77 w 110"/>
                <a:gd name="T85" fmla="*/ 68 h 112"/>
                <a:gd name="T86" fmla="*/ 97 w 110"/>
                <a:gd name="T87" fmla="*/ 107 h 112"/>
                <a:gd name="T88" fmla="*/ 89 w 110"/>
                <a:gd name="T89" fmla="*/ 107 h 112"/>
                <a:gd name="T90" fmla="*/ 75 w 110"/>
                <a:gd name="T91" fmla="*/ 106 h 112"/>
                <a:gd name="T92" fmla="*/ 60 w 110"/>
                <a:gd name="T93" fmla="*/ 95 h 112"/>
                <a:gd name="T94" fmla="*/ 50 w 110"/>
                <a:gd name="T95" fmla="*/ 95 h 112"/>
                <a:gd name="T96" fmla="*/ 35 w 110"/>
                <a:gd name="T97" fmla="*/ 106 h 112"/>
                <a:gd name="T98" fmla="*/ 21 w 110"/>
                <a:gd name="T99" fmla="*/ 107 h 112"/>
                <a:gd name="T100" fmla="*/ 13 w 110"/>
                <a:gd name="T101" fmla="*/ 107 h 112"/>
                <a:gd name="T102" fmla="*/ 7 w 110"/>
                <a:gd name="T103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112">
                  <a:moveTo>
                    <a:pt x="24" y="59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97" y="63"/>
                    <a:pt x="97" y="63"/>
                    <a:pt x="97" y="63"/>
                  </a:cubicBezTo>
                  <a:cubicBezTo>
                    <a:pt x="96" y="63"/>
                    <a:pt x="96" y="62"/>
                    <a:pt x="96" y="62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39"/>
                    <a:pt x="96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8" y="5"/>
                    <a:pt x="68" y="4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0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8" y="22"/>
                    <a:pt x="28" y="23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1" y="25"/>
                    <a:pt x="51" y="25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5" y="23"/>
                    <a:pt x="75" y="24"/>
                    <a:pt x="75" y="2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5"/>
                    <a:pt x="74" y="35"/>
                    <a:pt x="74" y="35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5" y="40"/>
                    <a:pt x="75" y="40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4" y="59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9" y="60"/>
                    <a:pt x="49" y="60"/>
                    <a:pt x="49" y="59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4" y="60"/>
                    <a:pt x="24" y="60"/>
                    <a:pt x="24" y="59"/>
                  </a:cubicBezTo>
                  <a:close/>
                  <a:moveTo>
                    <a:pt x="74" y="1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21"/>
                    <a:pt x="47" y="22"/>
                    <a:pt x="47" y="22"/>
                  </a:cubicBezTo>
                  <a:cubicBezTo>
                    <a:pt x="47" y="22"/>
                    <a:pt x="47" y="22"/>
                    <a:pt x="46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8"/>
                    <a:pt x="91" y="18"/>
                    <a:pt x="91" y="18"/>
                  </a:cubicBezTo>
                  <a:lnTo>
                    <a:pt x="74" y="18"/>
                  </a:lnTo>
                  <a:close/>
                  <a:moveTo>
                    <a:pt x="89" y="35"/>
                  </a:move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0" y="35"/>
                    <a:pt x="80" y="34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4"/>
                    <a:pt x="81" y="24"/>
                    <a:pt x="81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0" y="25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5"/>
                    <a:pt x="90" y="35"/>
                    <a:pt x="89" y="35"/>
                  </a:cubicBezTo>
                  <a:close/>
                  <a:moveTo>
                    <a:pt x="90" y="40"/>
                  </a:move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3"/>
                    <a:pt x="89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0" y="62"/>
                    <a:pt x="80" y="62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1" y="39"/>
                    <a:pt x="81" y="39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0" y="39"/>
                    <a:pt x="90" y="40"/>
                    <a:pt x="90" y="40"/>
                  </a:cubicBezTo>
                  <a:close/>
                  <a:moveTo>
                    <a:pt x="27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2" y="55"/>
                    <a:pt x="32" y="55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04" y="68"/>
                    <a:pt x="105" y="69"/>
                    <a:pt x="105" y="69"/>
                  </a:cubicBezTo>
                  <a:cubicBezTo>
                    <a:pt x="105" y="106"/>
                    <a:pt x="105" y="106"/>
                    <a:pt x="105" y="106"/>
                  </a:cubicBezTo>
                  <a:cubicBezTo>
                    <a:pt x="105" y="106"/>
                    <a:pt x="104" y="107"/>
                    <a:pt x="104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6" y="107"/>
                    <a:pt x="96" y="106"/>
                    <a:pt x="96" y="106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0" y="95"/>
                    <a:pt x="90" y="95"/>
                    <a:pt x="90" y="9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06"/>
                    <a:pt x="90" y="107"/>
                    <a:pt x="89" y="107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1" y="107"/>
                    <a:pt x="80" y="106"/>
                    <a:pt x="80" y="106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75" y="106"/>
                    <a:pt x="74" y="107"/>
                    <a:pt x="74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5" y="106"/>
                    <a:pt x="65" y="10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59" y="107"/>
                    <a:pt x="59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0" y="106"/>
                    <a:pt x="50" y="106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4" y="107"/>
                    <a:pt x="44" y="107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35" y="106"/>
                    <a:pt x="35" y="106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30" y="106"/>
                    <a:pt x="29" y="107"/>
                    <a:pt x="29" y="107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0" y="107"/>
                    <a:pt x="20" y="106"/>
                    <a:pt x="20" y="106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7"/>
                    <a:pt x="13" y="107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6" y="107"/>
                    <a:pt x="5" y="106"/>
                    <a:pt x="5" y="10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5"/>
                    <a:pt x="6" y="55"/>
                    <a:pt x="6" y="55"/>
                  </a:cubicBezTo>
                  <a:cubicBezTo>
                    <a:pt x="6" y="55"/>
                    <a:pt x="7" y="55"/>
                    <a:pt x="7" y="55"/>
                  </a:cubicBezTo>
                  <a:lnTo>
                    <a:pt x="27" y="6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83B18A12-42D9-4CE7-ACAC-C4FF00219663}"/>
              </a:ext>
            </a:extLst>
          </p:cNvPr>
          <p:cNvGrpSpPr/>
          <p:nvPr/>
        </p:nvGrpSpPr>
        <p:grpSpPr>
          <a:xfrm>
            <a:off x="4745832" y="2796955"/>
            <a:ext cx="844550" cy="844550"/>
            <a:chOff x="4344988" y="3201988"/>
            <a:chExt cx="844550" cy="844550"/>
          </a:xfrm>
        </p:grpSpPr>
        <p:sp>
          <p:nvSpPr>
            <p:cNvPr id="185" name="AutoShape 140">
              <a:extLst>
                <a:ext uri="{FF2B5EF4-FFF2-40B4-BE49-F238E27FC236}">
                  <a16:creationId xmlns:a16="http://schemas.microsoft.com/office/drawing/2014/main" id="{6756F853-144C-4B30-AAAE-B89E87932A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4988" y="32019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142">
              <a:extLst>
                <a:ext uri="{FF2B5EF4-FFF2-40B4-BE49-F238E27FC236}">
                  <a16:creationId xmlns:a16="http://schemas.microsoft.com/office/drawing/2014/main" id="{F58221E6-3CFB-45F9-9455-E00434E5B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4988" y="32019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43">
              <a:extLst>
                <a:ext uri="{FF2B5EF4-FFF2-40B4-BE49-F238E27FC236}">
                  <a16:creationId xmlns:a16="http://schemas.microsoft.com/office/drawing/2014/main" id="{7C872C7E-2D76-4853-9EB2-DFB65FB829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563" y="32305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144">
              <a:extLst>
                <a:ext uri="{FF2B5EF4-FFF2-40B4-BE49-F238E27FC236}">
                  <a16:creationId xmlns:a16="http://schemas.microsoft.com/office/drawing/2014/main" id="{8C8C9BB2-2729-42A0-945A-FC32332DE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0138" y="3714751"/>
              <a:ext cx="23813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45">
              <a:extLst>
                <a:ext uri="{FF2B5EF4-FFF2-40B4-BE49-F238E27FC236}">
                  <a16:creationId xmlns:a16="http://schemas.microsoft.com/office/drawing/2014/main" id="{0FF8754A-6784-4140-9F13-556413EA5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226" y="3714751"/>
              <a:ext cx="20638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146">
              <a:extLst>
                <a:ext uri="{FF2B5EF4-FFF2-40B4-BE49-F238E27FC236}">
                  <a16:creationId xmlns:a16="http://schemas.microsoft.com/office/drawing/2014/main" id="{1F238FA9-EE94-4348-B02A-3B6E30BAD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7901" y="3714751"/>
              <a:ext cx="20638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47">
              <a:extLst>
                <a:ext uri="{FF2B5EF4-FFF2-40B4-BE49-F238E27FC236}">
                  <a16:creationId xmlns:a16="http://schemas.microsoft.com/office/drawing/2014/main" id="{157D5481-A60E-4FBB-9AE6-B2167755A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3" y="3714751"/>
              <a:ext cx="20638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148">
              <a:extLst>
                <a:ext uri="{FF2B5EF4-FFF2-40B4-BE49-F238E27FC236}">
                  <a16:creationId xmlns:a16="http://schemas.microsoft.com/office/drawing/2014/main" id="{52C6C2F9-0451-453C-B9DC-7767483D02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576" y="3714751"/>
              <a:ext cx="19050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49">
              <a:extLst>
                <a:ext uri="{FF2B5EF4-FFF2-40B4-BE49-F238E27FC236}">
                  <a16:creationId xmlns:a16="http://schemas.microsoft.com/office/drawing/2014/main" id="{D7F3173F-AC4D-4AAC-8D28-767500E6C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0576" y="3714751"/>
              <a:ext cx="25400" cy="269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50">
              <a:extLst>
                <a:ext uri="{FF2B5EF4-FFF2-40B4-BE49-F238E27FC236}">
                  <a16:creationId xmlns:a16="http://schemas.microsoft.com/office/drawing/2014/main" id="{9F5C9DD7-3572-4736-A3E0-9C13954A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3426" y="3397251"/>
              <a:ext cx="447675" cy="455613"/>
            </a:xfrm>
            <a:custGeom>
              <a:avLst/>
              <a:gdLst>
                <a:gd name="T0" fmla="*/ 110 w 110"/>
                <a:gd name="T1" fmla="*/ 112 h 112"/>
                <a:gd name="T2" fmla="*/ 96 w 110"/>
                <a:gd name="T3" fmla="*/ 39 h 112"/>
                <a:gd name="T4" fmla="*/ 97 w 110"/>
                <a:gd name="T5" fmla="*/ 36 h 112"/>
                <a:gd name="T6" fmla="*/ 96 w 110"/>
                <a:gd name="T7" fmla="*/ 10 h 112"/>
                <a:gd name="T8" fmla="*/ 86 w 110"/>
                <a:gd name="T9" fmla="*/ 2 h 112"/>
                <a:gd name="T10" fmla="*/ 69 w 110"/>
                <a:gd name="T11" fmla="*/ 5 h 112"/>
                <a:gd name="T12" fmla="*/ 54 w 110"/>
                <a:gd name="T13" fmla="*/ 0 h 112"/>
                <a:gd name="T14" fmla="*/ 41 w 110"/>
                <a:gd name="T15" fmla="*/ 5 h 112"/>
                <a:gd name="T16" fmla="*/ 23 w 110"/>
                <a:gd name="T17" fmla="*/ 3 h 112"/>
                <a:gd name="T18" fmla="*/ 11 w 110"/>
                <a:gd name="T19" fmla="*/ 12 h 112"/>
                <a:gd name="T20" fmla="*/ 16 w 110"/>
                <a:gd name="T21" fmla="*/ 23 h 112"/>
                <a:gd name="T22" fmla="*/ 28 w 110"/>
                <a:gd name="T23" fmla="*/ 23 h 112"/>
                <a:gd name="T24" fmla="*/ 39 w 110"/>
                <a:gd name="T25" fmla="*/ 28 h 112"/>
                <a:gd name="T26" fmla="*/ 51 w 110"/>
                <a:gd name="T27" fmla="*/ 25 h 112"/>
                <a:gd name="T28" fmla="*/ 69 w 110"/>
                <a:gd name="T29" fmla="*/ 26 h 112"/>
                <a:gd name="T30" fmla="*/ 74 w 110"/>
                <a:gd name="T31" fmla="*/ 35 h 112"/>
                <a:gd name="T32" fmla="*/ 72 w 110"/>
                <a:gd name="T33" fmla="*/ 37 h 112"/>
                <a:gd name="T34" fmla="*/ 74 w 110"/>
                <a:gd name="T35" fmla="*/ 39 h 112"/>
                <a:gd name="T36" fmla="*/ 73 w 110"/>
                <a:gd name="T37" fmla="*/ 59 h 112"/>
                <a:gd name="T38" fmla="*/ 49 w 110"/>
                <a:gd name="T39" fmla="*/ 59 h 112"/>
                <a:gd name="T40" fmla="*/ 24 w 110"/>
                <a:gd name="T41" fmla="*/ 59 h 112"/>
                <a:gd name="T42" fmla="*/ 61 w 110"/>
                <a:gd name="T43" fmla="*/ 24 h 112"/>
                <a:gd name="T44" fmla="*/ 47 w 110"/>
                <a:gd name="T45" fmla="*/ 16 h 112"/>
                <a:gd name="T46" fmla="*/ 45 w 110"/>
                <a:gd name="T47" fmla="*/ 20 h 112"/>
                <a:gd name="T48" fmla="*/ 43 w 110"/>
                <a:gd name="T49" fmla="*/ 24 h 112"/>
                <a:gd name="T50" fmla="*/ 31 w 110"/>
                <a:gd name="T51" fmla="*/ 21 h 112"/>
                <a:gd name="T52" fmla="*/ 19 w 110"/>
                <a:gd name="T53" fmla="*/ 20 h 112"/>
                <a:gd name="T54" fmla="*/ 14 w 110"/>
                <a:gd name="T55" fmla="*/ 16 h 112"/>
                <a:gd name="T56" fmla="*/ 18 w 110"/>
                <a:gd name="T57" fmla="*/ 9 h 112"/>
                <a:gd name="T58" fmla="*/ 31 w 110"/>
                <a:gd name="T59" fmla="*/ 6 h 112"/>
                <a:gd name="T60" fmla="*/ 44 w 110"/>
                <a:gd name="T61" fmla="*/ 7 h 112"/>
                <a:gd name="T62" fmla="*/ 58 w 110"/>
                <a:gd name="T63" fmla="*/ 3 h 112"/>
                <a:gd name="T64" fmla="*/ 63 w 110"/>
                <a:gd name="T65" fmla="*/ 12 h 112"/>
                <a:gd name="T66" fmla="*/ 64 w 110"/>
                <a:gd name="T67" fmla="*/ 16 h 112"/>
                <a:gd name="T68" fmla="*/ 77 w 110"/>
                <a:gd name="T69" fmla="*/ 5 h 112"/>
                <a:gd name="T70" fmla="*/ 92 w 110"/>
                <a:gd name="T71" fmla="*/ 9 h 112"/>
                <a:gd name="T72" fmla="*/ 91 w 110"/>
                <a:gd name="T73" fmla="*/ 18 h 112"/>
                <a:gd name="T74" fmla="*/ 80 w 110"/>
                <a:gd name="T75" fmla="*/ 25 h 112"/>
                <a:gd name="T76" fmla="*/ 89 w 110"/>
                <a:gd name="T77" fmla="*/ 35 h 112"/>
                <a:gd name="T78" fmla="*/ 80 w 110"/>
                <a:gd name="T79" fmla="*/ 62 h 112"/>
                <a:gd name="T80" fmla="*/ 27 w 110"/>
                <a:gd name="T81" fmla="*/ 68 h 112"/>
                <a:gd name="T82" fmla="*/ 52 w 110"/>
                <a:gd name="T83" fmla="*/ 68 h 112"/>
                <a:gd name="T84" fmla="*/ 77 w 110"/>
                <a:gd name="T85" fmla="*/ 68 h 112"/>
                <a:gd name="T86" fmla="*/ 97 w 110"/>
                <a:gd name="T87" fmla="*/ 107 h 112"/>
                <a:gd name="T88" fmla="*/ 89 w 110"/>
                <a:gd name="T89" fmla="*/ 107 h 112"/>
                <a:gd name="T90" fmla="*/ 75 w 110"/>
                <a:gd name="T91" fmla="*/ 106 h 112"/>
                <a:gd name="T92" fmla="*/ 60 w 110"/>
                <a:gd name="T93" fmla="*/ 95 h 112"/>
                <a:gd name="T94" fmla="*/ 50 w 110"/>
                <a:gd name="T95" fmla="*/ 95 h 112"/>
                <a:gd name="T96" fmla="*/ 35 w 110"/>
                <a:gd name="T97" fmla="*/ 106 h 112"/>
                <a:gd name="T98" fmla="*/ 21 w 110"/>
                <a:gd name="T99" fmla="*/ 107 h 112"/>
                <a:gd name="T100" fmla="*/ 13 w 110"/>
                <a:gd name="T101" fmla="*/ 107 h 112"/>
                <a:gd name="T102" fmla="*/ 7 w 110"/>
                <a:gd name="T103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112">
                  <a:moveTo>
                    <a:pt x="24" y="59"/>
                  </a:moveTo>
                  <a:cubicBezTo>
                    <a:pt x="3" y="46"/>
                    <a:pt x="3" y="46"/>
                    <a:pt x="3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97" y="63"/>
                    <a:pt x="97" y="63"/>
                    <a:pt x="97" y="63"/>
                  </a:cubicBezTo>
                  <a:cubicBezTo>
                    <a:pt x="96" y="63"/>
                    <a:pt x="96" y="62"/>
                    <a:pt x="96" y="62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39"/>
                    <a:pt x="96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8" y="5"/>
                    <a:pt x="68" y="4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0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8" y="22"/>
                    <a:pt x="28" y="23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1" y="25"/>
                    <a:pt x="51" y="25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5" y="23"/>
                    <a:pt x="75" y="24"/>
                    <a:pt x="75" y="2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5"/>
                    <a:pt x="74" y="35"/>
                    <a:pt x="74" y="35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5" y="40"/>
                    <a:pt x="75" y="40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4" y="59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9" y="60"/>
                    <a:pt x="49" y="60"/>
                    <a:pt x="49" y="59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4" y="60"/>
                    <a:pt x="24" y="60"/>
                    <a:pt x="24" y="59"/>
                  </a:cubicBezTo>
                  <a:close/>
                  <a:moveTo>
                    <a:pt x="74" y="18"/>
                  </a:moveTo>
                  <a:cubicBezTo>
                    <a:pt x="71" y="21"/>
                    <a:pt x="71" y="21"/>
                    <a:pt x="71" y="21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21"/>
                    <a:pt x="47" y="22"/>
                    <a:pt x="47" y="22"/>
                  </a:cubicBezTo>
                  <a:cubicBezTo>
                    <a:pt x="47" y="22"/>
                    <a:pt x="47" y="22"/>
                    <a:pt x="46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8"/>
                    <a:pt x="91" y="18"/>
                    <a:pt x="91" y="18"/>
                  </a:cubicBezTo>
                  <a:lnTo>
                    <a:pt x="74" y="18"/>
                  </a:lnTo>
                  <a:close/>
                  <a:moveTo>
                    <a:pt x="89" y="35"/>
                  </a:move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0" y="35"/>
                    <a:pt x="80" y="34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4"/>
                    <a:pt x="81" y="24"/>
                    <a:pt x="81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0" y="25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5"/>
                    <a:pt x="90" y="35"/>
                    <a:pt x="89" y="35"/>
                  </a:cubicBezTo>
                  <a:close/>
                  <a:moveTo>
                    <a:pt x="90" y="40"/>
                  </a:move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0" y="63"/>
                    <a:pt x="89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0" y="62"/>
                    <a:pt x="80" y="62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1" y="39"/>
                    <a:pt x="81" y="39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90" y="39"/>
                    <a:pt x="90" y="40"/>
                    <a:pt x="90" y="40"/>
                  </a:cubicBezTo>
                  <a:close/>
                  <a:moveTo>
                    <a:pt x="27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2" y="55"/>
                    <a:pt x="32" y="55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04" y="68"/>
                    <a:pt x="105" y="69"/>
                    <a:pt x="105" y="69"/>
                  </a:cubicBezTo>
                  <a:cubicBezTo>
                    <a:pt x="105" y="106"/>
                    <a:pt x="105" y="106"/>
                    <a:pt x="105" y="106"/>
                  </a:cubicBezTo>
                  <a:cubicBezTo>
                    <a:pt x="105" y="106"/>
                    <a:pt x="104" y="107"/>
                    <a:pt x="104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6" y="107"/>
                    <a:pt x="96" y="106"/>
                    <a:pt x="96" y="106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0" y="95"/>
                    <a:pt x="90" y="95"/>
                    <a:pt x="90" y="95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0" y="106"/>
                    <a:pt x="90" y="107"/>
                    <a:pt x="89" y="107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1" y="107"/>
                    <a:pt x="80" y="106"/>
                    <a:pt x="80" y="106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75" y="106"/>
                    <a:pt x="74" y="107"/>
                    <a:pt x="74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5" y="106"/>
                    <a:pt x="65" y="10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59" y="107"/>
                    <a:pt x="59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0" y="106"/>
                    <a:pt x="50" y="106"/>
                  </a:cubicBezTo>
                  <a:cubicBezTo>
                    <a:pt x="50" y="95"/>
                    <a:pt x="50" y="95"/>
                    <a:pt x="50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4" y="107"/>
                    <a:pt x="44" y="107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7"/>
                    <a:pt x="35" y="106"/>
                    <a:pt x="35" y="106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30" y="106"/>
                    <a:pt x="29" y="107"/>
                    <a:pt x="29" y="107"/>
                  </a:cubicBezTo>
                  <a:cubicBezTo>
                    <a:pt x="21" y="107"/>
                    <a:pt x="21" y="107"/>
                    <a:pt x="21" y="107"/>
                  </a:cubicBezTo>
                  <a:cubicBezTo>
                    <a:pt x="20" y="107"/>
                    <a:pt x="20" y="106"/>
                    <a:pt x="20" y="106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7"/>
                    <a:pt x="13" y="107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6" y="107"/>
                    <a:pt x="5" y="106"/>
                    <a:pt x="5" y="10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5"/>
                    <a:pt x="6" y="55"/>
                    <a:pt x="6" y="55"/>
                  </a:cubicBezTo>
                  <a:cubicBezTo>
                    <a:pt x="6" y="55"/>
                    <a:pt x="7" y="55"/>
                    <a:pt x="7" y="55"/>
                  </a:cubicBezTo>
                  <a:lnTo>
                    <a:pt x="27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02282EBE-6A84-45D3-AE69-43E9714738CB}"/>
              </a:ext>
            </a:extLst>
          </p:cNvPr>
          <p:cNvGrpSpPr/>
          <p:nvPr/>
        </p:nvGrpSpPr>
        <p:grpSpPr>
          <a:xfrm>
            <a:off x="8016875" y="2839818"/>
            <a:ext cx="758825" cy="758825"/>
            <a:chOff x="8016875" y="2870200"/>
            <a:chExt cx="758825" cy="758825"/>
          </a:xfrm>
        </p:grpSpPr>
        <p:sp>
          <p:nvSpPr>
            <p:cNvPr id="199" name="AutoShape 152">
              <a:extLst>
                <a:ext uri="{FF2B5EF4-FFF2-40B4-BE49-F238E27FC236}">
                  <a16:creationId xmlns:a16="http://schemas.microsoft.com/office/drawing/2014/main" id="{93C8859C-A82F-4A0A-A0A0-B816D545ED0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16875" y="287020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154">
              <a:extLst>
                <a:ext uri="{FF2B5EF4-FFF2-40B4-BE49-F238E27FC236}">
                  <a16:creationId xmlns:a16="http://schemas.microsoft.com/office/drawing/2014/main" id="{BE03347B-1BBE-4370-8E9B-5CB31F6112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0050" y="287337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55">
              <a:extLst>
                <a:ext uri="{FF2B5EF4-FFF2-40B4-BE49-F238E27FC236}">
                  <a16:creationId xmlns:a16="http://schemas.microsoft.com/office/drawing/2014/main" id="{D61D833B-CF72-4351-80A6-54775DC46D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0888" y="3149600"/>
              <a:ext cx="53975" cy="238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156">
              <a:extLst>
                <a:ext uri="{FF2B5EF4-FFF2-40B4-BE49-F238E27FC236}">
                  <a16:creationId xmlns:a16="http://schemas.microsoft.com/office/drawing/2014/main" id="{0841C7DE-218B-4CD3-AC25-917103655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1350" y="3149600"/>
              <a:ext cx="58738" cy="238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57">
              <a:extLst>
                <a:ext uri="{FF2B5EF4-FFF2-40B4-BE49-F238E27FC236}">
                  <a16:creationId xmlns:a16="http://schemas.microsoft.com/office/drawing/2014/main" id="{45FB828F-B6A6-41FA-BAB9-98257B01CE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3563" y="3036888"/>
              <a:ext cx="428625" cy="396875"/>
            </a:xfrm>
            <a:custGeom>
              <a:avLst/>
              <a:gdLst>
                <a:gd name="T0" fmla="*/ 55 w 110"/>
                <a:gd name="T1" fmla="*/ 0 h 102"/>
                <a:gd name="T2" fmla="*/ 0 w 110"/>
                <a:gd name="T3" fmla="*/ 20 h 102"/>
                <a:gd name="T4" fmla="*/ 0 w 110"/>
                <a:gd name="T5" fmla="*/ 102 h 102"/>
                <a:gd name="T6" fmla="*/ 110 w 110"/>
                <a:gd name="T7" fmla="*/ 102 h 102"/>
                <a:gd name="T8" fmla="*/ 110 w 110"/>
                <a:gd name="T9" fmla="*/ 20 h 102"/>
                <a:gd name="T10" fmla="*/ 55 w 110"/>
                <a:gd name="T11" fmla="*/ 0 h 102"/>
                <a:gd name="T12" fmla="*/ 80 w 110"/>
                <a:gd name="T13" fmla="*/ 95 h 102"/>
                <a:gd name="T14" fmla="*/ 78 w 110"/>
                <a:gd name="T15" fmla="*/ 97 h 102"/>
                <a:gd name="T16" fmla="*/ 32 w 110"/>
                <a:gd name="T17" fmla="*/ 97 h 102"/>
                <a:gd name="T18" fmla="*/ 30 w 110"/>
                <a:gd name="T19" fmla="*/ 95 h 102"/>
                <a:gd name="T20" fmla="*/ 30 w 110"/>
                <a:gd name="T21" fmla="*/ 75 h 102"/>
                <a:gd name="T22" fmla="*/ 32 w 110"/>
                <a:gd name="T23" fmla="*/ 74 h 102"/>
                <a:gd name="T24" fmla="*/ 78 w 110"/>
                <a:gd name="T25" fmla="*/ 74 h 102"/>
                <a:gd name="T26" fmla="*/ 80 w 110"/>
                <a:gd name="T27" fmla="*/ 75 h 102"/>
                <a:gd name="T28" fmla="*/ 80 w 110"/>
                <a:gd name="T29" fmla="*/ 95 h 102"/>
                <a:gd name="T30" fmla="*/ 80 w 110"/>
                <a:gd name="T31" fmla="*/ 69 h 102"/>
                <a:gd name="T32" fmla="*/ 78 w 110"/>
                <a:gd name="T33" fmla="*/ 71 h 102"/>
                <a:gd name="T34" fmla="*/ 32 w 110"/>
                <a:gd name="T35" fmla="*/ 71 h 102"/>
                <a:gd name="T36" fmla="*/ 30 w 110"/>
                <a:gd name="T37" fmla="*/ 69 h 102"/>
                <a:gd name="T38" fmla="*/ 30 w 110"/>
                <a:gd name="T39" fmla="*/ 64 h 102"/>
                <a:gd name="T40" fmla="*/ 32 w 110"/>
                <a:gd name="T41" fmla="*/ 63 h 102"/>
                <a:gd name="T42" fmla="*/ 78 w 110"/>
                <a:gd name="T43" fmla="*/ 63 h 102"/>
                <a:gd name="T44" fmla="*/ 80 w 110"/>
                <a:gd name="T45" fmla="*/ 64 h 102"/>
                <a:gd name="T46" fmla="*/ 80 w 110"/>
                <a:gd name="T47" fmla="*/ 69 h 102"/>
                <a:gd name="T48" fmla="*/ 80 w 110"/>
                <a:gd name="T49" fmla="*/ 58 h 102"/>
                <a:gd name="T50" fmla="*/ 78 w 110"/>
                <a:gd name="T51" fmla="*/ 59 h 102"/>
                <a:gd name="T52" fmla="*/ 32 w 110"/>
                <a:gd name="T53" fmla="*/ 59 h 102"/>
                <a:gd name="T54" fmla="*/ 30 w 110"/>
                <a:gd name="T55" fmla="*/ 58 h 102"/>
                <a:gd name="T56" fmla="*/ 30 w 110"/>
                <a:gd name="T57" fmla="*/ 52 h 102"/>
                <a:gd name="T58" fmla="*/ 32 w 110"/>
                <a:gd name="T59" fmla="*/ 51 h 102"/>
                <a:gd name="T60" fmla="*/ 78 w 110"/>
                <a:gd name="T61" fmla="*/ 51 h 102"/>
                <a:gd name="T62" fmla="*/ 80 w 110"/>
                <a:gd name="T63" fmla="*/ 52 h 102"/>
                <a:gd name="T64" fmla="*/ 80 w 110"/>
                <a:gd name="T65" fmla="*/ 58 h 102"/>
                <a:gd name="T66" fmla="*/ 105 w 110"/>
                <a:gd name="T67" fmla="*/ 95 h 102"/>
                <a:gd name="T68" fmla="*/ 104 w 110"/>
                <a:gd name="T69" fmla="*/ 97 h 102"/>
                <a:gd name="T70" fmla="*/ 86 w 110"/>
                <a:gd name="T71" fmla="*/ 97 h 102"/>
                <a:gd name="T72" fmla="*/ 85 w 110"/>
                <a:gd name="T73" fmla="*/ 95 h 102"/>
                <a:gd name="T74" fmla="*/ 85 w 110"/>
                <a:gd name="T75" fmla="*/ 46 h 102"/>
                <a:gd name="T76" fmla="*/ 25 w 110"/>
                <a:gd name="T77" fmla="*/ 46 h 102"/>
                <a:gd name="T78" fmla="*/ 25 w 110"/>
                <a:gd name="T79" fmla="*/ 95 h 102"/>
                <a:gd name="T80" fmla="*/ 24 w 110"/>
                <a:gd name="T81" fmla="*/ 97 h 102"/>
                <a:gd name="T82" fmla="*/ 6 w 110"/>
                <a:gd name="T83" fmla="*/ 97 h 102"/>
                <a:gd name="T84" fmla="*/ 5 w 110"/>
                <a:gd name="T85" fmla="*/ 95 h 102"/>
                <a:gd name="T86" fmla="*/ 5 w 110"/>
                <a:gd name="T87" fmla="*/ 25 h 102"/>
                <a:gd name="T88" fmla="*/ 6 w 110"/>
                <a:gd name="T89" fmla="*/ 23 h 102"/>
                <a:gd name="T90" fmla="*/ 55 w 110"/>
                <a:gd name="T91" fmla="*/ 6 h 102"/>
                <a:gd name="T92" fmla="*/ 55 w 110"/>
                <a:gd name="T93" fmla="*/ 6 h 102"/>
                <a:gd name="T94" fmla="*/ 104 w 110"/>
                <a:gd name="T95" fmla="*/ 23 h 102"/>
                <a:gd name="T96" fmla="*/ 105 w 110"/>
                <a:gd name="T97" fmla="*/ 25 h 102"/>
                <a:gd name="T98" fmla="*/ 105 w 110"/>
                <a:gd name="T99" fmla="*/ 9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" h="102">
                  <a:moveTo>
                    <a:pt x="55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0" y="20"/>
                    <a:pt x="110" y="20"/>
                    <a:pt x="110" y="20"/>
                  </a:cubicBezTo>
                  <a:lnTo>
                    <a:pt x="55" y="0"/>
                  </a:lnTo>
                  <a:close/>
                  <a:moveTo>
                    <a:pt x="80" y="95"/>
                  </a:moveTo>
                  <a:cubicBezTo>
                    <a:pt x="80" y="96"/>
                    <a:pt x="79" y="97"/>
                    <a:pt x="78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1" y="97"/>
                    <a:pt x="30" y="96"/>
                    <a:pt x="30" y="9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1" y="74"/>
                    <a:pt x="32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9" y="74"/>
                    <a:pt x="80" y="75"/>
                    <a:pt x="80" y="75"/>
                  </a:cubicBezTo>
                  <a:lnTo>
                    <a:pt x="80" y="95"/>
                  </a:lnTo>
                  <a:close/>
                  <a:moveTo>
                    <a:pt x="80" y="69"/>
                  </a:moveTo>
                  <a:cubicBezTo>
                    <a:pt x="80" y="70"/>
                    <a:pt x="79" y="71"/>
                    <a:pt x="78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1" y="71"/>
                    <a:pt x="30" y="70"/>
                    <a:pt x="30" y="69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3"/>
                    <a:pt x="31" y="63"/>
                    <a:pt x="32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80" y="63"/>
                    <a:pt x="80" y="64"/>
                  </a:cubicBezTo>
                  <a:lnTo>
                    <a:pt x="80" y="69"/>
                  </a:lnTo>
                  <a:close/>
                  <a:moveTo>
                    <a:pt x="80" y="58"/>
                  </a:moveTo>
                  <a:cubicBezTo>
                    <a:pt x="80" y="59"/>
                    <a:pt x="79" y="59"/>
                    <a:pt x="78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1" y="59"/>
                    <a:pt x="30" y="59"/>
                    <a:pt x="30" y="58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1" y="51"/>
                    <a:pt x="32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80" y="52"/>
                    <a:pt x="80" y="52"/>
                  </a:cubicBezTo>
                  <a:lnTo>
                    <a:pt x="80" y="58"/>
                  </a:lnTo>
                  <a:close/>
                  <a:moveTo>
                    <a:pt x="105" y="95"/>
                  </a:moveTo>
                  <a:cubicBezTo>
                    <a:pt x="105" y="96"/>
                    <a:pt x="104" y="97"/>
                    <a:pt x="104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7"/>
                    <a:pt x="85" y="96"/>
                    <a:pt x="85" y="95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5" y="96"/>
                    <a:pt x="24" y="97"/>
                    <a:pt x="24" y="97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5" y="96"/>
                    <a:pt x="5" y="9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4"/>
                    <a:pt x="5" y="24"/>
                    <a:pt x="6" y="23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5" y="24"/>
                    <a:pt x="105" y="24"/>
                    <a:pt x="105" y="25"/>
                  </a:cubicBezTo>
                  <a:lnTo>
                    <a:pt x="105" y="9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58">
              <a:extLst>
                <a:ext uri="{FF2B5EF4-FFF2-40B4-BE49-F238E27FC236}">
                  <a16:creationId xmlns:a16="http://schemas.microsoft.com/office/drawing/2014/main" id="{42C316A1-5A8D-47DD-B4FC-7C35DCBB8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5663" y="3149600"/>
              <a:ext cx="58738" cy="238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771900E1-765C-4427-BC9F-01C39AE9FCBD}"/>
              </a:ext>
            </a:extLst>
          </p:cNvPr>
          <p:cNvGrpSpPr/>
          <p:nvPr/>
        </p:nvGrpSpPr>
        <p:grpSpPr>
          <a:xfrm>
            <a:off x="1403350" y="4188619"/>
            <a:ext cx="758825" cy="758825"/>
            <a:chOff x="1403350" y="4171950"/>
            <a:chExt cx="758825" cy="758825"/>
          </a:xfrm>
        </p:grpSpPr>
        <p:sp>
          <p:nvSpPr>
            <p:cNvPr id="209" name="AutoShape 160">
              <a:extLst>
                <a:ext uri="{FF2B5EF4-FFF2-40B4-BE49-F238E27FC236}">
                  <a16:creationId xmlns:a16="http://schemas.microsoft.com/office/drawing/2014/main" id="{66560DEB-B769-4933-9DFC-8911AD6A67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03350" y="417195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62">
              <a:extLst>
                <a:ext uri="{FF2B5EF4-FFF2-40B4-BE49-F238E27FC236}">
                  <a16:creationId xmlns:a16="http://schemas.microsoft.com/office/drawing/2014/main" id="{BFAC4898-6E80-43E5-87BB-ABECF37EF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6525" y="417512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63">
              <a:extLst>
                <a:ext uri="{FF2B5EF4-FFF2-40B4-BE49-F238E27FC236}">
                  <a16:creationId xmlns:a16="http://schemas.microsoft.com/office/drawing/2014/main" id="{4DAF7F43-EAB2-4A31-99F3-9CEB9146A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2250" y="4335463"/>
              <a:ext cx="584200" cy="404813"/>
            </a:xfrm>
            <a:custGeom>
              <a:avLst/>
              <a:gdLst>
                <a:gd name="T0" fmla="*/ 89 w 368"/>
                <a:gd name="T1" fmla="*/ 206 h 255"/>
                <a:gd name="T2" fmla="*/ 101 w 368"/>
                <a:gd name="T3" fmla="*/ 172 h 255"/>
                <a:gd name="T4" fmla="*/ 101 w 368"/>
                <a:gd name="T5" fmla="*/ 206 h 255"/>
                <a:gd name="T6" fmla="*/ 89 w 368"/>
                <a:gd name="T7" fmla="*/ 130 h 255"/>
                <a:gd name="T8" fmla="*/ 71 w 368"/>
                <a:gd name="T9" fmla="*/ 130 h 255"/>
                <a:gd name="T10" fmla="*/ 120 w 368"/>
                <a:gd name="T11" fmla="*/ 162 h 255"/>
                <a:gd name="T12" fmla="*/ 125 w 368"/>
                <a:gd name="T13" fmla="*/ 118 h 255"/>
                <a:gd name="T14" fmla="*/ 59 w 368"/>
                <a:gd name="T15" fmla="*/ 123 h 255"/>
                <a:gd name="T16" fmla="*/ 64 w 368"/>
                <a:gd name="T17" fmla="*/ 216 h 255"/>
                <a:gd name="T18" fmla="*/ 130 w 368"/>
                <a:gd name="T19" fmla="*/ 211 h 255"/>
                <a:gd name="T20" fmla="*/ 125 w 368"/>
                <a:gd name="T21" fmla="*/ 118 h 255"/>
                <a:gd name="T22" fmla="*/ 179 w 368"/>
                <a:gd name="T23" fmla="*/ 206 h 255"/>
                <a:gd name="T24" fmla="*/ 192 w 368"/>
                <a:gd name="T25" fmla="*/ 172 h 255"/>
                <a:gd name="T26" fmla="*/ 192 w 368"/>
                <a:gd name="T27" fmla="*/ 206 h 255"/>
                <a:gd name="T28" fmla="*/ 179 w 368"/>
                <a:gd name="T29" fmla="*/ 130 h 255"/>
                <a:gd name="T30" fmla="*/ 160 w 368"/>
                <a:gd name="T31" fmla="*/ 130 h 255"/>
                <a:gd name="T32" fmla="*/ 209 w 368"/>
                <a:gd name="T33" fmla="*/ 162 h 255"/>
                <a:gd name="T34" fmla="*/ 216 w 368"/>
                <a:gd name="T35" fmla="*/ 118 h 255"/>
                <a:gd name="T36" fmla="*/ 147 w 368"/>
                <a:gd name="T37" fmla="*/ 123 h 255"/>
                <a:gd name="T38" fmla="*/ 155 w 368"/>
                <a:gd name="T39" fmla="*/ 216 h 255"/>
                <a:gd name="T40" fmla="*/ 221 w 368"/>
                <a:gd name="T41" fmla="*/ 211 h 255"/>
                <a:gd name="T42" fmla="*/ 216 w 368"/>
                <a:gd name="T43" fmla="*/ 118 h 255"/>
                <a:gd name="T44" fmla="*/ 268 w 368"/>
                <a:gd name="T45" fmla="*/ 206 h 255"/>
                <a:gd name="T46" fmla="*/ 280 w 368"/>
                <a:gd name="T47" fmla="*/ 172 h 255"/>
                <a:gd name="T48" fmla="*/ 280 w 368"/>
                <a:gd name="T49" fmla="*/ 206 h 255"/>
                <a:gd name="T50" fmla="*/ 268 w 368"/>
                <a:gd name="T51" fmla="*/ 130 h 255"/>
                <a:gd name="T52" fmla="*/ 250 w 368"/>
                <a:gd name="T53" fmla="*/ 130 h 255"/>
                <a:gd name="T54" fmla="*/ 299 w 368"/>
                <a:gd name="T55" fmla="*/ 162 h 255"/>
                <a:gd name="T56" fmla="*/ 304 w 368"/>
                <a:gd name="T57" fmla="*/ 118 h 255"/>
                <a:gd name="T58" fmla="*/ 241 w 368"/>
                <a:gd name="T59" fmla="*/ 123 h 255"/>
                <a:gd name="T60" fmla="*/ 246 w 368"/>
                <a:gd name="T61" fmla="*/ 216 h 255"/>
                <a:gd name="T62" fmla="*/ 312 w 368"/>
                <a:gd name="T63" fmla="*/ 211 h 255"/>
                <a:gd name="T64" fmla="*/ 304 w 368"/>
                <a:gd name="T65" fmla="*/ 118 h 255"/>
                <a:gd name="T66" fmla="*/ 334 w 368"/>
                <a:gd name="T67" fmla="*/ 245 h 255"/>
                <a:gd name="T68" fmla="*/ 64 w 368"/>
                <a:gd name="T69" fmla="*/ 42 h 255"/>
                <a:gd name="T70" fmla="*/ 25 w 368"/>
                <a:gd name="T71" fmla="*/ 88 h 255"/>
                <a:gd name="T72" fmla="*/ 138 w 368"/>
                <a:gd name="T73" fmla="*/ 10 h 255"/>
                <a:gd name="T74" fmla="*/ 120 w 368"/>
                <a:gd name="T75" fmla="*/ 10 h 255"/>
                <a:gd name="T76" fmla="*/ 250 w 368"/>
                <a:gd name="T77" fmla="*/ 29 h 255"/>
                <a:gd name="T78" fmla="*/ 221 w 368"/>
                <a:gd name="T79" fmla="*/ 0 h 255"/>
                <a:gd name="T80" fmla="*/ 147 w 368"/>
                <a:gd name="T81" fmla="*/ 29 h 255"/>
                <a:gd name="T82" fmla="*/ 108 w 368"/>
                <a:gd name="T83" fmla="*/ 0 h 255"/>
                <a:gd name="T84" fmla="*/ 62 w 368"/>
                <a:gd name="T85" fmla="*/ 29 h 255"/>
                <a:gd name="T86" fmla="*/ 8 w 368"/>
                <a:gd name="T87" fmla="*/ 91 h 255"/>
                <a:gd name="T88" fmla="*/ 25 w 368"/>
                <a:gd name="T89" fmla="*/ 100 h 255"/>
                <a:gd name="T90" fmla="*/ 30 w 368"/>
                <a:gd name="T91" fmla="*/ 255 h 255"/>
                <a:gd name="T92" fmla="*/ 344 w 368"/>
                <a:gd name="T93" fmla="*/ 250 h 255"/>
                <a:gd name="T94" fmla="*/ 368 w 368"/>
                <a:gd name="T95" fmla="*/ 100 h 255"/>
                <a:gd name="T96" fmla="*/ 312 w 368"/>
                <a:gd name="T97" fmla="*/ 29 h 255"/>
                <a:gd name="T98" fmla="*/ 260 w 368"/>
                <a:gd name="T99" fmla="*/ 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8" h="255">
                  <a:moveTo>
                    <a:pt x="71" y="172"/>
                  </a:moveTo>
                  <a:lnTo>
                    <a:pt x="89" y="172"/>
                  </a:lnTo>
                  <a:lnTo>
                    <a:pt x="89" y="206"/>
                  </a:lnTo>
                  <a:lnTo>
                    <a:pt x="71" y="206"/>
                  </a:lnTo>
                  <a:lnTo>
                    <a:pt x="71" y="172"/>
                  </a:lnTo>
                  <a:close/>
                  <a:moveTo>
                    <a:pt x="101" y="172"/>
                  </a:moveTo>
                  <a:lnTo>
                    <a:pt x="120" y="172"/>
                  </a:lnTo>
                  <a:lnTo>
                    <a:pt x="120" y="206"/>
                  </a:lnTo>
                  <a:lnTo>
                    <a:pt x="101" y="206"/>
                  </a:lnTo>
                  <a:lnTo>
                    <a:pt x="101" y="172"/>
                  </a:lnTo>
                  <a:close/>
                  <a:moveTo>
                    <a:pt x="71" y="130"/>
                  </a:moveTo>
                  <a:lnTo>
                    <a:pt x="89" y="130"/>
                  </a:lnTo>
                  <a:lnTo>
                    <a:pt x="89" y="162"/>
                  </a:lnTo>
                  <a:lnTo>
                    <a:pt x="71" y="162"/>
                  </a:lnTo>
                  <a:lnTo>
                    <a:pt x="71" y="130"/>
                  </a:lnTo>
                  <a:close/>
                  <a:moveTo>
                    <a:pt x="101" y="130"/>
                  </a:moveTo>
                  <a:lnTo>
                    <a:pt x="120" y="130"/>
                  </a:lnTo>
                  <a:lnTo>
                    <a:pt x="120" y="162"/>
                  </a:lnTo>
                  <a:lnTo>
                    <a:pt x="101" y="162"/>
                  </a:lnTo>
                  <a:lnTo>
                    <a:pt x="101" y="130"/>
                  </a:lnTo>
                  <a:close/>
                  <a:moveTo>
                    <a:pt x="125" y="118"/>
                  </a:moveTo>
                  <a:lnTo>
                    <a:pt x="64" y="118"/>
                  </a:lnTo>
                  <a:lnTo>
                    <a:pt x="59" y="118"/>
                  </a:lnTo>
                  <a:lnTo>
                    <a:pt x="59" y="123"/>
                  </a:lnTo>
                  <a:lnTo>
                    <a:pt x="59" y="211"/>
                  </a:lnTo>
                  <a:lnTo>
                    <a:pt x="59" y="216"/>
                  </a:lnTo>
                  <a:lnTo>
                    <a:pt x="64" y="216"/>
                  </a:lnTo>
                  <a:lnTo>
                    <a:pt x="125" y="216"/>
                  </a:lnTo>
                  <a:lnTo>
                    <a:pt x="130" y="216"/>
                  </a:lnTo>
                  <a:lnTo>
                    <a:pt x="130" y="211"/>
                  </a:lnTo>
                  <a:lnTo>
                    <a:pt x="130" y="123"/>
                  </a:lnTo>
                  <a:lnTo>
                    <a:pt x="130" y="118"/>
                  </a:lnTo>
                  <a:lnTo>
                    <a:pt x="125" y="118"/>
                  </a:lnTo>
                  <a:close/>
                  <a:moveTo>
                    <a:pt x="160" y="172"/>
                  </a:moveTo>
                  <a:lnTo>
                    <a:pt x="179" y="172"/>
                  </a:lnTo>
                  <a:lnTo>
                    <a:pt x="179" y="206"/>
                  </a:lnTo>
                  <a:lnTo>
                    <a:pt x="160" y="206"/>
                  </a:lnTo>
                  <a:lnTo>
                    <a:pt x="160" y="172"/>
                  </a:lnTo>
                  <a:close/>
                  <a:moveTo>
                    <a:pt x="192" y="172"/>
                  </a:moveTo>
                  <a:lnTo>
                    <a:pt x="209" y="172"/>
                  </a:lnTo>
                  <a:lnTo>
                    <a:pt x="209" y="206"/>
                  </a:lnTo>
                  <a:lnTo>
                    <a:pt x="192" y="206"/>
                  </a:lnTo>
                  <a:lnTo>
                    <a:pt x="192" y="172"/>
                  </a:lnTo>
                  <a:close/>
                  <a:moveTo>
                    <a:pt x="160" y="130"/>
                  </a:moveTo>
                  <a:lnTo>
                    <a:pt x="179" y="130"/>
                  </a:lnTo>
                  <a:lnTo>
                    <a:pt x="179" y="162"/>
                  </a:lnTo>
                  <a:lnTo>
                    <a:pt x="160" y="162"/>
                  </a:lnTo>
                  <a:lnTo>
                    <a:pt x="160" y="130"/>
                  </a:lnTo>
                  <a:close/>
                  <a:moveTo>
                    <a:pt x="192" y="130"/>
                  </a:moveTo>
                  <a:lnTo>
                    <a:pt x="209" y="130"/>
                  </a:lnTo>
                  <a:lnTo>
                    <a:pt x="209" y="162"/>
                  </a:lnTo>
                  <a:lnTo>
                    <a:pt x="192" y="162"/>
                  </a:lnTo>
                  <a:lnTo>
                    <a:pt x="192" y="130"/>
                  </a:lnTo>
                  <a:close/>
                  <a:moveTo>
                    <a:pt x="216" y="118"/>
                  </a:moveTo>
                  <a:lnTo>
                    <a:pt x="155" y="118"/>
                  </a:lnTo>
                  <a:lnTo>
                    <a:pt x="147" y="118"/>
                  </a:lnTo>
                  <a:lnTo>
                    <a:pt x="147" y="123"/>
                  </a:lnTo>
                  <a:lnTo>
                    <a:pt x="147" y="211"/>
                  </a:lnTo>
                  <a:lnTo>
                    <a:pt x="147" y="216"/>
                  </a:lnTo>
                  <a:lnTo>
                    <a:pt x="155" y="216"/>
                  </a:lnTo>
                  <a:lnTo>
                    <a:pt x="216" y="216"/>
                  </a:lnTo>
                  <a:lnTo>
                    <a:pt x="221" y="216"/>
                  </a:lnTo>
                  <a:lnTo>
                    <a:pt x="221" y="211"/>
                  </a:lnTo>
                  <a:lnTo>
                    <a:pt x="221" y="123"/>
                  </a:lnTo>
                  <a:lnTo>
                    <a:pt x="221" y="118"/>
                  </a:lnTo>
                  <a:lnTo>
                    <a:pt x="216" y="118"/>
                  </a:lnTo>
                  <a:close/>
                  <a:moveTo>
                    <a:pt x="250" y="172"/>
                  </a:moveTo>
                  <a:lnTo>
                    <a:pt x="268" y="172"/>
                  </a:lnTo>
                  <a:lnTo>
                    <a:pt x="268" y="206"/>
                  </a:lnTo>
                  <a:lnTo>
                    <a:pt x="250" y="206"/>
                  </a:lnTo>
                  <a:lnTo>
                    <a:pt x="250" y="172"/>
                  </a:lnTo>
                  <a:close/>
                  <a:moveTo>
                    <a:pt x="280" y="172"/>
                  </a:moveTo>
                  <a:lnTo>
                    <a:pt x="299" y="172"/>
                  </a:lnTo>
                  <a:lnTo>
                    <a:pt x="299" y="206"/>
                  </a:lnTo>
                  <a:lnTo>
                    <a:pt x="280" y="206"/>
                  </a:lnTo>
                  <a:lnTo>
                    <a:pt x="280" y="172"/>
                  </a:lnTo>
                  <a:close/>
                  <a:moveTo>
                    <a:pt x="250" y="130"/>
                  </a:moveTo>
                  <a:lnTo>
                    <a:pt x="268" y="130"/>
                  </a:lnTo>
                  <a:lnTo>
                    <a:pt x="268" y="162"/>
                  </a:lnTo>
                  <a:lnTo>
                    <a:pt x="250" y="162"/>
                  </a:lnTo>
                  <a:lnTo>
                    <a:pt x="250" y="130"/>
                  </a:lnTo>
                  <a:close/>
                  <a:moveTo>
                    <a:pt x="280" y="130"/>
                  </a:moveTo>
                  <a:lnTo>
                    <a:pt x="299" y="130"/>
                  </a:lnTo>
                  <a:lnTo>
                    <a:pt x="299" y="162"/>
                  </a:lnTo>
                  <a:lnTo>
                    <a:pt x="280" y="162"/>
                  </a:lnTo>
                  <a:lnTo>
                    <a:pt x="280" y="130"/>
                  </a:lnTo>
                  <a:close/>
                  <a:moveTo>
                    <a:pt x="304" y="118"/>
                  </a:moveTo>
                  <a:lnTo>
                    <a:pt x="246" y="118"/>
                  </a:lnTo>
                  <a:lnTo>
                    <a:pt x="241" y="118"/>
                  </a:lnTo>
                  <a:lnTo>
                    <a:pt x="241" y="123"/>
                  </a:lnTo>
                  <a:lnTo>
                    <a:pt x="241" y="211"/>
                  </a:lnTo>
                  <a:lnTo>
                    <a:pt x="241" y="216"/>
                  </a:lnTo>
                  <a:lnTo>
                    <a:pt x="246" y="216"/>
                  </a:lnTo>
                  <a:lnTo>
                    <a:pt x="304" y="216"/>
                  </a:lnTo>
                  <a:lnTo>
                    <a:pt x="312" y="216"/>
                  </a:lnTo>
                  <a:lnTo>
                    <a:pt x="312" y="211"/>
                  </a:lnTo>
                  <a:lnTo>
                    <a:pt x="312" y="123"/>
                  </a:lnTo>
                  <a:lnTo>
                    <a:pt x="312" y="118"/>
                  </a:lnTo>
                  <a:lnTo>
                    <a:pt x="304" y="118"/>
                  </a:lnTo>
                  <a:close/>
                  <a:moveTo>
                    <a:pt x="35" y="100"/>
                  </a:moveTo>
                  <a:lnTo>
                    <a:pt x="334" y="100"/>
                  </a:lnTo>
                  <a:lnTo>
                    <a:pt x="334" y="245"/>
                  </a:lnTo>
                  <a:lnTo>
                    <a:pt x="35" y="245"/>
                  </a:lnTo>
                  <a:lnTo>
                    <a:pt x="35" y="100"/>
                  </a:lnTo>
                  <a:close/>
                  <a:moveTo>
                    <a:pt x="64" y="42"/>
                  </a:moveTo>
                  <a:lnTo>
                    <a:pt x="307" y="42"/>
                  </a:lnTo>
                  <a:lnTo>
                    <a:pt x="346" y="88"/>
                  </a:lnTo>
                  <a:lnTo>
                    <a:pt x="25" y="88"/>
                  </a:lnTo>
                  <a:lnTo>
                    <a:pt x="64" y="42"/>
                  </a:lnTo>
                  <a:close/>
                  <a:moveTo>
                    <a:pt x="120" y="10"/>
                  </a:moveTo>
                  <a:lnTo>
                    <a:pt x="138" y="10"/>
                  </a:lnTo>
                  <a:lnTo>
                    <a:pt x="138" y="29"/>
                  </a:lnTo>
                  <a:lnTo>
                    <a:pt x="120" y="29"/>
                  </a:lnTo>
                  <a:lnTo>
                    <a:pt x="120" y="10"/>
                  </a:lnTo>
                  <a:close/>
                  <a:moveTo>
                    <a:pt x="231" y="10"/>
                  </a:moveTo>
                  <a:lnTo>
                    <a:pt x="250" y="10"/>
                  </a:lnTo>
                  <a:lnTo>
                    <a:pt x="250" y="29"/>
                  </a:lnTo>
                  <a:lnTo>
                    <a:pt x="231" y="29"/>
                  </a:lnTo>
                  <a:lnTo>
                    <a:pt x="231" y="10"/>
                  </a:lnTo>
                  <a:close/>
                  <a:moveTo>
                    <a:pt x="221" y="0"/>
                  </a:moveTo>
                  <a:lnTo>
                    <a:pt x="221" y="5"/>
                  </a:lnTo>
                  <a:lnTo>
                    <a:pt x="221" y="29"/>
                  </a:lnTo>
                  <a:lnTo>
                    <a:pt x="147" y="29"/>
                  </a:lnTo>
                  <a:lnTo>
                    <a:pt x="147" y="5"/>
                  </a:lnTo>
                  <a:lnTo>
                    <a:pt x="147" y="0"/>
                  </a:lnTo>
                  <a:lnTo>
                    <a:pt x="108" y="0"/>
                  </a:lnTo>
                  <a:lnTo>
                    <a:pt x="108" y="5"/>
                  </a:lnTo>
                  <a:lnTo>
                    <a:pt x="108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7" y="32"/>
                  </a:lnTo>
                  <a:lnTo>
                    <a:pt x="8" y="91"/>
                  </a:lnTo>
                  <a:lnTo>
                    <a:pt x="0" y="100"/>
                  </a:lnTo>
                  <a:lnTo>
                    <a:pt x="13" y="100"/>
                  </a:lnTo>
                  <a:lnTo>
                    <a:pt x="25" y="100"/>
                  </a:lnTo>
                  <a:lnTo>
                    <a:pt x="25" y="250"/>
                  </a:lnTo>
                  <a:lnTo>
                    <a:pt x="25" y="255"/>
                  </a:lnTo>
                  <a:lnTo>
                    <a:pt x="30" y="255"/>
                  </a:lnTo>
                  <a:lnTo>
                    <a:pt x="341" y="255"/>
                  </a:lnTo>
                  <a:lnTo>
                    <a:pt x="344" y="255"/>
                  </a:lnTo>
                  <a:lnTo>
                    <a:pt x="344" y="250"/>
                  </a:lnTo>
                  <a:lnTo>
                    <a:pt x="344" y="100"/>
                  </a:lnTo>
                  <a:lnTo>
                    <a:pt x="358" y="100"/>
                  </a:lnTo>
                  <a:lnTo>
                    <a:pt x="368" y="100"/>
                  </a:lnTo>
                  <a:lnTo>
                    <a:pt x="361" y="91"/>
                  </a:lnTo>
                  <a:lnTo>
                    <a:pt x="314" y="32"/>
                  </a:lnTo>
                  <a:lnTo>
                    <a:pt x="312" y="29"/>
                  </a:lnTo>
                  <a:lnTo>
                    <a:pt x="309" y="29"/>
                  </a:lnTo>
                  <a:lnTo>
                    <a:pt x="260" y="29"/>
                  </a:lnTo>
                  <a:lnTo>
                    <a:pt x="260" y="5"/>
                  </a:lnTo>
                  <a:lnTo>
                    <a:pt x="260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64">
              <a:extLst>
                <a:ext uri="{FF2B5EF4-FFF2-40B4-BE49-F238E27FC236}">
                  <a16:creationId xmlns:a16="http://schemas.microsoft.com/office/drawing/2014/main" id="{F2850ABD-34E8-441D-B93F-2920360D89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2250" y="4335463"/>
              <a:ext cx="584200" cy="404813"/>
            </a:xfrm>
            <a:custGeom>
              <a:avLst/>
              <a:gdLst>
                <a:gd name="T0" fmla="*/ 89 w 368"/>
                <a:gd name="T1" fmla="*/ 206 h 255"/>
                <a:gd name="T2" fmla="*/ 101 w 368"/>
                <a:gd name="T3" fmla="*/ 172 h 255"/>
                <a:gd name="T4" fmla="*/ 101 w 368"/>
                <a:gd name="T5" fmla="*/ 206 h 255"/>
                <a:gd name="T6" fmla="*/ 89 w 368"/>
                <a:gd name="T7" fmla="*/ 130 h 255"/>
                <a:gd name="T8" fmla="*/ 71 w 368"/>
                <a:gd name="T9" fmla="*/ 130 h 255"/>
                <a:gd name="T10" fmla="*/ 120 w 368"/>
                <a:gd name="T11" fmla="*/ 162 h 255"/>
                <a:gd name="T12" fmla="*/ 125 w 368"/>
                <a:gd name="T13" fmla="*/ 118 h 255"/>
                <a:gd name="T14" fmla="*/ 59 w 368"/>
                <a:gd name="T15" fmla="*/ 123 h 255"/>
                <a:gd name="T16" fmla="*/ 64 w 368"/>
                <a:gd name="T17" fmla="*/ 216 h 255"/>
                <a:gd name="T18" fmla="*/ 130 w 368"/>
                <a:gd name="T19" fmla="*/ 211 h 255"/>
                <a:gd name="T20" fmla="*/ 125 w 368"/>
                <a:gd name="T21" fmla="*/ 118 h 255"/>
                <a:gd name="T22" fmla="*/ 179 w 368"/>
                <a:gd name="T23" fmla="*/ 206 h 255"/>
                <a:gd name="T24" fmla="*/ 192 w 368"/>
                <a:gd name="T25" fmla="*/ 172 h 255"/>
                <a:gd name="T26" fmla="*/ 192 w 368"/>
                <a:gd name="T27" fmla="*/ 206 h 255"/>
                <a:gd name="T28" fmla="*/ 179 w 368"/>
                <a:gd name="T29" fmla="*/ 130 h 255"/>
                <a:gd name="T30" fmla="*/ 160 w 368"/>
                <a:gd name="T31" fmla="*/ 130 h 255"/>
                <a:gd name="T32" fmla="*/ 209 w 368"/>
                <a:gd name="T33" fmla="*/ 162 h 255"/>
                <a:gd name="T34" fmla="*/ 216 w 368"/>
                <a:gd name="T35" fmla="*/ 118 h 255"/>
                <a:gd name="T36" fmla="*/ 147 w 368"/>
                <a:gd name="T37" fmla="*/ 123 h 255"/>
                <a:gd name="T38" fmla="*/ 155 w 368"/>
                <a:gd name="T39" fmla="*/ 216 h 255"/>
                <a:gd name="T40" fmla="*/ 221 w 368"/>
                <a:gd name="T41" fmla="*/ 211 h 255"/>
                <a:gd name="T42" fmla="*/ 216 w 368"/>
                <a:gd name="T43" fmla="*/ 118 h 255"/>
                <a:gd name="T44" fmla="*/ 268 w 368"/>
                <a:gd name="T45" fmla="*/ 206 h 255"/>
                <a:gd name="T46" fmla="*/ 280 w 368"/>
                <a:gd name="T47" fmla="*/ 172 h 255"/>
                <a:gd name="T48" fmla="*/ 280 w 368"/>
                <a:gd name="T49" fmla="*/ 206 h 255"/>
                <a:gd name="T50" fmla="*/ 268 w 368"/>
                <a:gd name="T51" fmla="*/ 130 h 255"/>
                <a:gd name="T52" fmla="*/ 250 w 368"/>
                <a:gd name="T53" fmla="*/ 130 h 255"/>
                <a:gd name="T54" fmla="*/ 299 w 368"/>
                <a:gd name="T55" fmla="*/ 162 h 255"/>
                <a:gd name="T56" fmla="*/ 304 w 368"/>
                <a:gd name="T57" fmla="*/ 118 h 255"/>
                <a:gd name="T58" fmla="*/ 241 w 368"/>
                <a:gd name="T59" fmla="*/ 123 h 255"/>
                <a:gd name="T60" fmla="*/ 246 w 368"/>
                <a:gd name="T61" fmla="*/ 216 h 255"/>
                <a:gd name="T62" fmla="*/ 312 w 368"/>
                <a:gd name="T63" fmla="*/ 211 h 255"/>
                <a:gd name="T64" fmla="*/ 304 w 368"/>
                <a:gd name="T65" fmla="*/ 118 h 255"/>
                <a:gd name="T66" fmla="*/ 334 w 368"/>
                <a:gd name="T67" fmla="*/ 245 h 255"/>
                <a:gd name="T68" fmla="*/ 64 w 368"/>
                <a:gd name="T69" fmla="*/ 42 h 255"/>
                <a:gd name="T70" fmla="*/ 25 w 368"/>
                <a:gd name="T71" fmla="*/ 88 h 255"/>
                <a:gd name="T72" fmla="*/ 138 w 368"/>
                <a:gd name="T73" fmla="*/ 10 h 255"/>
                <a:gd name="T74" fmla="*/ 120 w 368"/>
                <a:gd name="T75" fmla="*/ 10 h 255"/>
                <a:gd name="T76" fmla="*/ 250 w 368"/>
                <a:gd name="T77" fmla="*/ 29 h 255"/>
                <a:gd name="T78" fmla="*/ 221 w 368"/>
                <a:gd name="T79" fmla="*/ 0 h 255"/>
                <a:gd name="T80" fmla="*/ 147 w 368"/>
                <a:gd name="T81" fmla="*/ 29 h 255"/>
                <a:gd name="T82" fmla="*/ 108 w 368"/>
                <a:gd name="T83" fmla="*/ 0 h 255"/>
                <a:gd name="T84" fmla="*/ 62 w 368"/>
                <a:gd name="T85" fmla="*/ 29 h 255"/>
                <a:gd name="T86" fmla="*/ 8 w 368"/>
                <a:gd name="T87" fmla="*/ 91 h 255"/>
                <a:gd name="T88" fmla="*/ 25 w 368"/>
                <a:gd name="T89" fmla="*/ 100 h 255"/>
                <a:gd name="T90" fmla="*/ 30 w 368"/>
                <a:gd name="T91" fmla="*/ 255 h 255"/>
                <a:gd name="T92" fmla="*/ 344 w 368"/>
                <a:gd name="T93" fmla="*/ 250 h 255"/>
                <a:gd name="T94" fmla="*/ 368 w 368"/>
                <a:gd name="T95" fmla="*/ 100 h 255"/>
                <a:gd name="T96" fmla="*/ 312 w 368"/>
                <a:gd name="T97" fmla="*/ 29 h 255"/>
                <a:gd name="T98" fmla="*/ 260 w 368"/>
                <a:gd name="T99" fmla="*/ 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8" h="255">
                  <a:moveTo>
                    <a:pt x="71" y="172"/>
                  </a:moveTo>
                  <a:lnTo>
                    <a:pt x="89" y="172"/>
                  </a:lnTo>
                  <a:lnTo>
                    <a:pt x="89" y="206"/>
                  </a:lnTo>
                  <a:lnTo>
                    <a:pt x="71" y="206"/>
                  </a:lnTo>
                  <a:lnTo>
                    <a:pt x="71" y="172"/>
                  </a:lnTo>
                  <a:close/>
                  <a:moveTo>
                    <a:pt x="101" y="172"/>
                  </a:moveTo>
                  <a:lnTo>
                    <a:pt x="120" y="172"/>
                  </a:lnTo>
                  <a:lnTo>
                    <a:pt x="120" y="206"/>
                  </a:lnTo>
                  <a:lnTo>
                    <a:pt x="101" y="206"/>
                  </a:lnTo>
                  <a:lnTo>
                    <a:pt x="101" y="172"/>
                  </a:lnTo>
                  <a:close/>
                  <a:moveTo>
                    <a:pt x="71" y="130"/>
                  </a:moveTo>
                  <a:lnTo>
                    <a:pt x="89" y="130"/>
                  </a:lnTo>
                  <a:lnTo>
                    <a:pt x="89" y="162"/>
                  </a:lnTo>
                  <a:lnTo>
                    <a:pt x="71" y="162"/>
                  </a:lnTo>
                  <a:lnTo>
                    <a:pt x="71" y="130"/>
                  </a:lnTo>
                  <a:close/>
                  <a:moveTo>
                    <a:pt x="101" y="130"/>
                  </a:moveTo>
                  <a:lnTo>
                    <a:pt x="120" y="130"/>
                  </a:lnTo>
                  <a:lnTo>
                    <a:pt x="120" y="162"/>
                  </a:lnTo>
                  <a:lnTo>
                    <a:pt x="101" y="162"/>
                  </a:lnTo>
                  <a:lnTo>
                    <a:pt x="101" y="130"/>
                  </a:lnTo>
                  <a:close/>
                  <a:moveTo>
                    <a:pt x="125" y="118"/>
                  </a:moveTo>
                  <a:lnTo>
                    <a:pt x="64" y="118"/>
                  </a:lnTo>
                  <a:lnTo>
                    <a:pt x="59" y="118"/>
                  </a:lnTo>
                  <a:lnTo>
                    <a:pt x="59" y="123"/>
                  </a:lnTo>
                  <a:lnTo>
                    <a:pt x="59" y="211"/>
                  </a:lnTo>
                  <a:lnTo>
                    <a:pt x="59" y="216"/>
                  </a:lnTo>
                  <a:lnTo>
                    <a:pt x="64" y="216"/>
                  </a:lnTo>
                  <a:lnTo>
                    <a:pt x="125" y="216"/>
                  </a:lnTo>
                  <a:lnTo>
                    <a:pt x="130" y="216"/>
                  </a:lnTo>
                  <a:lnTo>
                    <a:pt x="130" y="211"/>
                  </a:lnTo>
                  <a:lnTo>
                    <a:pt x="130" y="123"/>
                  </a:lnTo>
                  <a:lnTo>
                    <a:pt x="130" y="118"/>
                  </a:lnTo>
                  <a:lnTo>
                    <a:pt x="125" y="118"/>
                  </a:lnTo>
                  <a:close/>
                  <a:moveTo>
                    <a:pt x="160" y="172"/>
                  </a:moveTo>
                  <a:lnTo>
                    <a:pt x="179" y="172"/>
                  </a:lnTo>
                  <a:lnTo>
                    <a:pt x="179" y="206"/>
                  </a:lnTo>
                  <a:lnTo>
                    <a:pt x="160" y="206"/>
                  </a:lnTo>
                  <a:lnTo>
                    <a:pt x="160" y="172"/>
                  </a:lnTo>
                  <a:close/>
                  <a:moveTo>
                    <a:pt x="192" y="172"/>
                  </a:moveTo>
                  <a:lnTo>
                    <a:pt x="209" y="172"/>
                  </a:lnTo>
                  <a:lnTo>
                    <a:pt x="209" y="206"/>
                  </a:lnTo>
                  <a:lnTo>
                    <a:pt x="192" y="206"/>
                  </a:lnTo>
                  <a:lnTo>
                    <a:pt x="192" y="172"/>
                  </a:lnTo>
                  <a:close/>
                  <a:moveTo>
                    <a:pt x="160" y="130"/>
                  </a:moveTo>
                  <a:lnTo>
                    <a:pt x="179" y="130"/>
                  </a:lnTo>
                  <a:lnTo>
                    <a:pt x="179" y="162"/>
                  </a:lnTo>
                  <a:lnTo>
                    <a:pt x="160" y="162"/>
                  </a:lnTo>
                  <a:lnTo>
                    <a:pt x="160" y="130"/>
                  </a:lnTo>
                  <a:close/>
                  <a:moveTo>
                    <a:pt x="192" y="130"/>
                  </a:moveTo>
                  <a:lnTo>
                    <a:pt x="209" y="130"/>
                  </a:lnTo>
                  <a:lnTo>
                    <a:pt x="209" y="162"/>
                  </a:lnTo>
                  <a:lnTo>
                    <a:pt x="192" y="162"/>
                  </a:lnTo>
                  <a:lnTo>
                    <a:pt x="192" y="130"/>
                  </a:lnTo>
                  <a:close/>
                  <a:moveTo>
                    <a:pt x="216" y="118"/>
                  </a:moveTo>
                  <a:lnTo>
                    <a:pt x="155" y="118"/>
                  </a:lnTo>
                  <a:lnTo>
                    <a:pt x="147" y="118"/>
                  </a:lnTo>
                  <a:lnTo>
                    <a:pt x="147" y="123"/>
                  </a:lnTo>
                  <a:lnTo>
                    <a:pt x="147" y="211"/>
                  </a:lnTo>
                  <a:lnTo>
                    <a:pt x="147" y="216"/>
                  </a:lnTo>
                  <a:lnTo>
                    <a:pt x="155" y="216"/>
                  </a:lnTo>
                  <a:lnTo>
                    <a:pt x="216" y="216"/>
                  </a:lnTo>
                  <a:lnTo>
                    <a:pt x="221" y="216"/>
                  </a:lnTo>
                  <a:lnTo>
                    <a:pt x="221" y="211"/>
                  </a:lnTo>
                  <a:lnTo>
                    <a:pt x="221" y="123"/>
                  </a:lnTo>
                  <a:lnTo>
                    <a:pt x="221" y="118"/>
                  </a:lnTo>
                  <a:lnTo>
                    <a:pt x="216" y="118"/>
                  </a:lnTo>
                  <a:close/>
                  <a:moveTo>
                    <a:pt x="250" y="172"/>
                  </a:moveTo>
                  <a:lnTo>
                    <a:pt x="268" y="172"/>
                  </a:lnTo>
                  <a:lnTo>
                    <a:pt x="268" y="206"/>
                  </a:lnTo>
                  <a:lnTo>
                    <a:pt x="250" y="206"/>
                  </a:lnTo>
                  <a:lnTo>
                    <a:pt x="250" y="172"/>
                  </a:lnTo>
                  <a:close/>
                  <a:moveTo>
                    <a:pt x="280" y="172"/>
                  </a:moveTo>
                  <a:lnTo>
                    <a:pt x="299" y="172"/>
                  </a:lnTo>
                  <a:lnTo>
                    <a:pt x="299" y="206"/>
                  </a:lnTo>
                  <a:lnTo>
                    <a:pt x="280" y="206"/>
                  </a:lnTo>
                  <a:lnTo>
                    <a:pt x="280" y="172"/>
                  </a:lnTo>
                  <a:close/>
                  <a:moveTo>
                    <a:pt x="250" y="130"/>
                  </a:moveTo>
                  <a:lnTo>
                    <a:pt x="268" y="130"/>
                  </a:lnTo>
                  <a:lnTo>
                    <a:pt x="268" y="162"/>
                  </a:lnTo>
                  <a:lnTo>
                    <a:pt x="250" y="162"/>
                  </a:lnTo>
                  <a:lnTo>
                    <a:pt x="250" y="130"/>
                  </a:lnTo>
                  <a:close/>
                  <a:moveTo>
                    <a:pt x="280" y="130"/>
                  </a:moveTo>
                  <a:lnTo>
                    <a:pt x="299" y="130"/>
                  </a:lnTo>
                  <a:lnTo>
                    <a:pt x="299" y="162"/>
                  </a:lnTo>
                  <a:lnTo>
                    <a:pt x="280" y="162"/>
                  </a:lnTo>
                  <a:lnTo>
                    <a:pt x="280" y="130"/>
                  </a:lnTo>
                  <a:close/>
                  <a:moveTo>
                    <a:pt x="304" y="118"/>
                  </a:moveTo>
                  <a:lnTo>
                    <a:pt x="246" y="118"/>
                  </a:lnTo>
                  <a:lnTo>
                    <a:pt x="241" y="118"/>
                  </a:lnTo>
                  <a:lnTo>
                    <a:pt x="241" y="123"/>
                  </a:lnTo>
                  <a:lnTo>
                    <a:pt x="241" y="211"/>
                  </a:lnTo>
                  <a:lnTo>
                    <a:pt x="241" y="216"/>
                  </a:lnTo>
                  <a:lnTo>
                    <a:pt x="246" y="216"/>
                  </a:lnTo>
                  <a:lnTo>
                    <a:pt x="304" y="216"/>
                  </a:lnTo>
                  <a:lnTo>
                    <a:pt x="312" y="216"/>
                  </a:lnTo>
                  <a:lnTo>
                    <a:pt x="312" y="211"/>
                  </a:lnTo>
                  <a:lnTo>
                    <a:pt x="312" y="123"/>
                  </a:lnTo>
                  <a:lnTo>
                    <a:pt x="312" y="118"/>
                  </a:lnTo>
                  <a:lnTo>
                    <a:pt x="304" y="118"/>
                  </a:lnTo>
                  <a:close/>
                  <a:moveTo>
                    <a:pt x="35" y="100"/>
                  </a:moveTo>
                  <a:lnTo>
                    <a:pt x="334" y="100"/>
                  </a:lnTo>
                  <a:lnTo>
                    <a:pt x="334" y="245"/>
                  </a:lnTo>
                  <a:lnTo>
                    <a:pt x="35" y="245"/>
                  </a:lnTo>
                  <a:lnTo>
                    <a:pt x="35" y="100"/>
                  </a:lnTo>
                  <a:close/>
                  <a:moveTo>
                    <a:pt x="64" y="42"/>
                  </a:moveTo>
                  <a:lnTo>
                    <a:pt x="307" y="42"/>
                  </a:lnTo>
                  <a:lnTo>
                    <a:pt x="346" y="88"/>
                  </a:lnTo>
                  <a:lnTo>
                    <a:pt x="25" y="88"/>
                  </a:lnTo>
                  <a:lnTo>
                    <a:pt x="64" y="42"/>
                  </a:lnTo>
                  <a:close/>
                  <a:moveTo>
                    <a:pt x="120" y="10"/>
                  </a:moveTo>
                  <a:lnTo>
                    <a:pt x="138" y="10"/>
                  </a:lnTo>
                  <a:lnTo>
                    <a:pt x="138" y="29"/>
                  </a:lnTo>
                  <a:lnTo>
                    <a:pt x="120" y="29"/>
                  </a:lnTo>
                  <a:lnTo>
                    <a:pt x="120" y="10"/>
                  </a:lnTo>
                  <a:close/>
                  <a:moveTo>
                    <a:pt x="231" y="10"/>
                  </a:moveTo>
                  <a:lnTo>
                    <a:pt x="250" y="10"/>
                  </a:lnTo>
                  <a:lnTo>
                    <a:pt x="250" y="29"/>
                  </a:lnTo>
                  <a:lnTo>
                    <a:pt x="231" y="29"/>
                  </a:lnTo>
                  <a:lnTo>
                    <a:pt x="231" y="10"/>
                  </a:lnTo>
                  <a:close/>
                  <a:moveTo>
                    <a:pt x="221" y="0"/>
                  </a:moveTo>
                  <a:lnTo>
                    <a:pt x="221" y="5"/>
                  </a:lnTo>
                  <a:lnTo>
                    <a:pt x="221" y="29"/>
                  </a:lnTo>
                  <a:lnTo>
                    <a:pt x="147" y="29"/>
                  </a:lnTo>
                  <a:lnTo>
                    <a:pt x="147" y="5"/>
                  </a:lnTo>
                  <a:lnTo>
                    <a:pt x="147" y="0"/>
                  </a:lnTo>
                  <a:lnTo>
                    <a:pt x="108" y="0"/>
                  </a:lnTo>
                  <a:lnTo>
                    <a:pt x="108" y="5"/>
                  </a:lnTo>
                  <a:lnTo>
                    <a:pt x="108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7" y="32"/>
                  </a:lnTo>
                  <a:lnTo>
                    <a:pt x="8" y="91"/>
                  </a:lnTo>
                  <a:lnTo>
                    <a:pt x="0" y="100"/>
                  </a:lnTo>
                  <a:lnTo>
                    <a:pt x="13" y="100"/>
                  </a:lnTo>
                  <a:lnTo>
                    <a:pt x="25" y="100"/>
                  </a:lnTo>
                  <a:lnTo>
                    <a:pt x="25" y="250"/>
                  </a:lnTo>
                  <a:lnTo>
                    <a:pt x="25" y="255"/>
                  </a:lnTo>
                  <a:lnTo>
                    <a:pt x="30" y="255"/>
                  </a:lnTo>
                  <a:lnTo>
                    <a:pt x="341" y="255"/>
                  </a:lnTo>
                  <a:lnTo>
                    <a:pt x="344" y="255"/>
                  </a:lnTo>
                  <a:lnTo>
                    <a:pt x="344" y="250"/>
                  </a:lnTo>
                  <a:lnTo>
                    <a:pt x="344" y="100"/>
                  </a:lnTo>
                  <a:lnTo>
                    <a:pt x="358" y="100"/>
                  </a:lnTo>
                  <a:lnTo>
                    <a:pt x="368" y="100"/>
                  </a:lnTo>
                  <a:lnTo>
                    <a:pt x="361" y="91"/>
                  </a:lnTo>
                  <a:lnTo>
                    <a:pt x="314" y="32"/>
                  </a:lnTo>
                  <a:lnTo>
                    <a:pt x="312" y="29"/>
                  </a:lnTo>
                  <a:lnTo>
                    <a:pt x="309" y="29"/>
                  </a:lnTo>
                  <a:lnTo>
                    <a:pt x="260" y="29"/>
                  </a:lnTo>
                  <a:lnTo>
                    <a:pt x="260" y="5"/>
                  </a:lnTo>
                  <a:lnTo>
                    <a:pt x="260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E4CA6493-829E-4DA8-8A48-AB9AA87E0796}"/>
              </a:ext>
            </a:extLst>
          </p:cNvPr>
          <p:cNvGrpSpPr/>
          <p:nvPr/>
        </p:nvGrpSpPr>
        <p:grpSpPr>
          <a:xfrm>
            <a:off x="7004050" y="2796955"/>
            <a:ext cx="844550" cy="844550"/>
            <a:chOff x="7004050" y="2794000"/>
            <a:chExt cx="844550" cy="844550"/>
          </a:xfrm>
        </p:grpSpPr>
        <p:sp>
          <p:nvSpPr>
            <p:cNvPr id="217" name="AutoShape 166">
              <a:extLst>
                <a:ext uri="{FF2B5EF4-FFF2-40B4-BE49-F238E27FC236}">
                  <a16:creationId xmlns:a16="http://schemas.microsoft.com/office/drawing/2014/main" id="{1FB0BB2E-C10E-41E3-884D-C09391B356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04050" y="27940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Oval 168">
              <a:extLst>
                <a:ext uri="{FF2B5EF4-FFF2-40B4-BE49-F238E27FC236}">
                  <a16:creationId xmlns:a16="http://schemas.microsoft.com/office/drawing/2014/main" id="{33ECB21E-A9D5-4D26-9721-56C1F22E69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4050" y="279400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69">
              <a:extLst>
                <a:ext uri="{FF2B5EF4-FFF2-40B4-BE49-F238E27FC236}">
                  <a16:creationId xmlns:a16="http://schemas.microsoft.com/office/drawing/2014/main" id="{DE63B685-EC15-4AA3-9D0D-36A39E256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625" y="282257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Rectangle 170">
              <a:extLst>
                <a:ext uri="{FF2B5EF4-FFF2-40B4-BE49-F238E27FC236}">
                  <a16:creationId xmlns:a16="http://schemas.microsoft.com/office/drawing/2014/main" id="{E939B7DD-A844-4092-8202-60A1D6026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7750" y="3111500"/>
              <a:ext cx="57150" cy="23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171">
              <a:extLst>
                <a:ext uri="{FF2B5EF4-FFF2-40B4-BE49-F238E27FC236}">
                  <a16:creationId xmlns:a16="http://schemas.microsoft.com/office/drawing/2014/main" id="{6966D68B-B5CF-43D7-B19F-BA4C69D71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5038" y="3111500"/>
              <a:ext cx="60325" cy="23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72">
              <a:extLst>
                <a:ext uri="{FF2B5EF4-FFF2-40B4-BE49-F238E27FC236}">
                  <a16:creationId xmlns:a16="http://schemas.microsoft.com/office/drawing/2014/main" id="{5EBBA2C4-F2FA-430E-98FE-2B75EA51CB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2488" y="2992438"/>
              <a:ext cx="447675" cy="415925"/>
            </a:xfrm>
            <a:custGeom>
              <a:avLst/>
              <a:gdLst>
                <a:gd name="T0" fmla="*/ 55 w 110"/>
                <a:gd name="T1" fmla="*/ 0 h 102"/>
                <a:gd name="T2" fmla="*/ 0 w 110"/>
                <a:gd name="T3" fmla="*/ 20 h 102"/>
                <a:gd name="T4" fmla="*/ 0 w 110"/>
                <a:gd name="T5" fmla="*/ 102 h 102"/>
                <a:gd name="T6" fmla="*/ 110 w 110"/>
                <a:gd name="T7" fmla="*/ 102 h 102"/>
                <a:gd name="T8" fmla="*/ 110 w 110"/>
                <a:gd name="T9" fmla="*/ 20 h 102"/>
                <a:gd name="T10" fmla="*/ 55 w 110"/>
                <a:gd name="T11" fmla="*/ 0 h 102"/>
                <a:gd name="T12" fmla="*/ 80 w 110"/>
                <a:gd name="T13" fmla="*/ 95 h 102"/>
                <a:gd name="T14" fmla="*/ 78 w 110"/>
                <a:gd name="T15" fmla="*/ 97 h 102"/>
                <a:gd name="T16" fmla="*/ 32 w 110"/>
                <a:gd name="T17" fmla="*/ 97 h 102"/>
                <a:gd name="T18" fmla="*/ 30 w 110"/>
                <a:gd name="T19" fmla="*/ 95 h 102"/>
                <a:gd name="T20" fmla="*/ 30 w 110"/>
                <a:gd name="T21" fmla="*/ 75 h 102"/>
                <a:gd name="T22" fmla="*/ 32 w 110"/>
                <a:gd name="T23" fmla="*/ 74 h 102"/>
                <a:gd name="T24" fmla="*/ 78 w 110"/>
                <a:gd name="T25" fmla="*/ 74 h 102"/>
                <a:gd name="T26" fmla="*/ 80 w 110"/>
                <a:gd name="T27" fmla="*/ 75 h 102"/>
                <a:gd name="T28" fmla="*/ 80 w 110"/>
                <a:gd name="T29" fmla="*/ 95 h 102"/>
                <a:gd name="T30" fmla="*/ 80 w 110"/>
                <a:gd name="T31" fmla="*/ 69 h 102"/>
                <a:gd name="T32" fmla="*/ 78 w 110"/>
                <a:gd name="T33" fmla="*/ 71 h 102"/>
                <a:gd name="T34" fmla="*/ 32 w 110"/>
                <a:gd name="T35" fmla="*/ 71 h 102"/>
                <a:gd name="T36" fmla="*/ 30 w 110"/>
                <a:gd name="T37" fmla="*/ 69 h 102"/>
                <a:gd name="T38" fmla="*/ 30 w 110"/>
                <a:gd name="T39" fmla="*/ 64 h 102"/>
                <a:gd name="T40" fmla="*/ 32 w 110"/>
                <a:gd name="T41" fmla="*/ 63 h 102"/>
                <a:gd name="T42" fmla="*/ 78 w 110"/>
                <a:gd name="T43" fmla="*/ 63 h 102"/>
                <a:gd name="T44" fmla="*/ 80 w 110"/>
                <a:gd name="T45" fmla="*/ 64 h 102"/>
                <a:gd name="T46" fmla="*/ 80 w 110"/>
                <a:gd name="T47" fmla="*/ 69 h 102"/>
                <a:gd name="T48" fmla="*/ 80 w 110"/>
                <a:gd name="T49" fmla="*/ 58 h 102"/>
                <a:gd name="T50" fmla="*/ 78 w 110"/>
                <a:gd name="T51" fmla="*/ 59 h 102"/>
                <a:gd name="T52" fmla="*/ 32 w 110"/>
                <a:gd name="T53" fmla="*/ 59 h 102"/>
                <a:gd name="T54" fmla="*/ 30 w 110"/>
                <a:gd name="T55" fmla="*/ 58 h 102"/>
                <a:gd name="T56" fmla="*/ 30 w 110"/>
                <a:gd name="T57" fmla="*/ 52 h 102"/>
                <a:gd name="T58" fmla="*/ 32 w 110"/>
                <a:gd name="T59" fmla="*/ 51 h 102"/>
                <a:gd name="T60" fmla="*/ 78 w 110"/>
                <a:gd name="T61" fmla="*/ 51 h 102"/>
                <a:gd name="T62" fmla="*/ 80 w 110"/>
                <a:gd name="T63" fmla="*/ 52 h 102"/>
                <a:gd name="T64" fmla="*/ 80 w 110"/>
                <a:gd name="T65" fmla="*/ 58 h 102"/>
                <a:gd name="T66" fmla="*/ 105 w 110"/>
                <a:gd name="T67" fmla="*/ 95 h 102"/>
                <a:gd name="T68" fmla="*/ 104 w 110"/>
                <a:gd name="T69" fmla="*/ 97 h 102"/>
                <a:gd name="T70" fmla="*/ 86 w 110"/>
                <a:gd name="T71" fmla="*/ 97 h 102"/>
                <a:gd name="T72" fmla="*/ 85 w 110"/>
                <a:gd name="T73" fmla="*/ 95 h 102"/>
                <a:gd name="T74" fmla="*/ 85 w 110"/>
                <a:gd name="T75" fmla="*/ 46 h 102"/>
                <a:gd name="T76" fmla="*/ 25 w 110"/>
                <a:gd name="T77" fmla="*/ 46 h 102"/>
                <a:gd name="T78" fmla="*/ 25 w 110"/>
                <a:gd name="T79" fmla="*/ 95 h 102"/>
                <a:gd name="T80" fmla="*/ 24 w 110"/>
                <a:gd name="T81" fmla="*/ 97 h 102"/>
                <a:gd name="T82" fmla="*/ 6 w 110"/>
                <a:gd name="T83" fmla="*/ 97 h 102"/>
                <a:gd name="T84" fmla="*/ 5 w 110"/>
                <a:gd name="T85" fmla="*/ 95 h 102"/>
                <a:gd name="T86" fmla="*/ 5 w 110"/>
                <a:gd name="T87" fmla="*/ 25 h 102"/>
                <a:gd name="T88" fmla="*/ 6 w 110"/>
                <a:gd name="T89" fmla="*/ 23 h 102"/>
                <a:gd name="T90" fmla="*/ 55 w 110"/>
                <a:gd name="T91" fmla="*/ 6 h 102"/>
                <a:gd name="T92" fmla="*/ 55 w 110"/>
                <a:gd name="T93" fmla="*/ 6 h 102"/>
                <a:gd name="T94" fmla="*/ 104 w 110"/>
                <a:gd name="T95" fmla="*/ 23 h 102"/>
                <a:gd name="T96" fmla="*/ 105 w 110"/>
                <a:gd name="T97" fmla="*/ 25 h 102"/>
                <a:gd name="T98" fmla="*/ 105 w 110"/>
                <a:gd name="T99" fmla="*/ 9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0" h="102">
                  <a:moveTo>
                    <a:pt x="55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0" y="20"/>
                    <a:pt x="110" y="20"/>
                    <a:pt x="110" y="20"/>
                  </a:cubicBezTo>
                  <a:lnTo>
                    <a:pt x="55" y="0"/>
                  </a:lnTo>
                  <a:close/>
                  <a:moveTo>
                    <a:pt x="80" y="95"/>
                  </a:moveTo>
                  <a:cubicBezTo>
                    <a:pt x="80" y="96"/>
                    <a:pt x="79" y="97"/>
                    <a:pt x="78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1" y="97"/>
                    <a:pt x="30" y="96"/>
                    <a:pt x="30" y="9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1" y="74"/>
                    <a:pt x="32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9" y="74"/>
                    <a:pt x="80" y="75"/>
                    <a:pt x="80" y="75"/>
                  </a:cubicBezTo>
                  <a:lnTo>
                    <a:pt x="80" y="95"/>
                  </a:lnTo>
                  <a:close/>
                  <a:moveTo>
                    <a:pt x="80" y="69"/>
                  </a:moveTo>
                  <a:cubicBezTo>
                    <a:pt x="80" y="70"/>
                    <a:pt x="79" y="71"/>
                    <a:pt x="78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1" y="71"/>
                    <a:pt x="30" y="70"/>
                    <a:pt x="30" y="69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3"/>
                    <a:pt x="31" y="63"/>
                    <a:pt x="32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80" y="63"/>
                    <a:pt x="80" y="64"/>
                  </a:cubicBezTo>
                  <a:lnTo>
                    <a:pt x="80" y="69"/>
                  </a:lnTo>
                  <a:close/>
                  <a:moveTo>
                    <a:pt x="80" y="58"/>
                  </a:moveTo>
                  <a:cubicBezTo>
                    <a:pt x="80" y="59"/>
                    <a:pt x="79" y="59"/>
                    <a:pt x="78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1" y="59"/>
                    <a:pt x="30" y="59"/>
                    <a:pt x="30" y="58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1" y="51"/>
                    <a:pt x="32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80" y="52"/>
                    <a:pt x="80" y="52"/>
                  </a:cubicBezTo>
                  <a:lnTo>
                    <a:pt x="80" y="58"/>
                  </a:lnTo>
                  <a:close/>
                  <a:moveTo>
                    <a:pt x="105" y="95"/>
                  </a:moveTo>
                  <a:cubicBezTo>
                    <a:pt x="105" y="96"/>
                    <a:pt x="104" y="97"/>
                    <a:pt x="104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7"/>
                    <a:pt x="85" y="96"/>
                    <a:pt x="85" y="95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5" y="96"/>
                    <a:pt x="24" y="97"/>
                    <a:pt x="24" y="97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5" y="96"/>
                    <a:pt x="5" y="9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4"/>
                    <a:pt x="5" y="24"/>
                    <a:pt x="6" y="23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5" y="24"/>
                    <a:pt x="105" y="24"/>
                    <a:pt x="105" y="25"/>
                  </a:cubicBezTo>
                  <a:lnTo>
                    <a:pt x="105" y="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173">
              <a:extLst>
                <a:ext uri="{FF2B5EF4-FFF2-40B4-BE49-F238E27FC236}">
                  <a16:creationId xmlns:a16="http://schemas.microsoft.com/office/drawing/2014/main" id="{B7D9966B-5F43-4C06-8581-B2F416ACAA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7288" y="3111500"/>
              <a:ext cx="61913" cy="23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B4919C47-01DA-415F-8F24-1C8B250B538D}"/>
              </a:ext>
            </a:extLst>
          </p:cNvPr>
          <p:cNvGrpSpPr/>
          <p:nvPr/>
        </p:nvGrpSpPr>
        <p:grpSpPr>
          <a:xfrm>
            <a:off x="363538" y="4145756"/>
            <a:ext cx="844550" cy="844550"/>
            <a:chOff x="363538" y="4124325"/>
            <a:chExt cx="844550" cy="844550"/>
          </a:xfrm>
        </p:grpSpPr>
        <p:sp>
          <p:nvSpPr>
            <p:cNvPr id="228" name="AutoShape 175">
              <a:extLst>
                <a:ext uri="{FF2B5EF4-FFF2-40B4-BE49-F238E27FC236}">
                  <a16:creationId xmlns:a16="http://schemas.microsoft.com/office/drawing/2014/main" id="{B4B248C5-A750-4DA4-AEF9-2EC119AE2A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538" y="4124325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Oval 177">
              <a:extLst>
                <a:ext uri="{FF2B5EF4-FFF2-40B4-BE49-F238E27FC236}">
                  <a16:creationId xmlns:a16="http://schemas.microsoft.com/office/drawing/2014/main" id="{7AEC5C9C-6A08-49D0-9AD6-F2E6DE333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8" y="4124325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78">
              <a:extLst>
                <a:ext uri="{FF2B5EF4-FFF2-40B4-BE49-F238E27FC236}">
                  <a16:creationId xmlns:a16="http://schemas.microsoft.com/office/drawing/2014/main" id="{E9616B5D-6907-4A99-924E-B1DFFE1CF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113" y="4152900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79">
              <a:extLst>
                <a:ext uri="{FF2B5EF4-FFF2-40B4-BE49-F238E27FC236}">
                  <a16:creationId xmlns:a16="http://schemas.microsoft.com/office/drawing/2014/main" id="{B49544CB-B0B3-4021-B8D7-6E5933AA9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013" y="4319588"/>
              <a:ext cx="609600" cy="422275"/>
            </a:xfrm>
            <a:custGeom>
              <a:avLst/>
              <a:gdLst>
                <a:gd name="T0" fmla="*/ 92 w 384"/>
                <a:gd name="T1" fmla="*/ 215 h 266"/>
                <a:gd name="T2" fmla="*/ 105 w 384"/>
                <a:gd name="T3" fmla="*/ 179 h 266"/>
                <a:gd name="T4" fmla="*/ 105 w 384"/>
                <a:gd name="T5" fmla="*/ 215 h 266"/>
                <a:gd name="T6" fmla="*/ 92 w 384"/>
                <a:gd name="T7" fmla="*/ 135 h 266"/>
                <a:gd name="T8" fmla="*/ 74 w 384"/>
                <a:gd name="T9" fmla="*/ 135 h 266"/>
                <a:gd name="T10" fmla="*/ 126 w 384"/>
                <a:gd name="T11" fmla="*/ 169 h 266"/>
                <a:gd name="T12" fmla="*/ 131 w 384"/>
                <a:gd name="T13" fmla="*/ 123 h 266"/>
                <a:gd name="T14" fmla="*/ 62 w 384"/>
                <a:gd name="T15" fmla="*/ 128 h 266"/>
                <a:gd name="T16" fmla="*/ 67 w 384"/>
                <a:gd name="T17" fmla="*/ 225 h 266"/>
                <a:gd name="T18" fmla="*/ 136 w 384"/>
                <a:gd name="T19" fmla="*/ 220 h 266"/>
                <a:gd name="T20" fmla="*/ 131 w 384"/>
                <a:gd name="T21" fmla="*/ 123 h 266"/>
                <a:gd name="T22" fmla="*/ 187 w 384"/>
                <a:gd name="T23" fmla="*/ 215 h 266"/>
                <a:gd name="T24" fmla="*/ 200 w 384"/>
                <a:gd name="T25" fmla="*/ 179 h 266"/>
                <a:gd name="T26" fmla="*/ 200 w 384"/>
                <a:gd name="T27" fmla="*/ 215 h 266"/>
                <a:gd name="T28" fmla="*/ 187 w 384"/>
                <a:gd name="T29" fmla="*/ 135 h 266"/>
                <a:gd name="T30" fmla="*/ 167 w 384"/>
                <a:gd name="T31" fmla="*/ 135 h 266"/>
                <a:gd name="T32" fmla="*/ 218 w 384"/>
                <a:gd name="T33" fmla="*/ 169 h 266"/>
                <a:gd name="T34" fmla="*/ 225 w 384"/>
                <a:gd name="T35" fmla="*/ 123 h 266"/>
                <a:gd name="T36" fmla="*/ 154 w 384"/>
                <a:gd name="T37" fmla="*/ 128 h 266"/>
                <a:gd name="T38" fmla="*/ 161 w 384"/>
                <a:gd name="T39" fmla="*/ 225 h 266"/>
                <a:gd name="T40" fmla="*/ 231 w 384"/>
                <a:gd name="T41" fmla="*/ 220 h 266"/>
                <a:gd name="T42" fmla="*/ 225 w 384"/>
                <a:gd name="T43" fmla="*/ 123 h 266"/>
                <a:gd name="T44" fmla="*/ 279 w 384"/>
                <a:gd name="T45" fmla="*/ 215 h 266"/>
                <a:gd name="T46" fmla="*/ 292 w 384"/>
                <a:gd name="T47" fmla="*/ 179 h 266"/>
                <a:gd name="T48" fmla="*/ 292 w 384"/>
                <a:gd name="T49" fmla="*/ 215 h 266"/>
                <a:gd name="T50" fmla="*/ 279 w 384"/>
                <a:gd name="T51" fmla="*/ 135 h 266"/>
                <a:gd name="T52" fmla="*/ 261 w 384"/>
                <a:gd name="T53" fmla="*/ 135 h 266"/>
                <a:gd name="T54" fmla="*/ 313 w 384"/>
                <a:gd name="T55" fmla="*/ 169 h 266"/>
                <a:gd name="T56" fmla="*/ 318 w 384"/>
                <a:gd name="T57" fmla="*/ 123 h 266"/>
                <a:gd name="T58" fmla="*/ 251 w 384"/>
                <a:gd name="T59" fmla="*/ 128 h 266"/>
                <a:gd name="T60" fmla="*/ 256 w 384"/>
                <a:gd name="T61" fmla="*/ 225 h 266"/>
                <a:gd name="T62" fmla="*/ 325 w 384"/>
                <a:gd name="T63" fmla="*/ 220 h 266"/>
                <a:gd name="T64" fmla="*/ 318 w 384"/>
                <a:gd name="T65" fmla="*/ 123 h 266"/>
                <a:gd name="T66" fmla="*/ 348 w 384"/>
                <a:gd name="T67" fmla="*/ 256 h 266"/>
                <a:gd name="T68" fmla="*/ 67 w 384"/>
                <a:gd name="T69" fmla="*/ 43 h 266"/>
                <a:gd name="T70" fmla="*/ 26 w 384"/>
                <a:gd name="T71" fmla="*/ 92 h 266"/>
                <a:gd name="T72" fmla="*/ 144 w 384"/>
                <a:gd name="T73" fmla="*/ 10 h 266"/>
                <a:gd name="T74" fmla="*/ 126 w 384"/>
                <a:gd name="T75" fmla="*/ 10 h 266"/>
                <a:gd name="T76" fmla="*/ 261 w 384"/>
                <a:gd name="T77" fmla="*/ 31 h 266"/>
                <a:gd name="T78" fmla="*/ 231 w 384"/>
                <a:gd name="T79" fmla="*/ 0 h 266"/>
                <a:gd name="T80" fmla="*/ 154 w 384"/>
                <a:gd name="T81" fmla="*/ 31 h 266"/>
                <a:gd name="T82" fmla="*/ 113 w 384"/>
                <a:gd name="T83" fmla="*/ 0 h 266"/>
                <a:gd name="T84" fmla="*/ 64 w 384"/>
                <a:gd name="T85" fmla="*/ 31 h 266"/>
                <a:gd name="T86" fmla="*/ 8 w 384"/>
                <a:gd name="T87" fmla="*/ 95 h 266"/>
                <a:gd name="T88" fmla="*/ 26 w 384"/>
                <a:gd name="T89" fmla="*/ 105 h 266"/>
                <a:gd name="T90" fmla="*/ 31 w 384"/>
                <a:gd name="T91" fmla="*/ 266 h 266"/>
                <a:gd name="T92" fmla="*/ 359 w 384"/>
                <a:gd name="T93" fmla="*/ 261 h 266"/>
                <a:gd name="T94" fmla="*/ 384 w 384"/>
                <a:gd name="T95" fmla="*/ 105 h 266"/>
                <a:gd name="T96" fmla="*/ 325 w 384"/>
                <a:gd name="T97" fmla="*/ 31 h 266"/>
                <a:gd name="T98" fmla="*/ 272 w 384"/>
                <a:gd name="T99" fmla="*/ 5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4" h="266">
                  <a:moveTo>
                    <a:pt x="74" y="179"/>
                  </a:moveTo>
                  <a:lnTo>
                    <a:pt x="92" y="179"/>
                  </a:lnTo>
                  <a:lnTo>
                    <a:pt x="92" y="215"/>
                  </a:lnTo>
                  <a:lnTo>
                    <a:pt x="74" y="215"/>
                  </a:lnTo>
                  <a:lnTo>
                    <a:pt x="74" y="179"/>
                  </a:lnTo>
                  <a:close/>
                  <a:moveTo>
                    <a:pt x="105" y="179"/>
                  </a:moveTo>
                  <a:lnTo>
                    <a:pt x="126" y="179"/>
                  </a:lnTo>
                  <a:lnTo>
                    <a:pt x="126" y="215"/>
                  </a:lnTo>
                  <a:lnTo>
                    <a:pt x="105" y="215"/>
                  </a:lnTo>
                  <a:lnTo>
                    <a:pt x="105" y="179"/>
                  </a:lnTo>
                  <a:close/>
                  <a:moveTo>
                    <a:pt x="74" y="135"/>
                  </a:moveTo>
                  <a:lnTo>
                    <a:pt x="92" y="135"/>
                  </a:lnTo>
                  <a:lnTo>
                    <a:pt x="92" y="169"/>
                  </a:lnTo>
                  <a:lnTo>
                    <a:pt x="74" y="169"/>
                  </a:lnTo>
                  <a:lnTo>
                    <a:pt x="74" y="135"/>
                  </a:lnTo>
                  <a:close/>
                  <a:moveTo>
                    <a:pt x="105" y="135"/>
                  </a:moveTo>
                  <a:lnTo>
                    <a:pt x="126" y="135"/>
                  </a:lnTo>
                  <a:lnTo>
                    <a:pt x="126" y="169"/>
                  </a:lnTo>
                  <a:lnTo>
                    <a:pt x="105" y="169"/>
                  </a:lnTo>
                  <a:lnTo>
                    <a:pt x="105" y="135"/>
                  </a:lnTo>
                  <a:close/>
                  <a:moveTo>
                    <a:pt x="131" y="123"/>
                  </a:moveTo>
                  <a:lnTo>
                    <a:pt x="67" y="123"/>
                  </a:lnTo>
                  <a:lnTo>
                    <a:pt x="62" y="123"/>
                  </a:lnTo>
                  <a:lnTo>
                    <a:pt x="62" y="128"/>
                  </a:lnTo>
                  <a:lnTo>
                    <a:pt x="62" y="220"/>
                  </a:lnTo>
                  <a:lnTo>
                    <a:pt x="62" y="225"/>
                  </a:lnTo>
                  <a:lnTo>
                    <a:pt x="67" y="225"/>
                  </a:lnTo>
                  <a:lnTo>
                    <a:pt x="131" y="225"/>
                  </a:lnTo>
                  <a:lnTo>
                    <a:pt x="136" y="225"/>
                  </a:lnTo>
                  <a:lnTo>
                    <a:pt x="136" y="220"/>
                  </a:lnTo>
                  <a:lnTo>
                    <a:pt x="136" y="128"/>
                  </a:lnTo>
                  <a:lnTo>
                    <a:pt x="136" y="123"/>
                  </a:lnTo>
                  <a:lnTo>
                    <a:pt x="131" y="123"/>
                  </a:lnTo>
                  <a:close/>
                  <a:moveTo>
                    <a:pt x="167" y="179"/>
                  </a:moveTo>
                  <a:lnTo>
                    <a:pt x="187" y="179"/>
                  </a:lnTo>
                  <a:lnTo>
                    <a:pt x="187" y="215"/>
                  </a:lnTo>
                  <a:lnTo>
                    <a:pt x="167" y="215"/>
                  </a:lnTo>
                  <a:lnTo>
                    <a:pt x="167" y="179"/>
                  </a:lnTo>
                  <a:close/>
                  <a:moveTo>
                    <a:pt x="200" y="179"/>
                  </a:moveTo>
                  <a:lnTo>
                    <a:pt x="218" y="179"/>
                  </a:lnTo>
                  <a:lnTo>
                    <a:pt x="218" y="215"/>
                  </a:lnTo>
                  <a:lnTo>
                    <a:pt x="200" y="215"/>
                  </a:lnTo>
                  <a:lnTo>
                    <a:pt x="200" y="179"/>
                  </a:lnTo>
                  <a:close/>
                  <a:moveTo>
                    <a:pt x="167" y="135"/>
                  </a:moveTo>
                  <a:lnTo>
                    <a:pt x="187" y="135"/>
                  </a:lnTo>
                  <a:lnTo>
                    <a:pt x="187" y="169"/>
                  </a:lnTo>
                  <a:lnTo>
                    <a:pt x="167" y="169"/>
                  </a:lnTo>
                  <a:lnTo>
                    <a:pt x="167" y="135"/>
                  </a:lnTo>
                  <a:close/>
                  <a:moveTo>
                    <a:pt x="200" y="135"/>
                  </a:moveTo>
                  <a:lnTo>
                    <a:pt x="218" y="135"/>
                  </a:lnTo>
                  <a:lnTo>
                    <a:pt x="218" y="169"/>
                  </a:lnTo>
                  <a:lnTo>
                    <a:pt x="200" y="169"/>
                  </a:lnTo>
                  <a:lnTo>
                    <a:pt x="200" y="135"/>
                  </a:lnTo>
                  <a:close/>
                  <a:moveTo>
                    <a:pt x="225" y="123"/>
                  </a:moveTo>
                  <a:lnTo>
                    <a:pt x="161" y="123"/>
                  </a:lnTo>
                  <a:lnTo>
                    <a:pt x="154" y="123"/>
                  </a:lnTo>
                  <a:lnTo>
                    <a:pt x="154" y="128"/>
                  </a:lnTo>
                  <a:lnTo>
                    <a:pt x="154" y="220"/>
                  </a:lnTo>
                  <a:lnTo>
                    <a:pt x="154" y="225"/>
                  </a:lnTo>
                  <a:lnTo>
                    <a:pt x="161" y="225"/>
                  </a:lnTo>
                  <a:lnTo>
                    <a:pt x="225" y="225"/>
                  </a:lnTo>
                  <a:lnTo>
                    <a:pt x="231" y="225"/>
                  </a:lnTo>
                  <a:lnTo>
                    <a:pt x="231" y="220"/>
                  </a:lnTo>
                  <a:lnTo>
                    <a:pt x="231" y="128"/>
                  </a:lnTo>
                  <a:lnTo>
                    <a:pt x="231" y="123"/>
                  </a:lnTo>
                  <a:lnTo>
                    <a:pt x="225" y="123"/>
                  </a:lnTo>
                  <a:close/>
                  <a:moveTo>
                    <a:pt x="261" y="179"/>
                  </a:moveTo>
                  <a:lnTo>
                    <a:pt x="279" y="179"/>
                  </a:lnTo>
                  <a:lnTo>
                    <a:pt x="279" y="215"/>
                  </a:lnTo>
                  <a:lnTo>
                    <a:pt x="261" y="215"/>
                  </a:lnTo>
                  <a:lnTo>
                    <a:pt x="261" y="179"/>
                  </a:lnTo>
                  <a:close/>
                  <a:moveTo>
                    <a:pt x="292" y="179"/>
                  </a:moveTo>
                  <a:lnTo>
                    <a:pt x="313" y="179"/>
                  </a:lnTo>
                  <a:lnTo>
                    <a:pt x="313" y="215"/>
                  </a:lnTo>
                  <a:lnTo>
                    <a:pt x="292" y="215"/>
                  </a:lnTo>
                  <a:lnTo>
                    <a:pt x="292" y="179"/>
                  </a:lnTo>
                  <a:close/>
                  <a:moveTo>
                    <a:pt x="261" y="135"/>
                  </a:moveTo>
                  <a:lnTo>
                    <a:pt x="279" y="135"/>
                  </a:lnTo>
                  <a:lnTo>
                    <a:pt x="279" y="169"/>
                  </a:lnTo>
                  <a:lnTo>
                    <a:pt x="261" y="169"/>
                  </a:lnTo>
                  <a:lnTo>
                    <a:pt x="261" y="135"/>
                  </a:lnTo>
                  <a:close/>
                  <a:moveTo>
                    <a:pt x="292" y="135"/>
                  </a:moveTo>
                  <a:lnTo>
                    <a:pt x="313" y="135"/>
                  </a:lnTo>
                  <a:lnTo>
                    <a:pt x="313" y="169"/>
                  </a:lnTo>
                  <a:lnTo>
                    <a:pt x="292" y="169"/>
                  </a:lnTo>
                  <a:lnTo>
                    <a:pt x="292" y="135"/>
                  </a:lnTo>
                  <a:close/>
                  <a:moveTo>
                    <a:pt x="318" y="123"/>
                  </a:moveTo>
                  <a:lnTo>
                    <a:pt x="256" y="123"/>
                  </a:lnTo>
                  <a:lnTo>
                    <a:pt x="251" y="123"/>
                  </a:lnTo>
                  <a:lnTo>
                    <a:pt x="251" y="128"/>
                  </a:lnTo>
                  <a:lnTo>
                    <a:pt x="251" y="220"/>
                  </a:lnTo>
                  <a:lnTo>
                    <a:pt x="251" y="225"/>
                  </a:lnTo>
                  <a:lnTo>
                    <a:pt x="256" y="225"/>
                  </a:lnTo>
                  <a:lnTo>
                    <a:pt x="318" y="225"/>
                  </a:lnTo>
                  <a:lnTo>
                    <a:pt x="325" y="225"/>
                  </a:lnTo>
                  <a:lnTo>
                    <a:pt x="325" y="220"/>
                  </a:lnTo>
                  <a:lnTo>
                    <a:pt x="325" y="128"/>
                  </a:lnTo>
                  <a:lnTo>
                    <a:pt x="325" y="123"/>
                  </a:lnTo>
                  <a:lnTo>
                    <a:pt x="318" y="123"/>
                  </a:lnTo>
                  <a:close/>
                  <a:moveTo>
                    <a:pt x="36" y="105"/>
                  </a:moveTo>
                  <a:lnTo>
                    <a:pt x="348" y="105"/>
                  </a:lnTo>
                  <a:lnTo>
                    <a:pt x="348" y="256"/>
                  </a:lnTo>
                  <a:lnTo>
                    <a:pt x="36" y="256"/>
                  </a:lnTo>
                  <a:lnTo>
                    <a:pt x="36" y="105"/>
                  </a:lnTo>
                  <a:close/>
                  <a:moveTo>
                    <a:pt x="67" y="43"/>
                  </a:moveTo>
                  <a:lnTo>
                    <a:pt x="320" y="43"/>
                  </a:lnTo>
                  <a:lnTo>
                    <a:pt x="361" y="92"/>
                  </a:lnTo>
                  <a:lnTo>
                    <a:pt x="26" y="92"/>
                  </a:lnTo>
                  <a:lnTo>
                    <a:pt x="67" y="43"/>
                  </a:lnTo>
                  <a:close/>
                  <a:moveTo>
                    <a:pt x="126" y="10"/>
                  </a:moveTo>
                  <a:lnTo>
                    <a:pt x="144" y="10"/>
                  </a:lnTo>
                  <a:lnTo>
                    <a:pt x="144" y="31"/>
                  </a:lnTo>
                  <a:lnTo>
                    <a:pt x="126" y="31"/>
                  </a:lnTo>
                  <a:lnTo>
                    <a:pt x="126" y="10"/>
                  </a:lnTo>
                  <a:close/>
                  <a:moveTo>
                    <a:pt x="241" y="10"/>
                  </a:moveTo>
                  <a:lnTo>
                    <a:pt x="261" y="10"/>
                  </a:lnTo>
                  <a:lnTo>
                    <a:pt x="261" y="31"/>
                  </a:lnTo>
                  <a:lnTo>
                    <a:pt x="241" y="31"/>
                  </a:lnTo>
                  <a:lnTo>
                    <a:pt x="241" y="10"/>
                  </a:lnTo>
                  <a:close/>
                  <a:moveTo>
                    <a:pt x="231" y="0"/>
                  </a:moveTo>
                  <a:lnTo>
                    <a:pt x="231" y="5"/>
                  </a:lnTo>
                  <a:lnTo>
                    <a:pt x="231" y="31"/>
                  </a:lnTo>
                  <a:lnTo>
                    <a:pt x="154" y="31"/>
                  </a:lnTo>
                  <a:lnTo>
                    <a:pt x="154" y="5"/>
                  </a:lnTo>
                  <a:lnTo>
                    <a:pt x="154" y="0"/>
                  </a:lnTo>
                  <a:lnTo>
                    <a:pt x="113" y="0"/>
                  </a:lnTo>
                  <a:lnTo>
                    <a:pt x="113" y="5"/>
                  </a:lnTo>
                  <a:lnTo>
                    <a:pt x="113" y="31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59" y="33"/>
                  </a:lnTo>
                  <a:lnTo>
                    <a:pt x="8" y="95"/>
                  </a:lnTo>
                  <a:lnTo>
                    <a:pt x="0" y="105"/>
                  </a:lnTo>
                  <a:lnTo>
                    <a:pt x="13" y="105"/>
                  </a:lnTo>
                  <a:lnTo>
                    <a:pt x="26" y="105"/>
                  </a:lnTo>
                  <a:lnTo>
                    <a:pt x="26" y="261"/>
                  </a:lnTo>
                  <a:lnTo>
                    <a:pt x="26" y="266"/>
                  </a:lnTo>
                  <a:lnTo>
                    <a:pt x="31" y="266"/>
                  </a:lnTo>
                  <a:lnTo>
                    <a:pt x="356" y="266"/>
                  </a:lnTo>
                  <a:lnTo>
                    <a:pt x="359" y="266"/>
                  </a:lnTo>
                  <a:lnTo>
                    <a:pt x="359" y="261"/>
                  </a:lnTo>
                  <a:lnTo>
                    <a:pt x="359" y="105"/>
                  </a:lnTo>
                  <a:lnTo>
                    <a:pt x="374" y="105"/>
                  </a:lnTo>
                  <a:lnTo>
                    <a:pt x="384" y="105"/>
                  </a:lnTo>
                  <a:lnTo>
                    <a:pt x="377" y="95"/>
                  </a:lnTo>
                  <a:lnTo>
                    <a:pt x="328" y="33"/>
                  </a:lnTo>
                  <a:lnTo>
                    <a:pt x="325" y="31"/>
                  </a:lnTo>
                  <a:lnTo>
                    <a:pt x="323" y="31"/>
                  </a:lnTo>
                  <a:lnTo>
                    <a:pt x="272" y="31"/>
                  </a:lnTo>
                  <a:lnTo>
                    <a:pt x="272" y="5"/>
                  </a:lnTo>
                  <a:lnTo>
                    <a:pt x="272" y="0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42D1FAE6-B782-42D9-A6FC-74EE2265BA89}"/>
              </a:ext>
            </a:extLst>
          </p:cNvPr>
          <p:cNvGrpSpPr/>
          <p:nvPr/>
        </p:nvGrpSpPr>
        <p:grpSpPr>
          <a:xfrm>
            <a:off x="3584575" y="4188619"/>
            <a:ext cx="758825" cy="758825"/>
            <a:chOff x="3584575" y="4183063"/>
            <a:chExt cx="758825" cy="758825"/>
          </a:xfrm>
        </p:grpSpPr>
        <p:sp>
          <p:nvSpPr>
            <p:cNvPr id="236" name="AutoShape 181">
              <a:extLst>
                <a:ext uri="{FF2B5EF4-FFF2-40B4-BE49-F238E27FC236}">
                  <a16:creationId xmlns:a16="http://schemas.microsoft.com/office/drawing/2014/main" id="{6FB3C343-2E9F-42F3-8583-6DFAFBBDAA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4575" y="418306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83">
              <a:extLst>
                <a:ext uri="{FF2B5EF4-FFF2-40B4-BE49-F238E27FC236}">
                  <a16:creationId xmlns:a16="http://schemas.microsoft.com/office/drawing/2014/main" id="{F469D58A-675A-4FFE-86D6-1E03B8964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7750" y="418623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Rectangle 184">
              <a:extLst>
                <a:ext uri="{FF2B5EF4-FFF2-40B4-BE49-F238E27FC236}">
                  <a16:creationId xmlns:a16="http://schemas.microsoft.com/office/drawing/2014/main" id="{D5D136BF-185F-42EB-B08D-8078E38B5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000" y="4646613"/>
              <a:ext cx="34925" cy="3492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185">
              <a:extLst>
                <a:ext uri="{FF2B5EF4-FFF2-40B4-BE49-F238E27FC236}">
                  <a16:creationId xmlns:a16="http://schemas.microsoft.com/office/drawing/2014/main" id="{EE515909-3082-46A2-9C5D-654DEBF9C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00" y="4646613"/>
              <a:ext cx="34925" cy="3492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Rectangle 186">
              <a:extLst>
                <a:ext uri="{FF2B5EF4-FFF2-40B4-BE49-F238E27FC236}">
                  <a16:creationId xmlns:a16="http://schemas.microsoft.com/office/drawing/2014/main" id="{2E82F23A-2041-4E6F-AA86-682E2550E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000" y="4583113"/>
              <a:ext cx="34925" cy="365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Rectangle 187">
              <a:extLst>
                <a:ext uri="{FF2B5EF4-FFF2-40B4-BE49-F238E27FC236}">
                  <a16:creationId xmlns:a16="http://schemas.microsoft.com/office/drawing/2014/main" id="{EB231389-AC4A-4350-AB0A-D79B7FFA9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00" y="4583113"/>
              <a:ext cx="34925" cy="365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88">
              <a:extLst>
                <a:ext uri="{FF2B5EF4-FFF2-40B4-BE49-F238E27FC236}">
                  <a16:creationId xmlns:a16="http://schemas.microsoft.com/office/drawing/2014/main" id="{B4C0BA31-0A23-40C8-9909-204C608C98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4275" y="4357688"/>
              <a:ext cx="482600" cy="412750"/>
            </a:xfrm>
            <a:custGeom>
              <a:avLst/>
              <a:gdLst>
                <a:gd name="T0" fmla="*/ 21 w 124"/>
                <a:gd name="T1" fmla="*/ 0 h 106"/>
                <a:gd name="T2" fmla="*/ 2 w 124"/>
                <a:gd name="T3" fmla="*/ 35 h 106"/>
                <a:gd name="T4" fmla="*/ 13 w 124"/>
                <a:gd name="T5" fmla="*/ 42 h 106"/>
                <a:gd name="T6" fmla="*/ 111 w 124"/>
                <a:gd name="T7" fmla="*/ 106 h 106"/>
                <a:gd name="T8" fmla="*/ 114 w 124"/>
                <a:gd name="T9" fmla="*/ 41 h 106"/>
                <a:gd name="T10" fmla="*/ 123 w 124"/>
                <a:gd name="T11" fmla="*/ 31 h 106"/>
                <a:gd name="T12" fmla="*/ 116 w 124"/>
                <a:gd name="T13" fmla="*/ 17 h 106"/>
                <a:gd name="T14" fmla="*/ 91 w 124"/>
                <a:gd name="T15" fmla="*/ 4 h 106"/>
                <a:gd name="T16" fmla="*/ 94 w 124"/>
                <a:gd name="T17" fmla="*/ 34 h 106"/>
                <a:gd name="T18" fmla="*/ 86 w 124"/>
                <a:gd name="T19" fmla="*/ 38 h 106"/>
                <a:gd name="T20" fmla="*/ 80 w 124"/>
                <a:gd name="T21" fmla="*/ 36 h 106"/>
                <a:gd name="T22" fmla="*/ 76 w 124"/>
                <a:gd name="T23" fmla="*/ 28 h 106"/>
                <a:gd name="T24" fmla="*/ 73 w 124"/>
                <a:gd name="T25" fmla="*/ 4 h 106"/>
                <a:gd name="T26" fmla="*/ 76 w 124"/>
                <a:gd name="T27" fmla="*/ 18 h 106"/>
                <a:gd name="T28" fmla="*/ 68 w 124"/>
                <a:gd name="T29" fmla="*/ 4 h 106"/>
                <a:gd name="T30" fmla="*/ 53 w 124"/>
                <a:gd name="T31" fmla="*/ 17 h 106"/>
                <a:gd name="T32" fmla="*/ 72 w 124"/>
                <a:gd name="T33" fmla="*/ 22 h 106"/>
                <a:gd name="T34" fmla="*/ 68 w 124"/>
                <a:gd name="T35" fmla="*/ 36 h 106"/>
                <a:gd name="T36" fmla="*/ 61 w 124"/>
                <a:gd name="T37" fmla="*/ 38 h 106"/>
                <a:gd name="T38" fmla="*/ 54 w 124"/>
                <a:gd name="T39" fmla="*/ 34 h 106"/>
                <a:gd name="T40" fmla="*/ 39 w 124"/>
                <a:gd name="T41" fmla="*/ 4 h 106"/>
                <a:gd name="T42" fmla="*/ 48 w 124"/>
                <a:gd name="T43" fmla="*/ 18 h 106"/>
                <a:gd name="T44" fmla="*/ 48 w 124"/>
                <a:gd name="T45" fmla="*/ 22 h 106"/>
                <a:gd name="T46" fmla="*/ 44 w 124"/>
                <a:gd name="T47" fmla="*/ 36 h 106"/>
                <a:gd name="T48" fmla="*/ 37 w 124"/>
                <a:gd name="T49" fmla="*/ 38 h 106"/>
                <a:gd name="T50" fmla="*/ 31 w 124"/>
                <a:gd name="T51" fmla="*/ 34 h 106"/>
                <a:gd name="T52" fmla="*/ 29 w 124"/>
                <a:gd name="T53" fmla="*/ 22 h 106"/>
                <a:gd name="T54" fmla="*/ 33 w 124"/>
                <a:gd name="T55" fmla="*/ 4 h 106"/>
                <a:gd name="T56" fmla="*/ 9 w 124"/>
                <a:gd name="T57" fmla="*/ 17 h 106"/>
                <a:gd name="T58" fmla="*/ 10 w 124"/>
                <a:gd name="T59" fmla="*/ 37 h 106"/>
                <a:gd name="T60" fmla="*/ 5 w 124"/>
                <a:gd name="T61" fmla="*/ 30 h 106"/>
                <a:gd name="T62" fmla="*/ 24 w 124"/>
                <a:gd name="T63" fmla="*/ 29 h 106"/>
                <a:gd name="T64" fmla="*/ 19 w 124"/>
                <a:gd name="T65" fmla="*/ 37 h 106"/>
                <a:gd name="T66" fmla="*/ 32 w 124"/>
                <a:gd name="T67" fmla="*/ 102 h 106"/>
                <a:gd name="T68" fmla="*/ 42 w 124"/>
                <a:gd name="T69" fmla="*/ 102 h 106"/>
                <a:gd name="T70" fmla="*/ 47 w 124"/>
                <a:gd name="T71" fmla="*/ 60 h 106"/>
                <a:gd name="T72" fmla="*/ 62 w 124"/>
                <a:gd name="T73" fmla="*/ 102 h 106"/>
                <a:gd name="T74" fmla="*/ 28 w 124"/>
                <a:gd name="T75" fmla="*/ 56 h 106"/>
                <a:gd name="T76" fmla="*/ 27 w 124"/>
                <a:gd name="T77" fmla="*/ 102 h 106"/>
                <a:gd name="T78" fmla="*/ 21 w 124"/>
                <a:gd name="T79" fmla="*/ 40 h 106"/>
                <a:gd name="T80" fmla="*/ 26 w 124"/>
                <a:gd name="T81" fmla="*/ 36 h 106"/>
                <a:gd name="T82" fmla="*/ 34 w 124"/>
                <a:gd name="T83" fmla="*/ 41 h 106"/>
                <a:gd name="T84" fmla="*/ 45 w 124"/>
                <a:gd name="T85" fmla="*/ 40 h 106"/>
                <a:gd name="T86" fmla="*/ 51 w 124"/>
                <a:gd name="T87" fmla="*/ 36 h 106"/>
                <a:gd name="T88" fmla="*/ 60 w 124"/>
                <a:gd name="T89" fmla="*/ 42 h 106"/>
                <a:gd name="T90" fmla="*/ 71 w 124"/>
                <a:gd name="T91" fmla="*/ 39 h 106"/>
                <a:gd name="T92" fmla="*/ 76 w 124"/>
                <a:gd name="T93" fmla="*/ 38 h 106"/>
                <a:gd name="T94" fmla="*/ 87 w 124"/>
                <a:gd name="T95" fmla="*/ 42 h 106"/>
                <a:gd name="T96" fmla="*/ 97 w 124"/>
                <a:gd name="T97" fmla="*/ 37 h 106"/>
                <a:gd name="T98" fmla="*/ 104 w 124"/>
                <a:gd name="T99" fmla="*/ 41 h 106"/>
                <a:gd name="T100" fmla="*/ 119 w 124"/>
                <a:gd name="T101" fmla="*/ 31 h 106"/>
                <a:gd name="T102" fmla="*/ 113 w 124"/>
                <a:gd name="T103" fmla="*/ 38 h 106"/>
                <a:gd name="T104" fmla="*/ 105 w 124"/>
                <a:gd name="T105" fmla="*/ 37 h 106"/>
                <a:gd name="T106" fmla="*/ 100 w 124"/>
                <a:gd name="T107" fmla="*/ 31 h 106"/>
                <a:gd name="T108" fmla="*/ 120 w 124"/>
                <a:gd name="T109" fmla="*/ 2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06">
                  <a:moveTo>
                    <a:pt x="124" y="29"/>
                  </a:moveTo>
                  <a:cubicBezTo>
                    <a:pt x="123" y="19"/>
                    <a:pt x="123" y="19"/>
                    <a:pt x="123" y="19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3" y="42"/>
                    <a:pt x="13" y="42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1"/>
                    <a:pt x="123" y="31"/>
                    <a:pt x="123" y="31"/>
                  </a:cubicBezTo>
                  <a:lnTo>
                    <a:pt x="124" y="29"/>
                  </a:lnTo>
                  <a:close/>
                  <a:moveTo>
                    <a:pt x="91" y="4"/>
                  </a:move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8"/>
                    <a:pt x="115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8"/>
                    <a:pt x="99" y="18"/>
                    <a:pt x="99" y="17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90" y="4"/>
                    <a:pt x="90" y="4"/>
                  </a:cubicBezTo>
                  <a:cubicBezTo>
                    <a:pt x="90" y="4"/>
                    <a:pt x="91" y="4"/>
                    <a:pt x="91" y="4"/>
                  </a:cubicBezTo>
                  <a:close/>
                  <a:moveTo>
                    <a:pt x="96" y="22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7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22"/>
                    <a:pt x="96" y="22"/>
                    <a:pt x="96" y="22"/>
                  </a:cubicBezTo>
                  <a:close/>
                  <a:moveTo>
                    <a:pt x="73" y="4"/>
                  </a:moveTo>
                  <a:cubicBezTo>
                    <a:pt x="73" y="4"/>
                    <a:pt x="73" y="4"/>
                    <a:pt x="73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8"/>
                    <a:pt x="76" y="17"/>
                    <a:pt x="75" y="1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4"/>
                    <a:pt x="73" y="4"/>
                    <a:pt x="73" y="4"/>
                  </a:cubicBezTo>
                  <a:close/>
                  <a:moveTo>
                    <a:pt x="56" y="4"/>
                  </a:moveTo>
                  <a:cubicBezTo>
                    <a:pt x="56" y="4"/>
                    <a:pt x="56" y="4"/>
                    <a:pt x="56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53" y="18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lnTo>
                    <a:pt x="56" y="4"/>
                  </a:lnTo>
                  <a:close/>
                  <a:moveTo>
                    <a:pt x="52" y="22"/>
                  </a:moveTo>
                  <a:cubicBezTo>
                    <a:pt x="52" y="22"/>
                    <a:pt x="52" y="22"/>
                    <a:pt x="5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8"/>
                  </a:cubicBezTo>
                  <a:lnTo>
                    <a:pt x="52" y="22"/>
                  </a:lnTo>
                  <a:close/>
                  <a:moveTo>
                    <a:pt x="39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5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8"/>
                    <a:pt x="48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7"/>
                  </a:cubicBezTo>
                  <a:cubicBezTo>
                    <a:pt x="30" y="17"/>
                    <a:pt x="30" y="17"/>
                    <a:pt x="31" y="1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lose/>
                  <a:moveTo>
                    <a:pt x="48" y="22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9" y="22"/>
                    <a:pt x="29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8" y="22"/>
                    <a:pt x="48" y="22"/>
                  </a:cubicBezTo>
                  <a:close/>
                  <a:moveTo>
                    <a:pt x="9" y="17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4" y="4"/>
                    <a:pt x="34" y="4"/>
                  </a:cubicBezTo>
                  <a:cubicBezTo>
                    <a:pt x="34" y="4"/>
                    <a:pt x="34" y="5"/>
                    <a:pt x="34" y="5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7"/>
                    <a:pt x="9" y="17"/>
                  </a:cubicBezTo>
                  <a:cubicBezTo>
                    <a:pt x="8" y="17"/>
                    <a:pt x="8" y="17"/>
                    <a:pt x="9" y="17"/>
                  </a:cubicBezTo>
                  <a:close/>
                  <a:moveTo>
                    <a:pt x="14" y="38"/>
                  </a:move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5" y="38"/>
                    <a:pt x="15" y="38"/>
                    <a:pt x="15" y="38"/>
                  </a:cubicBezTo>
                  <a:lnTo>
                    <a:pt x="14" y="38"/>
                  </a:lnTo>
                  <a:close/>
                  <a:moveTo>
                    <a:pt x="42" y="102"/>
                  </a:moveTo>
                  <a:cubicBezTo>
                    <a:pt x="42" y="102"/>
                    <a:pt x="42" y="102"/>
                    <a:pt x="41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0"/>
                    <a:pt x="3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2" y="60"/>
                    <a:pt x="42" y="60"/>
                  </a:cubicBezTo>
                  <a:lnTo>
                    <a:pt x="42" y="102"/>
                  </a:lnTo>
                  <a:close/>
                  <a:moveTo>
                    <a:pt x="57" y="102"/>
                  </a:moveTo>
                  <a:cubicBezTo>
                    <a:pt x="57" y="102"/>
                    <a:pt x="57" y="102"/>
                    <a:pt x="56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7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lnTo>
                    <a:pt x="57" y="102"/>
                  </a:lnTo>
                  <a:close/>
                  <a:moveTo>
                    <a:pt x="107" y="102"/>
                  </a:moveTo>
                  <a:cubicBezTo>
                    <a:pt x="107" y="102"/>
                    <a:pt x="107" y="102"/>
                    <a:pt x="107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7" y="36"/>
                    <a:pt x="27" y="36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lnTo>
                    <a:pt x="107" y="102"/>
                  </a:lnTo>
                  <a:close/>
                  <a:moveTo>
                    <a:pt x="120" y="29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22"/>
                    <a:pt x="120" y="22"/>
                    <a:pt x="120" y="22"/>
                  </a:cubicBezTo>
                  <a:lnTo>
                    <a:pt x="120" y="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Rectangle 189">
              <a:extLst>
                <a:ext uri="{FF2B5EF4-FFF2-40B4-BE49-F238E27FC236}">
                  <a16:creationId xmlns:a16="http://schemas.microsoft.com/office/drawing/2014/main" id="{CBE59EA9-D03B-4AEB-9C1B-7ACBC948C0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000" y="4646613"/>
              <a:ext cx="34925" cy="3492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Rectangle 190">
              <a:extLst>
                <a:ext uri="{FF2B5EF4-FFF2-40B4-BE49-F238E27FC236}">
                  <a16:creationId xmlns:a16="http://schemas.microsoft.com/office/drawing/2014/main" id="{CD209663-DDB1-4D5D-94B7-58D6EE451F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00" y="4646613"/>
              <a:ext cx="34925" cy="3492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Rectangle 191">
              <a:extLst>
                <a:ext uri="{FF2B5EF4-FFF2-40B4-BE49-F238E27FC236}">
                  <a16:creationId xmlns:a16="http://schemas.microsoft.com/office/drawing/2014/main" id="{8E218661-1573-4B81-9AA6-F87E2C79A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000" y="4583113"/>
              <a:ext cx="34925" cy="365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Rectangle 192">
              <a:extLst>
                <a:ext uri="{FF2B5EF4-FFF2-40B4-BE49-F238E27FC236}">
                  <a16:creationId xmlns:a16="http://schemas.microsoft.com/office/drawing/2014/main" id="{11B6F997-F83A-40E1-AD2A-67F418FC3C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500" y="4583113"/>
              <a:ext cx="34925" cy="365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93">
              <a:extLst>
                <a:ext uri="{FF2B5EF4-FFF2-40B4-BE49-F238E27FC236}">
                  <a16:creationId xmlns:a16="http://schemas.microsoft.com/office/drawing/2014/main" id="{610A2164-2A2F-44C1-9281-54D92A7D21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4275" y="4357688"/>
              <a:ext cx="482600" cy="412750"/>
            </a:xfrm>
            <a:custGeom>
              <a:avLst/>
              <a:gdLst>
                <a:gd name="T0" fmla="*/ 21 w 124"/>
                <a:gd name="T1" fmla="*/ 0 h 106"/>
                <a:gd name="T2" fmla="*/ 2 w 124"/>
                <a:gd name="T3" fmla="*/ 35 h 106"/>
                <a:gd name="T4" fmla="*/ 13 w 124"/>
                <a:gd name="T5" fmla="*/ 42 h 106"/>
                <a:gd name="T6" fmla="*/ 111 w 124"/>
                <a:gd name="T7" fmla="*/ 106 h 106"/>
                <a:gd name="T8" fmla="*/ 114 w 124"/>
                <a:gd name="T9" fmla="*/ 41 h 106"/>
                <a:gd name="T10" fmla="*/ 123 w 124"/>
                <a:gd name="T11" fmla="*/ 31 h 106"/>
                <a:gd name="T12" fmla="*/ 116 w 124"/>
                <a:gd name="T13" fmla="*/ 17 h 106"/>
                <a:gd name="T14" fmla="*/ 91 w 124"/>
                <a:gd name="T15" fmla="*/ 4 h 106"/>
                <a:gd name="T16" fmla="*/ 94 w 124"/>
                <a:gd name="T17" fmla="*/ 34 h 106"/>
                <a:gd name="T18" fmla="*/ 86 w 124"/>
                <a:gd name="T19" fmla="*/ 38 h 106"/>
                <a:gd name="T20" fmla="*/ 80 w 124"/>
                <a:gd name="T21" fmla="*/ 36 h 106"/>
                <a:gd name="T22" fmla="*/ 76 w 124"/>
                <a:gd name="T23" fmla="*/ 28 h 106"/>
                <a:gd name="T24" fmla="*/ 73 w 124"/>
                <a:gd name="T25" fmla="*/ 4 h 106"/>
                <a:gd name="T26" fmla="*/ 76 w 124"/>
                <a:gd name="T27" fmla="*/ 18 h 106"/>
                <a:gd name="T28" fmla="*/ 68 w 124"/>
                <a:gd name="T29" fmla="*/ 4 h 106"/>
                <a:gd name="T30" fmla="*/ 53 w 124"/>
                <a:gd name="T31" fmla="*/ 17 h 106"/>
                <a:gd name="T32" fmla="*/ 72 w 124"/>
                <a:gd name="T33" fmla="*/ 22 h 106"/>
                <a:gd name="T34" fmla="*/ 68 w 124"/>
                <a:gd name="T35" fmla="*/ 36 h 106"/>
                <a:gd name="T36" fmla="*/ 61 w 124"/>
                <a:gd name="T37" fmla="*/ 38 h 106"/>
                <a:gd name="T38" fmla="*/ 54 w 124"/>
                <a:gd name="T39" fmla="*/ 34 h 106"/>
                <a:gd name="T40" fmla="*/ 39 w 124"/>
                <a:gd name="T41" fmla="*/ 4 h 106"/>
                <a:gd name="T42" fmla="*/ 48 w 124"/>
                <a:gd name="T43" fmla="*/ 18 h 106"/>
                <a:gd name="T44" fmla="*/ 48 w 124"/>
                <a:gd name="T45" fmla="*/ 22 h 106"/>
                <a:gd name="T46" fmla="*/ 44 w 124"/>
                <a:gd name="T47" fmla="*/ 36 h 106"/>
                <a:gd name="T48" fmla="*/ 37 w 124"/>
                <a:gd name="T49" fmla="*/ 38 h 106"/>
                <a:gd name="T50" fmla="*/ 31 w 124"/>
                <a:gd name="T51" fmla="*/ 34 h 106"/>
                <a:gd name="T52" fmla="*/ 29 w 124"/>
                <a:gd name="T53" fmla="*/ 22 h 106"/>
                <a:gd name="T54" fmla="*/ 33 w 124"/>
                <a:gd name="T55" fmla="*/ 4 h 106"/>
                <a:gd name="T56" fmla="*/ 9 w 124"/>
                <a:gd name="T57" fmla="*/ 17 h 106"/>
                <a:gd name="T58" fmla="*/ 10 w 124"/>
                <a:gd name="T59" fmla="*/ 37 h 106"/>
                <a:gd name="T60" fmla="*/ 5 w 124"/>
                <a:gd name="T61" fmla="*/ 30 h 106"/>
                <a:gd name="T62" fmla="*/ 24 w 124"/>
                <a:gd name="T63" fmla="*/ 29 h 106"/>
                <a:gd name="T64" fmla="*/ 19 w 124"/>
                <a:gd name="T65" fmla="*/ 37 h 106"/>
                <a:gd name="T66" fmla="*/ 32 w 124"/>
                <a:gd name="T67" fmla="*/ 102 h 106"/>
                <a:gd name="T68" fmla="*/ 42 w 124"/>
                <a:gd name="T69" fmla="*/ 102 h 106"/>
                <a:gd name="T70" fmla="*/ 47 w 124"/>
                <a:gd name="T71" fmla="*/ 60 h 106"/>
                <a:gd name="T72" fmla="*/ 62 w 124"/>
                <a:gd name="T73" fmla="*/ 102 h 106"/>
                <a:gd name="T74" fmla="*/ 28 w 124"/>
                <a:gd name="T75" fmla="*/ 56 h 106"/>
                <a:gd name="T76" fmla="*/ 27 w 124"/>
                <a:gd name="T77" fmla="*/ 102 h 106"/>
                <a:gd name="T78" fmla="*/ 21 w 124"/>
                <a:gd name="T79" fmla="*/ 40 h 106"/>
                <a:gd name="T80" fmla="*/ 26 w 124"/>
                <a:gd name="T81" fmla="*/ 36 h 106"/>
                <a:gd name="T82" fmla="*/ 34 w 124"/>
                <a:gd name="T83" fmla="*/ 41 h 106"/>
                <a:gd name="T84" fmla="*/ 45 w 124"/>
                <a:gd name="T85" fmla="*/ 40 h 106"/>
                <a:gd name="T86" fmla="*/ 51 w 124"/>
                <a:gd name="T87" fmla="*/ 36 h 106"/>
                <a:gd name="T88" fmla="*/ 60 w 124"/>
                <a:gd name="T89" fmla="*/ 42 h 106"/>
                <a:gd name="T90" fmla="*/ 71 w 124"/>
                <a:gd name="T91" fmla="*/ 39 h 106"/>
                <a:gd name="T92" fmla="*/ 76 w 124"/>
                <a:gd name="T93" fmla="*/ 38 h 106"/>
                <a:gd name="T94" fmla="*/ 87 w 124"/>
                <a:gd name="T95" fmla="*/ 42 h 106"/>
                <a:gd name="T96" fmla="*/ 97 w 124"/>
                <a:gd name="T97" fmla="*/ 37 h 106"/>
                <a:gd name="T98" fmla="*/ 104 w 124"/>
                <a:gd name="T99" fmla="*/ 41 h 106"/>
                <a:gd name="T100" fmla="*/ 119 w 124"/>
                <a:gd name="T101" fmla="*/ 31 h 106"/>
                <a:gd name="T102" fmla="*/ 113 w 124"/>
                <a:gd name="T103" fmla="*/ 38 h 106"/>
                <a:gd name="T104" fmla="*/ 105 w 124"/>
                <a:gd name="T105" fmla="*/ 37 h 106"/>
                <a:gd name="T106" fmla="*/ 100 w 124"/>
                <a:gd name="T107" fmla="*/ 31 h 106"/>
                <a:gd name="T108" fmla="*/ 120 w 124"/>
                <a:gd name="T109" fmla="*/ 2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06">
                  <a:moveTo>
                    <a:pt x="124" y="29"/>
                  </a:moveTo>
                  <a:cubicBezTo>
                    <a:pt x="123" y="19"/>
                    <a:pt x="123" y="19"/>
                    <a:pt x="123" y="19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3" y="42"/>
                    <a:pt x="13" y="42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1"/>
                    <a:pt x="123" y="31"/>
                    <a:pt x="123" y="31"/>
                  </a:cubicBezTo>
                  <a:lnTo>
                    <a:pt x="124" y="29"/>
                  </a:lnTo>
                  <a:close/>
                  <a:moveTo>
                    <a:pt x="91" y="4"/>
                  </a:move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8"/>
                    <a:pt x="115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8"/>
                    <a:pt x="99" y="18"/>
                    <a:pt x="99" y="17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90" y="4"/>
                    <a:pt x="90" y="4"/>
                  </a:cubicBezTo>
                  <a:cubicBezTo>
                    <a:pt x="90" y="4"/>
                    <a:pt x="91" y="4"/>
                    <a:pt x="91" y="4"/>
                  </a:cubicBezTo>
                  <a:close/>
                  <a:moveTo>
                    <a:pt x="96" y="22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7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22"/>
                    <a:pt x="96" y="22"/>
                    <a:pt x="96" y="22"/>
                  </a:cubicBezTo>
                  <a:close/>
                  <a:moveTo>
                    <a:pt x="73" y="4"/>
                  </a:moveTo>
                  <a:cubicBezTo>
                    <a:pt x="73" y="4"/>
                    <a:pt x="73" y="4"/>
                    <a:pt x="73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8"/>
                    <a:pt x="76" y="17"/>
                    <a:pt x="75" y="1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4"/>
                    <a:pt x="73" y="4"/>
                    <a:pt x="73" y="4"/>
                  </a:cubicBezTo>
                  <a:close/>
                  <a:moveTo>
                    <a:pt x="56" y="4"/>
                  </a:moveTo>
                  <a:cubicBezTo>
                    <a:pt x="56" y="4"/>
                    <a:pt x="56" y="4"/>
                    <a:pt x="56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53" y="18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lnTo>
                    <a:pt x="56" y="4"/>
                  </a:lnTo>
                  <a:close/>
                  <a:moveTo>
                    <a:pt x="52" y="22"/>
                  </a:moveTo>
                  <a:cubicBezTo>
                    <a:pt x="52" y="22"/>
                    <a:pt x="52" y="22"/>
                    <a:pt x="5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8"/>
                  </a:cubicBezTo>
                  <a:lnTo>
                    <a:pt x="52" y="22"/>
                  </a:lnTo>
                  <a:close/>
                  <a:moveTo>
                    <a:pt x="39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5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8"/>
                    <a:pt x="48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7"/>
                  </a:cubicBezTo>
                  <a:cubicBezTo>
                    <a:pt x="30" y="17"/>
                    <a:pt x="30" y="17"/>
                    <a:pt x="31" y="1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lose/>
                  <a:moveTo>
                    <a:pt x="48" y="22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9" y="22"/>
                    <a:pt x="29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8" y="22"/>
                    <a:pt x="48" y="22"/>
                  </a:cubicBezTo>
                  <a:close/>
                  <a:moveTo>
                    <a:pt x="9" y="17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4" y="4"/>
                    <a:pt x="34" y="4"/>
                  </a:cubicBezTo>
                  <a:cubicBezTo>
                    <a:pt x="34" y="4"/>
                    <a:pt x="34" y="5"/>
                    <a:pt x="34" y="5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7"/>
                    <a:pt x="9" y="17"/>
                  </a:cubicBezTo>
                  <a:cubicBezTo>
                    <a:pt x="8" y="17"/>
                    <a:pt x="8" y="17"/>
                    <a:pt x="9" y="17"/>
                  </a:cubicBezTo>
                  <a:close/>
                  <a:moveTo>
                    <a:pt x="14" y="38"/>
                  </a:move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5" y="38"/>
                    <a:pt x="15" y="38"/>
                    <a:pt x="15" y="38"/>
                  </a:cubicBezTo>
                  <a:lnTo>
                    <a:pt x="14" y="38"/>
                  </a:lnTo>
                  <a:close/>
                  <a:moveTo>
                    <a:pt x="42" y="102"/>
                  </a:moveTo>
                  <a:cubicBezTo>
                    <a:pt x="42" y="102"/>
                    <a:pt x="42" y="102"/>
                    <a:pt x="41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0"/>
                    <a:pt x="3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2" y="60"/>
                    <a:pt x="42" y="60"/>
                  </a:cubicBezTo>
                  <a:lnTo>
                    <a:pt x="42" y="102"/>
                  </a:lnTo>
                  <a:close/>
                  <a:moveTo>
                    <a:pt x="57" y="102"/>
                  </a:moveTo>
                  <a:cubicBezTo>
                    <a:pt x="57" y="102"/>
                    <a:pt x="57" y="102"/>
                    <a:pt x="56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7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lnTo>
                    <a:pt x="57" y="102"/>
                  </a:lnTo>
                  <a:close/>
                  <a:moveTo>
                    <a:pt x="107" y="102"/>
                  </a:moveTo>
                  <a:cubicBezTo>
                    <a:pt x="107" y="102"/>
                    <a:pt x="107" y="102"/>
                    <a:pt x="107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7" y="36"/>
                    <a:pt x="27" y="36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lnTo>
                    <a:pt x="107" y="102"/>
                  </a:lnTo>
                  <a:close/>
                  <a:moveTo>
                    <a:pt x="120" y="29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22"/>
                    <a:pt x="120" y="22"/>
                    <a:pt x="120" y="22"/>
                  </a:cubicBezTo>
                  <a:lnTo>
                    <a:pt x="120" y="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BF112594-43B8-41D0-9137-588419225D30}"/>
              </a:ext>
            </a:extLst>
          </p:cNvPr>
          <p:cNvGrpSpPr/>
          <p:nvPr/>
        </p:nvGrpSpPr>
        <p:grpSpPr>
          <a:xfrm>
            <a:off x="2609850" y="4145756"/>
            <a:ext cx="844550" cy="844550"/>
            <a:chOff x="2609850" y="4173538"/>
            <a:chExt cx="844550" cy="844550"/>
          </a:xfrm>
        </p:grpSpPr>
        <p:sp>
          <p:nvSpPr>
            <p:cNvPr id="252" name="AutoShape 195">
              <a:extLst>
                <a:ext uri="{FF2B5EF4-FFF2-40B4-BE49-F238E27FC236}">
                  <a16:creationId xmlns:a16="http://schemas.microsoft.com/office/drawing/2014/main" id="{B304965D-6078-4CEF-98E2-48B2CF2F96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9850" y="41735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197">
              <a:extLst>
                <a:ext uri="{FF2B5EF4-FFF2-40B4-BE49-F238E27FC236}">
                  <a16:creationId xmlns:a16="http://schemas.microsoft.com/office/drawing/2014/main" id="{476F60EA-B8D7-4A88-A2F2-44D027C43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41735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98">
              <a:extLst>
                <a:ext uri="{FF2B5EF4-FFF2-40B4-BE49-F238E27FC236}">
                  <a16:creationId xmlns:a16="http://schemas.microsoft.com/office/drawing/2014/main" id="{6E063309-E22C-459D-B21B-061BC515A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8425" y="42021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Rectangle 199">
              <a:extLst>
                <a:ext uri="{FF2B5EF4-FFF2-40B4-BE49-F238E27FC236}">
                  <a16:creationId xmlns:a16="http://schemas.microsoft.com/office/drawing/2014/main" id="{DDC75C7B-7149-4169-AD37-2B71AA7B8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3725" y="4681538"/>
              <a:ext cx="3651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Rectangle 200">
              <a:extLst>
                <a:ext uri="{FF2B5EF4-FFF2-40B4-BE49-F238E27FC236}">
                  <a16:creationId xmlns:a16="http://schemas.microsoft.com/office/drawing/2014/main" id="{6AABC102-37B4-4568-8E50-C341CEBFD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4681538"/>
              <a:ext cx="3651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201">
              <a:extLst>
                <a:ext uri="{FF2B5EF4-FFF2-40B4-BE49-F238E27FC236}">
                  <a16:creationId xmlns:a16="http://schemas.microsoft.com/office/drawing/2014/main" id="{7DC93B7E-1218-40A4-A507-40C7D53242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3725" y="4616451"/>
              <a:ext cx="3651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202">
              <a:extLst>
                <a:ext uri="{FF2B5EF4-FFF2-40B4-BE49-F238E27FC236}">
                  <a16:creationId xmlns:a16="http://schemas.microsoft.com/office/drawing/2014/main" id="{388E1943-7EB6-4DDD-B0B4-5E2BCD485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4616451"/>
              <a:ext cx="3651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03">
              <a:extLst>
                <a:ext uri="{FF2B5EF4-FFF2-40B4-BE49-F238E27FC236}">
                  <a16:creationId xmlns:a16="http://schemas.microsoft.com/office/drawing/2014/main" id="{A3FE5A96-A6B6-4437-A19E-915660944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9713" y="4379913"/>
              <a:ext cx="504825" cy="431800"/>
            </a:xfrm>
            <a:custGeom>
              <a:avLst/>
              <a:gdLst>
                <a:gd name="T0" fmla="*/ 21 w 124"/>
                <a:gd name="T1" fmla="*/ 0 h 106"/>
                <a:gd name="T2" fmla="*/ 2 w 124"/>
                <a:gd name="T3" fmla="*/ 35 h 106"/>
                <a:gd name="T4" fmla="*/ 13 w 124"/>
                <a:gd name="T5" fmla="*/ 42 h 106"/>
                <a:gd name="T6" fmla="*/ 111 w 124"/>
                <a:gd name="T7" fmla="*/ 106 h 106"/>
                <a:gd name="T8" fmla="*/ 114 w 124"/>
                <a:gd name="T9" fmla="*/ 41 h 106"/>
                <a:gd name="T10" fmla="*/ 123 w 124"/>
                <a:gd name="T11" fmla="*/ 31 h 106"/>
                <a:gd name="T12" fmla="*/ 116 w 124"/>
                <a:gd name="T13" fmla="*/ 17 h 106"/>
                <a:gd name="T14" fmla="*/ 91 w 124"/>
                <a:gd name="T15" fmla="*/ 4 h 106"/>
                <a:gd name="T16" fmla="*/ 94 w 124"/>
                <a:gd name="T17" fmla="*/ 34 h 106"/>
                <a:gd name="T18" fmla="*/ 86 w 124"/>
                <a:gd name="T19" fmla="*/ 38 h 106"/>
                <a:gd name="T20" fmla="*/ 80 w 124"/>
                <a:gd name="T21" fmla="*/ 36 h 106"/>
                <a:gd name="T22" fmla="*/ 76 w 124"/>
                <a:gd name="T23" fmla="*/ 28 h 106"/>
                <a:gd name="T24" fmla="*/ 73 w 124"/>
                <a:gd name="T25" fmla="*/ 4 h 106"/>
                <a:gd name="T26" fmla="*/ 76 w 124"/>
                <a:gd name="T27" fmla="*/ 18 h 106"/>
                <a:gd name="T28" fmla="*/ 68 w 124"/>
                <a:gd name="T29" fmla="*/ 4 h 106"/>
                <a:gd name="T30" fmla="*/ 53 w 124"/>
                <a:gd name="T31" fmla="*/ 17 h 106"/>
                <a:gd name="T32" fmla="*/ 72 w 124"/>
                <a:gd name="T33" fmla="*/ 22 h 106"/>
                <a:gd name="T34" fmla="*/ 68 w 124"/>
                <a:gd name="T35" fmla="*/ 36 h 106"/>
                <a:gd name="T36" fmla="*/ 61 w 124"/>
                <a:gd name="T37" fmla="*/ 38 h 106"/>
                <a:gd name="T38" fmla="*/ 54 w 124"/>
                <a:gd name="T39" fmla="*/ 34 h 106"/>
                <a:gd name="T40" fmla="*/ 39 w 124"/>
                <a:gd name="T41" fmla="*/ 4 h 106"/>
                <a:gd name="T42" fmla="*/ 48 w 124"/>
                <a:gd name="T43" fmla="*/ 18 h 106"/>
                <a:gd name="T44" fmla="*/ 48 w 124"/>
                <a:gd name="T45" fmla="*/ 22 h 106"/>
                <a:gd name="T46" fmla="*/ 44 w 124"/>
                <a:gd name="T47" fmla="*/ 36 h 106"/>
                <a:gd name="T48" fmla="*/ 37 w 124"/>
                <a:gd name="T49" fmla="*/ 38 h 106"/>
                <a:gd name="T50" fmla="*/ 31 w 124"/>
                <a:gd name="T51" fmla="*/ 34 h 106"/>
                <a:gd name="T52" fmla="*/ 29 w 124"/>
                <a:gd name="T53" fmla="*/ 22 h 106"/>
                <a:gd name="T54" fmla="*/ 33 w 124"/>
                <a:gd name="T55" fmla="*/ 4 h 106"/>
                <a:gd name="T56" fmla="*/ 9 w 124"/>
                <a:gd name="T57" fmla="*/ 17 h 106"/>
                <a:gd name="T58" fmla="*/ 10 w 124"/>
                <a:gd name="T59" fmla="*/ 37 h 106"/>
                <a:gd name="T60" fmla="*/ 5 w 124"/>
                <a:gd name="T61" fmla="*/ 30 h 106"/>
                <a:gd name="T62" fmla="*/ 24 w 124"/>
                <a:gd name="T63" fmla="*/ 29 h 106"/>
                <a:gd name="T64" fmla="*/ 19 w 124"/>
                <a:gd name="T65" fmla="*/ 37 h 106"/>
                <a:gd name="T66" fmla="*/ 32 w 124"/>
                <a:gd name="T67" fmla="*/ 102 h 106"/>
                <a:gd name="T68" fmla="*/ 42 w 124"/>
                <a:gd name="T69" fmla="*/ 102 h 106"/>
                <a:gd name="T70" fmla="*/ 47 w 124"/>
                <a:gd name="T71" fmla="*/ 60 h 106"/>
                <a:gd name="T72" fmla="*/ 62 w 124"/>
                <a:gd name="T73" fmla="*/ 102 h 106"/>
                <a:gd name="T74" fmla="*/ 28 w 124"/>
                <a:gd name="T75" fmla="*/ 56 h 106"/>
                <a:gd name="T76" fmla="*/ 27 w 124"/>
                <a:gd name="T77" fmla="*/ 102 h 106"/>
                <a:gd name="T78" fmla="*/ 21 w 124"/>
                <a:gd name="T79" fmla="*/ 40 h 106"/>
                <a:gd name="T80" fmla="*/ 26 w 124"/>
                <a:gd name="T81" fmla="*/ 36 h 106"/>
                <a:gd name="T82" fmla="*/ 34 w 124"/>
                <a:gd name="T83" fmla="*/ 41 h 106"/>
                <a:gd name="T84" fmla="*/ 45 w 124"/>
                <a:gd name="T85" fmla="*/ 40 h 106"/>
                <a:gd name="T86" fmla="*/ 51 w 124"/>
                <a:gd name="T87" fmla="*/ 36 h 106"/>
                <a:gd name="T88" fmla="*/ 60 w 124"/>
                <a:gd name="T89" fmla="*/ 42 h 106"/>
                <a:gd name="T90" fmla="*/ 71 w 124"/>
                <a:gd name="T91" fmla="*/ 39 h 106"/>
                <a:gd name="T92" fmla="*/ 76 w 124"/>
                <a:gd name="T93" fmla="*/ 38 h 106"/>
                <a:gd name="T94" fmla="*/ 87 w 124"/>
                <a:gd name="T95" fmla="*/ 42 h 106"/>
                <a:gd name="T96" fmla="*/ 97 w 124"/>
                <a:gd name="T97" fmla="*/ 37 h 106"/>
                <a:gd name="T98" fmla="*/ 104 w 124"/>
                <a:gd name="T99" fmla="*/ 41 h 106"/>
                <a:gd name="T100" fmla="*/ 119 w 124"/>
                <a:gd name="T101" fmla="*/ 31 h 106"/>
                <a:gd name="T102" fmla="*/ 113 w 124"/>
                <a:gd name="T103" fmla="*/ 38 h 106"/>
                <a:gd name="T104" fmla="*/ 105 w 124"/>
                <a:gd name="T105" fmla="*/ 37 h 106"/>
                <a:gd name="T106" fmla="*/ 100 w 124"/>
                <a:gd name="T107" fmla="*/ 31 h 106"/>
                <a:gd name="T108" fmla="*/ 120 w 124"/>
                <a:gd name="T109" fmla="*/ 2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4" h="106">
                  <a:moveTo>
                    <a:pt x="124" y="29"/>
                  </a:moveTo>
                  <a:cubicBezTo>
                    <a:pt x="123" y="19"/>
                    <a:pt x="123" y="19"/>
                    <a:pt x="123" y="19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3" y="42"/>
                    <a:pt x="13" y="42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5"/>
                    <a:pt x="111" y="105"/>
                    <a:pt x="111" y="105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1"/>
                    <a:pt x="123" y="31"/>
                    <a:pt x="123" y="31"/>
                  </a:cubicBezTo>
                  <a:lnTo>
                    <a:pt x="124" y="29"/>
                  </a:lnTo>
                  <a:close/>
                  <a:moveTo>
                    <a:pt x="91" y="4"/>
                  </a:move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5" y="17"/>
                    <a:pt x="115" y="18"/>
                    <a:pt x="115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8"/>
                    <a:pt x="99" y="18"/>
                    <a:pt x="99" y="17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90" y="4"/>
                    <a:pt x="90" y="4"/>
                  </a:cubicBezTo>
                  <a:cubicBezTo>
                    <a:pt x="90" y="4"/>
                    <a:pt x="91" y="4"/>
                    <a:pt x="91" y="4"/>
                  </a:cubicBezTo>
                  <a:close/>
                  <a:moveTo>
                    <a:pt x="96" y="22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7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22"/>
                    <a:pt x="96" y="22"/>
                    <a:pt x="96" y="22"/>
                  </a:cubicBezTo>
                  <a:close/>
                  <a:moveTo>
                    <a:pt x="73" y="4"/>
                  </a:moveTo>
                  <a:cubicBezTo>
                    <a:pt x="73" y="4"/>
                    <a:pt x="73" y="4"/>
                    <a:pt x="73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8"/>
                    <a:pt x="76" y="17"/>
                    <a:pt x="75" y="1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4"/>
                    <a:pt x="73" y="4"/>
                    <a:pt x="73" y="4"/>
                  </a:cubicBezTo>
                  <a:close/>
                  <a:moveTo>
                    <a:pt x="56" y="4"/>
                  </a:moveTo>
                  <a:cubicBezTo>
                    <a:pt x="56" y="4"/>
                    <a:pt x="56" y="4"/>
                    <a:pt x="56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53" y="18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lnTo>
                    <a:pt x="56" y="4"/>
                  </a:lnTo>
                  <a:close/>
                  <a:moveTo>
                    <a:pt x="52" y="22"/>
                  </a:moveTo>
                  <a:cubicBezTo>
                    <a:pt x="52" y="22"/>
                    <a:pt x="52" y="22"/>
                    <a:pt x="5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8"/>
                  </a:cubicBezTo>
                  <a:lnTo>
                    <a:pt x="52" y="22"/>
                  </a:lnTo>
                  <a:close/>
                  <a:moveTo>
                    <a:pt x="39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5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8"/>
                    <a:pt x="48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7"/>
                  </a:cubicBezTo>
                  <a:cubicBezTo>
                    <a:pt x="30" y="17"/>
                    <a:pt x="30" y="17"/>
                    <a:pt x="31" y="1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lose/>
                  <a:moveTo>
                    <a:pt x="48" y="22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9" y="22"/>
                    <a:pt x="29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2"/>
                    <a:pt x="48" y="22"/>
                    <a:pt x="48" y="22"/>
                  </a:cubicBezTo>
                  <a:close/>
                  <a:moveTo>
                    <a:pt x="9" y="17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4" y="4"/>
                    <a:pt x="34" y="4"/>
                  </a:cubicBezTo>
                  <a:cubicBezTo>
                    <a:pt x="34" y="4"/>
                    <a:pt x="34" y="5"/>
                    <a:pt x="34" y="5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7"/>
                    <a:pt x="9" y="17"/>
                  </a:cubicBezTo>
                  <a:cubicBezTo>
                    <a:pt x="8" y="17"/>
                    <a:pt x="8" y="17"/>
                    <a:pt x="9" y="17"/>
                  </a:cubicBezTo>
                  <a:close/>
                  <a:moveTo>
                    <a:pt x="14" y="38"/>
                  </a:move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5" y="38"/>
                    <a:pt x="15" y="38"/>
                    <a:pt x="15" y="38"/>
                  </a:cubicBezTo>
                  <a:lnTo>
                    <a:pt x="14" y="38"/>
                  </a:lnTo>
                  <a:close/>
                  <a:moveTo>
                    <a:pt x="42" y="102"/>
                  </a:moveTo>
                  <a:cubicBezTo>
                    <a:pt x="42" y="102"/>
                    <a:pt x="42" y="102"/>
                    <a:pt x="41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0"/>
                    <a:pt x="3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2" y="60"/>
                    <a:pt x="42" y="60"/>
                  </a:cubicBezTo>
                  <a:lnTo>
                    <a:pt x="42" y="102"/>
                  </a:lnTo>
                  <a:close/>
                  <a:moveTo>
                    <a:pt x="57" y="102"/>
                  </a:moveTo>
                  <a:cubicBezTo>
                    <a:pt x="57" y="102"/>
                    <a:pt x="57" y="102"/>
                    <a:pt x="56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7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lnTo>
                    <a:pt x="57" y="102"/>
                  </a:lnTo>
                  <a:close/>
                  <a:moveTo>
                    <a:pt x="107" y="102"/>
                  </a:moveTo>
                  <a:cubicBezTo>
                    <a:pt x="107" y="102"/>
                    <a:pt x="107" y="102"/>
                    <a:pt x="107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36"/>
                    <a:pt x="27" y="36"/>
                    <a:pt x="27" y="36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lnTo>
                    <a:pt x="107" y="102"/>
                  </a:lnTo>
                  <a:close/>
                  <a:moveTo>
                    <a:pt x="120" y="29"/>
                  </a:moveTo>
                  <a:cubicBezTo>
                    <a:pt x="119" y="31"/>
                    <a:pt x="119" y="31"/>
                    <a:pt x="119" y="31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22"/>
                    <a:pt x="120" y="22"/>
                    <a:pt x="120" y="22"/>
                  </a:cubicBezTo>
                  <a:lnTo>
                    <a:pt x="120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77775876-7CF5-408D-ADB7-6136E653C67E}"/>
              </a:ext>
            </a:extLst>
          </p:cNvPr>
          <p:cNvGrpSpPr/>
          <p:nvPr/>
        </p:nvGrpSpPr>
        <p:grpSpPr>
          <a:xfrm>
            <a:off x="5838825" y="4188619"/>
            <a:ext cx="758825" cy="758825"/>
            <a:chOff x="5838825" y="4151313"/>
            <a:chExt cx="758825" cy="758825"/>
          </a:xfrm>
        </p:grpSpPr>
        <p:sp>
          <p:nvSpPr>
            <p:cNvPr id="264" name="AutoShape 205">
              <a:extLst>
                <a:ext uri="{FF2B5EF4-FFF2-40B4-BE49-F238E27FC236}">
                  <a16:creationId xmlns:a16="http://schemas.microsoft.com/office/drawing/2014/main" id="{438B7792-1622-47C7-BF86-D9B8F28E1E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38825" y="4151313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07">
              <a:extLst>
                <a:ext uri="{FF2B5EF4-FFF2-40B4-BE49-F238E27FC236}">
                  <a16:creationId xmlns:a16="http://schemas.microsoft.com/office/drawing/2014/main" id="{F90D3437-0194-471D-93D8-A67A107F67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2000" y="4154488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08">
              <a:extLst>
                <a:ext uri="{FF2B5EF4-FFF2-40B4-BE49-F238E27FC236}">
                  <a16:creationId xmlns:a16="http://schemas.microsoft.com/office/drawing/2014/main" id="{43E72BFE-1F7F-4076-9238-9ADFB5920B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525" y="4341813"/>
              <a:ext cx="482600" cy="381000"/>
            </a:xfrm>
            <a:custGeom>
              <a:avLst/>
              <a:gdLst>
                <a:gd name="T0" fmla="*/ 243 w 304"/>
                <a:gd name="T1" fmla="*/ 137 h 240"/>
                <a:gd name="T2" fmla="*/ 189 w 304"/>
                <a:gd name="T3" fmla="*/ 231 h 240"/>
                <a:gd name="T4" fmla="*/ 62 w 304"/>
                <a:gd name="T5" fmla="*/ 110 h 240"/>
                <a:gd name="T6" fmla="*/ 145 w 304"/>
                <a:gd name="T7" fmla="*/ 174 h 240"/>
                <a:gd name="T8" fmla="*/ 62 w 304"/>
                <a:gd name="T9" fmla="*/ 110 h 240"/>
                <a:gd name="T10" fmla="*/ 157 w 304"/>
                <a:gd name="T11" fmla="*/ 110 h 240"/>
                <a:gd name="T12" fmla="*/ 272 w 304"/>
                <a:gd name="T13" fmla="*/ 231 h 240"/>
                <a:gd name="T14" fmla="*/ 255 w 304"/>
                <a:gd name="T15" fmla="*/ 125 h 240"/>
                <a:gd name="T16" fmla="*/ 177 w 304"/>
                <a:gd name="T17" fmla="*/ 231 h 240"/>
                <a:gd name="T18" fmla="*/ 32 w 304"/>
                <a:gd name="T19" fmla="*/ 110 h 240"/>
                <a:gd name="T20" fmla="*/ 49 w 304"/>
                <a:gd name="T21" fmla="*/ 184 h 240"/>
                <a:gd name="T22" fmla="*/ 49 w 304"/>
                <a:gd name="T23" fmla="*/ 10 h 240"/>
                <a:gd name="T24" fmla="*/ 52 w 304"/>
                <a:gd name="T25" fmla="*/ 101 h 240"/>
                <a:gd name="T26" fmla="*/ 49 w 304"/>
                <a:gd name="T27" fmla="*/ 10 h 240"/>
                <a:gd name="T28" fmla="*/ 111 w 304"/>
                <a:gd name="T29" fmla="*/ 10 h 240"/>
                <a:gd name="T30" fmla="*/ 64 w 304"/>
                <a:gd name="T31" fmla="*/ 101 h 240"/>
                <a:gd name="T32" fmla="*/ 123 w 304"/>
                <a:gd name="T33" fmla="*/ 10 h 240"/>
                <a:gd name="T34" fmla="*/ 145 w 304"/>
                <a:gd name="T35" fmla="*/ 101 h 240"/>
                <a:gd name="T36" fmla="*/ 123 w 304"/>
                <a:gd name="T37" fmla="*/ 10 h 240"/>
                <a:gd name="T38" fmla="*/ 182 w 304"/>
                <a:gd name="T39" fmla="*/ 10 h 240"/>
                <a:gd name="T40" fmla="*/ 157 w 304"/>
                <a:gd name="T41" fmla="*/ 101 h 240"/>
                <a:gd name="T42" fmla="*/ 194 w 304"/>
                <a:gd name="T43" fmla="*/ 10 h 240"/>
                <a:gd name="T44" fmla="*/ 240 w 304"/>
                <a:gd name="T45" fmla="*/ 101 h 240"/>
                <a:gd name="T46" fmla="*/ 194 w 304"/>
                <a:gd name="T47" fmla="*/ 10 h 240"/>
                <a:gd name="T48" fmla="*/ 253 w 304"/>
                <a:gd name="T49" fmla="*/ 10 h 240"/>
                <a:gd name="T50" fmla="*/ 253 w 304"/>
                <a:gd name="T51" fmla="*/ 101 h 240"/>
                <a:gd name="T52" fmla="*/ 44 w 304"/>
                <a:gd name="T53" fmla="*/ 0 h 240"/>
                <a:gd name="T54" fmla="*/ 3 w 304"/>
                <a:gd name="T55" fmla="*/ 103 h 240"/>
                <a:gd name="T56" fmla="*/ 22 w 304"/>
                <a:gd name="T57" fmla="*/ 110 h 240"/>
                <a:gd name="T58" fmla="*/ 282 w 304"/>
                <a:gd name="T59" fmla="*/ 240 h 240"/>
                <a:gd name="T60" fmla="*/ 304 w 304"/>
                <a:gd name="T61" fmla="*/ 110 h 240"/>
                <a:gd name="T62" fmla="*/ 263 w 304"/>
                <a:gd name="T63" fmla="*/ 3 h 240"/>
                <a:gd name="T64" fmla="*/ 44 w 304"/>
                <a:gd name="T6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4" h="240">
                  <a:moveTo>
                    <a:pt x="189" y="137"/>
                  </a:moveTo>
                  <a:lnTo>
                    <a:pt x="243" y="137"/>
                  </a:lnTo>
                  <a:lnTo>
                    <a:pt x="243" y="231"/>
                  </a:lnTo>
                  <a:lnTo>
                    <a:pt x="189" y="231"/>
                  </a:lnTo>
                  <a:lnTo>
                    <a:pt x="189" y="137"/>
                  </a:lnTo>
                  <a:close/>
                  <a:moveTo>
                    <a:pt x="62" y="110"/>
                  </a:moveTo>
                  <a:lnTo>
                    <a:pt x="145" y="110"/>
                  </a:lnTo>
                  <a:lnTo>
                    <a:pt x="145" y="174"/>
                  </a:lnTo>
                  <a:lnTo>
                    <a:pt x="62" y="174"/>
                  </a:lnTo>
                  <a:lnTo>
                    <a:pt x="62" y="110"/>
                  </a:lnTo>
                  <a:close/>
                  <a:moveTo>
                    <a:pt x="157" y="184"/>
                  </a:moveTo>
                  <a:lnTo>
                    <a:pt x="157" y="110"/>
                  </a:lnTo>
                  <a:lnTo>
                    <a:pt x="272" y="110"/>
                  </a:lnTo>
                  <a:lnTo>
                    <a:pt x="272" y="231"/>
                  </a:lnTo>
                  <a:lnTo>
                    <a:pt x="255" y="231"/>
                  </a:lnTo>
                  <a:lnTo>
                    <a:pt x="255" y="125"/>
                  </a:lnTo>
                  <a:lnTo>
                    <a:pt x="177" y="125"/>
                  </a:lnTo>
                  <a:lnTo>
                    <a:pt x="177" y="231"/>
                  </a:lnTo>
                  <a:lnTo>
                    <a:pt x="32" y="231"/>
                  </a:lnTo>
                  <a:lnTo>
                    <a:pt x="32" y="110"/>
                  </a:lnTo>
                  <a:lnTo>
                    <a:pt x="49" y="110"/>
                  </a:lnTo>
                  <a:lnTo>
                    <a:pt x="49" y="184"/>
                  </a:lnTo>
                  <a:lnTo>
                    <a:pt x="157" y="184"/>
                  </a:lnTo>
                  <a:close/>
                  <a:moveTo>
                    <a:pt x="49" y="10"/>
                  </a:moveTo>
                  <a:lnTo>
                    <a:pt x="74" y="10"/>
                  </a:lnTo>
                  <a:lnTo>
                    <a:pt x="52" y="101"/>
                  </a:lnTo>
                  <a:lnTo>
                    <a:pt x="15" y="101"/>
                  </a:lnTo>
                  <a:lnTo>
                    <a:pt x="49" y="10"/>
                  </a:lnTo>
                  <a:close/>
                  <a:moveTo>
                    <a:pt x="86" y="10"/>
                  </a:moveTo>
                  <a:lnTo>
                    <a:pt x="111" y="10"/>
                  </a:lnTo>
                  <a:lnTo>
                    <a:pt x="98" y="101"/>
                  </a:lnTo>
                  <a:lnTo>
                    <a:pt x="64" y="101"/>
                  </a:lnTo>
                  <a:lnTo>
                    <a:pt x="86" y="10"/>
                  </a:lnTo>
                  <a:close/>
                  <a:moveTo>
                    <a:pt x="123" y="10"/>
                  </a:moveTo>
                  <a:lnTo>
                    <a:pt x="145" y="10"/>
                  </a:lnTo>
                  <a:lnTo>
                    <a:pt x="145" y="101"/>
                  </a:lnTo>
                  <a:lnTo>
                    <a:pt x="111" y="101"/>
                  </a:lnTo>
                  <a:lnTo>
                    <a:pt x="123" y="10"/>
                  </a:lnTo>
                  <a:close/>
                  <a:moveTo>
                    <a:pt x="157" y="10"/>
                  </a:moveTo>
                  <a:lnTo>
                    <a:pt x="182" y="10"/>
                  </a:lnTo>
                  <a:lnTo>
                    <a:pt x="194" y="101"/>
                  </a:lnTo>
                  <a:lnTo>
                    <a:pt x="157" y="101"/>
                  </a:lnTo>
                  <a:lnTo>
                    <a:pt x="157" y="10"/>
                  </a:lnTo>
                  <a:close/>
                  <a:moveTo>
                    <a:pt x="194" y="10"/>
                  </a:moveTo>
                  <a:lnTo>
                    <a:pt x="218" y="10"/>
                  </a:lnTo>
                  <a:lnTo>
                    <a:pt x="240" y="101"/>
                  </a:lnTo>
                  <a:lnTo>
                    <a:pt x="204" y="101"/>
                  </a:lnTo>
                  <a:lnTo>
                    <a:pt x="194" y="10"/>
                  </a:lnTo>
                  <a:close/>
                  <a:moveTo>
                    <a:pt x="228" y="10"/>
                  </a:moveTo>
                  <a:lnTo>
                    <a:pt x="253" y="10"/>
                  </a:lnTo>
                  <a:lnTo>
                    <a:pt x="290" y="101"/>
                  </a:lnTo>
                  <a:lnTo>
                    <a:pt x="253" y="101"/>
                  </a:lnTo>
                  <a:lnTo>
                    <a:pt x="228" y="10"/>
                  </a:lnTo>
                  <a:close/>
                  <a:moveTo>
                    <a:pt x="44" y="0"/>
                  </a:moveTo>
                  <a:lnTo>
                    <a:pt x="42" y="3"/>
                  </a:lnTo>
                  <a:lnTo>
                    <a:pt x="3" y="103"/>
                  </a:lnTo>
                  <a:lnTo>
                    <a:pt x="0" y="110"/>
                  </a:lnTo>
                  <a:lnTo>
                    <a:pt x="22" y="110"/>
                  </a:lnTo>
                  <a:lnTo>
                    <a:pt x="22" y="240"/>
                  </a:lnTo>
                  <a:lnTo>
                    <a:pt x="282" y="240"/>
                  </a:lnTo>
                  <a:lnTo>
                    <a:pt x="282" y="110"/>
                  </a:lnTo>
                  <a:lnTo>
                    <a:pt x="304" y="110"/>
                  </a:lnTo>
                  <a:lnTo>
                    <a:pt x="302" y="103"/>
                  </a:lnTo>
                  <a:lnTo>
                    <a:pt x="263" y="3"/>
                  </a:lnTo>
                  <a:lnTo>
                    <a:pt x="26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09">
              <a:extLst>
                <a:ext uri="{FF2B5EF4-FFF2-40B4-BE49-F238E27FC236}">
                  <a16:creationId xmlns:a16="http://schemas.microsoft.com/office/drawing/2014/main" id="{BBD26DFD-DE91-4022-8DAD-79A27213D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525" y="4341813"/>
              <a:ext cx="482600" cy="381000"/>
            </a:xfrm>
            <a:custGeom>
              <a:avLst/>
              <a:gdLst>
                <a:gd name="T0" fmla="*/ 243 w 304"/>
                <a:gd name="T1" fmla="*/ 137 h 240"/>
                <a:gd name="T2" fmla="*/ 189 w 304"/>
                <a:gd name="T3" fmla="*/ 231 h 240"/>
                <a:gd name="T4" fmla="*/ 62 w 304"/>
                <a:gd name="T5" fmla="*/ 110 h 240"/>
                <a:gd name="T6" fmla="*/ 145 w 304"/>
                <a:gd name="T7" fmla="*/ 174 h 240"/>
                <a:gd name="T8" fmla="*/ 62 w 304"/>
                <a:gd name="T9" fmla="*/ 110 h 240"/>
                <a:gd name="T10" fmla="*/ 157 w 304"/>
                <a:gd name="T11" fmla="*/ 110 h 240"/>
                <a:gd name="T12" fmla="*/ 272 w 304"/>
                <a:gd name="T13" fmla="*/ 231 h 240"/>
                <a:gd name="T14" fmla="*/ 255 w 304"/>
                <a:gd name="T15" fmla="*/ 125 h 240"/>
                <a:gd name="T16" fmla="*/ 177 w 304"/>
                <a:gd name="T17" fmla="*/ 231 h 240"/>
                <a:gd name="T18" fmla="*/ 32 w 304"/>
                <a:gd name="T19" fmla="*/ 110 h 240"/>
                <a:gd name="T20" fmla="*/ 49 w 304"/>
                <a:gd name="T21" fmla="*/ 184 h 240"/>
                <a:gd name="T22" fmla="*/ 49 w 304"/>
                <a:gd name="T23" fmla="*/ 10 h 240"/>
                <a:gd name="T24" fmla="*/ 52 w 304"/>
                <a:gd name="T25" fmla="*/ 101 h 240"/>
                <a:gd name="T26" fmla="*/ 49 w 304"/>
                <a:gd name="T27" fmla="*/ 10 h 240"/>
                <a:gd name="T28" fmla="*/ 111 w 304"/>
                <a:gd name="T29" fmla="*/ 10 h 240"/>
                <a:gd name="T30" fmla="*/ 64 w 304"/>
                <a:gd name="T31" fmla="*/ 101 h 240"/>
                <a:gd name="T32" fmla="*/ 123 w 304"/>
                <a:gd name="T33" fmla="*/ 10 h 240"/>
                <a:gd name="T34" fmla="*/ 145 w 304"/>
                <a:gd name="T35" fmla="*/ 101 h 240"/>
                <a:gd name="T36" fmla="*/ 123 w 304"/>
                <a:gd name="T37" fmla="*/ 10 h 240"/>
                <a:gd name="T38" fmla="*/ 182 w 304"/>
                <a:gd name="T39" fmla="*/ 10 h 240"/>
                <a:gd name="T40" fmla="*/ 157 w 304"/>
                <a:gd name="T41" fmla="*/ 101 h 240"/>
                <a:gd name="T42" fmla="*/ 194 w 304"/>
                <a:gd name="T43" fmla="*/ 10 h 240"/>
                <a:gd name="T44" fmla="*/ 240 w 304"/>
                <a:gd name="T45" fmla="*/ 101 h 240"/>
                <a:gd name="T46" fmla="*/ 194 w 304"/>
                <a:gd name="T47" fmla="*/ 10 h 240"/>
                <a:gd name="T48" fmla="*/ 253 w 304"/>
                <a:gd name="T49" fmla="*/ 10 h 240"/>
                <a:gd name="T50" fmla="*/ 253 w 304"/>
                <a:gd name="T51" fmla="*/ 101 h 240"/>
                <a:gd name="T52" fmla="*/ 44 w 304"/>
                <a:gd name="T53" fmla="*/ 0 h 240"/>
                <a:gd name="T54" fmla="*/ 3 w 304"/>
                <a:gd name="T55" fmla="*/ 103 h 240"/>
                <a:gd name="T56" fmla="*/ 22 w 304"/>
                <a:gd name="T57" fmla="*/ 110 h 240"/>
                <a:gd name="T58" fmla="*/ 282 w 304"/>
                <a:gd name="T59" fmla="*/ 240 h 240"/>
                <a:gd name="T60" fmla="*/ 304 w 304"/>
                <a:gd name="T61" fmla="*/ 110 h 240"/>
                <a:gd name="T62" fmla="*/ 263 w 304"/>
                <a:gd name="T63" fmla="*/ 3 h 240"/>
                <a:gd name="T64" fmla="*/ 44 w 304"/>
                <a:gd name="T6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4" h="240">
                  <a:moveTo>
                    <a:pt x="189" y="137"/>
                  </a:moveTo>
                  <a:lnTo>
                    <a:pt x="243" y="137"/>
                  </a:lnTo>
                  <a:lnTo>
                    <a:pt x="243" y="231"/>
                  </a:lnTo>
                  <a:lnTo>
                    <a:pt x="189" y="231"/>
                  </a:lnTo>
                  <a:lnTo>
                    <a:pt x="189" y="137"/>
                  </a:lnTo>
                  <a:close/>
                  <a:moveTo>
                    <a:pt x="62" y="110"/>
                  </a:moveTo>
                  <a:lnTo>
                    <a:pt x="145" y="110"/>
                  </a:lnTo>
                  <a:lnTo>
                    <a:pt x="145" y="174"/>
                  </a:lnTo>
                  <a:lnTo>
                    <a:pt x="62" y="174"/>
                  </a:lnTo>
                  <a:lnTo>
                    <a:pt x="62" y="110"/>
                  </a:lnTo>
                  <a:close/>
                  <a:moveTo>
                    <a:pt x="157" y="184"/>
                  </a:moveTo>
                  <a:lnTo>
                    <a:pt x="157" y="110"/>
                  </a:lnTo>
                  <a:lnTo>
                    <a:pt x="272" y="110"/>
                  </a:lnTo>
                  <a:lnTo>
                    <a:pt x="272" y="231"/>
                  </a:lnTo>
                  <a:lnTo>
                    <a:pt x="255" y="231"/>
                  </a:lnTo>
                  <a:lnTo>
                    <a:pt x="255" y="125"/>
                  </a:lnTo>
                  <a:lnTo>
                    <a:pt x="177" y="125"/>
                  </a:lnTo>
                  <a:lnTo>
                    <a:pt x="177" y="231"/>
                  </a:lnTo>
                  <a:lnTo>
                    <a:pt x="32" y="231"/>
                  </a:lnTo>
                  <a:lnTo>
                    <a:pt x="32" y="110"/>
                  </a:lnTo>
                  <a:lnTo>
                    <a:pt x="49" y="110"/>
                  </a:lnTo>
                  <a:lnTo>
                    <a:pt x="49" y="184"/>
                  </a:lnTo>
                  <a:lnTo>
                    <a:pt x="157" y="184"/>
                  </a:lnTo>
                  <a:close/>
                  <a:moveTo>
                    <a:pt x="49" y="10"/>
                  </a:moveTo>
                  <a:lnTo>
                    <a:pt x="74" y="10"/>
                  </a:lnTo>
                  <a:lnTo>
                    <a:pt x="52" y="101"/>
                  </a:lnTo>
                  <a:lnTo>
                    <a:pt x="15" y="101"/>
                  </a:lnTo>
                  <a:lnTo>
                    <a:pt x="49" y="10"/>
                  </a:lnTo>
                  <a:close/>
                  <a:moveTo>
                    <a:pt x="86" y="10"/>
                  </a:moveTo>
                  <a:lnTo>
                    <a:pt x="111" y="10"/>
                  </a:lnTo>
                  <a:lnTo>
                    <a:pt x="98" y="101"/>
                  </a:lnTo>
                  <a:lnTo>
                    <a:pt x="64" y="101"/>
                  </a:lnTo>
                  <a:lnTo>
                    <a:pt x="86" y="10"/>
                  </a:lnTo>
                  <a:close/>
                  <a:moveTo>
                    <a:pt x="123" y="10"/>
                  </a:moveTo>
                  <a:lnTo>
                    <a:pt x="145" y="10"/>
                  </a:lnTo>
                  <a:lnTo>
                    <a:pt x="145" y="101"/>
                  </a:lnTo>
                  <a:lnTo>
                    <a:pt x="111" y="101"/>
                  </a:lnTo>
                  <a:lnTo>
                    <a:pt x="123" y="10"/>
                  </a:lnTo>
                  <a:close/>
                  <a:moveTo>
                    <a:pt x="157" y="10"/>
                  </a:moveTo>
                  <a:lnTo>
                    <a:pt x="182" y="10"/>
                  </a:lnTo>
                  <a:lnTo>
                    <a:pt x="194" y="101"/>
                  </a:lnTo>
                  <a:lnTo>
                    <a:pt x="157" y="101"/>
                  </a:lnTo>
                  <a:lnTo>
                    <a:pt x="157" y="10"/>
                  </a:lnTo>
                  <a:close/>
                  <a:moveTo>
                    <a:pt x="194" y="10"/>
                  </a:moveTo>
                  <a:lnTo>
                    <a:pt x="218" y="10"/>
                  </a:lnTo>
                  <a:lnTo>
                    <a:pt x="240" y="101"/>
                  </a:lnTo>
                  <a:lnTo>
                    <a:pt x="204" y="101"/>
                  </a:lnTo>
                  <a:lnTo>
                    <a:pt x="194" y="10"/>
                  </a:lnTo>
                  <a:close/>
                  <a:moveTo>
                    <a:pt x="228" y="10"/>
                  </a:moveTo>
                  <a:lnTo>
                    <a:pt x="253" y="10"/>
                  </a:lnTo>
                  <a:lnTo>
                    <a:pt x="290" y="101"/>
                  </a:lnTo>
                  <a:lnTo>
                    <a:pt x="253" y="101"/>
                  </a:lnTo>
                  <a:lnTo>
                    <a:pt x="228" y="10"/>
                  </a:lnTo>
                  <a:close/>
                  <a:moveTo>
                    <a:pt x="44" y="0"/>
                  </a:moveTo>
                  <a:lnTo>
                    <a:pt x="42" y="3"/>
                  </a:lnTo>
                  <a:lnTo>
                    <a:pt x="3" y="103"/>
                  </a:lnTo>
                  <a:lnTo>
                    <a:pt x="0" y="110"/>
                  </a:lnTo>
                  <a:lnTo>
                    <a:pt x="22" y="110"/>
                  </a:lnTo>
                  <a:lnTo>
                    <a:pt x="22" y="240"/>
                  </a:lnTo>
                  <a:lnTo>
                    <a:pt x="282" y="240"/>
                  </a:lnTo>
                  <a:lnTo>
                    <a:pt x="282" y="110"/>
                  </a:lnTo>
                  <a:lnTo>
                    <a:pt x="304" y="110"/>
                  </a:lnTo>
                  <a:lnTo>
                    <a:pt x="302" y="103"/>
                  </a:lnTo>
                  <a:lnTo>
                    <a:pt x="263" y="3"/>
                  </a:lnTo>
                  <a:lnTo>
                    <a:pt x="26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49472B3A-BA8F-4CA9-8F90-7D9AE658BA50}"/>
              </a:ext>
            </a:extLst>
          </p:cNvPr>
          <p:cNvGrpSpPr/>
          <p:nvPr/>
        </p:nvGrpSpPr>
        <p:grpSpPr>
          <a:xfrm>
            <a:off x="4756150" y="4145756"/>
            <a:ext cx="844550" cy="844551"/>
            <a:chOff x="4756150" y="4117975"/>
            <a:chExt cx="844550" cy="844551"/>
          </a:xfrm>
        </p:grpSpPr>
        <p:sp>
          <p:nvSpPr>
            <p:cNvPr id="272" name="AutoShape 211">
              <a:extLst>
                <a:ext uri="{FF2B5EF4-FFF2-40B4-BE49-F238E27FC236}">
                  <a16:creationId xmlns:a16="http://schemas.microsoft.com/office/drawing/2014/main" id="{530CB983-757F-4749-8AB2-61DC20386C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56150" y="4117975"/>
              <a:ext cx="841375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Oval 213">
              <a:extLst>
                <a:ext uri="{FF2B5EF4-FFF2-40B4-BE49-F238E27FC236}">
                  <a16:creationId xmlns:a16="http://schemas.microsoft.com/office/drawing/2014/main" id="{4E09679F-78B4-4AD3-A89A-0C88441AA4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150" y="4117975"/>
              <a:ext cx="844550" cy="844551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14">
              <a:extLst>
                <a:ext uri="{FF2B5EF4-FFF2-40B4-BE49-F238E27FC236}">
                  <a16:creationId xmlns:a16="http://schemas.microsoft.com/office/drawing/2014/main" id="{40A4EBC4-B6D9-46EE-A11F-E7DA30D7D6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4725" y="4146550"/>
              <a:ext cx="788988" cy="78740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15">
              <a:extLst>
                <a:ext uri="{FF2B5EF4-FFF2-40B4-BE49-F238E27FC236}">
                  <a16:creationId xmlns:a16="http://schemas.microsoft.com/office/drawing/2014/main" id="{D9AD160F-A3CE-4B0C-9D8C-6D79BFC28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6013" y="4340225"/>
              <a:ext cx="504825" cy="398463"/>
            </a:xfrm>
            <a:custGeom>
              <a:avLst/>
              <a:gdLst>
                <a:gd name="T0" fmla="*/ 254 w 318"/>
                <a:gd name="T1" fmla="*/ 144 h 251"/>
                <a:gd name="T2" fmla="*/ 198 w 318"/>
                <a:gd name="T3" fmla="*/ 241 h 251"/>
                <a:gd name="T4" fmla="*/ 64 w 318"/>
                <a:gd name="T5" fmla="*/ 115 h 251"/>
                <a:gd name="T6" fmla="*/ 151 w 318"/>
                <a:gd name="T7" fmla="*/ 182 h 251"/>
                <a:gd name="T8" fmla="*/ 64 w 318"/>
                <a:gd name="T9" fmla="*/ 115 h 251"/>
                <a:gd name="T10" fmla="*/ 164 w 318"/>
                <a:gd name="T11" fmla="*/ 115 h 251"/>
                <a:gd name="T12" fmla="*/ 285 w 318"/>
                <a:gd name="T13" fmla="*/ 241 h 251"/>
                <a:gd name="T14" fmla="*/ 267 w 318"/>
                <a:gd name="T15" fmla="*/ 131 h 251"/>
                <a:gd name="T16" fmla="*/ 185 w 318"/>
                <a:gd name="T17" fmla="*/ 241 h 251"/>
                <a:gd name="T18" fmla="*/ 34 w 318"/>
                <a:gd name="T19" fmla="*/ 115 h 251"/>
                <a:gd name="T20" fmla="*/ 52 w 318"/>
                <a:gd name="T21" fmla="*/ 192 h 251"/>
                <a:gd name="T22" fmla="*/ 52 w 318"/>
                <a:gd name="T23" fmla="*/ 11 h 251"/>
                <a:gd name="T24" fmla="*/ 54 w 318"/>
                <a:gd name="T25" fmla="*/ 105 h 251"/>
                <a:gd name="T26" fmla="*/ 52 w 318"/>
                <a:gd name="T27" fmla="*/ 11 h 251"/>
                <a:gd name="T28" fmla="*/ 116 w 318"/>
                <a:gd name="T29" fmla="*/ 11 h 251"/>
                <a:gd name="T30" fmla="*/ 67 w 318"/>
                <a:gd name="T31" fmla="*/ 105 h 251"/>
                <a:gd name="T32" fmla="*/ 128 w 318"/>
                <a:gd name="T33" fmla="*/ 11 h 251"/>
                <a:gd name="T34" fmla="*/ 151 w 318"/>
                <a:gd name="T35" fmla="*/ 105 h 251"/>
                <a:gd name="T36" fmla="*/ 128 w 318"/>
                <a:gd name="T37" fmla="*/ 11 h 251"/>
                <a:gd name="T38" fmla="*/ 190 w 318"/>
                <a:gd name="T39" fmla="*/ 11 h 251"/>
                <a:gd name="T40" fmla="*/ 164 w 318"/>
                <a:gd name="T41" fmla="*/ 105 h 251"/>
                <a:gd name="T42" fmla="*/ 203 w 318"/>
                <a:gd name="T43" fmla="*/ 11 h 251"/>
                <a:gd name="T44" fmla="*/ 251 w 318"/>
                <a:gd name="T45" fmla="*/ 105 h 251"/>
                <a:gd name="T46" fmla="*/ 203 w 318"/>
                <a:gd name="T47" fmla="*/ 11 h 251"/>
                <a:gd name="T48" fmla="*/ 264 w 318"/>
                <a:gd name="T49" fmla="*/ 11 h 251"/>
                <a:gd name="T50" fmla="*/ 264 w 318"/>
                <a:gd name="T51" fmla="*/ 105 h 251"/>
                <a:gd name="T52" fmla="*/ 47 w 318"/>
                <a:gd name="T53" fmla="*/ 0 h 251"/>
                <a:gd name="T54" fmla="*/ 3 w 318"/>
                <a:gd name="T55" fmla="*/ 108 h 251"/>
                <a:gd name="T56" fmla="*/ 23 w 318"/>
                <a:gd name="T57" fmla="*/ 115 h 251"/>
                <a:gd name="T58" fmla="*/ 295 w 318"/>
                <a:gd name="T59" fmla="*/ 251 h 251"/>
                <a:gd name="T60" fmla="*/ 318 w 318"/>
                <a:gd name="T61" fmla="*/ 115 h 251"/>
                <a:gd name="T62" fmla="*/ 274 w 318"/>
                <a:gd name="T63" fmla="*/ 3 h 251"/>
                <a:gd name="T64" fmla="*/ 47 w 318"/>
                <a:gd name="T65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8" h="251">
                  <a:moveTo>
                    <a:pt x="198" y="144"/>
                  </a:moveTo>
                  <a:lnTo>
                    <a:pt x="254" y="144"/>
                  </a:lnTo>
                  <a:lnTo>
                    <a:pt x="254" y="241"/>
                  </a:lnTo>
                  <a:lnTo>
                    <a:pt x="198" y="241"/>
                  </a:lnTo>
                  <a:lnTo>
                    <a:pt x="198" y="144"/>
                  </a:lnTo>
                  <a:close/>
                  <a:moveTo>
                    <a:pt x="64" y="115"/>
                  </a:moveTo>
                  <a:lnTo>
                    <a:pt x="151" y="115"/>
                  </a:lnTo>
                  <a:lnTo>
                    <a:pt x="151" y="182"/>
                  </a:lnTo>
                  <a:lnTo>
                    <a:pt x="64" y="182"/>
                  </a:lnTo>
                  <a:lnTo>
                    <a:pt x="64" y="115"/>
                  </a:lnTo>
                  <a:close/>
                  <a:moveTo>
                    <a:pt x="164" y="192"/>
                  </a:moveTo>
                  <a:lnTo>
                    <a:pt x="164" y="115"/>
                  </a:lnTo>
                  <a:lnTo>
                    <a:pt x="285" y="115"/>
                  </a:lnTo>
                  <a:lnTo>
                    <a:pt x="285" y="241"/>
                  </a:lnTo>
                  <a:lnTo>
                    <a:pt x="267" y="241"/>
                  </a:lnTo>
                  <a:lnTo>
                    <a:pt x="267" y="131"/>
                  </a:lnTo>
                  <a:lnTo>
                    <a:pt x="185" y="131"/>
                  </a:lnTo>
                  <a:lnTo>
                    <a:pt x="185" y="241"/>
                  </a:lnTo>
                  <a:lnTo>
                    <a:pt x="34" y="241"/>
                  </a:lnTo>
                  <a:lnTo>
                    <a:pt x="34" y="115"/>
                  </a:lnTo>
                  <a:lnTo>
                    <a:pt x="52" y="115"/>
                  </a:lnTo>
                  <a:lnTo>
                    <a:pt x="52" y="192"/>
                  </a:lnTo>
                  <a:lnTo>
                    <a:pt x="164" y="192"/>
                  </a:lnTo>
                  <a:close/>
                  <a:moveTo>
                    <a:pt x="52" y="11"/>
                  </a:moveTo>
                  <a:lnTo>
                    <a:pt x="77" y="11"/>
                  </a:lnTo>
                  <a:lnTo>
                    <a:pt x="54" y="105"/>
                  </a:lnTo>
                  <a:lnTo>
                    <a:pt x="16" y="105"/>
                  </a:lnTo>
                  <a:lnTo>
                    <a:pt x="52" y="11"/>
                  </a:lnTo>
                  <a:close/>
                  <a:moveTo>
                    <a:pt x="90" y="11"/>
                  </a:moveTo>
                  <a:lnTo>
                    <a:pt x="116" y="11"/>
                  </a:lnTo>
                  <a:lnTo>
                    <a:pt x="103" y="105"/>
                  </a:lnTo>
                  <a:lnTo>
                    <a:pt x="67" y="105"/>
                  </a:lnTo>
                  <a:lnTo>
                    <a:pt x="90" y="11"/>
                  </a:lnTo>
                  <a:close/>
                  <a:moveTo>
                    <a:pt x="128" y="11"/>
                  </a:moveTo>
                  <a:lnTo>
                    <a:pt x="151" y="11"/>
                  </a:lnTo>
                  <a:lnTo>
                    <a:pt x="151" y="105"/>
                  </a:lnTo>
                  <a:lnTo>
                    <a:pt x="116" y="105"/>
                  </a:lnTo>
                  <a:lnTo>
                    <a:pt x="128" y="11"/>
                  </a:lnTo>
                  <a:close/>
                  <a:moveTo>
                    <a:pt x="164" y="11"/>
                  </a:moveTo>
                  <a:lnTo>
                    <a:pt x="190" y="11"/>
                  </a:lnTo>
                  <a:lnTo>
                    <a:pt x="203" y="105"/>
                  </a:lnTo>
                  <a:lnTo>
                    <a:pt x="164" y="105"/>
                  </a:lnTo>
                  <a:lnTo>
                    <a:pt x="164" y="11"/>
                  </a:lnTo>
                  <a:close/>
                  <a:moveTo>
                    <a:pt x="203" y="11"/>
                  </a:moveTo>
                  <a:lnTo>
                    <a:pt x="228" y="11"/>
                  </a:lnTo>
                  <a:lnTo>
                    <a:pt x="251" y="105"/>
                  </a:lnTo>
                  <a:lnTo>
                    <a:pt x="213" y="105"/>
                  </a:lnTo>
                  <a:lnTo>
                    <a:pt x="203" y="11"/>
                  </a:lnTo>
                  <a:close/>
                  <a:moveTo>
                    <a:pt x="239" y="11"/>
                  </a:moveTo>
                  <a:lnTo>
                    <a:pt x="264" y="11"/>
                  </a:lnTo>
                  <a:lnTo>
                    <a:pt x="303" y="105"/>
                  </a:lnTo>
                  <a:lnTo>
                    <a:pt x="264" y="105"/>
                  </a:lnTo>
                  <a:lnTo>
                    <a:pt x="239" y="11"/>
                  </a:lnTo>
                  <a:close/>
                  <a:moveTo>
                    <a:pt x="47" y="0"/>
                  </a:moveTo>
                  <a:lnTo>
                    <a:pt x="44" y="3"/>
                  </a:lnTo>
                  <a:lnTo>
                    <a:pt x="3" y="108"/>
                  </a:lnTo>
                  <a:lnTo>
                    <a:pt x="0" y="115"/>
                  </a:lnTo>
                  <a:lnTo>
                    <a:pt x="23" y="115"/>
                  </a:lnTo>
                  <a:lnTo>
                    <a:pt x="23" y="251"/>
                  </a:lnTo>
                  <a:lnTo>
                    <a:pt x="295" y="251"/>
                  </a:lnTo>
                  <a:lnTo>
                    <a:pt x="295" y="115"/>
                  </a:lnTo>
                  <a:lnTo>
                    <a:pt x="318" y="115"/>
                  </a:lnTo>
                  <a:lnTo>
                    <a:pt x="315" y="108"/>
                  </a:lnTo>
                  <a:lnTo>
                    <a:pt x="274" y="3"/>
                  </a:lnTo>
                  <a:lnTo>
                    <a:pt x="272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id="{38F89E49-C330-4081-9A18-58BB2E3E4101}"/>
              </a:ext>
            </a:extLst>
          </p:cNvPr>
          <p:cNvGrpSpPr/>
          <p:nvPr/>
        </p:nvGrpSpPr>
        <p:grpSpPr>
          <a:xfrm>
            <a:off x="7993063" y="4188619"/>
            <a:ext cx="758825" cy="758825"/>
            <a:chOff x="7993063" y="4148138"/>
            <a:chExt cx="758825" cy="758825"/>
          </a:xfrm>
        </p:grpSpPr>
        <p:sp>
          <p:nvSpPr>
            <p:cNvPr id="280" name="AutoShape 217">
              <a:extLst>
                <a:ext uri="{FF2B5EF4-FFF2-40B4-BE49-F238E27FC236}">
                  <a16:creationId xmlns:a16="http://schemas.microsoft.com/office/drawing/2014/main" id="{7454CF58-A77F-49EB-87C4-F179A1E4FD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93063" y="4148138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19">
              <a:extLst>
                <a:ext uri="{FF2B5EF4-FFF2-40B4-BE49-F238E27FC236}">
                  <a16:creationId xmlns:a16="http://schemas.microsoft.com/office/drawing/2014/main" id="{3F82C4CB-1594-4653-8D43-20997DB06D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6238" y="4151313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20">
              <a:extLst>
                <a:ext uri="{FF2B5EF4-FFF2-40B4-BE49-F238E27FC236}">
                  <a16:creationId xmlns:a16="http://schemas.microsoft.com/office/drawing/2014/main" id="{46266F6A-2CDA-4AB6-B651-664D0D151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6888" y="4346576"/>
              <a:ext cx="514350" cy="365125"/>
            </a:xfrm>
            <a:custGeom>
              <a:avLst/>
              <a:gdLst>
                <a:gd name="T0" fmla="*/ 57 w 324"/>
                <a:gd name="T1" fmla="*/ 169 h 230"/>
                <a:gd name="T2" fmla="*/ 103 w 324"/>
                <a:gd name="T3" fmla="*/ 125 h 230"/>
                <a:gd name="T4" fmla="*/ 103 w 324"/>
                <a:gd name="T5" fmla="*/ 113 h 230"/>
                <a:gd name="T6" fmla="*/ 57 w 324"/>
                <a:gd name="T7" fmla="*/ 96 h 230"/>
                <a:gd name="T8" fmla="*/ 103 w 324"/>
                <a:gd name="T9" fmla="*/ 113 h 230"/>
                <a:gd name="T10" fmla="*/ 113 w 324"/>
                <a:gd name="T11" fmla="*/ 179 h 230"/>
                <a:gd name="T12" fmla="*/ 45 w 324"/>
                <a:gd name="T13" fmla="*/ 83 h 230"/>
                <a:gd name="T14" fmla="*/ 187 w 324"/>
                <a:gd name="T15" fmla="*/ 113 h 230"/>
                <a:gd name="T16" fmla="*/ 138 w 324"/>
                <a:gd name="T17" fmla="*/ 96 h 230"/>
                <a:gd name="T18" fmla="*/ 187 w 324"/>
                <a:gd name="T19" fmla="*/ 113 h 230"/>
                <a:gd name="T20" fmla="*/ 197 w 324"/>
                <a:gd name="T21" fmla="*/ 125 h 230"/>
                <a:gd name="T22" fmla="*/ 128 w 324"/>
                <a:gd name="T23" fmla="*/ 83 h 230"/>
                <a:gd name="T24" fmla="*/ 268 w 324"/>
                <a:gd name="T25" fmla="*/ 169 h 230"/>
                <a:gd name="T26" fmla="*/ 221 w 324"/>
                <a:gd name="T27" fmla="*/ 125 h 230"/>
                <a:gd name="T28" fmla="*/ 268 w 324"/>
                <a:gd name="T29" fmla="*/ 169 h 230"/>
                <a:gd name="T30" fmla="*/ 221 w 324"/>
                <a:gd name="T31" fmla="*/ 113 h 230"/>
                <a:gd name="T32" fmla="*/ 268 w 324"/>
                <a:gd name="T33" fmla="*/ 96 h 230"/>
                <a:gd name="T34" fmla="*/ 211 w 324"/>
                <a:gd name="T35" fmla="*/ 179 h 230"/>
                <a:gd name="T36" fmla="*/ 280 w 324"/>
                <a:gd name="T37" fmla="*/ 83 h 230"/>
                <a:gd name="T38" fmla="*/ 211 w 324"/>
                <a:gd name="T39" fmla="*/ 179 h 230"/>
                <a:gd name="T40" fmla="*/ 184 w 324"/>
                <a:gd name="T41" fmla="*/ 154 h 230"/>
                <a:gd name="T42" fmla="*/ 140 w 324"/>
                <a:gd name="T43" fmla="*/ 218 h 230"/>
                <a:gd name="T44" fmla="*/ 27 w 324"/>
                <a:gd name="T45" fmla="*/ 69 h 230"/>
                <a:gd name="T46" fmla="*/ 297 w 324"/>
                <a:gd name="T47" fmla="*/ 218 h 230"/>
                <a:gd name="T48" fmla="*/ 194 w 324"/>
                <a:gd name="T49" fmla="*/ 145 h 230"/>
                <a:gd name="T50" fmla="*/ 130 w 324"/>
                <a:gd name="T51" fmla="*/ 218 h 230"/>
                <a:gd name="T52" fmla="*/ 27 w 324"/>
                <a:gd name="T53" fmla="*/ 69 h 230"/>
                <a:gd name="T54" fmla="*/ 10 w 324"/>
                <a:gd name="T55" fmla="*/ 39 h 230"/>
                <a:gd name="T56" fmla="*/ 314 w 324"/>
                <a:gd name="T57" fmla="*/ 47 h 230"/>
                <a:gd name="T58" fmla="*/ 25 w 324"/>
                <a:gd name="T59" fmla="*/ 59 h 230"/>
                <a:gd name="T60" fmla="*/ 86 w 324"/>
                <a:gd name="T61" fmla="*/ 12 h 230"/>
                <a:gd name="T62" fmla="*/ 268 w 324"/>
                <a:gd name="T63" fmla="*/ 27 h 230"/>
                <a:gd name="T64" fmla="*/ 86 w 324"/>
                <a:gd name="T65" fmla="*/ 12 h 230"/>
                <a:gd name="T66" fmla="*/ 37 w 324"/>
                <a:gd name="T67" fmla="*/ 27 h 230"/>
                <a:gd name="T68" fmla="*/ 0 w 324"/>
                <a:gd name="T69" fmla="*/ 54 h 230"/>
                <a:gd name="T70" fmla="*/ 18 w 324"/>
                <a:gd name="T71" fmla="*/ 66 h 230"/>
                <a:gd name="T72" fmla="*/ 307 w 324"/>
                <a:gd name="T73" fmla="*/ 230 h 230"/>
                <a:gd name="T74" fmla="*/ 324 w 324"/>
                <a:gd name="T75" fmla="*/ 54 h 230"/>
                <a:gd name="T76" fmla="*/ 324 w 324"/>
                <a:gd name="T77" fmla="*/ 27 h 230"/>
                <a:gd name="T78" fmla="*/ 241 w 324"/>
                <a:gd name="T7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4" h="230">
                  <a:moveTo>
                    <a:pt x="103" y="169"/>
                  </a:moveTo>
                  <a:lnTo>
                    <a:pt x="57" y="169"/>
                  </a:lnTo>
                  <a:lnTo>
                    <a:pt x="57" y="125"/>
                  </a:lnTo>
                  <a:lnTo>
                    <a:pt x="103" y="125"/>
                  </a:lnTo>
                  <a:lnTo>
                    <a:pt x="103" y="169"/>
                  </a:lnTo>
                  <a:close/>
                  <a:moveTo>
                    <a:pt x="103" y="113"/>
                  </a:moveTo>
                  <a:lnTo>
                    <a:pt x="57" y="113"/>
                  </a:lnTo>
                  <a:lnTo>
                    <a:pt x="57" y="96"/>
                  </a:lnTo>
                  <a:lnTo>
                    <a:pt x="103" y="96"/>
                  </a:lnTo>
                  <a:lnTo>
                    <a:pt x="103" y="113"/>
                  </a:lnTo>
                  <a:close/>
                  <a:moveTo>
                    <a:pt x="45" y="179"/>
                  </a:moveTo>
                  <a:lnTo>
                    <a:pt x="113" y="179"/>
                  </a:lnTo>
                  <a:lnTo>
                    <a:pt x="113" y="83"/>
                  </a:lnTo>
                  <a:lnTo>
                    <a:pt x="45" y="83"/>
                  </a:lnTo>
                  <a:lnTo>
                    <a:pt x="45" y="179"/>
                  </a:lnTo>
                  <a:close/>
                  <a:moveTo>
                    <a:pt x="187" y="113"/>
                  </a:moveTo>
                  <a:lnTo>
                    <a:pt x="138" y="113"/>
                  </a:lnTo>
                  <a:lnTo>
                    <a:pt x="138" y="96"/>
                  </a:lnTo>
                  <a:lnTo>
                    <a:pt x="187" y="96"/>
                  </a:lnTo>
                  <a:lnTo>
                    <a:pt x="187" y="113"/>
                  </a:lnTo>
                  <a:close/>
                  <a:moveTo>
                    <a:pt x="128" y="125"/>
                  </a:moveTo>
                  <a:lnTo>
                    <a:pt x="197" y="125"/>
                  </a:lnTo>
                  <a:lnTo>
                    <a:pt x="197" y="83"/>
                  </a:lnTo>
                  <a:lnTo>
                    <a:pt x="128" y="83"/>
                  </a:lnTo>
                  <a:lnTo>
                    <a:pt x="128" y="125"/>
                  </a:lnTo>
                  <a:close/>
                  <a:moveTo>
                    <a:pt x="268" y="169"/>
                  </a:moveTo>
                  <a:lnTo>
                    <a:pt x="221" y="169"/>
                  </a:lnTo>
                  <a:lnTo>
                    <a:pt x="221" y="125"/>
                  </a:lnTo>
                  <a:lnTo>
                    <a:pt x="268" y="125"/>
                  </a:lnTo>
                  <a:lnTo>
                    <a:pt x="268" y="169"/>
                  </a:lnTo>
                  <a:close/>
                  <a:moveTo>
                    <a:pt x="268" y="113"/>
                  </a:moveTo>
                  <a:lnTo>
                    <a:pt x="221" y="113"/>
                  </a:lnTo>
                  <a:lnTo>
                    <a:pt x="221" y="96"/>
                  </a:lnTo>
                  <a:lnTo>
                    <a:pt x="268" y="96"/>
                  </a:lnTo>
                  <a:lnTo>
                    <a:pt x="268" y="113"/>
                  </a:lnTo>
                  <a:close/>
                  <a:moveTo>
                    <a:pt x="211" y="179"/>
                  </a:moveTo>
                  <a:lnTo>
                    <a:pt x="280" y="179"/>
                  </a:lnTo>
                  <a:lnTo>
                    <a:pt x="280" y="83"/>
                  </a:lnTo>
                  <a:lnTo>
                    <a:pt x="211" y="83"/>
                  </a:lnTo>
                  <a:lnTo>
                    <a:pt x="211" y="179"/>
                  </a:lnTo>
                  <a:close/>
                  <a:moveTo>
                    <a:pt x="140" y="154"/>
                  </a:moveTo>
                  <a:lnTo>
                    <a:pt x="184" y="154"/>
                  </a:lnTo>
                  <a:lnTo>
                    <a:pt x="184" y="218"/>
                  </a:lnTo>
                  <a:lnTo>
                    <a:pt x="140" y="218"/>
                  </a:lnTo>
                  <a:lnTo>
                    <a:pt x="140" y="154"/>
                  </a:lnTo>
                  <a:close/>
                  <a:moveTo>
                    <a:pt x="27" y="69"/>
                  </a:moveTo>
                  <a:lnTo>
                    <a:pt x="297" y="69"/>
                  </a:lnTo>
                  <a:lnTo>
                    <a:pt x="297" y="218"/>
                  </a:lnTo>
                  <a:lnTo>
                    <a:pt x="194" y="218"/>
                  </a:lnTo>
                  <a:lnTo>
                    <a:pt x="194" y="145"/>
                  </a:lnTo>
                  <a:lnTo>
                    <a:pt x="130" y="145"/>
                  </a:lnTo>
                  <a:lnTo>
                    <a:pt x="130" y="218"/>
                  </a:lnTo>
                  <a:lnTo>
                    <a:pt x="27" y="218"/>
                  </a:lnTo>
                  <a:lnTo>
                    <a:pt x="27" y="69"/>
                  </a:lnTo>
                  <a:close/>
                  <a:moveTo>
                    <a:pt x="10" y="47"/>
                  </a:moveTo>
                  <a:lnTo>
                    <a:pt x="10" y="39"/>
                  </a:lnTo>
                  <a:lnTo>
                    <a:pt x="314" y="39"/>
                  </a:lnTo>
                  <a:lnTo>
                    <a:pt x="314" y="47"/>
                  </a:lnTo>
                  <a:lnTo>
                    <a:pt x="300" y="59"/>
                  </a:lnTo>
                  <a:lnTo>
                    <a:pt x="25" y="59"/>
                  </a:lnTo>
                  <a:lnTo>
                    <a:pt x="10" y="47"/>
                  </a:lnTo>
                  <a:close/>
                  <a:moveTo>
                    <a:pt x="86" y="12"/>
                  </a:moveTo>
                  <a:lnTo>
                    <a:pt x="238" y="12"/>
                  </a:lnTo>
                  <a:lnTo>
                    <a:pt x="268" y="27"/>
                  </a:lnTo>
                  <a:lnTo>
                    <a:pt x="57" y="27"/>
                  </a:lnTo>
                  <a:lnTo>
                    <a:pt x="86" y="12"/>
                  </a:lnTo>
                  <a:close/>
                  <a:moveTo>
                    <a:pt x="81" y="0"/>
                  </a:moveTo>
                  <a:lnTo>
                    <a:pt x="37" y="27"/>
                  </a:lnTo>
                  <a:lnTo>
                    <a:pt x="0" y="27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18" y="66"/>
                  </a:lnTo>
                  <a:lnTo>
                    <a:pt x="18" y="230"/>
                  </a:lnTo>
                  <a:lnTo>
                    <a:pt x="307" y="230"/>
                  </a:lnTo>
                  <a:lnTo>
                    <a:pt x="307" y="66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27"/>
                  </a:lnTo>
                  <a:lnTo>
                    <a:pt x="287" y="27"/>
                  </a:lnTo>
                  <a:lnTo>
                    <a:pt x="241" y="0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21">
              <a:extLst>
                <a:ext uri="{FF2B5EF4-FFF2-40B4-BE49-F238E27FC236}">
                  <a16:creationId xmlns:a16="http://schemas.microsoft.com/office/drawing/2014/main" id="{DF501807-A743-4EB8-9680-371C0535E0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6888" y="4346576"/>
              <a:ext cx="514350" cy="365125"/>
            </a:xfrm>
            <a:custGeom>
              <a:avLst/>
              <a:gdLst>
                <a:gd name="T0" fmla="*/ 57 w 324"/>
                <a:gd name="T1" fmla="*/ 169 h 230"/>
                <a:gd name="T2" fmla="*/ 103 w 324"/>
                <a:gd name="T3" fmla="*/ 125 h 230"/>
                <a:gd name="T4" fmla="*/ 103 w 324"/>
                <a:gd name="T5" fmla="*/ 113 h 230"/>
                <a:gd name="T6" fmla="*/ 57 w 324"/>
                <a:gd name="T7" fmla="*/ 96 h 230"/>
                <a:gd name="T8" fmla="*/ 103 w 324"/>
                <a:gd name="T9" fmla="*/ 113 h 230"/>
                <a:gd name="T10" fmla="*/ 113 w 324"/>
                <a:gd name="T11" fmla="*/ 179 h 230"/>
                <a:gd name="T12" fmla="*/ 45 w 324"/>
                <a:gd name="T13" fmla="*/ 83 h 230"/>
                <a:gd name="T14" fmla="*/ 187 w 324"/>
                <a:gd name="T15" fmla="*/ 113 h 230"/>
                <a:gd name="T16" fmla="*/ 138 w 324"/>
                <a:gd name="T17" fmla="*/ 96 h 230"/>
                <a:gd name="T18" fmla="*/ 187 w 324"/>
                <a:gd name="T19" fmla="*/ 113 h 230"/>
                <a:gd name="T20" fmla="*/ 197 w 324"/>
                <a:gd name="T21" fmla="*/ 125 h 230"/>
                <a:gd name="T22" fmla="*/ 128 w 324"/>
                <a:gd name="T23" fmla="*/ 83 h 230"/>
                <a:gd name="T24" fmla="*/ 268 w 324"/>
                <a:gd name="T25" fmla="*/ 169 h 230"/>
                <a:gd name="T26" fmla="*/ 221 w 324"/>
                <a:gd name="T27" fmla="*/ 125 h 230"/>
                <a:gd name="T28" fmla="*/ 268 w 324"/>
                <a:gd name="T29" fmla="*/ 169 h 230"/>
                <a:gd name="T30" fmla="*/ 221 w 324"/>
                <a:gd name="T31" fmla="*/ 113 h 230"/>
                <a:gd name="T32" fmla="*/ 268 w 324"/>
                <a:gd name="T33" fmla="*/ 96 h 230"/>
                <a:gd name="T34" fmla="*/ 211 w 324"/>
                <a:gd name="T35" fmla="*/ 179 h 230"/>
                <a:gd name="T36" fmla="*/ 280 w 324"/>
                <a:gd name="T37" fmla="*/ 83 h 230"/>
                <a:gd name="T38" fmla="*/ 211 w 324"/>
                <a:gd name="T39" fmla="*/ 179 h 230"/>
                <a:gd name="T40" fmla="*/ 184 w 324"/>
                <a:gd name="T41" fmla="*/ 154 h 230"/>
                <a:gd name="T42" fmla="*/ 140 w 324"/>
                <a:gd name="T43" fmla="*/ 218 h 230"/>
                <a:gd name="T44" fmla="*/ 27 w 324"/>
                <a:gd name="T45" fmla="*/ 69 h 230"/>
                <a:gd name="T46" fmla="*/ 297 w 324"/>
                <a:gd name="T47" fmla="*/ 218 h 230"/>
                <a:gd name="T48" fmla="*/ 194 w 324"/>
                <a:gd name="T49" fmla="*/ 145 h 230"/>
                <a:gd name="T50" fmla="*/ 130 w 324"/>
                <a:gd name="T51" fmla="*/ 218 h 230"/>
                <a:gd name="T52" fmla="*/ 27 w 324"/>
                <a:gd name="T53" fmla="*/ 69 h 230"/>
                <a:gd name="T54" fmla="*/ 10 w 324"/>
                <a:gd name="T55" fmla="*/ 39 h 230"/>
                <a:gd name="T56" fmla="*/ 314 w 324"/>
                <a:gd name="T57" fmla="*/ 47 h 230"/>
                <a:gd name="T58" fmla="*/ 25 w 324"/>
                <a:gd name="T59" fmla="*/ 59 h 230"/>
                <a:gd name="T60" fmla="*/ 86 w 324"/>
                <a:gd name="T61" fmla="*/ 12 h 230"/>
                <a:gd name="T62" fmla="*/ 268 w 324"/>
                <a:gd name="T63" fmla="*/ 27 h 230"/>
                <a:gd name="T64" fmla="*/ 86 w 324"/>
                <a:gd name="T65" fmla="*/ 12 h 230"/>
                <a:gd name="T66" fmla="*/ 37 w 324"/>
                <a:gd name="T67" fmla="*/ 27 h 230"/>
                <a:gd name="T68" fmla="*/ 0 w 324"/>
                <a:gd name="T69" fmla="*/ 54 h 230"/>
                <a:gd name="T70" fmla="*/ 18 w 324"/>
                <a:gd name="T71" fmla="*/ 66 h 230"/>
                <a:gd name="T72" fmla="*/ 307 w 324"/>
                <a:gd name="T73" fmla="*/ 230 h 230"/>
                <a:gd name="T74" fmla="*/ 324 w 324"/>
                <a:gd name="T75" fmla="*/ 54 h 230"/>
                <a:gd name="T76" fmla="*/ 324 w 324"/>
                <a:gd name="T77" fmla="*/ 27 h 230"/>
                <a:gd name="T78" fmla="*/ 241 w 324"/>
                <a:gd name="T7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4" h="230">
                  <a:moveTo>
                    <a:pt x="103" y="169"/>
                  </a:moveTo>
                  <a:lnTo>
                    <a:pt x="57" y="169"/>
                  </a:lnTo>
                  <a:lnTo>
                    <a:pt x="57" y="125"/>
                  </a:lnTo>
                  <a:lnTo>
                    <a:pt x="103" y="125"/>
                  </a:lnTo>
                  <a:lnTo>
                    <a:pt x="103" y="169"/>
                  </a:lnTo>
                  <a:close/>
                  <a:moveTo>
                    <a:pt x="103" y="113"/>
                  </a:moveTo>
                  <a:lnTo>
                    <a:pt x="57" y="113"/>
                  </a:lnTo>
                  <a:lnTo>
                    <a:pt x="57" y="96"/>
                  </a:lnTo>
                  <a:lnTo>
                    <a:pt x="103" y="96"/>
                  </a:lnTo>
                  <a:lnTo>
                    <a:pt x="103" y="113"/>
                  </a:lnTo>
                  <a:close/>
                  <a:moveTo>
                    <a:pt x="45" y="179"/>
                  </a:moveTo>
                  <a:lnTo>
                    <a:pt x="113" y="179"/>
                  </a:lnTo>
                  <a:lnTo>
                    <a:pt x="113" y="83"/>
                  </a:lnTo>
                  <a:lnTo>
                    <a:pt x="45" y="83"/>
                  </a:lnTo>
                  <a:lnTo>
                    <a:pt x="45" y="179"/>
                  </a:lnTo>
                  <a:close/>
                  <a:moveTo>
                    <a:pt x="187" y="113"/>
                  </a:moveTo>
                  <a:lnTo>
                    <a:pt x="138" y="113"/>
                  </a:lnTo>
                  <a:lnTo>
                    <a:pt x="138" y="96"/>
                  </a:lnTo>
                  <a:lnTo>
                    <a:pt x="187" y="96"/>
                  </a:lnTo>
                  <a:lnTo>
                    <a:pt x="187" y="113"/>
                  </a:lnTo>
                  <a:close/>
                  <a:moveTo>
                    <a:pt x="128" y="125"/>
                  </a:moveTo>
                  <a:lnTo>
                    <a:pt x="197" y="125"/>
                  </a:lnTo>
                  <a:lnTo>
                    <a:pt x="197" y="83"/>
                  </a:lnTo>
                  <a:lnTo>
                    <a:pt x="128" y="83"/>
                  </a:lnTo>
                  <a:lnTo>
                    <a:pt x="128" y="125"/>
                  </a:lnTo>
                  <a:close/>
                  <a:moveTo>
                    <a:pt x="268" y="169"/>
                  </a:moveTo>
                  <a:lnTo>
                    <a:pt x="221" y="169"/>
                  </a:lnTo>
                  <a:lnTo>
                    <a:pt x="221" y="125"/>
                  </a:lnTo>
                  <a:lnTo>
                    <a:pt x="268" y="125"/>
                  </a:lnTo>
                  <a:lnTo>
                    <a:pt x="268" y="169"/>
                  </a:lnTo>
                  <a:close/>
                  <a:moveTo>
                    <a:pt x="268" y="113"/>
                  </a:moveTo>
                  <a:lnTo>
                    <a:pt x="221" y="113"/>
                  </a:lnTo>
                  <a:lnTo>
                    <a:pt x="221" y="96"/>
                  </a:lnTo>
                  <a:lnTo>
                    <a:pt x="268" y="96"/>
                  </a:lnTo>
                  <a:lnTo>
                    <a:pt x="268" y="113"/>
                  </a:lnTo>
                  <a:close/>
                  <a:moveTo>
                    <a:pt x="211" y="179"/>
                  </a:moveTo>
                  <a:lnTo>
                    <a:pt x="280" y="179"/>
                  </a:lnTo>
                  <a:lnTo>
                    <a:pt x="280" y="83"/>
                  </a:lnTo>
                  <a:lnTo>
                    <a:pt x="211" y="83"/>
                  </a:lnTo>
                  <a:lnTo>
                    <a:pt x="211" y="179"/>
                  </a:lnTo>
                  <a:close/>
                  <a:moveTo>
                    <a:pt x="140" y="154"/>
                  </a:moveTo>
                  <a:lnTo>
                    <a:pt x="184" y="154"/>
                  </a:lnTo>
                  <a:lnTo>
                    <a:pt x="184" y="218"/>
                  </a:lnTo>
                  <a:lnTo>
                    <a:pt x="140" y="218"/>
                  </a:lnTo>
                  <a:lnTo>
                    <a:pt x="140" y="154"/>
                  </a:lnTo>
                  <a:close/>
                  <a:moveTo>
                    <a:pt x="27" y="69"/>
                  </a:moveTo>
                  <a:lnTo>
                    <a:pt x="297" y="69"/>
                  </a:lnTo>
                  <a:lnTo>
                    <a:pt x="297" y="218"/>
                  </a:lnTo>
                  <a:lnTo>
                    <a:pt x="194" y="218"/>
                  </a:lnTo>
                  <a:lnTo>
                    <a:pt x="194" y="145"/>
                  </a:lnTo>
                  <a:lnTo>
                    <a:pt x="130" y="145"/>
                  </a:lnTo>
                  <a:lnTo>
                    <a:pt x="130" y="218"/>
                  </a:lnTo>
                  <a:lnTo>
                    <a:pt x="27" y="218"/>
                  </a:lnTo>
                  <a:lnTo>
                    <a:pt x="27" y="69"/>
                  </a:lnTo>
                  <a:close/>
                  <a:moveTo>
                    <a:pt x="10" y="47"/>
                  </a:moveTo>
                  <a:lnTo>
                    <a:pt x="10" y="39"/>
                  </a:lnTo>
                  <a:lnTo>
                    <a:pt x="314" y="39"/>
                  </a:lnTo>
                  <a:lnTo>
                    <a:pt x="314" y="47"/>
                  </a:lnTo>
                  <a:lnTo>
                    <a:pt x="300" y="59"/>
                  </a:lnTo>
                  <a:lnTo>
                    <a:pt x="25" y="59"/>
                  </a:lnTo>
                  <a:lnTo>
                    <a:pt x="10" y="47"/>
                  </a:lnTo>
                  <a:close/>
                  <a:moveTo>
                    <a:pt x="86" y="12"/>
                  </a:moveTo>
                  <a:lnTo>
                    <a:pt x="238" y="12"/>
                  </a:lnTo>
                  <a:lnTo>
                    <a:pt x="268" y="27"/>
                  </a:lnTo>
                  <a:lnTo>
                    <a:pt x="57" y="27"/>
                  </a:lnTo>
                  <a:lnTo>
                    <a:pt x="86" y="12"/>
                  </a:lnTo>
                  <a:close/>
                  <a:moveTo>
                    <a:pt x="81" y="0"/>
                  </a:moveTo>
                  <a:lnTo>
                    <a:pt x="37" y="27"/>
                  </a:lnTo>
                  <a:lnTo>
                    <a:pt x="0" y="27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18" y="66"/>
                  </a:lnTo>
                  <a:lnTo>
                    <a:pt x="18" y="230"/>
                  </a:lnTo>
                  <a:lnTo>
                    <a:pt x="307" y="230"/>
                  </a:lnTo>
                  <a:lnTo>
                    <a:pt x="307" y="66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27"/>
                  </a:lnTo>
                  <a:lnTo>
                    <a:pt x="287" y="27"/>
                  </a:lnTo>
                  <a:lnTo>
                    <a:pt x="241" y="0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35CF67FC-FF23-4E45-8245-D1EED01BF60E}"/>
              </a:ext>
            </a:extLst>
          </p:cNvPr>
          <p:cNvGrpSpPr/>
          <p:nvPr/>
        </p:nvGrpSpPr>
        <p:grpSpPr>
          <a:xfrm>
            <a:off x="7005638" y="4145756"/>
            <a:ext cx="844550" cy="844550"/>
            <a:chOff x="7005638" y="4127500"/>
            <a:chExt cx="844550" cy="844550"/>
          </a:xfrm>
        </p:grpSpPr>
        <p:sp>
          <p:nvSpPr>
            <p:cNvPr id="288" name="AutoShape 223">
              <a:extLst>
                <a:ext uri="{FF2B5EF4-FFF2-40B4-BE49-F238E27FC236}">
                  <a16:creationId xmlns:a16="http://schemas.microsoft.com/office/drawing/2014/main" id="{A93612FD-1ADF-45A9-8E27-E0DB50EE4C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005638" y="41275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225">
              <a:extLst>
                <a:ext uri="{FF2B5EF4-FFF2-40B4-BE49-F238E27FC236}">
                  <a16:creationId xmlns:a16="http://schemas.microsoft.com/office/drawing/2014/main" id="{5EE916EC-F308-4619-800A-83D4829B1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5638" y="412750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26">
              <a:extLst>
                <a:ext uri="{FF2B5EF4-FFF2-40B4-BE49-F238E27FC236}">
                  <a16:creationId xmlns:a16="http://schemas.microsoft.com/office/drawing/2014/main" id="{9AE07A40-C474-45A2-A2EC-41CE7C0C6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4213" y="415607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27">
              <a:extLst>
                <a:ext uri="{FF2B5EF4-FFF2-40B4-BE49-F238E27FC236}">
                  <a16:creationId xmlns:a16="http://schemas.microsoft.com/office/drawing/2014/main" id="{5D16FD75-7BCB-4C3A-9FDC-6AED5098A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59626" y="4359275"/>
              <a:ext cx="536575" cy="382588"/>
            </a:xfrm>
            <a:custGeom>
              <a:avLst/>
              <a:gdLst>
                <a:gd name="T0" fmla="*/ 59 w 338"/>
                <a:gd name="T1" fmla="*/ 177 h 241"/>
                <a:gd name="T2" fmla="*/ 108 w 338"/>
                <a:gd name="T3" fmla="*/ 130 h 241"/>
                <a:gd name="T4" fmla="*/ 108 w 338"/>
                <a:gd name="T5" fmla="*/ 118 h 241"/>
                <a:gd name="T6" fmla="*/ 59 w 338"/>
                <a:gd name="T7" fmla="*/ 100 h 241"/>
                <a:gd name="T8" fmla="*/ 108 w 338"/>
                <a:gd name="T9" fmla="*/ 118 h 241"/>
                <a:gd name="T10" fmla="*/ 118 w 338"/>
                <a:gd name="T11" fmla="*/ 187 h 241"/>
                <a:gd name="T12" fmla="*/ 46 w 338"/>
                <a:gd name="T13" fmla="*/ 87 h 241"/>
                <a:gd name="T14" fmla="*/ 195 w 338"/>
                <a:gd name="T15" fmla="*/ 118 h 241"/>
                <a:gd name="T16" fmla="*/ 144 w 338"/>
                <a:gd name="T17" fmla="*/ 100 h 241"/>
                <a:gd name="T18" fmla="*/ 195 w 338"/>
                <a:gd name="T19" fmla="*/ 118 h 241"/>
                <a:gd name="T20" fmla="*/ 205 w 338"/>
                <a:gd name="T21" fmla="*/ 130 h 241"/>
                <a:gd name="T22" fmla="*/ 133 w 338"/>
                <a:gd name="T23" fmla="*/ 87 h 241"/>
                <a:gd name="T24" fmla="*/ 279 w 338"/>
                <a:gd name="T25" fmla="*/ 177 h 241"/>
                <a:gd name="T26" fmla="*/ 231 w 338"/>
                <a:gd name="T27" fmla="*/ 130 h 241"/>
                <a:gd name="T28" fmla="*/ 279 w 338"/>
                <a:gd name="T29" fmla="*/ 177 h 241"/>
                <a:gd name="T30" fmla="*/ 231 w 338"/>
                <a:gd name="T31" fmla="*/ 118 h 241"/>
                <a:gd name="T32" fmla="*/ 279 w 338"/>
                <a:gd name="T33" fmla="*/ 100 h 241"/>
                <a:gd name="T34" fmla="*/ 220 w 338"/>
                <a:gd name="T35" fmla="*/ 187 h 241"/>
                <a:gd name="T36" fmla="*/ 292 w 338"/>
                <a:gd name="T37" fmla="*/ 87 h 241"/>
                <a:gd name="T38" fmla="*/ 220 w 338"/>
                <a:gd name="T39" fmla="*/ 187 h 241"/>
                <a:gd name="T40" fmla="*/ 192 w 338"/>
                <a:gd name="T41" fmla="*/ 161 h 241"/>
                <a:gd name="T42" fmla="*/ 146 w 338"/>
                <a:gd name="T43" fmla="*/ 228 h 241"/>
                <a:gd name="T44" fmla="*/ 28 w 338"/>
                <a:gd name="T45" fmla="*/ 72 h 241"/>
                <a:gd name="T46" fmla="*/ 310 w 338"/>
                <a:gd name="T47" fmla="*/ 228 h 241"/>
                <a:gd name="T48" fmla="*/ 202 w 338"/>
                <a:gd name="T49" fmla="*/ 151 h 241"/>
                <a:gd name="T50" fmla="*/ 136 w 338"/>
                <a:gd name="T51" fmla="*/ 228 h 241"/>
                <a:gd name="T52" fmla="*/ 28 w 338"/>
                <a:gd name="T53" fmla="*/ 72 h 241"/>
                <a:gd name="T54" fmla="*/ 10 w 338"/>
                <a:gd name="T55" fmla="*/ 41 h 241"/>
                <a:gd name="T56" fmla="*/ 328 w 338"/>
                <a:gd name="T57" fmla="*/ 48 h 241"/>
                <a:gd name="T58" fmla="*/ 26 w 338"/>
                <a:gd name="T59" fmla="*/ 61 h 241"/>
                <a:gd name="T60" fmla="*/ 90 w 338"/>
                <a:gd name="T61" fmla="*/ 13 h 241"/>
                <a:gd name="T62" fmla="*/ 279 w 338"/>
                <a:gd name="T63" fmla="*/ 28 h 241"/>
                <a:gd name="T64" fmla="*/ 90 w 338"/>
                <a:gd name="T65" fmla="*/ 13 h 241"/>
                <a:gd name="T66" fmla="*/ 39 w 338"/>
                <a:gd name="T67" fmla="*/ 28 h 241"/>
                <a:gd name="T68" fmla="*/ 0 w 338"/>
                <a:gd name="T69" fmla="*/ 56 h 241"/>
                <a:gd name="T70" fmla="*/ 18 w 338"/>
                <a:gd name="T71" fmla="*/ 69 h 241"/>
                <a:gd name="T72" fmla="*/ 320 w 338"/>
                <a:gd name="T73" fmla="*/ 241 h 241"/>
                <a:gd name="T74" fmla="*/ 338 w 338"/>
                <a:gd name="T75" fmla="*/ 56 h 241"/>
                <a:gd name="T76" fmla="*/ 338 w 338"/>
                <a:gd name="T77" fmla="*/ 28 h 241"/>
                <a:gd name="T78" fmla="*/ 251 w 338"/>
                <a:gd name="T7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241">
                  <a:moveTo>
                    <a:pt x="108" y="177"/>
                  </a:moveTo>
                  <a:lnTo>
                    <a:pt x="59" y="177"/>
                  </a:lnTo>
                  <a:lnTo>
                    <a:pt x="59" y="130"/>
                  </a:lnTo>
                  <a:lnTo>
                    <a:pt x="108" y="130"/>
                  </a:lnTo>
                  <a:lnTo>
                    <a:pt x="108" y="177"/>
                  </a:lnTo>
                  <a:close/>
                  <a:moveTo>
                    <a:pt x="108" y="118"/>
                  </a:moveTo>
                  <a:lnTo>
                    <a:pt x="59" y="118"/>
                  </a:lnTo>
                  <a:lnTo>
                    <a:pt x="59" y="100"/>
                  </a:lnTo>
                  <a:lnTo>
                    <a:pt x="108" y="100"/>
                  </a:lnTo>
                  <a:lnTo>
                    <a:pt x="108" y="118"/>
                  </a:lnTo>
                  <a:close/>
                  <a:moveTo>
                    <a:pt x="46" y="187"/>
                  </a:moveTo>
                  <a:lnTo>
                    <a:pt x="118" y="187"/>
                  </a:lnTo>
                  <a:lnTo>
                    <a:pt x="118" y="87"/>
                  </a:lnTo>
                  <a:lnTo>
                    <a:pt x="46" y="87"/>
                  </a:lnTo>
                  <a:lnTo>
                    <a:pt x="46" y="187"/>
                  </a:lnTo>
                  <a:close/>
                  <a:moveTo>
                    <a:pt x="195" y="118"/>
                  </a:moveTo>
                  <a:lnTo>
                    <a:pt x="144" y="118"/>
                  </a:lnTo>
                  <a:lnTo>
                    <a:pt x="144" y="100"/>
                  </a:lnTo>
                  <a:lnTo>
                    <a:pt x="195" y="100"/>
                  </a:lnTo>
                  <a:lnTo>
                    <a:pt x="195" y="118"/>
                  </a:lnTo>
                  <a:close/>
                  <a:moveTo>
                    <a:pt x="133" y="130"/>
                  </a:moveTo>
                  <a:lnTo>
                    <a:pt x="205" y="130"/>
                  </a:lnTo>
                  <a:lnTo>
                    <a:pt x="205" y="87"/>
                  </a:lnTo>
                  <a:lnTo>
                    <a:pt x="133" y="87"/>
                  </a:lnTo>
                  <a:lnTo>
                    <a:pt x="133" y="130"/>
                  </a:lnTo>
                  <a:close/>
                  <a:moveTo>
                    <a:pt x="279" y="177"/>
                  </a:moveTo>
                  <a:lnTo>
                    <a:pt x="231" y="177"/>
                  </a:lnTo>
                  <a:lnTo>
                    <a:pt x="231" y="130"/>
                  </a:lnTo>
                  <a:lnTo>
                    <a:pt x="279" y="130"/>
                  </a:lnTo>
                  <a:lnTo>
                    <a:pt x="279" y="177"/>
                  </a:lnTo>
                  <a:close/>
                  <a:moveTo>
                    <a:pt x="279" y="118"/>
                  </a:moveTo>
                  <a:lnTo>
                    <a:pt x="231" y="118"/>
                  </a:lnTo>
                  <a:lnTo>
                    <a:pt x="231" y="100"/>
                  </a:lnTo>
                  <a:lnTo>
                    <a:pt x="279" y="100"/>
                  </a:lnTo>
                  <a:lnTo>
                    <a:pt x="279" y="118"/>
                  </a:lnTo>
                  <a:close/>
                  <a:moveTo>
                    <a:pt x="220" y="187"/>
                  </a:moveTo>
                  <a:lnTo>
                    <a:pt x="292" y="187"/>
                  </a:lnTo>
                  <a:lnTo>
                    <a:pt x="292" y="87"/>
                  </a:lnTo>
                  <a:lnTo>
                    <a:pt x="220" y="87"/>
                  </a:lnTo>
                  <a:lnTo>
                    <a:pt x="220" y="187"/>
                  </a:lnTo>
                  <a:close/>
                  <a:moveTo>
                    <a:pt x="146" y="161"/>
                  </a:moveTo>
                  <a:lnTo>
                    <a:pt x="192" y="161"/>
                  </a:lnTo>
                  <a:lnTo>
                    <a:pt x="192" y="228"/>
                  </a:lnTo>
                  <a:lnTo>
                    <a:pt x="146" y="228"/>
                  </a:lnTo>
                  <a:lnTo>
                    <a:pt x="146" y="161"/>
                  </a:lnTo>
                  <a:close/>
                  <a:moveTo>
                    <a:pt x="28" y="72"/>
                  </a:moveTo>
                  <a:lnTo>
                    <a:pt x="310" y="72"/>
                  </a:lnTo>
                  <a:lnTo>
                    <a:pt x="310" y="228"/>
                  </a:lnTo>
                  <a:lnTo>
                    <a:pt x="202" y="228"/>
                  </a:lnTo>
                  <a:lnTo>
                    <a:pt x="202" y="151"/>
                  </a:lnTo>
                  <a:lnTo>
                    <a:pt x="136" y="151"/>
                  </a:lnTo>
                  <a:lnTo>
                    <a:pt x="136" y="228"/>
                  </a:lnTo>
                  <a:lnTo>
                    <a:pt x="28" y="228"/>
                  </a:lnTo>
                  <a:lnTo>
                    <a:pt x="28" y="72"/>
                  </a:lnTo>
                  <a:close/>
                  <a:moveTo>
                    <a:pt x="10" y="48"/>
                  </a:moveTo>
                  <a:lnTo>
                    <a:pt x="10" y="41"/>
                  </a:lnTo>
                  <a:lnTo>
                    <a:pt x="328" y="41"/>
                  </a:lnTo>
                  <a:lnTo>
                    <a:pt x="328" y="48"/>
                  </a:lnTo>
                  <a:lnTo>
                    <a:pt x="313" y="61"/>
                  </a:lnTo>
                  <a:lnTo>
                    <a:pt x="26" y="61"/>
                  </a:lnTo>
                  <a:lnTo>
                    <a:pt x="10" y="48"/>
                  </a:lnTo>
                  <a:close/>
                  <a:moveTo>
                    <a:pt x="90" y="13"/>
                  </a:moveTo>
                  <a:lnTo>
                    <a:pt x="249" y="13"/>
                  </a:lnTo>
                  <a:lnTo>
                    <a:pt x="279" y="28"/>
                  </a:lnTo>
                  <a:lnTo>
                    <a:pt x="59" y="28"/>
                  </a:lnTo>
                  <a:lnTo>
                    <a:pt x="90" y="13"/>
                  </a:lnTo>
                  <a:close/>
                  <a:moveTo>
                    <a:pt x="85" y="0"/>
                  </a:moveTo>
                  <a:lnTo>
                    <a:pt x="39" y="28"/>
                  </a:lnTo>
                  <a:lnTo>
                    <a:pt x="0" y="2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18" y="69"/>
                  </a:lnTo>
                  <a:lnTo>
                    <a:pt x="18" y="241"/>
                  </a:lnTo>
                  <a:lnTo>
                    <a:pt x="320" y="241"/>
                  </a:lnTo>
                  <a:lnTo>
                    <a:pt x="320" y="69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8" y="28"/>
                  </a:lnTo>
                  <a:lnTo>
                    <a:pt x="300" y="28"/>
                  </a:lnTo>
                  <a:lnTo>
                    <a:pt x="251" y="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7AAAC09E-FBDE-40D6-B664-B7A357CF477C}"/>
              </a:ext>
            </a:extLst>
          </p:cNvPr>
          <p:cNvGrpSpPr/>
          <p:nvPr/>
        </p:nvGrpSpPr>
        <p:grpSpPr>
          <a:xfrm>
            <a:off x="1403350" y="5498307"/>
            <a:ext cx="758825" cy="758825"/>
            <a:chOff x="1403350" y="5492750"/>
            <a:chExt cx="758825" cy="758825"/>
          </a:xfrm>
        </p:grpSpPr>
        <p:sp>
          <p:nvSpPr>
            <p:cNvPr id="296" name="AutoShape 229">
              <a:extLst>
                <a:ext uri="{FF2B5EF4-FFF2-40B4-BE49-F238E27FC236}">
                  <a16:creationId xmlns:a16="http://schemas.microsoft.com/office/drawing/2014/main" id="{53967462-DA2D-4C9C-B5A7-DA4155D725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03350" y="549275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31">
              <a:extLst>
                <a:ext uri="{FF2B5EF4-FFF2-40B4-BE49-F238E27FC236}">
                  <a16:creationId xmlns:a16="http://schemas.microsoft.com/office/drawing/2014/main" id="{73068928-5E8A-4396-B60A-27A81C16D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6525" y="549592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32">
              <a:extLst>
                <a:ext uri="{FF2B5EF4-FFF2-40B4-BE49-F238E27FC236}">
                  <a16:creationId xmlns:a16="http://schemas.microsoft.com/office/drawing/2014/main" id="{516915E7-D871-48E8-AC8F-1201ED1059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050" y="5648325"/>
              <a:ext cx="482600" cy="420688"/>
            </a:xfrm>
            <a:custGeom>
              <a:avLst/>
              <a:gdLst>
                <a:gd name="T0" fmla="*/ 211 w 304"/>
                <a:gd name="T1" fmla="*/ 201 h 265"/>
                <a:gd name="T2" fmla="*/ 209 w 304"/>
                <a:gd name="T3" fmla="*/ 204 h 265"/>
                <a:gd name="T4" fmla="*/ 206 w 304"/>
                <a:gd name="T5" fmla="*/ 206 h 265"/>
                <a:gd name="T6" fmla="*/ 209 w 304"/>
                <a:gd name="T7" fmla="*/ 208 h 265"/>
                <a:gd name="T8" fmla="*/ 211 w 304"/>
                <a:gd name="T9" fmla="*/ 211 h 265"/>
                <a:gd name="T10" fmla="*/ 216 w 304"/>
                <a:gd name="T11" fmla="*/ 211 h 265"/>
                <a:gd name="T12" fmla="*/ 216 w 304"/>
                <a:gd name="T13" fmla="*/ 208 h 265"/>
                <a:gd name="T14" fmla="*/ 216 w 304"/>
                <a:gd name="T15" fmla="*/ 204 h 265"/>
                <a:gd name="T16" fmla="*/ 216 w 304"/>
                <a:gd name="T17" fmla="*/ 201 h 265"/>
                <a:gd name="T18" fmla="*/ 79 w 304"/>
                <a:gd name="T19" fmla="*/ 191 h 265"/>
                <a:gd name="T20" fmla="*/ 115 w 304"/>
                <a:gd name="T21" fmla="*/ 191 h 265"/>
                <a:gd name="T22" fmla="*/ 91 w 304"/>
                <a:gd name="T23" fmla="*/ 181 h 265"/>
                <a:gd name="T24" fmla="*/ 103 w 304"/>
                <a:gd name="T25" fmla="*/ 181 h 265"/>
                <a:gd name="T26" fmla="*/ 71 w 304"/>
                <a:gd name="T27" fmla="*/ 159 h 265"/>
                <a:gd name="T28" fmla="*/ 69 w 304"/>
                <a:gd name="T29" fmla="*/ 162 h 265"/>
                <a:gd name="T30" fmla="*/ 69 w 304"/>
                <a:gd name="T31" fmla="*/ 208 h 265"/>
                <a:gd name="T32" fmla="*/ 71 w 304"/>
                <a:gd name="T33" fmla="*/ 213 h 265"/>
                <a:gd name="T34" fmla="*/ 74 w 304"/>
                <a:gd name="T35" fmla="*/ 213 h 265"/>
                <a:gd name="T36" fmla="*/ 123 w 304"/>
                <a:gd name="T37" fmla="*/ 213 h 265"/>
                <a:gd name="T38" fmla="*/ 125 w 304"/>
                <a:gd name="T39" fmla="*/ 213 h 265"/>
                <a:gd name="T40" fmla="*/ 125 w 304"/>
                <a:gd name="T41" fmla="*/ 208 h 265"/>
                <a:gd name="T42" fmla="*/ 125 w 304"/>
                <a:gd name="T43" fmla="*/ 162 h 265"/>
                <a:gd name="T44" fmla="*/ 123 w 304"/>
                <a:gd name="T45" fmla="*/ 159 h 265"/>
                <a:gd name="T46" fmla="*/ 201 w 304"/>
                <a:gd name="T47" fmla="*/ 169 h 265"/>
                <a:gd name="T48" fmla="*/ 265 w 304"/>
                <a:gd name="T49" fmla="*/ 142 h 265"/>
                <a:gd name="T50" fmla="*/ 243 w 304"/>
                <a:gd name="T51" fmla="*/ 162 h 265"/>
                <a:gd name="T52" fmla="*/ 240 w 304"/>
                <a:gd name="T53" fmla="*/ 159 h 265"/>
                <a:gd name="T54" fmla="*/ 196 w 304"/>
                <a:gd name="T55" fmla="*/ 159 h 265"/>
                <a:gd name="T56" fmla="*/ 194 w 304"/>
                <a:gd name="T57" fmla="*/ 159 h 265"/>
                <a:gd name="T58" fmla="*/ 191 w 304"/>
                <a:gd name="T59" fmla="*/ 162 h 265"/>
                <a:gd name="T60" fmla="*/ 39 w 304"/>
                <a:gd name="T61" fmla="*/ 135 h 265"/>
                <a:gd name="T62" fmla="*/ 135 w 304"/>
                <a:gd name="T63" fmla="*/ 140 h 265"/>
                <a:gd name="T64" fmla="*/ 160 w 304"/>
                <a:gd name="T65" fmla="*/ 255 h 265"/>
                <a:gd name="T66" fmla="*/ 15 w 304"/>
                <a:gd name="T67" fmla="*/ 132 h 265"/>
                <a:gd name="T68" fmla="*/ 84 w 304"/>
                <a:gd name="T69" fmla="*/ 34 h 265"/>
                <a:gd name="T70" fmla="*/ 160 w 304"/>
                <a:gd name="T71" fmla="*/ 0 h 265"/>
                <a:gd name="T72" fmla="*/ 157 w 304"/>
                <a:gd name="T73" fmla="*/ 2 h 265"/>
                <a:gd name="T74" fmla="*/ 155 w 304"/>
                <a:gd name="T75" fmla="*/ 5 h 265"/>
                <a:gd name="T76" fmla="*/ 66 w 304"/>
                <a:gd name="T77" fmla="*/ 25 h 265"/>
                <a:gd name="T78" fmla="*/ 0 w 304"/>
                <a:gd name="T79" fmla="*/ 135 h 265"/>
                <a:gd name="T80" fmla="*/ 0 w 304"/>
                <a:gd name="T81" fmla="*/ 137 h 265"/>
                <a:gd name="T82" fmla="*/ 3 w 304"/>
                <a:gd name="T83" fmla="*/ 142 h 265"/>
                <a:gd name="T84" fmla="*/ 30 w 304"/>
                <a:gd name="T85" fmla="*/ 255 h 265"/>
                <a:gd name="T86" fmla="*/ 3 w 304"/>
                <a:gd name="T87" fmla="*/ 255 h 265"/>
                <a:gd name="T88" fmla="*/ 0 w 304"/>
                <a:gd name="T89" fmla="*/ 257 h 265"/>
                <a:gd name="T90" fmla="*/ 0 w 304"/>
                <a:gd name="T91" fmla="*/ 260 h 265"/>
                <a:gd name="T92" fmla="*/ 3 w 304"/>
                <a:gd name="T93" fmla="*/ 262 h 265"/>
                <a:gd name="T94" fmla="*/ 299 w 304"/>
                <a:gd name="T95" fmla="*/ 265 h 265"/>
                <a:gd name="T96" fmla="*/ 302 w 304"/>
                <a:gd name="T97" fmla="*/ 262 h 265"/>
                <a:gd name="T98" fmla="*/ 304 w 304"/>
                <a:gd name="T99" fmla="*/ 260 h 265"/>
                <a:gd name="T100" fmla="*/ 304 w 304"/>
                <a:gd name="T101" fmla="*/ 257 h 265"/>
                <a:gd name="T102" fmla="*/ 302 w 304"/>
                <a:gd name="T103" fmla="*/ 255 h 265"/>
                <a:gd name="T104" fmla="*/ 275 w 304"/>
                <a:gd name="T105" fmla="*/ 142 h 265"/>
                <a:gd name="T106" fmla="*/ 302 w 304"/>
                <a:gd name="T107" fmla="*/ 140 h 265"/>
                <a:gd name="T108" fmla="*/ 304 w 304"/>
                <a:gd name="T109" fmla="*/ 137 h 265"/>
                <a:gd name="T110" fmla="*/ 240 w 304"/>
                <a:gd name="T111" fmla="*/ 27 h 265"/>
                <a:gd name="T112" fmla="*/ 238 w 304"/>
                <a:gd name="T113" fmla="*/ 25 h 265"/>
                <a:gd name="T114" fmla="*/ 191 w 304"/>
                <a:gd name="T115" fmla="*/ 5 h 265"/>
                <a:gd name="T116" fmla="*/ 189 w 304"/>
                <a:gd name="T117" fmla="*/ 2 h 265"/>
                <a:gd name="T118" fmla="*/ 160 w 304"/>
                <a:gd name="T119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4" h="265">
                  <a:moveTo>
                    <a:pt x="214" y="201"/>
                  </a:move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6"/>
                  </a:lnTo>
                  <a:lnTo>
                    <a:pt x="206" y="206"/>
                  </a:lnTo>
                  <a:lnTo>
                    <a:pt x="206" y="206"/>
                  </a:lnTo>
                  <a:lnTo>
                    <a:pt x="206" y="206"/>
                  </a:lnTo>
                  <a:lnTo>
                    <a:pt x="209" y="206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6" y="211"/>
                  </a:lnTo>
                  <a:lnTo>
                    <a:pt x="216" y="211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1"/>
                  </a:lnTo>
                  <a:lnTo>
                    <a:pt x="216" y="201"/>
                  </a:lnTo>
                  <a:lnTo>
                    <a:pt x="216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close/>
                  <a:moveTo>
                    <a:pt x="79" y="191"/>
                  </a:moveTo>
                  <a:lnTo>
                    <a:pt x="91" y="191"/>
                  </a:lnTo>
                  <a:lnTo>
                    <a:pt x="91" y="204"/>
                  </a:lnTo>
                  <a:lnTo>
                    <a:pt x="79" y="204"/>
                  </a:lnTo>
                  <a:lnTo>
                    <a:pt x="79" y="191"/>
                  </a:lnTo>
                  <a:close/>
                  <a:moveTo>
                    <a:pt x="103" y="191"/>
                  </a:moveTo>
                  <a:lnTo>
                    <a:pt x="115" y="191"/>
                  </a:lnTo>
                  <a:lnTo>
                    <a:pt x="115" y="204"/>
                  </a:lnTo>
                  <a:lnTo>
                    <a:pt x="103" y="204"/>
                  </a:lnTo>
                  <a:lnTo>
                    <a:pt x="103" y="191"/>
                  </a:lnTo>
                  <a:close/>
                  <a:moveTo>
                    <a:pt x="79" y="169"/>
                  </a:moveTo>
                  <a:lnTo>
                    <a:pt x="91" y="169"/>
                  </a:lnTo>
                  <a:lnTo>
                    <a:pt x="91" y="181"/>
                  </a:lnTo>
                  <a:lnTo>
                    <a:pt x="79" y="181"/>
                  </a:lnTo>
                  <a:lnTo>
                    <a:pt x="79" y="169"/>
                  </a:lnTo>
                  <a:close/>
                  <a:moveTo>
                    <a:pt x="103" y="169"/>
                  </a:moveTo>
                  <a:lnTo>
                    <a:pt x="115" y="169"/>
                  </a:lnTo>
                  <a:lnTo>
                    <a:pt x="115" y="181"/>
                  </a:lnTo>
                  <a:lnTo>
                    <a:pt x="103" y="181"/>
                  </a:lnTo>
                  <a:lnTo>
                    <a:pt x="103" y="169"/>
                  </a:lnTo>
                  <a:close/>
                  <a:moveTo>
                    <a:pt x="74" y="159"/>
                  </a:moveTo>
                  <a:lnTo>
                    <a:pt x="74" y="159"/>
                  </a:lnTo>
                  <a:lnTo>
                    <a:pt x="74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120" y="213"/>
                  </a:lnTo>
                  <a:lnTo>
                    <a:pt x="120" y="213"/>
                  </a:lnTo>
                  <a:lnTo>
                    <a:pt x="120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5" y="213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08"/>
                  </a:lnTo>
                  <a:lnTo>
                    <a:pt x="125" y="208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74" y="159"/>
                  </a:lnTo>
                  <a:close/>
                  <a:moveTo>
                    <a:pt x="201" y="169"/>
                  </a:moveTo>
                  <a:lnTo>
                    <a:pt x="233" y="169"/>
                  </a:lnTo>
                  <a:lnTo>
                    <a:pt x="233" y="255"/>
                  </a:lnTo>
                  <a:lnTo>
                    <a:pt x="201" y="255"/>
                  </a:lnTo>
                  <a:lnTo>
                    <a:pt x="201" y="169"/>
                  </a:lnTo>
                  <a:close/>
                  <a:moveTo>
                    <a:pt x="169" y="142"/>
                  </a:moveTo>
                  <a:lnTo>
                    <a:pt x="265" y="142"/>
                  </a:lnTo>
                  <a:lnTo>
                    <a:pt x="265" y="255"/>
                  </a:lnTo>
                  <a:lnTo>
                    <a:pt x="243" y="255"/>
                  </a:lnTo>
                  <a:lnTo>
                    <a:pt x="243" y="164"/>
                  </a:lnTo>
                  <a:lnTo>
                    <a:pt x="243" y="164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1" y="162"/>
                  </a:lnTo>
                  <a:lnTo>
                    <a:pt x="191" y="164"/>
                  </a:lnTo>
                  <a:lnTo>
                    <a:pt x="191" y="164"/>
                  </a:lnTo>
                  <a:lnTo>
                    <a:pt x="191" y="255"/>
                  </a:lnTo>
                  <a:lnTo>
                    <a:pt x="169" y="255"/>
                  </a:lnTo>
                  <a:lnTo>
                    <a:pt x="169" y="142"/>
                  </a:lnTo>
                  <a:close/>
                  <a:moveTo>
                    <a:pt x="39" y="135"/>
                  </a:moveTo>
                  <a:lnTo>
                    <a:pt x="84" y="56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5" y="140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8" y="142"/>
                  </a:lnTo>
                  <a:lnTo>
                    <a:pt x="160" y="142"/>
                  </a:lnTo>
                  <a:lnTo>
                    <a:pt x="160" y="255"/>
                  </a:lnTo>
                  <a:lnTo>
                    <a:pt x="39" y="255"/>
                  </a:lnTo>
                  <a:lnTo>
                    <a:pt x="39" y="135"/>
                  </a:lnTo>
                  <a:close/>
                  <a:moveTo>
                    <a:pt x="71" y="34"/>
                  </a:moveTo>
                  <a:lnTo>
                    <a:pt x="79" y="47"/>
                  </a:lnTo>
                  <a:lnTo>
                    <a:pt x="30" y="132"/>
                  </a:lnTo>
                  <a:lnTo>
                    <a:pt x="15" y="132"/>
                  </a:lnTo>
                  <a:lnTo>
                    <a:pt x="71" y="34"/>
                  </a:lnTo>
                  <a:close/>
                  <a:moveTo>
                    <a:pt x="84" y="34"/>
                  </a:moveTo>
                  <a:lnTo>
                    <a:pt x="233" y="34"/>
                  </a:lnTo>
                  <a:lnTo>
                    <a:pt x="290" y="132"/>
                  </a:lnTo>
                  <a:lnTo>
                    <a:pt x="140" y="132"/>
                  </a:lnTo>
                  <a:lnTo>
                    <a:pt x="84" y="34"/>
                  </a:lnTo>
                  <a:close/>
                  <a:moveTo>
                    <a:pt x="164" y="10"/>
                  </a:moveTo>
                  <a:lnTo>
                    <a:pt x="182" y="10"/>
                  </a:lnTo>
                  <a:lnTo>
                    <a:pt x="182" y="25"/>
                  </a:lnTo>
                  <a:lnTo>
                    <a:pt x="164" y="25"/>
                  </a:lnTo>
                  <a:lnTo>
                    <a:pt x="164" y="10"/>
                  </a:lnTo>
                  <a:close/>
                  <a:moveTo>
                    <a:pt x="160" y="0"/>
                  </a:moveTo>
                  <a:lnTo>
                    <a:pt x="160" y="0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25"/>
                  </a:lnTo>
                  <a:lnTo>
                    <a:pt x="69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30" y="142"/>
                  </a:lnTo>
                  <a:lnTo>
                    <a:pt x="30" y="255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0" y="255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5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302" y="265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299" y="255"/>
                  </a:lnTo>
                  <a:lnTo>
                    <a:pt x="299" y="255"/>
                  </a:lnTo>
                  <a:lnTo>
                    <a:pt x="299" y="255"/>
                  </a:lnTo>
                  <a:lnTo>
                    <a:pt x="275" y="255"/>
                  </a:lnTo>
                  <a:lnTo>
                    <a:pt x="275" y="142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2" y="140"/>
                  </a:lnTo>
                  <a:lnTo>
                    <a:pt x="302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5"/>
                  </a:lnTo>
                  <a:lnTo>
                    <a:pt x="304" y="135"/>
                  </a:lnTo>
                  <a:lnTo>
                    <a:pt x="304" y="135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25"/>
                  </a:lnTo>
                  <a:lnTo>
                    <a:pt x="240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6" y="25"/>
                  </a:lnTo>
                  <a:lnTo>
                    <a:pt x="191" y="2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7" y="2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33">
              <a:extLst>
                <a:ext uri="{FF2B5EF4-FFF2-40B4-BE49-F238E27FC236}">
                  <a16:creationId xmlns:a16="http://schemas.microsoft.com/office/drawing/2014/main" id="{E894E350-4675-4D84-9DEA-7EA7427DC7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050" y="5648325"/>
              <a:ext cx="482600" cy="420688"/>
            </a:xfrm>
            <a:custGeom>
              <a:avLst/>
              <a:gdLst>
                <a:gd name="T0" fmla="*/ 211 w 304"/>
                <a:gd name="T1" fmla="*/ 201 h 265"/>
                <a:gd name="T2" fmla="*/ 209 w 304"/>
                <a:gd name="T3" fmla="*/ 204 h 265"/>
                <a:gd name="T4" fmla="*/ 206 w 304"/>
                <a:gd name="T5" fmla="*/ 206 h 265"/>
                <a:gd name="T6" fmla="*/ 209 w 304"/>
                <a:gd name="T7" fmla="*/ 208 h 265"/>
                <a:gd name="T8" fmla="*/ 211 w 304"/>
                <a:gd name="T9" fmla="*/ 211 h 265"/>
                <a:gd name="T10" fmla="*/ 216 w 304"/>
                <a:gd name="T11" fmla="*/ 211 h 265"/>
                <a:gd name="T12" fmla="*/ 216 w 304"/>
                <a:gd name="T13" fmla="*/ 208 h 265"/>
                <a:gd name="T14" fmla="*/ 216 w 304"/>
                <a:gd name="T15" fmla="*/ 204 h 265"/>
                <a:gd name="T16" fmla="*/ 216 w 304"/>
                <a:gd name="T17" fmla="*/ 201 h 265"/>
                <a:gd name="T18" fmla="*/ 79 w 304"/>
                <a:gd name="T19" fmla="*/ 191 h 265"/>
                <a:gd name="T20" fmla="*/ 115 w 304"/>
                <a:gd name="T21" fmla="*/ 191 h 265"/>
                <a:gd name="T22" fmla="*/ 91 w 304"/>
                <a:gd name="T23" fmla="*/ 181 h 265"/>
                <a:gd name="T24" fmla="*/ 103 w 304"/>
                <a:gd name="T25" fmla="*/ 181 h 265"/>
                <a:gd name="T26" fmla="*/ 71 w 304"/>
                <a:gd name="T27" fmla="*/ 159 h 265"/>
                <a:gd name="T28" fmla="*/ 69 w 304"/>
                <a:gd name="T29" fmla="*/ 162 h 265"/>
                <a:gd name="T30" fmla="*/ 69 w 304"/>
                <a:gd name="T31" fmla="*/ 208 h 265"/>
                <a:gd name="T32" fmla="*/ 71 w 304"/>
                <a:gd name="T33" fmla="*/ 213 h 265"/>
                <a:gd name="T34" fmla="*/ 74 w 304"/>
                <a:gd name="T35" fmla="*/ 213 h 265"/>
                <a:gd name="T36" fmla="*/ 123 w 304"/>
                <a:gd name="T37" fmla="*/ 213 h 265"/>
                <a:gd name="T38" fmla="*/ 125 w 304"/>
                <a:gd name="T39" fmla="*/ 213 h 265"/>
                <a:gd name="T40" fmla="*/ 125 w 304"/>
                <a:gd name="T41" fmla="*/ 208 h 265"/>
                <a:gd name="T42" fmla="*/ 125 w 304"/>
                <a:gd name="T43" fmla="*/ 162 h 265"/>
                <a:gd name="T44" fmla="*/ 123 w 304"/>
                <a:gd name="T45" fmla="*/ 159 h 265"/>
                <a:gd name="T46" fmla="*/ 201 w 304"/>
                <a:gd name="T47" fmla="*/ 169 h 265"/>
                <a:gd name="T48" fmla="*/ 265 w 304"/>
                <a:gd name="T49" fmla="*/ 142 h 265"/>
                <a:gd name="T50" fmla="*/ 243 w 304"/>
                <a:gd name="T51" fmla="*/ 162 h 265"/>
                <a:gd name="T52" fmla="*/ 240 w 304"/>
                <a:gd name="T53" fmla="*/ 159 h 265"/>
                <a:gd name="T54" fmla="*/ 196 w 304"/>
                <a:gd name="T55" fmla="*/ 159 h 265"/>
                <a:gd name="T56" fmla="*/ 194 w 304"/>
                <a:gd name="T57" fmla="*/ 159 h 265"/>
                <a:gd name="T58" fmla="*/ 191 w 304"/>
                <a:gd name="T59" fmla="*/ 162 h 265"/>
                <a:gd name="T60" fmla="*/ 39 w 304"/>
                <a:gd name="T61" fmla="*/ 135 h 265"/>
                <a:gd name="T62" fmla="*/ 135 w 304"/>
                <a:gd name="T63" fmla="*/ 140 h 265"/>
                <a:gd name="T64" fmla="*/ 160 w 304"/>
                <a:gd name="T65" fmla="*/ 255 h 265"/>
                <a:gd name="T66" fmla="*/ 15 w 304"/>
                <a:gd name="T67" fmla="*/ 132 h 265"/>
                <a:gd name="T68" fmla="*/ 84 w 304"/>
                <a:gd name="T69" fmla="*/ 34 h 265"/>
                <a:gd name="T70" fmla="*/ 160 w 304"/>
                <a:gd name="T71" fmla="*/ 0 h 265"/>
                <a:gd name="T72" fmla="*/ 157 w 304"/>
                <a:gd name="T73" fmla="*/ 2 h 265"/>
                <a:gd name="T74" fmla="*/ 155 w 304"/>
                <a:gd name="T75" fmla="*/ 5 h 265"/>
                <a:gd name="T76" fmla="*/ 66 w 304"/>
                <a:gd name="T77" fmla="*/ 25 h 265"/>
                <a:gd name="T78" fmla="*/ 0 w 304"/>
                <a:gd name="T79" fmla="*/ 135 h 265"/>
                <a:gd name="T80" fmla="*/ 0 w 304"/>
                <a:gd name="T81" fmla="*/ 137 h 265"/>
                <a:gd name="T82" fmla="*/ 3 w 304"/>
                <a:gd name="T83" fmla="*/ 142 h 265"/>
                <a:gd name="T84" fmla="*/ 30 w 304"/>
                <a:gd name="T85" fmla="*/ 255 h 265"/>
                <a:gd name="T86" fmla="*/ 3 w 304"/>
                <a:gd name="T87" fmla="*/ 255 h 265"/>
                <a:gd name="T88" fmla="*/ 0 w 304"/>
                <a:gd name="T89" fmla="*/ 257 h 265"/>
                <a:gd name="T90" fmla="*/ 0 w 304"/>
                <a:gd name="T91" fmla="*/ 260 h 265"/>
                <a:gd name="T92" fmla="*/ 3 w 304"/>
                <a:gd name="T93" fmla="*/ 262 h 265"/>
                <a:gd name="T94" fmla="*/ 299 w 304"/>
                <a:gd name="T95" fmla="*/ 265 h 265"/>
                <a:gd name="T96" fmla="*/ 302 w 304"/>
                <a:gd name="T97" fmla="*/ 262 h 265"/>
                <a:gd name="T98" fmla="*/ 304 w 304"/>
                <a:gd name="T99" fmla="*/ 260 h 265"/>
                <a:gd name="T100" fmla="*/ 304 w 304"/>
                <a:gd name="T101" fmla="*/ 257 h 265"/>
                <a:gd name="T102" fmla="*/ 302 w 304"/>
                <a:gd name="T103" fmla="*/ 255 h 265"/>
                <a:gd name="T104" fmla="*/ 275 w 304"/>
                <a:gd name="T105" fmla="*/ 142 h 265"/>
                <a:gd name="T106" fmla="*/ 302 w 304"/>
                <a:gd name="T107" fmla="*/ 140 h 265"/>
                <a:gd name="T108" fmla="*/ 304 w 304"/>
                <a:gd name="T109" fmla="*/ 137 h 265"/>
                <a:gd name="T110" fmla="*/ 240 w 304"/>
                <a:gd name="T111" fmla="*/ 27 h 265"/>
                <a:gd name="T112" fmla="*/ 238 w 304"/>
                <a:gd name="T113" fmla="*/ 25 h 265"/>
                <a:gd name="T114" fmla="*/ 191 w 304"/>
                <a:gd name="T115" fmla="*/ 5 h 265"/>
                <a:gd name="T116" fmla="*/ 189 w 304"/>
                <a:gd name="T117" fmla="*/ 2 h 265"/>
                <a:gd name="T118" fmla="*/ 160 w 304"/>
                <a:gd name="T119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4" h="265">
                  <a:moveTo>
                    <a:pt x="214" y="201"/>
                  </a:move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6"/>
                  </a:lnTo>
                  <a:lnTo>
                    <a:pt x="206" y="206"/>
                  </a:lnTo>
                  <a:lnTo>
                    <a:pt x="206" y="206"/>
                  </a:lnTo>
                  <a:lnTo>
                    <a:pt x="206" y="206"/>
                  </a:lnTo>
                  <a:lnTo>
                    <a:pt x="209" y="206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08"/>
                  </a:lnTo>
                  <a:lnTo>
                    <a:pt x="209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6" y="211"/>
                  </a:lnTo>
                  <a:lnTo>
                    <a:pt x="216" y="211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8" y="20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1"/>
                  </a:lnTo>
                  <a:lnTo>
                    <a:pt x="216" y="201"/>
                  </a:lnTo>
                  <a:lnTo>
                    <a:pt x="216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lnTo>
                    <a:pt x="214" y="201"/>
                  </a:lnTo>
                  <a:close/>
                  <a:moveTo>
                    <a:pt x="79" y="191"/>
                  </a:moveTo>
                  <a:lnTo>
                    <a:pt x="91" y="191"/>
                  </a:lnTo>
                  <a:lnTo>
                    <a:pt x="91" y="204"/>
                  </a:lnTo>
                  <a:lnTo>
                    <a:pt x="79" y="204"/>
                  </a:lnTo>
                  <a:lnTo>
                    <a:pt x="79" y="191"/>
                  </a:lnTo>
                  <a:close/>
                  <a:moveTo>
                    <a:pt x="103" y="191"/>
                  </a:moveTo>
                  <a:lnTo>
                    <a:pt x="115" y="191"/>
                  </a:lnTo>
                  <a:lnTo>
                    <a:pt x="115" y="204"/>
                  </a:lnTo>
                  <a:lnTo>
                    <a:pt x="103" y="204"/>
                  </a:lnTo>
                  <a:lnTo>
                    <a:pt x="103" y="191"/>
                  </a:lnTo>
                  <a:close/>
                  <a:moveTo>
                    <a:pt x="79" y="169"/>
                  </a:moveTo>
                  <a:lnTo>
                    <a:pt x="91" y="169"/>
                  </a:lnTo>
                  <a:lnTo>
                    <a:pt x="91" y="181"/>
                  </a:lnTo>
                  <a:lnTo>
                    <a:pt x="79" y="181"/>
                  </a:lnTo>
                  <a:lnTo>
                    <a:pt x="79" y="169"/>
                  </a:lnTo>
                  <a:close/>
                  <a:moveTo>
                    <a:pt x="103" y="169"/>
                  </a:moveTo>
                  <a:lnTo>
                    <a:pt x="115" y="169"/>
                  </a:lnTo>
                  <a:lnTo>
                    <a:pt x="115" y="181"/>
                  </a:lnTo>
                  <a:lnTo>
                    <a:pt x="103" y="181"/>
                  </a:lnTo>
                  <a:lnTo>
                    <a:pt x="103" y="169"/>
                  </a:lnTo>
                  <a:close/>
                  <a:moveTo>
                    <a:pt x="74" y="159"/>
                  </a:moveTo>
                  <a:lnTo>
                    <a:pt x="74" y="159"/>
                  </a:lnTo>
                  <a:lnTo>
                    <a:pt x="74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120" y="213"/>
                  </a:lnTo>
                  <a:lnTo>
                    <a:pt x="120" y="213"/>
                  </a:lnTo>
                  <a:lnTo>
                    <a:pt x="120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5" y="213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08"/>
                  </a:lnTo>
                  <a:lnTo>
                    <a:pt x="125" y="208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74" y="159"/>
                  </a:lnTo>
                  <a:close/>
                  <a:moveTo>
                    <a:pt x="201" y="169"/>
                  </a:moveTo>
                  <a:lnTo>
                    <a:pt x="233" y="169"/>
                  </a:lnTo>
                  <a:lnTo>
                    <a:pt x="233" y="255"/>
                  </a:lnTo>
                  <a:lnTo>
                    <a:pt x="201" y="255"/>
                  </a:lnTo>
                  <a:lnTo>
                    <a:pt x="201" y="169"/>
                  </a:lnTo>
                  <a:close/>
                  <a:moveTo>
                    <a:pt x="169" y="142"/>
                  </a:moveTo>
                  <a:lnTo>
                    <a:pt x="265" y="142"/>
                  </a:lnTo>
                  <a:lnTo>
                    <a:pt x="265" y="255"/>
                  </a:lnTo>
                  <a:lnTo>
                    <a:pt x="243" y="255"/>
                  </a:lnTo>
                  <a:lnTo>
                    <a:pt x="243" y="164"/>
                  </a:lnTo>
                  <a:lnTo>
                    <a:pt x="243" y="164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1" y="162"/>
                  </a:lnTo>
                  <a:lnTo>
                    <a:pt x="191" y="164"/>
                  </a:lnTo>
                  <a:lnTo>
                    <a:pt x="191" y="164"/>
                  </a:lnTo>
                  <a:lnTo>
                    <a:pt x="191" y="255"/>
                  </a:lnTo>
                  <a:lnTo>
                    <a:pt x="169" y="255"/>
                  </a:lnTo>
                  <a:lnTo>
                    <a:pt x="169" y="142"/>
                  </a:lnTo>
                  <a:close/>
                  <a:moveTo>
                    <a:pt x="39" y="135"/>
                  </a:moveTo>
                  <a:lnTo>
                    <a:pt x="84" y="56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5" y="140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8" y="142"/>
                  </a:lnTo>
                  <a:lnTo>
                    <a:pt x="160" y="142"/>
                  </a:lnTo>
                  <a:lnTo>
                    <a:pt x="160" y="255"/>
                  </a:lnTo>
                  <a:lnTo>
                    <a:pt x="39" y="255"/>
                  </a:lnTo>
                  <a:lnTo>
                    <a:pt x="39" y="135"/>
                  </a:lnTo>
                  <a:close/>
                  <a:moveTo>
                    <a:pt x="71" y="34"/>
                  </a:moveTo>
                  <a:lnTo>
                    <a:pt x="79" y="47"/>
                  </a:lnTo>
                  <a:lnTo>
                    <a:pt x="30" y="132"/>
                  </a:lnTo>
                  <a:lnTo>
                    <a:pt x="15" y="132"/>
                  </a:lnTo>
                  <a:lnTo>
                    <a:pt x="71" y="34"/>
                  </a:lnTo>
                  <a:close/>
                  <a:moveTo>
                    <a:pt x="84" y="34"/>
                  </a:moveTo>
                  <a:lnTo>
                    <a:pt x="233" y="34"/>
                  </a:lnTo>
                  <a:lnTo>
                    <a:pt x="290" y="132"/>
                  </a:lnTo>
                  <a:lnTo>
                    <a:pt x="140" y="132"/>
                  </a:lnTo>
                  <a:lnTo>
                    <a:pt x="84" y="34"/>
                  </a:lnTo>
                  <a:close/>
                  <a:moveTo>
                    <a:pt x="164" y="10"/>
                  </a:moveTo>
                  <a:lnTo>
                    <a:pt x="182" y="10"/>
                  </a:lnTo>
                  <a:lnTo>
                    <a:pt x="182" y="25"/>
                  </a:lnTo>
                  <a:lnTo>
                    <a:pt x="164" y="25"/>
                  </a:lnTo>
                  <a:lnTo>
                    <a:pt x="164" y="10"/>
                  </a:lnTo>
                  <a:close/>
                  <a:moveTo>
                    <a:pt x="160" y="0"/>
                  </a:moveTo>
                  <a:lnTo>
                    <a:pt x="160" y="0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7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25"/>
                  </a:lnTo>
                  <a:lnTo>
                    <a:pt x="69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30" y="142"/>
                  </a:lnTo>
                  <a:lnTo>
                    <a:pt x="30" y="255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0" y="255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2"/>
                  </a:lnTo>
                  <a:lnTo>
                    <a:pt x="3" y="265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299" y="265"/>
                  </a:lnTo>
                  <a:lnTo>
                    <a:pt x="302" y="265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60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7"/>
                  </a:lnTo>
                  <a:lnTo>
                    <a:pt x="304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302" y="255"/>
                  </a:lnTo>
                  <a:lnTo>
                    <a:pt x="299" y="255"/>
                  </a:lnTo>
                  <a:lnTo>
                    <a:pt x="299" y="255"/>
                  </a:lnTo>
                  <a:lnTo>
                    <a:pt x="299" y="255"/>
                  </a:lnTo>
                  <a:lnTo>
                    <a:pt x="275" y="255"/>
                  </a:lnTo>
                  <a:lnTo>
                    <a:pt x="275" y="142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2" y="142"/>
                  </a:lnTo>
                  <a:lnTo>
                    <a:pt x="302" y="140"/>
                  </a:lnTo>
                  <a:lnTo>
                    <a:pt x="302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5"/>
                  </a:lnTo>
                  <a:lnTo>
                    <a:pt x="304" y="135"/>
                  </a:lnTo>
                  <a:lnTo>
                    <a:pt x="304" y="135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25"/>
                  </a:lnTo>
                  <a:lnTo>
                    <a:pt x="240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6" y="25"/>
                  </a:lnTo>
                  <a:lnTo>
                    <a:pt x="191" y="2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1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7" y="2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CEE37B65-A42B-4993-96D8-B7F6C1FF11A1}"/>
              </a:ext>
            </a:extLst>
          </p:cNvPr>
          <p:cNvGrpSpPr/>
          <p:nvPr/>
        </p:nvGrpSpPr>
        <p:grpSpPr>
          <a:xfrm>
            <a:off x="341313" y="5455444"/>
            <a:ext cx="844550" cy="844550"/>
            <a:chOff x="341313" y="5468938"/>
            <a:chExt cx="844550" cy="844550"/>
          </a:xfrm>
        </p:grpSpPr>
        <p:sp>
          <p:nvSpPr>
            <p:cNvPr id="304" name="AutoShape 235">
              <a:extLst>
                <a:ext uri="{FF2B5EF4-FFF2-40B4-BE49-F238E27FC236}">
                  <a16:creationId xmlns:a16="http://schemas.microsoft.com/office/drawing/2014/main" id="{7A721351-A5A5-4484-B302-1E26F5AAC1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1313" y="54689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237">
              <a:extLst>
                <a:ext uri="{FF2B5EF4-FFF2-40B4-BE49-F238E27FC236}">
                  <a16:creationId xmlns:a16="http://schemas.microsoft.com/office/drawing/2014/main" id="{10B9ABC3-5DEB-470A-8BAF-18B5550DF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313" y="54689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238">
              <a:extLst>
                <a:ext uri="{FF2B5EF4-FFF2-40B4-BE49-F238E27FC236}">
                  <a16:creationId xmlns:a16="http://schemas.microsoft.com/office/drawing/2014/main" id="{B0687711-E79F-49B9-92F1-A5FB37DE61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888" y="54975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39">
              <a:extLst>
                <a:ext uri="{FF2B5EF4-FFF2-40B4-BE49-F238E27FC236}">
                  <a16:creationId xmlns:a16="http://schemas.microsoft.com/office/drawing/2014/main" id="{77A9A79E-4D69-4394-941C-A0BC51E04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6" y="5656263"/>
              <a:ext cx="504825" cy="438150"/>
            </a:xfrm>
            <a:custGeom>
              <a:avLst/>
              <a:gdLst>
                <a:gd name="T0" fmla="*/ 221 w 318"/>
                <a:gd name="T1" fmla="*/ 210 h 276"/>
                <a:gd name="T2" fmla="*/ 218 w 318"/>
                <a:gd name="T3" fmla="*/ 212 h 276"/>
                <a:gd name="T4" fmla="*/ 216 w 318"/>
                <a:gd name="T5" fmla="*/ 215 h 276"/>
                <a:gd name="T6" fmla="*/ 218 w 318"/>
                <a:gd name="T7" fmla="*/ 217 h 276"/>
                <a:gd name="T8" fmla="*/ 221 w 318"/>
                <a:gd name="T9" fmla="*/ 220 h 276"/>
                <a:gd name="T10" fmla="*/ 226 w 318"/>
                <a:gd name="T11" fmla="*/ 220 h 276"/>
                <a:gd name="T12" fmla="*/ 226 w 318"/>
                <a:gd name="T13" fmla="*/ 217 h 276"/>
                <a:gd name="T14" fmla="*/ 226 w 318"/>
                <a:gd name="T15" fmla="*/ 212 h 276"/>
                <a:gd name="T16" fmla="*/ 226 w 318"/>
                <a:gd name="T17" fmla="*/ 210 h 276"/>
                <a:gd name="T18" fmla="*/ 82 w 318"/>
                <a:gd name="T19" fmla="*/ 199 h 276"/>
                <a:gd name="T20" fmla="*/ 121 w 318"/>
                <a:gd name="T21" fmla="*/ 199 h 276"/>
                <a:gd name="T22" fmla="*/ 95 w 318"/>
                <a:gd name="T23" fmla="*/ 189 h 276"/>
                <a:gd name="T24" fmla="*/ 108 w 318"/>
                <a:gd name="T25" fmla="*/ 189 h 276"/>
                <a:gd name="T26" fmla="*/ 75 w 318"/>
                <a:gd name="T27" fmla="*/ 166 h 276"/>
                <a:gd name="T28" fmla="*/ 72 w 318"/>
                <a:gd name="T29" fmla="*/ 169 h 276"/>
                <a:gd name="T30" fmla="*/ 72 w 318"/>
                <a:gd name="T31" fmla="*/ 217 h 276"/>
                <a:gd name="T32" fmla="*/ 75 w 318"/>
                <a:gd name="T33" fmla="*/ 222 h 276"/>
                <a:gd name="T34" fmla="*/ 77 w 318"/>
                <a:gd name="T35" fmla="*/ 222 h 276"/>
                <a:gd name="T36" fmla="*/ 128 w 318"/>
                <a:gd name="T37" fmla="*/ 222 h 276"/>
                <a:gd name="T38" fmla="*/ 131 w 318"/>
                <a:gd name="T39" fmla="*/ 222 h 276"/>
                <a:gd name="T40" fmla="*/ 131 w 318"/>
                <a:gd name="T41" fmla="*/ 217 h 276"/>
                <a:gd name="T42" fmla="*/ 131 w 318"/>
                <a:gd name="T43" fmla="*/ 169 h 276"/>
                <a:gd name="T44" fmla="*/ 128 w 318"/>
                <a:gd name="T45" fmla="*/ 166 h 276"/>
                <a:gd name="T46" fmla="*/ 210 w 318"/>
                <a:gd name="T47" fmla="*/ 176 h 276"/>
                <a:gd name="T48" fmla="*/ 277 w 318"/>
                <a:gd name="T49" fmla="*/ 148 h 276"/>
                <a:gd name="T50" fmla="*/ 254 w 318"/>
                <a:gd name="T51" fmla="*/ 169 h 276"/>
                <a:gd name="T52" fmla="*/ 251 w 318"/>
                <a:gd name="T53" fmla="*/ 166 h 276"/>
                <a:gd name="T54" fmla="*/ 205 w 318"/>
                <a:gd name="T55" fmla="*/ 166 h 276"/>
                <a:gd name="T56" fmla="*/ 203 w 318"/>
                <a:gd name="T57" fmla="*/ 166 h 276"/>
                <a:gd name="T58" fmla="*/ 200 w 318"/>
                <a:gd name="T59" fmla="*/ 169 h 276"/>
                <a:gd name="T60" fmla="*/ 41 w 318"/>
                <a:gd name="T61" fmla="*/ 140 h 276"/>
                <a:gd name="T62" fmla="*/ 141 w 318"/>
                <a:gd name="T63" fmla="*/ 146 h 276"/>
                <a:gd name="T64" fmla="*/ 167 w 318"/>
                <a:gd name="T65" fmla="*/ 266 h 276"/>
                <a:gd name="T66" fmla="*/ 16 w 318"/>
                <a:gd name="T67" fmla="*/ 138 h 276"/>
                <a:gd name="T68" fmla="*/ 87 w 318"/>
                <a:gd name="T69" fmla="*/ 36 h 276"/>
                <a:gd name="T70" fmla="*/ 167 w 318"/>
                <a:gd name="T71" fmla="*/ 0 h 276"/>
                <a:gd name="T72" fmla="*/ 164 w 318"/>
                <a:gd name="T73" fmla="*/ 2 h 276"/>
                <a:gd name="T74" fmla="*/ 162 w 318"/>
                <a:gd name="T75" fmla="*/ 5 h 276"/>
                <a:gd name="T76" fmla="*/ 70 w 318"/>
                <a:gd name="T77" fmla="*/ 25 h 276"/>
                <a:gd name="T78" fmla="*/ 0 w 318"/>
                <a:gd name="T79" fmla="*/ 140 h 276"/>
                <a:gd name="T80" fmla="*/ 0 w 318"/>
                <a:gd name="T81" fmla="*/ 143 h 276"/>
                <a:gd name="T82" fmla="*/ 3 w 318"/>
                <a:gd name="T83" fmla="*/ 148 h 276"/>
                <a:gd name="T84" fmla="*/ 31 w 318"/>
                <a:gd name="T85" fmla="*/ 266 h 276"/>
                <a:gd name="T86" fmla="*/ 3 w 318"/>
                <a:gd name="T87" fmla="*/ 266 h 276"/>
                <a:gd name="T88" fmla="*/ 0 w 318"/>
                <a:gd name="T89" fmla="*/ 269 h 276"/>
                <a:gd name="T90" fmla="*/ 0 w 318"/>
                <a:gd name="T91" fmla="*/ 271 h 276"/>
                <a:gd name="T92" fmla="*/ 3 w 318"/>
                <a:gd name="T93" fmla="*/ 274 h 276"/>
                <a:gd name="T94" fmla="*/ 313 w 318"/>
                <a:gd name="T95" fmla="*/ 276 h 276"/>
                <a:gd name="T96" fmla="*/ 315 w 318"/>
                <a:gd name="T97" fmla="*/ 274 h 276"/>
                <a:gd name="T98" fmla="*/ 318 w 318"/>
                <a:gd name="T99" fmla="*/ 271 h 276"/>
                <a:gd name="T100" fmla="*/ 318 w 318"/>
                <a:gd name="T101" fmla="*/ 269 h 276"/>
                <a:gd name="T102" fmla="*/ 315 w 318"/>
                <a:gd name="T103" fmla="*/ 266 h 276"/>
                <a:gd name="T104" fmla="*/ 287 w 318"/>
                <a:gd name="T105" fmla="*/ 148 h 276"/>
                <a:gd name="T106" fmla="*/ 315 w 318"/>
                <a:gd name="T107" fmla="*/ 146 h 276"/>
                <a:gd name="T108" fmla="*/ 318 w 318"/>
                <a:gd name="T109" fmla="*/ 143 h 276"/>
                <a:gd name="T110" fmla="*/ 251 w 318"/>
                <a:gd name="T111" fmla="*/ 28 h 276"/>
                <a:gd name="T112" fmla="*/ 249 w 318"/>
                <a:gd name="T113" fmla="*/ 25 h 276"/>
                <a:gd name="T114" fmla="*/ 200 w 318"/>
                <a:gd name="T115" fmla="*/ 5 h 276"/>
                <a:gd name="T116" fmla="*/ 198 w 318"/>
                <a:gd name="T117" fmla="*/ 2 h 276"/>
                <a:gd name="T118" fmla="*/ 167 w 318"/>
                <a:gd name="T11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8" h="276">
                  <a:moveTo>
                    <a:pt x="223" y="210"/>
                  </a:moveTo>
                  <a:lnTo>
                    <a:pt x="221" y="210"/>
                  </a:lnTo>
                  <a:lnTo>
                    <a:pt x="221" y="210"/>
                  </a:lnTo>
                  <a:lnTo>
                    <a:pt x="221" y="210"/>
                  </a:lnTo>
                  <a:lnTo>
                    <a:pt x="221" y="210"/>
                  </a:lnTo>
                  <a:lnTo>
                    <a:pt x="221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18" y="212"/>
                  </a:lnTo>
                  <a:lnTo>
                    <a:pt x="218" y="212"/>
                  </a:lnTo>
                  <a:lnTo>
                    <a:pt x="218" y="212"/>
                  </a:lnTo>
                  <a:lnTo>
                    <a:pt x="218" y="212"/>
                  </a:lnTo>
                  <a:lnTo>
                    <a:pt x="218" y="212"/>
                  </a:lnTo>
                  <a:lnTo>
                    <a:pt x="218" y="215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8" y="215"/>
                  </a:lnTo>
                  <a:lnTo>
                    <a:pt x="218" y="217"/>
                  </a:lnTo>
                  <a:lnTo>
                    <a:pt x="218" y="217"/>
                  </a:lnTo>
                  <a:lnTo>
                    <a:pt x="218" y="217"/>
                  </a:lnTo>
                  <a:lnTo>
                    <a:pt x="218" y="217"/>
                  </a:lnTo>
                  <a:lnTo>
                    <a:pt x="218" y="217"/>
                  </a:lnTo>
                  <a:lnTo>
                    <a:pt x="218" y="220"/>
                  </a:lnTo>
                  <a:lnTo>
                    <a:pt x="221" y="220"/>
                  </a:lnTo>
                  <a:lnTo>
                    <a:pt x="221" y="220"/>
                  </a:lnTo>
                  <a:lnTo>
                    <a:pt x="221" y="220"/>
                  </a:lnTo>
                  <a:lnTo>
                    <a:pt x="221" y="220"/>
                  </a:lnTo>
                  <a:lnTo>
                    <a:pt x="221" y="220"/>
                  </a:lnTo>
                  <a:lnTo>
                    <a:pt x="223" y="220"/>
                  </a:lnTo>
                  <a:lnTo>
                    <a:pt x="223" y="220"/>
                  </a:lnTo>
                  <a:lnTo>
                    <a:pt x="223" y="220"/>
                  </a:lnTo>
                  <a:lnTo>
                    <a:pt x="223" y="220"/>
                  </a:lnTo>
                  <a:lnTo>
                    <a:pt x="223" y="220"/>
                  </a:lnTo>
                  <a:lnTo>
                    <a:pt x="226" y="220"/>
                  </a:lnTo>
                  <a:lnTo>
                    <a:pt x="226" y="220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28" y="215"/>
                  </a:lnTo>
                  <a:lnTo>
                    <a:pt x="228" y="215"/>
                  </a:lnTo>
                  <a:lnTo>
                    <a:pt x="228" y="215"/>
                  </a:lnTo>
                  <a:lnTo>
                    <a:pt x="228" y="215"/>
                  </a:lnTo>
                  <a:lnTo>
                    <a:pt x="228" y="215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3" y="210"/>
                  </a:lnTo>
                  <a:lnTo>
                    <a:pt x="223" y="210"/>
                  </a:lnTo>
                  <a:lnTo>
                    <a:pt x="223" y="210"/>
                  </a:lnTo>
                  <a:lnTo>
                    <a:pt x="223" y="210"/>
                  </a:lnTo>
                  <a:lnTo>
                    <a:pt x="223" y="210"/>
                  </a:lnTo>
                  <a:close/>
                  <a:moveTo>
                    <a:pt x="82" y="199"/>
                  </a:moveTo>
                  <a:lnTo>
                    <a:pt x="95" y="199"/>
                  </a:lnTo>
                  <a:lnTo>
                    <a:pt x="95" y="212"/>
                  </a:lnTo>
                  <a:lnTo>
                    <a:pt x="82" y="212"/>
                  </a:lnTo>
                  <a:lnTo>
                    <a:pt x="82" y="199"/>
                  </a:lnTo>
                  <a:close/>
                  <a:moveTo>
                    <a:pt x="108" y="199"/>
                  </a:moveTo>
                  <a:lnTo>
                    <a:pt x="121" y="199"/>
                  </a:lnTo>
                  <a:lnTo>
                    <a:pt x="121" y="212"/>
                  </a:lnTo>
                  <a:lnTo>
                    <a:pt x="108" y="212"/>
                  </a:lnTo>
                  <a:lnTo>
                    <a:pt x="108" y="199"/>
                  </a:lnTo>
                  <a:close/>
                  <a:moveTo>
                    <a:pt x="82" y="176"/>
                  </a:moveTo>
                  <a:lnTo>
                    <a:pt x="95" y="176"/>
                  </a:lnTo>
                  <a:lnTo>
                    <a:pt x="95" y="189"/>
                  </a:lnTo>
                  <a:lnTo>
                    <a:pt x="82" y="189"/>
                  </a:lnTo>
                  <a:lnTo>
                    <a:pt x="82" y="176"/>
                  </a:lnTo>
                  <a:close/>
                  <a:moveTo>
                    <a:pt x="108" y="176"/>
                  </a:moveTo>
                  <a:lnTo>
                    <a:pt x="121" y="176"/>
                  </a:lnTo>
                  <a:lnTo>
                    <a:pt x="121" y="189"/>
                  </a:lnTo>
                  <a:lnTo>
                    <a:pt x="108" y="189"/>
                  </a:lnTo>
                  <a:lnTo>
                    <a:pt x="108" y="176"/>
                  </a:lnTo>
                  <a:close/>
                  <a:moveTo>
                    <a:pt x="77" y="166"/>
                  </a:moveTo>
                  <a:lnTo>
                    <a:pt x="77" y="166"/>
                  </a:lnTo>
                  <a:lnTo>
                    <a:pt x="77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217"/>
                  </a:lnTo>
                  <a:lnTo>
                    <a:pt x="72" y="217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31" y="222"/>
                  </a:lnTo>
                  <a:lnTo>
                    <a:pt x="131" y="220"/>
                  </a:lnTo>
                  <a:lnTo>
                    <a:pt x="131" y="220"/>
                  </a:lnTo>
                  <a:lnTo>
                    <a:pt x="131" y="220"/>
                  </a:lnTo>
                  <a:lnTo>
                    <a:pt x="131" y="220"/>
                  </a:lnTo>
                  <a:lnTo>
                    <a:pt x="131" y="220"/>
                  </a:lnTo>
                  <a:lnTo>
                    <a:pt x="131" y="217"/>
                  </a:lnTo>
                  <a:lnTo>
                    <a:pt x="131" y="217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6" y="166"/>
                  </a:lnTo>
                  <a:lnTo>
                    <a:pt x="126" y="166"/>
                  </a:lnTo>
                  <a:lnTo>
                    <a:pt x="126" y="166"/>
                  </a:lnTo>
                  <a:lnTo>
                    <a:pt x="77" y="166"/>
                  </a:lnTo>
                  <a:close/>
                  <a:moveTo>
                    <a:pt x="210" y="176"/>
                  </a:moveTo>
                  <a:lnTo>
                    <a:pt x="244" y="176"/>
                  </a:lnTo>
                  <a:lnTo>
                    <a:pt x="244" y="266"/>
                  </a:lnTo>
                  <a:lnTo>
                    <a:pt x="210" y="266"/>
                  </a:lnTo>
                  <a:lnTo>
                    <a:pt x="210" y="176"/>
                  </a:lnTo>
                  <a:close/>
                  <a:moveTo>
                    <a:pt x="177" y="148"/>
                  </a:moveTo>
                  <a:lnTo>
                    <a:pt x="277" y="148"/>
                  </a:lnTo>
                  <a:lnTo>
                    <a:pt x="277" y="266"/>
                  </a:lnTo>
                  <a:lnTo>
                    <a:pt x="254" y="266"/>
                  </a:lnTo>
                  <a:lnTo>
                    <a:pt x="254" y="171"/>
                  </a:lnTo>
                  <a:lnTo>
                    <a:pt x="254" y="171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4" y="169"/>
                  </a:lnTo>
                  <a:lnTo>
                    <a:pt x="254" y="166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49" y="166"/>
                  </a:lnTo>
                  <a:lnTo>
                    <a:pt x="249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266"/>
                  </a:lnTo>
                  <a:lnTo>
                    <a:pt x="177" y="266"/>
                  </a:lnTo>
                  <a:lnTo>
                    <a:pt x="177" y="148"/>
                  </a:lnTo>
                  <a:close/>
                  <a:moveTo>
                    <a:pt x="41" y="140"/>
                  </a:moveTo>
                  <a:lnTo>
                    <a:pt x="87" y="59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4" y="148"/>
                  </a:lnTo>
                  <a:lnTo>
                    <a:pt x="167" y="148"/>
                  </a:lnTo>
                  <a:lnTo>
                    <a:pt x="167" y="266"/>
                  </a:lnTo>
                  <a:lnTo>
                    <a:pt x="41" y="266"/>
                  </a:lnTo>
                  <a:lnTo>
                    <a:pt x="41" y="140"/>
                  </a:lnTo>
                  <a:close/>
                  <a:moveTo>
                    <a:pt x="75" y="36"/>
                  </a:moveTo>
                  <a:lnTo>
                    <a:pt x="82" y="48"/>
                  </a:lnTo>
                  <a:lnTo>
                    <a:pt x="31" y="138"/>
                  </a:lnTo>
                  <a:lnTo>
                    <a:pt x="16" y="138"/>
                  </a:lnTo>
                  <a:lnTo>
                    <a:pt x="75" y="36"/>
                  </a:lnTo>
                  <a:close/>
                  <a:moveTo>
                    <a:pt x="87" y="36"/>
                  </a:moveTo>
                  <a:lnTo>
                    <a:pt x="244" y="36"/>
                  </a:lnTo>
                  <a:lnTo>
                    <a:pt x="303" y="138"/>
                  </a:lnTo>
                  <a:lnTo>
                    <a:pt x="146" y="138"/>
                  </a:lnTo>
                  <a:lnTo>
                    <a:pt x="87" y="36"/>
                  </a:lnTo>
                  <a:close/>
                  <a:moveTo>
                    <a:pt x="172" y="10"/>
                  </a:moveTo>
                  <a:lnTo>
                    <a:pt x="190" y="10"/>
                  </a:lnTo>
                  <a:lnTo>
                    <a:pt x="190" y="25"/>
                  </a:lnTo>
                  <a:lnTo>
                    <a:pt x="172" y="25"/>
                  </a:lnTo>
                  <a:lnTo>
                    <a:pt x="172" y="10"/>
                  </a:lnTo>
                  <a:close/>
                  <a:moveTo>
                    <a:pt x="167" y="0"/>
                  </a:moveTo>
                  <a:lnTo>
                    <a:pt x="167" y="0"/>
                  </a:lnTo>
                  <a:lnTo>
                    <a:pt x="167" y="0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2" y="2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2" y="25"/>
                  </a:lnTo>
                  <a:lnTo>
                    <a:pt x="72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7" y="25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8"/>
                  </a:lnTo>
                  <a:lnTo>
                    <a:pt x="3" y="148"/>
                  </a:lnTo>
                  <a:lnTo>
                    <a:pt x="3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31" y="148"/>
                  </a:lnTo>
                  <a:lnTo>
                    <a:pt x="31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0" y="266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6"/>
                  </a:lnTo>
                  <a:lnTo>
                    <a:pt x="6" y="276"/>
                  </a:lnTo>
                  <a:lnTo>
                    <a:pt x="6" y="276"/>
                  </a:lnTo>
                  <a:lnTo>
                    <a:pt x="6" y="276"/>
                  </a:lnTo>
                  <a:lnTo>
                    <a:pt x="313" y="276"/>
                  </a:lnTo>
                  <a:lnTo>
                    <a:pt x="313" y="276"/>
                  </a:lnTo>
                  <a:lnTo>
                    <a:pt x="313" y="276"/>
                  </a:lnTo>
                  <a:lnTo>
                    <a:pt x="315" y="276"/>
                  </a:lnTo>
                  <a:lnTo>
                    <a:pt x="315" y="274"/>
                  </a:lnTo>
                  <a:lnTo>
                    <a:pt x="315" y="274"/>
                  </a:lnTo>
                  <a:lnTo>
                    <a:pt x="315" y="274"/>
                  </a:lnTo>
                  <a:lnTo>
                    <a:pt x="315" y="274"/>
                  </a:lnTo>
                  <a:lnTo>
                    <a:pt x="318" y="274"/>
                  </a:lnTo>
                  <a:lnTo>
                    <a:pt x="318" y="274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3" y="266"/>
                  </a:lnTo>
                  <a:lnTo>
                    <a:pt x="313" y="266"/>
                  </a:lnTo>
                  <a:lnTo>
                    <a:pt x="313" y="266"/>
                  </a:lnTo>
                  <a:lnTo>
                    <a:pt x="287" y="266"/>
                  </a:lnTo>
                  <a:lnTo>
                    <a:pt x="287" y="148"/>
                  </a:lnTo>
                  <a:lnTo>
                    <a:pt x="313" y="148"/>
                  </a:lnTo>
                  <a:lnTo>
                    <a:pt x="313" y="148"/>
                  </a:lnTo>
                  <a:lnTo>
                    <a:pt x="315" y="148"/>
                  </a:lnTo>
                  <a:lnTo>
                    <a:pt x="315" y="148"/>
                  </a:lnTo>
                  <a:lnTo>
                    <a:pt x="315" y="148"/>
                  </a:lnTo>
                  <a:lnTo>
                    <a:pt x="315" y="146"/>
                  </a:lnTo>
                  <a:lnTo>
                    <a:pt x="315" y="146"/>
                  </a:lnTo>
                  <a:lnTo>
                    <a:pt x="318" y="146"/>
                  </a:lnTo>
                  <a:lnTo>
                    <a:pt x="318" y="146"/>
                  </a:lnTo>
                  <a:lnTo>
                    <a:pt x="318" y="146"/>
                  </a:lnTo>
                  <a:lnTo>
                    <a:pt x="318" y="143"/>
                  </a:lnTo>
                  <a:lnTo>
                    <a:pt x="318" y="143"/>
                  </a:lnTo>
                  <a:lnTo>
                    <a:pt x="318" y="143"/>
                  </a:lnTo>
                  <a:lnTo>
                    <a:pt x="318" y="143"/>
                  </a:lnTo>
                  <a:lnTo>
                    <a:pt x="318" y="140"/>
                  </a:lnTo>
                  <a:lnTo>
                    <a:pt x="318" y="140"/>
                  </a:lnTo>
                  <a:lnTo>
                    <a:pt x="318" y="140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51" y="25"/>
                  </a:lnTo>
                  <a:lnTo>
                    <a:pt x="251" y="25"/>
                  </a:lnTo>
                  <a:lnTo>
                    <a:pt x="249" y="25"/>
                  </a:lnTo>
                  <a:lnTo>
                    <a:pt x="249" y="25"/>
                  </a:lnTo>
                  <a:lnTo>
                    <a:pt x="249" y="25"/>
                  </a:lnTo>
                  <a:lnTo>
                    <a:pt x="249" y="25"/>
                  </a:lnTo>
                  <a:lnTo>
                    <a:pt x="246" y="25"/>
                  </a:lnTo>
                  <a:lnTo>
                    <a:pt x="200" y="25"/>
                  </a:lnTo>
                  <a:lnTo>
                    <a:pt x="200" y="5"/>
                  </a:lnTo>
                  <a:lnTo>
                    <a:pt x="200" y="5"/>
                  </a:lnTo>
                  <a:lnTo>
                    <a:pt x="200" y="5"/>
                  </a:lnTo>
                  <a:lnTo>
                    <a:pt x="200" y="5"/>
                  </a:lnTo>
                  <a:lnTo>
                    <a:pt x="200" y="5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8" y="2"/>
                  </a:lnTo>
                  <a:lnTo>
                    <a:pt x="198" y="2"/>
                  </a:lnTo>
                  <a:lnTo>
                    <a:pt x="198" y="2"/>
                  </a:lnTo>
                  <a:lnTo>
                    <a:pt x="195" y="2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54A1F049-BE90-43F2-AB8C-284347AAC074}"/>
              </a:ext>
            </a:extLst>
          </p:cNvPr>
          <p:cNvGrpSpPr/>
          <p:nvPr/>
        </p:nvGrpSpPr>
        <p:grpSpPr>
          <a:xfrm>
            <a:off x="3582988" y="5497513"/>
            <a:ext cx="758825" cy="760412"/>
            <a:chOff x="3582988" y="5500688"/>
            <a:chExt cx="758825" cy="760412"/>
          </a:xfrm>
        </p:grpSpPr>
        <p:sp>
          <p:nvSpPr>
            <p:cNvPr id="312" name="AutoShape 241">
              <a:extLst>
                <a:ext uri="{FF2B5EF4-FFF2-40B4-BE49-F238E27FC236}">
                  <a16:creationId xmlns:a16="http://schemas.microsoft.com/office/drawing/2014/main" id="{47A0E0E9-1B02-4A80-97A6-B5A54A04C09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2988" y="5500688"/>
              <a:ext cx="758825" cy="760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43">
              <a:extLst>
                <a:ext uri="{FF2B5EF4-FFF2-40B4-BE49-F238E27FC236}">
                  <a16:creationId xmlns:a16="http://schemas.microsoft.com/office/drawing/2014/main" id="{4DA61FB1-222E-4685-8592-5647733E74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5503863"/>
              <a:ext cx="755650" cy="75723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244">
              <a:extLst>
                <a:ext uri="{FF2B5EF4-FFF2-40B4-BE49-F238E27FC236}">
                  <a16:creationId xmlns:a16="http://schemas.microsoft.com/office/drawing/2014/main" id="{7D85FC70-C2AF-4355-AA8C-FACE42BD3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8563" y="5668963"/>
              <a:ext cx="450850" cy="428625"/>
            </a:xfrm>
            <a:custGeom>
              <a:avLst/>
              <a:gdLst>
                <a:gd name="T0" fmla="*/ 72 w 116"/>
                <a:gd name="T1" fmla="*/ 105 h 110"/>
                <a:gd name="T2" fmla="*/ 58 w 116"/>
                <a:gd name="T3" fmla="*/ 68 h 110"/>
                <a:gd name="T4" fmla="*/ 44 w 116"/>
                <a:gd name="T5" fmla="*/ 105 h 110"/>
                <a:gd name="T6" fmla="*/ 13 w 116"/>
                <a:gd name="T7" fmla="*/ 37 h 110"/>
                <a:gd name="T8" fmla="*/ 58 w 116"/>
                <a:gd name="T9" fmla="*/ 21 h 110"/>
                <a:gd name="T10" fmla="*/ 103 w 116"/>
                <a:gd name="T11" fmla="*/ 37 h 110"/>
                <a:gd name="T12" fmla="*/ 69 w 116"/>
                <a:gd name="T13" fmla="*/ 105 h 110"/>
                <a:gd name="T14" fmla="*/ 47 w 116"/>
                <a:gd name="T15" fmla="*/ 81 h 110"/>
                <a:gd name="T16" fmla="*/ 69 w 116"/>
                <a:gd name="T17" fmla="*/ 81 h 110"/>
                <a:gd name="T18" fmla="*/ 6 w 116"/>
                <a:gd name="T19" fmla="*/ 34 h 110"/>
                <a:gd name="T20" fmla="*/ 91 w 116"/>
                <a:gd name="T21" fmla="*/ 3 h 110"/>
                <a:gd name="T22" fmla="*/ 76 w 116"/>
                <a:gd name="T23" fmla="*/ 34 h 110"/>
                <a:gd name="T24" fmla="*/ 40 w 116"/>
                <a:gd name="T25" fmla="*/ 34 h 110"/>
                <a:gd name="T26" fmla="*/ 111 w 116"/>
                <a:gd name="T27" fmla="*/ 105 h 110"/>
                <a:gd name="T28" fmla="*/ 106 w 116"/>
                <a:gd name="T29" fmla="*/ 37 h 110"/>
                <a:gd name="T30" fmla="*/ 93 w 116"/>
                <a:gd name="T31" fmla="*/ 0 h 110"/>
                <a:gd name="T32" fmla="*/ 0 w 116"/>
                <a:gd name="T33" fmla="*/ 37 h 110"/>
                <a:gd name="T34" fmla="*/ 10 w 116"/>
                <a:gd name="T35" fmla="*/ 105 h 110"/>
                <a:gd name="T36" fmla="*/ 3 w 116"/>
                <a:gd name="T37" fmla="*/ 107 h 110"/>
                <a:gd name="T38" fmla="*/ 111 w 116"/>
                <a:gd name="T39" fmla="*/ 110 h 110"/>
                <a:gd name="T40" fmla="*/ 111 w 116"/>
                <a:gd name="T41" fmla="*/ 105 h 110"/>
                <a:gd name="T42" fmla="*/ 53 w 116"/>
                <a:gd name="T43" fmla="*/ 45 h 110"/>
                <a:gd name="T44" fmla="*/ 63 w 116"/>
                <a:gd name="T45" fmla="*/ 45 h 110"/>
                <a:gd name="T46" fmla="*/ 58 w 116"/>
                <a:gd name="T47" fmla="*/ 35 h 110"/>
                <a:gd name="T48" fmla="*/ 58 w 116"/>
                <a:gd name="T49" fmla="*/ 55 h 110"/>
                <a:gd name="T50" fmla="*/ 58 w 116"/>
                <a:gd name="T51" fmla="*/ 35 h 110"/>
                <a:gd name="T52" fmla="*/ 84 w 116"/>
                <a:gd name="T53" fmla="*/ 93 h 110"/>
                <a:gd name="T54" fmla="*/ 91 w 116"/>
                <a:gd name="T55" fmla="*/ 78 h 110"/>
                <a:gd name="T56" fmla="*/ 94 w 116"/>
                <a:gd name="T57" fmla="*/ 75 h 110"/>
                <a:gd name="T58" fmla="*/ 81 w 116"/>
                <a:gd name="T59" fmla="*/ 96 h 110"/>
                <a:gd name="T60" fmla="*/ 94 w 116"/>
                <a:gd name="T61" fmla="*/ 75 h 110"/>
                <a:gd name="T62" fmla="*/ 32 w 116"/>
                <a:gd name="T63" fmla="*/ 51 h 110"/>
                <a:gd name="T64" fmla="*/ 25 w 116"/>
                <a:gd name="T65" fmla="*/ 61 h 110"/>
                <a:gd name="T66" fmla="*/ 22 w 116"/>
                <a:gd name="T67" fmla="*/ 65 h 110"/>
                <a:gd name="T68" fmla="*/ 35 w 116"/>
                <a:gd name="T69" fmla="*/ 47 h 110"/>
                <a:gd name="T70" fmla="*/ 22 w 116"/>
                <a:gd name="T71" fmla="*/ 65 h 110"/>
                <a:gd name="T72" fmla="*/ 32 w 116"/>
                <a:gd name="T73" fmla="*/ 78 h 110"/>
                <a:gd name="T74" fmla="*/ 25 w 116"/>
                <a:gd name="T75" fmla="*/ 93 h 110"/>
                <a:gd name="T76" fmla="*/ 22 w 116"/>
                <a:gd name="T77" fmla="*/ 96 h 110"/>
                <a:gd name="T78" fmla="*/ 35 w 116"/>
                <a:gd name="T79" fmla="*/ 75 h 110"/>
                <a:gd name="T80" fmla="*/ 22 w 116"/>
                <a:gd name="T81" fmla="*/ 96 h 110"/>
                <a:gd name="T82" fmla="*/ 84 w 116"/>
                <a:gd name="T83" fmla="*/ 61 h 110"/>
                <a:gd name="T84" fmla="*/ 91 w 116"/>
                <a:gd name="T85" fmla="*/ 51 h 110"/>
                <a:gd name="T86" fmla="*/ 94 w 116"/>
                <a:gd name="T87" fmla="*/ 47 h 110"/>
                <a:gd name="T88" fmla="*/ 81 w 116"/>
                <a:gd name="T89" fmla="*/ 65 h 110"/>
                <a:gd name="T90" fmla="*/ 94 w 116"/>
                <a:gd name="T91" fmla="*/ 4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6" h="110">
                  <a:moveTo>
                    <a:pt x="103" y="105"/>
                  </a:moveTo>
                  <a:cubicBezTo>
                    <a:pt x="72" y="105"/>
                    <a:pt x="72" y="105"/>
                    <a:pt x="72" y="105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74"/>
                    <a:pt x="66" y="68"/>
                    <a:pt x="58" y="68"/>
                  </a:cubicBezTo>
                  <a:cubicBezTo>
                    <a:pt x="50" y="68"/>
                    <a:pt x="44" y="74"/>
                    <a:pt x="44" y="81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103" y="37"/>
                    <a:pt x="103" y="37"/>
                    <a:pt x="103" y="37"/>
                  </a:cubicBezTo>
                  <a:lnTo>
                    <a:pt x="103" y="105"/>
                  </a:lnTo>
                  <a:close/>
                  <a:moveTo>
                    <a:pt x="69" y="105"/>
                  </a:moveTo>
                  <a:cubicBezTo>
                    <a:pt x="47" y="105"/>
                    <a:pt x="47" y="105"/>
                    <a:pt x="47" y="105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76"/>
                    <a:pt x="52" y="71"/>
                    <a:pt x="58" y="71"/>
                  </a:cubicBezTo>
                  <a:cubicBezTo>
                    <a:pt x="64" y="71"/>
                    <a:pt x="69" y="76"/>
                    <a:pt x="69" y="81"/>
                  </a:cubicBezTo>
                  <a:lnTo>
                    <a:pt x="69" y="105"/>
                  </a:lnTo>
                  <a:close/>
                  <a:moveTo>
                    <a:pt x="6" y="34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40" y="34"/>
                    <a:pt x="40" y="34"/>
                    <a:pt x="40" y="34"/>
                  </a:cubicBezTo>
                  <a:lnTo>
                    <a:pt x="6" y="34"/>
                  </a:lnTo>
                  <a:close/>
                  <a:moveTo>
                    <a:pt x="111" y="105"/>
                  </a:moveTo>
                  <a:cubicBezTo>
                    <a:pt x="106" y="105"/>
                    <a:pt x="106" y="105"/>
                    <a:pt x="106" y="105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4" y="105"/>
                    <a:pt x="3" y="106"/>
                    <a:pt x="3" y="107"/>
                  </a:cubicBezTo>
                  <a:cubicBezTo>
                    <a:pt x="3" y="109"/>
                    <a:pt x="4" y="110"/>
                    <a:pt x="5" y="110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12" y="110"/>
                    <a:pt x="113" y="109"/>
                    <a:pt x="113" y="107"/>
                  </a:cubicBezTo>
                  <a:cubicBezTo>
                    <a:pt x="113" y="106"/>
                    <a:pt x="112" y="105"/>
                    <a:pt x="111" y="105"/>
                  </a:cubicBezTo>
                  <a:moveTo>
                    <a:pt x="58" y="50"/>
                  </a:moveTo>
                  <a:cubicBezTo>
                    <a:pt x="55" y="50"/>
                    <a:pt x="53" y="48"/>
                    <a:pt x="53" y="45"/>
                  </a:cubicBezTo>
                  <a:cubicBezTo>
                    <a:pt x="53" y="42"/>
                    <a:pt x="55" y="39"/>
                    <a:pt x="58" y="39"/>
                  </a:cubicBezTo>
                  <a:cubicBezTo>
                    <a:pt x="61" y="39"/>
                    <a:pt x="63" y="42"/>
                    <a:pt x="63" y="45"/>
                  </a:cubicBezTo>
                  <a:cubicBezTo>
                    <a:pt x="63" y="48"/>
                    <a:pt x="61" y="50"/>
                    <a:pt x="58" y="50"/>
                  </a:cubicBezTo>
                  <a:moveTo>
                    <a:pt x="58" y="35"/>
                  </a:moveTo>
                  <a:cubicBezTo>
                    <a:pt x="52" y="35"/>
                    <a:pt x="48" y="39"/>
                    <a:pt x="48" y="45"/>
                  </a:cubicBezTo>
                  <a:cubicBezTo>
                    <a:pt x="48" y="50"/>
                    <a:pt x="52" y="55"/>
                    <a:pt x="58" y="55"/>
                  </a:cubicBezTo>
                  <a:cubicBezTo>
                    <a:pt x="64" y="55"/>
                    <a:pt x="68" y="50"/>
                    <a:pt x="68" y="45"/>
                  </a:cubicBezTo>
                  <a:cubicBezTo>
                    <a:pt x="68" y="39"/>
                    <a:pt x="64" y="35"/>
                    <a:pt x="58" y="35"/>
                  </a:cubicBezTo>
                  <a:moveTo>
                    <a:pt x="91" y="93"/>
                  </a:moveTo>
                  <a:cubicBezTo>
                    <a:pt x="84" y="93"/>
                    <a:pt x="84" y="93"/>
                    <a:pt x="84" y="9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1" y="78"/>
                    <a:pt x="91" y="78"/>
                    <a:pt x="91" y="78"/>
                  </a:cubicBezTo>
                  <a:lnTo>
                    <a:pt x="91" y="93"/>
                  </a:lnTo>
                  <a:close/>
                  <a:moveTo>
                    <a:pt x="94" y="75"/>
                  </a:moveTo>
                  <a:cubicBezTo>
                    <a:pt x="81" y="75"/>
                    <a:pt x="81" y="75"/>
                    <a:pt x="81" y="75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75"/>
                  </a:lnTo>
                  <a:close/>
                  <a:moveTo>
                    <a:pt x="25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5" y="61"/>
                    <a:pt x="25" y="61"/>
                    <a:pt x="25" y="61"/>
                  </a:cubicBezTo>
                  <a:lnTo>
                    <a:pt x="25" y="51"/>
                  </a:lnTo>
                  <a:close/>
                  <a:moveTo>
                    <a:pt x="22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22" y="47"/>
                    <a:pt x="22" y="47"/>
                    <a:pt x="22" y="47"/>
                  </a:cubicBezTo>
                  <a:lnTo>
                    <a:pt x="22" y="65"/>
                  </a:lnTo>
                  <a:close/>
                  <a:moveTo>
                    <a:pt x="25" y="78"/>
                  </a:moveTo>
                  <a:cubicBezTo>
                    <a:pt x="32" y="78"/>
                    <a:pt x="32" y="78"/>
                    <a:pt x="32" y="78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25" y="93"/>
                    <a:pt x="25" y="93"/>
                    <a:pt x="25" y="93"/>
                  </a:cubicBezTo>
                  <a:lnTo>
                    <a:pt x="25" y="78"/>
                  </a:lnTo>
                  <a:close/>
                  <a:moveTo>
                    <a:pt x="22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22" y="75"/>
                    <a:pt x="22" y="75"/>
                    <a:pt x="22" y="75"/>
                  </a:cubicBezTo>
                  <a:lnTo>
                    <a:pt x="22" y="96"/>
                  </a:lnTo>
                  <a:close/>
                  <a:moveTo>
                    <a:pt x="91" y="61"/>
                  </a:moveTo>
                  <a:cubicBezTo>
                    <a:pt x="84" y="61"/>
                    <a:pt x="84" y="61"/>
                    <a:pt x="84" y="6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91" y="51"/>
                    <a:pt x="91" y="51"/>
                    <a:pt x="91" y="51"/>
                  </a:cubicBezTo>
                  <a:lnTo>
                    <a:pt x="91" y="61"/>
                  </a:lnTo>
                  <a:close/>
                  <a:moveTo>
                    <a:pt x="94" y="47"/>
                  </a:moveTo>
                  <a:cubicBezTo>
                    <a:pt x="81" y="47"/>
                    <a:pt x="81" y="47"/>
                    <a:pt x="81" y="47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94" y="65"/>
                    <a:pt x="94" y="65"/>
                    <a:pt x="94" y="65"/>
                  </a:cubicBezTo>
                  <a:lnTo>
                    <a:pt x="94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45">
              <a:extLst>
                <a:ext uri="{FF2B5EF4-FFF2-40B4-BE49-F238E27FC236}">
                  <a16:creationId xmlns:a16="http://schemas.microsoft.com/office/drawing/2014/main" id="{B856206F-35DF-42AA-8D11-8CA6CD9E6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8563" y="5668963"/>
              <a:ext cx="450850" cy="428625"/>
            </a:xfrm>
            <a:custGeom>
              <a:avLst/>
              <a:gdLst>
                <a:gd name="T0" fmla="*/ 72 w 116"/>
                <a:gd name="T1" fmla="*/ 105 h 110"/>
                <a:gd name="T2" fmla="*/ 58 w 116"/>
                <a:gd name="T3" fmla="*/ 68 h 110"/>
                <a:gd name="T4" fmla="*/ 44 w 116"/>
                <a:gd name="T5" fmla="*/ 105 h 110"/>
                <a:gd name="T6" fmla="*/ 13 w 116"/>
                <a:gd name="T7" fmla="*/ 37 h 110"/>
                <a:gd name="T8" fmla="*/ 58 w 116"/>
                <a:gd name="T9" fmla="*/ 21 h 110"/>
                <a:gd name="T10" fmla="*/ 103 w 116"/>
                <a:gd name="T11" fmla="*/ 37 h 110"/>
                <a:gd name="T12" fmla="*/ 69 w 116"/>
                <a:gd name="T13" fmla="*/ 105 h 110"/>
                <a:gd name="T14" fmla="*/ 47 w 116"/>
                <a:gd name="T15" fmla="*/ 81 h 110"/>
                <a:gd name="T16" fmla="*/ 69 w 116"/>
                <a:gd name="T17" fmla="*/ 81 h 110"/>
                <a:gd name="T18" fmla="*/ 6 w 116"/>
                <a:gd name="T19" fmla="*/ 34 h 110"/>
                <a:gd name="T20" fmla="*/ 91 w 116"/>
                <a:gd name="T21" fmla="*/ 3 h 110"/>
                <a:gd name="T22" fmla="*/ 76 w 116"/>
                <a:gd name="T23" fmla="*/ 34 h 110"/>
                <a:gd name="T24" fmla="*/ 40 w 116"/>
                <a:gd name="T25" fmla="*/ 34 h 110"/>
                <a:gd name="T26" fmla="*/ 111 w 116"/>
                <a:gd name="T27" fmla="*/ 105 h 110"/>
                <a:gd name="T28" fmla="*/ 106 w 116"/>
                <a:gd name="T29" fmla="*/ 37 h 110"/>
                <a:gd name="T30" fmla="*/ 93 w 116"/>
                <a:gd name="T31" fmla="*/ 0 h 110"/>
                <a:gd name="T32" fmla="*/ 0 w 116"/>
                <a:gd name="T33" fmla="*/ 37 h 110"/>
                <a:gd name="T34" fmla="*/ 10 w 116"/>
                <a:gd name="T35" fmla="*/ 105 h 110"/>
                <a:gd name="T36" fmla="*/ 3 w 116"/>
                <a:gd name="T37" fmla="*/ 107 h 110"/>
                <a:gd name="T38" fmla="*/ 111 w 116"/>
                <a:gd name="T39" fmla="*/ 110 h 110"/>
                <a:gd name="T40" fmla="*/ 111 w 116"/>
                <a:gd name="T41" fmla="*/ 105 h 110"/>
                <a:gd name="T42" fmla="*/ 53 w 116"/>
                <a:gd name="T43" fmla="*/ 45 h 110"/>
                <a:gd name="T44" fmla="*/ 63 w 116"/>
                <a:gd name="T45" fmla="*/ 45 h 110"/>
                <a:gd name="T46" fmla="*/ 58 w 116"/>
                <a:gd name="T47" fmla="*/ 35 h 110"/>
                <a:gd name="T48" fmla="*/ 58 w 116"/>
                <a:gd name="T49" fmla="*/ 55 h 110"/>
                <a:gd name="T50" fmla="*/ 58 w 116"/>
                <a:gd name="T51" fmla="*/ 35 h 110"/>
                <a:gd name="T52" fmla="*/ 84 w 116"/>
                <a:gd name="T53" fmla="*/ 93 h 110"/>
                <a:gd name="T54" fmla="*/ 91 w 116"/>
                <a:gd name="T55" fmla="*/ 78 h 110"/>
                <a:gd name="T56" fmla="*/ 94 w 116"/>
                <a:gd name="T57" fmla="*/ 75 h 110"/>
                <a:gd name="T58" fmla="*/ 81 w 116"/>
                <a:gd name="T59" fmla="*/ 96 h 110"/>
                <a:gd name="T60" fmla="*/ 94 w 116"/>
                <a:gd name="T61" fmla="*/ 75 h 110"/>
                <a:gd name="T62" fmla="*/ 32 w 116"/>
                <a:gd name="T63" fmla="*/ 51 h 110"/>
                <a:gd name="T64" fmla="*/ 25 w 116"/>
                <a:gd name="T65" fmla="*/ 61 h 110"/>
                <a:gd name="T66" fmla="*/ 22 w 116"/>
                <a:gd name="T67" fmla="*/ 65 h 110"/>
                <a:gd name="T68" fmla="*/ 35 w 116"/>
                <a:gd name="T69" fmla="*/ 47 h 110"/>
                <a:gd name="T70" fmla="*/ 22 w 116"/>
                <a:gd name="T71" fmla="*/ 65 h 110"/>
                <a:gd name="T72" fmla="*/ 32 w 116"/>
                <a:gd name="T73" fmla="*/ 78 h 110"/>
                <a:gd name="T74" fmla="*/ 25 w 116"/>
                <a:gd name="T75" fmla="*/ 93 h 110"/>
                <a:gd name="T76" fmla="*/ 22 w 116"/>
                <a:gd name="T77" fmla="*/ 96 h 110"/>
                <a:gd name="T78" fmla="*/ 35 w 116"/>
                <a:gd name="T79" fmla="*/ 75 h 110"/>
                <a:gd name="T80" fmla="*/ 22 w 116"/>
                <a:gd name="T81" fmla="*/ 96 h 110"/>
                <a:gd name="T82" fmla="*/ 84 w 116"/>
                <a:gd name="T83" fmla="*/ 61 h 110"/>
                <a:gd name="T84" fmla="*/ 91 w 116"/>
                <a:gd name="T85" fmla="*/ 51 h 110"/>
                <a:gd name="T86" fmla="*/ 94 w 116"/>
                <a:gd name="T87" fmla="*/ 47 h 110"/>
                <a:gd name="T88" fmla="*/ 81 w 116"/>
                <a:gd name="T89" fmla="*/ 65 h 110"/>
                <a:gd name="T90" fmla="*/ 94 w 116"/>
                <a:gd name="T91" fmla="*/ 4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6" h="110">
                  <a:moveTo>
                    <a:pt x="103" y="105"/>
                  </a:moveTo>
                  <a:cubicBezTo>
                    <a:pt x="72" y="105"/>
                    <a:pt x="72" y="105"/>
                    <a:pt x="72" y="105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74"/>
                    <a:pt x="66" y="68"/>
                    <a:pt x="58" y="68"/>
                  </a:cubicBezTo>
                  <a:cubicBezTo>
                    <a:pt x="50" y="68"/>
                    <a:pt x="44" y="74"/>
                    <a:pt x="44" y="81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103" y="37"/>
                    <a:pt x="103" y="37"/>
                    <a:pt x="103" y="37"/>
                  </a:cubicBezTo>
                  <a:lnTo>
                    <a:pt x="103" y="105"/>
                  </a:lnTo>
                  <a:close/>
                  <a:moveTo>
                    <a:pt x="69" y="105"/>
                  </a:moveTo>
                  <a:cubicBezTo>
                    <a:pt x="47" y="105"/>
                    <a:pt x="47" y="105"/>
                    <a:pt x="47" y="105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76"/>
                    <a:pt x="52" y="71"/>
                    <a:pt x="58" y="71"/>
                  </a:cubicBezTo>
                  <a:cubicBezTo>
                    <a:pt x="64" y="71"/>
                    <a:pt x="69" y="76"/>
                    <a:pt x="69" y="81"/>
                  </a:cubicBezTo>
                  <a:lnTo>
                    <a:pt x="69" y="105"/>
                  </a:lnTo>
                  <a:close/>
                  <a:moveTo>
                    <a:pt x="6" y="34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40" y="34"/>
                    <a:pt x="40" y="34"/>
                    <a:pt x="40" y="34"/>
                  </a:cubicBezTo>
                  <a:lnTo>
                    <a:pt x="6" y="34"/>
                  </a:lnTo>
                  <a:close/>
                  <a:moveTo>
                    <a:pt x="111" y="105"/>
                  </a:moveTo>
                  <a:cubicBezTo>
                    <a:pt x="106" y="105"/>
                    <a:pt x="106" y="105"/>
                    <a:pt x="106" y="105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4" y="105"/>
                    <a:pt x="3" y="106"/>
                    <a:pt x="3" y="107"/>
                  </a:cubicBezTo>
                  <a:cubicBezTo>
                    <a:pt x="3" y="109"/>
                    <a:pt x="4" y="110"/>
                    <a:pt x="5" y="110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12" y="110"/>
                    <a:pt x="113" y="109"/>
                    <a:pt x="113" y="107"/>
                  </a:cubicBezTo>
                  <a:cubicBezTo>
                    <a:pt x="113" y="106"/>
                    <a:pt x="112" y="105"/>
                    <a:pt x="111" y="105"/>
                  </a:cubicBezTo>
                  <a:moveTo>
                    <a:pt x="58" y="50"/>
                  </a:moveTo>
                  <a:cubicBezTo>
                    <a:pt x="55" y="50"/>
                    <a:pt x="53" y="48"/>
                    <a:pt x="53" y="45"/>
                  </a:cubicBezTo>
                  <a:cubicBezTo>
                    <a:pt x="53" y="42"/>
                    <a:pt x="55" y="39"/>
                    <a:pt x="58" y="39"/>
                  </a:cubicBezTo>
                  <a:cubicBezTo>
                    <a:pt x="61" y="39"/>
                    <a:pt x="63" y="42"/>
                    <a:pt x="63" y="45"/>
                  </a:cubicBezTo>
                  <a:cubicBezTo>
                    <a:pt x="63" y="48"/>
                    <a:pt x="61" y="50"/>
                    <a:pt x="58" y="50"/>
                  </a:cubicBezTo>
                  <a:moveTo>
                    <a:pt x="58" y="35"/>
                  </a:moveTo>
                  <a:cubicBezTo>
                    <a:pt x="52" y="35"/>
                    <a:pt x="48" y="39"/>
                    <a:pt x="48" y="45"/>
                  </a:cubicBezTo>
                  <a:cubicBezTo>
                    <a:pt x="48" y="50"/>
                    <a:pt x="52" y="55"/>
                    <a:pt x="58" y="55"/>
                  </a:cubicBezTo>
                  <a:cubicBezTo>
                    <a:pt x="64" y="55"/>
                    <a:pt x="68" y="50"/>
                    <a:pt x="68" y="45"/>
                  </a:cubicBezTo>
                  <a:cubicBezTo>
                    <a:pt x="68" y="39"/>
                    <a:pt x="64" y="35"/>
                    <a:pt x="58" y="35"/>
                  </a:cubicBezTo>
                  <a:moveTo>
                    <a:pt x="91" y="93"/>
                  </a:moveTo>
                  <a:cubicBezTo>
                    <a:pt x="84" y="93"/>
                    <a:pt x="84" y="93"/>
                    <a:pt x="84" y="9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1" y="78"/>
                    <a:pt x="91" y="78"/>
                    <a:pt x="91" y="78"/>
                  </a:cubicBezTo>
                  <a:lnTo>
                    <a:pt x="91" y="93"/>
                  </a:lnTo>
                  <a:close/>
                  <a:moveTo>
                    <a:pt x="94" y="75"/>
                  </a:moveTo>
                  <a:cubicBezTo>
                    <a:pt x="81" y="75"/>
                    <a:pt x="81" y="75"/>
                    <a:pt x="81" y="75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75"/>
                  </a:lnTo>
                  <a:close/>
                  <a:moveTo>
                    <a:pt x="25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5" y="61"/>
                    <a:pt x="25" y="61"/>
                    <a:pt x="25" y="61"/>
                  </a:cubicBezTo>
                  <a:lnTo>
                    <a:pt x="25" y="51"/>
                  </a:lnTo>
                  <a:close/>
                  <a:moveTo>
                    <a:pt x="22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22" y="47"/>
                    <a:pt x="22" y="47"/>
                    <a:pt x="22" y="47"/>
                  </a:cubicBezTo>
                  <a:lnTo>
                    <a:pt x="22" y="65"/>
                  </a:lnTo>
                  <a:close/>
                  <a:moveTo>
                    <a:pt x="25" y="78"/>
                  </a:moveTo>
                  <a:cubicBezTo>
                    <a:pt x="32" y="78"/>
                    <a:pt x="32" y="78"/>
                    <a:pt x="32" y="78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25" y="93"/>
                    <a:pt x="25" y="93"/>
                    <a:pt x="25" y="93"/>
                  </a:cubicBezTo>
                  <a:lnTo>
                    <a:pt x="25" y="78"/>
                  </a:lnTo>
                  <a:close/>
                  <a:moveTo>
                    <a:pt x="22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22" y="75"/>
                    <a:pt x="22" y="75"/>
                    <a:pt x="22" y="75"/>
                  </a:cubicBezTo>
                  <a:lnTo>
                    <a:pt x="22" y="96"/>
                  </a:lnTo>
                  <a:close/>
                  <a:moveTo>
                    <a:pt x="91" y="61"/>
                  </a:moveTo>
                  <a:cubicBezTo>
                    <a:pt x="84" y="61"/>
                    <a:pt x="84" y="61"/>
                    <a:pt x="84" y="6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91" y="51"/>
                    <a:pt x="91" y="51"/>
                    <a:pt x="91" y="51"/>
                  </a:cubicBezTo>
                  <a:lnTo>
                    <a:pt x="91" y="61"/>
                  </a:lnTo>
                  <a:close/>
                  <a:moveTo>
                    <a:pt x="94" y="47"/>
                  </a:moveTo>
                  <a:cubicBezTo>
                    <a:pt x="81" y="47"/>
                    <a:pt x="81" y="47"/>
                    <a:pt x="81" y="47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94" y="65"/>
                    <a:pt x="94" y="65"/>
                    <a:pt x="94" y="65"/>
                  </a:cubicBezTo>
                  <a:lnTo>
                    <a:pt x="94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04E487C6-6FDC-4962-BA7F-88475E335D6B}"/>
              </a:ext>
            </a:extLst>
          </p:cNvPr>
          <p:cNvGrpSpPr/>
          <p:nvPr/>
        </p:nvGrpSpPr>
        <p:grpSpPr>
          <a:xfrm>
            <a:off x="2589213" y="5455444"/>
            <a:ext cx="844550" cy="844550"/>
            <a:chOff x="2589213" y="5475288"/>
            <a:chExt cx="844550" cy="844550"/>
          </a:xfrm>
        </p:grpSpPr>
        <p:sp>
          <p:nvSpPr>
            <p:cNvPr id="320" name="AutoShape 247">
              <a:extLst>
                <a:ext uri="{FF2B5EF4-FFF2-40B4-BE49-F238E27FC236}">
                  <a16:creationId xmlns:a16="http://schemas.microsoft.com/office/drawing/2014/main" id="{70CE668E-4E91-45C6-8FA6-331F8902ED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89213" y="54752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249">
              <a:extLst>
                <a:ext uri="{FF2B5EF4-FFF2-40B4-BE49-F238E27FC236}">
                  <a16:creationId xmlns:a16="http://schemas.microsoft.com/office/drawing/2014/main" id="{77C78520-F7F5-4C9F-8E8E-8F58F752A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3" y="54752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50">
              <a:extLst>
                <a:ext uri="{FF2B5EF4-FFF2-40B4-BE49-F238E27FC236}">
                  <a16:creationId xmlns:a16="http://schemas.microsoft.com/office/drawing/2014/main" id="{35846733-3500-496D-AF3F-536A0AB862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7788" y="55038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51">
              <a:extLst>
                <a:ext uri="{FF2B5EF4-FFF2-40B4-BE49-F238E27FC236}">
                  <a16:creationId xmlns:a16="http://schemas.microsoft.com/office/drawing/2014/main" id="{130B73C5-C4B7-4CFB-8D48-A1395233E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6538" y="5673726"/>
              <a:ext cx="471488" cy="447675"/>
            </a:xfrm>
            <a:custGeom>
              <a:avLst/>
              <a:gdLst>
                <a:gd name="T0" fmla="*/ 72 w 116"/>
                <a:gd name="T1" fmla="*/ 105 h 110"/>
                <a:gd name="T2" fmla="*/ 58 w 116"/>
                <a:gd name="T3" fmla="*/ 68 h 110"/>
                <a:gd name="T4" fmla="*/ 44 w 116"/>
                <a:gd name="T5" fmla="*/ 105 h 110"/>
                <a:gd name="T6" fmla="*/ 13 w 116"/>
                <a:gd name="T7" fmla="*/ 37 h 110"/>
                <a:gd name="T8" fmla="*/ 58 w 116"/>
                <a:gd name="T9" fmla="*/ 21 h 110"/>
                <a:gd name="T10" fmla="*/ 103 w 116"/>
                <a:gd name="T11" fmla="*/ 37 h 110"/>
                <a:gd name="T12" fmla="*/ 69 w 116"/>
                <a:gd name="T13" fmla="*/ 105 h 110"/>
                <a:gd name="T14" fmla="*/ 47 w 116"/>
                <a:gd name="T15" fmla="*/ 81 h 110"/>
                <a:gd name="T16" fmla="*/ 69 w 116"/>
                <a:gd name="T17" fmla="*/ 81 h 110"/>
                <a:gd name="T18" fmla="*/ 6 w 116"/>
                <a:gd name="T19" fmla="*/ 34 h 110"/>
                <a:gd name="T20" fmla="*/ 91 w 116"/>
                <a:gd name="T21" fmla="*/ 3 h 110"/>
                <a:gd name="T22" fmla="*/ 76 w 116"/>
                <a:gd name="T23" fmla="*/ 34 h 110"/>
                <a:gd name="T24" fmla="*/ 40 w 116"/>
                <a:gd name="T25" fmla="*/ 34 h 110"/>
                <a:gd name="T26" fmla="*/ 111 w 116"/>
                <a:gd name="T27" fmla="*/ 105 h 110"/>
                <a:gd name="T28" fmla="*/ 106 w 116"/>
                <a:gd name="T29" fmla="*/ 37 h 110"/>
                <a:gd name="T30" fmla="*/ 93 w 116"/>
                <a:gd name="T31" fmla="*/ 0 h 110"/>
                <a:gd name="T32" fmla="*/ 0 w 116"/>
                <a:gd name="T33" fmla="*/ 37 h 110"/>
                <a:gd name="T34" fmla="*/ 10 w 116"/>
                <a:gd name="T35" fmla="*/ 105 h 110"/>
                <a:gd name="T36" fmla="*/ 3 w 116"/>
                <a:gd name="T37" fmla="*/ 107 h 110"/>
                <a:gd name="T38" fmla="*/ 111 w 116"/>
                <a:gd name="T39" fmla="*/ 110 h 110"/>
                <a:gd name="T40" fmla="*/ 111 w 116"/>
                <a:gd name="T41" fmla="*/ 105 h 110"/>
                <a:gd name="T42" fmla="*/ 53 w 116"/>
                <a:gd name="T43" fmla="*/ 45 h 110"/>
                <a:gd name="T44" fmla="*/ 63 w 116"/>
                <a:gd name="T45" fmla="*/ 45 h 110"/>
                <a:gd name="T46" fmla="*/ 58 w 116"/>
                <a:gd name="T47" fmla="*/ 35 h 110"/>
                <a:gd name="T48" fmla="*/ 58 w 116"/>
                <a:gd name="T49" fmla="*/ 55 h 110"/>
                <a:gd name="T50" fmla="*/ 58 w 116"/>
                <a:gd name="T51" fmla="*/ 35 h 110"/>
                <a:gd name="T52" fmla="*/ 84 w 116"/>
                <a:gd name="T53" fmla="*/ 93 h 110"/>
                <a:gd name="T54" fmla="*/ 91 w 116"/>
                <a:gd name="T55" fmla="*/ 78 h 110"/>
                <a:gd name="T56" fmla="*/ 94 w 116"/>
                <a:gd name="T57" fmla="*/ 75 h 110"/>
                <a:gd name="T58" fmla="*/ 81 w 116"/>
                <a:gd name="T59" fmla="*/ 96 h 110"/>
                <a:gd name="T60" fmla="*/ 94 w 116"/>
                <a:gd name="T61" fmla="*/ 75 h 110"/>
                <a:gd name="T62" fmla="*/ 32 w 116"/>
                <a:gd name="T63" fmla="*/ 51 h 110"/>
                <a:gd name="T64" fmla="*/ 25 w 116"/>
                <a:gd name="T65" fmla="*/ 61 h 110"/>
                <a:gd name="T66" fmla="*/ 22 w 116"/>
                <a:gd name="T67" fmla="*/ 65 h 110"/>
                <a:gd name="T68" fmla="*/ 35 w 116"/>
                <a:gd name="T69" fmla="*/ 47 h 110"/>
                <a:gd name="T70" fmla="*/ 22 w 116"/>
                <a:gd name="T71" fmla="*/ 65 h 110"/>
                <a:gd name="T72" fmla="*/ 32 w 116"/>
                <a:gd name="T73" fmla="*/ 78 h 110"/>
                <a:gd name="T74" fmla="*/ 25 w 116"/>
                <a:gd name="T75" fmla="*/ 93 h 110"/>
                <a:gd name="T76" fmla="*/ 22 w 116"/>
                <a:gd name="T77" fmla="*/ 96 h 110"/>
                <a:gd name="T78" fmla="*/ 35 w 116"/>
                <a:gd name="T79" fmla="*/ 75 h 110"/>
                <a:gd name="T80" fmla="*/ 22 w 116"/>
                <a:gd name="T81" fmla="*/ 96 h 110"/>
                <a:gd name="T82" fmla="*/ 84 w 116"/>
                <a:gd name="T83" fmla="*/ 61 h 110"/>
                <a:gd name="T84" fmla="*/ 91 w 116"/>
                <a:gd name="T85" fmla="*/ 51 h 110"/>
                <a:gd name="T86" fmla="*/ 94 w 116"/>
                <a:gd name="T87" fmla="*/ 47 h 110"/>
                <a:gd name="T88" fmla="*/ 81 w 116"/>
                <a:gd name="T89" fmla="*/ 65 h 110"/>
                <a:gd name="T90" fmla="*/ 94 w 116"/>
                <a:gd name="T91" fmla="*/ 4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6" h="110">
                  <a:moveTo>
                    <a:pt x="103" y="105"/>
                  </a:moveTo>
                  <a:cubicBezTo>
                    <a:pt x="72" y="105"/>
                    <a:pt x="72" y="105"/>
                    <a:pt x="72" y="105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74"/>
                    <a:pt x="66" y="68"/>
                    <a:pt x="58" y="68"/>
                  </a:cubicBezTo>
                  <a:cubicBezTo>
                    <a:pt x="50" y="68"/>
                    <a:pt x="44" y="74"/>
                    <a:pt x="44" y="81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103" y="37"/>
                    <a:pt x="103" y="37"/>
                    <a:pt x="103" y="37"/>
                  </a:cubicBezTo>
                  <a:lnTo>
                    <a:pt x="103" y="105"/>
                  </a:lnTo>
                  <a:close/>
                  <a:moveTo>
                    <a:pt x="69" y="105"/>
                  </a:moveTo>
                  <a:cubicBezTo>
                    <a:pt x="47" y="105"/>
                    <a:pt x="47" y="105"/>
                    <a:pt x="47" y="105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76"/>
                    <a:pt x="52" y="71"/>
                    <a:pt x="58" y="71"/>
                  </a:cubicBezTo>
                  <a:cubicBezTo>
                    <a:pt x="64" y="71"/>
                    <a:pt x="69" y="76"/>
                    <a:pt x="69" y="81"/>
                  </a:cubicBezTo>
                  <a:lnTo>
                    <a:pt x="69" y="105"/>
                  </a:lnTo>
                  <a:close/>
                  <a:moveTo>
                    <a:pt x="6" y="34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40" y="34"/>
                    <a:pt x="40" y="34"/>
                    <a:pt x="40" y="34"/>
                  </a:cubicBezTo>
                  <a:lnTo>
                    <a:pt x="6" y="34"/>
                  </a:lnTo>
                  <a:close/>
                  <a:moveTo>
                    <a:pt x="111" y="105"/>
                  </a:moveTo>
                  <a:cubicBezTo>
                    <a:pt x="106" y="105"/>
                    <a:pt x="106" y="105"/>
                    <a:pt x="106" y="105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4" y="105"/>
                    <a:pt x="3" y="106"/>
                    <a:pt x="3" y="107"/>
                  </a:cubicBezTo>
                  <a:cubicBezTo>
                    <a:pt x="3" y="109"/>
                    <a:pt x="4" y="110"/>
                    <a:pt x="5" y="110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12" y="110"/>
                    <a:pt x="113" y="109"/>
                    <a:pt x="113" y="107"/>
                  </a:cubicBezTo>
                  <a:cubicBezTo>
                    <a:pt x="113" y="106"/>
                    <a:pt x="112" y="105"/>
                    <a:pt x="111" y="105"/>
                  </a:cubicBezTo>
                  <a:moveTo>
                    <a:pt x="58" y="50"/>
                  </a:moveTo>
                  <a:cubicBezTo>
                    <a:pt x="55" y="50"/>
                    <a:pt x="53" y="48"/>
                    <a:pt x="53" y="45"/>
                  </a:cubicBezTo>
                  <a:cubicBezTo>
                    <a:pt x="53" y="42"/>
                    <a:pt x="55" y="39"/>
                    <a:pt x="58" y="39"/>
                  </a:cubicBezTo>
                  <a:cubicBezTo>
                    <a:pt x="61" y="39"/>
                    <a:pt x="63" y="42"/>
                    <a:pt x="63" y="45"/>
                  </a:cubicBezTo>
                  <a:cubicBezTo>
                    <a:pt x="63" y="48"/>
                    <a:pt x="61" y="50"/>
                    <a:pt x="58" y="50"/>
                  </a:cubicBezTo>
                  <a:moveTo>
                    <a:pt x="58" y="35"/>
                  </a:moveTo>
                  <a:cubicBezTo>
                    <a:pt x="52" y="35"/>
                    <a:pt x="48" y="39"/>
                    <a:pt x="48" y="45"/>
                  </a:cubicBezTo>
                  <a:cubicBezTo>
                    <a:pt x="48" y="50"/>
                    <a:pt x="52" y="55"/>
                    <a:pt x="58" y="55"/>
                  </a:cubicBezTo>
                  <a:cubicBezTo>
                    <a:pt x="64" y="55"/>
                    <a:pt x="68" y="50"/>
                    <a:pt x="68" y="45"/>
                  </a:cubicBezTo>
                  <a:cubicBezTo>
                    <a:pt x="68" y="39"/>
                    <a:pt x="64" y="35"/>
                    <a:pt x="58" y="35"/>
                  </a:cubicBezTo>
                  <a:moveTo>
                    <a:pt x="91" y="93"/>
                  </a:moveTo>
                  <a:cubicBezTo>
                    <a:pt x="84" y="93"/>
                    <a:pt x="84" y="93"/>
                    <a:pt x="84" y="9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1" y="78"/>
                    <a:pt x="91" y="78"/>
                    <a:pt x="91" y="78"/>
                  </a:cubicBezTo>
                  <a:lnTo>
                    <a:pt x="91" y="93"/>
                  </a:lnTo>
                  <a:close/>
                  <a:moveTo>
                    <a:pt x="94" y="75"/>
                  </a:moveTo>
                  <a:cubicBezTo>
                    <a:pt x="81" y="75"/>
                    <a:pt x="81" y="75"/>
                    <a:pt x="81" y="75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75"/>
                  </a:lnTo>
                  <a:close/>
                  <a:moveTo>
                    <a:pt x="25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5" y="61"/>
                    <a:pt x="25" y="61"/>
                    <a:pt x="25" y="61"/>
                  </a:cubicBezTo>
                  <a:lnTo>
                    <a:pt x="25" y="51"/>
                  </a:lnTo>
                  <a:close/>
                  <a:moveTo>
                    <a:pt x="22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22" y="47"/>
                    <a:pt x="22" y="47"/>
                    <a:pt x="22" y="47"/>
                  </a:cubicBezTo>
                  <a:lnTo>
                    <a:pt x="22" y="65"/>
                  </a:lnTo>
                  <a:close/>
                  <a:moveTo>
                    <a:pt x="25" y="78"/>
                  </a:moveTo>
                  <a:cubicBezTo>
                    <a:pt x="32" y="78"/>
                    <a:pt x="32" y="78"/>
                    <a:pt x="32" y="78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25" y="93"/>
                    <a:pt x="25" y="93"/>
                    <a:pt x="25" y="93"/>
                  </a:cubicBezTo>
                  <a:lnTo>
                    <a:pt x="25" y="78"/>
                  </a:lnTo>
                  <a:close/>
                  <a:moveTo>
                    <a:pt x="22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22" y="75"/>
                    <a:pt x="22" y="75"/>
                    <a:pt x="22" y="75"/>
                  </a:cubicBezTo>
                  <a:lnTo>
                    <a:pt x="22" y="96"/>
                  </a:lnTo>
                  <a:close/>
                  <a:moveTo>
                    <a:pt x="91" y="61"/>
                  </a:moveTo>
                  <a:cubicBezTo>
                    <a:pt x="84" y="61"/>
                    <a:pt x="84" y="61"/>
                    <a:pt x="84" y="6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91" y="51"/>
                    <a:pt x="91" y="51"/>
                    <a:pt x="91" y="51"/>
                  </a:cubicBezTo>
                  <a:lnTo>
                    <a:pt x="91" y="61"/>
                  </a:lnTo>
                  <a:close/>
                  <a:moveTo>
                    <a:pt x="94" y="47"/>
                  </a:moveTo>
                  <a:cubicBezTo>
                    <a:pt x="81" y="47"/>
                    <a:pt x="81" y="47"/>
                    <a:pt x="81" y="47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94" y="65"/>
                    <a:pt x="94" y="65"/>
                    <a:pt x="94" y="65"/>
                  </a:cubicBezTo>
                  <a:lnTo>
                    <a:pt x="94" y="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16E41142-2B59-4FEB-A4D8-A12290F9286E}"/>
              </a:ext>
            </a:extLst>
          </p:cNvPr>
          <p:cNvGrpSpPr/>
          <p:nvPr/>
        </p:nvGrpSpPr>
        <p:grpSpPr>
          <a:xfrm>
            <a:off x="5859463" y="5498307"/>
            <a:ext cx="758825" cy="758825"/>
            <a:chOff x="5859463" y="5476875"/>
            <a:chExt cx="758825" cy="758825"/>
          </a:xfrm>
        </p:grpSpPr>
        <p:sp>
          <p:nvSpPr>
            <p:cNvPr id="328" name="AutoShape 253">
              <a:extLst>
                <a:ext uri="{FF2B5EF4-FFF2-40B4-BE49-F238E27FC236}">
                  <a16:creationId xmlns:a16="http://schemas.microsoft.com/office/drawing/2014/main" id="{DCFB855D-97A8-45B3-9F0A-3587DDC59F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59463" y="547687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55">
              <a:extLst>
                <a:ext uri="{FF2B5EF4-FFF2-40B4-BE49-F238E27FC236}">
                  <a16:creationId xmlns:a16="http://schemas.microsoft.com/office/drawing/2014/main" id="{57951C4F-B082-4F40-91EE-DB31CC6CBD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2638" y="5480050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56">
              <a:extLst>
                <a:ext uri="{FF2B5EF4-FFF2-40B4-BE49-F238E27FC236}">
                  <a16:creationId xmlns:a16="http://schemas.microsoft.com/office/drawing/2014/main" id="{4712FAD1-A936-4CC2-AB96-73E443A156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7901" y="5546725"/>
              <a:ext cx="365125" cy="530225"/>
            </a:xfrm>
            <a:custGeom>
              <a:avLst/>
              <a:gdLst>
                <a:gd name="T0" fmla="*/ 49 w 94"/>
                <a:gd name="T1" fmla="*/ 103 h 136"/>
                <a:gd name="T2" fmla="*/ 38 w 94"/>
                <a:gd name="T3" fmla="*/ 54 h 136"/>
                <a:gd name="T4" fmla="*/ 27 w 94"/>
                <a:gd name="T5" fmla="*/ 119 h 136"/>
                <a:gd name="T6" fmla="*/ 47 w 94"/>
                <a:gd name="T7" fmla="*/ 59 h 136"/>
                <a:gd name="T8" fmla="*/ 58 w 94"/>
                <a:gd name="T9" fmla="*/ 106 h 136"/>
                <a:gd name="T10" fmla="*/ 75 w 94"/>
                <a:gd name="T11" fmla="*/ 119 h 136"/>
                <a:gd name="T12" fmla="*/ 54 w 94"/>
                <a:gd name="T13" fmla="*/ 119 h 136"/>
                <a:gd name="T14" fmla="*/ 56 w 94"/>
                <a:gd name="T15" fmla="*/ 54 h 136"/>
                <a:gd name="T16" fmla="*/ 23 w 94"/>
                <a:gd name="T17" fmla="*/ 103 h 136"/>
                <a:gd name="T18" fmla="*/ 38 w 94"/>
                <a:gd name="T19" fmla="*/ 54 h 136"/>
                <a:gd name="T20" fmla="*/ 57 w 94"/>
                <a:gd name="T21" fmla="*/ 106 h 136"/>
                <a:gd name="T22" fmla="*/ 75 w 94"/>
                <a:gd name="T23" fmla="*/ 103 h 136"/>
                <a:gd name="T24" fmla="*/ 40 w 94"/>
                <a:gd name="T25" fmla="*/ 119 h 136"/>
                <a:gd name="T26" fmla="*/ 27 w 94"/>
                <a:gd name="T27" fmla="*/ 119 h 136"/>
                <a:gd name="T28" fmla="*/ 27 w 94"/>
                <a:gd name="T29" fmla="*/ 107 h 136"/>
                <a:gd name="T30" fmla="*/ 56 w 94"/>
                <a:gd name="T31" fmla="*/ 54 h 136"/>
                <a:gd name="T32" fmla="*/ 75 w 94"/>
                <a:gd name="T33" fmla="*/ 119 h 136"/>
                <a:gd name="T34" fmla="*/ 80 w 94"/>
                <a:gd name="T35" fmla="*/ 119 h 136"/>
                <a:gd name="T36" fmla="*/ 44 w 94"/>
                <a:gd name="T37" fmla="*/ 103 h 136"/>
                <a:gd name="T38" fmla="*/ 23 w 94"/>
                <a:gd name="T39" fmla="*/ 103 h 136"/>
                <a:gd name="T40" fmla="*/ 19 w 94"/>
                <a:gd name="T41" fmla="*/ 119 h 136"/>
                <a:gd name="T42" fmla="*/ 54 w 94"/>
                <a:gd name="T43" fmla="*/ 119 h 136"/>
                <a:gd name="T44" fmla="*/ 75 w 94"/>
                <a:gd name="T45" fmla="*/ 103 h 136"/>
                <a:gd name="T46" fmla="*/ 67 w 94"/>
                <a:gd name="T47" fmla="*/ 119 h 136"/>
                <a:gd name="T48" fmla="*/ 45 w 94"/>
                <a:gd name="T49" fmla="*/ 119 h 136"/>
                <a:gd name="T50" fmla="*/ 27 w 94"/>
                <a:gd name="T51" fmla="*/ 107 h 136"/>
                <a:gd name="T52" fmla="*/ 14 w 94"/>
                <a:gd name="T53" fmla="*/ 107 h 136"/>
                <a:gd name="T54" fmla="*/ 49 w 94"/>
                <a:gd name="T55" fmla="*/ 119 h 136"/>
                <a:gd name="T56" fmla="*/ 67 w 94"/>
                <a:gd name="T57" fmla="*/ 119 h 136"/>
                <a:gd name="T58" fmla="*/ 33 w 94"/>
                <a:gd name="T59" fmla="*/ 36 h 136"/>
                <a:gd name="T60" fmla="*/ 92 w 94"/>
                <a:gd name="T61" fmla="*/ 136 h 136"/>
                <a:gd name="T62" fmla="*/ 31 w 94"/>
                <a:gd name="T63" fmla="*/ 106 h 136"/>
                <a:gd name="T64" fmla="*/ 36 w 94"/>
                <a:gd name="T65" fmla="*/ 121 h 136"/>
                <a:gd name="T66" fmla="*/ 65 w 94"/>
                <a:gd name="T67" fmla="*/ 123 h 136"/>
                <a:gd name="T68" fmla="*/ 84 w 94"/>
                <a:gd name="T69" fmla="*/ 106 h 136"/>
                <a:gd name="T70" fmla="*/ 42 w 94"/>
                <a:gd name="T71" fmla="*/ 54 h 136"/>
                <a:gd name="T72" fmla="*/ 29 w 94"/>
                <a:gd name="T73" fmla="*/ 123 h 136"/>
                <a:gd name="T74" fmla="*/ 31 w 94"/>
                <a:gd name="T75" fmla="*/ 106 h 136"/>
                <a:gd name="T76" fmla="*/ 36 w 94"/>
                <a:gd name="T77" fmla="*/ 123 h 136"/>
                <a:gd name="T78" fmla="*/ 84 w 94"/>
                <a:gd name="T79" fmla="*/ 123 h 136"/>
                <a:gd name="T80" fmla="*/ 54 w 94"/>
                <a:gd name="T81" fmla="*/ 119 h 136"/>
                <a:gd name="T82" fmla="*/ 52 w 94"/>
                <a:gd name="T83" fmla="*/ 54 h 136"/>
                <a:gd name="T84" fmla="*/ 31 w 94"/>
                <a:gd name="T85" fmla="*/ 121 h 136"/>
                <a:gd name="T86" fmla="*/ 42 w 94"/>
                <a:gd name="T87" fmla="*/ 54 h 136"/>
                <a:gd name="T88" fmla="*/ 56 w 94"/>
                <a:gd name="T89" fmla="*/ 123 h 136"/>
                <a:gd name="T90" fmla="*/ 84 w 94"/>
                <a:gd name="T91" fmla="*/ 106 h 136"/>
                <a:gd name="T92" fmla="*/ 49 w 94"/>
                <a:gd name="T93" fmla="*/ 103 h 136"/>
                <a:gd name="T94" fmla="*/ 47 w 94"/>
                <a:gd name="T95" fmla="*/ 45 h 136"/>
                <a:gd name="T96" fmla="*/ 31 w 94"/>
                <a:gd name="T97" fmla="*/ 106 h 136"/>
                <a:gd name="T98" fmla="*/ 52 w 94"/>
                <a:gd name="T99" fmla="*/ 54 h 136"/>
                <a:gd name="T100" fmla="*/ 58 w 94"/>
                <a:gd name="T101" fmla="*/ 121 h 136"/>
                <a:gd name="T102" fmla="*/ 80 w 94"/>
                <a:gd name="T103" fmla="*/ 119 h 136"/>
                <a:gd name="T104" fmla="*/ 54 w 94"/>
                <a:gd name="T105" fmla="*/ 107 h 136"/>
                <a:gd name="T106" fmla="*/ 47 w 94"/>
                <a:gd name="T107" fmla="*/ 63 h 136"/>
                <a:gd name="T108" fmla="*/ 23 w 94"/>
                <a:gd name="T109" fmla="*/ 119 h 136"/>
                <a:gd name="T110" fmla="*/ 47 w 94"/>
                <a:gd name="T111" fmla="*/ 45 h 136"/>
                <a:gd name="T112" fmla="*/ 58 w 94"/>
                <a:gd name="T113" fmla="*/ 106 h 136"/>
                <a:gd name="T114" fmla="*/ 75 w 94"/>
                <a:gd name="T115" fmla="*/ 103 h 136"/>
                <a:gd name="T116" fmla="*/ 45 w 94"/>
                <a:gd name="T117" fmla="*/ 119 h 136"/>
                <a:gd name="T118" fmla="*/ 47 w 94"/>
                <a:gd name="T119" fmla="*/ 45 h 136"/>
                <a:gd name="T120" fmla="*/ 23 w 94"/>
                <a:gd name="T121" fmla="*/ 103 h 136"/>
                <a:gd name="T122" fmla="*/ 40 w 94"/>
                <a:gd name="T123" fmla="*/ 119 h 136"/>
                <a:gd name="T124" fmla="*/ 71 w 94"/>
                <a:gd name="T12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36"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67" y="107"/>
                  </a:move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67" y="119"/>
                    <a:pt x="67" y="119"/>
                    <a:pt x="67" y="119"/>
                  </a:cubicBezTo>
                  <a:lnTo>
                    <a:pt x="67" y="107"/>
                  </a:lnTo>
                  <a:close/>
                  <a:moveTo>
                    <a:pt x="75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75" y="119"/>
                    <a:pt x="75" y="119"/>
                    <a:pt x="75" y="119"/>
                  </a:cubicBezTo>
                  <a:lnTo>
                    <a:pt x="75" y="103"/>
                  </a:lnTo>
                  <a:close/>
                  <a:moveTo>
                    <a:pt x="63" y="106"/>
                  </a:move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lose/>
                  <a:moveTo>
                    <a:pt x="90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90" y="98"/>
                    <a:pt x="90" y="98"/>
                    <a:pt x="90" y="98"/>
                  </a:cubicBezTo>
                  <a:lnTo>
                    <a:pt x="90" y="132"/>
                  </a:lnTo>
                  <a:close/>
                  <a:moveTo>
                    <a:pt x="47" y="9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47" y="9"/>
                  </a:lnTo>
                  <a:close/>
                  <a:moveTo>
                    <a:pt x="94" y="95"/>
                  </a:moveTo>
                  <a:cubicBezTo>
                    <a:pt x="65" y="69"/>
                    <a:pt x="65" y="69"/>
                    <a:pt x="65" y="69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94" y="134"/>
                    <a:pt x="94" y="134"/>
                    <a:pt x="94" y="134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95"/>
                  </a:ln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57">
              <a:extLst>
                <a:ext uri="{FF2B5EF4-FFF2-40B4-BE49-F238E27FC236}">
                  <a16:creationId xmlns:a16="http://schemas.microsoft.com/office/drawing/2014/main" id="{F5643946-5508-4B3C-9AB8-A76AC0322F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7901" y="5546725"/>
              <a:ext cx="365125" cy="530225"/>
            </a:xfrm>
            <a:custGeom>
              <a:avLst/>
              <a:gdLst>
                <a:gd name="T0" fmla="*/ 49 w 94"/>
                <a:gd name="T1" fmla="*/ 103 h 136"/>
                <a:gd name="T2" fmla="*/ 38 w 94"/>
                <a:gd name="T3" fmla="*/ 54 h 136"/>
                <a:gd name="T4" fmla="*/ 27 w 94"/>
                <a:gd name="T5" fmla="*/ 119 h 136"/>
                <a:gd name="T6" fmla="*/ 47 w 94"/>
                <a:gd name="T7" fmla="*/ 59 h 136"/>
                <a:gd name="T8" fmla="*/ 58 w 94"/>
                <a:gd name="T9" fmla="*/ 106 h 136"/>
                <a:gd name="T10" fmla="*/ 75 w 94"/>
                <a:gd name="T11" fmla="*/ 119 h 136"/>
                <a:gd name="T12" fmla="*/ 54 w 94"/>
                <a:gd name="T13" fmla="*/ 119 h 136"/>
                <a:gd name="T14" fmla="*/ 56 w 94"/>
                <a:gd name="T15" fmla="*/ 54 h 136"/>
                <a:gd name="T16" fmla="*/ 23 w 94"/>
                <a:gd name="T17" fmla="*/ 103 h 136"/>
                <a:gd name="T18" fmla="*/ 38 w 94"/>
                <a:gd name="T19" fmla="*/ 54 h 136"/>
                <a:gd name="T20" fmla="*/ 57 w 94"/>
                <a:gd name="T21" fmla="*/ 106 h 136"/>
                <a:gd name="T22" fmla="*/ 75 w 94"/>
                <a:gd name="T23" fmla="*/ 103 h 136"/>
                <a:gd name="T24" fmla="*/ 40 w 94"/>
                <a:gd name="T25" fmla="*/ 119 h 136"/>
                <a:gd name="T26" fmla="*/ 27 w 94"/>
                <a:gd name="T27" fmla="*/ 119 h 136"/>
                <a:gd name="T28" fmla="*/ 27 w 94"/>
                <a:gd name="T29" fmla="*/ 107 h 136"/>
                <a:gd name="T30" fmla="*/ 56 w 94"/>
                <a:gd name="T31" fmla="*/ 54 h 136"/>
                <a:gd name="T32" fmla="*/ 75 w 94"/>
                <a:gd name="T33" fmla="*/ 119 h 136"/>
                <a:gd name="T34" fmla="*/ 80 w 94"/>
                <a:gd name="T35" fmla="*/ 119 h 136"/>
                <a:gd name="T36" fmla="*/ 44 w 94"/>
                <a:gd name="T37" fmla="*/ 103 h 136"/>
                <a:gd name="T38" fmla="*/ 23 w 94"/>
                <a:gd name="T39" fmla="*/ 103 h 136"/>
                <a:gd name="T40" fmla="*/ 19 w 94"/>
                <a:gd name="T41" fmla="*/ 119 h 136"/>
                <a:gd name="T42" fmla="*/ 54 w 94"/>
                <a:gd name="T43" fmla="*/ 119 h 136"/>
                <a:gd name="T44" fmla="*/ 75 w 94"/>
                <a:gd name="T45" fmla="*/ 103 h 136"/>
                <a:gd name="T46" fmla="*/ 67 w 94"/>
                <a:gd name="T47" fmla="*/ 119 h 136"/>
                <a:gd name="T48" fmla="*/ 45 w 94"/>
                <a:gd name="T49" fmla="*/ 119 h 136"/>
                <a:gd name="T50" fmla="*/ 27 w 94"/>
                <a:gd name="T51" fmla="*/ 107 h 136"/>
                <a:gd name="T52" fmla="*/ 14 w 94"/>
                <a:gd name="T53" fmla="*/ 107 h 136"/>
                <a:gd name="T54" fmla="*/ 49 w 94"/>
                <a:gd name="T55" fmla="*/ 119 h 136"/>
                <a:gd name="T56" fmla="*/ 67 w 94"/>
                <a:gd name="T57" fmla="*/ 119 h 136"/>
                <a:gd name="T58" fmla="*/ 33 w 94"/>
                <a:gd name="T59" fmla="*/ 36 h 136"/>
                <a:gd name="T60" fmla="*/ 92 w 94"/>
                <a:gd name="T61" fmla="*/ 136 h 136"/>
                <a:gd name="T62" fmla="*/ 31 w 94"/>
                <a:gd name="T63" fmla="*/ 106 h 136"/>
                <a:gd name="T64" fmla="*/ 36 w 94"/>
                <a:gd name="T65" fmla="*/ 121 h 136"/>
                <a:gd name="T66" fmla="*/ 65 w 94"/>
                <a:gd name="T67" fmla="*/ 123 h 136"/>
                <a:gd name="T68" fmla="*/ 84 w 94"/>
                <a:gd name="T69" fmla="*/ 106 h 136"/>
                <a:gd name="T70" fmla="*/ 42 w 94"/>
                <a:gd name="T71" fmla="*/ 54 h 136"/>
                <a:gd name="T72" fmla="*/ 29 w 94"/>
                <a:gd name="T73" fmla="*/ 123 h 136"/>
                <a:gd name="T74" fmla="*/ 31 w 94"/>
                <a:gd name="T75" fmla="*/ 106 h 136"/>
                <a:gd name="T76" fmla="*/ 36 w 94"/>
                <a:gd name="T77" fmla="*/ 123 h 136"/>
                <a:gd name="T78" fmla="*/ 84 w 94"/>
                <a:gd name="T79" fmla="*/ 123 h 136"/>
                <a:gd name="T80" fmla="*/ 54 w 94"/>
                <a:gd name="T81" fmla="*/ 119 h 136"/>
                <a:gd name="T82" fmla="*/ 52 w 94"/>
                <a:gd name="T83" fmla="*/ 54 h 136"/>
                <a:gd name="T84" fmla="*/ 31 w 94"/>
                <a:gd name="T85" fmla="*/ 121 h 136"/>
                <a:gd name="T86" fmla="*/ 42 w 94"/>
                <a:gd name="T87" fmla="*/ 54 h 136"/>
                <a:gd name="T88" fmla="*/ 56 w 94"/>
                <a:gd name="T89" fmla="*/ 123 h 136"/>
                <a:gd name="T90" fmla="*/ 84 w 94"/>
                <a:gd name="T91" fmla="*/ 106 h 136"/>
                <a:gd name="T92" fmla="*/ 49 w 94"/>
                <a:gd name="T93" fmla="*/ 103 h 136"/>
                <a:gd name="T94" fmla="*/ 47 w 94"/>
                <a:gd name="T95" fmla="*/ 45 h 136"/>
                <a:gd name="T96" fmla="*/ 31 w 94"/>
                <a:gd name="T97" fmla="*/ 106 h 136"/>
                <a:gd name="T98" fmla="*/ 52 w 94"/>
                <a:gd name="T99" fmla="*/ 54 h 136"/>
                <a:gd name="T100" fmla="*/ 58 w 94"/>
                <a:gd name="T101" fmla="*/ 121 h 136"/>
                <a:gd name="T102" fmla="*/ 80 w 94"/>
                <a:gd name="T103" fmla="*/ 119 h 136"/>
                <a:gd name="T104" fmla="*/ 54 w 94"/>
                <a:gd name="T105" fmla="*/ 107 h 136"/>
                <a:gd name="T106" fmla="*/ 47 w 94"/>
                <a:gd name="T107" fmla="*/ 63 h 136"/>
                <a:gd name="T108" fmla="*/ 23 w 94"/>
                <a:gd name="T109" fmla="*/ 119 h 136"/>
                <a:gd name="T110" fmla="*/ 47 w 94"/>
                <a:gd name="T111" fmla="*/ 45 h 136"/>
                <a:gd name="T112" fmla="*/ 58 w 94"/>
                <a:gd name="T113" fmla="*/ 106 h 136"/>
                <a:gd name="T114" fmla="*/ 75 w 94"/>
                <a:gd name="T115" fmla="*/ 103 h 136"/>
                <a:gd name="T116" fmla="*/ 45 w 94"/>
                <a:gd name="T117" fmla="*/ 119 h 136"/>
                <a:gd name="T118" fmla="*/ 47 w 94"/>
                <a:gd name="T119" fmla="*/ 45 h 136"/>
                <a:gd name="T120" fmla="*/ 23 w 94"/>
                <a:gd name="T121" fmla="*/ 103 h 136"/>
                <a:gd name="T122" fmla="*/ 40 w 94"/>
                <a:gd name="T123" fmla="*/ 119 h 136"/>
                <a:gd name="T124" fmla="*/ 71 w 94"/>
                <a:gd name="T12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36"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67" y="107"/>
                  </a:move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67" y="119"/>
                    <a:pt x="67" y="119"/>
                    <a:pt x="67" y="119"/>
                  </a:cubicBezTo>
                  <a:lnTo>
                    <a:pt x="67" y="107"/>
                  </a:lnTo>
                  <a:close/>
                  <a:moveTo>
                    <a:pt x="75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75" y="119"/>
                    <a:pt x="75" y="119"/>
                    <a:pt x="75" y="119"/>
                  </a:cubicBezTo>
                  <a:lnTo>
                    <a:pt x="75" y="103"/>
                  </a:lnTo>
                  <a:close/>
                  <a:moveTo>
                    <a:pt x="63" y="106"/>
                  </a:move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lose/>
                  <a:moveTo>
                    <a:pt x="90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90" y="98"/>
                    <a:pt x="90" y="98"/>
                    <a:pt x="90" y="98"/>
                  </a:cubicBezTo>
                  <a:lnTo>
                    <a:pt x="90" y="132"/>
                  </a:lnTo>
                  <a:close/>
                  <a:moveTo>
                    <a:pt x="47" y="9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47" y="9"/>
                  </a:lnTo>
                  <a:close/>
                  <a:moveTo>
                    <a:pt x="94" y="95"/>
                  </a:moveTo>
                  <a:cubicBezTo>
                    <a:pt x="65" y="69"/>
                    <a:pt x="65" y="69"/>
                    <a:pt x="65" y="69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94" y="134"/>
                    <a:pt x="94" y="134"/>
                    <a:pt x="94" y="134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95"/>
                  </a:ln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F179B10E-51E4-4ADE-BABB-795FB3EE98A4}"/>
              </a:ext>
            </a:extLst>
          </p:cNvPr>
          <p:cNvGrpSpPr/>
          <p:nvPr/>
        </p:nvGrpSpPr>
        <p:grpSpPr>
          <a:xfrm>
            <a:off x="4765675" y="5455444"/>
            <a:ext cx="844550" cy="844550"/>
            <a:chOff x="4765675" y="5443538"/>
            <a:chExt cx="844550" cy="844550"/>
          </a:xfrm>
        </p:grpSpPr>
        <p:sp>
          <p:nvSpPr>
            <p:cNvPr id="336" name="AutoShape 259">
              <a:extLst>
                <a:ext uri="{FF2B5EF4-FFF2-40B4-BE49-F238E27FC236}">
                  <a16:creationId xmlns:a16="http://schemas.microsoft.com/office/drawing/2014/main" id="{24B79218-D78F-4D75-9B93-56E7F4A31D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65675" y="544353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261">
              <a:extLst>
                <a:ext uri="{FF2B5EF4-FFF2-40B4-BE49-F238E27FC236}">
                  <a16:creationId xmlns:a16="http://schemas.microsoft.com/office/drawing/2014/main" id="{8A3F2F2C-2B8D-40DE-846E-19E6954B2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5675" y="544353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262">
              <a:extLst>
                <a:ext uri="{FF2B5EF4-FFF2-40B4-BE49-F238E27FC236}">
                  <a16:creationId xmlns:a16="http://schemas.microsoft.com/office/drawing/2014/main" id="{2733D526-926C-4CE9-A3E3-CDD27C108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250" y="547211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263">
              <a:extLst>
                <a:ext uri="{FF2B5EF4-FFF2-40B4-BE49-F238E27FC236}">
                  <a16:creationId xmlns:a16="http://schemas.microsoft.com/office/drawing/2014/main" id="{405F6257-32AD-4025-AF81-524E6C7B83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5540376"/>
              <a:ext cx="382588" cy="554038"/>
            </a:xfrm>
            <a:custGeom>
              <a:avLst/>
              <a:gdLst>
                <a:gd name="T0" fmla="*/ 49 w 94"/>
                <a:gd name="T1" fmla="*/ 103 h 136"/>
                <a:gd name="T2" fmla="*/ 38 w 94"/>
                <a:gd name="T3" fmla="*/ 54 h 136"/>
                <a:gd name="T4" fmla="*/ 27 w 94"/>
                <a:gd name="T5" fmla="*/ 119 h 136"/>
                <a:gd name="T6" fmla="*/ 47 w 94"/>
                <a:gd name="T7" fmla="*/ 59 h 136"/>
                <a:gd name="T8" fmla="*/ 58 w 94"/>
                <a:gd name="T9" fmla="*/ 106 h 136"/>
                <a:gd name="T10" fmla="*/ 75 w 94"/>
                <a:gd name="T11" fmla="*/ 119 h 136"/>
                <a:gd name="T12" fmla="*/ 54 w 94"/>
                <a:gd name="T13" fmla="*/ 119 h 136"/>
                <a:gd name="T14" fmla="*/ 56 w 94"/>
                <a:gd name="T15" fmla="*/ 54 h 136"/>
                <a:gd name="T16" fmla="*/ 23 w 94"/>
                <a:gd name="T17" fmla="*/ 103 h 136"/>
                <a:gd name="T18" fmla="*/ 38 w 94"/>
                <a:gd name="T19" fmla="*/ 54 h 136"/>
                <a:gd name="T20" fmla="*/ 57 w 94"/>
                <a:gd name="T21" fmla="*/ 106 h 136"/>
                <a:gd name="T22" fmla="*/ 75 w 94"/>
                <a:gd name="T23" fmla="*/ 103 h 136"/>
                <a:gd name="T24" fmla="*/ 40 w 94"/>
                <a:gd name="T25" fmla="*/ 119 h 136"/>
                <a:gd name="T26" fmla="*/ 27 w 94"/>
                <a:gd name="T27" fmla="*/ 119 h 136"/>
                <a:gd name="T28" fmla="*/ 27 w 94"/>
                <a:gd name="T29" fmla="*/ 107 h 136"/>
                <a:gd name="T30" fmla="*/ 56 w 94"/>
                <a:gd name="T31" fmla="*/ 54 h 136"/>
                <a:gd name="T32" fmla="*/ 75 w 94"/>
                <a:gd name="T33" fmla="*/ 119 h 136"/>
                <a:gd name="T34" fmla="*/ 80 w 94"/>
                <a:gd name="T35" fmla="*/ 119 h 136"/>
                <a:gd name="T36" fmla="*/ 44 w 94"/>
                <a:gd name="T37" fmla="*/ 103 h 136"/>
                <a:gd name="T38" fmla="*/ 23 w 94"/>
                <a:gd name="T39" fmla="*/ 103 h 136"/>
                <a:gd name="T40" fmla="*/ 19 w 94"/>
                <a:gd name="T41" fmla="*/ 119 h 136"/>
                <a:gd name="T42" fmla="*/ 54 w 94"/>
                <a:gd name="T43" fmla="*/ 119 h 136"/>
                <a:gd name="T44" fmla="*/ 75 w 94"/>
                <a:gd name="T45" fmla="*/ 103 h 136"/>
                <a:gd name="T46" fmla="*/ 67 w 94"/>
                <a:gd name="T47" fmla="*/ 119 h 136"/>
                <a:gd name="T48" fmla="*/ 45 w 94"/>
                <a:gd name="T49" fmla="*/ 119 h 136"/>
                <a:gd name="T50" fmla="*/ 27 w 94"/>
                <a:gd name="T51" fmla="*/ 107 h 136"/>
                <a:gd name="T52" fmla="*/ 14 w 94"/>
                <a:gd name="T53" fmla="*/ 107 h 136"/>
                <a:gd name="T54" fmla="*/ 49 w 94"/>
                <a:gd name="T55" fmla="*/ 119 h 136"/>
                <a:gd name="T56" fmla="*/ 67 w 94"/>
                <a:gd name="T57" fmla="*/ 119 h 136"/>
                <a:gd name="T58" fmla="*/ 33 w 94"/>
                <a:gd name="T59" fmla="*/ 36 h 136"/>
                <a:gd name="T60" fmla="*/ 92 w 94"/>
                <a:gd name="T61" fmla="*/ 136 h 136"/>
                <a:gd name="T62" fmla="*/ 31 w 94"/>
                <a:gd name="T63" fmla="*/ 106 h 136"/>
                <a:gd name="T64" fmla="*/ 36 w 94"/>
                <a:gd name="T65" fmla="*/ 121 h 136"/>
                <a:gd name="T66" fmla="*/ 65 w 94"/>
                <a:gd name="T67" fmla="*/ 123 h 136"/>
                <a:gd name="T68" fmla="*/ 84 w 94"/>
                <a:gd name="T69" fmla="*/ 106 h 136"/>
                <a:gd name="T70" fmla="*/ 42 w 94"/>
                <a:gd name="T71" fmla="*/ 54 h 136"/>
                <a:gd name="T72" fmla="*/ 29 w 94"/>
                <a:gd name="T73" fmla="*/ 123 h 136"/>
                <a:gd name="T74" fmla="*/ 31 w 94"/>
                <a:gd name="T75" fmla="*/ 106 h 136"/>
                <a:gd name="T76" fmla="*/ 36 w 94"/>
                <a:gd name="T77" fmla="*/ 123 h 136"/>
                <a:gd name="T78" fmla="*/ 84 w 94"/>
                <a:gd name="T79" fmla="*/ 123 h 136"/>
                <a:gd name="T80" fmla="*/ 54 w 94"/>
                <a:gd name="T81" fmla="*/ 119 h 136"/>
                <a:gd name="T82" fmla="*/ 52 w 94"/>
                <a:gd name="T83" fmla="*/ 54 h 136"/>
                <a:gd name="T84" fmla="*/ 31 w 94"/>
                <a:gd name="T85" fmla="*/ 121 h 136"/>
                <a:gd name="T86" fmla="*/ 42 w 94"/>
                <a:gd name="T87" fmla="*/ 54 h 136"/>
                <a:gd name="T88" fmla="*/ 56 w 94"/>
                <a:gd name="T89" fmla="*/ 123 h 136"/>
                <a:gd name="T90" fmla="*/ 84 w 94"/>
                <a:gd name="T91" fmla="*/ 106 h 136"/>
                <a:gd name="T92" fmla="*/ 49 w 94"/>
                <a:gd name="T93" fmla="*/ 103 h 136"/>
                <a:gd name="T94" fmla="*/ 47 w 94"/>
                <a:gd name="T95" fmla="*/ 45 h 136"/>
                <a:gd name="T96" fmla="*/ 31 w 94"/>
                <a:gd name="T97" fmla="*/ 106 h 136"/>
                <a:gd name="T98" fmla="*/ 52 w 94"/>
                <a:gd name="T99" fmla="*/ 54 h 136"/>
                <a:gd name="T100" fmla="*/ 58 w 94"/>
                <a:gd name="T101" fmla="*/ 121 h 136"/>
                <a:gd name="T102" fmla="*/ 80 w 94"/>
                <a:gd name="T103" fmla="*/ 119 h 136"/>
                <a:gd name="T104" fmla="*/ 54 w 94"/>
                <a:gd name="T105" fmla="*/ 107 h 136"/>
                <a:gd name="T106" fmla="*/ 47 w 94"/>
                <a:gd name="T107" fmla="*/ 63 h 136"/>
                <a:gd name="T108" fmla="*/ 23 w 94"/>
                <a:gd name="T109" fmla="*/ 119 h 136"/>
                <a:gd name="T110" fmla="*/ 47 w 94"/>
                <a:gd name="T111" fmla="*/ 45 h 136"/>
                <a:gd name="T112" fmla="*/ 58 w 94"/>
                <a:gd name="T113" fmla="*/ 106 h 136"/>
                <a:gd name="T114" fmla="*/ 75 w 94"/>
                <a:gd name="T115" fmla="*/ 103 h 136"/>
                <a:gd name="T116" fmla="*/ 45 w 94"/>
                <a:gd name="T117" fmla="*/ 119 h 136"/>
                <a:gd name="T118" fmla="*/ 47 w 94"/>
                <a:gd name="T119" fmla="*/ 45 h 136"/>
                <a:gd name="T120" fmla="*/ 23 w 94"/>
                <a:gd name="T121" fmla="*/ 103 h 136"/>
                <a:gd name="T122" fmla="*/ 40 w 94"/>
                <a:gd name="T123" fmla="*/ 119 h 136"/>
                <a:gd name="T124" fmla="*/ 71 w 94"/>
                <a:gd name="T12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36"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67" y="107"/>
                  </a:move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19"/>
                    <a:pt x="71" y="119"/>
                    <a:pt x="71" y="119"/>
                  </a:cubicBezTo>
                  <a:cubicBezTo>
                    <a:pt x="67" y="119"/>
                    <a:pt x="67" y="119"/>
                    <a:pt x="67" y="119"/>
                  </a:cubicBezTo>
                  <a:lnTo>
                    <a:pt x="67" y="107"/>
                  </a:lnTo>
                  <a:close/>
                  <a:moveTo>
                    <a:pt x="75" y="103"/>
                  </a:move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75" y="119"/>
                    <a:pt x="75" y="119"/>
                    <a:pt x="75" y="119"/>
                  </a:cubicBezTo>
                  <a:lnTo>
                    <a:pt x="75" y="103"/>
                  </a:lnTo>
                  <a:close/>
                  <a:moveTo>
                    <a:pt x="63" y="106"/>
                  </a:move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lose/>
                  <a:moveTo>
                    <a:pt x="90" y="132"/>
                  </a:moveTo>
                  <a:cubicBezTo>
                    <a:pt x="4" y="132"/>
                    <a:pt x="4" y="132"/>
                    <a:pt x="4" y="132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90" y="98"/>
                    <a:pt x="90" y="98"/>
                    <a:pt x="90" y="98"/>
                  </a:cubicBezTo>
                  <a:lnTo>
                    <a:pt x="90" y="132"/>
                  </a:lnTo>
                  <a:close/>
                  <a:moveTo>
                    <a:pt x="47" y="9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47" y="9"/>
                  </a:lnTo>
                  <a:close/>
                  <a:moveTo>
                    <a:pt x="94" y="95"/>
                  </a:moveTo>
                  <a:cubicBezTo>
                    <a:pt x="65" y="69"/>
                    <a:pt x="65" y="69"/>
                    <a:pt x="65" y="69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94" y="134"/>
                    <a:pt x="94" y="134"/>
                    <a:pt x="94" y="134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94" y="95"/>
                  </a:ln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24" y="99"/>
                  </a:move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2"/>
                    <a:pt x="27" y="100"/>
                    <a:pt x="24" y="99"/>
                  </a:cubicBezTo>
                  <a:moveTo>
                    <a:pt x="47" y="49"/>
                  </a:move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moveTo>
                    <a:pt x="47" y="63"/>
                  </a:move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1" y="99"/>
                  </a:move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2"/>
                    <a:pt x="53" y="100"/>
                    <a:pt x="51" y="99"/>
                  </a:cubicBezTo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27" y="119"/>
                  </a:moveTo>
                  <a:cubicBezTo>
                    <a:pt x="23" y="119"/>
                    <a:pt x="23" y="119"/>
                    <a:pt x="23" y="1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5" y="103"/>
                    <a:pt x="26" y="105"/>
                    <a:pt x="27" y="107"/>
                  </a:cubicBezTo>
                  <a:lnTo>
                    <a:pt x="27" y="119"/>
                  </a:lnTo>
                  <a:close/>
                  <a:moveTo>
                    <a:pt x="19" y="119"/>
                  </a:moveTo>
                  <a:cubicBezTo>
                    <a:pt x="14" y="119"/>
                    <a:pt x="14" y="119"/>
                    <a:pt x="14" y="119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5" y="105"/>
                    <a:pt x="16" y="103"/>
                    <a:pt x="18" y="103"/>
                  </a:cubicBezTo>
                  <a:cubicBezTo>
                    <a:pt x="18" y="103"/>
                    <a:pt x="19" y="103"/>
                    <a:pt x="19" y="103"/>
                  </a:cubicBezTo>
                  <a:lnTo>
                    <a:pt x="19" y="119"/>
                  </a:lnTo>
                  <a:close/>
                  <a:moveTo>
                    <a:pt x="31" y="106"/>
                  </a:moveTo>
                  <a:cubicBezTo>
                    <a:pt x="30" y="102"/>
                    <a:pt x="27" y="100"/>
                    <a:pt x="24" y="99"/>
                  </a:cubicBezTo>
                  <a:cubicBezTo>
                    <a:pt x="23" y="99"/>
                    <a:pt x="22" y="98"/>
                    <a:pt x="20" y="98"/>
                  </a:cubicBezTo>
                  <a:cubicBezTo>
                    <a:pt x="19" y="98"/>
                    <a:pt x="18" y="99"/>
                    <a:pt x="17" y="99"/>
                  </a:cubicBezTo>
                  <a:cubicBezTo>
                    <a:pt x="14" y="100"/>
                    <a:pt x="11" y="102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lose/>
                  <a:moveTo>
                    <a:pt x="54" y="119"/>
                  </a:moveTo>
                  <a:cubicBezTo>
                    <a:pt x="49" y="119"/>
                    <a:pt x="49" y="119"/>
                    <a:pt x="49" y="119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51" y="103"/>
                    <a:pt x="53" y="105"/>
                    <a:pt x="54" y="107"/>
                  </a:cubicBezTo>
                  <a:lnTo>
                    <a:pt x="54" y="119"/>
                  </a:lnTo>
                  <a:close/>
                  <a:moveTo>
                    <a:pt x="45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5"/>
                    <a:pt x="43" y="103"/>
                    <a:pt x="44" y="103"/>
                  </a:cubicBezTo>
                  <a:cubicBezTo>
                    <a:pt x="45" y="103"/>
                    <a:pt x="45" y="103"/>
                    <a:pt x="45" y="103"/>
                  </a:cubicBezTo>
                  <a:lnTo>
                    <a:pt x="45" y="119"/>
                  </a:lnTo>
                  <a:close/>
                  <a:moveTo>
                    <a:pt x="57" y="106"/>
                  </a:moveTo>
                  <a:cubicBezTo>
                    <a:pt x="56" y="102"/>
                    <a:pt x="53" y="100"/>
                    <a:pt x="51" y="99"/>
                  </a:cubicBezTo>
                  <a:cubicBezTo>
                    <a:pt x="49" y="99"/>
                    <a:pt x="48" y="98"/>
                    <a:pt x="47" y="98"/>
                  </a:cubicBezTo>
                  <a:cubicBezTo>
                    <a:pt x="45" y="98"/>
                    <a:pt x="44" y="99"/>
                    <a:pt x="43" y="99"/>
                  </a:cubicBezTo>
                  <a:cubicBezTo>
                    <a:pt x="40" y="100"/>
                    <a:pt x="38" y="102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8" y="106"/>
                    <a:pt x="58" y="106"/>
                    <a:pt x="58" y="106"/>
                  </a:cubicBezTo>
                  <a:lnTo>
                    <a:pt x="57" y="106"/>
                  </a:lnTo>
                  <a:close/>
                  <a:moveTo>
                    <a:pt x="80" y="119"/>
                  </a:moveTo>
                  <a:cubicBezTo>
                    <a:pt x="75" y="119"/>
                    <a:pt x="75" y="119"/>
                    <a:pt x="75" y="11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77" y="103"/>
                    <a:pt x="79" y="105"/>
                    <a:pt x="80" y="107"/>
                  </a:cubicBezTo>
                  <a:lnTo>
                    <a:pt x="80" y="119"/>
                  </a:lnTo>
                  <a:close/>
                  <a:moveTo>
                    <a:pt x="71" y="119"/>
                  </a:moveTo>
                  <a:cubicBezTo>
                    <a:pt x="67" y="119"/>
                    <a:pt x="67" y="119"/>
                    <a:pt x="67" y="119"/>
                  </a:cubicBezTo>
                  <a:cubicBezTo>
                    <a:pt x="67" y="107"/>
                    <a:pt x="67" y="107"/>
                    <a:pt x="67" y="107"/>
                  </a:cubicBezTo>
                  <a:cubicBezTo>
                    <a:pt x="67" y="105"/>
                    <a:pt x="69" y="103"/>
                    <a:pt x="71" y="103"/>
                  </a:cubicBezTo>
                  <a:cubicBezTo>
                    <a:pt x="71" y="103"/>
                    <a:pt x="71" y="103"/>
                    <a:pt x="71" y="103"/>
                  </a:cubicBezTo>
                  <a:lnTo>
                    <a:pt x="71" y="119"/>
                  </a:lnTo>
                  <a:close/>
                  <a:moveTo>
                    <a:pt x="84" y="106"/>
                  </a:moveTo>
                  <a:cubicBezTo>
                    <a:pt x="82" y="102"/>
                    <a:pt x="80" y="100"/>
                    <a:pt x="77" y="99"/>
                  </a:cubicBezTo>
                  <a:cubicBezTo>
                    <a:pt x="76" y="99"/>
                    <a:pt x="74" y="98"/>
                    <a:pt x="73" y="98"/>
                  </a:cubicBezTo>
                  <a:cubicBezTo>
                    <a:pt x="72" y="98"/>
                    <a:pt x="70" y="99"/>
                    <a:pt x="69" y="99"/>
                  </a:cubicBezTo>
                  <a:cubicBezTo>
                    <a:pt x="66" y="100"/>
                    <a:pt x="64" y="102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6"/>
                    <a:pt x="84" y="106"/>
                    <a:pt x="84" y="106"/>
                  </a:cubicBezTo>
                  <a:close/>
                  <a:moveTo>
                    <a:pt x="47" y="59"/>
                  </a:moveTo>
                  <a:cubicBezTo>
                    <a:pt x="44" y="59"/>
                    <a:pt x="42" y="56"/>
                    <a:pt x="42" y="54"/>
                  </a:cubicBezTo>
                  <a:cubicBezTo>
                    <a:pt x="42" y="51"/>
                    <a:pt x="44" y="49"/>
                    <a:pt x="47" y="49"/>
                  </a:cubicBezTo>
                  <a:cubicBezTo>
                    <a:pt x="50" y="49"/>
                    <a:pt x="52" y="51"/>
                    <a:pt x="52" y="54"/>
                  </a:cubicBezTo>
                  <a:cubicBezTo>
                    <a:pt x="52" y="56"/>
                    <a:pt x="50" y="59"/>
                    <a:pt x="47" y="59"/>
                  </a:cubicBezTo>
                  <a:moveTo>
                    <a:pt x="47" y="45"/>
                  </a:moveTo>
                  <a:cubicBezTo>
                    <a:pt x="42" y="45"/>
                    <a:pt x="38" y="49"/>
                    <a:pt x="38" y="54"/>
                  </a:cubicBezTo>
                  <a:cubicBezTo>
                    <a:pt x="38" y="59"/>
                    <a:pt x="42" y="63"/>
                    <a:pt x="47" y="63"/>
                  </a:cubicBezTo>
                  <a:cubicBezTo>
                    <a:pt x="52" y="63"/>
                    <a:pt x="56" y="59"/>
                    <a:pt x="56" y="54"/>
                  </a:cubicBezTo>
                  <a:cubicBezTo>
                    <a:pt x="56" y="49"/>
                    <a:pt x="52" y="45"/>
                    <a:pt x="47" y="4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8" name="Group 347">
            <a:extLst>
              <a:ext uri="{FF2B5EF4-FFF2-40B4-BE49-F238E27FC236}">
                <a16:creationId xmlns:a16="http://schemas.microsoft.com/office/drawing/2014/main" id="{BE7BD0F5-1453-44F2-9B5B-5D80576AAE6E}"/>
              </a:ext>
            </a:extLst>
          </p:cNvPr>
          <p:cNvGrpSpPr/>
          <p:nvPr/>
        </p:nvGrpSpPr>
        <p:grpSpPr>
          <a:xfrm>
            <a:off x="8001000" y="5498307"/>
            <a:ext cx="760413" cy="758825"/>
            <a:chOff x="8001000" y="5484813"/>
            <a:chExt cx="760413" cy="758825"/>
          </a:xfrm>
        </p:grpSpPr>
        <p:sp>
          <p:nvSpPr>
            <p:cNvPr id="344" name="AutoShape 265">
              <a:extLst>
                <a:ext uri="{FF2B5EF4-FFF2-40B4-BE49-F238E27FC236}">
                  <a16:creationId xmlns:a16="http://schemas.microsoft.com/office/drawing/2014/main" id="{0AE257E9-FA01-43C3-84B8-BCD08AC784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001000" y="5484813"/>
              <a:ext cx="760413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267">
              <a:extLst>
                <a:ext uri="{FF2B5EF4-FFF2-40B4-BE49-F238E27FC236}">
                  <a16:creationId xmlns:a16="http://schemas.microsoft.com/office/drawing/2014/main" id="{6A3E30E7-C3CF-43A5-B006-1A1D4DEC5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4175" y="5487988"/>
              <a:ext cx="757238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268">
              <a:extLst>
                <a:ext uri="{FF2B5EF4-FFF2-40B4-BE49-F238E27FC236}">
                  <a16:creationId xmlns:a16="http://schemas.microsoft.com/office/drawing/2014/main" id="{37B44FC4-09B8-4BC4-B061-911CF3A84D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5463" y="5597526"/>
              <a:ext cx="476250" cy="474663"/>
            </a:xfrm>
            <a:custGeom>
              <a:avLst/>
              <a:gdLst>
                <a:gd name="T0" fmla="*/ 51 w 122"/>
                <a:gd name="T1" fmla="*/ 84 h 122"/>
                <a:gd name="T2" fmla="*/ 104 w 122"/>
                <a:gd name="T3" fmla="*/ 85 h 122"/>
                <a:gd name="T4" fmla="*/ 91 w 122"/>
                <a:gd name="T5" fmla="*/ 84 h 122"/>
                <a:gd name="T6" fmla="*/ 109 w 122"/>
                <a:gd name="T7" fmla="*/ 87 h 122"/>
                <a:gd name="T8" fmla="*/ 18 w 122"/>
                <a:gd name="T9" fmla="*/ 85 h 122"/>
                <a:gd name="T10" fmla="*/ 15 w 122"/>
                <a:gd name="T11" fmla="*/ 65 h 122"/>
                <a:gd name="T12" fmla="*/ 16 w 122"/>
                <a:gd name="T13" fmla="*/ 89 h 122"/>
                <a:gd name="T14" fmla="*/ 31 w 122"/>
                <a:gd name="T15" fmla="*/ 61 h 122"/>
                <a:gd name="T16" fmla="*/ 104 w 122"/>
                <a:gd name="T17" fmla="*/ 68 h 122"/>
                <a:gd name="T18" fmla="*/ 91 w 122"/>
                <a:gd name="T19" fmla="*/ 64 h 122"/>
                <a:gd name="T20" fmla="*/ 109 w 122"/>
                <a:gd name="T21" fmla="*/ 90 h 122"/>
                <a:gd name="T22" fmla="*/ 26 w 122"/>
                <a:gd name="T23" fmla="*/ 82 h 122"/>
                <a:gd name="T24" fmla="*/ 28 w 122"/>
                <a:gd name="T25" fmla="*/ 61 h 122"/>
                <a:gd name="T26" fmla="*/ 13 w 122"/>
                <a:gd name="T27" fmla="*/ 90 h 122"/>
                <a:gd name="T28" fmla="*/ 31 w 122"/>
                <a:gd name="T29" fmla="*/ 64 h 122"/>
                <a:gd name="T30" fmla="*/ 65 w 122"/>
                <a:gd name="T31" fmla="*/ 69 h 122"/>
                <a:gd name="T32" fmla="*/ 70 w 122"/>
                <a:gd name="T33" fmla="*/ 71 h 122"/>
                <a:gd name="T34" fmla="*/ 52 w 122"/>
                <a:gd name="T35" fmla="*/ 48 h 122"/>
                <a:gd name="T36" fmla="*/ 68 w 122"/>
                <a:gd name="T37" fmla="*/ 73 h 122"/>
                <a:gd name="T38" fmla="*/ 51 w 122"/>
                <a:gd name="T39" fmla="*/ 84 h 122"/>
                <a:gd name="T40" fmla="*/ 18 w 122"/>
                <a:gd name="T41" fmla="*/ 68 h 122"/>
                <a:gd name="T42" fmla="*/ 31 w 122"/>
                <a:gd name="T43" fmla="*/ 61 h 122"/>
                <a:gd name="T44" fmla="*/ 13 w 122"/>
                <a:gd name="T45" fmla="*/ 87 h 122"/>
                <a:gd name="T46" fmla="*/ 65 w 122"/>
                <a:gd name="T47" fmla="*/ 53 h 122"/>
                <a:gd name="T48" fmla="*/ 70 w 122"/>
                <a:gd name="T49" fmla="*/ 73 h 122"/>
                <a:gd name="T50" fmla="*/ 54 w 122"/>
                <a:gd name="T51" fmla="*/ 48 h 122"/>
                <a:gd name="T52" fmla="*/ 54 w 122"/>
                <a:gd name="T53" fmla="*/ 73 h 122"/>
                <a:gd name="T54" fmla="*/ 71 w 122"/>
                <a:gd name="T55" fmla="*/ 84 h 122"/>
                <a:gd name="T56" fmla="*/ 96 w 122"/>
                <a:gd name="T57" fmla="*/ 82 h 122"/>
                <a:gd name="T58" fmla="*/ 109 w 122"/>
                <a:gd name="T59" fmla="*/ 67 h 122"/>
                <a:gd name="T60" fmla="*/ 91 w 122"/>
                <a:gd name="T61" fmla="*/ 64 h 122"/>
                <a:gd name="T62" fmla="*/ 117 w 122"/>
                <a:gd name="T63" fmla="*/ 117 h 122"/>
                <a:gd name="T64" fmla="*/ 95 w 122"/>
                <a:gd name="T65" fmla="*/ 97 h 122"/>
                <a:gd name="T66" fmla="*/ 117 w 122"/>
                <a:gd name="T67" fmla="*/ 52 h 122"/>
                <a:gd name="T68" fmla="*/ 97 w 122"/>
                <a:gd name="T69" fmla="*/ 101 h 122"/>
                <a:gd name="T70" fmla="*/ 78 w 122"/>
                <a:gd name="T71" fmla="*/ 117 h 122"/>
                <a:gd name="T72" fmla="*/ 56 w 122"/>
                <a:gd name="T73" fmla="*/ 93 h 122"/>
                <a:gd name="T74" fmla="*/ 78 w 122"/>
                <a:gd name="T75" fmla="*/ 40 h 122"/>
                <a:gd name="T76" fmla="*/ 58 w 122"/>
                <a:gd name="T77" fmla="*/ 97 h 122"/>
                <a:gd name="T78" fmla="*/ 49 w 122"/>
                <a:gd name="T79" fmla="*/ 21 h 122"/>
                <a:gd name="T80" fmla="*/ 49 w 122"/>
                <a:gd name="T81" fmla="*/ 21 h 122"/>
                <a:gd name="T82" fmla="*/ 22 w 122"/>
                <a:gd name="T83" fmla="*/ 96 h 122"/>
                <a:gd name="T84" fmla="*/ 5 w 122"/>
                <a:gd name="T85" fmla="*/ 52 h 122"/>
                <a:gd name="T86" fmla="*/ 15 w 122"/>
                <a:gd name="T87" fmla="*/ 107 h 122"/>
                <a:gd name="T88" fmla="*/ 29 w 122"/>
                <a:gd name="T89" fmla="*/ 117 h 122"/>
                <a:gd name="T90" fmla="*/ 63 w 122"/>
                <a:gd name="T91" fmla="*/ 0 h 122"/>
                <a:gd name="T92" fmla="*/ 2 w 122"/>
                <a:gd name="T93" fmla="*/ 49 h 122"/>
                <a:gd name="T94" fmla="*/ 2 w 122"/>
                <a:gd name="T95" fmla="*/ 122 h 122"/>
                <a:gd name="T96" fmla="*/ 122 w 122"/>
                <a:gd name="T97" fmla="*/ 49 h 122"/>
                <a:gd name="T98" fmla="*/ 65 w 122"/>
                <a:gd name="T99" fmla="*/ 53 h 122"/>
                <a:gd name="T100" fmla="*/ 52 w 122"/>
                <a:gd name="T101" fmla="*/ 50 h 122"/>
                <a:gd name="T102" fmla="*/ 70 w 122"/>
                <a:gd name="T103" fmla="*/ 7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122"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8" y="68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18" y="85"/>
                    <a:pt x="18" y="85"/>
                    <a:pt x="18" y="85"/>
                  </a:cubicBezTo>
                  <a:lnTo>
                    <a:pt x="18" y="68"/>
                  </a:lnTo>
                  <a:close/>
                  <a:moveTo>
                    <a:pt x="29" y="86"/>
                  </a:move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lnTo>
                    <a:pt x="29" y="86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7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71" y="84"/>
                    <a:pt x="71" y="84"/>
                    <a:pt x="71" y="84"/>
                  </a:cubicBezTo>
                  <a:lnTo>
                    <a:pt x="71" y="79"/>
                  </a:lnTo>
                  <a:close/>
                  <a:moveTo>
                    <a:pt x="96" y="66"/>
                  </a:moveTo>
                  <a:cubicBezTo>
                    <a:pt x="104" y="68"/>
                    <a:pt x="104" y="68"/>
                    <a:pt x="104" y="68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96" y="82"/>
                    <a:pt x="96" y="82"/>
                    <a:pt x="96" y="82"/>
                  </a:cubicBezTo>
                  <a:lnTo>
                    <a:pt x="96" y="66"/>
                  </a:lnTo>
                  <a:close/>
                  <a:moveTo>
                    <a:pt x="106" y="89"/>
                  </a:move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lnTo>
                    <a:pt x="106" y="89"/>
                  </a:lnTo>
                  <a:close/>
                  <a:moveTo>
                    <a:pt x="117" y="117"/>
                  </a:moveTo>
                  <a:cubicBezTo>
                    <a:pt x="112" y="117"/>
                    <a:pt x="112" y="117"/>
                    <a:pt x="112" y="117"/>
                  </a:cubicBezTo>
                  <a:cubicBezTo>
                    <a:pt x="112" y="107"/>
                    <a:pt x="112" y="107"/>
                    <a:pt x="112" y="107"/>
                  </a:cubicBezTo>
                  <a:cubicBezTo>
                    <a:pt x="112" y="102"/>
                    <a:pt x="109" y="98"/>
                    <a:pt x="105" y="97"/>
                  </a:cubicBezTo>
                  <a:cubicBezTo>
                    <a:pt x="103" y="96"/>
                    <a:pt x="102" y="96"/>
                    <a:pt x="100" y="96"/>
                  </a:cubicBezTo>
                  <a:cubicBezTo>
                    <a:pt x="98" y="96"/>
                    <a:pt x="97" y="96"/>
                    <a:pt x="95" y="97"/>
                  </a:cubicBezTo>
                  <a:cubicBezTo>
                    <a:pt x="91" y="98"/>
                    <a:pt x="88" y="102"/>
                    <a:pt x="88" y="107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117" y="52"/>
                    <a:pt x="117" y="52"/>
                    <a:pt x="117" y="52"/>
                  </a:cubicBezTo>
                  <a:lnTo>
                    <a:pt x="117" y="117"/>
                  </a:lnTo>
                  <a:close/>
                  <a:moveTo>
                    <a:pt x="107" y="117"/>
                  </a:moveTo>
                  <a:cubicBezTo>
                    <a:pt x="93" y="117"/>
                    <a:pt x="93" y="117"/>
                    <a:pt x="93" y="117"/>
                  </a:cubicBezTo>
                  <a:cubicBezTo>
                    <a:pt x="93" y="107"/>
                    <a:pt x="93" y="107"/>
                    <a:pt x="93" y="107"/>
                  </a:cubicBezTo>
                  <a:cubicBezTo>
                    <a:pt x="93" y="104"/>
                    <a:pt x="94" y="102"/>
                    <a:pt x="97" y="101"/>
                  </a:cubicBezTo>
                  <a:cubicBezTo>
                    <a:pt x="98" y="100"/>
                    <a:pt x="99" y="100"/>
                    <a:pt x="100" y="100"/>
                  </a:cubicBezTo>
                  <a:cubicBezTo>
                    <a:pt x="101" y="100"/>
                    <a:pt x="102" y="100"/>
                    <a:pt x="103" y="101"/>
                  </a:cubicBezTo>
                  <a:cubicBezTo>
                    <a:pt x="106" y="102"/>
                    <a:pt x="107" y="104"/>
                    <a:pt x="107" y="107"/>
                  </a:cubicBezTo>
                  <a:lnTo>
                    <a:pt x="107" y="117"/>
                  </a:lnTo>
                  <a:close/>
                  <a:moveTo>
                    <a:pt x="78" y="117"/>
                  </a:moveTo>
                  <a:cubicBezTo>
                    <a:pt x="73" y="117"/>
                    <a:pt x="73" y="117"/>
                    <a:pt x="73" y="117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98"/>
                    <a:pt x="70" y="94"/>
                    <a:pt x="66" y="93"/>
                  </a:cubicBezTo>
                  <a:cubicBezTo>
                    <a:pt x="64" y="92"/>
                    <a:pt x="63" y="92"/>
                    <a:pt x="61" y="92"/>
                  </a:cubicBezTo>
                  <a:cubicBezTo>
                    <a:pt x="59" y="92"/>
                    <a:pt x="58" y="92"/>
                    <a:pt x="56" y="93"/>
                  </a:cubicBezTo>
                  <a:cubicBezTo>
                    <a:pt x="52" y="94"/>
                    <a:pt x="49" y="98"/>
                    <a:pt x="49" y="103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78" y="40"/>
                    <a:pt x="78" y="40"/>
                    <a:pt x="78" y="40"/>
                  </a:cubicBezTo>
                  <a:lnTo>
                    <a:pt x="78" y="117"/>
                  </a:lnTo>
                  <a:close/>
                  <a:moveTo>
                    <a:pt x="68" y="117"/>
                  </a:moveTo>
                  <a:cubicBezTo>
                    <a:pt x="54" y="117"/>
                    <a:pt x="54" y="117"/>
                    <a:pt x="54" y="117"/>
                  </a:cubicBezTo>
                  <a:cubicBezTo>
                    <a:pt x="54" y="103"/>
                    <a:pt x="54" y="103"/>
                    <a:pt x="54" y="103"/>
                  </a:cubicBezTo>
                  <a:cubicBezTo>
                    <a:pt x="54" y="100"/>
                    <a:pt x="55" y="98"/>
                    <a:pt x="58" y="97"/>
                  </a:cubicBezTo>
                  <a:cubicBezTo>
                    <a:pt x="59" y="96"/>
                    <a:pt x="60" y="96"/>
                    <a:pt x="61" y="96"/>
                  </a:cubicBezTo>
                  <a:cubicBezTo>
                    <a:pt x="62" y="96"/>
                    <a:pt x="63" y="96"/>
                    <a:pt x="64" y="97"/>
                  </a:cubicBezTo>
                  <a:cubicBezTo>
                    <a:pt x="67" y="98"/>
                    <a:pt x="68" y="100"/>
                    <a:pt x="68" y="103"/>
                  </a:cubicBezTo>
                  <a:lnTo>
                    <a:pt x="68" y="117"/>
                  </a:lnTo>
                  <a:close/>
                  <a:moveTo>
                    <a:pt x="49" y="21"/>
                  </a:moveTo>
                  <a:cubicBezTo>
                    <a:pt x="52" y="17"/>
                    <a:pt x="56" y="15"/>
                    <a:pt x="61" y="15"/>
                  </a:cubicBezTo>
                  <a:cubicBezTo>
                    <a:pt x="66" y="15"/>
                    <a:pt x="70" y="17"/>
                    <a:pt x="73" y="21"/>
                  </a:cubicBezTo>
                  <a:cubicBezTo>
                    <a:pt x="76" y="25"/>
                    <a:pt x="78" y="30"/>
                    <a:pt x="78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0"/>
                    <a:pt x="46" y="25"/>
                    <a:pt x="49" y="21"/>
                  </a:cubicBezTo>
                  <a:moveTo>
                    <a:pt x="39" y="117"/>
                  </a:moveTo>
                  <a:cubicBezTo>
                    <a:pt x="34" y="117"/>
                    <a:pt x="34" y="117"/>
                    <a:pt x="34" y="117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34" y="102"/>
                    <a:pt x="31" y="98"/>
                    <a:pt x="27" y="97"/>
                  </a:cubicBezTo>
                  <a:cubicBezTo>
                    <a:pt x="25" y="96"/>
                    <a:pt x="24" y="96"/>
                    <a:pt x="22" y="96"/>
                  </a:cubicBezTo>
                  <a:cubicBezTo>
                    <a:pt x="20" y="96"/>
                    <a:pt x="19" y="96"/>
                    <a:pt x="17" y="97"/>
                  </a:cubicBezTo>
                  <a:cubicBezTo>
                    <a:pt x="13" y="98"/>
                    <a:pt x="10" y="102"/>
                    <a:pt x="10" y="10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39" y="40"/>
                    <a:pt x="39" y="40"/>
                    <a:pt x="39" y="40"/>
                  </a:cubicBezTo>
                  <a:lnTo>
                    <a:pt x="39" y="117"/>
                  </a:lnTo>
                  <a:close/>
                  <a:moveTo>
                    <a:pt x="29" y="117"/>
                  </a:moveTo>
                  <a:cubicBezTo>
                    <a:pt x="15" y="117"/>
                    <a:pt x="15" y="117"/>
                    <a:pt x="15" y="11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4"/>
                    <a:pt x="16" y="102"/>
                    <a:pt x="19" y="101"/>
                  </a:cubicBezTo>
                  <a:cubicBezTo>
                    <a:pt x="20" y="100"/>
                    <a:pt x="21" y="100"/>
                    <a:pt x="22" y="100"/>
                  </a:cubicBezTo>
                  <a:cubicBezTo>
                    <a:pt x="23" y="100"/>
                    <a:pt x="24" y="100"/>
                    <a:pt x="25" y="101"/>
                  </a:cubicBezTo>
                  <a:cubicBezTo>
                    <a:pt x="28" y="102"/>
                    <a:pt x="29" y="104"/>
                    <a:pt x="29" y="107"/>
                  </a:cubicBezTo>
                  <a:lnTo>
                    <a:pt x="29" y="117"/>
                  </a:lnTo>
                  <a:close/>
                  <a:moveTo>
                    <a:pt x="120" y="49"/>
                  </a:moveTo>
                  <a:cubicBezTo>
                    <a:pt x="83" y="36"/>
                    <a:pt x="83" y="36"/>
                    <a:pt x="83" y="36"/>
                  </a:cubicBezTo>
                  <a:cubicBezTo>
                    <a:pt x="82" y="29"/>
                    <a:pt x="80" y="23"/>
                    <a:pt x="77" y="19"/>
                  </a:cubicBezTo>
                  <a:cubicBezTo>
                    <a:pt x="73" y="14"/>
                    <a:pt x="68" y="11"/>
                    <a:pt x="63" y="1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4" y="11"/>
                    <a:pt x="49" y="14"/>
                    <a:pt x="45" y="19"/>
                  </a:cubicBezTo>
                  <a:cubicBezTo>
                    <a:pt x="42" y="23"/>
                    <a:pt x="40" y="29"/>
                    <a:pt x="39" y="36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0" y="122"/>
                    <a:pt x="120" y="122"/>
                    <a:pt x="120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2" y="49"/>
                    <a:pt x="122" y="49"/>
                    <a:pt x="122" y="49"/>
                  </a:cubicBezTo>
                  <a:lnTo>
                    <a:pt x="120" y="49"/>
                  </a:lnTo>
                  <a:close/>
                  <a:moveTo>
                    <a:pt x="65" y="69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65" y="53"/>
                    <a:pt x="65" y="53"/>
                    <a:pt x="65" y="53"/>
                  </a:cubicBezTo>
                  <a:lnTo>
                    <a:pt x="65" y="69"/>
                  </a:lnTo>
                  <a:close/>
                  <a:moveTo>
                    <a:pt x="68" y="48"/>
                  </a:move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lnTo>
                    <a:pt x="68" y="4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269">
              <a:extLst>
                <a:ext uri="{FF2B5EF4-FFF2-40B4-BE49-F238E27FC236}">
                  <a16:creationId xmlns:a16="http://schemas.microsoft.com/office/drawing/2014/main" id="{170D17C6-1661-45D7-AAC7-BB21652344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5463" y="5597526"/>
              <a:ext cx="476250" cy="474663"/>
            </a:xfrm>
            <a:custGeom>
              <a:avLst/>
              <a:gdLst>
                <a:gd name="T0" fmla="*/ 51 w 122"/>
                <a:gd name="T1" fmla="*/ 84 h 122"/>
                <a:gd name="T2" fmla="*/ 104 w 122"/>
                <a:gd name="T3" fmla="*/ 85 h 122"/>
                <a:gd name="T4" fmla="*/ 91 w 122"/>
                <a:gd name="T5" fmla="*/ 84 h 122"/>
                <a:gd name="T6" fmla="*/ 109 w 122"/>
                <a:gd name="T7" fmla="*/ 87 h 122"/>
                <a:gd name="T8" fmla="*/ 18 w 122"/>
                <a:gd name="T9" fmla="*/ 85 h 122"/>
                <a:gd name="T10" fmla="*/ 15 w 122"/>
                <a:gd name="T11" fmla="*/ 65 h 122"/>
                <a:gd name="T12" fmla="*/ 16 w 122"/>
                <a:gd name="T13" fmla="*/ 89 h 122"/>
                <a:gd name="T14" fmla="*/ 31 w 122"/>
                <a:gd name="T15" fmla="*/ 61 h 122"/>
                <a:gd name="T16" fmla="*/ 104 w 122"/>
                <a:gd name="T17" fmla="*/ 68 h 122"/>
                <a:gd name="T18" fmla="*/ 91 w 122"/>
                <a:gd name="T19" fmla="*/ 64 h 122"/>
                <a:gd name="T20" fmla="*/ 109 w 122"/>
                <a:gd name="T21" fmla="*/ 90 h 122"/>
                <a:gd name="T22" fmla="*/ 26 w 122"/>
                <a:gd name="T23" fmla="*/ 82 h 122"/>
                <a:gd name="T24" fmla="*/ 28 w 122"/>
                <a:gd name="T25" fmla="*/ 61 h 122"/>
                <a:gd name="T26" fmla="*/ 13 w 122"/>
                <a:gd name="T27" fmla="*/ 90 h 122"/>
                <a:gd name="T28" fmla="*/ 31 w 122"/>
                <a:gd name="T29" fmla="*/ 64 h 122"/>
                <a:gd name="T30" fmla="*/ 65 w 122"/>
                <a:gd name="T31" fmla="*/ 69 h 122"/>
                <a:gd name="T32" fmla="*/ 70 w 122"/>
                <a:gd name="T33" fmla="*/ 71 h 122"/>
                <a:gd name="T34" fmla="*/ 52 w 122"/>
                <a:gd name="T35" fmla="*/ 48 h 122"/>
                <a:gd name="T36" fmla="*/ 68 w 122"/>
                <a:gd name="T37" fmla="*/ 73 h 122"/>
                <a:gd name="T38" fmla="*/ 51 w 122"/>
                <a:gd name="T39" fmla="*/ 84 h 122"/>
                <a:gd name="T40" fmla="*/ 18 w 122"/>
                <a:gd name="T41" fmla="*/ 68 h 122"/>
                <a:gd name="T42" fmla="*/ 31 w 122"/>
                <a:gd name="T43" fmla="*/ 61 h 122"/>
                <a:gd name="T44" fmla="*/ 13 w 122"/>
                <a:gd name="T45" fmla="*/ 87 h 122"/>
                <a:gd name="T46" fmla="*/ 65 w 122"/>
                <a:gd name="T47" fmla="*/ 53 h 122"/>
                <a:gd name="T48" fmla="*/ 70 w 122"/>
                <a:gd name="T49" fmla="*/ 73 h 122"/>
                <a:gd name="T50" fmla="*/ 54 w 122"/>
                <a:gd name="T51" fmla="*/ 48 h 122"/>
                <a:gd name="T52" fmla="*/ 54 w 122"/>
                <a:gd name="T53" fmla="*/ 73 h 122"/>
                <a:gd name="T54" fmla="*/ 71 w 122"/>
                <a:gd name="T55" fmla="*/ 84 h 122"/>
                <a:gd name="T56" fmla="*/ 96 w 122"/>
                <a:gd name="T57" fmla="*/ 82 h 122"/>
                <a:gd name="T58" fmla="*/ 109 w 122"/>
                <a:gd name="T59" fmla="*/ 67 h 122"/>
                <a:gd name="T60" fmla="*/ 91 w 122"/>
                <a:gd name="T61" fmla="*/ 64 h 122"/>
                <a:gd name="T62" fmla="*/ 117 w 122"/>
                <a:gd name="T63" fmla="*/ 117 h 122"/>
                <a:gd name="T64" fmla="*/ 95 w 122"/>
                <a:gd name="T65" fmla="*/ 97 h 122"/>
                <a:gd name="T66" fmla="*/ 117 w 122"/>
                <a:gd name="T67" fmla="*/ 52 h 122"/>
                <a:gd name="T68" fmla="*/ 97 w 122"/>
                <a:gd name="T69" fmla="*/ 101 h 122"/>
                <a:gd name="T70" fmla="*/ 78 w 122"/>
                <a:gd name="T71" fmla="*/ 117 h 122"/>
                <a:gd name="T72" fmla="*/ 56 w 122"/>
                <a:gd name="T73" fmla="*/ 93 h 122"/>
                <a:gd name="T74" fmla="*/ 78 w 122"/>
                <a:gd name="T75" fmla="*/ 40 h 122"/>
                <a:gd name="T76" fmla="*/ 58 w 122"/>
                <a:gd name="T77" fmla="*/ 97 h 122"/>
                <a:gd name="T78" fmla="*/ 49 w 122"/>
                <a:gd name="T79" fmla="*/ 21 h 122"/>
                <a:gd name="T80" fmla="*/ 49 w 122"/>
                <a:gd name="T81" fmla="*/ 21 h 122"/>
                <a:gd name="T82" fmla="*/ 22 w 122"/>
                <a:gd name="T83" fmla="*/ 96 h 122"/>
                <a:gd name="T84" fmla="*/ 5 w 122"/>
                <a:gd name="T85" fmla="*/ 52 h 122"/>
                <a:gd name="T86" fmla="*/ 15 w 122"/>
                <a:gd name="T87" fmla="*/ 107 h 122"/>
                <a:gd name="T88" fmla="*/ 29 w 122"/>
                <a:gd name="T89" fmla="*/ 117 h 122"/>
                <a:gd name="T90" fmla="*/ 63 w 122"/>
                <a:gd name="T91" fmla="*/ 0 h 122"/>
                <a:gd name="T92" fmla="*/ 2 w 122"/>
                <a:gd name="T93" fmla="*/ 49 h 122"/>
                <a:gd name="T94" fmla="*/ 2 w 122"/>
                <a:gd name="T95" fmla="*/ 122 h 122"/>
                <a:gd name="T96" fmla="*/ 122 w 122"/>
                <a:gd name="T97" fmla="*/ 49 h 122"/>
                <a:gd name="T98" fmla="*/ 65 w 122"/>
                <a:gd name="T99" fmla="*/ 53 h 122"/>
                <a:gd name="T100" fmla="*/ 52 w 122"/>
                <a:gd name="T101" fmla="*/ 50 h 122"/>
                <a:gd name="T102" fmla="*/ 70 w 122"/>
                <a:gd name="T103" fmla="*/ 7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122"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8" y="68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18" y="85"/>
                    <a:pt x="18" y="85"/>
                    <a:pt x="18" y="85"/>
                  </a:cubicBezTo>
                  <a:lnTo>
                    <a:pt x="18" y="68"/>
                  </a:lnTo>
                  <a:close/>
                  <a:moveTo>
                    <a:pt x="29" y="86"/>
                  </a:move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lnTo>
                    <a:pt x="29" y="86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7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71" y="84"/>
                    <a:pt x="71" y="84"/>
                    <a:pt x="71" y="84"/>
                  </a:cubicBezTo>
                  <a:lnTo>
                    <a:pt x="71" y="79"/>
                  </a:lnTo>
                  <a:close/>
                  <a:moveTo>
                    <a:pt x="96" y="66"/>
                  </a:moveTo>
                  <a:cubicBezTo>
                    <a:pt x="104" y="68"/>
                    <a:pt x="104" y="68"/>
                    <a:pt x="104" y="68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96" y="82"/>
                    <a:pt x="96" y="82"/>
                    <a:pt x="96" y="82"/>
                  </a:cubicBezTo>
                  <a:lnTo>
                    <a:pt x="96" y="66"/>
                  </a:lnTo>
                  <a:close/>
                  <a:moveTo>
                    <a:pt x="106" y="89"/>
                  </a:move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lnTo>
                    <a:pt x="106" y="89"/>
                  </a:lnTo>
                  <a:close/>
                  <a:moveTo>
                    <a:pt x="117" y="117"/>
                  </a:moveTo>
                  <a:cubicBezTo>
                    <a:pt x="112" y="117"/>
                    <a:pt x="112" y="117"/>
                    <a:pt x="112" y="117"/>
                  </a:cubicBezTo>
                  <a:cubicBezTo>
                    <a:pt x="112" y="107"/>
                    <a:pt x="112" y="107"/>
                    <a:pt x="112" y="107"/>
                  </a:cubicBezTo>
                  <a:cubicBezTo>
                    <a:pt x="112" y="102"/>
                    <a:pt x="109" y="98"/>
                    <a:pt x="105" y="97"/>
                  </a:cubicBezTo>
                  <a:cubicBezTo>
                    <a:pt x="103" y="96"/>
                    <a:pt x="102" y="96"/>
                    <a:pt x="100" y="96"/>
                  </a:cubicBezTo>
                  <a:cubicBezTo>
                    <a:pt x="98" y="96"/>
                    <a:pt x="97" y="96"/>
                    <a:pt x="95" y="97"/>
                  </a:cubicBezTo>
                  <a:cubicBezTo>
                    <a:pt x="91" y="98"/>
                    <a:pt x="88" y="102"/>
                    <a:pt x="88" y="107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117" y="52"/>
                    <a:pt x="117" y="52"/>
                    <a:pt x="117" y="52"/>
                  </a:cubicBezTo>
                  <a:lnTo>
                    <a:pt x="117" y="117"/>
                  </a:lnTo>
                  <a:close/>
                  <a:moveTo>
                    <a:pt x="107" y="117"/>
                  </a:moveTo>
                  <a:cubicBezTo>
                    <a:pt x="93" y="117"/>
                    <a:pt x="93" y="117"/>
                    <a:pt x="93" y="117"/>
                  </a:cubicBezTo>
                  <a:cubicBezTo>
                    <a:pt x="93" y="107"/>
                    <a:pt x="93" y="107"/>
                    <a:pt x="93" y="107"/>
                  </a:cubicBezTo>
                  <a:cubicBezTo>
                    <a:pt x="93" y="104"/>
                    <a:pt x="94" y="102"/>
                    <a:pt x="97" y="101"/>
                  </a:cubicBezTo>
                  <a:cubicBezTo>
                    <a:pt x="98" y="100"/>
                    <a:pt x="99" y="100"/>
                    <a:pt x="100" y="100"/>
                  </a:cubicBezTo>
                  <a:cubicBezTo>
                    <a:pt x="101" y="100"/>
                    <a:pt x="102" y="100"/>
                    <a:pt x="103" y="101"/>
                  </a:cubicBezTo>
                  <a:cubicBezTo>
                    <a:pt x="106" y="102"/>
                    <a:pt x="107" y="104"/>
                    <a:pt x="107" y="107"/>
                  </a:cubicBezTo>
                  <a:lnTo>
                    <a:pt x="107" y="117"/>
                  </a:lnTo>
                  <a:close/>
                  <a:moveTo>
                    <a:pt x="78" y="117"/>
                  </a:moveTo>
                  <a:cubicBezTo>
                    <a:pt x="73" y="117"/>
                    <a:pt x="73" y="117"/>
                    <a:pt x="73" y="117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98"/>
                    <a:pt x="70" y="94"/>
                    <a:pt x="66" y="93"/>
                  </a:cubicBezTo>
                  <a:cubicBezTo>
                    <a:pt x="64" y="92"/>
                    <a:pt x="63" y="92"/>
                    <a:pt x="61" y="92"/>
                  </a:cubicBezTo>
                  <a:cubicBezTo>
                    <a:pt x="59" y="92"/>
                    <a:pt x="58" y="92"/>
                    <a:pt x="56" y="93"/>
                  </a:cubicBezTo>
                  <a:cubicBezTo>
                    <a:pt x="52" y="94"/>
                    <a:pt x="49" y="98"/>
                    <a:pt x="49" y="103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78" y="40"/>
                    <a:pt x="78" y="40"/>
                    <a:pt x="78" y="40"/>
                  </a:cubicBezTo>
                  <a:lnTo>
                    <a:pt x="78" y="117"/>
                  </a:lnTo>
                  <a:close/>
                  <a:moveTo>
                    <a:pt x="68" y="117"/>
                  </a:moveTo>
                  <a:cubicBezTo>
                    <a:pt x="54" y="117"/>
                    <a:pt x="54" y="117"/>
                    <a:pt x="54" y="117"/>
                  </a:cubicBezTo>
                  <a:cubicBezTo>
                    <a:pt x="54" y="103"/>
                    <a:pt x="54" y="103"/>
                    <a:pt x="54" y="103"/>
                  </a:cubicBezTo>
                  <a:cubicBezTo>
                    <a:pt x="54" y="100"/>
                    <a:pt x="55" y="98"/>
                    <a:pt x="58" y="97"/>
                  </a:cubicBezTo>
                  <a:cubicBezTo>
                    <a:pt x="59" y="96"/>
                    <a:pt x="60" y="96"/>
                    <a:pt x="61" y="96"/>
                  </a:cubicBezTo>
                  <a:cubicBezTo>
                    <a:pt x="62" y="96"/>
                    <a:pt x="63" y="96"/>
                    <a:pt x="64" y="97"/>
                  </a:cubicBezTo>
                  <a:cubicBezTo>
                    <a:pt x="67" y="98"/>
                    <a:pt x="68" y="100"/>
                    <a:pt x="68" y="103"/>
                  </a:cubicBezTo>
                  <a:lnTo>
                    <a:pt x="68" y="117"/>
                  </a:lnTo>
                  <a:close/>
                  <a:moveTo>
                    <a:pt x="49" y="21"/>
                  </a:moveTo>
                  <a:cubicBezTo>
                    <a:pt x="52" y="17"/>
                    <a:pt x="56" y="15"/>
                    <a:pt x="61" y="15"/>
                  </a:cubicBezTo>
                  <a:cubicBezTo>
                    <a:pt x="66" y="15"/>
                    <a:pt x="70" y="17"/>
                    <a:pt x="73" y="21"/>
                  </a:cubicBezTo>
                  <a:cubicBezTo>
                    <a:pt x="76" y="25"/>
                    <a:pt x="78" y="30"/>
                    <a:pt x="78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0"/>
                    <a:pt x="46" y="25"/>
                    <a:pt x="49" y="21"/>
                  </a:cubicBezTo>
                  <a:moveTo>
                    <a:pt x="39" y="117"/>
                  </a:moveTo>
                  <a:cubicBezTo>
                    <a:pt x="34" y="117"/>
                    <a:pt x="34" y="117"/>
                    <a:pt x="34" y="117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34" y="102"/>
                    <a:pt x="31" y="98"/>
                    <a:pt x="27" y="97"/>
                  </a:cubicBezTo>
                  <a:cubicBezTo>
                    <a:pt x="25" y="96"/>
                    <a:pt x="24" y="96"/>
                    <a:pt x="22" y="96"/>
                  </a:cubicBezTo>
                  <a:cubicBezTo>
                    <a:pt x="20" y="96"/>
                    <a:pt x="19" y="96"/>
                    <a:pt x="17" y="97"/>
                  </a:cubicBezTo>
                  <a:cubicBezTo>
                    <a:pt x="13" y="98"/>
                    <a:pt x="10" y="102"/>
                    <a:pt x="10" y="10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39" y="40"/>
                    <a:pt x="39" y="40"/>
                    <a:pt x="39" y="40"/>
                  </a:cubicBezTo>
                  <a:lnTo>
                    <a:pt x="39" y="117"/>
                  </a:lnTo>
                  <a:close/>
                  <a:moveTo>
                    <a:pt x="29" y="117"/>
                  </a:moveTo>
                  <a:cubicBezTo>
                    <a:pt x="15" y="117"/>
                    <a:pt x="15" y="117"/>
                    <a:pt x="15" y="11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4"/>
                    <a:pt x="16" y="102"/>
                    <a:pt x="19" y="101"/>
                  </a:cubicBezTo>
                  <a:cubicBezTo>
                    <a:pt x="20" y="100"/>
                    <a:pt x="21" y="100"/>
                    <a:pt x="22" y="100"/>
                  </a:cubicBezTo>
                  <a:cubicBezTo>
                    <a:pt x="23" y="100"/>
                    <a:pt x="24" y="100"/>
                    <a:pt x="25" y="101"/>
                  </a:cubicBezTo>
                  <a:cubicBezTo>
                    <a:pt x="28" y="102"/>
                    <a:pt x="29" y="104"/>
                    <a:pt x="29" y="107"/>
                  </a:cubicBezTo>
                  <a:lnTo>
                    <a:pt x="29" y="117"/>
                  </a:lnTo>
                  <a:close/>
                  <a:moveTo>
                    <a:pt x="120" y="49"/>
                  </a:moveTo>
                  <a:cubicBezTo>
                    <a:pt x="83" y="36"/>
                    <a:pt x="83" y="36"/>
                    <a:pt x="83" y="36"/>
                  </a:cubicBezTo>
                  <a:cubicBezTo>
                    <a:pt x="82" y="29"/>
                    <a:pt x="80" y="23"/>
                    <a:pt x="77" y="19"/>
                  </a:cubicBezTo>
                  <a:cubicBezTo>
                    <a:pt x="73" y="14"/>
                    <a:pt x="68" y="11"/>
                    <a:pt x="63" y="1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4" y="11"/>
                    <a:pt x="49" y="14"/>
                    <a:pt x="45" y="19"/>
                  </a:cubicBezTo>
                  <a:cubicBezTo>
                    <a:pt x="42" y="23"/>
                    <a:pt x="40" y="29"/>
                    <a:pt x="39" y="36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0" y="122"/>
                    <a:pt x="120" y="122"/>
                    <a:pt x="120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2" y="49"/>
                    <a:pt x="122" y="49"/>
                    <a:pt x="122" y="49"/>
                  </a:cubicBezTo>
                  <a:lnTo>
                    <a:pt x="120" y="49"/>
                  </a:lnTo>
                  <a:close/>
                  <a:moveTo>
                    <a:pt x="65" y="69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65" y="53"/>
                    <a:pt x="65" y="53"/>
                    <a:pt x="65" y="53"/>
                  </a:cubicBezTo>
                  <a:lnTo>
                    <a:pt x="65" y="69"/>
                  </a:lnTo>
                  <a:close/>
                  <a:moveTo>
                    <a:pt x="68" y="48"/>
                  </a:move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lnTo>
                    <a:pt x="68" y="4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DF1E6B97-212B-493A-B2D8-EA8661A321BE}"/>
              </a:ext>
            </a:extLst>
          </p:cNvPr>
          <p:cNvGrpSpPr/>
          <p:nvPr/>
        </p:nvGrpSpPr>
        <p:grpSpPr>
          <a:xfrm>
            <a:off x="6986588" y="5455444"/>
            <a:ext cx="844550" cy="844550"/>
            <a:chOff x="6986588" y="5435600"/>
            <a:chExt cx="844550" cy="844550"/>
          </a:xfrm>
        </p:grpSpPr>
        <p:sp>
          <p:nvSpPr>
            <p:cNvPr id="352" name="AutoShape 271">
              <a:extLst>
                <a:ext uri="{FF2B5EF4-FFF2-40B4-BE49-F238E27FC236}">
                  <a16:creationId xmlns:a16="http://schemas.microsoft.com/office/drawing/2014/main" id="{6B4B250A-136A-4BA1-89BB-FC37CBE4E4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986588" y="5435600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Oval 273">
              <a:extLst>
                <a:ext uri="{FF2B5EF4-FFF2-40B4-BE49-F238E27FC236}">
                  <a16:creationId xmlns:a16="http://schemas.microsoft.com/office/drawing/2014/main" id="{480D8BA4-6429-49D1-A016-38D91A24A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6588" y="5435600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274">
              <a:extLst>
                <a:ext uri="{FF2B5EF4-FFF2-40B4-BE49-F238E27FC236}">
                  <a16:creationId xmlns:a16="http://schemas.microsoft.com/office/drawing/2014/main" id="{38AFF84A-AA9A-4331-A280-43E22B7977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5163" y="5464175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275">
              <a:extLst>
                <a:ext uri="{FF2B5EF4-FFF2-40B4-BE49-F238E27FC236}">
                  <a16:creationId xmlns:a16="http://schemas.microsoft.com/office/drawing/2014/main" id="{5778B5B3-E2ED-4D26-9DF6-873BCDB382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5576888"/>
              <a:ext cx="495300" cy="496888"/>
            </a:xfrm>
            <a:custGeom>
              <a:avLst/>
              <a:gdLst>
                <a:gd name="T0" fmla="*/ 51 w 122"/>
                <a:gd name="T1" fmla="*/ 84 h 122"/>
                <a:gd name="T2" fmla="*/ 104 w 122"/>
                <a:gd name="T3" fmla="*/ 85 h 122"/>
                <a:gd name="T4" fmla="*/ 91 w 122"/>
                <a:gd name="T5" fmla="*/ 84 h 122"/>
                <a:gd name="T6" fmla="*/ 109 w 122"/>
                <a:gd name="T7" fmla="*/ 87 h 122"/>
                <a:gd name="T8" fmla="*/ 18 w 122"/>
                <a:gd name="T9" fmla="*/ 85 h 122"/>
                <a:gd name="T10" fmla="*/ 15 w 122"/>
                <a:gd name="T11" fmla="*/ 65 h 122"/>
                <a:gd name="T12" fmla="*/ 16 w 122"/>
                <a:gd name="T13" fmla="*/ 89 h 122"/>
                <a:gd name="T14" fmla="*/ 31 w 122"/>
                <a:gd name="T15" fmla="*/ 61 h 122"/>
                <a:gd name="T16" fmla="*/ 104 w 122"/>
                <a:gd name="T17" fmla="*/ 68 h 122"/>
                <a:gd name="T18" fmla="*/ 91 w 122"/>
                <a:gd name="T19" fmla="*/ 64 h 122"/>
                <a:gd name="T20" fmla="*/ 109 w 122"/>
                <a:gd name="T21" fmla="*/ 90 h 122"/>
                <a:gd name="T22" fmla="*/ 26 w 122"/>
                <a:gd name="T23" fmla="*/ 82 h 122"/>
                <a:gd name="T24" fmla="*/ 28 w 122"/>
                <a:gd name="T25" fmla="*/ 61 h 122"/>
                <a:gd name="T26" fmla="*/ 13 w 122"/>
                <a:gd name="T27" fmla="*/ 90 h 122"/>
                <a:gd name="T28" fmla="*/ 31 w 122"/>
                <a:gd name="T29" fmla="*/ 64 h 122"/>
                <a:gd name="T30" fmla="*/ 65 w 122"/>
                <a:gd name="T31" fmla="*/ 69 h 122"/>
                <a:gd name="T32" fmla="*/ 70 w 122"/>
                <a:gd name="T33" fmla="*/ 71 h 122"/>
                <a:gd name="T34" fmla="*/ 52 w 122"/>
                <a:gd name="T35" fmla="*/ 48 h 122"/>
                <a:gd name="T36" fmla="*/ 68 w 122"/>
                <a:gd name="T37" fmla="*/ 73 h 122"/>
                <a:gd name="T38" fmla="*/ 51 w 122"/>
                <a:gd name="T39" fmla="*/ 84 h 122"/>
                <a:gd name="T40" fmla="*/ 18 w 122"/>
                <a:gd name="T41" fmla="*/ 68 h 122"/>
                <a:gd name="T42" fmla="*/ 31 w 122"/>
                <a:gd name="T43" fmla="*/ 61 h 122"/>
                <a:gd name="T44" fmla="*/ 13 w 122"/>
                <a:gd name="T45" fmla="*/ 87 h 122"/>
                <a:gd name="T46" fmla="*/ 65 w 122"/>
                <a:gd name="T47" fmla="*/ 53 h 122"/>
                <a:gd name="T48" fmla="*/ 70 w 122"/>
                <a:gd name="T49" fmla="*/ 73 h 122"/>
                <a:gd name="T50" fmla="*/ 54 w 122"/>
                <a:gd name="T51" fmla="*/ 48 h 122"/>
                <a:gd name="T52" fmla="*/ 54 w 122"/>
                <a:gd name="T53" fmla="*/ 73 h 122"/>
                <a:gd name="T54" fmla="*/ 71 w 122"/>
                <a:gd name="T55" fmla="*/ 84 h 122"/>
                <a:gd name="T56" fmla="*/ 96 w 122"/>
                <a:gd name="T57" fmla="*/ 82 h 122"/>
                <a:gd name="T58" fmla="*/ 109 w 122"/>
                <a:gd name="T59" fmla="*/ 67 h 122"/>
                <a:gd name="T60" fmla="*/ 91 w 122"/>
                <a:gd name="T61" fmla="*/ 64 h 122"/>
                <a:gd name="T62" fmla="*/ 117 w 122"/>
                <a:gd name="T63" fmla="*/ 117 h 122"/>
                <a:gd name="T64" fmla="*/ 95 w 122"/>
                <a:gd name="T65" fmla="*/ 97 h 122"/>
                <a:gd name="T66" fmla="*/ 117 w 122"/>
                <a:gd name="T67" fmla="*/ 52 h 122"/>
                <a:gd name="T68" fmla="*/ 97 w 122"/>
                <a:gd name="T69" fmla="*/ 101 h 122"/>
                <a:gd name="T70" fmla="*/ 78 w 122"/>
                <a:gd name="T71" fmla="*/ 117 h 122"/>
                <a:gd name="T72" fmla="*/ 56 w 122"/>
                <a:gd name="T73" fmla="*/ 93 h 122"/>
                <a:gd name="T74" fmla="*/ 78 w 122"/>
                <a:gd name="T75" fmla="*/ 40 h 122"/>
                <a:gd name="T76" fmla="*/ 58 w 122"/>
                <a:gd name="T77" fmla="*/ 97 h 122"/>
                <a:gd name="T78" fmla="*/ 49 w 122"/>
                <a:gd name="T79" fmla="*/ 21 h 122"/>
                <a:gd name="T80" fmla="*/ 49 w 122"/>
                <a:gd name="T81" fmla="*/ 21 h 122"/>
                <a:gd name="T82" fmla="*/ 22 w 122"/>
                <a:gd name="T83" fmla="*/ 96 h 122"/>
                <a:gd name="T84" fmla="*/ 5 w 122"/>
                <a:gd name="T85" fmla="*/ 52 h 122"/>
                <a:gd name="T86" fmla="*/ 15 w 122"/>
                <a:gd name="T87" fmla="*/ 107 h 122"/>
                <a:gd name="T88" fmla="*/ 29 w 122"/>
                <a:gd name="T89" fmla="*/ 117 h 122"/>
                <a:gd name="T90" fmla="*/ 63 w 122"/>
                <a:gd name="T91" fmla="*/ 0 h 122"/>
                <a:gd name="T92" fmla="*/ 2 w 122"/>
                <a:gd name="T93" fmla="*/ 49 h 122"/>
                <a:gd name="T94" fmla="*/ 2 w 122"/>
                <a:gd name="T95" fmla="*/ 122 h 122"/>
                <a:gd name="T96" fmla="*/ 122 w 122"/>
                <a:gd name="T97" fmla="*/ 49 h 122"/>
                <a:gd name="T98" fmla="*/ 65 w 122"/>
                <a:gd name="T99" fmla="*/ 53 h 122"/>
                <a:gd name="T100" fmla="*/ 52 w 122"/>
                <a:gd name="T101" fmla="*/ 50 h 122"/>
                <a:gd name="T102" fmla="*/ 70 w 122"/>
                <a:gd name="T103" fmla="*/ 7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122"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104" y="85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96" y="66"/>
                    <a:pt x="96" y="66"/>
                    <a:pt x="96" y="66"/>
                  </a:cubicBezTo>
                  <a:cubicBezTo>
                    <a:pt x="104" y="68"/>
                    <a:pt x="104" y="68"/>
                    <a:pt x="104" y="68"/>
                  </a:cubicBezTo>
                  <a:lnTo>
                    <a:pt x="104" y="85"/>
                  </a:lnTo>
                  <a:close/>
                  <a:moveTo>
                    <a:pt x="107" y="65"/>
                  </a:move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lnTo>
                    <a:pt x="107" y="65"/>
                  </a:lnTo>
                  <a:close/>
                  <a:moveTo>
                    <a:pt x="26" y="82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26" y="66"/>
                    <a:pt x="26" y="66"/>
                    <a:pt x="26" y="66"/>
                  </a:cubicBezTo>
                  <a:lnTo>
                    <a:pt x="26" y="82"/>
                  </a:lnTo>
                  <a:close/>
                  <a:moveTo>
                    <a:pt x="28" y="61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lnTo>
                    <a:pt x="28" y="61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51" y="84"/>
                  </a:moveTo>
                  <a:cubicBezTo>
                    <a:pt x="71" y="84"/>
                    <a:pt x="71" y="84"/>
                    <a:pt x="71" y="84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51" y="79"/>
                    <a:pt x="51" y="79"/>
                    <a:pt x="51" y="79"/>
                  </a:cubicBezTo>
                  <a:lnTo>
                    <a:pt x="51" y="84"/>
                  </a:lnTo>
                  <a:close/>
                  <a:moveTo>
                    <a:pt x="18" y="68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18" y="85"/>
                    <a:pt x="18" y="85"/>
                    <a:pt x="18" y="85"/>
                  </a:cubicBezTo>
                  <a:lnTo>
                    <a:pt x="18" y="68"/>
                  </a:lnTo>
                  <a:close/>
                  <a:moveTo>
                    <a:pt x="29" y="86"/>
                  </a:moveTo>
                  <a:cubicBezTo>
                    <a:pt x="31" y="86"/>
                    <a:pt x="31" y="86"/>
                    <a:pt x="31" y="86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89"/>
                    <a:pt x="16" y="89"/>
                    <a:pt x="16" y="89"/>
                  </a:cubicBezTo>
                  <a:lnTo>
                    <a:pt x="29" y="86"/>
                  </a:lnTo>
                  <a:close/>
                  <a:moveTo>
                    <a:pt x="57" y="53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7" y="69"/>
                    <a:pt x="57" y="69"/>
                    <a:pt x="57" y="69"/>
                  </a:cubicBezTo>
                  <a:lnTo>
                    <a:pt x="57" y="53"/>
                  </a:lnTo>
                  <a:close/>
                  <a:moveTo>
                    <a:pt x="68" y="73"/>
                  </a:move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68" y="73"/>
                  </a:lnTo>
                  <a:close/>
                  <a:moveTo>
                    <a:pt x="7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71" y="84"/>
                    <a:pt x="71" y="84"/>
                    <a:pt x="71" y="84"/>
                  </a:cubicBezTo>
                  <a:lnTo>
                    <a:pt x="71" y="79"/>
                  </a:lnTo>
                  <a:close/>
                  <a:moveTo>
                    <a:pt x="96" y="66"/>
                  </a:moveTo>
                  <a:cubicBezTo>
                    <a:pt x="104" y="68"/>
                    <a:pt x="104" y="68"/>
                    <a:pt x="104" y="68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96" y="82"/>
                    <a:pt x="96" y="82"/>
                    <a:pt x="96" y="82"/>
                  </a:cubicBezTo>
                  <a:lnTo>
                    <a:pt x="96" y="66"/>
                  </a:lnTo>
                  <a:close/>
                  <a:moveTo>
                    <a:pt x="106" y="89"/>
                  </a:moveTo>
                  <a:cubicBezTo>
                    <a:pt x="109" y="90"/>
                    <a:pt x="109" y="90"/>
                    <a:pt x="109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6"/>
                    <a:pt x="93" y="86"/>
                    <a:pt x="93" y="86"/>
                  </a:cubicBezTo>
                  <a:lnTo>
                    <a:pt x="106" y="89"/>
                  </a:lnTo>
                  <a:close/>
                  <a:moveTo>
                    <a:pt x="117" y="117"/>
                  </a:moveTo>
                  <a:cubicBezTo>
                    <a:pt x="112" y="117"/>
                    <a:pt x="112" y="117"/>
                    <a:pt x="112" y="117"/>
                  </a:cubicBezTo>
                  <a:cubicBezTo>
                    <a:pt x="112" y="107"/>
                    <a:pt x="112" y="107"/>
                    <a:pt x="112" y="107"/>
                  </a:cubicBezTo>
                  <a:cubicBezTo>
                    <a:pt x="112" y="102"/>
                    <a:pt x="109" y="98"/>
                    <a:pt x="105" y="97"/>
                  </a:cubicBezTo>
                  <a:cubicBezTo>
                    <a:pt x="103" y="96"/>
                    <a:pt x="102" y="96"/>
                    <a:pt x="100" y="96"/>
                  </a:cubicBezTo>
                  <a:cubicBezTo>
                    <a:pt x="98" y="96"/>
                    <a:pt x="97" y="96"/>
                    <a:pt x="95" y="97"/>
                  </a:cubicBezTo>
                  <a:cubicBezTo>
                    <a:pt x="91" y="98"/>
                    <a:pt x="88" y="102"/>
                    <a:pt x="88" y="107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117" y="52"/>
                    <a:pt x="117" y="52"/>
                    <a:pt x="117" y="52"/>
                  </a:cubicBezTo>
                  <a:lnTo>
                    <a:pt x="117" y="117"/>
                  </a:lnTo>
                  <a:close/>
                  <a:moveTo>
                    <a:pt x="107" y="117"/>
                  </a:moveTo>
                  <a:cubicBezTo>
                    <a:pt x="93" y="117"/>
                    <a:pt x="93" y="117"/>
                    <a:pt x="93" y="117"/>
                  </a:cubicBezTo>
                  <a:cubicBezTo>
                    <a:pt x="93" y="107"/>
                    <a:pt x="93" y="107"/>
                    <a:pt x="93" y="107"/>
                  </a:cubicBezTo>
                  <a:cubicBezTo>
                    <a:pt x="93" y="104"/>
                    <a:pt x="94" y="102"/>
                    <a:pt x="97" y="101"/>
                  </a:cubicBezTo>
                  <a:cubicBezTo>
                    <a:pt x="98" y="100"/>
                    <a:pt x="99" y="100"/>
                    <a:pt x="100" y="100"/>
                  </a:cubicBezTo>
                  <a:cubicBezTo>
                    <a:pt x="101" y="100"/>
                    <a:pt x="102" y="100"/>
                    <a:pt x="103" y="101"/>
                  </a:cubicBezTo>
                  <a:cubicBezTo>
                    <a:pt x="106" y="102"/>
                    <a:pt x="107" y="104"/>
                    <a:pt x="107" y="107"/>
                  </a:cubicBezTo>
                  <a:lnTo>
                    <a:pt x="107" y="117"/>
                  </a:lnTo>
                  <a:close/>
                  <a:moveTo>
                    <a:pt x="78" y="117"/>
                  </a:moveTo>
                  <a:cubicBezTo>
                    <a:pt x="73" y="117"/>
                    <a:pt x="73" y="117"/>
                    <a:pt x="73" y="117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98"/>
                    <a:pt x="70" y="94"/>
                    <a:pt x="66" y="93"/>
                  </a:cubicBezTo>
                  <a:cubicBezTo>
                    <a:pt x="64" y="92"/>
                    <a:pt x="63" y="92"/>
                    <a:pt x="61" y="92"/>
                  </a:cubicBezTo>
                  <a:cubicBezTo>
                    <a:pt x="59" y="92"/>
                    <a:pt x="58" y="92"/>
                    <a:pt x="56" y="93"/>
                  </a:cubicBezTo>
                  <a:cubicBezTo>
                    <a:pt x="52" y="94"/>
                    <a:pt x="49" y="98"/>
                    <a:pt x="49" y="103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78" y="40"/>
                    <a:pt x="78" y="40"/>
                    <a:pt x="78" y="40"/>
                  </a:cubicBezTo>
                  <a:lnTo>
                    <a:pt x="78" y="117"/>
                  </a:lnTo>
                  <a:close/>
                  <a:moveTo>
                    <a:pt x="68" y="117"/>
                  </a:moveTo>
                  <a:cubicBezTo>
                    <a:pt x="54" y="117"/>
                    <a:pt x="54" y="117"/>
                    <a:pt x="54" y="117"/>
                  </a:cubicBezTo>
                  <a:cubicBezTo>
                    <a:pt x="54" y="103"/>
                    <a:pt x="54" y="103"/>
                    <a:pt x="54" y="103"/>
                  </a:cubicBezTo>
                  <a:cubicBezTo>
                    <a:pt x="54" y="100"/>
                    <a:pt x="55" y="98"/>
                    <a:pt x="58" y="97"/>
                  </a:cubicBezTo>
                  <a:cubicBezTo>
                    <a:pt x="59" y="96"/>
                    <a:pt x="60" y="96"/>
                    <a:pt x="61" y="96"/>
                  </a:cubicBezTo>
                  <a:cubicBezTo>
                    <a:pt x="62" y="96"/>
                    <a:pt x="63" y="96"/>
                    <a:pt x="64" y="97"/>
                  </a:cubicBezTo>
                  <a:cubicBezTo>
                    <a:pt x="67" y="98"/>
                    <a:pt x="68" y="100"/>
                    <a:pt x="68" y="103"/>
                  </a:cubicBezTo>
                  <a:lnTo>
                    <a:pt x="68" y="117"/>
                  </a:lnTo>
                  <a:close/>
                  <a:moveTo>
                    <a:pt x="49" y="21"/>
                  </a:moveTo>
                  <a:cubicBezTo>
                    <a:pt x="52" y="17"/>
                    <a:pt x="56" y="15"/>
                    <a:pt x="61" y="15"/>
                  </a:cubicBezTo>
                  <a:cubicBezTo>
                    <a:pt x="66" y="15"/>
                    <a:pt x="70" y="17"/>
                    <a:pt x="73" y="21"/>
                  </a:cubicBezTo>
                  <a:cubicBezTo>
                    <a:pt x="76" y="25"/>
                    <a:pt x="78" y="30"/>
                    <a:pt x="78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0"/>
                    <a:pt x="46" y="25"/>
                    <a:pt x="49" y="21"/>
                  </a:cubicBezTo>
                  <a:moveTo>
                    <a:pt x="39" y="117"/>
                  </a:moveTo>
                  <a:cubicBezTo>
                    <a:pt x="34" y="117"/>
                    <a:pt x="34" y="117"/>
                    <a:pt x="34" y="117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34" y="102"/>
                    <a:pt x="31" y="98"/>
                    <a:pt x="27" y="97"/>
                  </a:cubicBezTo>
                  <a:cubicBezTo>
                    <a:pt x="25" y="96"/>
                    <a:pt x="24" y="96"/>
                    <a:pt x="22" y="96"/>
                  </a:cubicBezTo>
                  <a:cubicBezTo>
                    <a:pt x="20" y="96"/>
                    <a:pt x="19" y="96"/>
                    <a:pt x="17" y="97"/>
                  </a:cubicBezTo>
                  <a:cubicBezTo>
                    <a:pt x="13" y="98"/>
                    <a:pt x="10" y="102"/>
                    <a:pt x="10" y="10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39" y="40"/>
                    <a:pt x="39" y="40"/>
                    <a:pt x="39" y="40"/>
                  </a:cubicBezTo>
                  <a:lnTo>
                    <a:pt x="39" y="117"/>
                  </a:lnTo>
                  <a:close/>
                  <a:moveTo>
                    <a:pt x="29" y="117"/>
                  </a:moveTo>
                  <a:cubicBezTo>
                    <a:pt x="15" y="117"/>
                    <a:pt x="15" y="117"/>
                    <a:pt x="15" y="11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4"/>
                    <a:pt x="16" y="102"/>
                    <a:pt x="19" y="101"/>
                  </a:cubicBezTo>
                  <a:cubicBezTo>
                    <a:pt x="20" y="100"/>
                    <a:pt x="21" y="100"/>
                    <a:pt x="22" y="100"/>
                  </a:cubicBezTo>
                  <a:cubicBezTo>
                    <a:pt x="23" y="100"/>
                    <a:pt x="24" y="100"/>
                    <a:pt x="25" y="101"/>
                  </a:cubicBezTo>
                  <a:cubicBezTo>
                    <a:pt x="28" y="102"/>
                    <a:pt x="29" y="104"/>
                    <a:pt x="29" y="107"/>
                  </a:cubicBezTo>
                  <a:lnTo>
                    <a:pt x="29" y="117"/>
                  </a:lnTo>
                  <a:close/>
                  <a:moveTo>
                    <a:pt x="120" y="49"/>
                  </a:moveTo>
                  <a:cubicBezTo>
                    <a:pt x="83" y="36"/>
                    <a:pt x="83" y="36"/>
                    <a:pt x="83" y="36"/>
                  </a:cubicBezTo>
                  <a:cubicBezTo>
                    <a:pt x="82" y="29"/>
                    <a:pt x="80" y="23"/>
                    <a:pt x="77" y="19"/>
                  </a:cubicBezTo>
                  <a:cubicBezTo>
                    <a:pt x="73" y="14"/>
                    <a:pt x="68" y="11"/>
                    <a:pt x="63" y="1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4" y="11"/>
                    <a:pt x="49" y="14"/>
                    <a:pt x="45" y="19"/>
                  </a:cubicBezTo>
                  <a:cubicBezTo>
                    <a:pt x="42" y="23"/>
                    <a:pt x="40" y="29"/>
                    <a:pt x="39" y="36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0" y="122"/>
                    <a:pt x="120" y="122"/>
                    <a:pt x="120" y="122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2" y="49"/>
                    <a:pt x="122" y="49"/>
                    <a:pt x="122" y="49"/>
                  </a:cubicBezTo>
                  <a:lnTo>
                    <a:pt x="120" y="49"/>
                  </a:lnTo>
                  <a:close/>
                  <a:moveTo>
                    <a:pt x="65" y="69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65" y="53"/>
                    <a:pt x="65" y="53"/>
                    <a:pt x="65" y="53"/>
                  </a:cubicBezTo>
                  <a:lnTo>
                    <a:pt x="65" y="69"/>
                  </a:lnTo>
                  <a:close/>
                  <a:moveTo>
                    <a:pt x="68" y="48"/>
                  </a:moveTo>
                  <a:cubicBezTo>
                    <a:pt x="54" y="48"/>
                    <a:pt x="54" y="48"/>
                    <a:pt x="54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8"/>
                    <a:pt x="70" y="48"/>
                    <a:pt x="70" y="48"/>
                  </a:cubicBezTo>
                  <a:lnTo>
                    <a:pt x="68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6092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A32D2CE-EF26-4022-8D99-7D8BB1470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424712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vernment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vernment 3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nivers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an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cavato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ement Mixer Tru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oad Roller Tru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ckhoe Truc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o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ck Lay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dd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lor Palett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or Pla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uce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rain Pip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heelbarrow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Jackhamm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ffic Co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oad Warning Ga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asure Bluepri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D2B0E1A-4F6A-4953-B98E-5D14BFFA5B46}"/>
              </a:ext>
            </a:extLst>
          </p:cNvPr>
          <p:cNvGrpSpPr/>
          <p:nvPr/>
        </p:nvGrpSpPr>
        <p:grpSpPr>
          <a:xfrm>
            <a:off x="1400175" y="321469"/>
            <a:ext cx="760413" cy="758825"/>
            <a:chOff x="1400175" y="323850"/>
            <a:chExt cx="760413" cy="758825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43B3308D-29A1-4CD3-9F5D-B3147D8AF33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00175" y="323850"/>
              <a:ext cx="760413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7C0FA752-AA21-4137-BECA-1CE6227CC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3350" y="327025"/>
              <a:ext cx="757238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4623CF4E-566C-453F-A622-A16C091095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9713" y="495300"/>
              <a:ext cx="546100" cy="388938"/>
            </a:xfrm>
            <a:custGeom>
              <a:avLst/>
              <a:gdLst>
                <a:gd name="T0" fmla="*/ 236 w 344"/>
                <a:gd name="T1" fmla="*/ 122 h 245"/>
                <a:gd name="T2" fmla="*/ 108 w 344"/>
                <a:gd name="T3" fmla="*/ 110 h 245"/>
                <a:gd name="T4" fmla="*/ 27 w 344"/>
                <a:gd name="T5" fmla="*/ 137 h 245"/>
                <a:gd name="T6" fmla="*/ 73 w 344"/>
                <a:gd name="T7" fmla="*/ 233 h 245"/>
                <a:gd name="T8" fmla="*/ 27 w 344"/>
                <a:gd name="T9" fmla="*/ 137 h 245"/>
                <a:gd name="T10" fmla="*/ 317 w 344"/>
                <a:gd name="T11" fmla="*/ 137 h 245"/>
                <a:gd name="T12" fmla="*/ 270 w 344"/>
                <a:gd name="T13" fmla="*/ 233 h 245"/>
                <a:gd name="T14" fmla="*/ 83 w 344"/>
                <a:gd name="T15" fmla="*/ 93 h 245"/>
                <a:gd name="T16" fmla="*/ 260 w 344"/>
                <a:gd name="T17" fmla="*/ 233 h 245"/>
                <a:gd name="T18" fmla="*/ 223 w 344"/>
                <a:gd name="T19" fmla="*/ 152 h 245"/>
                <a:gd name="T20" fmla="*/ 236 w 344"/>
                <a:gd name="T21" fmla="*/ 140 h 245"/>
                <a:gd name="T22" fmla="*/ 201 w 344"/>
                <a:gd name="T23" fmla="*/ 152 h 245"/>
                <a:gd name="T24" fmla="*/ 214 w 344"/>
                <a:gd name="T25" fmla="*/ 233 h 245"/>
                <a:gd name="T26" fmla="*/ 177 w 344"/>
                <a:gd name="T27" fmla="*/ 152 h 245"/>
                <a:gd name="T28" fmla="*/ 189 w 344"/>
                <a:gd name="T29" fmla="*/ 140 h 245"/>
                <a:gd name="T30" fmla="*/ 155 w 344"/>
                <a:gd name="T31" fmla="*/ 152 h 245"/>
                <a:gd name="T32" fmla="*/ 167 w 344"/>
                <a:gd name="T33" fmla="*/ 233 h 245"/>
                <a:gd name="T34" fmla="*/ 130 w 344"/>
                <a:gd name="T35" fmla="*/ 152 h 245"/>
                <a:gd name="T36" fmla="*/ 142 w 344"/>
                <a:gd name="T37" fmla="*/ 140 h 245"/>
                <a:gd name="T38" fmla="*/ 108 w 344"/>
                <a:gd name="T39" fmla="*/ 152 h 245"/>
                <a:gd name="T40" fmla="*/ 120 w 344"/>
                <a:gd name="T41" fmla="*/ 233 h 245"/>
                <a:gd name="T42" fmla="*/ 83 w 344"/>
                <a:gd name="T43" fmla="*/ 93 h 245"/>
                <a:gd name="T44" fmla="*/ 172 w 344"/>
                <a:gd name="T45" fmla="*/ 29 h 245"/>
                <a:gd name="T46" fmla="*/ 277 w 344"/>
                <a:gd name="T47" fmla="*/ 81 h 245"/>
                <a:gd name="T48" fmla="*/ 66 w 344"/>
                <a:gd name="T49" fmla="*/ 68 h 245"/>
                <a:gd name="T50" fmla="*/ 167 w 344"/>
                <a:gd name="T51" fmla="*/ 19 h 245"/>
                <a:gd name="T52" fmla="*/ 66 w 344"/>
                <a:gd name="T53" fmla="*/ 39 h 245"/>
                <a:gd name="T54" fmla="*/ 54 w 344"/>
                <a:gd name="T55" fmla="*/ 88 h 245"/>
                <a:gd name="T56" fmla="*/ 59 w 344"/>
                <a:gd name="T57" fmla="*/ 93 h 245"/>
                <a:gd name="T58" fmla="*/ 73 w 344"/>
                <a:gd name="T59" fmla="*/ 125 h 245"/>
                <a:gd name="T60" fmla="*/ 0 w 344"/>
                <a:gd name="T61" fmla="*/ 137 h 245"/>
                <a:gd name="T62" fmla="*/ 17 w 344"/>
                <a:gd name="T63" fmla="*/ 240 h 245"/>
                <a:gd name="T64" fmla="*/ 22 w 344"/>
                <a:gd name="T65" fmla="*/ 245 h 245"/>
                <a:gd name="T66" fmla="*/ 327 w 344"/>
                <a:gd name="T67" fmla="*/ 245 h 245"/>
                <a:gd name="T68" fmla="*/ 327 w 344"/>
                <a:gd name="T69" fmla="*/ 137 h 245"/>
                <a:gd name="T70" fmla="*/ 344 w 344"/>
                <a:gd name="T71" fmla="*/ 125 h 245"/>
                <a:gd name="T72" fmla="*/ 270 w 344"/>
                <a:gd name="T73" fmla="*/ 93 h 245"/>
                <a:gd name="T74" fmla="*/ 290 w 344"/>
                <a:gd name="T75" fmla="*/ 93 h 245"/>
                <a:gd name="T76" fmla="*/ 290 w 344"/>
                <a:gd name="T77" fmla="*/ 39 h 245"/>
                <a:gd name="T78" fmla="*/ 277 w 344"/>
                <a:gd name="T79" fmla="*/ 56 h 245"/>
                <a:gd name="T80" fmla="*/ 177 w 344"/>
                <a:gd name="T8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4" h="245">
                  <a:moveTo>
                    <a:pt x="108" y="122"/>
                  </a:moveTo>
                  <a:lnTo>
                    <a:pt x="236" y="122"/>
                  </a:lnTo>
                  <a:lnTo>
                    <a:pt x="236" y="110"/>
                  </a:lnTo>
                  <a:lnTo>
                    <a:pt x="108" y="110"/>
                  </a:lnTo>
                  <a:lnTo>
                    <a:pt x="108" y="122"/>
                  </a:lnTo>
                  <a:close/>
                  <a:moveTo>
                    <a:pt x="27" y="137"/>
                  </a:moveTo>
                  <a:lnTo>
                    <a:pt x="73" y="137"/>
                  </a:lnTo>
                  <a:lnTo>
                    <a:pt x="73" y="233"/>
                  </a:lnTo>
                  <a:lnTo>
                    <a:pt x="27" y="233"/>
                  </a:lnTo>
                  <a:lnTo>
                    <a:pt x="27" y="137"/>
                  </a:lnTo>
                  <a:close/>
                  <a:moveTo>
                    <a:pt x="270" y="137"/>
                  </a:moveTo>
                  <a:lnTo>
                    <a:pt x="317" y="137"/>
                  </a:lnTo>
                  <a:lnTo>
                    <a:pt x="317" y="233"/>
                  </a:lnTo>
                  <a:lnTo>
                    <a:pt x="270" y="233"/>
                  </a:lnTo>
                  <a:lnTo>
                    <a:pt x="270" y="137"/>
                  </a:lnTo>
                  <a:close/>
                  <a:moveTo>
                    <a:pt x="83" y="93"/>
                  </a:moveTo>
                  <a:lnTo>
                    <a:pt x="260" y="93"/>
                  </a:lnTo>
                  <a:lnTo>
                    <a:pt x="260" y="233"/>
                  </a:lnTo>
                  <a:lnTo>
                    <a:pt x="223" y="233"/>
                  </a:lnTo>
                  <a:lnTo>
                    <a:pt x="223" y="152"/>
                  </a:lnTo>
                  <a:lnTo>
                    <a:pt x="236" y="152"/>
                  </a:lnTo>
                  <a:lnTo>
                    <a:pt x="236" y="140"/>
                  </a:lnTo>
                  <a:lnTo>
                    <a:pt x="201" y="140"/>
                  </a:lnTo>
                  <a:lnTo>
                    <a:pt x="201" y="152"/>
                  </a:lnTo>
                  <a:lnTo>
                    <a:pt x="214" y="152"/>
                  </a:lnTo>
                  <a:lnTo>
                    <a:pt x="214" y="233"/>
                  </a:lnTo>
                  <a:lnTo>
                    <a:pt x="177" y="233"/>
                  </a:lnTo>
                  <a:lnTo>
                    <a:pt x="177" y="152"/>
                  </a:lnTo>
                  <a:lnTo>
                    <a:pt x="189" y="152"/>
                  </a:lnTo>
                  <a:lnTo>
                    <a:pt x="189" y="140"/>
                  </a:lnTo>
                  <a:lnTo>
                    <a:pt x="155" y="140"/>
                  </a:lnTo>
                  <a:lnTo>
                    <a:pt x="155" y="152"/>
                  </a:lnTo>
                  <a:lnTo>
                    <a:pt x="167" y="152"/>
                  </a:lnTo>
                  <a:lnTo>
                    <a:pt x="167" y="233"/>
                  </a:lnTo>
                  <a:lnTo>
                    <a:pt x="130" y="233"/>
                  </a:lnTo>
                  <a:lnTo>
                    <a:pt x="130" y="152"/>
                  </a:lnTo>
                  <a:lnTo>
                    <a:pt x="142" y="152"/>
                  </a:lnTo>
                  <a:lnTo>
                    <a:pt x="142" y="140"/>
                  </a:lnTo>
                  <a:lnTo>
                    <a:pt x="108" y="140"/>
                  </a:lnTo>
                  <a:lnTo>
                    <a:pt x="108" y="152"/>
                  </a:lnTo>
                  <a:lnTo>
                    <a:pt x="120" y="152"/>
                  </a:lnTo>
                  <a:lnTo>
                    <a:pt x="120" y="233"/>
                  </a:lnTo>
                  <a:lnTo>
                    <a:pt x="83" y="233"/>
                  </a:lnTo>
                  <a:lnTo>
                    <a:pt x="83" y="93"/>
                  </a:lnTo>
                  <a:close/>
                  <a:moveTo>
                    <a:pt x="66" y="68"/>
                  </a:moveTo>
                  <a:lnTo>
                    <a:pt x="172" y="29"/>
                  </a:lnTo>
                  <a:lnTo>
                    <a:pt x="277" y="68"/>
                  </a:lnTo>
                  <a:lnTo>
                    <a:pt x="277" y="81"/>
                  </a:lnTo>
                  <a:lnTo>
                    <a:pt x="66" y="81"/>
                  </a:lnTo>
                  <a:lnTo>
                    <a:pt x="66" y="68"/>
                  </a:lnTo>
                  <a:close/>
                  <a:moveTo>
                    <a:pt x="167" y="0"/>
                  </a:moveTo>
                  <a:lnTo>
                    <a:pt x="167" y="19"/>
                  </a:lnTo>
                  <a:lnTo>
                    <a:pt x="66" y="56"/>
                  </a:lnTo>
                  <a:lnTo>
                    <a:pt x="66" y="39"/>
                  </a:lnTo>
                  <a:lnTo>
                    <a:pt x="54" y="39"/>
                  </a:lnTo>
                  <a:lnTo>
                    <a:pt x="54" y="88"/>
                  </a:lnTo>
                  <a:lnTo>
                    <a:pt x="54" y="93"/>
                  </a:lnTo>
                  <a:lnTo>
                    <a:pt x="59" y="93"/>
                  </a:lnTo>
                  <a:lnTo>
                    <a:pt x="73" y="93"/>
                  </a:lnTo>
                  <a:lnTo>
                    <a:pt x="73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17" y="137"/>
                  </a:lnTo>
                  <a:lnTo>
                    <a:pt x="17" y="240"/>
                  </a:lnTo>
                  <a:lnTo>
                    <a:pt x="17" y="245"/>
                  </a:lnTo>
                  <a:lnTo>
                    <a:pt x="22" y="245"/>
                  </a:lnTo>
                  <a:lnTo>
                    <a:pt x="322" y="245"/>
                  </a:lnTo>
                  <a:lnTo>
                    <a:pt x="327" y="245"/>
                  </a:lnTo>
                  <a:lnTo>
                    <a:pt x="327" y="240"/>
                  </a:lnTo>
                  <a:lnTo>
                    <a:pt x="327" y="137"/>
                  </a:lnTo>
                  <a:lnTo>
                    <a:pt x="344" y="137"/>
                  </a:lnTo>
                  <a:lnTo>
                    <a:pt x="344" y="125"/>
                  </a:lnTo>
                  <a:lnTo>
                    <a:pt x="270" y="125"/>
                  </a:lnTo>
                  <a:lnTo>
                    <a:pt x="270" y="93"/>
                  </a:lnTo>
                  <a:lnTo>
                    <a:pt x="285" y="93"/>
                  </a:lnTo>
                  <a:lnTo>
                    <a:pt x="290" y="93"/>
                  </a:lnTo>
                  <a:lnTo>
                    <a:pt x="290" y="88"/>
                  </a:lnTo>
                  <a:lnTo>
                    <a:pt x="290" y="39"/>
                  </a:lnTo>
                  <a:lnTo>
                    <a:pt x="277" y="39"/>
                  </a:lnTo>
                  <a:lnTo>
                    <a:pt x="277" y="56"/>
                  </a:lnTo>
                  <a:lnTo>
                    <a:pt x="177" y="19"/>
                  </a:lnTo>
                  <a:lnTo>
                    <a:pt x="177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4935E58-352C-4358-9A75-3C1F70DC5E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9713" y="495300"/>
              <a:ext cx="546100" cy="388938"/>
            </a:xfrm>
            <a:custGeom>
              <a:avLst/>
              <a:gdLst>
                <a:gd name="T0" fmla="*/ 236 w 344"/>
                <a:gd name="T1" fmla="*/ 122 h 245"/>
                <a:gd name="T2" fmla="*/ 108 w 344"/>
                <a:gd name="T3" fmla="*/ 110 h 245"/>
                <a:gd name="T4" fmla="*/ 27 w 344"/>
                <a:gd name="T5" fmla="*/ 137 h 245"/>
                <a:gd name="T6" fmla="*/ 73 w 344"/>
                <a:gd name="T7" fmla="*/ 233 h 245"/>
                <a:gd name="T8" fmla="*/ 27 w 344"/>
                <a:gd name="T9" fmla="*/ 137 h 245"/>
                <a:gd name="T10" fmla="*/ 317 w 344"/>
                <a:gd name="T11" fmla="*/ 137 h 245"/>
                <a:gd name="T12" fmla="*/ 270 w 344"/>
                <a:gd name="T13" fmla="*/ 233 h 245"/>
                <a:gd name="T14" fmla="*/ 83 w 344"/>
                <a:gd name="T15" fmla="*/ 93 h 245"/>
                <a:gd name="T16" fmla="*/ 260 w 344"/>
                <a:gd name="T17" fmla="*/ 233 h 245"/>
                <a:gd name="T18" fmla="*/ 223 w 344"/>
                <a:gd name="T19" fmla="*/ 152 h 245"/>
                <a:gd name="T20" fmla="*/ 236 w 344"/>
                <a:gd name="T21" fmla="*/ 140 h 245"/>
                <a:gd name="T22" fmla="*/ 201 w 344"/>
                <a:gd name="T23" fmla="*/ 152 h 245"/>
                <a:gd name="T24" fmla="*/ 214 w 344"/>
                <a:gd name="T25" fmla="*/ 233 h 245"/>
                <a:gd name="T26" fmla="*/ 177 w 344"/>
                <a:gd name="T27" fmla="*/ 152 h 245"/>
                <a:gd name="T28" fmla="*/ 189 w 344"/>
                <a:gd name="T29" fmla="*/ 140 h 245"/>
                <a:gd name="T30" fmla="*/ 155 w 344"/>
                <a:gd name="T31" fmla="*/ 152 h 245"/>
                <a:gd name="T32" fmla="*/ 167 w 344"/>
                <a:gd name="T33" fmla="*/ 233 h 245"/>
                <a:gd name="T34" fmla="*/ 130 w 344"/>
                <a:gd name="T35" fmla="*/ 152 h 245"/>
                <a:gd name="T36" fmla="*/ 142 w 344"/>
                <a:gd name="T37" fmla="*/ 140 h 245"/>
                <a:gd name="T38" fmla="*/ 108 w 344"/>
                <a:gd name="T39" fmla="*/ 152 h 245"/>
                <a:gd name="T40" fmla="*/ 120 w 344"/>
                <a:gd name="T41" fmla="*/ 233 h 245"/>
                <a:gd name="T42" fmla="*/ 83 w 344"/>
                <a:gd name="T43" fmla="*/ 93 h 245"/>
                <a:gd name="T44" fmla="*/ 172 w 344"/>
                <a:gd name="T45" fmla="*/ 29 h 245"/>
                <a:gd name="T46" fmla="*/ 277 w 344"/>
                <a:gd name="T47" fmla="*/ 81 h 245"/>
                <a:gd name="T48" fmla="*/ 66 w 344"/>
                <a:gd name="T49" fmla="*/ 68 h 245"/>
                <a:gd name="T50" fmla="*/ 167 w 344"/>
                <a:gd name="T51" fmla="*/ 19 h 245"/>
                <a:gd name="T52" fmla="*/ 66 w 344"/>
                <a:gd name="T53" fmla="*/ 39 h 245"/>
                <a:gd name="T54" fmla="*/ 54 w 344"/>
                <a:gd name="T55" fmla="*/ 88 h 245"/>
                <a:gd name="T56" fmla="*/ 59 w 344"/>
                <a:gd name="T57" fmla="*/ 93 h 245"/>
                <a:gd name="T58" fmla="*/ 73 w 344"/>
                <a:gd name="T59" fmla="*/ 125 h 245"/>
                <a:gd name="T60" fmla="*/ 0 w 344"/>
                <a:gd name="T61" fmla="*/ 137 h 245"/>
                <a:gd name="T62" fmla="*/ 17 w 344"/>
                <a:gd name="T63" fmla="*/ 240 h 245"/>
                <a:gd name="T64" fmla="*/ 22 w 344"/>
                <a:gd name="T65" fmla="*/ 245 h 245"/>
                <a:gd name="T66" fmla="*/ 327 w 344"/>
                <a:gd name="T67" fmla="*/ 245 h 245"/>
                <a:gd name="T68" fmla="*/ 327 w 344"/>
                <a:gd name="T69" fmla="*/ 137 h 245"/>
                <a:gd name="T70" fmla="*/ 344 w 344"/>
                <a:gd name="T71" fmla="*/ 125 h 245"/>
                <a:gd name="T72" fmla="*/ 270 w 344"/>
                <a:gd name="T73" fmla="*/ 93 h 245"/>
                <a:gd name="T74" fmla="*/ 290 w 344"/>
                <a:gd name="T75" fmla="*/ 93 h 245"/>
                <a:gd name="T76" fmla="*/ 290 w 344"/>
                <a:gd name="T77" fmla="*/ 39 h 245"/>
                <a:gd name="T78" fmla="*/ 277 w 344"/>
                <a:gd name="T79" fmla="*/ 56 h 245"/>
                <a:gd name="T80" fmla="*/ 177 w 344"/>
                <a:gd name="T8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4" h="245">
                  <a:moveTo>
                    <a:pt x="108" y="122"/>
                  </a:moveTo>
                  <a:lnTo>
                    <a:pt x="236" y="122"/>
                  </a:lnTo>
                  <a:lnTo>
                    <a:pt x="236" y="110"/>
                  </a:lnTo>
                  <a:lnTo>
                    <a:pt x="108" y="110"/>
                  </a:lnTo>
                  <a:lnTo>
                    <a:pt x="108" y="122"/>
                  </a:lnTo>
                  <a:close/>
                  <a:moveTo>
                    <a:pt x="27" y="137"/>
                  </a:moveTo>
                  <a:lnTo>
                    <a:pt x="73" y="137"/>
                  </a:lnTo>
                  <a:lnTo>
                    <a:pt x="73" y="233"/>
                  </a:lnTo>
                  <a:lnTo>
                    <a:pt x="27" y="233"/>
                  </a:lnTo>
                  <a:lnTo>
                    <a:pt x="27" y="137"/>
                  </a:lnTo>
                  <a:close/>
                  <a:moveTo>
                    <a:pt x="270" y="137"/>
                  </a:moveTo>
                  <a:lnTo>
                    <a:pt x="317" y="137"/>
                  </a:lnTo>
                  <a:lnTo>
                    <a:pt x="317" y="233"/>
                  </a:lnTo>
                  <a:lnTo>
                    <a:pt x="270" y="233"/>
                  </a:lnTo>
                  <a:lnTo>
                    <a:pt x="270" y="137"/>
                  </a:lnTo>
                  <a:close/>
                  <a:moveTo>
                    <a:pt x="83" y="93"/>
                  </a:moveTo>
                  <a:lnTo>
                    <a:pt x="260" y="93"/>
                  </a:lnTo>
                  <a:lnTo>
                    <a:pt x="260" y="233"/>
                  </a:lnTo>
                  <a:lnTo>
                    <a:pt x="223" y="233"/>
                  </a:lnTo>
                  <a:lnTo>
                    <a:pt x="223" y="152"/>
                  </a:lnTo>
                  <a:lnTo>
                    <a:pt x="236" y="152"/>
                  </a:lnTo>
                  <a:lnTo>
                    <a:pt x="236" y="140"/>
                  </a:lnTo>
                  <a:lnTo>
                    <a:pt x="201" y="140"/>
                  </a:lnTo>
                  <a:lnTo>
                    <a:pt x="201" y="152"/>
                  </a:lnTo>
                  <a:lnTo>
                    <a:pt x="214" y="152"/>
                  </a:lnTo>
                  <a:lnTo>
                    <a:pt x="214" y="233"/>
                  </a:lnTo>
                  <a:lnTo>
                    <a:pt x="177" y="233"/>
                  </a:lnTo>
                  <a:lnTo>
                    <a:pt x="177" y="152"/>
                  </a:lnTo>
                  <a:lnTo>
                    <a:pt x="189" y="152"/>
                  </a:lnTo>
                  <a:lnTo>
                    <a:pt x="189" y="140"/>
                  </a:lnTo>
                  <a:lnTo>
                    <a:pt x="155" y="140"/>
                  </a:lnTo>
                  <a:lnTo>
                    <a:pt x="155" y="152"/>
                  </a:lnTo>
                  <a:lnTo>
                    <a:pt x="167" y="152"/>
                  </a:lnTo>
                  <a:lnTo>
                    <a:pt x="167" y="233"/>
                  </a:lnTo>
                  <a:lnTo>
                    <a:pt x="130" y="233"/>
                  </a:lnTo>
                  <a:lnTo>
                    <a:pt x="130" y="152"/>
                  </a:lnTo>
                  <a:lnTo>
                    <a:pt x="142" y="152"/>
                  </a:lnTo>
                  <a:lnTo>
                    <a:pt x="142" y="140"/>
                  </a:lnTo>
                  <a:lnTo>
                    <a:pt x="108" y="140"/>
                  </a:lnTo>
                  <a:lnTo>
                    <a:pt x="108" y="152"/>
                  </a:lnTo>
                  <a:lnTo>
                    <a:pt x="120" y="152"/>
                  </a:lnTo>
                  <a:lnTo>
                    <a:pt x="120" y="233"/>
                  </a:lnTo>
                  <a:lnTo>
                    <a:pt x="83" y="233"/>
                  </a:lnTo>
                  <a:lnTo>
                    <a:pt x="83" y="93"/>
                  </a:lnTo>
                  <a:close/>
                  <a:moveTo>
                    <a:pt x="66" y="68"/>
                  </a:moveTo>
                  <a:lnTo>
                    <a:pt x="172" y="29"/>
                  </a:lnTo>
                  <a:lnTo>
                    <a:pt x="277" y="68"/>
                  </a:lnTo>
                  <a:lnTo>
                    <a:pt x="277" y="81"/>
                  </a:lnTo>
                  <a:lnTo>
                    <a:pt x="66" y="81"/>
                  </a:lnTo>
                  <a:lnTo>
                    <a:pt x="66" y="68"/>
                  </a:lnTo>
                  <a:close/>
                  <a:moveTo>
                    <a:pt x="167" y="0"/>
                  </a:moveTo>
                  <a:lnTo>
                    <a:pt x="167" y="19"/>
                  </a:lnTo>
                  <a:lnTo>
                    <a:pt x="66" y="56"/>
                  </a:lnTo>
                  <a:lnTo>
                    <a:pt x="66" y="39"/>
                  </a:lnTo>
                  <a:lnTo>
                    <a:pt x="54" y="39"/>
                  </a:lnTo>
                  <a:lnTo>
                    <a:pt x="54" y="88"/>
                  </a:lnTo>
                  <a:lnTo>
                    <a:pt x="54" y="93"/>
                  </a:lnTo>
                  <a:lnTo>
                    <a:pt x="59" y="93"/>
                  </a:lnTo>
                  <a:lnTo>
                    <a:pt x="73" y="93"/>
                  </a:lnTo>
                  <a:lnTo>
                    <a:pt x="73" y="125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17" y="137"/>
                  </a:lnTo>
                  <a:lnTo>
                    <a:pt x="17" y="240"/>
                  </a:lnTo>
                  <a:lnTo>
                    <a:pt x="17" y="245"/>
                  </a:lnTo>
                  <a:lnTo>
                    <a:pt x="22" y="245"/>
                  </a:lnTo>
                  <a:lnTo>
                    <a:pt x="322" y="245"/>
                  </a:lnTo>
                  <a:lnTo>
                    <a:pt x="327" y="245"/>
                  </a:lnTo>
                  <a:lnTo>
                    <a:pt x="327" y="240"/>
                  </a:lnTo>
                  <a:lnTo>
                    <a:pt x="327" y="137"/>
                  </a:lnTo>
                  <a:lnTo>
                    <a:pt x="344" y="137"/>
                  </a:lnTo>
                  <a:lnTo>
                    <a:pt x="344" y="125"/>
                  </a:lnTo>
                  <a:lnTo>
                    <a:pt x="270" y="125"/>
                  </a:lnTo>
                  <a:lnTo>
                    <a:pt x="270" y="93"/>
                  </a:lnTo>
                  <a:lnTo>
                    <a:pt x="285" y="93"/>
                  </a:lnTo>
                  <a:lnTo>
                    <a:pt x="290" y="93"/>
                  </a:lnTo>
                  <a:lnTo>
                    <a:pt x="290" y="88"/>
                  </a:lnTo>
                  <a:lnTo>
                    <a:pt x="290" y="39"/>
                  </a:lnTo>
                  <a:lnTo>
                    <a:pt x="277" y="39"/>
                  </a:lnTo>
                  <a:lnTo>
                    <a:pt x="277" y="56"/>
                  </a:lnTo>
                  <a:lnTo>
                    <a:pt x="177" y="19"/>
                  </a:lnTo>
                  <a:lnTo>
                    <a:pt x="177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085889C-1132-495A-8CBA-F2B35BAC4F6B}"/>
              </a:ext>
            </a:extLst>
          </p:cNvPr>
          <p:cNvGrpSpPr/>
          <p:nvPr/>
        </p:nvGrpSpPr>
        <p:grpSpPr>
          <a:xfrm>
            <a:off x="347663" y="278606"/>
            <a:ext cx="847724" cy="844551"/>
            <a:chOff x="347663" y="269875"/>
            <a:chExt cx="847724" cy="844551"/>
          </a:xfrm>
        </p:grpSpPr>
        <p:sp>
          <p:nvSpPr>
            <p:cNvPr id="14" name="AutoShape 9">
              <a:extLst>
                <a:ext uri="{FF2B5EF4-FFF2-40B4-BE49-F238E27FC236}">
                  <a16:creationId xmlns:a16="http://schemas.microsoft.com/office/drawing/2014/main" id="{026A2C03-9C71-4568-8F25-2231BB6ABD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7663" y="269875"/>
              <a:ext cx="842962" cy="83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B436B039-562C-41D7-95C6-61F9EADCB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63" y="269875"/>
              <a:ext cx="847724" cy="844551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692782C8-61DD-4917-9088-C19CB8EBA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38" y="298450"/>
              <a:ext cx="790575" cy="78740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1A29CE80-E931-4031-9470-7A69AA934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75" y="473075"/>
              <a:ext cx="569912" cy="404813"/>
            </a:xfrm>
            <a:custGeom>
              <a:avLst/>
              <a:gdLst>
                <a:gd name="T0" fmla="*/ 246 w 359"/>
                <a:gd name="T1" fmla="*/ 127 h 255"/>
                <a:gd name="T2" fmla="*/ 113 w 359"/>
                <a:gd name="T3" fmla="*/ 115 h 255"/>
                <a:gd name="T4" fmla="*/ 28 w 359"/>
                <a:gd name="T5" fmla="*/ 143 h 255"/>
                <a:gd name="T6" fmla="*/ 77 w 359"/>
                <a:gd name="T7" fmla="*/ 242 h 255"/>
                <a:gd name="T8" fmla="*/ 28 w 359"/>
                <a:gd name="T9" fmla="*/ 143 h 255"/>
                <a:gd name="T10" fmla="*/ 331 w 359"/>
                <a:gd name="T11" fmla="*/ 143 h 255"/>
                <a:gd name="T12" fmla="*/ 282 w 359"/>
                <a:gd name="T13" fmla="*/ 242 h 255"/>
                <a:gd name="T14" fmla="*/ 87 w 359"/>
                <a:gd name="T15" fmla="*/ 97 h 255"/>
                <a:gd name="T16" fmla="*/ 272 w 359"/>
                <a:gd name="T17" fmla="*/ 242 h 255"/>
                <a:gd name="T18" fmla="*/ 234 w 359"/>
                <a:gd name="T19" fmla="*/ 158 h 255"/>
                <a:gd name="T20" fmla="*/ 246 w 359"/>
                <a:gd name="T21" fmla="*/ 145 h 255"/>
                <a:gd name="T22" fmla="*/ 210 w 359"/>
                <a:gd name="T23" fmla="*/ 158 h 255"/>
                <a:gd name="T24" fmla="*/ 223 w 359"/>
                <a:gd name="T25" fmla="*/ 242 h 255"/>
                <a:gd name="T26" fmla="*/ 185 w 359"/>
                <a:gd name="T27" fmla="*/ 158 h 255"/>
                <a:gd name="T28" fmla="*/ 198 w 359"/>
                <a:gd name="T29" fmla="*/ 145 h 255"/>
                <a:gd name="T30" fmla="*/ 162 w 359"/>
                <a:gd name="T31" fmla="*/ 158 h 255"/>
                <a:gd name="T32" fmla="*/ 175 w 359"/>
                <a:gd name="T33" fmla="*/ 242 h 255"/>
                <a:gd name="T34" fmla="*/ 136 w 359"/>
                <a:gd name="T35" fmla="*/ 158 h 255"/>
                <a:gd name="T36" fmla="*/ 149 w 359"/>
                <a:gd name="T37" fmla="*/ 145 h 255"/>
                <a:gd name="T38" fmla="*/ 113 w 359"/>
                <a:gd name="T39" fmla="*/ 158 h 255"/>
                <a:gd name="T40" fmla="*/ 126 w 359"/>
                <a:gd name="T41" fmla="*/ 242 h 255"/>
                <a:gd name="T42" fmla="*/ 87 w 359"/>
                <a:gd name="T43" fmla="*/ 97 h 255"/>
                <a:gd name="T44" fmla="*/ 180 w 359"/>
                <a:gd name="T45" fmla="*/ 30 h 255"/>
                <a:gd name="T46" fmla="*/ 290 w 359"/>
                <a:gd name="T47" fmla="*/ 84 h 255"/>
                <a:gd name="T48" fmla="*/ 69 w 359"/>
                <a:gd name="T49" fmla="*/ 71 h 255"/>
                <a:gd name="T50" fmla="*/ 175 w 359"/>
                <a:gd name="T51" fmla="*/ 20 h 255"/>
                <a:gd name="T52" fmla="*/ 69 w 359"/>
                <a:gd name="T53" fmla="*/ 41 h 255"/>
                <a:gd name="T54" fmla="*/ 57 w 359"/>
                <a:gd name="T55" fmla="*/ 92 h 255"/>
                <a:gd name="T56" fmla="*/ 62 w 359"/>
                <a:gd name="T57" fmla="*/ 97 h 255"/>
                <a:gd name="T58" fmla="*/ 77 w 359"/>
                <a:gd name="T59" fmla="*/ 130 h 255"/>
                <a:gd name="T60" fmla="*/ 0 w 359"/>
                <a:gd name="T61" fmla="*/ 143 h 255"/>
                <a:gd name="T62" fmla="*/ 18 w 359"/>
                <a:gd name="T63" fmla="*/ 250 h 255"/>
                <a:gd name="T64" fmla="*/ 23 w 359"/>
                <a:gd name="T65" fmla="*/ 255 h 255"/>
                <a:gd name="T66" fmla="*/ 341 w 359"/>
                <a:gd name="T67" fmla="*/ 255 h 255"/>
                <a:gd name="T68" fmla="*/ 341 w 359"/>
                <a:gd name="T69" fmla="*/ 143 h 255"/>
                <a:gd name="T70" fmla="*/ 359 w 359"/>
                <a:gd name="T71" fmla="*/ 130 h 255"/>
                <a:gd name="T72" fmla="*/ 282 w 359"/>
                <a:gd name="T73" fmla="*/ 97 h 255"/>
                <a:gd name="T74" fmla="*/ 303 w 359"/>
                <a:gd name="T75" fmla="*/ 97 h 255"/>
                <a:gd name="T76" fmla="*/ 303 w 359"/>
                <a:gd name="T77" fmla="*/ 41 h 255"/>
                <a:gd name="T78" fmla="*/ 290 w 359"/>
                <a:gd name="T79" fmla="*/ 58 h 255"/>
                <a:gd name="T80" fmla="*/ 185 w 359"/>
                <a:gd name="T81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9" h="255">
                  <a:moveTo>
                    <a:pt x="113" y="127"/>
                  </a:moveTo>
                  <a:lnTo>
                    <a:pt x="246" y="127"/>
                  </a:lnTo>
                  <a:lnTo>
                    <a:pt x="246" y="115"/>
                  </a:lnTo>
                  <a:lnTo>
                    <a:pt x="113" y="115"/>
                  </a:lnTo>
                  <a:lnTo>
                    <a:pt x="113" y="127"/>
                  </a:lnTo>
                  <a:close/>
                  <a:moveTo>
                    <a:pt x="28" y="143"/>
                  </a:moveTo>
                  <a:lnTo>
                    <a:pt x="77" y="143"/>
                  </a:lnTo>
                  <a:lnTo>
                    <a:pt x="77" y="242"/>
                  </a:lnTo>
                  <a:lnTo>
                    <a:pt x="28" y="242"/>
                  </a:lnTo>
                  <a:lnTo>
                    <a:pt x="28" y="143"/>
                  </a:lnTo>
                  <a:close/>
                  <a:moveTo>
                    <a:pt x="282" y="143"/>
                  </a:moveTo>
                  <a:lnTo>
                    <a:pt x="331" y="143"/>
                  </a:lnTo>
                  <a:lnTo>
                    <a:pt x="331" y="242"/>
                  </a:lnTo>
                  <a:lnTo>
                    <a:pt x="282" y="242"/>
                  </a:lnTo>
                  <a:lnTo>
                    <a:pt x="282" y="143"/>
                  </a:lnTo>
                  <a:close/>
                  <a:moveTo>
                    <a:pt x="87" y="97"/>
                  </a:moveTo>
                  <a:lnTo>
                    <a:pt x="272" y="97"/>
                  </a:lnTo>
                  <a:lnTo>
                    <a:pt x="272" y="242"/>
                  </a:lnTo>
                  <a:lnTo>
                    <a:pt x="234" y="242"/>
                  </a:lnTo>
                  <a:lnTo>
                    <a:pt x="234" y="158"/>
                  </a:lnTo>
                  <a:lnTo>
                    <a:pt x="246" y="158"/>
                  </a:lnTo>
                  <a:lnTo>
                    <a:pt x="246" y="145"/>
                  </a:lnTo>
                  <a:lnTo>
                    <a:pt x="210" y="145"/>
                  </a:lnTo>
                  <a:lnTo>
                    <a:pt x="210" y="158"/>
                  </a:lnTo>
                  <a:lnTo>
                    <a:pt x="223" y="158"/>
                  </a:lnTo>
                  <a:lnTo>
                    <a:pt x="223" y="242"/>
                  </a:lnTo>
                  <a:lnTo>
                    <a:pt x="185" y="242"/>
                  </a:lnTo>
                  <a:lnTo>
                    <a:pt x="185" y="158"/>
                  </a:lnTo>
                  <a:lnTo>
                    <a:pt x="198" y="158"/>
                  </a:lnTo>
                  <a:lnTo>
                    <a:pt x="198" y="145"/>
                  </a:lnTo>
                  <a:lnTo>
                    <a:pt x="162" y="145"/>
                  </a:lnTo>
                  <a:lnTo>
                    <a:pt x="162" y="158"/>
                  </a:lnTo>
                  <a:lnTo>
                    <a:pt x="175" y="158"/>
                  </a:lnTo>
                  <a:lnTo>
                    <a:pt x="175" y="242"/>
                  </a:lnTo>
                  <a:lnTo>
                    <a:pt x="136" y="242"/>
                  </a:lnTo>
                  <a:lnTo>
                    <a:pt x="136" y="158"/>
                  </a:lnTo>
                  <a:lnTo>
                    <a:pt x="149" y="158"/>
                  </a:lnTo>
                  <a:lnTo>
                    <a:pt x="149" y="145"/>
                  </a:lnTo>
                  <a:lnTo>
                    <a:pt x="113" y="145"/>
                  </a:lnTo>
                  <a:lnTo>
                    <a:pt x="113" y="158"/>
                  </a:lnTo>
                  <a:lnTo>
                    <a:pt x="126" y="158"/>
                  </a:lnTo>
                  <a:lnTo>
                    <a:pt x="126" y="242"/>
                  </a:lnTo>
                  <a:lnTo>
                    <a:pt x="87" y="242"/>
                  </a:lnTo>
                  <a:lnTo>
                    <a:pt x="87" y="97"/>
                  </a:lnTo>
                  <a:close/>
                  <a:moveTo>
                    <a:pt x="69" y="71"/>
                  </a:moveTo>
                  <a:lnTo>
                    <a:pt x="180" y="30"/>
                  </a:lnTo>
                  <a:lnTo>
                    <a:pt x="290" y="71"/>
                  </a:lnTo>
                  <a:lnTo>
                    <a:pt x="290" y="84"/>
                  </a:lnTo>
                  <a:lnTo>
                    <a:pt x="69" y="84"/>
                  </a:lnTo>
                  <a:lnTo>
                    <a:pt x="69" y="71"/>
                  </a:lnTo>
                  <a:close/>
                  <a:moveTo>
                    <a:pt x="175" y="0"/>
                  </a:moveTo>
                  <a:lnTo>
                    <a:pt x="175" y="20"/>
                  </a:lnTo>
                  <a:lnTo>
                    <a:pt x="69" y="58"/>
                  </a:lnTo>
                  <a:lnTo>
                    <a:pt x="69" y="41"/>
                  </a:lnTo>
                  <a:lnTo>
                    <a:pt x="57" y="41"/>
                  </a:lnTo>
                  <a:lnTo>
                    <a:pt x="57" y="92"/>
                  </a:lnTo>
                  <a:lnTo>
                    <a:pt x="57" y="97"/>
                  </a:lnTo>
                  <a:lnTo>
                    <a:pt x="62" y="97"/>
                  </a:lnTo>
                  <a:lnTo>
                    <a:pt x="77" y="97"/>
                  </a:lnTo>
                  <a:lnTo>
                    <a:pt x="77" y="130"/>
                  </a:lnTo>
                  <a:lnTo>
                    <a:pt x="0" y="130"/>
                  </a:lnTo>
                  <a:lnTo>
                    <a:pt x="0" y="143"/>
                  </a:lnTo>
                  <a:lnTo>
                    <a:pt x="18" y="143"/>
                  </a:lnTo>
                  <a:lnTo>
                    <a:pt x="18" y="250"/>
                  </a:lnTo>
                  <a:lnTo>
                    <a:pt x="18" y="255"/>
                  </a:lnTo>
                  <a:lnTo>
                    <a:pt x="23" y="255"/>
                  </a:lnTo>
                  <a:lnTo>
                    <a:pt x="336" y="255"/>
                  </a:lnTo>
                  <a:lnTo>
                    <a:pt x="341" y="255"/>
                  </a:lnTo>
                  <a:lnTo>
                    <a:pt x="341" y="250"/>
                  </a:lnTo>
                  <a:lnTo>
                    <a:pt x="341" y="143"/>
                  </a:lnTo>
                  <a:lnTo>
                    <a:pt x="359" y="143"/>
                  </a:lnTo>
                  <a:lnTo>
                    <a:pt x="359" y="130"/>
                  </a:lnTo>
                  <a:lnTo>
                    <a:pt x="282" y="130"/>
                  </a:lnTo>
                  <a:lnTo>
                    <a:pt x="282" y="97"/>
                  </a:lnTo>
                  <a:lnTo>
                    <a:pt x="298" y="97"/>
                  </a:lnTo>
                  <a:lnTo>
                    <a:pt x="303" y="97"/>
                  </a:lnTo>
                  <a:lnTo>
                    <a:pt x="303" y="92"/>
                  </a:lnTo>
                  <a:lnTo>
                    <a:pt x="303" y="41"/>
                  </a:lnTo>
                  <a:lnTo>
                    <a:pt x="290" y="41"/>
                  </a:lnTo>
                  <a:lnTo>
                    <a:pt x="290" y="58"/>
                  </a:lnTo>
                  <a:lnTo>
                    <a:pt x="185" y="20"/>
                  </a:lnTo>
                  <a:lnTo>
                    <a:pt x="185" y="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F216949-BF28-4504-9FD1-09E859342791}"/>
              </a:ext>
            </a:extLst>
          </p:cNvPr>
          <p:cNvGrpSpPr/>
          <p:nvPr/>
        </p:nvGrpSpPr>
        <p:grpSpPr>
          <a:xfrm>
            <a:off x="3619500" y="321469"/>
            <a:ext cx="758825" cy="758825"/>
            <a:chOff x="3619500" y="327025"/>
            <a:chExt cx="758825" cy="758825"/>
          </a:xfrm>
        </p:grpSpPr>
        <p:sp>
          <p:nvSpPr>
            <p:cNvPr id="22" name="AutoShape 15">
              <a:extLst>
                <a:ext uri="{FF2B5EF4-FFF2-40B4-BE49-F238E27FC236}">
                  <a16:creationId xmlns:a16="http://schemas.microsoft.com/office/drawing/2014/main" id="{D4D9C174-6638-49CB-B208-09E5386152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9500" y="327025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1DCB150E-9922-4A4C-9565-252AF1100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2675" y="330200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56E686D7-5028-4C20-9196-D92830E1A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463550"/>
              <a:ext cx="498475" cy="427038"/>
            </a:xfrm>
            <a:custGeom>
              <a:avLst/>
              <a:gdLst>
                <a:gd name="T0" fmla="*/ 113 w 314"/>
                <a:gd name="T1" fmla="*/ 203 h 269"/>
                <a:gd name="T2" fmla="*/ 143 w 314"/>
                <a:gd name="T3" fmla="*/ 191 h 269"/>
                <a:gd name="T4" fmla="*/ 103 w 314"/>
                <a:gd name="T5" fmla="*/ 198 h 269"/>
                <a:gd name="T6" fmla="*/ 108 w 314"/>
                <a:gd name="T7" fmla="*/ 238 h 269"/>
                <a:gd name="T8" fmla="*/ 147 w 314"/>
                <a:gd name="T9" fmla="*/ 233 h 269"/>
                <a:gd name="T10" fmla="*/ 143 w 314"/>
                <a:gd name="T11" fmla="*/ 191 h 269"/>
                <a:gd name="T12" fmla="*/ 177 w 314"/>
                <a:gd name="T13" fmla="*/ 203 h 269"/>
                <a:gd name="T14" fmla="*/ 206 w 314"/>
                <a:gd name="T15" fmla="*/ 191 h 269"/>
                <a:gd name="T16" fmla="*/ 167 w 314"/>
                <a:gd name="T17" fmla="*/ 198 h 269"/>
                <a:gd name="T18" fmla="*/ 172 w 314"/>
                <a:gd name="T19" fmla="*/ 238 h 269"/>
                <a:gd name="T20" fmla="*/ 211 w 314"/>
                <a:gd name="T21" fmla="*/ 233 h 269"/>
                <a:gd name="T22" fmla="*/ 206 w 314"/>
                <a:gd name="T23" fmla="*/ 191 h 269"/>
                <a:gd name="T24" fmla="*/ 113 w 314"/>
                <a:gd name="T25" fmla="*/ 140 h 269"/>
                <a:gd name="T26" fmla="*/ 143 w 314"/>
                <a:gd name="T27" fmla="*/ 127 h 269"/>
                <a:gd name="T28" fmla="*/ 103 w 314"/>
                <a:gd name="T29" fmla="*/ 135 h 269"/>
                <a:gd name="T30" fmla="*/ 108 w 314"/>
                <a:gd name="T31" fmla="*/ 174 h 269"/>
                <a:gd name="T32" fmla="*/ 147 w 314"/>
                <a:gd name="T33" fmla="*/ 169 h 269"/>
                <a:gd name="T34" fmla="*/ 143 w 314"/>
                <a:gd name="T35" fmla="*/ 127 h 269"/>
                <a:gd name="T36" fmla="*/ 177 w 314"/>
                <a:gd name="T37" fmla="*/ 140 h 269"/>
                <a:gd name="T38" fmla="*/ 206 w 314"/>
                <a:gd name="T39" fmla="*/ 127 h 269"/>
                <a:gd name="T40" fmla="*/ 167 w 314"/>
                <a:gd name="T41" fmla="*/ 135 h 269"/>
                <a:gd name="T42" fmla="*/ 172 w 314"/>
                <a:gd name="T43" fmla="*/ 174 h 269"/>
                <a:gd name="T44" fmla="*/ 211 w 314"/>
                <a:gd name="T45" fmla="*/ 169 h 269"/>
                <a:gd name="T46" fmla="*/ 206 w 314"/>
                <a:gd name="T47" fmla="*/ 127 h 269"/>
                <a:gd name="T48" fmla="*/ 74 w 314"/>
                <a:gd name="T49" fmla="*/ 260 h 269"/>
                <a:gd name="T50" fmla="*/ 241 w 314"/>
                <a:gd name="T51" fmla="*/ 140 h 269"/>
                <a:gd name="T52" fmla="*/ 241 w 314"/>
                <a:gd name="T53" fmla="*/ 260 h 269"/>
                <a:gd name="T54" fmla="*/ 108 w 314"/>
                <a:gd name="T55" fmla="*/ 108 h 269"/>
                <a:gd name="T56" fmla="*/ 157 w 314"/>
                <a:gd name="T57" fmla="*/ 68 h 269"/>
                <a:gd name="T58" fmla="*/ 206 w 314"/>
                <a:gd name="T59" fmla="*/ 108 h 269"/>
                <a:gd name="T60" fmla="*/ 84 w 314"/>
                <a:gd name="T61" fmla="*/ 260 h 269"/>
                <a:gd name="T62" fmla="*/ 189 w 314"/>
                <a:gd name="T63" fmla="*/ 10 h 269"/>
                <a:gd name="T64" fmla="*/ 162 w 314"/>
                <a:gd name="T65" fmla="*/ 10 h 269"/>
                <a:gd name="T66" fmla="*/ 152 w 314"/>
                <a:gd name="T67" fmla="*/ 59 h 269"/>
                <a:gd name="T68" fmla="*/ 74 w 314"/>
                <a:gd name="T69" fmla="*/ 95 h 269"/>
                <a:gd name="T70" fmla="*/ 8 w 314"/>
                <a:gd name="T71" fmla="*/ 127 h 269"/>
                <a:gd name="T72" fmla="*/ 0 w 314"/>
                <a:gd name="T73" fmla="*/ 265 h 269"/>
                <a:gd name="T74" fmla="*/ 307 w 314"/>
                <a:gd name="T75" fmla="*/ 269 h 269"/>
                <a:gd name="T76" fmla="*/ 307 w 314"/>
                <a:gd name="T77" fmla="*/ 127 h 269"/>
                <a:gd name="T78" fmla="*/ 241 w 314"/>
                <a:gd name="T79" fmla="*/ 95 h 269"/>
                <a:gd name="T80" fmla="*/ 162 w 314"/>
                <a:gd name="T81" fmla="*/ 59 h 269"/>
                <a:gd name="T82" fmla="*/ 201 w 314"/>
                <a:gd name="T83" fmla="*/ 39 h 269"/>
                <a:gd name="T84" fmla="*/ 201 w 314"/>
                <a:gd name="T8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4" h="269">
                  <a:moveTo>
                    <a:pt x="138" y="225"/>
                  </a:moveTo>
                  <a:lnTo>
                    <a:pt x="113" y="225"/>
                  </a:lnTo>
                  <a:lnTo>
                    <a:pt x="113" y="203"/>
                  </a:lnTo>
                  <a:lnTo>
                    <a:pt x="138" y="203"/>
                  </a:lnTo>
                  <a:lnTo>
                    <a:pt x="138" y="225"/>
                  </a:lnTo>
                  <a:close/>
                  <a:moveTo>
                    <a:pt x="143" y="191"/>
                  </a:moveTo>
                  <a:lnTo>
                    <a:pt x="108" y="191"/>
                  </a:lnTo>
                  <a:lnTo>
                    <a:pt x="103" y="191"/>
                  </a:lnTo>
                  <a:lnTo>
                    <a:pt x="103" y="198"/>
                  </a:lnTo>
                  <a:lnTo>
                    <a:pt x="103" y="233"/>
                  </a:lnTo>
                  <a:lnTo>
                    <a:pt x="103" y="238"/>
                  </a:lnTo>
                  <a:lnTo>
                    <a:pt x="108" y="238"/>
                  </a:lnTo>
                  <a:lnTo>
                    <a:pt x="143" y="238"/>
                  </a:lnTo>
                  <a:lnTo>
                    <a:pt x="147" y="238"/>
                  </a:lnTo>
                  <a:lnTo>
                    <a:pt x="147" y="233"/>
                  </a:lnTo>
                  <a:lnTo>
                    <a:pt x="147" y="198"/>
                  </a:lnTo>
                  <a:lnTo>
                    <a:pt x="147" y="191"/>
                  </a:lnTo>
                  <a:lnTo>
                    <a:pt x="143" y="191"/>
                  </a:lnTo>
                  <a:close/>
                  <a:moveTo>
                    <a:pt x="201" y="225"/>
                  </a:moveTo>
                  <a:lnTo>
                    <a:pt x="177" y="225"/>
                  </a:lnTo>
                  <a:lnTo>
                    <a:pt x="177" y="203"/>
                  </a:lnTo>
                  <a:lnTo>
                    <a:pt x="201" y="203"/>
                  </a:lnTo>
                  <a:lnTo>
                    <a:pt x="201" y="225"/>
                  </a:lnTo>
                  <a:close/>
                  <a:moveTo>
                    <a:pt x="206" y="191"/>
                  </a:moveTo>
                  <a:lnTo>
                    <a:pt x="172" y="191"/>
                  </a:lnTo>
                  <a:lnTo>
                    <a:pt x="167" y="191"/>
                  </a:lnTo>
                  <a:lnTo>
                    <a:pt x="167" y="198"/>
                  </a:lnTo>
                  <a:lnTo>
                    <a:pt x="167" y="233"/>
                  </a:lnTo>
                  <a:lnTo>
                    <a:pt x="167" y="238"/>
                  </a:lnTo>
                  <a:lnTo>
                    <a:pt x="172" y="238"/>
                  </a:lnTo>
                  <a:lnTo>
                    <a:pt x="206" y="238"/>
                  </a:lnTo>
                  <a:lnTo>
                    <a:pt x="211" y="238"/>
                  </a:lnTo>
                  <a:lnTo>
                    <a:pt x="211" y="233"/>
                  </a:lnTo>
                  <a:lnTo>
                    <a:pt x="211" y="198"/>
                  </a:lnTo>
                  <a:lnTo>
                    <a:pt x="211" y="191"/>
                  </a:lnTo>
                  <a:lnTo>
                    <a:pt x="206" y="191"/>
                  </a:lnTo>
                  <a:close/>
                  <a:moveTo>
                    <a:pt x="138" y="164"/>
                  </a:moveTo>
                  <a:lnTo>
                    <a:pt x="113" y="164"/>
                  </a:lnTo>
                  <a:lnTo>
                    <a:pt x="113" y="140"/>
                  </a:lnTo>
                  <a:lnTo>
                    <a:pt x="138" y="140"/>
                  </a:lnTo>
                  <a:lnTo>
                    <a:pt x="138" y="164"/>
                  </a:lnTo>
                  <a:close/>
                  <a:moveTo>
                    <a:pt x="143" y="127"/>
                  </a:moveTo>
                  <a:lnTo>
                    <a:pt x="108" y="127"/>
                  </a:lnTo>
                  <a:lnTo>
                    <a:pt x="103" y="127"/>
                  </a:lnTo>
                  <a:lnTo>
                    <a:pt x="103" y="135"/>
                  </a:lnTo>
                  <a:lnTo>
                    <a:pt x="103" y="169"/>
                  </a:lnTo>
                  <a:lnTo>
                    <a:pt x="103" y="174"/>
                  </a:lnTo>
                  <a:lnTo>
                    <a:pt x="108" y="174"/>
                  </a:lnTo>
                  <a:lnTo>
                    <a:pt x="143" y="174"/>
                  </a:lnTo>
                  <a:lnTo>
                    <a:pt x="147" y="174"/>
                  </a:lnTo>
                  <a:lnTo>
                    <a:pt x="147" y="169"/>
                  </a:lnTo>
                  <a:lnTo>
                    <a:pt x="147" y="135"/>
                  </a:lnTo>
                  <a:lnTo>
                    <a:pt x="147" y="127"/>
                  </a:lnTo>
                  <a:lnTo>
                    <a:pt x="143" y="127"/>
                  </a:lnTo>
                  <a:close/>
                  <a:moveTo>
                    <a:pt x="201" y="164"/>
                  </a:moveTo>
                  <a:lnTo>
                    <a:pt x="177" y="164"/>
                  </a:lnTo>
                  <a:lnTo>
                    <a:pt x="177" y="140"/>
                  </a:lnTo>
                  <a:lnTo>
                    <a:pt x="201" y="140"/>
                  </a:lnTo>
                  <a:lnTo>
                    <a:pt x="201" y="164"/>
                  </a:lnTo>
                  <a:close/>
                  <a:moveTo>
                    <a:pt x="206" y="127"/>
                  </a:moveTo>
                  <a:lnTo>
                    <a:pt x="172" y="127"/>
                  </a:lnTo>
                  <a:lnTo>
                    <a:pt x="167" y="127"/>
                  </a:lnTo>
                  <a:lnTo>
                    <a:pt x="167" y="135"/>
                  </a:lnTo>
                  <a:lnTo>
                    <a:pt x="167" y="169"/>
                  </a:lnTo>
                  <a:lnTo>
                    <a:pt x="167" y="174"/>
                  </a:lnTo>
                  <a:lnTo>
                    <a:pt x="172" y="174"/>
                  </a:lnTo>
                  <a:lnTo>
                    <a:pt x="206" y="174"/>
                  </a:lnTo>
                  <a:lnTo>
                    <a:pt x="211" y="174"/>
                  </a:lnTo>
                  <a:lnTo>
                    <a:pt x="211" y="169"/>
                  </a:lnTo>
                  <a:lnTo>
                    <a:pt x="211" y="135"/>
                  </a:lnTo>
                  <a:lnTo>
                    <a:pt x="211" y="127"/>
                  </a:lnTo>
                  <a:lnTo>
                    <a:pt x="206" y="127"/>
                  </a:lnTo>
                  <a:close/>
                  <a:moveTo>
                    <a:pt x="13" y="140"/>
                  </a:moveTo>
                  <a:lnTo>
                    <a:pt x="74" y="140"/>
                  </a:lnTo>
                  <a:lnTo>
                    <a:pt x="74" y="260"/>
                  </a:lnTo>
                  <a:lnTo>
                    <a:pt x="13" y="260"/>
                  </a:lnTo>
                  <a:lnTo>
                    <a:pt x="13" y="140"/>
                  </a:lnTo>
                  <a:close/>
                  <a:moveTo>
                    <a:pt x="241" y="140"/>
                  </a:moveTo>
                  <a:lnTo>
                    <a:pt x="302" y="140"/>
                  </a:lnTo>
                  <a:lnTo>
                    <a:pt x="302" y="260"/>
                  </a:lnTo>
                  <a:lnTo>
                    <a:pt x="241" y="260"/>
                  </a:lnTo>
                  <a:lnTo>
                    <a:pt x="241" y="140"/>
                  </a:lnTo>
                  <a:close/>
                  <a:moveTo>
                    <a:pt x="84" y="108"/>
                  </a:moveTo>
                  <a:lnTo>
                    <a:pt x="108" y="108"/>
                  </a:lnTo>
                  <a:lnTo>
                    <a:pt x="108" y="108"/>
                  </a:lnTo>
                  <a:lnTo>
                    <a:pt x="111" y="105"/>
                  </a:lnTo>
                  <a:lnTo>
                    <a:pt x="157" y="68"/>
                  </a:lnTo>
                  <a:lnTo>
                    <a:pt x="204" y="105"/>
                  </a:lnTo>
                  <a:lnTo>
                    <a:pt x="206" y="108"/>
                  </a:lnTo>
                  <a:lnTo>
                    <a:pt x="206" y="108"/>
                  </a:lnTo>
                  <a:lnTo>
                    <a:pt x="231" y="108"/>
                  </a:lnTo>
                  <a:lnTo>
                    <a:pt x="231" y="260"/>
                  </a:lnTo>
                  <a:lnTo>
                    <a:pt x="84" y="260"/>
                  </a:lnTo>
                  <a:lnTo>
                    <a:pt x="84" y="108"/>
                  </a:lnTo>
                  <a:close/>
                  <a:moveTo>
                    <a:pt x="162" y="10"/>
                  </a:moveTo>
                  <a:lnTo>
                    <a:pt x="189" y="10"/>
                  </a:lnTo>
                  <a:lnTo>
                    <a:pt x="189" y="29"/>
                  </a:lnTo>
                  <a:lnTo>
                    <a:pt x="162" y="29"/>
                  </a:lnTo>
                  <a:lnTo>
                    <a:pt x="162" y="10"/>
                  </a:lnTo>
                  <a:close/>
                  <a:moveTo>
                    <a:pt x="152" y="0"/>
                  </a:moveTo>
                  <a:lnTo>
                    <a:pt x="152" y="5"/>
                  </a:lnTo>
                  <a:lnTo>
                    <a:pt x="152" y="59"/>
                  </a:lnTo>
                  <a:lnTo>
                    <a:pt x="106" y="95"/>
                  </a:lnTo>
                  <a:lnTo>
                    <a:pt x="79" y="95"/>
                  </a:lnTo>
                  <a:lnTo>
                    <a:pt x="74" y="95"/>
                  </a:lnTo>
                  <a:lnTo>
                    <a:pt x="74" y="103"/>
                  </a:lnTo>
                  <a:lnTo>
                    <a:pt x="74" y="127"/>
                  </a:lnTo>
                  <a:lnTo>
                    <a:pt x="8" y="127"/>
                  </a:lnTo>
                  <a:lnTo>
                    <a:pt x="0" y="127"/>
                  </a:lnTo>
                  <a:lnTo>
                    <a:pt x="0" y="135"/>
                  </a:lnTo>
                  <a:lnTo>
                    <a:pt x="0" y="265"/>
                  </a:lnTo>
                  <a:lnTo>
                    <a:pt x="0" y="269"/>
                  </a:lnTo>
                  <a:lnTo>
                    <a:pt x="8" y="269"/>
                  </a:lnTo>
                  <a:lnTo>
                    <a:pt x="307" y="269"/>
                  </a:lnTo>
                  <a:lnTo>
                    <a:pt x="314" y="269"/>
                  </a:lnTo>
                  <a:lnTo>
                    <a:pt x="314" y="127"/>
                  </a:lnTo>
                  <a:lnTo>
                    <a:pt x="307" y="127"/>
                  </a:lnTo>
                  <a:lnTo>
                    <a:pt x="241" y="127"/>
                  </a:lnTo>
                  <a:lnTo>
                    <a:pt x="241" y="103"/>
                  </a:lnTo>
                  <a:lnTo>
                    <a:pt x="241" y="95"/>
                  </a:lnTo>
                  <a:lnTo>
                    <a:pt x="236" y="95"/>
                  </a:lnTo>
                  <a:lnTo>
                    <a:pt x="209" y="95"/>
                  </a:lnTo>
                  <a:lnTo>
                    <a:pt x="162" y="59"/>
                  </a:lnTo>
                  <a:lnTo>
                    <a:pt x="162" y="39"/>
                  </a:lnTo>
                  <a:lnTo>
                    <a:pt x="194" y="39"/>
                  </a:lnTo>
                  <a:lnTo>
                    <a:pt x="201" y="39"/>
                  </a:lnTo>
                  <a:lnTo>
                    <a:pt x="201" y="34"/>
                  </a:lnTo>
                  <a:lnTo>
                    <a:pt x="201" y="5"/>
                  </a:lnTo>
                  <a:lnTo>
                    <a:pt x="201" y="0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ECC7969-A76A-40B2-99C6-11A79EBCE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263" y="463550"/>
              <a:ext cx="498475" cy="427038"/>
            </a:xfrm>
            <a:custGeom>
              <a:avLst/>
              <a:gdLst>
                <a:gd name="T0" fmla="*/ 113 w 314"/>
                <a:gd name="T1" fmla="*/ 203 h 269"/>
                <a:gd name="T2" fmla="*/ 143 w 314"/>
                <a:gd name="T3" fmla="*/ 191 h 269"/>
                <a:gd name="T4" fmla="*/ 103 w 314"/>
                <a:gd name="T5" fmla="*/ 198 h 269"/>
                <a:gd name="T6" fmla="*/ 108 w 314"/>
                <a:gd name="T7" fmla="*/ 238 h 269"/>
                <a:gd name="T8" fmla="*/ 147 w 314"/>
                <a:gd name="T9" fmla="*/ 233 h 269"/>
                <a:gd name="T10" fmla="*/ 143 w 314"/>
                <a:gd name="T11" fmla="*/ 191 h 269"/>
                <a:gd name="T12" fmla="*/ 177 w 314"/>
                <a:gd name="T13" fmla="*/ 203 h 269"/>
                <a:gd name="T14" fmla="*/ 206 w 314"/>
                <a:gd name="T15" fmla="*/ 191 h 269"/>
                <a:gd name="T16" fmla="*/ 167 w 314"/>
                <a:gd name="T17" fmla="*/ 198 h 269"/>
                <a:gd name="T18" fmla="*/ 172 w 314"/>
                <a:gd name="T19" fmla="*/ 238 h 269"/>
                <a:gd name="T20" fmla="*/ 211 w 314"/>
                <a:gd name="T21" fmla="*/ 233 h 269"/>
                <a:gd name="T22" fmla="*/ 206 w 314"/>
                <a:gd name="T23" fmla="*/ 191 h 269"/>
                <a:gd name="T24" fmla="*/ 113 w 314"/>
                <a:gd name="T25" fmla="*/ 140 h 269"/>
                <a:gd name="T26" fmla="*/ 143 w 314"/>
                <a:gd name="T27" fmla="*/ 127 h 269"/>
                <a:gd name="T28" fmla="*/ 103 w 314"/>
                <a:gd name="T29" fmla="*/ 135 h 269"/>
                <a:gd name="T30" fmla="*/ 108 w 314"/>
                <a:gd name="T31" fmla="*/ 174 h 269"/>
                <a:gd name="T32" fmla="*/ 147 w 314"/>
                <a:gd name="T33" fmla="*/ 169 h 269"/>
                <a:gd name="T34" fmla="*/ 143 w 314"/>
                <a:gd name="T35" fmla="*/ 127 h 269"/>
                <a:gd name="T36" fmla="*/ 177 w 314"/>
                <a:gd name="T37" fmla="*/ 140 h 269"/>
                <a:gd name="T38" fmla="*/ 206 w 314"/>
                <a:gd name="T39" fmla="*/ 127 h 269"/>
                <a:gd name="T40" fmla="*/ 167 w 314"/>
                <a:gd name="T41" fmla="*/ 135 h 269"/>
                <a:gd name="T42" fmla="*/ 172 w 314"/>
                <a:gd name="T43" fmla="*/ 174 h 269"/>
                <a:gd name="T44" fmla="*/ 211 w 314"/>
                <a:gd name="T45" fmla="*/ 169 h 269"/>
                <a:gd name="T46" fmla="*/ 206 w 314"/>
                <a:gd name="T47" fmla="*/ 127 h 269"/>
                <a:gd name="T48" fmla="*/ 74 w 314"/>
                <a:gd name="T49" fmla="*/ 260 h 269"/>
                <a:gd name="T50" fmla="*/ 241 w 314"/>
                <a:gd name="T51" fmla="*/ 140 h 269"/>
                <a:gd name="T52" fmla="*/ 241 w 314"/>
                <a:gd name="T53" fmla="*/ 260 h 269"/>
                <a:gd name="T54" fmla="*/ 108 w 314"/>
                <a:gd name="T55" fmla="*/ 108 h 269"/>
                <a:gd name="T56" fmla="*/ 157 w 314"/>
                <a:gd name="T57" fmla="*/ 68 h 269"/>
                <a:gd name="T58" fmla="*/ 206 w 314"/>
                <a:gd name="T59" fmla="*/ 108 h 269"/>
                <a:gd name="T60" fmla="*/ 84 w 314"/>
                <a:gd name="T61" fmla="*/ 260 h 269"/>
                <a:gd name="T62" fmla="*/ 189 w 314"/>
                <a:gd name="T63" fmla="*/ 10 h 269"/>
                <a:gd name="T64" fmla="*/ 162 w 314"/>
                <a:gd name="T65" fmla="*/ 10 h 269"/>
                <a:gd name="T66" fmla="*/ 152 w 314"/>
                <a:gd name="T67" fmla="*/ 59 h 269"/>
                <a:gd name="T68" fmla="*/ 74 w 314"/>
                <a:gd name="T69" fmla="*/ 95 h 269"/>
                <a:gd name="T70" fmla="*/ 8 w 314"/>
                <a:gd name="T71" fmla="*/ 127 h 269"/>
                <a:gd name="T72" fmla="*/ 0 w 314"/>
                <a:gd name="T73" fmla="*/ 265 h 269"/>
                <a:gd name="T74" fmla="*/ 307 w 314"/>
                <a:gd name="T75" fmla="*/ 269 h 269"/>
                <a:gd name="T76" fmla="*/ 307 w 314"/>
                <a:gd name="T77" fmla="*/ 127 h 269"/>
                <a:gd name="T78" fmla="*/ 241 w 314"/>
                <a:gd name="T79" fmla="*/ 95 h 269"/>
                <a:gd name="T80" fmla="*/ 162 w 314"/>
                <a:gd name="T81" fmla="*/ 59 h 269"/>
                <a:gd name="T82" fmla="*/ 201 w 314"/>
                <a:gd name="T83" fmla="*/ 39 h 269"/>
                <a:gd name="T84" fmla="*/ 201 w 314"/>
                <a:gd name="T8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4" h="269">
                  <a:moveTo>
                    <a:pt x="138" y="225"/>
                  </a:moveTo>
                  <a:lnTo>
                    <a:pt x="113" y="225"/>
                  </a:lnTo>
                  <a:lnTo>
                    <a:pt x="113" y="203"/>
                  </a:lnTo>
                  <a:lnTo>
                    <a:pt x="138" y="203"/>
                  </a:lnTo>
                  <a:lnTo>
                    <a:pt x="138" y="225"/>
                  </a:lnTo>
                  <a:close/>
                  <a:moveTo>
                    <a:pt x="143" y="191"/>
                  </a:moveTo>
                  <a:lnTo>
                    <a:pt x="108" y="191"/>
                  </a:lnTo>
                  <a:lnTo>
                    <a:pt x="103" y="191"/>
                  </a:lnTo>
                  <a:lnTo>
                    <a:pt x="103" y="198"/>
                  </a:lnTo>
                  <a:lnTo>
                    <a:pt x="103" y="233"/>
                  </a:lnTo>
                  <a:lnTo>
                    <a:pt x="103" y="238"/>
                  </a:lnTo>
                  <a:lnTo>
                    <a:pt x="108" y="238"/>
                  </a:lnTo>
                  <a:lnTo>
                    <a:pt x="143" y="238"/>
                  </a:lnTo>
                  <a:lnTo>
                    <a:pt x="147" y="238"/>
                  </a:lnTo>
                  <a:lnTo>
                    <a:pt x="147" y="233"/>
                  </a:lnTo>
                  <a:lnTo>
                    <a:pt x="147" y="198"/>
                  </a:lnTo>
                  <a:lnTo>
                    <a:pt x="147" y="191"/>
                  </a:lnTo>
                  <a:lnTo>
                    <a:pt x="143" y="191"/>
                  </a:lnTo>
                  <a:close/>
                  <a:moveTo>
                    <a:pt x="201" y="225"/>
                  </a:moveTo>
                  <a:lnTo>
                    <a:pt x="177" y="225"/>
                  </a:lnTo>
                  <a:lnTo>
                    <a:pt x="177" y="203"/>
                  </a:lnTo>
                  <a:lnTo>
                    <a:pt x="201" y="203"/>
                  </a:lnTo>
                  <a:lnTo>
                    <a:pt x="201" y="225"/>
                  </a:lnTo>
                  <a:close/>
                  <a:moveTo>
                    <a:pt x="206" y="191"/>
                  </a:moveTo>
                  <a:lnTo>
                    <a:pt x="172" y="191"/>
                  </a:lnTo>
                  <a:lnTo>
                    <a:pt x="167" y="191"/>
                  </a:lnTo>
                  <a:lnTo>
                    <a:pt x="167" y="198"/>
                  </a:lnTo>
                  <a:lnTo>
                    <a:pt x="167" y="233"/>
                  </a:lnTo>
                  <a:lnTo>
                    <a:pt x="167" y="238"/>
                  </a:lnTo>
                  <a:lnTo>
                    <a:pt x="172" y="238"/>
                  </a:lnTo>
                  <a:lnTo>
                    <a:pt x="206" y="238"/>
                  </a:lnTo>
                  <a:lnTo>
                    <a:pt x="211" y="238"/>
                  </a:lnTo>
                  <a:lnTo>
                    <a:pt x="211" y="233"/>
                  </a:lnTo>
                  <a:lnTo>
                    <a:pt x="211" y="198"/>
                  </a:lnTo>
                  <a:lnTo>
                    <a:pt x="211" y="191"/>
                  </a:lnTo>
                  <a:lnTo>
                    <a:pt x="206" y="191"/>
                  </a:lnTo>
                  <a:close/>
                  <a:moveTo>
                    <a:pt x="138" y="164"/>
                  </a:moveTo>
                  <a:lnTo>
                    <a:pt x="113" y="164"/>
                  </a:lnTo>
                  <a:lnTo>
                    <a:pt x="113" y="140"/>
                  </a:lnTo>
                  <a:lnTo>
                    <a:pt x="138" y="140"/>
                  </a:lnTo>
                  <a:lnTo>
                    <a:pt x="138" y="164"/>
                  </a:lnTo>
                  <a:close/>
                  <a:moveTo>
                    <a:pt x="143" y="127"/>
                  </a:moveTo>
                  <a:lnTo>
                    <a:pt x="108" y="127"/>
                  </a:lnTo>
                  <a:lnTo>
                    <a:pt x="103" y="127"/>
                  </a:lnTo>
                  <a:lnTo>
                    <a:pt x="103" y="135"/>
                  </a:lnTo>
                  <a:lnTo>
                    <a:pt x="103" y="169"/>
                  </a:lnTo>
                  <a:lnTo>
                    <a:pt x="103" y="174"/>
                  </a:lnTo>
                  <a:lnTo>
                    <a:pt x="108" y="174"/>
                  </a:lnTo>
                  <a:lnTo>
                    <a:pt x="143" y="174"/>
                  </a:lnTo>
                  <a:lnTo>
                    <a:pt x="147" y="174"/>
                  </a:lnTo>
                  <a:lnTo>
                    <a:pt x="147" y="169"/>
                  </a:lnTo>
                  <a:lnTo>
                    <a:pt x="147" y="135"/>
                  </a:lnTo>
                  <a:lnTo>
                    <a:pt x="147" y="127"/>
                  </a:lnTo>
                  <a:lnTo>
                    <a:pt x="143" y="127"/>
                  </a:lnTo>
                  <a:close/>
                  <a:moveTo>
                    <a:pt x="201" y="164"/>
                  </a:moveTo>
                  <a:lnTo>
                    <a:pt x="177" y="164"/>
                  </a:lnTo>
                  <a:lnTo>
                    <a:pt x="177" y="140"/>
                  </a:lnTo>
                  <a:lnTo>
                    <a:pt x="201" y="140"/>
                  </a:lnTo>
                  <a:lnTo>
                    <a:pt x="201" y="164"/>
                  </a:lnTo>
                  <a:close/>
                  <a:moveTo>
                    <a:pt x="206" y="127"/>
                  </a:moveTo>
                  <a:lnTo>
                    <a:pt x="172" y="127"/>
                  </a:lnTo>
                  <a:lnTo>
                    <a:pt x="167" y="127"/>
                  </a:lnTo>
                  <a:lnTo>
                    <a:pt x="167" y="135"/>
                  </a:lnTo>
                  <a:lnTo>
                    <a:pt x="167" y="169"/>
                  </a:lnTo>
                  <a:lnTo>
                    <a:pt x="167" y="174"/>
                  </a:lnTo>
                  <a:lnTo>
                    <a:pt x="172" y="174"/>
                  </a:lnTo>
                  <a:lnTo>
                    <a:pt x="206" y="174"/>
                  </a:lnTo>
                  <a:lnTo>
                    <a:pt x="211" y="174"/>
                  </a:lnTo>
                  <a:lnTo>
                    <a:pt x="211" y="169"/>
                  </a:lnTo>
                  <a:lnTo>
                    <a:pt x="211" y="135"/>
                  </a:lnTo>
                  <a:lnTo>
                    <a:pt x="211" y="127"/>
                  </a:lnTo>
                  <a:lnTo>
                    <a:pt x="206" y="127"/>
                  </a:lnTo>
                  <a:close/>
                  <a:moveTo>
                    <a:pt x="13" y="140"/>
                  </a:moveTo>
                  <a:lnTo>
                    <a:pt x="74" y="140"/>
                  </a:lnTo>
                  <a:lnTo>
                    <a:pt x="74" y="260"/>
                  </a:lnTo>
                  <a:lnTo>
                    <a:pt x="13" y="260"/>
                  </a:lnTo>
                  <a:lnTo>
                    <a:pt x="13" y="140"/>
                  </a:lnTo>
                  <a:close/>
                  <a:moveTo>
                    <a:pt x="241" y="140"/>
                  </a:moveTo>
                  <a:lnTo>
                    <a:pt x="302" y="140"/>
                  </a:lnTo>
                  <a:lnTo>
                    <a:pt x="302" y="260"/>
                  </a:lnTo>
                  <a:lnTo>
                    <a:pt x="241" y="260"/>
                  </a:lnTo>
                  <a:lnTo>
                    <a:pt x="241" y="140"/>
                  </a:lnTo>
                  <a:close/>
                  <a:moveTo>
                    <a:pt x="84" y="108"/>
                  </a:moveTo>
                  <a:lnTo>
                    <a:pt x="108" y="108"/>
                  </a:lnTo>
                  <a:lnTo>
                    <a:pt x="108" y="108"/>
                  </a:lnTo>
                  <a:lnTo>
                    <a:pt x="111" y="105"/>
                  </a:lnTo>
                  <a:lnTo>
                    <a:pt x="157" y="68"/>
                  </a:lnTo>
                  <a:lnTo>
                    <a:pt x="204" y="105"/>
                  </a:lnTo>
                  <a:lnTo>
                    <a:pt x="206" y="108"/>
                  </a:lnTo>
                  <a:lnTo>
                    <a:pt x="206" y="108"/>
                  </a:lnTo>
                  <a:lnTo>
                    <a:pt x="231" y="108"/>
                  </a:lnTo>
                  <a:lnTo>
                    <a:pt x="231" y="260"/>
                  </a:lnTo>
                  <a:lnTo>
                    <a:pt x="84" y="260"/>
                  </a:lnTo>
                  <a:lnTo>
                    <a:pt x="84" y="108"/>
                  </a:lnTo>
                  <a:close/>
                  <a:moveTo>
                    <a:pt x="162" y="10"/>
                  </a:moveTo>
                  <a:lnTo>
                    <a:pt x="189" y="10"/>
                  </a:lnTo>
                  <a:lnTo>
                    <a:pt x="189" y="29"/>
                  </a:lnTo>
                  <a:lnTo>
                    <a:pt x="162" y="29"/>
                  </a:lnTo>
                  <a:lnTo>
                    <a:pt x="162" y="10"/>
                  </a:lnTo>
                  <a:close/>
                  <a:moveTo>
                    <a:pt x="152" y="0"/>
                  </a:moveTo>
                  <a:lnTo>
                    <a:pt x="152" y="5"/>
                  </a:lnTo>
                  <a:lnTo>
                    <a:pt x="152" y="59"/>
                  </a:lnTo>
                  <a:lnTo>
                    <a:pt x="106" y="95"/>
                  </a:lnTo>
                  <a:lnTo>
                    <a:pt x="79" y="95"/>
                  </a:lnTo>
                  <a:lnTo>
                    <a:pt x="74" y="95"/>
                  </a:lnTo>
                  <a:lnTo>
                    <a:pt x="74" y="103"/>
                  </a:lnTo>
                  <a:lnTo>
                    <a:pt x="74" y="127"/>
                  </a:lnTo>
                  <a:lnTo>
                    <a:pt x="8" y="127"/>
                  </a:lnTo>
                  <a:lnTo>
                    <a:pt x="0" y="127"/>
                  </a:lnTo>
                  <a:lnTo>
                    <a:pt x="0" y="135"/>
                  </a:lnTo>
                  <a:lnTo>
                    <a:pt x="0" y="265"/>
                  </a:lnTo>
                  <a:lnTo>
                    <a:pt x="0" y="269"/>
                  </a:lnTo>
                  <a:lnTo>
                    <a:pt x="8" y="269"/>
                  </a:lnTo>
                  <a:lnTo>
                    <a:pt x="307" y="269"/>
                  </a:lnTo>
                  <a:lnTo>
                    <a:pt x="314" y="269"/>
                  </a:lnTo>
                  <a:lnTo>
                    <a:pt x="314" y="127"/>
                  </a:lnTo>
                  <a:lnTo>
                    <a:pt x="307" y="127"/>
                  </a:lnTo>
                  <a:lnTo>
                    <a:pt x="241" y="127"/>
                  </a:lnTo>
                  <a:lnTo>
                    <a:pt x="241" y="103"/>
                  </a:lnTo>
                  <a:lnTo>
                    <a:pt x="241" y="95"/>
                  </a:lnTo>
                  <a:lnTo>
                    <a:pt x="236" y="95"/>
                  </a:lnTo>
                  <a:lnTo>
                    <a:pt x="209" y="95"/>
                  </a:lnTo>
                  <a:lnTo>
                    <a:pt x="162" y="59"/>
                  </a:lnTo>
                  <a:lnTo>
                    <a:pt x="162" y="39"/>
                  </a:lnTo>
                  <a:lnTo>
                    <a:pt x="194" y="39"/>
                  </a:lnTo>
                  <a:lnTo>
                    <a:pt x="201" y="39"/>
                  </a:lnTo>
                  <a:lnTo>
                    <a:pt x="201" y="34"/>
                  </a:lnTo>
                  <a:lnTo>
                    <a:pt x="201" y="5"/>
                  </a:lnTo>
                  <a:lnTo>
                    <a:pt x="201" y="0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255462E-F051-4F96-94AB-A29872364372}"/>
              </a:ext>
            </a:extLst>
          </p:cNvPr>
          <p:cNvGrpSpPr/>
          <p:nvPr/>
        </p:nvGrpSpPr>
        <p:grpSpPr>
          <a:xfrm>
            <a:off x="2543175" y="278606"/>
            <a:ext cx="844550" cy="844550"/>
            <a:chOff x="2543175" y="268288"/>
            <a:chExt cx="844550" cy="844550"/>
          </a:xfrm>
        </p:grpSpPr>
        <p:sp>
          <p:nvSpPr>
            <p:cNvPr id="30" name="AutoShape 21">
              <a:extLst>
                <a:ext uri="{FF2B5EF4-FFF2-40B4-BE49-F238E27FC236}">
                  <a16:creationId xmlns:a16="http://schemas.microsoft.com/office/drawing/2014/main" id="{9B87D653-5E64-4FE0-B003-D740BAB7FE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43175" y="268288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3">
              <a:extLst>
                <a:ext uri="{FF2B5EF4-FFF2-40B4-BE49-F238E27FC236}">
                  <a16:creationId xmlns:a16="http://schemas.microsoft.com/office/drawing/2014/main" id="{129675C1-4382-4384-89FE-40B157917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3175" y="268288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56E924AD-872B-4FB9-B654-C5B9198F23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1750" y="296863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A13EF74C-7E7C-4C7D-8DB2-B1252659FE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5100" y="434976"/>
              <a:ext cx="520700" cy="447675"/>
            </a:xfrm>
            <a:custGeom>
              <a:avLst/>
              <a:gdLst>
                <a:gd name="T0" fmla="*/ 118 w 328"/>
                <a:gd name="T1" fmla="*/ 212 h 282"/>
                <a:gd name="T2" fmla="*/ 149 w 328"/>
                <a:gd name="T3" fmla="*/ 200 h 282"/>
                <a:gd name="T4" fmla="*/ 108 w 328"/>
                <a:gd name="T5" fmla="*/ 207 h 282"/>
                <a:gd name="T6" fmla="*/ 113 w 328"/>
                <a:gd name="T7" fmla="*/ 248 h 282"/>
                <a:gd name="T8" fmla="*/ 154 w 328"/>
                <a:gd name="T9" fmla="*/ 243 h 282"/>
                <a:gd name="T10" fmla="*/ 149 w 328"/>
                <a:gd name="T11" fmla="*/ 200 h 282"/>
                <a:gd name="T12" fmla="*/ 185 w 328"/>
                <a:gd name="T13" fmla="*/ 212 h 282"/>
                <a:gd name="T14" fmla="*/ 215 w 328"/>
                <a:gd name="T15" fmla="*/ 200 h 282"/>
                <a:gd name="T16" fmla="*/ 174 w 328"/>
                <a:gd name="T17" fmla="*/ 207 h 282"/>
                <a:gd name="T18" fmla="*/ 180 w 328"/>
                <a:gd name="T19" fmla="*/ 248 h 282"/>
                <a:gd name="T20" fmla="*/ 221 w 328"/>
                <a:gd name="T21" fmla="*/ 243 h 282"/>
                <a:gd name="T22" fmla="*/ 215 w 328"/>
                <a:gd name="T23" fmla="*/ 200 h 282"/>
                <a:gd name="T24" fmla="*/ 118 w 328"/>
                <a:gd name="T25" fmla="*/ 146 h 282"/>
                <a:gd name="T26" fmla="*/ 149 w 328"/>
                <a:gd name="T27" fmla="*/ 133 h 282"/>
                <a:gd name="T28" fmla="*/ 108 w 328"/>
                <a:gd name="T29" fmla="*/ 141 h 282"/>
                <a:gd name="T30" fmla="*/ 113 w 328"/>
                <a:gd name="T31" fmla="*/ 182 h 282"/>
                <a:gd name="T32" fmla="*/ 154 w 328"/>
                <a:gd name="T33" fmla="*/ 177 h 282"/>
                <a:gd name="T34" fmla="*/ 149 w 328"/>
                <a:gd name="T35" fmla="*/ 133 h 282"/>
                <a:gd name="T36" fmla="*/ 185 w 328"/>
                <a:gd name="T37" fmla="*/ 146 h 282"/>
                <a:gd name="T38" fmla="*/ 215 w 328"/>
                <a:gd name="T39" fmla="*/ 133 h 282"/>
                <a:gd name="T40" fmla="*/ 174 w 328"/>
                <a:gd name="T41" fmla="*/ 141 h 282"/>
                <a:gd name="T42" fmla="*/ 180 w 328"/>
                <a:gd name="T43" fmla="*/ 182 h 282"/>
                <a:gd name="T44" fmla="*/ 221 w 328"/>
                <a:gd name="T45" fmla="*/ 177 h 282"/>
                <a:gd name="T46" fmla="*/ 215 w 328"/>
                <a:gd name="T47" fmla="*/ 133 h 282"/>
                <a:gd name="T48" fmla="*/ 77 w 328"/>
                <a:gd name="T49" fmla="*/ 271 h 282"/>
                <a:gd name="T50" fmla="*/ 251 w 328"/>
                <a:gd name="T51" fmla="*/ 146 h 282"/>
                <a:gd name="T52" fmla="*/ 251 w 328"/>
                <a:gd name="T53" fmla="*/ 271 h 282"/>
                <a:gd name="T54" fmla="*/ 113 w 328"/>
                <a:gd name="T55" fmla="*/ 113 h 282"/>
                <a:gd name="T56" fmla="*/ 164 w 328"/>
                <a:gd name="T57" fmla="*/ 72 h 282"/>
                <a:gd name="T58" fmla="*/ 215 w 328"/>
                <a:gd name="T59" fmla="*/ 113 h 282"/>
                <a:gd name="T60" fmla="*/ 87 w 328"/>
                <a:gd name="T61" fmla="*/ 271 h 282"/>
                <a:gd name="T62" fmla="*/ 197 w 328"/>
                <a:gd name="T63" fmla="*/ 10 h 282"/>
                <a:gd name="T64" fmla="*/ 169 w 328"/>
                <a:gd name="T65" fmla="*/ 10 h 282"/>
                <a:gd name="T66" fmla="*/ 159 w 328"/>
                <a:gd name="T67" fmla="*/ 61 h 282"/>
                <a:gd name="T68" fmla="*/ 77 w 328"/>
                <a:gd name="T69" fmla="*/ 100 h 282"/>
                <a:gd name="T70" fmla="*/ 8 w 328"/>
                <a:gd name="T71" fmla="*/ 133 h 282"/>
                <a:gd name="T72" fmla="*/ 0 w 328"/>
                <a:gd name="T73" fmla="*/ 276 h 282"/>
                <a:gd name="T74" fmla="*/ 320 w 328"/>
                <a:gd name="T75" fmla="*/ 282 h 282"/>
                <a:gd name="T76" fmla="*/ 320 w 328"/>
                <a:gd name="T77" fmla="*/ 133 h 282"/>
                <a:gd name="T78" fmla="*/ 251 w 328"/>
                <a:gd name="T79" fmla="*/ 100 h 282"/>
                <a:gd name="T80" fmla="*/ 169 w 328"/>
                <a:gd name="T81" fmla="*/ 61 h 282"/>
                <a:gd name="T82" fmla="*/ 210 w 328"/>
                <a:gd name="T83" fmla="*/ 41 h 282"/>
                <a:gd name="T84" fmla="*/ 210 w 328"/>
                <a:gd name="T8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8" h="282">
                  <a:moveTo>
                    <a:pt x="144" y="235"/>
                  </a:moveTo>
                  <a:lnTo>
                    <a:pt x="118" y="235"/>
                  </a:lnTo>
                  <a:lnTo>
                    <a:pt x="118" y="212"/>
                  </a:lnTo>
                  <a:lnTo>
                    <a:pt x="144" y="212"/>
                  </a:lnTo>
                  <a:lnTo>
                    <a:pt x="144" y="235"/>
                  </a:lnTo>
                  <a:close/>
                  <a:moveTo>
                    <a:pt x="149" y="200"/>
                  </a:moveTo>
                  <a:lnTo>
                    <a:pt x="113" y="200"/>
                  </a:lnTo>
                  <a:lnTo>
                    <a:pt x="108" y="200"/>
                  </a:lnTo>
                  <a:lnTo>
                    <a:pt x="108" y="207"/>
                  </a:lnTo>
                  <a:lnTo>
                    <a:pt x="108" y="243"/>
                  </a:lnTo>
                  <a:lnTo>
                    <a:pt x="108" y="248"/>
                  </a:lnTo>
                  <a:lnTo>
                    <a:pt x="113" y="248"/>
                  </a:lnTo>
                  <a:lnTo>
                    <a:pt x="149" y="248"/>
                  </a:lnTo>
                  <a:lnTo>
                    <a:pt x="154" y="248"/>
                  </a:lnTo>
                  <a:lnTo>
                    <a:pt x="154" y="243"/>
                  </a:lnTo>
                  <a:lnTo>
                    <a:pt x="154" y="207"/>
                  </a:lnTo>
                  <a:lnTo>
                    <a:pt x="154" y="200"/>
                  </a:lnTo>
                  <a:lnTo>
                    <a:pt x="149" y="200"/>
                  </a:lnTo>
                  <a:close/>
                  <a:moveTo>
                    <a:pt x="210" y="235"/>
                  </a:moveTo>
                  <a:lnTo>
                    <a:pt x="185" y="235"/>
                  </a:lnTo>
                  <a:lnTo>
                    <a:pt x="185" y="212"/>
                  </a:lnTo>
                  <a:lnTo>
                    <a:pt x="210" y="212"/>
                  </a:lnTo>
                  <a:lnTo>
                    <a:pt x="210" y="235"/>
                  </a:lnTo>
                  <a:close/>
                  <a:moveTo>
                    <a:pt x="215" y="200"/>
                  </a:moveTo>
                  <a:lnTo>
                    <a:pt x="180" y="200"/>
                  </a:lnTo>
                  <a:lnTo>
                    <a:pt x="174" y="200"/>
                  </a:lnTo>
                  <a:lnTo>
                    <a:pt x="174" y="207"/>
                  </a:lnTo>
                  <a:lnTo>
                    <a:pt x="174" y="243"/>
                  </a:lnTo>
                  <a:lnTo>
                    <a:pt x="174" y="248"/>
                  </a:lnTo>
                  <a:lnTo>
                    <a:pt x="180" y="248"/>
                  </a:lnTo>
                  <a:lnTo>
                    <a:pt x="215" y="248"/>
                  </a:lnTo>
                  <a:lnTo>
                    <a:pt x="221" y="248"/>
                  </a:lnTo>
                  <a:lnTo>
                    <a:pt x="221" y="243"/>
                  </a:lnTo>
                  <a:lnTo>
                    <a:pt x="221" y="207"/>
                  </a:lnTo>
                  <a:lnTo>
                    <a:pt x="221" y="200"/>
                  </a:lnTo>
                  <a:lnTo>
                    <a:pt x="215" y="200"/>
                  </a:lnTo>
                  <a:close/>
                  <a:moveTo>
                    <a:pt x="144" y="171"/>
                  </a:moveTo>
                  <a:lnTo>
                    <a:pt x="118" y="171"/>
                  </a:lnTo>
                  <a:lnTo>
                    <a:pt x="118" y="146"/>
                  </a:lnTo>
                  <a:lnTo>
                    <a:pt x="144" y="146"/>
                  </a:lnTo>
                  <a:lnTo>
                    <a:pt x="144" y="171"/>
                  </a:lnTo>
                  <a:close/>
                  <a:moveTo>
                    <a:pt x="149" y="133"/>
                  </a:moveTo>
                  <a:lnTo>
                    <a:pt x="113" y="133"/>
                  </a:lnTo>
                  <a:lnTo>
                    <a:pt x="108" y="133"/>
                  </a:lnTo>
                  <a:lnTo>
                    <a:pt x="108" y="141"/>
                  </a:lnTo>
                  <a:lnTo>
                    <a:pt x="108" y="177"/>
                  </a:lnTo>
                  <a:lnTo>
                    <a:pt x="108" y="182"/>
                  </a:lnTo>
                  <a:lnTo>
                    <a:pt x="113" y="182"/>
                  </a:lnTo>
                  <a:lnTo>
                    <a:pt x="149" y="182"/>
                  </a:lnTo>
                  <a:lnTo>
                    <a:pt x="154" y="182"/>
                  </a:lnTo>
                  <a:lnTo>
                    <a:pt x="154" y="177"/>
                  </a:lnTo>
                  <a:lnTo>
                    <a:pt x="154" y="141"/>
                  </a:lnTo>
                  <a:lnTo>
                    <a:pt x="154" y="133"/>
                  </a:lnTo>
                  <a:lnTo>
                    <a:pt x="149" y="133"/>
                  </a:lnTo>
                  <a:close/>
                  <a:moveTo>
                    <a:pt x="210" y="171"/>
                  </a:moveTo>
                  <a:lnTo>
                    <a:pt x="185" y="171"/>
                  </a:lnTo>
                  <a:lnTo>
                    <a:pt x="185" y="146"/>
                  </a:lnTo>
                  <a:lnTo>
                    <a:pt x="210" y="146"/>
                  </a:lnTo>
                  <a:lnTo>
                    <a:pt x="210" y="171"/>
                  </a:lnTo>
                  <a:close/>
                  <a:moveTo>
                    <a:pt x="215" y="133"/>
                  </a:moveTo>
                  <a:lnTo>
                    <a:pt x="180" y="133"/>
                  </a:lnTo>
                  <a:lnTo>
                    <a:pt x="174" y="133"/>
                  </a:lnTo>
                  <a:lnTo>
                    <a:pt x="174" y="141"/>
                  </a:lnTo>
                  <a:lnTo>
                    <a:pt x="174" y="177"/>
                  </a:lnTo>
                  <a:lnTo>
                    <a:pt x="174" y="182"/>
                  </a:lnTo>
                  <a:lnTo>
                    <a:pt x="180" y="182"/>
                  </a:lnTo>
                  <a:lnTo>
                    <a:pt x="215" y="182"/>
                  </a:lnTo>
                  <a:lnTo>
                    <a:pt x="221" y="182"/>
                  </a:lnTo>
                  <a:lnTo>
                    <a:pt x="221" y="177"/>
                  </a:lnTo>
                  <a:lnTo>
                    <a:pt x="221" y="141"/>
                  </a:lnTo>
                  <a:lnTo>
                    <a:pt x="221" y="133"/>
                  </a:lnTo>
                  <a:lnTo>
                    <a:pt x="215" y="133"/>
                  </a:lnTo>
                  <a:close/>
                  <a:moveTo>
                    <a:pt x="13" y="146"/>
                  </a:moveTo>
                  <a:lnTo>
                    <a:pt x="77" y="146"/>
                  </a:lnTo>
                  <a:lnTo>
                    <a:pt x="77" y="271"/>
                  </a:lnTo>
                  <a:lnTo>
                    <a:pt x="13" y="271"/>
                  </a:lnTo>
                  <a:lnTo>
                    <a:pt x="13" y="146"/>
                  </a:lnTo>
                  <a:close/>
                  <a:moveTo>
                    <a:pt x="251" y="146"/>
                  </a:moveTo>
                  <a:lnTo>
                    <a:pt x="315" y="146"/>
                  </a:lnTo>
                  <a:lnTo>
                    <a:pt x="315" y="271"/>
                  </a:lnTo>
                  <a:lnTo>
                    <a:pt x="251" y="271"/>
                  </a:lnTo>
                  <a:lnTo>
                    <a:pt x="251" y="146"/>
                  </a:lnTo>
                  <a:close/>
                  <a:moveTo>
                    <a:pt x="87" y="113"/>
                  </a:moveTo>
                  <a:lnTo>
                    <a:pt x="113" y="113"/>
                  </a:lnTo>
                  <a:lnTo>
                    <a:pt x="113" y="113"/>
                  </a:lnTo>
                  <a:lnTo>
                    <a:pt x="116" y="110"/>
                  </a:lnTo>
                  <a:lnTo>
                    <a:pt x="164" y="72"/>
                  </a:lnTo>
                  <a:lnTo>
                    <a:pt x="213" y="110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41" y="113"/>
                  </a:lnTo>
                  <a:lnTo>
                    <a:pt x="241" y="271"/>
                  </a:lnTo>
                  <a:lnTo>
                    <a:pt x="87" y="271"/>
                  </a:lnTo>
                  <a:lnTo>
                    <a:pt x="87" y="113"/>
                  </a:lnTo>
                  <a:close/>
                  <a:moveTo>
                    <a:pt x="169" y="10"/>
                  </a:moveTo>
                  <a:lnTo>
                    <a:pt x="197" y="10"/>
                  </a:lnTo>
                  <a:lnTo>
                    <a:pt x="197" y="31"/>
                  </a:lnTo>
                  <a:lnTo>
                    <a:pt x="169" y="31"/>
                  </a:lnTo>
                  <a:lnTo>
                    <a:pt x="169" y="10"/>
                  </a:lnTo>
                  <a:close/>
                  <a:moveTo>
                    <a:pt x="159" y="0"/>
                  </a:moveTo>
                  <a:lnTo>
                    <a:pt x="159" y="5"/>
                  </a:lnTo>
                  <a:lnTo>
                    <a:pt x="159" y="61"/>
                  </a:lnTo>
                  <a:lnTo>
                    <a:pt x="110" y="100"/>
                  </a:lnTo>
                  <a:lnTo>
                    <a:pt x="82" y="100"/>
                  </a:lnTo>
                  <a:lnTo>
                    <a:pt x="77" y="100"/>
                  </a:lnTo>
                  <a:lnTo>
                    <a:pt x="77" y="107"/>
                  </a:lnTo>
                  <a:lnTo>
                    <a:pt x="77" y="133"/>
                  </a:lnTo>
                  <a:lnTo>
                    <a:pt x="8" y="133"/>
                  </a:lnTo>
                  <a:lnTo>
                    <a:pt x="0" y="133"/>
                  </a:lnTo>
                  <a:lnTo>
                    <a:pt x="0" y="141"/>
                  </a:lnTo>
                  <a:lnTo>
                    <a:pt x="0" y="276"/>
                  </a:lnTo>
                  <a:lnTo>
                    <a:pt x="0" y="282"/>
                  </a:lnTo>
                  <a:lnTo>
                    <a:pt x="8" y="282"/>
                  </a:lnTo>
                  <a:lnTo>
                    <a:pt x="320" y="282"/>
                  </a:lnTo>
                  <a:lnTo>
                    <a:pt x="328" y="282"/>
                  </a:lnTo>
                  <a:lnTo>
                    <a:pt x="328" y="133"/>
                  </a:lnTo>
                  <a:lnTo>
                    <a:pt x="320" y="133"/>
                  </a:lnTo>
                  <a:lnTo>
                    <a:pt x="251" y="133"/>
                  </a:lnTo>
                  <a:lnTo>
                    <a:pt x="251" y="107"/>
                  </a:lnTo>
                  <a:lnTo>
                    <a:pt x="251" y="100"/>
                  </a:lnTo>
                  <a:lnTo>
                    <a:pt x="246" y="100"/>
                  </a:lnTo>
                  <a:lnTo>
                    <a:pt x="218" y="100"/>
                  </a:lnTo>
                  <a:lnTo>
                    <a:pt x="169" y="61"/>
                  </a:lnTo>
                  <a:lnTo>
                    <a:pt x="169" y="41"/>
                  </a:lnTo>
                  <a:lnTo>
                    <a:pt x="203" y="41"/>
                  </a:lnTo>
                  <a:lnTo>
                    <a:pt x="210" y="41"/>
                  </a:lnTo>
                  <a:lnTo>
                    <a:pt x="210" y="36"/>
                  </a:lnTo>
                  <a:lnTo>
                    <a:pt x="210" y="5"/>
                  </a:lnTo>
                  <a:lnTo>
                    <a:pt x="210" y="0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439E927-9C34-4C90-BC41-5699075B55F3}"/>
              </a:ext>
            </a:extLst>
          </p:cNvPr>
          <p:cNvGrpSpPr/>
          <p:nvPr/>
        </p:nvGrpSpPr>
        <p:grpSpPr>
          <a:xfrm>
            <a:off x="5800725" y="321469"/>
            <a:ext cx="758825" cy="758825"/>
            <a:chOff x="5800725" y="330200"/>
            <a:chExt cx="758825" cy="758825"/>
          </a:xfrm>
        </p:grpSpPr>
        <p:sp>
          <p:nvSpPr>
            <p:cNvPr id="38" name="AutoShape 27">
              <a:extLst>
                <a:ext uri="{FF2B5EF4-FFF2-40B4-BE49-F238E27FC236}">
                  <a16:creationId xmlns:a16="http://schemas.microsoft.com/office/drawing/2014/main" id="{B4A9DFD3-3655-4D3A-83D1-5B7FDBD77E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00725" y="330200"/>
              <a:ext cx="758825" cy="758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66517551-2404-4AF7-91EC-30AF0F5B5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3900" y="333375"/>
              <a:ext cx="755650" cy="755650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347449D1-ABCB-481E-AA83-E5C1AE2A64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0263" y="466725"/>
              <a:ext cx="544513" cy="427038"/>
            </a:xfrm>
            <a:custGeom>
              <a:avLst/>
              <a:gdLst>
                <a:gd name="T0" fmla="*/ 26 w 140"/>
                <a:gd name="T1" fmla="*/ 86 h 110"/>
                <a:gd name="T2" fmla="*/ 22 w 140"/>
                <a:gd name="T3" fmla="*/ 91 h 110"/>
                <a:gd name="T4" fmla="*/ 26 w 140"/>
                <a:gd name="T5" fmla="*/ 75 h 110"/>
                <a:gd name="T6" fmla="*/ 22 w 140"/>
                <a:gd name="T7" fmla="*/ 70 h 110"/>
                <a:gd name="T8" fmla="*/ 117 w 140"/>
                <a:gd name="T9" fmla="*/ 93 h 110"/>
                <a:gd name="T10" fmla="*/ 117 w 140"/>
                <a:gd name="T11" fmla="*/ 83 h 110"/>
                <a:gd name="T12" fmla="*/ 117 w 140"/>
                <a:gd name="T13" fmla="*/ 93 h 110"/>
                <a:gd name="T14" fmla="*/ 119 w 140"/>
                <a:gd name="T15" fmla="*/ 69 h 110"/>
                <a:gd name="T16" fmla="*/ 114 w 140"/>
                <a:gd name="T17" fmla="*/ 74 h 110"/>
                <a:gd name="T18" fmla="*/ 84 w 140"/>
                <a:gd name="T19" fmla="*/ 71 h 110"/>
                <a:gd name="T20" fmla="*/ 89 w 140"/>
                <a:gd name="T21" fmla="*/ 76 h 110"/>
                <a:gd name="T22" fmla="*/ 89 w 140"/>
                <a:gd name="T23" fmla="*/ 55 h 110"/>
                <a:gd name="T24" fmla="*/ 84 w 140"/>
                <a:gd name="T25" fmla="*/ 60 h 110"/>
                <a:gd name="T26" fmla="*/ 89 w 140"/>
                <a:gd name="T27" fmla="*/ 55 h 110"/>
                <a:gd name="T28" fmla="*/ 73 w 140"/>
                <a:gd name="T29" fmla="*/ 76 h 110"/>
                <a:gd name="T30" fmla="*/ 68 w 140"/>
                <a:gd name="T31" fmla="*/ 71 h 110"/>
                <a:gd name="T32" fmla="*/ 51 w 140"/>
                <a:gd name="T33" fmla="*/ 71 h 110"/>
                <a:gd name="T34" fmla="*/ 55 w 140"/>
                <a:gd name="T35" fmla="*/ 76 h 110"/>
                <a:gd name="T36" fmla="*/ 68 w 140"/>
                <a:gd name="T37" fmla="*/ 60 h 110"/>
                <a:gd name="T38" fmla="*/ 73 w 140"/>
                <a:gd name="T39" fmla="*/ 55 h 110"/>
                <a:gd name="T40" fmla="*/ 68 w 140"/>
                <a:gd name="T41" fmla="*/ 60 h 110"/>
                <a:gd name="T42" fmla="*/ 51 w 140"/>
                <a:gd name="T43" fmla="*/ 55 h 110"/>
                <a:gd name="T44" fmla="*/ 55 w 140"/>
                <a:gd name="T45" fmla="*/ 60 h 110"/>
                <a:gd name="T46" fmla="*/ 87 w 140"/>
                <a:gd name="T47" fmla="*/ 36 h 110"/>
                <a:gd name="T48" fmla="*/ 87 w 140"/>
                <a:gd name="T49" fmla="*/ 47 h 110"/>
                <a:gd name="T50" fmla="*/ 71 w 140"/>
                <a:gd name="T51" fmla="*/ 47 h 110"/>
                <a:gd name="T52" fmla="*/ 71 w 140"/>
                <a:gd name="T53" fmla="*/ 36 h 110"/>
                <a:gd name="T54" fmla="*/ 71 w 140"/>
                <a:gd name="T55" fmla="*/ 47 h 110"/>
                <a:gd name="T56" fmla="*/ 51 w 140"/>
                <a:gd name="T57" fmla="*/ 38 h 110"/>
                <a:gd name="T58" fmla="*/ 55 w 140"/>
                <a:gd name="T59" fmla="*/ 44 h 110"/>
                <a:gd name="T60" fmla="*/ 80 w 140"/>
                <a:gd name="T61" fmla="*/ 101 h 110"/>
                <a:gd name="T62" fmla="*/ 62 w 140"/>
                <a:gd name="T63" fmla="*/ 84 h 110"/>
                <a:gd name="T64" fmla="*/ 62 w 140"/>
                <a:gd name="T65" fmla="*/ 103 h 110"/>
                <a:gd name="T66" fmla="*/ 75 w 140"/>
                <a:gd name="T67" fmla="*/ 89 h 110"/>
                <a:gd name="T68" fmla="*/ 130 w 140"/>
                <a:gd name="T69" fmla="*/ 105 h 110"/>
                <a:gd name="T70" fmla="*/ 104 w 140"/>
                <a:gd name="T71" fmla="*/ 60 h 110"/>
                <a:gd name="T72" fmla="*/ 36 w 140"/>
                <a:gd name="T73" fmla="*/ 105 h 110"/>
                <a:gd name="T74" fmla="*/ 36 w 140"/>
                <a:gd name="T75" fmla="*/ 60 h 110"/>
                <a:gd name="T76" fmla="*/ 104 w 140"/>
                <a:gd name="T77" fmla="*/ 55 h 110"/>
                <a:gd name="T78" fmla="*/ 100 w 140"/>
                <a:gd name="T79" fmla="*/ 29 h 110"/>
                <a:gd name="T80" fmla="*/ 41 w 140"/>
                <a:gd name="T81" fmla="*/ 105 h 110"/>
                <a:gd name="T82" fmla="*/ 36 w 140"/>
                <a:gd name="T83" fmla="*/ 32 h 110"/>
                <a:gd name="T84" fmla="*/ 0 w 140"/>
                <a:gd name="T85" fmla="*/ 58 h 110"/>
                <a:gd name="T86" fmla="*/ 5 w 140"/>
                <a:gd name="T87" fmla="*/ 108 h 110"/>
                <a:gd name="T88" fmla="*/ 134 w 140"/>
                <a:gd name="T89" fmla="*/ 108 h 110"/>
                <a:gd name="T90" fmla="*/ 140 w 140"/>
                <a:gd name="T91" fmla="*/ 58 h 110"/>
                <a:gd name="T92" fmla="*/ 32 w 140"/>
                <a:gd name="T93" fmla="*/ 32 h 110"/>
                <a:gd name="T94" fmla="*/ 109 w 140"/>
                <a:gd name="T95" fmla="*/ 29 h 110"/>
                <a:gd name="T96" fmla="*/ 70 w 140"/>
                <a:gd name="T97" fmla="*/ 0 h 110"/>
                <a:gd name="T98" fmla="*/ 31 w 140"/>
                <a:gd name="T99" fmla="*/ 3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0" h="110">
                  <a:moveTo>
                    <a:pt x="24" y="93"/>
                  </a:moveTo>
                  <a:cubicBezTo>
                    <a:pt x="25" y="93"/>
                    <a:pt x="26" y="92"/>
                    <a:pt x="26" y="91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4"/>
                    <a:pt x="25" y="83"/>
                    <a:pt x="24" y="83"/>
                  </a:cubicBezTo>
                  <a:cubicBezTo>
                    <a:pt x="23" y="83"/>
                    <a:pt x="22" y="84"/>
                    <a:pt x="22" y="86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2" y="92"/>
                    <a:pt x="23" y="93"/>
                    <a:pt x="24" y="93"/>
                  </a:cubicBezTo>
                  <a:moveTo>
                    <a:pt x="24" y="77"/>
                  </a:moveTo>
                  <a:cubicBezTo>
                    <a:pt x="25" y="77"/>
                    <a:pt x="26" y="76"/>
                    <a:pt x="26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69"/>
                    <a:pt x="25" y="68"/>
                    <a:pt x="24" y="68"/>
                  </a:cubicBezTo>
                  <a:cubicBezTo>
                    <a:pt x="23" y="68"/>
                    <a:pt x="22" y="69"/>
                    <a:pt x="22" y="70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6"/>
                    <a:pt x="23" y="77"/>
                    <a:pt x="24" y="77"/>
                  </a:cubicBezTo>
                  <a:moveTo>
                    <a:pt x="117" y="93"/>
                  </a:moveTo>
                  <a:cubicBezTo>
                    <a:pt x="118" y="93"/>
                    <a:pt x="119" y="92"/>
                    <a:pt x="119" y="91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84"/>
                    <a:pt x="118" y="83"/>
                    <a:pt x="117" y="83"/>
                  </a:cubicBezTo>
                  <a:cubicBezTo>
                    <a:pt x="115" y="83"/>
                    <a:pt x="114" y="84"/>
                    <a:pt x="114" y="85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2"/>
                    <a:pt x="115" y="93"/>
                    <a:pt x="117" y="93"/>
                  </a:cubicBezTo>
                  <a:moveTo>
                    <a:pt x="117" y="77"/>
                  </a:moveTo>
                  <a:cubicBezTo>
                    <a:pt x="118" y="77"/>
                    <a:pt x="119" y="76"/>
                    <a:pt x="119" y="74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9" y="68"/>
                    <a:pt x="118" y="67"/>
                    <a:pt x="117" y="67"/>
                  </a:cubicBezTo>
                  <a:cubicBezTo>
                    <a:pt x="115" y="67"/>
                    <a:pt x="114" y="68"/>
                    <a:pt x="114" y="69"/>
                  </a:cubicBezTo>
                  <a:cubicBezTo>
                    <a:pt x="114" y="74"/>
                    <a:pt x="114" y="74"/>
                    <a:pt x="114" y="74"/>
                  </a:cubicBezTo>
                  <a:cubicBezTo>
                    <a:pt x="114" y="76"/>
                    <a:pt x="115" y="77"/>
                    <a:pt x="117" y="77"/>
                  </a:cubicBezTo>
                  <a:moveTo>
                    <a:pt x="87" y="69"/>
                  </a:moveTo>
                  <a:cubicBezTo>
                    <a:pt x="85" y="69"/>
                    <a:pt x="84" y="70"/>
                    <a:pt x="84" y="71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5" y="78"/>
                    <a:pt x="87" y="78"/>
                  </a:cubicBezTo>
                  <a:cubicBezTo>
                    <a:pt x="88" y="78"/>
                    <a:pt x="89" y="77"/>
                    <a:pt x="89" y="76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9" y="70"/>
                    <a:pt x="88" y="69"/>
                    <a:pt x="87" y="69"/>
                  </a:cubicBezTo>
                  <a:moveTo>
                    <a:pt x="89" y="55"/>
                  </a:moveTo>
                  <a:cubicBezTo>
                    <a:pt x="89" y="54"/>
                    <a:pt x="88" y="53"/>
                    <a:pt x="87" y="53"/>
                  </a:cubicBezTo>
                  <a:cubicBezTo>
                    <a:pt x="85" y="53"/>
                    <a:pt x="84" y="54"/>
                    <a:pt x="84" y="55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2"/>
                    <a:pt x="85" y="63"/>
                    <a:pt x="87" y="63"/>
                  </a:cubicBezTo>
                  <a:cubicBezTo>
                    <a:pt x="88" y="63"/>
                    <a:pt x="89" y="62"/>
                    <a:pt x="89" y="60"/>
                  </a:cubicBezTo>
                  <a:lnTo>
                    <a:pt x="89" y="55"/>
                  </a:lnTo>
                  <a:close/>
                  <a:moveTo>
                    <a:pt x="68" y="76"/>
                  </a:moveTo>
                  <a:cubicBezTo>
                    <a:pt x="68" y="77"/>
                    <a:pt x="69" y="78"/>
                    <a:pt x="71" y="78"/>
                  </a:cubicBezTo>
                  <a:cubicBezTo>
                    <a:pt x="72" y="78"/>
                    <a:pt x="73" y="77"/>
                    <a:pt x="73" y="76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0"/>
                    <a:pt x="72" y="69"/>
                    <a:pt x="71" y="69"/>
                  </a:cubicBezTo>
                  <a:cubicBezTo>
                    <a:pt x="69" y="69"/>
                    <a:pt x="68" y="70"/>
                    <a:pt x="68" y="71"/>
                  </a:cubicBezTo>
                  <a:lnTo>
                    <a:pt x="68" y="76"/>
                  </a:lnTo>
                  <a:close/>
                  <a:moveTo>
                    <a:pt x="53" y="69"/>
                  </a:moveTo>
                  <a:cubicBezTo>
                    <a:pt x="52" y="69"/>
                    <a:pt x="51" y="70"/>
                    <a:pt x="51" y="71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7"/>
                    <a:pt x="52" y="78"/>
                    <a:pt x="53" y="78"/>
                  </a:cubicBezTo>
                  <a:cubicBezTo>
                    <a:pt x="54" y="78"/>
                    <a:pt x="55" y="77"/>
                    <a:pt x="55" y="76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4" y="69"/>
                    <a:pt x="53" y="69"/>
                  </a:cubicBezTo>
                  <a:moveTo>
                    <a:pt x="68" y="60"/>
                  </a:moveTo>
                  <a:cubicBezTo>
                    <a:pt x="68" y="62"/>
                    <a:pt x="69" y="63"/>
                    <a:pt x="71" y="63"/>
                  </a:cubicBezTo>
                  <a:cubicBezTo>
                    <a:pt x="72" y="63"/>
                    <a:pt x="73" y="62"/>
                    <a:pt x="73" y="60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4"/>
                    <a:pt x="72" y="53"/>
                    <a:pt x="71" y="53"/>
                  </a:cubicBezTo>
                  <a:cubicBezTo>
                    <a:pt x="69" y="53"/>
                    <a:pt x="68" y="54"/>
                    <a:pt x="68" y="55"/>
                  </a:cubicBezTo>
                  <a:lnTo>
                    <a:pt x="68" y="60"/>
                  </a:lnTo>
                  <a:close/>
                  <a:moveTo>
                    <a:pt x="55" y="55"/>
                  </a:moveTo>
                  <a:cubicBezTo>
                    <a:pt x="55" y="54"/>
                    <a:pt x="54" y="53"/>
                    <a:pt x="53" y="53"/>
                  </a:cubicBezTo>
                  <a:cubicBezTo>
                    <a:pt x="52" y="53"/>
                    <a:pt x="51" y="54"/>
                    <a:pt x="51" y="55"/>
                  </a:cubicBezTo>
                  <a:cubicBezTo>
                    <a:pt x="51" y="60"/>
                    <a:pt x="51" y="60"/>
                    <a:pt x="51" y="60"/>
                  </a:cubicBezTo>
                  <a:cubicBezTo>
                    <a:pt x="51" y="62"/>
                    <a:pt x="52" y="63"/>
                    <a:pt x="53" y="63"/>
                  </a:cubicBezTo>
                  <a:cubicBezTo>
                    <a:pt x="54" y="63"/>
                    <a:pt x="55" y="62"/>
                    <a:pt x="55" y="60"/>
                  </a:cubicBezTo>
                  <a:lnTo>
                    <a:pt x="55" y="55"/>
                  </a:lnTo>
                  <a:close/>
                  <a:moveTo>
                    <a:pt x="89" y="38"/>
                  </a:moveTo>
                  <a:cubicBezTo>
                    <a:pt x="89" y="37"/>
                    <a:pt x="88" y="36"/>
                    <a:pt x="87" y="36"/>
                  </a:cubicBezTo>
                  <a:cubicBezTo>
                    <a:pt x="85" y="36"/>
                    <a:pt x="84" y="37"/>
                    <a:pt x="84" y="3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6"/>
                    <a:pt x="85" y="47"/>
                    <a:pt x="87" y="47"/>
                  </a:cubicBezTo>
                  <a:cubicBezTo>
                    <a:pt x="88" y="47"/>
                    <a:pt x="89" y="46"/>
                    <a:pt x="89" y="44"/>
                  </a:cubicBezTo>
                  <a:lnTo>
                    <a:pt x="89" y="38"/>
                  </a:lnTo>
                  <a:close/>
                  <a:moveTo>
                    <a:pt x="71" y="47"/>
                  </a:moveTo>
                  <a:cubicBezTo>
                    <a:pt x="72" y="47"/>
                    <a:pt x="73" y="46"/>
                    <a:pt x="73" y="44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7"/>
                    <a:pt x="72" y="36"/>
                    <a:pt x="71" y="36"/>
                  </a:cubicBezTo>
                  <a:cubicBezTo>
                    <a:pt x="69" y="36"/>
                    <a:pt x="68" y="37"/>
                    <a:pt x="68" y="3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6"/>
                    <a:pt x="69" y="47"/>
                    <a:pt x="71" y="47"/>
                  </a:cubicBezTo>
                  <a:moveTo>
                    <a:pt x="55" y="38"/>
                  </a:moveTo>
                  <a:cubicBezTo>
                    <a:pt x="55" y="37"/>
                    <a:pt x="54" y="36"/>
                    <a:pt x="53" y="36"/>
                  </a:cubicBezTo>
                  <a:cubicBezTo>
                    <a:pt x="52" y="36"/>
                    <a:pt x="51" y="37"/>
                    <a:pt x="51" y="38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6"/>
                    <a:pt x="52" y="47"/>
                    <a:pt x="53" y="47"/>
                  </a:cubicBezTo>
                  <a:cubicBezTo>
                    <a:pt x="54" y="47"/>
                    <a:pt x="55" y="46"/>
                    <a:pt x="55" y="44"/>
                  </a:cubicBezTo>
                  <a:lnTo>
                    <a:pt x="55" y="38"/>
                  </a:lnTo>
                  <a:close/>
                  <a:moveTo>
                    <a:pt x="77" y="103"/>
                  </a:moveTo>
                  <a:cubicBezTo>
                    <a:pt x="79" y="103"/>
                    <a:pt x="80" y="102"/>
                    <a:pt x="80" y="101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80" y="85"/>
                    <a:pt x="79" y="84"/>
                    <a:pt x="77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1" y="84"/>
                    <a:pt x="60" y="85"/>
                    <a:pt x="60" y="87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2"/>
                    <a:pt x="61" y="103"/>
                    <a:pt x="62" y="103"/>
                  </a:cubicBezTo>
                  <a:cubicBezTo>
                    <a:pt x="63" y="103"/>
                    <a:pt x="64" y="102"/>
                    <a:pt x="64" y="101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2"/>
                    <a:pt x="76" y="103"/>
                    <a:pt x="77" y="103"/>
                  </a:cubicBezTo>
                  <a:moveTo>
                    <a:pt x="130" y="105"/>
                  </a:moveTo>
                  <a:cubicBezTo>
                    <a:pt x="103" y="105"/>
                    <a:pt x="103" y="105"/>
                    <a:pt x="103" y="105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30" y="60"/>
                    <a:pt x="130" y="60"/>
                    <a:pt x="130" y="60"/>
                  </a:cubicBezTo>
                  <a:lnTo>
                    <a:pt x="130" y="105"/>
                  </a:lnTo>
                  <a:close/>
                  <a:moveTo>
                    <a:pt x="36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36" y="60"/>
                    <a:pt x="36" y="60"/>
                    <a:pt x="36" y="60"/>
                  </a:cubicBezTo>
                  <a:lnTo>
                    <a:pt x="36" y="105"/>
                  </a:lnTo>
                  <a:close/>
                  <a:moveTo>
                    <a:pt x="138" y="55"/>
                  </a:moveTo>
                  <a:cubicBezTo>
                    <a:pt x="104" y="55"/>
                    <a:pt x="104" y="55"/>
                    <a:pt x="104" y="55"/>
                  </a:cubicBezTo>
                  <a:cubicBezTo>
                    <a:pt x="103" y="55"/>
                    <a:pt x="103" y="56"/>
                    <a:pt x="103" y="56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0"/>
                    <a:pt x="102" y="29"/>
                    <a:pt x="100" y="29"/>
                  </a:cubicBezTo>
                  <a:cubicBezTo>
                    <a:pt x="99" y="29"/>
                    <a:pt x="98" y="30"/>
                    <a:pt x="98" y="32"/>
                  </a:cubicBezTo>
                  <a:cubicBezTo>
                    <a:pt x="98" y="105"/>
                    <a:pt x="98" y="105"/>
                    <a:pt x="98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1"/>
                    <a:pt x="40" y="30"/>
                    <a:pt x="39" y="30"/>
                  </a:cubicBezTo>
                  <a:cubicBezTo>
                    <a:pt x="38" y="30"/>
                    <a:pt x="36" y="31"/>
                    <a:pt x="36" y="3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5"/>
                    <a:pt x="0" y="56"/>
                    <a:pt x="0" y="58"/>
                  </a:cubicBezTo>
                  <a:cubicBezTo>
                    <a:pt x="0" y="59"/>
                    <a:pt x="1" y="60"/>
                    <a:pt x="2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108"/>
                    <a:pt x="5" y="108"/>
                    <a:pt x="5" y="108"/>
                  </a:cubicBezTo>
                  <a:cubicBezTo>
                    <a:pt x="5" y="109"/>
                    <a:pt x="6" y="110"/>
                    <a:pt x="7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33" y="110"/>
                    <a:pt x="134" y="109"/>
                    <a:pt x="134" y="108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9" y="60"/>
                    <a:pt x="140" y="59"/>
                    <a:pt x="140" y="58"/>
                  </a:cubicBezTo>
                  <a:cubicBezTo>
                    <a:pt x="140" y="56"/>
                    <a:pt x="139" y="55"/>
                    <a:pt x="138" y="55"/>
                  </a:cubicBezTo>
                  <a:moveTo>
                    <a:pt x="31" y="33"/>
                  </a:moveTo>
                  <a:cubicBezTo>
                    <a:pt x="31" y="33"/>
                    <a:pt x="32" y="33"/>
                    <a:pt x="32" y="32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7" y="30"/>
                    <a:pt x="108" y="30"/>
                    <a:pt x="109" y="29"/>
                  </a:cubicBezTo>
                  <a:cubicBezTo>
                    <a:pt x="110" y="28"/>
                    <a:pt x="110" y="27"/>
                    <a:pt x="109" y="26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2" y="0"/>
                    <a:pt x="71" y="0"/>
                    <a:pt x="70" y="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9" y="29"/>
                    <a:pt x="28" y="31"/>
                    <a:pt x="29" y="32"/>
                  </a:cubicBezTo>
                  <a:cubicBezTo>
                    <a:pt x="29" y="32"/>
                    <a:pt x="30" y="33"/>
                    <a:pt x="31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17B40B8-A93F-4DCF-8D89-6B2825B6A558}"/>
              </a:ext>
            </a:extLst>
          </p:cNvPr>
          <p:cNvGrpSpPr/>
          <p:nvPr/>
        </p:nvGrpSpPr>
        <p:grpSpPr>
          <a:xfrm>
            <a:off x="4746625" y="278606"/>
            <a:ext cx="844550" cy="844550"/>
            <a:chOff x="4746625" y="282575"/>
            <a:chExt cx="844550" cy="844550"/>
          </a:xfrm>
        </p:grpSpPr>
        <p:sp>
          <p:nvSpPr>
            <p:cNvPr id="45" name="AutoShape 32">
              <a:extLst>
                <a:ext uri="{FF2B5EF4-FFF2-40B4-BE49-F238E27FC236}">
                  <a16:creationId xmlns:a16="http://schemas.microsoft.com/office/drawing/2014/main" id="{1D56B09A-08B5-42CB-B58B-B229CD7ED3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746625" y="282575"/>
              <a:ext cx="841375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34">
              <a:extLst>
                <a:ext uri="{FF2B5EF4-FFF2-40B4-BE49-F238E27FC236}">
                  <a16:creationId xmlns:a16="http://schemas.microsoft.com/office/drawing/2014/main" id="{7375025E-3E4B-4067-8FA5-2148C4E1D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25" y="282575"/>
              <a:ext cx="844550" cy="84455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B3BDD672-1DCA-4E85-A68C-C3609DDAA7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5200" y="311150"/>
              <a:ext cx="788988" cy="78898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098D8AF0-0B25-4AF4-AD85-AED7FECDD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4738" y="449263"/>
              <a:ext cx="568325" cy="447675"/>
            </a:xfrm>
            <a:custGeom>
              <a:avLst/>
              <a:gdLst>
                <a:gd name="T0" fmla="*/ 26 w 140"/>
                <a:gd name="T1" fmla="*/ 86 h 110"/>
                <a:gd name="T2" fmla="*/ 22 w 140"/>
                <a:gd name="T3" fmla="*/ 91 h 110"/>
                <a:gd name="T4" fmla="*/ 26 w 140"/>
                <a:gd name="T5" fmla="*/ 75 h 110"/>
                <a:gd name="T6" fmla="*/ 22 w 140"/>
                <a:gd name="T7" fmla="*/ 70 h 110"/>
                <a:gd name="T8" fmla="*/ 117 w 140"/>
                <a:gd name="T9" fmla="*/ 93 h 110"/>
                <a:gd name="T10" fmla="*/ 117 w 140"/>
                <a:gd name="T11" fmla="*/ 83 h 110"/>
                <a:gd name="T12" fmla="*/ 117 w 140"/>
                <a:gd name="T13" fmla="*/ 93 h 110"/>
                <a:gd name="T14" fmla="*/ 119 w 140"/>
                <a:gd name="T15" fmla="*/ 69 h 110"/>
                <a:gd name="T16" fmla="*/ 114 w 140"/>
                <a:gd name="T17" fmla="*/ 74 h 110"/>
                <a:gd name="T18" fmla="*/ 84 w 140"/>
                <a:gd name="T19" fmla="*/ 71 h 110"/>
                <a:gd name="T20" fmla="*/ 89 w 140"/>
                <a:gd name="T21" fmla="*/ 76 h 110"/>
                <a:gd name="T22" fmla="*/ 89 w 140"/>
                <a:gd name="T23" fmla="*/ 55 h 110"/>
                <a:gd name="T24" fmla="*/ 84 w 140"/>
                <a:gd name="T25" fmla="*/ 60 h 110"/>
                <a:gd name="T26" fmla="*/ 89 w 140"/>
                <a:gd name="T27" fmla="*/ 55 h 110"/>
                <a:gd name="T28" fmla="*/ 73 w 140"/>
                <a:gd name="T29" fmla="*/ 76 h 110"/>
                <a:gd name="T30" fmla="*/ 68 w 140"/>
                <a:gd name="T31" fmla="*/ 71 h 110"/>
                <a:gd name="T32" fmla="*/ 51 w 140"/>
                <a:gd name="T33" fmla="*/ 71 h 110"/>
                <a:gd name="T34" fmla="*/ 55 w 140"/>
                <a:gd name="T35" fmla="*/ 76 h 110"/>
                <a:gd name="T36" fmla="*/ 68 w 140"/>
                <a:gd name="T37" fmla="*/ 60 h 110"/>
                <a:gd name="T38" fmla="*/ 73 w 140"/>
                <a:gd name="T39" fmla="*/ 55 h 110"/>
                <a:gd name="T40" fmla="*/ 68 w 140"/>
                <a:gd name="T41" fmla="*/ 60 h 110"/>
                <a:gd name="T42" fmla="*/ 51 w 140"/>
                <a:gd name="T43" fmla="*/ 55 h 110"/>
                <a:gd name="T44" fmla="*/ 55 w 140"/>
                <a:gd name="T45" fmla="*/ 60 h 110"/>
                <a:gd name="T46" fmla="*/ 87 w 140"/>
                <a:gd name="T47" fmla="*/ 36 h 110"/>
                <a:gd name="T48" fmla="*/ 87 w 140"/>
                <a:gd name="T49" fmla="*/ 47 h 110"/>
                <a:gd name="T50" fmla="*/ 71 w 140"/>
                <a:gd name="T51" fmla="*/ 47 h 110"/>
                <a:gd name="T52" fmla="*/ 71 w 140"/>
                <a:gd name="T53" fmla="*/ 36 h 110"/>
                <a:gd name="T54" fmla="*/ 71 w 140"/>
                <a:gd name="T55" fmla="*/ 47 h 110"/>
                <a:gd name="T56" fmla="*/ 51 w 140"/>
                <a:gd name="T57" fmla="*/ 38 h 110"/>
                <a:gd name="T58" fmla="*/ 55 w 140"/>
                <a:gd name="T59" fmla="*/ 44 h 110"/>
                <a:gd name="T60" fmla="*/ 80 w 140"/>
                <a:gd name="T61" fmla="*/ 101 h 110"/>
                <a:gd name="T62" fmla="*/ 62 w 140"/>
                <a:gd name="T63" fmla="*/ 84 h 110"/>
                <a:gd name="T64" fmla="*/ 62 w 140"/>
                <a:gd name="T65" fmla="*/ 103 h 110"/>
                <a:gd name="T66" fmla="*/ 75 w 140"/>
                <a:gd name="T67" fmla="*/ 89 h 110"/>
                <a:gd name="T68" fmla="*/ 130 w 140"/>
                <a:gd name="T69" fmla="*/ 105 h 110"/>
                <a:gd name="T70" fmla="*/ 104 w 140"/>
                <a:gd name="T71" fmla="*/ 60 h 110"/>
                <a:gd name="T72" fmla="*/ 36 w 140"/>
                <a:gd name="T73" fmla="*/ 105 h 110"/>
                <a:gd name="T74" fmla="*/ 36 w 140"/>
                <a:gd name="T75" fmla="*/ 60 h 110"/>
                <a:gd name="T76" fmla="*/ 104 w 140"/>
                <a:gd name="T77" fmla="*/ 55 h 110"/>
                <a:gd name="T78" fmla="*/ 100 w 140"/>
                <a:gd name="T79" fmla="*/ 29 h 110"/>
                <a:gd name="T80" fmla="*/ 41 w 140"/>
                <a:gd name="T81" fmla="*/ 105 h 110"/>
                <a:gd name="T82" fmla="*/ 36 w 140"/>
                <a:gd name="T83" fmla="*/ 32 h 110"/>
                <a:gd name="T84" fmla="*/ 0 w 140"/>
                <a:gd name="T85" fmla="*/ 58 h 110"/>
                <a:gd name="T86" fmla="*/ 5 w 140"/>
                <a:gd name="T87" fmla="*/ 108 h 110"/>
                <a:gd name="T88" fmla="*/ 134 w 140"/>
                <a:gd name="T89" fmla="*/ 108 h 110"/>
                <a:gd name="T90" fmla="*/ 140 w 140"/>
                <a:gd name="T91" fmla="*/ 58 h 110"/>
                <a:gd name="T92" fmla="*/ 32 w 140"/>
                <a:gd name="T93" fmla="*/ 32 h 110"/>
                <a:gd name="T94" fmla="*/ 109 w 140"/>
                <a:gd name="T95" fmla="*/ 29 h 110"/>
                <a:gd name="T96" fmla="*/ 70 w 140"/>
                <a:gd name="T97" fmla="*/ 0 h 110"/>
                <a:gd name="T98" fmla="*/ 31 w 140"/>
                <a:gd name="T99" fmla="*/ 3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0" h="110">
                  <a:moveTo>
                    <a:pt x="24" y="93"/>
                  </a:moveTo>
                  <a:cubicBezTo>
                    <a:pt x="25" y="93"/>
                    <a:pt x="26" y="92"/>
                    <a:pt x="26" y="91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4"/>
                    <a:pt x="25" y="83"/>
                    <a:pt x="24" y="83"/>
                  </a:cubicBezTo>
                  <a:cubicBezTo>
                    <a:pt x="23" y="83"/>
                    <a:pt x="22" y="84"/>
                    <a:pt x="22" y="86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2" y="92"/>
                    <a:pt x="23" y="93"/>
                    <a:pt x="24" y="93"/>
                  </a:cubicBezTo>
                  <a:moveTo>
                    <a:pt x="24" y="77"/>
                  </a:moveTo>
                  <a:cubicBezTo>
                    <a:pt x="25" y="77"/>
                    <a:pt x="26" y="76"/>
                    <a:pt x="26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69"/>
                    <a:pt x="25" y="68"/>
                    <a:pt x="24" y="68"/>
                  </a:cubicBezTo>
                  <a:cubicBezTo>
                    <a:pt x="23" y="68"/>
                    <a:pt x="22" y="69"/>
                    <a:pt x="22" y="70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6"/>
                    <a:pt x="23" y="77"/>
                    <a:pt x="24" y="77"/>
                  </a:cubicBezTo>
                  <a:moveTo>
                    <a:pt x="117" y="93"/>
                  </a:moveTo>
                  <a:cubicBezTo>
                    <a:pt x="118" y="93"/>
                    <a:pt x="119" y="92"/>
                    <a:pt x="119" y="91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84"/>
                    <a:pt x="118" y="83"/>
                    <a:pt x="117" y="83"/>
                  </a:cubicBezTo>
                  <a:cubicBezTo>
                    <a:pt x="115" y="83"/>
                    <a:pt x="114" y="84"/>
                    <a:pt x="114" y="85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2"/>
                    <a:pt x="115" y="93"/>
                    <a:pt x="117" y="93"/>
                  </a:cubicBezTo>
                  <a:moveTo>
                    <a:pt x="117" y="77"/>
                  </a:moveTo>
                  <a:cubicBezTo>
                    <a:pt x="118" y="77"/>
                    <a:pt x="119" y="76"/>
                    <a:pt x="119" y="74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9" y="68"/>
                    <a:pt x="118" y="67"/>
                    <a:pt x="117" y="67"/>
                  </a:cubicBezTo>
                  <a:cubicBezTo>
                    <a:pt x="115" y="67"/>
                    <a:pt x="114" y="68"/>
                    <a:pt x="114" y="69"/>
                  </a:cubicBezTo>
                  <a:cubicBezTo>
                    <a:pt x="114" y="74"/>
                    <a:pt x="114" y="74"/>
                    <a:pt x="114" y="74"/>
                  </a:cubicBezTo>
                  <a:cubicBezTo>
                    <a:pt x="114" y="76"/>
                    <a:pt x="115" y="77"/>
                    <a:pt x="117" y="77"/>
                  </a:cubicBezTo>
                  <a:moveTo>
                    <a:pt x="87" y="69"/>
                  </a:moveTo>
                  <a:cubicBezTo>
                    <a:pt x="85" y="69"/>
                    <a:pt x="84" y="70"/>
                    <a:pt x="84" y="71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5" y="78"/>
                    <a:pt x="87" y="78"/>
                  </a:cubicBezTo>
                  <a:cubicBezTo>
                    <a:pt x="88" y="78"/>
                    <a:pt x="89" y="77"/>
                    <a:pt x="89" y="76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9" y="70"/>
                    <a:pt x="88" y="69"/>
                    <a:pt x="87" y="69"/>
                  </a:cubicBezTo>
                  <a:moveTo>
                    <a:pt x="89" y="55"/>
                  </a:moveTo>
                  <a:cubicBezTo>
                    <a:pt x="89" y="54"/>
                    <a:pt x="88" y="53"/>
                    <a:pt x="87" y="53"/>
                  </a:cubicBezTo>
                  <a:cubicBezTo>
                    <a:pt x="85" y="53"/>
                    <a:pt x="84" y="54"/>
                    <a:pt x="84" y="55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2"/>
                    <a:pt x="85" y="63"/>
                    <a:pt x="87" y="63"/>
                  </a:cubicBezTo>
                  <a:cubicBezTo>
                    <a:pt x="88" y="63"/>
                    <a:pt x="89" y="62"/>
                    <a:pt x="89" y="60"/>
                  </a:cubicBezTo>
                  <a:lnTo>
                    <a:pt x="89" y="55"/>
                  </a:lnTo>
                  <a:close/>
                  <a:moveTo>
                    <a:pt x="68" y="76"/>
                  </a:moveTo>
                  <a:cubicBezTo>
                    <a:pt x="68" y="77"/>
                    <a:pt x="69" y="78"/>
                    <a:pt x="71" y="78"/>
                  </a:cubicBezTo>
                  <a:cubicBezTo>
                    <a:pt x="72" y="78"/>
                    <a:pt x="73" y="77"/>
                    <a:pt x="73" y="76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0"/>
                    <a:pt x="72" y="69"/>
                    <a:pt x="71" y="69"/>
                  </a:cubicBezTo>
                  <a:cubicBezTo>
                    <a:pt x="69" y="69"/>
                    <a:pt x="68" y="70"/>
                    <a:pt x="68" y="71"/>
                  </a:cubicBezTo>
                  <a:lnTo>
                    <a:pt x="68" y="76"/>
                  </a:lnTo>
                  <a:close/>
                  <a:moveTo>
                    <a:pt x="53" y="69"/>
                  </a:moveTo>
                  <a:cubicBezTo>
                    <a:pt x="52" y="69"/>
                    <a:pt x="51" y="70"/>
                    <a:pt x="51" y="71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7"/>
                    <a:pt x="52" y="78"/>
                    <a:pt x="53" y="78"/>
                  </a:cubicBezTo>
                  <a:cubicBezTo>
                    <a:pt x="54" y="78"/>
                    <a:pt x="55" y="77"/>
                    <a:pt x="55" y="76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4" y="69"/>
                    <a:pt x="53" y="69"/>
                  </a:cubicBezTo>
                  <a:moveTo>
                    <a:pt x="68" y="60"/>
                  </a:moveTo>
                  <a:cubicBezTo>
                    <a:pt x="68" y="62"/>
                    <a:pt x="69" y="63"/>
                    <a:pt x="71" y="63"/>
                  </a:cubicBezTo>
                  <a:cubicBezTo>
                    <a:pt x="72" y="63"/>
                    <a:pt x="73" y="62"/>
                    <a:pt x="73" y="60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4"/>
                    <a:pt x="72" y="53"/>
                    <a:pt x="71" y="53"/>
                  </a:cubicBezTo>
                  <a:cubicBezTo>
                    <a:pt x="69" y="53"/>
                    <a:pt x="68" y="54"/>
                    <a:pt x="68" y="55"/>
                  </a:cubicBezTo>
                  <a:lnTo>
                    <a:pt x="68" y="60"/>
                  </a:lnTo>
                  <a:close/>
                  <a:moveTo>
                    <a:pt x="55" y="55"/>
                  </a:moveTo>
                  <a:cubicBezTo>
                    <a:pt x="55" y="54"/>
                    <a:pt x="54" y="53"/>
                    <a:pt x="53" y="53"/>
                  </a:cubicBezTo>
                  <a:cubicBezTo>
                    <a:pt x="52" y="53"/>
                    <a:pt x="51" y="54"/>
                    <a:pt x="51" y="55"/>
                  </a:cubicBezTo>
                  <a:cubicBezTo>
                    <a:pt x="51" y="60"/>
                    <a:pt x="51" y="60"/>
                    <a:pt x="51" y="60"/>
                  </a:cubicBezTo>
                  <a:cubicBezTo>
                    <a:pt x="51" y="62"/>
                    <a:pt x="52" y="63"/>
                    <a:pt x="53" y="63"/>
                  </a:cubicBezTo>
                  <a:cubicBezTo>
                    <a:pt x="54" y="63"/>
                    <a:pt x="55" y="62"/>
                    <a:pt x="55" y="60"/>
                  </a:cubicBezTo>
                  <a:lnTo>
                    <a:pt x="55" y="55"/>
                  </a:lnTo>
                  <a:close/>
                  <a:moveTo>
                    <a:pt x="89" y="38"/>
                  </a:moveTo>
                  <a:cubicBezTo>
                    <a:pt x="89" y="37"/>
                    <a:pt x="88" y="36"/>
                    <a:pt x="87" y="36"/>
                  </a:cubicBezTo>
                  <a:cubicBezTo>
                    <a:pt x="85" y="36"/>
                    <a:pt x="84" y="37"/>
                    <a:pt x="84" y="3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6"/>
                    <a:pt x="85" y="47"/>
                    <a:pt x="87" y="47"/>
                  </a:cubicBezTo>
                  <a:cubicBezTo>
                    <a:pt x="88" y="47"/>
                    <a:pt x="89" y="46"/>
                    <a:pt x="89" y="44"/>
                  </a:cubicBezTo>
                  <a:lnTo>
                    <a:pt x="89" y="38"/>
                  </a:lnTo>
                  <a:close/>
                  <a:moveTo>
                    <a:pt x="71" y="47"/>
                  </a:moveTo>
                  <a:cubicBezTo>
                    <a:pt x="72" y="47"/>
                    <a:pt x="73" y="46"/>
                    <a:pt x="73" y="44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7"/>
                    <a:pt x="72" y="36"/>
                    <a:pt x="71" y="36"/>
                  </a:cubicBezTo>
                  <a:cubicBezTo>
                    <a:pt x="69" y="36"/>
                    <a:pt x="68" y="37"/>
                    <a:pt x="68" y="3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6"/>
                    <a:pt x="69" y="47"/>
                    <a:pt x="71" y="47"/>
                  </a:cubicBezTo>
                  <a:moveTo>
                    <a:pt x="55" y="38"/>
                  </a:moveTo>
                  <a:cubicBezTo>
                    <a:pt x="55" y="37"/>
                    <a:pt x="54" y="36"/>
                    <a:pt x="53" y="36"/>
                  </a:cubicBezTo>
                  <a:cubicBezTo>
                    <a:pt x="52" y="36"/>
                    <a:pt x="51" y="37"/>
                    <a:pt x="51" y="38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6"/>
                    <a:pt x="52" y="47"/>
                    <a:pt x="53" y="47"/>
                  </a:cubicBezTo>
                  <a:cubicBezTo>
                    <a:pt x="54" y="47"/>
                    <a:pt x="55" y="46"/>
                    <a:pt x="55" y="44"/>
                  </a:cubicBezTo>
                  <a:lnTo>
                    <a:pt x="55" y="38"/>
                  </a:lnTo>
                  <a:close/>
                  <a:moveTo>
                    <a:pt x="77" y="103"/>
                  </a:moveTo>
                  <a:cubicBezTo>
                    <a:pt x="79" y="103"/>
                    <a:pt x="80" y="102"/>
                    <a:pt x="80" y="101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80" y="85"/>
                    <a:pt x="79" y="84"/>
                    <a:pt x="77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1" y="84"/>
                    <a:pt x="60" y="85"/>
                    <a:pt x="60" y="87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2"/>
                    <a:pt x="61" y="103"/>
                    <a:pt x="62" y="103"/>
                  </a:cubicBezTo>
                  <a:cubicBezTo>
                    <a:pt x="63" y="103"/>
                    <a:pt x="64" y="102"/>
                    <a:pt x="64" y="101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2"/>
                    <a:pt x="76" y="103"/>
                    <a:pt x="77" y="103"/>
                  </a:cubicBezTo>
                  <a:moveTo>
                    <a:pt x="130" y="105"/>
                  </a:moveTo>
                  <a:cubicBezTo>
                    <a:pt x="103" y="105"/>
                    <a:pt x="103" y="105"/>
                    <a:pt x="103" y="105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30" y="60"/>
                    <a:pt x="130" y="60"/>
                    <a:pt x="130" y="60"/>
                  </a:cubicBezTo>
                  <a:lnTo>
                    <a:pt x="130" y="105"/>
                  </a:lnTo>
                  <a:close/>
                  <a:moveTo>
                    <a:pt x="36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36" y="60"/>
                    <a:pt x="36" y="60"/>
                    <a:pt x="36" y="60"/>
                  </a:cubicBezTo>
                  <a:lnTo>
                    <a:pt x="36" y="105"/>
                  </a:lnTo>
                  <a:close/>
                  <a:moveTo>
                    <a:pt x="138" y="55"/>
                  </a:moveTo>
                  <a:cubicBezTo>
                    <a:pt x="104" y="55"/>
                    <a:pt x="104" y="55"/>
                    <a:pt x="104" y="55"/>
                  </a:cubicBezTo>
                  <a:cubicBezTo>
                    <a:pt x="103" y="55"/>
                    <a:pt x="103" y="56"/>
                    <a:pt x="103" y="56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0"/>
                    <a:pt x="102" y="29"/>
                    <a:pt x="100" y="29"/>
                  </a:cubicBezTo>
                  <a:cubicBezTo>
                    <a:pt x="99" y="29"/>
                    <a:pt x="98" y="30"/>
                    <a:pt x="98" y="32"/>
                  </a:cubicBezTo>
                  <a:cubicBezTo>
                    <a:pt x="98" y="105"/>
                    <a:pt x="98" y="105"/>
                    <a:pt x="98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1"/>
                    <a:pt x="40" y="30"/>
                    <a:pt x="39" y="30"/>
                  </a:cubicBezTo>
                  <a:cubicBezTo>
                    <a:pt x="38" y="30"/>
                    <a:pt x="36" y="31"/>
                    <a:pt x="36" y="32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5"/>
                    <a:pt x="0" y="56"/>
                    <a:pt x="0" y="58"/>
                  </a:cubicBezTo>
                  <a:cubicBezTo>
                    <a:pt x="0" y="59"/>
                    <a:pt x="1" y="60"/>
                    <a:pt x="2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108"/>
                    <a:pt x="5" y="108"/>
                    <a:pt x="5" y="108"/>
                  </a:cubicBezTo>
                  <a:cubicBezTo>
                    <a:pt x="5" y="109"/>
                    <a:pt x="6" y="110"/>
                    <a:pt x="7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33" y="110"/>
                    <a:pt x="134" y="109"/>
                    <a:pt x="134" y="108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9" y="60"/>
                    <a:pt x="140" y="59"/>
                    <a:pt x="140" y="58"/>
                  </a:cubicBezTo>
                  <a:cubicBezTo>
                    <a:pt x="140" y="56"/>
                    <a:pt x="139" y="55"/>
                    <a:pt x="138" y="55"/>
                  </a:cubicBezTo>
                  <a:moveTo>
                    <a:pt x="31" y="33"/>
                  </a:moveTo>
                  <a:cubicBezTo>
                    <a:pt x="31" y="33"/>
                    <a:pt x="32" y="33"/>
                    <a:pt x="32" y="32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7" y="30"/>
                    <a:pt x="108" y="30"/>
                    <a:pt x="109" y="29"/>
                  </a:cubicBezTo>
                  <a:cubicBezTo>
                    <a:pt x="110" y="28"/>
                    <a:pt x="110" y="27"/>
                    <a:pt x="109" y="26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2" y="0"/>
                    <a:pt x="71" y="0"/>
                    <a:pt x="70" y="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9" y="29"/>
                    <a:pt x="28" y="31"/>
                    <a:pt x="29" y="32"/>
                  </a:cubicBezTo>
                  <a:cubicBezTo>
                    <a:pt x="29" y="32"/>
                    <a:pt x="30" y="33"/>
                    <a:pt x="31" y="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A5B45640-8670-40B9-9755-DE6E777F1A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864" y="321405"/>
            <a:ext cx="759197" cy="758952"/>
          </a:xfrm>
          <a:prstGeom prst="rect">
            <a:avLst/>
          </a:prstGeom>
        </p:spPr>
      </p:pic>
      <p:grpSp>
        <p:nvGrpSpPr>
          <p:cNvPr id="54" name="Group 39">
            <a:extLst>
              <a:ext uri="{FF2B5EF4-FFF2-40B4-BE49-F238E27FC236}">
                <a16:creationId xmlns:a16="http://schemas.microsoft.com/office/drawing/2014/main" id="{F2F418D1-6D27-4F28-9B9E-B8309DCBCF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38963" y="278606"/>
            <a:ext cx="844550" cy="844550"/>
            <a:chOff x="4371" y="182"/>
            <a:chExt cx="532" cy="532"/>
          </a:xfrm>
        </p:grpSpPr>
        <p:sp>
          <p:nvSpPr>
            <p:cNvPr id="55" name="AutoShape 38">
              <a:extLst>
                <a:ext uri="{FF2B5EF4-FFF2-40B4-BE49-F238E27FC236}">
                  <a16:creationId xmlns:a16="http://schemas.microsoft.com/office/drawing/2014/main" id="{DDAD450C-80D6-4778-B78A-65FB8F2254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1" y="1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40">
              <a:extLst>
                <a:ext uri="{FF2B5EF4-FFF2-40B4-BE49-F238E27FC236}">
                  <a16:creationId xmlns:a16="http://schemas.microsoft.com/office/drawing/2014/main" id="{AAA9B09A-87BE-4ADE-A576-EE19BFEF4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1" y="1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1">
              <a:extLst>
                <a:ext uri="{FF2B5EF4-FFF2-40B4-BE49-F238E27FC236}">
                  <a16:creationId xmlns:a16="http://schemas.microsoft.com/office/drawing/2014/main" id="{5995ED20-21CF-407D-9D8F-C303B5FA5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9" y="2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2">
              <a:extLst>
                <a:ext uri="{FF2B5EF4-FFF2-40B4-BE49-F238E27FC236}">
                  <a16:creationId xmlns:a16="http://schemas.microsoft.com/office/drawing/2014/main" id="{A3CB121B-BF29-49AF-BF82-5926F8969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4" y="289"/>
              <a:ext cx="307" cy="318"/>
            </a:xfrm>
            <a:custGeom>
              <a:avLst/>
              <a:gdLst>
                <a:gd name="T0" fmla="*/ 115 w 120"/>
                <a:gd name="T1" fmla="*/ 43 h 124"/>
                <a:gd name="T2" fmla="*/ 111 w 120"/>
                <a:gd name="T3" fmla="*/ 43 h 124"/>
                <a:gd name="T4" fmla="*/ 106 w 120"/>
                <a:gd name="T5" fmla="*/ 64 h 124"/>
                <a:gd name="T6" fmla="*/ 113 w 120"/>
                <a:gd name="T7" fmla="*/ 71 h 124"/>
                <a:gd name="T8" fmla="*/ 111 w 120"/>
                <a:gd name="T9" fmla="*/ 76 h 124"/>
                <a:gd name="T10" fmla="*/ 107 w 120"/>
                <a:gd name="T11" fmla="*/ 75 h 124"/>
                <a:gd name="T12" fmla="*/ 113 w 120"/>
                <a:gd name="T13" fmla="*/ 80 h 124"/>
                <a:gd name="T14" fmla="*/ 114 w 120"/>
                <a:gd name="T15" fmla="*/ 66 h 124"/>
                <a:gd name="T16" fmla="*/ 117 w 120"/>
                <a:gd name="T17" fmla="*/ 63 h 124"/>
                <a:gd name="T18" fmla="*/ 16 w 120"/>
                <a:gd name="T19" fmla="*/ 122 h 124"/>
                <a:gd name="T20" fmla="*/ 66 w 120"/>
                <a:gd name="T21" fmla="*/ 122 h 124"/>
                <a:gd name="T22" fmla="*/ 110 w 120"/>
                <a:gd name="T23" fmla="*/ 27 h 124"/>
                <a:gd name="T24" fmla="*/ 75 w 120"/>
                <a:gd name="T25" fmla="*/ 36 h 124"/>
                <a:gd name="T26" fmla="*/ 95 w 120"/>
                <a:gd name="T27" fmla="*/ 36 h 124"/>
                <a:gd name="T28" fmla="*/ 75 w 120"/>
                <a:gd name="T29" fmla="*/ 36 h 124"/>
                <a:gd name="T30" fmla="*/ 72 w 120"/>
                <a:gd name="T31" fmla="*/ 34 h 124"/>
                <a:gd name="T32" fmla="*/ 62 w 120"/>
                <a:gd name="T33" fmla="*/ 28 h 124"/>
                <a:gd name="T34" fmla="*/ 50 w 120"/>
                <a:gd name="T35" fmla="*/ 33 h 124"/>
                <a:gd name="T36" fmla="*/ 50 w 120"/>
                <a:gd name="T37" fmla="*/ 33 h 124"/>
                <a:gd name="T38" fmla="*/ 29 w 120"/>
                <a:gd name="T39" fmla="*/ 36 h 124"/>
                <a:gd name="T40" fmla="*/ 49 w 120"/>
                <a:gd name="T41" fmla="*/ 36 h 124"/>
                <a:gd name="T42" fmla="*/ 36 w 120"/>
                <a:gd name="T43" fmla="*/ 83 h 124"/>
                <a:gd name="T44" fmla="*/ 36 w 120"/>
                <a:gd name="T45" fmla="*/ 83 h 124"/>
                <a:gd name="T46" fmla="*/ 32 w 120"/>
                <a:gd name="T47" fmla="*/ 59 h 124"/>
                <a:gd name="T48" fmla="*/ 48 w 120"/>
                <a:gd name="T49" fmla="*/ 80 h 124"/>
                <a:gd name="T50" fmla="*/ 36 w 120"/>
                <a:gd name="T51" fmla="*/ 39 h 124"/>
                <a:gd name="T52" fmla="*/ 36 w 120"/>
                <a:gd name="T53" fmla="*/ 39 h 124"/>
                <a:gd name="T54" fmla="*/ 33 w 120"/>
                <a:gd name="T55" fmla="*/ 40 h 124"/>
                <a:gd name="T56" fmla="*/ 32 w 120"/>
                <a:gd name="T57" fmla="*/ 84 h 124"/>
                <a:gd name="T58" fmla="*/ 4 w 120"/>
                <a:gd name="T59" fmla="*/ 36 h 124"/>
                <a:gd name="T60" fmla="*/ 15 w 120"/>
                <a:gd name="T61" fmla="*/ 27 h 124"/>
                <a:gd name="T62" fmla="*/ 38 w 120"/>
                <a:gd name="T63" fmla="*/ 27 h 124"/>
                <a:gd name="T64" fmla="*/ 38 w 120"/>
                <a:gd name="T65" fmla="*/ 27 h 124"/>
                <a:gd name="T66" fmla="*/ 88 w 120"/>
                <a:gd name="T67" fmla="*/ 27 h 124"/>
                <a:gd name="T68" fmla="*/ 104 w 120"/>
                <a:gd name="T69" fmla="*/ 24 h 124"/>
                <a:gd name="T70" fmla="*/ 120 w 120"/>
                <a:gd name="T71" fmla="*/ 37 h 124"/>
                <a:gd name="T72" fmla="*/ 118 w 120"/>
                <a:gd name="T73" fmla="*/ 24 h 124"/>
                <a:gd name="T74" fmla="*/ 38 w 120"/>
                <a:gd name="T75" fmla="*/ 0 h 124"/>
                <a:gd name="T76" fmla="*/ 8 w 120"/>
                <a:gd name="T77" fmla="*/ 23 h 124"/>
                <a:gd name="T78" fmla="*/ 1 w 120"/>
                <a:gd name="T79" fmla="*/ 23 h 124"/>
                <a:gd name="T80" fmla="*/ 2 w 120"/>
                <a:gd name="T81" fmla="*/ 39 h 124"/>
                <a:gd name="T82" fmla="*/ 24 w 120"/>
                <a:gd name="T83" fmla="*/ 105 h 124"/>
                <a:gd name="T84" fmla="*/ 23 w 120"/>
                <a:gd name="T85" fmla="*/ 117 h 124"/>
                <a:gd name="T86" fmla="*/ 26 w 120"/>
                <a:gd name="T87" fmla="*/ 117 h 124"/>
                <a:gd name="T88" fmla="*/ 55 w 120"/>
                <a:gd name="T89" fmla="*/ 117 h 124"/>
                <a:gd name="T90" fmla="*/ 59 w 120"/>
                <a:gd name="T91" fmla="*/ 107 h 124"/>
                <a:gd name="T92" fmla="*/ 52 w 120"/>
                <a:gd name="T93" fmla="*/ 105 h 124"/>
                <a:gd name="T94" fmla="*/ 119 w 120"/>
                <a:gd name="T95" fmla="*/ 3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24">
                  <a:moveTo>
                    <a:pt x="117" y="63"/>
                  </a:moveTo>
                  <a:cubicBezTo>
                    <a:pt x="114" y="63"/>
                    <a:pt x="114" y="63"/>
                    <a:pt x="114" y="6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2"/>
                    <a:pt x="114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2" y="42"/>
                    <a:pt x="111" y="42"/>
                    <a:pt x="111" y="43"/>
                  </a:cubicBezTo>
                  <a:cubicBezTo>
                    <a:pt x="111" y="63"/>
                    <a:pt x="111" y="63"/>
                    <a:pt x="111" y="63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7" y="63"/>
                    <a:pt x="106" y="64"/>
                    <a:pt x="106" y="64"/>
                  </a:cubicBezTo>
                  <a:cubicBezTo>
                    <a:pt x="106" y="65"/>
                    <a:pt x="107" y="66"/>
                    <a:pt x="108" y="66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11" y="69"/>
                    <a:pt x="112" y="70"/>
                    <a:pt x="113" y="71"/>
                  </a:cubicBezTo>
                  <a:cubicBezTo>
                    <a:pt x="114" y="72"/>
                    <a:pt x="115" y="73"/>
                    <a:pt x="115" y="74"/>
                  </a:cubicBezTo>
                  <a:cubicBezTo>
                    <a:pt x="115" y="75"/>
                    <a:pt x="114" y="76"/>
                    <a:pt x="113" y="76"/>
                  </a:cubicBezTo>
                  <a:cubicBezTo>
                    <a:pt x="112" y="76"/>
                    <a:pt x="112" y="76"/>
                    <a:pt x="111" y="76"/>
                  </a:cubicBezTo>
                  <a:cubicBezTo>
                    <a:pt x="111" y="76"/>
                    <a:pt x="111" y="76"/>
                    <a:pt x="111" y="75"/>
                  </a:cubicBezTo>
                  <a:cubicBezTo>
                    <a:pt x="111" y="75"/>
                    <a:pt x="110" y="74"/>
                    <a:pt x="109" y="74"/>
                  </a:cubicBezTo>
                  <a:cubicBezTo>
                    <a:pt x="108" y="74"/>
                    <a:pt x="108" y="74"/>
                    <a:pt x="107" y="75"/>
                  </a:cubicBezTo>
                  <a:cubicBezTo>
                    <a:pt x="107" y="76"/>
                    <a:pt x="108" y="77"/>
                    <a:pt x="109" y="78"/>
                  </a:cubicBezTo>
                  <a:cubicBezTo>
                    <a:pt x="110" y="79"/>
                    <a:pt x="111" y="80"/>
                    <a:pt x="113" y="80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6" y="79"/>
                    <a:pt x="118" y="77"/>
                    <a:pt x="118" y="74"/>
                  </a:cubicBezTo>
                  <a:cubicBezTo>
                    <a:pt x="118" y="72"/>
                    <a:pt x="117" y="70"/>
                    <a:pt x="116" y="69"/>
                  </a:cubicBezTo>
                  <a:cubicBezTo>
                    <a:pt x="115" y="68"/>
                    <a:pt x="114" y="67"/>
                    <a:pt x="114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8" y="66"/>
                    <a:pt x="119" y="65"/>
                    <a:pt x="119" y="64"/>
                  </a:cubicBezTo>
                  <a:cubicBezTo>
                    <a:pt x="119" y="64"/>
                    <a:pt x="118" y="63"/>
                    <a:pt x="117" y="63"/>
                  </a:cubicBezTo>
                  <a:moveTo>
                    <a:pt x="64" y="121"/>
                  </a:moveTo>
                  <a:cubicBezTo>
                    <a:pt x="17" y="121"/>
                    <a:pt x="17" y="121"/>
                    <a:pt x="17" y="121"/>
                  </a:cubicBezTo>
                  <a:cubicBezTo>
                    <a:pt x="16" y="121"/>
                    <a:pt x="16" y="121"/>
                    <a:pt x="16" y="122"/>
                  </a:cubicBezTo>
                  <a:cubicBezTo>
                    <a:pt x="16" y="123"/>
                    <a:pt x="16" y="124"/>
                    <a:pt x="17" y="124"/>
                  </a:cubicBezTo>
                  <a:cubicBezTo>
                    <a:pt x="64" y="124"/>
                    <a:pt x="64" y="124"/>
                    <a:pt x="64" y="124"/>
                  </a:cubicBezTo>
                  <a:cubicBezTo>
                    <a:pt x="65" y="124"/>
                    <a:pt x="66" y="123"/>
                    <a:pt x="66" y="122"/>
                  </a:cubicBezTo>
                  <a:cubicBezTo>
                    <a:pt x="66" y="121"/>
                    <a:pt x="65" y="121"/>
                    <a:pt x="64" y="121"/>
                  </a:cubicBezTo>
                  <a:moveTo>
                    <a:pt x="116" y="33"/>
                  </a:moveTo>
                  <a:cubicBezTo>
                    <a:pt x="110" y="27"/>
                    <a:pt x="110" y="27"/>
                    <a:pt x="110" y="27"/>
                  </a:cubicBezTo>
                  <a:cubicBezTo>
                    <a:pt x="116" y="27"/>
                    <a:pt x="116" y="27"/>
                    <a:pt x="116" y="27"/>
                  </a:cubicBezTo>
                  <a:lnTo>
                    <a:pt x="116" y="33"/>
                  </a:lnTo>
                  <a:close/>
                  <a:moveTo>
                    <a:pt x="75" y="36"/>
                  </a:moveTo>
                  <a:cubicBezTo>
                    <a:pt x="85" y="28"/>
                    <a:pt x="85" y="28"/>
                    <a:pt x="85" y="28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4" y="36"/>
                    <a:pt x="94" y="36"/>
                    <a:pt x="95" y="36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16" y="36"/>
                    <a:pt x="116" y="36"/>
                    <a:pt x="116" y="36"/>
                  </a:cubicBezTo>
                  <a:lnTo>
                    <a:pt x="75" y="36"/>
                  </a:lnTo>
                  <a:close/>
                  <a:moveTo>
                    <a:pt x="64" y="27"/>
                  </a:moveTo>
                  <a:cubicBezTo>
                    <a:pt x="82" y="27"/>
                    <a:pt x="82" y="27"/>
                    <a:pt x="82" y="27"/>
                  </a:cubicBezTo>
                  <a:cubicBezTo>
                    <a:pt x="72" y="34"/>
                    <a:pt x="72" y="34"/>
                    <a:pt x="72" y="34"/>
                  </a:cubicBezTo>
                  <a:lnTo>
                    <a:pt x="64" y="27"/>
                  </a:lnTo>
                  <a:close/>
                  <a:moveTo>
                    <a:pt x="51" y="36"/>
                  </a:moveTo>
                  <a:cubicBezTo>
                    <a:pt x="62" y="28"/>
                    <a:pt x="62" y="28"/>
                    <a:pt x="62" y="28"/>
                  </a:cubicBezTo>
                  <a:cubicBezTo>
                    <a:pt x="70" y="36"/>
                    <a:pt x="70" y="36"/>
                    <a:pt x="70" y="36"/>
                  </a:cubicBezTo>
                  <a:lnTo>
                    <a:pt x="51" y="36"/>
                  </a:lnTo>
                  <a:close/>
                  <a:moveTo>
                    <a:pt x="50" y="33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59" y="27"/>
                    <a:pt x="59" y="27"/>
                    <a:pt x="59" y="27"/>
                  </a:cubicBezTo>
                  <a:lnTo>
                    <a:pt x="50" y="33"/>
                  </a:lnTo>
                  <a:close/>
                  <a:moveTo>
                    <a:pt x="8" y="36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0" y="36"/>
                    <a:pt x="30" y="36"/>
                    <a:pt x="31" y="36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8" y="36"/>
                  </a:lnTo>
                  <a:close/>
                  <a:moveTo>
                    <a:pt x="36" y="83"/>
                  </a:moveTo>
                  <a:cubicBezTo>
                    <a:pt x="48" y="83"/>
                    <a:pt x="48" y="83"/>
                    <a:pt x="48" y="83"/>
                  </a:cubicBezTo>
                  <a:cubicBezTo>
                    <a:pt x="48" y="100"/>
                    <a:pt x="48" y="100"/>
                    <a:pt x="48" y="100"/>
                  </a:cubicBezTo>
                  <a:lnTo>
                    <a:pt x="36" y="83"/>
                  </a:lnTo>
                  <a:close/>
                  <a:moveTo>
                    <a:pt x="45" y="59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32" y="59"/>
                    <a:pt x="32" y="59"/>
                    <a:pt x="32" y="59"/>
                  </a:cubicBezTo>
                  <a:lnTo>
                    <a:pt x="45" y="59"/>
                  </a:lnTo>
                  <a:close/>
                  <a:moveTo>
                    <a:pt x="48" y="61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34" y="80"/>
                    <a:pt x="34" y="80"/>
                    <a:pt x="34" y="80"/>
                  </a:cubicBezTo>
                  <a:lnTo>
                    <a:pt x="48" y="61"/>
                  </a:lnTo>
                  <a:close/>
                  <a:moveTo>
                    <a:pt x="36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8" y="53"/>
                    <a:pt x="48" y="53"/>
                    <a:pt x="48" y="53"/>
                  </a:cubicBezTo>
                  <a:lnTo>
                    <a:pt x="36" y="39"/>
                  </a:lnTo>
                  <a:close/>
                  <a:moveTo>
                    <a:pt x="46" y="56"/>
                  </a:moveTo>
                  <a:cubicBezTo>
                    <a:pt x="32" y="56"/>
                    <a:pt x="32" y="56"/>
                    <a:pt x="32" y="56"/>
                  </a:cubicBezTo>
                  <a:cubicBezTo>
                    <a:pt x="33" y="40"/>
                    <a:pt x="33" y="40"/>
                    <a:pt x="33" y="40"/>
                  </a:cubicBezTo>
                  <a:lnTo>
                    <a:pt x="46" y="56"/>
                  </a:lnTo>
                  <a:close/>
                  <a:moveTo>
                    <a:pt x="31" y="105"/>
                  </a:moveTo>
                  <a:cubicBezTo>
                    <a:pt x="32" y="84"/>
                    <a:pt x="32" y="84"/>
                    <a:pt x="32" y="84"/>
                  </a:cubicBezTo>
                  <a:cubicBezTo>
                    <a:pt x="48" y="105"/>
                    <a:pt x="48" y="105"/>
                    <a:pt x="48" y="105"/>
                  </a:cubicBezTo>
                  <a:lnTo>
                    <a:pt x="31" y="105"/>
                  </a:lnTo>
                  <a:close/>
                  <a:moveTo>
                    <a:pt x="4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moveTo>
                    <a:pt x="38" y="27"/>
                  </a:moveTo>
                  <a:cubicBezTo>
                    <a:pt x="30" y="33"/>
                    <a:pt x="30" y="33"/>
                    <a:pt x="30" y="33"/>
                  </a:cubicBezTo>
                  <a:cubicBezTo>
                    <a:pt x="22" y="27"/>
                    <a:pt x="22" y="27"/>
                    <a:pt x="22" y="27"/>
                  </a:cubicBezTo>
                  <a:lnTo>
                    <a:pt x="38" y="27"/>
                  </a:lnTo>
                  <a:close/>
                  <a:moveTo>
                    <a:pt x="101" y="27"/>
                  </a:moveTo>
                  <a:cubicBezTo>
                    <a:pt x="94" y="33"/>
                    <a:pt x="94" y="33"/>
                    <a:pt x="94" y="33"/>
                  </a:cubicBezTo>
                  <a:cubicBezTo>
                    <a:pt x="88" y="27"/>
                    <a:pt x="88" y="27"/>
                    <a:pt x="88" y="27"/>
                  </a:cubicBezTo>
                  <a:lnTo>
                    <a:pt x="101" y="27"/>
                  </a:lnTo>
                  <a:close/>
                  <a:moveTo>
                    <a:pt x="38" y="4"/>
                  </a:moveTo>
                  <a:cubicBezTo>
                    <a:pt x="104" y="24"/>
                    <a:pt x="104" y="24"/>
                    <a:pt x="104" y="24"/>
                  </a:cubicBezTo>
                  <a:cubicBezTo>
                    <a:pt x="11" y="24"/>
                    <a:pt x="11" y="24"/>
                    <a:pt x="11" y="24"/>
                  </a:cubicBezTo>
                  <a:lnTo>
                    <a:pt x="38" y="4"/>
                  </a:lnTo>
                  <a:close/>
                  <a:moveTo>
                    <a:pt x="120" y="37"/>
                  </a:moveTo>
                  <a:cubicBezTo>
                    <a:pt x="120" y="36"/>
                    <a:pt x="120" y="36"/>
                    <a:pt x="120" y="36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0" y="24"/>
                    <a:pt x="119" y="24"/>
                    <a:pt x="118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3"/>
                    <a:pt x="114" y="23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7" y="0"/>
                    <a:pt x="37" y="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2"/>
                    <a:pt x="8" y="23"/>
                    <a:pt x="8" y="23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2" y="23"/>
                    <a:pt x="1" y="23"/>
                  </a:cubicBezTo>
                  <a:cubicBezTo>
                    <a:pt x="1" y="23"/>
                    <a:pt x="0" y="24"/>
                    <a:pt x="0" y="2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1" y="39"/>
                    <a:pt x="2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3" y="105"/>
                    <a:pt x="23" y="105"/>
                    <a:pt x="22" y="106"/>
                  </a:cubicBezTo>
                  <a:cubicBezTo>
                    <a:pt x="22" y="106"/>
                    <a:pt x="22" y="107"/>
                    <a:pt x="22" y="107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3" y="118"/>
                    <a:pt x="23" y="119"/>
                    <a:pt x="24" y="119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5" y="118"/>
                    <a:pt x="26" y="118"/>
                    <a:pt x="26" y="117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55" y="118"/>
                    <a:pt x="56" y="119"/>
                    <a:pt x="57" y="119"/>
                  </a:cubicBezTo>
                  <a:cubicBezTo>
                    <a:pt x="58" y="119"/>
                    <a:pt x="59" y="118"/>
                    <a:pt x="59" y="117"/>
                  </a:cubicBezTo>
                  <a:cubicBezTo>
                    <a:pt x="59" y="107"/>
                    <a:pt x="59" y="107"/>
                    <a:pt x="59" y="107"/>
                  </a:cubicBezTo>
                  <a:cubicBezTo>
                    <a:pt x="59" y="106"/>
                    <a:pt x="59" y="106"/>
                    <a:pt x="58" y="106"/>
                  </a:cubicBezTo>
                  <a:cubicBezTo>
                    <a:pt x="58" y="105"/>
                    <a:pt x="57" y="105"/>
                    <a:pt x="57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20" y="39"/>
                    <a:pt x="120" y="39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45">
            <a:extLst>
              <a:ext uri="{FF2B5EF4-FFF2-40B4-BE49-F238E27FC236}">
                <a16:creationId xmlns:a16="http://schemas.microsoft.com/office/drawing/2014/main" id="{4C63E6B2-84A1-480B-9D2C-70C30D72DC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013" y="1548395"/>
            <a:ext cx="841375" cy="841375"/>
            <a:chOff x="223" y="1019"/>
            <a:chExt cx="530" cy="530"/>
          </a:xfrm>
        </p:grpSpPr>
        <p:sp>
          <p:nvSpPr>
            <p:cNvPr id="76" name="AutoShape 44">
              <a:extLst>
                <a:ext uri="{FF2B5EF4-FFF2-40B4-BE49-F238E27FC236}">
                  <a16:creationId xmlns:a16="http://schemas.microsoft.com/office/drawing/2014/main" id="{734D5983-5B74-4839-819D-67648F280C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" y="101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46">
              <a:extLst>
                <a:ext uri="{FF2B5EF4-FFF2-40B4-BE49-F238E27FC236}">
                  <a16:creationId xmlns:a16="http://schemas.microsoft.com/office/drawing/2014/main" id="{982B2C44-7B19-4C0F-AE2C-E2A0EDDB6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" y="101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3F6C0812-CCFE-4F79-AF8F-1A84DD261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" y="103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48">
              <a:extLst>
                <a:ext uri="{FF2B5EF4-FFF2-40B4-BE49-F238E27FC236}">
                  <a16:creationId xmlns:a16="http://schemas.microsoft.com/office/drawing/2014/main" id="{0F5C628E-55F5-4230-A5A5-14606BB84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" y="1393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33DFBD27-15B0-4F21-B9A3-D7237008DE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" y="1124"/>
              <a:ext cx="177" cy="223"/>
            </a:xfrm>
            <a:custGeom>
              <a:avLst/>
              <a:gdLst>
                <a:gd name="T0" fmla="*/ 30 w 69"/>
                <a:gd name="T1" fmla="*/ 81 h 87"/>
                <a:gd name="T2" fmla="*/ 31 w 69"/>
                <a:gd name="T3" fmla="*/ 80 h 87"/>
                <a:gd name="T4" fmla="*/ 41 w 69"/>
                <a:gd name="T5" fmla="*/ 72 h 87"/>
                <a:gd name="T6" fmla="*/ 41 w 69"/>
                <a:gd name="T7" fmla="*/ 70 h 87"/>
                <a:gd name="T8" fmla="*/ 41 w 69"/>
                <a:gd name="T9" fmla="*/ 70 h 87"/>
                <a:gd name="T10" fmla="*/ 40 w 69"/>
                <a:gd name="T11" fmla="*/ 69 h 87"/>
                <a:gd name="T12" fmla="*/ 40 w 69"/>
                <a:gd name="T13" fmla="*/ 69 h 87"/>
                <a:gd name="T14" fmla="*/ 29 w 69"/>
                <a:gd name="T15" fmla="*/ 70 h 87"/>
                <a:gd name="T16" fmla="*/ 22 w 69"/>
                <a:gd name="T17" fmla="*/ 67 h 87"/>
                <a:gd name="T18" fmla="*/ 15 w 69"/>
                <a:gd name="T19" fmla="*/ 64 h 87"/>
                <a:gd name="T20" fmla="*/ 14 w 69"/>
                <a:gd name="T21" fmla="*/ 64 h 87"/>
                <a:gd name="T22" fmla="*/ 42 w 69"/>
                <a:gd name="T23" fmla="*/ 22 h 87"/>
                <a:gd name="T24" fmla="*/ 54 w 69"/>
                <a:gd name="T25" fmla="*/ 48 h 87"/>
                <a:gd name="T26" fmla="*/ 56 w 69"/>
                <a:gd name="T27" fmla="*/ 44 h 87"/>
                <a:gd name="T28" fmla="*/ 44 w 69"/>
                <a:gd name="T29" fmla="*/ 18 h 87"/>
                <a:gd name="T30" fmla="*/ 43 w 69"/>
                <a:gd name="T31" fmla="*/ 17 h 87"/>
                <a:gd name="T32" fmla="*/ 41 w 69"/>
                <a:gd name="T33" fmla="*/ 18 h 87"/>
                <a:gd name="T34" fmla="*/ 11 w 69"/>
                <a:gd name="T35" fmla="*/ 62 h 87"/>
                <a:gd name="T36" fmla="*/ 10 w 69"/>
                <a:gd name="T37" fmla="*/ 62 h 87"/>
                <a:gd name="T38" fmla="*/ 9 w 69"/>
                <a:gd name="T39" fmla="*/ 62 h 87"/>
                <a:gd name="T40" fmla="*/ 8 w 69"/>
                <a:gd name="T41" fmla="*/ 61 h 87"/>
                <a:gd name="T42" fmla="*/ 42 w 69"/>
                <a:gd name="T43" fmla="*/ 5 h 87"/>
                <a:gd name="T44" fmla="*/ 66 w 69"/>
                <a:gd name="T45" fmla="*/ 36 h 87"/>
                <a:gd name="T46" fmla="*/ 69 w 69"/>
                <a:gd name="T47" fmla="*/ 34 h 87"/>
                <a:gd name="T48" fmla="*/ 43 w 69"/>
                <a:gd name="T49" fmla="*/ 0 h 87"/>
                <a:gd name="T50" fmla="*/ 41 w 69"/>
                <a:gd name="T51" fmla="*/ 0 h 87"/>
                <a:gd name="T52" fmla="*/ 40 w 69"/>
                <a:gd name="T53" fmla="*/ 0 h 87"/>
                <a:gd name="T54" fmla="*/ 3 w 69"/>
                <a:gd name="T55" fmla="*/ 61 h 87"/>
                <a:gd name="T56" fmla="*/ 1 w 69"/>
                <a:gd name="T57" fmla="*/ 73 h 87"/>
                <a:gd name="T58" fmla="*/ 10 w 69"/>
                <a:gd name="T59" fmla="*/ 86 h 87"/>
                <a:gd name="T60" fmla="*/ 16 w 69"/>
                <a:gd name="T61" fmla="*/ 87 h 87"/>
                <a:gd name="T62" fmla="*/ 21 w 69"/>
                <a:gd name="T63" fmla="*/ 86 h 87"/>
                <a:gd name="T64" fmla="*/ 22 w 69"/>
                <a:gd name="T65" fmla="*/ 87 h 87"/>
                <a:gd name="T66" fmla="*/ 21 w 69"/>
                <a:gd name="T67" fmla="*/ 86 h 87"/>
                <a:gd name="T68" fmla="*/ 23 w 69"/>
                <a:gd name="T69" fmla="*/ 86 h 87"/>
                <a:gd name="T70" fmla="*/ 30 w 69"/>
                <a:gd name="T71" fmla="*/ 81 h 87"/>
                <a:gd name="T72" fmla="*/ 21 w 69"/>
                <a:gd name="T73" fmla="*/ 82 h 87"/>
                <a:gd name="T74" fmla="*/ 20 w 69"/>
                <a:gd name="T75" fmla="*/ 83 h 87"/>
                <a:gd name="T76" fmla="*/ 16 w 69"/>
                <a:gd name="T77" fmla="*/ 84 h 87"/>
                <a:gd name="T78" fmla="*/ 11 w 69"/>
                <a:gd name="T79" fmla="*/ 83 h 87"/>
                <a:gd name="T80" fmla="*/ 5 w 69"/>
                <a:gd name="T81" fmla="*/ 73 h 87"/>
                <a:gd name="T82" fmla="*/ 6 w 69"/>
                <a:gd name="T83" fmla="*/ 66 h 87"/>
                <a:gd name="T84" fmla="*/ 6 w 69"/>
                <a:gd name="T85" fmla="*/ 64 h 87"/>
                <a:gd name="T86" fmla="*/ 11 w 69"/>
                <a:gd name="T87" fmla="*/ 67 h 87"/>
                <a:gd name="T88" fmla="*/ 11 w 69"/>
                <a:gd name="T89" fmla="*/ 67 h 87"/>
                <a:gd name="T90" fmla="*/ 20 w 69"/>
                <a:gd name="T91" fmla="*/ 71 h 87"/>
                <a:gd name="T92" fmla="*/ 29 w 69"/>
                <a:gd name="T93" fmla="*/ 73 h 87"/>
                <a:gd name="T94" fmla="*/ 31 w 69"/>
                <a:gd name="T95" fmla="*/ 73 h 87"/>
                <a:gd name="T96" fmla="*/ 34 w 69"/>
                <a:gd name="T97" fmla="*/ 73 h 87"/>
                <a:gd name="T98" fmla="*/ 32 w 69"/>
                <a:gd name="T99" fmla="*/ 75 h 87"/>
                <a:gd name="T100" fmla="*/ 29 w 69"/>
                <a:gd name="T101" fmla="*/ 77 h 87"/>
                <a:gd name="T102" fmla="*/ 28 w 69"/>
                <a:gd name="T103" fmla="*/ 78 h 87"/>
                <a:gd name="T104" fmla="*/ 21 w 69"/>
                <a:gd name="T105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9" h="87">
                  <a:moveTo>
                    <a:pt x="30" y="81"/>
                  </a:moveTo>
                  <a:cubicBezTo>
                    <a:pt x="31" y="80"/>
                    <a:pt x="31" y="80"/>
                    <a:pt x="31" y="80"/>
                  </a:cubicBezTo>
                  <a:cubicBezTo>
                    <a:pt x="36" y="77"/>
                    <a:pt x="40" y="73"/>
                    <a:pt x="41" y="72"/>
                  </a:cubicBezTo>
                  <a:cubicBezTo>
                    <a:pt x="42" y="71"/>
                    <a:pt x="42" y="71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8" y="69"/>
                    <a:pt x="34" y="70"/>
                    <a:pt x="29" y="70"/>
                  </a:cubicBezTo>
                  <a:cubicBezTo>
                    <a:pt x="28" y="70"/>
                    <a:pt x="24" y="68"/>
                    <a:pt x="22" y="67"/>
                  </a:cubicBezTo>
                  <a:cubicBezTo>
                    <a:pt x="19" y="66"/>
                    <a:pt x="17" y="65"/>
                    <a:pt x="15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7"/>
                    <a:pt x="56" y="45"/>
                    <a:pt x="56" y="44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7"/>
                    <a:pt x="43" y="17"/>
                    <a:pt x="43" y="17"/>
                  </a:cubicBezTo>
                  <a:cubicBezTo>
                    <a:pt x="42" y="17"/>
                    <a:pt x="42" y="17"/>
                    <a:pt x="41" y="18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62"/>
                    <a:pt x="9" y="62"/>
                    <a:pt x="9" y="62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7" y="35"/>
                    <a:pt x="68" y="35"/>
                    <a:pt x="69" y="3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2" y="0"/>
                    <a:pt x="41" y="0"/>
                  </a:cubicBezTo>
                  <a:cubicBezTo>
                    <a:pt x="41" y="0"/>
                    <a:pt x="40" y="0"/>
                    <a:pt x="40" y="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2"/>
                    <a:pt x="2" y="66"/>
                    <a:pt x="1" y="73"/>
                  </a:cubicBezTo>
                  <a:cubicBezTo>
                    <a:pt x="0" y="79"/>
                    <a:pt x="5" y="85"/>
                    <a:pt x="10" y="86"/>
                  </a:cubicBezTo>
                  <a:cubicBezTo>
                    <a:pt x="12" y="87"/>
                    <a:pt x="14" y="87"/>
                    <a:pt x="16" y="87"/>
                  </a:cubicBezTo>
                  <a:cubicBezTo>
                    <a:pt x="19" y="87"/>
                    <a:pt x="21" y="86"/>
                    <a:pt x="21" y="86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7" y="83"/>
                    <a:pt x="27" y="83"/>
                    <a:pt x="30" y="81"/>
                  </a:cubicBezTo>
                  <a:close/>
                  <a:moveTo>
                    <a:pt x="21" y="82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19" y="83"/>
                    <a:pt x="17" y="84"/>
                    <a:pt x="16" y="84"/>
                  </a:cubicBezTo>
                  <a:cubicBezTo>
                    <a:pt x="14" y="84"/>
                    <a:pt x="13" y="83"/>
                    <a:pt x="11" y="83"/>
                  </a:cubicBezTo>
                  <a:cubicBezTo>
                    <a:pt x="7" y="82"/>
                    <a:pt x="4" y="78"/>
                    <a:pt x="5" y="73"/>
                  </a:cubicBezTo>
                  <a:cubicBezTo>
                    <a:pt x="5" y="71"/>
                    <a:pt x="6" y="68"/>
                    <a:pt x="6" y="66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4" y="68"/>
                    <a:pt x="17" y="69"/>
                    <a:pt x="20" y="71"/>
                  </a:cubicBezTo>
                  <a:cubicBezTo>
                    <a:pt x="22" y="72"/>
                    <a:pt x="27" y="73"/>
                    <a:pt x="29" y="73"/>
                  </a:cubicBezTo>
                  <a:cubicBezTo>
                    <a:pt x="30" y="73"/>
                    <a:pt x="30" y="73"/>
                    <a:pt x="31" y="7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1" y="76"/>
                    <a:pt x="30" y="77"/>
                    <a:pt x="29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5" y="80"/>
                    <a:pt x="25" y="80"/>
                    <a:pt x="21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6CD1D656-545F-4B25-9A4B-490970108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" y="1226"/>
              <a:ext cx="151" cy="131"/>
            </a:xfrm>
            <a:custGeom>
              <a:avLst/>
              <a:gdLst>
                <a:gd name="T0" fmla="*/ 43 w 59"/>
                <a:gd name="T1" fmla="*/ 4 h 51"/>
                <a:gd name="T2" fmla="*/ 34 w 59"/>
                <a:gd name="T3" fmla="*/ 0 h 51"/>
                <a:gd name="T4" fmla="*/ 22 w 59"/>
                <a:gd name="T5" fmla="*/ 0 h 51"/>
                <a:gd name="T6" fmla="*/ 21 w 59"/>
                <a:gd name="T7" fmla="*/ 0 h 51"/>
                <a:gd name="T8" fmla="*/ 10 w 59"/>
                <a:gd name="T9" fmla="*/ 5 h 51"/>
                <a:gd name="T10" fmla="*/ 0 w 59"/>
                <a:gd name="T11" fmla="*/ 42 h 51"/>
                <a:gd name="T12" fmla="*/ 0 w 59"/>
                <a:gd name="T13" fmla="*/ 49 h 51"/>
                <a:gd name="T14" fmla="*/ 1 w 59"/>
                <a:gd name="T15" fmla="*/ 51 h 51"/>
                <a:gd name="T16" fmla="*/ 57 w 59"/>
                <a:gd name="T17" fmla="*/ 51 h 51"/>
                <a:gd name="T18" fmla="*/ 59 w 59"/>
                <a:gd name="T19" fmla="*/ 49 h 51"/>
                <a:gd name="T20" fmla="*/ 59 w 59"/>
                <a:gd name="T21" fmla="*/ 30 h 51"/>
                <a:gd name="T22" fmla="*/ 52 w 59"/>
                <a:gd name="T23" fmla="*/ 24 h 51"/>
                <a:gd name="T24" fmla="*/ 45 w 59"/>
                <a:gd name="T25" fmla="*/ 24 h 51"/>
                <a:gd name="T26" fmla="*/ 45 w 59"/>
                <a:gd name="T27" fmla="*/ 9 h 51"/>
                <a:gd name="T28" fmla="*/ 43 w 59"/>
                <a:gd name="T29" fmla="*/ 4 h 51"/>
                <a:gd name="T30" fmla="*/ 29 w 59"/>
                <a:gd name="T31" fmla="*/ 4 h 51"/>
                <a:gd name="T32" fmla="*/ 34 w 59"/>
                <a:gd name="T33" fmla="*/ 4 h 51"/>
                <a:gd name="T34" fmla="*/ 40 w 59"/>
                <a:gd name="T35" fmla="*/ 6 h 51"/>
                <a:gd name="T36" fmla="*/ 41 w 59"/>
                <a:gd name="T37" fmla="*/ 9 h 51"/>
                <a:gd name="T38" fmla="*/ 41 w 59"/>
                <a:gd name="T39" fmla="*/ 24 h 51"/>
                <a:gd name="T40" fmla="*/ 38 w 59"/>
                <a:gd name="T41" fmla="*/ 24 h 51"/>
                <a:gd name="T42" fmla="*/ 36 w 59"/>
                <a:gd name="T43" fmla="*/ 25 h 51"/>
                <a:gd name="T44" fmla="*/ 36 w 59"/>
                <a:gd name="T45" fmla="*/ 32 h 51"/>
                <a:gd name="T46" fmla="*/ 29 w 59"/>
                <a:gd name="T47" fmla="*/ 34 h 51"/>
                <a:gd name="T48" fmla="*/ 29 w 59"/>
                <a:gd name="T49" fmla="*/ 4 h 51"/>
                <a:gd name="T50" fmla="*/ 3 w 59"/>
                <a:gd name="T51" fmla="*/ 38 h 51"/>
                <a:gd name="T52" fmla="*/ 13 w 59"/>
                <a:gd name="T53" fmla="*/ 8 h 51"/>
                <a:gd name="T54" fmla="*/ 21 w 59"/>
                <a:gd name="T55" fmla="*/ 4 h 51"/>
                <a:gd name="T56" fmla="*/ 25 w 59"/>
                <a:gd name="T57" fmla="*/ 4 h 51"/>
                <a:gd name="T58" fmla="*/ 25 w 59"/>
                <a:gd name="T59" fmla="*/ 35 h 51"/>
                <a:gd name="T60" fmla="*/ 3 w 59"/>
                <a:gd name="T61" fmla="*/ 39 h 51"/>
                <a:gd name="T62" fmla="*/ 3 w 59"/>
                <a:gd name="T63" fmla="*/ 38 h 51"/>
                <a:gd name="T64" fmla="*/ 52 w 59"/>
                <a:gd name="T65" fmla="*/ 27 h 51"/>
                <a:gd name="T66" fmla="*/ 55 w 59"/>
                <a:gd name="T67" fmla="*/ 30 h 51"/>
                <a:gd name="T68" fmla="*/ 55 w 59"/>
                <a:gd name="T69" fmla="*/ 47 h 51"/>
                <a:gd name="T70" fmla="*/ 3 w 59"/>
                <a:gd name="T71" fmla="*/ 47 h 51"/>
                <a:gd name="T72" fmla="*/ 3 w 59"/>
                <a:gd name="T73" fmla="*/ 43 h 51"/>
                <a:gd name="T74" fmla="*/ 38 w 59"/>
                <a:gd name="T75" fmla="*/ 36 h 51"/>
                <a:gd name="T76" fmla="*/ 39 w 59"/>
                <a:gd name="T77" fmla="*/ 34 h 51"/>
                <a:gd name="T78" fmla="*/ 39 w 59"/>
                <a:gd name="T79" fmla="*/ 27 h 51"/>
                <a:gd name="T80" fmla="*/ 52 w 59"/>
                <a:gd name="T8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" h="51">
                  <a:moveTo>
                    <a:pt x="43" y="4"/>
                  </a:moveTo>
                  <a:cubicBezTo>
                    <a:pt x="41" y="1"/>
                    <a:pt x="38" y="0"/>
                    <a:pt x="3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20" y="0"/>
                    <a:pt x="15" y="1"/>
                    <a:pt x="10" y="5"/>
                  </a:cubicBezTo>
                  <a:cubicBezTo>
                    <a:pt x="3" y="12"/>
                    <a:pt x="0" y="24"/>
                    <a:pt x="0" y="4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1" y="5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8" y="51"/>
                    <a:pt x="59" y="50"/>
                    <a:pt x="59" y="4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8" y="27"/>
                    <a:pt x="57" y="24"/>
                    <a:pt x="52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6"/>
                    <a:pt x="43" y="4"/>
                  </a:cubicBezTo>
                  <a:close/>
                  <a:moveTo>
                    <a:pt x="29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7" y="4"/>
                    <a:pt x="39" y="5"/>
                    <a:pt x="40" y="6"/>
                  </a:cubicBezTo>
                  <a:cubicBezTo>
                    <a:pt x="41" y="7"/>
                    <a:pt x="41" y="8"/>
                    <a:pt x="41" y="9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6" y="24"/>
                    <a:pt x="36" y="25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9" y="34"/>
                    <a:pt x="29" y="34"/>
                    <a:pt x="29" y="34"/>
                  </a:cubicBezTo>
                  <a:lnTo>
                    <a:pt x="29" y="4"/>
                  </a:lnTo>
                  <a:close/>
                  <a:moveTo>
                    <a:pt x="3" y="38"/>
                  </a:moveTo>
                  <a:cubicBezTo>
                    <a:pt x="4" y="20"/>
                    <a:pt x="9" y="12"/>
                    <a:pt x="13" y="8"/>
                  </a:cubicBezTo>
                  <a:cubicBezTo>
                    <a:pt x="17" y="4"/>
                    <a:pt x="21" y="4"/>
                    <a:pt x="21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" y="39"/>
                    <a:pt x="3" y="39"/>
                    <a:pt x="3" y="39"/>
                  </a:cubicBezTo>
                  <a:lnTo>
                    <a:pt x="3" y="38"/>
                  </a:lnTo>
                  <a:close/>
                  <a:moveTo>
                    <a:pt x="52" y="27"/>
                  </a:moveTo>
                  <a:cubicBezTo>
                    <a:pt x="54" y="27"/>
                    <a:pt x="55" y="29"/>
                    <a:pt x="55" y="30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9" y="36"/>
                    <a:pt x="39" y="35"/>
                    <a:pt x="39" y="34"/>
                  </a:cubicBezTo>
                  <a:cubicBezTo>
                    <a:pt x="39" y="27"/>
                    <a:pt x="39" y="27"/>
                    <a:pt x="39" y="27"/>
                  </a:cubicBezTo>
                  <a:lnTo>
                    <a:pt x="52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Oval 51">
              <a:extLst>
                <a:ext uri="{FF2B5EF4-FFF2-40B4-BE49-F238E27FC236}">
                  <a16:creationId xmlns:a16="http://schemas.microsoft.com/office/drawing/2014/main" id="{F964AD83-013B-4194-9871-1EB5EA156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" y="1393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Oval 52">
              <a:extLst>
                <a:ext uri="{FF2B5EF4-FFF2-40B4-BE49-F238E27FC236}">
                  <a16:creationId xmlns:a16="http://schemas.microsoft.com/office/drawing/2014/main" id="{12BD4E69-C5A0-4568-8E6A-20B37602D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" y="1393"/>
              <a:ext cx="12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95E30741-A92C-4B6F-B1FA-1549B55DA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" y="1372"/>
              <a:ext cx="195" cy="54"/>
            </a:xfrm>
            <a:custGeom>
              <a:avLst/>
              <a:gdLst>
                <a:gd name="T0" fmla="*/ 11 w 76"/>
                <a:gd name="T1" fmla="*/ 21 h 21"/>
                <a:gd name="T2" fmla="*/ 65 w 76"/>
                <a:gd name="T3" fmla="*/ 21 h 21"/>
                <a:gd name="T4" fmla="*/ 76 w 76"/>
                <a:gd name="T5" fmla="*/ 11 h 21"/>
                <a:gd name="T6" fmla="*/ 65 w 76"/>
                <a:gd name="T7" fmla="*/ 0 h 21"/>
                <a:gd name="T8" fmla="*/ 11 w 76"/>
                <a:gd name="T9" fmla="*/ 0 h 21"/>
                <a:gd name="T10" fmla="*/ 0 w 76"/>
                <a:gd name="T11" fmla="*/ 11 h 21"/>
                <a:gd name="T12" fmla="*/ 11 w 76"/>
                <a:gd name="T13" fmla="*/ 21 h 21"/>
                <a:gd name="T14" fmla="*/ 11 w 76"/>
                <a:gd name="T15" fmla="*/ 4 h 21"/>
                <a:gd name="T16" fmla="*/ 65 w 76"/>
                <a:gd name="T17" fmla="*/ 4 h 21"/>
                <a:gd name="T18" fmla="*/ 72 w 76"/>
                <a:gd name="T19" fmla="*/ 11 h 21"/>
                <a:gd name="T20" fmla="*/ 65 w 76"/>
                <a:gd name="T21" fmla="*/ 18 h 21"/>
                <a:gd name="T22" fmla="*/ 11 w 76"/>
                <a:gd name="T23" fmla="*/ 18 h 21"/>
                <a:gd name="T24" fmla="*/ 4 w 76"/>
                <a:gd name="T25" fmla="*/ 11 h 21"/>
                <a:gd name="T26" fmla="*/ 11 w 76"/>
                <a:gd name="T27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21">
                  <a:moveTo>
                    <a:pt x="1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71" y="21"/>
                    <a:pt x="76" y="17"/>
                    <a:pt x="76" y="11"/>
                  </a:cubicBezTo>
                  <a:cubicBezTo>
                    <a:pt x="76" y="5"/>
                    <a:pt x="71" y="0"/>
                    <a:pt x="6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lose/>
                  <a:moveTo>
                    <a:pt x="11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9" y="4"/>
                    <a:pt x="72" y="7"/>
                    <a:pt x="72" y="11"/>
                  </a:cubicBezTo>
                  <a:cubicBezTo>
                    <a:pt x="72" y="15"/>
                    <a:pt x="69" y="18"/>
                    <a:pt x="65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7" y="18"/>
                    <a:pt x="4" y="15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54">
              <a:extLst>
                <a:ext uri="{FF2B5EF4-FFF2-40B4-BE49-F238E27FC236}">
                  <a16:creationId xmlns:a16="http://schemas.microsoft.com/office/drawing/2014/main" id="{F4A74EF8-FEFA-40BD-B295-69BFB7C12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" y="1393"/>
              <a:ext cx="15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55">
              <a:extLst>
                <a:ext uri="{FF2B5EF4-FFF2-40B4-BE49-F238E27FC236}">
                  <a16:creationId xmlns:a16="http://schemas.microsoft.com/office/drawing/2014/main" id="{7193340D-F568-4AB6-96B7-C2B31AC55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" y="1393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7" name="Group 58">
            <a:extLst>
              <a:ext uri="{FF2B5EF4-FFF2-40B4-BE49-F238E27FC236}">
                <a16:creationId xmlns:a16="http://schemas.microsoft.com/office/drawing/2014/main" id="{5585D42C-17D2-41B0-87D2-2260B8DA28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0175" y="1589670"/>
            <a:ext cx="760413" cy="758825"/>
            <a:chOff x="882" y="1019"/>
            <a:chExt cx="479" cy="478"/>
          </a:xfrm>
        </p:grpSpPr>
        <p:sp>
          <p:nvSpPr>
            <p:cNvPr id="88" name="AutoShape 57">
              <a:extLst>
                <a:ext uri="{FF2B5EF4-FFF2-40B4-BE49-F238E27FC236}">
                  <a16:creationId xmlns:a16="http://schemas.microsoft.com/office/drawing/2014/main" id="{BDA7F40D-4095-4810-BBD7-0C4AC3E204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2" y="101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9">
              <a:extLst>
                <a:ext uri="{FF2B5EF4-FFF2-40B4-BE49-F238E27FC236}">
                  <a16:creationId xmlns:a16="http://schemas.microsoft.com/office/drawing/2014/main" id="{36B449F1-5EF0-4378-843A-9C00AB02A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" y="102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60">
              <a:extLst>
                <a:ext uri="{FF2B5EF4-FFF2-40B4-BE49-F238E27FC236}">
                  <a16:creationId xmlns:a16="http://schemas.microsoft.com/office/drawing/2014/main" id="{549BAFDA-5D11-4C3C-852A-52A61D508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" y="1362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1">
              <a:extLst>
                <a:ext uri="{FF2B5EF4-FFF2-40B4-BE49-F238E27FC236}">
                  <a16:creationId xmlns:a16="http://schemas.microsoft.com/office/drawing/2014/main" id="{0114B34E-15B2-4851-93A5-2A82C11FC0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" y="1105"/>
              <a:ext cx="169" cy="213"/>
            </a:xfrm>
            <a:custGeom>
              <a:avLst/>
              <a:gdLst>
                <a:gd name="T0" fmla="*/ 30 w 69"/>
                <a:gd name="T1" fmla="*/ 81 h 87"/>
                <a:gd name="T2" fmla="*/ 31 w 69"/>
                <a:gd name="T3" fmla="*/ 80 h 87"/>
                <a:gd name="T4" fmla="*/ 41 w 69"/>
                <a:gd name="T5" fmla="*/ 72 h 87"/>
                <a:gd name="T6" fmla="*/ 41 w 69"/>
                <a:gd name="T7" fmla="*/ 70 h 87"/>
                <a:gd name="T8" fmla="*/ 41 w 69"/>
                <a:gd name="T9" fmla="*/ 70 h 87"/>
                <a:gd name="T10" fmla="*/ 40 w 69"/>
                <a:gd name="T11" fmla="*/ 69 h 87"/>
                <a:gd name="T12" fmla="*/ 40 w 69"/>
                <a:gd name="T13" fmla="*/ 69 h 87"/>
                <a:gd name="T14" fmla="*/ 29 w 69"/>
                <a:gd name="T15" fmla="*/ 70 h 87"/>
                <a:gd name="T16" fmla="*/ 22 w 69"/>
                <a:gd name="T17" fmla="*/ 67 h 87"/>
                <a:gd name="T18" fmla="*/ 15 w 69"/>
                <a:gd name="T19" fmla="*/ 64 h 87"/>
                <a:gd name="T20" fmla="*/ 14 w 69"/>
                <a:gd name="T21" fmla="*/ 64 h 87"/>
                <a:gd name="T22" fmla="*/ 42 w 69"/>
                <a:gd name="T23" fmla="*/ 22 h 87"/>
                <a:gd name="T24" fmla="*/ 54 w 69"/>
                <a:gd name="T25" fmla="*/ 48 h 87"/>
                <a:gd name="T26" fmla="*/ 56 w 69"/>
                <a:gd name="T27" fmla="*/ 44 h 87"/>
                <a:gd name="T28" fmla="*/ 44 w 69"/>
                <a:gd name="T29" fmla="*/ 18 h 87"/>
                <a:gd name="T30" fmla="*/ 43 w 69"/>
                <a:gd name="T31" fmla="*/ 17 h 87"/>
                <a:gd name="T32" fmla="*/ 41 w 69"/>
                <a:gd name="T33" fmla="*/ 18 h 87"/>
                <a:gd name="T34" fmla="*/ 11 w 69"/>
                <a:gd name="T35" fmla="*/ 62 h 87"/>
                <a:gd name="T36" fmla="*/ 10 w 69"/>
                <a:gd name="T37" fmla="*/ 62 h 87"/>
                <a:gd name="T38" fmla="*/ 9 w 69"/>
                <a:gd name="T39" fmla="*/ 62 h 87"/>
                <a:gd name="T40" fmla="*/ 8 w 69"/>
                <a:gd name="T41" fmla="*/ 61 h 87"/>
                <a:gd name="T42" fmla="*/ 42 w 69"/>
                <a:gd name="T43" fmla="*/ 5 h 87"/>
                <a:gd name="T44" fmla="*/ 66 w 69"/>
                <a:gd name="T45" fmla="*/ 36 h 87"/>
                <a:gd name="T46" fmla="*/ 69 w 69"/>
                <a:gd name="T47" fmla="*/ 34 h 87"/>
                <a:gd name="T48" fmla="*/ 43 w 69"/>
                <a:gd name="T49" fmla="*/ 0 h 87"/>
                <a:gd name="T50" fmla="*/ 41 w 69"/>
                <a:gd name="T51" fmla="*/ 0 h 87"/>
                <a:gd name="T52" fmla="*/ 40 w 69"/>
                <a:gd name="T53" fmla="*/ 0 h 87"/>
                <a:gd name="T54" fmla="*/ 3 w 69"/>
                <a:gd name="T55" fmla="*/ 61 h 87"/>
                <a:gd name="T56" fmla="*/ 1 w 69"/>
                <a:gd name="T57" fmla="*/ 73 h 87"/>
                <a:gd name="T58" fmla="*/ 10 w 69"/>
                <a:gd name="T59" fmla="*/ 86 h 87"/>
                <a:gd name="T60" fmla="*/ 16 w 69"/>
                <a:gd name="T61" fmla="*/ 87 h 87"/>
                <a:gd name="T62" fmla="*/ 21 w 69"/>
                <a:gd name="T63" fmla="*/ 86 h 87"/>
                <a:gd name="T64" fmla="*/ 22 w 69"/>
                <a:gd name="T65" fmla="*/ 87 h 87"/>
                <a:gd name="T66" fmla="*/ 21 w 69"/>
                <a:gd name="T67" fmla="*/ 86 h 87"/>
                <a:gd name="T68" fmla="*/ 23 w 69"/>
                <a:gd name="T69" fmla="*/ 86 h 87"/>
                <a:gd name="T70" fmla="*/ 30 w 69"/>
                <a:gd name="T71" fmla="*/ 81 h 87"/>
                <a:gd name="T72" fmla="*/ 21 w 69"/>
                <a:gd name="T73" fmla="*/ 82 h 87"/>
                <a:gd name="T74" fmla="*/ 20 w 69"/>
                <a:gd name="T75" fmla="*/ 83 h 87"/>
                <a:gd name="T76" fmla="*/ 16 w 69"/>
                <a:gd name="T77" fmla="*/ 84 h 87"/>
                <a:gd name="T78" fmla="*/ 11 w 69"/>
                <a:gd name="T79" fmla="*/ 83 h 87"/>
                <a:gd name="T80" fmla="*/ 5 w 69"/>
                <a:gd name="T81" fmla="*/ 73 h 87"/>
                <a:gd name="T82" fmla="*/ 6 w 69"/>
                <a:gd name="T83" fmla="*/ 66 h 87"/>
                <a:gd name="T84" fmla="*/ 6 w 69"/>
                <a:gd name="T85" fmla="*/ 64 h 87"/>
                <a:gd name="T86" fmla="*/ 11 w 69"/>
                <a:gd name="T87" fmla="*/ 67 h 87"/>
                <a:gd name="T88" fmla="*/ 11 w 69"/>
                <a:gd name="T89" fmla="*/ 67 h 87"/>
                <a:gd name="T90" fmla="*/ 20 w 69"/>
                <a:gd name="T91" fmla="*/ 71 h 87"/>
                <a:gd name="T92" fmla="*/ 29 w 69"/>
                <a:gd name="T93" fmla="*/ 73 h 87"/>
                <a:gd name="T94" fmla="*/ 31 w 69"/>
                <a:gd name="T95" fmla="*/ 73 h 87"/>
                <a:gd name="T96" fmla="*/ 34 w 69"/>
                <a:gd name="T97" fmla="*/ 73 h 87"/>
                <a:gd name="T98" fmla="*/ 32 w 69"/>
                <a:gd name="T99" fmla="*/ 75 h 87"/>
                <a:gd name="T100" fmla="*/ 29 w 69"/>
                <a:gd name="T101" fmla="*/ 77 h 87"/>
                <a:gd name="T102" fmla="*/ 28 w 69"/>
                <a:gd name="T103" fmla="*/ 78 h 87"/>
                <a:gd name="T104" fmla="*/ 21 w 69"/>
                <a:gd name="T105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9" h="87">
                  <a:moveTo>
                    <a:pt x="30" y="81"/>
                  </a:moveTo>
                  <a:cubicBezTo>
                    <a:pt x="31" y="80"/>
                    <a:pt x="31" y="80"/>
                    <a:pt x="31" y="80"/>
                  </a:cubicBezTo>
                  <a:cubicBezTo>
                    <a:pt x="36" y="77"/>
                    <a:pt x="40" y="73"/>
                    <a:pt x="41" y="72"/>
                  </a:cubicBezTo>
                  <a:cubicBezTo>
                    <a:pt x="42" y="71"/>
                    <a:pt x="42" y="71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8" y="69"/>
                    <a:pt x="34" y="70"/>
                    <a:pt x="29" y="70"/>
                  </a:cubicBezTo>
                  <a:cubicBezTo>
                    <a:pt x="28" y="70"/>
                    <a:pt x="24" y="68"/>
                    <a:pt x="22" y="67"/>
                  </a:cubicBezTo>
                  <a:cubicBezTo>
                    <a:pt x="19" y="66"/>
                    <a:pt x="17" y="65"/>
                    <a:pt x="15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7"/>
                    <a:pt x="56" y="45"/>
                    <a:pt x="56" y="44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7"/>
                    <a:pt x="43" y="17"/>
                    <a:pt x="43" y="17"/>
                  </a:cubicBezTo>
                  <a:cubicBezTo>
                    <a:pt x="42" y="17"/>
                    <a:pt x="42" y="17"/>
                    <a:pt x="41" y="18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62"/>
                    <a:pt x="9" y="62"/>
                    <a:pt x="9" y="62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7" y="35"/>
                    <a:pt x="68" y="35"/>
                    <a:pt x="69" y="3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2" y="0"/>
                    <a:pt x="41" y="0"/>
                  </a:cubicBezTo>
                  <a:cubicBezTo>
                    <a:pt x="41" y="0"/>
                    <a:pt x="40" y="0"/>
                    <a:pt x="40" y="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2"/>
                    <a:pt x="2" y="66"/>
                    <a:pt x="1" y="73"/>
                  </a:cubicBezTo>
                  <a:cubicBezTo>
                    <a:pt x="0" y="79"/>
                    <a:pt x="5" y="85"/>
                    <a:pt x="10" y="86"/>
                  </a:cubicBezTo>
                  <a:cubicBezTo>
                    <a:pt x="12" y="87"/>
                    <a:pt x="14" y="87"/>
                    <a:pt x="16" y="87"/>
                  </a:cubicBezTo>
                  <a:cubicBezTo>
                    <a:pt x="19" y="87"/>
                    <a:pt x="21" y="86"/>
                    <a:pt x="21" y="86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7" y="83"/>
                    <a:pt x="27" y="83"/>
                    <a:pt x="30" y="81"/>
                  </a:cubicBezTo>
                  <a:close/>
                  <a:moveTo>
                    <a:pt x="21" y="82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19" y="83"/>
                    <a:pt x="17" y="84"/>
                    <a:pt x="16" y="84"/>
                  </a:cubicBezTo>
                  <a:cubicBezTo>
                    <a:pt x="14" y="84"/>
                    <a:pt x="13" y="83"/>
                    <a:pt x="11" y="83"/>
                  </a:cubicBezTo>
                  <a:cubicBezTo>
                    <a:pt x="7" y="82"/>
                    <a:pt x="4" y="78"/>
                    <a:pt x="5" y="73"/>
                  </a:cubicBezTo>
                  <a:cubicBezTo>
                    <a:pt x="5" y="71"/>
                    <a:pt x="6" y="68"/>
                    <a:pt x="6" y="66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4" y="68"/>
                    <a:pt x="17" y="69"/>
                    <a:pt x="20" y="71"/>
                  </a:cubicBezTo>
                  <a:cubicBezTo>
                    <a:pt x="22" y="72"/>
                    <a:pt x="27" y="73"/>
                    <a:pt x="29" y="73"/>
                  </a:cubicBezTo>
                  <a:cubicBezTo>
                    <a:pt x="30" y="73"/>
                    <a:pt x="30" y="73"/>
                    <a:pt x="31" y="7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1" y="76"/>
                    <a:pt x="30" y="77"/>
                    <a:pt x="29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5" y="80"/>
                    <a:pt x="25" y="80"/>
                    <a:pt x="21" y="8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2">
              <a:extLst>
                <a:ext uri="{FF2B5EF4-FFF2-40B4-BE49-F238E27FC236}">
                  <a16:creationId xmlns:a16="http://schemas.microsoft.com/office/drawing/2014/main" id="{11B602FC-E740-45BD-AD9B-AD7903FE99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" y="1203"/>
              <a:ext cx="145" cy="125"/>
            </a:xfrm>
            <a:custGeom>
              <a:avLst/>
              <a:gdLst>
                <a:gd name="T0" fmla="*/ 43 w 59"/>
                <a:gd name="T1" fmla="*/ 4 h 51"/>
                <a:gd name="T2" fmla="*/ 34 w 59"/>
                <a:gd name="T3" fmla="*/ 0 h 51"/>
                <a:gd name="T4" fmla="*/ 22 w 59"/>
                <a:gd name="T5" fmla="*/ 0 h 51"/>
                <a:gd name="T6" fmla="*/ 21 w 59"/>
                <a:gd name="T7" fmla="*/ 0 h 51"/>
                <a:gd name="T8" fmla="*/ 10 w 59"/>
                <a:gd name="T9" fmla="*/ 5 h 51"/>
                <a:gd name="T10" fmla="*/ 0 w 59"/>
                <a:gd name="T11" fmla="*/ 42 h 51"/>
                <a:gd name="T12" fmla="*/ 0 w 59"/>
                <a:gd name="T13" fmla="*/ 49 h 51"/>
                <a:gd name="T14" fmla="*/ 1 w 59"/>
                <a:gd name="T15" fmla="*/ 51 h 51"/>
                <a:gd name="T16" fmla="*/ 57 w 59"/>
                <a:gd name="T17" fmla="*/ 51 h 51"/>
                <a:gd name="T18" fmla="*/ 59 w 59"/>
                <a:gd name="T19" fmla="*/ 49 h 51"/>
                <a:gd name="T20" fmla="*/ 59 w 59"/>
                <a:gd name="T21" fmla="*/ 30 h 51"/>
                <a:gd name="T22" fmla="*/ 52 w 59"/>
                <a:gd name="T23" fmla="*/ 24 h 51"/>
                <a:gd name="T24" fmla="*/ 45 w 59"/>
                <a:gd name="T25" fmla="*/ 24 h 51"/>
                <a:gd name="T26" fmla="*/ 45 w 59"/>
                <a:gd name="T27" fmla="*/ 9 h 51"/>
                <a:gd name="T28" fmla="*/ 43 w 59"/>
                <a:gd name="T29" fmla="*/ 4 h 51"/>
                <a:gd name="T30" fmla="*/ 29 w 59"/>
                <a:gd name="T31" fmla="*/ 4 h 51"/>
                <a:gd name="T32" fmla="*/ 34 w 59"/>
                <a:gd name="T33" fmla="*/ 4 h 51"/>
                <a:gd name="T34" fmla="*/ 40 w 59"/>
                <a:gd name="T35" fmla="*/ 6 h 51"/>
                <a:gd name="T36" fmla="*/ 41 w 59"/>
                <a:gd name="T37" fmla="*/ 9 h 51"/>
                <a:gd name="T38" fmla="*/ 41 w 59"/>
                <a:gd name="T39" fmla="*/ 24 h 51"/>
                <a:gd name="T40" fmla="*/ 38 w 59"/>
                <a:gd name="T41" fmla="*/ 24 h 51"/>
                <a:gd name="T42" fmla="*/ 36 w 59"/>
                <a:gd name="T43" fmla="*/ 25 h 51"/>
                <a:gd name="T44" fmla="*/ 36 w 59"/>
                <a:gd name="T45" fmla="*/ 32 h 51"/>
                <a:gd name="T46" fmla="*/ 29 w 59"/>
                <a:gd name="T47" fmla="*/ 34 h 51"/>
                <a:gd name="T48" fmla="*/ 29 w 59"/>
                <a:gd name="T49" fmla="*/ 4 h 51"/>
                <a:gd name="T50" fmla="*/ 3 w 59"/>
                <a:gd name="T51" fmla="*/ 38 h 51"/>
                <a:gd name="T52" fmla="*/ 13 w 59"/>
                <a:gd name="T53" fmla="*/ 8 h 51"/>
                <a:gd name="T54" fmla="*/ 21 w 59"/>
                <a:gd name="T55" fmla="*/ 4 h 51"/>
                <a:gd name="T56" fmla="*/ 25 w 59"/>
                <a:gd name="T57" fmla="*/ 4 h 51"/>
                <a:gd name="T58" fmla="*/ 25 w 59"/>
                <a:gd name="T59" fmla="*/ 35 h 51"/>
                <a:gd name="T60" fmla="*/ 3 w 59"/>
                <a:gd name="T61" fmla="*/ 39 h 51"/>
                <a:gd name="T62" fmla="*/ 3 w 59"/>
                <a:gd name="T63" fmla="*/ 38 h 51"/>
                <a:gd name="T64" fmla="*/ 52 w 59"/>
                <a:gd name="T65" fmla="*/ 27 h 51"/>
                <a:gd name="T66" fmla="*/ 55 w 59"/>
                <a:gd name="T67" fmla="*/ 30 h 51"/>
                <a:gd name="T68" fmla="*/ 55 w 59"/>
                <a:gd name="T69" fmla="*/ 47 h 51"/>
                <a:gd name="T70" fmla="*/ 3 w 59"/>
                <a:gd name="T71" fmla="*/ 47 h 51"/>
                <a:gd name="T72" fmla="*/ 3 w 59"/>
                <a:gd name="T73" fmla="*/ 43 h 51"/>
                <a:gd name="T74" fmla="*/ 38 w 59"/>
                <a:gd name="T75" fmla="*/ 36 h 51"/>
                <a:gd name="T76" fmla="*/ 39 w 59"/>
                <a:gd name="T77" fmla="*/ 34 h 51"/>
                <a:gd name="T78" fmla="*/ 39 w 59"/>
                <a:gd name="T79" fmla="*/ 27 h 51"/>
                <a:gd name="T80" fmla="*/ 52 w 59"/>
                <a:gd name="T8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" h="51">
                  <a:moveTo>
                    <a:pt x="43" y="4"/>
                  </a:moveTo>
                  <a:cubicBezTo>
                    <a:pt x="41" y="1"/>
                    <a:pt x="38" y="0"/>
                    <a:pt x="3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20" y="0"/>
                    <a:pt x="15" y="1"/>
                    <a:pt x="10" y="5"/>
                  </a:cubicBezTo>
                  <a:cubicBezTo>
                    <a:pt x="3" y="12"/>
                    <a:pt x="0" y="24"/>
                    <a:pt x="0" y="4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1" y="5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8" y="51"/>
                    <a:pt x="59" y="50"/>
                    <a:pt x="59" y="4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8" y="27"/>
                    <a:pt x="57" y="24"/>
                    <a:pt x="52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6"/>
                    <a:pt x="43" y="4"/>
                  </a:cubicBezTo>
                  <a:close/>
                  <a:moveTo>
                    <a:pt x="29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7" y="4"/>
                    <a:pt x="39" y="5"/>
                    <a:pt x="40" y="6"/>
                  </a:cubicBezTo>
                  <a:cubicBezTo>
                    <a:pt x="41" y="7"/>
                    <a:pt x="41" y="8"/>
                    <a:pt x="41" y="9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6" y="24"/>
                    <a:pt x="36" y="25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9" y="34"/>
                    <a:pt x="29" y="34"/>
                    <a:pt x="29" y="34"/>
                  </a:cubicBezTo>
                  <a:lnTo>
                    <a:pt x="29" y="4"/>
                  </a:lnTo>
                  <a:close/>
                  <a:moveTo>
                    <a:pt x="3" y="38"/>
                  </a:moveTo>
                  <a:cubicBezTo>
                    <a:pt x="4" y="20"/>
                    <a:pt x="9" y="12"/>
                    <a:pt x="13" y="8"/>
                  </a:cubicBezTo>
                  <a:cubicBezTo>
                    <a:pt x="17" y="4"/>
                    <a:pt x="21" y="4"/>
                    <a:pt x="21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3" y="39"/>
                    <a:pt x="3" y="39"/>
                    <a:pt x="3" y="39"/>
                  </a:cubicBezTo>
                  <a:lnTo>
                    <a:pt x="3" y="38"/>
                  </a:lnTo>
                  <a:close/>
                  <a:moveTo>
                    <a:pt x="52" y="27"/>
                  </a:moveTo>
                  <a:cubicBezTo>
                    <a:pt x="54" y="27"/>
                    <a:pt x="55" y="29"/>
                    <a:pt x="55" y="30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9" y="36"/>
                    <a:pt x="39" y="35"/>
                    <a:pt x="39" y="34"/>
                  </a:cubicBezTo>
                  <a:cubicBezTo>
                    <a:pt x="39" y="27"/>
                    <a:pt x="39" y="27"/>
                    <a:pt x="39" y="27"/>
                  </a:cubicBezTo>
                  <a:lnTo>
                    <a:pt x="52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Oval 63">
              <a:extLst>
                <a:ext uri="{FF2B5EF4-FFF2-40B4-BE49-F238E27FC236}">
                  <a16:creationId xmlns:a16="http://schemas.microsoft.com/office/drawing/2014/main" id="{7EB405CD-58EB-44B6-B11F-5FB4470CA8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8" y="1362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64">
              <a:extLst>
                <a:ext uri="{FF2B5EF4-FFF2-40B4-BE49-F238E27FC236}">
                  <a16:creationId xmlns:a16="http://schemas.microsoft.com/office/drawing/2014/main" id="{CD13FE1F-B262-4C51-9AFD-43923420C0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" y="1362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5">
              <a:extLst>
                <a:ext uri="{FF2B5EF4-FFF2-40B4-BE49-F238E27FC236}">
                  <a16:creationId xmlns:a16="http://schemas.microsoft.com/office/drawing/2014/main" id="{15556B7A-319B-4C67-A0A3-1B3D0FB9A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1" y="1343"/>
              <a:ext cx="187" cy="51"/>
            </a:xfrm>
            <a:custGeom>
              <a:avLst/>
              <a:gdLst>
                <a:gd name="T0" fmla="*/ 11 w 76"/>
                <a:gd name="T1" fmla="*/ 21 h 21"/>
                <a:gd name="T2" fmla="*/ 65 w 76"/>
                <a:gd name="T3" fmla="*/ 21 h 21"/>
                <a:gd name="T4" fmla="*/ 76 w 76"/>
                <a:gd name="T5" fmla="*/ 11 h 21"/>
                <a:gd name="T6" fmla="*/ 65 w 76"/>
                <a:gd name="T7" fmla="*/ 0 h 21"/>
                <a:gd name="T8" fmla="*/ 11 w 76"/>
                <a:gd name="T9" fmla="*/ 0 h 21"/>
                <a:gd name="T10" fmla="*/ 0 w 76"/>
                <a:gd name="T11" fmla="*/ 11 h 21"/>
                <a:gd name="T12" fmla="*/ 11 w 76"/>
                <a:gd name="T13" fmla="*/ 21 h 21"/>
                <a:gd name="T14" fmla="*/ 11 w 76"/>
                <a:gd name="T15" fmla="*/ 4 h 21"/>
                <a:gd name="T16" fmla="*/ 65 w 76"/>
                <a:gd name="T17" fmla="*/ 4 h 21"/>
                <a:gd name="T18" fmla="*/ 72 w 76"/>
                <a:gd name="T19" fmla="*/ 11 h 21"/>
                <a:gd name="T20" fmla="*/ 65 w 76"/>
                <a:gd name="T21" fmla="*/ 18 h 21"/>
                <a:gd name="T22" fmla="*/ 11 w 76"/>
                <a:gd name="T23" fmla="*/ 18 h 21"/>
                <a:gd name="T24" fmla="*/ 4 w 76"/>
                <a:gd name="T25" fmla="*/ 11 h 21"/>
                <a:gd name="T26" fmla="*/ 11 w 76"/>
                <a:gd name="T27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21">
                  <a:moveTo>
                    <a:pt x="1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71" y="21"/>
                    <a:pt x="76" y="17"/>
                    <a:pt x="76" y="11"/>
                  </a:cubicBezTo>
                  <a:cubicBezTo>
                    <a:pt x="76" y="5"/>
                    <a:pt x="71" y="0"/>
                    <a:pt x="6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lose/>
                  <a:moveTo>
                    <a:pt x="11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9" y="4"/>
                    <a:pt x="72" y="7"/>
                    <a:pt x="72" y="11"/>
                  </a:cubicBezTo>
                  <a:cubicBezTo>
                    <a:pt x="72" y="15"/>
                    <a:pt x="69" y="18"/>
                    <a:pt x="65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7" y="18"/>
                    <a:pt x="4" y="15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66">
              <a:extLst>
                <a:ext uri="{FF2B5EF4-FFF2-40B4-BE49-F238E27FC236}">
                  <a16:creationId xmlns:a16="http://schemas.microsoft.com/office/drawing/2014/main" id="{4F7A4CD0-2D35-4D60-BD27-5464E027B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7" y="1362"/>
              <a:ext cx="15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67">
              <a:extLst>
                <a:ext uri="{FF2B5EF4-FFF2-40B4-BE49-F238E27FC236}">
                  <a16:creationId xmlns:a16="http://schemas.microsoft.com/office/drawing/2014/main" id="{697DA830-5513-4D58-934E-59FAFFAC5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" y="1362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70">
            <a:extLst>
              <a:ext uri="{FF2B5EF4-FFF2-40B4-BE49-F238E27FC236}">
                <a16:creationId xmlns:a16="http://schemas.microsoft.com/office/drawing/2014/main" id="{05D4787A-6978-43C0-AD89-D506A68C738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8100" y="1548395"/>
            <a:ext cx="841375" cy="841375"/>
            <a:chOff x="1624" y="993"/>
            <a:chExt cx="530" cy="530"/>
          </a:xfrm>
        </p:grpSpPr>
        <p:sp>
          <p:nvSpPr>
            <p:cNvPr id="99" name="AutoShape 69">
              <a:extLst>
                <a:ext uri="{FF2B5EF4-FFF2-40B4-BE49-F238E27FC236}">
                  <a16:creationId xmlns:a16="http://schemas.microsoft.com/office/drawing/2014/main" id="{54B848B5-AE42-445C-878B-E3CCE613D0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4" y="9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71">
              <a:extLst>
                <a:ext uri="{FF2B5EF4-FFF2-40B4-BE49-F238E27FC236}">
                  <a16:creationId xmlns:a16="http://schemas.microsoft.com/office/drawing/2014/main" id="{0F431E4A-22D8-466E-A15A-BF7DD2B3D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" y="9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2">
              <a:extLst>
                <a:ext uri="{FF2B5EF4-FFF2-40B4-BE49-F238E27FC236}">
                  <a16:creationId xmlns:a16="http://schemas.microsoft.com/office/drawing/2014/main" id="{BCAF0866-BC45-4C27-B937-F8F994063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2" y="10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3">
              <a:extLst>
                <a:ext uri="{FF2B5EF4-FFF2-40B4-BE49-F238E27FC236}">
                  <a16:creationId xmlns:a16="http://schemas.microsoft.com/office/drawing/2014/main" id="{6CE1EEA5-200B-4727-86D4-36CFE6530E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" y="1136"/>
              <a:ext cx="343" cy="256"/>
            </a:xfrm>
            <a:custGeom>
              <a:avLst/>
              <a:gdLst>
                <a:gd name="T0" fmla="*/ 134 w 134"/>
                <a:gd name="T1" fmla="*/ 54 h 100"/>
                <a:gd name="T2" fmla="*/ 133 w 134"/>
                <a:gd name="T3" fmla="*/ 53 h 100"/>
                <a:gd name="T4" fmla="*/ 117 w 134"/>
                <a:gd name="T5" fmla="*/ 24 h 100"/>
                <a:gd name="T6" fmla="*/ 89 w 134"/>
                <a:gd name="T7" fmla="*/ 25 h 100"/>
                <a:gd name="T8" fmla="*/ 29 w 134"/>
                <a:gd name="T9" fmla="*/ 58 h 100"/>
                <a:gd name="T10" fmla="*/ 23 w 134"/>
                <a:gd name="T11" fmla="*/ 40 h 100"/>
                <a:gd name="T12" fmla="*/ 16 w 134"/>
                <a:gd name="T13" fmla="*/ 39 h 100"/>
                <a:gd name="T14" fmla="*/ 5 w 134"/>
                <a:gd name="T15" fmla="*/ 26 h 100"/>
                <a:gd name="T16" fmla="*/ 11 w 134"/>
                <a:gd name="T17" fmla="*/ 9 h 100"/>
                <a:gd name="T18" fmla="*/ 34 w 134"/>
                <a:gd name="T19" fmla="*/ 0 h 100"/>
                <a:gd name="T20" fmla="*/ 7 w 134"/>
                <a:gd name="T21" fmla="*/ 6 h 100"/>
                <a:gd name="T22" fmla="*/ 1 w 134"/>
                <a:gd name="T23" fmla="*/ 28 h 100"/>
                <a:gd name="T24" fmla="*/ 14 w 134"/>
                <a:gd name="T25" fmla="*/ 43 h 100"/>
                <a:gd name="T26" fmla="*/ 16 w 134"/>
                <a:gd name="T27" fmla="*/ 90 h 100"/>
                <a:gd name="T28" fmla="*/ 24 w 134"/>
                <a:gd name="T29" fmla="*/ 91 h 100"/>
                <a:gd name="T30" fmla="*/ 44 w 134"/>
                <a:gd name="T31" fmla="*/ 91 h 100"/>
                <a:gd name="T32" fmla="*/ 48 w 134"/>
                <a:gd name="T33" fmla="*/ 90 h 100"/>
                <a:gd name="T34" fmla="*/ 58 w 134"/>
                <a:gd name="T35" fmla="*/ 100 h 100"/>
                <a:gd name="T36" fmla="*/ 58 w 134"/>
                <a:gd name="T37" fmla="*/ 78 h 100"/>
                <a:gd name="T38" fmla="*/ 48 w 134"/>
                <a:gd name="T39" fmla="*/ 86 h 100"/>
                <a:gd name="T40" fmla="*/ 44 w 134"/>
                <a:gd name="T41" fmla="*/ 85 h 100"/>
                <a:gd name="T42" fmla="*/ 24 w 134"/>
                <a:gd name="T43" fmla="*/ 85 h 100"/>
                <a:gd name="T44" fmla="*/ 18 w 134"/>
                <a:gd name="T45" fmla="*/ 86 h 100"/>
                <a:gd name="T46" fmla="*/ 21 w 134"/>
                <a:gd name="T47" fmla="*/ 44 h 100"/>
                <a:gd name="T48" fmla="*/ 28 w 134"/>
                <a:gd name="T49" fmla="*/ 62 h 100"/>
                <a:gd name="T50" fmla="*/ 89 w 134"/>
                <a:gd name="T51" fmla="*/ 60 h 100"/>
                <a:gd name="T52" fmla="*/ 102 w 134"/>
                <a:gd name="T53" fmla="*/ 28 h 100"/>
                <a:gd name="T54" fmla="*/ 102 w 134"/>
                <a:gd name="T55" fmla="*/ 48 h 100"/>
                <a:gd name="T56" fmla="*/ 127 w 134"/>
                <a:gd name="T57" fmla="*/ 49 h 100"/>
                <a:gd name="T58" fmla="*/ 129 w 134"/>
                <a:gd name="T59" fmla="*/ 86 h 100"/>
                <a:gd name="T60" fmla="*/ 117 w 134"/>
                <a:gd name="T61" fmla="*/ 70 h 100"/>
                <a:gd name="T62" fmla="*/ 94 w 134"/>
                <a:gd name="T63" fmla="*/ 69 h 100"/>
                <a:gd name="T64" fmla="*/ 94 w 134"/>
                <a:gd name="T65" fmla="*/ 73 h 100"/>
                <a:gd name="T66" fmla="*/ 119 w 134"/>
                <a:gd name="T67" fmla="*/ 89 h 100"/>
                <a:gd name="T68" fmla="*/ 131 w 134"/>
                <a:gd name="T69" fmla="*/ 90 h 100"/>
                <a:gd name="T70" fmla="*/ 134 w 134"/>
                <a:gd name="T71" fmla="*/ 88 h 100"/>
                <a:gd name="T72" fmla="*/ 65 w 134"/>
                <a:gd name="T73" fmla="*/ 89 h 100"/>
                <a:gd name="T74" fmla="*/ 52 w 134"/>
                <a:gd name="T75" fmla="*/ 89 h 100"/>
                <a:gd name="T76" fmla="*/ 34 w 134"/>
                <a:gd name="T77" fmla="*/ 83 h 100"/>
                <a:gd name="T78" fmla="*/ 34 w 134"/>
                <a:gd name="T79" fmla="*/ 95 h 100"/>
                <a:gd name="T80" fmla="*/ 34 w 134"/>
                <a:gd name="T81" fmla="*/ 83 h 100"/>
                <a:gd name="T82" fmla="*/ 106 w 134"/>
                <a:gd name="T83" fmla="*/ 28 h 100"/>
                <a:gd name="T84" fmla="*/ 125 w 134"/>
                <a:gd name="T85" fmla="*/ 4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4" h="100">
                  <a:moveTo>
                    <a:pt x="134" y="88"/>
                  </a:moveTo>
                  <a:cubicBezTo>
                    <a:pt x="134" y="54"/>
                    <a:pt x="134" y="54"/>
                    <a:pt x="134" y="54"/>
                  </a:cubicBezTo>
                  <a:cubicBezTo>
                    <a:pt x="134" y="53"/>
                    <a:pt x="133" y="53"/>
                    <a:pt x="133" y="53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4"/>
                    <a:pt x="118" y="24"/>
                    <a:pt x="117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1" y="24"/>
                    <a:pt x="90" y="24"/>
                    <a:pt x="89" y="2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2" y="34"/>
                    <a:pt x="8" y="29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7" y="7"/>
                    <a:pt x="25" y="6"/>
                    <a:pt x="33" y="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4" y="1"/>
                    <a:pt x="12" y="4"/>
                    <a:pt x="9" y="5"/>
                  </a:cubicBezTo>
                  <a:cubicBezTo>
                    <a:pt x="8" y="5"/>
                    <a:pt x="7" y="6"/>
                    <a:pt x="7" y="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8"/>
                    <a:pt x="7" y="35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9"/>
                    <a:pt x="15" y="90"/>
                    <a:pt x="16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96"/>
                    <a:pt x="29" y="100"/>
                    <a:pt x="34" y="100"/>
                  </a:cubicBezTo>
                  <a:cubicBezTo>
                    <a:pt x="39" y="100"/>
                    <a:pt x="44" y="96"/>
                    <a:pt x="44" y="91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9" y="96"/>
                    <a:pt x="53" y="100"/>
                    <a:pt x="58" y="100"/>
                  </a:cubicBezTo>
                  <a:cubicBezTo>
                    <a:pt x="64" y="100"/>
                    <a:pt x="69" y="95"/>
                    <a:pt x="69" y="89"/>
                  </a:cubicBezTo>
                  <a:cubicBezTo>
                    <a:pt x="69" y="83"/>
                    <a:pt x="64" y="78"/>
                    <a:pt x="58" y="78"/>
                  </a:cubicBezTo>
                  <a:cubicBezTo>
                    <a:pt x="54" y="78"/>
                    <a:pt x="50" y="81"/>
                    <a:pt x="49" y="85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2" y="81"/>
                    <a:pt x="38" y="78"/>
                    <a:pt x="34" y="78"/>
                  </a:cubicBezTo>
                  <a:cubicBezTo>
                    <a:pt x="30" y="78"/>
                    <a:pt x="26" y="81"/>
                    <a:pt x="24" y="85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2"/>
                    <a:pt x="27" y="62"/>
                    <a:pt x="28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9" y="61"/>
                    <a:pt x="89" y="60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8"/>
                    <a:pt x="102" y="48"/>
                  </a:cubicBezTo>
                  <a:cubicBezTo>
                    <a:pt x="103" y="49"/>
                    <a:pt x="103" y="49"/>
                    <a:pt x="104" y="49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3" y="86"/>
                    <a:pt x="123" y="86"/>
                    <a:pt x="123" y="86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69"/>
                    <a:pt x="116" y="69"/>
                    <a:pt x="115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3" y="69"/>
                    <a:pt x="92" y="70"/>
                    <a:pt x="92" y="71"/>
                  </a:cubicBezTo>
                  <a:cubicBezTo>
                    <a:pt x="92" y="72"/>
                    <a:pt x="93" y="73"/>
                    <a:pt x="9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20" y="90"/>
                    <a:pt x="121" y="90"/>
                    <a:pt x="12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2" y="90"/>
                    <a:pt x="132" y="90"/>
                    <a:pt x="133" y="90"/>
                  </a:cubicBezTo>
                  <a:cubicBezTo>
                    <a:pt x="133" y="89"/>
                    <a:pt x="134" y="89"/>
                    <a:pt x="134" y="88"/>
                  </a:cubicBezTo>
                  <a:close/>
                  <a:moveTo>
                    <a:pt x="58" y="83"/>
                  </a:moveTo>
                  <a:cubicBezTo>
                    <a:pt x="62" y="83"/>
                    <a:pt x="65" y="86"/>
                    <a:pt x="65" y="89"/>
                  </a:cubicBezTo>
                  <a:cubicBezTo>
                    <a:pt x="65" y="93"/>
                    <a:pt x="62" y="95"/>
                    <a:pt x="58" y="95"/>
                  </a:cubicBezTo>
                  <a:cubicBezTo>
                    <a:pt x="55" y="95"/>
                    <a:pt x="52" y="93"/>
                    <a:pt x="52" y="89"/>
                  </a:cubicBezTo>
                  <a:cubicBezTo>
                    <a:pt x="52" y="86"/>
                    <a:pt x="55" y="83"/>
                    <a:pt x="58" y="83"/>
                  </a:cubicBezTo>
                  <a:close/>
                  <a:moveTo>
                    <a:pt x="34" y="83"/>
                  </a:moveTo>
                  <a:cubicBezTo>
                    <a:pt x="38" y="83"/>
                    <a:pt x="40" y="86"/>
                    <a:pt x="40" y="89"/>
                  </a:cubicBezTo>
                  <a:cubicBezTo>
                    <a:pt x="40" y="93"/>
                    <a:pt x="38" y="95"/>
                    <a:pt x="34" y="95"/>
                  </a:cubicBezTo>
                  <a:cubicBezTo>
                    <a:pt x="31" y="95"/>
                    <a:pt x="28" y="93"/>
                    <a:pt x="28" y="89"/>
                  </a:cubicBezTo>
                  <a:cubicBezTo>
                    <a:pt x="28" y="86"/>
                    <a:pt x="31" y="83"/>
                    <a:pt x="34" y="83"/>
                  </a:cubicBezTo>
                  <a:close/>
                  <a:moveTo>
                    <a:pt x="106" y="45"/>
                  </a:move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25" y="45"/>
                    <a:pt x="125" y="45"/>
                    <a:pt x="125" y="45"/>
                  </a:cubicBezTo>
                  <a:lnTo>
                    <a:pt x="106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4">
              <a:extLst>
                <a:ext uri="{FF2B5EF4-FFF2-40B4-BE49-F238E27FC236}">
                  <a16:creationId xmlns:a16="http://schemas.microsoft.com/office/drawing/2014/main" id="{2219AEEC-B919-4AED-A464-A776E0DBDA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1313"/>
              <a:ext cx="231" cy="79"/>
            </a:xfrm>
            <a:custGeom>
              <a:avLst/>
              <a:gdLst>
                <a:gd name="T0" fmla="*/ 50 w 90"/>
                <a:gd name="T1" fmla="*/ 16 h 31"/>
                <a:gd name="T2" fmla="*/ 53 w 90"/>
                <a:gd name="T3" fmla="*/ 20 h 31"/>
                <a:gd name="T4" fmla="*/ 53 w 90"/>
                <a:gd name="T5" fmla="*/ 20 h 31"/>
                <a:gd name="T6" fmla="*/ 68 w 90"/>
                <a:gd name="T7" fmla="*/ 20 h 31"/>
                <a:gd name="T8" fmla="*/ 69 w 90"/>
                <a:gd name="T9" fmla="*/ 20 h 31"/>
                <a:gd name="T10" fmla="*/ 69 w 90"/>
                <a:gd name="T11" fmla="*/ 21 h 31"/>
                <a:gd name="T12" fmla="*/ 80 w 90"/>
                <a:gd name="T13" fmla="*/ 31 h 31"/>
                <a:gd name="T14" fmla="*/ 90 w 90"/>
                <a:gd name="T15" fmla="*/ 20 h 31"/>
                <a:gd name="T16" fmla="*/ 80 w 90"/>
                <a:gd name="T17" fmla="*/ 9 h 31"/>
                <a:gd name="T18" fmla="*/ 70 w 90"/>
                <a:gd name="T19" fmla="*/ 15 h 31"/>
                <a:gd name="T20" fmla="*/ 70 w 90"/>
                <a:gd name="T21" fmla="*/ 15 h 31"/>
                <a:gd name="T22" fmla="*/ 54 w 90"/>
                <a:gd name="T23" fmla="*/ 15 h 31"/>
                <a:gd name="T24" fmla="*/ 54 w 90"/>
                <a:gd name="T25" fmla="*/ 15 h 31"/>
                <a:gd name="T26" fmla="*/ 52 w 90"/>
                <a:gd name="T27" fmla="*/ 10 h 31"/>
                <a:gd name="T28" fmla="*/ 51 w 90"/>
                <a:gd name="T29" fmla="*/ 6 h 31"/>
                <a:gd name="T30" fmla="*/ 50 w 90"/>
                <a:gd name="T31" fmla="*/ 5 h 31"/>
                <a:gd name="T32" fmla="*/ 47 w 90"/>
                <a:gd name="T33" fmla="*/ 1 h 31"/>
                <a:gd name="T34" fmla="*/ 2 w 90"/>
                <a:gd name="T35" fmla="*/ 1 h 31"/>
                <a:gd name="T36" fmla="*/ 0 w 90"/>
                <a:gd name="T37" fmla="*/ 3 h 31"/>
                <a:gd name="T38" fmla="*/ 2 w 90"/>
                <a:gd name="T39" fmla="*/ 5 h 31"/>
                <a:gd name="T40" fmla="*/ 46 w 90"/>
                <a:gd name="T41" fmla="*/ 5 h 31"/>
                <a:gd name="T42" fmla="*/ 46 w 90"/>
                <a:gd name="T43" fmla="*/ 6 h 31"/>
                <a:gd name="T44" fmla="*/ 48 w 90"/>
                <a:gd name="T45" fmla="*/ 12 h 31"/>
                <a:gd name="T46" fmla="*/ 50 w 90"/>
                <a:gd name="T47" fmla="*/ 16 h 31"/>
                <a:gd name="T48" fmla="*/ 80 w 90"/>
                <a:gd name="T49" fmla="*/ 14 h 31"/>
                <a:gd name="T50" fmla="*/ 86 w 90"/>
                <a:gd name="T51" fmla="*/ 20 h 31"/>
                <a:gd name="T52" fmla="*/ 80 w 90"/>
                <a:gd name="T53" fmla="*/ 26 h 31"/>
                <a:gd name="T54" fmla="*/ 73 w 90"/>
                <a:gd name="T55" fmla="*/ 20 h 31"/>
                <a:gd name="T56" fmla="*/ 80 w 90"/>
                <a:gd name="T5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0" h="31">
                  <a:moveTo>
                    <a:pt x="50" y="16"/>
                  </a:moveTo>
                  <a:cubicBezTo>
                    <a:pt x="51" y="19"/>
                    <a:pt x="51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6"/>
                    <a:pt x="74" y="31"/>
                    <a:pt x="80" y="31"/>
                  </a:cubicBezTo>
                  <a:cubicBezTo>
                    <a:pt x="85" y="31"/>
                    <a:pt x="90" y="26"/>
                    <a:pt x="90" y="20"/>
                  </a:cubicBezTo>
                  <a:cubicBezTo>
                    <a:pt x="90" y="14"/>
                    <a:pt x="85" y="9"/>
                    <a:pt x="80" y="9"/>
                  </a:cubicBezTo>
                  <a:cubicBezTo>
                    <a:pt x="76" y="9"/>
                    <a:pt x="72" y="11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3"/>
                    <a:pt x="53" y="12"/>
                    <a:pt x="52" y="10"/>
                  </a:cubicBezTo>
                  <a:cubicBezTo>
                    <a:pt x="52" y="9"/>
                    <a:pt x="51" y="7"/>
                    <a:pt x="51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9" y="1"/>
                    <a:pt x="49" y="0"/>
                    <a:pt x="47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8" y="10"/>
                    <a:pt x="48" y="12"/>
                  </a:cubicBezTo>
                  <a:lnTo>
                    <a:pt x="50" y="16"/>
                  </a:lnTo>
                  <a:close/>
                  <a:moveTo>
                    <a:pt x="80" y="14"/>
                  </a:moveTo>
                  <a:cubicBezTo>
                    <a:pt x="83" y="14"/>
                    <a:pt x="86" y="17"/>
                    <a:pt x="86" y="20"/>
                  </a:cubicBezTo>
                  <a:cubicBezTo>
                    <a:pt x="86" y="24"/>
                    <a:pt x="83" y="26"/>
                    <a:pt x="80" y="26"/>
                  </a:cubicBezTo>
                  <a:cubicBezTo>
                    <a:pt x="76" y="26"/>
                    <a:pt x="73" y="24"/>
                    <a:pt x="73" y="20"/>
                  </a:cubicBezTo>
                  <a:cubicBezTo>
                    <a:pt x="73" y="17"/>
                    <a:pt x="76" y="14"/>
                    <a:pt x="8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5">
              <a:extLst>
                <a:ext uri="{FF2B5EF4-FFF2-40B4-BE49-F238E27FC236}">
                  <a16:creationId xmlns:a16="http://schemas.microsoft.com/office/drawing/2014/main" id="{A416718D-16C6-4F89-9AD2-519D55EA6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1141"/>
              <a:ext cx="103" cy="128"/>
            </a:xfrm>
            <a:custGeom>
              <a:avLst/>
              <a:gdLst>
                <a:gd name="T0" fmla="*/ 5 w 40"/>
                <a:gd name="T1" fmla="*/ 50 h 50"/>
                <a:gd name="T2" fmla="*/ 18 w 40"/>
                <a:gd name="T3" fmla="*/ 9 h 50"/>
                <a:gd name="T4" fmla="*/ 20 w 40"/>
                <a:gd name="T5" fmla="*/ 10 h 50"/>
                <a:gd name="T6" fmla="*/ 32 w 40"/>
                <a:gd name="T7" fmla="*/ 20 h 50"/>
                <a:gd name="T8" fmla="*/ 32 w 40"/>
                <a:gd name="T9" fmla="*/ 20 h 50"/>
                <a:gd name="T10" fmla="*/ 32 w 40"/>
                <a:gd name="T11" fmla="*/ 21 h 50"/>
                <a:gd name="T12" fmla="*/ 31 w 40"/>
                <a:gd name="T13" fmla="*/ 39 h 50"/>
                <a:gd name="T14" fmla="*/ 31 w 40"/>
                <a:gd name="T15" fmla="*/ 39 h 50"/>
                <a:gd name="T16" fmla="*/ 26 w 40"/>
                <a:gd name="T17" fmla="*/ 50 h 50"/>
                <a:gd name="T18" fmla="*/ 31 w 40"/>
                <a:gd name="T19" fmla="*/ 50 h 50"/>
                <a:gd name="T20" fmla="*/ 35 w 40"/>
                <a:gd name="T21" fmla="*/ 41 h 50"/>
                <a:gd name="T22" fmla="*/ 35 w 40"/>
                <a:gd name="T23" fmla="*/ 41 h 50"/>
                <a:gd name="T24" fmla="*/ 36 w 40"/>
                <a:gd name="T25" fmla="*/ 41 h 50"/>
                <a:gd name="T26" fmla="*/ 36 w 40"/>
                <a:gd name="T27" fmla="*/ 41 h 50"/>
                <a:gd name="T28" fmla="*/ 35 w 40"/>
                <a:gd name="T29" fmla="*/ 41 h 50"/>
                <a:gd name="T30" fmla="*/ 36 w 40"/>
                <a:gd name="T31" fmla="*/ 19 h 50"/>
                <a:gd name="T32" fmla="*/ 36 w 40"/>
                <a:gd name="T33" fmla="*/ 18 h 50"/>
                <a:gd name="T34" fmla="*/ 21 w 40"/>
                <a:gd name="T35" fmla="*/ 5 h 50"/>
                <a:gd name="T36" fmla="*/ 20 w 40"/>
                <a:gd name="T37" fmla="*/ 5 h 50"/>
                <a:gd name="T38" fmla="*/ 20 w 40"/>
                <a:gd name="T39" fmla="*/ 3 h 50"/>
                <a:gd name="T40" fmla="*/ 19 w 40"/>
                <a:gd name="T41" fmla="*/ 1 h 50"/>
                <a:gd name="T42" fmla="*/ 17 w 40"/>
                <a:gd name="T43" fmla="*/ 1 h 50"/>
                <a:gd name="T44" fmla="*/ 16 w 40"/>
                <a:gd name="T45" fmla="*/ 2 h 50"/>
                <a:gd name="T46" fmla="*/ 0 w 40"/>
                <a:gd name="T47" fmla="*/ 50 h 50"/>
                <a:gd name="T48" fmla="*/ 5 w 40"/>
                <a:gd name="T4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50">
                  <a:moveTo>
                    <a:pt x="5" y="50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3" y="12"/>
                    <a:pt x="30" y="18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3" y="23"/>
                    <a:pt x="35" y="28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44"/>
                    <a:pt x="28" y="47"/>
                    <a:pt x="26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3" y="47"/>
                    <a:pt x="34" y="44"/>
                    <a:pt x="35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40" y="28"/>
                    <a:pt x="37" y="22"/>
                    <a:pt x="36" y="19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5" y="16"/>
                    <a:pt x="21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2"/>
                    <a:pt x="20" y="1"/>
                    <a:pt x="19" y="1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7" y="1"/>
                    <a:pt x="16" y="2"/>
                    <a:pt x="16" y="2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5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6">
              <a:extLst>
                <a:ext uri="{FF2B5EF4-FFF2-40B4-BE49-F238E27FC236}">
                  <a16:creationId xmlns:a16="http://schemas.microsoft.com/office/drawing/2014/main" id="{01ECF180-FF5F-435E-A16B-F0EF681AE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" y="1126"/>
              <a:ext cx="64" cy="120"/>
            </a:xfrm>
            <a:custGeom>
              <a:avLst/>
              <a:gdLst>
                <a:gd name="T0" fmla="*/ 13 w 25"/>
                <a:gd name="T1" fmla="*/ 2 h 47"/>
                <a:gd name="T2" fmla="*/ 10 w 25"/>
                <a:gd name="T3" fmla="*/ 9 h 47"/>
                <a:gd name="T4" fmla="*/ 0 w 25"/>
                <a:gd name="T5" fmla="*/ 40 h 47"/>
                <a:gd name="T6" fmla="*/ 0 w 25"/>
                <a:gd name="T7" fmla="*/ 40 h 47"/>
                <a:gd name="T8" fmla="*/ 2 w 25"/>
                <a:gd name="T9" fmla="*/ 47 h 47"/>
                <a:gd name="T10" fmla="*/ 15 w 25"/>
                <a:gd name="T11" fmla="*/ 7 h 47"/>
                <a:gd name="T12" fmla="*/ 24 w 25"/>
                <a:gd name="T13" fmla="*/ 10 h 47"/>
                <a:gd name="T14" fmla="*/ 25 w 25"/>
                <a:gd name="T15" fmla="*/ 5 h 47"/>
                <a:gd name="T16" fmla="*/ 17 w 25"/>
                <a:gd name="T17" fmla="*/ 3 h 47"/>
                <a:gd name="T18" fmla="*/ 17 w 25"/>
                <a:gd name="T19" fmla="*/ 2 h 47"/>
                <a:gd name="T20" fmla="*/ 15 w 25"/>
                <a:gd name="T21" fmla="*/ 0 h 47"/>
                <a:gd name="T22" fmla="*/ 14 w 25"/>
                <a:gd name="T23" fmla="*/ 0 h 47"/>
                <a:gd name="T24" fmla="*/ 13 w 25"/>
                <a:gd name="T25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47">
                  <a:moveTo>
                    <a:pt x="13" y="2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6" y="1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1"/>
                    <a:pt x="13" y="1"/>
                    <a:pt x="1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79">
            <a:extLst>
              <a:ext uri="{FF2B5EF4-FFF2-40B4-BE49-F238E27FC236}">
                <a16:creationId xmlns:a16="http://schemas.microsoft.com/office/drawing/2014/main" id="{A25CB7B0-B471-4EF6-94F8-F908133BEE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9500" y="1589670"/>
            <a:ext cx="758825" cy="758825"/>
            <a:chOff x="2280" y="1019"/>
            <a:chExt cx="478" cy="478"/>
          </a:xfrm>
        </p:grpSpPr>
        <p:sp>
          <p:nvSpPr>
            <p:cNvPr id="107" name="AutoShape 78">
              <a:extLst>
                <a:ext uri="{FF2B5EF4-FFF2-40B4-BE49-F238E27FC236}">
                  <a16:creationId xmlns:a16="http://schemas.microsoft.com/office/drawing/2014/main" id="{8F0B0AA8-EBE5-4D84-95EB-7C35BDF6FF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0" y="10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0">
              <a:extLst>
                <a:ext uri="{FF2B5EF4-FFF2-40B4-BE49-F238E27FC236}">
                  <a16:creationId xmlns:a16="http://schemas.microsoft.com/office/drawing/2014/main" id="{B0EA1C0B-ABD2-45E4-A7FA-FEB05776A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2" y="102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1">
              <a:extLst>
                <a:ext uri="{FF2B5EF4-FFF2-40B4-BE49-F238E27FC236}">
                  <a16:creationId xmlns:a16="http://schemas.microsoft.com/office/drawing/2014/main" id="{2A2D0E12-5D60-4B5C-8DB9-B2699B8AF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6" y="1142"/>
              <a:ext cx="328" cy="245"/>
            </a:xfrm>
            <a:custGeom>
              <a:avLst/>
              <a:gdLst>
                <a:gd name="T0" fmla="*/ 134 w 134"/>
                <a:gd name="T1" fmla="*/ 54 h 100"/>
                <a:gd name="T2" fmla="*/ 133 w 134"/>
                <a:gd name="T3" fmla="*/ 53 h 100"/>
                <a:gd name="T4" fmla="*/ 117 w 134"/>
                <a:gd name="T5" fmla="*/ 24 h 100"/>
                <a:gd name="T6" fmla="*/ 89 w 134"/>
                <a:gd name="T7" fmla="*/ 25 h 100"/>
                <a:gd name="T8" fmla="*/ 29 w 134"/>
                <a:gd name="T9" fmla="*/ 58 h 100"/>
                <a:gd name="T10" fmla="*/ 23 w 134"/>
                <a:gd name="T11" fmla="*/ 40 h 100"/>
                <a:gd name="T12" fmla="*/ 16 w 134"/>
                <a:gd name="T13" fmla="*/ 39 h 100"/>
                <a:gd name="T14" fmla="*/ 5 w 134"/>
                <a:gd name="T15" fmla="*/ 26 h 100"/>
                <a:gd name="T16" fmla="*/ 11 w 134"/>
                <a:gd name="T17" fmla="*/ 9 h 100"/>
                <a:gd name="T18" fmla="*/ 34 w 134"/>
                <a:gd name="T19" fmla="*/ 0 h 100"/>
                <a:gd name="T20" fmla="*/ 7 w 134"/>
                <a:gd name="T21" fmla="*/ 6 h 100"/>
                <a:gd name="T22" fmla="*/ 1 w 134"/>
                <a:gd name="T23" fmla="*/ 28 h 100"/>
                <a:gd name="T24" fmla="*/ 14 w 134"/>
                <a:gd name="T25" fmla="*/ 43 h 100"/>
                <a:gd name="T26" fmla="*/ 16 w 134"/>
                <a:gd name="T27" fmla="*/ 90 h 100"/>
                <a:gd name="T28" fmla="*/ 24 w 134"/>
                <a:gd name="T29" fmla="*/ 91 h 100"/>
                <a:gd name="T30" fmla="*/ 44 w 134"/>
                <a:gd name="T31" fmla="*/ 91 h 100"/>
                <a:gd name="T32" fmla="*/ 48 w 134"/>
                <a:gd name="T33" fmla="*/ 90 h 100"/>
                <a:gd name="T34" fmla="*/ 58 w 134"/>
                <a:gd name="T35" fmla="*/ 100 h 100"/>
                <a:gd name="T36" fmla="*/ 58 w 134"/>
                <a:gd name="T37" fmla="*/ 78 h 100"/>
                <a:gd name="T38" fmla="*/ 48 w 134"/>
                <a:gd name="T39" fmla="*/ 86 h 100"/>
                <a:gd name="T40" fmla="*/ 44 w 134"/>
                <a:gd name="T41" fmla="*/ 85 h 100"/>
                <a:gd name="T42" fmla="*/ 24 w 134"/>
                <a:gd name="T43" fmla="*/ 85 h 100"/>
                <a:gd name="T44" fmla="*/ 18 w 134"/>
                <a:gd name="T45" fmla="*/ 86 h 100"/>
                <a:gd name="T46" fmla="*/ 21 w 134"/>
                <a:gd name="T47" fmla="*/ 44 h 100"/>
                <a:gd name="T48" fmla="*/ 28 w 134"/>
                <a:gd name="T49" fmla="*/ 62 h 100"/>
                <a:gd name="T50" fmla="*/ 89 w 134"/>
                <a:gd name="T51" fmla="*/ 60 h 100"/>
                <a:gd name="T52" fmla="*/ 102 w 134"/>
                <a:gd name="T53" fmla="*/ 28 h 100"/>
                <a:gd name="T54" fmla="*/ 102 w 134"/>
                <a:gd name="T55" fmla="*/ 48 h 100"/>
                <a:gd name="T56" fmla="*/ 127 w 134"/>
                <a:gd name="T57" fmla="*/ 49 h 100"/>
                <a:gd name="T58" fmla="*/ 129 w 134"/>
                <a:gd name="T59" fmla="*/ 86 h 100"/>
                <a:gd name="T60" fmla="*/ 117 w 134"/>
                <a:gd name="T61" fmla="*/ 70 h 100"/>
                <a:gd name="T62" fmla="*/ 94 w 134"/>
                <a:gd name="T63" fmla="*/ 69 h 100"/>
                <a:gd name="T64" fmla="*/ 94 w 134"/>
                <a:gd name="T65" fmla="*/ 73 h 100"/>
                <a:gd name="T66" fmla="*/ 119 w 134"/>
                <a:gd name="T67" fmla="*/ 89 h 100"/>
                <a:gd name="T68" fmla="*/ 131 w 134"/>
                <a:gd name="T69" fmla="*/ 90 h 100"/>
                <a:gd name="T70" fmla="*/ 134 w 134"/>
                <a:gd name="T71" fmla="*/ 88 h 100"/>
                <a:gd name="T72" fmla="*/ 65 w 134"/>
                <a:gd name="T73" fmla="*/ 89 h 100"/>
                <a:gd name="T74" fmla="*/ 52 w 134"/>
                <a:gd name="T75" fmla="*/ 89 h 100"/>
                <a:gd name="T76" fmla="*/ 34 w 134"/>
                <a:gd name="T77" fmla="*/ 83 h 100"/>
                <a:gd name="T78" fmla="*/ 34 w 134"/>
                <a:gd name="T79" fmla="*/ 95 h 100"/>
                <a:gd name="T80" fmla="*/ 34 w 134"/>
                <a:gd name="T81" fmla="*/ 83 h 100"/>
                <a:gd name="T82" fmla="*/ 106 w 134"/>
                <a:gd name="T83" fmla="*/ 28 h 100"/>
                <a:gd name="T84" fmla="*/ 125 w 134"/>
                <a:gd name="T85" fmla="*/ 4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4" h="100">
                  <a:moveTo>
                    <a:pt x="134" y="88"/>
                  </a:moveTo>
                  <a:cubicBezTo>
                    <a:pt x="134" y="54"/>
                    <a:pt x="134" y="54"/>
                    <a:pt x="134" y="54"/>
                  </a:cubicBezTo>
                  <a:cubicBezTo>
                    <a:pt x="134" y="53"/>
                    <a:pt x="133" y="53"/>
                    <a:pt x="133" y="53"/>
                  </a:cubicBezTo>
                  <a:cubicBezTo>
                    <a:pt x="133" y="53"/>
                    <a:pt x="133" y="53"/>
                    <a:pt x="133" y="53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4"/>
                    <a:pt x="118" y="24"/>
                    <a:pt x="117" y="24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1" y="24"/>
                    <a:pt x="90" y="24"/>
                    <a:pt x="89" y="25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2" y="34"/>
                    <a:pt x="8" y="29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7" y="7"/>
                    <a:pt x="25" y="6"/>
                    <a:pt x="33" y="4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4" y="1"/>
                    <a:pt x="12" y="4"/>
                    <a:pt x="9" y="5"/>
                  </a:cubicBezTo>
                  <a:cubicBezTo>
                    <a:pt x="8" y="5"/>
                    <a:pt x="7" y="6"/>
                    <a:pt x="7" y="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" y="28"/>
                    <a:pt x="7" y="35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9"/>
                    <a:pt x="15" y="90"/>
                    <a:pt x="16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96"/>
                    <a:pt x="29" y="100"/>
                    <a:pt x="34" y="100"/>
                  </a:cubicBezTo>
                  <a:cubicBezTo>
                    <a:pt x="39" y="100"/>
                    <a:pt x="44" y="96"/>
                    <a:pt x="44" y="91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9" y="96"/>
                    <a:pt x="53" y="100"/>
                    <a:pt x="58" y="100"/>
                  </a:cubicBezTo>
                  <a:cubicBezTo>
                    <a:pt x="64" y="100"/>
                    <a:pt x="69" y="95"/>
                    <a:pt x="69" y="89"/>
                  </a:cubicBezTo>
                  <a:cubicBezTo>
                    <a:pt x="69" y="83"/>
                    <a:pt x="64" y="78"/>
                    <a:pt x="58" y="78"/>
                  </a:cubicBezTo>
                  <a:cubicBezTo>
                    <a:pt x="54" y="78"/>
                    <a:pt x="50" y="81"/>
                    <a:pt x="49" y="85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2" y="81"/>
                    <a:pt x="38" y="78"/>
                    <a:pt x="34" y="78"/>
                  </a:cubicBezTo>
                  <a:cubicBezTo>
                    <a:pt x="30" y="78"/>
                    <a:pt x="26" y="81"/>
                    <a:pt x="24" y="85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2"/>
                    <a:pt x="27" y="62"/>
                    <a:pt x="28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9" y="61"/>
                    <a:pt x="89" y="60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8"/>
                    <a:pt x="102" y="48"/>
                  </a:cubicBezTo>
                  <a:cubicBezTo>
                    <a:pt x="103" y="49"/>
                    <a:pt x="103" y="49"/>
                    <a:pt x="104" y="49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3" y="86"/>
                    <a:pt x="123" y="86"/>
                    <a:pt x="123" y="86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69"/>
                    <a:pt x="116" y="69"/>
                    <a:pt x="115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3" y="69"/>
                    <a:pt x="92" y="70"/>
                    <a:pt x="92" y="71"/>
                  </a:cubicBezTo>
                  <a:cubicBezTo>
                    <a:pt x="92" y="72"/>
                    <a:pt x="93" y="73"/>
                    <a:pt x="94" y="73"/>
                  </a:cubicBezTo>
                  <a:cubicBezTo>
                    <a:pt x="114" y="73"/>
                    <a:pt x="114" y="73"/>
                    <a:pt x="114" y="73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20" y="90"/>
                    <a:pt x="121" y="90"/>
                    <a:pt x="12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2" y="90"/>
                    <a:pt x="132" y="90"/>
                    <a:pt x="133" y="90"/>
                  </a:cubicBezTo>
                  <a:cubicBezTo>
                    <a:pt x="133" y="89"/>
                    <a:pt x="134" y="89"/>
                    <a:pt x="134" y="88"/>
                  </a:cubicBezTo>
                  <a:close/>
                  <a:moveTo>
                    <a:pt x="58" y="83"/>
                  </a:moveTo>
                  <a:cubicBezTo>
                    <a:pt x="62" y="83"/>
                    <a:pt x="65" y="86"/>
                    <a:pt x="65" y="89"/>
                  </a:cubicBezTo>
                  <a:cubicBezTo>
                    <a:pt x="65" y="93"/>
                    <a:pt x="62" y="95"/>
                    <a:pt x="58" y="95"/>
                  </a:cubicBezTo>
                  <a:cubicBezTo>
                    <a:pt x="55" y="95"/>
                    <a:pt x="52" y="93"/>
                    <a:pt x="52" y="89"/>
                  </a:cubicBezTo>
                  <a:cubicBezTo>
                    <a:pt x="52" y="86"/>
                    <a:pt x="55" y="83"/>
                    <a:pt x="58" y="83"/>
                  </a:cubicBezTo>
                  <a:close/>
                  <a:moveTo>
                    <a:pt x="34" y="83"/>
                  </a:moveTo>
                  <a:cubicBezTo>
                    <a:pt x="38" y="83"/>
                    <a:pt x="40" y="86"/>
                    <a:pt x="40" y="89"/>
                  </a:cubicBezTo>
                  <a:cubicBezTo>
                    <a:pt x="40" y="93"/>
                    <a:pt x="38" y="95"/>
                    <a:pt x="34" y="95"/>
                  </a:cubicBezTo>
                  <a:cubicBezTo>
                    <a:pt x="31" y="95"/>
                    <a:pt x="28" y="93"/>
                    <a:pt x="28" y="89"/>
                  </a:cubicBezTo>
                  <a:cubicBezTo>
                    <a:pt x="28" y="86"/>
                    <a:pt x="31" y="83"/>
                    <a:pt x="34" y="83"/>
                  </a:cubicBezTo>
                  <a:close/>
                  <a:moveTo>
                    <a:pt x="106" y="45"/>
                  </a:move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25" y="45"/>
                    <a:pt x="125" y="45"/>
                    <a:pt x="125" y="45"/>
                  </a:cubicBezTo>
                  <a:lnTo>
                    <a:pt x="106" y="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82">
              <a:extLst>
                <a:ext uri="{FF2B5EF4-FFF2-40B4-BE49-F238E27FC236}">
                  <a16:creationId xmlns:a16="http://schemas.microsoft.com/office/drawing/2014/main" id="{623F4564-42BD-4344-8E8B-4DF20B088E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5" y="1311"/>
              <a:ext cx="220" cy="76"/>
            </a:xfrm>
            <a:custGeom>
              <a:avLst/>
              <a:gdLst>
                <a:gd name="T0" fmla="*/ 50 w 90"/>
                <a:gd name="T1" fmla="*/ 16 h 31"/>
                <a:gd name="T2" fmla="*/ 53 w 90"/>
                <a:gd name="T3" fmla="*/ 20 h 31"/>
                <a:gd name="T4" fmla="*/ 53 w 90"/>
                <a:gd name="T5" fmla="*/ 20 h 31"/>
                <a:gd name="T6" fmla="*/ 68 w 90"/>
                <a:gd name="T7" fmla="*/ 20 h 31"/>
                <a:gd name="T8" fmla="*/ 69 w 90"/>
                <a:gd name="T9" fmla="*/ 20 h 31"/>
                <a:gd name="T10" fmla="*/ 69 w 90"/>
                <a:gd name="T11" fmla="*/ 21 h 31"/>
                <a:gd name="T12" fmla="*/ 80 w 90"/>
                <a:gd name="T13" fmla="*/ 31 h 31"/>
                <a:gd name="T14" fmla="*/ 90 w 90"/>
                <a:gd name="T15" fmla="*/ 20 h 31"/>
                <a:gd name="T16" fmla="*/ 80 w 90"/>
                <a:gd name="T17" fmla="*/ 9 h 31"/>
                <a:gd name="T18" fmla="*/ 70 w 90"/>
                <a:gd name="T19" fmla="*/ 15 h 31"/>
                <a:gd name="T20" fmla="*/ 70 w 90"/>
                <a:gd name="T21" fmla="*/ 15 h 31"/>
                <a:gd name="T22" fmla="*/ 54 w 90"/>
                <a:gd name="T23" fmla="*/ 15 h 31"/>
                <a:gd name="T24" fmla="*/ 54 w 90"/>
                <a:gd name="T25" fmla="*/ 15 h 31"/>
                <a:gd name="T26" fmla="*/ 52 w 90"/>
                <a:gd name="T27" fmla="*/ 10 h 31"/>
                <a:gd name="T28" fmla="*/ 51 w 90"/>
                <a:gd name="T29" fmla="*/ 6 h 31"/>
                <a:gd name="T30" fmla="*/ 50 w 90"/>
                <a:gd name="T31" fmla="*/ 5 h 31"/>
                <a:gd name="T32" fmla="*/ 47 w 90"/>
                <a:gd name="T33" fmla="*/ 1 h 31"/>
                <a:gd name="T34" fmla="*/ 2 w 90"/>
                <a:gd name="T35" fmla="*/ 1 h 31"/>
                <a:gd name="T36" fmla="*/ 0 w 90"/>
                <a:gd name="T37" fmla="*/ 3 h 31"/>
                <a:gd name="T38" fmla="*/ 2 w 90"/>
                <a:gd name="T39" fmla="*/ 5 h 31"/>
                <a:gd name="T40" fmla="*/ 46 w 90"/>
                <a:gd name="T41" fmla="*/ 5 h 31"/>
                <a:gd name="T42" fmla="*/ 46 w 90"/>
                <a:gd name="T43" fmla="*/ 6 h 31"/>
                <a:gd name="T44" fmla="*/ 48 w 90"/>
                <a:gd name="T45" fmla="*/ 12 h 31"/>
                <a:gd name="T46" fmla="*/ 50 w 90"/>
                <a:gd name="T47" fmla="*/ 16 h 31"/>
                <a:gd name="T48" fmla="*/ 80 w 90"/>
                <a:gd name="T49" fmla="*/ 14 h 31"/>
                <a:gd name="T50" fmla="*/ 86 w 90"/>
                <a:gd name="T51" fmla="*/ 20 h 31"/>
                <a:gd name="T52" fmla="*/ 80 w 90"/>
                <a:gd name="T53" fmla="*/ 26 h 31"/>
                <a:gd name="T54" fmla="*/ 73 w 90"/>
                <a:gd name="T55" fmla="*/ 20 h 31"/>
                <a:gd name="T56" fmla="*/ 80 w 90"/>
                <a:gd name="T5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0" h="31">
                  <a:moveTo>
                    <a:pt x="50" y="16"/>
                  </a:moveTo>
                  <a:cubicBezTo>
                    <a:pt x="51" y="19"/>
                    <a:pt x="51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6"/>
                    <a:pt x="74" y="31"/>
                    <a:pt x="80" y="31"/>
                  </a:cubicBezTo>
                  <a:cubicBezTo>
                    <a:pt x="85" y="31"/>
                    <a:pt x="90" y="26"/>
                    <a:pt x="90" y="20"/>
                  </a:cubicBezTo>
                  <a:cubicBezTo>
                    <a:pt x="90" y="14"/>
                    <a:pt x="85" y="9"/>
                    <a:pt x="80" y="9"/>
                  </a:cubicBezTo>
                  <a:cubicBezTo>
                    <a:pt x="76" y="9"/>
                    <a:pt x="72" y="11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3"/>
                    <a:pt x="53" y="12"/>
                    <a:pt x="52" y="10"/>
                  </a:cubicBezTo>
                  <a:cubicBezTo>
                    <a:pt x="52" y="9"/>
                    <a:pt x="51" y="7"/>
                    <a:pt x="51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9" y="1"/>
                    <a:pt x="49" y="0"/>
                    <a:pt x="47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8" y="10"/>
                    <a:pt x="48" y="12"/>
                  </a:cubicBezTo>
                  <a:lnTo>
                    <a:pt x="50" y="16"/>
                  </a:lnTo>
                  <a:close/>
                  <a:moveTo>
                    <a:pt x="80" y="14"/>
                  </a:moveTo>
                  <a:cubicBezTo>
                    <a:pt x="83" y="14"/>
                    <a:pt x="86" y="17"/>
                    <a:pt x="86" y="20"/>
                  </a:cubicBezTo>
                  <a:cubicBezTo>
                    <a:pt x="86" y="24"/>
                    <a:pt x="83" y="26"/>
                    <a:pt x="80" y="26"/>
                  </a:cubicBezTo>
                  <a:cubicBezTo>
                    <a:pt x="76" y="26"/>
                    <a:pt x="73" y="24"/>
                    <a:pt x="73" y="20"/>
                  </a:cubicBezTo>
                  <a:cubicBezTo>
                    <a:pt x="73" y="17"/>
                    <a:pt x="76" y="14"/>
                    <a:pt x="80" y="1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3">
              <a:extLst>
                <a:ext uri="{FF2B5EF4-FFF2-40B4-BE49-F238E27FC236}">
                  <a16:creationId xmlns:a16="http://schemas.microsoft.com/office/drawing/2014/main" id="{852C0B64-99E4-4FBD-B667-3772791F6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9" y="1146"/>
              <a:ext cx="98" cy="123"/>
            </a:xfrm>
            <a:custGeom>
              <a:avLst/>
              <a:gdLst>
                <a:gd name="T0" fmla="*/ 5 w 40"/>
                <a:gd name="T1" fmla="*/ 50 h 50"/>
                <a:gd name="T2" fmla="*/ 18 w 40"/>
                <a:gd name="T3" fmla="*/ 9 h 50"/>
                <a:gd name="T4" fmla="*/ 20 w 40"/>
                <a:gd name="T5" fmla="*/ 10 h 50"/>
                <a:gd name="T6" fmla="*/ 32 w 40"/>
                <a:gd name="T7" fmla="*/ 20 h 50"/>
                <a:gd name="T8" fmla="*/ 32 w 40"/>
                <a:gd name="T9" fmla="*/ 20 h 50"/>
                <a:gd name="T10" fmla="*/ 32 w 40"/>
                <a:gd name="T11" fmla="*/ 21 h 50"/>
                <a:gd name="T12" fmla="*/ 31 w 40"/>
                <a:gd name="T13" fmla="*/ 39 h 50"/>
                <a:gd name="T14" fmla="*/ 31 w 40"/>
                <a:gd name="T15" fmla="*/ 39 h 50"/>
                <a:gd name="T16" fmla="*/ 26 w 40"/>
                <a:gd name="T17" fmla="*/ 50 h 50"/>
                <a:gd name="T18" fmla="*/ 31 w 40"/>
                <a:gd name="T19" fmla="*/ 50 h 50"/>
                <a:gd name="T20" fmla="*/ 35 w 40"/>
                <a:gd name="T21" fmla="*/ 41 h 50"/>
                <a:gd name="T22" fmla="*/ 35 w 40"/>
                <a:gd name="T23" fmla="*/ 41 h 50"/>
                <a:gd name="T24" fmla="*/ 36 w 40"/>
                <a:gd name="T25" fmla="*/ 41 h 50"/>
                <a:gd name="T26" fmla="*/ 36 w 40"/>
                <a:gd name="T27" fmla="*/ 41 h 50"/>
                <a:gd name="T28" fmla="*/ 35 w 40"/>
                <a:gd name="T29" fmla="*/ 41 h 50"/>
                <a:gd name="T30" fmla="*/ 36 w 40"/>
                <a:gd name="T31" fmla="*/ 19 h 50"/>
                <a:gd name="T32" fmla="*/ 36 w 40"/>
                <a:gd name="T33" fmla="*/ 18 h 50"/>
                <a:gd name="T34" fmla="*/ 21 w 40"/>
                <a:gd name="T35" fmla="*/ 5 h 50"/>
                <a:gd name="T36" fmla="*/ 20 w 40"/>
                <a:gd name="T37" fmla="*/ 5 h 50"/>
                <a:gd name="T38" fmla="*/ 20 w 40"/>
                <a:gd name="T39" fmla="*/ 3 h 50"/>
                <a:gd name="T40" fmla="*/ 19 w 40"/>
                <a:gd name="T41" fmla="*/ 1 h 50"/>
                <a:gd name="T42" fmla="*/ 17 w 40"/>
                <a:gd name="T43" fmla="*/ 1 h 50"/>
                <a:gd name="T44" fmla="*/ 16 w 40"/>
                <a:gd name="T45" fmla="*/ 2 h 50"/>
                <a:gd name="T46" fmla="*/ 0 w 40"/>
                <a:gd name="T47" fmla="*/ 50 h 50"/>
                <a:gd name="T48" fmla="*/ 5 w 40"/>
                <a:gd name="T4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50">
                  <a:moveTo>
                    <a:pt x="5" y="50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3" y="12"/>
                    <a:pt x="30" y="18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1"/>
                  </a:cubicBezTo>
                  <a:cubicBezTo>
                    <a:pt x="33" y="23"/>
                    <a:pt x="35" y="28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44"/>
                    <a:pt x="28" y="47"/>
                    <a:pt x="26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3" y="47"/>
                    <a:pt x="34" y="44"/>
                    <a:pt x="35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40" y="28"/>
                    <a:pt x="37" y="22"/>
                    <a:pt x="36" y="19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5" y="16"/>
                    <a:pt x="21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2"/>
                    <a:pt x="20" y="1"/>
                    <a:pt x="19" y="1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7" y="1"/>
                    <a:pt x="16" y="2"/>
                    <a:pt x="16" y="2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5" y="5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4">
              <a:extLst>
                <a:ext uri="{FF2B5EF4-FFF2-40B4-BE49-F238E27FC236}">
                  <a16:creationId xmlns:a16="http://schemas.microsoft.com/office/drawing/2014/main" id="{6BB99E99-6FA2-42EF-8B81-9F5136687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0" y="1132"/>
              <a:ext cx="61" cy="115"/>
            </a:xfrm>
            <a:custGeom>
              <a:avLst/>
              <a:gdLst>
                <a:gd name="T0" fmla="*/ 13 w 25"/>
                <a:gd name="T1" fmla="*/ 2 h 47"/>
                <a:gd name="T2" fmla="*/ 10 w 25"/>
                <a:gd name="T3" fmla="*/ 9 h 47"/>
                <a:gd name="T4" fmla="*/ 0 w 25"/>
                <a:gd name="T5" fmla="*/ 40 h 47"/>
                <a:gd name="T6" fmla="*/ 0 w 25"/>
                <a:gd name="T7" fmla="*/ 40 h 47"/>
                <a:gd name="T8" fmla="*/ 2 w 25"/>
                <a:gd name="T9" fmla="*/ 47 h 47"/>
                <a:gd name="T10" fmla="*/ 15 w 25"/>
                <a:gd name="T11" fmla="*/ 7 h 47"/>
                <a:gd name="T12" fmla="*/ 24 w 25"/>
                <a:gd name="T13" fmla="*/ 10 h 47"/>
                <a:gd name="T14" fmla="*/ 25 w 25"/>
                <a:gd name="T15" fmla="*/ 5 h 47"/>
                <a:gd name="T16" fmla="*/ 17 w 25"/>
                <a:gd name="T17" fmla="*/ 3 h 47"/>
                <a:gd name="T18" fmla="*/ 17 w 25"/>
                <a:gd name="T19" fmla="*/ 2 h 47"/>
                <a:gd name="T20" fmla="*/ 15 w 25"/>
                <a:gd name="T21" fmla="*/ 0 h 47"/>
                <a:gd name="T22" fmla="*/ 14 w 25"/>
                <a:gd name="T23" fmla="*/ 0 h 47"/>
                <a:gd name="T24" fmla="*/ 13 w 25"/>
                <a:gd name="T25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47">
                  <a:moveTo>
                    <a:pt x="13" y="2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6" y="1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1"/>
                    <a:pt x="13" y="1"/>
                    <a:pt x="13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87">
            <a:extLst>
              <a:ext uri="{FF2B5EF4-FFF2-40B4-BE49-F238E27FC236}">
                <a16:creationId xmlns:a16="http://schemas.microsoft.com/office/drawing/2014/main" id="{E40F13F3-8886-478D-9D4E-3E043FF86E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9800" y="1548395"/>
            <a:ext cx="841375" cy="841375"/>
            <a:chOff x="2992" y="1019"/>
            <a:chExt cx="530" cy="530"/>
          </a:xfrm>
        </p:grpSpPr>
        <p:sp>
          <p:nvSpPr>
            <p:cNvPr id="114" name="AutoShape 86">
              <a:extLst>
                <a:ext uri="{FF2B5EF4-FFF2-40B4-BE49-F238E27FC236}">
                  <a16:creationId xmlns:a16="http://schemas.microsoft.com/office/drawing/2014/main" id="{7D8E83E5-348D-4A78-82A4-99DA0268F7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2" y="101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Oval 88">
              <a:extLst>
                <a:ext uri="{FF2B5EF4-FFF2-40B4-BE49-F238E27FC236}">
                  <a16:creationId xmlns:a16="http://schemas.microsoft.com/office/drawing/2014/main" id="{25C6C2B4-C8B3-4520-ABF5-31D697B606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2" y="101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89">
              <a:extLst>
                <a:ext uri="{FF2B5EF4-FFF2-40B4-BE49-F238E27FC236}">
                  <a16:creationId xmlns:a16="http://schemas.microsoft.com/office/drawing/2014/main" id="{88D69B0C-8795-4057-90CC-C4C6AEF195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" y="103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90">
              <a:extLst>
                <a:ext uri="{FF2B5EF4-FFF2-40B4-BE49-F238E27FC236}">
                  <a16:creationId xmlns:a16="http://schemas.microsoft.com/office/drawing/2014/main" id="{251623BE-5321-45F2-902D-2CB8ED8F80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3" y="1318"/>
              <a:ext cx="61" cy="62"/>
            </a:xfrm>
            <a:custGeom>
              <a:avLst/>
              <a:gdLst>
                <a:gd name="T0" fmla="*/ 12 w 24"/>
                <a:gd name="T1" fmla="*/ 0 h 24"/>
                <a:gd name="T2" fmla="*/ 0 w 24"/>
                <a:gd name="T3" fmla="*/ 12 h 24"/>
                <a:gd name="T4" fmla="*/ 12 w 24"/>
                <a:gd name="T5" fmla="*/ 24 h 24"/>
                <a:gd name="T6" fmla="*/ 24 w 24"/>
                <a:gd name="T7" fmla="*/ 12 h 24"/>
                <a:gd name="T8" fmla="*/ 12 w 24"/>
                <a:gd name="T9" fmla="*/ 0 h 24"/>
                <a:gd name="T10" fmla="*/ 12 w 24"/>
                <a:gd name="T11" fmla="*/ 20 h 24"/>
                <a:gd name="T12" fmla="*/ 4 w 24"/>
                <a:gd name="T13" fmla="*/ 12 h 24"/>
                <a:gd name="T14" fmla="*/ 12 w 24"/>
                <a:gd name="T15" fmla="*/ 5 h 24"/>
                <a:gd name="T16" fmla="*/ 19 w 24"/>
                <a:gd name="T17" fmla="*/ 12 h 24"/>
                <a:gd name="T18" fmla="*/ 12 w 24"/>
                <a:gd name="T1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8" y="24"/>
                    <a:pt x="24" y="19"/>
                    <a:pt x="24" y="12"/>
                  </a:cubicBezTo>
                  <a:cubicBezTo>
                    <a:pt x="24" y="6"/>
                    <a:pt x="18" y="0"/>
                    <a:pt x="12" y="0"/>
                  </a:cubicBezTo>
                  <a:close/>
                  <a:moveTo>
                    <a:pt x="12" y="20"/>
                  </a:move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5"/>
                    <a:pt x="12" y="5"/>
                  </a:cubicBezTo>
                  <a:cubicBezTo>
                    <a:pt x="16" y="5"/>
                    <a:pt x="19" y="8"/>
                    <a:pt x="19" y="12"/>
                  </a:cubicBezTo>
                  <a:cubicBezTo>
                    <a:pt x="19" y="16"/>
                    <a:pt x="16" y="20"/>
                    <a:pt x="12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Oval 91">
              <a:extLst>
                <a:ext uri="{FF2B5EF4-FFF2-40B4-BE49-F238E27FC236}">
                  <a16:creationId xmlns:a16="http://schemas.microsoft.com/office/drawing/2014/main" id="{12321111-B0E7-4696-9062-4AE01931E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8" y="1329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92">
              <a:extLst>
                <a:ext uri="{FF2B5EF4-FFF2-40B4-BE49-F238E27FC236}">
                  <a16:creationId xmlns:a16="http://schemas.microsoft.com/office/drawing/2014/main" id="{F877FDD1-8280-4E8B-9B71-48973DE14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1" y="1165"/>
              <a:ext cx="354" cy="241"/>
            </a:xfrm>
            <a:custGeom>
              <a:avLst/>
              <a:gdLst>
                <a:gd name="T0" fmla="*/ 87 w 138"/>
                <a:gd name="T1" fmla="*/ 79 h 94"/>
                <a:gd name="T2" fmla="*/ 111 w 138"/>
                <a:gd name="T3" fmla="*/ 94 h 94"/>
                <a:gd name="T4" fmla="*/ 111 w 138"/>
                <a:gd name="T5" fmla="*/ 39 h 94"/>
                <a:gd name="T6" fmla="*/ 98 w 138"/>
                <a:gd name="T7" fmla="*/ 48 h 94"/>
                <a:gd name="T8" fmla="*/ 134 w 138"/>
                <a:gd name="T9" fmla="*/ 67 h 94"/>
                <a:gd name="T10" fmla="*/ 93 w 138"/>
                <a:gd name="T11" fmla="*/ 80 h 94"/>
                <a:gd name="T12" fmla="*/ 113 w 138"/>
                <a:gd name="T13" fmla="*/ 79 h 94"/>
                <a:gd name="T14" fmla="*/ 125 w 138"/>
                <a:gd name="T15" fmla="*/ 66 h 94"/>
                <a:gd name="T16" fmla="*/ 78 w 138"/>
                <a:gd name="T17" fmla="*/ 55 h 94"/>
                <a:gd name="T18" fmla="*/ 76 w 138"/>
                <a:gd name="T19" fmla="*/ 68 h 94"/>
                <a:gd name="T20" fmla="*/ 53 w 138"/>
                <a:gd name="T21" fmla="*/ 67 h 94"/>
                <a:gd name="T22" fmla="*/ 11 w 138"/>
                <a:gd name="T23" fmla="*/ 67 h 94"/>
                <a:gd name="T24" fmla="*/ 4 w 138"/>
                <a:gd name="T25" fmla="*/ 67 h 94"/>
                <a:gd name="T26" fmla="*/ 35 w 138"/>
                <a:gd name="T27" fmla="*/ 41 h 94"/>
                <a:gd name="T28" fmla="*/ 37 w 138"/>
                <a:gd name="T29" fmla="*/ 34 h 94"/>
                <a:gd name="T30" fmla="*/ 91 w 138"/>
                <a:gd name="T31" fmla="*/ 39 h 94"/>
                <a:gd name="T32" fmla="*/ 81 w 138"/>
                <a:gd name="T33" fmla="*/ 30 h 94"/>
                <a:gd name="T34" fmla="*/ 74 w 138"/>
                <a:gd name="T35" fmla="*/ 2 h 94"/>
                <a:gd name="T36" fmla="*/ 37 w 138"/>
                <a:gd name="T37" fmla="*/ 0 h 94"/>
                <a:gd name="T38" fmla="*/ 33 w 138"/>
                <a:gd name="T39" fmla="*/ 36 h 94"/>
                <a:gd name="T40" fmla="*/ 21 w 138"/>
                <a:gd name="T41" fmla="*/ 20 h 94"/>
                <a:gd name="T42" fmla="*/ 13 w 138"/>
                <a:gd name="T43" fmla="*/ 14 h 94"/>
                <a:gd name="T44" fmla="*/ 10 w 138"/>
                <a:gd name="T45" fmla="*/ 14 h 94"/>
                <a:gd name="T46" fmla="*/ 11 w 138"/>
                <a:gd name="T47" fmla="*/ 17 h 94"/>
                <a:gd name="T48" fmla="*/ 17 w 138"/>
                <a:gd name="T49" fmla="*/ 36 h 94"/>
                <a:gd name="T50" fmla="*/ 7 w 138"/>
                <a:gd name="T51" fmla="*/ 38 h 94"/>
                <a:gd name="T52" fmla="*/ 0 w 138"/>
                <a:gd name="T53" fmla="*/ 71 h 94"/>
                <a:gd name="T54" fmla="*/ 10 w 138"/>
                <a:gd name="T55" fmla="*/ 72 h 94"/>
                <a:gd name="T56" fmla="*/ 32 w 138"/>
                <a:gd name="T57" fmla="*/ 94 h 94"/>
                <a:gd name="T58" fmla="*/ 54 w 138"/>
                <a:gd name="T59" fmla="*/ 72 h 94"/>
                <a:gd name="T60" fmla="*/ 76 w 138"/>
                <a:gd name="T61" fmla="*/ 76 h 94"/>
                <a:gd name="T62" fmla="*/ 80 w 138"/>
                <a:gd name="T63" fmla="*/ 59 h 94"/>
                <a:gd name="T64" fmla="*/ 121 w 138"/>
                <a:gd name="T65" fmla="*/ 66 h 94"/>
                <a:gd name="T66" fmla="*/ 113 w 138"/>
                <a:gd name="T67" fmla="*/ 74 h 94"/>
                <a:gd name="T68" fmla="*/ 80 w 138"/>
                <a:gd name="T69" fmla="*/ 59 h 94"/>
                <a:gd name="T70" fmla="*/ 71 w 138"/>
                <a:gd name="T71" fmla="*/ 4 h 94"/>
                <a:gd name="T72" fmla="*/ 52 w 138"/>
                <a:gd name="T73" fmla="*/ 30 h 94"/>
                <a:gd name="T74" fmla="*/ 39 w 138"/>
                <a:gd name="T75" fmla="*/ 4 h 94"/>
                <a:gd name="T76" fmla="*/ 48 w 138"/>
                <a:gd name="T77" fmla="*/ 30 h 94"/>
                <a:gd name="T78" fmla="*/ 39 w 138"/>
                <a:gd name="T79" fmla="*/ 4 h 94"/>
                <a:gd name="T80" fmla="*/ 14 w 138"/>
                <a:gd name="T81" fmla="*/ 72 h 94"/>
                <a:gd name="T82" fmla="*/ 49 w 138"/>
                <a:gd name="T83" fmla="*/ 7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" h="94">
                  <a:moveTo>
                    <a:pt x="78" y="79"/>
                  </a:moveTo>
                  <a:cubicBezTo>
                    <a:pt x="87" y="79"/>
                    <a:pt x="87" y="79"/>
                    <a:pt x="87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92" y="88"/>
                    <a:pt x="101" y="94"/>
                    <a:pt x="111" y="94"/>
                  </a:cubicBezTo>
                  <a:cubicBezTo>
                    <a:pt x="126" y="94"/>
                    <a:pt x="138" y="82"/>
                    <a:pt x="138" y="67"/>
                  </a:cubicBezTo>
                  <a:cubicBezTo>
                    <a:pt x="138" y="52"/>
                    <a:pt x="126" y="39"/>
                    <a:pt x="111" y="39"/>
                  </a:cubicBezTo>
                  <a:cubicBezTo>
                    <a:pt x="104" y="39"/>
                    <a:pt x="97" y="42"/>
                    <a:pt x="92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2" y="45"/>
                    <a:pt x="107" y="44"/>
                    <a:pt x="111" y="44"/>
                  </a:cubicBezTo>
                  <a:cubicBezTo>
                    <a:pt x="124" y="44"/>
                    <a:pt x="134" y="54"/>
                    <a:pt x="134" y="67"/>
                  </a:cubicBezTo>
                  <a:cubicBezTo>
                    <a:pt x="134" y="79"/>
                    <a:pt x="124" y="89"/>
                    <a:pt x="111" y="89"/>
                  </a:cubicBezTo>
                  <a:cubicBezTo>
                    <a:pt x="104" y="89"/>
                    <a:pt x="97" y="86"/>
                    <a:pt x="93" y="80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113" y="79"/>
                    <a:pt x="113" y="79"/>
                    <a:pt x="113" y="79"/>
                  </a:cubicBezTo>
                  <a:cubicBezTo>
                    <a:pt x="120" y="79"/>
                    <a:pt x="125" y="73"/>
                    <a:pt x="125" y="67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0"/>
                    <a:pt x="120" y="55"/>
                    <a:pt x="11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7" y="55"/>
                    <a:pt x="76" y="56"/>
                    <a:pt x="76" y="5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57"/>
                    <a:pt x="42" y="50"/>
                    <a:pt x="32" y="50"/>
                  </a:cubicBezTo>
                  <a:cubicBezTo>
                    <a:pt x="22" y="50"/>
                    <a:pt x="13" y="57"/>
                    <a:pt x="1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1"/>
                    <a:pt x="37" y="40"/>
                    <a:pt x="37" y="39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3" y="38"/>
                    <a:pt x="94" y="37"/>
                    <a:pt x="96" y="36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1"/>
                    <a:pt x="73" y="0"/>
                    <a:pt x="7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5" y="1"/>
                    <a:pt x="35" y="2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19"/>
                    <a:pt x="21" y="18"/>
                    <a:pt x="20" y="18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3"/>
                    <a:pt x="12" y="13"/>
                    <a:pt x="11" y="13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17"/>
                    <a:pt x="10" y="17"/>
                    <a:pt x="11" y="17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6"/>
                    <a:pt x="7" y="37"/>
                    <a:pt x="7" y="3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0"/>
                    <a:pt x="0" y="70"/>
                    <a:pt x="0" y="71"/>
                  </a:cubicBezTo>
                  <a:cubicBezTo>
                    <a:pt x="0" y="71"/>
                    <a:pt x="1" y="72"/>
                    <a:pt x="2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84"/>
                    <a:pt x="20" y="94"/>
                    <a:pt x="32" y="94"/>
                  </a:cubicBezTo>
                  <a:cubicBezTo>
                    <a:pt x="44" y="94"/>
                    <a:pt x="53" y="85"/>
                    <a:pt x="54" y="73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8"/>
                    <a:pt x="77" y="79"/>
                    <a:pt x="78" y="79"/>
                  </a:cubicBezTo>
                  <a:close/>
                  <a:moveTo>
                    <a:pt x="80" y="59"/>
                  </a:moveTo>
                  <a:cubicBezTo>
                    <a:pt x="113" y="59"/>
                    <a:pt x="113" y="59"/>
                    <a:pt x="113" y="59"/>
                  </a:cubicBezTo>
                  <a:cubicBezTo>
                    <a:pt x="117" y="59"/>
                    <a:pt x="121" y="62"/>
                    <a:pt x="121" y="66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1" y="71"/>
                    <a:pt x="117" y="74"/>
                    <a:pt x="113" y="74"/>
                  </a:cubicBezTo>
                  <a:cubicBezTo>
                    <a:pt x="80" y="74"/>
                    <a:pt x="80" y="74"/>
                    <a:pt x="80" y="74"/>
                  </a:cubicBezTo>
                  <a:lnTo>
                    <a:pt x="80" y="59"/>
                  </a:lnTo>
                  <a:close/>
                  <a:moveTo>
                    <a:pt x="52" y="4"/>
                  </a:moveTo>
                  <a:cubicBezTo>
                    <a:pt x="71" y="4"/>
                    <a:pt x="71" y="4"/>
                    <a:pt x="71" y="4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52" y="30"/>
                    <a:pt x="52" y="30"/>
                    <a:pt x="52" y="30"/>
                  </a:cubicBezTo>
                  <a:lnTo>
                    <a:pt x="52" y="4"/>
                  </a:lnTo>
                  <a:close/>
                  <a:moveTo>
                    <a:pt x="39" y="4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37" y="30"/>
                    <a:pt x="37" y="30"/>
                    <a:pt x="37" y="30"/>
                  </a:cubicBezTo>
                  <a:lnTo>
                    <a:pt x="39" y="4"/>
                  </a:lnTo>
                  <a:close/>
                  <a:moveTo>
                    <a:pt x="32" y="90"/>
                  </a:moveTo>
                  <a:cubicBezTo>
                    <a:pt x="22" y="90"/>
                    <a:pt x="14" y="82"/>
                    <a:pt x="14" y="72"/>
                  </a:cubicBezTo>
                  <a:cubicBezTo>
                    <a:pt x="14" y="62"/>
                    <a:pt x="22" y="55"/>
                    <a:pt x="32" y="55"/>
                  </a:cubicBezTo>
                  <a:cubicBezTo>
                    <a:pt x="41" y="55"/>
                    <a:pt x="49" y="62"/>
                    <a:pt x="49" y="72"/>
                  </a:cubicBezTo>
                  <a:cubicBezTo>
                    <a:pt x="49" y="82"/>
                    <a:pt x="41" y="90"/>
                    <a:pt x="32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95">
            <a:extLst>
              <a:ext uri="{FF2B5EF4-FFF2-40B4-BE49-F238E27FC236}">
                <a16:creationId xmlns:a16="http://schemas.microsoft.com/office/drawing/2014/main" id="{2B22579B-B197-411E-AD87-3FA32CA88F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900" y="1589670"/>
            <a:ext cx="758825" cy="758825"/>
            <a:chOff x="3656" y="1019"/>
            <a:chExt cx="478" cy="478"/>
          </a:xfrm>
        </p:grpSpPr>
        <p:sp>
          <p:nvSpPr>
            <p:cNvPr id="121" name="AutoShape 94">
              <a:extLst>
                <a:ext uri="{FF2B5EF4-FFF2-40B4-BE49-F238E27FC236}">
                  <a16:creationId xmlns:a16="http://schemas.microsoft.com/office/drawing/2014/main" id="{70DC626C-9C48-4DC9-A06C-E1EA8BDC91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6" y="10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96">
              <a:extLst>
                <a:ext uri="{FF2B5EF4-FFF2-40B4-BE49-F238E27FC236}">
                  <a16:creationId xmlns:a16="http://schemas.microsoft.com/office/drawing/2014/main" id="{EA008869-68DC-4BAE-ABC4-651D89E01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8" y="102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97">
              <a:extLst>
                <a:ext uri="{FF2B5EF4-FFF2-40B4-BE49-F238E27FC236}">
                  <a16:creationId xmlns:a16="http://schemas.microsoft.com/office/drawing/2014/main" id="{A8F11CC2-A580-4331-9DAB-3D17640733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" y="1291"/>
              <a:ext cx="59" cy="59"/>
            </a:xfrm>
            <a:custGeom>
              <a:avLst/>
              <a:gdLst>
                <a:gd name="T0" fmla="*/ 12 w 24"/>
                <a:gd name="T1" fmla="*/ 0 h 24"/>
                <a:gd name="T2" fmla="*/ 0 w 24"/>
                <a:gd name="T3" fmla="*/ 12 h 24"/>
                <a:gd name="T4" fmla="*/ 12 w 24"/>
                <a:gd name="T5" fmla="*/ 24 h 24"/>
                <a:gd name="T6" fmla="*/ 24 w 24"/>
                <a:gd name="T7" fmla="*/ 12 h 24"/>
                <a:gd name="T8" fmla="*/ 12 w 24"/>
                <a:gd name="T9" fmla="*/ 0 h 24"/>
                <a:gd name="T10" fmla="*/ 12 w 24"/>
                <a:gd name="T11" fmla="*/ 20 h 24"/>
                <a:gd name="T12" fmla="*/ 4 w 24"/>
                <a:gd name="T13" fmla="*/ 12 h 24"/>
                <a:gd name="T14" fmla="*/ 12 w 24"/>
                <a:gd name="T15" fmla="*/ 5 h 24"/>
                <a:gd name="T16" fmla="*/ 19 w 24"/>
                <a:gd name="T17" fmla="*/ 12 h 24"/>
                <a:gd name="T18" fmla="*/ 12 w 24"/>
                <a:gd name="T19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8" y="24"/>
                    <a:pt x="24" y="19"/>
                    <a:pt x="24" y="12"/>
                  </a:cubicBezTo>
                  <a:cubicBezTo>
                    <a:pt x="24" y="6"/>
                    <a:pt x="18" y="0"/>
                    <a:pt x="12" y="0"/>
                  </a:cubicBezTo>
                  <a:close/>
                  <a:moveTo>
                    <a:pt x="12" y="20"/>
                  </a:moveTo>
                  <a:cubicBezTo>
                    <a:pt x="8" y="20"/>
                    <a:pt x="4" y="16"/>
                    <a:pt x="4" y="12"/>
                  </a:cubicBezTo>
                  <a:cubicBezTo>
                    <a:pt x="4" y="8"/>
                    <a:pt x="8" y="5"/>
                    <a:pt x="12" y="5"/>
                  </a:cubicBezTo>
                  <a:cubicBezTo>
                    <a:pt x="16" y="5"/>
                    <a:pt x="19" y="8"/>
                    <a:pt x="19" y="12"/>
                  </a:cubicBezTo>
                  <a:cubicBezTo>
                    <a:pt x="19" y="16"/>
                    <a:pt x="16" y="20"/>
                    <a:pt x="12" y="2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98">
              <a:extLst>
                <a:ext uri="{FF2B5EF4-FFF2-40B4-BE49-F238E27FC236}">
                  <a16:creationId xmlns:a16="http://schemas.microsoft.com/office/drawing/2014/main" id="{FB4B4FBB-D8A6-4C9B-810D-175FA6FE9A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2" y="1301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9">
              <a:extLst>
                <a:ext uri="{FF2B5EF4-FFF2-40B4-BE49-F238E27FC236}">
                  <a16:creationId xmlns:a16="http://schemas.microsoft.com/office/drawing/2014/main" id="{8BD09B2D-EC54-486F-9D9B-98550977F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" y="1144"/>
              <a:ext cx="338" cy="230"/>
            </a:xfrm>
            <a:custGeom>
              <a:avLst/>
              <a:gdLst>
                <a:gd name="T0" fmla="*/ 87 w 138"/>
                <a:gd name="T1" fmla="*/ 79 h 94"/>
                <a:gd name="T2" fmla="*/ 111 w 138"/>
                <a:gd name="T3" fmla="*/ 94 h 94"/>
                <a:gd name="T4" fmla="*/ 111 w 138"/>
                <a:gd name="T5" fmla="*/ 39 h 94"/>
                <a:gd name="T6" fmla="*/ 98 w 138"/>
                <a:gd name="T7" fmla="*/ 48 h 94"/>
                <a:gd name="T8" fmla="*/ 134 w 138"/>
                <a:gd name="T9" fmla="*/ 67 h 94"/>
                <a:gd name="T10" fmla="*/ 93 w 138"/>
                <a:gd name="T11" fmla="*/ 80 h 94"/>
                <a:gd name="T12" fmla="*/ 113 w 138"/>
                <a:gd name="T13" fmla="*/ 79 h 94"/>
                <a:gd name="T14" fmla="*/ 125 w 138"/>
                <a:gd name="T15" fmla="*/ 66 h 94"/>
                <a:gd name="T16" fmla="*/ 78 w 138"/>
                <a:gd name="T17" fmla="*/ 55 h 94"/>
                <a:gd name="T18" fmla="*/ 76 w 138"/>
                <a:gd name="T19" fmla="*/ 68 h 94"/>
                <a:gd name="T20" fmla="*/ 53 w 138"/>
                <a:gd name="T21" fmla="*/ 67 h 94"/>
                <a:gd name="T22" fmla="*/ 11 w 138"/>
                <a:gd name="T23" fmla="*/ 67 h 94"/>
                <a:gd name="T24" fmla="*/ 4 w 138"/>
                <a:gd name="T25" fmla="*/ 67 h 94"/>
                <a:gd name="T26" fmla="*/ 35 w 138"/>
                <a:gd name="T27" fmla="*/ 41 h 94"/>
                <a:gd name="T28" fmla="*/ 37 w 138"/>
                <a:gd name="T29" fmla="*/ 34 h 94"/>
                <a:gd name="T30" fmla="*/ 91 w 138"/>
                <a:gd name="T31" fmla="*/ 39 h 94"/>
                <a:gd name="T32" fmla="*/ 81 w 138"/>
                <a:gd name="T33" fmla="*/ 30 h 94"/>
                <a:gd name="T34" fmla="*/ 74 w 138"/>
                <a:gd name="T35" fmla="*/ 2 h 94"/>
                <a:gd name="T36" fmla="*/ 37 w 138"/>
                <a:gd name="T37" fmla="*/ 0 h 94"/>
                <a:gd name="T38" fmla="*/ 33 w 138"/>
                <a:gd name="T39" fmla="*/ 36 h 94"/>
                <a:gd name="T40" fmla="*/ 21 w 138"/>
                <a:gd name="T41" fmla="*/ 20 h 94"/>
                <a:gd name="T42" fmla="*/ 13 w 138"/>
                <a:gd name="T43" fmla="*/ 14 h 94"/>
                <a:gd name="T44" fmla="*/ 10 w 138"/>
                <a:gd name="T45" fmla="*/ 14 h 94"/>
                <a:gd name="T46" fmla="*/ 11 w 138"/>
                <a:gd name="T47" fmla="*/ 17 h 94"/>
                <a:gd name="T48" fmla="*/ 17 w 138"/>
                <a:gd name="T49" fmla="*/ 36 h 94"/>
                <a:gd name="T50" fmla="*/ 7 w 138"/>
                <a:gd name="T51" fmla="*/ 38 h 94"/>
                <a:gd name="T52" fmla="*/ 0 w 138"/>
                <a:gd name="T53" fmla="*/ 71 h 94"/>
                <a:gd name="T54" fmla="*/ 10 w 138"/>
                <a:gd name="T55" fmla="*/ 72 h 94"/>
                <a:gd name="T56" fmla="*/ 32 w 138"/>
                <a:gd name="T57" fmla="*/ 94 h 94"/>
                <a:gd name="T58" fmla="*/ 54 w 138"/>
                <a:gd name="T59" fmla="*/ 72 h 94"/>
                <a:gd name="T60" fmla="*/ 76 w 138"/>
                <a:gd name="T61" fmla="*/ 76 h 94"/>
                <a:gd name="T62" fmla="*/ 80 w 138"/>
                <a:gd name="T63" fmla="*/ 59 h 94"/>
                <a:gd name="T64" fmla="*/ 121 w 138"/>
                <a:gd name="T65" fmla="*/ 66 h 94"/>
                <a:gd name="T66" fmla="*/ 113 w 138"/>
                <a:gd name="T67" fmla="*/ 74 h 94"/>
                <a:gd name="T68" fmla="*/ 80 w 138"/>
                <a:gd name="T69" fmla="*/ 59 h 94"/>
                <a:gd name="T70" fmla="*/ 71 w 138"/>
                <a:gd name="T71" fmla="*/ 4 h 94"/>
                <a:gd name="T72" fmla="*/ 52 w 138"/>
                <a:gd name="T73" fmla="*/ 30 h 94"/>
                <a:gd name="T74" fmla="*/ 39 w 138"/>
                <a:gd name="T75" fmla="*/ 4 h 94"/>
                <a:gd name="T76" fmla="*/ 48 w 138"/>
                <a:gd name="T77" fmla="*/ 30 h 94"/>
                <a:gd name="T78" fmla="*/ 39 w 138"/>
                <a:gd name="T79" fmla="*/ 4 h 94"/>
                <a:gd name="T80" fmla="*/ 14 w 138"/>
                <a:gd name="T81" fmla="*/ 72 h 94"/>
                <a:gd name="T82" fmla="*/ 49 w 138"/>
                <a:gd name="T83" fmla="*/ 7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" h="94">
                  <a:moveTo>
                    <a:pt x="78" y="79"/>
                  </a:moveTo>
                  <a:cubicBezTo>
                    <a:pt x="87" y="79"/>
                    <a:pt x="87" y="79"/>
                    <a:pt x="87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92" y="88"/>
                    <a:pt x="101" y="94"/>
                    <a:pt x="111" y="94"/>
                  </a:cubicBezTo>
                  <a:cubicBezTo>
                    <a:pt x="126" y="94"/>
                    <a:pt x="138" y="82"/>
                    <a:pt x="138" y="67"/>
                  </a:cubicBezTo>
                  <a:cubicBezTo>
                    <a:pt x="138" y="52"/>
                    <a:pt x="126" y="39"/>
                    <a:pt x="111" y="39"/>
                  </a:cubicBezTo>
                  <a:cubicBezTo>
                    <a:pt x="104" y="39"/>
                    <a:pt x="97" y="42"/>
                    <a:pt x="92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102" y="45"/>
                    <a:pt x="107" y="44"/>
                    <a:pt x="111" y="44"/>
                  </a:cubicBezTo>
                  <a:cubicBezTo>
                    <a:pt x="124" y="44"/>
                    <a:pt x="134" y="54"/>
                    <a:pt x="134" y="67"/>
                  </a:cubicBezTo>
                  <a:cubicBezTo>
                    <a:pt x="134" y="79"/>
                    <a:pt x="124" y="89"/>
                    <a:pt x="111" y="89"/>
                  </a:cubicBezTo>
                  <a:cubicBezTo>
                    <a:pt x="104" y="89"/>
                    <a:pt x="97" y="86"/>
                    <a:pt x="93" y="80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113" y="79"/>
                    <a:pt x="113" y="79"/>
                    <a:pt x="113" y="79"/>
                  </a:cubicBezTo>
                  <a:cubicBezTo>
                    <a:pt x="120" y="79"/>
                    <a:pt x="125" y="73"/>
                    <a:pt x="125" y="67"/>
                  </a:cubicBezTo>
                  <a:cubicBezTo>
                    <a:pt x="125" y="66"/>
                    <a:pt x="125" y="66"/>
                    <a:pt x="125" y="66"/>
                  </a:cubicBezTo>
                  <a:cubicBezTo>
                    <a:pt x="125" y="60"/>
                    <a:pt x="120" y="55"/>
                    <a:pt x="11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7" y="55"/>
                    <a:pt x="76" y="56"/>
                    <a:pt x="76" y="5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57"/>
                    <a:pt x="42" y="50"/>
                    <a:pt x="32" y="50"/>
                  </a:cubicBezTo>
                  <a:cubicBezTo>
                    <a:pt x="22" y="50"/>
                    <a:pt x="13" y="57"/>
                    <a:pt x="11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1"/>
                    <a:pt x="37" y="40"/>
                    <a:pt x="37" y="39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3" y="38"/>
                    <a:pt x="94" y="37"/>
                    <a:pt x="96" y="36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1"/>
                    <a:pt x="73" y="0"/>
                    <a:pt x="7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5" y="1"/>
                    <a:pt x="35" y="2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19"/>
                    <a:pt x="21" y="18"/>
                    <a:pt x="20" y="18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3"/>
                    <a:pt x="12" y="13"/>
                    <a:pt x="11" y="13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17"/>
                    <a:pt x="10" y="17"/>
                    <a:pt x="11" y="17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6"/>
                    <a:pt x="7" y="37"/>
                    <a:pt x="7" y="3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0"/>
                    <a:pt x="0" y="70"/>
                    <a:pt x="0" y="71"/>
                  </a:cubicBezTo>
                  <a:cubicBezTo>
                    <a:pt x="0" y="71"/>
                    <a:pt x="1" y="72"/>
                    <a:pt x="2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84"/>
                    <a:pt x="20" y="94"/>
                    <a:pt x="32" y="94"/>
                  </a:cubicBezTo>
                  <a:cubicBezTo>
                    <a:pt x="44" y="94"/>
                    <a:pt x="53" y="85"/>
                    <a:pt x="54" y="73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6"/>
                    <a:pt x="76" y="76"/>
                    <a:pt x="76" y="76"/>
                  </a:cubicBezTo>
                  <a:cubicBezTo>
                    <a:pt x="76" y="78"/>
                    <a:pt x="77" y="79"/>
                    <a:pt x="78" y="79"/>
                  </a:cubicBezTo>
                  <a:close/>
                  <a:moveTo>
                    <a:pt x="80" y="59"/>
                  </a:moveTo>
                  <a:cubicBezTo>
                    <a:pt x="113" y="59"/>
                    <a:pt x="113" y="59"/>
                    <a:pt x="113" y="59"/>
                  </a:cubicBezTo>
                  <a:cubicBezTo>
                    <a:pt x="117" y="59"/>
                    <a:pt x="121" y="62"/>
                    <a:pt x="121" y="66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1" y="71"/>
                    <a:pt x="117" y="74"/>
                    <a:pt x="113" y="74"/>
                  </a:cubicBezTo>
                  <a:cubicBezTo>
                    <a:pt x="80" y="74"/>
                    <a:pt x="80" y="74"/>
                    <a:pt x="80" y="74"/>
                  </a:cubicBezTo>
                  <a:lnTo>
                    <a:pt x="80" y="59"/>
                  </a:lnTo>
                  <a:close/>
                  <a:moveTo>
                    <a:pt x="52" y="4"/>
                  </a:moveTo>
                  <a:cubicBezTo>
                    <a:pt x="71" y="4"/>
                    <a:pt x="71" y="4"/>
                    <a:pt x="71" y="4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52" y="30"/>
                    <a:pt x="52" y="30"/>
                    <a:pt x="52" y="30"/>
                  </a:cubicBezTo>
                  <a:lnTo>
                    <a:pt x="52" y="4"/>
                  </a:lnTo>
                  <a:close/>
                  <a:moveTo>
                    <a:pt x="39" y="4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37" y="30"/>
                    <a:pt x="37" y="30"/>
                    <a:pt x="37" y="30"/>
                  </a:cubicBezTo>
                  <a:lnTo>
                    <a:pt x="39" y="4"/>
                  </a:lnTo>
                  <a:close/>
                  <a:moveTo>
                    <a:pt x="32" y="90"/>
                  </a:moveTo>
                  <a:cubicBezTo>
                    <a:pt x="22" y="90"/>
                    <a:pt x="14" y="82"/>
                    <a:pt x="14" y="72"/>
                  </a:cubicBezTo>
                  <a:cubicBezTo>
                    <a:pt x="14" y="62"/>
                    <a:pt x="22" y="55"/>
                    <a:pt x="32" y="55"/>
                  </a:cubicBezTo>
                  <a:cubicBezTo>
                    <a:pt x="41" y="55"/>
                    <a:pt x="49" y="62"/>
                    <a:pt x="49" y="72"/>
                  </a:cubicBezTo>
                  <a:cubicBezTo>
                    <a:pt x="49" y="82"/>
                    <a:pt x="41" y="90"/>
                    <a:pt x="32" y="9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6" name="Group 102">
            <a:extLst>
              <a:ext uri="{FF2B5EF4-FFF2-40B4-BE49-F238E27FC236}">
                <a16:creationId xmlns:a16="http://schemas.microsoft.com/office/drawing/2014/main" id="{2AC5D584-DC5C-4DC8-81E8-C29B8548D2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38963" y="1548395"/>
            <a:ext cx="841375" cy="841375"/>
            <a:chOff x="4371" y="967"/>
            <a:chExt cx="530" cy="530"/>
          </a:xfrm>
        </p:grpSpPr>
        <p:sp>
          <p:nvSpPr>
            <p:cNvPr id="127" name="AutoShape 101">
              <a:extLst>
                <a:ext uri="{FF2B5EF4-FFF2-40B4-BE49-F238E27FC236}">
                  <a16:creationId xmlns:a16="http://schemas.microsoft.com/office/drawing/2014/main" id="{1CDD1978-FD06-4180-B67E-6C8D5CF903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1" y="9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103">
              <a:extLst>
                <a:ext uri="{FF2B5EF4-FFF2-40B4-BE49-F238E27FC236}">
                  <a16:creationId xmlns:a16="http://schemas.microsoft.com/office/drawing/2014/main" id="{69BC685D-4401-40B7-BB15-889051C84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1" y="9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4">
              <a:extLst>
                <a:ext uri="{FF2B5EF4-FFF2-40B4-BE49-F238E27FC236}">
                  <a16:creationId xmlns:a16="http://schemas.microsoft.com/office/drawing/2014/main" id="{2ABB18DD-1A3C-444A-977B-649702DE1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9" y="9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05">
              <a:extLst>
                <a:ext uri="{FF2B5EF4-FFF2-40B4-BE49-F238E27FC236}">
                  <a16:creationId xmlns:a16="http://schemas.microsoft.com/office/drawing/2014/main" id="{687E2524-970E-4B0D-A091-C10C476B00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4" y="1284"/>
              <a:ext cx="51" cy="54"/>
            </a:xfrm>
            <a:custGeom>
              <a:avLst/>
              <a:gdLst>
                <a:gd name="T0" fmla="*/ 10 w 20"/>
                <a:gd name="T1" fmla="*/ 0 h 21"/>
                <a:gd name="T2" fmla="*/ 0 w 20"/>
                <a:gd name="T3" fmla="*/ 10 h 21"/>
                <a:gd name="T4" fmla="*/ 10 w 20"/>
                <a:gd name="T5" fmla="*/ 21 h 21"/>
                <a:gd name="T6" fmla="*/ 20 w 20"/>
                <a:gd name="T7" fmla="*/ 10 h 21"/>
                <a:gd name="T8" fmla="*/ 10 w 20"/>
                <a:gd name="T9" fmla="*/ 0 h 21"/>
                <a:gd name="T10" fmla="*/ 10 w 20"/>
                <a:gd name="T11" fmla="*/ 17 h 21"/>
                <a:gd name="T12" fmla="*/ 4 w 20"/>
                <a:gd name="T13" fmla="*/ 10 h 21"/>
                <a:gd name="T14" fmla="*/ 10 w 20"/>
                <a:gd name="T15" fmla="*/ 4 h 21"/>
                <a:gd name="T16" fmla="*/ 16 w 20"/>
                <a:gd name="T17" fmla="*/ 10 h 21"/>
                <a:gd name="T18" fmla="*/ 10 w 20"/>
                <a:gd name="T1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1">
                  <a:moveTo>
                    <a:pt x="10" y="0"/>
                  </a:move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5" y="21"/>
                    <a:pt x="20" y="16"/>
                    <a:pt x="20" y="10"/>
                  </a:cubicBezTo>
                  <a:cubicBezTo>
                    <a:pt x="20" y="5"/>
                    <a:pt x="15" y="0"/>
                    <a:pt x="10" y="0"/>
                  </a:cubicBezTo>
                  <a:close/>
                  <a:moveTo>
                    <a:pt x="10" y="17"/>
                  </a:moveTo>
                  <a:cubicBezTo>
                    <a:pt x="6" y="17"/>
                    <a:pt x="4" y="14"/>
                    <a:pt x="4" y="10"/>
                  </a:cubicBezTo>
                  <a:cubicBezTo>
                    <a:pt x="4" y="7"/>
                    <a:pt x="6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10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6">
              <a:extLst>
                <a:ext uri="{FF2B5EF4-FFF2-40B4-BE49-F238E27FC236}">
                  <a16:creationId xmlns:a16="http://schemas.microsoft.com/office/drawing/2014/main" id="{70BD21A8-8820-4E67-A02E-701094561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" y="1284"/>
              <a:ext cx="49" cy="54"/>
            </a:xfrm>
            <a:custGeom>
              <a:avLst/>
              <a:gdLst>
                <a:gd name="T0" fmla="*/ 9 w 19"/>
                <a:gd name="T1" fmla="*/ 21 h 21"/>
                <a:gd name="T2" fmla="*/ 19 w 19"/>
                <a:gd name="T3" fmla="*/ 10 h 21"/>
                <a:gd name="T4" fmla="*/ 9 w 19"/>
                <a:gd name="T5" fmla="*/ 0 h 21"/>
                <a:gd name="T6" fmla="*/ 0 w 19"/>
                <a:gd name="T7" fmla="*/ 10 h 21"/>
                <a:gd name="T8" fmla="*/ 9 w 19"/>
                <a:gd name="T9" fmla="*/ 21 h 21"/>
                <a:gd name="T10" fmla="*/ 9 w 19"/>
                <a:gd name="T11" fmla="*/ 4 h 21"/>
                <a:gd name="T12" fmla="*/ 16 w 19"/>
                <a:gd name="T13" fmla="*/ 10 h 21"/>
                <a:gd name="T14" fmla="*/ 9 w 19"/>
                <a:gd name="T15" fmla="*/ 17 h 21"/>
                <a:gd name="T16" fmla="*/ 3 w 19"/>
                <a:gd name="T17" fmla="*/ 10 h 21"/>
                <a:gd name="T18" fmla="*/ 9 w 19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1">
                  <a:moveTo>
                    <a:pt x="9" y="21"/>
                  </a:moveTo>
                  <a:cubicBezTo>
                    <a:pt x="15" y="21"/>
                    <a:pt x="19" y="16"/>
                    <a:pt x="19" y="10"/>
                  </a:cubicBezTo>
                  <a:cubicBezTo>
                    <a:pt x="19" y="5"/>
                    <a:pt x="15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1"/>
                    <a:pt x="9" y="21"/>
                  </a:cubicBezTo>
                  <a:close/>
                  <a:moveTo>
                    <a:pt x="9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9" y="17"/>
                  </a:cubicBezTo>
                  <a:cubicBezTo>
                    <a:pt x="6" y="17"/>
                    <a:pt x="3" y="14"/>
                    <a:pt x="3" y="10"/>
                  </a:cubicBezTo>
                  <a:cubicBezTo>
                    <a:pt x="3" y="7"/>
                    <a:pt x="6" y="4"/>
                    <a:pt x="9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7">
              <a:extLst>
                <a:ext uri="{FF2B5EF4-FFF2-40B4-BE49-F238E27FC236}">
                  <a16:creationId xmlns:a16="http://schemas.microsoft.com/office/drawing/2014/main" id="{BCC6E691-681B-4B68-A9E7-8AE452669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2" y="1087"/>
              <a:ext cx="187" cy="138"/>
            </a:xfrm>
            <a:custGeom>
              <a:avLst/>
              <a:gdLst>
                <a:gd name="T0" fmla="*/ 46 w 73"/>
                <a:gd name="T1" fmla="*/ 34 h 54"/>
                <a:gd name="T2" fmla="*/ 48 w 73"/>
                <a:gd name="T3" fmla="*/ 33 h 54"/>
                <a:gd name="T4" fmla="*/ 57 w 73"/>
                <a:gd name="T5" fmla="*/ 31 h 54"/>
                <a:gd name="T6" fmla="*/ 58 w 73"/>
                <a:gd name="T7" fmla="*/ 31 h 54"/>
                <a:gd name="T8" fmla="*/ 72 w 73"/>
                <a:gd name="T9" fmla="*/ 25 h 54"/>
                <a:gd name="T10" fmla="*/ 73 w 73"/>
                <a:gd name="T11" fmla="*/ 23 h 54"/>
                <a:gd name="T12" fmla="*/ 71 w 73"/>
                <a:gd name="T13" fmla="*/ 22 h 54"/>
                <a:gd name="T14" fmla="*/ 71 w 73"/>
                <a:gd name="T15" fmla="*/ 22 h 54"/>
                <a:gd name="T16" fmla="*/ 60 w 73"/>
                <a:gd name="T17" fmla="*/ 19 h 54"/>
                <a:gd name="T18" fmla="*/ 53 w 73"/>
                <a:gd name="T19" fmla="*/ 14 h 54"/>
                <a:gd name="T20" fmla="*/ 38 w 73"/>
                <a:gd name="T21" fmla="*/ 0 h 54"/>
                <a:gd name="T22" fmla="*/ 37 w 73"/>
                <a:gd name="T23" fmla="*/ 0 h 54"/>
                <a:gd name="T24" fmla="*/ 36 w 73"/>
                <a:gd name="T25" fmla="*/ 1 h 54"/>
                <a:gd name="T26" fmla="*/ 29 w 73"/>
                <a:gd name="T27" fmla="*/ 12 h 54"/>
                <a:gd name="T28" fmla="*/ 28 w 73"/>
                <a:gd name="T29" fmla="*/ 16 h 54"/>
                <a:gd name="T30" fmla="*/ 28 w 73"/>
                <a:gd name="T31" fmla="*/ 17 h 54"/>
                <a:gd name="T32" fmla="*/ 5 w 73"/>
                <a:gd name="T33" fmla="*/ 30 h 54"/>
                <a:gd name="T34" fmla="*/ 5 w 73"/>
                <a:gd name="T35" fmla="*/ 31 h 54"/>
                <a:gd name="T36" fmla="*/ 0 w 73"/>
                <a:gd name="T37" fmla="*/ 52 h 54"/>
                <a:gd name="T38" fmla="*/ 4 w 73"/>
                <a:gd name="T39" fmla="*/ 53 h 54"/>
                <a:gd name="T40" fmla="*/ 8 w 73"/>
                <a:gd name="T41" fmla="*/ 33 h 54"/>
                <a:gd name="T42" fmla="*/ 29 w 73"/>
                <a:gd name="T43" fmla="*/ 21 h 54"/>
                <a:gd name="T44" fmla="*/ 29 w 73"/>
                <a:gd name="T45" fmla="*/ 22 h 54"/>
                <a:gd name="T46" fmla="*/ 29 w 73"/>
                <a:gd name="T47" fmla="*/ 23 h 54"/>
                <a:gd name="T48" fmla="*/ 30 w 73"/>
                <a:gd name="T49" fmla="*/ 24 h 54"/>
                <a:gd name="T50" fmla="*/ 14 w 73"/>
                <a:gd name="T51" fmla="*/ 34 h 54"/>
                <a:gd name="T52" fmla="*/ 13 w 73"/>
                <a:gd name="T53" fmla="*/ 36 h 54"/>
                <a:gd name="T54" fmla="*/ 11 w 73"/>
                <a:gd name="T55" fmla="*/ 54 h 54"/>
                <a:gd name="T56" fmla="*/ 15 w 73"/>
                <a:gd name="T57" fmla="*/ 54 h 54"/>
                <a:gd name="T58" fmla="*/ 17 w 73"/>
                <a:gd name="T59" fmla="*/ 37 h 54"/>
                <a:gd name="T60" fmla="*/ 31 w 73"/>
                <a:gd name="T61" fmla="*/ 27 h 54"/>
                <a:gd name="T62" fmla="*/ 32 w 73"/>
                <a:gd name="T63" fmla="*/ 27 h 54"/>
                <a:gd name="T64" fmla="*/ 34 w 73"/>
                <a:gd name="T65" fmla="*/ 30 h 54"/>
                <a:gd name="T66" fmla="*/ 46 w 73"/>
                <a:gd name="T67" fmla="*/ 34 h 54"/>
                <a:gd name="T68" fmla="*/ 36 w 73"/>
                <a:gd name="T69" fmla="*/ 27 h 54"/>
                <a:gd name="T70" fmla="*/ 33 w 73"/>
                <a:gd name="T71" fmla="*/ 14 h 54"/>
                <a:gd name="T72" fmla="*/ 37 w 73"/>
                <a:gd name="T73" fmla="*/ 6 h 54"/>
                <a:gd name="T74" fmla="*/ 38 w 73"/>
                <a:gd name="T75" fmla="*/ 5 h 54"/>
                <a:gd name="T76" fmla="*/ 38 w 73"/>
                <a:gd name="T77" fmla="*/ 5 h 54"/>
                <a:gd name="T78" fmla="*/ 50 w 73"/>
                <a:gd name="T79" fmla="*/ 17 h 54"/>
                <a:gd name="T80" fmla="*/ 59 w 73"/>
                <a:gd name="T81" fmla="*/ 22 h 54"/>
                <a:gd name="T82" fmla="*/ 62 w 73"/>
                <a:gd name="T83" fmla="*/ 24 h 54"/>
                <a:gd name="T84" fmla="*/ 65 w 73"/>
                <a:gd name="T85" fmla="*/ 24 h 54"/>
                <a:gd name="T86" fmla="*/ 63 w 73"/>
                <a:gd name="T87" fmla="*/ 25 h 54"/>
                <a:gd name="T88" fmla="*/ 57 w 73"/>
                <a:gd name="T89" fmla="*/ 27 h 54"/>
                <a:gd name="T90" fmla="*/ 56 w 73"/>
                <a:gd name="T91" fmla="*/ 27 h 54"/>
                <a:gd name="T92" fmla="*/ 47 w 73"/>
                <a:gd name="T93" fmla="*/ 30 h 54"/>
                <a:gd name="T94" fmla="*/ 46 w 73"/>
                <a:gd name="T95" fmla="*/ 30 h 54"/>
                <a:gd name="T96" fmla="*/ 46 w 73"/>
                <a:gd name="T97" fmla="*/ 30 h 54"/>
                <a:gd name="T98" fmla="*/ 36 w 73"/>
                <a:gd name="T99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" h="54">
                  <a:moveTo>
                    <a:pt x="46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53" y="33"/>
                    <a:pt x="53" y="33"/>
                    <a:pt x="57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66" y="28"/>
                    <a:pt x="72" y="25"/>
                    <a:pt x="72" y="25"/>
                  </a:cubicBezTo>
                  <a:cubicBezTo>
                    <a:pt x="72" y="25"/>
                    <a:pt x="73" y="24"/>
                    <a:pt x="73" y="23"/>
                  </a:cubicBezTo>
                  <a:cubicBezTo>
                    <a:pt x="73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66" y="21"/>
                    <a:pt x="60" y="19"/>
                  </a:cubicBezTo>
                  <a:cubicBezTo>
                    <a:pt x="58" y="18"/>
                    <a:pt x="55" y="16"/>
                    <a:pt x="53" y="14"/>
                  </a:cubicBezTo>
                  <a:cubicBezTo>
                    <a:pt x="46" y="7"/>
                    <a:pt x="39" y="1"/>
                    <a:pt x="38" y="0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36" y="0"/>
                    <a:pt x="36" y="0"/>
                    <a:pt x="36" y="1"/>
                  </a:cubicBezTo>
                  <a:cubicBezTo>
                    <a:pt x="36" y="1"/>
                    <a:pt x="33" y="5"/>
                    <a:pt x="29" y="12"/>
                  </a:cubicBezTo>
                  <a:cubicBezTo>
                    <a:pt x="29" y="14"/>
                    <a:pt x="29" y="15"/>
                    <a:pt x="28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5"/>
                    <a:pt x="13" y="35"/>
                    <a:pt x="13" y="36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40" y="34"/>
                    <a:pt x="46" y="34"/>
                    <a:pt x="46" y="34"/>
                  </a:cubicBezTo>
                  <a:close/>
                  <a:moveTo>
                    <a:pt x="36" y="27"/>
                  </a:moveTo>
                  <a:cubicBezTo>
                    <a:pt x="33" y="24"/>
                    <a:pt x="31" y="18"/>
                    <a:pt x="33" y="14"/>
                  </a:cubicBezTo>
                  <a:cubicBezTo>
                    <a:pt x="35" y="10"/>
                    <a:pt x="36" y="7"/>
                    <a:pt x="37" y="6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0" y="7"/>
                    <a:pt x="45" y="12"/>
                    <a:pt x="50" y="17"/>
                  </a:cubicBezTo>
                  <a:cubicBezTo>
                    <a:pt x="53" y="19"/>
                    <a:pt x="57" y="22"/>
                    <a:pt x="59" y="22"/>
                  </a:cubicBezTo>
                  <a:cubicBezTo>
                    <a:pt x="60" y="23"/>
                    <a:pt x="61" y="23"/>
                    <a:pt x="62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1" y="26"/>
                    <a:pt x="59" y="26"/>
                    <a:pt x="57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2" y="29"/>
                    <a:pt x="52" y="29"/>
                    <a:pt x="47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4" y="30"/>
                    <a:pt x="40" y="30"/>
                    <a:pt x="36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8">
              <a:extLst>
                <a:ext uri="{FF2B5EF4-FFF2-40B4-BE49-F238E27FC236}">
                  <a16:creationId xmlns:a16="http://schemas.microsoft.com/office/drawing/2014/main" id="{8E740396-6F6C-4059-9416-9276A4994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5" y="1151"/>
              <a:ext cx="284" cy="208"/>
            </a:xfrm>
            <a:custGeom>
              <a:avLst/>
              <a:gdLst>
                <a:gd name="T0" fmla="*/ 110 w 111"/>
                <a:gd name="T1" fmla="*/ 47 h 81"/>
                <a:gd name="T2" fmla="*/ 102 w 111"/>
                <a:gd name="T3" fmla="*/ 37 h 81"/>
                <a:gd name="T4" fmla="*/ 66 w 111"/>
                <a:gd name="T5" fmla="*/ 26 h 81"/>
                <a:gd name="T6" fmla="*/ 62 w 111"/>
                <a:gd name="T7" fmla="*/ 2 h 81"/>
                <a:gd name="T8" fmla="*/ 37 w 111"/>
                <a:gd name="T9" fmla="*/ 0 h 81"/>
                <a:gd name="T10" fmla="*/ 36 w 111"/>
                <a:gd name="T11" fmla="*/ 30 h 81"/>
                <a:gd name="T12" fmla="*/ 29 w 111"/>
                <a:gd name="T13" fmla="*/ 15 h 81"/>
                <a:gd name="T14" fmla="*/ 22 w 111"/>
                <a:gd name="T15" fmla="*/ 10 h 81"/>
                <a:gd name="T16" fmla="*/ 20 w 111"/>
                <a:gd name="T17" fmla="*/ 11 h 81"/>
                <a:gd name="T18" fmla="*/ 26 w 111"/>
                <a:gd name="T19" fmla="*/ 16 h 81"/>
                <a:gd name="T20" fmla="*/ 25 w 111"/>
                <a:gd name="T21" fmla="*/ 31 h 81"/>
                <a:gd name="T22" fmla="*/ 5 w 111"/>
                <a:gd name="T23" fmla="*/ 38 h 81"/>
                <a:gd name="T24" fmla="*/ 2 w 111"/>
                <a:gd name="T25" fmla="*/ 50 h 81"/>
                <a:gd name="T26" fmla="*/ 0 w 111"/>
                <a:gd name="T27" fmla="*/ 64 h 81"/>
                <a:gd name="T28" fmla="*/ 11 w 111"/>
                <a:gd name="T29" fmla="*/ 66 h 81"/>
                <a:gd name="T30" fmla="*/ 29 w 111"/>
                <a:gd name="T31" fmla="*/ 81 h 81"/>
                <a:gd name="T32" fmla="*/ 47 w 111"/>
                <a:gd name="T33" fmla="*/ 66 h 81"/>
                <a:gd name="T34" fmla="*/ 70 w 111"/>
                <a:gd name="T35" fmla="*/ 66 h 81"/>
                <a:gd name="T36" fmla="*/ 105 w 111"/>
                <a:gd name="T37" fmla="*/ 62 h 81"/>
                <a:gd name="T38" fmla="*/ 69 w 111"/>
                <a:gd name="T39" fmla="*/ 61 h 81"/>
                <a:gd name="T40" fmla="*/ 47 w 111"/>
                <a:gd name="T41" fmla="*/ 62 h 81"/>
                <a:gd name="T42" fmla="*/ 39 w 111"/>
                <a:gd name="T43" fmla="*/ 48 h 81"/>
                <a:gd name="T44" fmla="*/ 39 w 111"/>
                <a:gd name="T45" fmla="*/ 41 h 81"/>
                <a:gd name="T46" fmla="*/ 66 w 111"/>
                <a:gd name="T47" fmla="*/ 40 h 81"/>
                <a:gd name="T48" fmla="*/ 66 w 111"/>
                <a:gd name="T49" fmla="*/ 36 h 81"/>
                <a:gd name="T50" fmla="*/ 107 w 111"/>
                <a:gd name="T51" fmla="*/ 50 h 81"/>
                <a:gd name="T52" fmla="*/ 87 w 111"/>
                <a:gd name="T53" fmla="*/ 48 h 81"/>
                <a:gd name="T54" fmla="*/ 87 w 111"/>
                <a:gd name="T55" fmla="*/ 77 h 81"/>
                <a:gd name="T56" fmla="*/ 87 w 111"/>
                <a:gd name="T57" fmla="*/ 48 h 81"/>
                <a:gd name="T58" fmla="*/ 11 w 111"/>
                <a:gd name="T59" fmla="*/ 62 h 81"/>
                <a:gd name="T60" fmla="*/ 4 w 111"/>
                <a:gd name="T61" fmla="*/ 53 h 81"/>
                <a:gd name="T62" fmla="*/ 8 w 111"/>
                <a:gd name="T63" fmla="*/ 52 h 81"/>
                <a:gd name="T64" fmla="*/ 9 w 111"/>
                <a:gd name="T65" fmla="*/ 39 h 81"/>
                <a:gd name="T66" fmla="*/ 36 w 111"/>
                <a:gd name="T67" fmla="*/ 34 h 81"/>
                <a:gd name="T68" fmla="*/ 34 w 111"/>
                <a:gd name="T69" fmla="*/ 45 h 81"/>
                <a:gd name="T70" fmla="*/ 11 w 111"/>
                <a:gd name="T71" fmla="*/ 62 h 81"/>
                <a:gd name="T72" fmla="*/ 29 w 111"/>
                <a:gd name="T73" fmla="*/ 77 h 81"/>
                <a:gd name="T74" fmla="*/ 29 w 111"/>
                <a:gd name="T75" fmla="*/ 48 h 81"/>
                <a:gd name="T76" fmla="*/ 45 w 111"/>
                <a:gd name="T77" fmla="*/ 37 h 81"/>
                <a:gd name="T78" fmla="*/ 39 w 111"/>
                <a:gd name="T79" fmla="*/ 4 h 81"/>
                <a:gd name="T80" fmla="*/ 45 w 111"/>
                <a:gd name="T81" fmla="*/ 37 h 81"/>
                <a:gd name="T82" fmla="*/ 48 w 111"/>
                <a:gd name="T83" fmla="*/ 4 h 81"/>
                <a:gd name="T84" fmla="*/ 63 w 111"/>
                <a:gd name="T85" fmla="*/ 26 h 81"/>
                <a:gd name="T86" fmla="*/ 48 w 111"/>
                <a:gd name="T87" fmla="*/ 3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1" h="81">
                  <a:moveTo>
                    <a:pt x="110" y="50"/>
                  </a:moveTo>
                  <a:cubicBezTo>
                    <a:pt x="110" y="49"/>
                    <a:pt x="111" y="48"/>
                    <a:pt x="110" y="47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7"/>
                    <a:pt x="102" y="37"/>
                    <a:pt x="102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1"/>
                    <a:pt x="61" y="0"/>
                    <a:pt x="6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1"/>
                    <a:pt x="36" y="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3"/>
                    <a:pt x="28" y="13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1" y="10"/>
                  </a:cubicBezTo>
                  <a:cubicBezTo>
                    <a:pt x="21" y="10"/>
                    <a:pt x="20" y="10"/>
                    <a:pt x="20" y="11"/>
                  </a:cubicBezTo>
                  <a:cubicBezTo>
                    <a:pt x="20" y="11"/>
                    <a:pt x="20" y="13"/>
                    <a:pt x="21" y="1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9" y="32"/>
                    <a:pt x="5" y="37"/>
                    <a:pt x="5" y="37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1" y="50"/>
                    <a:pt x="0" y="50"/>
                    <a:pt x="0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6"/>
                    <a:pt x="2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3" y="75"/>
                    <a:pt x="21" y="81"/>
                    <a:pt x="29" y="81"/>
                  </a:cubicBezTo>
                  <a:cubicBezTo>
                    <a:pt x="37" y="81"/>
                    <a:pt x="45" y="75"/>
                    <a:pt x="46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2" y="75"/>
                    <a:pt x="79" y="81"/>
                    <a:pt x="87" y="81"/>
                  </a:cubicBezTo>
                  <a:cubicBezTo>
                    <a:pt x="97" y="81"/>
                    <a:pt x="105" y="73"/>
                    <a:pt x="105" y="62"/>
                  </a:cubicBezTo>
                  <a:cubicBezTo>
                    <a:pt x="105" y="52"/>
                    <a:pt x="97" y="44"/>
                    <a:pt x="87" y="44"/>
                  </a:cubicBezTo>
                  <a:cubicBezTo>
                    <a:pt x="78" y="44"/>
                    <a:pt x="70" y="51"/>
                    <a:pt x="69" y="61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6" y="56"/>
                    <a:pt x="44" y="51"/>
                    <a:pt x="39" y="48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6" y="40"/>
                    <a:pt x="66" y="39"/>
                    <a:pt x="66" y="39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8" y="50"/>
                    <a:pt x="109" y="51"/>
                    <a:pt x="110" y="50"/>
                  </a:cubicBezTo>
                  <a:close/>
                  <a:moveTo>
                    <a:pt x="87" y="48"/>
                  </a:moveTo>
                  <a:cubicBezTo>
                    <a:pt x="95" y="48"/>
                    <a:pt x="102" y="54"/>
                    <a:pt x="102" y="62"/>
                  </a:cubicBezTo>
                  <a:cubicBezTo>
                    <a:pt x="102" y="71"/>
                    <a:pt x="95" y="77"/>
                    <a:pt x="87" y="77"/>
                  </a:cubicBezTo>
                  <a:cubicBezTo>
                    <a:pt x="79" y="77"/>
                    <a:pt x="73" y="71"/>
                    <a:pt x="73" y="62"/>
                  </a:cubicBezTo>
                  <a:cubicBezTo>
                    <a:pt x="73" y="54"/>
                    <a:pt x="79" y="48"/>
                    <a:pt x="87" y="48"/>
                  </a:cubicBezTo>
                  <a:close/>
                  <a:moveTo>
                    <a:pt x="11" y="62"/>
                  </a:moveTo>
                  <a:cubicBezTo>
                    <a:pt x="11" y="62"/>
                    <a:pt x="11" y="62"/>
                    <a:pt x="11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7" y="53"/>
                    <a:pt x="8" y="53"/>
                    <a:pt x="8" y="52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0" y="37"/>
                    <a:pt x="16" y="34"/>
                    <a:pt x="31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4"/>
                    <a:pt x="31" y="44"/>
                    <a:pt x="29" y="44"/>
                  </a:cubicBezTo>
                  <a:cubicBezTo>
                    <a:pt x="19" y="44"/>
                    <a:pt x="11" y="52"/>
                    <a:pt x="11" y="62"/>
                  </a:cubicBezTo>
                  <a:close/>
                  <a:moveTo>
                    <a:pt x="43" y="62"/>
                  </a:moveTo>
                  <a:cubicBezTo>
                    <a:pt x="43" y="71"/>
                    <a:pt x="37" y="77"/>
                    <a:pt x="29" y="77"/>
                  </a:cubicBezTo>
                  <a:cubicBezTo>
                    <a:pt x="21" y="77"/>
                    <a:pt x="14" y="71"/>
                    <a:pt x="14" y="62"/>
                  </a:cubicBezTo>
                  <a:cubicBezTo>
                    <a:pt x="14" y="54"/>
                    <a:pt x="21" y="48"/>
                    <a:pt x="29" y="48"/>
                  </a:cubicBezTo>
                  <a:cubicBezTo>
                    <a:pt x="37" y="48"/>
                    <a:pt x="43" y="54"/>
                    <a:pt x="43" y="62"/>
                  </a:cubicBezTo>
                  <a:close/>
                  <a:moveTo>
                    <a:pt x="45" y="37"/>
                  </a:moveTo>
                  <a:cubicBezTo>
                    <a:pt x="39" y="37"/>
                    <a:pt x="39" y="37"/>
                    <a:pt x="39" y="3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5" y="4"/>
                    <a:pt x="45" y="4"/>
                    <a:pt x="45" y="4"/>
                  </a:cubicBezTo>
                  <a:lnTo>
                    <a:pt x="45" y="37"/>
                  </a:lnTo>
                  <a:close/>
                  <a:moveTo>
                    <a:pt x="48" y="37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37"/>
                    <a:pt x="63" y="37"/>
                    <a:pt x="63" y="37"/>
                  </a:cubicBezTo>
                  <a:lnTo>
                    <a:pt x="48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4" name="Group 111">
            <a:extLst>
              <a:ext uri="{FF2B5EF4-FFF2-40B4-BE49-F238E27FC236}">
                <a16:creationId xmlns:a16="http://schemas.microsoft.com/office/drawing/2014/main" id="{A7301635-213F-4C9A-A6D9-FD07980F67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2275" y="1589670"/>
            <a:ext cx="758825" cy="758825"/>
            <a:chOff x="5066" y="1019"/>
            <a:chExt cx="478" cy="478"/>
          </a:xfrm>
        </p:grpSpPr>
        <p:sp>
          <p:nvSpPr>
            <p:cNvPr id="135" name="AutoShape 110">
              <a:extLst>
                <a:ext uri="{FF2B5EF4-FFF2-40B4-BE49-F238E27FC236}">
                  <a16:creationId xmlns:a16="http://schemas.microsoft.com/office/drawing/2014/main" id="{47ED3203-F27F-43B2-BDD0-6ECDDBFA3E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6" y="10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2">
              <a:extLst>
                <a:ext uri="{FF2B5EF4-FFF2-40B4-BE49-F238E27FC236}">
                  <a16:creationId xmlns:a16="http://schemas.microsoft.com/office/drawing/2014/main" id="{E3993116-2129-45EC-BD0B-C2C0FD139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8" y="102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13">
              <a:extLst>
                <a:ext uri="{FF2B5EF4-FFF2-40B4-BE49-F238E27FC236}">
                  <a16:creationId xmlns:a16="http://schemas.microsoft.com/office/drawing/2014/main" id="{7B9370A3-D005-4D32-B394-26DD967A5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9" y="1308"/>
              <a:ext cx="49" cy="52"/>
            </a:xfrm>
            <a:custGeom>
              <a:avLst/>
              <a:gdLst>
                <a:gd name="T0" fmla="*/ 10 w 20"/>
                <a:gd name="T1" fmla="*/ 0 h 21"/>
                <a:gd name="T2" fmla="*/ 0 w 20"/>
                <a:gd name="T3" fmla="*/ 10 h 21"/>
                <a:gd name="T4" fmla="*/ 10 w 20"/>
                <a:gd name="T5" fmla="*/ 21 h 21"/>
                <a:gd name="T6" fmla="*/ 20 w 20"/>
                <a:gd name="T7" fmla="*/ 10 h 21"/>
                <a:gd name="T8" fmla="*/ 10 w 20"/>
                <a:gd name="T9" fmla="*/ 0 h 21"/>
                <a:gd name="T10" fmla="*/ 10 w 20"/>
                <a:gd name="T11" fmla="*/ 17 h 21"/>
                <a:gd name="T12" fmla="*/ 4 w 20"/>
                <a:gd name="T13" fmla="*/ 10 h 21"/>
                <a:gd name="T14" fmla="*/ 10 w 20"/>
                <a:gd name="T15" fmla="*/ 4 h 21"/>
                <a:gd name="T16" fmla="*/ 16 w 20"/>
                <a:gd name="T17" fmla="*/ 10 h 21"/>
                <a:gd name="T18" fmla="*/ 10 w 20"/>
                <a:gd name="T1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1">
                  <a:moveTo>
                    <a:pt x="10" y="0"/>
                  </a:move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5" y="21"/>
                    <a:pt x="20" y="16"/>
                    <a:pt x="20" y="10"/>
                  </a:cubicBezTo>
                  <a:cubicBezTo>
                    <a:pt x="20" y="5"/>
                    <a:pt x="15" y="0"/>
                    <a:pt x="10" y="0"/>
                  </a:cubicBezTo>
                  <a:close/>
                  <a:moveTo>
                    <a:pt x="10" y="17"/>
                  </a:moveTo>
                  <a:cubicBezTo>
                    <a:pt x="6" y="17"/>
                    <a:pt x="4" y="14"/>
                    <a:pt x="4" y="10"/>
                  </a:cubicBezTo>
                  <a:cubicBezTo>
                    <a:pt x="4" y="7"/>
                    <a:pt x="6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10" y="1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14">
              <a:extLst>
                <a:ext uri="{FF2B5EF4-FFF2-40B4-BE49-F238E27FC236}">
                  <a16:creationId xmlns:a16="http://schemas.microsoft.com/office/drawing/2014/main" id="{F18A6125-469C-478E-B284-B3F5460243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4" y="1308"/>
              <a:ext cx="46" cy="52"/>
            </a:xfrm>
            <a:custGeom>
              <a:avLst/>
              <a:gdLst>
                <a:gd name="T0" fmla="*/ 9 w 19"/>
                <a:gd name="T1" fmla="*/ 21 h 21"/>
                <a:gd name="T2" fmla="*/ 19 w 19"/>
                <a:gd name="T3" fmla="*/ 10 h 21"/>
                <a:gd name="T4" fmla="*/ 9 w 19"/>
                <a:gd name="T5" fmla="*/ 0 h 21"/>
                <a:gd name="T6" fmla="*/ 0 w 19"/>
                <a:gd name="T7" fmla="*/ 10 h 21"/>
                <a:gd name="T8" fmla="*/ 9 w 19"/>
                <a:gd name="T9" fmla="*/ 21 h 21"/>
                <a:gd name="T10" fmla="*/ 9 w 19"/>
                <a:gd name="T11" fmla="*/ 4 h 21"/>
                <a:gd name="T12" fmla="*/ 16 w 19"/>
                <a:gd name="T13" fmla="*/ 10 h 21"/>
                <a:gd name="T14" fmla="*/ 9 w 19"/>
                <a:gd name="T15" fmla="*/ 17 h 21"/>
                <a:gd name="T16" fmla="*/ 3 w 19"/>
                <a:gd name="T17" fmla="*/ 10 h 21"/>
                <a:gd name="T18" fmla="*/ 9 w 19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1">
                  <a:moveTo>
                    <a:pt x="9" y="21"/>
                  </a:moveTo>
                  <a:cubicBezTo>
                    <a:pt x="15" y="21"/>
                    <a:pt x="19" y="16"/>
                    <a:pt x="19" y="10"/>
                  </a:cubicBezTo>
                  <a:cubicBezTo>
                    <a:pt x="19" y="5"/>
                    <a:pt x="15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1"/>
                    <a:pt x="9" y="21"/>
                  </a:cubicBezTo>
                  <a:close/>
                  <a:moveTo>
                    <a:pt x="9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9" y="17"/>
                  </a:cubicBezTo>
                  <a:cubicBezTo>
                    <a:pt x="6" y="17"/>
                    <a:pt x="3" y="14"/>
                    <a:pt x="3" y="10"/>
                  </a:cubicBezTo>
                  <a:cubicBezTo>
                    <a:pt x="3" y="7"/>
                    <a:pt x="6" y="4"/>
                    <a:pt x="9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5">
              <a:extLst>
                <a:ext uri="{FF2B5EF4-FFF2-40B4-BE49-F238E27FC236}">
                  <a16:creationId xmlns:a16="http://schemas.microsoft.com/office/drawing/2014/main" id="{9BB92328-9C1F-4D80-A036-997A51E8A3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" y="1119"/>
              <a:ext cx="179" cy="133"/>
            </a:xfrm>
            <a:custGeom>
              <a:avLst/>
              <a:gdLst>
                <a:gd name="T0" fmla="*/ 46 w 73"/>
                <a:gd name="T1" fmla="*/ 34 h 54"/>
                <a:gd name="T2" fmla="*/ 48 w 73"/>
                <a:gd name="T3" fmla="*/ 33 h 54"/>
                <a:gd name="T4" fmla="*/ 57 w 73"/>
                <a:gd name="T5" fmla="*/ 31 h 54"/>
                <a:gd name="T6" fmla="*/ 58 w 73"/>
                <a:gd name="T7" fmla="*/ 31 h 54"/>
                <a:gd name="T8" fmla="*/ 72 w 73"/>
                <a:gd name="T9" fmla="*/ 25 h 54"/>
                <a:gd name="T10" fmla="*/ 73 w 73"/>
                <a:gd name="T11" fmla="*/ 23 h 54"/>
                <a:gd name="T12" fmla="*/ 71 w 73"/>
                <a:gd name="T13" fmla="*/ 22 h 54"/>
                <a:gd name="T14" fmla="*/ 71 w 73"/>
                <a:gd name="T15" fmla="*/ 22 h 54"/>
                <a:gd name="T16" fmla="*/ 60 w 73"/>
                <a:gd name="T17" fmla="*/ 19 h 54"/>
                <a:gd name="T18" fmla="*/ 53 w 73"/>
                <a:gd name="T19" fmla="*/ 14 h 54"/>
                <a:gd name="T20" fmla="*/ 38 w 73"/>
                <a:gd name="T21" fmla="*/ 0 h 54"/>
                <a:gd name="T22" fmla="*/ 37 w 73"/>
                <a:gd name="T23" fmla="*/ 0 h 54"/>
                <a:gd name="T24" fmla="*/ 36 w 73"/>
                <a:gd name="T25" fmla="*/ 1 h 54"/>
                <a:gd name="T26" fmla="*/ 29 w 73"/>
                <a:gd name="T27" fmla="*/ 12 h 54"/>
                <a:gd name="T28" fmla="*/ 28 w 73"/>
                <a:gd name="T29" fmla="*/ 16 h 54"/>
                <a:gd name="T30" fmla="*/ 28 w 73"/>
                <a:gd name="T31" fmla="*/ 17 h 54"/>
                <a:gd name="T32" fmla="*/ 5 w 73"/>
                <a:gd name="T33" fmla="*/ 30 h 54"/>
                <a:gd name="T34" fmla="*/ 5 w 73"/>
                <a:gd name="T35" fmla="*/ 31 h 54"/>
                <a:gd name="T36" fmla="*/ 0 w 73"/>
                <a:gd name="T37" fmla="*/ 52 h 54"/>
                <a:gd name="T38" fmla="*/ 4 w 73"/>
                <a:gd name="T39" fmla="*/ 53 h 54"/>
                <a:gd name="T40" fmla="*/ 8 w 73"/>
                <a:gd name="T41" fmla="*/ 33 h 54"/>
                <a:gd name="T42" fmla="*/ 29 w 73"/>
                <a:gd name="T43" fmla="*/ 21 h 54"/>
                <a:gd name="T44" fmla="*/ 29 w 73"/>
                <a:gd name="T45" fmla="*/ 22 h 54"/>
                <a:gd name="T46" fmla="*/ 29 w 73"/>
                <a:gd name="T47" fmla="*/ 23 h 54"/>
                <a:gd name="T48" fmla="*/ 30 w 73"/>
                <a:gd name="T49" fmla="*/ 24 h 54"/>
                <a:gd name="T50" fmla="*/ 14 w 73"/>
                <a:gd name="T51" fmla="*/ 34 h 54"/>
                <a:gd name="T52" fmla="*/ 13 w 73"/>
                <a:gd name="T53" fmla="*/ 36 h 54"/>
                <a:gd name="T54" fmla="*/ 11 w 73"/>
                <a:gd name="T55" fmla="*/ 54 h 54"/>
                <a:gd name="T56" fmla="*/ 15 w 73"/>
                <a:gd name="T57" fmla="*/ 54 h 54"/>
                <a:gd name="T58" fmla="*/ 17 w 73"/>
                <a:gd name="T59" fmla="*/ 37 h 54"/>
                <a:gd name="T60" fmla="*/ 31 w 73"/>
                <a:gd name="T61" fmla="*/ 27 h 54"/>
                <a:gd name="T62" fmla="*/ 32 w 73"/>
                <a:gd name="T63" fmla="*/ 27 h 54"/>
                <a:gd name="T64" fmla="*/ 34 w 73"/>
                <a:gd name="T65" fmla="*/ 30 h 54"/>
                <a:gd name="T66" fmla="*/ 46 w 73"/>
                <a:gd name="T67" fmla="*/ 34 h 54"/>
                <a:gd name="T68" fmla="*/ 36 w 73"/>
                <a:gd name="T69" fmla="*/ 27 h 54"/>
                <a:gd name="T70" fmla="*/ 33 w 73"/>
                <a:gd name="T71" fmla="*/ 14 h 54"/>
                <a:gd name="T72" fmla="*/ 37 w 73"/>
                <a:gd name="T73" fmla="*/ 6 h 54"/>
                <a:gd name="T74" fmla="*/ 38 w 73"/>
                <a:gd name="T75" fmla="*/ 5 h 54"/>
                <a:gd name="T76" fmla="*/ 38 w 73"/>
                <a:gd name="T77" fmla="*/ 5 h 54"/>
                <a:gd name="T78" fmla="*/ 50 w 73"/>
                <a:gd name="T79" fmla="*/ 17 h 54"/>
                <a:gd name="T80" fmla="*/ 59 w 73"/>
                <a:gd name="T81" fmla="*/ 22 h 54"/>
                <a:gd name="T82" fmla="*/ 62 w 73"/>
                <a:gd name="T83" fmla="*/ 24 h 54"/>
                <a:gd name="T84" fmla="*/ 65 w 73"/>
                <a:gd name="T85" fmla="*/ 24 h 54"/>
                <a:gd name="T86" fmla="*/ 63 w 73"/>
                <a:gd name="T87" fmla="*/ 25 h 54"/>
                <a:gd name="T88" fmla="*/ 57 w 73"/>
                <a:gd name="T89" fmla="*/ 27 h 54"/>
                <a:gd name="T90" fmla="*/ 56 w 73"/>
                <a:gd name="T91" fmla="*/ 27 h 54"/>
                <a:gd name="T92" fmla="*/ 47 w 73"/>
                <a:gd name="T93" fmla="*/ 30 h 54"/>
                <a:gd name="T94" fmla="*/ 46 w 73"/>
                <a:gd name="T95" fmla="*/ 30 h 54"/>
                <a:gd name="T96" fmla="*/ 46 w 73"/>
                <a:gd name="T97" fmla="*/ 30 h 54"/>
                <a:gd name="T98" fmla="*/ 36 w 73"/>
                <a:gd name="T99" fmla="*/ 2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" h="54">
                  <a:moveTo>
                    <a:pt x="46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53" y="33"/>
                    <a:pt x="53" y="33"/>
                    <a:pt x="57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66" y="28"/>
                    <a:pt x="72" y="25"/>
                    <a:pt x="72" y="25"/>
                  </a:cubicBezTo>
                  <a:cubicBezTo>
                    <a:pt x="72" y="25"/>
                    <a:pt x="73" y="24"/>
                    <a:pt x="73" y="23"/>
                  </a:cubicBezTo>
                  <a:cubicBezTo>
                    <a:pt x="73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66" y="21"/>
                    <a:pt x="60" y="19"/>
                  </a:cubicBezTo>
                  <a:cubicBezTo>
                    <a:pt x="58" y="18"/>
                    <a:pt x="55" y="16"/>
                    <a:pt x="53" y="14"/>
                  </a:cubicBezTo>
                  <a:cubicBezTo>
                    <a:pt x="46" y="7"/>
                    <a:pt x="39" y="1"/>
                    <a:pt x="38" y="0"/>
                  </a:cubicBezTo>
                  <a:cubicBezTo>
                    <a:pt x="38" y="0"/>
                    <a:pt x="37" y="0"/>
                    <a:pt x="37" y="0"/>
                  </a:cubicBezTo>
                  <a:cubicBezTo>
                    <a:pt x="36" y="0"/>
                    <a:pt x="36" y="0"/>
                    <a:pt x="36" y="1"/>
                  </a:cubicBezTo>
                  <a:cubicBezTo>
                    <a:pt x="36" y="1"/>
                    <a:pt x="33" y="5"/>
                    <a:pt x="29" y="12"/>
                  </a:cubicBezTo>
                  <a:cubicBezTo>
                    <a:pt x="29" y="14"/>
                    <a:pt x="29" y="15"/>
                    <a:pt x="28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5"/>
                    <a:pt x="13" y="35"/>
                    <a:pt x="13" y="36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40" y="34"/>
                    <a:pt x="46" y="34"/>
                    <a:pt x="46" y="34"/>
                  </a:cubicBezTo>
                  <a:close/>
                  <a:moveTo>
                    <a:pt x="36" y="27"/>
                  </a:moveTo>
                  <a:cubicBezTo>
                    <a:pt x="33" y="24"/>
                    <a:pt x="31" y="18"/>
                    <a:pt x="33" y="14"/>
                  </a:cubicBezTo>
                  <a:cubicBezTo>
                    <a:pt x="35" y="10"/>
                    <a:pt x="36" y="7"/>
                    <a:pt x="37" y="6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0" y="7"/>
                    <a:pt x="45" y="12"/>
                    <a:pt x="50" y="17"/>
                  </a:cubicBezTo>
                  <a:cubicBezTo>
                    <a:pt x="53" y="19"/>
                    <a:pt x="57" y="22"/>
                    <a:pt x="59" y="22"/>
                  </a:cubicBezTo>
                  <a:cubicBezTo>
                    <a:pt x="60" y="23"/>
                    <a:pt x="61" y="23"/>
                    <a:pt x="62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1" y="26"/>
                    <a:pt x="59" y="26"/>
                    <a:pt x="57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2" y="29"/>
                    <a:pt x="52" y="29"/>
                    <a:pt x="47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4" y="30"/>
                    <a:pt x="40" y="30"/>
                    <a:pt x="36" y="27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id="{4A7495F1-62AF-46E5-B244-5EA2FD915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" y="1181"/>
              <a:ext cx="272" cy="198"/>
            </a:xfrm>
            <a:custGeom>
              <a:avLst/>
              <a:gdLst>
                <a:gd name="T0" fmla="*/ 110 w 111"/>
                <a:gd name="T1" fmla="*/ 47 h 81"/>
                <a:gd name="T2" fmla="*/ 102 w 111"/>
                <a:gd name="T3" fmla="*/ 37 h 81"/>
                <a:gd name="T4" fmla="*/ 66 w 111"/>
                <a:gd name="T5" fmla="*/ 26 h 81"/>
                <a:gd name="T6" fmla="*/ 62 w 111"/>
                <a:gd name="T7" fmla="*/ 2 h 81"/>
                <a:gd name="T8" fmla="*/ 37 w 111"/>
                <a:gd name="T9" fmla="*/ 0 h 81"/>
                <a:gd name="T10" fmla="*/ 36 w 111"/>
                <a:gd name="T11" fmla="*/ 30 h 81"/>
                <a:gd name="T12" fmla="*/ 29 w 111"/>
                <a:gd name="T13" fmla="*/ 15 h 81"/>
                <a:gd name="T14" fmla="*/ 22 w 111"/>
                <a:gd name="T15" fmla="*/ 10 h 81"/>
                <a:gd name="T16" fmla="*/ 20 w 111"/>
                <a:gd name="T17" fmla="*/ 11 h 81"/>
                <a:gd name="T18" fmla="*/ 26 w 111"/>
                <a:gd name="T19" fmla="*/ 16 h 81"/>
                <a:gd name="T20" fmla="*/ 25 w 111"/>
                <a:gd name="T21" fmla="*/ 31 h 81"/>
                <a:gd name="T22" fmla="*/ 5 w 111"/>
                <a:gd name="T23" fmla="*/ 38 h 81"/>
                <a:gd name="T24" fmla="*/ 2 w 111"/>
                <a:gd name="T25" fmla="*/ 50 h 81"/>
                <a:gd name="T26" fmla="*/ 0 w 111"/>
                <a:gd name="T27" fmla="*/ 64 h 81"/>
                <a:gd name="T28" fmla="*/ 11 w 111"/>
                <a:gd name="T29" fmla="*/ 66 h 81"/>
                <a:gd name="T30" fmla="*/ 29 w 111"/>
                <a:gd name="T31" fmla="*/ 81 h 81"/>
                <a:gd name="T32" fmla="*/ 47 w 111"/>
                <a:gd name="T33" fmla="*/ 66 h 81"/>
                <a:gd name="T34" fmla="*/ 70 w 111"/>
                <a:gd name="T35" fmla="*/ 66 h 81"/>
                <a:gd name="T36" fmla="*/ 105 w 111"/>
                <a:gd name="T37" fmla="*/ 62 h 81"/>
                <a:gd name="T38" fmla="*/ 69 w 111"/>
                <a:gd name="T39" fmla="*/ 61 h 81"/>
                <a:gd name="T40" fmla="*/ 47 w 111"/>
                <a:gd name="T41" fmla="*/ 62 h 81"/>
                <a:gd name="T42" fmla="*/ 39 w 111"/>
                <a:gd name="T43" fmla="*/ 48 h 81"/>
                <a:gd name="T44" fmla="*/ 39 w 111"/>
                <a:gd name="T45" fmla="*/ 41 h 81"/>
                <a:gd name="T46" fmla="*/ 66 w 111"/>
                <a:gd name="T47" fmla="*/ 40 h 81"/>
                <a:gd name="T48" fmla="*/ 66 w 111"/>
                <a:gd name="T49" fmla="*/ 36 h 81"/>
                <a:gd name="T50" fmla="*/ 107 w 111"/>
                <a:gd name="T51" fmla="*/ 50 h 81"/>
                <a:gd name="T52" fmla="*/ 87 w 111"/>
                <a:gd name="T53" fmla="*/ 48 h 81"/>
                <a:gd name="T54" fmla="*/ 87 w 111"/>
                <a:gd name="T55" fmla="*/ 77 h 81"/>
                <a:gd name="T56" fmla="*/ 87 w 111"/>
                <a:gd name="T57" fmla="*/ 48 h 81"/>
                <a:gd name="T58" fmla="*/ 11 w 111"/>
                <a:gd name="T59" fmla="*/ 62 h 81"/>
                <a:gd name="T60" fmla="*/ 4 w 111"/>
                <a:gd name="T61" fmla="*/ 53 h 81"/>
                <a:gd name="T62" fmla="*/ 8 w 111"/>
                <a:gd name="T63" fmla="*/ 52 h 81"/>
                <a:gd name="T64" fmla="*/ 9 w 111"/>
                <a:gd name="T65" fmla="*/ 39 h 81"/>
                <a:gd name="T66" fmla="*/ 36 w 111"/>
                <a:gd name="T67" fmla="*/ 34 h 81"/>
                <a:gd name="T68" fmla="*/ 34 w 111"/>
                <a:gd name="T69" fmla="*/ 45 h 81"/>
                <a:gd name="T70" fmla="*/ 11 w 111"/>
                <a:gd name="T71" fmla="*/ 62 h 81"/>
                <a:gd name="T72" fmla="*/ 29 w 111"/>
                <a:gd name="T73" fmla="*/ 77 h 81"/>
                <a:gd name="T74" fmla="*/ 29 w 111"/>
                <a:gd name="T75" fmla="*/ 48 h 81"/>
                <a:gd name="T76" fmla="*/ 45 w 111"/>
                <a:gd name="T77" fmla="*/ 37 h 81"/>
                <a:gd name="T78" fmla="*/ 39 w 111"/>
                <a:gd name="T79" fmla="*/ 4 h 81"/>
                <a:gd name="T80" fmla="*/ 45 w 111"/>
                <a:gd name="T81" fmla="*/ 37 h 81"/>
                <a:gd name="T82" fmla="*/ 48 w 111"/>
                <a:gd name="T83" fmla="*/ 4 h 81"/>
                <a:gd name="T84" fmla="*/ 63 w 111"/>
                <a:gd name="T85" fmla="*/ 26 h 81"/>
                <a:gd name="T86" fmla="*/ 48 w 111"/>
                <a:gd name="T87" fmla="*/ 3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1" h="81">
                  <a:moveTo>
                    <a:pt x="110" y="50"/>
                  </a:moveTo>
                  <a:cubicBezTo>
                    <a:pt x="110" y="49"/>
                    <a:pt x="111" y="48"/>
                    <a:pt x="110" y="47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7"/>
                    <a:pt x="102" y="37"/>
                    <a:pt x="102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1"/>
                    <a:pt x="61" y="0"/>
                    <a:pt x="6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1"/>
                    <a:pt x="36" y="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3"/>
                    <a:pt x="28" y="13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1" y="10"/>
                  </a:cubicBezTo>
                  <a:cubicBezTo>
                    <a:pt x="21" y="10"/>
                    <a:pt x="20" y="10"/>
                    <a:pt x="20" y="11"/>
                  </a:cubicBezTo>
                  <a:cubicBezTo>
                    <a:pt x="20" y="11"/>
                    <a:pt x="20" y="13"/>
                    <a:pt x="21" y="1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9" y="32"/>
                    <a:pt x="5" y="37"/>
                    <a:pt x="5" y="37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1" y="50"/>
                    <a:pt x="0" y="50"/>
                    <a:pt x="0" y="5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6"/>
                    <a:pt x="2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3" y="75"/>
                    <a:pt x="21" y="81"/>
                    <a:pt x="29" y="81"/>
                  </a:cubicBezTo>
                  <a:cubicBezTo>
                    <a:pt x="37" y="81"/>
                    <a:pt x="45" y="75"/>
                    <a:pt x="46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2" y="75"/>
                    <a:pt x="79" y="81"/>
                    <a:pt x="87" y="81"/>
                  </a:cubicBezTo>
                  <a:cubicBezTo>
                    <a:pt x="97" y="81"/>
                    <a:pt x="105" y="73"/>
                    <a:pt x="105" y="62"/>
                  </a:cubicBezTo>
                  <a:cubicBezTo>
                    <a:pt x="105" y="52"/>
                    <a:pt x="97" y="44"/>
                    <a:pt x="87" y="44"/>
                  </a:cubicBezTo>
                  <a:cubicBezTo>
                    <a:pt x="78" y="44"/>
                    <a:pt x="70" y="51"/>
                    <a:pt x="69" y="61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6" y="56"/>
                    <a:pt x="44" y="51"/>
                    <a:pt x="39" y="48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6" y="40"/>
                    <a:pt x="66" y="39"/>
                    <a:pt x="66" y="39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8" y="50"/>
                    <a:pt x="109" y="51"/>
                    <a:pt x="110" y="50"/>
                  </a:cubicBezTo>
                  <a:close/>
                  <a:moveTo>
                    <a:pt x="87" y="48"/>
                  </a:moveTo>
                  <a:cubicBezTo>
                    <a:pt x="95" y="48"/>
                    <a:pt x="102" y="54"/>
                    <a:pt x="102" y="62"/>
                  </a:cubicBezTo>
                  <a:cubicBezTo>
                    <a:pt x="102" y="71"/>
                    <a:pt x="95" y="77"/>
                    <a:pt x="87" y="77"/>
                  </a:cubicBezTo>
                  <a:cubicBezTo>
                    <a:pt x="79" y="77"/>
                    <a:pt x="73" y="71"/>
                    <a:pt x="73" y="62"/>
                  </a:cubicBezTo>
                  <a:cubicBezTo>
                    <a:pt x="73" y="54"/>
                    <a:pt x="79" y="48"/>
                    <a:pt x="87" y="48"/>
                  </a:cubicBezTo>
                  <a:close/>
                  <a:moveTo>
                    <a:pt x="11" y="62"/>
                  </a:moveTo>
                  <a:cubicBezTo>
                    <a:pt x="11" y="62"/>
                    <a:pt x="11" y="62"/>
                    <a:pt x="11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7" y="53"/>
                    <a:pt x="8" y="53"/>
                    <a:pt x="8" y="52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0" y="37"/>
                    <a:pt x="16" y="34"/>
                    <a:pt x="31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3" y="44"/>
                    <a:pt x="31" y="44"/>
                    <a:pt x="29" y="44"/>
                  </a:cubicBezTo>
                  <a:cubicBezTo>
                    <a:pt x="19" y="44"/>
                    <a:pt x="11" y="52"/>
                    <a:pt x="11" y="62"/>
                  </a:cubicBezTo>
                  <a:close/>
                  <a:moveTo>
                    <a:pt x="43" y="62"/>
                  </a:moveTo>
                  <a:cubicBezTo>
                    <a:pt x="43" y="71"/>
                    <a:pt x="37" y="77"/>
                    <a:pt x="29" y="77"/>
                  </a:cubicBezTo>
                  <a:cubicBezTo>
                    <a:pt x="21" y="77"/>
                    <a:pt x="14" y="71"/>
                    <a:pt x="14" y="62"/>
                  </a:cubicBezTo>
                  <a:cubicBezTo>
                    <a:pt x="14" y="54"/>
                    <a:pt x="21" y="48"/>
                    <a:pt x="29" y="48"/>
                  </a:cubicBezTo>
                  <a:cubicBezTo>
                    <a:pt x="37" y="48"/>
                    <a:pt x="43" y="54"/>
                    <a:pt x="43" y="62"/>
                  </a:cubicBezTo>
                  <a:close/>
                  <a:moveTo>
                    <a:pt x="45" y="37"/>
                  </a:moveTo>
                  <a:cubicBezTo>
                    <a:pt x="39" y="37"/>
                    <a:pt x="39" y="37"/>
                    <a:pt x="39" y="3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5" y="4"/>
                    <a:pt x="45" y="4"/>
                    <a:pt x="45" y="4"/>
                  </a:cubicBezTo>
                  <a:lnTo>
                    <a:pt x="45" y="37"/>
                  </a:lnTo>
                  <a:close/>
                  <a:moveTo>
                    <a:pt x="48" y="37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37"/>
                    <a:pt x="63" y="37"/>
                    <a:pt x="63" y="37"/>
                  </a:cubicBezTo>
                  <a:lnTo>
                    <a:pt x="48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19">
            <a:extLst>
              <a:ext uri="{FF2B5EF4-FFF2-40B4-BE49-F238E27FC236}">
                <a16:creationId xmlns:a16="http://schemas.microsoft.com/office/drawing/2014/main" id="{9CAF87BB-0B08-43C5-B9A0-72570E01FB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013" y="2808288"/>
            <a:ext cx="841375" cy="841375"/>
            <a:chOff x="223" y="1769"/>
            <a:chExt cx="530" cy="530"/>
          </a:xfrm>
        </p:grpSpPr>
        <p:sp>
          <p:nvSpPr>
            <p:cNvPr id="158" name="AutoShape 118">
              <a:extLst>
                <a:ext uri="{FF2B5EF4-FFF2-40B4-BE49-F238E27FC236}">
                  <a16:creationId xmlns:a16="http://schemas.microsoft.com/office/drawing/2014/main" id="{D7FC6ABF-DF8A-4B25-9E66-04AA95F44D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" y="17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Oval 120">
              <a:extLst>
                <a:ext uri="{FF2B5EF4-FFF2-40B4-BE49-F238E27FC236}">
                  <a16:creationId xmlns:a16="http://schemas.microsoft.com/office/drawing/2014/main" id="{8010D324-38BA-4F04-9E97-D851F47B2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" y="17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1">
              <a:extLst>
                <a:ext uri="{FF2B5EF4-FFF2-40B4-BE49-F238E27FC236}">
                  <a16:creationId xmlns:a16="http://schemas.microsoft.com/office/drawing/2014/main" id="{52D240EF-B230-4C7C-A99A-990A55C1D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" y="17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22">
              <a:extLst>
                <a:ext uri="{FF2B5EF4-FFF2-40B4-BE49-F238E27FC236}">
                  <a16:creationId xmlns:a16="http://schemas.microsoft.com/office/drawing/2014/main" id="{93087BBC-255B-4635-B18F-334C983123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" y="1874"/>
              <a:ext cx="322" cy="322"/>
            </a:xfrm>
            <a:custGeom>
              <a:avLst/>
              <a:gdLst>
                <a:gd name="T0" fmla="*/ 71 w 126"/>
                <a:gd name="T1" fmla="*/ 53 h 126"/>
                <a:gd name="T2" fmla="*/ 70 w 126"/>
                <a:gd name="T3" fmla="*/ 52 h 126"/>
                <a:gd name="T4" fmla="*/ 67 w 126"/>
                <a:gd name="T5" fmla="*/ 21 h 126"/>
                <a:gd name="T6" fmla="*/ 62 w 126"/>
                <a:gd name="T7" fmla="*/ 32 h 126"/>
                <a:gd name="T8" fmla="*/ 62 w 126"/>
                <a:gd name="T9" fmla="*/ 32 h 126"/>
                <a:gd name="T10" fmla="*/ 49 w 126"/>
                <a:gd name="T11" fmla="*/ 40 h 126"/>
                <a:gd name="T12" fmla="*/ 49 w 126"/>
                <a:gd name="T13" fmla="*/ 54 h 126"/>
                <a:gd name="T14" fmla="*/ 57 w 126"/>
                <a:gd name="T15" fmla="*/ 53 h 126"/>
                <a:gd name="T16" fmla="*/ 53 w 126"/>
                <a:gd name="T17" fmla="*/ 28 h 126"/>
                <a:gd name="T18" fmla="*/ 49 w 126"/>
                <a:gd name="T19" fmla="*/ 32 h 126"/>
                <a:gd name="T20" fmla="*/ 40 w 126"/>
                <a:gd name="T21" fmla="*/ 37 h 126"/>
                <a:gd name="T22" fmla="*/ 36 w 126"/>
                <a:gd name="T23" fmla="*/ 42 h 126"/>
                <a:gd name="T24" fmla="*/ 36 w 126"/>
                <a:gd name="T25" fmla="*/ 90 h 126"/>
                <a:gd name="T26" fmla="*/ 85 w 126"/>
                <a:gd name="T27" fmla="*/ 96 h 126"/>
                <a:gd name="T28" fmla="*/ 105 w 126"/>
                <a:gd name="T29" fmla="*/ 69 h 126"/>
                <a:gd name="T30" fmla="*/ 95 w 126"/>
                <a:gd name="T31" fmla="*/ 69 h 126"/>
                <a:gd name="T32" fmla="*/ 88 w 126"/>
                <a:gd name="T33" fmla="*/ 78 h 126"/>
                <a:gd name="T34" fmla="*/ 88 w 126"/>
                <a:gd name="T35" fmla="*/ 78 h 126"/>
                <a:gd name="T36" fmla="*/ 86 w 126"/>
                <a:gd name="T37" fmla="*/ 78 h 126"/>
                <a:gd name="T38" fmla="*/ 86 w 126"/>
                <a:gd name="T39" fmla="*/ 78 h 126"/>
                <a:gd name="T40" fmla="*/ 64 w 126"/>
                <a:gd name="T41" fmla="*/ 91 h 126"/>
                <a:gd name="T42" fmla="*/ 84 w 126"/>
                <a:gd name="T43" fmla="*/ 74 h 126"/>
                <a:gd name="T44" fmla="*/ 79 w 126"/>
                <a:gd name="T45" fmla="*/ 28 h 126"/>
                <a:gd name="T46" fmla="*/ 75 w 126"/>
                <a:gd name="T47" fmla="*/ 52 h 126"/>
                <a:gd name="T48" fmla="*/ 75 w 126"/>
                <a:gd name="T49" fmla="*/ 53 h 126"/>
                <a:gd name="T50" fmla="*/ 78 w 126"/>
                <a:gd name="T51" fmla="*/ 55 h 126"/>
                <a:gd name="T52" fmla="*/ 77 w 126"/>
                <a:gd name="T53" fmla="*/ 60 h 126"/>
                <a:gd name="T54" fmla="*/ 39 w 126"/>
                <a:gd name="T55" fmla="*/ 61 h 126"/>
                <a:gd name="T56" fmla="*/ 44 w 126"/>
                <a:gd name="T57" fmla="*/ 56 h 126"/>
                <a:gd name="T58" fmla="*/ 44 w 126"/>
                <a:gd name="T59" fmla="*/ 41 h 126"/>
                <a:gd name="T60" fmla="*/ 42 w 126"/>
                <a:gd name="T61" fmla="*/ 38 h 126"/>
                <a:gd name="T62" fmla="*/ 63 w 126"/>
                <a:gd name="T63" fmla="*/ 110 h 126"/>
                <a:gd name="T64" fmla="*/ 31 w 126"/>
                <a:gd name="T65" fmla="*/ 90 h 126"/>
                <a:gd name="T66" fmla="*/ 30 w 126"/>
                <a:gd name="T67" fmla="*/ 42 h 126"/>
                <a:gd name="T68" fmla="*/ 44 w 126"/>
                <a:gd name="T69" fmla="*/ 33 h 126"/>
                <a:gd name="T70" fmla="*/ 53 w 126"/>
                <a:gd name="T71" fmla="*/ 23 h 126"/>
                <a:gd name="T72" fmla="*/ 66 w 126"/>
                <a:gd name="T73" fmla="*/ 16 h 126"/>
                <a:gd name="T74" fmla="*/ 75 w 126"/>
                <a:gd name="T75" fmla="*/ 24 h 126"/>
                <a:gd name="T76" fmla="*/ 89 w 126"/>
                <a:gd name="T77" fmla="*/ 32 h 126"/>
                <a:gd name="T78" fmla="*/ 91 w 126"/>
                <a:gd name="T79" fmla="*/ 66 h 126"/>
                <a:gd name="T80" fmla="*/ 106 w 126"/>
                <a:gd name="T81" fmla="*/ 62 h 126"/>
                <a:gd name="T82" fmla="*/ 109 w 126"/>
                <a:gd name="T83" fmla="*/ 74 h 126"/>
                <a:gd name="T84" fmla="*/ 63 w 126"/>
                <a:gd name="T85" fmla="*/ 110 h 126"/>
                <a:gd name="T86" fmla="*/ 86 w 126"/>
                <a:gd name="T87" fmla="*/ 121 h 126"/>
                <a:gd name="T88" fmla="*/ 121 w 126"/>
                <a:gd name="T89" fmla="*/ 40 h 126"/>
                <a:gd name="T90" fmla="*/ 40 w 126"/>
                <a:gd name="T91" fmla="*/ 5 h 126"/>
                <a:gd name="T92" fmla="*/ 5 w 126"/>
                <a:gd name="T93" fmla="*/ 86 h 126"/>
                <a:gd name="T94" fmla="*/ 87 w 126"/>
                <a:gd name="T95" fmla="*/ 126 h 126"/>
                <a:gd name="T96" fmla="*/ 37 w 126"/>
                <a:gd name="T97" fmla="*/ 126 h 126"/>
                <a:gd name="T98" fmla="*/ 1 w 126"/>
                <a:gd name="T99" fmla="*/ 89 h 126"/>
                <a:gd name="T100" fmla="*/ 0 w 126"/>
                <a:gd name="T101" fmla="*/ 37 h 126"/>
                <a:gd name="T102" fmla="*/ 37 w 126"/>
                <a:gd name="T103" fmla="*/ 1 h 126"/>
                <a:gd name="T104" fmla="*/ 89 w 126"/>
                <a:gd name="T105" fmla="*/ 0 h 126"/>
                <a:gd name="T106" fmla="*/ 125 w 126"/>
                <a:gd name="T107" fmla="*/ 37 h 126"/>
                <a:gd name="T108" fmla="*/ 126 w 126"/>
                <a:gd name="T109" fmla="*/ 89 h 126"/>
                <a:gd name="T110" fmla="*/ 89 w 126"/>
                <a:gd name="T111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6" h="126">
                  <a:moveTo>
                    <a:pt x="62" y="53"/>
                  </a:moveTo>
                  <a:cubicBezTo>
                    <a:pt x="65" y="53"/>
                    <a:pt x="68" y="53"/>
                    <a:pt x="71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2"/>
                    <a:pt x="68" y="21"/>
                    <a:pt x="67" y="21"/>
                  </a:cubicBezTo>
                  <a:cubicBezTo>
                    <a:pt x="65" y="21"/>
                    <a:pt x="62" y="23"/>
                    <a:pt x="62" y="25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53"/>
                    <a:pt x="62" y="53"/>
                    <a:pt x="62" y="53"/>
                  </a:cubicBezTo>
                  <a:close/>
                  <a:moveTo>
                    <a:pt x="49" y="40"/>
                  </a:moveTo>
                  <a:cubicBezTo>
                    <a:pt x="49" y="40"/>
                    <a:pt x="49" y="41"/>
                    <a:pt x="49" y="41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1" y="54"/>
                    <a:pt x="54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28"/>
                    <a:pt x="54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1" y="28"/>
                    <a:pt x="49" y="29"/>
                    <a:pt x="49" y="32"/>
                  </a:cubicBezTo>
                  <a:lnTo>
                    <a:pt x="49" y="40"/>
                  </a:lnTo>
                  <a:close/>
                  <a:moveTo>
                    <a:pt x="40" y="37"/>
                  </a:moveTo>
                  <a:cubicBezTo>
                    <a:pt x="39" y="37"/>
                    <a:pt x="38" y="38"/>
                    <a:pt x="38" y="38"/>
                  </a:cubicBezTo>
                  <a:cubicBezTo>
                    <a:pt x="37" y="39"/>
                    <a:pt x="36" y="40"/>
                    <a:pt x="36" y="42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7" y="96"/>
                    <a:pt x="42" y="101"/>
                    <a:pt x="52" y="103"/>
                  </a:cubicBezTo>
                  <a:cubicBezTo>
                    <a:pt x="63" y="106"/>
                    <a:pt x="79" y="105"/>
                    <a:pt x="85" y="96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6" y="71"/>
                    <a:pt x="106" y="69"/>
                    <a:pt x="105" y="69"/>
                  </a:cubicBezTo>
                  <a:cubicBezTo>
                    <a:pt x="105" y="68"/>
                    <a:pt x="105" y="67"/>
                    <a:pt x="104" y="66"/>
                  </a:cubicBezTo>
                  <a:cubicBezTo>
                    <a:pt x="100" y="66"/>
                    <a:pt x="97" y="67"/>
                    <a:pt x="95" y="69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7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76" y="79"/>
                    <a:pt x="70" y="83"/>
                    <a:pt x="67" y="89"/>
                  </a:cubicBezTo>
                  <a:cubicBezTo>
                    <a:pt x="67" y="91"/>
                    <a:pt x="65" y="91"/>
                    <a:pt x="64" y="91"/>
                  </a:cubicBezTo>
                  <a:cubicBezTo>
                    <a:pt x="63" y="90"/>
                    <a:pt x="62" y="89"/>
                    <a:pt x="62" y="88"/>
                  </a:cubicBezTo>
                  <a:cubicBezTo>
                    <a:pt x="65" y="79"/>
                    <a:pt x="73" y="75"/>
                    <a:pt x="84" y="74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29"/>
                    <a:pt x="81" y="28"/>
                    <a:pt x="79" y="28"/>
                  </a:cubicBezTo>
                  <a:cubicBezTo>
                    <a:pt x="78" y="28"/>
                    <a:pt x="76" y="29"/>
                    <a:pt x="76" y="3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4"/>
                    <a:pt x="75" y="54"/>
                  </a:cubicBezTo>
                  <a:cubicBezTo>
                    <a:pt x="76" y="54"/>
                    <a:pt x="77" y="54"/>
                    <a:pt x="78" y="55"/>
                  </a:cubicBezTo>
                  <a:cubicBezTo>
                    <a:pt x="79" y="55"/>
                    <a:pt x="80" y="56"/>
                    <a:pt x="80" y="58"/>
                  </a:cubicBezTo>
                  <a:cubicBezTo>
                    <a:pt x="79" y="59"/>
                    <a:pt x="78" y="60"/>
                    <a:pt x="77" y="60"/>
                  </a:cubicBezTo>
                  <a:cubicBezTo>
                    <a:pt x="64" y="57"/>
                    <a:pt x="52" y="58"/>
                    <a:pt x="42" y="62"/>
                  </a:cubicBezTo>
                  <a:cubicBezTo>
                    <a:pt x="41" y="63"/>
                    <a:pt x="39" y="62"/>
                    <a:pt x="39" y="61"/>
                  </a:cubicBezTo>
                  <a:cubicBezTo>
                    <a:pt x="38" y="59"/>
                    <a:pt x="39" y="58"/>
                    <a:pt x="40" y="57"/>
                  </a:cubicBezTo>
                  <a:cubicBezTo>
                    <a:pt x="41" y="57"/>
                    <a:pt x="43" y="56"/>
                    <a:pt x="44" y="56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4" y="41"/>
                    <a:pt x="44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3" y="38"/>
                    <a:pt x="42" y="38"/>
                  </a:cubicBezTo>
                  <a:cubicBezTo>
                    <a:pt x="42" y="38"/>
                    <a:pt x="41" y="37"/>
                    <a:pt x="40" y="37"/>
                  </a:cubicBezTo>
                  <a:moveTo>
                    <a:pt x="63" y="110"/>
                  </a:moveTo>
                  <a:cubicBezTo>
                    <a:pt x="59" y="110"/>
                    <a:pt x="54" y="109"/>
                    <a:pt x="50" y="108"/>
                  </a:cubicBezTo>
                  <a:cubicBezTo>
                    <a:pt x="39" y="105"/>
                    <a:pt x="32" y="98"/>
                    <a:pt x="31" y="90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39"/>
                    <a:pt x="32" y="35"/>
                    <a:pt x="35" y="34"/>
                  </a:cubicBezTo>
                  <a:cubicBezTo>
                    <a:pt x="38" y="32"/>
                    <a:pt x="41" y="32"/>
                    <a:pt x="44" y="33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6"/>
                    <a:pt x="48" y="23"/>
                    <a:pt x="53" y="23"/>
                  </a:cubicBezTo>
                  <a:cubicBezTo>
                    <a:pt x="54" y="23"/>
                    <a:pt x="56" y="23"/>
                    <a:pt x="57" y="24"/>
                  </a:cubicBezTo>
                  <a:cubicBezTo>
                    <a:pt x="58" y="19"/>
                    <a:pt x="62" y="16"/>
                    <a:pt x="66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0" y="16"/>
                    <a:pt x="75" y="19"/>
                    <a:pt x="75" y="24"/>
                  </a:cubicBezTo>
                  <a:cubicBezTo>
                    <a:pt x="77" y="23"/>
                    <a:pt x="78" y="23"/>
                    <a:pt x="80" y="23"/>
                  </a:cubicBezTo>
                  <a:cubicBezTo>
                    <a:pt x="84" y="23"/>
                    <a:pt x="89" y="27"/>
                    <a:pt x="89" y="32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4" y="63"/>
                    <a:pt x="98" y="61"/>
                    <a:pt x="105" y="61"/>
                  </a:cubicBezTo>
                  <a:cubicBezTo>
                    <a:pt x="105" y="61"/>
                    <a:pt x="106" y="61"/>
                    <a:pt x="106" y="62"/>
                  </a:cubicBezTo>
                  <a:cubicBezTo>
                    <a:pt x="108" y="63"/>
                    <a:pt x="110" y="65"/>
                    <a:pt x="110" y="67"/>
                  </a:cubicBezTo>
                  <a:cubicBezTo>
                    <a:pt x="111" y="70"/>
                    <a:pt x="111" y="72"/>
                    <a:pt x="109" y="74"/>
                  </a:cubicBezTo>
                  <a:cubicBezTo>
                    <a:pt x="89" y="99"/>
                    <a:pt x="89" y="99"/>
                    <a:pt x="89" y="99"/>
                  </a:cubicBezTo>
                  <a:cubicBezTo>
                    <a:pt x="84" y="107"/>
                    <a:pt x="74" y="110"/>
                    <a:pt x="63" y="110"/>
                  </a:cubicBezTo>
                  <a:moveTo>
                    <a:pt x="39" y="121"/>
                  </a:moveTo>
                  <a:cubicBezTo>
                    <a:pt x="86" y="121"/>
                    <a:pt x="86" y="121"/>
                    <a:pt x="86" y="121"/>
                  </a:cubicBezTo>
                  <a:cubicBezTo>
                    <a:pt x="121" y="87"/>
                    <a:pt x="121" y="87"/>
                    <a:pt x="121" y="87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86"/>
                    <a:pt x="5" y="86"/>
                    <a:pt x="5" y="86"/>
                  </a:cubicBezTo>
                  <a:lnTo>
                    <a:pt x="39" y="121"/>
                  </a:lnTo>
                  <a:close/>
                  <a:moveTo>
                    <a:pt x="87" y="126"/>
                  </a:moveTo>
                  <a:cubicBezTo>
                    <a:pt x="87" y="126"/>
                    <a:pt x="87" y="126"/>
                    <a:pt x="8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6" y="125"/>
                    <a:pt x="36" y="125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0" y="89"/>
                    <a:pt x="0" y="88"/>
                    <a:pt x="0" y="8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6"/>
                    <a:pt x="1" y="3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0"/>
                    <a:pt x="38" y="0"/>
                    <a:pt x="3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90" y="1"/>
                    <a:pt x="90" y="1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8"/>
                    <a:pt x="126" y="39"/>
                  </a:cubicBezTo>
                  <a:cubicBezTo>
                    <a:pt x="126" y="89"/>
                    <a:pt x="126" y="89"/>
                    <a:pt x="126" y="89"/>
                  </a:cubicBezTo>
                  <a:cubicBezTo>
                    <a:pt x="126" y="89"/>
                    <a:pt x="125" y="90"/>
                    <a:pt x="125" y="90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6"/>
                    <a:pt x="88" y="126"/>
                    <a:pt x="87" y="1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125">
            <a:extLst>
              <a:ext uri="{FF2B5EF4-FFF2-40B4-BE49-F238E27FC236}">
                <a16:creationId xmlns:a16="http://schemas.microsoft.com/office/drawing/2014/main" id="{889CB937-801B-4C36-AB6C-D99EE2D137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7325" y="2849563"/>
            <a:ext cx="758825" cy="758825"/>
            <a:chOff x="918" y="1795"/>
            <a:chExt cx="478" cy="478"/>
          </a:xfrm>
        </p:grpSpPr>
        <p:sp>
          <p:nvSpPr>
            <p:cNvPr id="163" name="AutoShape 124">
              <a:extLst>
                <a:ext uri="{FF2B5EF4-FFF2-40B4-BE49-F238E27FC236}">
                  <a16:creationId xmlns:a16="http://schemas.microsoft.com/office/drawing/2014/main" id="{CE7D4E01-A061-4B56-832B-C9AA29C49E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8" y="17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26">
              <a:extLst>
                <a:ext uri="{FF2B5EF4-FFF2-40B4-BE49-F238E27FC236}">
                  <a16:creationId xmlns:a16="http://schemas.microsoft.com/office/drawing/2014/main" id="{9F192438-570E-43D6-AD79-1A4CB1199B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0" y="17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27">
              <a:extLst>
                <a:ext uri="{FF2B5EF4-FFF2-40B4-BE49-F238E27FC236}">
                  <a16:creationId xmlns:a16="http://schemas.microsoft.com/office/drawing/2014/main" id="{0DAEE844-E421-45B1-87EC-9D525E71A2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" y="1881"/>
              <a:ext cx="309" cy="309"/>
            </a:xfrm>
            <a:custGeom>
              <a:avLst/>
              <a:gdLst>
                <a:gd name="T0" fmla="*/ 71 w 126"/>
                <a:gd name="T1" fmla="*/ 53 h 126"/>
                <a:gd name="T2" fmla="*/ 70 w 126"/>
                <a:gd name="T3" fmla="*/ 52 h 126"/>
                <a:gd name="T4" fmla="*/ 67 w 126"/>
                <a:gd name="T5" fmla="*/ 21 h 126"/>
                <a:gd name="T6" fmla="*/ 62 w 126"/>
                <a:gd name="T7" fmla="*/ 32 h 126"/>
                <a:gd name="T8" fmla="*/ 62 w 126"/>
                <a:gd name="T9" fmla="*/ 32 h 126"/>
                <a:gd name="T10" fmla="*/ 49 w 126"/>
                <a:gd name="T11" fmla="*/ 40 h 126"/>
                <a:gd name="T12" fmla="*/ 49 w 126"/>
                <a:gd name="T13" fmla="*/ 54 h 126"/>
                <a:gd name="T14" fmla="*/ 57 w 126"/>
                <a:gd name="T15" fmla="*/ 53 h 126"/>
                <a:gd name="T16" fmla="*/ 53 w 126"/>
                <a:gd name="T17" fmla="*/ 28 h 126"/>
                <a:gd name="T18" fmla="*/ 49 w 126"/>
                <a:gd name="T19" fmla="*/ 32 h 126"/>
                <a:gd name="T20" fmla="*/ 40 w 126"/>
                <a:gd name="T21" fmla="*/ 37 h 126"/>
                <a:gd name="T22" fmla="*/ 36 w 126"/>
                <a:gd name="T23" fmla="*/ 42 h 126"/>
                <a:gd name="T24" fmla="*/ 36 w 126"/>
                <a:gd name="T25" fmla="*/ 90 h 126"/>
                <a:gd name="T26" fmla="*/ 85 w 126"/>
                <a:gd name="T27" fmla="*/ 96 h 126"/>
                <a:gd name="T28" fmla="*/ 105 w 126"/>
                <a:gd name="T29" fmla="*/ 69 h 126"/>
                <a:gd name="T30" fmla="*/ 95 w 126"/>
                <a:gd name="T31" fmla="*/ 69 h 126"/>
                <a:gd name="T32" fmla="*/ 88 w 126"/>
                <a:gd name="T33" fmla="*/ 78 h 126"/>
                <a:gd name="T34" fmla="*/ 88 w 126"/>
                <a:gd name="T35" fmla="*/ 78 h 126"/>
                <a:gd name="T36" fmla="*/ 86 w 126"/>
                <a:gd name="T37" fmla="*/ 78 h 126"/>
                <a:gd name="T38" fmla="*/ 86 w 126"/>
                <a:gd name="T39" fmla="*/ 78 h 126"/>
                <a:gd name="T40" fmla="*/ 64 w 126"/>
                <a:gd name="T41" fmla="*/ 91 h 126"/>
                <a:gd name="T42" fmla="*/ 84 w 126"/>
                <a:gd name="T43" fmla="*/ 74 h 126"/>
                <a:gd name="T44" fmla="*/ 79 w 126"/>
                <a:gd name="T45" fmla="*/ 28 h 126"/>
                <a:gd name="T46" fmla="*/ 75 w 126"/>
                <a:gd name="T47" fmla="*/ 52 h 126"/>
                <a:gd name="T48" fmla="*/ 75 w 126"/>
                <a:gd name="T49" fmla="*/ 53 h 126"/>
                <a:gd name="T50" fmla="*/ 78 w 126"/>
                <a:gd name="T51" fmla="*/ 55 h 126"/>
                <a:gd name="T52" fmla="*/ 77 w 126"/>
                <a:gd name="T53" fmla="*/ 60 h 126"/>
                <a:gd name="T54" fmla="*/ 39 w 126"/>
                <a:gd name="T55" fmla="*/ 61 h 126"/>
                <a:gd name="T56" fmla="*/ 44 w 126"/>
                <a:gd name="T57" fmla="*/ 56 h 126"/>
                <a:gd name="T58" fmla="*/ 44 w 126"/>
                <a:gd name="T59" fmla="*/ 41 h 126"/>
                <a:gd name="T60" fmla="*/ 42 w 126"/>
                <a:gd name="T61" fmla="*/ 38 h 126"/>
                <a:gd name="T62" fmla="*/ 63 w 126"/>
                <a:gd name="T63" fmla="*/ 110 h 126"/>
                <a:gd name="T64" fmla="*/ 31 w 126"/>
                <a:gd name="T65" fmla="*/ 90 h 126"/>
                <a:gd name="T66" fmla="*/ 30 w 126"/>
                <a:gd name="T67" fmla="*/ 42 h 126"/>
                <a:gd name="T68" fmla="*/ 44 w 126"/>
                <a:gd name="T69" fmla="*/ 33 h 126"/>
                <a:gd name="T70" fmla="*/ 53 w 126"/>
                <a:gd name="T71" fmla="*/ 23 h 126"/>
                <a:gd name="T72" fmla="*/ 66 w 126"/>
                <a:gd name="T73" fmla="*/ 16 h 126"/>
                <a:gd name="T74" fmla="*/ 75 w 126"/>
                <a:gd name="T75" fmla="*/ 24 h 126"/>
                <a:gd name="T76" fmla="*/ 89 w 126"/>
                <a:gd name="T77" fmla="*/ 32 h 126"/>
                <a:gd name="T78" fmla="*/ 91 w 126"/>
                <a:gd name="T79" fmla="*/ 66 h 126"/>
                <a:gd name="T80" fmla="*/ 106 w 126"/>
                <a:gd name="T81" fmla="*/ 62 h 126"/>
                <a:gd name="T82" fmla="*/ 109 w 126"/>
                <a:gd name="T83" fmla="*/ 74 h 126"/>
                <a:gd name="T84" fmla="*/ 63 w 126"/>
                <a:gd name="T85" fmla="*/ 110 h 126"/>
                <a:gd name="T86" fmla="*/ 86 w 126"/>
                <a:gd name="T87" fmla="*/ 121 h 126"/>
                <a:gd name="T88" fmla="*/ 121 w 126"/>
                <a:gd name="T89" fmla="*/ 40 h 126"/>
                <a:gd name="T90" fmla="*/ 40 w 126"/>
                <a:gd name="T91" fmla="*/ 5 h 126"/>
                <a:gd name="T92" fmla="*/ 5 w 126"/>
                <a:gd name="T93" fmla="*/ 86 h 126"/>
                <a:gd name="T94" fmla="*/ 87 w 126"/>
                <a:gd name="T95" fmla="*/ 126 h 126"/>
                <a:gd name="T96" fmla="*/ 37 w 126"/>
                <a:gd name="T97" fmla="*/ 126 h 126"/>
                <a:gd name="T98" fmla="*/ 1 w 126"/>
                <a:gd name="T99" fmla="*/ 89 h 126"/>
                <a:gd name="T100" fmla="*/ 0 w 126"/>
                <a:gd name="T101" fmla="*/ 37 h 126"/>
                <a:gd name="T102" fmla="*/ 37 w 126"/>
                <a:gd name="T103" fmla="*/ 1 h 126"/>
                <a:gd name="T104" fmla="*/ 89 w 126"/>
                <a:gd name="T105" fmla="*/ 0 h 126"/>
                <a:gd name="T106" fmla="*/ 125 w 126"/>
                <a:gd name="T107" fmla="*/ 37 h 126"/>
                <a:gd name="T108" fmla="*/ 126 w 126"/>
                <a:gd name="T109" fmla="*/ 89 h 126"/>
                <a:gd name="T110" fmla="*/ 89 w 126"/>
                <a:gd name="T111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6" h="126">
                  <a:moveTo>
                    <a:pt x="62" y="53"/>
                  </a:moveTo>
                  <a:cubicBezTo>
                    <a:pt x="65" y="53"/>
                    <a:pt x="68" y="53"/>
                    <a:pt x="71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2"/>
                    <a:pt x="68" y="21"/>
                    <a:pt x="67" y="21"/>
                  </a:cubicBezTo>
                  <a:cubicBezTo>
                    <a:pt x="65" y="21"/>
                    <a:pt x="62" y="23"/>
                    <a:pt x="62" y="25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53"/>
                    <a:pt x="62" y="53"/>
                    <a:pt x="62" y="53"/>
                  </a:cubicBezTo>
                  <a:close/>
                  <a:moveTo>
                    <a:pt x="49" y="40"/>
                  </a:moveTo>
                  <a:cubicBezTo>
                    <a:pt x="49" y="40"/>
                    <a:pt x="49" y="41"/>
                    <a:pt x="49" y="41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1" y="54"/>
                    <a:pt x="54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28"/>
                    <a:pt x="54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1" y="28"/>
                    <a:pt x="49" y="29"/>
                    <a:pt x="49" y="32"/>
                  </a:cubicBezTo>
                  <a:lnTo>
                    <a:pt x="49" y="40"/>
                  </a:lnTo>
                  <a:close/>
                  <a:moveTo>
                    <a:pt x="40" y="37"/>
                  </a:moveTo>
                  <a:cubicBezTo>
                    <a:pt x="39" y="37"/>
                    <a:pt x="38" y="38"/>
                    <a:pt x="38" y="38"/>
                  </a:cubicBezTo>
                  <a:cubicBezTo>
                    <a:pt x="37" y="39"/>
                    <a:pt x="36" y="40"/>
                    <a:pt x="36" y="42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7" y="96"/>
                    <a:pt x="42" y="101"/>
                    <a:pt x="52" y="103"/>
                  </a:cubicBezTo>
                  <a:cubicBezTo>
                    <a:pt x="63" y="106"/>
                    <a:pt x="79" y="105"/>
                    <a:pt x="85" y="96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6" y="71"/>
                    <a:pt x="106" y="69"/>
                    <a:pt x="105" y="69"/>
                  </a:cubicBezTo>
                  <a:cubicBezTo>
                    <a:pt x="105" y="68"/>
                    <a:pt x="105" y="67"/>
                    <a:pt x="104" y="66"/>
                  </a:cubicBezTo>
                  <a:cubicBezTo>
                    <a:pt x="100" y="66"/>
                    <a:pt x="97" y="67"/>
                    <a:pt x="95" y="69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78"/>
                    <a:pt x="87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76" y="79"/>
                    <a:pt x="70" y="83"/>
                    <a:pt x="67" y="89"/>
                  </a:cubicBezTo>
                  <a:cubicBezTo>
                    <a:pt x="67" y="91"/>
                    <a:pt x="65" y="91"/>
                    <a:pt x="64" y="91"/>
                  </a:cubicBezTo>
                  <a:cubicBezTo>
                    <a:pt x="63" y="90"/>
                    <a:pt x="62" y="89"/>
                    <a:pt x="62" y="88"/>
                  </a:cubicBezTo>
                  <a:cubicBezTo>
                    <a:pt x="65" y="79"/>
                    <a:pt x="73" y="75"/>
                    <a:pt x="84" y="74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29"/>
                    <a:pt x="81" y="28"/>
                    <a:pt x="79" y="28"/>
                  </a:cubicBezTo>
                  <a:cubicBezTo>
                    <a:pt x="78" y="28"/>
                    <a:pt x="76" y="29"/>
                    <a:pt x="76" y="3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4"/>
                    <a:pt x="75" y="54"/>
                  </a:cubicBezTo>
                  <a:cubicBezTo>
                    <a:pt x="76" y="54"/>
                    <a:pt x="77" y="54"/>
                    <a:pt x="78" y="55"/>
                  </a:cubicBezTo>
                  <a:cubicBezTo>
                    <a:pt x="79" y="55"/>
                    <a:pt x="80" y="56"/>
                    <a:pt x="80" y="58"/>
                  </a:cubicBezTo>
                  <a:cubicBezTo>
                    <a:pt x="79" y="59"/>
                    <a:pt x="78" y="60"/>
                    <a:pt x="77" y="60"/>
                  </a:cubicBezTo>
                  <a:cubicBezTo>
                    <a:pt x="64" y="57"/>
                    <a:pt x="52" y="58"/>
                    <a:pt x="42" y="62"/>
                  </a:cubicBezTo>
                  <a:cubicBezTo>
                    <a:pt x="41" y="63"/>
                    <a:pt x="39" y="62"/>
                    <a:pt x="39" y="61"/>
                  </a:cubicBezTo>
                  <a:cubicBezTo>
                    <a:pt x="38" y="59"/>
                    <a:pt x="39" y="58"/>
                    <a:pt x="40" y="57"/>
                  </a:cubicBezTo>
                  <a:cubicBezTo>
                    <a:pt x="41" y="57"/>
                    <a:pt x="43" y="56"/>
                    <a:pt x="44" y="56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4" y="41"/>
                    <a:pt x="44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3" y="38"/>
                    <a:pt x="42" y="38"/>
                  </a:cubicBezTo>
                  <a:cubicBezTo>
                    <a:pt x="42" y="38"/>
                    <a:pt x="41" y="37"/>
                    <a:pt x="40" y="37"/>
                  </a:cubicBezTo>
                  <a:moveTo>
                    <a:pt x="63" y="110"/>
                  </a:moveTo>
                  <a:cubicBezTo>
                    <a:pt x="59" y="110"/>
                    <a:pt x="54" y="109"/>
                    <a:pt x="50" y="108"/>
                  </a:cubicBezTo>
                  <a:cubicBezTo>
                    <a:pt x="39" y="105"/>
                    <a:pt x="32" y="98"/>
                    <a:pt x="31" y="90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39"/>
                    <a:pt x="32" y="35"/>
                    <a:pt x="35" y="34"/>
                  </a:cubicBezTo>
                  <a:cubicBezTo>
                    <a:pt x="38" y="32"/>
                    <a:pt x="41" y="32"/>
                    <a:pt x="44" y="33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6"/>
                    <a:pt x="48" y="23"/>
                    <a:pt x="53" y="23"/>
                  </a:cubicBezTo>
                  <a:cubicBezTo>
                    <a:pt x="54" y="23"/>
                    <a:pt x="56" y="23"/>
                    <a:pt x="57" y="24"/>
                  </a:cubicBezTo>
                  <a:cubicBezTo>
                    <a:pt x="58" y="19"/>
                    <a:pt x="62" y="16"/>
                    <a:pt x="66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0" y="16"/>
                    <a:pt x="75" y="19"/>
                    <a:pt x="75" y="24"/>
                  </a:cubicBezTo>
                  <a:cubicBezTo>
                    <a:pt x="77" y="23"/>
                    <a:pt x="78" y="23"/>
                    <a:pt x="80" y="23"/>
                  </a:cubicBezTo>
                  <a:cubicBezTo>
                    <a:pt x="84" y="23"/>
                    <a:pt x="89" y="27"/>
                    <a:pt x="89" y="32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4" y="63"/>
                    <a:pt x="98" y="61"/>
                    <a:pt x="105" y="61"/>
                  </a:cubicBezTo>
                  <a:cubicBezTo>
                    <a:pt x="105" y="61"/>
                    <a:pt x="106" y="61"/>
                    <a:pt x="106" y="62"/>
                  </a:cubicBezTo>
                  <a:cubicBezTo>
                    <a:pt x="108" y="63"/>
                    <a:pt x="110" y="65"/>
                    <a:pt x="110" y="67"/>
                  </a:cubicBezTo>
                  <a:cubicBezTo>
                    <a:pt x="111" y="70"/>
                    <a:pt x="111" y="72"/>
                    <a:pt x="109" y="74"/>
                  </a:cubicBezTo>
                  <a:cubicBezTo>
                    <a:pt x="89" y="99"/>
                    <a:pt x="89" y="99"/>
                    <a:pt x="89" y="99"/>
                  </a:cubicBezTo>
                  <a:cubicBezTo>
                    <a:pt x="84" y="107"/>
                    <a:pt x="74" y="110"/>
                    <a:pt x="63" y="110"/>
                  </a:cubicBezTo>
                  <a:moveTo>
                    <a:pt x="39" y="121"/>
                  </a:moveTo>
                  <a:cubicBezTo>
                    <a:pt x="86" y="121"/>
                    <a:pt x="86" y="121"/>
                    <a:pt x="86" y="121"/>
                  </a:cubicBezTo>
                  <a:cubicBezTo>
                    <a:pt x="121" y="87"/>
                    <a:pt x="121" y="87"/>
                    <a:pt x="121" y="87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86"/>
                    <a:pt x="5" y="86"/>
                    <a:pt x="5" y="86"/>
                  </a:cubicBezTo>
                  <a:lnTo>
                    <a:pt x="39" y="121"/>
                  </a:lnTo>
                  <a:close/>
                  <a:moveTo>
                    <a:pt x="87" y="126"/>
                  </a:moveTo>
                  <a:cubicBezTo>
                    <a:pt x="87" y="126"/>
                    <a:pt x="87" y="126"/>
                    <a:pt x="8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6" y="125"/>
                    <a:pt x="36" y="125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0" y="89"/>
                    <a:pt x="0" y="88"/>
                    <a:pt x="0" y="8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6"/>
                    <a:pt x="1" y="36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0"/>
                    <a:pt x="38" y="0"/>
                    <a:pt x="3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90" y="1"/>
                    <a:pt x="90" y="1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8"/>
                    <a:pt x="126" y="39"/>
                  </a:cubicBezTo>
                  <a:cubicBezTo>
                    <a:pt x="126" y="89"/>
                    <a:pt x="126" y="89"/>
                    <a:pt x="126" y="89"/>
                  </a:cubicBezTo>
                  <a:cubicBezTo>
                    <a:pt x="126" y="89"/>
                    <a:pt x="125" y="90"/>
                    <a:pt x="125" y="90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6"/>
                    <a:pt x="88" y="126"/>
                    <a:pt x="87" y="12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6" name="Group 130">
            <a:extLst>
              <a:ext uri="{FF2B5EF4-FFF2-40B4-BE49-F238E27FC236}">
                <a16:creationId xmlns:a16="http://schemas.microsoft.com/office/drawing/2014/main" id="{F039F0E4-BC82-4F70-B90F-0121D935EB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3338" y="2808288"/>
            <a:ext cx="841375" cy="841375"/>
            <a:chOff x="1621" y="1769"/>
            <a:chExt cx="530" cy="530"/>
          </a:xfrm>
        </p:grpSpPr>
        <p:sp>
          <p:nvSpPr>
            <p:cNvPr id="167" name="AutoShape 129">
              <a:extLst>
                <a:ext uri="{FF2B5EF4-FFF2-40B4-BE49-F238E27FC236}">
                  <a16:creationId xmlns:a16="http://schemas.microsoft.com/office/drawing/2014/main" id="{9E507EAA-DD46-42DB-B92E-C223BA2FBC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1" y="17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131">
              <a:extLst>
                <a:ext uri="{FF2B5EF4-FFF2-40B4-BE49-F238E27FC236}">
                  <a16:creationId xmlns:a16="http://schemas.microsoft.com/office/drawing/2014/main" id="{CF5B4BCF-2BEC-4E2C-8AB5-33F350AA9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1" y="17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2">
              <a:extLst>
                <a:ext uri="{FF2B5EF4-FFF2-40B4-BE49-F238E27FC236}">
                  <a16:creationId xmlns:a16="http://schemas.microsoft.com/office/drawing/2014/main" id="{74B5D6FD-FD87-4CB0-8050-D525043C59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9" y="17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33">
              <a:extLst>
                <a:ext uri="{FF2B5EF4-FFF2-40B4-BE49-F238E27FC236}">
                  <a16:creationId xmlns:a16="http://schemas.microsoft.com/office/drawing/2014/main" id="{ED31A7AA-DE74-4345-82AE-460271F9EC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8" y="1897"/>
              <a:ext cx="338" cy="297"/>
            </a:xfrm>
            <a:custGeom>
              <a:avLst/>
              <a:gdLst>
                <a:gd name="T0" fmla="*/ 34 w 132"/>
                <a:gd name="T1" fmla="*/ 109 h 116"/>
                <a:gd name="T2" fmla="*/ 34 w 132"/>
                <a:gd name="T3" fmla="*/ 102 h 116"/>
                <a:gd name="T4" fmla="*/ 31 w 132"/>
                <a:gd name="T5" fmla="*/ 106 h 116"/>
                <a:gd name="T6" fmla="*/ 30 w 132"/>
                <a:gd name="T7" fmla="*/ 110 h 116"/>
                <a:gd name="T8" fmla="*/ 35 w 132"/>
                <a:gd name="T9" fmla="*/ 98 h 116"/>
                <a:gd name="T10" fmla="*/ 33 w 132"/>
                <a:gd name="T11" fmla="*/ 86 h 116"/>
                <a:gd name="T12" fmla="*/ 31 w 132"/>
                <a:gd name="T13" fmla="*/ 98 h 116"/>
                <a:gd name="T14" fmla="*/ 31 w 132"/>
                <a:gd name="T15" fmla="*/ 112 h 116"/>
                <a:gd name="T16" fmla="*/ 37 w 132"/>
                <a:gd name="T17" fmla="*/ 85 h 116"/>
                <a:gd name="T18" fmla="*/ 36 w 132"/>
                <a:gd name="T19" fmla="*/ 81 h 116"/>
                <a:gd name="T20" fmla="*/ 64 w 132"/>
                <a:gd name="T21" fmla="*/ 67 h 116"/>
                <a:gd name="T22" fmla="*/ 57 w 132"/>
                <a:gd name="T23" fmla="*/ 56 h 116"/>
                <a:gd name="T24" fmla="*/ 34 w 132"/>
                <a:gd name="T25" fmla="*/ 63 h 116"/>
                <a:gd name="T26" fmla="*/ 33 w 132"/>
                <a:gd name="T27" fmla="*/ 81 h 116"/>
                <a:gd name="T28" fmla="*/ 29 w 132"/>
                <a:gd name="T29" fmla="*/ 64 h 116"/>
                <a:gd name="T30" fmla="*/ 32 w 132"/>
                <a:gd name="T31" fmla="*/ 15 h 116"/>
                <a:gd name="T32" fmla="*/ 53 w 132"/>
                <a:gd name="T33" fmla="*/ 48 h 116"/>
                <a:gd name="T34" fmla="*/ 34 w 132"/>
                <a:gd name="T35" fmla="*/ 10 h 116"/>
                <a:gd name="T36" fmla="*/ 15 w 132"/>
                <a:gd name="T37" fmla="*/ 39 h 116"/>
                <a:gd name="T38" fmla="*/ 2 w 132"/>
                <a:gd name="T39" fmla="*/ 68 h 116"/>
                <a:gd name="T40" fmla="*/ 24 w 132"/>
                <a:gd name="T41" fmla="*/ 81 h 116"/>
                <a:gd name="T42" fmla="*/ 31 w 132"/>
                <a:gd name="T43" fmla="*/ 116 h 116"/>
                <a:gd name="T44" fmla="*/ 41 w 132"/>
                <a:gd name="T45" fmla="*/ 83 h 116"/>
                <a:gd name="T46" fmla="*/ 127 w 132"/>
                <a:gd name="T47" fmla="*/ 24 h 116"/>
                <a:gd name="T48" fmla="*/ 82 w 132"/>
                <a:gd name="T49" fmla="*/ 24 h 116"/>
                <a:gd name="T50" fmla="*/ 82 w 132"/>
                <a:gd name="T51" fmla="*/ 78 h 116"/>
                <a:gd name="T52" fmla="*/ 130 w 132"/>
                <a:gd name="T53" fmla="*/ 42 h 116"/>
                <a:gd name="T54" fmla="*/ 132 w 132"/>
                <a:gd name="T55" fmla="*/ 23 h 116"/>
                <a:gd name="T56" fmla="*/ 129 w 132"/>
                <a:gd name="T57" fmla="*/ 19 h 116"/>
                <a:gd name="T58" fmla="*/ 107 w 132"/>
                <a:gd name="T59" fmla="*/ 19 h 116"/>
                <a:gd name="T60" fmla="*/ 104 w 132"/>
                <a:gd name="T61" fmla="*/ 0 h 116"/>
                <a:gd name="T62" fmla="*/ 30 w 132"/>
                <a:gd name="T63" fmla="*/ 4 h 116"/>
                <a:gd name="T64" fmla="*/ 51 w 132"/>
                <a:gd name="T65" fmla="*/ 15 h 116"/>
                <a:gd name="T66" fmla="*/ 103 w 132"/>
                <a:gd name="T67" fmla="*/ 4 h 116"/>
                <a:gd name="T68" fmla="*/ 51 w 132"/>
                <a:gd name="T69" fmla="*/ 20 h 116"/>
                <a:gd name="T70" fmla="*/ 77 w 132"/>
                <a:gd name="T71" fmla="*/ 24 h 116"/>
                <a:gd name="T72" fmla="*/ 58 w 132"/>
                <a:gd name="T73" fmla="*/ 40 h 116"/>
                <a:gd name="T74" fmla="*/ 103 w 132"/>
                <a:gd name="T75" fmla="*/ 59 h 116"/>
                <a:gd name="T76" fmla="*/ 69 w 132"/>
                <a:gd name="T77" fmla="*/ 63 h 116"/>
                <a:gd name="T78" fmla="*/ 48 w 132"/>
                <a:gd name="T79" fmla="*/ 78 h 116"/>
                <a:gd name="T80" fmla="*/ 130 w 132"/>
                <a:gd name="T81" fmla="*/ 81 h 116"/>
                <a:gd name="T82" fmla="*/ 132 w 132"/>
                <a:gd name="T83" fmla="*/ 62 h 116"/>
                <a:gd name="T84" fmla="*/ 129 w 132"/>
                <a:gd name="T85" fmla="*/ 59 h 116"/>
                <a:gd name="T86" fmla="*/ 130 w 132"/>
                <a:gd name="T87" fmla="*/ 4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2" h="116">
                  <a:moveTo>
                    <a:pt x="30" y="110"/>
                  </a:moveTo>
                  <a:cubicBezTo>
                    <a:pt x="31" y="110"/>
                    <a:pt x="31" y="110"/>
                    <a:pt x="31" y="110"/>
                  </a:cubicBezTo>
                  <a:cubicBezTo>
                    <a:pt x="32" y="110"/>
                    <a:pt x="33" y="110"/>
                    <a:pt x="34" y="109"/>
                  </a:cubicBezTo>
                  <a:cubicBezTo>
                    <a:pt x="35" y="108"/>
                    <a:pt x="35" y="106"/>
                    <a:pt x="36" y="104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6" y="103"/>
                    <a:pt x="35" y="102"/>
                    <a:pt x="34" y="102"/>
                  </a:cubicBezTo>
                  <a:cubicBezTo>
                    <a:pt x="33" y="102"/>
                    <a:pt x="32" y="103"/>
                    <a:pt x="31" y="10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1" y="105"/>
                    <a:pt x="31" y="105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5"/>
                    <a:pt x="29" y="106"/>
                    <a:pt x="29" y="107"/>
                  </a:cubicBezTo>
                  <a:cubicBezTo>
                    <a:pt x="28" y="108"/>
                    <a:pt x="29" y="110"/>
                    <a:pt x="30" y="110"/>
                  </a:cubicBezTo>
                  <a:moveTo>
                    <a:pt x="31" y="98"/>
                  </a:moveTo>
                  <a:cubicBezTo>
                    <a:pt x="31" y="99"/>
                    <a:pt x="32" y="100"/>
                    <a:pt x="33" y="100"/>
                  </a:cubicBezTo>
                  <a:cubicBezTo>
                    <a:pt x="34" y="100"/>
                    <a:pt x="35" y="99"/>
                    <a:pt x="35" y="98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7"/>
                    <a:pt x="34" y="86"/>
                    <a:pt x="33" y="86"/>
                  </a:cubicBezTo>
                  <a:cubicBezTo>
                    <a:pt x="32" y="86"/>
                    <a:pt x="31" y="87"/>
                    <a:pt x="31" y="88"/>
                  </a:cubicBezTo>
                  <a:cubicBezTo>
                    <a:pt x="31" y="94"/>
                    <a:pt x="31" y="94"/>
                    <a:pt x="31" y="94"/>
                  </a:cubicBezTo>
                  <a:lnTo>
                    <a:pt x="31" y="98"/>
                  </a:lnTo>
                  <a:close/>
                  <a:moveTo>
                    <a:pt x="37" y="106"/>
                  </a:moveTo>
                  <a:cubicBezTo>
                    <a:pt x="37" y="109"/>
                    <a:pt x="35" y="112"/>
                    <a:pt x="33" y="112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29" y="112"/>
                    <a:pt x="26" y="109"/>
                    <a:pt x="26" y="106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37" y="85"/>
                    <a:pt x="37" y="85"/>
                    <a:pt x="37" y="85"/>
                  </a:cubicBezTo>
                  <a:lnTo>
                    <a:pt x="37" y="106"/>
                  </a:lnTo>
                  <a:close/>
                  <a:moveTo>
                    <a:pt x="39" y="81"/>
                  </a:moveTo>
                  <a:cubicBezTo>
                    <a:pt x="36" y="81"/>
                    <a:pt x="36" y="81"/>
                    <a:pt x="36" y="81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3" y="67"/>
                    <a:pt x="64" y="67"/>
                  </a:cubicBezTo>
                  <a:cubicBezTo>
                    <a:pt x="64" y="66"/>
                    <a:pt x="64" y="65"/>
                    <a:pt x="64" y="64"/>
                  </a:cubicBezTo>
                  <a:cubicBezTo>
                    <a:pt x="64" y="64"/>
                    <a:pt x="62" y="62"/>
                    <a:pt x="60" y="57"/>
                  </a:cubicBezTo>
                  <a:cubicBezTo>
                    <a:pt x="59" y="56"/>
                    <a:pt x="58" y="55"/>
                    <a:pt x="57" y="56"/>
                  </a:cubicBezTo>
                  <a:cubicBezTo>
                    <a:pt x="56" y="56"/>
                    <a:pt x="56" y="58"/>
                    <a:pt x="56" y="59"/>
                  </a:cubicBezTo>
                  <a:cubicBezTo>
                    <a:pt x="57" y="60"/>
                    <a:pt x="58" y="62"/>
                    <a:pt x="58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0" y="64"/>
                    <a:pt x="29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59"/>
                    <a:pt x="13" y="51"/>
                    <a:pt x="18" y="40"/>
                  </a:cubicBezTo>
                  <a:cubicBezTo>
                    <a:pt x="26" y="26"/>
                    <a:pt x="30" y="19"/>
                    <a:pt x="32" y="15"/>
                  </a:cubicBezTo>
                  <a:cubicBezTo>
                    <a:pt x="34" y="19"/>
                    <a:pt x="39" y="28"/>
                    <a:pt x="46" y="41"/>
                  </a:cubicBezTo>
                  <a:cubicBezTo>
                    <a:pt x="48" y="43"/>
                    <a:pt x="49" y="45"/>
                    <a:pt x="50" y="48"/>
                  </a:cubicBezTo>
                  <a:cubicBezTo>
                    <a:pt x="51" y="49"/>
                    <a:pt x="52" y="49"/>
                    <a:pt x="53" y="48"/>
                  </a:cubicBezTo>
                  <a:cubicBezTo>
                    <a:pt x="54" y="48"/>
                    <a:pt x="54" y="47"/>
                    <a:pt x="54" y="46"/>
                  </a:cubicBezTo>
                  <a:cubicBezTo>
                    <a:pt x="53" y="43"/>
                    <a:pt x="51" y="41"/>
                    <a:pt x="50" y="39"/>
                  </a:cubicBezTo>
                  <a:cubicBezTo>
                    <a:pt x="39" y="20"/>
                    <a:pt x="34" y="10"/>
                    <a:pt x="34" y="10"/>
                  </a:cubicBezTo>
                  <a:cubicBezTo>
                    <a:pt x="33" y="10"/>
                    <a:pt x="33" y="9"/>
                    <a:pt x="32" y="9"/>
                  </a:cubicBezTo>
                  <a:cubicBezTo>
                    <a:pt x="32" y="9"/>
                    <a:pt x="31" y="10"/>
                    <a:pt x="30" y="10"/>
                  </a:cubicBezTo>
                  <a:cubicBezTo>
                    <a:pt x="29" y="11"/>
                    <a:pt x="20" y="28"/>
                    <a:pt x="15" y="39"/>
                  </a:cubicBezTo>
                  <a:cubicBezTo>
                    <a:pt x="7" y="54"/>
                    <a:pt x="0" y="64"/>
                    <a:pt x="0" y="65"/>
                  </a:cubicBezTo>
                  <a:cubicBezTo>
                    <a:pt x="0" y="65"/>
                    <a:pt x="0" y="66"/>
                    <a:pt x="0" y="67"/>
                  </a:cubicBezTo>
                  <a:cubicBezTo>
                    <a:pt x="1" y="67"/>
                    <a:pt x="1" y="68"/>
                    <a:pt x="2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2" y="81"/>
                    <a:pt x="21" y="82"/>
                    <a:pt x="21" y="83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1" y="111"/>
                    <a:pt x="26" y="116"/>
                    <a:pt x="31" y="116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7" y="116"/>
                    <a:pt x="41" y="111"/>
                    <a:pt x="41" y="10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2"/>
                    <a:pt x="40" y="81"/>
                    <a:pt x="39" y="81"/>
                  </a:cubicBezTo>
                  <a:moveTo>
                    <a:pt x="82" y="24"/>
                  </a:moveTo>
                  <a:cubicBezTo>
                    <a:pt x="127" y="24"/>
                    <a:pt x="127" y="24"/>
                    <a:pt x="127" y="24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82" y="37"/>
                    <a:pt x="82" y="37"/>
                    <a:pt x="82" y="37"/>
                  </a:cubicBezTo>
                  <a:lnTo>
                    <a:pt x="82" y="24"/>
                  </a:lnTo>
                  <a:close/>
                  <a:moveTo>
                    <a:pt x="127" y="63"/>
                  </a:moveTo>
                  <a:cubicBezTo>
                    <a:pt x="127" y="78"/>
                    <a:pt x="127" y="78"/>
                    <a:pt x="127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63"/>
                    <a:pt x="82" y="63"/>
                    <a:pt x="82" y="63"/>
                  </a:cubicBezTo>
                  <a:lnTo>
                    <a:pt x="127" y="63"/>
                  </a:lnTo>
                  <a:close/>
                  <a:moveTo>
                    <a:pt x="130" y="42"/>
                  </a:moveTo>
                  <a:cubicBezTo>
                    <a:pt x="131" y="42"/>
                    <a:pt x="132" y="41"/>
                    <a:pt x="132" y="40"/>
                  </a:cubicBezTo>
                  <a:cubicBezTo>
                    <a:pt x="132" y="39"/>
                    <a:pt x="132" y="39"/>
                    <a:pt x="132" y="38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2"/>
                    <a:pt x="132" y="22"/>
                    <a:pt x="132" y="21"/>
                  </a:cubicBezTo>
                  <a:cubicBezTo>
                    <a:pt x="132" y="21"/>
                    <a:pt x="131" y="20"/>
                    <a:pt x="131" y="20"/>
                  </a:cubicBezTo>
                  <a:cubicBezTo>
                    <a:pt x="131" y="19"/>
                    <a:pt x="130" y="19"/>
                    <a:pt x="129" y="19"/>
                  </a:cubicBezTo>
                  <a:cubicBezTo>
                    <a:pt x="129" y="19"/>
                    <a:pt x="128" y="19"/>
                    <a:pt x="128" y="2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1"/>
                    <a:pt x="106" y="0"/>
                    <a:pt x="10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8" y="1"/>
                    <a:pt x="28" y="2"/>
                  </a:cubicBezTo>
                  <a:cubicBezTo>
                    <a:pt x="28" y="3"/>
                    <a:pt x="29" y="4"/>
                    <a:pt x="3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4"/>
                    <a:pt x="50" y="15"/>
                    <a:pt x="51" y="15"/>
                  </a:cubicBezTo>
                  <a:cubicBezTo>
                    <a:pt x="52" y="15"/>
                    <a:pt x="53" y="14"/>
                    <a:pt x="53" y="13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49" y="20"/>
                    <a:pt x="49" y="22"/>
                  </a:cubicBezTo>
                  <a:cubicBezTo>
                    <a:pt x="49" y="23"/>
                    <a:pt x="50" y="24"/>
                    <a:pt x="51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8" y="39"/>
                    <a:pt x="58" y="40"/>
                  </a:cubicBezTo>
                  <a:cubicBezTo>
                    <a:pt x="58" y="41"/>
                    <a:pt x="59" y="42"/>
                    <a:pt x="60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8" y="59"/>
                    <a:pt x="67" y="60"/>
                    <a:pt x="67" y="61"/>
                  </a:cubicBezTo>
                  <a:cubicBezTo>
                    <a:pt x="67" y="62"/>
                    <a:pt x="68" y="63"/>
                    <a:pt x="69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7" y="78"/>
                    <a:pt x="46" y="78"/>
                    <a:pt x="46" y="80"/>
                  </a:cubicBezTo>
                  <a:cubicBezTo>
                    <a:pt x="46" y="81"/>
                    <a:pt x="47" y="81"/>
                    <a:pt x="48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1" y="81"/>
                    <a:pt x="132" y="80"/>
                    <a:pt x="132" y="79"/>
                  </a:cubicBezTo>
                  <a:cubicBezTo>
                    <a:pt x="132" y="79"/>
                    <a:pt x="132" y="78"/>
                    <a:pt x="132" y="78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2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31" y="61"/>
                  </a:cubicBezTo>
                  <a:cubicBezTo>
                    <a:pt x="131" y="60"/>
                    <a:pt x="130" y="59"/>
                    <a:pt x="129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42"/>
                    <a:pt x="107" y="42"/>
                    <a:pt x="107" y="42"/>
                  </a:cubicBezTo>
                  <a:lnTo>
                    <a:pt x="130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36">
            <a:extLst>
              <a:ext uri="{FF2B5EF4-FFF2-40B4-BE49-F238E27FC236}">
                <a16:creationId xmlns:a16="http://schemas.microsoft.com/office/drawing/2014/main" id="{FF0442F7-0B77-4F0D-A4F8-408D978438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0613" y="2849563"/>
            <a:ext cx="758825" cy="758825"/>
            <a:chOff x="2287" y="1795"/>
            <a:chExt cx="478" cy="478"/>
          </a:xfrm>
        </p:grpSpPr>
        <p:sp>
          <p:nvSpPr>
            <p:cNvPr id="172" name="AutoShape 135">
              <a:extLst>
                <a:ext uri="{FF2B5EF4-FFF2-40B4-BE49-F238E27FC236}">
                  <a16:creationId xmlns:a16="http://schemas.microsoft.com/office/drawing/2014/main" id="{6A0E194C-E8F0-43F4-B13D-A7BA212476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7" y="17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37">
              <a:extLst>
                <a:ext uri="{FF2B5EF4-FFF2-40B4-BE49-F238E27FC236}">
                  <a16:creationId xmlns:a16="http://schemas.microsoft.com/office/drawing/2014/main" id="{64A4516D-04C5-4D03-AF7C-6CABAFD46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" y="17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38">
              <a:extLst>
                <a:ext uri="{FF2B5EF4-FFF2-40B4-BE49-F238E27FC236}">
                  <a16:creationId xmlns:a16="http://schemas.microsoft.com/office/drawing/2014/main" id="{214F0BCB-B9B0-405B-9BCC-8AD56F8A2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" y="1903"/>
              <a:ext cx="324" cy="284"/>
            </a:xfrm>
            <a:custGeom>
              <a:avLst/>
              <a:gdLst>
                <a:gd name="T0" fmla="*/ 34 w 132"/>
                <a:gd name="T1" fmla="*/ 109 h 116"/>
                <a:gd name="T2" fmla="*/ 34 w 132"/>
                <a:gd name="T3" fmla="*/ 102 h 116"/>
                <a:gd name="T4" fmla="*/ 31 w 132"/>
                <a:gd name="T5" fmla="*/ 106 h 116"/>
                <a:gd name="T6" fmla="*/ 30 w 132"/>
                <a:gd name="T7" fmla="*/ 110 h 116"/>
                <a:gd name="T8" fmla="*/ 35 w 132"/>
                <a:gd name="T9" fmla="*/ 98 h 116"/>
                <a:gd name="T10" fmla="*/ 33 w 132"/>
                <a:gd name="T11" fmla="*/ 86 h 116"/>
                <a:gd name="T12" fmla="*/ 31 w 132"/>
                <a:gd name="T13" fmla="*/ 98 h 116"/>
                <a:gd name="T14" fmla="*/ 31 w 132"/>
                <a:gd name="T15" fmla="*/ 112 h 116"/>
                <a:gd name="T16" fmla="*/ 37 w 132"/>
                <a:gd name="T17" fmla="*/ 85 h 116"/>
                <a:gd name="T18" fmla="*/ 36 w 132"/>
                <a:gd name="T19" fmla="*/ 81 h 116"/>
                <a:gd name="T20" fmla="*/ 64 w 132"/>
                <a:gd name="T21" fmla="*/ 67 h 116"/>
                <a:gd name="T22" fmla="*/ 57 w 132"/>
                <a:gd name="T23" fmla="*/ 56 h 116"/>
                <a:gd name="T24" fmla="*/ 34 w 132"/>
                <a:gd name="T25" fmla="*/ 63 h 116"/>
                <a:gd name="T26" fmla="*/ 33 w 132"/>
                <a:gd name="T27" fmla="*/ 81 h 116"/>
                <a:gd name="T28" fmla="*/ 29 w 132"/>
                <a:gd name="T29" fmla="*/ 64 h 116"/>
                <a:gd name="T30" fmla="*/ 32 w 132"/>
                <a:gd name="T31" fmla="*/ 15 h 116"/>
                <a:gd name="T32" fmla="*/ 53 w 132"/>
                <a:gd name="T33" fmla="*/ 48 h 116"/>
                <a:gd name="T34" fmla="*/ 34 w 132"/>
                <a:gd name="T35" fmla="*/ 10 h 116"/>
                <a:gd name="T36" fmla="*/ 15 w 132"/>
                <a:gd name="T37" fmla="*/ 39 h 116"/>
                <a:gd name="T38" fmla="*/ 2 w 132"/>
                <a:gd name="T39" fmla="*/ 68 h 116"/>
                <a:gd name="T40" fmla="*/ 24 w 132"/>
                <a:gd name="T41" fmla="*/ 81 h 116"/>
                <a:gd name="T42" fmla="*/ 31 w 132"/>
                <a:gd name="T43" fmla="*/ 116 h 116"/>
                <a:gd name="T44" fmla="*/ 41 w 132"/>
                <a:gd name="T45" fmla="*/ 83 h 116"/>
                <a:gd name="T46" fmla="*/ 127 w 132"/>
                <a:gd name="T47" fmla="*/ 24 h 116"/>
                <a:gd name="T48" fmla="*/ 82 w 132"/>
                <a:gd name="T49" fmla="*/ 24 h 116"/>
                <a:gd name="T50" fmla="*/ 82 w 132"/>
                <a:gd name="T51" fmla="*/ 78 h 116"/>
                <a:gd name="T52" fmla="*/ 130 w 132"/>
                <a:gd name="T53" fmla="*/ 42 h 116"/>
                <a:gd name="T54" fmla="*/ 132 w 132"/>
                <a:gd name="T55" fmla="*/ 23 h 116"/>
                <a:gd name="T56" fmla="*/ 129 w 132"/>
                <a:gd name="T57" fmla="*/ 19 h 116"/>
                <a:gd name="T58" fmla="*/ 107 w 132"/>
                <a:gd name="T59" fmla="*/ 19 h 116"/>
                <a:gd name="T60" fmla="*/ 104 w 132"/>
                <a:gd name="T61" fmla="*/ 0 h 116"/>
                <a:gd name="T62" fmla="*/ 30 w 132"/>
                <a:gd name="T63" fmla="*/ 4 h 116"/>
                <a:gd name="T64" fmla="*/ 51 w 132"/>
                <a:gd name="T65" fmla="*/ 15 h 116"/>
                <a:gd name="T66" fmla="*/ 103 w 132"/>
                <a:gd name="T67" fmla="*/ 4 h 116"/>
                <a:gd name="T68" fmla="*/ 51 w 132"/>
                <a:gd name="T69" fmla="*/ 20 h 116"/>
                <a:gd name="T70" fmla="*/ 77 w 132"/>
                <a:gd name="T71" fmla="*/ 24 h 116"/>
                <a:gd name="T72" fmla="*/ 58 w 132"/>
                <a:gd name="T73" fmla="*/ 40 h 116"/>
                <a:gd name="T74" fmla="*/ 103 w 132"/>
                <a:gd name="T75" fmla="*/ 59 h 116"/>
                <a:gd name="T76" fmla="*/ 69 w 132"/>
                <a:gd name="T77" fmla="*/ 63 h 116"/>
                <a:gd name="T78" fmla="*/ 48 w 132"/>
                <a:gd name="T79" fmla="*/ 78 h 116"/>
                <a:gd name="T80" fmla="*/ 130 w 132"/>
                <a:gd name="T81" fmla="*/ 81 h 116"/>
                <a:gd name="T82" fmla="*/ 132 w 132"/>
                <a:gd name="T83" fmla="*/ 62 h 116"/>
                <a:gd name="T84" fmla="*/ 129 w 132"/>
                <a:gd name="T85" fmla="*/ 59 h 116"/>
                <a:gd name="T86" fmla="*/ 130 w 132"/>
                <a:gd name="T87" fmla="*/ 4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2" h="116">
                  <a:moveTo>
                    <a:pt x="30" y="110"/>
                  </a:moveTo>
                  <a:cubicBezTo>
                    <a:pt x="31" y="110"/>
                    <a:pt x="31" y="110"/>
                    <a:pt x="31" y="110"/>
                  </a:cubicBezTo>
                  <a:cubicBezTo>
                    <a:pt x="32" y="110"/>
                    <a:pt x="33" y="110"/>
                    <a:pt x="34" y="109"/>
                  </a:cubicBezTo>
                  <a:cubicBezTo>
                    <a:pt x="35" y="108"/>
                    <a:pt x="35" y="106"/>
                    <a:pt x="36" y="104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6" y="103"/>
                    <a:pt x="35" y="102"/>
                    <a:pt x="34" y="102"/>
                  </a:cubicBezTo>
                  <a:cubicBezTo>
                    <a:pt x="33" y="102"/>
                    <a:pt x="32" y="103"/>
                    <a:pt x="31" y="10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1" y="105"/>
                    <a:pt x="31" y="105"/>
                    <a:pt x="31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30" y="105"/>
                    <a:pt x="29" y="106"/>
                    <a:pt x="29" y="107"/>
                  </a:cubicBezTo>
                  <a:cubicBezTo>
                    <a:pt x="28" y="108"/>
                    <a:pt x="29" y="110"/>
                    <a:pt x="30" y="110"/>
                  </a:cubicBezTo>
                  <a:moveTo>
                    <a:pt x="31" y="98"/>
                  </a:moveTo>
                  <a:cubicBezTo>
                    <a:pt x="31" y="99"/>
                    <a:pt x="32" y="100"/>
                    <a:pt x="33" y="100"/>
                  </a:cubicBezTo>
                  <a:cubicBezTo>
                    <a:pt x="34" y="100"/>
                    <a:pt x="35" y="99"/>
                    <a:pt x="35" y="98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7"/>
                    <a:pt x="34" y="86"/>
                    <a:pt x="33" y="86"/>
                  </a:cubicBezTo>
                  <a:cubicBezTo>
                    <a:pt x="32" y="86"/>
                    <a:pt x="31" y="87"/>
                    <a:pt x="31" y="88"/>
                  </a:cubicBezTo>
                  <a:cubicBezTo>
                    <a:pt x="31" y="94"/>
                    <a:pt x="31" y="94"/>
                    <a:pt x="31" y="94"/>
                  </a:cubicBezTo>
                  <a:lnTo>
                    <a:pt x="31" y="98"/>
                  </a:lnTo>
                  <a:close/>
                  <a:moveTo>
                    <a:pt x="37" y="106"/>
                  </a:moveTo>
                  <a:cubicBezTo>
                    <a:pt x="37" y="109"/>
                    <a:pt x="35" y="112"/>
                    <a:pt x="33" y="112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29" y="112"/>
                    <a:pt x="26" y="109"/>
                    <a:pt x="26" y="106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37" y="85"/>
                    <a:pt x="37" y="85"/>
                    <a:pt x="37" y="85"/>
                  </a:cubicBezTo>
                  <a:lnTo>
                    <a:pt x="37" y="106"/>
                  </a:lnTo>
                  <a:close/>
                  <a:moveTo>
                    <a:pt x="39" y="81"/>
                  </a:moveTo>
                  <a:cubicBezTo>
                    <a:pt x="36" y="81"/>
                    <a:pt x="36" y="81"/>
                    <a:pt x="36" y="81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3" y="67"/>
                    <a:pt x="64" y="67"/>
                  </a:cubicBezTo>
                  <a:cubicBezTo>
                    <a:pt x="64" y="66"/>
                    <a:pt x="64" y="65"/>
                    <a:pt x="64" y="64"/>
                  </a:cubicBezTo>
                  <a:cubicBezTo>
                    <a:pt x="64" y="64"/>
                    <a:pt x="62" y="62"/>
                    <a:pt x="60" y="57"/>
                  </a:cubicBezTo>
                  <a:cubicBezTo>
                    <a:pt x="59" y="56"/>
                    <a:pt x="58" y="55"/>
                    <a:pt x="57" y="56"/>
                  </a:cubicBezTo>
                  <a:cubicBezTo>
                    <a:pt x="56" y="56"/>
                    <a:pt x="56" y="58"/>
                    <a:pt x="56" y="59"/>
                  </a:cubicBezTo>
                  <a:cubicBezTo>
                    <a:pt x="57" y="60"/>
                    <a:pt x="58" y="62"/>
                    <a:pt x="58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0" y="64"/>
                    <a:pt x="29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59"/>
                    <a:pt x="13" y="51"/>
                    <a:pt x="18" y="40"/>
                  </a:cubicBezTo>
                  <a:cubicBezTo>
                    <a:pt x="26" y="26"/>
                    <a:pt x="30" y="19"/>
                    <a:pt x="32" y="15"/>
                  </a:cubicBezTo>
                  <a:cubicBezTo>
                    <a:pt x="34" y="19"/>
                    <a:pt x="39" y="28"/>
                    <a:pt x="46" y="41"/>
                  </a:cubicBezTo>
                  <a:cubicBezTo>
                    <a:pt x="48" y="43"/>
                    <a:pt x="49" y="45"/>
                    <a:pt x="50" y="48"/>
                  </a:cubicBezTo>
                  <a:cubicBezTo>
                    <a:pt x="51" y="49"/>
                    <a:pt x="52" y="49"/>
                    <a:pt x="53" y="48"/>
                  </a:cubicBezTo>
                  <a:cubicBezTo>
                    <a:pt x="54" y="48"/>
                    <a:pt x="54" y="47"/>
                    <a:pt x="54" y="46"/>
                  </a:cubicBezTo>
                  <a:cubicBezTo>
                    <a:pt x="53" y="43"/>
                    <a:pt x="51" y="41"/>
                    <a:pt x="50" y="39"/>
                  </a:cubicBezTo>
                  <a:cubicBezTo>
                    <a:pt x="39" y="20"/>
                    <a:pt x="34" y="10"/>
                    <a:pt x="34" y="10"/>
                  </a:cubicBezTo>
                  <a:cubicBezTo>
                    <a:pt x="33" y="10"/>
                    <a:pt x="33" y="9"/>
                    <a:pt x="32" y="9"/>
                  </a:cubicBezTo>
                  <a:cubicBezTo>
                    <a:pt x="32" y="9"/>
                    <a:pt x="31" y="10"/>
                    <a:pt x="30" y="10"/>
                  </a:cubicBezTo>
                  <a:cubicBezTo>
                    <a:pt x="29" y="11"/>
                    <a:pt x="20" y="28"/>
                    <a:pt x="15" y="39"/>
                  </a:cubicBezTo>
                  <a:cubicBezTo>
                    <a:pt x="7" y="54"/>
                    <a:pt x="0" y="64"/>
                    <a:pt x="0" y="65"/>
                  </a:cubicBezTo>
                  <a:cubicBezTo>
                    <a:pt x="0" y="65"/>
                    <a:pt x="0" y="66"/>
                    <a:pt x="0" y="67"/>
                  </a:cubicBezTo>
                  <a:cubicBezTo>
                    <a:pt x="1" y="67"/>
                    <a:pt x="1" y="68"/>
                    <a:pt x="2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2" y="81"/>
                    <a:pt x="21" y="82"/>
                    <a:pt x="21" y="83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21" y="111"/>
                    <a:pt x="26" y="116"/>
                    <a:pt x="31" y="116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7" y="116"/>
                    <a:pt x="41" y="111"/>
                    <a:pt x="41" y="10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2"/>
                    <a:pt x="40" y="81"/>
                    <a:pt x="39" y="81"/>
                  </a:cubicBezTo>
                  <a:moveTo>
                    <a:pt x="82" y="24"/>
                  </a:moveTo>
                  <a:cubicBezTo>
                    <a:pt x="127" y="24"/>
                    <a:pt x="127" y="24"/>
                    <a:pt x="127" y="24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82" y="37"/>
                    <a:pt x="82" y="37"/>
                    <a:pt x="82" y="37"/>
                  </a:cubicBezTo>
                  <a:lnTo>
                    <a:pt x="82" y="24"/>
                  </a:lnTo>
                  <a:close/>
                  <a:moveTo>
                    <a:pt x="127" y="63"/>
                  </a:moveTo>
                  <a:cubicBezTo>
                    <a:pt x="127" y="78"/>
                    <a:pt x="127" y="78"/>
                    <a:pt x="127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63"/>
                    <a:pt x="82" y="63"/>
                    <a:pt x="82" y="63"/>
                  </a:cubicBezTo>
                  <a:lnTo>
                    <a:pt x="127" y="63"/>
                  </a:lnTo>
                  <a:close/>
                  <a:moveTo>
                    <a:pt x="130" y="42"/>
                  </a:moveTo>
                  <a:cubicBezTo>
                    <a:pt x="131" y="42"/>
                    <a:pt x="132" y="41"/>
                    <a:pt x="132" y="40"/>
                  </a:cubicBezTo>
                  <a:cubicBezTo>
                    <a:pt x="132" y="39"/>
                    <a:pt x="132" y="39"/>
                    <a:pt x="132" y="38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2"/>
                    <a:pt x="132" y="22"/>
                    <a:pt x="132" y="21"/>
                  </a:cubicBezTo>
                  <a:cubicBezTo>
                    <a:pt x="132" y="21"/>
                    <a:pt x="131" y="20"/>
                    <a:pt x="131" y="20"/>
                  </a:cubicBezTo>
                  <a:cubicBezTo>
                    <a:pt x="131" y="19"/>
                    <a:pt x="130" y="19"/>
                    <a:pt x="129" y="19"/>
                  </a:cubicBezTo>
                  <a:cubicBezTo>
                    <a:pt x="129" y="19"/>
                    <a:pt x="128" y="19"/>
                    <a:pt x="128" y="20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1"/>
                    <a:pt x="106" y="0"/>
                    <a:pt x="10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0"/>
                    <a:pt x="28" y="1"/>
                    <a:pt x="28" y="2"/>
                  </a:cubicBezTo>
                  <a:cubicBezTo>
                    <a:pt x="28" y="3"/>
                    <a:pt x="29" y="4"/>
                    <a:pt x="3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4"/>
                    <a:pt x="50" y="15"/>
                    <a:pt x="51" y="15"/>
                  </a:cubicBezTo>
                  <a:cubicBezTo>
                    <a:pt x="52" y="15"/>
                    <a:pt x="53" y="14"/>
                    <a:pt x="53" y="13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0" y="20"/>
                    <a:pt x="49" y="20"/>
                    <a:pt x="49" y="22"/>
                  </a:cubicBezTo>
                  <a:cubicBezTo>
                    <a:pt x="49" y="23"/>
                    <a:pt x="50" y="24"/>
                    <a:pt x="51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8" y="39"/>
                    <a:pt x="58" y="40"/>
                  </a:cubicBezTo>
                  <a:cubicBezTo>
                    <a:pt x="58" y="41"/>
                    <a:pt x="59" y="42"/>
                    <a:pt x="60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8" y="59"/>
                    <a:pt x="67" y="60"/>
                    <a:pt x="67" y="61"/>
                  </a:cubicBezTo>
                  <a:cubicBezTo>
                    <a:pt x="67" y="62"/>
                    <a:pt x="68" y="63"/>
                    <a:pt x="69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7" y="78"/>
                    <a:pt x="46" y="78"/>
                    <a:pt x="46" y="80"/>
                  </a:cubicBezTo>
                  <a:cubicBezTo>
                    <a:pt x="46" y="81"/>
                    <a:pt x="47" y="81"/>
                    <a:pt x="48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1" y="81"/>
                    <a:pt x="132" y="80"/>
                    <a:pt x="132" y="79"/>
                  </a:cubicBezTo>
                  <a:cubicBezTo>
                    <a:pt x="132" y="79"/>
                    <a:pt x="132" y="78"/>
                    <a:pt x="132" y="78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2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31" y="61"/>
                  </a:cubicBezTo>
                  <a:cubicBezTo>
                    <a:pt x="131" y="60"/>
                    <a:pt x="130" y="59"/>
                    <a:pt x="129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42"/>
                    <a:pt x="107" y="42"/>
                    <a:pt x="107" y="42"/>
                  </a:cubicBezTo>
                  <a:lnTo>
                    <a:pt x="130" y="4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5" name="Group 141">
            <a:extLst>
              <a:ext uri="{FF2B5EF4-FFF2-40B4-BE49-F238E27FC236}">
                <a16:creationId xmlns:a16="http://schemas.microsoft.com/office/drawing/2014/main" id="{126787B9-3789-492A-B379-E1622E0CD4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6625" y="2808288"/>
            <a:ext cx="841375" cy="841375"/>
            <a:chOff x="2990" y="1769"/>
            <a:chExt cx="530" cy="530"/>
          </a:xfrm>
        </p:grpSpPr>
        <p:sp>
          <p:nvSpPr>
            <p:cNvPr id="176" name="AutoShape 140">
              <a:extLst>
                <a:ext uri="{FF2B5EF4-FFF2-40B4-BE49-F238E27FC236}">
                  <a16:creationId xmlns:a16="http://schemas.microsoft.com/office/drawing/2014/main" id="{82A70173-9948-4E56-A4D2-CD264316BF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0" y="17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42">
              <a:extLst>
                <a:ext uri="{FF2B5EF4-FFF2-40B4-BE49-F238E27FC236}">
                  <a16:creationId xmlns:a16="http://schemas.microsoft.com/office/drawing/2014/main" id="{BA8F7EB9-367B-4457-A5D9-6F98780D1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7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43">
              <a:extLst>
                <a:ext uri="{FF2B5EF4-FFF2-40B4-BE49-F238E27FC236}">
                  <a16:creationId xmlns:a16="http://schemas.microsoft.com/office/drawing/2014/main" id="{A2BF7B3E-8016-479D-A8E9-A3AAFF0D9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" y="17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44">
              <a:extLst>
                <a:ext uri="{FF2B5EF4-FFF2-40B4-BE49-F238E27FC236}">
                  <a16:creationId xmlns:a16="http://schemas.microsoft.com/office/drawing/2014/main" id="{F8684FF5-0984-4696-AE55-95930AF5C7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5" y="1887"/>
              <a:ext cx="282" cy="297"/>
            </a:xfrm>
            <a:custGeom>
              <a:avLst/>
              <a:gdLst>
                <a:gd name="T0" fmla="*/ 37 w 110"/>
                <a:gd name="T1" fmla="*/ 116 h 116"/>
                <a:gd name="T2" fmla="*/ 41 w 110"/>
                <a:gd name="T3" fmla="*/ 88 h 116"/>
                <a:gd name="T4" fmla="*/ 5 w 110"/>
                <a:gd name="T5" fmla="*/ 114 h 116"/>
                <a:gd name="T6" fmla="*/ 0 w 110"/>
                <a:gd name="T7" fmla="*/ 113 h 116"/>
                <a:gd name="T8" fmla="*/ 26 w 110"/>
                <a:gd name="T9" fmla="*/ 1 h 116"/>
                <a:gd name="T10" fmla="*/ 34 w 110"/>
                <a:gd name="T11" fmla="*/ 3 h 116"/>
                <a:gd name="T12" fmla="*/ 28 w 110"/>
                <a:gd name="T13" fmla="*/ 5 h 116"/>
                <a:gd name="T14" fmla="*/ 37 w 110"/>
                <a:gd name="T15" fmla="*/ 28 h 116"/>
                <a:gd name="T16" fmla="*/ 37 w 110"/>
                <a:gd name="T17" fmla="*/ 33 h 116"/>
                <a:gd name="T18" fmla="*/ 17 w 110"/>
                <a:gd name="T19" fmla="*/ 55 h 116"/>
                <a:gd name="T20" fmla="*/ 46 w 110"/>
                <a:gd name="T21" fmla="*/ 58 h 116"/>
                <a:gd name="T22" fmla="*/ 16 w 110"/>
                <a:gd name="T23" fmla="*/ 60 h 116"/>
                <a:gd name="T24" fmla="*/ 42 w 110"/>
                <a:gd name="T25" fmla="*/ 83 h 116"/>
                <a:gd name="T26" fmla="*/ 47 w 110"/>
                <a:gd name="T27" fmla="*/ 70 h 116"/>
                <a:gd name="T28" fmla="*/ 47 w 110"/>
                <a:gd name="T29" fmla="*/ 83 h 116"/>
                <a:gd name="T30" fmla="*/ 51 w 110"/>
                <a:gd name="T31" fmla="*/ 85 h 116"/>
                <a:gd name="T32" fmla="*/ 46 w 110"/>
                <a:gd name="T33" fmla="*/ 88 h 116"/>
                <a:gd name="T34" fmla="*/ 37 w 110"/>
                <a:gd name="T35" fmla="*/ 116 h 116"/>
                <a:gd name="T36" fmla="*/ 84 w 110"/>
                <a:gd name="T37" fmla="*/ 27 h 116"/>
                <a:gd name="T38" fmla="*/ 46 w 110"/>
                <a:gd name="T39" fmla="*/ 5 h 116"/>
                <a:gd name="T40" fmla="*/ 58 w 110"/>
                <a:gd name="T41" fmla="*/ 55 h 116"/>
                <a:gd name="T42" fmla="*/ 85 w 110"/>
                <a:gd name="T43" fmla="*/ 32 h 116"/>
                <a:gd name="T44" fmla="*/ 58 w 110"/>
                <a:gd name="T45" fmla="*/ 55 h 116"/>
                <a:gd name="T46" fmla="*/ 97 w 110"/>
                <a:gd name="T47" fmla="*/ 82 h 116"/>
                <a:gd name="T48" fmla="*/ 59 w 110"/>
                <a:gd name="T49" fmla="*/ 59 h 116"/>
                <a:gd name="T50" fmla="*/ 69 w 110"/>
                <a:gd name="T51" fmla="*/ 116 h 116"/>
                <a:gd name="T52" fmla="*/ 60 w 110"/>
                <a:gd name="T53" fmla="*/ 85 h 116"/>
                <a:gd name="T54" fmla="*/ 41 w 110"/>
                <a:gd name="T55" fmla="*/ 3 h 116"/>
                <a:gd name="T56" fmla="*/ 43 w 110"/>
                <a:gd name="T57" fmla="*/ 0 h 116"/>
                <a:gd name="T58" fmla="*/ 90 w 110"/>
                <a:gd name="T59" fmla="*/ 2 h 116"/>
                <a:gd name="T60" fmla="*/ 83 w 110"/>
                <a:gd name="T61" fmla="*/ 5 h 116"/>
                <a:gd name="T62" fmla="*/ 93 w 110"/>
                <a:gd name="T63" fmla="*/ 27 h 116"/>
                <a:gd name="T64" fmla="*/ 93 w 110"/>
                <a:gd name="T65" fmla="*/ 32 h 116"/>
                <a:gd name="T66" fmla="*/ 95 w 110"/>
                <a:gd name="T67" fmla="*/ 55 h 116"/>
                <a:gd name="T68" fmla="*/ 101 w 110"/>
                <a:gd name="T69" fmla="*/ 57 h 116"/>
                <a:gd name="T70" fmla="*/ 97 w 110"/>
                <a:gd name="T71" fmla="*/ 59 h 116"/>
                <a:gd name="T72" fmla="*/ 104 w 110"/>
                <a:gd name="T73" fmla="*/ 82 h 116"/>
                <a:gd name="T74" fmla="*/ 104 w 110"/>
                <a:gd name="T75" fmla="*/ 87 h 116"/>
                <a:gd name="T76" fmla="*/ 110 w 110"/>
                <a:gd name="T77" fmla="*/ 112 h 116"/>
                <a:gd name="T78" fmla="*/ 105 w 110"/>
                <a:gd name="T79" fmla="*/ 113 h 116"/>
                <a:gd name="T80" fmla="*/ 65 w 110"/>
                <a:gd name="T81" fmla="*/ 87 h 116"/>
                <a:gd name="T82" fmla="*/ 70 w 110"/>
                <a:gd name="T8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0" h="116">
                  <a:moveTo>
                    <a:pt x="37" y="116"/>
                  </a:moveTo>
                  <a:cubicBezTo>
                    <a:pt x="37" y="116"/>
                    <a:pt x="37" y="116"/>
                    <a:pt x="37" y="116"/>
                  </a:cubicBezTo>
                  <a:cubicBezTo>
                    <a:pt x="35" y="116"/>
                    <a:pt x="35" y="114"/>
                    <a:pt x="35" y="113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5" y="115"/>
                    <a:pt x="3" y="116"/>
                    <a:pt x="2" y="116"/>
                  </a:cubicBezTo>
                  <a:cubicBezTo>
                    <a:pt x="1" y="116"/>
                    <a:pt x="0" y="114"/>
                    <a:pt x="0" y="11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2"/>
                    <a:pt x="25" y="1"/>
                    <a:pt x="26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3" y="1"/>
                    <a:pt x="34" y="2"/>
                    <a:pt x="34" y="3"/>
                  </a:cubicBezTo>
                  <a:cubicBezTo>
                    <a:pt x="34" y="4"/>
                    <a:pt x="33" y="5"/>
                    <a:pt x="31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9" y="28"/>
                    <a:pt x="40" y="29"/>
                    <a:pt x="40" y="30"/>
                  </a:cubicBezTo>
                  <a:cubicBezTo>
                    <a:pt x="40" y="32"/>
                    <a:pt x="39" y="33"/>
                    <a:pt x="37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5"/>
                    <a:pt x="46" y="57"/>
                    <a:pt x="46" y="58"/>
                  </a:cubicBezTo>
                  <a:cubicBezTo>
                    <a:pt x="46" y="59"/>
                    <a:pt x="45" y="60"/>
                    <a:pt x="44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1"/>
                    <a:pt x="46" y="70"/>
                    <a:pt x="47" y="70"/>
                  </a:cubicBezTo>
                  <a:cubicBezTo>
                    <a:pt x="49" y="71"/>
                    <a:pt x="49" y="72"/>
                    <a:pt x="49" y="7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50" y="83"/>
                    <a:pt x="51" y="84"/>
                    <a:pt x="51" y="85"/>
                  </a:cubicBezTo>
                  <a:cubicBezTo>
                    <a:pt x="51" y="87"/>
                    <a:pt x="50" y="88"/>
                    <a:pt x="49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7" y="116"/>
                  </a:cubicBezTo>
                  <a:moveTo>
                    <a:pt x="52" y="27"/>
                  </a:moveTo>
                  <a:cubicBezTo>
                    <a:pt x="84" y="27"/>
                    <a:pt x="84" y="27"/>
                    <a:pt x="84" y="27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46" y="5"/>
                    <a:pt x="46" y="5"/>
                    <a:pt x="46" y="5"/>
                  </a:cubicBezTo>
                  <a:lnTo>
                    <a:pt x="52" y="27"/>
                  </a:lnTo>
                  <a:close/>
                  <a:moveTo>
                    <a:pt x="58" y="55"/>
                  </a:moveTo>
                  <a:cubicBezTo>
                    <a:pt x="91" y="55"/>
                    <a:pt x="91" y="55"/>
                    <a:pt x="91" y="55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53" y="32"/>
                    <a:pt x="53" y="32"/>
                    <a:pt x="53" y="32"/>
                  </a:cubicBezTo>
                  <a:lnTo>
                    <a:pt x="58" y="55"/>
                  </a:lnTo>
                  <a:close/>
                  <a:moveTo>
                    <a:pt x="64" y="82"/>
                  </a:moveTo>
                  <a:cubicBezTo>
                    <a:pt x="97" y="82"/>
                    <a:pt x="97" y="82"/>
                    <a:pt x="97" y="82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4" y="82"/>
                  </a:lnTo>
                  <a:close/>
                  <a:moveTo>
                    <a:pt x="69" y="116"/>
                  </a:moveTo>
                  <a:cubicBezTo>
                    <a:pt x="68" y="116"/>
                    <a:pt x="67" y="115"/>
                    <a:pt x="67" y="114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1" y="1"/>
                    <a:pt x="42" y="1"/>
                  </a:cubicBezTo>
                  <a:cubicBezTo>
                    <a:pt x="42" y="0"/>
                    <a:pt x="43" y="0"/>
                    <a:pt x="4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2"/>
                  </a:cubicBezTo>
                  <a:cubicBezTo>
                    <a:pt x="90" y="4"/>
                    <a:pt x="89" y="5"/>
                    <a:pt x="87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4" y="27"/>
                    <a:pt x="95" y="28"/>
                    <a:pt x="95" y="30"/>
                  </a:cubicBezTo>
                  <a:cubicBezTo>
                    <a:pt x="95" y="31"/>
                    <a:pt x="94" y="32"/>
                    <a:pt x="93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1" y="56"/>
                    <a:pt x="101" y="57"/>
                  </a:cubicBezTo>
                  <a:cubicBezTo>
                    <a:pt x="101" y="58"/>
                    <a:pt x="100" y="59"/>
                    <a:pt x="99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6" y="82"/>
                    <a:pt x="107" y="83"/>
                    <a:pt x="107" y="84"/>
                  </a:cubicBezTo>
                  <a:cubicBezTo>
                    <a:pt x="107" y="86"/>
                    <a:pt x="106" y="87"/>
                    <a:pt x="104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113"/>
                    <a:pt x="109" y="115"/>
                    <a:pt x="108" y="115"/>
                  </a:cubicBezTo>
                  <a:cubicBezTo>
                    <a:pt x="107" y="115"/>
                    <a:pt x="105" y="114"/>
                    <a:pt x="105" y="113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72" y="113"/>
                    <a:pt x="72" y="113"/>
                    <a:pt x="72" y="113"/>
                  </a:cubicBezTo>
                  <a:cubicBezTo>
                    <a:pt x="72" y="114"/>
                    <a:pt x="71" y="116"/>
                    <a:pt x="70" y="116"/>
                  </a:cubicBezTo>
                  <a:cubicBezTo>
                    <a:pt x="70" y="116"/>
                    <a:pt x="70" y="116"/>
                    <a:pt x="69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47">
            <a:extLst>
              <a:ext uri="{FF2B5EF4-FFF2-40B4-BE49-F238E27FC236}">
                <a16:creationId xmlns:a16="http://schemas.microsoft.com/office/drawing/2014/main" id="{8F40A5CC-BF3B-4FF0-8918-B6386E45CF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0725" y="2849563"/>
            <a:ext cx="758825" cy="758825"/>
            <a:chOff x="3654" y="1795"/>
            <a:chExt cx="478" cy="478"/>
          </a:xfrm>
        </p:grpSpPr>
        <p:sp>
          <p:nvSpPr>
            <p:cNvPr id="181" name="AutoShape 146">
              <a:extLst>
                <a:ext uri="{FF2B5EF4-FFF2-40B4-BE49-F238E27FC236}">
                  <a16:creationId xmlns:a16="http://schemas.microsoft.com/office/drawing/2014/main" id="{DC387A05-1F50-445C-90EC-1CD62EA696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4" y="17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48">
              <a:extLst>
                <a:ext uri="{FF2B5EF4-FFF2-40B4-BE49-F238E27FC236}">
                  <a16:creationId xmlns:a16="http://schemas.microsoft.com/office/drawing/2014/main" id="{00E3A906-8878-4133-A7E4-9DCF49E89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17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49">
              <a:extLst>
                <a:ext uri="{FF2B5EF4-FFF2-40B4-BE49-F238E27FC236}">
                  <a16:creationId xmlns:a16="http://schemas.microsoft.com/office/drawing/2014/main" id="{31E4141A-7B8B-42EC-AB8A-232217530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1893"/>
              <a:ext cx="270" cy="284"/>
            </a:xfrm>
            <a:custGeom>
              <a:avLst/>
              <a:gdLst>
                <a:gd name="T0" fmla="*/ 37 w 110"/>
                <a:gd name="T1" fmla="*/ 116 h 116"/>
                <a:gd name="T2" fmla="*/ 41 w 110"/>
                <a:gd name="T3" fmla="*/ 88 h 116"/>
                <a:gd name="T4" fmla="*/ 5 w 110"/>
                <a:gd name="T5" fmla="*/ 114 h 116"/>
                <a:gd name="T6" fmla="*/ 0 w 110"/>
                <a:gd name="T7" fmla="*/ 113 h 116"/>
                <a:gd name="T8" fmla="*/ 26 w 110"/>
                <a:gd name="T9" fmla="*/ 1 h 116"/>
                <a:gd name="T10" fmla="*/ 34 w 110"/>
                <a:gd name="T11" fmla="*/ 3 h 116"/>
                <a:gd name="T12" fmla="*/ 28 w 110"/>
                <a:gd name="T13" fmla="*/ 5 h 116"/>
                <a:gd name="T14" fmla="*/ 37 w 110"/>
                <a:gd name="T15" fmla="*/ 28 h 116"/>
                <a:gd name="T16" fmla="*/ 37 w 110"/>
                <a:gd name="T17" fmla="*/ 33 h 116"/>
                <a:gd name="T18" fmla="*/ 17 w 110"/>
                <a:gd name="T19" fmla="*/ 55 h 116"/>
                <a:gd name="T20" fmla="*/ 46 w 110"/>
                <a:gd name="T21" fmla="*/ 58 h 116"/>
                <a:gd name="T22" fmla="*/ 16 w 110"/>
                <a:gd name="T23" fmla="*/ 60 h 116"/>
                <a:gd name="T24" fmla="*/ 42 w 110"/>
                <a:gd name="T25" fmla="*/ 83 h 116"/>
                <a:gd name="T26" fmla="*/ 47 w 110"/>
                <a:gd name="T27" fmla="*/ 70 h 116"/>
                <a:gd name="T28" fmla="*/ 47 w 110"/>
                <a:gd name="T29" fmla="*/ 83 h 116"/>
                <a:gd name="T30" fmla="*/ 51 w 110"/>
                <a:gd name="T31" fmla="*/ 85 h 116"/>
                <a:gd name="T32" fmla="*/ 46 w 110"/>
                <a:gd name="T33" fmla="*/ 88 h 116"/>
                <a:gd name="T34" fmla="*/ 37 w 110"/>
                <a:gd name="T35" fmla="*/ 116 h 116"/>
                <a:gd name="T36" fmla="*/ 84 w 110"/>
                <a:gd name="T37" fmla="*/ 27 h 116"/>
                <a:gd name="T38" fmla="*/ 46 w 110"/>
                <a:gd name="T39" fmla="*/ 5 h 116"/>
                <a:gd name="T40" fmla="*/ 58 w 110"/>
                <a:gd name="T41" fmla="*/ 55 h 116"/>
                <a:gd name="T42" fmla="*/ 85 w 110"/>
                <a:gd name="T43" fmla="*/ 32 h 116"/>
                <a:gd name="T44" fmla="*/ 58 w 110"/>
                <a:gd name="T45" fmla="*/ 55 h 116"/>
                <a:gd name="T46" fmla="*/ 97 w 110"/>
                <a:gd name="T47" fmla="*/ 82 h 116"/>
                <a:gd name="T48" fmla="*/ 59 w 110"/>
                <a:gd name="T49" fmla="*/ 59 h 116"/>
                <a:gd name="T50" fmla="*/ 69 w 110"/>
                <a:gd name="T51" fmla="*/ 116 h 116"/>
                <a:gd name="T52" fmla="*/ 60 w 110"/>
                <a:gd name="T53" fmla="*/ 85 h 116"/>
                <a:gd name="T54" fmla="*/ 41 w 110"/>
                <a:gd name="T55" fmla="*/ 3 h 116"/>
                <a:gd name="T56" fmla="*/ 43 w 110"/>
                <a:gd name="T57" fmla="*/ 0 h 116"/>
                <a:gd name="T58" fmla="*/ 90 w 110"/>
                <a:gd name="T59" fmla="*/ 2 h 116"/>
                <a:gd name="T60" fmla="*/ 83 w 110"/>
                <a:gd name="T61" fmla="*/ 5 h 116"/>
                <a:gd name="T62" fmla="*/ 93 w 110"/>
                <a:gd name="T63" fmla="*/ 27 h 116"/>
                <a:gd name="T64" fmla="*/ 93 w 110"/>
                <a:gd name="T65" fmla="*/ 32 h 116"/>
                <a:gd name="T66" fmla="*/ 95 w 110"/>
                <a:gd name="T67" fmla="*/ 55 h 116"/>
                <a:gd name="T68" fmla="*/ 101 w 110"/>
                <a:gd name="T69" fmla="*/ 57 h 116"/>
                <a:gd name="T70" fmla="*/ 97 w 110"/>
                <a:gd name="T71" fmla="*/ 59 h 116"/>
                <a:gd name="T72" fmla="*/ 104 w 110"/>
                <a:gd name="T73" fmla="*/ 82 h 116"/>
                <a:gd name="T74" fmla="*/ 104 w 110"/>
                <a:gd name="T75" fmla="*/ 87 h 116"/>
                <a:gd name="T76" fmla="*/ 110 w 110"/>
                <a:gd name="T77" fmla="*/ 112 h 116"/>
                <a:gd name="T78" fmla="*/ 105 w 110"/>
                <a:gd name="T79" fmla="*/ 113 h 116"/>
                <a:gd name="T80" fmla="*/ 65 w 110"/>
                <a:gd name="T81" fmla="*/ 87 h 116"/>
                <a:gd name="T82" fmla="*/ 70 w 110"/>
                <a:gd name="T8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0" h="116">
                  <a:moveTo>
                    <a:pt x="37" y="116"/>
                  </a:moveTo>
                  <a:cubicBezTo>
                    <a:pt x="37" y="116"/>
                    <a:pt x="37" y="116"/>
                    <a:pt x="37" y="116"/>
                  </a:cubicBezTo>
                  <a:cubicBezTo>
                    <a:pt x="35" y="116"/>
                    <a:pt x="35" y="114"/>
                    <a:pt x="35" y="113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5" y="115"/>
                    <a:pt x="3" y="116"/>
                    <a:pt x="2" y="116"/>
                  </a:cubicBezTo>
                  <a:cubicBezTo>
                    <a:pt x="1" y="116"/>
                    <a:pt x="0" y="114"/>
                    <a:pt x="0" y="11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2"/>
                    <a:pt x="25" y="1"/>
                    <a:pt x="26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3" y="1"/>
                    <a:pt x="34" y="2"/>
                    <a:pt x="34" y="3"/>
                  </a:cubicBezTo>
                  <a:cubicBezTo>
                    <a:pt x="34" y="4"/>
                    <a:pt x="33" y="5"/>
                    <a:pt x="31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9" y="28"/>
                    <a:pt x="40" y="29"/>
                    <a:pt x="40" y="30"/>
                  </a:cubicBezTo>
                  <a:cubicBezTo>
                    <a:pt x="40" y="32"/>
                    <a:pt x="39" y="33"/>
                    <a:pt x="37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5"/>
                    <a:pt x="46" y="57"/>
                    <a:pt x="46" y="58"/>
                  </a:cubicBezTo>
                  <a:cubicBezTo>
                    <a:pt x="46" y="59"/>
                    <a:pt x="45" y="60"/>
                    <a:pt x="44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1"/>
                    <a:pt x="46" y="70"/>
                    <a:pt x="47" y="70"/>
                  </a:cubicBezTo>
                  <a:cubicBezTo>
                    <a:pt x="49" y="71"/>
                    <a:pt x="49" y="72"/>
                    <a:pt x="49" y="7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50" y="83"/>
                    <a:pt x="51" y="84"/>
                    <a:pt x="51" y="85"/>
                  </a:cubicBezTo>
                  <a:cubicBezTo>
                    <a:pt x="51" y="87"/>
                    <a:pt x="50" y="88"/>
                    <a:pt x="49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7" y="116"/>
                  </a:cubicBezTo>
                  <a:moveTo>
                    <a:pt x="52" y="27"/>
                  </a:moveTo>
                  <a:cubicBezTo>
                    <a:pt x="84" y="27"/>
                    <a:pt x="84" y="27"/>
                    <a:pt x="84" y="27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46" y="5"/>
                    <a:pt x="46" y="5"/>
                    <a:pt x="46" y="5"/>
                  </a:cubicBezTo>
                  <a:lnTo>
                    <a:pt x="52" y="27"/>
                  </a:lnTo>
                  <a:close/>
                  <a:moveTo>
                    <a:pt x="58" y="55"/>
                  </a:moveTo>
                  <a:cubicBezTo>
                    <a:pt x="91" y="55"/>
                    <a:pt x="91" y="55"/>
                    <a:pt x="91" y="55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53" y="32"/>
                    <a:pt x="53" y="32"/>
                    <a:pt x="53" y="32"/>
                  </a:cubicBezTo>
                  <a:lnTo>
                    <a:pt x="58" y="55"/>
                  </a:lnTo>
                  <a:close/>
                  <a:moveTo>
                    <a:pt x="64" y="82"/>
                  </a:moveTo>
                  <a:cubicBezTo>
                    <a:pt x="97" y="82"/>
                    <a:pt x="97" y="82"/>
                    <a:pt x="97" y="82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4" y="82"/>
                  </a:lnTo>
                  <a:close/>
                  <a:moveTo>
                    <a:pt x="69" y="116"/>
                  </a:moveTo>
                  <a:cubicBezTo>
                    <a:pt x="68" y="116"/>
                    <a:pt x="67" y="115"/>
                    <a:pt x="67" y="114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1" y="1"/>
                    <a:pt x="42" y="1"/>
                  </a:cubicBezTo>
                  <a:cubicBezTo>
                    <a:pt x="42" y="0"/>
                    <a:pt x="43" y="0"/>
                    <a:pt x="4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2"/>
                  </a:cubicBezTo>
                  <a:cubicBezTo>
                    <a:pt x="90" y="4"/>
                    <a:pt x="89" y="5"/>
                    <a:pt x="87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4" y="27"/>
                    <a:pt x="95" y="28"/>
                    <a:pt x="95" y="30"/>
                  </a:cubicBezTo>
                  <a:cubicBezTo>
                    <a:pt x="95" y="31"/>
                    <a:pt x="94" y="32"/>
                    <a:pt x="93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1" y="56"/>
                    <a:pt x="101" y="57"/>
                  </a:cubicBezTo>
                  <a:cubicBezTo>
                    <a:pt x="101" y="58"/>
                    <a:pt x="100" y="59"/>
                    <a:pt x="99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6" y="82"/>
                    <a:pt x="107" y="83"/>
                    <a:pt x="107" y="84"/>
                  </a:cubicBezTo>
                  <a:cubicBezTo>
                    <a:pt x="107" y="86"/>
                    <a:pt x="106" y="87"/>
                    <a:pt x="104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113"/>
                    <a:pt x="109" y="115"/>
                    <a:pt x="108" y="115"/>
                  </a:cubicBezTo>
                  <a:cubicBezTo>
                    <a:pt x="107" y="115"/>
                    <a:pt x="105" y="114"/>
                    <a:pt x="105" y="113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72" y="113"/>
                    <a:pt x="72" y="113"/>
                    <a:pt x="72" y="113"/>
                  </a:cubicBezTo>
                  <a:cubicBezTo>
                    <a:pt x="72" y="114"/>
                    <a:pt x="71" y="116"/>
                    <a:pt x="70" y="116"/>
                  </a:cubicBezTo>
                  <a:cubicBezTo>
                    <a:pt x="70" y="116"/>
                    <a:pt x="70" y="116"/>
                    <a:pt x="69" y="1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4" name="Group 152">
            <a:extLst>
              <a:ext uri="{FF2B5EF4-FFF2-40B4-BE49-F238E27FC236}">
                <a16:creationId xmlns:a16="http://schemas.microsoft.com/office/drawing/2014/main" id="{E274F7DF-67C2-4129-9783-33B81B5F53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48488" y="2808288"/>
            <a:ext cx="841375" cy="841375"/>
            <a:chOff x="4377" y="1769"/>
            <a:chExt cx="530" cy="530"/>
          </a:xfrm>
        </p:grpSpPr>
        <p:sp>
          <p:nvSpPr>
            <p:cNvPr id="185" name="AutoShape 151">
              <a:extLst>
                <a:ext uri="{FF2B5EF4-FFF2-40B4-BE49-F238E27FC236}">
                  <a16:creationId xmlns:a16="http://schemas.microsoft.com/office/drawing/2014/main" id="{6687A8BE-0E56-49FB-A42E-5F115DDE83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7" y="17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153">
              <a:extLst>
                <a:ext uri="{FF2B5EF4-FFF2-40B4-BE49-F238E27FC236}">
                  <a16:creationId xmlns:a16="http://schemas.microsoft.com/office/drawing/2014/main" id="{3373C1EC-1917-4700-8785-982CB017F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" y="17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154">
              <a:extLst>
                <a:ext uri="{FF2B5EF4-FFF2-40B4-BE49-F238E27FC236}">
                  <a16:creationId xmlns:a16="http://schemas.microsoft.com/office/drawing/2014/main" id="{82BF337A-131A-42DA-A23D-D33360847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5" y="17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55">
              <a:extLst>
                <a:ext uri="{FF2B5EF4-FFF2-40B4-BE49-F238E27FC236}">
                  <a16:creationId xmlns:a16="http://schemas.microsoft.com/office/drawing/2014/main" id="{B04F536E-FCE2-422F-9D55-C51C3F06F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3" y="1882"/>
              <a:ext cx="281" cy="286"/>
            </a:xfrm>
            <a:custGeom>
              <a:avLst/>
              <a:gdLst>
                <a:gd name="T0" fmla="*/ 20 w 110"/>
                <a:gd name="T1" fmla="*/ 96 h 112"/>
                <a:gd name="T2" fmla="*/ 19 w 110"/>
                <a:gd name="T3" fmla="*/ 89 h 112"/>
                <a:gd name="T4" fmla="*/ 23 w 110"/>
                <a:gd name="T5" fmla="*/ 94 h 112"/>
                <a:gd name="T6" fmla="*/ 12 w 110"/>
                <a:gd name="T7" fmla="*/ 95 h 112"/>
                <a:gd name="T8" fmla="*/ 22 w 110"/>
                <a:gd name="T9" fmla="*/ 100 h 112"/>
                <a:gd name="T10" fmla="*/ 25 w 110"/>
                <a:gd name="T11" fmla="*/ 86 h 112"/>
                <a:gd name="T12" fmla="*/ 105 w 110"/>
                <a:gd name="T13" fmla="*/ 102 h 112"/>
                <a:gd name="T14" fmla="*/ 11 w 110"/>
                <a:gd name="T15" fmla="*/ 108 h 112"/>
                <a:gd name="T16" fmla="*/ 5 w 110"/>
                <a:gd name="T17" fmla="*/ 83 h 112"/>
                <a:gd name="T18" fmla="*/ 99 w 110"/>
                <a:gd name="T19" fmla="*/ 77 h 112"/>
                <a:gd name="T20" fmla="*/ 105 w 110"/>
                <a:gd name="T21" fmla="*/ 102 h 112"/>
                <a:gd name="T22" fmla="*/ 15 w 110"/>
                <a:gd name="T23" fmla="*/ 4 h 112"/>
                <a:gd name="T24" fmla="*/ 29 w 110"/>
                <a:gd name="T25" fmla="*/ 6 h 112"/>
                <a:gd name="T26" fmla="*/ 6 w 110"/>
                <a:gd name="T27" fmla="*/ 73 h 112"/>
                <a:gd name="T28" fmla="*/ 5 w 110"/>
                <a:gd name="T29" fmla="*/ 74 h 112"/>
                <a:gd name="T30" fmla="*/ 34 w 110"/>
                <a:gd name="T31" fmla="*/ 8 h 112"/>
                <a:gd name="T32" fmla="*/ 43 w 110"/>
                <a:gd name="T33" fmla="*/ 7 h 112"/>
                <a:gd name="T34" fmla="*/ 56 w 110"/>
                <a:gd name="T35" fmla="*/ 13 h 112"/>
                <a:gd name="T36" fmla="*/ 11 w 110"/>
                <a:gd name="T37" fmla="*/ 73 h 112"/>
                <a:gd name="T38" fmla="*/ 29 w 110"/>
                <a:gd name="T39" fmla="*/ 14 h 112"/>
                <a:gd name="T40" fmla="*/ 59 w 110"/>
                <a:gd name="T41" fmla="*/ 17 h 112"/>
                <a:gd name="T42" fmla="*/ 68 w 110"/>
                <a:gd name="T43" fmla="*/ 19 h 112"/>
                <a:gd name="T44" fmla="*/ 78 w 110"/>
                <a:gd name="T45" fmla="*/ 29 h 112"/>
                <a:gd name="T46" fmla="*/ 18 w 110"/>
                <a:gd name="T47" fmla="*/ 72 h 112"/>
                <a:gd name="T48" fmla="*/ 59 w 110"/>
                <a:gd name="T49" fmla="*/ 17 h 112"/>
                <a:gd name="T50" fmla="*/ 88 w 110"/>
                <a:gd name="T51" fmla="*/ 38 h 112"/>
                <a:gd name="T52" fmla="*/ 95 w 110"/>
                <a:gd name="T53" fmla="*/ 51 h 112"/>
                <a:gd name="T54" fmla="*/ 25 w 110"/>
                <a:gd name="T55" fmla="*/ 72 h 112"/>
                <a:gd name="T56" fmla="*/ 80 w 110"/>
                <a:gd name="T57" fmla="*/ 34 h 112"/>
                <a:gd name="T58" fmla="*/ 96 w 110"/>
                <a:gd name="T59" fmla="*/ 56 h 112"/>
                <a:gd name="T60" fmla="*/ 105 w 110"/>
                <a:gd name="T61" fmla="*/ 71 h 112"/>
                <a:gd name="T62" fmla="*/ 99 w 110"/>
                <a:gd name="T63" fmla="*/ 73 h 112"/>
                <a:gd name="T64" fmla="*/ 89 w 110"/>
                <a:gd name="T65" fmla="*/ 56 h 112"/>
                <a:gd name="T66" fmla="*/ 96 w 110"/>
                <a:gd name="T67" fmla="*/ 56 h 112"/>
                <a:gd name="T68" fmla="*/ 109 w 110"/>
                <a:gd name="T69" fmla="*/ 70 h 112"/>
                <a:gd name="T70" fmla="*/ 100 w 110"/>
                <a:gd name="T71" fmla="*/ 53 h 112"/>
                <a:gd name="T72" fmla="*/ 92 w 110"/>
                <a:gd name="T73" fmla="*/ 35 h 112"/>
                <a:gd name="T74" fmla="*/ 77 w 110"/>
                <a:gd name="T75" fmla="*/ 20 h 112"/>
                <a:gd name="T76" fmla="*/ 60 w 110"/>
                <a:gd name="T77" fmla="*/ 12 h 112"/>
                <a:gd name="T78" fmla="*/ 44 w 110"/>
                <a:gd name="T79" fmla="*/ 3 h 112"/>
                <a:gd name="T80" fmla="*/ 24 w 110"/>
                <a:gd name="T81" fmla="*/ 0 h 112"/>
                <a:gd name="T82" fmla="*/ 0 w 110"/>
                <a:gd name="T83" fmla="*/ 15 h 112"/>
                <a:gd name="T84" fmla="*/ 11 w 110"/>
                <a:gd name="T85" fmla="*/ 112 h 112"/>
                <a:gd name="T86" fmla="*/ 110 w 110"/>
                <a:gd name="T87" fmla="*/ 102 h 112"/>
                <a:gd name="T88" fmla="*/ 109 w 110"/>
                <a:gd name="T89" fmla="*/ 7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0" h="112">
                  <a:moveTo>
                    <a:pt x="23" y="94"/>
                  </a:moveTo>
                  <a:cubicBezTo>
                    <a:pt x="22" y="95"/>
                    <a:pt x="22" y="96"/>
                    <a:pt x="20" y="96"/>
                  </a:cubicBezTo>
                  <a:cubicBezTo>
                    <a:pt x="18" y="96"/>
                    <a:pt x="17" y="95"/>
                    <a:pt x="16" y="93"/>
                  </a:cubicBezTo>
                  <a:cubicBezTo>
                    <a:pt x="16" y="93"/>
                    <a:pt x="16" y="90"/>
                    <a:pt x="19" y="89"/>
                  </a:cubicBezTo>
                  <a:cubicBezTo>
                    <a:pt x="20" y="89"/>
                    <a:pt x="21" y="89"/>
                    <a:pt x="22" y="90"/>
                  </a:cubicBezTo>
                  <a:cubicBezTo>
                    <a:pt x="23" y="91"/>
                    <a:pt x="23" y="92"/>
                    <a:pt x="23" y="94"/>
                  </a:cubicBezTo>
                  <a:moveTo>
                    <a:pt x="18" y="85"/>
                  </a:moveTo>
                  <a:cubicBezTo>
                    <a:pt x="12" y="86"/>
                    <a:pt x="11" y="91"/>
                    <a:pt x="12" y="95"/>
                  </a:cubicBezTo>
                  <a:cubicBezTo>
                    <a:pt x="13" y="98"/>
                    <a:pt x="16" y="101"/>
                    <a:pt x="19" y="101"/>
                  </a:cubicBezTo>
                  <a:cubicBezTo>
                    <a:pt x="20" y="101"/>
                    <a:pt x="21" y="101"/>
                    <a:pt x="22" y="100"/>
                  </a:cubicBezTo>
                  <a:cubicBezTo>
                    <a:pt x="24" y="100"/>
                    <a:pt x="26" y="98"/>
                    <a:pt x="27" y="95"/>
                  </a:cubicBezTo>
                  <a:cubicBezTo>
                    <a:pt x="28" y="92"/>
                    <a:pt x="27" y="89"/>
                    <a:pt x="25" y="86"/>
                  </a:cubicBezTo>
                  <a:cubicBezTo>
                    <a:pt x="23" y="85"/>
                    <a:pt x="20" y="84"/>
                    <a:pt x="18" y="85"/>
                  </a:cubicBezTo>
                  <a:moveTo>
                    <a:pt x="105" y="102"/>
                  </a:moveTo>
                  <a:cubicBezTo>
                    <a:pt x="105" y="105"/>
                    <a:pt x="103" y="108"/>
                    <a:pt x="99" y="108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7" y="108"/>
                    <a:pt x="5" y="105"/>
                    <a:pt x="5" y="10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0"/>
                    <a:pt x="7" y="77"/>
                    <a:pt x="11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3" y="77"/>
                    <a:pt x="105" y="80"/>
                    <a:pt x="105" y="83"/>
                  </a:cubicBezTo>
                  <a:lnTo>
                    <a:pt x="105" y="102"/>
                  </a:lnTo>
                  <a:close/>
                  <a:moveTo>
                    <a:pt x="5" y="15"/>
                  </a:moveTo>
                  <a:cubicBezTo>
                    <a:pt x="5" y="9"/>
                    <a:pt x="10" y="4"/>
                    <a:pt x="1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6" y="4"/>
                    <a:pt x="28" y="5"/>
                    <a:pt x="29" y="6"/>
                  </a:cubicBezTo>
                  <a:cubicBezTo>
                    <a:pt x="27" y="8"/>
                    <a:pt x="26" y="10"/>
                    <a:pt x="25" y="1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6" y="74"/>
                    <a:pt x="5" y="74"/>
                    <a:pt x="5" y="74"/>
                  </a:cubicBezTo>
                  <a:lnTo>
                    <a:pt x="5" y="15"/>
                  </a:lnTo>
                  <a:close/>
                  <a:moveTo>
                    <a:pt x="34" y="8"/>
                  </a:moveTo>
                  <a:cubicBezTo>
                    <a:pt x="34" y="8"/>
                    <a:pt x="34" y="8"/>
                    <a:pt x="35" y="8"/>
                  </a:cubicBezTo>
                  <a:cubicBezTo>
                    <a:pt x="37" y="7"/>
                    <a:pt x="40" y="6"/>
                    <a:pt x="43" y="7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3" y="11"/>
                    <a:pt x="54" y="12"/>
                    <a:pt x="56" y="13"/>
                  </a:cubicBezTo>
                  <a:cubicBezTo>
                    <a:pt x="53" y="14"/>
                    <a:pt x="51" y="16"/>
                    <a:pt x="49" y="19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2"/>
                    <a:pt x="32" y="10"/>
                    <a:pt x="34" y="8"/>
                  </a:cubicBezTo>
                  <a:moveTo>
                    <a:pt x="59" y="1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2" y="17"/>
                    <a:pt x="65" y="17"/>
                    <a:pt x="68" y="19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7" y="26"/>
                    <a:pt x="78" y="27"/>
                    <a:pt x="78" y="29"/>
                  </a:cubicBezTo>
                  <a:cubicBezTo>
                    <a:pt x="76" y="29"/>
                    <a:pt x="73" y="30"/>
                    <a:pt x="71" y="3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5" y="19"/>
                    <a:pt x="57" y="18"/>
                    <a:pt x="59" y="17"/>
                  </a:cubicBezTo>
                  <a:moveTo>
                    <a:pt x="81" y="34"/>
                  </a:moveTo>
                  <a:cubicBezTo>
                    <a:pt x="84" y="34"/>
                    <a:pt x="87" y="36"/>
                    <a:pt x="88" y="38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4" y="47"/>
                    <a:pt x="95" y="49"/>
                    <a:pt x="95" y="51"/>
                  </a:cubicBezTo>
                  <a:cubicBezTo>
                    <a:pt x="93" y="50"/>
                    <a:pt x="90" y="50"/>
                    <a:pt x="87" y="5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4"/>
                    <a:pt x="77" y="34"/>
                    <a:pt x="80" y="34"/>
                  </a:cubicBezTo>
                  <a:cubicBezTo>
                    <a:pt x="80" y="34"/>
                    <a:pt x="81" y="34"/>
                    <a:pt x="81" y="34"/>
                  </a:cubicBezTo>
                  <a:moveTo>
                    <a:pt x="96" y="56"/>
                  </a:moveTo>
                  <a:cubicBezTo>
                    <a:pt x="99" y="58"/>
                    <a:pt x="101" y="60"/>
                    <a:pt x="102" y="63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3"/>
                    <a:pt x="105" y="74"/>
                  </a:cubicBezTo>
                  <a:cubicBezTo>
                    <a:pt x="103" y="73"/>
                    <a:pt x="101" y="73"/>
                    <a:pt x="99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1" y="55"/>
                    <a:pt x="94" y="55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moveTo>
                    <a:pt x="109" y="79"/>
                  </a:moveTo>
                  <a:cubicBezTo>
                    <a:pt x="110" y="76"/>
                    <a:pt x="110" y="73"/>
                    <a:pt x="109" y="70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5" y="58"/>
                    <a:pt x="103" y="55"/>
                    <a:pt x="100" y="53"/>
                  </a:cubicBezTo>
                  <a:cubicBezTo>
                    <a:pt x="100" y="49"/>
                    <a:pt x="99" y="46"/>
                    <a:pt x="97" y="42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0" y="32"/>
                    <a:pt x="87" y="30"/>
                    <a:pt x="83" y="29"/>
                  </a:cubicBezTo>
                  <a:cubicBezTo>
                    <a:pt x="83" y="26"/>
                    <a:pt x="81" y="23"/>
                    <a:pt x="77" y="20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7" y="13"/>
                    <a:pt x="64" y="12"/>
                    <a:pt x="60" y="12"/>
                  </a:cubicBezTo>
                  <a:cubicBezTo>
                    <a:pt x="59" y="9"/>
                    <a:pt x="56" y="7"/>
                    <a:pt x="52" y="6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1" y="2"/>
                    <a:pt x="37" y="2"/>
                    <a:pt x="34" y="3"/>
                  </a:cubicBezTo>
                  <a:cubicBezTo>
                    <a:pt x="31" y="1"/>
                    <a:pt x="27" y="0"/>
                    <a:pt x="2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8"/>
                    <a:pt x="5" y="112"/>
                    <a:pt x="11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105" y="112"/>
                    <a:pt x="110" y="108"/>
                    <a:pt x="110" y="102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2"/>
                    <a:pt x="110" y="80"/>
                    <a:pt x="109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9" name="Group 158">
            <a:extLst>
              <a:ext uri="{FF2B5EF4-FFF2-40B4-BE49-F238E27FC236}">
                <a16:creationId xmlns:a16="http://schemas.microsoft.com/office/drawing/2014/main" id="{F93E4BF2-A46D-42C6-BA34-5F1AD6A61E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9738" y="2849563"/>
            <a:ext cx="760412" cy="758825"/>
            <a:chOff x="5077" y="1795"/>
            <a:chExt cx="479" cy="478"/>
          </a:xfrm>
        </p:grpSpPr>
        <p:sp>
          <p:nvSpPr>
            <p:cNvPr id="190" name="AutoShape 157">
              <a:extLst>
                <a:ext uri="{FF2B5EF4-FFF2-40B4-BE49-F238E27FC236}">
                  <a16:creationId xmlns:a16="http://schemas.microsoft.com/office/drawing/2014/main" id="{B8606CB0-B0D3-4CD6-86DF-DFC0D6973E8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7" y="179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159">
              <a:extLst>
                <a:ext uri="{FF2B5EF4-FFF2-40B4-BE49-F238E27FC236}">
                  <a16:creationId xmlns:a16="http://schemas.microsoft.com/office/drawing/2014/main" id="{5B20F3C3-0B4F-4F2A-876D-964797F499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9" y="179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60">
              <a:extLst>
                <a:ext uri="{FF2B5EF4-FFF2-40B4-BE49-F238E27FC236}">
                  <a16:creationId xmlns:a16="http://schemas.microsoft.com/office/drawing/2014/main" id="{67426AD1-262B-4E31-A269-61F269D0EB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2" y="1888"/>
              <a:ext cx="271" cy="275"/>
            </a:xfrm>
            <a:custGeom>
              <a:avLst/>
              <a:gdLst>
                <a:gd name="T0" fmla="*/ 20 w 110"/>
                <a:gd name="T1" fmla="*/ 96 h 112"/>
                <a:gd name="T2" fmla="*/ 19 w 110"/>
                <a:gd name="T3" fmla="*/ 89 h 112"/>
                <a:gd name="T4" fmla="*/ 23 w 110"/>
                <a:gd name="T5" fmla="*/ 94 h 112"/>
                <a:gd name="T6" fmla="*/ 12 w 110"/>
                <a:gd name="T7" fmla="*/ 95 h 112"/>
                <a:gd name="T8" fmla="*/ 22 w 110"/>
                <a:gd name="T9" fmla="*/ 100 h 112"/>
                <a:gd name="T10" fmla="*/ 25 w 110"/>
                <a:gd name="T11" fmla="*/ 86 h 112"/>
                <a:gd name="T12" fmla="*/ 105 w 110"/>
                <a:gd name="T13" fmla="*/ 102 h 112"/>
                <a:gd name="T14" fmla="*/ 11 w 110"/>
                <a:gd name="T15" fmla="*/ 108 h 112"/>
                <a:gd name="T16" fmla="*/ 5 w 110"/>
                <a:gd name="T17" fmla="*/ 83 h 112"/>
                <a:gd name="T18" fmla="*/ 99 w 110"/>
                <a:gd name="T19" fmla="*/ 77 h 112"/>
                <a:gd name="T20" fmla="*/ 105 w 110"/>
                <a:gd name="T21" fmla="*/ 102 h 112"/>
                <a:gd name="T22" fmla="*/ 15 w 110"/>
                <a:gd name="T23" fmla="*/ 4 h 112"/>
                <a:gd name="T24" fmla="*/ 29 w 110"/>
                <a:gd name="T25" fmla="*/ 6 h 112"/>
                <a:gd name="T26" fmla="*/ 6 w 110"/>
                <a:gd name="T27" fmla="*/ 73 h 112"/>
                <a:gd name="T28" fmla="*/ 5 w 110"/>
                <a:gd name="T29" fmla="*/ 74 h 112"/>
                <a:gd name="T30" fmla="*/ 34 w 110"/>
                <a:gd name="T31" fmla="*/ 8 h 112"/>
                <a:gd name="T32" fmla="*/ 43 w 110"/>
                <a:gd name="T33" fmla="*/ 7 h 112"/>
                <a:gd name="T34" fmla="*/ 56 w 110"/>
                <a:gd name="T35" fmla="*/ 13 h 112"/>
                <a:gd name="T36" fmla="*/ 11 w 110"/>
                <a:gd name="T37" fmla="*/ 73 h 112"/>
                <a:gd name="T38" fmla="*/ 29 w 110"/>
                <a:gd name="T39" fmla="*/ 14 h 112"/>
                <a:gd name="T40" fmla="*/ 59 w 110"/>
                <a:gd name="T41" fmla="*/ 17 h 112"/>
                <a:gd name="T42" fmla="*/ 68 w 110"/>
                <a:gd name="T43" fmla="*/ 19 h 112"/>
                <a:gd name="T44" fmla="*/ 78 w 110"/>
                <a:gd name="T45" fmla="*/ 29 h 112"/>
                <a:gd name="T46" fmla="*/ 18 w 110"/>
                <a:gd name="T47" fmla="*/ 72 h 112"/>
                <a:gd name="T48" fmla="*/ 59 w 110"/>
                <a:gd name="T49" fmla="*/ 17 h 112"/>
                <a:gd name="T50" fmla="*/ 88 w 110"/>
                <a:gd name="T51" fmla="*/ 38 h 112"/>
                <a:gd name="T52" fmla="*/ 95 w 110"/>
                <a:gd name="T53" fmla="*/ 51 h 112"/>
                <a:gd name="T54" fmla="*/ 25 w 110"/>
                <a:gd name="T55" fmla="*/ 72 h 112"/>
                <a:gd name="T56" fmla="*/ 80 w 110"/>
                <a:gd name="T57" fmla="*/ 34 h 112"/>
                <a:gd name="T58" fmla="*/ 96 w 110"/>
                <a:gd name="T59" fmla="*/ 56 h 112"/>
                <a:gd name="T60" fmla="*/ 105 w 110"/>
                <a:gd name="T61" fmla="*/ 71 h 112"/>
                <a:gd name="T62" fmla="*/ 99 w 110"/>
                <a:gd name="T63" fmla="*/ 73 h 112"/>
                <a:gd name="T64" fmla="*/ 89 w 110"/>
                <a:gd name="T65" fmla="*/ 56 h 112"/>
                <a:gd name="T66" fmla="*/ 96 w 110"/>
                <a:gd name="T67" fmla="*/ 56 h 112"/>
                <a:gd name="T68" fmla="*/ 109 w 110"/>
                <a:gd name="T69" fmla="*/ 70 h 112"/>
                <a:gd name="T70" fmla="*/ 100 w 110"/>
                <a:gd name="T71" fmla="*/ 53 h 112"/>
                <a:gd name="T72" fmla="*/ 92 w 110"/>
                <a:gd name="T73" fmla="*/ 35 h 112"/>
                <a:gd name="T74" fmla="*/ 77 w 110"/>
                <a:gd name="T75" fmla="*/ 20 h 112"/>
                <a:gd name="T76" fmla="*/ 60 w 110"/>
                <a:gd name="T77" fmla="*/ 12 h 112"/>
                <a:gd name="T78" fmla="*/ 44 w 110"/>
                <a:gd name="T79" fmla="*/ 3 h 112"/>
                <a:gd name="T80" fmla="*/ 24 w 110"/>
                <a:gd name="T81" fmla="*/ 0 h 112"/>
                <a:gd name="T82" fmla="*/ 0 w 110"/>
                <a:gd name="T83" fmla="*/ 15 h 112"/>
                <a:gd name="T84" fmla="*/ 11 w 110"/>
                <a:gd name="T85" fmla="*/ 112 h 112"/>
                <a:gd name="T86" fmla="*/ 110 w 110"/>
                <a:gd name="T87" fmla="*/ 102 h 112"/>
                <a:gd name="T88" fmla="*/ 109 w 110"/>
                <a:gd name="T89" fmla="*/ 7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0" h="112">
                  <a:moveTo>
                    <a:pt x="23" y="94"/>
                  </a:moveTo>
                  <a:cubicBezTo>
                    <a:pt x="22" y="95"/>
                    <a:pt x="22" y="96"/>
                    <a:pt x="20" y="96"/>
                  </a:cubicBezTo>
                  <a:cubicBezTo>
                    <a:pt x="18" y="96"/>
                    <a:pt x="17" y="95"/>
                    <a:pt x="16" y="93"/>
                  </a:cubicBezTo>
                  <a:cubicBezTo>
                    <a:pt x="16" y="93"/>
                    <a:pt x="16" y="90"/>
                    <a:pt x="19" y="89"/>
                  </a:cubicBezTo>
                  <a:cubicBezTo>
                    <a:pt x="20" y="89"/>
                    <a:pt x="21" y="89"/>
                    <a:pt x="22" y="90"/>
                  </a:cubicBezTo>
                  <a:cubicBezTo>
                    <a:pt x="23" y="91"/>
                    <a:pt x="23" y="92"/>
                    <a:pt x="23" y="94"/>
                  </a:cubicBezTo>
                  <a:moveTo>
                    <a:pt x="18" y="85"/>
                  </a:moveTo>
                  <a:cubicBezTo>
                    <a:pt x="12" y="86"/>
                    <a:pt x="11" y="91"/>
                    <a:pt x="12" y="95"/>
                  </a:cubicBezTo>
                  <a:cubicBezTo>
                    <a:pt x="13" y="98"/>
                    <a:pt x="16" y="101"/>
                    <a:pt x="19" y="101"/>
                  </a:cubicBezTo>
                  <a:cubicBezTo>
                    <a:pt x="20" y="101"/>
                    <a:pt x="21" y="101"/>
                    <a:pt x="22" y="100"/>
                  </a:cubicBezTo>
                  <a:cubicBezTo>
                    <a:pt x="24" y="100"/>
                    <a:pt x="26" y="98"/>
                    <a:pt x="27" y="95"/>
                  </a:cubicBezTo>
                  <a:cubicBezTo>
                    <a:pt x="28" y="92"/>
                    <a:pt x="27" y="89"/>
                    <a:pt x="25" y="86"/>
                  </a:cubicBezTo>
                  <a:cubicBezTo>
                    <a:pt x="23" y="85"/>
                    <a:pt x="20" y="84"/>
                    <a:pt x="18" y="85"/>
                  </a:cubicBezTo>
                  <a:moveTo>
                    <a:pt x="105" y="102"/>
                  </a:moveTo>
                  <a:cubicBezTo>
                    <a:pt x="105" y="105"/>
                    <a:pt x="103" y="108"/>
                    <a:pt x="99" y="108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7" y="108"/>
                    <a:pt x="5" y="105"/>
                    <a:pt x="5" y="10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0"/>
                    <a:pt x="7" y="77"/>
                    <a:pt x="11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3" y="77"/>
                    <a:pt x="105" y="80"/>
                    <a:pt x="105" y="83"/>
                  </a:cubicBezTo>
                  <a:lnTo>
                    <a:pt x="105" y="102"/>
                  </a:lnTo>
                  <a:close/>
                  <a:moveTo>
                    <a:pt x="5" y="15"/>
                  </a:moveTo>
                  <a:cubicBezTo>
                    <a:pt x="5" y="9"/>
                    <a:pt x="10" y="4"/>
                    <a:pt x="1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6" y="4"/>
                    <a:pt x="28" y="5"/>
                    <a:pt x="29" y="6"/>
                  </a:cubicBezTo>
                  <a:cubicBezTo>
                    <a:pt x="27" y="8"/>
                    <a:pt x="26" y="10"/>
                    <a:pt x="25" y="1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6" y="74"/>
                    <a:pt x="5" y="74"/>
                    <a:pt x="5" y="74"/>
                  </a:cubicBezTo>
                  <a:lnTo>
                    <a:pt x="5" y="15"/>
                  </a:lnTo>
                  <a:close/>
                  <a:moveTo>
                    <a:pt x="34" y="8"/>
                  </a:moveTo>
                  <a:cubicBezTo>
                    <a:pt x="34" y="8"/>
                    <a:pt x="34" y="8"/>
                    <a:pt x="35" y="8"/>
                  </a:cubicBezTo>
                  <a:cubicBezTo>
                    <a:pt x="37" y="7"/>
                    <a:pt x="40" y="6"/>
                    <a:pt x="43" y="7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3" y="11"/>
                    <a:pt x="54" y="12"/>
                    <a:pt x="56" y="13"/>
                  </a:cubicBezTo>
                  <a:cubicBezTo>
                    <a:pt x="53" y="14"/>
                    <a:pt x="51" y="16"/>
                    <a:pt x="49" y="19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2"/>
                    <a:pt x="32" y="10"/>
                    <a:pt x="34" y="8"/>
                  </a:cubicBezTo>
                  <a:moveTo>
                    <a:pt x="59" y="1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2" y="17"/>
                    <a:pt x="65" y="17"/>
                    <a:pt x="68" y="19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7" y="26"/>
                    <a:pt x="78" y="27"/>
                    <a:pt x="78" y="29"/>
                  </a:cubicBezTo>
                  <a:cubicBezTo>
                    <a:pt x="76" y="29"/>
                    <a:pt x="73" y="30"/>
                    <a:pt x="71" y="3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5" y="19"/>
                    <a:pt x="57" y="18"/>
                    <a:pt x="59" y="17"/>
                  </a:cubicBezTo>
                  <a:moveTo>
                    <a:pt x="81" y="34"/>
                  </a:moveTo>
                  <a:cubicBezTo>
                    <a:pt x="84" y="34"/>
                    <a:pt x="87" y="36"/>
                    <a:pt x="88" y="38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4" y="47"/>
                    <a:pt x="95" y="49"/>
                    <a:pt x="95" y="51"/>
                  </a:cubicBezTo>
                  <a:cubicBezTo>
                    <a:pt x="93" y="50"/>
                    <a:pt x="90" y="50"/>
                    <a:pt x="87" y="5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4"/>
                    <a:pt x="77" y="34"/>
                    <a:pt x="80" y="34"/>
                  </a:cubicBezTo>
                  <a:cubicBezTo>
                    <a:pt x="80" y="34"/>
                    <a:pt x="81" y="34"/>
                    <a:pt x="81" y="34"/>
                  </a:cubicBezTo>
                  <a:moveTo>
                    <a:pt x="96" y="56"/>
                  </a:moveTo>
                  <a:cubicBezTo>
                    <a:pt x="99" y="58"/>
                    <a:pt x="101" y="60"/>
                    <a:pt x="102" y="63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2"/>
                    <a:pt x="105" y="73"/>
                    <a:pt x="105" y="74"/>
                  </a:cubicBezTo>
                  <a:cubicBezTo>
                    <a:pt x="103" y="73"/>
                    <a:pt x="101" y="73"/>
                    <a:pt x="99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1" y="55"/>
                    <a:pt x="94" y="55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moveTo>
                    <a:pt x="109" y="79"/>
                  </a:moveTo>
                  <a:cubicBezTo>
                    <a:pt x="110" y="76"/>
                    <a:pt x="110" y="73"/>
                    <a:pt x="109" y="70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5" y="58"/>
                    <a:pt x="103" y="55"/>
                    <a:pt x="100" y="53"/>
                  </a:cubicBezTo>
                  <a:cubicBezTo>
                    <a:pt x="100" y="49"/>
                    <a:pt x="99" y="46"/>
                    <a:pt x="97" y="42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0" y="32"/>
                    <a:pt x="87" y="30"/>
                    <a:pt x="83" y="29"/>
                  </a:cubicBezTo>
                  <a:cubicBezTo>
                    <a:pt x="83" y="26"/>
                    <a:pt x="81" y="23"/>
                    <a:pt x="77" y="20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7" y="13"/>
                    <a:pt x="64" y="12"/>
                    <a:pt x="60" y="12"/>
                  </a:cubicBezTo>
                  <a:cubicBezTo>
                    <a:pt x="59" y="9"/>
                    <a:pt x="56" y="7"/>
                    <a:pt x="52" y="6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1" y="2"/>
                    <a:pt x="37" y="2"/>
                    <a:pt x="34" y="3"/>
                  </a:cubicBezTo>
                  <a:cubicBezTo>
                    <a:pt x="31" y="1"/>
                    <a:pt x="27" y="0"/>
                    <a:pt x="2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8"/>
                    <a:pt x="5" y="112"/>
                    <a:pt x="11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105" y="112"/>
                    <a:pt x="110" y="108"/>
                    <a:pt x="110" y="102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2"/>
                    <a:pt x="110" y="80"/>
                    <a:pt x="109" y="7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9" name="Group 163">
            <a:extLst>
              <a:ext uri="{FF2B5EF4-FFF2-40B4-BE49-F238E27FC236}">
                <a16:creationId xmlns:a16="http://schemas.microsoft.com/office/drawing/2014/main" id="{A79DA08A-69BA-4F23-8FBF-85A5F78E77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4092575"/>
            <a:ext cx="841375" cy="841375"/>
            <a:chOff x="225" y="2578"/>
            <a:chExt cx="530" cy="530"/>
          </a:xfrm>
        </p:grpSpPr>
        <p:sp>
          <p:nvSpPr>
            <p:cNvPr id="210" name="AutoShape 162">
              <a:extLst>
                <a:ext uri="{FF2B5EF4-FFF2-40B4-BE49-F238E27FC236}">
                  <a16:creationId xmlns:a16="http://schemas.microsoft.com/office/drawing/2014/main" id="{5AB5AA14-9557-443D-8A4D-740E8228A6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164">
              <a:extLst>
                <a:ext uri="{FF2B5EF4-FFF2-40B4-BE49-F238E27FC236}">
                  <a16:creationId xmlns:a16="http://schemas.microsoft.com/office/drawing/2014/main" id="{DD411D61-CEC9-4D4E-9332-10EDA29C6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65">
              <a:extLst>
                <a:ext uri="{FF2B5EF4-FFF2-40B4-BE49-F238E27FC236}">
                  <a16:creationId xmlns:a16="http://schemas.microsoft.com/office/drawing/2014/main" id="{86B19FB9-D9F2-4BF3-B665-FDE531458A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66">
              <a:extLst>
                <a:ext uri="{FF2B5EF4-FFF2-40B4-BE49-F238E27FC236}">
                  <a16:creationId xmlns:a16="http://schemas.microsoft.com/office/drawing/2014/main" id="{3CE7707E-1A48-4E30-B9FE-E3FB06D2F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2711"/>
              <a:ext cx="282" cy="266"/>
            </a:xfrm>
            <a:custGeom>
              <a:avLst/>
              <a:gdLst>
                <a:gd name="T0" fmla="*/ 108 w 110"/>
                <a:gd name="T1" fmla="*/ 0 h 104"/>
                <a:gd name="T2" fmla="*/ 2 w 110"/>
                <a:gd name="T3" fmla="*/ 0 h 104"/>
                <a:gd name="T4" fmla="*/ 0 w 110"/>
                <a:gd name="T5" fmla="*/ 2 h 104"/>
                <a:gd name="T6" fmla="*/ 0 w 110"/>
                <a:gd name="T7" fmla="*/ 82 h 104"/>
                <a:gd name="T8" fmla="*/ 0 w 110"/>
                <a:gd name="T9" fmla="*/ 83 h 104"/>
                <a:gd name="T10" fmla="*/ 0 w 110"/>
                <a:gd name="T11" fmla="*/ 83 h 104"/>
                <a:gd name="T12" fmla="*/ 2 w 110"/>
                <a:gd name="T13" fmla="*/ 85 h 104"/>
                <a:gd name="T14" fmla="*/ 39 w 110"/>
                <a:gd name="T15" fmla="*/ 85 h 104"/>
                <a:gd name="T16" fmla="*/ 41 w 110"/>
                <a:gd name="T17" fmla="*/ 83 h 104"/>
                <a:gd name="T18" fmla="*/ 39 w 110"/>
                <a:gd name="T19" fmla="*/ 81 h 104"/>
                <a:gd name="T20" fmla="*/ 30 w 110"/>
                <a:gd name="T21" fmla="*/ 81 h 104"/>
                <a:gd name="T22" fmla="*/ 30 w 110"/>
                <a:gd name="T23" fmla="*/ 65 h 104"/>
                <a:gd name="T24" fmla="*/ 28 w 110"/>
                <a:gd name="T25" fmla="*/ 63 h 104"/>
                <a:gd name="T26" fmla="*/ 26 w 110"/>
                <a:gd name="T27" fmla="*/ 65 h 104"/>
                <a:gd name="T28" fmla="*/ 26 w 110"/>
                <a:gd name="T29" fmla="*/ 81 h 104"/>
                <a:gd name="T30" fmla="*/ 4 w 110"/>
                <a:gd name="T31" fmla="*/ 81 h 104"/>
                <a:gd name="T32" fmla="*/ 4 w 110"/>
                <a:gd name="T33" fmla="*/ 54 h 104"/>
                <a:gd name="T34" fmla="*/ 41 w 110"/>
                <a:gd name="T35" fmla="*/ 55 h 104"/>
                <a:gd name="T36" fmla="*/ 41 w 110"/>
                <a:gd name="T37" fmla="*/ 55 h 104"/>
                <a:gd name="T38" fmla="*/ 43 w 110"/>
                <a:gd name="T39" fmla="*/ 52 h 104"/>
                <a:gd name="T40" fmla="*/ 41 w 110"/>
                <a:gd name="T41" fmla="*/ 50 h 104"/>
                <a:gd name="T42" fmla="*/ 4 w 110"/>
                <a:gd name="T43" fmla="*/ 50 h 104"/>
                <a:gd name="T44" fmla="*/ 4 w 110"/>
                <a:gd name="T45" fmla="*/ 50 h 104"/>
                <a:gd name="T46" fmla="*/ 4 w 110"/>
                <a:gd name="T47" fmla="*/ 4 h 104"/>
                <a:gd name="T48" fmla="*/ 59 w 110"/>
                <a:gd name="T49" fmla="*/ 4 h 104"/>
                <a:gd name="T50" fmla="*/ 59 w 110"/>
                <a:gd name="T51" fmla="*/ 39 h 104"/>
                <a:gd name="T52" fmla="*/ 61 w 110"/>
                <a:gd name="T53" fmla="*/ 41 h 104"/>
                <a:gd name="T54" fmla="*/ 63 w 110"/>
                <a:gd name="T55" fmla="*/ 39 h 104"/>
                <a:gd name="T56" fmla="*/ 63 w 110"/>
                <a:gd name="T57" fmla="*/ 4 h 104"/>
                <a:gd name="T58" fmla="*/ 106 w 110"/>
                <a:gd name="T59" fmla="*/ 4 h 104"/>
                <a:gd name="T60" fmla="*/ 106 w 110"/>
                <a:gd name="T61" fmla="*/ 50 h 104"/>
                <a:gd name="T62" fmla="*/ 62 w 110"/>
                <a:gd name="T63" fmla="*/ 50 h 104"/>
                <a:gd name="T64" fmla="*/ 59 w 110"/>
                <a:gd name="T65" fmla="*/ 52 h 104"/>
                <a:gd name="T66" fmla="*/ 62 w 110"/>
                <a:gd name="T67" fmla="*/ 55 h 104"/>
                <a:gd name="T68" fmla="*/ 73 w 110"/>
                <a:gd name="T69" fmla="*/ 55 h 104"/>
                <a:gd name="T70" fmla="*/ 73 w 110"/>
                <a:gd name="T71" fmla="*/ 70 h 104"/>
                <a:gd name="T72" fmla="*/ 76 w 110"/>
                <a:gd name="T73" fmla="*/ 72 h 104"/>
                <a:gd name="T74" fmla="*/ 78 w 110"/>
                <a:gd name="T75" fmla="*/ 70 h 104"/>
                <a:gd name="T76" fmla="*/ 78 w 110"/>
                <a:gd name="T77" fmla="*/ 55 h 104"/>
                <a:gd name="T78" fmla="*/ 106 w 110"/>
                <a:gd name="T79" fmla="*/ 55 h 104"/>
                <a:gd name="T80" fmla="*/ 106 w 110"/>
                <a:gd name="T81" fmla="*/ 99 h 104"/>
                <a:gd name="T82" fmla="*/ 79 w 110"/>
                <a:gd name="T83" fmla="*/ 99 h 104"/>
                <a:gd name="T84" fmla="*/ 79 w 110"/>
                <a:gd name="T85" fmla="*/ 83 h 104"/>
                <a:gd name="T86" fmla="*/ 78 w 110"/>
                <a:gd name="T87" fmla="*/ 81 h 104"/>
                <a:gd name="T88" fmla="*/ 77 w 110"/>
                <a:gd name="T89" fmla="*/ 81 h 104"/>
                <a:gd name="T90" fmla="*/ 58 w 110"/>
                <a:gd name="T91" fmla="*/ 81 h 104"/>
                <a:gd name="T92" fmla="*/ 55 w 110"/>
                <a:gd name="T93" fmla="*/ 83 h 104"/>
                <a:gd name="T94" fmla="*/ 58 w 110"/>
                <a:gd name="T95" fmla="*/ 85 h 104"/>
                <a:gd name="T96" fmla="*/ 74 w 110"/>
                <a:gd name="T97" fmla="*/ 85 h 104"/>
                <a:gd name="T98" fmla="*/ 74 w 110"/>
                <a:gd name="T99" fmla="*/ 102 h 104"/>
                <a:gd name="T100" fmla="*/ 76 w 110"/>
                <a:gd name="T101" fmla="*/ 104 h 104"/>
                <a:gd name="T102" fmla="*/ 76 w 110"/>
                <a:gd name="T103" fmla="*/ 104 h 104"/>
                <a:gd name="T104" fmla="*/ 77 w 110"/>
                <a:gd name="T105" fmla="*/ 104 h 104"/>
                <a:gd name="T106" fmla="*/ 77 w 110"/>
                <a:gd name="T107" fmla="*/ 104 h 104"/>
                <a:gd name="T108" fmla="*/ 108 w 110"/>
                <a:gd name="T109" fmla="*/ 104 h 104"/>
                <a:gd name="T110" fmla="*/ 110 w 110"/>
                <a:gd name="T111" fmla="*/ 102 h 104"/>
                <a:gd name="T112" fmla="*/ 110 w 110"/>
                <a:gd name="T113" fmla="*/ 2 h 104"/>
                <a:gd name="T114" fmla="*/ 108 w 110"/>
                <a:gd name="T11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104">
                  <a:moveTo>
                    <a:pt x="10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0" y="85"/>
                    <a:pt x="41" y="84"/>
                    <a:pt x="41" y="83"/>
                  </a:cubicBezTo>
                  <a:cubicBezTo>
                    <a:pt x="41" y="82"/>
                    <a:pt x="40" y="81"/>
                    <a:pt x="39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4"/>
                    <a:pt x="29" y="63"/>
                    <a:pt x="28" y="63"/>
                  </a:cubicBezTo>
                  <a:cubicBezTo>
                    <a:pt x="27" y="63"/>
                    <a:pt x="26" y="64"/>
                    <a:pt x="26" y="65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3" y="54"/>
                    <a:pt x="43" y="52"/>
                  </a:cubicBezTo>
                  <a:cubicBezTo>
                    <a:pt x="43" y="51"/>
                    <a:pt x="42" y="50"/>
                    <a:pt x="41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60" y="41"/>
                    <a:pt x="61" y="41"/>
                  </a:cubicBezTo>
                  <a:cubicBezTo>
                    <a:pt x="62" y="41"/>
                    <a:pt x="63" y="40"/>
                    <a:pt x="63" y="39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0" y="50"/>
                    <a:pt x="59" y="51"/>
                    <a:pt x="59" y="52"/>
                  </a:cubicBezTo>
                  <a:cubicBezTo>
                    <a:pt x="59" y="53"/>
                    <a:pt x="60" y="55"/>
                    <a:pt x="62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3" y="71"/>
                    <a:pt x="74" y="72"/>
                    <a:pt x="76" y="72"/>
                  </a:cubicBezTo>
                  <a:cubicBezTo>
                    <a:pt x="77" y="72"/>
                    <a:pt x="78" y="71"/>
                    <a:pt x="78" y="70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79" y="82"/>
                    <a:pt x="79" y="82"/>
                    <a:pt x="78" y="81"/>
                  </a:cubicBezTo>
                  <a:cubicBezTo>
                    <a:pt x="78" y="81"/>
                    <a:pt x="77" y="81"/>
                    <a:pt x="7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6" y="81"/>
                    <a:pt x="55" y="82"/>
                    <a:pt x="55" y="83"/>
                  </a:cubicBezTo>
                  <a:cubicBezTo>
                    <a:pt x="55" y="84"/>
                    <a:pt x="56" y="85"/>
                    <a:pt x="58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102"/>
                    <a:pt x="74" y="102"/>
                    <a:pt x="74" y="102"/>
                  </a:cubicBezTo>
                  <a:cubicBezTo>
                    <a:pt x="74" y="103"/>
                    <a:pt x="75" y="104"/>
                    <a:pt x="76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77" y="104"/>
                    <a:pt x="77" y="104"/>
                    <a:pt x="77" y="104"/>
                  </a:cubicBezTo>
                  <a:cubicBezTo>
                    <a:pt x="77" y="104"/>
                    <a:pt x="77" y="104"/>
                    <a:pt x="77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9" y="104"/>
                    <a:pt x="110" y="103"/>
                    <a:pt x="110" y="10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1"/>
                    <a:pt x="109" y="0"/>
                    <a:pt x="10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4" name="Group 169">
            <a:extLst>
              <a:ext uri="{FF2B5EF4-FFF2-40B4-BE49-F238E27FC236}">
                <a16:creationId xmlns:a16="http://schemas.microsoft.com/office/drawing/2014/main" id="{E2A06F90-9D09-446E-9DE3-785D5F9B9E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7163" y="4133850"/>
            <a:ext cx="758825" cy="758825"/>
            <a:chOff x="899" y="2604"/>
            <a:chExt cx="478" cy="478"/>
          </a:xfrm>
        </p:grpSpPr>
        <p:sp>
          <p:nvSpPr>
            <p:cNvPr id="215" name="AutoShape 168">
              <a:extLst>
                <a:ext uri="{FF2B5EF4-FFF2-40B4-BE49-F238E27FC236}">
                  <a16:creationId xmlns:a16="http://schemas.microsoft.com/office/drawing/2014/main" id="{BF398304-A59D-4DE9-8140-8A4D46CBE4B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9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70">
              <a:extLst>
                <a:ext uri="{FF2B5EF4-FFF2-40B4-BE49-F238E27FC236}">
                  <a16:creationId xmlns:a16="http://schemas.microsoft.com/office/drawing/2014/main" id="{7F362F50-00AA-467D-9403-E8E9775AB8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71">
              <a:extLst>
                <a:ext uri="{FF2B5EF4-FFF2-40B4-BE49-F238E27FC236}">
                  <a16:creationId xmlns:a16="http://schemas.microsoft.com/office/drawing/2014/main" id="{759862B7-ED7A-432C-B6A0-661340413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2717"/>
              <a:ext cx="270" cy="255"/>
            </a:xfrm>
            <a:custGeom>
              <a:avLst/>
              <a:gdLst>
                <a:gd name="T0" fmla="*/ 108 w 110"/>
                <a:gd name="T1" fmla="*/ 0 h 104"/>
                <a:gd name="T2" fmla="*/ 2 w 110"/>
                <a:gd name="T3" fmla="*/ 0 h 104"/>
                <a:gd name="T4" fmla="*/ 0 w 110"/>
                <a:gd name="T5" fmla="*/ 2 h 104"/>
                <a:gd name="T6" fmla="*/ 0 w 110"/>
                <a:gd name="T7" fmla="*/ 82 h 104"/>
                <a:gd name="T8" fmla="*/ 0 w 110"/>
                <a:gd name="T9" fmla="*/ 83 h 104"/>
                <a:gd name="T10" fmla="*/ 0 w 110"/>
                <a:gd name="T11" fmla="*/ 83 h 104"/>
                <a:gd name="T12" fmla="*/ 2 w 110"/>
                <a:gd name="T13" fmla="*/ 85 h 104"/>
                <a:gd name="T14" fmla="*/ 39 w 110"/>
                <a:gd name="T15" fmla="*/ 85 h 104"/>
                <a:gd name="T16" fmla="*/ 41 w 110"/>
                <a:gd name="T17" fmla="*/ 83 h 104"/>
                <a:gd name="T18" fmla="*/ 39 w 110"/>
                <a:gd name="T19" fmla="*/ 81 h 104"/>
                <a:gd name="T20" fmla="*/ 30 w 110"/>
                <a:gd name="T21" fmla="*/ 81 h 104"/>
                <a:gd name="T22" fmla="*/ 30 w 110"/>
                <a:gd name="T23" fmla="*/ 65 h 104"/>
                <a:gd name="T24" fmla="*/ 28 w 110"/>
                <a:gd name="T25" fmla="*/ 63 h 104"/>
                <a:gd name="T26" fmla="*/ 26 w 110"/>
                <a:gd name="T27" fmla="*/ 65 h 104"/>
                <a:gd name="T28" fmla="*/ 26 w 110"/>
                <a:gd name="T29" fmla="*/ 81 h 104"/>
                <a:gd name="T30" fmla="*/ 4 w 110"/>
                <a:gd name="T31" fmla="*/ 81 h 104"/>
                <a:gd name="T32" fmla="*/ 4 w 110"/>
                <a:gd name="T33" fmla="*/ 54 h 104"/>
                <a:gd name="T34" fmla="*/ 41 w 110"/>
                <a:gd name="T35" fmla="*/ 55 h 104"/>
                <a:gd name="T36" fmla="*/ 41 w 110"/>
                <a:gd name="T37" fmla="*/ 55 h 104"/>
                <a:gd name="T38" fmla="*/ 43 w 110"/>
                <a:gd name="T39" fmla="*/ 52 h 104"/>
                <a:gd name="T40" fmla="*/ 41 w 110"/>
                <a:gd name="T41" fmla="*/ 50 h 104"/>
                <a:gd name="T42" fmla="*/ 4 w 110"/>
                <a:gd name="T43" fmla="*/ 50 h 104"/>
                <a:gd name="T44" fmla="*/ 4 w 110"/>
                <a:gd name="T45" fmla="*/ 50 h 104"/>
                <a:gd name="T46" fmla="*/ 4 w 110"/>
                <a:gd name="T47" fmla="*/ 4 h 104"/>
                <a:gd name="T48" fmla="*/ 59 w 110"/>
                <a:gd name="T49" fmla="*/ 4 h 104"/>
                <a:gd name="T50" fmla="*/ 59 w 110"/>
                <a:gd name="T51" fmla="*/ 39 h 104"/>
                <a:gd name="T52" fmla="*/ 61 w 110"/>
                <a:gd name="T53" fmla="*/ 41 h 104"/>
                <a:gd name="T54" fmla="*/ 63 w 110"/>
                <a:gd name="T55" fmla="*/ 39 h 104"/>
                <a:gd name="T56" fmla="*/ 63 w 110"/>
                <a:gd name="T57" fmla="*/ 4 h 104"/>
                <a:gd name="T58" fmla="*/ 106 w 110"/>
                <a:gd name="T59" fmla="*/ 4 h 104"/>
                <a:gd name="T60" fmla="*/ 106 w 110"/>
                <a:gd name="T61" fmla="*/ 50 h 104"/>
                <a:gd name="T62" fmla="*/ 62 w 110"/>
                <a:gd name="T63" fmla="*/ 50 h 104"/>
                <a:gd name="T64" fmla="*/ 59 w 110"/>
                <a:gd name="T65" fmla="*/ 52 h 104"/>
                <a:gd name="T66" fmla="*/ 62 w 110"/>
                <a:gd name="T67" fmla="*/ 55 h 104"/>
                <a:gd name="T68" fmla="*/ 73 w 110"/>
                <a:gd name="T69" fmla="*/ 55 h 104"/>
                <a:gd name="T70" fmla="*/ 73 w 110"/>
                <a:gd name="T71" fmla="*/ 70 h 104"/>
                <a:gd name="T72" fmla="*/ 76 w 110"/>
                <a:gd name="T73" fmla="*/ 72 h 104"/>
                <a:gd name="T74" fmla="*/ 78 w 110"/>
                <a:gd name="T75" fmla="*/ 70 h 104"/>
                <a:gd name="T76" fmla="*/ 78 w 110"/>
                <a:gd name="T77" fmla="*/ 55 h 104"/>
                <a:gd name="T78" fmla="*/ 106 w 110"/>
                <a:gd name="T79" fmla="*/ 55 h 104"/>
                <a:gd name="T80" fmla="*/ 106 w 110"/>
                <a:gd name="T81" fmla="*/ 99 h 104"/>
                <a:gd name="T82" fmla="*/ 79 w 110"/>
                <a:gd name="T83" fmla="*/ 99 h 104"/>
                <a:gd name="T84" fmla="*/ 79 w 110"/>
                <a:gd name="T85" fmla="*/ 83 h 104"/>
                <a:gd name="T86" fmla="*/ 78 w 110"/>
                <a:gd name="T87" fmla="*/ 81 h 104"/>
                <a:gd name="T88" fmla="*/ 77 w 110"/>
                <a:gd name="T89" fmla="*/ 81 h 104"/>
                <a:gd name="T90" fmla="*/ 58 w 110"/>
                <a:gd name="T91" fmla="*/ 81 h 104"/>
                <a:gd name="T92" fmla="*/ 55 w 110"/>
                <a:gd name="T93" fmla="*/ 83 h 104"/>
                <a:gd name="T94" fmla="*/ 58 w 110"/>
                <a:gd name="T95" fmla="*/ 85 h 104"/>
                <a:gd name="T96" fmla="*/ 74 w 110"/>
                <a:gd name="T97" fmla="*/ 85 h 104"/>
                <a:gd name="T98" fmla="*/ 74 w 110"/>
                <a:gd name="T99" fmla="*/ 102 h 104"/>
                <a:gd name="T100" fmla="*/ 76 w 110"/>
                <a:gd name="T101" fmla="*/ 104 h 104"/>
                <a:gd name="T102" fmla="*/ 76 w 110"/>
                <a:gd name="T103" fmla="*/ 104 h 104"/>
                <a:gd name="T104" fmla="*/ 77 w 110"/>
                <a:gd name="T105" fmla="*/ 104 h 104"/>
                <a:gd name="T106" fmla="*/ 77 w 110"/>
                <a:gd name="T107" fmla="*/ 104 h 104"/>
                <a:gd name="T108" fmla="*/ 108 w 110"/>
                <a:gd name="T109" fmla="*/ 104 h 104"/>
                <a:gd name="T110" fmla="*/ 110 w 110"/>
                <a:gd name="T111" fmla="*/ 102 h 104"/>
                <a:gd name="T112" fmla="*/ 110 w 110"/>
                <a:gd name="T113" fmla="*/ 2 h 104"/>
                <a:gd name="T114" fmla="*/ 108 w 110"/>
                <a:gd name="T11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104">
                  <a:moveTo>
                    <a:pt x="10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1" y="85"/>
                    <a:pt x="2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0" y="85"/>
                    <a:pt x="41" y="84"/>
                    <a:pt x="41" y="83"/>
                  </a:cubicBezTo>
                  <a:cubicBezTo>
                    <a:pt x="41" y="82"/>
                    <a:pt x="40" y="81"/>
                    <a:pt x="39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4"/>
                    <a:pt x="29" y="63"/>
                    <a:pt x="28" y="63"/>
                  </a:cubicBezTo>
                  <a:cubicBezTo>
                    <a:pt x="27" y="63"/>
                    <a:pt x="26" y="64"/>
                    <a:pt x="26" y="65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3" y="54"/>
                    <a:pt x="43" y="52"/>
                  </a:cubicBezTo>
                  <a:cubicBezTo>
                    <a:pt x="43" y="51"/>
                    <a:pt x="42" y="50"/>
                    <a:pt x="41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60" y="41"/>
                    <a:pt x="61" y="41"/>
                  </a:cubicBezTo>
                  <a:cubicBezTo>
                    <a:pt x="62" y="41"/>
                    <a:pt x="63" y="40"/>
                    <a:pt x="63" y="39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0" y="50"/>
                    <a:pt x="59" y="51"/>
                    <a:pt x="59" y="52"/>
                  </a:cubicBezTo>
                  <a:cubicBezTo>
                    <a:pt x="59" y="53"/>
                    <a:pt x="60" y="55"/>
                    <a:pt x="62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3" y="71"/>
                    <a:pt x="74" y="72"/>
                    <a:pt x="76" y="72"/>
                  </a:cubicBezTo>
                  <a:cubicBezTo>
                    <a:pt x="77" y="72"/>
                    <a:pt x="78" y="71"/>
                    <a:pt x="78" y="70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79" y="82"/>
                    <a:pt x="79" y="82"/>
                    <a:pt x="78" y="81"/>
                  </a:cubicBezTo>
                  <a:cubicBezTo>
                    <a:pt x="78" y="81"/>
                    <a:pt x="77" y="81"/>
                    <a:pt x="7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6" y="81"/>
                    <a:pt x="55" y="82"/>
                    <a:pt x="55" y="83"/>
                  </a:cubicBezTo>
                  <a:cubicBezTo>
                    <a:pt x="55" y="84"/>
                    <a:pt x="56" y="85"/>
                    <a:pt x="58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102"/>
                    <a:pt x="74" y="102"/>
                    <a:pt x="74" y="102"/>
                  </a:cubicBezTo>
                  <a:cubicBezTo>
                    <a:pt x="74" y="103"/>
                    <a:pt x="75" y="104"/>
                    <a:pt x="76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77" y="104"/>
                    <a:pt x="77" y="104"/>
                    <a:pt x="77" y="104"/>
                  </a:cubicBezTo>
                  <a:cubicBezTo>
                    <a:pt x="77" y="104"/>
                    <a:pt x="77" y="104"/>
                    <a:pt x="77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9" y="104"/>
                    <a:pt x="110" y="103"/>
                    <a:pt x="110" y="10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1"/>
                    <a:pt x="109" y="0"/>
                    <a:pt x="10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174">
            <a:extLst>
              <a:ext uri="{FF2B5EF4-FFF2-40B4-BE49-F238E27FC236}">
                <a16:creationId xmlns:a16="http://schemas.microsoft.com/office/drawing/2014/main" id="{D454AD24-1AEF-4909-BE6D-1C6BCDAAAF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4092575"/>
            <a:ext cx="841375" cy="841375"/>
            <a:chOff x="1626" y="2578"/>
            <a:chExt cx="530" cy="530"/>
          </a:xfrm>
        </p:grpSpPr>
        <p:sp>
          <p:nvSpPr>
            <p:cNvPr id="219" name="AutoShape 173">
              <a:extLst>
                <a:ext uri="{FF2B5EF4-FFF2-40B4-BE49-F238E27FC236}">
                  <a16:creationId xmlns:a16="http://schemas.microsoft.com/office/drawing/2014/main" id="{11C4DA9F-6082-4D41-8AF5-FF9DE4D822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Oval 175">
              <a:extLst>
                <a:ext uri="{FF2B5EF4-FFF2-40B4-BE49-F238E27FC236}">
                  <a16:creationId xmlns:a16="http://schemas.microsoft.com/office/drawing/2014/main" id="{23F0999B-8038-42AB-A9AC-6DD009B7A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76">
              <a:extLst>
                <a:ext uri="{FF2B5EF4-FFF2-40B4-BE49-F238E27FC236}">
                  <a16:creationId xmlns:a16="http://schemas.microsoft.com/office/drawing/2014/main" id="{55178976-3E06-40A4-805A-A543373CA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77">
              <a:extLst>
                <a:ext uri="{FF2B5EF4-FFF2-40B4-BE49-F238E27FC236}">
                  <a16:creationId xmlns:a16="http://schemas.microsoft.com/office/drawing/2014/main" id="{F02E57EB-DEC8-4421-9005-293A2402E3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8" y="2693"/>
              <a:ext cx="346" cy="282"/>
            </a:xfrm>
            <a:custGeom>
              <a:avLst/>
              <a:gdLst>
                <a:gd name="T0" fmla="*/ 12 w 135"/>
                <a:gd name="T1" fmla="*/ 90 h 110"/>
                <a:gd name="T2" fmla="*/ 14 w 135"/>
                <a:gd name="T3" fmla="*/ 92 h 110"/>
                <a:gd name="T4" fmla="*/ 33 w 135"/>
                <a:gd name="T5" fmla="*/ 68 h 110"/>
                <a:gd name="T6" fmla="*/ 31 w 135"/>
                <a:gd name="T7" fmla="*/ 64 h 110"/>
                <a:gd name="T8" fmla="*/ 38 w 135"/>
                <a:gd name="T9" fmla="*/ 61 h 110"/>
                <a:gd name="T10" fmla="*/ 37 w 135"/>
                <a:gd name="T11" fmla="*/ 63 h 110"/>
                <a:gd name="T12" fmla="*/ 40 w 135"/>
                <a:gd name="T13" fmla="*/ 65 h 110"/>
                <a:gd name="T14" fmla="*/ 41 w 135"/>
                <a:gd name="T15" fmla="*/ 64 h 110"/>
                <a:gd name="T16" fmla="*/ 40 w 135"/>
                <a:gd name="T17" fmla="*/ 60 h 110"/>
                <a:gd name="T18" fmla="*/ 123 w 135"/>
                <a:gd name="T19" fmla="*/ 106 h 110"/>
                <a:gd name="T20" fmla="*/ 131 w 135"/>
                <a:gd name="T21" fmla="*/ 25 h 110"/>
                <a:gd name="T22" fmla="*/ 119 w 135"/>
                <a:gd name="T23" fmla="*/ 77 h 110"/>
                <a:gd name="T24" fmla="*/ 103 w 135"/>
                <a:gd name="T25" fmla="*/ 77 h 110"/>
                <a:gd name="T26" fmla="*/ 119 w 135"/>
                <a:gd name="T27" fmla="*/ 52 h 110"/>
                <a:gd name="T28" fmla="*/ 98 w 135"/>
                <a:gd name="T29" fmla="*/ 85 h 110"/>
                <a:gd name="T30" fmla="*/ 53 w 135"/>
                <a:gd name="T31" fmla="*/ 72 h 110"/>
                <a:gd name="T32" fmla="*/ 49 w 135"/>
                <a:gd name="T33" fmla="*/ 72 h 110"/>
                <a:gd name="T34" fmla="*/ 30 w 135"/>
                <a:gd name="T35" fmla="*/ 96 h 110"/>
                <a:gd name="T36" fmla="*/ 5 w 135"/>
                <a:gd name="T37" fmla="*/ 96 h 110"/>
                <a:gd name="T38" fmla="*/ 49 w 135"/>
                <a:gd name="T39" fmla="*/ 53 h 110"/>
                <a:gd name="T40" fmla="*/ 51 w 135"/>
                <a:gd name="T41" fmla="*/ 62 h 110"/>
                <a:gd name="T42" fmla="*/ 53 w 135"/>
                <a:gd name="T43" fmla="*/ 45 h 110"/>
                <a:gd name="T44" fmla="*/ 98 w 135"/>
                <a:gd name="T45" fmla="*/ 85 h 110"/>
                <a:gd name="T46" fmla="*/ 73 w 135"/>
                <a:gd name="T47" fmla="*/ 39 h 110"/>
                <a:gd name="T48" fmla="*/ 78 w 135"/>
                <a:gd name="T49" fmla="*/ 14 h 110"/>
                <a:gd name="T50" fmla="*/ 53 w 135"/>
                <a:gd name="T51" fmla="*/ 4 h 110"/>
                <a:gd name="T52" fmla="*/ 96 w 135"/>
                <a:gd name="T53" fmla="*/ 10 h 110"/>
                <a:gd name="T54" fmla="*/ 53 w 135"/>
                <a:gd name="T55" fmla="*/ 4 h 110"/>
                <a:gd name="T56" fmla="*/ 121 w 135"/>
                <a:gd name="T57" fmla="*/ 21 h 110"/>
                <a:gd name="T58" fmla="*/ 119 w 135"/>
                <a:gd name="T59" fmla="*/ 47 h 110"/>
                <a:gd name="T60" fmla="*/ 103 w 135"/>
                <a:gd name="T61" fmla="*/ 42 h 110"/>
                <a:gd name="T62" fmla="*/ 82 w 135"/>
                <a:gd name="T63" fmla="*/ 40 h 110"/>
                <a:gd name="T64" fmla="*/ 98 w 135"/>
                <a:gd name="T65" fmla="*/ 14 h 110"/>
                <a:gd name="T66" fmla="*/ 100 w 135"/>
                <a:gd name="T67" fmla="*/ 2 h 110"/>
                <a:gd name="T68" fmla="*/ 51 w 135"/>
                <a:gd name="T69" fmla="*/ 0 h 110"/>
                <a:gd name="T70" fmla="*/ 49 w 135"/>
                <a:gd name="T71" fmla="*/ 12 h 110"/>
                <a:gd name="T72" fmla="*/ 68 w 135"/>
                <a:gd name="T73" fmla="*/ 14 h 110"/>
                <a:gd name="T74" fmla="*/ 51 w 135"/>
                <a:gd name="T75" fmla="*/ 40 h 110"/>
                <a:gd name="T76" fmla="*/ 49 w 135"/>
                <a:gd name="T77" fmla="*/ 48 h 110"/>
                <a:gd name="T78" fmla="*/ 6 w 135"/>
                <a:gd name="T79" fmla="*/ 74 h 110"/>
                <a:gd name="T80" fmla="*/ 1 w 135"/>
                <a:gd name="T81" fmla="*/ 97 h 110"/>
                <a:gd name="T82" fmla="*/ 3 w 135"/>
                <a:gd name="T83" fmla="*/ 100 h 110"/>
                <a:gd name="T84" fmla="*/ 34 w 135"/>
                <a:gd name="T85" fmla="*/ 98 h 110"/>
                <a:gd name="T86" fmla="*/ 34 w 135"/>
                <a:gd name="T87" fmla="*/ 96 h 110"/>
                <a:gd name="T88" fmla="*/ 49 w 135"/>
                <a:gd name="T89" fmla="*/ 87 h 110"/>
                <a:gd name="T90" fmla="*/ 100 w 135"/>
                <a:gd name="T91" fmla="*/ 89 h 110"/>
                <a:gd name="T92" fmla="*/ 103 w 135"/>
                <a:gd name="T93" fmla="*/ 81 h 110"/>
                <a:gd name="T94" fmla="*/ 119 w 135"/>
                <a:gd name="T95" fmla="*/ 81 h 110"/>
                <a:gd name="T96" fmla="*/ 121 w 135"/>
                <a:gd name="T97" fmla="*/ 110 h 110"/>
                <a:gd name="T98" fmla="*/ 135 w 135"/>
                <a:gd name="T99" fmla="*/ 108 h 110"/>
                <a:gd name="T100" fmla="*/ 133 w 135"/>
                <a:gd name="T101" fmla="*/ 2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5" h="110">
                  <a:moveTo>
                    <a:pt x="31" y="64"/>
                  </a:moveTo>
                  <a:cubicBezTo>
                    <a:pt x="13" y="73"/>
                    <a:pt x="12" y="89"/>
                    <a:pt x="12" y="90"/>
                  </a:cubicBezTo>
                  <a:cubicBezTo>
                    <a:pt x="11" y="91"/>
                    <a:pt x="12" y="92"/>
                    <a:pt x="13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5" y="92"/>
                    <a:pt x="16" y="92"/>
                    <a:pt x="16" y="90"/>
                  </a:cubicBezTo>
                  <a:cubicBezTo>
                    <a:pt x="16" y="90"/>
                    <a:pt x="17" y="76"/>
                    <a:pt x="33" y="68"/>
                  </a:cubicBezTo>
                  <a:cubicBezTo>
                    <a:pt x="34" y="68"/>
                    <a:pt x="34" y="67"/>
                    <a:pt x="34" y="65"/>
                  </a:cubicBezTo>
                  <a:cubicBezTo>
                    <a:pt x="33" y="64"/>
                    <a:pt x="32" y="64"/>
                    <a:pt x="31" y="64"/>
                  </a:cubicBezTo>
                  <a:moveTo>
                    <a:pt x="40" y="60"/>
                  </a:moveTo>
                  <a:cubicBezTo>
                    <a:pt x="39" y="60"/>
                    <a:pt x="39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1"/>
                    <a:pt x="36" y="62"/>
                    <a:pt x="37" y="63"/>
                  </a:cubicBezTo>
                  <a:cubicBezTo>
                    <a:pt x="37" y="64"/>
                    <a:pt x="38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1"/>
                  </a:cubicBezTo>
                  <a:cubicBezTo>
                    <a:pt x="42" y="60"/>
                    <a:pt x="41" y="60"/>
                    <a:pt x="40" y="60"/>
                  </a:cubicBezTo>
                  <a:moveTo>
                    <a:pt x="131" y="106"/>
                  </a:moveTo>
                  <a:cubicBezTo>
                    <a:pt x="123" y="106"/>
                    <a:pt x="123" y="106"/>
                    <a:pt x="123" y="106"/>
                  </a:cubicBezTo>
                  <a:cubicBezTo>
                    <a:pt x="123" y="25"/>
                    <a:pt x="123" y="25"/>
                    <a:pt x="123" y="25"/>
                  </a:cubicBezTo>
                  <a:cubicBezTo>
                    <a:pt x="131" y="25"/>
                    <a:pt x="131" y="25"/>
                    <a:pt x="131" y="25"/>
                  </a:cubicBezTo>
                  <a:lnTo>
                    <a:pt x="131" y="106"/>
                  </a:lnTo>
                  <a:close/>
                  <a:moveTo>
                    <a:pt x="119" y="77"/>
                  </a:move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19" y="52"/>
                    <a:pt x="119" y="52"/>
                    <a:pt x="119" y="52"/>
                  </a:cubicBezTo>
                  <a:lnTo>
                    <a:pt x="119" y="77"/>
                  </a:lnTo>
                  <a:close/>
                  <a:moveTo>
                    <a:pt x="98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1"/>
                    <a:pt x="52" y="70"/>
                    <a:pt x="51" y="70"/>
                  </a:cubicBezTo>
                  <a:cubicBezTo>
                    <a:pt x="50" y="70"/>
                    <a:pt x="49" y="71"/>
                    <a:pt x="49" y="72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32" y="81"/>
                    <a:pt x="30" y="96"/>
                    <a:pt x="30" y="96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5"/>
                    <a:pt x="5" y="86"/>
                    <a:pt x="10" y="76"/>
                  </a:cubicBezTo>
                  <a:cubicBezTo>
                    <a:pt x="17" y="62"/>
                    <a:pt x="30" y="55"/>
                    <a:pt x="49" y="53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1"/>
                    <a:pt x="50" y="62"/>
                    <a:pt x="51" y="62"/>
                  </a:cubicBezTo>
                  <a:cubicBezTo>
                    <a:pt x="52" y="62"/>
                    <a:pt x="53" y="61"/>
                    <a:pt x="53" y="60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98" y="45"/>
                    <a:pt x="98" y="45"/>
                    <a:pt x="98" y="45"/>
                  </a:cubicBezTo>
                  <a:lnTo>
                    <a:pt x="98" y="85"/>
                  </a:lnTo>
                  <a:close/>
                  <a:moveTo>
                    <a:pt x="78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lnTo>
                    <a:pt x="78" y="39"/>
                  </a:lnTo>
                  <a:close/>
                  <a:moveTo>
                    <a:pt x="53" y="4"/>
                  </a:moveTo>
                  <a:cubicBezTo>
                    <a:pt x="96" y="4"/>
                    <a:pt x="96" y="4"/>
                    <a:pt x="96" y="4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53" y="10"/>
                    <a:pt x="53" y="10"/>
                    <a:pt x="53" y="10"/>
                  </a:cubicBezTo>
                  <a:lnTo>
                    <a:pt x="53" y="4"/>
                  </a:lnTo>
                  <a:close/>
                  <a:moveTo>
                    <a:pt x="133" y="21"/>
                  </a:moveTo>
                  <a:cubicBezTo>
                    <a:pt x="121" y="21"/>
                    <a:pt x="121" y="21"/>
                    <a:pt x="121" y="21"/>
                  </a:cubicBezTo>
                  <a:cubicBezTo>
                    <a:pt x="120" y="21"/>
                    <a:pt x="119" y="22"/>
                    <a:pt x="119" y="23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1"/>
                    <a:pt x="102" y="40"/>
                    <a:pt x="100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9" y="14"/>
                    <a:pt x="100" y="13"/>
                    <a:pt x="100" y="12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1"/>
                    <a:pt x="99" y="0"/>
                    <a:pt x="9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49" y="1"/>
                    <a:pt x="49" y="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4"/>
                    <a:pt x="51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0" y="40"/>
                    <a:pt x="49" y="41"/>
                    <a:pt x="49" y="42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8" y="48"/>
                    <a:pt x="48" y="48"/>
                  </a:cubicBezTo>
                  <a:cubicBezTo>
                    <a:pt x="23" y="51"/>
                    <a:pt x="11" y="64"/>
                    <a:pt x="6" y="74"/>
                  </a:cubicBezTo>
                  <a:cubicBezTo>
                    <a:pt x="0" y="85"/>
                    <a:pt x="1" y="96"/>
                    <a:pt x="1" y="96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1" y="99"/>
                    <a:pt x="2" y="100"/>
                    <a:pt x="3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3" y="100"/>
                    <a:pt x="34" y="99"/>
                    <a:pt x="34" y="98"/>
                  </a:cubicBezTo>
                  <a:cubicBezTo>
                    <a:pt x="34" y="98"/>
                    <a:pt x="34" y="97"/>
                    <a:pt x="34" y="97"/>
                  </a:cubicBezTo>
                  <a:cubicBezTo>
                    <a:pt x="34" y="97"/>
                    <a:pt x="34" y="97"/>
                    <a:pt x="34" y="96"/>
                  </a:cubicBezTo>
                  <a:cubicBezTo>
                    <a:pt x="34" y="96"/>
                    <a:pt x="36" y="85"/>
                    <a:pt x="49" y="82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8"/>
                    <a:pt x="50" y="89"/>
                    <a:pt x="51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2" y="89"/>
                    <a:pt x="103" y="88"/>
                    <a:pt x="103" y="87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09"/>
                    <a:pt x="120" y="110"/>
                    <a:pt x="121" y="110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5" y="110"/>
                    <a:pt x="135" y="109"/>
                    <a:pt x="135" y="108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22"/>
                    <a:pt x="135" y="21"/>
                    <a:pt x="133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3" name="Group 180">
            <a:extLst>
              <a:ext uri="{FF2B5EF4-FFF2-40B4-BE49-F238E27FC236}">
                <a16:creationId xmlns:a16="http://schemas.microsoft.com/office/drawing/2014/main" id="{5E2BC59B-2A6B-43E0-A11E-DF652010AB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3788" y="4133850"/>
            <a:ext cx="758825" cy="758825"/>
            <a:chOff x="2289" y="2604"/>
            <a:chExt cx="478" cy="478"/>
          </a:xfrm>
        </p:grpSpPr>
        <p:sp>
          <p:nvSpPr>
            <p:cNvPr id="224" name="AutoShape 179">
              <a:extLst>
                <a:ext uri="{FF2B5EF4-FFF2-40B4-BE49-F238E27FC236}">
                  <a16:creationId xmlns:a16="http://schemas.microsoft.com/office/drawing/2014/main" id="{75CA1622-8C48-49D7-BFB1-BB8200116A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9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81">
              <a:extLst>
                <a:ext uri="{FF2B5EF4-FFF2-40B4-BE49-F238E27FC236}">
                  <a16:creationId xmlns:a16="http://schemas.microsoft.com/office/drawing/2014/main" id="{8FB49B47-6C9A-4707-9828-BB433F4CE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1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82">
              <a:extLst>
                <a:ext uri="{FF2B5EF4-FFF2-40B4-BE49-F238E27FC236}">
                  <a16:creationId xmlns:a16="http://schemas.microsoft.com/office/drawing/2014/main" id="{ABF31931-54C3-4F56-B9AF-CAFE2A1E4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3" y="2700"/>
              <a:ext cx="330" cy="269"/>
            </a:xfrm>
            <a:custGeom>
              <a:avLst/>
              <a:gdLst>
                <a:gd name="T0" fmla="*/ 12 w 135"/>
                <a:gd name="T1" fmla="*/ 90 h 110"/>
                <a:gd name="T2" fmla="*/ 14 w 135"/>
                <a:gd name="T3" fmla="*/ 92 h 110"/>
                <a:gd name="T4" fmla="*/ 33 w 135"/>
                <a:gd name="T5" fmla="*/ 68 h 110"/>
                <a:gd name="T6" fmla="*/ 31 w 135"/>
                <a:gd name="T7" fmla="*/ 64 h 110"/>
                <a:gd name="T8" fmla="*/ 38 w 135"/>
                <a:gd name="T9" fmla="*/ 61 h 110"/>
                <a:gd name="T10" fmla="*/ 37 w 135"/>
                <a:gd name="T11" fmla="*/ 63 h 110"/>
                <a:gd name="T12" fmla="*/ 40 w 135"/>
                <a:gd name="T13" fmla="*/ 65 h 110"/>
                <a:gd name="T14" fmla="*/ 41 w 135"/>
                <a:gd name="T15" fmla="*/ 64 h 110"/>
                <a:gd name="T16" fmla="*/ 40 w 135"/>
                <a:gd name="T17" fmla="*/ 60 h 110"/>
                <a:gd name="T18" fmla="*/ 123 w 135"/>
                <a:gd name="T19" fmla="*/ 106 h 110"/>
                <a:gd name="T20" fmla="*/ 131 w 135"/>
                <a:gd name="T21" fmla="*/ 25 h 110"/>
                <a:gd name="T22" fmla="*/ 119 w 135"/>
                <a:gd name="T23" fmla="*/ 77 h 110"/>
                <a:gd name="T24" fmla="*/ 103 w 135"/>
                <a:gd name="T25" fmla="*/ 77 h 110"/>
                <a:gd name="T26" fmla="*/ 119 w 135"/>
                <a:gd name="T27" fmla="*/ 52 h 110"/>
                <a:gd name="T28" fmla="*/ 98 w 135"/>
                <a:gd name="T29" fmla="*/ 85 h 110"/>
                <a:gd name="T30" fmla="*/ 53 w 135"/>
                <a:gd name="T31" fmla="*/ 72 h 110"/>
                <a:gd name="T32" fmla="*/ 49 w 135"/>
                <a:gd name="T33" fmla="*/ 72 h 110"/>
                <a:gd name="T34" fmla="*/ 30 w 135"/>
                <a:gd name="T35" fmla="*/ 96 h 110"/>
                <a:gd name="T36" fmla="*/ 5 w 135"/>
                <a:gd name="T37" fmla="*/ 96 h 110"/>
                <a:gd name="T38" fmla="*/ 49 w 135"/>
                <a:gd name="T39" fmla="*/ 53 h 110"/>
                <a:gd name="T40" fmla="*/ 51 w 135"/>
                <a:gd name="T41" fmla="*/ 62 h 110"/>
                <a:gd name="T42" fmla="*/ 53 w 135"/>
                <a:gd name="T43" fmla="*/ 45 h 110"/>
                <a:gd name="T44" fmla="*/ 98 w 135"/>
                <a:gd name="T45" fmla="*/ 85 h 110"/>
                <a:gd name="T46" fmla="*/ 73 w 135"/>
                <a:gd name="T47" fmla="*/ 39 h 110"/>
                <a:gd name="T48" fmla="*/ 78 w 135"/>
                <a:gd name="T49" fmla="*/ 14 h 110"/>
                <a:gd name="T50" fmla="*/ 53 w 135"/>
                <a:gd name="T51" fmla="*/ 4 h 110"/>
                <a:gd name="T52" fmla="*/ 96 w 135"/>
                <a:gd name="T53" fmla="*/ 10 h 110"/>
                <a:gd name="T54" fmla="*/ 53 w 135"/>
                <a:gd name="T55" fmla="*/ 4 h 110"/>
                <a:gd name="T56" fmla="*/ 121 w 135"/>
                <a:gd name="T57" fmla="*/ 21 h 110"/>
                <a:gd name="T58" fmla="*/ 119 w 135"/>
                <a:gd name="T59" fmla="*/ 47 h 110"/>
                <a:gd name="T60" fmla="*/ 103 w 135"/>
                <a:gd name="T61" fmla="*/ 42 h 110"/>
                <a:gd name="T62" fmla="*/ 82 w 135"/>
                <a:gd name="T63" fmla="*/ 40 h 110"/>
                <a:gd name="T64" fmla="*/ 98 w 135"/>
                <a:gd name="T65" fmla="*/ 14 h 110"/>
                <a:gd name="T66" fmla="*/ 100 w 135"/>
                <a:gd name="T67" fmla="*/ 2 h 110"/>
                <a:gd name="T68" fmla="*/ 51 w 135"/>
                <a:gd name="T69" fmla="*/ 0 h 110"/>
                <a:gd name="T70" fmla="*/ 49 w 135"/>
                <a:gd name="T71" fmla="*/ 12 h 110"/>
                <a:gd name="T72" fmla="*/ 68 w 135"/>
                <a:gd name="T73" fmla="*/ 14 h 110"/>
                <a:gd name="T74" fmla="*/ 51 w 135"/>
                <a:gd name="T75" fmla="*/ 40 h 110"/>
                <a:gd name="T76" fmla="*/ 49 w 135"/>
                <a:gd name="T77" fmla="*/ 48 h 110"/>
                <a:gd name="T78" fmla="*/ 6 w 135"/>
                <a:gd name="T79" fmla="*/ 74 h 110"/>
                <a:gd name="T80" fmla="*/ 1 w 135"/>
                <a:gd name="T81" fmla="*/ 97 h 110"/>
                <a:gd name="T82" fmla="*/ 3 w 135"/>
                <a:gd name="T83" fmla="*/ 100 h 110"/>
                <a:gd name="T84" fmla="*/ 34 w 135"/>
                <a:gd name="T85" fmla="*/ 98 h 110"/>
                <a:gd name="T86" fmla="*/ 34 w 135"/>
                <a:gd name="T87" fmla="*/ 96 h 110"/>
                <a:gd name="T88" fmla="*/ 49 w 135"/>
                <a:gd name="T89" fmla="*/ 87 h 110"/>
                <a:gd name="T90" fmla="*/ 100 w 135"/>
                <a:gd name="T91" fmla="*/ 89 h 110"/>
                <a:gd name="T92" fmla="*/ 103 w 135"/>
                <a:gd name="T93" fmla="*/ 81 h 110"/>
                <a:gd name="T94" fmla="*/ 119 w 135"/>
                <a:gd name="T95" fmla="*/ 81 h 110"/>
                <a:gd name="T96" fmla="*/ 121 w 135"/>
                <a:gd name="T97" fmla="*/ 110 h 110"/>
                <a:gd name="T98" fmla="*/ 135 w 135"/>
                <a:gd name="T99" fmla="*/ 108 h 110"/>
                <a:gd name="T100" fmla="*/ 133 w 135"/>
                <a:gd name="T101" fmla="*/ 2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5" h="110">
                  <a:moveTo>
                    <a:pt x="31" y="64"/>
                  </a:moveTo>
                  <a:cubicBezTo>
                    <a:pt x="13" y="73"/>
                    <a:pt x="12" y="89"/>
                    <a:pt x="12" y="90"/>
                  </a:cubicBezTo>
                  <a:cubicBezTo>
                    <a:pt x="11" y="91"/>
                    <a:pt x="12" y="92"/>
                    <a:pt x="13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5" y="92"/>
                    <a:pt x="16" y="92"/>
                    <a:pt x="16" y="90"/>
                  </a:cubicBezTo>
                  <a:cubicBezTo>
                    <a:pt x="16" y="90"/>
                    <a:pt x="17" y="76"/>
                    <a:pt x="33" y="68"/>
                  </a:cubicBezTo>
                  <a:cubicBezTo>
                    <a:pt x="34" y="68"/>
                    <a:pt x="34" y="67"/>
                    <a:pt x="34" y="65"/>
                  </a:cubicBezTo>
                  <a:cubicBezTo>
                    <a:pt x="33" y="64"/>
                    <a:pt x="32" y="64"/>
                    <a:pt x="31" y="64"/>
                  </a:cubicBezTo>
                  <a:moveTo>
                    <a:pt x="40" y="60"/>
                  </a:moveTo>
                  <a:cubicBezTo>
                    <a:pt x="39" y="60"/>
                    <a:pt x="39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1"/>
                    <a:pt x="36" y="62"/>
                    <a:pt x="37" y="63"/>
                  </a:cubicBezTo>
                  <a:cubicBezTo>
                    <a:pt x="37" y="64"/>
                    <a:pt x="38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4"/>
                    <a:pt x="43" y="63"/>
                    <a:pt x="43" y="61"/>
                  </a:cubicBezTo>
                  <a:cubicBezTo>
                    <a:pt x="42" y="60"/>
                    <a:pt x="41" y="60"/>
                    <a:pt x="40" y="60"/>
                  </a:cubicBezTo>
                  <a:moveTo>
                    <a:pt x="131" y="106"/>
                  </a:moveTo>
                  <a:cubicBezTo>
                    <a:pt x="123" y="106"/>
                    <a:pt x="123" y="106"/>
                    <a:pt x="123" y="106"/>
                  </a:cubicBezTo>
                  <a:cubicBezTo>
                    <a:pt x="123" y="25"/>
                    <a:pt x="123" y="25"/>
                    <a:pt x="123" y="25"/>
                  </a:cubicBezTo>
                  <a:cubicBezTo>
                    <a:pt x="131" y="25"/>
                    <a:pt x="131" y="25"/>
                    <a:pt x="131" y="25"/>
                  </a:cubicBezTo>
                  <a:lnTo>
                    <a:pt x="131" y="106"/>
                  </a:lnTo>
                  <a:close/>
                  <a:moveTo>
                    <a:pt x="119" y="77"/>
                  </a:move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19" y="52"/>
                    <a:pt x="119" y="52"/>
                    <a:pt x="119" y="52"/>
                  </a:cubicBezTo>
                  <a:lnTo>
                    <a:pt x="119" y="77"/>
                  </a:lnTo>
                  <a:close/>
                  <a:moveTo>
                    <a:pt x="98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1"/>
                    <a:pt x="52" y="70"/>
                    <a:pt x="51" y="70"/>
                  </a:cubicBezTo>
                  <a:cubicBezTo>
                    <a:pt x="50" y="70"/>
                    <a:pt x="49" y="71"/>
                    <a:pt x="49" y="72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32" y="81"/>
                    <a:pt x="30" y="96"/>
                    <a:pt x="30" y="96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5"/>
                    <a:pt x="5" y="86"/>
                    <a:pt x="10" y="76"/>
                  </a:cubicBezTo>
                  <a:cubicBezTo>
                    <a:pt x="17" y="62"/>
                    <a:pt x="30" y="55"/>
                    <a:pt x="49" y="53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1"/>
                    <a:pt x="50" y="62"/>
                    <a:pt x="51" y="62"/>
                  </a:cubicBezTo>
                  <a:cubicBezTo>
                    <a:pt x="52" y="62"/>
                    <a:pt x="53" y="61"/>
                    <a:pt x="53" y="60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98" y="45"/>
                    <a:pt x="98" y="45"/>
                    <a:pt x="98" y="45"/>
                  </a:cubicBezTo>
                  <a:lnTo>
                    <a:pt x="98" y="85"/>
                  </a:lnTo>
                  <a:close/>
                  <a:moveTo>
                    <a:pt x="78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lnTo>
                    <a:pt x="78" y="39"/>
                  </a:lnTo>
                  <a:close/>
                  <a:moveTo>
                    <a:pt x="53" y="4"/>
                  </a:moveTo>
                  <a:cubicBezTo>
                    <a:pt x="96" y="4"/>
                    <a:pt x="96" y="4"/>
                    <a:pt x="96" y="4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53" y="10"/>
                    <a:pt x="53" y="10"/>
                    <a:pt x="53" y="10"/>
                  </a:cubicBezTo>
                  <a:lnTo>
                    <a:pt x="53" y="4"/>
                  </a:lnTo>
                  <a:close/>
                  <a:moveTo>
                    <a:pt x="133" y="21"/>
                  </a:moveTo>
                  <a:cubicBezTo>
                    <a:pt x="121" y="21"/>
                    <a:pt x="121" y="21"/>
                    <a:pt x="121" y="21"/>
                  </a:cubicBezTo>
                  <a:cubicBezTo>
                    <a:pt x="120" y="21"/>
                    <a:pt x="119" y="22"/>
                    <a:pt x="119" y="23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1"/>
                    <a:pt x="102" y="40"/>
                    <a:pt x="100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9" y="14"/>
                    <a:pt x="100" y="13"/>
                    <a:pt x="100" y="12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1"/>
                    <a:pt x="99" y="0"/>
                    <a:pt x="98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49" y="1"/>
                    <a:pt x="49" y="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4"/>
                    <a:pt x="51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0" y="40"/>
                    <a:pt x="49" y="41"/>
                    <a:pt x="49" y="42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8" y="48"/>
                    <a:pt x="48" y="48"/>
                  </a:cubicBezTo>
                  <a:cubicBezTo>
                    <a:pt x="23" y="51"/>
                    <a:pt x="11" y="64"/>
                    <a:pt x="6" y="74"/>
                  </a:cubicBezTo>
                  <a:cubicBezTo>
                    <a:pt x="0" y="85"/>
                    <a:pt x="1" y="96"/>
                    <a:pt x="1" y="96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1" y="99"/>
                    <a:pt x="2" y="100"/>
                    <a:pt x="3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3" y="100"/>
                    <a:pt x="34" y="99"/>
                    <a:pt x="34" y="98"/>
                  </a:cubicBezTo>
                  <a:cubicBezTo>
                    <a:pt x="34" y="98"/>
                    <a:pt x="34" y="97"/>
                    <a:pt x="34" y="97"/>
                  </a:cubicBezTo>
                  <a:cubicBezTo>
                    <a:pt x="34" y="97"/>
                    <a:pt x="34" y="97"/>
                    <a:pt x="34" y="96"/>
                  </a:cubicBezTo>
                  <a:cubicBezTo>
                    <a:pt x="34" y="96"/>
                    <a:pt x="36" y="85"/>
                    <a:pt x="49" y="82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8"/>
                    <a:pt x="50" y="89"/>
                    <a:pt x="51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2" y="89"/>
                    <a:pt x="103" y="88"/>
                    <a:pt x="103" y="87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03" y="81"/>
                    <a:pt x="103" y="81"/>
                    <a:pt x="103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09"/>
                    <a:pt x="120" y="110"/>
                    <a:pt x="121" y="110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5" y="110"/>
                    <a:pt x="135" y="109"/>
                    <a:pt x="135" y="108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22"/>
                    <a:pt x="135" y="21"/>
                    <a:pt x="133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7" name="Group 185">
            <a:extLst>
              <a:ext uri="{FF2B5EF4-FFF2-40B4-BE49-F238E27FC236}">
                <a16:creationId xmlns:a16="http://schemas.microsoft.com/office/drawing/2014/main" id="{C843DEA9-2F27-4ED9-802A-D28AB539EE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6625" y="4092575"/>
            <a:ext cx="841375" cy="841375"/>
            <a:chOff x="2990" y="2578"/>
            <a:chExt cx="530" cy="530"/>
          </a:xfrm>
        </p:grpSpPr>
        <p:sp>
          <p:nvSpPr>
            <p:cNvPr id="228" name="AutoShape 184">
              <a:extLst>
                <a:ext uri="{FF2B5EF4-FFF2-40B4-BE49-F238E27FC236}">
                  <a16:creationId xmlns:a16="http://schemas.microsoft.com/office/drawing/2014/main" id="{2BF190A3-8918-422C-9204-1D630D3A26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0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Oval 186">
              <a:extLst>
                <a:ext uri="{FF2B5EF4-FFF2-40B4-BE49-F238E27FC236}">
                  <a16:creationId xmlns:a16="http://schemas.microsoft.com/office/drawing/2014/main" id="{A9061736-87D7-4CE9-A035-6BDF150C2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87">
              <a:extLst>
                <a:ext uri="{FF2B5EF4-FFF2-40B4-BE49-F238E27FC236}">
                  <a16:creationId xmlns:a16="http://schemas.microsoft.com/office/drawing/2014/main" id="{E10AE16A-AD21-4B74-BA0C-C82B7C84B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88">
              <a:extLst>
                <a:ext uri="{FF2B5EF4-FFF2-40B4-BE49-F238E27FC236}">
                  <a16:creationId xmlns:a16="http://schemas.microsoft.com/office/drawing/2014/main" id="{C763659F-637D-4BE1-9AC5-B611161D64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3" y="2691"/>
              <a:ext cx="328" cy="327"/>
            </a:xfrm>
            <a:custGeom>
              <a:avLst/>
              <a:gdLst>
                <a:gd name="T0" fmla="*/ 28 w 128"/>
                <a:gd name="T1" fmla="*/ 80 h 128"/>
                <a:gd name="T2" fmla="*/ 24 w 128"/>
                <a:gd name="T3" fmla="*/ 79 h 128"/>
                <a:gd name="T4" fmla="*/ 45 w 128"/>
                <a:gd name="T5" fmla="*/ 109 h 128"/>
                <a:gd name="T6" fmla="*/ 24 w 128"/>
                <a:gd name="T7" fmla="*/ 88 h 128"/>
                <a:gd name="T8" fmla="*/ 47 w 128"/>
                <a:gd name="T9" fmla="*/ 111 h 128"/>
                <a:gd name="T10" fmla="*/ 27 w 128"/>
                <a:gd name="T11" fmla="*/ 21 h 128"/>
                <a:gd name="T12" fmla="*/ 27 w 128"/>
                <a:gd name="T13" fmla="*/ 26 h 128"/>
                <a:gd name="T14" fmla="*/ 27 w 128"/>
                <a:gd name="T15" fmla="*/ 29 h 128"/>
                <a:gd name="T16" fmla="*/ 27 w 128"/>
                <a:gd name="T17" fmla="*/ 54 h 128"/>
                <a:gd name="T18" fmla="*/ 27 w 128"/>
                <a:gd name="T19" fmla="*/ 29 h 128"/>
                <a:gd name="T20" fmla="*/ 115 w 128"/>
                <a:gd name="T21" fmla="*/ 40 h 128"/>
                <a:gd name="T22" fmla="*/ 111 w 128"/>
                <a:gd name="T23" fmla="*/ 67 h 128"/>
                <a:gd name="T24" fmla="*/ 105 w 128"/>
                <a:gd name="T25" fmla="*/ 63 h 128"/>
                <a:gd name="T26" fmla="*/ 65 w 128"/>
                <a:gd name="T27" fmla="*/ 77 h 128"/>
                <a:gd name="T28" fmla="*/ 102 w 128"/>
                <a:gd name="T29" fmla="*/ 51 h 128"/>
                <a:gd name="T30" fmla="*/ 107 w 128"/>
                <a:gd name="T31" fmla="*/ 45 h 128"/>
                <a:gd name="T32" fmla="*/ 88 w 128"/>
                <a:gd name="T33" fmla="*/ 89 h 128"/>
                <a:gd name="T34" fmla="*/ 88 w 128"/>
                <a:gd name="T35" fmla="*/ 82 h 128"/>
                <a:gd name="T36" fmla="*/ 46 w 128"/>
                <a:gd name="T37" fmla="*/ 124 h 128"/>
                <a:gd name="T38" fmla="*/ 32 w 128"/>
                <a:gd name="T39" fmla="*/ 74 h 128"/>
                <a:gd name="T40" fmla="*/ 48 w 128"/>
                <a:gd name="T41" fmla="*/ 106 h 128"/>
                <a:gd name="T42" fmla="*/ 64 w 128"/>
                <a:gd name="T43" fmla="*/ 93 h 128"/>
                <a:gd name="T44" fmla="*/ 75 w 128"/>
                <a:gd name="T45" fmla="*/ 114 h 128"/>
                <a:gd name="T46" fmla="*/ 37 w 128"/>
                <a:gd name="T47" fmla="*/ 70 h 128"/>
                <a:gd name="T48" fmla="*/ 126 w 128"/>
                <a:gd name="T49" fmla="*/ 35 h 128"/>
                <a:gd name="T50" fmla="*/ 111 w 128"/>
                <a:gd name="T51" fmla="*/ 37 h 128"/>
                <a:gd name="T52" fmla="*/ 103 w 128"/>
                <a:gd name="T53" fmla="*/ 41 h 128"/>
                <a:gd name="T54" fmla="*/ 57 w 128"/>
                <a:gd name="T55" fmla="*/ 77 h 128"/>
                <a:gd name="T56" fmla="*/ 57 w 128"/>
                <a:gd name="T57" fmla="*/ 93 h 128"/>
                <a:gd name="T58" fmla="*/ 57 w 128"/>
                <a:gd name="T59" fmla="*/ 98 h 128"/>
                <a:gd name="T60" fmla="*/ 41 w 128"/>
                <a:gd name="T61" fmla="*/ 99 h 128"/>
                <a:gd name="T62" fmla="*/ 42 w 128"/>
                <a:gd name="T63" fmla="*/ 72 h 128"/>
                <a:gd name="T64" fmla="*/ 7 w 128"/>
                <a:gd name="T65" fmla="*/ 59 h 128"/>
                <a:gd name="T66" fmla="*/ 7 w 128"/>
                <a:gd name="T67" fmla="*/ 74 h 128"/>
                <a:gd name="T68" fmla="*/ 19 w 128"/>
                <a:gd name="T69" fmla="*/ 117 h 128"/>
                <a:gd name="T70" fmla="*/ 87 w 128"/>
                <a:gd name="T71" fmla="*/ 93 h 128"/>
                <a:gd name="T72" fmla="*/ 93 w 128"/>
                <a:gd name="T73" fmla="*/ 80 h 128"/>
                <a:gd name="T74" fmla="*/ 90 w 128"/>
                <a:gd name="T75" fmla="*/ 72 h 128"/>
                <a:gd name="T76" fmla="*/ 111 w 128"/>
                <a:gd name="T77" fmla="*/ 72 h 128"/>
                <a:gd name="T78" fmla="*/ 128 w 128"/>
                <a:gd name="T79" fmla="*/ 72 h 128"/>
                <a:gd name="T80" fmla="*/ 5 w 128"/>
                <a:gd name="T81" fmla="*/ 5 h 128"/>
                <a:gd name="T82" fmla="*/ 5 w 128"/>
                <a:gd name="T83" fmla="*/ 10 h 128"/>
                <a:gd name="T84" fmla="*/ 10 w 128"/>
                <a:gd name="T85" fmla="*/ 24 h 128"/>
                <a:gd name="T86" fmla="*/ 14 w 128"/>
                <a:gd name="T87" fmla="*/ 53 h 128"/>
                <a:gd name="T88" fmla="*/ 14 w 128"/>
                <a:gd name="T89" fmla="*/ 22 h 128"/>
                <a:gd name="T90" fmla="*/ 39 w 128"/>
                <a:gd name="T91" fmla="*/ 15 h 128"/>
                <a:gd name="T92" fmla="*/ 32 w 128"/>
                <a:gd name="T93" fmla="*/ 23 h 128"/>
                <a:gd name="T94" fmla="*/ 37 w 128"/>
                <a:gd name="T95" fmla="*/ 53 h 128"/>
                <a:gd name="T96" fmla="*/ 43 w 128"/>
                <a:gd name="T97" fmla="*/ 15 h 128"/>
                <a:gd name="T98" fmla="*/ 47 w 128"/>
                <a:gd name="T99" fmla="*/ 12 h 128"/>
                <a:gd name="T100" fmla="*/ 2 w 128"/>
                <a:gd name="T101" fmla="*/ 0 h 128"/>
                <a:gd name="T102" fmla="*/ 2 w 128"/>
                <a:gd name="T103" fmla="*/ 15 h 128"/>
                <a:gd name="T104" fmla="*/ 10 w 128"/>
                <a:gd name="T105" fmla="*/ 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8" h="128">
                  <a:moveTo>
                    <a:pt x="26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8" y="82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79"/>
                    <a:pt x="27" y="77"/>
                    <a:pt x="26" y="77"/>
                  </a:cubicBezTo>
                  <a:cubicBezTo>
                    <a:pt x="25" y="77"/>
                    <a:pt x="24" y="78"/>
                    <a:pt x="24" y="79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1"/>
                    <a:pt x="24" y="82"/>
                    <a:pt x="26" y="82"/>
                  </a:cubicBezTo>
                  <a:moveTo>
                    <a:pt x="45" y="109"/>
                  </a:moveTo>
                  <a:cubicBezTo>
                    <a:pt x="30" y="108"/>
                    <a:pt x="28" y="95"/>
                    <a:pt x="28" y="88"/>
                  </a:cubicBezTo>
                  <a:cubicBezTo>
                    <a:pt x="28" y="87"/>
                    <a:pt x="27" y="86"/>
                    <a:pt x="26" y="86"/>
                  </a:cubicBezTo>
                  <a:cubicBezTo>
                    <a:pt x="25" y="86"/>
                    <a:pt x="24" y="87"/>
                    <a:pt x="24" y="88"/>
                  </a:cubicBezTo>
                  <a:cubicBezTo>
                    <a:pt x="24" y="103"/>
                    <a:pt x="31" y="112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6" y="113"/>
                    <a:pt x="47" y="112"/>
                    <a:pt x="47" y="111"/>
                  </a:cubicBezTo>
                  <a:cubicBezTo>
                    <a:pt x="47" y="110"/>
                    <a:pt x="46" y="109"/>
                    <a:pt x="45" y="109"/>
                  </a:cubicBezTo>
                  <a:moveTo>
                    <a:pt x="29" y="23"/>
                  </a:moveTo>
                  <a:cubicBezTo>
                    <a:pt x="29" y="22"/>
                    <a:pt x="28" y="21"/>
                    <a:pt x="27" y="21"/>
                  </a:cubicBezTo>
                  <a:cubicBezTo>
                    <a:pt x="26" y="21"/>
                    <a:pt x="25" y="22"/>
                    <a:pt x="25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5"/>
                    <a:pt x="26" y="26"/>
                    <a:pt x="27" y="26"/>
                  </a:cubicBezTo>
                  <a:cubicBezTo>
                    <a:pt x="28" y="26"/>
                    <a:pt x="29" y="25"/>
                    <a:pt x="29" y="24"/>
                  </a:cubicBezTo>
                  <a:lnTo>
                    <a:pt x="29" y="23"/>
                  </a:lnTo>
                  <a:close/>
                  <a:moveTo>
                    <a:pt x="27" y="29"/>
                  </a:moveTo>
                  <a:cubicBezTo>
                    <a:pt x="26" y="29"/>
                    <a:pt x="25" y="30"/>
                    <a:pt x="25" y="31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3"/>
                    <a:pt x="26" y="54"/>
                    <a:pt x="27" y="54"/>
                  </a:cubicBezTo>
                  <a:cubicBezTo>
                    <a:pt x="28" y="54"/>
                    <a:pt x="29" y="53"/>
                    <a:pt x="29" y="52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0"/>
                    <a:pt x="28" y="29"/>
                    <a:pt x="27" y="29"/>
                  </a:cubicBezTo>
                  <a:moveTo>
                    <a:pt x="124" y="70"/>
                  </a:moveTo>
                  <a:cubicBezTo>
                    <a:pt x="115" y="70"/>
                    <a:pt x="115" y="70"/>
                    <a:pt x="115" y="7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24" y="40"/>
                    <a:pt x="124" y="40"/>
                    <a:pt x="124" y="40"/>
                  </a:cubicBezTo>
                  <a:lnTo>
                    <a:pt x="124" y="70"/>
                  </a:lnTo>
                  <a:close/>
                  <a:moveTo>
                    <a:pt x="111" y="67"/>
                  </a:move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6" y="64"/>
                    <a:pt x="106" y="64"/>
                  </a:cubicBezTo>
                  <a:cubicBezTo>
                    <a:pt x="106" y="63"/>
                    <a:pt x="105" y="63"/>
                    <a:pt x="105" y="63"/>
                  </a:cubicBezTo>
                  <a:cubicBezTo>
                    <a:pt x="96" y="63"/>
                    <a:pt x="90" y="66"/>
                    <a:pt x="86" y="70"/>
                  </a:cubicBezTo>
                  <a:cubicBezTo>
                    <a:pt x="84" y="73"/>
                    <a:pt x="84" y="76"/>
                    <a:pt x="8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1"/>
                    <a:pt x="66" y="64"/>
                    <a:pt x="70" y="59"/>
                  </a:cubicBezTo>
                  <a:cubicBezTo>
                    <a:pt x="76" y="52"/>
                    <a:pt x="86" y="47"/>
                    <a:pt x="102" y="46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3" y="53"/>
                    <a:pt x="105" y="53"/>
                  </a:cubicBezTo>
                  <a:cubicBezTo>
                    <a:pt x="106" y="53"/>
                    <a:pt x="107" y="52"/>
                    <a:pt x="107" y="51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11" y="42"/>
                    <a:pt x="111" y="42"/>
                    <a:pt x="111" y="42"/>
                  </a:cubicBezTo>
                  <a:lnTo>
                    <a:pt x="111" y="67"/>
                  </a:lnTo>
                  <a:close/>
                  <a:moveTo>
                    <a:pt x="8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88" y="82"/>
                    <a:pt x="88" y="82"/>
                    <a:pt x="88" y="82"/>
                  </a:cubicBezTo>
                  <a:lnTo>
                    <a:pt x="88" y="89"/>
                  </a:lnTo>
                  <a:close/>
                  <a:moveTo>
                    <a:pt x="75" y="114"/>
                  </a:moveTo>
                  <a:cubicBezTo>
                    <a:pt x="69" y="120"/>
                    <a:pt x="59" y="124"/>
                    <a:pt x="46" y="124"/>
                  </a:cubicBezTo>
                  <a:cubicBezTo>
                    <a:pt x="20" y="124"/>
                    <a:pt x="16" y="103"/>
                    <a:pt x="15" y="96"/>
                  </a:cubicBezTo>
                  <a:cubicBezTo>
                    <a:pt x="14" y="87"/>
                    <a:pt x="14" y="76"/>
                    <a:pt x="14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8"/>
                    <a:pt x="31" y="94"/>
                    <a:pt x="38" y="102"/>
                  </a:cubicBezTo>
                  <a:cubicBezTo>
                    <a:pt x="40" y="104"/>
                    <a:pt x="44" y="106"/>
                    <a:pt x="47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55" y="106"/>
                    <a:pt x="58" y="103"/>
                    <a:pt x="60" y="101"/>
                  </a:cubicBezTo>
                  <a:cubicBezTo>
                    <a:pt x="63" y="99"/>
                    <a:pt x="64" y="97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2" y="93"/>
                    <a:pt x="83" y="105"/>
                    <a:pt x="75" y="114"/>
                  </a:cubicBezTo>
                  <a:moveTo>
                    <a:pt x="9" y="63"/>
                  </a:moveTo>
                  <a:cubicBezTo>
                    <a:pt x="37" y="63"/>
                    <a:pt x="37" y="63"/>
                    <a:pt x="37" y="63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9" y="70"/>
                    <a:pt x="9" y="70"/>
                    <a:pt x="9" y="70"/>
                  </a:cubicBezTo>
                  <a:lnTo>
                    <a:pt x="9" y="63"/>
                  </a:lnTo>
                  <a:close/>
                  <a:moveTo>
                    <a:pt x="126" y="35"/>
                  </a:moveTo>
                  <a:cubicBezTo>
                    <a:pt x="113" y="35"/>
                    <a:pt x="113" y="35"/>
                    <a:pt x="113" y="35"/>
                  </a:cubicBezTo>
                  <a:cubicBezTo>
                    <a:pt x="112" y="35"/>
                    <a:pt x="112" y="36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85" y="43"/>
                    <a:pt x="73" y="48"/>
                    <a:pt x="67" y="56"/>
                  </a:cubicBezTo>
                  <a:cubicBezTo>
                    <a:pt x="61" y="63"/>
                    <a:pt x="61" y="71"/>
                    <a:pt x="60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7"/>
                    <a:pt x="54" y="78"/>
                    <a:pt x="54" y="80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2"/>
                    <a:pt x="56" y="93"/>
                    <a:pt x="57" y="93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9" y="93"/>
                    <a:pt x="59" y="94"/>
                  </a:cubicBezTo>
                  <a:cubicBezTo>
                    <a:pt x="59" y="95"/>
                    <a:pt x="58" y="97"/>
                    <a:pt x="57" y="98"/>
                  </a:cubicBezTo>
                  <a:cubicBezTo>
                    <a:pt x="55" y="100"/>
                    <a:pt x="52" y="101"/>
                    <a:pt x="48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1"/>
                    <a:pt x="43" y="100"/>
                    <a:pt x="41" y="99"/>
                  </a:cubicBezTo>
                  <a:cubicBezTo>
                    <a:pt x="35" y="92"/>
                    <a:pt x="36" y="76"/>
                    <a:pt x="3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1" y="74"/>
                    <a:pt x="42" y="73"/>
                    <a:pt x="42" y="72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0"/>
                    <a:pt x="41" y="59"/>
                    <a:pt x="40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6" y="59"/>
                    <a:pt x="5" y="60"/>
                    <a:pt x="5" y="6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3"/>
                    <a:pt x="6" y="74"/>
                    <a:pt x="7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0" y="77"/>
                    <a:pt x="9" y="87"/>
                    <a:pt x="10" y="97"/>
                  </a:cubicBezTo>
                  <a:cubicBezTo>
                    <a:pt x="11" y="105"/>
                    <a:pt x="14" y="112"/>
                    <a:pt x="19" y="117"/>
                  </a:cubicBezTo>
                  <a:cubicBezTo>
                    <a:pt x="25" y="125"/>
                    <a:pt x="34" y="128"/>
                    <a:pt x="46" y="128"/>
                  </a:cubicBezTo>
                  <a:cubicBezTo>
                    <a:pt x="60" y="128"/>
                    <a:pt x="71" y="124"/>
                    <a:pt x="78" y="117"/>
                  </a:cubicBezTo>
                  <a:cubicBezTo>
                    <a:pt x="87" y="107"/>
                    <a:pt x="87" y="95"/>
                    <a:pt x="87" y="93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91" y="93"/>
                    <a:pt x="93" y="92"/>
                    <a:pt x="93" y="91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8"/>
                    <a:pt x="91" y="77"/>
                    <a:pt x="90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7"/>
                    <a:pt x="88" y="74"/>
                    <a:pt x="90" y="72"/>
                  </a:cubicBezTo>
                  <a:cubicBezTo>
                    <a:pt x="92" y="70"/>
                    <a:pt x="97" y="68"/>
                    <a:pt x="104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1" y="74"/>
                    <a:pt x="112" y="74"/>
                    <a:pt x="113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7" y="74"/>
                    <a:pt x="128" y="73"/>
                    <a:pt x="128" y="72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7"/>
                    <a:pt x="127" y="35"/>
                    <a:pt x="126" y="35"/>
                  </a:cubicBezTo>
                  <a:moveTo>
                    <a:pt x="5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5" y="5"/>
                  </a:ln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4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4"/>
                    <a:pt x="11" y="55"/>
                    <a:pt x="12" y="55"/>
                  </a:cubicBezTo>
                  <a:cubicBezTo>
                    <a:pt x="13" y="55"/>
                    <a:pt x="14" y="54"/>
                    <a:pt x="14" y="5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2"/>
                  </a:cubicBezTo>
                  <a:cubicBezTo>
                    <a:pt x="15" y="21"/>
                    <a:pt x="15" y="20"/>
                    <a:pt x="13" y="19"/>
                  </a:cubicBezTo>
                  <a:cubicBezTo>
                    <a:pt x="12" y="19"/>
                    <a:pt x="9" y="17"/>
                    <a:pt x="8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7" y="17"/>
                    <a:pt x="35" y="18"/>
                    <a:pt x="33" y="19"/>
                  </a:cubicBezTo>
                  <a:cubicBezTo>
                    <a:pt x="32" y="19"/>
                    <a:pt x="32" y="21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4"/>
                    <a:pt x="33" y="55"/>
                    <a:pt x="34" y="55"/>
                  </a:cubicBezTo>
                  <a:cubicBezTo>
                    <a:pt x="36" y="55"/>
                    <a:pt x="37" y="54"/>
                    <a:pt x="37" y="5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9" y="21"/>
                    <a:pt x="42" y="18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4"/>
                    <a:pt x="47" y="1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1"/>
                    <a:pt x="46" y="0"/>
                    <a:pt x="4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8"/>
                    <a:pt x="8" y="21"/>
                    <a:pt x="10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2" name="Group 191">
            <a:extLst>
              <a:ext uri="{FF2B5EF4-FFF2-40B4-BE49-F238E27FC236}">
                <a16:creationId xmlns:a16="http://schemas.microsoft.com/office/drawing/2014/main" id="{324F6075-013E-446D-B318-F44B1B1E07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5963" y="4133850"/>
            <a:ext cx="758825" cy="758825"/>
            <a:chOff x="3651" y="2604"/>
            <a:chExt cx="478" cy="478"/>
          </a:xfrm>
        </p:grpSpPr>
        <p:sp>
          <p:nvSpPr>
            <p:cNvPr id="233" name="AutoShape 190">
              <a:extLst>
                <a:ext uri="{FF2B5EF4-FFF2-40B4-BE49-F238E27FC236}">
                  <a16:creationId xmlns:a16="http://schemas.microsoft.com/office/drawing/2014/main" id="{C51921F6-3011-4972-AC6A-9540067269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1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92">
              <a:extLst>
                <a:ext uri="{FF2B5EF4-FFF2-40B4-BE49-F238E27FC236}">
                  <a16:creationId xmlns:a16="http://schemas.microsoft.com/office/drawing/2014/main" id="{E46E7366-8DC9-44D7-88DE-DCA5717C4A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3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93">
              <a:extLst>
                <a:ext uri="{FF2B5EF4-FFF2-40B4-BE49-F238E27FC236}">
                  <a16:creationId xmlns:a16="http://schemas.microsoft.com/office/drawing/2014/main" id="{6FAA2B05-AF5C-44FB-8BD2-FD2EF9F40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4" y="2697"/>
              <a:ext cx="314" cy="314"/>
            </a:xfrm>
            <a:custGeom>
              <a:avLst/>
              <a:gdLst>
                <a:gd name="T0" fmla="*/ 28 w 128"/>
                <a:gd name="T1" fmla="*/ 80 h 128"/>
                <a:gd name="T2" fmla="*/ 24 w 128"/>
                <a:gd name="T3" fmla="*/ 79 h 128"/>
                <a:gd name="T4" fmla="*/ 45 w 128"/>
                <a:gd name="T5" fmla="*/ 109 h 128"/>
                <a:gd name="T6" fmla="*/ 24 w 128"/>
                <a:gd name="T7" fmla="*/ 88 h 128"/>
                <a:gd name="T8" fmla="*/ 47 w 128"/>
                <a:gd name="T9" fmla="*/ 111 h 128"/>
                <a:gd name="T10" fmla="*/ 27 w 128"/>
                <a:gd name="T11" fmla="*/ 21 h 128"/>
                <a:gd name="T12" fmla="*/ 27 w 128"/>
                <a:gd name="T13" fmla="*/ 26 h 128"/>
                <a:gd name="T14" fmla="*/ 27 w 128"/>
                <a:gd name="T15" fmla="*/ 29 h 128"/>
                <a:gd name="T16" fmla="*/ 27 w 128"/>
                <a:gd name="T17" fmla="*/ 54 h 128"/>
                <a:gd name="T18" fmla="*/ 27 w 128"/>
                <a:gd name="T19" fmla="*/ 29 h 128"/>
                <a:gd name="T20" fmla="*/ 115 w 128"/>
                <a:gd name="T21" fmla="*/ 40 h 128"/>
                <a:gd name="T22" fmla="*/ 111 w 128"/>
                <a:gd name="T23" fmla="*/ 67 h 128"/>
                <a:gd name="T24" fmla="*/ 105 w 128"/>
                <a:gd name="T25" fmla="*/ 63 h 128"/>
                <a:gd name="T26" fmla="*/ 65 w 128"/>
                <a:gd name="T27" fmla="*/ 77 h 128"/>
                <a:gd name="T28" fmla="*/ 102 w 128"/>
                <a:gd name="T29" fmla="*/ 51 h 128"/>
                <a:gd name="T30" fmla="*/ 107 w 128"/>
                <a:gd name="T31" fmla="*/ 45 h 128"/>
                <a:gd name="T32" fmla="*/ 88 w 128"/>
                <a:gd name="T33" fmla="*/ 89 h 128"/>
                <a:gd name="T34" fmla="*/ 88 w 128"/>
                <a:gd name="T35" fmla="*/ 82 h 128"/>
                <a:gd name="T36" fmla="*/ 46 w 128"/>
                <a:gd name="T37" fmla="*/ 124 h 128"/>
                <a:gd name="T38" fmla="*/ 32 w 128"/>
                <a:gd name="T39" fmla="*/ 74 h 128"/>
                <a:gd name="T40" fmla="*/ 48 w 128"/>
                <a:gd name="T41" fmla="*/ 106 h 128"/>
                <a:gd name="T42" fmla="*/ 64 w 128"/>
                <a:gd name="T43" fmla="*/ 93 h 128"/>
                <a:gd name="T44" fmla="*/ 75 w 128"/>
                <a:gd name="T45" fmla="*/ 114 h 128"/>
                <a:gd name="T46" fmla="*/ 37 w 128"/>
                <a:gd name="T47" fmla="*/ 70 h 128"/>
                <a:gd name="T48" fmla="*/ 126 w 128"/>
                <a:gd name="T49" fmla="*/ 35 h 128"/>
                <a:gd name="T50" fmla="*/ 111 w 128"/>
                <a:gd name="T51" fmla="*/ 37 h 128"/>
                <a:gd name="T52" fmla="*/ 103 w 128"/>
                <a:gd name="T53" fmla="*/ 41 h 128"/>
                <a:gd name="T54" fmla="*/ 57 w 128"/>
                <a:gd name="T55" fmla="*/ 77 h 128"/>
                <a:gd name="T56" fmla="*/ 57 w 128"/>
                <a:gd name="T57" fmla="*/ 93 h 128"/>
                <a:gd name="T58" fmla="*/ 57 w 128"/>
                <a:gd name="T59" fmla="*/ 98 h 128"/>
                <a:gd name="T60" fmla="*/ 41 w 128"/>
                <a:gd name="T61" fmla="*/ 99 h 128"/>
                <a:gd name="T62" fmla="*/ 42 w 128"/>
                <a:gd name="T63" fmla="*/ 72 h 128"/>
                <a:gd name="T64" fmla="*/ 7 w 128"/>
                <a:gd name="T65" fmla="*/ 59 h 128"/>
                <a:gd name="T66" fmla="*/ 7 w 128"/>
                <a:gd name="T67" fmla="*/ 74 h 128"/>
                <a:gd name="T68" fmla="*/ 19 w 128"/>
                <a:gd name="T69" fmla="*/ 117 h 128"/>
                <a:gd name="T70" fmla="*/ 87 w 128"/>
                <a:gd name="T71" fmla="*/ 93 h 128"/>
                <a:gd name="T72" fmla="*/ 93 w 128"/>
                <a:gd name="T73" fmla="*/ 80 h 128"/>
                <a:gd name="T74" fmla="*/ 90 w 128"/>
                <a:gd name="T75" fmla="*/ 72 h 128"/>
                <a:gd name="T76" fmla="*/ 111 w 128"/>
                <a:gd name="T77" fmla="*/ 72 h 128"/>
                <a:gd name="T78" fmla="*/ 128 w 128"/>
                <a:gd name="T79" fmla="*/ 72 h 128"/>
                <a:gd name="T80" fmla="*/ 5 w 128"/>
                <a:gd name="T81" fmla="*/ 5 h 128"/>
                <a:gd name="T82" fmla="*/ 5 w 128"/>
                <a:gd name="T83" fmla="*/ 10 h 128"/>
                <a:gd name="T84" fmla="*/ 10 w 128"/>
                <a:gd name="T85" fmla="*/ 24 h 128"/>
                <a:gd name="T86" fmla="*/ 14 w 128"/>
                <a:gd name="T87" fmla="*/ 53 h 128"/>
                <a:gd name="T88" fmla="*/ 14 w 128"/>
                <a:gd name="T89" fmla="*/ 22 h 128"/>
                <a:gd name="T90" fmla="*/ 39 w 128"/>
                <a:gd name="T91" fmla="*/ 15 h 128"/>
                <a:gd name="T92" fmla="*/ 32 w 128"/>
                <a:gd name="T93" fmla="*/ 23 h 128"/>
                <a:gd name="T94" fmla="*/ 37 w 128"/>
                <a:gd name="T95" fmla="*/ 53 h 128"/>
                <a:gd name="T96" fmla="*/ 43 w 128"/>
                <a:gd name="T97" fmla="*/ 15 h 128"/>
                <a:gd name="T98" fmla="*/ 47 w 128"/>
                <a:gd name="T99" fmla="*/ 12 h 128"/>
                <a:gd name="T100" fmla="*/ 2 w 128"/>
                <a:gd name="T101" fmla="*/ 0 h 128"/>
                <a:gd name="T102" fmla="*/ 2 w 128"/>
                <a:gd name="T103" fmla="*/ 15 h 128"/>
                <a:gd name="T104" fmla="*/ 10 w 128"/>
                <a:gd name="T105" fmla="*/ 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8" h="128">
                  <a:moveTo>
                    <a:pt x="26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8" y="82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79"/>
                    <a:pt x="27" y="77"/>
                    <a:pt x="26" y="77"/>
                  </a:cubicBezTo>
                  <a:cubicBezTo>
                    <a:pt x="25" y="77"/>
                    <a:pt x="24" y="78"/>
                    <a:pt x="24" y="79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1"/>
                    <a:pt x="24" y="82"/>
                    <a:pt x="26" y="82"/>
                  </a:cubicBezTo>
                  <a:moveTo>
                    <a:pt x="45" y="109"/>
                  </a:moveTo>
                  <a:cubicBezTo>
                    <a:pt x="30" y="108"/>
                    <a:pt x="28" y="95"/>
                    <a:pt x="28" y="88"/>
                  </a:cubicBezTo>
                  <a:cubicBezTo>
                    <a:pt x="28" y="87"/>
                    <a:pt x="27" y="86"/>
                    <a:pt x="26" y="86"/>
                  </a:cubicBezTo>
                  <a:cubicBezTo>
                    <a:pt x="25" y="86"/>
                    <a:pt x="24" y="87"/>
                    <a:pt x="24" y="88"/>
                  </a:cubicBezTo>
                  <a:cubicBezTo>
                    <a:pt x="24" y="103"/>
                    <a:pt x="31" y="112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6" y="113"/>
                    <a:pt x="47" y="112"/>
                    <a:pt x="47" y="111"/>
                  </a:cubicBezTo>
                  <a:cubicBezTo>
                    <a:pt x="47" y="110"/>
                    <a:pt x="46" y="109"/>
                    <a:pt x="45" y="109"/>
                  </a:cubicBezTo>
                  <a:moveTo>
                    <a:pt x="29" y="23"/>
                  </a:moveTo>
                  <a:cubicBezTo>
                    <a:pt x="29" y="22"/>
                    <a:pt x="28" y="21"/>
                    <a:pt x="27" y="21"/>
                  </a:cubicBezTo>
                  <a:cubicBezTo>
                    <a:pt x="26" y="21"/>
                    <a:pt x="25" y="22"/>
                    <a:pt x="25" y="23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5"/>
                    <a:pt x="26" y="26"/>
                    <a:pt x="27" y="26"/>
                  </a:cubicBezTo>
                  <a:cubicBezTo>
                    <a:pt x="28" y="26"/>
                    <a:pt x="29" y="25"/>
                    <a:pt x="29" y="24"/>
                  </a:cubicBezTo>
                  <a:lnTo>
                    <a:pt x="29" y="23"/>
                  </a:lnTo>
                  <a:close/>
                  <a:moveTo>
                    <a:pt x="27" y="29"/>
                  </a:moveTo>
                  <a:cubicBezTo>
                    <a:pt x="26" y="29"/>
                    <a:pt x="25" y="30"/>
                    <a:pt x="25" y="31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3"/>
                    <a:pt x="26" y="54"/>
                    <a:pt x="27" y="54"/>
                  </a:cubicBezTo>
                  <a:cubicBezTo>
                    <a:pt x="28" y="54"/>
                    <a:pt x="29" y="53"/>
                    <a:pt x="29" y="52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0"/>
                    <a:pt x="28" y="29"/>
                    <a:pt x="27" y="29"/>
                  </a:cubicBezTo>
                  <a:moveTo>
                    <a:pt x="124" y="70"/>
                  </a:moveTo>
                  <a:cubicBezTo>
                    <a:pt x="115" y="70"/>
                    <a:pt x="115" y="70"/>
                    <a:pt x="115" y="7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24" y="40"/>
                    <a:pt x="124" y="40"/>
                    <a:pt x="124" y="40"/>
                  </a:cubicBezTo>
                  <a:lnTo>
                    <a:pt x="124" y="70"/>
                  </a:lnTo>
                  <a:close/>
                  <a:moveTo>
                    <a:pt x="111" y="67"/>
                  </a:move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6" y="64"/>
                    <a:pt x="106" y="64"/>
                  </a:cubicBezTo>
                  <a:cubicBezTo>
                    <a:pt x="106" y="63"/>
                    <a:pt x="105" y="63"/>
                    <a:pt x="105" y="63"/>
                  </a:cubicBezTo>
                  <a:cubicBezTo>
                    <a:pt x="96" y="63"/>
                    <a:pt x="90" y="66"/>
                    <a:pt x="86" y="70"/>
                  </a:cubicBezTo>
                  <a:cubicBezTo>
                    <a:pt x="84" y="73"/>
                    <a:pt x="84" y="76"/>
                    <a:pt x="8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1"/>
                    <a:pt x="66" y="64"/>
                    <a:pt x="70" y="59"/>
                  </a:cubicBezTo>
                  <a:cubicBezTo>
                    <a:pt x="76" y="52"/>
                    <a:pt x="86" y="47"/>
                    <a:pt x="102" y="46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3" y="53"/>
                    <a:pt x="105" y="53"/>
                  </a:cubicBezTo>
                  <a:cubicBezTo>
                    <a:pt x="106" y="53"/>
                    <a:pt x="107" y="52"/>
                    <a:pt x="107" y="51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11" y="42"/>
                    <a:pt x="111" y="42"/>
                    <a:pt x="111" y="42"/>
                  </a:cubicBezTo>
                  <a:lnTo>
                    <a:pt x="111" y="67"/>
                  </a:lnTo>
                  <a:close/>
                  <a:moveTo>
                    <a:pt x="8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88" y="82"/>
                    <a:pt x="88" y="82"/>
                    <a:pt x="88" y="82"/>
                  </a:cubicBezTo>
                  <a:lnTo>
                    <a:pt x="88" y="89"/>
                  </a:lnTo>
                  <a:close/>
                  <a:moveTo>
                    <a:pt x="75" y="114"/>
                  </a:moveTo>
                  <a:cubicBezTo>
                    <a:pt x="69" y="120"/>
                    <a:pt x="59" y="124"/>
                    <a:pt x="46" y="124"/>
                  </a:cubicBezTo>
                  <a:cubicBezTo>
                    <a:pt x="20" y="124"/>
                    <a:pt x="16" y="103"/>
                    <a:pt x="15" y="96"/>
                  </a:cubicBezTo>
                  <a:cubicBezTo>
                    <a:pt x="14" y="87"/>
                    <a:pt x="14" y="76"/>
                    <a:pt x="14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8"/>
                    <a:pt x="31" y="94"/>
                    <a:pt x="38" y="102"/>
                  </a:cubicBezTo>
                  <a:cubicBezTo>
                    <a:pt x="40" y="104"/>
                    <a:pt x="44" y="106"/>
                    <a:pt x="47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55" y="106"/>
                    <a:pt x="58" y="103"/>
                    <a:pt x="60" y="101"/>
                  </a:cubicBezTo>
                  <a:cubicBezTo>
                    <a:pt x="63" y="99"/>
                    <a:pt x="64" y="97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2" y="93"/>
                    <a:pt x="83" y="105"/>
                    <a:pt x="75" y="114"/>
                  </a:cubicBezTo>
                  <a:moveTo>
                    <a:pt x="9" y="63"/>
                  </a:moveTo>
                  <a:cubicBezTo>
                    <a:pt x="37" y="63"/>
                    <a:pt x="37" y="63"/>
                    <a:pt x="37" y="63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9" y="70"/>
                    <a:pt x="9" y="70"/>
                    <a:pt x="9" y="70"/>
                  </a:cubicBezTo>
                  <a:lnTo>
                    <a:pt x="9" y="63"/>
                  </a:lnTo>
                  <a:close/>
                  <a:moveTo>
                    <a:pt x="126" y="35"/>
                  </a:moveTo>
                  <a:cubicBezTo>
                    <a:pt x="113" y="35"/>
                    <a:pt x="113" y="35"/>
                    <a:pt x="113" y="35"/>
                  </a:cubicBezTo>
                  <a:cubicBezTo>
                    <a:pt x="112" y="35"/>
                    <a:pt x="112" y="36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85" y="43"/>
                    <a:pt x="73" y="48"/>
                    <a:pt x="67" y="56"/>
                  </a:cubicBezTo>
                  <a:cubicBezTo>
                    <a:pt x="61" y="63"/>
                    <a:pt x="61" y="71"/>
                    <a:pt x="60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7"/>
                    <a:pt x="54" y="78"/>
                    <a:pt x="54" y="80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2"/>
                    <a:pt x="56" y="93"/>
                    <a:pt x="57" y="93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9" y="93"/>
                    <a:pt x="59" y="94"/>
                  </a:cubicBezTo>
                  <a:cubicBezTo>
                    <a:pt x="59" y="95"/>
                    <a:pt x="58" y="97"/>
                    <a:pt x="57" y="98"/>
                  </a:cubicBezTo>
                  <a:cubicBezTo>
                    <a:pt x="55" y="100"/>
                    <a:pt x="52" y="101"/>
                    <a:pt x="48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1"/>
                    <a:pt x="43" y="100"/>
                    <a:pt x="41" y="99"/>
                  </a:cubicBezTo>
                  <a:cubicBezTo>
                    <a:pt x="35" y="92"/>
                    <a:pt x="36" y="76"/>
                    <a:pt x="36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1" y="74"/>
                    <a:pt x="42" y="73"/>
                    <a:pt x="42" y="72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0"/>
                    <a:pt x="41" y="59"/>
                    <a:pt x="40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6" y="59"/>
                    <a:pt x="5" y="60"/>
                    <a:pt x="5" y="6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3"/>
                    <a:pt x="6" y="74"/>
                    <a:pt x="7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0" y="77"/>
                    <a:pt x="9" y="87"/>
                    <a:pt x="10" y="97"/>
                  </a:cubicBezTo>
                  <a:cubicBezTo>
                    <a:pt x="11" y="105"/>
                    <a:pt x="14" y="112"/>
                    <a:pt x="19" y="117"/>
                  </a:cubicBezTo>
                  <a:cubicBezTo>
                    <a:pt x="25" y="125"/>
                    <a:pt x="34" y="128"/>
                    <a:pt x="46" y="128"/>
                  </a:cubicBezTo>
                  <a:cubicBezTo>
                    <a:pt x="60" y="128"/>
                    <a:pt x="71" y="124"/>
                    <a:pt x="78" y="117"/>
                  </a:cubicBezTo>
                  <a:cubicBezTo>
                    <a:pt x="87" y="107"/>
                    <a:pt x="87" y="95"/>
                    <a:pt x="87" y="93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91" y="93"/>
                    <a:pt x="93" y="92"/>
                    <a:pt x="93" y="91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8"/>
                    <a:pt x="91" y="77"/>
                    <a:pt x="90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7"/>
                    <a:pt x="88" y="74"/>
                    <a:pt x="90" y="72"/>
                  </a:cubicBezTo>
                  <a:cubicBezTo>
                    <a:pt x="92" y="70"/>
                    <a:pt x="97" y="68"/>
                    <a:pt x="104" y="68"/>
                  </a:cubicBezTo>
                  <a:cubicBezTo>
                    <a:pt x="104" y="68"/>
                    <a:pt x="104" y="68"/>
                    <a:pt x="104" y="68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1" y="74"/>
                    <a:pt x="112" y="74"/>
                    <a:pt x="113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7" y="74"/>
                    <a:pt x="128" y="73"/>
                    <a:pt x="128" y="72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7"/>
                    <a:pt x="127" y="35"/>
                    <a:pt x="126" y="35"/>
                  </a:cubicBezTo>
                  <a:moveTo>
                    <a:pt x="5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5" y="5"/>
                  </a:ln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4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4"/>
                    <a:pt x="11" y="55"/>
                    <a:pt x="12" y="55"/>
                  </a:cubicBezTo>
                  <a:cubicBezTo>
                    <a:pt x="13" y="55"/>
                    <a:pt x="14" y="54"/>
                    <a:pt x="14" y="5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2"/>
                  </a:cubicBezTo>
                  <a:cubicBezTo>
                    <a:pt x="15" y="21"/>
                    <a:pt x="15" y="20"/>
                    <a:pt x="13" y="19"/>
                  </a:cubicBezTo>
                  <a:cubicBezTo>
                    <a:pt x="12" y="19"/>
                    <a:pt x="9" y="17"/>
                    <a:pt x="8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7" y="17"/>
                    <a:pt x="35" y="18"/>
                    <a:pt x="33" y="19"/>
                  </a:cubicBezTo>
                  <a:cubicBezTo>
                    <a:pt x="32" y="19"/>
                    <a:pt x="32" y="21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4"/>
                    <a:pt x="33" y="55"/>
                    <a:pt x="34" y="55"/>
                  </a:cubicBezTo>
                  <a:cubicBezTo>
                    <a:pt x="36" y="55"/>
                    <a:pt x="37" y="54"/>
                    <a:pt x="37" y="5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9" y="21"/>
                    <a:pt x="42" y="18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4"/>
                    <a:pt x="47" y="1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1"/>
                    <a:pt x="46" y="0"/>
                    <a:pt x="4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8"/>
                    <a:pt x="8" y="21"/>
                    <a:pt x="10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6" name="Group 196">
            <a:extLst>
              <a:ext uri="{FF2B5EF4-FFF2-40B4-BE49-F238E27FC236}">
                <a16:creationId xmlns:a16="http://schemas.microsoft.com/office/drawing/2014/main" id="{C40D2F60-EA39-439D-86E6-A45157AFB5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7538" y="4092575"/>
            <a:ext cx="841375" cy="841375"/>
            <a:chOff x="4389" y="2578"/>
            <a:chExt cx="530" cy="530"/>
          </a:xfrm>
        </p:grpSpPr>
        <p:sp>
          <p:nvSpPr>
            <p:cNvPr id="237" name="AutoShape 195">
              <a:extLst>
                <a:ext uri="{FF2B5EF4-FFF2-40B4-BE49-F238E27FC236}">
                  <a16:creationId xmlns:a16="http://schemas.microsoft.com/office/drawing/2014/main" id="{B053B7EC-B1AF-44E7-9796-295CEECEA78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9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197">
              <a:extLst>
                <a:ext uri="{FF2B5EF4-FFF2-40B4-BE49-F238E27FC236}">
                  <a16:creationId xmlns:a16="http://schemas.microsoft.com/office/drawing/2014/main" id="{B99BBC4E-6179-4C5E-9467-4F2A0D6B7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9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98">
              <a:extLst>
                <a:ext uri="{FF2B5EF4-FFF2-40B4-BE49-F238E27FC236}">
                  <a16:creationId xmlns:a16="http://schemas.microsoft.com/office/drawing/2014/main" id="{D4F62372-B3ED-460D-A8A5-965EABB67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7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99">
              <a:extLst>
                <a:ext uri="{FF2B5EF4-FFF2-40B4-BE49-F238E27FC236}">
                  <a16:creationId xmlns:a16="http://schemas.microsoft.com/office/drawing/2014/main" id="{0E8EA02A-6CAC-4249-A91F-C3D90AE7A1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6" y="2737"/>
              <a:ext cx="338" cy="215"/>
            </a:xfrm>
            <a:custGeom>
              <a:avLst/>
              <a:gdLst>
                <a:gd name="T0" fmla="*/ 57 w 132"/>
                <a:gd name="T1" fmla="*/ 57 h 84"/>
                <a:gd name="T2" fmla="*/ 31 w 132"/>
                <a:gd name="T3" fmla="*/ 46 h 84"/>
                <a:gd name="T4" fmla="*/ 88 w 132"/>
                <a:gd name="T5" fmla="*/ 30 h 84"/>
                <a:gd name="T6" fmla="*/ 76 w 132"/>
                <a:gd name="T7" fmla="*/ 77 h 84"/>
                <a:gd name="T8" fmla="*/ 65 w 132"/>
                <a:gd name="T9" fmla="*/ 60 h 84"/>
                <a:gd name="T10" fmla="*/ 77 w 132"/>
                <a:gd name="T11" fmla="*/ 71 h 84"/>
                <a:gd name="T12" fmla="*/ 5 w 132"/>
                <a:gd name="T13" fmla="*/ 23 h 84"/>
                <a:gd name="T14" fmla="*/ 91 w 132"/>
                <a:gd name="T15" fmla="*/ 28 h 84"/>
                <a:gd name="T16" fmla="*/ 5 w 132"/>
                <a:gd name="T17" fmla="*/ 23 h 84"/>
                <a:gd name="T18" fmla="*/ 17 w 132"/>
                <a:gd name="T19" fmla="*/ 69 h 84"/>
                <a:gd name="T20" fmla="*/ 26 w 132"/>
                <a:gd name="T21" fmla="*/ 69 h 84"/>
                <a:gd name="T22" fmla="*/ 132 w 132"/>
                <a:gd name="T23" fmla="*/ 12 h 84"/>
                <a:gd name="T24" fmla="*/ 108 w 132"/>
                <a:gd name="T25" fmla="*/ 15 h 84"/>
                <a:gd name="T26" fmla="*/ 92 w 132"/>
                <a:gd name="T27" fmla="*/ 47 h 84"/>
                <a:gd name="T28" fmla="*/ 92 w 132"/>
                <a:gd name="T29" fmla="*/ 33 h 84"/>
                <a:gd name="T30" fmla="*/ 96 w 132"/>
                <a:gd name="T31" fmla="*/ 30 h 84"/>
                <a:gd name="T32" fmla="*/ 94 w 132"/>
                <a:gd name="T33" fmla="*/ 18 h 84"/>
                <a:gd name="T34" fmla="*/ 62 w 132"/>
                <a:gd name="T35" fmla="*/ 1 h 84"/>
                <a:gd name="T36" fmla="*/ 41 w 132"/>
                <a:gd name="T37" fmla="*/ 17 h 84"/>
                <a:gd name="T38" fmla="*/ 28 w 132"/>
                <a:gd name="T39" fmla="*/ 9 h 84"/>
                <a:gd name="T40" fmla="*/ 3 w 132"/>
                <a:gd name="T41" fmla="*/ 18 h 84"/>
                <a:gd name="T42" fmla="*/ 0 w 132"/>
                <a:gd name="T43" fmla="*/ 30 h 84"/>
                <a:gd name="T44" fmla="*/ 6 w 132"/>
                <a:gd name="T45" fmla="*/ 33 h 84"/>
                <a:gd name="T46" fmla="*/ 40 w 132"/>
                <a:gd name="T47" fmla="*/ 62 h 84"/>
                <a:gd name="T48" fmla="*/ 22 w 132"/>
                <a:gd name="T49" fmla="*/ 54 h 84"/>
                <a:gd name="T50" fmla="*/ 22 w 132"/>
                <a:gd name="T51" fmla="*/ 84 h 84"/>
                <a:gd name="T52" fmla="*/ 36 w 132"/>
                <a:gd name="T53" fmla="*/ 68 h 84"/>
                <a:gd name="T54" fmla="*/ 60 w 132"/>
                <a:gd name="T55" fmla="*/ 61 h 84"/>
                <a:gd name="T56" fmla="*/ 76 w 132"/>
                <a:gd name="T57" fmla="*/ 82 h 84"/>
                <a:gd name="T58" fmla="*/ 82 w 132"/>
                <a:gd name="T59" fmla="*/ 71 h 84"/>
                <a:gd name="T60" fmla="*/ 95 w 132"/>
                <a:gd name="T61" fmla="*/ 52 h 84"/>
                <a:gd name="T62" fmla="*/ 111 w 132"/>
                <a:gd name="T63" fmla="*/ 20 h 84"/>
                <a:gd name="T64" fmla="*/ 132 w 132"/>
                <a:gd name="T6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2" h="84">
                  <a:moveTo>
                    <a:pt x="78" y="51"/>
                  </a:moveTo>
                  <a:cubicBezTo>
                    <a:pt x="57" y="57"/>
                    <a:pt x="57" y="57"/>
                    <a:pt x="57" y="57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4" y="56"/>
                    <a:pt x="40" y="49"/>
                    <a:pt x="31" y="46"/>
                  </a:cubicBezTo>
                  <a:cubicBezTo>
                    <a:pt x="14" y="40"/>
                    <a:pt x="11" y="33"/>
                    <a:pt x="10" y="30"/>
                  </a:cubicBezTo>
                  <a:cubicBezTo>
                    <a:pt x="88" y="30"/>
                    <a:pt x="88" y="30"/>
                    <a:pt x="88" y="30"/>
                  </a:cubicBezTo>
                  <a:lnTo>
                    <a:pt x="78" y="51"/>
                  </a:lnTo>
                  <a:close/>
                  <a:moveTo>
                    <a:pt x="76" y="77"/>
                  </a:moveTo>
                  <a:cubicBezTo>
                    <a:pt x="76" y="77"/>
                    <a:pt x="75" y="76"/>
                    <a:pt x="73" y="73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7" y="75"/>
                    <a:pt x="78" y="76"/>
                    <a:pt x="76" y="77"/>
                  </a:cubicBezTo>
                  <a:moveTo>
                    <a:pt x="5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5" y="28"/>
                    <a:pt x="5" y="28"/>
                    <a:pt x="5" y="28"/>
                  </a:cubicBezTo>
                  <a:lnTo>
                    <a:pt x="5" y="23"/>
                  </a:lnTo>
                  <a:close/>
                  <a:moveTo>
                    <a:pt x="22" y="74"/>
                  </a:moveTo>
                  <a:cubicBezTo>
                    <a:pt x="19" y="74"/>
                    <a:pt x="17" y="72"/>
                    <a:pt x="17" y="69"/>
                  </a:cubicBezTo>
                  <a:cubicBezTo>
                    <a:pt x="17" y="66"/>
                    <a:pt x="19" y="64"/>
                    <a:pt x="22" y="64"/>
                  </a:cubicBezTo>
                  <a:cubicBezTo>
                    <a:pt x="24" y="64"/>
                    <a:pt x="26" y="66"/>
                    <a:pt x="26" y="69"/>
                  </a:cubicBezTo>
                  <a:cubicBezTo>
                    <a:pt x="26" y="72"/>
                    <a:pt x="24" y="74"/>
                    <a:pt x="22" y="74"/>
                  </a:cubicBezTo>
                  <a:moveTo>
                    <a:pt x="132" y="12"/>
                  </a:moveTo>
                  <a:cubicBezTo>
                    <a:pt x="131" y="11"/>
                    <a:pt x="130" y="10"/>
                    <a:pt x="129" y="11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7" y="15"/>
                    <a:pt x="107" y="16"/>
                    <a:pt x="107" y="16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5" y="33"/>
                    <a:pt x="96" y="32"/>
                    <a:pt x="96" y="3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9"/>
                    <a:pt x="95" y="18"/>
                    <a:pt x="94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1" y="0"/>
                    <a:pt x="60" y="0"/>
                    <a:pt x="59" y="1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8"/>
                    <a:pt x="29" y="8"/>
                    <a:pt x="28" y="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1" y="33"/>
                    <a:pt x="3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7" y="37"/>
                    <a:pt x="12" y="45"/>
                    <a:pt x="29" y="51"/>
                  </a:cubicBezTo>
                  <a:cubicBezTo>
                    <a:pt x="36" y="53"/>
                    <a:pt x="39" y="59"/>
                    <a:pt x="40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3" y="58"/>
                    <a:pt x="28" y="54"/>
                    <a:pt x="22" y="54"/>
                  </a:cubicBezTo>
                  <a:cubicBezTo>
                    <a:pt x="13" y="54"/>
                    <a:pt x="7" y="61"/>
                    <a:pt x="7" y="69"/>
                  </a:cubicBezTo>
                  <a:cubicBezTo>
                    <a:pt x="7" y="77"/>
                    <a:pt x="13" y="84"/>
                    <a:pt x="22" y="84"/>
                  </a:cubicBezTo>
                  <a:cubicBezTo>
                    <a:pt x="30" y="84"/>
                    <a:pt x="36" y="77"/>
                    <a:pt x="36" y="69"/>
                  </a:cubicBezTo>
                  <a:cubicBezTo>
                    <a:pt x="36" y="69"/>
                    <a:pt x="36" y="68"/>
                    <a:pt x="36" y="68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71" y="80"/>
                    <a:pt x="74" y="82"/>
                    <a:pt x="76" y="82"/>
                  </a:cubicBezTo>
                  <a:cubicBezTo>
                    <a:pt x="77" y="82"/>
                    <a:pt x="77" y="82"/>
                    <a:pt x="78" y="82"/>
                  </a:cubicBezTo>
                  <a:cubicBezTo>
                    <a:pt x="81" y="81"/>
                    <a:pt x="82" y="77"/>
                    <a:pt x="82" y="71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6" y="51"/>
                    <a:pt x="96" y="5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1" y="15"/>
                    <a:pt x="132" y="14"/>
                    <a:pt x="132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1" name="Group 202">
            <a:extLst>
              <a:ext uri="{FF2B5EF4-FFF2-40B4-BE49-F238E27FC236}">
                <a16:creationId xmlns:a16="http://schemas.microsoft.com/office/drawing/2014/main" id="{CBA237B6-58FB-4376-A83F-AE3E805908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7200" y="4133850"/>
            <a:ext cx="760413" cy="758825"/>
            <a:chOff x="5088" y="2604"/>
            <a:chExt cx="479" cy="478"/>
          </a:xfrm>
        </p:grpSpPr>
        <p:sp>
          <p:nvSpPr>
            <p:cNvPr id="242" name="AutoShape 201">
              <a:extLst>
                <a:ext uri="{FF2B5EF4-FFF2-40B4-BE49-F238E27FC236}">
                  <a16:creationId xmlns:a16="http://schemas.microsoft.com/office/drawing/2014/main" id="{BAFA98D5-9F13-4453-8B70-2AFCD333FAD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8" y="260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03">
              <a:extLst>
                <a:ext uri="{FF2B5EF4-FFF2-40B4-BE49-F238E27FC236}">
                  <a16:creationId xmlns:a16="http://schemas.microsoft.com/office/drawing/2014/main" id="{74FE066A-27A4-4501-BB1B-C0E6949452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0" y="260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04">
              <a:extLst>
                <a:ext uri="{FF2B5EF4-FFF2-40B4-BE49-F238E27FC236}">
                  <a16:creationId xmlns:a16="http://schemas.microsoft.com/office/drawing/2014/main" id="{04B4C5EA-1D1E-4CD6-A674-B2BB510821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7" y="2741"/>
              <a:ext cx="324" cy="206"/>
            </a:xfrm>
            <a:custGeom>
              <a:avLst/>
              <a:gdLst>
                <a:gd name="T0" fmla="*/ 57 w 132"/>
                <a:gd name="T1" fmla="*/ 57 h 84"/>
                <a:gd name="T2" fmla="*/ 31 w 132"/>
                <a:gd name="T3" fmla="*/ 46 h 84"/>
                <a:gd name="T4" fmla="*/ 88 w 132"/>
                <a:gd name="T5" fmla="*/ 30 h 84"/>
                <a:gd name="T6" fmla="*/ 76 w 132"/>
                <a:gd name="T7" fmla="*/ 77 h 84"/>
                <a:gd name="T8" fmla="*/ 65 w 132"/>
                <a:gd name="T9" fmla="*/ 60 h 84"/>
                <a:gd name="T10" fmla="*/ 77 w 132"/>
                <a:gd name="T11" fmla="*/ 71 h 84"/>
                <a:gd name="T12" fmla="*/ 5 w 132"/>
                <a:gd name="T13" fmla="*/ 23 h 84"/>
                <a:gd name="T14" fmla="*/ 91 w 132"/>
                <a:gd name="T15" fmla="*/ 28 h 84"/>
                <a:gd name="T16" fmla="*/ 5 w 132"/>
                <a:gd name="T17" fmla="*/ 23 h 84"/>
                <a:gd name="T18" fmla="*/ 17 w 132"/>
                <a:gd name="T19" fmla="*/ 69 h 84"/>
                <a:gd name="T20" fmla="*/ 26 w 132"/>
                <a:gd name="T21" fmla="*/ 69 h 84"/>
                <a:gd name="T22" fmla="*/ 132 w 132"/>
                <a:gd name="T23" fmla="*/ 12 h 84"/>
                <a:gd name="T24" fmla="*/ 108 w 132"/>
                <a:gd name="T25" fmla="*/ 15 h 84"/>
                <a:gd name="T26" fmla="*/ 92 w 132"/>
                <a:gd name="T27" fmla="*/ 47 h 84"/>
                <a:gd name="T28" fmla="*/ 92 w 132"/>
                <a:gd name="T29" fmla="*/ 33 h 84"/>
                <a:gd name="T30" fmla="*/ 96 w 132"/>
                <a:gd name="T31" fmla="*/ 30 h 84"/>
                <a:gd name="T32" fmla="*/ 94 w 132"/>
                <a:gd name="T33" fmla="*/ 18 h 84"/>
                <a:gd name="T34" fmla="*/ 62 w 132"/>
                <a:gd name="T35" fmla="*/ 1 h 84"/>
                <a:gd name="T36" fmla="*/ 41 w 132"/>
                <a:gd name="T37" fmla="*/ 17 h 84"/>
                <a:gd name="T38" fmla="*/ 28 w 132"/>
                <a:gd name="T39" fmla="*/ 9 h 84"/>
                <a:gd name="T40" fmla="*/ 3 w 132"/>
                <a:gd name="T41" fmla="*/ 18 h 84"/>
                <a:gd name="T42" fmla="*/ 0 w 132"/>
                <a:gd name="T43" fmla="*/ 30 h 84"/>
                <a:gd name="T44" fmla="*/ 6 w 132"/>
                <a:gd name="T45" fmla="*/ 33 h 84"/>
                <a:gd name="T46" fmla="*/ 40 w 132"/>
                <a:gd name="T47" fmla="*/ 62 h 84"/>
                <a:gd name="T48" fmla="*/ 22 w 132"/>
                <a:gd name="T49" fmla="*/ 54 h 84"/>
                <a:gd name="T50" fmla="*/ 22 w 132"/>
                <a:gd name="T51" fmla="*/ 84 h 84"/>
                <a:gd name="T52" fmla="*/ 36 w 132"/>
                <a:gd name="T53" fmla="*/ 68 h 84"/>
                <a:gd name="T54" fmla="*/ 60 w 132"/>
                <a:gd name="T55" fmla="*/ 61 h 84"/>
                <a:gd name="T56" fmla="*/ 76 w 132"/>
                <a:gd name="T57" fmla="*/ 82 h 84"/>
                <a:gd name="T58" fmla="*/ 82 w 132"/>
                <a:gd name="T59" fmla="*/ 71 h 84"/>
                <a:gd name="T60" fmla="*/ 95 w 132"/>
                <a:gd name="T61" fmla="*/ 52 h 84"/>
                <a:gd name="T62" fmla="*/ 111 w 132"/>
                <a:gd name="T63" fmla="*/ 20 h 84"/>
                <a:gd name="T64" fmla="*/ 132 w 132"/>
                <a:gd name="T65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2" h="84">
                  <a:moveTo>
                    <a:pt x="78" y="51"/>
                  </a:moveTo>
                  <a:cubicBezTo>
                    <a:pt x="57" y="57"/>
                    <a:pt x="57" y="57"/>
                    <a:pt x="57" y="57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4" y="56"/>
                    <a:pt x="40" y="49"/>
                    <a:pt x="31" y="46"/>
                  </a:cubicBezTo>
                  <a:cubicBezTo>
                    <a:pt x="14" y="40"/>
                    <a:pt x="11" y="33"/>
                    <a:pt x="10" y="30"/>
                  </a:cubicBezTo>
                  <a:cubicBezTo>
                    <a:pt x="88" y="30"/>
                    <a:pt x="88" y="30"/>
                    <a:pt x="88" y="30"/>
                  </a:cubicBezTo>
                  <a:lnTo>
                    <a:pt x="78" y="51"/>
                  </a:lnTo>
                  <a:close/>
                  <a:moveTo>
                    <a:pt x="76" y="77"/>
                  </a:moveTo>
                  <a:cubicBezTo>
                    <a:pt x="76" y="77"/>
                    <a:pt x="75" y="76"/>
                    <a:pt x="73" y="73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7" y="75"/>
                    <a:pt x="78" y="76"/>
                    <a:pt x="76" y="77"/>
                  </a:cubicBezTo>
                  <a:moveTo>
                    <a:pt x="5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5" y="28"/>
                    <a:pt x="5" y="28"/>
                    <a:pt x="5" y="28"/>
                  </a:cubicBezTo>
                  <a:lnTo>
                    <a:pt x="5" y="23"/>
                  </a:lnTo>
                  <a:close/>
                  <a:moveTo>
                    <a:pt x="22" y="74"/>
                  </a:moveTo>
                  <a:cubicBezTo>
                    <a:pt x="19" y="74"/>
                    <a:pt x="17" y="72"/>
                    <a:pt x="17" y="69"/>
                  </a:cubicBezTo>
                  <a:cubicBezTo>
                    <a:pt x="17" y="66"/>
                    <a:pt x="19" y="64"/>
                    <a:pt x="22" y="64"/>
                  </a:cubicBezTo>
                  <a:cubicBezTo>
                    <a:pt x="24" y="64"/>
                    <a:pt x="26" y="66"/>
                    <a:pt x="26" y="69"/>
                  </a:cubicBezTo>
                  <a:cubicBezTo>
                    <a:pt x="26" y="72"/>
                    <a:pt x="24" y="74"/>
                    <a:pt x="22" y="74"/>
                  </a:cubicBezTo>
                  <a:moveTo>
                    <a:pt x="132" y="12"/>
                  </a:moveTo>
                  <a:cubicBezTo>
                    <a:pt x="131" y="11"/>
                    <a:pt x="130" y="10"/>
                    <a:pt x="129" y="11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7" y="15"/>
                    <a:pt x="107" y="16"/>
                    <a:pt x="107" y="16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5" y="33"/>
                    <a:pt x="96" y="32"/>
                    <a:pt x="96" y="3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9"/>
                    <a:pt x="95" y="18"/>
                    <a:pt x="94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1" y="0"/>
                    <a:pt x="60" y="0"/>
                    <a:pt x="59" y="1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8"/>
                    <a:pt x="29" y="8"/>
                    <a:pt x="28" y="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1" y="33"/>
                    <a:pt x="3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7" y="37"/>
                    <a:pt x="12" y="45"/>
                    <a:pt x="29" y="51"/>
                  </a:cubicBezTo>
                  <a:cubicBezTo>
                    <a:pt x="36" y="53"/>
                    <a:pt x="39" y="59"/>
                    <a:pt x="40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3" y="58"/>
                    <a:pt x="28" y="54"/>
                    <a:pt x="22" y="54"/>
                  </a:cubicBezTo>
                  <a:cubicBezTo>
                    <a:pt x="13" y="54"/>
                    <a:pt x="7" y="61"/>
                    <a:pt x="7" y="69"/>
                  </a:cubicBezTo>
                  <a:cubicBezTo>
                    <a:pt x="7" y="77"/>
                    <a:pt x="13" y="84"/>
                    <a:pt x="22" y="84"/>
                  </a:cubicBezTo>
                  <a:cubicBezTo>
                    <a:pt x="30" y="84"/>
                    <a:pt x="36" y="77"/>
                    <a:pt x="36" y="69"/>
                  </a:cubicBezTo>
                  <a:cubicBezTo>
                    <a:pt x="36" y="69"/>
                    <a:pt x="36" y="68"/>
                    <a:pt x="36" y="68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71" y="80"/>
                    <a:pt x="74" y="82"/>
                    <a:pt x="76" y="82"/>
                  </a:cubicBezTo>
                  <a:cubicBezTo>
                    <a:pt x="77" y="82"/>
                    <a:pt x="77" y="82"/>
                    <a:pt x="78" y="82"/>
                  </a:cubicBezTo>
                  <a:cubicBezTo>
                    <a:pt x="81" y="81"/>
                    <a:pt x="82" y="77"/>
                    <a:pt x="82" y="71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6" y="51"/>
                    <a:pt x="96" y="5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1" y="15"/>
                    <a:pt x="132" y="14"/>
                    <a:pt x="132" y="1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1" name="Group 207">
            <a:extLst>
              <a:ext uri="{FF2B5EF4-FFF2-40B4-BE49-F238E27FC236}">
                <a16:creationId xmlns:a16="http://schemas.microsoft.com/office/drawing/2014/main" id="{CA201D47-BE41-43F1-A9AA-787A750C30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2588" y="5426075"/>
            <a:ext cx="841375" cy="841375"/>
            <a:chOff x="241" y="3418"/>
            <a:chExt cx="530" cy="530"/>
          </a:xfrm>
        </p:grpSpPr>
        <p:sp>
          <p:nvSpPr>
            <p:cNvPr id="262" name="AutoShape 206">
              <a:extLst>
                <a:ext uri="{FF2B5EF4-FFF2-40B4-BE49-F238E27FC236}">
                  <a16:creationId xmlns:a16="http://schemas.microsoft.com/office/drawing/2014/main" id="{1A0CAC1D-A7BC-4327-AE42-F4D9C112B7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1" y="34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208">
              <a:extLst>
                <a:ext uri="{FF2B5EF4-FFF2-40B4-BE49-F238E27FC236}">
                  <a16:creationId xmlns:a16="http://schemas.microsoft.com/office/drawing/2014/main" id="{877547BD-3023-486F-B41E-38F3B15DC5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" y="341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09">
              <a:extLst>
                <a:ext uri="{FF2B5EF4-FFF2-40B4-BE49-F238E27FC236}">
                  <a16:creationId xmlns:a16="http://schemas.microsoft.com/office/drawing/2014/main" id="{0B114453-630D-4093-ABB5-0A2A23BCE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" y="343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10">
              <a:extLst>
                <a:ext uri="{FF2B5EF4-FFF2-40B4-BE49-F238E27FC236}">
                  <a16:creationId xmlns:a16="http://schemas.microsoft.com/office/drawing/2014/main" id="{BE7810E4-0C5D-4118-8AB2-3A0E26745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" y="3531"/>
              <a:ext cx="230" cy="307"/>
            </a:xfrm>
            <a:custGeom>
              <a:avLst/>
              <a:gdLst>
                <a:gd name="T0" fmla="*/ 33 w 90"/>
                <a:gd name="T1" fmla="*/ 70 h 120"/>
                <a:gd name="T2" fmla="*/ 57 w 90"/>
                <a:gd name="T3" fmla="*/ 32 h 120"/>
                <a:gd name="T4" fmla="*/ 48 w 90"/>
                <a:gd name="T5" fmla="*/ 88 h 120"/>
                <a:gd name="T6" fmla="*/ 42 w 90"/>
                <a:gd name="T7" fmla="*/ 73 h 120"/>
                <a:gd name="T8" fmla="*/ 48 w 90"/>
                <a:gd name="T9" fmla="*/ 88 h 120"/>
                <a:gd name="T10" fmla="*/ 42 w 90"/>
                <a:gd name="T11" fmla="*/ 30 h 120"/>
                <a:gd name="T12" fmla="*/ 42 w 90"/>
                <a:gd name="T13" fmla="*/ 14 h 120"/>
                <a:gd name="T14" fmla="*/ 48 w 90"/>
                <a:gd name="T15" fmla="*/ 29 h 120"/>
                <a:gd name="T16" fmla="*/ 38 w 90"/>
                <a:gd name="T17" fmla="*/ 5 h 120"/>
                <a:gd name="T18" fmla="*/ 52 w 90"/>
                <a:gd name="T19" fmla="*/ 12 h 120"/>
                <a:gd name="T20" fmla="*/ 38 w 90"/>
                <a:gd name="T21" fmla="*/ 5 h 120"/>
                <a:gd name="T22" fmla="*/ 88 w 90"/>
                <a:gd name="T23" fmla="*/ 3 h 120"/>
                <a:gd name="T24" fmla="*/ 67 w 90"/>
                <a:gd name="T25" fmla="*/ 5 h 120"/>
                <a:gd name="T26" fmla="*/ 58 w 90"/>
                <a:gd name="T27" fmla="*/ 6 h 120"/>
                <a:gd name="T28" fmla="*/ 55 w 90"/>
                <a:gd name="T29" fmla="*/ 0 h 120"/>
                <a:gd name="T30" fmla="*/ 32 w 90"/>
                <a:gd name="T31" fmla="*/ 3 h 120"/>
                <a:gd name="T32" fmla="*/ 23 w 90"/>
                <a:gd name="T33" fmla="*/ 6 h 120"/>
                <a:gd name="T34" fmla="*/ 23 w 90"/>
                <a:gd name="T35" fmla="*/ 4 h 120"/>
                <a:gd name="T36" fmla="*/ 2 w 90"/>
                <a:gd name="T37" fmla="*/ 3 h 120"/>
                <a:gd name="T38" fmla="*/ 0 w 90"/>
                <a:gd name="T39" fmla="*/ 12 h 120"/>
                <a:gd name="T40" fmla="*/ 22 w 90"/>
                <a:gd name="T41" fmla="*/ 14 h 120"/>
                <a:gd name="T42" fmla="*/ 23 w 90"/>
                <a:gd name="T43" fmla="*/ 11 h 120"/>
                <a:gd name="T44" fmla="*/ 32 w 90"/>
                <a:gd name="T45" fmla="*/ 14 h 120"/>
                <a:gd name="T46" fmla="*/ 36 w 90"/>
                <a:gd name="T47" fmla="*/ 17 h 120"/>
                <a:gd name="T48" fmla="*/ 31 w 90"/>
                <a:gd name="T49" fmla="*/ 27 h 120"/>
                <a:gd name="T50" fmla="*/ 28 w 90"/>
                <a:gd name="T51" fmla="*/ 72 h 120"/>
                <a:gd name="T52" fmla="*/ 31 w 90"/>
                <a:gd name="T53" fmla="*/ 75 h 120"/>
                <a:gd name="T54" fmla="*/ 36 w 90"/>
                <a:gd name="T55" fmla="*/ 90 h 120"/>
                <a:gd name="T56" fmla="*/ 42 w 90"/>
                <a:gd name="T57" fmla="*/ 93 h 120"/>
                <a:gd name="T58" fmla="*/ 39 w 90"/>
                <a:gd name="T59" fmla="*/ 107 h 120"/>
                <a:gd name="T60" fmla="*/ 39 w 90"/>
                <a:gd name="T61" fmla="*/ 117 h 120"/>
                <a:gd name="T62" fmla="*/ 42 w 90"/>
                <a:gd name="T63" fmla="*/ 120 h 120"/>
                <a:gd name="T64" fmla="*/ 51 w 90"/>
                <a:gd name="T65" fmla="*/ 117 h 120"/>
                <a:gd name="T66" fmla="*/ 51 w 90"/>
                <a:gd name="T67" fmla="*/ 107 h 120"/>
                <a:gd name="T68" fmla="*/ 48 w 90"/>
                <a:gd name="T69" fmla="*/ 93 h 120"/>
                <a:gd name="T70" fmla="*/ 54 w 90"/>
                <a:gd name="T71" fmla="*/ 90 h 120"/>
                <a:gd name="T72" fmla="*/ 59 w 90"/>
                <a:gd name="T73" fmla="*/ 75 h 120"/>
                <a:gd name="T74" fmla="*/ 62 w 90"/>
                <a:gd name="T75" fmla="*/ 29 h 120"/>
                <a:gd name="T76" fmla="*/ 59 w 90"/>
                <a:gd name="T77" fmla="*/ 27 h 120"/>
                <a:gd name="T78" fmla="*/ 54 w 90"/>
                <a:gd name="T79" fmla="*/ 17 h 120"/>
                <a:gd name="T80" fmla="*/ 58 w 90"/>
                <a:gd name="T81" fmla="*/ 14 h 120"/>
                <a:gd name="T82" fmla="*/ 67 w 90"/>
                <a:gd name="T83" fmla="*/ 11 h 120"/>
                <a:gd name="T84" fmla="*/ 68 w 90"/>
                <a:gd name="T85" fmla="*/ 14 h 120"/>
                <a:gd name="T86" fmla="*/ 90 w 90"/>
                <a:gd name="T87" fmla="*/ 12 h 120"/>
                <a:gd name="T88" fmla="*/ 89 w 90"/>
                <a:gd name="T89" fmla="*/ 4 h 120"/>
                <a:gd name="T90" fmla="*/ 59 w 90"/>
                <a:gd name="T91" fmla="*/ 114 h 120"/>
                <a:gd name="T92" fmla="*/ 59 w 90"/>
                <a:gd name="T93" fmla="*/ 119 h 120"/>
                <a:gd name="T94" fmla="*/ 75 w 90"/>
                <a:gd name="T95" fmla="*/ 117 h 120"/>
                <a:gd name="T96" fmla="*/ 31 w 90"/>
                <a:gd name="T97" fmla="*/ 114 h 120"/>
                <a:gd name="T98" fmla="*/ 15 w 90"/>
                <a:gd name="T99" fmla="*/ 117 h 120"/>
                <a:gd name="T100" fmla="*/ 31 w 90"/>
                <a:gd name="T101" fmla="*/ 119 h 120"/>
                <a:gd name="T102" fmla="*/ 31 w 90"/>
                <a:gd name="T103" fmla="*/ 114 h 120"/>
                <a:gd name="T104" fmla="*/ 30 w 90"/>
                <a:gd name="T105" fmla="*/ 109 h 120"/>
                <a:gd name="T106" fmla="*/ 33 w 90"/>
                <a:gd name="T107" fmla="*/ 108 h 120"/>
                <a:gd name="T108" fmla="*/ 21 w 90"/>
                <a:gd name="T109" fmla="*/ 99 h 120"/>
                <a:gd name="T110" fmla="*/ 19 w 90"/>
                <a:gd name="T111" fmla="*/ 104 h 120"/>
                <a:gd name="T112" fmla="*/ 60 w 90"/>
                <a:gd name="T113" fmla="*/ 109 h 120"/>
                <a:gd name="T114" fmla="*/ 73 w 90"/>
                <a:gd name="T115" fmla="*/ 101 h 120"/>
                <a:gd name="T116" fmla="*/ 58 w 90"/>
                <a:gd name="T117" fmla="*/ 104 h 120"/>
                <a:gd name="T118" fmla="*/ 59 w 90"/>
                <a:gd name="T119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0" h="120">
                  <a:moveTo>
                    <a:pt x="57" y="70"/>
                  </a:moveTo>
                  <a:cubicBezTo>
                    <a:pt x="33" y="70"/>
                    <a:pt x="33" y="70"/>
                    <a:pt x="33" y="7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57" y="32"/>
                    <a:pt x="57" y="32"/>
                    <a:pt x="57" y="32"/>
                  </a:cubicBezTo>
                  <a:lnTo>
                    <a:pt x="57" y="70"/>
                  </a:lnTo>
                  <a:close/>
                  <a:moveTo>
                    <a:pt x="48" y="88"/>
                  </a:moveTo>
                  <a:cubicBezTo>
                    <a:pt x="42" y="88"/>
                    <a:pt x="42" y="88"/>
                    <a:pt x="42" y="88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88"/>
                  </a:lnTo>
                  <a:close/>
                  <a:moveTo>
                    <a:pt x="49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moveTo>
                    <a:pt x="38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38" y="12"/>
                    <a:pt x="38" y="12"/>
                    <a:pt x="38" y="12"/>
                  </a:cubicBezTo>
                  <a:lnTo>
                    <a:pt x="38" y="5"/>
                  </a:lnTo>
                  <a:close/>
                  <a:moveTo>
                    <a:pt x="89" y="4"/>
                  </a:moveTo>
                  <a:cubicBezTo>
                    <a:pt x="89" y="3"/>
                    <a:pt x="89" y="3"/>
                    <a:pt x="8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7" y="4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1"/>
                    <a:pt x="57" y="0"/>
                    <a:pt x="5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2" y="1"/>
                    <a:pt x="32" y="3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3" y="13"/>
                    <a:pt x="23" y="12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6"/>
                    <a:pt x="34" y="17"/>
                    <a:pt x="35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29" y="27"/>
                    <a:pt x="28" y="28"/>
                    <a:pt x="28" y="29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3"/>
                    <a:pt x="28" y="74"/>
                    <a:pt x="29" y="74"/>
                  </a:cubicBezTo>
                  <a:cubicBezTo>
                    <a:pt x="29" y="75"/>
                    <a:pt x="30" y="75"/>
                    <a:pt x="31" y="75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2"/>
                    <a:pt x="37" y="93"/>
                    <a:pt x="39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9" y="108"/>
                    <a:pt x="39" y="108"/>
                    <a:pt x="39" y="109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8"/>
                    <a:pt x="39" y="119"/>
                    <a:pt x="40" y="119"/>
                  </a:cubicBezTo>
                  <a:cubicBezTo>
                    <a:pt x="40" y="120"/>
                    <a:pt x="41" y="120"/>
                    <a:pt x="4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50" y="120"/>
                    <a:pt x="51" y="119"/>
                    <a:pt x="51" y="117"/>
                  </a:cubicBezTo>
                  <a:cubicBezTo>
                    <a:pt x="51" y="109"/>
                    <a:pt x="51" y="109"/>
                    <a:pt x="51" y="109"/>
                  </a:cubicBezTo>
                  <a:cubicBezTo>
                    <a:pt x="51" y="108"/>
                    <a:pt x="51" y="108"/>
                    <a:pt x="51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51" y="93"/>
                    <a:pt x="51" y="93"/>
                    <a:pt x="51" y="93"/>
                  </a:cubicBezTo>
                  <a:cubicBezTo>
                    <a:pt x="53" y="93"/>
                    <a:pt x="54" y="92"/>
                    <a:pt x="54" y="90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61" y="75"/>
                    <a:pt x="62" y="74"/>
                    <a:pt x="62" y="72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2" y="29"/>
                    <a:pt x="62" y="28"/>
                    <a:pt x="61" y="27"/>
                  </a:cubicBezTo>
                  <a:cubicBezTo>
                    <a:pt x="61" y="27"/>
                    <a:pt x="60" y="27"/>
                    <a:pt x="59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7" y="17"/>
                    <a:pt x="58" y="16"/>
                    <a:pt x="58" y="14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3"/>
                    <a:pt x="68" y="14"/>
                    <a:pt x="68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9" y="14"/>
                    <a:pt x="90" y="13"/>
                    <a:pt x="90" y="12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4"/>
                    <a:pt x="90" y="4"/>
                    <a:pt x="89" y="4"/>
                  </a:cubicBezTo>
                  <a:moveTo>
                    <a:pt x="73" y="114"/>
                  </a:moveTo>
                  <a:cubicBezTo>
                    <a:pt x="59" y="114"/>
                    <a:pt x="59" y="114"/>
                    <a:pt x="59" y="114"/>
                  </a:cubicBezTo>
                  <a:cubicBezTo>
                    <a:pt x="58" y="114"/>
                    <a:pt x="56" y="115"/>
                    <a:pt x="56" y="117"/>
                  </a:cubicBezTo>
                  <a:cubicBezTo>
                    <a:pt x="56" y="118"/>
                    <a:pt x="58" y="119"/>
                    <a:pt x="59" y="119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4" y="119"/>
                    <a:pt x="75" y="118"/>
                    <a:pt x="75" y="117"/>
                  </a:cubicBezTo>
                  <a:cubicBezTo>
                    <a:pt x="75" y="115"/>
                    <a:pt x="74" y="114"/>
                    <a:pt x="73" y="114"/>
                  </a:cubicBezTo>
                  <a:moveTo>
                    <a:pt x="31" y="114"/>
                  </a:moveTo>
                  <a:cubicBezTo>
                    <a:pt x="18" y="114"/>
                    <a:pt x="18" y="114"/>
                    <a:pt x="18" y="114"/>
                  </a:cubicBezTo>
                  <a:cubicBezTo>
                    <a:pt x="16" y="114"/>
                    <a:pt x="15" y="115"/>
                    <a:pt x="15" y="117"/>
                  </a:cubicBezTo>
                  <a:cubicBezTo>
                    <a:pt x="15" y="118"/>
                    <a:pt x="16" y="119"/>
                    <a:pt x="18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2" y="119"/>
                    <a:pt x="34" y="118"/>
                    <a:pt x="34" y="117"/>
                  </a:cubicBezTo>
                  <a:cubicBezTo>
                    <a:pt x="34" y="115"/>
                    <a:pt x="32" y="114"/>
                    <a:pt x="31" y="114"/>
                  </a:cubicBezTo>
                  <a:moveTo>
                    <a:pt x="19" y="104"/>
                  </a:move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30" y="109"/>
                    <a:pt x="31" y="109"/>
                  </a:cubicBezTo>
                  <a:cubicBezTo>
                    <a:pt x="32" y="109"/>
                    <a:pt x="33" y="109"/>
                    <a:pt x="33" y="108"/>
                  </a:cubicBezTo>
                  <a:cubicBezTo>
                    <a:pt x="34" y="106"/>
                    <a:pt x="33" y="105"/>
                    <a:pt x="32" y="104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0" y="99"/>
                    <a:pt x="18" y="99"/>
                    <a:pt x="18" y="101"/>
                  </a:cubicBezTo>
                  <a:cubicBezTo>
                    <a:pt x="17" y="102"/>
                    <a:pt x="18" y="104"/>
                    <a:pt x="19" y="104"/>
                  </a:cubicBezTo>
                  <a:moveTo>
                    <a:pt x="59" y="109"/>
                  </a:moveTo>
                  <a:cubicBezTo>
                    <a:pt x="60" y="109"/>
                    <a:pt x="60" y="109"/>
                    <a:pt x="60" y="109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3" y="104"/>
                    <a:pt x="73" y="102"/>
                    <a:pt x="73" y="101"/>
                  </a:cubicBezTo>
                  <a:cubicBezTo>
                    <a:pt x="72" y="99"/>
                    <a:pt x="70" y="99"/>
                    <a:pt x="69" y="99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7" y="105"/>
                    <a:pt x="56" y="106"/>
                    <a:pt x="57" y="108"/>
                  </a:cubicBezTo>
                  <a:cubicBezTo>
                    <a:pt x="57" y="109"/>
                    <a:pt x="58" y="109"/>
                    <a:pt x="59" y="10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6" name="Group 213">
            <a:extLst>
              <a:ext uri="{FF2B5EF4-FFF2-40B4-BE49-F238E27FC236}">
                <a16:creationId xmlns:a16="http://schemas.microsoft.com/office/drawing/2014/main" id="{906FFD10-6047-488E-861E-9AB9D749B9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7163" y="5467350"/>
            <a:ext cx="758825" cy="758825"/>
            <a:chOff x="899" y="3444"/>
            <a:chExt cx="478" cy="478"/>
          </a:xfrm>
        </p:grpSpPr>
        <p:sp>
          <p:nvSpPr>
            <p:cNvPr id="267" name="AutoShape 212">
              <a:extLst>
                <a:ext uri="{FF2B5EF4-FFF2-40B4-BE49-F238E27FC236}">
                  <a16:creationId xmlns:a16="http://schemas.microsoft.com/office/drawing/2014/main" id="{C8FDDD1C-C3AF-440F-8626-F1AD5EF63C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9" y="344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14">
              <a:extLst>
                <a:ext uri="{FF2B5EF4-FFF2-40B4-BE49-F238E27FC236}">
                  <a16:creationId xmlns:a16="http://schemas.microsoft.com/office/drawing/2014/main" id="{FB0DAF7F-5CC4-4124-871F-479AFFEE8A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" y="344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15">
              <a:extLst>
                <a:ext uri="{FF2B5EF4-FFF2-40B4-BE49-F238E27FC236}">
                  <a16:creationId xmlns:a16="http://schemas.microsoft.com/office/drawing/2014/main" id="{75D67DFD-0BA2-4859-8FA1-E31B85820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" y="3537"/>
              <a:ext cx="221" cy="294"/>
            </a:xfrm>
            <a:custGeom>
              <a:avLst/>
              <a:gdLst>
                <a:gd name="T0" fmla="*/ 33 w 90"/>
                <a:gd name="T1" fmla="*/ 70 h 120"/>
                <a:gd name="T2" fmla="*/ 57 w 90"/>
                <a:gd name="T3" fmla="*/ 32 h 120"/>
                <a:gd name="T4" fmla="*/ 48 w 90"/>
                <a:gd name="T5" fmla="*/ 88 h 120"/>
                <a:gd name="T6" fmla="*/ 42 w 90"/>
                <a:gd name="T7" fmla="*/ 73 h 120"/>
                <a:gd name="T8" fmla="*/ 48 w 90"/>
                <a:gd name="T9" fmla="*/ 88 h 120"/>
                <a:gd name="T10" fmla="*/ 42 w 90"/>
                <a:gd name="T11" fmla="*/ 30 h 120"/>
                <a:gd name="T12" fmla="*/ 42 w 90"/>
                <a:gd name="T13" fmla="*/ 14 h 120"/>
                <a:gd name="T14" fmla="*/ 48 w 90"/>
                <a:gd name="T15" fmla="*/ 29 h 120"/>
                <a:gd name="T16" fmla="*/ 38 w 90"/>
                <a:gd name="T17" fmla="*/ 5 h 120"/>
                <a:gd name="T18" fmla="*/ 52 w 90"/>
                <a:gd name="T19" fmla="*/ 12 h 120"/>
                <a:gd name="T20" fmla="*/ 38 w 90"/>
                <a:gd name="T21" fmla="*/ 5 h 120"/>
                <a:gd name="T22" fmla="*/ 88 w 90"/>
                <a:gd name="T23" fmla="*/ 3 h 120"/>
                <a:gd name="T24" fmla="*/ 67 w 90"/>
                <a:gd name="T25" fmla="*/ 5 h 120"/>
                <a:gd name="T26" fmla="*/ 58 w 90"/>
                <a:gd name="T27" fmla="*/ 6 h 120"/>
                <a:gd name="T28" fmla="*/ 55 w 90"/>
                <a:gd name="T29" fmla="*/ 0 h 120"/>
                <a:gd name="T30" fmla="*/ 32 w 90"/>
                <a:gd name="T31" fmla="*/ 3 h 120"/>
                <a:gd name="T32" fmla="*/ 23 w 90"/>
                <a:gd name="T33" fmla="*/ 6 h 120"/>
                <a:gd name="T34" fmla="*/ 23 w 90"/>
                <a:gd name="T35" fmla="*/ 4 h 120"/>
                <a:gd name="T36" fmla="*/ 2 w 90"/>
                <a:gd name="T37" fmla="*/ 3 h 120"/>
                <a:gd name="T38" fmla="*/ 0 w 90"/>
                <a:gd name="T39" fmla="*/ 12 h 120"/>
                <a:gd name="T40" fmla="*/ 22 w 90"/>
                <a:gd name="T41" fmla="*/ 14 h 120"/>
                <a:gd name="T42" fmla="*/ 23 w 90"/>
                <a:gd name="T43" fmla="*/ 11 h 120"/>
                <a:gd name="T44" fmla="*/ 32 w 90"/>
                <a:gd name="T45" fmla="*/ 14 h 120"/>
                <a:gd name="T46" fmla="*/ 36 w 90"/>
                <a:gd name="T47" fmla="*/ 17 h 120"/>
                <a:gd name="T48" fmla="*/ 31 w 90"/>
                <a:gd name="T49" fmla="*/ 27 h 120"/>
                <a:gd name="T50" fmla="*/ 28 w 90"/>
                <a:gd name="T51" fmla="*/ 72 h 120"/>
                <a:gd name="T52" fmla="*/ 31 w 90"/>
                <a:gd name="T53" fmla="*/ 75 h 120"/>
                <a:gd name="T54" fmla="*/ 36 w 90"/>
                <a:gd name="T55" fmla="*/ 90 h 120"/>
                <a:gd name="T56" fmla="*/ 42 w 90"/>
                <a:gd name="T57" fmla="*/ 93 h 120"/>
                <a:gd name="T58" fmla="*/ 39 w 90"/>
                <a:gd name="T59" fmla="*/ 107 h 120"/>
                <a:gd name="T60" fmla="*/ 39 w 90"/>
                <a:gd name="T61" fmla="*/ 117 h 120"/>
                <a:gd name="T62" fmla="*/ 42 w 90"/>
                <a:gd name="T63" fmla="*/ 120 h 120"/>
                <a:gd name="T64" fmla="*/ 51 w 90"/>
                <a:gd name="T65" fmla="*/ 117 h 120"/>
                <a:gd name="T66" fmla="*/ 51 w 90"/>
                <a:gd name="T67" fmla="*/ 107 h 120"/>
                <a:gd name="T68" fmla="*/ 48 w 90"/>
                <a:gd name="T69" fmla="*/ 93 h 120"/>
                <a:gd name="T70" fmla="*/ 54 w 90"/>
                <a:gd name="T71" fmla="*/ 90 h 120"/>
                <a:gd name="T72" fmla="*/ 59 w 90"/>
                <a:gd name="T73" fmla="*/ 75 h 120"/>
                <a:gd name="T74" fmla="*/ 62 w 90"/>
                <a:gd name="T75" fmla="*/ 29 h 120"/>
                <a:gd name="T76" fmla="*/ 59 w 90"/>
                <a:gd name="T77" fmla="*/ 27 h 120"/>
                <a:gd name="T78" fmla="*/ 54 w 90"/>
                <a:gd name="T79" fmla="*/ 17 h 120"/>
                <a:gd name="T80" fmla="*/ 58 w 90"/>
                <a:gd name="T81" fmla="*/ 14 h 120"/>
                <a:gd name="T82" fmla="*/ 67 w 90"/>
                <a:gd name="T83" fmla="*/ 11 h 120"/>
                <a:gd name="T84" fmla="*/ 68 w 90"/>
                <a:gd name="T85" fmla="*/ 14 h 120"/>
                <a:gd name="T86" fmla="*/ 90 w 90"/>
                <a:gd name="T87" fmla="*/ 12 h 120"/>
                <a:gd name="T88" fmla="*/ 89 w 90"/>
                <a:gd name="T89" fmla="*/ 4 h 120"/>
                <a:gd name="T90" fmla="*/ 59 w 90"/>
                <a:gd name="T91" fmla="*/ 114 h 120"/>
                <a:gd name="T92" fmla="*/ 59 w 90"/>
                <a:gd name="T93" fmla="*/ 119 h 120"/>
                <a:gd name="T94" fmla="*/ 75 w 90"/>
                <a:gd name="T95" fmla="*/ 117 h 120"/>
                <a:gd name="T96" fmla="*/ 31 w 90"/>
                <a:gd name="T97" fmla="*/ 114 h 120"/>
                <a:gd name="T98" fmla="*/ 15 w 90"/>
                <a:gd name="T99" fmla="*/ 117 h 120"/>
                <a:gd name="T100" fmla="*/ 31 w 90"/>
                <a:gd name="T101" fmla="*/ 119 h 120"/>
                <a:gd name="T102" fmla="*/ 31 w 90"/>
                <a:gd name="T103" fmla="*/ 114 h 120"/>
                <a:gd name="T104" fmla="*/ 30 w 90"/>
                <a:gd name="T105" fmla="*/ 109 h 120"/>
                <a:gd name="T106" fmla="*/ 33 w 90"/>
                <a:gd name="T107" fmla="*/ 108 h 120"/>
                <a:gd name="T108" fmla="*/ 21 w 90"/>
                <a:gd name="T109" fmla="*/ 99 h 120"/>
                <a:gd name="T110" fmla="*/ 19 w 90"/>
                <a:gd name="T111" fmla="*/ 104 h 120"/>
                <a:gd name="T112" fmla="*/ 60 w 90"/>
                <a:gd name="T113" fmla="*/ 109 h 120"/>
                <a:gd name="T114" fmla="*/ 73 w 90"/>
                <a:gd name="T115" fmla="*/ 101 h 120"/>
                <a:gd name="T116" fmla="*/ 58 w 90"/>
                <a:gd name="T117" fmla="*/ 104 h 120"/>
                <a:gd name="T118" fmla="*/ 59 w 90"/>
                <a:gd name="T119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0" h="120">
                  <a:moveTo>
                    <a:pt x="57" y="70"/>
                  </a:moveTo>
                  <a:cubicBezTo>
                    <a:pt x="33" y="70"/>
                    <a:pt x="33" y="70"/>
                    <a:pt x="33" y="7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57" y="32"/>
                    <a:pt x="57" y="32"/>
                    <a:pt x="57" y="32"/>
                  </a:cubicBezTo>
                  <a:lnTo>
                    <a:pt x="57" y="70"/>
                  </a:lnTo>
                  <a:close/>
                  <a:moveTo>
                    <a:pt x="48" y="88"/>
                  </a:moveTo>
                  <a:cubicBezTo>
                    <a:pt x="42" y="88"/>
                    <a:pt x="42" y="88"/>
                    <a:pt x="42" y="88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88"/>
                  </a:lnTo>
                  <a:close/>
                  <a:moveTo>
                    <a:pt x="49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moveTo>
                    <a:pt x="38" y="5"/>
                  </a:moveTo>
                  <a:cubicBezTo>
                    <a:pt x="52" y="5"/>
                    <a:pt x="52" y="5"/>
                    <a:pt x="52" y="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38" y="12"/>
                    <a:pt x="38" y="12"/>
                    <a:pt x="38" y="12"/>
                  </a:cubicBezTo>
                  <a:lnTo>
                    <a:pt x="38" y="5"/>
                  </a:lnTo>
                  <a:close/>
                  <a:moveTo>
                    <a:pt x="89" y="4"/>
                  </a:moveTo>
                  <a:cubicBezTo>
                    <a:pt x="89" y="3"/>
                    <a:pt x="89" y="3"/>
                    <a:pt x="8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7" y="4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1"/>
                    <a:pt x="57" y="0"/>
                    <a:pt x="5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2" y="1"/>
                    <a:pt x="32" y="3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3" y="13"/>
                    <a:pt x="23" y="12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6"/>
                    <a:pt x="34" y="17"/>
                    <a:pt x="35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29" y="27"/>
                    <a:pt x="28" y="28"/>
                    <a:pt x="28" y="29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3"/>
                    <a:pt x="28" y="74"/>
                    <a:pt x="29" y="74"/>
                  </a:cubicBezTo>
                  <a:cubicBezTo>
                    <a:pt x="29" y="75"/>
                    <a:pt x="30" y="75"/>
                    <a:pt x="31" y="75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2"/>
                    <a:pt x="37" y="93"/>
                    <a:pt x="39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9" y="108"/>
                    <a:pt x="39" y="108"/>
                    <a:pt x="39" y="109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8"/>
                    <a:pt x="39" y="119"/>
                    <a:pt x="40" y="119"/>
                  </a:cubicBezTo>
                  <a:cubicBezTo>
                    <a:pt x="40" y="120"/>
                    <a:pt x="41" y="120"/>
                    <a:pt x="4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50" y="120"/>
                    <a:pt x="51" y="119"/>
                    <a:pt x="51" y="117"/>
                  </a:cubicBezTo>
                  <a:cubicBezTo>
                    <a:pt x="51" y="109"/>
                    <a:pt x="51" y="109"/>
                    <a:pt x="51" y="109"/>
                  </a:cubicBezTo>
                  <a:cubicBezTo>
                    <a:pt x="51" y="108"/>
                    <a:pt x="51" y="108"/>
                    <a:pt x="51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51" y="93"/>
                    <a:pt x="51" y="93"/>
                    <a:pt x="51" y="93"/>
                  </a:cubicBezTo>
                  <a:cubicBezTo>
                    <a:pt x="53" y="93"/>
                    <a:pt x="54" y="92"/>
                    <a:pt x="54" y="90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61" y="75"/>
                    <a:pt x="62" y="74"/>
                    <a:pt x="62" y="72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2" y="29"/>
                    <a:pt x="62" y="28"/>
                    <a:pt x="61" y="27"/>
                  </a:cubicBezTo>
                  <a:cubicBezTo>
                    <a:pt x="61" y="27"/>
                    <a:pt x="60" y="27"/>
                    <a:pt x="59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7" y="17"/>
                    <a:pt x="58" y="16"/>
                    <a:pt x="58" y="14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3"/>
                    <a:pt x="68" y="14"/>
                    <a:pt x="68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9" y="14"/>
                    <a:pt x="90" y="13"/>
                    <a:pt x="90" y="12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4"/>
                    <a:pt x="90" y="4"/>
                    <a:pt x="89" y="4"/>
                  </a:cubicBezTo>
                  <a:moveTo>
                    <a:pt x="73" y="114"/>
                  </a:moveTo>
                  <a:cubicBezTo>
                    <a:pt x="59" y="114"/>
                    <a:pt x="59" y="114"/>
                    <a:pt x="59" y="114"/>
                  </a:cubicBezTo>
                  <a:cubicBezTo>
                    <a:pt x="58" y="114"/>
                    <a:pt x="56" y="115"/>
                    <a:pt x="56" y="117"/>
                  </a:cubicBezTo>
                  <a:cubicBezTo>
                    <a:pt x="56" y="118"/>
                    <a:pt x="58" y="119"/>
                    <a:pt x="59" y="119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4" y="119"/>
                    <a:pt x="75" y="118"/>
                    <a:pt x="75" y="117"/>
                  </a:cubicBezTo>
                  <a:cubicBezTo>
                    <a:pt x="75" y="115"/>
                    <a:pt x="74" y="114"/>
                    <a:pt x="73" y="114"/>
                  </a:cubicBezTo>
                  <a:moveTo>
                    <a:pt x="31" y="114"/>
                  </a:moveTo>
                  <a:cubicBezTo>
                    <a:pt x="18" y="114"/>
                    <a:pt x="18" y="114"/>
                    <a:pt x="18" y="114"/>
                  </a:cubicBezTo>
                  <a:cubicBezTo>
                    <a:pt x="16" y="114"/>
                    <a:pt x="15" y="115"/>
                    <a:pt x="15" y="117"/>
                  </a:cubicBezTo>
                  <a:cubicBezTo>
                    <a:pt x="15" y="118"/>
                    <a:pt x="16" y="119"/>
                    <a:pt x="18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2" y="119"/>
                    <a:pt x="34" y="118"/>
                    <a:pt x="34" y="117"/>
                  </a:cubicBezTo>
                  <a:cubicBezTo>
                    <a:pt x="34" y="115"/>
                    <a:pt x="32" y="114"/>
                    <a:pt x="31" y="114"/>
                  </a:cubicBezTo>
                  <a:moveTo>
                    <a:pt x="19" y="104"/>
                  </a:move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30" y="109"/>
                    <a:pt x="31" y="109"/>
                  </a:cubicBezTo>
                  <a:cubicBezTo>
                    <a:pt x="32" y="109"/>
                    <a:pt x="33" y="109"/>
                    <a:pt x="33" y="108"/>
                  </a:cubicBezTo>
                  <a:cubicBezTo>
                    <a:pt x="34" y="106"/>
                    <a:pt x="33" y="105"/>
                    <a:pt x="32" y="104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0" y="99"/>
                    <a:pt x="18" y="99"/>
                    <a:pt x="18" y="101"/>
                  </a:cubicBezTo>
                  <a:cubicBezTo>
                    <a:pt x="17" y="102"/>
                    <a:pt x="18" y="104"/>
                    <a:pt x="19" y="104"/>
                  </a:cubicBezTo>
                  <a:moveTo>
                    <a:pt x="59" y="109"/>
                  </a:moveTo>
                  <a:cubicBezTo>
                    <a:pt x="60" y="109"/>
                    <a:pt x="60" y="109"/>
                    <a:pt x="60" y="109"/>
                  </a:cubicBezTo>
                  <a:cubicBezTo>
                    <a:pt x="71" y="104"/>
                    <a:pt x="71" y="104"/>
                    <a:pt x="71" y="104"/>
                  </a:cubicBezTo>
                  <a:cubicBezTo>
                    <a:pt x="73" y="104"/>
                    <a:pt x="73" y="102"/>
                    <a:pt x="73" y="101"/>
                  </a:cubicBezTo>
                  <a:cubicBezTo>
                    <a:pt x="72" y="99"/>
                    <a:pt x="70" y="99"/>
                    <a:pt x="69" y="99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7" y="105"/>
                    <a:pt x="56" y="106"/>
                    <a:pt x="57" y="108"/>
                  </a:cubicBezTo>
                  <a:cubicBezTo>
                    <a:pt x="57" y="109"/>
                    <a:pt x="58" y="109"/>
                    <a:pt x="59" y="10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0" name="Group 218">
            <a:extLst>
              <a:ext uri="{FF2B5EF4-FFF2-40B4-BE49-F238E27FC236}">
                <a16:creationId xmlns:a16="http://schemas.microsoft.com/office/drawing/2014/main" id="{5C04D389-E614-44DC-8DBA-C3FD10BD8E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9850" y="5426075"/>
            <a:ext cx="841375" cy="841375"/>
            <a:chOff x="1644" y="3418"/>
            <a:chExt cx="530" cy="530"/>
          </a:xfrm>
        </p:grpSpPr>
        <p:sp>
          <p:nvSpPr>
            <p:cNvPr id="271" name="AutoShape 217">
              <a:extLst>
                <a:ext uri="{FF2B5EF4-FFF2-40B4-BE49-F238E27FC236}">
                  <a16:creationId xmlns:a16="http://schemas.microsoft.com/office/drawing/2014/main" id="{C13FE78A-AC88-456F-9C2C-482C8EA535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4" y="34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219">
              <a:extLst>
                <a:ext uri="{FF2B5EF4-FFF2-40B4-BE49-F238E27FC236}">
                  <a16:creationId xmlns:a16="http://schemas.microsoft.com/office/drawing/2014/main" id="{F17026C6-05A8-4B98-8CC8-8CDDD425B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4" y="341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20">
              <a:extLst>
                <a:ext uri="{FF2B5EF4-FFF2-40B4-BE49-F238E27FC236}">
                  <a16:creationId xmlns:a16="http://schemas.microsoft.com/office/drawing/2014/main" id="{33BDF198-6DCD-4BBC-AF8B-FA7F140D2F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2" y="343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21">
              <a:extLst>
                <a:ext uri="{FF2B5EF4-FFF2-40B4-BE49-F238E27FC236}">
                  <a16:creationId xmlns:a16="http://schemas.microsoft.com/office/drawing/2014/main" id="{AB8AF993-52DC-499A-AF78-50A509E60E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" y="3543"/>
              <a:ext cx="236" cy="282"/>
            </a:xfrm>
            <a:custGeom>
              <a:avLst/>
              <a:gdLst>
                <a:gd name="T0" fmla="*/ 87 w 92"/>
                <a:gd name="T1" fmla="*/ 104 h 110"/>
                <a:gd name="T2" fmla="*/ 5 w 92"/>
                <a:gd name="T3" fmla="*/ 104 h 110"/>
                <a:gd name="T4" fmla="*/ 5 w 92"/>
                <a:gd name="T5" fmla="*/ 90 h 110"/>
                <a:gd name="T6" fmla="*/ 87 w 92"/>
                <a:gd name="T7" fmla="*/ 90 h 110"/>
                <a:gd name="T8" fmla="*/ 87 w 92"/>
                <a:gd name="T9" fmla="*/ 104 h 110"/>
                <a:gd name="T10" fmla="*/ 25 w 92"/>
                <a:gd name="T11" fmla="*/ 66 h 110"/>
                <a:gd name="T12" fmla="*/ 67 w 92"/>
                <a:gd name="T13" fmla="*/ 66 h 110"/>
                <a:gd name="T14" fmla="*/ 71 w 92"/>
                <a:gd name="T15" fmla="*/ 87 h 110"/>
                <a:gd name="T16" fmla="*/ 21 w 92"/>
                <a:gd name="T17" fmla="*/ 87 h 110"/>
                <a:gd name="T18" fmla="*/ 25 w 92"/>
                <a:gd name="T19" fmla="*/ 66 h 110"/>
                <a:gd name="T20" fmla="*/ 62 w 92"/>
                <a:gd name="T21" fmla="*/ 44 h 110"/>
                <a:gd name="T22" fmla="*/ 64 w 92"/>
                <a:gd name="T23" fmla="*/ 54 h 110"/>
                <a:gd name="T24" fmla="*/ 28 w 92"/>
                <a:gd name="T25" fmla="*/ 54 h 110"/>
                <a:gd name="T26" fmla="*/ 30 w 92"/>
                <a:gd name="T27" fmla="*/ 44 h 110"/>
                <a:gd name="T28" fmla="*/ 62 w 92"/>
                <a:gd name="T29" fmla="*/ 44 h 110"/>
                <a:gd name="T30" fmla="*/ 38 w 92"/>
                <a:gd name="T31" fmla="*/ 6 h 110"/>
                <a:gd name="T32" fmla="*/ 54 w 92"/>
                <a:gd name="T33" fmla="*/ 6 h 110"/>
                <a:gd name="T34" fmla="*/ 59 w 92"/>
                <a:gd name="T35" fmla="*/ 32 h 110"/>
                <a:gd name="T36" fmla="*/ 33 w 92"/>
                <a:gd name="T37" fmla="*/ 32 h 110"/>
                <a:gd name="T38" fmla="*/ 38 w 92"/>
                <a:gd name="T39" fmla="*/ 6 h 110"/>
                <a:gd name="T40" fmla="*/ 64 w 92"/>
                <a:gd name="T41" fmla="*/ 55 h 110"/>
                <a:gd name="T42" fmla="*/ 64 w 92"/>
                <a:gd name="T43" fmla="*/ 55 h 110"/>
                <a:gd name="T44" fmla="*/ 64 w 92"/>
                <a:gd name="T45" fmla="*/ 55 h 110"/>
                <a:gd name="T46" fmla="*/ 90 w 92"/>
                <a:gd name="T47" fmla="*/ 84 h 110"/>
                <a:gd name="T48" fmla="*/ 76 w 92"/>
                <a:gd name="T49" fmla="*/ 84 h 110"/>
                <a:gd name="T50" fmla="*/ 59 w 92"/>
                <a:gd name="T51" fmla="*/ 2 h 110"/>
                <a:gd name="T52" fmla="*/ 56 w 92"/>
                <a:gd name="T53" fmla="*/ 0 h 110"/>
                <a:gd name="T54" fmla="*/ 36 w 92"/>
                <a:gd name="T55" fmla="*/ 0 h 110"/>
                <a:gd name="T56" fmla="*/ 33 w 92"/>
                <a:gd name="T57" fmla="*/ 2 h 110"/>
                <a:gd name="T58" fmla="*/ 16 w 92"/>
                <a:gd name="T59" fmla="*/ 84 h 110"/>
                <a:gd name="T60" fmla="*/ 2 w 92"/>
                <a:gd name="T61" fmla="*/ 84 h 110"/>
                <a:gd name="T62" fmla="*/ 0 w 92"/>
                <a:gd name="T63" fmla="*/ 87 h 110"/>
                <a:gd name="T64" fmla="*/ 0 w 92"/>
                <a:gd name="T65" fmla="*/ 107 h 110"/>
                <a:gd name="T66" fmla="*/ 2 w 92"/>
                <a:gd name="T67" fmla="*/ 110 h 110"/>
                <a:gd name="T68" fmla="*/ 90 w 92"/>
                <a:gd name="T69" fmla="*/ 110 h 110"/>
                <a:gd name="T70" fmla="*/ 92 w 92"/>
                <a:gd name="T71" fmla="*/ 107 h 110"/>
                <a:gd name="T72" fmla="*/ 92 w 92"/>
                <a:gd name="T73" fmla="*/ 87 h 110"/>
                <a:gd name="T74" fmla="*/ 90 w 92"/>
                <a:gd name="T75" fmla="*/ 8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10">
                  <a:moveTo>
                    <a:pt x="87" y="104"/>
                  </a:moveTo>
                  <a:cubicBezTo>
                    <a:pt x="5" y="104"/>
                    <a:pt x="5" y="104"/>
                    <a:pt x="5" y="104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87" y="90"/>
                    <a:pt x="87" y="90"/>
                    <a:pt x="87" y="90"/>
                  </a:cubicBezTo>
                  <a:lnTo>
                    <a:pt x="87" y="104"/>
                  </a:lnTo>
                  <a:close/>
                  <a:moveTo>
                    <a:pt x="25" y="66"/>
                  </a:moveTo>
                  <a:cubicBezTo>
                    <a:pt x="67" y="66"/>
                    <a:pt x="67" y="66"/>
                    <a:pt x="67" y="66"/>
                  </a:cubicBezTo>
                  <a:cubicBezTo>
                    <a:pt x="71" y="87"/>
                    <a:pt x="71" y="87"/>
                    <a:pt x="71" y="87"/>
                  </a:cubicBezTo>
                  <a:cubicBezTo>
                    <a:pt x="21" y="87"/>
                    <a:pt x="21" y="87"/>
                    <a:pt x="21" y="87"/>
                  </a:cubicBezTo>
                  <a:lnTo>
                    <a:pt x="25" y="66"/>
                  </a:lnTo>
                  <a:close/>
                  <a:moveTo>
                    <a:pt x="62" y="44"/>
                  </a:moveTo>
                  <a:cubicBezTo>
                    <a:pt x="64" y="54"/>
                    <a:pt x="64" y="54"/>
                    <a:pt x="64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30" y="44"/>
                    <a:pt x="30" y="44"/>
                    <a:pt x="30" y="44"/>
                  </a:cubicBezTo>
                  <a:lnTo>
                    <a:pt x="62" y="44"/>
                  </a:lnTo>
                  <a:close/>
                  <a:moveTo>
                    <a:pt x="38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33" y="32"/>
                    <a:pt x="33" y="32"/>
                    <a:pt x="33" y="32"/>
                  </a:cubicBezTo>
                  <a:lnTo>
                    <a:pt x="38" y="6"/>
                  </a:lnTo>
                  <a:close/>
                  <a:moveTo>
                    <a:pt x="64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55"/>
                    <a:pt x="64" y="55"/>
                    <a:pt x="64" y="55"/>
                  </a:cubicBezTo>
                  <a:moveTo>
                    <a:pt x="90" y="84"/>
                  </a:moveTo>
                  <a:cubicBezTo>
                    <a:pt x="76" y="84"/>
                    <a:pt x="76" y="84"/>
                    <a:pt x="76" y="84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58" y="0"/>
                    <a:pt x="5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1"/>
                    <a:pt x="33" y="2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4"/>
                    <a:pt x="0" y="85"/>
                    <a:pt x="0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2" y="110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0"/>
                    <a:pt x="92" y="109"/>
                    <a:pt x="92" y="107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2" y="85"/>
                    <a:pt x="91" y="84"/>
                    <a:pt x="90" y="8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24">
            <a:extLst>
              <a:ext uri="{FF2B5EF4-FFF2-40B4-BE49-F238E27FC236}">
                <a16:creationId xmlns:a16="http://schemas.microsoft.com/office/drawing/2014/main" id="{5BBD0E00-A616-446E-B350-DE684ADD47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6963" y="5467350"/>
            <a:ext cx="758825" cy="758825"/>
            <a:chOff x="2291" y="3444"/>
            <a:chExt cx="478" cy="478"/>
          </a:xfrm>
        </p:grpSpPr>
        <p:sp>
          <p:nvSpPr>
            <p:cNvPr id="276" name="AutoShape 223">
              <a:extLst>
                <a:ext uri="{FF2B5EF4-FFF2-40B4-BE49-F238E27FC236}">
                  <a16:creationId xmlns:a16="http://schemas.microsoft.com/office/drawing/2014/main" id="{904C374A-B9B2-40D9-85AF-8529B100B5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91" y="344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25">
              <a:extLst>
                <a:ext uri="{FF2B5EF4-FFF2-40B4-BE49-F238E27FC236}">
                  <a16:creationId xmlns:a16="http://schemas.microsoft.com/office/drawing/2014/main" id="{FA98270E-0E7D-4347-A1BD-9C02B2318F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3" y="344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26">
              <a:extLst>
                <a:ext uri="{FF2B5EF4-FFF2-40B4-BE49-F238E27FC236}">
                  <a16:creationId xmlns:a16="http://schemas.microsoft.com/office/drawing/2014/main" id="{1CE085C9-83CF-4065-AA58-87DCB8D08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8" y="3549"/>
              <a:ext cx="226" cy="270"/>
            </a:xfrm>
            <a:custGeom>
              <a:avLst/>
              <a:gdLst>
                <a:gd name="T0" fmla="*/ 87 w 92"/>
                <a:gd name="T1" fmla="*/ 104 h 110"/>
                <a:gd name="T2" fmla="*/ 5 w 92"/>
                <a:gd name="T3" fmla="*/ 104 h 110"/>
                <a:gd name="T4" fmla="*/ 5 w 92"/>
                <a:gd name="T5" fmla="*/ 90 h 110"/>
                <a:gd name="T6" fmla="*/ 87 w 92"/>
                <a:gd name="T7" fmla="*/ 90 h 110"/>
                <a:gd name="T8" fmla="*/ 87 w 92"/>
                <a:gd name="T9" fmla="*/ 104 h 110"/>
                <a:gd name="T10" fmla="*/ 25 w 92"/>
                <a:gd name="T11" fmla="*/ 66 h 110"/>
                <a:gd name="T12" fmla="*/ 67 w 92"/>
                <a:gd name="T13" fmla="*/ 66 h 110"/>
                <a:gd name="T14" fmla="*/ 71 w 92"/>
                <a:gd name="T15" fmla="*/ 87 h 110"/>
                <a:gd name="T16" fmla="*/ 21 w 92"/>
                <a:gd name="T17" fmla="*/ 87 h 110"/>
                <a:gd name="T18" fmla="*/ 25 w 92"/>
                <a:gd name="T19" fmla="*/ 66 h 110"/>
                <a:gd name="T20" fmla="*/ 62 w 92"/>
                <a:gd name="T21" fmla="*/ 44 h 110"/>
                <a:gd name="T22" fmla="*/ 64 w 92"/>
                <a:gd name="T23" fmla="*/ 54 h 110"/>
                <a:gd name="T24" fmla="*/ 28 w 92"/>
                <a:gd name="T25" fmla="*/ 54 h 110"/>
                <a:gd name="T26" fmla="*/ 30 w 92"/>
                <a:gd name="T27" fmla="*/ 44 h 110"/>
                <a:gd name="T28" fmla="*/ 62 w 92"/>
                <a:gd name="T29" fmla="*/ 44 h 110"/>
                <a:gd name="T30" fmla="*/ 38 w 92"/>
                <a:gd name="T31" fmla="*/ 6 h 110"/>
                <a:gd name="T32" fmla="*/ 54 w 92"/>
                <a:gd name="T33" fmla="*/ 6 h 110"/>
                <a:gd name="T34" fmla="*/ 59 w 92"/>
                <a:gd name="T35" fmla="*/ 32 h 110"/>
                <a:gd name="T36" fmla="*/ 33 w 92"/>
                <a:gd name="T37" fmla="*/ 32 h 110"/>
                <a:gd name="T38" fmla="*/ 38 w 92"/>
                <a:gd name="T39" fmla="*/ 6 h 110"/>
                <a:gd name="T40" fmla="*/ 64 w 92"/>
                <a:gd name="T41" fmla="*/ 55 h 110"/>
                <a:gd name="T42" fmla="*/ 64 w 92"/>
                <a:gd name="T43" fmla="*/ 55 h 110"/>
                <a:gd name="T44" fmla="*/ 64 w 92"/>
                <a:gd name="T45" fmla="*/ 55 h 110"/>
                <a:gd name="T46" fmla="*/ 90 w 92"/>
                <a:gd name="T47" fmla="*/ 84 h 110"/>
                <a:gd name="T48" fmla="*/ 76 w 92"/>
                <a:gd name="T49" fmla="*/ 84 h 110"/>
                <a:gd name="T50" fmla="*/ 59 w 92"/>
                <a:gd name="T51" fmla="*/ 2 h 110"/>
                <a:gd name="T52" fmla="*/ 56 w 92"/>
                <a:gd name="T53" fmla="*/ 0 h 110"/>
                <a:gd name="T54" fmla="*/ 36 w 92"/>
                <a:gd name="T55" fmla="*/ 0 h 110"/>
                <a:gd name="T56" fmla="*/ 33 w 92"/>
                <a:gd name="T57" fmla="*/ 2 h 110"/>
                <a:gd name="T58" fmla="*/ 16 w 92"/>
                <a:gd name="T59" fmla="*/ 84 h 110"/>
                <a:gd name="T60" fmla="*/ 2 w 92"/>
                <a:gd name="T61" fmla="*/ 84 h 110"/>
                <a:gd name="T62" fmla="*/ 0 w 92"/>
                <a:gd name="T63" fmla="*/ 87 h 110"/>
                <a:gd name="T64" fmla="*/ 0 w 92"/>
                <a:gd name="T65" fmla="*/ 107 h 110"/>
                <a:gd name="T66" fmla="*/ 2 w 92"/>
                <a:gd name="T67" fmla="*/ 110 h 110"/>
                <a:gd name="T68" fmla="*/ 90 w 92"/>
                <a:gd name="T69" fmla="*/ 110 h 110"/>
                <a:gd name="T70" fmla="*/ 92 w 92"/>
                <a:gd name="T71" fmla="*/ 107 h 110"/>
                <a:gd name="T72" fmla="*/ 92 w 92"/>
                <a:gd name="T73" fmla="*/ 87 h 110"/>
                <a:gd name="T74" fmla="*/ 90 w 92"/>
                <a:gd name="T75" fmla="*/ 8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10">
                  <a:moveTo>
                    <a:pt x="87" y="104"/>
                  </a:moveTo>
                  <a:cubicBezTo>
                    <a:pt x="5" y="104"/>
                    <a:pt x="5" y="104"/>
                    <a:pt x="5" y="104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87" y="90"/>
                    <a:pt x="87" y="90"/>
                    <a:pt x="87" y="90"/>
                  </a:cubicBezTo>
                  <a:lnTo>
                    <a:pt x="87" y="104"/>
                  </a:lnTo>
                  <a:close/>
                  <a:moveTo>
                    <a:pt x="25" y="66"/>
                  </a:moveTo>
                  <a:cubicBezTo>
                    <a:pt x="67" y="66"/>
                    <a:pt x="67" y="66"/>
                    <a:pt x="67" y="66"/>
                  </a:cubicBezTo>
                  <a:cubicBezTo>
                    <a:pt x="71" y="87"/>
                    <a:pt x="71" y="87"/>
                    <a:pt x="71" y="87"/>
                  </a:cubicBezTo>
                  <a:cubicBezTo>
                    <a:pt x="21" y="87"/>
                    <a:pt x="21" y="87"/>
                    <a:pt x="21" y="87"/>
                  </a:cubicBezTo>
                  <a:lnTo>
                    <a:pt x="25" y="66"/>
                  </a:lnTo>
                  <a:close/>
                  <a:moveTo>
                    <a:pt x="62" y="44"/>
                  </a:moveTo>
                  <a:cubicBezTo>
                    <a:pt x="64" y="54"/>
                    <a:pt x="64" y="54"/>
                    <a:pt x="64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30" y="44"/>
                    <a:pt x="30" y="44"/>
                    <a:pt x="30" y="44"/>
                  </a:cubicBezTo>
                  <a:lnTo>
                    <a:pt x="62" y="44"/>
                  </a:lnTo>
                  <a:close/>
                  <a:moveTo>
                    <a:pt x="38" y="6"/>
                  </a:moveTo>
                  <a:cubicBezTo>
                    <a:pt x="54" y="6"/>
                    <a:pt x="54" y="6"/>
                    <a:pt x="54" y="6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33" y="32"/>
                    <a:pt x="33" y="32"/>
                    <a:pt x="33" y="32"/>
                  </a:cubicBezTo>
                  <a:lnTo>
                    <a:pt x="38" y="6"/>
                  </a:lnTo>
                  <a:close/>
                  <a:moveTo>
                    <a:pt x="64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55"/>
                    <a:pt x="64" y="55"/>
                    <a:pt x="64" y="55"/>
                  </a:cubicBezTo>
                  <a:moveTo>
                    <a:pt x="90" y="84"/>
                  </a:moveTo>
                  <a:cubicBezTo>
                    <a:pt x="76" y="84"/>
                    <a:pt x="76" y="84"/>
                    <a:pt x="76" y="84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58" y="0"/>
                    <a:pt x="5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1"/>
                    <a:pt x="33" y="2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4"/>
                    <a:pt x="0" y="85"/>
                    <a:pt x="0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9"/>
                    <a:pt x="1" y="110"/>
                    <a:pt x="2" y="110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0"/>
                    <a:pt x="92" y="109"/>
                    <a:pt x="92" y="107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2" y="85"/>
                    <a:pt x="91" y="84"/>
                    <a:pt x="90" y="8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9" name="Group 229">
            <a:extLst>
              <a:ext uri="{FF2B5EF4-FFF2-40B4-BE49-F238E27FC236}">
                <a16:creationId xmlns:a16="http://schemas.microsoft.com/office/drawing/2014/main" id="{A50B943F-CF49-4094-97FD-AFBCB57213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4563" y="5426075"/>
            <a:ext cx="841375" cy="841375"/>
            <a:chOff x="2995" y="3418"/>
            <a:chExt cx="530" cy="530"/>
          </a:xfrm>
        </p:grpSpPr>
        <p:sp>
          <p:nvSpPr>
            <p:cNvPr id="280" name="AutoShape 228">
              <a:extLst>
                <a:ext uri="{FF2B5EF4-FFF2-40B4-BE49-F238E27FC236}">
                  <a16:creationId xmlns:a16="http://schemas.microsoft.com/office/drawing/2014/main" id="{F39D5C5F-C58F-414D-A2BF-B4905C640B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5" y="34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230">
              <a:extLst>
                <a:ext uri="{FF2B5EF4-FFF2-40B4-BE49-F238E27FC236}">
                  <a16:creationId xmlns:a16="http://schemas.microsoft.com/office/drawing/2014/main" id="{238B466F-303C-4961-B5C8-435D502CC7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5" y="341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31">
              <a:extLst>
                <a:ext uri="{FF2B5EF4-FFF2-40B4-BE49-F238E27FC236}">
                  <a16:creationId xmlns:a16="http://schemas.microsoft.com/office/drawing/2014/main" id="{257D2DB6-5F28-4A0F-819A-7DE04A7468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3" y="343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32">
              <a:extLst>
                <a:ext uri="{FF2B5EF4-FFF2-40B4-BE49-F238E27FC236}">
                  <a16:creationId xmlns:a16="http://schemas.microsoft.com/office/drawing/2014/main" id="{D19E861A-C8BC-463E-9697-EE87AECB5C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8" y="3531"/>
              <a:ext cx="287" cy="307"/>
            </a:xfrm>
            <a:custGeom>
              <a:avLst/>
              <a:gdLst>
                <a:gd name="T0" fmla="*/ 82 w 112"/>
                <a:gd name="T1" fmla="*/ 10 h 120"/>
                <a:gd name="T2" fmla="*/ 81 w 112"/>
                <a:gd name="T3" fmla="*/ 0 h 120"/>
                <a:gd name="T4" fmla="*/ 79 w 112"/>
                <a:gd name="T5" fmla="*/ 10 h 120"/>
                <a:gd name="T6" fmla="*/ 70 w 112"/>
                <a:gd name="T7" fmla="*/ 14 h 120"/>
                <a:gd name="T8" fmla="*/ 72 w 112"/>
                <a:gd name="T9" fmla="*/ 14 h 120"/>
                <a:gd name="T10" fmla="*/ 66 w 112"/>
                <a:gd name="T11" fmla="*/ 5 h 120"/>
                <a:gd name="T12" fmla="*/ 64 w 112"/>
                <a:gd name="T13" fmla="*/ 7 h 120"/>
                <a:gd name="T14" fmla="*/ 90 w 112"/>
                <a:gd name="T15" fmla="*/ 14 h 120"/>
                <a:gd name="T16" fmla="*/ 97 w 112"/>
                <a:gd name="T17" fmla="*/ 7 h 120"/>
                <a:gd name="T18" fmla="*/ 95 w 112"/>
                <a:gd name="T19" fmla="*/ 5 h 120"/>
                <a:gd name="T20" fmla="*/ 89 w 112"/>
                <a:gd name="T21" fmla="*/ 14 h 120"/>
                <a:gd name="T22" fmla="*/ 31 w 112"/>
                <a:gd name="T23" fmla="*/ 11 h 120"/>
                <a:gd name="T24" fmla="*/ 33 w 112"/>
                <a:gd name="T25" fmla="*/ 1 h 120"/>
                <a:gd name="T26" fmla="*/ 30 w 112"/>
                <a:gd name="T27" fmla="*/ 1 h 120"/>
                <a:gd name="T28" fmla="*/ 31 w 112"/>
                <a:gd name="T29" fmla="*/ 11 h 120"/>
                <a:gd name="T30" fmla="*/ 42 w 112"/>
                <a:gd name="T31" fmla="*/ 14 h 120"/>
                <a:gd name="T32" fmla="*/ 48 w 112"/>
                <a:gd name="T33" fmla="*/ 5 h 120"/>
                <a:gd name="T34" fmla="*/ 39 w 112"/>
                <a:gd name="T35" fmla="*/ 11 h 120"/>
                <a:gd name="T36" fmla="*/ 41 w 112"/>
                <a:gd name="T37" fmla="*/ 14 h 120"/>
                <a:gd name="T38" fmla="*/ 22 w 112"/>
                <a:gd name="T39" fmla="*/ 14 h 120"/>
                <a:gd name="T40" fmla="*/ 23 w 112"/>
                <a:gd name="T41" fmla="*/ 11 h 120"/>
                <a:gd name="T42" fmla="*/ 14 w 112"/>
                <a:gd name="T43" fmla="*/ 5 h 120"/>
                <a:gd name="T44" fmla="*/ 21 w 112"/>
                <a:gd name="T45" fmla="*/ 14 h 120"/>
                <a:gd name="T46" fmla="*/ 99 w 112"/>
                <a:gd name="T47" fmla="*/ 72 h 120"/>
                <a:gd name="T48" fmla="*/ 105 w 112"/>
                <a:gd name="T49" fmla="*/ 44 h 120"/>
                <a:gd name="T50" fmla="*/ 105 w 112"/>
                <a:gd name="T51" fmla="*/ 66 h 120"/>
                <a:gd name="T52" fmla="*/ 32 w 112"/>
                <a:gd name="T53" fmla="*/ 96 h 120"/>
                <a:gd name="T54" fmla="*/ 80 w 112"/>
                <a:gd name="T55" fmla="*/ 78 h 120"/>
                <a:gd name="T56" fmla="*/ 13 w 112"/>
                <a:gd name="T57" fmla="*/ 72 h 120"/>
                <a:gd name="T58" fmla="*/ 43 w 112"/>
                <a:gd name="T59" fmla="*/ 39 h 120"/>
                <a:gd name="T60" fmla="*/ 34 w 112"/>
                <a:gd name="T61" fmla="*/ 72 h 120"/>
                <a:gd name="T62" fmla="*/ 13 w 112"/>
                <a:gd name="T63" fmla="*/ 72 h 120"/>
                <a:gd name="T64" fmla="*/ 7 w 112"/>
                <a:gd name="T65" fmla="*/ 45 h 120"/>
                <a:gd name="T66" fmla="*/ 35 w 112"/>
                <a:gd name="T67" fmla="*/ 39 h 120"/>
                <a:gd name="T68" fmla="*/ 7 w 112"/>
                <a:gd name="T69" fmla="*/ 66 h 120"/>
                <a:gd name="T70" fmla="*/ 31 w 112"/>
                <a:gd name="T71" fmla="*/ 24 h 120"/>
                <a:gd name="T72" fmla="*/ 36 w 112"/>
                <a:gd name="T73" fmla="*/ 33 h 120"/>
                <a:gd name="T74" fmla="*/ 26 w 112"/>
                <a:gd name="T75" fmla="*/ 29 h 120"/>
                <a:gd name="T76" fmla="*/ 99 w 112"/>
                <a:gd name="T77" fmla="*/ 39 h 120"/>
                <a:gd name="T78" fmla="*/ 68 w 112"/>
                <a:gd name="T79" fmla="*/ 72 h 120"/>
                <a:gd name="T80" fmla="*/ 43 w 112"/>
                <a:gd name="T81" fmla="*/ 72 h 120"/>
                <a:gd name="T82" fmla="*/ 75 w 112"/>
                <a:gd name="T83" fmla="*/ 29 h 120"/>
                <a:gd name="T84" fmla="*/ 86 w 112"/>
                <a:gd name="T85" fmla="*/ 29 h 120"/>
                <a:gd name="T86" fmla="*/ 75 w 112"/>
                <a:gd name="T87" fmla="*/ 33 h 120"/>
                <a:gd name="T88" fmla="*/ 99 w 112"/>
                <a:gd name="T89" fmla="*/ 33 h 120"/>
                <a:gd name="T90" fmla="*/ 92 w 112"/>
                <a:gd name="T91" fmla="*/ 29 h 120"/>
                <a:gd name="T92" fmla="*/ 69 w 112"/>
                <a:gd name="T93" fmla="*/ 29 h 120"/>
                <a:gd name="T94" fmla="*/ 42 w 112"/>
                <a:gd name="T95" fmla="*/ 33 h 120"/>
                <a:gd name="T96" fmla="*/ 31 w 112"/>
                <a:gd name="T97" fmla="*/ 18 h 120"/>
                <a:gd name="T98" fmla="*/ 20 w 112"/>
                <a:gd name="T99" fmla="*/ 33 h 120"/>
                <a:gd name="T100" fmla="*/ 0 w 112"/>
                <a:gd name="T101" fmla="*/ 45 h 120"/>
                <a:gd name="T102" fmla="*/ 13 w 112"/>
                <a:gd name="T103" fmla="*/ 78 h 120"/>
                <a:gd name="T104" fmla="*/ 20 w 112"/>
                <a:gd name="T105" fmla="*/ 118 h 120"/>
                <a:gd name="T106" fmla="*/ 31 w 112"/>
                <a:gd name="T107" fmla="*/ 120 h 120"/>
                <a:gd name="T108" fmla="*/ 32 w 112"/>
                <a:gd name="T109" fmla="*/ 108 h 120"/>
                <a:gd name="T110" fmla="*/ 80 w 112"/>
                <a:gd name="T111" fmla="*/ 118 h 120"/>
                <a:gd name="T112" fmla="*/ 90 w 112"/>
                <a:gd name="T113" fmla="*/ 120 h 120"/>
                <a:gd name="T114" fmla="*/ 92 w 112"/>
                <a:gd name="T115" fmla="*/ 78 h 120"/>
                <a:gd name="T116" fmla="*/ 112 w 112"/>
                <a:gd name="T117" fmla="*/ 66 h 120"/>
                <a:gd name="T118" fmla="*/ 99 w 112"/>
                <a:gd name="T11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" h="120">
                  <a:moveTo>
                    <a:pt x="81" y="11"/>
                  </a:moveTo>
                  <a:cubicBezTo>
                    <a:pt x="81" y="11"/>
                    <a:pt x="82" y="11"/>
                    <a:pt x="82" y="10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1" y="0"/>
                    <a:pt x="81" y="0"/>
                  </a:cubicBezTo>
                  <a:cubicBezTo>
                    <a:pt x="80" y="0"/>
                    <a:pt x="79" y="1"/>
                    <a:pt x="79" y="1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80" y="11"/>
                    <a:pt x="81" y="11"/>
                  </a:cubicBezTo>
                  <a:moveTo>
                    <a:pt x="70" y="14"/>
                  </a:moveTo>
                  <a:cubicBezTo>
                    <a:pt x="70" y="14"/>
                    <a:pt x="71" y="14"/>
                    <a:pt x="71" y="14"/>
                  </a:cubicBezTo>
                  <a:cubicBezTo>
                    <a:pt x="71" y="14"/>
                    <a:pt x="72" y="14"/>
                    <a:pt x="72" y="14"/>
                  </a:cubicBezTo>
                  <a:cubicBezTo>
                    <a:pt x="73" y="13"/>
                    <a:pt x="73" y="12"/>
                    <a:pt x="72" y="11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4" y="4"/>
                    <a:pt x="64" y="5"/>
                  </a:cubicBezTo>
                  <a:cubicBezTo>
                    <a:pt x="63" y="6"/>
                    <a:pt x="63" y="7"/>
                    <a:pt x="64" y="7"/>
                  </a:cubicBezTo>
                  <a:lnTo>
                    <a:pt x="70" y="14"/>
                  </a:lnTo>
                  <a:close/>
                  <a:moveTo>
                    <a:pt x="90" y="14"/>
                  </a:moveTo>
                  <a:cubicBezTo>
                    <a:pt x="90" y="14"/>
                    <a:pt x="91" y="14"/>
                    <a:pt x="91" y="14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8" y="7"/>
                    <a:pt x="98" y="6"/>
                    <a:pt x="97" y="5"/>
                  </a:cubicBezTo>
                  <a:cubicBezTo>
                    <a:pt x="97" y="4"/>
                    <a:pt x="96" y="4"/>
                    <a:pt x="95" y="5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8" y="12"/>
                    <a:pt x="88" y="13"/>
                    <a:pt x="89" y="14"/>
                  </a:cubicBezTo>
                  <a:cubicBezTo>
                    <a:pt x="89" y="14"/>
                    <a:pt x="90" y="14"/>
                    <a:pt x="90" y="14"/>
                  </a:cubicBezTo>
                  <a:moveTo>
                    <a:pt x="31" y="11"/>
                  </a:moveTo>
                  <a:cubicBezTo>
                    <a:pt x="32" y="11"/>
                    <a:pt x="33" y="11"/>
                    <a:pt x="33" y="1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2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1"/>
                    <a:pt x="30" y="11"/>
                    <a:pt x="31" y="11"/>
                  </a:cubicBezTo>
                  <a:moveTo>
                    <a:pt x="41" y="14"/>
                  </a:moveTo>
                  <a:cubicBezTo>
                    <a:pt x="41" y="14"/>
                    <a:pt x="41" y="14"/>
                    <a:pt x="42" y="14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6"/>
                    <a:pt x="48" y="5"/>
                  </a:cubicBezTo>
                  <a:cubicBezTo>
                    <a:pt x="47" y="4"/>
                    <a:pt x="46" y="4"/>
                    <a:pt x="46" y="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2"/>
                    <a:pt x="39" y="13"/>
                    <a:pt x="39" y="14"/>
                  </a:cubicBezTo>
                  <a:cubicBezTo>
                    <a:pt x="40" y="14"/>
                    <a:pt x="40" y="14"/>
                    <a:pt x="41" y="14"/>
                  </a:cubicBezTo>
                  <a:moveTo>
                    <a:pt x="21" y="14"/>
                  </a:move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3"/>
                    <a:pt x="23" y="12"/>
                    <a:pt x="23" y="11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5" y="4"/>
                    <a:pt x="14" y="5"/>
                  </a:cubicBezTo>
                  <a:cubicBezTo>
                    <a:pt x="14" y="6"/>
                    <a:pt x="14" y="7"/>
                    <a:pt x="14" y="7"/>
                  </a:cubicBezTo>
                  <a:lnTo>
                    <a:pt x="21" y="14"/>
                  </a:lnTo>
                  <a:close/>
                  <a:moveTo>
                    <a:pt x="105" y="66"/>
                  </a:moveTo>
                  <a:cubicBezTo>
                    <a:pt x="105" y="69"/>
                    <a:pt x="103" y="72"/>
                    <a:pt x="99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5"/>
                    <a:pt x="105" y="45"/>
                  </a:cubicBezTo>
                  <a:lnTo>
                    <a:pt x="105" y="66"/>
                  </a:lnTo>
                  <a:close/>
                  <a:moveTo>
                    <a:pt x="80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80" y="78"/>
                    <a:pt x="80" y="78"/>
                    <a:pt x="80" y="78"/>
                  </a:cubicBezTo>
                  <a:lnTo>
                    <a:pt x="80" y="96"/>
                  </a:lnTo>
                  <a:close/>
                  <a:moveTo>
                    <a:pt x="13" y="72"/>
                  </a:moveTo>
                  <a:cubicBezTo>
                    <a:pt x="12" y="72"/>
                    <a:pt x="11" y="72"/>
                    <a:pt x="11" y="72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4" y="72"/>
                    <a:pt x="34" y="72"/>
                  </a:cubicBezTo>
                  <a:lnTo>
                    <a:pt x="13" y="72"/>
                  </a:lnTo>
                  <a:close/>
                  <a:moveTo>
                    <a:pt x="7" y="66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7" y="42"/>
                    <a:pt x="9" y="39"/>
                    <a:pt x="13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6"/>
                    <a:pt x="7" y="66"/>
                  </a:cubicBezTo>
                  <a:moveTo>
                    <a:pt x="26" y="29"/>
                  </a:moveTo>
                  <a:cubicBezTo>
                    <a:pt x="26" y="26"/>
                    <a:pt x="28" y="24"/>
                    <a:pt x="31" y="24"/>
                  </a:cubicBezTo>
                  <a:cubicBezTo>
                    <a:pt x="34" y="24"/>
                    <a:pt x="36" y="26"/>
                    <a:pt x="36" y="29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26" y="33"/>
                    <a:pt x="26" y="33"/>
                    <a:pt x="26" y="33"/>
                  </a:cubicBezTo>
                  <a:lnTo>
                    <a:pt x="26" y="29"/>
                  </a:lnTo>
                  <a:close/>
                  <a:moveTo>
                    <a:pt x="76" y="39"/>
                  </a:move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43" y="72"/>
                    <a:pt x="43" y="72"/>
                    <a:pt x="43" y="72"/>
                  </a:cubicBezTo>
                  <a:lnTo>
                    <a:pt x="76" y="39"/>
                  </a:lnTo>
                  <a:close/>
                  <a:moveTo>
                    <a:pt x="75" y="29"/>
                  </a:moveTo>
                  <a:cubicBezTo>
                    <a:pt x="75" y="26"/>
                    <a:pt x="78" y="24"/>
                    <a:pt x="81" y="24"/>
                  </a:cubicBezTo>
                  <a:cubicBezTo>
                    <a:pt x="83" y="24"/>
                    <a:pt x="86" y="26"/>
                    <a:pt x="86" y="29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75" y="33"/>
                    <a:pt x="75" y="33"/>
                    <a:pt x="75" y="33"/>
                  </a:cubicBezTo>
                  <a:lnTo>
                    <a:pt x="75" y="29"/>
                  </a:lnTo>
                  <a:close/>
                  <a:moveTo>
                    <a:pt x="99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3"/>
                    <a:pt x="87" y="18"/>
                    <a:pt x="81" y="18"/>
                  </a:cubicBezTo>
                  <a:cubicBezTo>
                    <a:pt x="74" y="18"/>
                    <a:pt x="69" y="23"/>
                    <a:pt x="69" y="29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3"/>
                    <a:pt x="37" y="18"/>
                    <a:pt x="31" y="18"/>
                  </a:cubicBezTo>
                  <a:cubicBezTo>
                    <a:pt x="25" y="18"/>
                    <a:pt x="20" y="23"/>
                    <a:pt x="20" y="29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6" y="33"/>
                    <a:pt x="0" y="39"/>
                    <a:pt x="0" y="4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3"/>
                    <a:pt x="6" y="78"/>
                    <a:pt x="13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20" y="119"/>
                    <a:pt x="21" y="120"/>
                    <a:pt x="2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0"/>
                    <a:pt x="32" y="119"/>
                    <a:pt x="32" y="118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9"/>
                    <a:pt x="81" y="120"/>
                    <a:pt x="81" y="12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1" y="120"/>
                    <a:pt x="92" y="119"/>
                    <a:pt x="92" y="11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6" y="78"/>
                    <a:pt x="112" y="73"/>
                    <a:pt x="112" y="66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39"/>
                    <a:pt x="106" y="33"/>
                    <a:pt x="99" y="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35">
            <a:extLst>
              <a:ext uri="{FF2B5EF4-FFF2-40B4-BE49-F238E27FC236}">
                <a16:creationId xmlns:a16="http://schemas.microsoft.com/office/drawing/2014/main" id="{F3360276-A2D4-4AA7-9C21-B007646918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9613" y="5467350"/>
            <a:ext cx="758825" cy="758825"/>
            <a:chOff x="3647" y="3444"/>
            <a:chExt cx="478" cy="478"/>
          </a:xfrm>
        </p:grpSpPr>
        <p:sp>
          <p:nvSpPr>
            <p:cNvPr id="285" name="AutoShape 234">
              <a:extLst>
                <a:ext uri="{FF2B5EF4-FFF2-40B4-BE49-F238E27FC236}">
                  <a16:creationId xmlns:a16="http://schemas.microsoft.com/office/drawing/2014/main" id="{9422120C-6CDB-4D35-BE04-BFF1EF009D9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7" y="344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36">
              <a:extLst>
                <a:ext uri="{FF2B5EF4-FFF2-40B4-BE49-F238E27FC236}">
                  <a16:creationId xmlns:a16="http://schemas.microsoft.com/office/drawing/2014/main" id="{D159F98E-5FD4-4A1B-893F-747B0B9B55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9" y="344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37">
              <a:extLst>
                <a:ext uri="{FF2B5EF4-FFF2-40B4-BE49-F238E27FC236}">
                  <a16:creationId xmlns:a16="http://schemas.microsoft.com/office/drawing/2014/main" id="{4C12A999-2D28-4D09-BAE0-B8EF2078C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3537"/>
              <a:ext cx="275" cy="294"/>
            </a:xfrm>
            <a:custGeom>
              <a:avLst/>
              <a:gdLst>
                <a:gd name="T0" fmla="*/ 82 w 112"/>
                <a:gd name="T1" fmla="*/ 10 h 120"/>
                <a:gd name="T2" fmla="*/ 81 w 112"/>
                <a:gd name="T3" fmla="*/ 0 h 120"/>
                <a:gd name="T4" fmla="*/ 79 w 112"/>
                <a:gd name="T5" fmla="*/ 10 h 120"/>
                <a:gd name="T6" fmla="*/ 70 w 112"/>
                <a:gd name="T7" fmla="*/ 14 h 120"/>
                <a:gd name="T8" fmla="*/ 72 w 112"/>
                <a:gd name="T9" fmla="*/ 14 h 120"/>
                <a:gd name="T10" fmla="*/ 66 w 112"/>
                <a:gd name="T11" fmla="*/ 5 h 120"/>
                <a:gd name="T12" fmla="*/ 64 w 112"/>
                <a:gd name="T13" fmla="*/ 7 h 120"/>
                <a:gd name="T14" fmla="*/ 90 w 112"/>
                <a:gd name="T15" fmla="*/ 14 h 120"/>
                <a:gd name="T16" fmla="*/ 97 w 112"/>
                <a:gd name="T17" fmla="*/ 7 h 120"/>
                <a:gd name="T18" fmla="*/ 95 w 112"/>
                <a:gd name="T19" fmla="*/ 5 h 120"/>
                <a:gd name="T20" fmla="*/ 89 w 112"/>
                <a:gd name="T21" fmla="*/ 14 h 120"/>
                <a:gd name="T22" fmla="*/ 31 w 112"/>
                <a:gd name="T23" fmla="*/ 11 h 120"/>
                <a:gd name="T24" fmla="*/ 33 w 112"/>
                <a:gd name="T25" fmla="*/ 1 h 120"/>
                <a:gd name="T26" fmla="*/ 30 w 112"/>
                <a:gd name="T27" fmla="*/ 1 h 120"/>
                <a:gd name="T28" fmla="*/ 31 w 112"/>
                <a:gd name="T29" fmla="*/ 11 h 120"/>
                <a:gd name="T30" fmla="*/ 42 w 112"/>
                <a:gd name="T31" fmla="*/ 14 h 120"/>
                <a:gd name="T32" fmla="*/ 48 w 112"/>
                <a:gd name="T33" fmla="*/ 5 h 120"/>
                <a:gd name="T34" fmla="*/ 39 w 112"/>
                <a:gd name="T35" fmla="*/ 11 h 120"/>
                <a:gd name="T36" fmla="*/ 41 w 112"/>
                <a:gd name="T37" fmla="*/ 14 h 120"/>
                <a:gd name="T38" fmla="*/ 22 w 112"/>
                <a:gd name="T39" fmla="*/ 14 h 120"/>
                <a:gd name="T40" fmla="*/ 23 w 112"/>
                <a:gd name="T41" fmla="*/ 11 h 120"/>
                <a:gd name="T42" fmla="*/ 14 w 112"/>
                <a:gd name="T43" fmla="*/ 5 h 120"/>
                <a:gd name="T44" fmla="*/ 21 w 112"/>
                <a:gd name="T45" fmla="*/ 14 h 120"/>
                <a:gd name="T46" fmla="*/ 99 w 112"/>
                <a:gd name="T47" fmla="*/ 72 h 120"/>
                <a:gd name="T48" fmla="*/ 105 w 112"/>
                <a:gd name="T49" fmla="*/ 44 h 120"/>
                <a:gd name="T50" fmla="*/ 105 w 112"/>
                <a:gd name="T51" fmla="*/ 66 h 120"/>
                <a:gd name="T52" fmla="*/ 32 w 112"/>
                <a:gd name="T53" fmla="*/ 96 h 120"/>
                <a:gd name="T54" fmla="*/ 80 w 112"/>
                <a:gd name="T55" fmla="*/ 78 h 120"/>
                <a:gd name="T56" fmla="*/ 13 w 112"/>
                <a:gd name="T57" fmla="*/ 72 h 120"/>
                <a:gd name="T58" fmla="*/ 43 w 112"/>
                <a:gd name="T59" fmla="*/ 39 h 120"/>
                <a:gd name="T60" fmla="*/ 34 w 112"/>
                <a:gd name="T61" fmla="*/ 72 h 120"/>
                <a:gd name="T62" fmla="*/ 13 w 112"/>
                <a:gd name="T63" fmla="*/ 72 h 120"/>
                <a:gd name="T64" fmla="*/ 7 w 112"/>
                <a:gd name="T65" fmla="*/ 45 h 120"/>
                <a:gd name="T66" fmla="*/ 35 w 112"/>
                <a:gd name="T67" fmla="*/ 39 h 120"/>
                <a:gd name="T68" fmla="*/ 7 w 112"/>
                <a:gd name="T69" fmla="*/ 66 h 120"/>
                <a:gd name="T70" fmla="*/ 31 w 112"/>
                <a:gd name="T71" fmla="*/ 24 h 120"/>
                <a:gd name="T72" fmla="*/ 36 w 112"/>
                <a:gd name="T73" fmla="*/ 33 h 120"/>
                <a:gd name="T74" fmla="*/ 26 w 112"/>
                <a:gd name="T75" fmla="*/ 29 h 120"/>
                <a:gd name="T76" fmla="*/ 99 w 112"/>
                <a:gd name="T77" fmla="*/ 39 h 120"/>
                <a:gd name="T78" fmla="*/ 68 w 112"/>
                <a:gd name="T79" fmla="*/ 72 h 120"/>
                <a:gd name="T80" fmla="*/ 43 w 112"/>
                <a:gd name="T81" fmla="*/ 72 h 120"/>
                <a:gd name="T82" fmla="*/ 75 w 112"/>
                <a:gd name="T83" fmla="*/ 29 h 120"/>
                <a:gd name="T84" fmla="*/ 86 w 112"/>
                <a:gd name="T85" fmla="*/ 29 h 120"/>
                <a:gd name="T86" fmla="*/ 75 w 112"/>
                <a:gd name="T87" fmla="*/ 33 h 120"/>
                <a:gd name="T88" fmla="*/ 99 w 112"/>
                <a:gd name="T89" fmla="*/ 33 h 120"/>
                <a:gd name="T90" fmla="*/ 92 w 112"/>
                <a:gd name="T91" fmla="*/ 29 h 120"/>
                <a:gd name="T92" fmla="*/ 69 w 112"/>
                <a:gd name="T93" fmla="*/ 29 h 120"/>
                <a:gd name="T94" fmla="*/ 42 w 112"/>
                <a:gd name="T95" fmla="*/ 33 h 120"/>
                <a:gd name="T96" fmla="*/ 31 w 112"/>
                <a:gd name="T97" fmla="*/ 18 h 120"/>
                <a:gd name="T98" fmla="*/ 20 w 112"/>
                <a:gd name="T99" fmla="*/ 33 h 120"/>
                <a:gd name="T100" fmla="*/ 0 w 112"/>
                <a:gd name="T101" fmla="*/ 45 h 120"/>
                <a:gd name="T102" fmla="*/ 13 w 112"/>
                <a:gd name="T103" fmla="*/ 78 h 120"/>
                <a:gd name="T104" fmla="*/ 20 w 112"/>
                <a:gd name="T105" fmla="*/ 118 h 120"/>
                <a:gd name="T106" fmla="*/ 31 w 112"/>
                <a:gd name="T107" fmla="*/ 120 h 120"/>
                <a:gd name="T108" fmla="*/ 32 w 112"/>
                <a:gd name="T109" fmla="*/ 108 h 120"/>
                <a:gd name="T110" fmla="*/ 80 w 112"/>
                <a:gd name="T111" fmla="*/ 118 h 120"/>
                <a:gd name="T112" fmla="*/ 90 w 112"/>
                <a:gd name="T113" fmla="*/ 120 h 120"/>
                <a:gd name="T114" fmla="*/ 92 w 112"/>
                <a:gd name="T115" fmla="*/ 78 h 120"/>
                <a:gd name="T116" fmla="*/ 112 w 112"/>
                <a:gd name="T117" fmla="*/ 66 h 120"/>
                <a:gd name="T118" fmla="*/ 99 w 112"/>
                <a:gd name="T119" fmla="*/ 3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" h="120">
                  <a:moveTo>
                    <a:pt x="81" y="11"/>
                  </a:moveTo>
                  <a:cubicBezTo>
                    <a:pt x="81" y="11"/>
                    <a:pt x="82" y="11"/>
                    <a:pt x="82" y="10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1" y="0"/>
                    <a:pt x="81" y="0"/>
                  </a:cubicBezTo>
                  <a:cubicBezTo>
                    <a:pt x="80" y="0"/>
                    <a:pt x="79" y="1"/>
                    <a:pt x="79" y="1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80" y="11"/>
                    <a:pt x="81" y="11"/>
                  </a:cubicBezTo>
                  <a:moveTo>
                    <a:pt x="70" y="14"/>
                  </a:moveTo>
                  <a:cubicBezTo>
                    <a:pt x="70" y="14"/>
                    <a:pt x="71" y="14"/>
                    <a:pt x="71" y="14"/>
                  </a:cubicBezTo>
                  <a:cubicBezTo>
                    <a:pt x="71" y="14"/>
                    <a:pt x="72" y="14"/>
                    <a:pt x="72" y="14"/>
                  </a:cubicBezTo>
                  <a:cubicBezTo>
                    <a:pt x="73" y="13"/>
                    <a:pt x="73" y="12"/>
                    <a:pt x="72" y="11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4"/>
                    <a:pt x="64" y="4"/>
                    <a:pt x="64" y="5"/>
                  </a:cubicBezTo>
                  <a:cubicBezTo>
                    <a:pt x="63" y="6"/>
                    <a:pt x="63" y="7"/>
                    <a:pt x="64" y="7"/>
                  </a:cubicBezTo>
                  <a:lnTo>
                    <a:pt x="70" y="14"/>
                  </a:lnTo>
                  <a:close/>
                  <a:moveTo>
                    <a:pt x="90" y="14"/>
                  </a:moveTo>
                  <a:cubicBezTo>
                    <a:pt x="90" y="14"/>
                    <a:pt x="91" y="14"/>
                    <a:pt x="91" y="14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8" y="7"/>
                    <a:pt x="98" y="6"/>
                    <a:pt x="97" y="5"/>
                  </a:cubicBezTo>
                  <a:cubicBezTo>
                    <a:pt x="97" y="4"/>
                    <a:pt x="96" y="4"/>
                    <a:pt x="95" y="5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8" y="12"/>
                    <a:pt x="88" y="13"/>
                    <a:pt x="89" y="14"/>
                  </a:cubicBezTo>
                  <a:cubicBezTo>
                    <a:pt x="89" y="14"/>
                    <a:pt x="90" y="14"/>
                    <a:pt x="90" y="14"/>
                  </a:cubicBezTo>
                  <a:moveTo>
                    <a:pt x="31" y="11"/>
                  </a:moveTo>
                  <a:cubicBezTo>
                    <a:pt x="32" y="11"/>
                    <a:pt x="33" y="11"/>
                    <a:pt x="33" y="1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2" y="0"/>
                    <a:pt x="31" y="0"/>
                  </a:cubicBezTo>
                  <a:cubicBezTo>
                    <a:pt x="30" y="0"/>
                    <a:pt x="30" y="1"/>
                    <a:pt x="30" y="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1"/>
                    <a:pt x="30" y="11"/>
                    <a:pt x="31" y="11"/>
                  </a:cubicBezTo>
                  <a:moveTo>
                    <a:pt x="41" y="14"/>
                  </a:moveTo>
                  <a:cubicBezTo>
                    <a:pt x="41" y="14"/>
                    <a:pt x="41" y="14"/>
                    <a:pt x="42" y="14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6"/>
                    <a:pt x="48" y="5"/>
                  </a:cubicBezTo>
                  <a:cubicBezTo>
                    <a:pt x="47" y="4"/>
                    <a:pt x="46" y="4"/>
                    <a:pt x="46" y="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2"/>
                    <a:pt x="39" y="13"/>
                    <a:pt x="39" y="14"/>
                  </a:cubicBezTo>
                  <a:cubicBezTo>
                    <a:pt x="40" y="14"/>
                    <a:pt x="40" y="14"/>
                    <a:pt x="41" y="14"/>
                  </a:cubicBezTo>
                  <a:moveTo>
                    <a:pt x="21" y="14"/>
                  </a:moveTo>
                  <a:cubicBezTo>
                    <a:pt x="21" y="14"/>
                    <a:pt x="21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3"/>
                    <a:pt x="23" y="12"/>
                    <a:pt x="23" y="11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5" y="4"/>
                    <a:pt x="14" y="5"/>
                  </a:cubicBezTo>
                  <a:cubicBezTo>
                    <a:pt x="14" y="6"/>
                    <a:pt x="14" y="7"/>
                    <a:pt x="14" y="7"/>
                  </a:cubicBezTo>
                  <a:lnTo>
                    <a:pt x="21" y="14"/>
                  </a:lnTo>
                  <a:close/>
                  <a:moveTo>
                    <a:pt x="105" y="66"/>
                  </a:moveTo>
                  <a:cubicBezTo>
                    <a:pt x="105" y="69"/>
                    <a:pt x="103" y="72"/>
                    <a:pt x="99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5"/>
                    <a:pt x="105" y="45"/>
                  </a:cubicBezTo>
                  <a:lnTo>
                    <a:pt x="105" y="66"/>
                  </a:lnTo>
                  <a:close/>
                  <a:moveTo>
                    <a:pt x="80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80" y="78"/>
                    <a:pt x="80" y="78"/>
                    <a:pt x="80" y="78"/>
                  </a:cubicBezTo>
                  <a:lnTo>
                    <a:pt x="80" y="96"/>
                  </a:lnTo>
                  <a:close/>
                  <a:moveTo>
                    <a:pt x="13" y="72"/>
                  </a:moveTo>
                  <a:cubicBezTo>
                    <a:pt x="12" y="72"/>
                    <a:pt x="11" y="72"/>
                    <a:pt x="11" y="72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4" y="72"/>
                    <a:pt x="34" y="72"/>
                  </a:cubicBezTo>
                  <a:lnTo>
                    <a:pt x="13" y="72"/>
                  </a:lnTo>
                  <a:close/>
                  <a:moveTo>
                    <a:pt x="7" y="66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7" y="42"/>
                    <a:pt x="9" y="39"/>
                    <a:pt x="13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6"/>
                    <a:pt x="7" y="66"/>
                  </a:cubicBezTo>
                  <a:moveTo>
                    <a:pt x="26" y="29"/>
                  </a:moveTo>
                  <a:cubicBezTo>
                    <a:pt x="26" y="26"/>
                    <a:pt x="28" y="24"/>
                    <a:pt x="31" y="24"/>
                  </a:cubicBezTo>
                  <a:cubicBezTo>
                    <a:pt x="34" y="24"/>
                    <a:pt x="36" y="26"/>
                    <a:pt x="36" y="29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26" y="33"/>
                    <a:pt x="26" y="33"/>
                    <a:pt x="26" y="33"/>
                  </a:cubicBezTo>
                  <a:lnTo>
                    <a:pt x="26" y="29"/>
                  </a:lnTo>
                  <a:close/>
                  <a:moveTo>
                    <a:pt x="76" y="39"/>
                  </a:move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43" y="72"/>
                    <a:pt x="43" y="72"/>
                    <a:pt x="43" y="72"/>
                  </a:cubicBezTo>
                  <a:lnTo>
                    <a:pt x="76" y="39"/>
                  </a:lnTo>
                  <a:close/>
                  <a:moveTo>
                    <a:pt x="75" y="29"/>
                  </a:moveTo>
                  <a:cubicBezTo>
                    <a:pt x="75" y="26"/>
                    <a:pt x="78" y="24"/>
                    <a:pt x="81" y="24"/>
                  </a:cubicBezTo>
                  <a:cubicBezTo>
                    <a:pt x="83" y="24"/>
                    <a:pt x="86" y="26"/>
                    <a:pt x="86" y="29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75" y="33"/>
                    <a:pt x="75" y="33"/>
                    <a:pt x="75" y="33"/>
                  </a:cubicBezTo>
                  <a:lnTo>
                    <a:pt x="75" y="29"/>
                  </a:lnTo>
                  <a:close/>
                  <a:moveTo>
                    <a:pt x="99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3"/>
                    <a:pt x="87" y="18"/>
                    <a:pt x="81" y="18"/>
                  </a:cubicBezTo>
                  <a:cubicBezTo>
                    <a:pt x="74" y="18"/>
                    <a:pt x="69" y="23"/>
                    <a:pt x="69" y="29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3"/>
                    <a:pt x="37" y="18"/>
                    <a:pt x="31" y="18"/>
                  </a:cubicBezTo>
                  <a:cubicBezTo>
                    <a:pt x="25" y="18"/>
                    <a:pt x="20" y="23"/>
                    <a:pt x="20" y="29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6" y="33"/>
                    <a:pt x="0" y="39"/>
                    <a:pt x="0" y="4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3"/>
                    <a:pt x="6" y="78"/>
                    <a:pt x="13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20" y="119"/>
                    <a:pt x="21" y="120"/>
                    <a:pt x="2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1" y="120"/>
                    <a:pt x="32" y="119"/>
                    <a:pt x="32" y="118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9"/>
                    <a:pt x="81" y="120"/>
                    <a:pt x="81" y="12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1" y="120"/>
                    <a:pt x="92" y="119"/>
                    <a:pt x="92" y="11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6" y="78"/>
                    <a:pt x="112" y="73"/>
                    <a:pt x="112" y="66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39"/>
                    <a:pt x="106" y="33"/>
                    <a:pt x="99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8" name="Group 240">
            <a:extLst>
              <a:ext uri="{FF2B5EF4-FFF2-40B4-BE49-F238E27FC236}">
                <a16:creationId xmlns:a16="http://schemas.microsoft.com/office/drawing/2014/main" id="{85C59076-D126-4E4C-8619-404DA2B70A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7063" y="5426075"/>
            <a:ext cx="841375" cy="841375"/>
            <a:chOff x="4395" y="3418"/>
            <a:chExt cx="530" cy="530"/>
          </a:xfrm>
        </p:grpSpPr>
        <p:sp>
          <p:nvSpPr>
            <p:cNvPr id="289" name="AutoShape 239">
              <a:extLst>
                <a:ext uri="{FF2B5EF4-FFF2-40B4-BE49-F238E27FC236}">
                  <a16:creationId xmlns:a16="http://schemas.microsoft.com/office/drawing/2014/main" id="{A6786155-9116-4C8F-A277-84C1289E56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5" y="34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241">
              <a:extLst>
                <a:ext uri="{FF2B5EF4-FFF2-40B4-BE49-F238E27FC236}">
                  <a16:creationId xmlns:a16="http://schemas.microsoft.com/office/drawing/2014/main" id="{5A1CDFC6-B5A0-441F-AEDC-BF860DC23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" y="341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42">
              <a:extLst>
                <a:ext uri="{FF2B5EF4-FFF2-40B4-BE49-F238E27FC236}">
                  <a16:creationId xmlns:a16="http://schemas.microsoft.com/office/drawing/2014/main" id="{DE55CD07-49D1-4693-8E55-9C0C4741D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3" y="343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43">
              <a:extLst>
                <a:ext uri="{FF2B5EF4-FFF2-40B4-BE49-F238E27FC236}">
                  <a16:creationId xmlns:a16="http://schemas.microsoft.com/office/drawing/2014/main" id="{18142503-E701-4BB7-B185-B5D2272855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2" y="3577"/>
              <a:ext cx="318" cy="245"/>
            </a:xfrm>
            <a:custGeom>
              <a:avLst/>
              <a:gdLst>
                <a:gd name="T0" fmla="*/ 111 w 124"/>
                <a:gd name="T1" fmla="*/ 70 h 96"/>
                <a:gd name="T2" fmla="*/ 108 w 124"/>
                <a:gd name="T3" fmla="*/ 70 h 96"/>
                <a:gd name="T4" fmla="*/ 108 w 124"/>
                <a:gd name="T5" fmla="*/ 6 h 96"/>
                <a:gd name="T6" fmla="*/ 111 w 124"/>
                <a:gd name="T7" fmla="*/ 5 h 96"/>
                <a:gd name="T8" fmla="*/ 119 w 124"/>
                <a:gd name="T9" fmla="*/ 13 h 96"/>
                <a:gd name="T10" fmla="*/ 119 w 124"/>
                <a:gd name="T11" fmla="*/ 72 h 96"/>
                <a:gd name="T12" fmla="*/ 111 w 124"/>
                <a:gd name="T13" fmla="*/ 70 h 96"/>
                <a:gd name="T14" fmla="*/ 5 w 124"/>
                <a:gd name="T15" fmla="*/ 13 h 96"/>
                <a:gd name="T16" fmla="*/ 13 w 124"/>
                <a:gd name="T17" fmla="*/ 5 h 96"/>
                <a:gd name="T18" fmla="*/ 16 w 124"/>
                <a:gd name="T19" fmla="*/ 6 h 96"/>
                <a:gd name="T20" fmla="*/ 16 w 124"/>
                <a:gd name="T21" fmla="*/ 70 h 96"/>
                <a:gd name="T22" fmla="*/ 13 w 124"/>
                <a:gd name="T23" fmla="*/ 70 h 96"/>
                <a:gd name="T24" fmla="*/ 5 w 124"/>
                <a:gd name="T25" fmla="*/ 72 h 96"/>
                <a:gd name="T26" fmla="*/ 5 w 124"/>
                <a:gd name="T27" fmla="*/ 13 h 96"/>
                <a:gd name="T28" fmla="*/ 111 w 124"/>
                <a:gd name="T29" fmla="*/ 0 h 96"/>
                <a:gd name="T30" fmla="*/ 104 w 124"/>
                <a:gd name="T31" fmla="*/ 4 h 96"/>
                <a:gd name="T32" fmla="*/ 103 w 124"/>
                <a:gd name="T33" fmla="*/ 5 h 96"/>
                <a:gd name="T34" fmla="*/ 103 w 124"/>
                <a:gd name="T35" fmla="*/ 13 h 96"/>
                <a:gd name="T36" fmla="*/ 80 w 124"/>
                <a:gd name="T37" fmla="*/ 13 h 96"/>
                <a:gd name="T38" fmla="*/ 80 w 124"/>
                <a:gd name="T39" fmla="*/ 18 h 96"/>
                <a:gd name="T40" fmla="*/ 103 w 124"/>
                <a:gd name="T41" fmla="*/ 18 h 96"/>
                <a:gd name="T42" fmla="*/ 103 w 124"/>
                <a:gd name="T43" fmla="*/ 75 h 96"/>
                <a:gd name="T44" fmla="*/ 105 w 124"/>
                <a:gd name="T45" fmla="*/ 78 h 96"/>
                <a:gd name="T46" fmla="*/ 108 w 124"/>
                <a:gd name="T47" fmla="*/ 76 h 96"/>
                <a:gd name="T48" fmla="*/ 111 w 124"/>
                <a:gd name="T49" fmla="*/ 75 h 96"/>
                <a:gd name="T50" fmla="*/ 119 w 124"/>
                <a:gd name="T51" fmla="*/ 83 h 96"/>
                <a:gd name="T52" fmla="*/ 111 w 124"/>
                <a:gd name="T53" fmla="*/ 91 h 96"/>
                <a:gd name="T54" fmla="*/ 13 w 124"/>
                <a:gd name="T55" fmla="*/ 91 h 96"/>
                <a:gd name="T56" fmla="*/ 5 w 124"/>
                <a:gd name="T57" fmla="*/ 83 h 96"/>
                <a:gd name="T58" fmla="*/ 13 w 124"/>
                <a:gd name="T59" fmla="*/ 75 h 96"/>
                <a:gd name="T60" fmla="*/ 16 w 124"/>
                <a:gd name="T61" fmla="*/ 76 h 96"/>
                <a:gd name="T62" fmla="*/ 19 w 124"/>
                <a:gd name="T63" fmla="*/ 78 h 96"/>
                <a:gd name="T64" fmla="*/ 21 w 124"/>
                <a:gd name="T65" fmla="*/ 75 h 96"/>
                <a:gd name="T66" fmla="*/ 21 w 124"/>
                <a:gd name="T67" fmla="*/ 18 h 96"/>
                <a:gd name="T68" fmla="*/ 44 w 124"/>
                <a:gd name="T69" fmla="*/ 18 h 96"/>
                <a:gd name="T70" fmla="*/ 44 w 124"/>
                <a:gd name="T71" fmla="*/ 13 h 96"/>
                <a:gd name="T72" fmla="*/ 21 w 124"/>
                <a:gd name="T73" fmla="*/ 13 h 96"/>
                <a:gd name="T74" fmla="*/ 21 w 124"/>
                <a:gd name="T75" fmla="*/ 5 h 96"/>
                <a:gd name="T76" fmla="*/ 20 w 124"/>
                <a:gd name="T77" fmla="*/ 4 h 96"/>
                <a:gd name="T78" fmla="*/ 13 w 124"/>
                <a:gd name="T79" fmla="*/ 0 h 96"/>
                <a:gd name="T80" fmla="*/ 0 w 124"/>
                <a:gd name="T81" fmla="*/ 13 h 96"/>
                <a:gd name="T82" fmla="*/ 0 w 124"/>
                <a:gd name="T83" fmla="*/ 83 h 96"/>
                <a:gd name="T84" fmla="*/ 13 w 124"/>
                <a:gd name="T85" fmla="*/ 96 h 96"/>
                <a:gd name="T86" fmla="*/ 111 w 124"/>
                <a:gd name="T87" fmla="*/ 96 h 96"/>
                <a:gd name="T88" fmla="*/ 124 w 124"/>
                <a:gd name="T89" fmla="*/ 83 h 96"/>
                <a:gd name="T90" fmla="*/ 124 w 124"/>
                <a:gd name="T91" fmla="*/ 13 h 96"/>
                <a:gd name="T92" fmla="*/ 111 w 124"/>
                <a:gd name="T9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4" h="96">
                  <a:moveTo>
                    <a:pt x="111" y="70"/>
                  </a:moveTo>
                  <a:cubicBezTo>
                    <a:pt x="110" y="70"/>
                    <a:pt x="109" y="70"/>
                    <a:pt x="108" y="7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5"/>
                    <a:pt x="110" y="5"/>
                    <a:pt x="111" y="5"/>
                  </a:cubicBezTo>
                  <a:cubicBezTo>
                    <a:pt x="115" y="5"/>
                    <a:pt x="119" y="9"/>
                    <a:pt x="119" y="13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7" y="71"/>
                    <a:pt x="114" y="70"/>
                    <a:pt x="111" y="70"/>
                  </a:cubicBezTo>
                  <a:moveTo>
                    <a:pt x="5" y="13"/>
                  </a:moveTo>
                  <a:cubicBezTo>
                    <a:pt x="5" y="9"/>
                    <a:pt x="9" y="5"/>
                    <a:pt x="13" y="5"/>
                  </a:cubicBezTo>
                  <a:cubicBezTo>
                    <a:pt x="14" y="5"/>
                    <a:pt x="15" y="5"/>
                    <a:pt x="16" y="6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5" y="70"/>
                    <a:pt x="14" y="70"/>
                    <a:pt x="13" y="70"/>
                  </a:cubicBezTo>
                  <a:cubicBezTo>
                    <a:pt x="10" y="70"/>
                    <a:pt x="7" y="71"/>
                    <a:pt x="5" y="72"/>
                  </a:cubicBezTo>
                  <a:lnTo>
                    <a:pt x="5" y="13"/>
                  </a:lnTo>
                  <a:close/>
                  <a:moveTo>
                    <a:pt x="111" y="0"/>
                  </a:moveTo>
                  <a:cubicBezTo>
                    <a:pt x="106" y="0"/>
                    <a:pt x="104" y="3"/>
                    <a:pt x="104" y="4"/>
                  </a:cubicBezTo>
                  <a:cubicBezTo>
                    <a:pt x="103" y="4"/>
                    <a:pt x="103" y="5"/>
                    <a:pt x="103" y="5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03" y="76"/>
                    <a:pt x="104" y="77"/>
                    <a:pt x="105" y="78"/>
                  </a:cubicBezTo>
                  <a:cubicBezTo>
                    <a:pt x="106" y="78"/>
                    <a:pt x="108" y="77"/>
                    <a:pt x="108" y="76"/>
                  </a:cubicBezTo>
                  <a:cubicBezTo>
                    <a:pt x="109" y="75"/>
                    <a:pt x="110" y="75"/>
                    <a:pt x="111" y="75"/>
                  </a:cubicBezTo>
                  <a:cubicBezTo>
                    <a:pt x="115" y="75"/>
                    <a:pt x="119" y="79"/>
                    <a:pt x="119" y="83"/>
                  </a:cubicBezTo>
                  <a:cubicBezTo>
                    <a:pt x="119" y="87"/>
                    <a:pt x="115" y="91"/>
                    <a:pt x="111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9" y="91"/>
                    <a:pt x="5" y="87"/>
                    <a:pt x="5" y="83"/>
                  </a:cubicBezTo>
                  <a:cubicBezTo>
                    <a:pt x="5" y="79"/>
                    <a:pt x="9" y="75"/>
                    <a:pt x="13" y="75"/>
                  </a:cubicBezTo>
                  <a:cubicBezTo>
                    <a:pt x="14" y="75"/>
                    <a:pt x="15" y="75"/>
                    <a:pt x="16" y="76"/>
                  </a:cubicBezTo>
                  <a:cubicBezTo>
                    <a:pt x="16" y="77"/>
                    <a:pt x="18" y="78"/>
                    <a:pt x="19" y="78"/>
                  </a:cubicBezTo>
                  <a:cubicBezTo>
                    <a:pt x="20" y="77"/>
                    <a:pt x="21" y="76"/>
                    <a:pt x="21" y="75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4"/>
                    <a:pt x="20" y="4"/>
                  </a:cubicBezTo>
                  <a:cubicBezTo>
                    <a:pt x="20" y="3"/>
                    <a:pt x="18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0"/>
                    <a:pt x="6" y="96"/>
                    <a:pt x="13" y="9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8" y="96"/>
                    <a:pt x="124" y="90"/>
                    <a:pt x="124" y="8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6"/>
                    <a:pt x="118" y="0"/>
                    <a:pt x="1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44">
              <a:extLst>
                <a:ext uri="{FF2B5EF4-FFF2-40B4-BE49-F238E27FC236}">
                  <a16:creationId xmlns:a16="http://schemas.microsoft.com/office/drawing/2014/main" id="{1228DDC5-005E-471C-B22A-3D7DA46EE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4" y="3505"/>
              <a:ext cx="164" cy="266"/>
            </a:xfrm>
            <a:custGeom>
              <a:avLst/>
              <a:gdLst>
                <a:gd name="T0" fmla="*/ 36 w 64"/>
                <a:gd name="T1" fmla="*/ 72 h 104"/>
                <a:gd name="T2" fmla="*/ 36 w 64"/>
                <a:gd name="T3" fmla="*/ 64 h 104"/>
                <a:gd name="T4" fmla="*/ 31 w 64"/>
                <a:gd name="T5" fmla="*/ 64 h 104"/>
                <a:gd name="T6" fmla="*/ 31 w 64"/>
                <a:gd name="T7" fmla="*/ 72 h 104"/>
                <a:gd name="T8" fmla="*/ 19 w 64"/>
                <a:gd name="T9" fmla="*/ 68 h 104"/>
                <a:gd name="T10" fmla="*/ 27 w 64"/>
                <a:gd name="T11" fmla="*/ 50 h 104"/>
                <a:gd name="T12" fmla="*/ 33 w 64"/>
                <a:gd name="T13" fmla="*/ 52 h 104"/>
                <a:gd name="T14" fmla="*/ 40 w 64"/>
                <a:gd name="T15" fmla="*/ 50 h 104"/>
                <a:gd name="T16" fmla="*/ 46 w 64"/>
                <a:gd name="T17" fmla="*/ 69 h 104"/>
                <a:gd name="T18" fmla="*/ 36 w 64"/>
                <a:gd name="T19" fmla="*/ 72 h 104"/>
                <a:gd name="T20" fmla="*/ 33 w 64"/>
                <a:gd name="T21" fmla="*/ 26 h 104"/>
                <a:gd name="T22" fmla="*/ 44 w 64"/>
                <a:gd name="T23" fmla="*/ 36 h 104"/>
                <a:gd name="T24" fmla="*/ 33 w 64"/>
                <a:gd name="T25" fmla="*/ 46 h 104"/>
                <a:gd name="T26" fmla="*/ 23 w 64"/>
                <a:gd name="T27" fmla="*/ 36 h 104"/>
                <a:gd name="T28" fmla="*/ 33 w 64"/>
                <a:gd name="T29" fmla="*/ 26 h 104"/>
                <a:gd name="T30" fmla="*/ 31 w 64"/>
                <a:gd name="T31" fmla="*/ 9 h 104"/>
                <a:gd name="T32" fmla="*/ 33 w 64"/>
                <a:gd name="T33" fmla="*/ 6 h 104"/>
                <a:gd name="T34" fmla="*/ 36 w 64"/>
                <a:gd name="T35" fmla="*/ 9 h 104"/>
                <a:gd name="T36" fmla="*/ 36 w 64"/>
                <a:gd name="T37" fmla="*/ 17 h 104"/>
                <a:gd name="T38" fmla="*/ 33 w 64"/>
                <a:gd name="T39" fmla="*/ 20 h 104"/>
                <a:gd name="T40" fmla="*/ 31 w 64"/>
                <a:gd name="T41" fmla="*/ 17 h 104"/>
                <a:gd name="T42" fmla="*/ 31 w 64"/>
                <a:gd name="T43" fmla="*/ 9 h 104"/>
                <a:gd name="T44" fmla="*/ 59 w 64"/>
                <a:gd name="T45" fmla="*/ 104 h 104"/>
                <a:gd name="T46" fmla="*/ 64 w 64"/>
                <a:gd name="T47" fmla="*/ 102 h 104"/>
                <a:gd name="T48" fmla="*/ 53 w 64"/>
                <a:gd name="T49" fmla="*/ 71 h 104"/>
                <a:gd name="T50" fmla="*/ 61 w 64"/>
                <a:gd name="T51" fmla="*/ 64 h 104"/>
                <a:gd name="T52" fmla="*/ 57 w 64"/>
                <a:gd name="T53" fmla="*/ 60 h 104"/>
                <a:gd name="T54" fmla="*/ 51 w 64"/>
                <a:gd name="T55" fmla="*/ 66 h 104"/>
                <a:gd name="T56" fmla="*/ 44 w 64"/>
                <a:gd name="T57" fmla="*/ 47 h 104"/>
                <a:gd name="T58" fmla="*/ 49 w 64"/>
                <a:gd name="T59" fmla="*/ 36 h 104"/>
                <a:gd name="T60" fmla="*/ 39 w 64"/>
                <a:gd name="T61" fmla="*/ 22 h 104"/>
                <a:gd name="T62" fmla="*/ 40 w 64"/>
                <a:gd name="T63" fmla="*/ 20 h 104"/>
                <a:gd name="T64" fmla="*/ 41 w 64"/>
                <a:gd name="T65" fmla="*/ 18 h 104"/>
                <a:gd name="T66" fmla="*/ 41 w 64"/>
                <a:gd name="T67" fmla="*/ 8 h 104"/>
                <a:gd name="T68" fmla="*/ 40 w 64"/>
                <a:gd name="T69" fmla="*/ 6 h 104"/>
                <a:gd name="T70" fmla="*/ 35 w 64"/>
                <a:gd name="T71" fmla="*/ 1 h 104"/>
                <a:gd name="T72" fmla="*/ 31 w 64"/>
                <a:gd name="T73" fmla="*/ 1 h 104"/>
                <a:gd name="T74" fmla="*/ 26 w 64"/>
                <a:gd name="T75" fmla="*/ 6 h 104"/>
                <a:gd name="T76" fmla="*/ 26 w 64"/>
                <a:gd name="T77" fmla="*/ 8 h 104"/>
                <a:gd name="T78" fmla="*/ 26 w 64"/>
                <a:gd name="T79" fmla="*/ 18 h 104"/>
                <a:gd name="T80" fmla="*/ 26 w 64"/>
                <a:gd name="T81" fmla="*/ 20 h 104"/>
                <a:gd name="T82" fmla="*/ 28 w 64"/>
                <a:gd name="T83" fmla="*/ 22 h 104"/>
                <a:gd name="T84" fmla="*/ 18 w 64"/>
                <a:gd name="T85" fmla="*/ 36 h 104"/>
                <a:gd name="T86" fmla="*/ 22 w 64"/>
                <a:gd name="T87" fmla="*/ 47 h 104"/>
                <a:gd name="T88" fmla="*/ 15 w 64"/>
                <a:gd name="T89" fmla="*/ 65 h 104"/>
                <a:gd name="T90" fmla="*/ 9 w 64"/>
                <a:gd name="T91" fmla="*/ 60 h 104"/>
                <a:gd name="T92" fmla="*/ 6 w 64"/>
                <a:gd name="T93" fmla="*/ 64 h 104"/>
                <a:gd name="T94" fmla="*/ 13 w 64"/>
                <a:gd name="T95" fmla="*/ 70 h 104"/>
                <a:gd name="T96" fmla="*/ 0 w 64"/>
                <a:gd name="T97" fmla="*/ 102 h 104"/>
                <a:gd name="T98" fmla="*/ 5 w 64"/>
                <a:gd name="T99" fmla="*/ 104 h 104"/>
                <a:gd name="T100" fmla="*/ 17 w 64"/>
                <a:gd name="T101" fmla="*/ 73 h 104"/>
                <a:gd name="T102" fmla="*/ 31 w 64"/>
                <a:gd name="T103" fmla="*/ 77 h 104"/>
                <a:gd name="T104" fmla="*/ 31 w 64"/>
                <a:gd name="T105" fmla="*/ 87 h 104"/>
                <a:gd name="T106" fmla="*/ 36 w 64"/>
                <a:gd name="T107" fmla="*/ 87 h 104"/>
                <a:gd name="T108" fmla="*/ 36 w 64"/>
                <a:gd name="T109" fmla="*/ 77 h 104"/>
                <a:gd name="T110" fmla="*/ 48 w 64"/>
                <a:gd name="T111" fmla="*/ 74 h 104"/>
                <a:gd name="T112" fmla="*/ 59 w 64"/>
                <a:gd name="T1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" h="104">
                  <a:moveTo>
                    <a:pt x="36" y="72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27" y="72"/>
                    <a:pt x="23" y="70"/>
                    <a:pt x="19" y="68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9" y="51"/>
                    <a:pt x="31" y="52"/>
                    <a:pt x="33" y="52"/>
                  </a:cubicBezTo>
                  <a:cubicBezTo>
                    <a:pt x="36" y="52"/>
                    <a:pt x="38" y="51"/>
                    <a:pt x="40" y="5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3" y="70"/>
                    <a:pt x="39" y="72"/>
                    <a:pt x="36" y="72"/>
                  </a:cubicBezTo>
                  <a:moveTo>
                    <a:pt x="33" y="26"/>
                  </a:moveTo>
                  <a:cubicBezTo>
                    <a:pt x="39" y="26"/>
                    <a:pt x="44" y="30"/>
                    <a:pt x="44" y="36"/>
                  </a:cubicBezTo>
                  <a:cubicBezTo>
                    <a:pt x="44" y="42"/>
                    <a:pt x="39" y="46"/>
                    <a:pt x="33" y="46"/>
                  </a:cubicBezTo>
                  <a:cubicBezTo>
                    <a:pt x="28" y="46"/>
                    <a:pt x="23" y="42"/>
                    <a:pt x="23" y="36"/>
                  </a:cubicBezTo>
                  <a:cubicBezTo>
                    <a:pt x="23" y="30"/>
                    <a:pt x="28" y="26"/>
                    <a:pt x="33" y="26"/>
                  </a:cubicBezTo>
                  <a:moveTo>
                    <a:pt x="31" y="9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31" y="9"/>
                  </a:lnTo>
                  <a:close/>
                  <a:moveTo>
                    <a:pt x="59" y="104"/>
                  </a:moveTo>
                  <a:cubicBezTo>
                    <a:pt x="64" y="102"/>
                    <a:pt x="64" y="102"/>
                    <a:pt x="64" y="10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5" y="69"/>
                    <a:pt x="58" y="66"/>
                    <a:pt x="61" y="64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5" y="62"/>
                    <a:pt x="53" y="64"/>
                    <a:pt x="51" y="66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7" y="44"/>
                    <a:pt x="49" y="40"/>
                    <a:pt x="49" y="36"/>
                  </a:cubicBezTo>
                  <a:cubicBezTo>
                    <a:pt x="49" y="30"/>
                    <a:pt x="44" y="24"/>
                    <a:pt x="39" y="22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19"/>
                    <a:pt x="41" y="1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7"/>
                    <a:pt x="41" y="7"/>
                    <a:pt x="40" y="6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0"/>
                    <a:pt x="32" y="0"/>
                    <a:pt x="31" y="1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7"/>
                    <a:pt x="26" y="7"/>
                    <a:pt x="26" y="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20"/>
                    <a:pt x="26" y="2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2" y="24"/>
                    <a:pt x="18" y="30"/>
                    <a:pt x="18" y="36"/>
                  </a:cubicBezTo>
                  <a:cubicBezTo>
                    <a:pt x="18" y="40"/>
                    <a:pt x="20" y="44"/>
                    <a:pt x="22" y="4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3" y="64"/>
                    <a:pt x="11" y="62"/>
                    <a:pt x="9" y="60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6"/>
                    <a:pt x="11" y="68"/>
                    <a:pt x="13" y="7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22" y="75"/>
                    <a:pt x="26" y="77"/>
                    <a:pt x="31" y="7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40" y="77"/>
                    <a:pt x="44" y="76"/>
                    <a:pt x="48" y="74"/>
                  </a:cubicBezTo>
                  <a:lnTo>
                    <a:pt x="59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4" name="Group 247">
            <a:extLst>
              <a:ext uri="{FF2B5EF4-FFF2-40B4-BE49-F238E27FC236}">
                <a16:creationId xmlns:a16="http://schemas.microsoft.com/office/drawing/2014/main" id="{DFFBB29E-02BE-45BD-B02F-6AFB5C80CC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80375" y="5467350"/>
            <a:ext cx="758825" cy="758825"/>
            <a:chOff x="5090" y="3444"/>
            <a:chExt cx="478" cy="478"/>
          </a:xfrm>
        </p:grpSpPr>
        <p:sp>
          <p:nvSpPr>
            <p:cNvPr id="295" name="AutoShape 246">
              <a:extLst>
                <a:ext uri="{FF2B5EF4-FFF2-40B4-BE49-F238E27FC236}">
                  <a16:creationId xmlns:a16="http://schemas.microsoft.com/office/drawing/2014/main" id="{C7461C0A-E944-4DF5-BCF6-EB12E06567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90" y="344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48">
              <a:extLst>
                <a:ext uri="{FF2B5EF4-FFF2-40B4-BE49-F238E27FC236}">
                  <a16:creationId xmlns:a16="http://schemas.microsoft.com/office/drawing/2014/main" id="{868CC52E-1F76-426F-BC4A-626091052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" y="344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49">
              <a:extLst>
                <a:ext uri="{FF2B5EF4-FFF2-40B4-BE49-F238E27FC236}">
                  <a16:creationId xmlns:a16="http://schemas.microsoft.com/office/drawing/2014/main" id="{D6298740-F41E-4C6F-9479-51C51BCC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8" y="3581"/>
              <a:ext cx="304" cy="236"/>
            </a:xfrm>
            <a:custGeom>
              <a:avLst/>
              <a:gdLst>
                <a:gd name="T0" fmla="*/ 111 w 124"/>
                <a:gd name="T1" fmla="*/ 70 h 96"/>
                <a:gd name="T2" fmla="*/ 108 w 124"/>
                <a:gd name="T3" fmla="*/ 70 h 96"/>
                <a:gd name="T4" fmla="*/ 108 w 124"/>
                <a:gd name="T5" fmla="*/ 6 h 96"/>
                <a:gd name="T6" fmla="*/ 111 w 124"/>
                <a:gd name="T7" fmla="*/ 5 h 96"/>
                <a:gd name="T8" fmla="*/ 119 w 124"/>
                <a:gd name="T9" fmla="*/ 13 h 96"/>
                <a:gd name="T10" fmla="*/ 119 w 124"/>
                <a:gd name="T11" fmla="*/ 72 h 96"/>
                <a:gd name="T12" fmla="*/ 111 w 124"/>
                <a:gd name="T13" fmla="*/ 70 h 96"/>
                <a:gd name="T14" fmla="*/ 5 w 124"/>
                <a:gd name="T15" fmla="*/ 13 h 96"/>
                <a:gd name="T16" fmla="*/ 13 w 124"/>
                <a:gd name="T17" fmla="*/ 5 h 96"/>
                <a:gd name="T18" fmla="*/ 16 w 124"/>
                <a:gd name="T19" fmla="*/ 6 h 96"/>
                <a:gd name="T20" fmla="*/ 16 w 124"/>
                <a:gd name="T21" fmla="*/ 70 h 96"/>
                <a:gd name="T22" fmla="*/ 13 w 124"/>
                <a:gd name="T23" fmla="*/ 70 h 96"/>
                <a:gd name="T24" fmla="*/ 5 w 124"/>
                <a:gd name="T25" fmla="*/ 72 h 96"/>
                <a:gd name="T26" fmla="*/ 5 w 124"/>
                <a:gd name="T27" fmla="*/ 13 h 96"/>
                <a:gd name="T28" fmla="*/ 111 w 124"/>
                <a:gd name="T29" fmla="*/ 0 h 96"/>
                <a:gd name="T30" fmla="*/ 104 w 124"/>
                <a:gd name="T31" fmla="*/ 4 h 96"/>
                <a:gd name="T32" fmla="*/ 103 w 124"/>
                <a:gd name="T33" fmla="*/ 5 h 96"/>
                <a:gd name="T34" fmla="*/ 103 w 124"/>
                <a:gd name="T35" fmla="*/ 13 h 96"/>
                <a:gd name="T36" fmla="*/ 80 w 124"/>
                <a:gd name="T37" fmla="*/ 13 h 96"/>
                <a:gd name="T38" fmla="*/ 80 w 124"/>
                <a:gd name="T39" fmla="*/ 18 h 96"/>
                <a:gd name="T40" fmla="*/ 103 w 124"/>
                <a:gd name="T41" fmla="*/ 18 h 96"/>
                <a:gd name="T42" fmla="*/ 103 w 124"/>
                <a:gd name="T43" fmla="*/ 75 h 96"/>
                <a:gd name="T44" fmla="*/ 105 w 124"/>
                <a:gd name="T45" fmla="*/ 78 h 96"/>
                <a:gd name="T46" fmla="*/ 108 w 124"/>
                <a:gd name="T47" fmla="*/ 76 h 96"/>
                <a:gd name="T48" fmla="*/ 111 w 124"/>
                <a:gd name="T49" fmla="*/ 75 h 96"/>
                <a:gd name="T50" fmla="*/ 119 w 124"/>
                <a:gd name="T51" fmla="*/ 83 h 96"/>
                <a:gd name="T52" fmla="*/ 111 w 124"/>
                <a:gd name="T53" fmla="*/ 91 h 96"/>
                <a:gd name="T54" fmla="*/ 13 w 124"/>
                <a:gd name="T55" fmla="*/ 91 h 96"/>
                <a:gd name="T56" fmla="*/ 5 w 124"/>
                <a:gd name="T57" fmla="*/ 83 h 96"/>
                <a:gd name="T58" fmla="*/ 13 w 124"/>
                <a:gd name="T59" fmla="*/ 75 h 96"/>
                <a:gd name="T60" fmla="*/ 16 w 124"/>
                <a:gd name="T61" fmla="*/ 76 h 96"/>
                <a:gd name="T62" fmla="*/ 19 w 124"/>
                <a:gd name="T63" fmla="*/ 78 h 96"/>
                <a:gd name="T64" fmla="*/ 21 w 124"/>
                <a:gd name="T65" fmla="*/ 75 h 96"/>
                <a:gd name="T66" fmla="*/ 21 w 124"/>
                <a:gd name="T67" fmla="*/ 18 h 96"/>
                <a:gd name="T68" fmla="*/ 44 w 124"/>
                <a:gd name="T69" fmla="*/ 18 h 96"/>
                <a:gd name="T70" fmla="*/ 44 w 124"/>
                <a:gd name="T71" fmla="*/ 13 h 96"/>
                <a:gd name="T72" fmla="*/ 21 w 124"/>
                <a:gd name="T73" fmla="*/ 13 h 96"/>
                <a:gd name="T74" fmla="*/ 21 w 124"/>
                <a:gd name="T75" fmla="*/ 5 h 96"/>
                <a:gd name="T76" fmla="*/ 20 w 124"/>
                <a:gd name="T77" fmla="*/ 4 h 96"/>
                <a:gd name="T78" fmla="*/ 13 w 124"/>
                <a:gd name="T79" fmla="*/ 0 h 96"/>
                <a:gd name="T80" fmla="*/ 0 w 124"/>
                <a:gd name="T81" fmla="*/ 13 h 96"/>
                <a:gd name="T82" fmla="*/ 0 w 124"/>
                <a:gd name="T83" fmla="*/ 83 h 96"/>
                <a:gd name="T84" fmla="*/ 13 w 124"/>
                <a:gd name="T85" fmla="*/ 96 h 96"/>
                <a:gd name="T86" fmla="*/ 111 w 124"/>
                <a:gd name="T87" fmla="*/ 96 h 96"/>
                <a:gd name="T88" fmla="*/ 124 w 124"/>
                <a:gd name="T89" fmla="*/ 83 h 96"/>
                <a:gd name="T90" fmla="*/ 124 w 124"/>
                <a:gd name="T91" fmla="*/ 13 h 96"/>
                <a:gd name="T92" fmla="*/ 111 w 124"/>
                <a:gd name="T9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4" h="96">
                  <a:moveTo>
                    <a:pt x="111" y="70"/>
                  </a:moveTo>
                  <a:cubicBezTo>
                    <a:pt x="110" y="70"/>
                    <a:pt x="109" y="70"/>
                    <a:pt x="108" y="7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5"/>
                    <a:pt x="110" y="5"/>
                    <a:pt x="111" y="5"/>
                  </a:cubicBezTo>
                  <a:cubicBezTo>
                    <a:pt x="115" y="5"/>
                    <a:pt x="119" y="9"/>
                    <a:pt x="119" y="13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7" y="71"/>
                    <a:pt x="114" y="70"/>
                    <a:pt x="111" y="70"/>
                  </a:cubicBezTo>
                  <a:moveTo>
                    <a:pt x="5" y="13"/>
                  </a:moveTo>
                  <a:cubicBezTo>
                    <a:pt x="5" y="9"/>
                    <a:pt x="9" y="5"/>
                    <a:pt x="13" y="5"/>
                  </a:cubicBezTo>
                  <a:cubicBezTo>
                    <a:pt x="14" y="5"/>
                    <a:pt x="15" y="5"/>
                    <a:pt x="16" y="6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5" y="70"/>
                    <a:pt x="14" y="70"/>
                    <a:pt x="13" y="70"/>
                  </a:cubicBezTo>
                  <a:cubicBezTo>
                    <a:pt x="10" y="70"/>
                    <a:pt x="7" y="71"/>
                    <a:pt x="5" y="72"/>
                  </a:cubicBezTo>
                  <a:lnTo>
                    <a:pt x="5" y="13"/>
                  </a:lnTo>
                  <a:close/>
                  <a:moveTo>
                    <a:pt x="111" y="0"/>
                  </a:moveTo>
                  <a:cubicBezTo>
                    <a:pt x="106" y="0"/>
                    <a:pt x="104" y="3"/>
                    <a:pt x="104" y="4"/>
                  </a:cubicBezTo>
                  <a:cubicBezTo>
                    <a:pt x="103" y="4"/>
                    <a:pt x="103" y="5"/>
                    <a:pt x="103" y="5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03" y="76"/>
                    <a:pt x="104" y="77"/>
                    <a:pt x="105" y="78"/>
                  </a:cubicBezTo>
                  <a:cubicBezTo>
                    <a:pt x="106" y="78"/>
                    <a:pt x="108" y="77"/>
                    <a:pt x="108" y="76"/>
                  </a:cubicBezTo>
                  <a:cubicBezTo>
                    <a:pt x="109" y="75"/>
                    <a:pt x="110" y="75"/>
                    <a:pt x="111" y="75"/>
                  </a:cubicBezTo>
                  <a:cubicBezTo>
                    <a:pt x="115" y="75"/>
                    <a:pt x="119" y="79"/>
                    <a:pt x="119" y="83"/>
                  </a:cubicBezTo>
                  <a:cubicBezTo>
                    <a:pt x="119" y="87"/>
                    <a:pt x="115" y="91"/>
                    <a:pt x="111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9" y="91"/>
                    <a:pt x="5" y="87"/>
                    <a:pt x="5" y="83"/>
                  </a:cubicBezTo>
                  <a:cubicBezTo>
                    <a:pt x="5" y="79"/>
                    <a:pt x="9" y="75"/>
                    <a:pt x="13" y="75"/>
                  </a:cubicBezTo>
                  <a:cubicBezTo>
                    <a:pt x="14" y="75"/>
                    <a:pt x="15" y="75"/>
                    <a:pt x="16" y="76"/>
                  </a:cubicBezTo>
                  <a:cubicBezTo>
                    <a:pt x="16" y="77"/>
                    <a:pt x="18" y="78"/>
                    <a:pt x="19" y="78"/>
                  </a:cubicBezTo>
                  <a:cubicBezTo>
                    <a:pt x="20" y="77"/>
                    <a:pt x="21" y="76"/>
                    <a:pt x="21" y="75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4"/>
                    <a:pt x="20" y="4"/>
                  </a:cubicBezTo>
                  <a:cubicBezTo>
                    <a:pt x="20" y="3"/>
                    <a:pt x="18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0"/>
                    <a:pt x="6" y="96"/>
                    <a:pt x="13" y="9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8" y="96"/>
                    <a:pt x="124" y="90"/>
                    <a:pt x="124" y="8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6"/>
                    <a:pt x="118" y="0"/>
                    <a:pt x="11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50">
              <a:extLst>
                <a:ext uri="{FF2B5EF4-FFF2-40B4-BE49-F238E27FC236}">
                  <a16:creationId xmlns:a16="http://schemas.microsoft.com/office/drawing/2014/main" id="{20E8865E-2A08-4095-8F34-24F775212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3513"/>
              <a:ext cx="157" cy="255"/>
            </a:xfrm>
            <a:custGeom>
              <a:avLst/>
              <a:gdLst>
                <a:gd name="T0" fmla="*/ 36 w 64"/>
                <a:gd name="T1" fmla="*/ 72 h 104"/>
                <a:gd name="T2" fmla="*/ 36 w 64"/>
                <a:gd name="T3" fmla="*/ 64 h 104"/>
                <a:gd name="T4" fmla="*/ 31 w 64"/>
                <a:gd name="T5" fmla="*/ 64 h 104"/>
                <a:gd name="T6" fmla="*/ 31 w 64"/>
                <a:gd name="T7" fmla="*/ 72 h 104"/>
                <a:gd name="T8" fmla="*/ 19 w 64"/>
                <a:gd name="T9" fmla="*/ 68 h 104"/>
                <a:gd name="T10" fmla="*/ 27 w 64"/>
                <a:gd name="T11" fmla="*/ 50 h 104"/>
                <a:gd name="T12" fmla="*/ 33 w 64"/>
                <a:gd name="T13" fmla="*/ 52 h 104"/>
                <a:gd name="T14" fmla="*/ 40 w 64"/>
                <a:gd name="T15" fmla="*/ 50 h 104"/>
                <a:gd name="T16" fmla="*/ 46 w 64"/>
                <a:gd name="T17" fmla="*/ 69 h 104"/>
                <a:gd name="T18" fmla="*/ 36 w 64"/>
                <a:gd name="T19" fmla="*/ 72 h 104"/>
                <a:gd name="T20" fmla="*/ 33 w 64"/>
                <a:gd name="T21" fmla="*/ 26 h 104"/>
                <a:gd name="T22" fmla="*/ 44 w 64"/>
                <a:gd name="T23" fmla="*/ 36 h 104"/>
                <a:gd name="T24" fmla="*/ 33 w 64"/>
                <a:gd name="T25" fmla="*/ 46 h 104"/>
                <a:gd name="T26" fmla="*/ 23 w 64"/>
                <a:gd name="T27" fmla="*/ 36 h 104"/>
                <a:gd name="T28" fmla="*/ 33 w 64"/>
                <a:gd name="T29" fmla="*/ 26 h 104"/>
                <a:gd name="T30" fmla="*/ 31 w 64"/>
                <a:gd name="T31" fmla="*/ 9 h 104"/>
                <a:gd name="T32" fmla="*/ 33 w 64"/>
                <a:gd name="T33" fmla="*/ 6 h 104"/>
                <a:gd name="T34" fmla="*/ 36 w 64"/>
                <a:gd name="T35" fmla="*/ 9 h 104"/>
                <a:gd name="T36" fmla="*/ 36 w 64"/>
                <a:gd name="T37" fmla="*/ 17 h 104"/>
                <a:gd name="T38" fmla="*/ 33 w 64"/>
                <a:gd name="T39" fmla="*/ 20 h 104"/>
                <a:gd name="T40" fmla="*/ 31 w 64"/>
                <a:gd name="T41" fmla="*/ 17 h 104"/>
                <a:gd name="T42" fmla="*/ 31 w 64"/>
                <a:gd name="T43" fmla="*/ 9 h 104"/>
                <a:gd name="T44" fmla="*/ 59 w 64"/>
                <a:gd name="T45" fmla="*/ 104 h 104"/>
                <a:gd name="T46" fmla="*/ 64 w 64"/>
                <a:gd name="T47" fmla="*/ 102 h 104"/>
                <a:gd name="T48" fmla="*/ 53 w 64"/>
                <a:gd name="T49" fmla="*/ 71 h 104"/>
                <a:gd name="T50" fmla="*/ 61 w 64"/>
                <a:gd name="T51" fmla="*/ 64 h 104"/>
                <a:gd name="T52" fmla="*/ 57 w 64"/>
                <a:gd name="T53" fmla="*/ 60 h 104"/>
                <a:gd name="T54" fmla="*/ 51 w 64"/>
                <a:gd name="T55" fmla="*/ 66 h 104"/>
                <a:gd name="T56" fmla="*/ 44 w 64"/>
                <a:gd name="T57" fmla="*/ 47 h 104"/>
                <a:gd name="T58" fmla="*/ 49 w 64"/>
                <a:gd name="T59" fmla="*/ 36 h 104"/>
                <a:gd name="T60" fmla="*/ 39 w 64"/>
                <a:gd name="T61" fmla="*/ 22 h 104"/>
                <a:gd name="T62" fmla="*/ 40 w 64"/>
                <a:gd name="T63" fmla="*/ 20 h 104"/>
                <a:gd name="T64" fmla="*/ 41 w 64"/>
                <a:gd name="T65" fmla="*/ 18 h 104"/>
                <a:gd name="T66" fmla="*/ 41 w 64"/>
                <a:gd name="T67" fmla="*/ 8 h 104"/>
                <a:gd name="T68" fmla="*/ 40 w 64"/>
                <a:gd name="T69" fmla="*/ 6 h 104"/>
                <a:gd name="T70" fmla="*/ 35 w 64"/>
                <a:gd name="T71" fmla="*/ 1 h 104"/>
                <a:gd name="T72" fmla="*/ 31 w 64"/>
                <a:gd name="T73" fmla="*/ 1 h 104"/>
                <a:gd name="T74" fmla="*/ 26 w 64"/>
                <a:gd name="T75" fmla="*/ 6 h 104"/>
                <a:gd name="T76" fmla="*/ 26 w 64"/>
                <a:gd name="T77" fmla="*/ 8 h 104"/>
                <a:gd name="T78" fmla="*/ 26 w 64"/>
                <a:gd name="T79" fmla="*/ 18 h 104"/>
                <a:gd name="T80" fmla="*/ 26 w 64"/>
                <a:gd name="T81" fmla="*/ 20 h 104"/>
                <a:gd name="T82" fmla="*/ 28 w 64"/>
                <a:gd name="T83" fmla="*/ 22 h 104"/>
                <a:gd name="T84" fmla="*/ 18 w 64"/>
                <a:gd name="T85" fmla="*/ 36 h 104"/>
                <a:gd name="T86" fmla="*/ 22 w 64"/>
                <a:gd name="T87" fmla="*/ 47 h 104"/>
                <a:gd name="T88" fmla="*/ 15 w 64"/>
                <a:gd name="T89" fmla="*/ 65 h 104"/>
                <a:gd name="T90" fmla="*/ 9 w 64"/>
                <a:gd name="T91" fmla="*/ 60 h 104"/>
                <a:gd name="T92" fmla="*/ 6 w 64"/>
                <a:gd name="T93" fmla="*/ 64 h 104"/>
                <a:gd name="T94" fmla="*/ 13 w 64"/>
                <a:gd name="T95" fmla="*/ 70 h 104"/>
                <a:gd name="T96" fmla="*/ 0 w 64"/>
                <a:gd name="T97" fmla="*/ 102 h 104"/>
                <a:gd name="T98" fmla="*/ 5 w 64"/>
                <a:gd name="T99" fmla="*/ 104 h 104"/>
                <a:gd name="T100" fmla="*/ 17 w 64"/>
                <a:gd name="T101" fmla="*/ 73 h 104"/>
                <a:gd name="T102" fmla="*/ 31 w 64"/>
                <a:gd name="T103" fmla="*/ 77 h 104"/>
                <a:gd name="T104" fmla="*/ 31 w 64"/>
                <a:gd name="T105" fmla="*/ 87 h 104"/>
                <a:gd name="T106" fmla="*/ 36 w 64"/>
                <a:gd name="T107" fmla="*/ 87 h 104"/>
                <a:gd name="T108" fmla="*/ 36 w 64"/>
                <a:gd name="T109" fmla="*/ 77 h 104"/>
                <a:gd name="T110" fmla="*/ 48 w 64"/>
                <a:gd name="T111" fmla="*/ 74 h 104"/>
                <a:gd name="T112" fmla="*/ 59 w 64"/>
                <a:gd name="T11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" h="104">
                  <a:moveTo>
                    <a:pt x="36" y="72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27" y="72"/>
                    <a:pt x="23" y="70"/>
                    <a:pt x="19" y="68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9" y="51"/>
                    <a:pt x="31" y="52"/>
                    <a:pt x="33" y="52"/>
                  </a:cubicBezTo>
                  <a:cubicBezTo>
                    <a:pt x="36" y="52"/>
                    <a:pt x="38" y="51"/>
                    <a:pt x="40" y="5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3" y="70"/>
                    <a:pt x="39" y="72"/>
                    <a:pt x="36" y="72"/>
                  </a:cubicBezTo>
                  <a:moveTo>
                    <a:pt x="33" y="26"/>
                  </a:moveTo>
                  <a:cubicBezTo>
                    <a:pt x="39" y="26"/>
                    <a:pt x="44" y="30"/>
                    <a:pt x="44" y="36"/>
                  </a:cubicBezTo>
                  <a:cubicBezTo>
                    <a:pt x="44" y="42"/>
                    <a:pt x="39" y="46"/>
                    <a:pt x="33" y="46"/>
                  </a:cubicBezTo>
                  <a:cubicBezTo>
                    <a:pt x="28" y="46"/>
                    <a:pt x="23" y="42"/>
                    <a:pt x="23" y="36"/>
                  </a:cubicBezTo>
                  <a:cubicBezTo>
                    <a:pt x="23" y="30"/>
                    <a:pt x="28" y="26"/>
                    <a:pt x="33" y="26"/>
                  </a:cubicBezTo>
                  <a:moveTo>
                    <a:pt x="31" y="9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1" y="17"/>
                    <a:pt x="31" y="17"/>
                    <a:pt x="31" y="17"/>
                  </a:cubicBezTo>
                  <a:lnTo>
                    <a:pt x="31" y="9"/>
                  </a:lnTo>
                  <a:close/>
                  <a:moveTo>
                    <a:pt x="59" y="104"/>
                  </a:moveTo>
                  <a:cubicBezTo>
                    <a:pt x="64" y="102"/>
                    <a:pt x="64" y="102"/>
                    <a:pt x="64" y="10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5" y="69"/>
                    <a:pt x="58" y="66"/>
                    <a:pt x="61" y="64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5" y="62"/>
                    <a:pt x="53" y="64"/>
                    <a:pt x="51" y="66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7" y="44"/>
                    <a:pt x="49" y="40"/>
                    <a:pt x="49" y="36"/>
                  </a:cubicBezTo>
                  <a:cubicBezTo>
                    <a:pt x="49" y="30"/>
                    <a:pt x="44" y="24"/>
                    <a:pt x="39" y="22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19"/>
                    <a:pt x="41" y="1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7"/>
                    <a:pt x="41" y="7"/>
                    <a:pt x="40" y="6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0"/>
                    <a:pt x="32" y="0"/>
                    <a:pt x="31" y="1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7"/>
                    <a:pt x="26" y="7"/>
                    <a:pt x="26" y="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20"/>
                    <a:pt x="26" y="2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2" y="24"/>
                    <a:pt x="18" y="30"/>
                    <a:pt x="18" y="36"/>
                  </a:cubicBezTo>
                  <a:cubicBezTo>
                    <a:pt x="18" y="40"/>
                    <a:pt x="20" y="44"/>
                    <a:pt x="22" y="4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3" y="64"/>
                    <a:pt x="11" y="62"/>
                    <a:pt x="9" y="60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6"/>
                    <a:pt x="11" y="68"/>
                    <a:pt x="13" y="7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22" y="75"/>
                    <a:pt x="26" y="77"/>
                    <a:pt x="31" y="7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40" y="77"/>
                    <a:pt x="44" y="76"/>
                    <a:pt x="48" y="74"/>
                  </a:cubicBezTo>
                  <a:lnTo>
                    <a:pt x="59" y="10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42371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35ED5D-B63F-414F-B8CB-96959E8FC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6212432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Ves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Flag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ld Wrenc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ovel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ft Servic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ve Manage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rd Servi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curit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alysis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usekeeping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usekeeping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ntenance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ntenance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rvice Provider Partn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rvice Delivery Across Glob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tur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lpdes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sk Mitig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eo Lead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9" name="Group 4">
            <a:extLst>
              <a:ext uri="{FF2B5EF4-FFF2-40B4-BE49-F238E27FC236}">
                <a16:creationId xmlns:a16="http://schemas.microsoft.com/office/drawing/2014/main" id="{46F5D5A3-0731-4654-9323-0E0411E0E6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650" y="263525"/>
            <a:ext cx="841375" cy="841375"/>
            <a:chOff x="236" y="166"/>
            <a:chExt cx="530" cy="530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4D3AACFF-8677-4127-81F1-8418397E60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6" y="1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26999B3-A9F6-4875-AEAE-67E7DA036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" y="1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A1A2C15-8285-446B-A792-6A15E287B7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" y="1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9DEC86C-8FB9-423A-B16F-A0C31A253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" y="286"/>
              <a:ext cx="272" cy="292"/>
            </a:xfrm>
            <a:custGeom>
              <a:avLst/>
              <a:gdLst>
                <a:gd name="T0" fmla="*/ 75 w 106"/>
                <a:gd name="T1" fmla="*/ 108 h 114"/>
                <a:gd name="T2" fmla="*/ 63 w 106"/>
                <a:gd name="T3" fmla="*/ 103 h 114"/>
                <a:gd name="T4" fmla="*/ 100 w 106"/>
                <a:gd name="T5" fmla="*/ 91 h 114"/>
                <a:gd name="T6" fmla="*/ 99 w 106"/>
                <a:gd name="T7" fmla="*/ 104 h 114"/>
                <a:gd name="T8" fmla="*/ 32 w 106"/>
                <a:gd name="T9" fmla="*/ 108 h 114"/>
                <a:gd name="T10" fmla="*/ 6 w 106"/>
                <a:gd name="T11" fmla="*/ 103 h 114"/>
                <a:gd name="T12" fmla="*/ 57 w 106"/>
                <a:gd name="T13" fmla="*/ 91 h 114"/>
                <a:gd name="T14" fmla="*/ 56 w 106"/>
                <a:gd name="T15" fmla="*/ 104 h 114"/>
                <a:gd name="T16" fmla="*/ 23 w 106"/>
                <a:gd name="T17" fmla="*/ 24 h 114"/>
                <a:gd name="T18" fmla="*/ 33 w 106"/>
                <a:gd name="T19" fmla="*/ 6 h 114"/>
                <a:gd name="T20" fmla="*/ 56 w 106"/>
                <a:gd name="T21" fmla="*/ 57 h 114"/>
                <a:gd name="T22" fmla="*/ 57 w 106"/>
                <a:gd name="T23" fmla="*/ 72 h 114"/>
                <a:gd name="T24" fmla="*/ 6 w 106"/>
                <a:gd name="T25" fmla="*/ 60 h 114"/>
                <a:gd name="T26" fmla="*/ 53 w 106"/>
                <a:gd name="T27" fmla="*/ 11 h 114"/>
                <a:gd name="T28" fmla="*/ 54 w 106"/>
                <a:gd name="T29" fmla="*/ 38 h 114"/>
                <a:gd name="T30" fmla="*/ 53 w 106"/>
                <a:gd name="T31" fmla="*/ 11 h 114"/>
                <a:gd name="T32" fmla="*/ 73 w 106"/>
                <a:gd name="T33" fmla="*/ 6 h 114"/>
                <a:gd name="T34" fmla="*/ 81 w 106"/>
                <a:gd name="T35" fmla="*/ 24 h 114"/>
                <a:gd name="T36" fmla="*/ 100 w 106"/>
                <a:gd name="T37" fmla="*/ 60 h 114"/>
                <a:gd name="T38" fmla="*/ 63 w 106"/>
                <a:gd name="T39" fmla="*/ 72 h 114"/>
                <a:gd name="T40" fmla="*/ 61 w 106"/>
                <a:gd name="T41" fmla="*/ 55 h 114"/>
                <a:gd name="T42" fmla="*/ 72 w 106"/>
                <a:gd name="T43" fmla="*/ 7 h 114"/>
                <a:gd name="T44" fmla="*/ 100 w 106"/>
                <a:gd name="T45" fmla="*/ 75 h 114"/>
                <a:gd name="T46" fmla="*/ 63 w 106"/>
                <a:gd name="T47" fmla="*/ 88 h 114"/>
                <a:gd name="T48" fmla="*/ 6 w 106"/>
                <a:gd name="T49" fmla="*/ 75 h 114"/>
                <a:gd name="T50" fmla="*/ 57 w 106"/>
                <a:gd name="T51" fmla="*/ 88 h 114"/>
                <a:gd name="T52" fmla="*/ 6 w 106"/>
                <a:gd name="T53" fmla="*/ 75 h 114"/>
                <a:gd name="T54" fmla="*/ 87 w 106"/>
                <a:gd name="T55" fmla="*/ 24 h 114"/>
                <a:gd name="T56" fmla="*/ 82 w 106"/>
                <a:gd name="T57" fmla="*/ 0 h 114"/>
                <a:gd name="T58" fmla="*/ 68 w 106"/>
                <a:gd name="T59" fmla="*/ 2 h 114"/>
                <a:gd name="T60" fmla="*/ 53 w 106"/>
                <a:gd name="T61" fmla="*/ 5 h 114"/>
                <a:gd name="T62" fmla="*/ 38 w 106"/>
                <a:gd name="T63" fmla="*/ 2 h 114"/>
                <a:gd name="T64" fmla="*/ 23 w 106"/>
                <a:gd name="T65" fmla="*/ 0 h 114"/>
                <a:gd name="T66" fmla="*/ 17 w 106"/>
                <a:gd name="T67" fmla="*/ 24 h 114"/>
                <a:gd name="T68" fmla="*/ 0 w 106"/>
                <a:gd name="T69" fmla="*/ 60 h 114"/>
                <a:gd name="T70" fmla="*/ 4 w 106"/>
                <a:gd name="T71" fmla="*/ 109 h 114"/>
                <a:gd name="T72" fmla="*/ 54 w 106"/>
                <a:gd name="T73" fmla="*/ 111 h 114"/>
                <a:gd name="T74" fmla="*/ 102 w 106"/>
                <a:gd name="T75" fmla="*/ 109 h 114"/>
                <a:gd name="T76" fmla="*/ 106 w 106"/>
                <a:gd name="T77" fmla="*/ 6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6" h="114">
                  <a:moveTo>
                    <a:pt x="99" y="104"/>
                  </a:moveTo>
                  <a:cubicBezTo>
                    <a:pt x="99" y="104"/>
                    <a:pt x="92" y="108"/>
                    <a:pt x="75" y="108"/>
                  </a:cubicBezTo>
                  <a:cubicBezTo>
                    <a:pt x="69" y="108"/>
                    <a:pt x="65" y="108"/>
                    <a:pt x="61" y="107"/>
                  </a:cubicBezTo>
                  <a:cubicBezTo>
                    <a:pt x="62" y="106"/>
                    <a:pt x="63" y="104"/>
                    <a:pt x="63" y="103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99" y="104"/>
                    <a:pt x="99" y="104"/>
                  </a:cubicBezTo>
                  <a:moveTo>
                    <a:pt x="56" y="104"/>
                  </a:moveTo>
                  <a:cubicBezTo>
                    <a:pt x="56" y="104"/>
                    <a:pt x="49" y="108"/>
                    <a:pt x="32" y="108"/>
                  </a:cubicBezTo>
                  <a:cubicBezTo>
                    <a:pt x="15" y="108"/>
                    <a:pt x="7" y="104"/>
                    <a:pt x="7" y="104"/>
                  </a:cubicBezTo>
                  <a:cubicBezTo>
                    <a:pt x="7" y="104"/>
                    <a:pt x="6" y="103"/>
                    <a:pt x="6" y="103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6" y="104"/>
                    <a:pt x="56" y="104"/>
                  </a:cubicBezTo>
                  <a:moveTo>
                    <a:pt x="7" y="58"/>
                  </a:moveTo>
                  <a:cubicBezTo>
                    <a:pt x="8" y="58"/>
                    <a:pt x="23" y="47"/>
                    <a:pt x="23" y="2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6"/>
                    <a:pt x="34" y="6"/>
                    <a:pt x="34" y="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6" y="57"/>
                    <a:pt x="57" y="60"/>
                    <a:pt x="57" y="6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7" y="59"/>
                    <a:pt x="7" y="58"/>
                  </a:cubicBezTo>
                  <a:moveTo>
                    <a:pt x="53" y="11"/>
                  </a:moveTo>
                  <a:cubicBezTo>
                    <a:pt x="57" y="11"/>
                    <a:pt x="61" y="11"/>
                    <a:pt x="64" y="10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5" y="11"/>
                    <a:pt x="49" y="11"/>
                    <a:pt x="53" y="11"/>
                  </a:cubicBezTo>
                  <a:moveTo>
                    <a:pt x="72" y="7"/>
                  </a:moveTo>
                  <a:cubicBezTo>
                    <a:pt x="72" y="6"/>
                    <a:pt x="72" y="6"/>
                    <a:pt x="73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47"/>
                    <a:pt x="98" y="58"/>
                    <a:pt x="99" y="58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59"/>
                    <a:pt x="61" y="56"/>
                    <a:pt x="61" y="55"/>
                  </a:cubicBezTo>
                  <a:cubicBezTo>
                    <a:pt x="57" y="46"/>
                    <a:pt x="57" y="46"/>
                    <a:pt x="57" y="46"/>
                  </a:cubicBezTo>
                  <a:lnTo>
                    <a:pt x="72" y="7"/>
                  </a:lnTo>
                  <a:close/>
                  <a:moveTo>
                    <a:pt x="63" y="75"/>
                  </a:moveTo>
                  <a:cubicBezTo>
                    <a:pt x="100" y="75"/>
                    <a:pt x="100" y="75"/>
                    <a:pt x="100" y="75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63" y="88"/>
                    <a:pt x="63" y="88"/>
                    <a:pt x="63" y="88"/>
                  </a:cubicBezTo>
                  <a:lnTo>
                    <a:pt x="63" y="75"/>
                  </a:lnTo>
                  <a:close/>
                  <a:moveTo>
                    <a:pt x="6" y="75"/>
                  </a:moveTo>
                  <a:cubicBezTo>
                    <a:pt x="57" y="75"/>
                    <a:pt x="57" y="75"/>
                    <a:pt x="57" y="75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6" y="88"/>
                    <a:pt x="6" y="88"/>
                    <a:pt x="6" y="88"/>
                  </a:cubicBezTo>
                  <a:lnTo>
                    <a:pt x="6" y="75"/>
                  </a:lnTo>
                  <a:close/>
                  <a:moveTo>
                    <a:pt x="102" y="54"/>
                  </a:moveTo>
                  <a:cubicBezTo>
                    <a:pt x="102" y="53"/>
                    <a:pt x="87" y="44"/>
                    <a:pt x="87" y="24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0"/>
                    <a:pt x="84" y="0"/>
                    <a:pt x="8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0"/>
                    <a:pt x="70" y="1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5" y="4"/>
                    <a:pt x="60" y="5"/>
                    <a:pt x="53" y="5"/>
                  </a:cubicBezTo>
                  <a:cubicBezTo>
                    <a:pt x="46" y="5"/>
                    <a:pt x="41" y="4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1"/>
                    <a:pt x="35" y="0"/>
                    <a:pt x="3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17" y="0"/>
                    <a:pt x="17" y="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44"/>
                    <a:pt x="4" y="53"/>
                    <a:pt x="4" y="54"/>
                  </a:cubicBezTo>
                  <a:cubicBezTo>
                    <a:pt x="2" y="55"/>
                    <a:pt x="0" y="58"/>
                    <a:pt x="0" y="6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5"/>
                    <a:pt x="2" y="108"/>
                    <a:pt x="4" y="109"/>
                  </a:cubicBezTo>
                  <a:cubicBezTo>
                    <a:pt x="5" y="110"/>
                    <a:pt x="13" y="114"/>
                    <a:pt x="32" y="114"/>
                  </a:cubicBezTo>
                  <a:cubicBezTo>
                    <a:pt x="42" y="114"/>
                    <a:pt x="49" y="113"/>
                    <a:pt x="54" y="111"/>
                  </a:cubicBezTo>
                  <a:cubicBezTo>
                    <a:pt x="58" y="113"/>
                    <a:pt x="65" y="114"/>
                    <a:pt x="75" y="114"/>
                  </a:cubicBezTo>
                  <a:cubicBezTo>
                    <a:pt x="94" y="114"/>
                    <a:pt x="102" y="110"/>
                    <a:pt x="102" y="109"/>
                  </a:cubicBezTo>
                  <a:cubicBezTo>
                    <a:pt x="104" y="108"/>
                    <a:pt x="106" y="105"/>
                    <a:pt x="106" y="103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58"/>
                    <a:pt x="104" y="55"/>
                    <a:pt x="102" y="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10">
            <a:extLst>
              <a:ext uri="{FF2B5EF4-FFF2-40B4-BE49-F238E27FC236}">
                <a16:creationId xmlns:a16="http://schemas.microsoft.com/office/drawing/2014/main" id="{BFB36B6B-4A77-4484-91ED-BFCFF791CE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25" y="304800"/>
            <a:ext cx="758825" cy="758825"/>
            <a:chOff x="878" y="192"/>
            <a:chExt cx="478" cy="478"/>
          </a:xfrm>
        </p:grpSpPr>
        <p:sp>
          <p:nvSpPr>
            <p:cNvPr id="25" name="AutoShape 9">
              <a:extLst>
                <a:ext uri="{FF2B5EF4-FFF2-40B4-BE49-F238E27FC236}">
                  <a16:creationId xmlns:a16="http://schemas.microsoft.com/office/drawing/2014/main" id="{20F455F6-85FF-4FFB-89EE-BD1DF6918D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8" y="19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513A64C9-6F56-4A37-A57F-9D5620B1FC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0" y="19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FD246EED-6B21-473C-BD44-928D4AE10A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" y="292"/>
              <a:ext cx="260" cy="280"/>
            </a:xfrm>
            <a:custGeom>
              <a:avLst/>
              <a:gdLst>
                <a:gd name="T0" fmla="*/ 75 w 106"/>
                <a:gd name="T1" fmla="*/ 108 h 114"/>
                <a:gd name="T2" fmla="*/ 63 w 106"/>
                <a:gd name="T3" fmla="*/ 103 h 114"/>
                <a:gd name="T4" fmla="*/ 100 w 106"/>
                <a:gd name="T5" fmla="*/ 91 h 114"/>
                <a:gd name="T6" fmla="*/ 99 w 106"/>
                <a:gd name="T7" fmla="*/ 104 h 114"/>
                <a:gd name="T8" fmla="*/ 32 w 106"/>
                <a:gd name="T9" fmla="*/ 108 h 114"/>
                <a:gd name="T10" fmla="*/ 6 w 106"/>
                <a:gd name="T11" fmla="*/ 103 h 114"/>
                <a:gd name="T12" fmla="*/ 57 w 106"/>
                <a:gd name="T13" fmla="*/ 91 h 114"/>
                <a:gd name="T14" fmla="*/ 56 w 106"/>
                <a:gd name="T15" fmla="*/ 104 h 114"/>
                <a:gd name="T16" fmla="*/ 23 w 106"/>
                <a:gd name="T17" fmla="*/ 24 h 114"/>
                <a:gd name="T18" fmla="*/ 33 w 106"/>
                <a:gd name="T19" fmla="*/ 6 h 114"/>
                <a:gd name="T20" fmla="*/ 56 w 106"/>
                <a:gd name="T21" fmla="*/ 57 h 114"/>
                <a:gd name="T22" fmla="*/ 57 w 106"/>
                <a:gd name="T23" fmla="*/ 72 h 114"/>
                <a:gd name="T24" fmla="*/ 6 w 106"/>
                <a:gd name="T25" fmla="*/ 60 h 114"/>
                <a:gd name="T26" fmla="*/ 53 w 106"/>
                <a:gd name="T27" fmla="*/ 11 h 114"/>
                <a:gd name="T28" fmla="*/ 54 w 106"/>
                <a:gd name="T29" fmla="*/ 38 h 114"/>
                <a:gd name="T30" fmla="*/ 53 w 106"/>
                <a:gd name="T31" fmla="*/ 11 h 114"/>
                <a:gd name="T32" fmla="*/ 73 w 106"/>
                <a:gd name="T33" fmla="*/ 6 h 114"/>
                <a:gd name="T34" fmla="*/ 81 w 106"/>
                <a:gd name="T35" fmla="*/ 24 h 114"/>
                <a:gd name="T36" fmla="*/ 100 w 106"/>
                <a:gd name="T37" fmla="*/ 60 h 114"/>
                <a:gd name="T38" fmla="*/ 63 w 106"/>
                <a:gd name="T39" fmla="*/ 72 h 114"/>
                <a:gd name="T40" fmla="*/ 61 w 106"/>
                <a:gd name="T41" fmla="*/ 55 h 114"/>
                <a:gd name="T42" fmla="*/ 72 w 106"/>
                <a:gd name="T43" fmla="*/ 7 h 114"/>
                <a:gd name="T44" fmla="*/ 100 w 106"/>
                <a:gd name="T45" fmla="*/ 75 h 114"/>
                <a:gd name="T46" fmla="*/ 63 w 106"/>
                <a:gd name="T47" fmla="*/ 88 h 114"/>
                <a:gd name="T48" fmla="*/ 6 w 106"/>
                <a:gd name="T49" fmla="*/ 75 h 114"/>
                <a:gd name="T50" fmla="*/ 57 w 106"/>
                <a:gd name="T51" fmla="*/ 88 h 114"/>
                <a:gd name="T52" fmla="*/ 6 w 106"/>
                <a:gd name="T53" fmla="*/ 75 h 114"/>
                <a:gd name="T54" fmla="*/ 87 w 106"/>
                <a:gd name="T55" fmla="*/ 24 h 114"/>
                <a:gd name="T56" fmla="*/ 82 w 106"/>
                <a:gd name="T57" fmla="*/ 0 h 114"/>
                <a:gd name="T58" fmla="*/ 68 w 106"/>
                <a:gd name="T59" fmla="*/ 2 h 114"/>
                <a:gd name="T60" fmla="*/ 53 w 106"/>
                <a:gd name="T61" fmla="*/ 5 h 114"/>
                <a:gd name="T62" fmla="*/ 38 w 106"/>
                <a:gd name="T63" fmla="*/ 2 h 114"/>
                <a:gd name="T64" fmla="*/ 23 w 106"/>
                <a:gd name="T65" fmla="*/ 0 h 114"/>
                <a:gd name="T66" fmla="*/ 17 w 106"/>
                <a:gd name="T67" fmla="*/ 24 h 114"/>
                <a:gd name="T68" fmla="*/ 0 w 106"/>
                <a:gd name="T69" fmla="*/ 60 h 114"/>
                <a:gd name="T70" fmla="*/ 4 w 106"/>
                <a:gd name="T71" fmla="*/ 109 h 114"/>
                <a:gd name="T72" fmla="*/ 54 w 106"/>
                <a:gd name="T73" fmla="*/ 111 h 114"/>
                <a:gd name="T74" fmla="*/ 102 w 106"/>
                <a:gd name="T75" fmla="*/ 109 h 114"/>
                <a:gd name="T76" fmla="*/ 106 w 106"/>
                <a:gd name="T77" fmla="*/ 6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6" h="114">
                  <a:moveTo>
                    <a:pt x="99" y="104"/>
                  </a:moveTo>
                  <a:cubicBezTo>
                    <a:pt x="99" y="104"/>
                    <a:pt x="92" y="108"/>
                    <a:pt x="75" y="108"/>
                  </a:cubicBezTo>
                  <a:cubicBezTo>
                    <a:pt x="69" y="108"/>
                    <a:pt x="65" y="108"/>
                    <a:pt x="61" y="107"/>
                  </a:cubicBezTo>
                  <a:cubicBezTo>
                    <a:pt x="62" y="106"/>
                    <a:pt x="63" y="104"/>
                    <a:pt x="63" y="103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99" y="104"/>
                    <a:pt x="99" y="104"/>
                  </a:cubicBezTo>
                  <a:moveTo>
                    <a:pt x="56" y="104"/>
                  </a:moveTo>
                  <a:cubicBezTo>
                    <a:pt x="56" y="104"/>
                    <a:pt x="49" y="108"/>
                    <a:pt x="32" y="108"/>
                  </a:cubicBezTo>
                  <a:cubicBezTo>
                    <a:pt x="15" y="108"/>
                    <a:pt x="7" y="104"/>
                    <a:pt x="7" y="104"/>
                  </a:cubicBezTo>
                  <a:cubicBezTo>
                    <a:pt x="7" y="104"/>
                    <a:pt x="6" y="103"/>
                    <a:pt x="6" y="103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6" y="104"/>
                    <a:pt x="56" y="104"/>
                  </a:cubicBezTo>
                  <a:moveTo>
                    <a:pt x="7" y="58"/>
                  </a:moveTo>
                  <a:cubicBezTo>
                    <a:pt x="8" y="58"/>
                    <a:pt x="23" y="47"/>
                    <a:pt x="23" y="2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6"/>
                    <a:pt x="34" y="6"/>
                    <a:pt x="34" y="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6" y="57"/>
                    <a:pt x="57" y="60"/>
                    <a:pt x="57" y="6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7" y="59"/>
                    <a:pt x="7" y="58"/>
                  </a:cubicBezTo>
                  <a:moveTo>
                    <a:pt x="53" y="11"/>
                  </a:moveTo>
                  <a:cubicBezTo>
                    <a:pt x="57" y="11"/>
                    <a:pt x="61" y="11"/>
                    <a:pt x="64" y="10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5" y="11"/>
                    <a:pt x="49" y="11"/>
                    <a:pt x="53" y="11"/>
                  </a:cubicBezTo>
                  <a:moveTo>
                    <a:pt x="72" y="7"/>
                  </a:moveTo>
                  <a:cubicBezTo>
                    <a:pt x="72" y="6"/>
                    <a:pt x="72" y="6"/>
                    <a:pt x="73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47"/>
                    <a:pt x="98" y="58"/>
                    <a:pt x="99" y="58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59"/>
                    <a:pt x="61" y="56"/>
                    <a:pt x="61" y="55"/>
                  </a:cubicBezTo>
                  <a:cubicBezTo>
                    <a:pt x="57" y="46"/>
                    <a:pt x="57" y="46"/>
                    <a:pt x="57" y="46"/>
                  </a:cubicBezTo>
                  <a:lnTo>
                    <a:pt x="72" y="7"/>
                  </a:lnTo>
                  <a:close/>
                  <a:moveTo>
                    <a:pt x="63" y="75"/>
                  </a:moveTo>
                  <a:cubicBezTo>
                    <a:pt x="100" y="75"/>
                    <a:pt x="100" y="75"/>
                    <a:pt x="100" y="75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63" y="88"/>
                    <a:pt x="63" y="88"/>
                    <a:pt x="63" y="88"/>
                  </a:cubicBezTo>
                  <a:lnTo>
                    <a:pt x="63" y="75"/>
                  </a:lnTo>
                  <a:close/>
                  <a:moveTo>
                    <a:pt x="6" y="75"/>
                  </a:moveTo>
                  <a:cubicBezTo>
                    <a:pt x="57" y="75"/>
                    <a:pt x="57" y="75"/>
                    <a:pt x="57" y="75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6" y="88"/>
                    <a:pt x="6" y="88"/>
                    <a:pt x="6" y="88"/>
                  </a:cubicBezTo>
                  <a:lnTo>
                    <a:pt x="6" y="75"/>
                  </a:lnTo>
                  <a:close/>
                  <a:moveTo>
                    <a:pt x="102" y="54"/>
                  </a:moveTo>
                  <a:cubicBezTo>
                    <a:pt x="102" y="53"/>
                    <a:pt x="87" y="44"/>
                    <a:pt x="87" y="24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0"/>
                    <a:pt x="84" y="0"/>
                    <a:pt x="8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0"/>
                    <a:pt x="70" y="1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5" y="4"/>
                    <a:pt x="60" y="5"/>
                    <a:pt x="53" y="5"/>
                  </a:cubicBezTo>
                  <a:cubicBezTo>
                    <a:pt x="46" y="5"/>
                    <a:pt x="41" y="4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1"/>
                    <a:pt x="35" y="0"/>
                    <a:pt x="3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17" y="0"/>
                    <a:pt x="17" y="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44"/>
                    <a:pt x="4" y="53"/>
                    <a:pt x="4" y="54"/>
                  </a:cubicBezTo>
                  <a:cubicBezTo>
                    <a:pt x="2" y="55"/>
                    <a:pt x="0" y="58"/>
                    <a:pt x="0" y="6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5"/>
                    <a:pt x="2" y="108"/>
                    <a:pt x="4" y="109"/>
                  </a:cubicBezTo>
                  <a:cubicBezTo>
                    <a:pt x="5" y="110"/>
                    <a:pt x="13" y="114"/>
                    <a:pt x="32" y="114"/>
                  </a:cubicBezTo>
                  <a:cubicBezTo>
                    <a:pt x="42" y="114"/>
                    <a:pt x="49" y="113"/>
                    <a:pt x="54" y="111"/>
                  </a:cubicBezTo>
                  <a:cubicBezTo>
                    <a:pt x="58" y="113"/>
                    <a:pt x="65" y="114"/>
                    <a:pt x="75" y="114"/>
                  </a:cubicBezTo>
                  <a:cubicBezTo>
                    <a:pt x="94" y="114"/>
                    <a:pt x="102" y="110"/>
                    <a:pt x="102" y="109"/>
                  </a:cubicBezTo>
                  <a:cubicBezTo>
                    <a:pt x="104" y="108"/>
                    <a:pt x="106" y="105"/>
                    <a:pt x="106" y="103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58"/>
                    <a:pt x="104" y="55"/>
                    <a:pt x="102" y="5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15">
            <a:extLst>
              <a:ext uri="{FF2B5EF4-FFF2-40B4-BE49-F238E27FC236}">
                <a16:creationId xmlns:a16="http://schemas.microsoft.com/office/drawing/2014/main" id="{5364D398-DB73-4359-A1B8-7E5DA012A7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1438" y="263525"/>
            <a:ext cx="841375" cy="841375"/>
            <a:chOff x="1645" y="166"/>
            <a:chExt cx="530" cy="530"/>
          </a:xfrm>
        </p:grpSpPr>
        <p:sp>
          <p:nvSpPr>
            <p:cNvPr id="29" name="AutoShape 14">
              <a:extLst>
                <a:ext uri="{FF2B5EF4-FFF2-40B4-BE49-F238E27FC236}">
                  <a16:creationId xmlns:a16="http://schemas.microsoft.com/office/drawing/2014/main" id="{5E9647DB-CC16-4EEB-A329-EEB884D067C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5" y="1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16">
              <a:extLst>
                <a:ext uri="{FF2B5EF4-FFF2-40B4-BE49-F238E27FC236}">
                  <a16:creationId xmlns:a16="http://schemas.microsoft.com/office/drawing/2014/main" id="{30A227BA-CE9C-4F7F-B0EC-D269201FF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" y="1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26AF00BA-CC5B-4C0B-9F43-53ADCB3023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" y="1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403DC462-45EB-4A4F-ACC0-3572C1AA6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9" y="291"/>
              <a:ext cx="364" cy="282"/>
            </a:xfrm>
            <a:custGeom>
              <a:avLst/>
              <a:gdLst>
                <a:gd name="T0" fmla="*/ 25 w 142"/>
                <a:gd name="T1" fmla="*/ 55 h 110"/>
                <a:gd name="T2" fmla="*/ 8 w 142"/>
                <a:gd name="T3" fmla="*/ 25 h 110"/>
                <a:gd name="T4" fmla="*/ 37 w 142"/>
                <a:gd name="T5" fmla="*/ 8 h 110"/>
                <a:gd name="T6" fmla="*/ 52 w 142"/>
                <a:gd name="T7" fmla="*/ 33 h 110"/>
                <a:gd name="T8" fmla="*/ 54 w 142"/>
                <a:gd name="T9" fmla="*/ 38 h 110"/>
                <a:gd name="T10" fmla="*/ 25 w 142"/>
                <a:gd name="T11" fmla="*/ 55 h 110"/>
                <a:gd name="T12" fmla="*/ 41 w 142"/>
                <a:gd name="T13" fmla="*/ 2 h 110"/>
                <a:gd name="T14" fmla="*/ 39 w 142"/>
                <a:gd name="T15" fmla="*/ 1 h 110"/>
                <a:gd name="T16" fmla="*/ 37 w 142"/>
                <a:gd name="T17" fmla="*/ 1 h 110"/>
                <a:gd name="T18" fmla="*/ 2 w 142"/>
                <a:gd name="T19" fmla="*/ 21 h 110"/>
                <a:gd name="T20" fmla="*/ 1 w 142"/>
                <a:gd name="T21" fmla="*/ 26 h 110"/>
                <a:gd name="T22" fmla="*/ 21 w 142"/>
                <a:gd name="T23" fmla="*/ 61 h 110"/>
                <a:gd name="T24" fmla="*/ 23 w 142"/>
                <a:gd name="T25" fmla="*/ 62 h 110"/>
                <a:gd name="T26" fmla="*/ 24 w 142"/>
                <a:gd name="T27" fmla="*/ 62 h 110"/>
                <a:gd name="T28" fmla="*/ 25 w 142"/>
                <a:gd name="T29" fmla="*/ 62 h 110"/>
                <a:gd name="T30" fmla="*/ 58 w 142"/>
                <a:gd name="T31" fmla="*/ 43 h 110"/>
                <a:gd name="T32" fmla="*/ 94 w 142"/>
                <a:gd name="T33" fmla="*/ 108 h 110"/>
                <a:gd name="T34" fmla="*/ 97 w 142"/>
                <a:gd name="T35" fmla="*/ 110 h 110"/>
                <a:gd name="T36" fmla="*/ 99 w 142"/>
                <a:gd name="T37" fmla="*/ 109 h 110"/>
                <a:gd name="T38" fmla="*/ 100 w 142"/>
                <a:gd name="T39" fmla="*/ 105 h 110"/>
                <a:gd name="T40" fmla="*/ 41 w 142"/>
                <a:gd name="T41" fmla="*/ 2 h 110"/>
                <a:gd name="T42" fmla="*/ 117 w 142"/>
                <a:gd name="T43" fmla="*/ 55 h 110"/>
                <a:gd name="T44" fmla="*/ 88 w 142"/>
                <a:gd name="T45" fmla="*/ 38 h 110"/>
                <a:gd name="T46" fmla="*/ 105 w 142"/>
                <a:gd name="T47" fmla="*/ 8 h 110"/>
                <a:gd name="T48" fmla="*/ 134 w 142"/>
                <a:gd name="T49" fmla="*/ 25 h 110"/>
                <a:gd name="T50" fmla="*/ 117 w 142"/>
                <a:gd name="T51" fmla="*/ 55 h 110"/>
                <a:gd name="T52" fmla="*/ 140 w 142"/>
                <a:gd name="T53" fmla="*/ 21 h 110"/>
                <a:gd name="T54" fmla="*/ 105 w 142"/>
                <a:gd name="T55" fmla="*/ 1 h 110"/>
                <a:gd name="T56" fmla="*/ 101 w 142"/>
                <a:gd name="T57" fmla="*/ 2 h 110"/>
                <a:gd name="T58" fmla="*/ 74 w 142"/>
                <a:gd name="T59" fmla="*/ 49 h 110"/>
                <a:gd name="T60" fmla="*/ 78 w 142"/>
                <a:gd name="T61" fmla="*/ 55 h 110"/>
                <a:gd name="T62" fmla="*/ 84 w 142"/>
                <a:gd name="T63" fmla="*/ 43 h 110"/>
                <a:gd name="T64" fmla="*/ 117 w 142"/>
                <a:gd name="T65" fmla="*/ 62 h 110"/>
                <a:gd name="T66" fmla="*/ 118 w 142"/>
                <a:gd name="T67" fmla="*/ 62 h 110"/>
                <a:gd name="T68" fmla="*/ 119 w 142"/>
                <a:gd name="T69" fmla="*/ 62 h 110"/>
                <a:gd name="T70" fmla="*/ 121 w 142"/>
                <a:gd name="T71" fmla="*/ 61 h 110"/>
                <a:gd name="T72" fmla="*/ 141 w 142"/>
                <a:gd name="T73" fmla="*/ 26 h 110"/>
                <a:gd name="T74" fmla="*/ 140 w 142"/>
                <a:gd name="T75" fmla="*/ 21 h 110"/>
                <a:gd name="T76" fmla="*/ 42 w 142"/>
                <a:gd name="T77" fmla="*/ 105 h 110"/>
                <a:gd name="T78" fmla="*/ 43 w 142"/>
                <a:gd name="T79" fmla="*/ 109 h 110"/>
                <a:gd name="T80" fmla="*/ 45 w 142"/>
                <a:gd name="T81" fmla="*/ 110 h 110"/>
                <a:gd name="T82" fmla="*/ 48 w 142"/>
                <a:gd name="T83" fmla="*/ 108 h 110"/>
                <a:gd name="T84" fmla="*/ 68 w 142"/>
                <a:gd name="T85" fmla="*/ 72 h 110"/>
                <a:gd name="T86" fmla="*/ 64 w 142"/>
                <a:gd name="T87" fmla="*/ 66 h 110"/>
                <a:gd name="T88" fmla="*/ 42 w 142"/>
                <a:gd name="T89" fmla="*/ 10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2" h="110">
                  <a:moveTo>
                    <a:pt x="25" y="5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25" y="55"/>
                  </a:lnTo>
                  <a:close/>
                  <a:moveTo>
                    <a:pt x="41" y="2"/>
                  </a:moveTo>
                  <a:cubicBezTo>
                    <a:pt x="41" y="1"/>
                    <a:pt x="40" y="1"/>
                    <a:pt x="39" y="1"/>
                  </a:cubicBezTo>
                  <a:cubicBezTo>
                    <a:pt x="39" y="0"/>
                    <a:pt x="38" y="0"/>
                    <a:pt x="37" y="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4"/>
                    <a:pt x="1" y="26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2"/>
                    <a:pt x="22" y="62"/>
                    <a:pt x="23" y="62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5" y="62"/>
                    <a:pt x="25" y="62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95" y="109"/>
                    <a:pt x="96" y="110"/>
                    <a:pt x="97" y="110"/>
                  </a:cubicBezTo>
                  <a:cubicBezTo>
                    <a:pt x="98" y="110"/>
                    <a:pt x="98" y="109"/>
                    <a:pt x="99" y="109"/>
                  </a:cubicBezTo>
                  <a:cubicBezTo>
                    <a:pt x="100" y="108"/>
                    <a:pt x="101" y="106"/>
                    <a:pt x="100" y="105"/>
                  </a:cubicBezTo>
                  <a:lnTo>
                    <a:pt x="41" y="2"/>
                  </a:lnTo>
                  <a:close/>
                  <a:moveTo>
                    <a:pt x="117" y="55"/>
                  </a:moveTo>
                  <a:cubicBezTo>
                    <a:pt x="88" y="38"/>
                    <a:pt x="88" y="38"/>
                    <a:pt x="88" y="38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34" y="25"/>
                    <a:pt x="134" y="25"/>
                    <a:pt x="134" y="25"/>
                  </a:cubicBezTo>
                  <a:lnTo>
                    <a:pt x="117" y="55"/>
                  </a:lnTo>
                  <a:close/>
                  <a:moveTo>
                    <a:pt x="140" y="21"/>
                  </a:moveTo>
                  <a:cubicBezTo>
                    <a:pt x="105" y="1"/>
                    <a:pt x="105" y="1"/>
                    <a:pt x="105" y="1"/>
                  </a:cubicBezTo>
                  <a:cubicBezTo>
                    <a:pt x="103" y="0"/>
                    <a:pt x="102" y="1"/>
                    <a:pt x="101" y="2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62"/>
                    <a:pt x="118" y="62"/>
                    <a:pt x="118" y="62"/>
                  </a:cubicBezTo>
                  <a:cubicBezTo>
                    <a:pt x="118" y="62"/>
                    <a:pt x="119" y="62"/>
                    <a:pt x="119" y="62"/>
                  </a:cubicBezTo>
                  <a:cubicBezTo>
                    <a:pt x="120" y="62"/>
                    <a:pt x="120" y="62"/>
                    <a:pt x="121" y="61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4"/>
                    <a:pt x="141" y="22"/>
                    <a:pt x="140" y="21"/>
                  </a:cubicBezTo>
                  <a:moveTo>
                    <a:pt x="42" y="105"/>
                  </a:moveTo>
                  <a:cubicBezTo>
                    <a:pt x="41" y="106"/>
                    <a:pt x="42" y="108"/>
                    <a:pt x="43" y="109"/>
                  </a:cubicBezTo>
                  <a:cubicBezTo>
                    <a:pt x="44" y="109"/>
                    <a:pt x="44" y="110"/>
                    <a:pt x="45" y="110"/>
                  </a:cubicBezTo>
                  <a:cubicBezTo>
                    <a:pt x="46" y="110"/>
                    <a:pt x="47" y="109"/>
                    <a:pt x="48" y="108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4" y="66"/>
                    <a:pt x="64" y="66"/>
                    <a:pt x="64" y="66"/>
                  </a:cubicBezTo>
                  <a:lnTo>
                    <a:pt x="42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1">
            <a:extLst>
              <a:ext uri="{FF2B5EF4-FFF2-40B4-BE49-F238E27FC236}">
                <a16:creationId xmlns:a16="http://schemas.microsoft.com/office/drawing/2014/main" id="{873FEF11-CFE2-4281-9F0F-06E8E31235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9025" y="304800"/>
            <a:ext cx="758825" cy="758825"/>
            <a:chOff x="2286" y="192"/>
            <a:chExt cx="478" cy="478"/>
          </a:xfrm>
        </p:grpSpPr>
        <p:sp>
          <p:nvSpPr>
            <p:cNvPr id="34" name="AutoShape 20">
              <a:extLst>
                <a:ext uri="{FF2B5EF4-FFF2-40B4-BE49-F238E27FC236}">
                  <a16:creationId xmlns:a16="http://schemas.microsoft.com/office/drawing/2014/main" id="{84B5B2C0-3CF0-46B7-8794-83E79006DB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6" y="19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7ABDF0D2-084E-439D-B7E2-EF0C17EAA5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8" y="19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F11882D5-D885-435E-8A7B-94674DF0E8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2" y="297"/>
              <a:ext cx="348" cy="270"/>
            </a:xfrm>
            <a:custGeom>
              <a:avLst/>
              <a:gdLst>
                <a:gd name="T0" fmla="*/ 25 w 142"/>
                <a:gd name="T1" fmla="*/ 55 h 110"/>
                <a:gd name="T2" fmla="*/ 8 w 142"/>
                <a:gd name="T3" fmla="*/ 25 h 110"/>
                <a:gd name="T4" fmla="*/ 37 w 142"/>
                <a:gd name="T5" fmla="*/ 8 h 110"/>
                <a:gd name="T6" fmla="*/ 52 w 142"/>
                <a:gd name="T7" fmla="*/ 33 h 110"/>
                <a:gd name="T8" fmla="*/ 54 w 142"/>
                <a:gd name="T9" fmla="*/ 38 h 110"/>
                <a:gd name="T10" fmla="*/ 25 w 142"/>
                <a:gd name="T11" fmla="*/ 55 h 110"/>
                <a:gd name="T12" fmla="*/ 41 w 142"/>
                <a:gd name="T13" fmla="*/ 2 h 110"/>
                <a:gd name="T14" fmla="*/ 39 w 142"/>
                <a:gd name="T15" fmla="*/ 1 h 110"/>
                <a:gd name="T16" fmla="*/ 37 w 142"/>
                <a:gd name="T17" fmla="*/ 1 h 110"/>
                <a:gd name="T18" fmla="*/ 2 w 142"/>
                <a:gd name="T19" fmla="*/ 21 h 110"/>
                <a:gd name="T20" fmla="*/ 1 w 142"/>
                <a:gd name="T21" fmla="*/ 26 h 110"/>
                <a:gd name="T22" fmla="*/ 21 w 142"/>
                <a:gd name="T23" fmla="*/ 61 h 110"/>
                <a:gd name="T24" fmla="*/ 23 w 142"/>
                <a:gd name="T25" fmla="*/ 62 h 110"/>
                <a:gd name="T26" fmla="*/ 24 w 142"/>
                <a:gd name="T27" fmla="*/ 62 h 110"/>
                <a:gd name="T28" fmla="*/ 25 w 142"/>
                <a:gd name="T29" fmla="*/ 62 h 110"/>
                <a:gd name="T30" fmla="*/ 58 w 142"/>
                <a:gd name="T31" fmla="*/ 43 h 110"/>
                <a:gd name="T32" fmla="*/ 94 w 142"/>
                <a:gd name="T33" fmla="*/ 108 h 110"/>
                <a:gd name="T34" fmla="*/ 97 w 142"/>
                <a:gd name="T35" fmla="*/ 110 h 110"/>
                <a:gd name="T36" fmla="*/ 99 w 142"/>
                <a:gd name="T37" fmla="*/ 109 h 110"/>
                <a:gd name="T38" fmla="*/ 100 w 142"/>
                <a:gd name="T39" fmla="*/ 105 h 110"/>
                <a:gd name="T40" fmla="*/ 41 w 142"/>
                <a:gd name="T41" fmla="*/ 2 h 110"/>
                <a:gd name="T42" fmla="*/ 117 w 142"/>
                <a:gd name="T43" fmla="*/ 55 h 110"/>
                <a:gd name="T44" fmla="*/ 88 w 142"/>
                <a:gd name="T45" fmla="*/ 38 h 110"/>
                <a:gd name="T46" fmla="*/ 105 w 142"/>
                <a:gd name="T47" fmla="*/ 8 h 110"/>
                <a:gd name="T48" fmla="*/ 134 w 142"/>
                <a:gd name="T49" fmla="*/ 25 h 110"/>
                <a:gd name="T50" fmla="*/ 117 w 142"/>
                <a:gd name="T51" fmla="*/ 55 h 110"/>
                <a:gd name="T52" fmla="*/ 140 w 142"/>
                <a:gd name="T53" fmla="*/ 21 h 110"/>
                <a:gd name="T54" fmla="*/ 105 w 142"/>
                <a:gd name="T55" fmla="*/ 1 h 110"/>
                <a:gd name="T56" fmla="*/ 101 w 142"/>
                <a:gd name="T57" fmla="*/ 2 h 110"/>
                <a:gd name="T58" fmla="*/ 74 w 142"/>
                <a:gd name="T59" fmla="*/ 49 h 110"/>
                <a:gd name="T60" fmla="*/ 78 w 142"/>
                <a:gd name="T61" fmla="*/ 55 h 110"/>
                <a:gd name="T62" fmla="*/ 84 w 142"/>
                <a:gd name="T63" fmla="*/ 43 h 110"/>
                <a:gd name="T64" fmla="*/ 117 w 142"/>
                <a:gd name="T65" fmla="*/ 62 h 110"/>
                <a:gd name="T66" fmla="*/ 118 w 142"/>
                <a:gd name="T67" fmla="*/ 62 h 110"/>
                <a:gd name="T68" fmla="*/ 119 w 142"/>
                <a:gd name="T69" fmla="*/ 62 h 110"/>
                <a:gd name="T70" fmla="*/ 121 w 142"/>
                <a:gd name="T71" fmla="*/ 61 h 110"/>
                <a:gd name="T72" fmla="*/ 141 w 142"/>
                <a:gd name="T73" fmla="*/ 26 h 110"/>
                <a:gd name="T74" fmla="*/ 140 w 142"/>
                <a:gd name="T75" fmla="*/ 21 h 110"/>
                <a:gd name="T76" fmla="*/ 42 w 142"/>
                <a:gd name="T77" fmla="*/ 105 h 110"/>
                <a:gd name="T78" fmla="*/ 43 w 142"/>
                <a:gd name="T79" fmla="*/ 109 h 110"/>
                <a:gd name="T80" fmla="*/ 45 w 142"/>
                <a:gd name="T81" fmla="*/ 110 h 110"/>
                <a:gd name="T82" fmla="*/ 48 w 142"/>
                <a:gd name="T83" fmla="*/ 108 h 110"/>
                <a:gd name="T84" fmla="*/ 68 w 142"/>
                <a:gd name="T85" fmla="*/ 72 h 110"/>
                <a:gd name="T86" fmla="*/ 64 w 142"/>
                <a:gd name="T87" fmla="*/ 66 h 110"/>
                <a:gd name="T88" fmla="*/ 42 w 142"/>
                <a:gd name="T89" fmla="*/ 10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2" h="110">
                  <a:moveTo>
                    <a:pt x="25" y="5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25" y="55"/>
                  </a:lnTo>
                  <a:close/>
                  <a:moveTo>
                    <a:pt x="41" y="2"/>
                  </a:moveTo>
                  <a:cubicBezTo>
                    <a:pt x="41" y="1"/>
                    <a:pt x="40" y="1"/>
                    <a:pt x="39" y="1"/>
                  </a:cubicBezTo>
                  <a:cubicBezTo>
                    <a:pt x="39" y="0"/>
                    <a:pt x="38" y="0"/>
                    <a:pt x="37" y="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2"/>
                    <a:pt x="0" y="24"/>
                    <a:pt x="1" y="26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2"/>
                    <a:pt x="22" y="62"/>
                    <a:pt x="23" y="62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5" y="62"/>
                    <a:pt x="25" y="62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95" y="109"/>
                    <a:pt x="96" y="110"/>
                    <a:pt x="97" y="110"/>
                  </a:cubicBezTo>
                  <a:cubicBezTo>
                    <a:pt x="98" y="110"/>
                    <a:pt x="98" y="109"/>
                    <a:pt x="99" y="109"/>
                  </a:cubicBezTo>
                  <a:cubicBezTo>
                    <a:pt x="100" y="108"/>
                    <a:pt x="101" y="106"/>
                    <a:pt x="100" y="105"/>
                  </a:cubicBezTo>
                  <a:lnTo>
                    <a:pt x="41" y="2"/>
                  </a:lnTo>
                  <a:close/>
                  <a:moveTo>
                    <a:pt x="117" y="55"/>
                  </a:moveTo>
                  <a:cubicBezTo>
                    <a:pt x="88" y="38"/>
                    <a:pt x="88" y="38"/>
                    <a:pt x="88" y="38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34" y="25"/>
                    <a:pt x="134" y="25"/>
                    <a:pt x="134" y="25"/>
                  </a:cubicBezTo>
                  <a:lnTo>
                    <a:pt x="117" y="55"/>
                  </a:lnTo>
                  <a:close/>
                  <a:moveTo>
                    <a:pt x="140" y="21"/>
                  </a:moveTo>
                  <a:cubicBezTo>
                    <a:pt x="105" y="1"/>
                    <a:pt x="105" y="1"/>
                    <a:pt x="105" y="1"/>
                  </a:cubicBezTo>
                  <a:cubicBezTo>
                    <a:pt x="103" y="0"/>
                    <a:pt x="102" y="1"/>
                    <a:pt x="101" y="2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62"/>
                    <a:pt x="118" y="62"/>
                    <a:pt x="118" y="62"/>
                  </a:cubicBezTo>
                  <a:cubicBezTo>
                    <a:pt x="118" y="62"/>
                    <a:pt x="119" y="62"/>
                    <a:pt x="119" y="62"/>
                  </a:cubicBezTo>
                  <a:cubicBezTo>
                    <a:pt x="120" y="62"/>
                    <a:pt x="120" y="62"/>
                    <a:pt x="121" y="61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4"/>
                    <a:pt x="141" y="22"/>
                    <a:pt x="140" y="21"/>
                  </a:cubicBezTo>
                  <a:moveTo>
                    <a:pt x="42" y="105"/>
                  </a:moveTo>
                  <a:cubicBezTo>
                    <a:pt x="41" y="106"/>
                    <a:pt x="42" y="108"/>
                    <a:pt x="43" y="109"/>
                  </a:cubicBezTo>
                  <a:cubicBezTo>
                    <a:pt x="44" y="109"/>
                    <a:pt x="44" y="110"/>
                    <a:pt x="45" y="110"/>
                  </a:cubicBezTo>
                  <a:cubicBezTo>
                    <a:pt x="46" y="110"/>
                    <a:pt x="47" y="109"/>
                    <a:pt x="48" y="108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4" y="66"/>
                    <a:pt x="64" y="66"/>
                    <a:pt x="64" y="66"/>
                  </a:cubicBezTo>
                  <a:lnTo>
                    <a:pt x="42" y="10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oup 26">
            <a:extLst>
              <a:ext uri="{FF2B5EF4-FFF2-40B4-BE49-F238E27FC236}">
                <a16:creationId xmlns:a16="http://schemas.microsoft.com/office/drawing/2014/main" id="{E4FB0BB3-BA63-41DE-BED5-A89AD7DA9B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3450" y="263525"/>
            <a:ext cx="841375" cy="841375"/>
            <a:chOff x="2988" y="166"/>
            <a:chExt cx="530" cy="530"/>
          </a:xfrm>
        </p:grpSpPr>
        <p:sp>
          <p:nvSpPr>
            <p:cNvPr id="38" name="AutoShape 25">
              <a:extLst>
                <a:ext uri="{FF2B5EF4-FFF2-40B4-BE49-F238E27FC236}">
                  <a16:creationId xmlns:a16="http://schemas.microsoft.com/office/drawing/2014/main" id="{5F2548FC-31C8-4DFA-B052-1072350E2B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8" y="1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27">
              <a:extLst>
                <a:ext uri="{FF2B5EF4-FFF2-40B4-BE49-F238E27FC236}">
                  <a16:creationId xmlns:a16="http://schemas.microsoft.com/office/drawing/2014/main" id="{D04FB2D4-906F-43F4-BED3-F39DA6FA20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8" y="1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F4BF919C-33F2-44EC-A93B-C01E15FC8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" y="1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4A4A1E53-A149-4F12-A002-3AA1908A6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486"/>
              <a:ext cx="15" cy="15"/>
            </a:xfrm>
            <a:custGeom>
              <a:avLst/>
              <a:gdLst>
                <a:gd name="T0" fmla="*/ 7 w 15"/>
                <a:gd name="T1" fmla="*/ 0 h 15"/>
                <a:gd name="T2" fmla="*/ 0 w 15"/>
                <a:gd name="T3" fmla="*/ 8 h 15"/>
                <a:gd name="T4" fmla="*/ 7 w 15"/>
                <a:gd name="T5" fmla="*/ 15 h 15"/>
                <a:gd name="T6" fmla="*/ 15 w 15"/>
                <a:gd name="T7" fmla="*/ 8 h 15"/>
                <a:gd name="T8" fmla="*/ 7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7" y="0"/>
                  </a:moveTo>
                  <a:lnTo>
                    <a:pt x="0" y="8"/>
                  </a:lnTo>
                  <a:lnTo>
                    <a:pt x="7" y="15"/>
                  </a:lnTo>
                  <a:lnTo>
                    <a:pt x="15" y="8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09CAFE36-4768-4FF9-9367-BD56E0AAE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" y="517"/>
              <a:ext cx="21" cy="18"/>
            </a:xfrm>
            <a:custGeom>
              <a:avLst/>
              <a:gdLst>
                <a:gd name="T0" fmla="*/ 13 w 21"/>
                <a:gd name="T1" fmla="*/ 18 h 18"/>
                <a:gd name="T2" fmla="*/ 21 w 21"/>
                <a:gd name="T3" fmla="*/ 10 h 18"/>
                <a:gd name="T4" fmla="*/ 8 w 21"/>
                <a:gd name="T5" fmla="*/ 0 h 18"/>
                <a:gd name="T6" fmla="*/ 0 w 21"/>
                <a:gd name="T7" fmla="*/ 5 h 18"/>
                <a:gd name="T8" fmla="*/ 13 w 2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8">
                  <a:moveTo>
                    <a:pt x="13" y="18"/>
                  </a:moveTo>
                  <a:lnTo>
                    <a:pt x="21" y="10"/>
                  </a:lnTo>
                  <a:lnTo>
                    <a:pt x="8" y="0"/>
                  </a:lnTo>
                  <a:lnTo>
                    <a:pt x="0" y="5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23FFCFC3-6A9B-49A8-8015-D9C6B1CC18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1" y="263"/>
              <a:ext cx="302" cy="336"/>
            </a:xfrm>
            <a:custGeom>
              <a:avLst/>
              <a:gdLst>
                <a:gd name="T0" fmla="*/ 115 w 118"/>
                <a:gd name="T1" fmla="*/ 96 h 131"/>
                <a:gd name="T2" fmla="*/ 109 w 118"/>
                <a:gd name="T3" fmla="*/ 72 h 131"/>
                <a:gd name="T4" fmla="*/ 101 w 118"/>
                <a:gd name="T5" fmla="*/ 62 h 131"/>
                <a:gd name="T6" fmla="*/ 93 w 118"/>
                <a:gd name="T7" fmla="*/ 51 h 131"/>
                <a:gd name="T8" fmla="*/ 93 w 118"/>
                <a:gd name="T9" fmla="*/ 50 h 131"/>
                <a:gd name="T10" fmla="*/ 79 w 118"/>
                <a:gd name="T11" fmla="*/ 40 h 131"/>
                <a:gd name="T12" fmla="*/ 65 w 118"/>
                <a:gd name="T13" fmla="*/ 34 h 131"/>
                <a:gd name="T14" fmla="*/ 55 w 118"/>
                <a:gd name="T15" fmla="*/ 37 h 131"/>
                <a:gd name="T16" fmla="*/ 47 w 118"/>
                <a:gd name="T17" fmla="*/ 29 h 131"/>
                <a:gd name="T18" fmla="*/ 14 w 118"/>
                <a:gd name="T19" fmla="*/ 5 h 131"/>
                <a:gd name="T20" fmla="*/ 21 w 118"/>
                <a:gd name="T21" fmla="*/ 27 h 131"/>
                <a:gd name="T22" fmla="*/ 4 w 118"/>
                <a:gd name="T23" fmla="*/ 14 h 131"/>
                <a:gd name="T24" fmla="*/ 27 w 118"/>
                <a:gd name="T25" fmla="*/ 46 h 131"/>
                <a:gd name="T26" fmla="*/ 32 w 118"/>
                <a:gd name="T27" fmla="*/ 58 h 131"/>
                <a:gd name="T28" fmla="*/ 24 w 118"/>
                <a:gd name="T29" fmla="*/ 73 h 131"/>
                <a:gd name="T30" fmla="*/ 6 w 118"/>
                <a:gd name="T31" fmla="*/ 88 h 131"/>
                <a:gd name="T32" fmla="*/ 45 w 118"/>
                <a:gd name="T33" fmla="*/ 130 h 131"/>
                <a:gd name="T34" fmla="*/ 64 w 118"/>
                <a:gd name="T35" fmla="*/ 113 h 131"/>
                <a:gd name="T36" fmla="*/ 64 w 118"/>
                <a:gd name="T37" fmla="*/ 107 h 131"/>
                <a:gd name="T38" fmla="*/ 82 w 118"/>
                <a:gd name="T39" fmla="*/ 100 h 131"/>
                <a:gd name="T40" fmla="*/ 114 w 118"/>
                <a:gd name="T41" fmla="*/ 112 h 131"/>
                <a:gd name="T42" fmla="*/ 83 w 118"/>
                <a:gd name="T43" fmla="*/ 80 h 131"/>
                <a:gd name="T44" fmla="*/ 82 w 118"/>
                <a:gd name="T45" fmla="*/ 42 h 131"/>
                <a:gd name="T46" fmla="*/ 73 w 118"/>
                <a:gd name="T47" fmla="*/ 51 h 131"/>
                <a:gd name="T48" fmla="*/ 76 w 118"/>
                <a:gd name="T49" fmla="*/ 43 h 131"/>
                <a:gd name="T50" fmla="*/ 68 w 118"/>
                <a:gd name="T51" fmla="*/ 36 h 131"/>
                <a:gd name="T52" fmla="*/ 12 w 118"/>
                <a:gd name="T53" fmla="*/ 37 h 131"/>
                <a:gd name="T54" fmla="*/ 20 w 118"/>
                <a:gd name="T55" fmla="*/ 31 h 131"/>
                <a:gd name="T56" fmla="*/ 33 w 118"/>
                <a:gd name="T57" fmla="*/ 20 h 131"/>
                <a:gd name="T58" fmla="*/ 21 w 118"/>
                <a:gd name="T59" fmla="*/ 6 h 131"/>
                <a:gd name="T60" fmla="*/ 44 w 118"/>
                <a:gd name="T61" fmla="*/ 31 h 131"/>
                <a:gd name="T62" fmla="*/ 37 w 118"/>
                <a:gd name="T63" fmla="*/ 40 h 131"/>
                <a:gd name="T64" fmla="*/ 29 w 118"/>
                <a:gd name="T65" fmla="*/ 43 h 131"/>
                <a:gd name="T66" fmla="*/ 10 w 118"/>
                <a:gd name="T67" fmla="*/ 90 h 131"/>
                <a:gd name="T68" fmla="*/ 47 w 118"/>
                <a:gd name="T69" fmla="*/ 126 h 131"/>
                <a:gd name="T70" fmla="*/ 61 w 118"/>
                <a:gd name="T71" fmla="*/ 104 h 131"/>
                <a:gd name="T72" fmla="*/ 30 w 118"/>
                <a:gd name="T73" fmla="*/ 78 h 131"/>
                <a:gd name="T74" fmla="*/ 39 w 118"/>
                <a:gd name="T75" fmla="*/ 44 h 131"/>
                <a:gd name="T76" fmla="*/ 59 w 118"/>
                <a:gd name="T77" fmla="*/ 43 h 131"/>
                <a:gd name="T78" fmla="*/ 75 w 118"/>
                <a:gd name="T79" fmla="*/ 66 h 131"/>
                <a:gd name="T80" fmla="*/ 55 w 118"/>
                <a:gd name="T81" fmla="*/ 56 h 131"/>
                <a:gd name="T82" fmla="*/ 54 w 118"/>
                <a:gd name="T83" fmla="*/ 84 h 131"/>
                <a:gd name="T84" fmla="*/ 61 w 118"/>
                <a:gd name="T85" fmla="*/ 80 h 131"/>
                <a:gd name="T86" fmla="*/ 103 w 118"/>
                <a:gd name="T87" fmla="*/ 113 h 131"/>
                <a:gd name="T88" fmla="*/ 63 w 118"/>
                <a:gd name="T89" fmla="*/ 75 h 131"/>
                <a:gd name="T90" fmla="*/ 65 w 118"/>
                <a:gd name="T91" fmla="*/ 67 h 131"/>
                <a:gd name="T92" fmla="*/ 79 w 118"/>
                <a:gd name="T93" fmla="*/ 69 h 131"/>
                <a:gd name="T94" fmla="*/ 83 w 118"/>
                <a:gd name="T95" fmla="*/ 61 h 131"/>
                <a:gd name="T96" fmla="*/ 82 w 118"/>
                <a:gd name="T97" fmla="*/ 75 h 131"/>
                <a:gd name="T98" fmla="*/ 79 w 118"/>
                <a:gd name="T99" fmla="*/ 78 h 131"/>
                <a:gd name="T100" fmla="*/ 80 w 118"/>
                <a:gd name="T101" fmla="*/ 79 h 131"/>
                <a:gd name="T102" fmla="*/ 87 w 118"/>
                <a:gd name="T103" fmla="*/ 89 h 131"/>
                <a:gd name="T104" fmla="*/ 112 w 118"/>
                <a:gd name="T105" fmla="*/ 99 h 131"/>
                <a:gd name="T106" fmla="*/ 104 w 118"/>
                <a:gd name="T107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31">
                  <a:moveTo>
                    <a:pt x="114" y="112"/>
                  </a:moveTo>
                  <a:cubicBezTo>
                    <a:pt x="116" y="110"/>
                    <a:pt x="118" y="107"/>
                    <a:pt x="118" y="104"/>
                  </a:cubicBezTo>
                  <a:cubicBezTo>
                    <a:pt x="118" y="101"/>
                    <a:pt x="117" y="98"/>
                    <a:pt x="115" y="96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8" y="75"/>
                    <a:pt x="109" y="74"/>
                    <a:pt x="109" y="72"/>
                  </a:cubicBezTo>
                  <a:cubicBezTo>
                    <a:pt x="109" y="71"/>
                    <a:pt x="108" y="70"/>
                    <a:pt x="107" y="69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0"/>
                    <a:pt x="101" y="59"/>
                    <a:pt x="100" y="57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3" y="47"/>
                    <a:pt x="92" y="46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4" y="38"/>
                    <a:pt x="81" y="38"/>
                    <a:pt x="79" y="40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0" y="32"/>
                    <a:pt x="67" y="32"/>
                    <a:pt x="65" y="34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37"/>
                    <a:pt x="57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1"/>
                    <a:pt x="47" y="14"/>
                    <a:pt x="41" y="8"/>
                  </a:cubicBezTo>
                  <a:cubicBezTo>
                    <a:pt x="34" y="1"/>
                    <a:pt x="24" y="0"/>
                    <a:pt x="15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6"/>
                    <a:pt x="14" y="6"/>
                    <a:pt x="14" y="7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5" y="13"/>
                    <a:pt x="5" y="14"/>
                    <a:pt x="4" y="14"/>
                  </a:cubicBezTo>
                  <a:cubicBezTo>
                    <a:pt x="0" y="23"/>
                    <a:pt x="2" y="33"/>
                    <a:pt x="9" y="40"/>
                  </a:cubicBezTo>
                  <a:cubicBezTo>
                    <a:pt x="13" y="45"/>
                    <a:pt x="20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4"/>
                    <a:pt x="32" y="57"/>
                    <a:pt x="32" y="58"/>
                  </a:cubicBezTo>
                  <a:cubicBezTo>
                    <a:pt x="32" y="67"/>
                    <a:pt x="30" y="72"/>
                    <a:pt x="30" y="73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3" y="72"/>
                    <a:pt x="23" y="72"/>
                  </a:cubicBezTo>
                  <a:cubicBezTo>
                    <a:pt x="22" y="72"/>
                    <a:pt x="22" y="73"/>
                    <a:pt x="22" y="73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9"/>
                    <a:pt x="5" y="89"/>
                    <a:pt x="5" y="90"/>
                  </a:cubicBezTo>
                  <a:cubicBezTo>
                    <a:pt x="5" y="90"/>
                    <a:pt x="5" y="91"/>
                    <a:pt x="6" y="91"/>
                  </a:cubicBezTo>
                  <a:cubicBezTo>
                    <a:pt x="45" y="130"/>
                    <a:pt x="45" y="130"/>
                    <a:pt x="45" y="130"/>
                  </a:cubicBezTo>
                  <a:cubicBezTo>
                    <a:pt x="46" y="131"/>
                    <a:pt x="47" y="131"/>
                    <a:pt x="48" y="130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4"/>
                    <a:pt x="64" y="114"/>
                    <a:pt x="64" y="113"/>
                  </a:cubicBezTo>
                  <a:cubicBezTo>
                    <a:pt x="64" y="113"/>
                    <a:pt x="64" y="112"/>
                    <a:pt x="64" y="112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5" y="106"/>
                    <a:pt x="67" y="106"/>
                    <a:pt x="69" y="106"/>
                  </a:cubicBezTo>
                  <a:cubicBezTo>
                    <a:pt x="73" y="106"/>
                    <a:pt x="77" y="106"/>
                    <a:pt x="80" y="103"/>
                  </a:cubicBezTo>
                  <a:cubicBezTo>
                    <a:pt x="82" y="100"/>
                    <a:pt x="82" y="100"/>
                    <a:pt x="82" y="100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9" y="116"/>
                    <a:pt x="102" y="117"/>
                    <a:pt x="105" y="117"/>
                  </a:cubicBezTo>
                  <a:cubicBezTo>
                    <a:pt x="108" y="116"/>
                    <a:pt x="111" y="115"/>
                    <a:pt x="114" y="112"/>
                  </a:cubicBezTo>
                  <a:close/>
                  <a:moveTo>
                    <a:pt x="105" y="72"/>
                  </a:moveTo>
                  <a:cubicBezTo>
                    <a:pt x="90" y="87"/>
                    <a:pt x="90" y="87"/>
                    <a:pt x="90" y="87"/>
                  </a:cubicBezTo>
                  <a:cubicBezTo>
                    <a:pt x="83" y="80"/>
                    <a:pt x="83" y="80"/>
                    <a:pt x="83" y="80"/>
                  </a:cubicBezTo>
                  <a:cubicBezTo>
                    <a:pt x="98" y="65"/>
                    <a:pt x="98" y="65"/>
                    <a:pt x="98" y="65"/>
                  </a:cubicBezTo>
                  <a:lnTo>
                    <a:pt x="105" y="72"/>
                  </a:lnTo>
                  <a:close/>
                  <a:moveTo>
                    <a:pt x="82" y="42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3" y="51"/>
                    <a:pt x="73" y="51"/>
                    <a:pt x="73" y="51"/>
                  </a:cubicBezTo>
                  <a:lnTo>
                    <a:pt x="82" y="42"/>
                  </a:lnTo>
                  <a:close/>
                  <a:moveTo>
                    <a:pt x="68" y="36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3" y="41"/>
                    <a:pt x="63" y="41"/>
                    <a:pt x="63" y="41"/>
                  </a:cubicBezTo>
                  <a:lnTo>
                    <a:pt x="68" y="36"/>
                  </a:lnTo>
                  <a:close/>
                  <a:moveTo>
                    <a:pt x="29" y="43"/>
                  </a:moveTo>
                  <a:cubicBezTo>
                    <a:pt x="29" y="42"/>
                    <a:pt x="28" y="42"/>
                    <a:pt x="28" y="42"/>
                  </a:cubicBezTo>
                  <a:cubicBezTo>
                    <a:pt x="22" y="43"/>
                    <a:pt x="16" y="41"/>
                    <a:pt x="12" y="37"/>
                  </a:cubicBezTo>
                  <a:cubicBezTo>
                    <a:pt x="7" y="33"/>
                    <a:pt x="5" y="26"/>
                    <a:pt x="6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2"/>
                    <a:pt x="22" y="32"/>
                    <a:pt x="22" y="3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3" y="21"/>
                    <a:pt x="33" y="21"/>
                    <a:pt x="33" y="20"/>
                  </a:cubicBezTo>
                  <a:cubicBezTo>
                    <a:pt x="33" y="20"/>
                    <a:pt x="33" y="19"/>
                    <a:pt x="32" y="19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7" y="4"/>
                    <a:pt x="34" y="6"/>
                    <a:pt x="38" y="11"/>
                  </a:cubicBezTo>
                  <a:cubicBezTo>
                    <a:pt x="43" y="16"/>
                    <a:pt x="45" y="23"/>
                    <a:pt x="43" y="29"/>
                  </a:cubicBezTo>
                  <a:cubicBezTo>
                    <a:pt x="43" y="30"/>
                    <a:pt x="43" y="31"/>
                    <a:pt x="44" y="31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4" y="38"/>
                    <a:pt x="39" y="39"/>
                    <a:pt x="37" y="40"/>
                  </a:cubicBezTo>
                  <a:cubicBezTo>
                    <a:pt x="36" y="41"/>
                    <a:pt x="35" y="43"/>
                    <a:pt x="34" y="46"/>
                  </a:cubicBezTo>
                  <a:cubicBezTo>
                    <a:pt x="33" y="47"/>
                    <a:pt x="33" y="47"/>
                    <a:pt x="33" y="47"/>
                  </a:cubicBezTo>
                  <a:lnTo>
                    <a:pt x="29" y="43"/>
                  </a:lnTo>
                  <a:close/>
                  <a:moveTo>
                    <a:pt x="47" y="126"/>
                  </a:moveTo>
                  <a:cubicBezTo>
                    <a:pt x="46" y="125"/>
                    <a:pt x="46" y="125"/>
                    <a:pt x="46" y="125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60" y="113"/>
                    <a:pt x="60" y="113"/>
                    <a:pt x="60" y="113"/>
                  </a:cubicBezTo>
                  <a:lnTo>
                    <a:pt x="47" y="126"/>
                  </a:lnTo>
                  <a:close/>
                  <a:moveTo>
                    <a:pt x="77" y="100"/>
                  </a:moveTo>
                  <a:cubicBezTo>
                    <a:pt x="75" y="102"/>
                    <a:pt x="73" y="102"/>
                    <a:pt x="69" y="102"/>
                  </a:cubicBezTo>
                  <a:cubicBezTo>
                    <a:pt x="66" y="102"/>
                    <a:pt x="63" y="102"/>
                    <a:pt x="61" y="104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5" y="73"/>
                    <a:pt x="36" y="62"/>
                    <a:pt x="36" y="58"/>
                  </a:cubicBezTo>
                  <a:cubicBezTo>
                    <a:pt x="36" y="52"/>
                    <a:pt x="38" y="45"/>
                    <a:pt x="39" y="44"/>
                  </a:cubicBezTo>
                  <a:cubicBezTo>
                    <a:pt x="40" y="43"/>
                    <a:pt x="41" y="42"/>
                    <a:pt x="49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5" y="40"/>
                    <a:pt x="57" y="41"/>
                    <a:pt x="59" y="4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8" y="65"/>
                    <a:pt x="76" y="66"/>
                    <a:pt x="75" y="66"/>
                  </a:cubicBezTo>
                  <a:cubicBezTo>
                    <a:pt x="71" y="67"/>
                    <a:pt x="68" y="66"/>
                    <a:pt x="66" y="63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7" y="55"/>
                    <a:pt x="56" y="55"/>
                    <a:pt x="55" y="56"/>
                  </a:cubicBezTo>
                  <a:cubicBezTo>
                    <a:pt x="54" y="56"/>
                    <a:pt x="54" y="58"/>
                    <a:pt x="55" y="58"/>
                  </a:cubicBezTo>
                  <a:cubicBezTo>
                    <a:pt x="58" y="61"/>
                    <a:pt x="59" y="65"/>
                    <a:pt x="59" y="70"/>
                  </a:cubicBezTo>
                  <a:cubicBezTo>
                    <a:pt x="59" y="75"/>
                    <a:pt x="57" y="80"/>
                    <a:pt x="54" y="84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8" y="85"/>
                    <a:pt x="60" y="83"/>
                    <a:pt x="61" y="81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79" y="98"/>
                    <a:pt x="79" y="98"/>
                    <a:pt x="79" y="98"/>
                  </a:cubicBezTo>
                  <a:lnTo>
                    <a:pt x="77" y="100"/>
                  </a:lnTo>
                  <a:close/>
                  <a:moveTo>
                    <a:pt x="103" y="113"/>
                  </a:moveTo>
                  <a:cubicBezTo>
                    <a:pt x="102" y="113"/>
                    <a:pt x="101" y="113"/>
                    <a:pt x="100" y="112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3"/>
                    <a:pt x="64" y="70"/>
                    <a:pt x="63" y="6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8" y="70"/>
                    <a:pt x="72" y="71"/>
                    <a:pt x="75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81" y="67"/>
                    <a:pt x="83" y="66"/>
                    <a:pt x="84" y="63"/>
                  </a:cubicBezTo>
                  <a:cubicBezTo>
                    <a:pt x="84" y="63"/>
                    <a:pt x="84" y="62"/>
                    <a:pt x="84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0" y="79"/>
                    <a:pt x="79" y="80"/>
                    <a:pt x="79" y="80"/>
                  </a:cubicBezTo>
                  <a:cubicBezTo>
                    <a:pt x="79" y="81"/>
                    <a:pt x="80" y="83"/>
                    <a:pt x="81" y="83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9" y="91"/>
                    <a:pt x="92" y="91"/>
                    <a:pt x="94" y="89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12" y="99"/>
                    <a:pt x="112" y="99"/>
                    <a:pt x="112" y="99"/>
                  </a:cubicBezTo>
                  <a:cubicBezTo>
                    <a:pt x="114" y="101"/>
                    <a:pt x="114" y="103"/>
                    <a:pt x="114" y="104"/>
                  </a:cubicBezTo>
                  <a:cubicBezTo>
                    <a:pt x="114" y="106"/>
                    <a:pt x="113" y="108"/>
                    <a:pt x="111" y="110"/>
                  </a:cubicBezTo>
                  <a:cubicBezTo>
                    <a:pt x="109" y="112"/>
                    <a:pt x="106" y="113"/>
                    <a:pt x="104" y="113"/>
                  </a:cubicBezTo>
                  <a:cubicBezTo>
                    <a:pt x="104" y="113"/>
                    <a:pt x="104" y="113"/>
                    <a:pt x="103" y="1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34">
            <a:extLst>
              <a:ext uri="{FF2B5EF4-FFF2-40B4-BE49-F238E27FC236}">
                <a16:creationId xmlns:a16="http://schemas.microsoft.com/office/drawing/2014/main" id="{DA55E07A-5744-4110-9545-31A915BF5A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65813" y="304800"/>
            <a:ext cx="758825" cy="758825"/>
            <a:chOff x="3695" y="192"/>
            <a:chExt cx="478" cy="478"/>
          </a:xfrm>
        </p:grpSpPr>
        <p:sp>
          <p:nvSpPr>
            <p:cNvPr id="45" name="AutoShape 33">
              <a:extLst>
                <a:ext uri="{FF2B5EF4-FFF2-40B4-BE49-F238E27FC236}">
                  <a16:creationId xmlns:a16="http://schemas.microsoft.com/office/drawing/2014/main" id="{F89638CA-55A9-4E08-A014-D09A81221E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5" y="19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A7ECC0C3-BF93-4163-ACF6-B4915D5A98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7" y="19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6">
              <a:extLst>
                <a:ext uri="{FF2B5EF4-FFF2-40B4-BE49-F238E27FC236}">
                  <a16:creationId xmlns:a16="http://schemas.microsoft.com/office/drawing/2014/main" id="{45E749A5-62BA-4981-886D-745450A62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" y="484"/>
              <a:ext cx="15" cy="14"/>
            </a:xfrm>
            <a:custGeom>
              <a:avLst/>
              <a:gdLst>
                <a:gd name="T0" fmla="*/ 8 w 15"/>
                <a:gd name="T1" fmla="*/ 0 h 14"/>
                <a:gd name="T2" fmla="*/ 0 w 15"/>
                <a:gd name="T3" fmla="*/ 7 h 14"/>
                <a:gd name="T4" fmla="*/ 8 w 15"/>
                <a:gd name="T5" fmla="*/ 14 h 14"/>
                <a:gd name="T6" fmla="*/ 15 w 15"/>
                <a:gd name="T7" fmla="*/ 7 h 14"/>
                <a:gd name="T8" fmla="*/ 8 w 1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8" y="0"/>
                  </a:moveTo>
                  <a:lnTo>
                    <a:pt x="0" y="7"/>
                  </a:lnTo>
                  <a:lnTo>
                    <a:pt x="8" y="14"/>
                  </a:lnTo>
                  <a:lnTo>
                    <a:pt x="15" y="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7">
              <a:extLst>
                <a:ext uri="{FF2B5EF4-FFF2-40B4-BE49-F238E27FC236}">
                  <a16:creationId xmlns:a16="http://schemas.microsoft.com/office/drawing/2014/main" id="{C44B074B-4C83-44F8-9F18-A1745EE44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" y="513"/>
              <a:ext cx="19" cy="17"/>
            </a:xfrm>
            <a:custGeom>
              <a:avLst/>
              <a:gdLst>
                <a:gd name="T0" fmla="*/ 12 w 19"/>
                <a:gd name="T1" fmla="*/ 17 h 17"/>
                <a:gd name="T2" fmla="*/ 19 w 19"/>
                <a:gd name="T3" fmla="*/ 10 h 17"/>
                <a:gd name="T4" fmla="*/ 7 w 19"/>
                <a:gd name="T5" fmla="*/ 0 h 17"/>
                <a:gd name="T6" fmla="*/ 0 w 19"/>
                <a:gd name="T7" fmla="*/ 5 h 17"/>
                <a:gd name="T8" fmla="*/ 12 w 19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12" y="17"/>
                  </a:moveTo>
                  <a:lnTo>
                    <a:pt x="19" y="10"/>
                  </a:lnTo>
                  <a:lnTo>
                    <a:pt x="7" y="0"/>
                  </a:lnTo>
                  <a:lnTo>
                    <a:pt x="0" y="5"/>
                  </a:lnTo>
                  <a:lnTo>
                    <a:pt x="12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id="{165BE7C6-7252-455A-AE26-3CDE91834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8" y="270"/>
              <a:ext cx="289" cy="322"/>
            </a:xfrm>
            <a:custGeom>
              <a:avLst/>
              <a:gdLst>
                <a:gd name="T0" fmla="*/ 115 w 118"/>
                <a:gd name="T1" fmla="*/ 96 h 131"/>
                <a:gd name="T2" fmla="*/ 109 w 118"/>
                <a:gd name="T3" fmla="*/ 72 h 131"/>
                <a:gd name="T4" fmla="*/ 101 w 118"/>
                <a:gd name="T5" fmla="*/ 62 h 131"/>
                <a:gd name="T6" fmla="*/ 93 w 118"/>
                <a:gd name="T7" fmla="*/ 51 h 131"/>
                <a:gd name="T8" fmla="*/ 93 w 118"/>
                <a:gd name="T9" fmla="*/ 50 h 131"/>
                <a:gd name="T10" fmla="*/ 79 w 118"/>
                <a:gd name="T11" fmla="*/ 40 h 131"/>
                <a:gd name="T12" fmla="*/ 65 w 118"/>
                <a:gd name="T13" fmla="*/ 34 h 131"/>
                <a:gd name="T14" fmla="*/ 55 w 118"/>
                <a:gd name="T15" fmla="*/ 37 h 131"/>
                <a:gd name="T16" fmla="*/ 47 w 118"/>
                <a:gd name="T17" fmla="*/ 29 h 131"/>
                <a:gd name="T18" fmla="*/ 14 w 118"/>
                <a:gd name="T19" fmla="*/ 5 h 131"/>
                <a:gd name="T20" fmla="*/ 21 w 118"/>
                <a:gd name="T21" fmla="*/ 27 h 131"/>
                <a:gd name="T22" fmla="*/ 4 w 118"/>
                <a:gd name="T23" fmla="*/ 14 h 131"/>
                <a:gd name="T24" fmla="*/ 27 w 118"/>
                <a:gd name="T25" fmla="*/ 46 h 131"/>
                <a:gd name="T26" fmla="*/ 32 w 118"/>
                <a:gd name="T27" fmla="*/ 58 h 131"/>
                <a:gd name="T28" fmla="*/ 24 w 118"/>
                <a:gd name="T29" fmla="*/ 73 h 131"/>
                <a:gd name="T30" fmla="*/ 6 w 118"/>
                <a:gd name="T31" fmla="*/ 88 h 131"/>
                <a:gd name="T32" fmla="*/ 45 w 118"/>
                <a:gd name="T33" fmla="*/ 130 h 131"/>
                <a:gd name="T34" fmla="*/ 64 w 118"/>
                <a:gd name="T35" fmla="*/ 113 h 131"/>
                <a:gd name="T36" fmla="*/ 64 w 118"/>
                <a:gd name="T37" fmla="*/ 107 h 131"/>
                <a:gd name="T38" fmla="*/ 82 w 118"/>
                <a:gd name="T39" fmla="*/ 100 h 131"/>
                <a:gd name="T40" fmla="*/ 114 w 118"/>
                <a:gd name="T41" fmla="*/ 112 h 131"/>
                <a:gd name="T42" fmla="*/ 83 w 118"/>
                <a:gd name="T43" fmla="*/ 80 h 131"/>
                <a:gd name="T44" fmla="*/ 82 w 118"/>
                <a:gd name="T45" fmla="*/ 42 h 131"/>
                <a:gd name="T46" fmla="*/ 73 w 118"/>
                <a:gd name="T47" fmla="*/ 51 h 131"/>
                <a:gd name="T48" fmla="*/ 76 w 118"/>
                <a:gd name="T49" fmla="*/ 43 h 131"/>
                <a:gd name="T50" fmla="*/ 68 w 118"/>
                <a:gd name="T51" fmla="*/ 36 h 131"/>
                <a:gd name="T52" fmla="*/ 12 w 118"/>
                <a:gd name="T53" fmla="*/ 37 h 131"/>
                <a:gd name="T54" fmla="*/ 20 w 118"/>
                <a:gd name="T55" fmla="*/ 31 h 131"/>
                <a:gd name="T56" fmla="*/ 33 w 118"/>
                <a:gd name="T57" fmla="*/ 20 h 131"/>
                <a:gd name="T58" fmla="*/ 21 w 118"/>
                <a:gd name="T59" fmla="*/ 6 h 131"/>
                <a:gd name="T60" fmla="*/ 44 w 118"/>
                <a:gd name="T61" fmla="*/ 31 h 131"/>
                <a:gd name="T62" fmla="*/ 37 w 118"/>
                <a:gd name="T63" fmla="*/ 40 h 131"/>
                <a:gd name="T64" fmla="*/ 29 w 118"/>
                <a:gd name="T65" fmla="*/ 43 h 131"/>
                <a:gd name="T66" fmla="*/ 10 w 118"/>
                <a:gd name="T67" fmla="*/ 90 h 131"/>
                <a:gd name="T68" fmla="*/ 47 w 118"/>
                <a:gd name="T69" fmla="*/ 126 h 131"/>
                <a:gd name="T70" fmla="*/ 61 w 118"/>
                <a:gd name="T71" fmla="*/ 104 h 131"/>
                <a:gd name="T72" fmla="*/ 30 w 118"/>
                <a:gd name="T73" fmla="*/ 78 h 131"/>
                <a:gd name="T74" fmla="*/ 39 w 118"/>
                <a:gd name="T75" fmla="*/ 44 h 131"/>
                <a:gd name="T76" fmla="*/ 59 w 118"/>
                <a:gd name="T77" fmla="*/ 43 h 131"/>
                <a:gd name="T78" fmla="*/ 75 w 118"/>
                <a:gd name="T79" fmla="*/ 66 h 131"/>
                <a:gd name="T80" fmla="*/ 55 w 118"/>
                <a:gd name="T81" fmla="*/ 56 h 131"/>
                <a:gd name="T82" fmla="*/ 54 w 118"/>
                <a:gd name="T83" fmla="*/ 84 h 131"/>
                <a:gd name="T84" fmla="*/ 61 w 118"/>
                <a:gd name="T85" fmla="*/ 80 h 131"/>
                <a:gd name="T86" fmla="*/ 103 w 118"/>
                <a:gd name="T87" fmla="*/ 113 h 131"/>
                <a:gd name="T88" fmla="*/ 63 w 118"/>
                <a:gd name="T89" fmla="*/ 75 h 131"/>
                <a:gd name="T90" fmla="*/ 65 w 118"/>
                <a:gd name="T91" fmla="*/ 67 h 131"/>
                <a:gd name="T92" fmla="*/ 79 w 118"/>
                <a:gd name="T93" fmla="*/ 69 h 131"/>
                <a:gd name="T94" fmla="*/ 83 w 118"/>
                <a:gd name="T95" fmla="*/ 61 h 131"/>
                <a:gd name="T96" fmla="*/ 82 w 118"/>
                <a:gd name="T97" fmla="*/ 75 h 131"/>
                <a:gd name="T98" fmla="*/ 79 w 118"/>
                <a:gd name="T99" fmla="*/ 78 h 131"/>
                <a:gd name="T100" fmla="*/ 80 w 118"/>
                <a:gd name="T101" fmla="*/ 79 h 131"/>
                <a:gd name="T102" fmla="*/ 87 w 118"/>
                <a:gd name="T103" fmla="*/ 89 h 131"/>
                <a:gd name="T104" fmla="*/ 112 w 118"/>
                <a:gd name="T105" fmla="*/ 99 h 131"/>
                <a:gd name="T106" fmla="*/ 104 w 118"/>
                <a:gd name="T107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31">
                  <a:moveTo>
                    <a:pt x="114" y="112"/>
                  </a:moveTo>
                  <a:cubicBezTo>
                    <a:pt x="116" y="110"/>
                    <a:pt x="118" y="107"/>
                    <a:pt x="118" y="104"/>
                  </a:cubicBezTo>
                  <a:cubicBezTo>
                    <a:pt x="118" y="101"/>
                    <a:pt x="117" y="98"/>
                    <a:pt x="115" y="96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8" y="75"/>
                    <a:pt x="109" y="74"/>
                    <a:pt x="109" y="72"/>
                  </a:cubicBezTo>
                  <a:cubicBezTo>
                    <a:pt x="109" y="71"/>
                    <a:pt x="108" y="70"/>
                    <a:pt x="107" y="69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0"/>
                    <a:pt x="101" y="59"/>
                    <a:pt x="100" y="57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3" y="47"/>
                    <a:pt x="92" y="46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4" y="38"/>
                    <a:pt x="81" y="38"/>
                    <a:pt x="79" y="40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0" y="32"/>
                    <a:pt x="67" y="32"/>
                    <a:pt x="65" y="34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37"/>
                    <a:pt x="57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1"/>
                    <a:pt x="47" y="14"/>
                    <a:pt x="41" y="8"/>
                  </a:cubicBezTo>
                  <a:cubicBezTo>
                    <a:pt x="34" y="1"/>
                    <a:pt x="24" y="0"/>
                    <a:pt x="15" y="4"/>
                  </a:cubicBezTo>
                  <a:cubicBezTo>
                    <a:pt x="14" y="4"/>
                    <a:pt x="14" y="4"/>
                    <a:pt x="14" y="5"/>
                  </a:cubicBezTo>
                  <a:cubicBezTo>
                    <a:pt x="14" y="6"/>
                    <a:pt x="14" y="6"/>
                    <a:pt x="14" y="7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5" y="13"/>
                    <a:pt x="5" y="14"/>
                    <a:pt x="4" y="14"/>
                  </a:cubicBezTo>
                  <a:cubicBezTo>
                    <a:pt x="0" y="23"/>
                    <a:pt x="2" y="33"/>
                    <a:pt x="9" y="40"/>
                  </a:cubicBezTo>
                  <a:cubicBezTo>
                    <a:pt x="13" y="45"/>
                    <a:pt x="20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4"/>
                    <a:pt x="32" y="57"/>
                    <a:pt x="32" y="58"/>
                  </a:cubicBezTo>
                  <a:cubicBezTo>
                    <a:pt x="32" y="67"/>
                    <a:pt x="30" y="72"/>
                    <a:pt x="30" y="73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3" y="72"/>
                    <a:pt x="23" y="72"/>
                  </a:cubicBezTo>
                  <a:cubicBezTo>
                    <a:pt x="22" y="72"/>
                    <a:pt x="22" y="73"/>
                    <a:pt x="22" y="73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9"/>
                    <a:pt x="5" y="89"/>
                    <a:pt x="5" y="90"/>
                  </a:cubicBezTo>
                  <a:cubicBezTo>
                    <a:pt x="5" y="90"/>
                    <a:pt x="5" y="91"/>
                    <a:pt x="6" y="91"/>
                  </a:cubicBezTo>
                  <a:cubicBezTo>
                    <a:pt x="45" y="130"/>
                    <a:pt x="45" y="130"/>
                    <a:pt x="45" y="130"/>
                  </a:cubicBezTo>
                  <a:cubicBezTo>
                    <a:pt x="46" y="131"/>
                    <a:pt x="47" y="131"/>
                    <a:pt x="48" y="130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4"/>
                    <a:pt x="64" y="114"/>
                    <a:pt x="64" y="113"/>
                  </a:cubicBezTo>
                  <a:cubicBezTo>
                    <a:pt x="64" y="113"/>
                    <a:pt x="64" y="112"/>
                    <a:pt x="64" y="112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5" y="106"/>
                    <a:pt x="67" y="106"/>
                    <a:pt x="69" y="106"/>
                  </a:cubicBezTo>
                  <a:cubicBezTo>
                    <a:pt x="73" y="106"/>
                    <a:pt x="77" y="106"/>
                    <a:pt x="80" y="103"/>
                  </a:cubicBezTo>
                  <a:cubicBezTo>
                    <a:pt x="82" y="100"/>
                    <a:pt x="82" y="100"/>
                    <a:pt x="82" y="100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9" y="116"/>
                    <a:pt x="102" y="117"/>
                    <a:pt x="105" y="117"/>
                  </a:cubicBezTo>
                  <a:cubicBezTo>
                    <a:pt x="108" y="116"/>
                    <a:pt x="111" y="115"/>
                    <a:pt x="114" y="112"/>
                  </a:cubicBezTo>
                  <a:close/>
                  <a:moveTo>
                    <a:pt x="105" y="72"/>
                  </a:moveTo>
                  <a:cubicBezTo>
                    <a:pt x="90" y="87"/>
                    <a:pt x="90" y="87"/>
                    <a:pt x="90" y="87"/>
                  </a:cubicBezTo>
                  <a:cubicBezTo>
                    <a:pt x="83" y="80"/>
                    <a:pt x="83" y="80"/>
                    <a:pt x="83" y="80"/>
                  </a:cubicBezTo>
                  <a:cubicBezTo>
                    <a:pt x="98" y="65"/>
                    <a:pt x="98" y="65"/>
                    <a:pt x="98" y="65"/>
                  </a:cubicBezTo>
                  <a:lnTo>
                    <a:pt x="105" y="72"/>
                  </a:lnTo>
                  <a:close/>
                  <a:moveTo>
                    <a:pt x="82" y="42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3" y="51"/>
                    <a:pt x="73" y="51"/>
                    <a:pt x="73" y="51"/>
                  </a:cubicBezTo>
                  <a:lnTo>
                    <a:pt x="82" y="42"/>
                  </a:lnTo>
                  <a:close/>
                  <a:moveTo>
                    <a:pt x="68" y="36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3" y="41"/>
                    <a:pt x="63" y="41"/>
                    <a:pt x="63" y="41"/>
                  </a:cubicBezTo>
                  <a:lnTo>
                    <a:pt x="68" y="36"/>
                  </a:lnTo>
                  <a:close/>
                  <a:moveTo>
                    <a:pt x="29" y="43"/>
                  </a:moveTo>
                  <a:cubicBezTo>
                    <a:pt x="29" y="42"/>
                    <a:pt x="28" y="42"/>
                    <a:pt x="28" y="42"/>
                  </a:cubicBezTo>
                  <a:cubicBezTo>
                    <a:pt x="22" y="43"/>
                    <a:pt x="16" y="41"/>
                    <a:pt x="12" y="37"/>
                  </a:cubicBezTo>
                  <a:cubicBezTo>
                    <a:pt x="7" y="33"/>
                    <a:pt x="5" y="26"/>
                    <a:pt x="6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2"/>
                    <a:pt x="22" y="32"/>
                    <a:pt x="22" y="3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3" y="21"/>
                    <a:pt x="33" y="21"/>
                    <a:pt x="33" y="20"/>
                  </a:cubicBezTo>
                  <a:cubicBezTo>
                    <a:pt x="33" y="20"/>
                    <a:pt x="33" y="19"/>
                    <a:pt x="32" y="19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7" y="4"/>
                    <a:pt x="34" y="6"/>
                    <a:pt x="38" y="11"/>
                  </a:cubicBezTo>
                  <a:cubicBezTo>
                    <a:pt x="43" y="16"/>
                    <a:pt x="45" y="23"/>
                    <a:pt x="43" y="29"/>
                  </a:cubicBezTo>
                  <a:cubicBezTo>
                    <a:pt x="43" y="30"/>
                    <a:pt x="43" y="31"/>
                    <a:pt x="44" y="31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4" y="38"/>
                    <a:pt x="39" y="39"/>
                    <a:pt x="37" y="40"/>
                  </a:cubicBezTo>
                  <a:cubicBezTo>
                    <a:pt x="36" y="41"/>
                    <a:pt x="35" y="43"/>
                    <a:pt x="34" y="46"/>
                  </a:cubicBezTo>
                  <a:cubicBezTo>
                    <a:pt x="33" y="47"/>
                    <a:pt x="33" y="47"/>
                    <a:pt x="33" y="47"/>
                  </a:cubicBezTo>
                  <a:lnTo>
                    <a:pt x="29" y="43"/>
                  </a:lnTo>
                  <a:close/>
                  <a:moveTo>
                    <a:pt x="47" y="126"/>
                  </a:moveTo>
                  <a:cubicBezTo>
                    <a:pt x="46" y="125"/>
                    <a:pt x="46" y="125"/>
                    <a:pt x="46" y="125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60" y="113"/>
                    <a:pt x="60" y="113"/>
                    <a:pt x="60" y="113"/>
                  </a:cubicBezTo>
                  <a:lnTo>
                    <a:pt x="47" y="126"/>
                  </a:lnTo>
                  <a:close/>
                  <a:moveTo>
                    <a:pt x="77" y="100"/>
                  </a:moveTo>
                  <a:cubicBezTo>
                    <a:pt x="75" y="102"/>
                    <a:pt x="73" y="102"/>
                    <a:pt x="69" y="102"/>
                  </a:cubicBezTo>
                  <a:cubicBezTo>
                    <a:pt x="66" y="102"/>
                    <a:pt x="63" y="102"/>
                    <a:pt x="61" y="104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5" y="73"/>
                    <a:pt x="36" y="62"/>
                    <a:pt x="36" y="58"/>
                  </a:cubicBezTo>
                  <a:cubicBezTo>
                    <a:pt x="36" y="52"/>
                    <a:pt x="38" y="45"/>
                    <a:pt x="39" y="44"/>
                  </a:cubicBezTo>
                  <a:cubicBezTo>
                    <a:pt x="40" y="43"/>
                    <a:pt x="41" y="42"/>
                    <a:pt x="49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5" y="40"/>
                    <a:pt x="57" y="41"/>
                    <a:pt x="59" y="4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8" y="65"/>
                    <a:pt x="76" y="66"/>
                    <a:pt x="75" y="66"/>
                  </a:cubicBezTo>
                  <a:cubicBezTo>
                    <a:pt x="71" y="67"/>
                    <a:pt x="68" y="66"/>
                    <a:pt x="66" y="63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7" y="55"/>
                    <a:pt x="56" y="55"/>
                    <a:pt x="55" y="56"/>
                  </a:cubicBezTo>
                  <a:cubicBezTo>
                    <a:pt x="54" y="56"/>
                    <a:pt x="54" y="58"/>
                    <a:pt x="55" y="58"/>
                  </a:cubicBezTo>
                  <a:cubicBezTo>
                    <a:pt x="58" y="61"/>
                    <a:pt x="59" y="65"/>
                    <a:pt x="59" y="70"/>
                  </a:cubicBezTo>
                  <a:cubicBezTo>
                    <a:pt x="59" y="75"/>
                    <a:pt x="57" y="80"/>
                    <a:pt x="54" y="84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8" y="85"/>
                    <a:pt x="60" y="83"/>
                    <a:pt x="61" y="81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79" y="98"/>
                    <a:pt x="79" y="98"/>
                    <a:pt x="79" y="98"/>
                  </a:cubicBezTo>
                  <a:lnTo>
                    <a:pt x="77" y="100"/>
                  </a:lnTo>
                  <a:close/>
                  <a:moveTo>
                    <a:pt x="103" y="113"/>
                  </a:moveTo>
                  <a:cubicBezTo>
                    <a:pt x="102" y="113"/>
                    <a:pt x="101" y="113"/>
                    <a:pt x="100" y="112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3"/>
                    <a:pt x="64" y="70"/>
                    <a:pt x="63" y="6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8" y="70"/>
                    <a:pt x="72" y="71"/>
                    <a:pt x="75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81" y="67"/>
                    <a:pt x="83" y="66"/>
                    <a:pt x="84" y="63"/>
                  </a:cubicBezTo>
                  <a:cubicBezTo>
                    <a:pt x="84" y="63"/>
                    <a:pt x="84" y="62"/>
                    <a:pt x="84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0" y="79"/>
                    <a:pt x="79" y="80"/>
                    <a:pt x="79" y="80"/>
                  </a:cubicBezTo>
                  <a:cubicBezTo>
                    <a:pt x="79" y="81"/>
                    <a:pt x="80" y="83"/>
                    <a:pt x="81" y="83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9" y="91"/>
                    <a:pt x="92" y="91"/>
                    <a:pt x="94" y="89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12" y="99"/>
                    <a:pt x="112" y="99"/>
                    <a:pt x="112" y="99"/>
                  </a:cubicBezTo>
                  <a:cubicBezTo>
                    <a:pt x="114" y="101"/>
                    <a:pt x="114" y="103"/>
                    <a:pt x="114" y="104"/>
                  </a:cubicBezTo>
                  <a:cubicBezTo>
                    <a:pt x="114" y="106"/>
                    <a:pt x="113" y="108"/>
                    <a:pt x="111" y="110"/>
                  </a:cubicBezTo>
                  <a:cubicBezTo>
                    <a:pt x="109" y="112"/>
                    <a:pt x="106" y="113"/>
                    <a:pt x="104" y="113"/>
                  </a:cubicBezTo>
                  <a:cubicBezTo>
                    <a:pt x="104" y="113"/>
                    <a:pt x="104" y="113"/>
                    <a:pt x="103" y="11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1">
            <a:extLst>
              <a:ext uri="{FF2B5EF4-FFF2-40B4-BE49-F238E27FC236}">
                <a16:creationId xmlns:a16="http://schemas.microsoft.com/office/drawing/2014/main" id="{C3F6B943-B035-44EB-8DE1-4AFFFC1230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9925" y="263525"/>
            <a:ext cx="841375" cy="841375"/>
            <a:chOff x="4422" y="166"/>
            <a:chExt cx="530" cy="530"/>
          </a:xfrm>
        </p:grpSpPr>
        <p:sp>
          <p:nvSpPr>
            <p:cNvPr id="51" name="AutoShape 40">
              <a:extLst>
                <a:ext uri="{FF2B5EF4-FFF2-40B4-BE49-F238E27FC236}">
                  <a16:creationId xmlns:a16="http://schemas.microsoft.com/office/drawing/2014/main" id="{13AF700F-B654-4672-8967-CA7BEF537F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2" y="1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2">
              <a:extLst>
                <a:ext uri="{FF2B5EF4-FFF2-40B4-BE49-F238E27FC236}">
                  <a16:creationId xmlns:a16="http://schemas.microsoft.com/office/drawing/2014/main" id="{929B4CB0-1D96-436D-A076-A0A9A1EE7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" y="1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C17B0229-506B-41F7-B6F4-778309875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0" y="1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BF4691E-12D0-4AA4-B6AA-B77BA2855D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6" y="266"/>
              <a:ext cx="184" cy="333"/>
            </a:xfrm>
            <a:custGeom>
              <a:avLst/>
              <a:gdLst>
                <a:gd name="T0" fmla="*/ 33 w 72"/>
                <a:gd name="T1" fmla="*/ 112 h 130"/>
                <a:gd name="T2" fmla="*/ 29 w 72"/>
                <a:gd name="T3" fmla="*/ 112 h 130"/>
                <a:gd name="T4" fmla="*/ 19 w 72"/>
                <a:gd name="T5" fmla="*/ 121 h 130"/>
                <a:gd name="T6" fmla="*/ 15 w 72"/>
                <a:gd name="T7" fmla="*/ 117 h 130"/>
                <a:gd name="T8" fmla="*/ 11 w 72"/>
                <a:gd name="T9" fmla="*/ 117 h 130"/>
                <a:gd name="T10" fmla="*/ 1 w 72"/>
                <a:gd name="T11" fmla="*/ 125 h 130"/>
                <a:gd name="T12" fmla="*/ 0 w 72"/>
                <a:gd name="T13" fmla="*/ 129 h 130"/>
                <a:gd name="T14" fmla="*/ 3 w 72"/>
                <a:gd name="T15" fmla="*/ 130 h 130"/>
                <a:gd name="T16" fmla="*/ 44 w 72"/>
                <a:gd name="T17" fmla="*/ 130 h 130"/>
                <a:gd name="T18" fmla="*/ 47 w 72"/>
                <a:gd name="T19" fmla="*/ 129 h 130"/>
                <a:gd name="T20" fmla="*/ 46 w 72"/>
                <a:gd name="T21" fmla="*/ 126 h 130"/>
                <a:gd name="T22" fmla="*/ 33 w 72"/>
                <a:gd name="T23" fmla="*/ 112 h 130"/>
                <a:gd name="T24" fmla="*/ 47 w 72"/>
                <a:gd name="T25" fmla="*/ 91 h 130"/>
                <a:gd name="T26" fmla="*/ 41 w 72"/>
                <a:gd name="T27" fmla="*/ 91 h 130"/>
                <a:gd name="T28" fmla="*/ 41 w 72"/>
                <a:gd name="T29" fmla="*/ 75 h 130"/>
                <a:gd name="T30" fmla="*/ 47 w 72"/>
                <a:gd name="T31" fmla="*/ 75 h 130"/>
                <a:gd name="T32" fmla="*/ 47 w 72"/>
                <a:gd name="T33" fmla="*/ 91 h 130"/>
                <a:gd name="T34" fmla="*/ 37 w 72"/>
                <a:gd name="T35" fmla="*/ 16 h 130"/>
                <a:gd name="T36" fmla="*/ 29 w 72"/>
                <a:gd name="T37" fmla="*/ 5 h 130"/>
                <a:gd name="T38" fmla="*/ 59 w 72"/>
                <a:gd name="T39" fmla="*/ 5 h 130"/>
                <a:gd name="T40" fmla="*/ 52 w 72"/>
                <a:gd name="T41" fmla="*/ 16 h 130"/>
                <a:gd name="T42" fmla="*/ 37 w 72"/>
                <a:gd name="T43" fmla="*/ 16 h 130"/>
                <a:gd name="T44" fmla="*/ 72 w 72"/>
                <a:gd name="T45" fmla="*/ 72 h 130"/>
                <a:gd name="T46" fmla="*/ 69 w 72"/>
                <a:gd name="T47" fmla="*/ 69 h 130"/>
                <a:gd name="T48" fmla="*/ 47 w 72"/>
                <a:gd name="T49" fmla="*/ 69 h 130"/>
                <a:gd name="T50" fmla="*/ 47 w 72"/>
                <a:gd name="T51" fmla="*/ 22 h 130"/>
                <a:gd name="T52" fmla="*/ 54 w 72"/>
                <a:gd name="T53" fmla="*/ 22 h 130"/>
                <a:gd name="T54" fmla="*/ 56 w 72"/>
                <a:gd name="T55" fmla="*/ 21 h 130"/>
                <a:gd name="T56" fmla="*/ 67 w 72"/>
                <a:gd name="T57" fmla="*/ 4 h 130"/>
                <a:gd name="T58" fmla="*/ 68 w 72"/>
                <a:gd name="T59" fmla="*/ 1 h 130"/>
                <a:gd name="T60" fmla="*/ 65 w 72"/>
                <a:gd name="T61" fmla="*/ 0 h 130"/>
                <a:gd name="T62" fmla="*/ 24 w 72"/>
                <a:gd name="T63" fmla="*/ 0 h 130"/>
                <a:gd name="T64" fmla="*/ 21 w 72"/>
                <a:gd name="T65" fmla="*/ 1 h 130"/>
                <a:gd name="T66" fmla="*/ 21 w 72"/>
                <a:gd name="T67" fmla="*/ 4 h 130"/>
                <a:gd name="T68" fmla="*/ 33 w 72"/>
                <a:gd name="T69" fmla="*/ 21 h 130"/>
                <a:gd name="T70" fmla="*/ 35 w 72"/>
                <a:gd name="T71" fmla="*/ 22 h 130"/>
                <a:gd name="T72" fmla="*/ 41 w 72"/>
                <a:gd name="T73" fmla="*/ 22 h 130"/>
                <a:gd name="T74" fmla="*/ 41 w 72"/>
                <a:gd name="T75" fmla="*/ 69 h 130"/>
                <a:gd name="T76" fmla="*/ 20 w 72"/>
                <a:gd name="T77" fmla="*/ 69 h 130"/>
                <a:gd name="T78" fmla="*/ 18 w 72"/>
                <a:gd name="T79" fmla="*/ 70 h 130"/>
                <a:gd name="T80" fmla="*/ 17 w 72"/>
                <a:gd name="T81" fmla="*/ 72 h 130"/>
                <a:gd name="T82" fmla="*/ 17 w 72"/>
                <a:gd name="T83" fmla="*/ 103 h 130"/>
                <a:gd name="T84" fmla="*/ 21 w 72"/>
                <a:gd name="T85" fmla="*/ 113 h 130"/>
                <a:gd name="T86" fmla="*/ 25 w 72"/>
                <a:gd name="T87" fmla="*/ 109 h 130"/>
                <a:gd name="T88" fmla="*/ 23 w 72"/>
                <a:gd name="T89" fmla="*/ 103 h 130"/>
                <a:gd name="T90" fmla="*/ 23 w 72"/>
                <a:gd name="T91" fmla="*/ 75 h 130"/>
                <a:gd name="T92" fmla="*/ 38 w 72"/>
                <a:gd name="T93" fmla="*/ 75 h 130"/>
                <a:gd name="T94" fmla="*/ 38 w 72"/>
                <a:gd name="T95" fmla="*/ 93 h 130"/>
                <a:gd name="T96" fmla="*/ 40 w 72"/>
                <a:gd name="T97" fmla="*/ 94 h 130"/>
                <a:gd name="T98" fmla="*/ 49 w 72"/>
                <a:gd name="T99" fmla="*/ 94 h 130"/>
                <a:gd name="T100" fmla="*/ 50 w 72"/>
                <a:gd name="T101" fmla="*/ 93 h 130"/>
                <a:gd name="T102" fmla="*/ 50 w 72"/>
                <a:gd name="T103" fmla="*/ 75 h 130"/>
                <a:gd name="T104" fmla="*/ 66 w 72"/>
                <a:gd name="T105" fmla="*/ 75 h 130"/>
                <a:gd name="T106" fmla="*/ 66 w 72"/>
                <a:gd name="T107" fmla="*/ 103 h 130"/>
                <a:gd name="T108" fmla="*/ 66 w 72"/>
                <a:gd name="T109" fmla="*/ 103 h 130"/>
                <a:gd name="T110" fmla="*/ 49 w 72"/>
                <a:gd name="T111" fmla="*/ 122 h 130"/>
                <a:gd name="T112" fmla="*/ 53 w 72"/>
                <a:gd name="T113" fmla="*/ 126 h 130"/>
                <a:gd name="T114" fmla="*/ 72 w 72"/>
                <a:gd name="T115" fmla="*/ 103 h 130"/>
                <a:gd name="T116" fmla="*/ 72 w 72"/>
                <a:gd name="T117" fmla="*/ 103 h 130"/>
                <a:gd name="T118" fmla="*/ 72 w 72"/>
                <a:gd name="T119" fmla="*/ 7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" h="130">
                  <a:moveTo>
                    <a:pt x="33" y="112"/>
                  </a:moveTo>
                  <a:cubicBezTo>
                    <a:pt x="32" y="111"/>
                    <a:pt x="30" y="111"/>
                    <a:pt x="29" y="112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4" y="116"/>
                    <a:pt x="12" y="116"/>
                    <a:pt x="11" y="117"/>
                  </a:cubicBezTo>
                  <a:cubicBezTo>
                    <a:pt x="1" y="125"/>
                    <a:pt x="1" y="125"/>
                    <a:pt x="1" y="125"/>
                  </a:cubicBezTo>
                  <a:cubicBezTo>
                    <a:pt x="0" y="126"/>
                    <a:pt x="0" y="127"/>
                    <a:pt x="0" y="129"/>
                  </a:cubicBezTo>
                  <a:cubicBezTo>
                    <a:pt x="1" y="130"/>
                    <a:pt x="2" y="130"/>
                    <a:pt x="3" y="130"/>
                  </a:cubicBezTo>
                  <a:cubicBezTo>
                    <a:pt x="44" y="130"/>
                    <a:pt x="44" y="130"/>
                    <a:pt x="44" y="130"/>
                  </a:cubicBezTo>
                  <a:cubicBezTo>
                    <a:pt x="45" y="130"/>
                    <a:pt x="46" y="130"/>
                    <a:pt x="47" y="129"/>
                  </a:cubicBezTo>
                  <a:cubicBezTo>
                    <a:pt x="47" y="128"/>
                    <a:pt x="47" y="126"/>
                    <a:pt x="46" y="126"/>
                  </a:cubicBezTo>
                  <a:lnTo>
                    <a:pt x="33" y="112"/>
                  </a:lnTo>
                  <a:close/>
                  <a:moveTo>
                    <a:pt x="47" y="91"/>
                  </a:moveTo>
                  <a:cubicBezTo>
                    <a:pt x="41" y="91"/>
                    <a:pt x="41" y="91"/>
                    <a:pt x="41" y="9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7" y="75"/>
                    <a:pt x="47" y="75"/>
                    <a:pt x="47" y="75"/>
                  </a:cubicBezTo>
                  <a:lnTo>
                    <a:pt x="47" y="91"/>
                  </a:lnTo>
                  <a:close/>
                  <a:moveTo>
                    <a:pt x="37" y="16"/>
                  </a:moveTo>
                  <a:cubicBezTo>
                    <a:pt x="29" y="5"/>
                    <a:pt x="29" y="5"/>
                    <a:pt x="2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2" y="16"/>
                    <a:pt x="52" y="16"/>
                    <a:pt x="52" y="16"/>
                  </a:cubicBezTo>
                  <a:lnTo>
                    <a:pt x="37" y="16"/>
                  </a:lnTo>
                  <a:close/>
                  <a:moveTo>
                    <a:pt x="72" y="72"/>
                  </a:moveTo>
                  <a:cubicBezTo>
                    <a:pt x="72" y="70"/>
                    <a:pt x="70" y="69"/>
                    <a:pt x="6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6" y="22"/>
                    <a:pt x="56" y="2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3"/>
                    <a:pt x="68" y="2"/>
                    <a:pt x="68" y="1"/>
                  </a:cubicBezTo>
                  <a:cubicBezTo>
                    <a:pt x="67" y="0"/>
                    <a:pt x="66" y="0"/>
                    <a:pt x="6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0"/>
                    <a:pt x="21" y="1"/>
                  </a:cubicBezTo>
                  <a:cubicBezTo>
                    <a:pt x="21" y="2"/>
                    <a:pt x="21" y="3"/>
                    <a:pt x="21" y="4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4" y="22"/>
                    <a:pt x="35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19" y="69"/>
                    <a:pt x="18" y="69"/>
                    <a:pt x="18" y="70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7"/>
                    <a:pt x="19" y="110"/>
                    <a:pt x="21" y="113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4" y="107"/>
                    <a:pt x="23" y="105"/>
                    <a:pt x="23" y="103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4"/>
                    <a:pt x="39" y="94"/>
                    <a:pt x="40" y="94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50" y="94"/>
                    <a:pt x="50" y="94"/>
                    <a:pt x="50" y="93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66" y="75"/>
                    <a:pt x="66" y="75"/>
                    <a:pt x="66" y="75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9"/>
                    <a:pt x="57" y="116"/>
                    <a:pt x="49" y="122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61" y="121"/>
                    <a:pt x="72" y="112"/>
                    <a:pt x="72" y="103"/>
                  </a:cubicBezTo>
                  <a:cubicBezTo>
                    <a:pt x="72" y="103"/>
                    <a:pt x="72" y="103"/>
                    <a:pt x="72" y="103"/>
                  </a:cubicBezTo>
                  <a:lnTo>
                    <a:pt x="72" y="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47">
            <a:extLst>
              <a:ext uri="{FF2B5EF4-FFF2-40B4-BE49-F238E27FC236}">
                <a16:creationId xmlns:a16="http://schemas.microsoft.com/office/drawing/2014/main" id="{05704402-0536-4EC7-824A-733BE7A358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9738" y="304800"/>
            <a:ext cx="758825" cy="758825"/>
            <a:chOff x="5077" y="192"/>
            <a:chExt cx="478" cy="478"/>
          </a:xfrm>
        </p:grpSpPr>
        <p:sp>
          <p:nvSpPr>
            <p:cNvPr id="56" name="AutoShape 46">
              <a:extLst>
                <a:ext uri="{FF2B5EF4-FFF2-40B4-BE49-F238E27FC236}">
                  <a16:creationId xmlns:a16="http://schemas.microsoft.com/office/drawing/2014/main" id="{BF93D29E-3DF0-4A6C-8EEA-1F2B815F5C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7" y="19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59217237-CAB5-4E38-ABCB-32E7BD9A0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9" y="19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F0EA4F7C-9B5F-4228-9F81-7AADB46F68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9" y="273"/>
              <a:ext cx="176" cy="319"/>
            </a:xfrm>
            <a:custGeom>
              <a:avLst/>
              <a:gdLst>
                <a:gd name="T0" fmla="*/ 33 w 72"/>
                <a:gd name="T1" fmla="*/ 112 h 130"/>
                <a:gd name="T2" fmla="*/ 29 w 72"/>
                <a:gd name="T3" fmla="*/ 112 h 130"/>
                <a:gd name="T4" fmla="*/ 19 w 72"/>
                <a:gd name="T5" fmla="*/ 121 h 130"/>
                <a:gd name="T6" fmla="*/ 15 w 72"/>
                <a:gd name="T7" fmla="*/ 117 h 130"/>
                <a:gd name="T8" fmla="*/ 11 w 72"/>
                <a:gd name="T9" fmla="*/ 117 h 130"/>
                <a:gd name="T10" fmla="*/ 1 w 72"/>
                <a:gd name="T11" fmla="*/ 125 h 130"/>
                <a:gd name="T12" fmla="*/ 0 w 72"/>
                <a:gd name="T13" fmla="*/ 129 h 130"/>
                <a:gd name="T14" fmla="*/ 3 w 72"/>
                <a:gd name="T15" fmla="*/ 130 h 130"/>
                <a:gd name="T16" fmla="*/ 44 w 72"/>
                <a:gd name="T17" fmla="*/ 130 h 130"/>
                <a:gd name="T18" fmla="*/ 47 w 72"/>
                <a:gd name="T19" fmla="*/ 129 h 130"/>
                <a:gd name="T20" fmla="*/ 46 w 72"/>
                <a:gd name="T21" fmla="*/ 126 h 130"/>
                <a:gd name="T22" fmla="*/ 33 w 72"/>
                <a:gd name="T23" fmla="*/ 112 h 130"/>
                <a:gd name="T24" fmla="*/ 47 w 72"/>
                <a:gd name="T25" fmla="*/ 91 h 130"/>
                <a:gd name="T26" fmla="*/ 41 w 72"/>
                <a:gd name="T27" fmla="*/ 91 h 130"/>
                <a:gd name="T28" fmla="*/ 41 w 72"/>
                <a:gd name="T29" fmla="*/ 75 h 130"/>
                <a:gd name="T30" fmla="*/ 47 w 72"/>
                <a:gd name="T31" fmla="*/ 75 h 130"/>
                <a:gd name="T32" fmla="*/ 47 w 72"/>
                <a:gd name="T33" fmla="*/ 91 h 130"/>
                <a:gd name="T34" fmla="*/ 37 w 72"/>
                <a:gd name="T35" fmla="*/ 16 h 130"/>
                <a:gd name="T36" fmla="*/ 29 w 72"/>
                <a:gd name="T37" fmla="*/ 5 h 130"/>
                <a:gd name="T38" fmla="*/ 59 w 72"/>
                <a:gd name="T39" fmla="*/ 5 h 130"/>
                <a:gd name="T40" fmla="*/ 52 w 72"/>
                <a:gd name="T41" fmla="*/ 16 h 130"/>
                <a:gd name="T42" fmla="*/ 37 w 72"/>
                <a:gd name="T43" fmla="*/ 16 h 130"/>
                <a:gd name="T44" fmla="*/ 72 w 72"/>
                <a:gd name="T45" fmla="*/ 72 h 130"/>
                <a:gd name="T46" fmla="*/ 69 w 72"/>
                <a:gd name="T47" fmla="*/ 69 h 130"/>
                <a:gd name="T48" fmla="*/ 47 w 72"/>
                <a:gd name="T49" fmla="*/ 69 h 130"/>
                <a:gd name="T50" fmla="*/ 47 w 72"/>
                <a:gd name="T51" fmla="*/ 22 h 130"/>
                <a:gd name="T52" fmla="*/ 54 w 72"/>
                <a:gd name="T53" fmla="*/ 22 h 130"/>
                <a:gd name="T54" fmla="*/ 56 w 72"/>
                <a:gd name="T55" fmla="*/ 21 h 130"/>
                <a:gd name="T56" fmla="*/ 67 w 72"/>
                <a:gd name="T57" fmla="*/ 4 h 130"/>
                <a:gd name="T58" fmla="*/ 68 w 72"/>
                <a:gd name="T59" fmla="*/ 1 h 130"/>
                <a:gd name="T60" fmla="*/ 65 w 72"/>
                <a:gd name="T61" fmla="*/ 0 h 130"/>
                <a:gd name="T62" fmla="*/ 24 w 72"/>
                <a:gd name="T63" fmla="*/ 0 h 130"/>
                <a:gd name="T64" fmla="*/ 21 w 72"/>
                <a:gd name="T65" fmla="*/ 1 h 130"/>
                <a:gd name="T66" fmla="*/ 21 w 72"/>
                <a:gd name="T67" fmla="*/ 4 h 130"/>
                <a:gd name="T68" fmla="*/ 33 w 72"/>
                <a:gd name="T69" fmla="*/ 21 h 130"/>
                <a:gd name="T70" fmla="*/ 35 w 72"/>
                <a:gd name="T71" fmla="*/ 22 h 130"/>
                <a:gd name="T72" fmla="*/ 41 w 72"/>
                <a:gd name="T73" fmla="*/ 22 h 130"/>
                <a:gd name="T74" fmla="*/ 41 w 72"/>
                <a:gd name="T75" fmla="*/ 69 h 130"/>
                <a:gd name="T76" fmla="*/ 20 w 72"/>
                <a:gd name="T77" fmla="*/ 69 h 130"/>
                <a:gd name="T78" fmla="*/ 18 w 72"/>
                <a:gd name="T79" fmla="*/ 70 h 130"/>
                <a:gd name="T80" fmla="*/ 17 w 72"/>
                <a:gd name="T81" fmla="*/ 72 h 130"/>
                <a:gd name="T82" fmla="*/ 17 w 72"/>
                <a:gd name="T83" fmla="*/ 103 h 130"/>
                <a:gd name="T84" fmla="*/ 21 w 72"/>
                <a:gd name="T85" fmla="*/ 113 h 130"/>
                <a:gd name="T86" fmla="*/ 25 w 72"/>
                <a:gd name="T87" fmla="*/ 109 h 130"/>
                <a:gd name="T88" fmla="*/ 23 w 72"/>
                <a:gd name="T89" fmla="*/ 103 h 130"/>
                <a:gd name="T90" fmla="*/ 23 w 72"/>
                <a:gd name="T91" fmla="*/ 75 h 130"/>
                <a:gd name="T92" fmla="*/ 38 w 72"/>
                <a:gd name="T93" fmla="*/ 75 h 130"/>
                <a:gd name="T94" fmla="*/ 38 w 72"/>
                <a:gd name="T95" fmla="*/ 93 h 130"/>
                <a:gd name="T96" fmla="*/ 40 w 72"/>
                <a:gd name="T97" fmla="*/ 94 h 130"/>
                <a:gd name="T98" fmla="*/ 49 w 72"/>
                <a:gd name="T99" fmla="*/ 94 h 130"/>
                <a:gd name="T100" fmla="*/ 50 w 72"/>
                <a:gd name="T101" fmla="*/ 93 h 130"/>
                <a:gd name="T102" fmla="*/ 50 w 72"/>
                <a:gd name="T103" fmla="*/ 75 h 130"/>
                <a:gd name="T104" fmla="*/ 66 w 72"/>
                <a:gd name="T105" fmla="*/ 75 h 130"/>
                <a:gd name="T106" fmla="*/ 66 w 72"/>
                <a:gd name="T107" fmla="*/ 103 h 130"/>
                <a:gd name="T108" fmla="*/ 66 w 72"/>
                <a:gd name="T109" fmla="*/ 103 h 130"/>
                <a:gd name="T110" fmla="*/ 49 w 72"/>
                <a:gd name="T111" fmla="*/ 122 h 130"/>
                <a:gd name="T112" fmla="*/ 53 w 72"/>
                <a:gd name="T113" fmla="*/ 126 h 130"/>
                <a:gd name="T114" fmla="*/ 72 w 72"/>
                <a:gd name="T115" fmla="*/ 103 h 130"/>
                <a:gd name="T116" fmla="*/ 72 w 72"/>
                <a:gd name="T117" fmla="*/ 103 h 130"/>
                <a:gd name="T118" fmla="*/ 72 w 72"/>
                <a:gd name="T119" fmla="*/ 7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" h="130">
                  <a:moveTo>
                    <a:pt x="33" y="112"/>
                  </a:moveTo>
                  <a:cubicBezTo>
                    <a:pt x="32" y="111"/>
                    <a:pt x="30" y="111"/>
                    <a:pt x="29" y="112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4" y="116"/>
                    <a:pt x="12" y="116"/>
                    <a:pt x="11" y="117"/>
                  </a:cubicBezTo>
                  <a:cubicBezTo>
                    <a:pt x="1" y="125"/>
                    <a:pt x="1" y="125"/>
                    <a:pt x="1" y="125"/>
                  </a:cubicBezTo>
                  <a:cubicBezTo>
                    <a:pt x="0" y="126"/>
                    <a:pt x="0" y="127"/>
                    <a:pt x="0" y="129"/>
                  </a:cubicBezTo>
                  <a:cubicBezTo>
                    <a:pt x="1" y="130"/>
                    <a:pt x="2" y="130"/>
                    <a:pt x="3" y="130"/>
                  </a:cubicBezTo>
                  <a:cubicBezTo>
                    <a:pt x="44" y="130"/>
                    <a:pt x="44" y="130"/>
                    <a:pt x="44" y="130"/>
                  </a:cubicBezTo>
                  <a:cubicBezTo>
                    <a:pt x="45" y="130"/>
                    <a:pt x="46" y="130"/>
                    <a:pt x="47" y="129"/>
                  </a:cubicBezTo>
                  <a:cubicBezTo>
                    <a:pt x="47" y="128"/>
                    <a:pt x="47" y="126"/>
                    <a:pt x="46" y="126"/>
                  </a:cubicBezTo>
                  <a:lnTo>
                    <a:pt x="33" y="112"/>
                  </a:lnTo>
                  <a:close/>
                  <a:moveTo>
                    <a:pt x="47" y="91"/>
                  </a:moveTo>
                  <a:cubicBezTo>
                    <a:pt x="41" y="91"/>
                    <a:pt x="41" y="91"/>
                    <a:pt x="41" y="91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7" y="75"/>
                    <a:pt x="47" y="75"/>
                    <a:pt x="47" y="75"/>
                  </a:cubicBezTo>
                  <a:lnTo>
                    <a:pt x="47" y="91"/>
                  </a:lnTo>
                  <a:close/>
                  <a:moveTo>
                    <a:pt x="37" y="16"/>
                  </a:moveTo>
                  <a:cubicBezTo>
                    <a:pt x="29" y="5"/>
                    <a:pt x="29" y="5"/>
                    <a:pt x="2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2" y="16"/>
                    <a:pt x="52" y="16"/>
                    <a:pt x="52" y="16"/>
                  </a:cubicBezTo>
                  <a:lnTo>
                    <a:pt x="37" y="16"/>
                  </a:lnTo>
                  <a:close/>
                  <a:moveTo>
                    <a:pt x="72" y="72"/>
                  </a:moveTo>
                  <a:cubicBezTo>
                    <a:pt x="72" y="70"/>
                    <a:pt x="70" y="69"/>
                    <a:pt x="6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6" y="22"/>
                    <a:pt x="56" y="21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3"/>
                    <a:pt x="68" y="2"/>
                    <a:pt x="68" y="1"/>
                  </a:cubicBezTo>
                  <a:cubicBezTo>
                    <a:pt x="67" y="0"/>
                    <a:pt x="66" y="0"/>
                    <a:pt x="6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0"/>
                    <a:pt x="21" y="1"/>
                  </a:cubicBezTo>
                  <a:cubicBezTo>
                    <a:pt x="21" y="2"/>
                    <a:pt x="21" y="3"/>
                    <a:pt x="21" y="4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2"/>
                    <a:pt x="34" y="22"/>
                    <a:pt x="35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19" y="69"/>
                    <a:pt x="18" y="69"/>
                    <a:pt x="18" y="70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7"/>
                    <a:pt x="19" y="110"/>
                    <a:pt x="21" y="113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4" y="107"/>
                    <a:pt x="23" y="105"/>
                    <a:pt x="23" y="103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4"/>
                    <a:pt x="39" y="94"/>
                    <a:pt x="40" y="94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50" y="94"/>
                    <a:pt x="50" y="94"/>
                    <a:pt x="50" y="93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66" y="75"/>
                    <a:pt x="66" y="75"/>
                    <a:pt x="66" y="75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9"/>
                    <a:pt x="57" y="116"/>
                    <a:pt x="49" y="122"/>
                  </a:cubicBezTo>
                  <a:cubicBezTo>
                    <a:pt x="53" y="126"/>
                    <a:pt x="53" y="126"/>
                    <a:pt x="53" y="126"/>
                  </a:cubicBezTo>
                  <a:cubicBezTo>
                    <a:pt x="61" y="121"/>
                    <a:pt x="72" y="112"/>
                    <a:pt x="72" y="103"/>
                  </a:cubicBezTo>
                  <a:cubicBezTo>
                    <a:pt x="72" y="103"/>
                    <a:pt x="72" y="103"/>
                    <a:pt x="72" y="103"/>
                  </a:cubicBezTo>
                  <a:lnTo>
                    <a:pt x="72" y="7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52">
            <a:extLst>
              <a:ext uri="{FF2B5EF4-FFF2-40B4-BE49-F238E27FC236}">
                <a16:creationId xmlns:a16="http://schemas.microsoft.com/office/drawing/2014/main" id="{3FFDBB77-D483-47D0-974A-2B84B9965A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7825" y="1538288"/>
            <a:ext cx="841375" cy="841375"/>
            <a:chOff x="238" y="969"/>
            <a:chExt cx="530" cy="530"/>
          </a:xfrm>
        </p:grpSpPr>
        <p:sp>
          <p:nvSpPr>
            <p:cNvPr id="76" name="AutoShape 51">
              <a:extLst>
                <a:ext uri="{FF2B5EF4-FFF2-40B4-BE49-F238E27FC236}">
                  <a16:creationId xmlns:a16="http://schemas.microsoft.com/office/drawing/2014/main" id="{A859E646-7ABF-4EEC-B4C2-6D7B1998F0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53">
              <a:extLst>
                <a:ext uri="{FF2B5EF4-FFF2-40B4-BE49-F238E27FC236}">
                  <a16:creationId xmlns:a16="http://schemas.microsoft.com/office/drawing/2014/main" id="{157AE1A1-F823-45FA-9D9A-0BEDAE3E1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4">
              <a:extLst>
                <a:ext uri="{FF2B5EF4-FFF2-40B4-BE49-F238E27FC236}">
                  <a16:creationId xmlns:a16="http://schemas.microsoft.com/office/drawing/2014/main" id="{B971636E-AFE8-464E-B670-A96EDC4AB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5">
              <a:extLst>
                <a:ext uri="{FF2B5EF4-FFF2-40B4-BE49-F238E27FC236}">
                  <a16:creationId xmlns:a16="http://schemas.microsoft.com/office/drawing/2014/main" id="{8F184CDE-8526-4C25-9464-7FE888CE8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" y="1069"/>
              <a:ext cx="82" cy="69"/>
            </a:xfrm>
            <a:custGeom>
              <a:avLst/>
              <a:gdLst>
                <a:gd name="T0" fmla="*/ 19 w 32"/>
                <a:gd name="T1" fmla="*/ 3 h 27"/>
                <a:gd name="T2" fmla="*/ 29 w 32"/>
                <a:gd name="T3" fmla="*/ 10 h 27"/>
                <a:gd name="T4" fmla="*/ 9 w 32"/>
                <a:gd name="T5" fmla="*/ 10 h 27"/>
                <a:gd name="T6" fmla="*/ 19 w 32"/>
                <a:gd name="T7" fmla="*/ 3 h 27"/>
                <a:gd name="T8" fmla="*/ 19 w 32"/>
                <a:gd name="T9" fmla="*/ 24 h 27"/>
                <a:gd name="T10" fmla="*/ 8 w 32"/>
                <a:gd name="T11" fmla="*/ 14 h 27"/>
                <a:gd name="T12" fmla="*/ 8 w 32"/>
                <a:gd name="T13" fmla="*/ 13 h 27"/>
                <a:gd name="T14" fmla="*/ 29 w 32"/>
                <a:gd name="T15" fmla="*/ 13 h 27"/>
                <a:gd name="T16" fmla="*/ 29 w 32"/>
                <a:gd name="T17" fmla="*/ 14 h 27"/>
                <a:gd name="T18" fmla="*/ 19 w 32"/>
                <a:gd name="T19" fmla="*/ 24 h 27"/>
                <a:gd name="T20" fmla="*/ 5 w 32"/>
                <a:gd name="T21" fmla="*/ 14 h 27"/>
                <a:gd name="T22" fmla="*/ 19 w 32"/>
                <a:gd name="T23" fmla="*/ 27 h 27"/>
                <a:gd name="T24" fmla="*/ 32 w 32"/>
                <a:gd name="T25" fmla="*/ 14 h 27"/>
                <a:gd name="T26" fmla="*/ 19 w 32"/>
                <a:gd name="T27" fmla="*/ 0 h 27"/>
                <a:gd name="T28" fmla="*/ 6 w 32"/>
                <a:gd name="T29" fmla="*/ 10 h 27"/>
                <a:gd name="T30" fmla="*/ 0 w 32"/>
                <a:gd name="T31" fmla="*/ 10 h 27"/>
                <a:gd name="T32" fmla="*/ 0 w 32"/>
                <a:gd name="T33" fmla="*/ 13 h 27"/>
                <a:gd name="T34" fmla="*/ 5 w 32"/>
                <a:gd name="T35" fmla="*/ 13 h 27"/>
                <a:gd name="T36" fmla="*/ 5 w 32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7">
                  <a:moveTo>
                    <a:pt x="19" y="3"/>
                  </a:moveTo>
                  <a:cubicBezTo>
                    <a:pt x="23" y="3"/>
                    <a:pt x="27" y="6"/>
                    <a:pt x="2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6"/>
                    <a:pt x="14" y="3"/>
                    <a:pt x="19" y="3"/>
                  </a:cubicBezTo>
                  <a:moveTo>
                    <a:pt x="19" y="24"/>
                  </a:moveTo>
                  <a:cubicBezTo>
                    <a:pt x="13" y="24"/>
                    <a:pt x="8" y="20"/>
                    <a:pt x="8" y="14"/>
                  </a:cubicBezTo>
                  <a:cubicBezTo>
                    <a:pt x="8" y="14"/>
                    <a:pt x="8" y="13"/>
                    <a:pt x="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0"/>
                    <a:pt x="25" y="24"/>
                    <a:pt x="19" y="24"/>
                  </a:cubicBezTo>
                  <a:moveTo>
                    <a:pt x="5" y="14"/>
                  </a:moveTo>
                  <a:cubicBezTo>
                    <a:pt x="5" y="21"/>
                    <a:pt x="11" y="27"/>
                    <a:pt x="19" y="27"/>
                  </a:cubicBezTo>
                  <a:cubicBezTo>
                    <a:pt x="26" y="27"/>
                    <a:pt x="32" y="21"/>
                    <a:pt x="32" y="14"/>
                  </a:cubicBezTo>
                  <a:cubicBezTo>
                    <a:pt x="32" y="6"/>
                    <a:pt x="26" y="0"/>
                    <a:pt x="19" y="0"/>
                  </a:cubicBezTo>
                  <a:cubicBezTo>
                    <a:pt x="12" y="0"/>
                    <a:pt x="7" y="4"/>
                    <a:pt x="6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4"/>
                    <a:pt x="5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6">
              <a:extLst>
                <a:ext uri="{FF2B5EF4-FFF2-40B4-BE49-F238E27FC236}">
                  <a16:creationId xmlns:a16="http://schemas.microsoft.com/office/drawing/2014/main" id="{B7B3A972-6286-49AF-9508-1A4AEDEDE6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" y="1069"/>
              <a:ext cx="69" cy="69"/>
            </a:xfrm>
            <a:custGeom>
              <a:avLst/>
              <a:gdLst>
                <a:gd name="T0" fmla="*/ 14 w 27"/>
                <a:gd name="T1" fmla="*/ 3 h 27"/>
                <a:gd name="T2" fmla="*/ 24 w 27"/>
                <a:gd name="T3" fmla="*/ 14 h 27"/>
                <a:gd name="T4" fmla="*/ 14 w 27"/>
                <a:gd name="T5" fmla="*/ 24 h 27"/>
                <a:gd name="T6" fmla="*/ 3 w 27"/>
                <a:gd name="T7" fmla="*/ 14 h 27"/>
                <a:gd name="T8" fmla="*/ 14 w 27"/>
                <a:gd name="T9" fmla="*/ 3 h 27"/>
                <a:gd name="T10" fmla="*/ 14 w 27"/>
                <a:gd name="T11" fmla="*/ 27 h 27"/>
                <a:gd name="T12" fmla="*/ 27 w 27"/>
                <a:gd name="T13" fmla="*/ 14 h 27"/>
                <a:gd name="T14" fmla="*/ 14 w 27"/>
                <a:gd name="T15" fmla="*/ 0 h 27"/>
                <a:gd name="T16" fmla="*/ 0 w 27"/>
                <a:gd name="T17" fmla="*/ 14 h 27"/>
                <a:gd name="T18" fmla="*/ 14 w 2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4" y="3"/>
                  </a:moveTo>
                  <a:cubicBezTo>
                    <a:pt x="20" y="3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3" y="20"/>
                    <a:pt x="3" y="14"/>
                  </a:cubicBezTo>
                  <a:cubicBezTo>
                    <a:pt x="3" y="8"/>
                    <a:pt x="8" y="3"/>
                    <a:pt x="14" y="3"/>
                  </a:cubicBezTo>
                  <a:moveTo>
                    <a:pt x="14" y="27"/>
                  </a:moveTo>
                  <a:cubicBezTo>
                    <a:pt x="21" y="27"/>
                    <a:pt x="27" y="21"/>
                    <a:pt x="27" y="14"/>
                  </a:cubicBezTo>
                  <a:cubicBezTo>
                    <a:pt x="27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4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7">
              <a:extLst>
                <a:ext uri="{FF2B5EF4-FFF2-40B4-BE49-F238E27FC236}">
                  <a16:creationId xmlns:a16="http://schemas.microsoft.com/office/drawing/2014/main" id="{9D6FFCDE-1CBE-48A6-840F-88D917563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" y="1135"/>
              <a:ext cx="287" cy="267"/>
            </a:xfrm>
            <a:custGeom>
              <a:avLst/>
              <a:gdLst>
                <a:gd name="T0" fmla="*/ 95 w 112"/>
                <a:gd name="T1" fmla="*/ 7 h 104"/>
                <a:gd name="T2" fmla="*/ 109 w 112"/>
                <a:gd name="T3" fmla="*/ 5 h 104"/>
                <a:gd name="T4" fmla="*/ 104 w 112"/>
                <a:gd name="T5" fmla="*/ 9 h 104"/>
                <a:gd name="T6" fmla="*/ 93 w 112"/>
                <a:gd name="T7" fmla="*/ 40 h 104"/>
                <a:gd name="T8" fmla="*/ 82 w 112"/>
                <a:gd name="T9" fmla="*/ 10 h 104"/>
                <a:gd name="T10" fmla="*/ 84 w 112"/>
                <a:gd name="T11" fmla="*/ 12 h 104"/>
                <a:gd name="T12" fmla="*/ 90 w 112"/>
                <a:gd name="T13" fmla="*/ 54 h 104"/>
                <a:gd name="T14" fmla="*/ 77 w 112"/>
                <a:gd name="T15" fmla="*/ 77 h 104"/>
                <a:gd name="T16" fmla="*/ 73 w 112"/>
                <a:gd name="T17" fmla="*/ 29 h 104"/>
                <a:gd name="T18" fmla="*/ 90 w 112"/>
                <a:gd name="T19" fmla="*/ 16 h 104"/>
                <a:gd name="T20" fmla="*/ 85 w 112"/>
                <a:gd name="T21" fmla="*/ 9 h 104"/>
                <a:gd name="T22" fmla="*/ 90 w 112"/>
                <a:gd name="T23" fmla="*/ 41 h 104"/>
                <a:gd name="T24" fmla="*/ 85 w 112"/>
                <a:gd name="T25" fmla="*/ 89 h 104"/>
                <a:gd name="T26" fmla="*/ 95 w 112"/>
                <a:gd name="T27" fmla="*/ 80 h 104"/>
                <a:gd name="T28" fmla="*/ 85 w 112"/>
                <a:gd name="T29" fmla="*/ 92 h 104"/>
                <a:gd name="T30" fmla="*/ 68 w 112"/>
                <a:gd name="T31" fmla="*/ 29 h 104"/>
                <a:gd name="T32" fmla="*/ 64 w 112"/>
                <a:gd name="T33" fmla="*/ 25 h 104"/>
                <a:gd name="T34" fmla="*/ 32 w 112"/>
                <a:gd name="T35" fmla="*/ 29 h 104"/>
                <a:gd name="T36" fmla="*/ 46 w 112"/>
                <a:gd name="T37" fmla="*/ 28 h 104"/>
                <a:gd name="T38" fmla="*/ 32 w 112"/>
                <a:gd name="T39" fmla="*/ 29 h 104"/>
                <a:gd name="T40" fmla="*/ 25 w 112"/>
                <a:gd name="T41" fmla="*/ 49 h 104"/>
                <a:gd name="T42" fmla="*/ 13 w 112"/>
                <a:gd name="T43" fmla="*/ 49 h 104"/>
                <a:gd name="T44" fmla="*/ 10 w 112"/>
                <a:gd name="T45" fmla="*/ 54 h 104"/>
                <a:gd name="T46" fmla="*/ 27 w 112"/>
                <a:gd name="T47" fmla="*/ 15 h 104"/>
                <a:gd name="T48" fmla="*/ 14 w 112"/>
                <a:gd name="T49" fmla="*/ 54 h 104"/>
                <a:gd name="T50" fmla="*/ 15 w 112"/>
                <a:gd name="T51" fmla="*/ 54 h 104"/>
                <a:gd name="T52" fmla="*/ 23 w 112"/>
                <a:gd name="T53" fmla="*/ 53 h 104"/>
                <a:gd name="T54" fmla="*/ 22 w 112"/>
                <a:gd name="T55" fmla="*/ 54 h 104"/>
                <a:gd name="T56" fmla="*/ 23 w 112"/>
                <a:gd name="T57" fmla="*/ 53 h 104"/>
                <a:gd name="T58" fmla="*/ 22 w 112"/>
                <a:gd name="T59" fmla="*/ 14 h 104"/>
                <a:gd name="T60" fmla="*/ 20 w 112"/>
                <a:gd name="T61" fmla="*/ 52 h 104"/>
                <a:gd name="T62" fmla="*/ 19 w 112"/>
                <a:gd name="T63" fmla="*/ 52 h 104"/>
                <a:gd name="T64" fmla="*/ 18 w 112"/>
                <a:gd name="T65" fmla="*/ 52 h 104"/>
                <a:gd name="T66" fmla="*/ 16 w 112"/>
                <a:gd name="T67" fmla="*/ 49 h 104"/>
                <a:gd name="T68" fmla="*/ 20 w 112"/>
                <a:gd name="T69" fmla="*/ 61 h 104"/>
                <a:gd name="T70" fmla="*/ 3 w 112"/>
                <a:gd name="T71" fmla="*/ 57 h 104"/>
                <a:gd name="T72" fmla="*/ 30 w 112"/>
                <a:gd name="T73" fmla="*/ 57 h 104"/>
                <a:gd name="T74" fmla="*/ 11 w 112"/>
                <a:gd name="T75" fmla="*/ 76 h 104"/>
                <a:gd name="T76" fmla="*/ 17 w 112"/>
                <a:gd name="T77" fmla="*/ 67 h 104"/>
                <a:gd name="T78" fmla="*/ 35 w 112"/>
                <a:gd name="T79" fmla="*/ 76 h 104"/>
                <a:gd name="T80" fmla="*/ 14 w 112"/>
                <a:gd name="T81" fmla="*/ 96 h 104"/>
                <a:gd name="T82" fmla="*/ 51 w 112"/>
                <a:gd name="T83" fmla="*/ 30 h 104"/>
                <a:gd name="T84" fmla="*/ 50 w 112"/>
                <a:gd name="T85" fmla="*/ 36 h 104"/>
                <a:gd name="T86" fmla="*/ 47 w 112"/>
                <a:gd name="T87" fmla="*/ 31 h 104"/>
                <a:gd name="T88" fmla="*/ 108 w 112"/>
                <a:gd name="T89" fmla="*/ 0 h 104"/>
                <a:gd name="T90" fmla="*/ 95 w 112"/>
                <a:gd name="T91" fmla="*/ 9 h 104"/>
                <a:gd name="T92" fmla="*/ 93 w 112"/>
                <a:gd name="T93" fmla="*/ 15 h 104"/>
                <a:gd name="T94" fmla="*/ 63 w 112"/>
                <a:gd name="T95" fmla="*/ 22 h 104"/>
                <a:gd name="T96" fmla="*/ 30 w 112"/>
                <a:gd name="T97" fmla="*/ 15 h 104"/>
                <a:gd name="T98" fmla="*/ 7 w 112"/>
                <a:gd name="T99" fmla="*/ 54 h 104"/>
                <a:gd name="T100" fmla="*/ 11 w 112"/>
                <a:gd name="T101" fmla="*/ 96 h 104"/>
                <a:gd name="T102" fmla="*/ 38 w 112"/>
                <a:gd name="T103" fmla="*/ 79 h 104"/>
                <a:gd name="T104" fmla="*/ 30 w 112"/>
                <a:gd name="T105" fmla="*/ 32 h 104"/>
                <a:gd name="T106" fmla="*/ 50 w 112"/>
                <a:gd name="T107" fmla="*/ 39 h 104"/>
                <a:gd name="T108" fmla="*/ 68 w 112"/>
                <a:gd name="T109" fmla="*/ 33 h 104"/>
                <a:gd name="T110" fmla="*/ 74 w 112"/>
                <a:gd name="T111" fmla="*/ 62 h 104"/>
                <a:gd name="T112" fmla="*/ 92 w 112"/>
                <a:gd name="T113" fmla="*/ 104 h 104"/>
                <a:gd name="T114" fmla="*/ 89 w 112"/>
                <a:gd name="T115" fmla="*/ 77 h 104"/>
                <a:gd name="T116" fmla="*/ 94 w 112"/>
                <a:gd name="T117" fmla="*/ 47 h 104"/>
                <a:gd name="T118" fmla="*/ 103 w 112"/>
                <a:gd name="T119" fmla="*/ 104 h 104"/>
                <a:gd name="T120" fmla="*/ 103 w 112"/>
                <a:gd name="T121" fmla="*/ 14 h 104"/>
                <a:gd name="T122" fmla="*/ 108 w 112"/>
                <a:gd name="T1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2" h="104">
                  <a:moveTo>
                    <a:pt x="108" y="7"/>
                  </a:moveTo>
                  <a:cubicBezTo>
                    <a:pt x="107" y="7"/>
                    <a:pt x="107" y="7"/>
                    <a:pt x="107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4" y="7"/>
                    <a:pt x="93" y="6"/>
                    <a:pt x="93" y="5"/>
                  </a:cubicBezTo>
                  <a:cubicBezTo>
                    <a:pt x="93" y="3"/>
                    <a:pt x="94" y="3"/>
                    <a:pt x="95" y="3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9" y="3"/>
                    <a:pt x="109" y="3"/>
                    <a:pt x="109" y="5"/>
                  </a:cubicBezTo>
                  <a:cubicBezTo>
                    <a:pt x="109" y="6"/>
                    <a:pt x="109" y="7"/>
                    <a:pt x="108" y="7"/>
                  </a:cubicBezTo>
                  <a:moveTo>
                    <a:pt x="101" y="11"/>
                  </a:moveTo>
                  <a:cubicBezTo>
                    <a:pt x="100" y="11"/>
                    <a:pt x="99" y="10"/>
                    <a:pt x="98" y="9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10"/>
                    <a:pt x="102" y="11"/>
                    <a:pt x="101" y="11"/>
                  </a:cubicBezTo>
                  <a:moveTo>
                    <a:pt x="96" y="46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8" y="14"/>
                    <a:pt x="78" y="13"/>
                    <a:pt x="78" y="13"/>
                  </a:cubicBezTo>
                  <a:cubicBezTo>
                    <a:pt x="79" y="12"/>
                    <a:pt x="79" y="11"/>
                    <a:pt x="80" y="11"/>
                  </a:cubicBezTo>
                  <a:cubicBezTo>
                    <a:pt x="81" y="10"/>
                    <a:pt x="82" y="10"/>
                    <a:pt x="82" y="10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2"/>
                    <a:pt x="84" y="12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3" y="44"/>
                    <a:pt x="102" y="46"/>
                    <a:pt x="101" y="47"/>
                  </a:cubicBezTo>
                  <a:cubicBezTo>
                    <a:pt x="99" y="48"/>
                    <a:pt x="97" y="48"/>
                    <a:pt x="96" y="46"/>
                  </a:cubicBezTo>
                  <a:moveTo>
                    <a:pt x="90" y="54"/>
                  </a:moveTo>
                  <a:cubicBezTo>
                    <a:pt x="90" y="56"/>
                    <a:pt x="89" y="59"/>
                    <a:pt x="87" y="60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4" y="59"/>
                    <a:pt x="73" y="56"/>
                    <a:pt x="73" y="54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0"/>
                    <a:pt x="77" y="7"/>
                    <a:pt x="82" y="7"/>
                  </a:cubicBezTo>
                  <a:cubicBezTo>
                    <a:pt x="86" y="7"/>
                    <a:pt x="90" y="10"/>
                    <a:pt x="90" y="15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0"/>
                    <a:pt x="86" y="10"/>
                    <a:pt x="86" y="10"/>
                  </a:cubicBezTo>
                  <a:cubicBezTo>
                    <a:pt x="86" y="9"/>
                    <a:pt x="86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3" y="7"/>
                    <a:pt x="81" y="7"/>
                    <a:pt x="79" y="8"/>
                  </a:cubicBezTo>
                  <a:cubicBezTo>
                    <a:pt x="77" y="9"/>
                    <a:pt x="76" y="10"/>
                    <a:pt x="76" y="12"/>
                  </a:cubicBezTo>
                  <a:cubicBezTo>
                    <a:pt x="75" y="13"/>
                    <a:pt x="75" y="15"/>
                    <a:pt x="76" y="16"/>
                  </a:cubicBezTo>
                  <a:cubicBezTo>
                    <a:pt x="90" y="41"/>
                    <a:pt x="90" y="41"/>
                    <a:pt x="90" y="41"/>
                  </a:cubicBezTo>
                  <a:lnTo>
                    <a:pt x="90" y="54"/>
                  </a:lnTo>
                  <a:close/>
                  <a:moveTo>
                    <a:pt x="95" y="80"/>
                  </a:moveTo>
                  <a:cubicBezTo>
                    <a:pt x="94" y="84"/>
                    <a:pt x="94" y="84"/>
                    <a:pt x="94" y="84"/>
                  </a:cubicBezTo>
                  <a:cubicBezTo>
                    <a:pt x="93" y="86"/>
                    <a:pt x="90" y="89"/>
                    <a:pt x="85" y="89"/>
                  </a:cubicBezTo>
                  <a:cubicBezTo>
                    <a:pt x="77" y="89"/>
                    <a:pt x="72" y="83"/>
                    <a:pt x="69" y="8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89" y="80"/>
                    <a:pt x="89" y="80"/>
                    <a:pt x="89" y="80"/>
                  </a:cubicBezTo>
                  <a:lnTo>
                    <a:pt x="95" y="80"/>
                  </a:lnTo>
                  <a:close/>
                  <a:moveTo>
                    <a:pt x="90" y="101"/>
                  </a:moveTo>
                  <a:cubicBezTo>
                    <a:pt x="74" y="101"/>
                    <a:pt x="74" y="101"/>
                    <a:pt x="74" y="101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3" y="88"/>
                    <a:pt x="78" y="92"/>
                    <a:pt x="85" y="92"/>
                  </a:cubicBezTo>
                  <a:cubicBezTo>
                    <a:pt x="88" y="92"/>
                    <a:pt x="91" y="91"/>
                    <a:pt x="93" y="90"/>
                  </a:cubicBezTo>
                  <a:lnTo>
                    <a:pt x="90" y="101"/>
                  </a:lnTo>
                  <a:close/>
                  <a:moveTo>
                    <a:pt x="68" y="29"/>
                  </a:moveTo>
                  <a:cubicBezTo>
                    <a:pt x="68" y="29"/>
                    <a:pt x="68" y="29"/>
                    <a:pt x="68" y="29"/>
                  </a:cubicBezTo>
                  <a:cubicBezTo>
                    <a:pt x="68" y="30"/>
                    <a:pt x="67" y="30"/>
                    <a:pt x="67" y="30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7" y="32"/>
                    <a:pt x="56" y="29"/>
                    <a:pt x="54" y="28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28"/>
                    <a:pt x="70" y="28"/>
                    <a:pt x="70" y="28"/>
                  </a:cubicBezTo>
                  <a:lnTo>
                    <a:pt x="68" y="29"/>
                  </a:lnTo>
                  <a:close/>
                  <a:moveTo>
                    <a:pt x="32" y="29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5" y="29"/>
                    <a:pt x="45" y="30"/>
                  </a:cubicBezTo>
                  <a:cubicBezTo>
                    <a:pt x="44" y="31"/>
                    <a:pt x="44" y="33"/>
                    <a:pt x="44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2" y="30"/>
                    <a:pt x="32" y="29"/>
                  </a:cubicBezTo>
                  <a:moveTo>
                    <a:pt x="27" y="54"/>
                  </a:moveTo>
                  <a:cubicBezTo>
                    <a:pt x="27" y="54"/>
                    <a:pt x="27" y="54"/>
                    <a:pt x="27" y="54"/>
                  </a:cubicBezTo>
                  <a:cubicBezTo>
                    <a:pt x="27" y="52"/>
                    <a:pt x="26" y="51"/>
                    <a:pt x="25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2" y="7"/>
                    <a:pt x="19" y="7"/>
                  </a:cubicBezTo>
                  <a:cubicBezTo>
                    <a:pt x="15" y="7"/>
                    <a:pt x="13" y="10"/>
                    <a:pt x="13" y="1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51"/>
                    <a:pt x="11" y="52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0"/>
                    <a:pt x="14" y="7"/>
                    <a:pt x="19" y="7"/>
                  </a:cubicBezTo>
                  <a:cubicBezTo>
                    <a:pt x="23" y="7"/>
                    <a:pt x="27" y="10"/>
                    <a:pt x="27" y="1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4"/>
                    <a:pt x="27" y="54"/>
                    <a:pt x="27" y="54"/>
                  </a:cubicBezTo>
                  <a:close/>
                  <a:moveTo>
                    <a:pt x="14" y="54"/>
                  </a:moveTo>
                  <a:cubicBezTo>
                    <a:pt x="14" y="54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3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5" y="54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4" y="54"/>
                    <a:pt x="14" y="54"/>
                    <a:pt x="14" y="54"/>
                  </a:cubicBezTo>
                  <a:close/>
                  <a:moveTo>
                    <a:pt x="23" y="53"/>
                  </a:moveTo>
                  <a:cubicBezTo>
                    <a:pt x="24" y="53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3" y="54"/>
                    <a:pt x="23" y="54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moveTo>
                    <a:pt x="15" y="49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5" y="12"/>
                    <a:pt x="17" y="10"/>
                    <a:pt x="19" y="10"/>
                  </a:cubicBezTo>
                  <a:cubicBezTo>
                    <a:pt x="20" y="10"/>
                    <a:pt x="22" y="12"/>
                    <a:pt x="22" y="14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50"/>
                    <a:pt x="21" y="51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1"/>
                    <a:pt x="16" y="50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5" y="49"/>
                    <a:pt x="15" y="49"/>
                    <a:pt x="15" y="49"/>
                  </a:cubicBezTo>
                  <a:moveTo>
                    <a:pt x="35" y="62"/>
                  </a:moveTo>
                  <a:cubicBezTo>
                    <a:pt x="20" y="62"/>
                    <a:pt x="20" y="62"/>
                    <a:pt x="20" y="62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5" y="57"/>
                    <a:pt x="35" y="57"/>
                    <a:pt x="35" y="57"/>
                  </a:cubicBezTo>
                  <a:lnTo>
                    <a:pt x="35" y="62"/>
                  </a:lnTo>
                  <a:close/>
                  <a:moveTo>
                    <a:pt x="27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76"/>
                    <a:pt x="35" y="76"/>
                    <a:pt x="35" y="76"/>
                  </a:cubicBezTo>
                  <a:lnTo>
                    <a:pt x="27" y="76"/>
                  </a:lnTo>
                  <a:close/>
                  <a:moveTo>
                    <a:pt x="24" y="96"/>
                  </a:moveTo>
                  <a:cubicBezTo>
                    <a:pt x="24" y="99"/>
                    <a:pt x="21" y="101"/>
                    <a:pt x="19" y="101"/>
                  </a:cubicBezTo>
                  <a:cubicBezTo>
                    <a:pt x="16" y="101"/>
                    <a:pt x="14" y="99"/>
                    <a:pt x="14" y="96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24" y="79"/>
                    <a:pt x="24" y="79"/>
                    <a:pt x="24" y="79"/>
                  </a:cubicBezTo>
                  <a:lnTo>
                    <a:pt x="24" y="96"/>
                  </a:lnTo>
                  <a:close/>
                  <a:moveTo>
                    <a:pt x="51" y="30"/>
                  </a:moveTo>
                  <a:cubicBezTo>
                    <a:pt x="53" y="30"/>
                    <a:pt x="54" y="32"/>
                    <a:pt x="53" y="34"/>
                  </a:cubicBezTo>
                  <a:cubicBezTo>
                    <a:pt x="53" y="34"/>
                    <a:pt x="53" y="35"/>
                    <a:pt x="52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7" y="34"/>
                    <a:pt x="47" y="34"/>
                  </a:cubicBezTo>
                  <a:cubicBezTo>
                    <a:pt x="47" y="33"/>
                    <a:pt x="47" y="32"/>
                    <a:pt x="47" y="31"/>
                  </a:cubicBezTo>
                  <a:cubicBezTo>
                    <a:pt x="47" y="30"/>
                    <a:pt x="48" y="30"/>
                    <a:pt x="49" y="30"/>
                  </a:cubicBezTo>
                  <a:cubicBezTo>
                    <a:pt x="50" y="29"/>
                    <a:pt x="50" y="29"/>
                    <a:pt x="50" y="29"/>
                  </a:cubicBezTo>
                  <a:lnTo>
                    <a:pt x="51" y="30"/>
                  </a:lnTo>
                  <a:close/>
                  <a:moveTo>
                    <a:pt x="108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2" y="0"/>
                    <a:pt x="90" y="2"/>
                    <a:pt x="90" y="5"/>
                  </a:cubicBezTo>
                  <a:cubicBezTo>
                    <a:pt x="90" y="7"/>
                    <a:pt x="92" y="9"/>
                    <a:pt x="95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6" y="12"/>
                    <a:pt x="98" y="13"/>
                    <a:pt x="100" y="14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9"/>
                    <a:pt x="88" y="4"/>
                    <a:pt x="82" y="4"/>
                  </a:cubicBezTo>
                  <a:cubicBezTo>
                    <a:pt x="75" y="4"/>
                    <a:pt x="70" y="9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9"/>
                    <a:pt x="25" y="4"/>
                    <a:pt x="19" y="4"/>
                  </a:cubicBezTo>
                  <a:cubicBezTo>
                    <a:pt x="12" y="4"/>
                    <a:pt x="7" y="9"/>
                    <a:pt x="7" y="1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100"/>
                    <a:pt x="14" y="104"/>
                    <a:pt x="19" y="104"/>
                  </a:cubicBezTo>
                  <a:cubicBezTo>
                    <a:pt x="23" y="104"/>
                    <a:pt x="27" y="100"/>
                    <a:pt x="27" y="96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1" y="32"/>
                    <a:pt x="32" y="33"/>
                    <a:pt x="32" y="33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9"/>
                    <a:pt x="49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1" y="39"/>
                    <a:pt x="52" y="38"/>
                    <a:pt x="53" y="38"/>
                  </a:cubicBezTo>
                  <a:cubicBezTo>
                    <a:pt x="68" y="33"/>
                    <a:pt x="68" y="33"/>
                    <a:pt x="68" y="33"/>
                  </a:cubicBezTo>
                  <a:cubicBezTo>
                    <a:pt x="69" y="33"/>
                    <a:pt x="70" y="32"/>
                    <a:pt x="70" y="31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7"/>
                    <a:pt x="72" y="60"/>
                    <a:pt x="74" y="62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8" y="83"/>
                    <a:pt x="98" y="80"/>
                    <a:pt x="98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89" y="77"/>
                    <a:pt x="89" y="77"/>
                    <a:pt x="89" y="77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2" y="60"/>
                    <a:pt x="93" y="57"/>
                    <a:pt x="93" y="54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9"/>
                    <a:pt x="97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100" y="104"/>
                    <a:pt x="100" y="104"/>
                    <a:pt x="100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5" y="47"/>
                    <a:pt x="106" y="44"/>
                    <a:pt x="104" y="41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5" y="13"/>
                    <a:pt x="107" y="12"/>
                    <a:pt x="107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9"/>
                    <a:pt x="112" y="7"/>
                    <a:pt x="112" y="5"/>
                  </a:cubicBezTo>
                  <a:cubicBezTo>
                    <a:pt x="112" y="2"/>
                    <a:pt x="110" y="0"/>
                    <a:pt x="10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60">
            <a:extLst>
              <a:ext uri="{FF2B5EF4-FFF2-40B4-BE49-F238E27FC236}">
                <a16:creationId xmlns:a16="http://schemas.microsoft.com/office/drawing/2014/main" id="{FCFEAC73-9C19-4336-A2F7-E6D251E652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25" y="1579563"/>
            <a:ext cx="758825" cy="758825"/>
            <a:chOff x="878" y="995"/>
            <a:chExt cx="478" cy="478"/>
          </a:xfrm>
        </p:grpSpPr>
        <p:sp>
          <p:nvSpPr>
            <p:cNvPr id="83" name="AutoShape 59">
              <a:extLst>
                <a:ext uri="{FF2B5EF4-FFF2-40B4-BE49-F238E27FC236}">
                  <a16:creationId xmlns:a16="http://schemas.microsoft.com/office/drawing/2014/main" id="{2D72A79A-B38C-4FD1-BE4E-80659BBBD1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8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1">
              <a:extLst>
                <a:ext uri="{FF2B5EF4-FFF2-40B4-BE49-F238E27FC236}">
                  <a16:creationId xmlns:a16="http://schemas.microsoft.com/office/drawing/2014/main" id="{10D5769A-7612-4675-8047-8FA7DB1B68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0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2">
              <a:extLst>
                <a:ext uri="{FF2B5EF4-FFF2-40B4-BE49-F238E27FC236}">
                  <a16:creationId xmlns:a16="http://schemas.microsoft.com/office/drawing/2014/main" id="{07C29AE3-5811-4700-BFCE-50A0CA87A4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5" y="1076"/>
              <a:ext cx="79" cy="66"/>
            </a:xfrm>
            <a:custGeom>
              <a:avLst/>
              <a:gdLst>
                <a:gd name="T0" fmla="*/ 19 w 32"/>
                <a:gd name="T1" fmla="*/ 3 h 27"/>
                <a:gd name="T2" fmla="*/ 29 w 32"/>
                <a:gd name="T3" fmla="*/ 10 h 27"/>
                <a:gd name="T4" fmla="*/ 9 w 32"/>
                <a:gd name="T5" fmla="*/ 10 h 27"/>
                <a:gd name="T6" fmla="*/ 19 w 32"/>
                <a:gd name="T7" fmla="*/ 3 h 27"/>
                <a:gd name="T8" fmla="*/ 19 w 32"/>
                <a:gd name="T9" fmla="*/ 24 h 27"/>
                <a:gd name="T10" fmla="*/ 8 w 32"/>
                <a:gd name="T11" fmla="*/ 14 h 27"/>
                <a:gd name="T12" fmla="*/ 8 w 32"/>
                <a:gd name="T13" fmla="*/ 13 h 27"/>
                <a:gd name="T14" fmla="*/ 29 w 32"/>
                <a:gd name="T15" fmla="*/ 13 h 27"/>
                <a:gd name="T16" fmla="*/ 29 w 32"/>
                <a:gd name="T17" fmla="*/ 14 h 27"/>
                <a:gd name="T18" fmla="*/ 19 w 32"/>
                <a:gd name="T19" fmla="*/ 24 h 27"/>
                <a:gd name="T20" fmla="*/ 5 w 32"/>
                <a:gd name="T21" fmla="*/ 14 h 27"/>
                <a:gd name="T22" fmla="*/ 19 w 32"/>
                <a:gd name="T23" fmla="*/ 27 h 27"/>
                <a:gd name="T24" fmla="*/ 32 w 32"/>
                <a:gd name="T25" fmla="*/ 14 h 27"/>
                <a:gd name="T26" fmla="*/ 19 w 32"/>
                <a:gd name="T27" fmla="*/ 0 h 27"/>
                <a:gd name="T28" fmla="*/ 6 w 32"/>
                <a:gd name="T29" fmla="*/ 10 h 27"/>
                <a:gd name="T30" fmla="*/ 0 w 32"/>
                <a:gd name="T31" fmla="*/ 10 h 27"/>
                <a:gd name="T32" fmla="*/ 0 w 32"/>
                <a:gd name="T33" fmla="*/ 13 h 27"/>
                <a:gd name="T34" fmla="*/ 5 w 32"/>
                <a:gd name="T35" fmla="*/ 13 h 27"/>
                <a:gd name="T36" fmla="*/ 5 w 32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7">
                  <a:moveTo>
                    <a:pt x="19" y="3"/>
                  </a:moveTo>
                  <a:cubicBezTo>
                    <a:pt x="23" y="3"/>
                    <a:pt x="27" y="6"/>
                    <a:pt x="2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6"/>
                    <a:pt x="14" y="3"/>
                    <a:pt x="19" y="3"/>
                  </a:cubicBezTo>
                  <a:moveTo>
                    <a:pt x="19" y="24"/>
                  </a:moveTo>
                  <a:cubicBezTo>
                    <a:pt x="13" y="24"/>
                    <a:pt x="8" y="20"/>
                    <a:pt x="8" y="14"/>
                  </a:cubicBezTo>
                  <a:cubicBezTo>
                    <a:pt x="8" y="14"/>
                    <a:pt x="8" y="13"/>
                    <a:pt x="8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0"/>
                    <a:pt x="25" y="24"/>
                    <a:pt x="19" y="24"/>
                  </a:cubicBezTo>
                  <a:moveTo>
                    <a:pt x="5" y="14"/>
                  </a:moveTo>
                  <a:cubicBezTo>
                    <a:pt x="5" y="21"/>
                    <a:pt x="11" y="27"/>
                    <a:pt x="19" y="27"/>
                  </a:cubicBezTo>
                  <a:cubicBezTo>
                    <a:pt x="26" y="27"/>
                    <a:pt x="32" y="21"/>
                    <a:pt x="32" y="14"/>
                  </a:cubicBezTo>
                  <a:cubicBezTo>
                    <a:pt x="32" y="6"/>
                    <a:pt x="26" y="0"/>
                    <a:pt x="19" y="0"/>
                  </a:cubicBezTo>
                  <a:cubicBezTo>
                    <a:pt x="12" y="0"/>
                    <a:pt x="7" y="4"/>
                    <a:pt x="6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4"/>
                    <a:pt x="5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3">
              <a:extLst>
                <a:ext uri="{FF2B5EF4-FFF2-40B4-BE49-F238E27FC236}">
                  <a16:creationId xmlns:a16="http://schemas.microsoft.com/office/drawing/2014/main" id="{BEC1DCE4-BAFE-461B-9EB3-EC66175CF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" y="1076"/>
              <a:ext cx="66" cy="66"/>
            </a:xfrm>
            <a:custGeom>
              <a:avLst/>
              <a:gdLst>
                <a:gd name="T0" fmla="*/ 14 w 27"/>
                <a:gd name="T1" fmla="*/ 3 h 27"/>
                <a:gd name="T2" fmla="*/ 24 w 27"/>
                <a:gd name="T3" fmla="*/ 14 h 27"/>
                <a:gd name="T4" fmla="*/ 14 w 27"/>
                <a:gd name="T5" fmla="*/ 24 h 27"/>
                <a:gd name="T6" fmla="*/ 3 w 27"/>
                <a:gd name="T7" fmla="*/ 14 h 27"/>
                <a:gd name="T8" fmla="*/ 14 w 27"/>
                <a:gd name="T9" fmla="*/ 3 h 27"/>
                <a:gd name="T10" fmla="*/ 14 w 27"/>
                <a:gd name="T11" fmla="*/ 27 h 27"/>
                <a:gd name="T12" fmla="*/ 27 w 27"/>
                <a:gd name="T13" fmla="*/ 14 h 27"/>
                <a:gd name="T14" fmla="*/ 14 w 27"/>
                <a:gd name="T15" fmla="*/ 0 h 27"/>
                <a:gd name="T16" fmla="*/ 0 w 27"/>
                <a:gd name="T17" fmla="*/ 14 h 27"/>
                <a:gd name="T18" fmla="*/ 14 w 2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4" y="3"/>
                  </a:moveTo>
                  <a:cubicBezTo>
                    <a:pt x="20" y="3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3" y="20"/>
                    <a:pt x="3" y="14"/>
                  </a:cubicBezTo>
                  <a:cubicBezTo>
                    <a:pt x="3" y="8"/>
                    <a:pt x="8" y="3"/>
                    <a:pt x="14" y="3"/>
                  </a:cubicBezTo>
                  <a:moveTo>
                    <a:pt x="14" y="27"/>
                  </a:moveTo>
                  <a:cubicBezTo>
                    <a:pt x="21" y="27"/>
                    <a:pt x="27" y="21"/>
                    <a:pt x="27" y="14"/>
                  </a:cubicBezTo>
                  <a:cubicBezTo>
                    <a:pt x="27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4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4">
              <a:extLst>
                <a:ext uri="{FF2B5EF4-FFF2-40B4-BE49-F238E27FC236}">
                  <a16:creationId xmlns:a16="http://schemas.microsoft.com/office/drawing/2014/main" id="{116E8C6E-A856-499B-93DE-1F1C95648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" y="1140"/>
              <a:ext cx="275" cy="255"/>
            </a:xfrm>
            <a:custGeom>
              <a:avLst/>
              <a:gdLst>
                <a:gd name="T0" fmla="*/ 95 w 112"/>
                <a:gd name="T1" fmla="*/ 7 h 104"/>
                <a:gd name="T2" fmla="*/ 109 w 112"/>
                <a:gd name="T3" fmla="*/ 5 h 104"/>
                <a:gd name="T4" fmla="*/ 104 w 112"/>
                <a:gd name="T5" fmla="*/ 9 h 104"/>
                <a:gd name="T6" fmla="*/ 93 w 112"/>
                <a:gd name="T7" fmla="*/ 40 h 104"/>
                <a:gd name="T8" fmla="*/ 82 w 112"/>
                <a:gd name="T9" fmla="*/ 10 h 104"/>
                <a:gd name="T10" fmla="*/ 84 w 112"/>
                <a:gd name="T11" fmla="*/ 12 h 104"/>
                <a:gd name="T12" fmla="*/ 90 w 112"/>
                <a:gd name="T13" fmla="*/ 54 h 104"/>
                <a:gd name="T14" fmla="*/ 77 w 112"/>
                <a:gd name="T15" fmla="*/ 77 h 104"/>
                <a:gd name="T16" fmla="*/ 73 w 112"/>
                <a:gd name="T17" fmla="*/ 29 h 104"/>
                <a:gd name="T18" fmla="*/ 90 w 112"/>
                <a:gd name="T19" fmla="*/ 16 h 104"/>
                <a:gd name="T20" fmla="*/ 85 w 112"/>
                <a:gd name="T21" fmla="*/ 9 h 104"/>
                <a:gd name="T22" fmla="*/ 90 w 112"/>
                <a:gd name="T23" fmla="*/ 41 h 104"/>
                <a:gd name="T24" fmla="*/ 85 w 112"/>
                <a:gd name="T25" fmla="*/ 89 h 104"/>
                <a:gd name="T26" fmla="*/ 95 w 112"/>
                <a:gd name="T27" fmla="*/ 80 h 104"/>
                <a:gd name="T28" fmla="*/ 85 w 112"/>
                <a:gd name="T29" fmla="*/ 92 h 104"/>
                <a:gd name="T30" fmla="*/ 68 w 112"/>
                <a:gd name="T31" fmla="*/ 29 h 104"/>
                <a:gd name="T32" fmla="*/ 64 w 112"/>
                <a:gd name="T33" fmla="*/ 25 h 104"/>
                <a:gd name="T34" fmla="*/ 32 w 112"/>
                <a:gd name="T35" fmla="*/ 29 h 104"/>
                <a:gd name="T36" fmla="*/ 46 w 112"/>
                <a:gd name="T37" fmla="*/ 28 h 104"/>
                <a:gd name="T38" fmla="*/ 32 w 112"/>
                <a:gd name="T39" fmla="*/ 29 h 104"/>
                <a:gd name="T40" fmla="*/ 25 w 112"/>
                <a:gd name="T41" fmla="*/ 49 h 104"/>
                <a:gd name="T42" fmla="*/ 13 w 112"/>
                <a:gd name="T43" fmla="*/ 49 h 104"/>
                <a:gd name="T44" fmla="*/ 10 w 112"/>
                <a:gd name="T45" fmla="*/ 54 h 104"/>
                <a:gd name="T46" fmla="*/ 27 w 112"/>
                <a:gd name="T47" fmla="*/ 15 h 104"/>
                <a:gd name="T48" fmla="*/ 14 w 112"/>
                <a:gd name="T49" fmla="*/ 54 h 104"/>
                <a:gd name="T50" fmla="*/ 15 w 112"/>
                <a:gd name="T51" fmla="*/ 54 h 104"/>
                <a:gd name="T52" fmla="*/ 23 w 112"/>
                <a:gd name="T53" fmla="*/ 53 h 104"/>
                <a:gd name="T54" fmla="*/ 22 w 112"/>
                <a:gd name="T55" fmla="*/ 54 h 104"/>
                <a:gd name="T56" fmla="*/ 23 w 112"/>
                <a:gd name="T57" fmla="*/ 53 h 104"/>
                <a:gd name="T58" fmla="*/ 22 w 112"/>
                <a:gd name="T59" fmla="*/ 14 h 104"/>
                <a:gd name="T60" fmla="*/ 20 w 112"/>
                <a:gd name="T61" fmla="*/ 52 h 104"/>
                <a:gd name="T62" fmla="*/ 19 w 112"/>
                <a:gd name="T63" fmla="*/ 52 h 104"/>
                <a:gd name="T64" fmla="*/ 18 w 112"/>
                <a:gd name="T65" fmla="*/ 52 h 104"/>
                <a:gd name="T66" fmla="*/ 16 w 112"/>
                <a:gd name="T67" fmla="*/ 49 h 104"/>
                <a:gd name="T68" fmla="*/ 20 w 112"/>
                <a:gd name="T69" fmla="*/ 61 h 104"/>
                <a:gd name="T70" fmla="*/ 3 w 112"/>
                <a:gd name="T71" fmla="*/ 57 h 104"/>
                <a:gd name="T72" fmla="*/ 30 w 112"/>
                <a:gd name="T73" fmla="*/ 57 h 104"/>
                <a:gd name="T74" fmla="*/ 11 w 112"/>
                <a:gd name="T75" fmla="*/ 76 h 104"/>
                <a:gd name="T76" fmla="*/ 17 w 112"/>
                <a:gd name="T77" fmla="*/ 67 h 104"/>
                <a:gd name="T78" fmla="*/ 35 w 112"/>
                <a:gd name="T79" fmla="*/ 76 h 104"/>
                <a:gd name="T80" fmla="*/ 14 w 112"/>
                <a:gd name="T81" fmla="*/ 96 h 104"/>
                <a:gd name="T82" fmla="*/ 51 w 112"/>
                <a:gd name="T83" fmla="*/ 30 h 104"/>
                <a:gd name="T84" fmla="*/ 50 w 112"/>
                <a:gd name="T85" fmla="*/ 36 h 104"/>
                <a:gd name="T86" fmla="*/ 47 w 112"/>
                <a:gd name="T87" fmla="*/ 31 h 104"/>
                <a:gd name="T88" fmla="*/ 108 w 112"/>
                <a:gd name="T89" fmla="*/ 0 h 104"/>
                <a:gd name="T90" fmla="*/ 95 w 112"/>
                <a:gd name="T91" fmla="*/ 9 h 104"/>
                <a:gd name="T92" fmla="*/ 93 w 112"/>
                <a:gd name="T93" fmla="*/ 15 h 104"/>
                <a:gd name="T94" fmla="*/ 63 w 112"/>
                <a:gd name="T95" fmla="*/ 22 h 104"/>
                <a:gd name="T96" fmla="*/ 30 w 112"/>
                <a:gd name="T97" fmla="*/ 15 h 104"/>
                <a:gd name="T98" fmla="*/ 7 w 112"/>
                <a:gd name="T99" fmla="*/ 54 h 104"/>
                <a:gd name="T100" fmla="*/ 11 w 112"/>
                <a:gd name="T101" fmla="*/ 96 h 104"/>
                <a:gd name="T102" fmla="*/ 38 w 112"/>
                <a:gd name="T103" fmla="*/ 79 h 104"/>
                <a:gd name="T104" fmla="*/ 30 w 112"/>
                <a:gd name="T105" fmla="*/ 32 h 104"/>
                <a:gd name="T106" fmla="*/ 50 w 112"/>
                <a:gd name="T107" fmla="*/ 39 h 104"/>
                <a:gd name="T108" fmla="*/ 68 w 112"/>
                <a:gd name="T109" fmla="*/ 33 h 104"/>
                <a:gd name="T110" fmla="*/ 74 w 112"/>
                <a:gd name="T111" fmla="*/ 62 h 104"/>
                <a:gd name="T112" fmla="*/ 92 w 112"/>
                <a:gd name="T113" fmla="*/ 104 h 104"/>
                <a:gd name="T114" fmla="*/ 89 w 112"/>
                <a:gd name="T115" fmla="*/ 77 h 104"/>
                <a:gd name="T116" fmla="*/ 94 w 112"/>
                <a:gd name="T117" fmla="*/ 47 h 104"/>
                <a:gd name="T118" fmla="*/ 103 w 112"/>
                <a:gd name="T119" fmla="*/ 104 h 104"/>
                <a:gd name="T120" fmla="*/ 103 w 112"/>
                <a:gd name="T121" fmla="*/ 14 h 104"/>
                <a:gd name="T122" fmla="*/ 108 w 112"/>
                <a:gd name="T1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2" h="104">
                  <a:moveTo>
                    <a:pt x="108" y="7"/>
                  </a:moveTo>
                  <a:cubicBezTo>
                    <a:pt x="107" y="7"/>
                    <a:pt x="107" y="7"/>
                    <a:pt x="107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4" y="7"/>
                    <a:pt x="93" y="6"/>
                    <a:pt x="93" y="5"/>
                  </a:cubicBezTo>
                  <a:cubicBezTo>
                    <a:pt x="93" y="3"/>
                    <a:pt x="94" y="3"/>
                    <a:pt x="95" y="3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9" y="3"/>
                    <a:pt x="109" y="3"/>
                    <a:pt x="109" y="5"/>
                  </a:cubicBezTo>
                  <a:cubicBezTo>
                    <a:pt x="109" y="6"/>
                    <a:pt x="109" y="7"/>
                    <a:pt x="108" y="7"/>
                  </a:cubicBezTo>
                  <a:moveTo>
                    <a:pt x="101" y="11"/>
                  </a:moveTo>
                  <a:cubicBezTo>
                    <a:pt x="100" y="11"/>
                    <a:pt x="99" y="10"/>
                    <a:pt x="98" y="9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10"/>
                    <a:pt x="102" y="11"/>
                    <a:pt x="101" y="11"/>
                  </a:cubicBezTo>
                  <a:moveTo>
                    <a:pt x="96" y="46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8" y="14"/>
                    <a:pt x="78" y="13"/>
                    <a:pt x="78" y="13"/>
                  </a:cubicBezTo>
                  <a:cubicBezTo>
                    <a:pt x="79" y="12"/>
                    <a:pt x="79" y="11"/>
                    <a:pt x="80" y="11"/>
                  </a:cubicBezTo>
                  <a:cubicBezTo>
                    <a:pt x="81" y="10"/>
                    <a:pt x="82" y="10"/>
                    <a:pt x="82" y="10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2"/>
                    <a:pt x="84" y="12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3" y="44"/>
                    <a:pt x="102" y="46"/>
                    <a:pt x="101" y="47"/>
                  </a:cubicBezTo>
                  <a:cubicBezTo>
                    <a:pt x="99" y="48"/>
                    <a:pt x="97" y="48"/>
                    <a:pt x="96" y="46"/>
                  </a:cubicBezTo>
                  <a:moveTo>
                    <a:pt x="90" y="54"/>
                  </a:moveTo>
                  <a:cubicBezTo>
                    <a:pt x="90" y="56"/>
                    <a:pt x="89" y="59"/>
                    <a:pt x="87" y="60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4" y="59"/>
                    <a:pt x="73" y="56"/>
                    <a:pt x="73" y="54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0"/>
                    <a:pt x="77" y="7"/>
                    <a:pt x="82" y="7"/>
                  </a:cubicBezTo>
                  <a:cubicBezTo>
                    <a:pt x="86" y="7"/>
                    <a:pt x="90" y="10"/>
                    <a:pt x="90" y="15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0"/>
                    <a:pt x="86" y="10"/>
                    <a:pt x="86" y="10"/>
                  </a:cubicBezTo>
                  <a:cubicBezTo>
                    <a:pt x="86" y="9"/>
                    <a:pt x="86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3" y="7"/>
                    <a:pt x="81" y="7"/>
                    <a:pt x="79" y="8"/>
                  </a:cubicBezTo>
                  <a:cubicBezTo>
                    <a:pt x="77" y="9"/>
                    <a:pt x="76" y="10"/>
                    <a:pt x="76" y="12"/>
                  </a:cubicBezTo>
                  <a:cubicBezTo>
                    <a:pt x="75" y="13"/>
                    <a:pt x="75" y="15"/>
                    <a:pt x="76" y="16"/>
                  </a:cubicBezTo>
                  <a:cubicBezTo>
                    <a:pt x="90" y="41"/>
                    <a:pt x="90" y="41"/>
                    <a:pt x="90" y="41"/>
                  </a:cubicBezTo>
                  <a:lnTo>
                    <a:pt x="90" y="54"/>
                  </a:lnTo>
                  <a:close/>
                  <a:moveTo>
                    <a:pt x="95" y="80"/>
                  </a:moveTo>
                  <a:cubicBezTo>
                    <a:pt x="94" y="84"/>
                    <a:pt x="94" y="84"/>
                    <a:pt x="94" y="84"/>
                  </a:cubicBezTo>
                  <a:cubicBezTo>
                    <a:pt x="93" y="86"/>
                    <a:pt x="90" y="89"/>
                    <a:pt x="85" y="89"/>
                  </a:cubicBezTo>
                  <a:cubicBezTo>
                    <a:pt x="77" y="89"/>
                    <a:pt x="72" y="83"/>
                    <a:pt x="69" y="8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89" y="80"/>
                    <a:pt x="89" y="80"/>
                    <a:pt x="89" y="80"/>
                  </a:cubicBezTo>
                  <a:lnTo>
                    <a:pt x="95" y="80"/>
                  </a:lnTo>
                  <a:close/>
                  <a:moveTo>
                    <a:pt x="90" y="101"/>
                  </a:moveTo>
                  <a:cubicBezTo>
                    <a:pt x="74" y="101"/>
                    <a:pt x="74" y="101"/>
                    <a:pt x="74" y="101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3" y="88"/>
                    <a:pt x="78" y="92"/>
                    <a:pt x="85" y="92"/>
                  </a:cubicBezTo>
                  <a:cubicBezTo>
                    <a:pt x="88" y="92"/>
                    <a:pt x="91" y="91"/>
                    <a:pt x="93" y="90"/>
                  </a:cubicBezTo>
                  <a:lnTo>
                    <a:pt x="90" y="101"/>
                  </a:lnTo>
                  <a:close/>
                  <a:moveTo>
                    <a:pt x="68" y="29"/>
                  </a:moveTo>
                  <a:cubicBezTo>
                    <a:pt x="68" y="29"/>
                    <a:pt x="68" y="29"/>
                    <a:pt x="68" y="29"/>
                  </a:cubicBezTo>
                  <a:cubicBezTo>
                    <a:pt x="68" y="30"/>
                    <a:pt x="67" y="30"/>
                    <a:pt x="67" y="30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7" y="32"/>
                    <a:pt x="56" y="29"/>
                    <a:pt x="54" y="28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28"/>
                    <a:pt x="70" y="28"/>
                    <a:pt x="70" y="28"/>
                  </a:cubicBezTo>
                  <a:lnTo>
                    <a:pt x="68" y="29"/>
                  </a:lnTo>
                  <a:close/>
                  <a:moveTo>
                    <a:pt x="32" y="29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5" y="29"/>
                    <a:pt x="45" y="30"/>
                  </a:cubicBezTo>
                  <a:cubicBezTo>
                    <a:pt x="44" y="31"/>
                    <a:pt x="44" y="33"/>
                    <a:pt x="44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2" y="30"/>
                    <a:pt x="32" y="29"/>
                  </a:cubicBezTo>
                  <a:moveTo>
                    <a:pt x="27" y="54"/>
                  </a:moveTo>
                  <a:cubicBezTo>
                    <a:pt x="27" y="54"/>
                    <a:pt x="27" y="54"/>
                    <a:pt x="27" y="54"/>
                  </a:cubicBezTo>
                  <a:cubicBezTo>
                    <a:pt x="27" y="52"/>
                    <a:pt x="26" y="51"/>
                    <a:pt x="25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2" y="7"/>
                    <a:pt x="19" y="7"/>
                  </a:cubicBezTo>
                  <a:cubicBezTo>
                    <a:pt x="15" y="7"/>
                    <a:pt x="13" y="10"/>
                    <a:pt x="13" y="1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51"/>
                    <a:pt x="11" y="52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0"/>
                    <a:pt x="14" y="7"/>
                    <a:pt x="19" y="7"/>
                  </a:cubicBezTo>
                  <a:cubicBezTo>
                    <a:pt x="23" y="7"/>
                    <a:pt x="27" y="10"/>
                    <a:pt x="27" y="15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4"/>
                    <a:pt x="27" y="54"/>
                    <a:pt x="27" y="54"/>
                  </a:cubicBezTo>
                  <a:close/>
                  <a:moveTo>
                    <a:pt x="14" y="54"/>
                  </a:moveTo>
                  <a:cubicBezTo>
                    <a:pt x="14" y="54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3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4"/>
                    <a:pt x="15" y="54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4" y="54"/>
                    <a:pt x="14" y="54"/>
                    <a:pt x="14" y="54"/>
                  </a:cubicBezTo>
                  <a:close/>
                  <a:moveTo>
                    <a:pt x="23" y="53"/>
                  </a:moveTo>
                  <a:cubicBezTo>
                    <a:pt x="24" y="53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3" y="54"/>
                    <a:pt x="23" y="54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moveTo>
                    <a:pt x="15" y="49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5" y="12"/>
                    <a:pt x="17" y="10"/>
                    <a:pt x="19" y="10"/>
                  </a:cubicBezTo>
                  <a:cubicBezTo>
                    <a:pt x="20" y="10"/>
                    <a:pt x="22" y="12"/>
                    <a:pt x="22" y="14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50"/>
                    <a:pt x="21" y="51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1"/>
                    <a:pt x="16" y="50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5" y="49"/>
                    <a:pt x="15" y="49"/>
                    <a:pt x="15" y="49"/>
                  </a:cubicBezTo>
                  <a:moveTo>
                    <a:pt x="35" y="62"/>
                  </a:moveTo>
                  <a:cubicBezTo>
                    <a:pt x="20" y="62"/>
                    <a:pt x="20" y="62"/>
                    <a:pt x="20" y="62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5" y="57"/>
                    <a:pt x="35" y="57"/>
                    <a:pt x="35" y="57"/>
                  </a:cubicBezTo>
                  <a:lnTo>
                    <a:pt x="35" y="62"/>
                  </a:lnTo>
                  <a:close/>
                  <a:moveTo>
                    <a:pt x="27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76"/>
                    <a:pt x="35" y="76"/>
                    <a:pt x="35" y="76"/>
                  </a:cubicBezTo>
                  <a:lnTo>
                    <a:pt x="27" y="76"/>
                  </a:lnTo>
                  <a:close/>
                  <a:moveTo>
                    <a:pt x="24" y="96"/>
                  </a:moveTo>
                  <a:cubicBezTo>
                    <a:pt x="24" y="99"/>
                    <a:pt x="21" y="101"/>
                    <a:pt x="19" y="101"/>
                  </a:cubicBezTo>
                  <a:cubicBezTo>
                    <a:pt x="16" y="101"/>
                    <a:pt x="14" y="99"/>
                    <a:pt x="14" y="96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24" y="79"/>
                    <a:pt x="24" y="79"/>
                    <a:pt x="24" y="79"/>
                  </a:cubicBezTo>
                  <a:lnTo>
                    <a:pt x="24" y="96"/>
                  </a:lnTo>
                  <a:close/>
                  <a:moveTo>
                    <a:pt x="51" y="30"/>
                  </a:moveTo>
                  <a:cubicBezTo>
                    <a:pt x="53" y="30"/>
                    <a:pt x="54" y="32"/>
                    <a:pt x="53" y="34"/>
                  </a:cubicBezTo>
                  <a:cubicBezTo>
                    <a:pt x="53" y="34"/>
                    <a:pt x="53" y="35"/>
                    <a:pt x="52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7" y="34"/>
                    <a:pt x="47" y="34"/>
                  </a:cubicBezTo>
                  <a:cubicBezTo>
                    <a:pt x="47" y="33"/>
                    <a:pt x="47" y="32"/>
                    <a:pt x="47" y="31"/>
                  </a:cubicBezTo>
                  <a:cubicBezTo>
                    <a:pt x="47" y="30"/>
                    <a:pt x="48" y="30"/>
                    <a:pt x="49" y="30"/>
                  </a:cubicBezTo>
                  <a:cubicBezTo>
                    <a:pt x="50" y="29"/>
                    <a:pt x="50" y="29"/>
                    <a:pt x="50" y="29"/>
                  </a:cubicBezTo>
                  <a:lnTo>
                    <a:pt x="51" y="30"/>
                  </a:lnTo>
                  <a:close/>
                  <a:moveTo>
                    <a:pt x="108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2" y="0"/>
                    <a:pt x="90" y="2"/>
                    <a:pt x="90" y="5"/>
                  </a:cubicBezTo>
                  <a:cubicBezTo>
                    <a:pt x="90" y="7"/>
                    <a:pt x="92" y="9"/>
                    <a:pt x="95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6" y="12"/>
                    <a:pt x="98" y="13"/>
                    <a:pt x="100" y="14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9"/>
                    <a:pt x="88" y="4"/>
                    <a:pt x="82" y="4"/>
                  </a:cubicBezTo>
                  <a:cubicBezTo>
                    <a:pt x="75" y="4"/>
                    <a:pt x="70" y="9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9"/>
                    <a:pt x="25" y="4"/>
                    <a:pt x="19" y="4"/>
                  </a:cubicBezTo>
                  <a:cubicBezTo>
                    <a:pt x="12" y="4"/>
                    <a:pt x="7" y="9"/>
                    <a:pt x="7" y="1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100"/>
                    <a:pt x="14" y="104"/>
                    <a:pt x="19" y="104"/>
                  </a:cubicBezTo>
                  <a:cubicBezTo>
                    <a:pt x="23" y="104"/>
                    <a:pt x="27" y="100"/>
                    <a:pt x="27" y="96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1" y="32"/>
                    <a:pt x="32" y="33"/>
                    <a:pt x="32" y="33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9"/>
                    <a:pt x="49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1" y="39"/>
                    <a:pt x="52" y="38"/>
                    <a:pt x="53" y="38"/>
                  </a:cubicBezTo>
                  <a:cubicBezTo>
                    <a:pt x="68" y="33"/>
                    <a:pt x="68" y="33"/>
                    <a:pt x="68" y="33"/>
                  </a:cubicBezTo>
                  <a:cubicBezTo>
                    <a:pt x="69" y="33"/>
                    <a:pt x="70" y="32"/>
                    <a:pt x="70" y="31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7"/>
                    <a:pt x="72" y="60"/>
                    <a:pt x="74" y="62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8" y="83"/>
                    <a:pt x="98" y="80"/>
                    <a:pt x="98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89" y="77"/>
                    <a:pt x="89" y="77"/>
                    <a:pt x="89" y="77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2" y="60"/>
                    <a:pt x="93" y="57"/>
                    <a:pt x="93" y="54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9"/>
                    <a:pt x="97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100" y="104"/>
                    <a:pt x="100" y="104"/>
                    <a:pt x="100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5" y="47"/>
                    <a:pt x="106" y="44"/>
                    <a:pt x="104" y="41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5" y="13"/>
                    <a:pt x="107" y="12"/>
                    <a:pt x="107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9"/>
                    <a:pt x="112" y="7"/>
                    <a:pt x="112" y="5"/>
                  </a:cubicBezTo>
                  <a:cubicBezTo>
                    <a:pt x="112" y="2"/>
                    <a:pt x="110" y="0"/>
                    <a:pt x="10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67">
            <a:extLst>
              <a:ext uri="{FF2B5EF4-FFF2-40B4-BE49-F238E27FC236}">
                <a16:creationId xmlns:a16="http://schemas.microsoft.com/office/drawing/2014/main" id="{C825F8BB-377C-4730-B902-61B82263F5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7625" y="1538288"/>
            <a:ext cx="841375" cy="841375"/>
            <a:chOff x="1630" y="969"/>
            <a:chExt cx="530" cy="530"/>
          </a:xfrm>
        </p:grpSpPr>
        <p:sp>
          <p:nvSpPr>
            <p:cNvPr id="89" name="AutoShape 66">
              <a:extLst>
                <a:ext uri="{FF2B5EF4-FFF2-40B4-BE49-F238E27FC236}">
                  <a16:creationId xmlns:a16="http://schemas.microsoft.com/office/drawing/2014/main" id="{A3C100F9-4A39-4E75-A34B-0AAF6C93F0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0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68">
              <a:extLst>
                <a:ext uri="{FF2B5EF4-FFF2-40B4-BE49-F238E27FC236}">
                  <a16:creationId xmlns:a16="http://schemas.microsoft.com/office/drawing/2014/main" id="{5171EA10-E1DD-490D-9767-EFA8B552F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0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57CC7E8E-3F2D-4446-8406-842FA1369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8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70">
              <a:extLst>
                <a:ext uri="{FF2B5EF4-FFF2-40B4-BE49-F238E27FC236}">
                  <a16:creationId xmlns:a16="http://schemas.microsoft.com/office/drawing/2014/main" id="{3DCFE407-C6AC-431F-965D-63B1413E9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3" y="1292"/>
              <a:ext cx="17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D70B969A-1444-44B8-9E99-233FA495B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" y="1271"/>
              <a:ext cx="46" cy="46"/>
            </a:xfrm>
            <a:custGeom>
              <a:avLst/>
              <a:gdLst>
                <a:gd name="T0" fmla="*/ 9 w 18"/>
                <a:gd name="T1" fmla="*/ 15 h 18"/>
                <a:gd name="T2" fmla="*/ 3 w 18"/>
                <a:gd name="T3" fmla="*/ 9 h 18"/>
                <a:gd name="T4" fmla="*/ 9 w 18"/>
                <a:gd name="T5" fmla="*/ 3 h 18"/>
                <a:gd name="T6" fmla="*/ 15 w 18"/>
                <a:gd name="T7" fmla="*/ 9 h 18"/>
                <a:gd name="T8" fmla="*/ 9 w 18"/>
                <a:gd name="T9" fmla="*/ 15 h 18"/>
                <a:gd name="T10" fmla="*/ 9 w 18"/>
                <a:gd name="T11" fmla="*/ 0 h 18"/>
                <a:gd name="T12" fmla="*/ 0 w 18"/>
                <a:gd name="T13" fmla="*/ 9 h 18"/>
                <a:gd name="T14" fmla="*/ 9 w 18"/>
                <a:gd name="T15" fmla="*/ 18 h 18"/>
                <a:gd name="T16" fmla="*/ 18 w 18"/>
                <a:gd name="T17" fmla="*/ 9 h 18"/>
                <a:gd name="T18" fmla="*/ 9 w 1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5"/>
                  </a:moveTo>
                  <a:cubicBezTo>
                    <a:pt x="6" y="15"/>
                    <a:pt x="3" y="12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2" y="3"/>
                    <a:pt x="15" y="6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72">
              <a:extLst>
                <a:ext uri="{FF2B5EF4-FFF2-40B4-BE49-F238E27FC236}">
                  <a16:creationId xmlns:a16="http://schemas.microsoft.com/office/drawing/2014/main" id="{F45CAFBE-334B-4199-B1A4-CAE94DCAEE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5" y="1292"/>
              <a:ext cx="128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6FEC8CA0-8E52-4A05-9FB7-8ED039817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8" y="1143"/>
              <a:ext cx="282" cy="174"/>
            </a:xfrm>
            <a:custGeom>
              <a:avLst/>
              <a:gdLst>
                <a:gd name="T0" fmla="*/ 91 w 110"/>
                <a:gd name="T1" fmla="*/ 53 h 68"/>
                <a:gd name="T2" fmla="*/ 97 w 110"/>
                <a:gd name="T3" fmla="*/ 59 h 68"/>
                <a:gd name="T4" fmla="*/ 91 w 110"/>
                <a:gd name="T5" fmla="*/ 65 h 68"/>
                <a:gd name="T6" fmla="*/ 85 w 110"/>
                <a:gd name="T7" fmla="*/ 59 h 68"/>
                <a:gd name="T8" fmla="*/ 91 w 110"/>
                <a:gd name="T9" fmla="*/ 53 h 68"/>
                <a:gd name="T10" fmla="*/ 6 w 110"/>
                <a:gd name="T11" fmla="*/ 58 h 68"/>
                <a:gd name="T12" fmla="*/ 3 w 110"/>
                <a:gd name="T13" fmla="*/ 58 h 68"/>
                <a:gd name="T14" fmla="*/ 3 w 110"/>
                <a:gd name="T15" fmla="*/ 3 h 68"/>
                <a:gd name="T16" fmla="*/ 82 w 110"/>
                <a:gd name="T17" fmla="*/ 3 h 68"/>
                <a:gd name="T18" fmla="*/ 82 w 110"/>
                <a:gd name="T19" fmla="*/ 59 h 68"/>
                <a:gd name="T20" fmla="*/ 91 w 110"/>
                <a:gd name="T21" fmla="*/ 68 h 68"/>
                <a:gd name="T22" fmla="*/ 100 w 110"/>
                <a:gd name="T23" fmla="*/ 59 h 68"/>
                <a:gd name="T24" fmla="*/ 91 w 110"/>
                <a:gd name="T25" fmla="*/ 50 h 68"/>
                <a:gd name="T26" fmla="*/ 85 w 110"/>
                <a:gd name="T27" fmla="*/ 53 h 68"/>
                <a:gd name="T28" fmla="*/ 85 w 110"/>
                <a:gd name="T29" fmla="*/ 20 h 68"/>
                <a:gd name="T30" fmla="*/ 95 w 110"/>
                <a:gd name="T31" fmla="*/ 20 h 68"/>
                <a:gd name="T32" fmla="*/ 95 w 110"/>
                <a:gd name="T33" fmla="*/ 30 h 68"/>
                <a:gd name="T34" fmla="*/ 108 w 110"/>
                <a:gd name="T35" fmla="*/ 30 h 68"/>
                <a:gd name="T36" fmla="*/ 108 w 110"/>
                <a:gd name="T37" fmla="*/ 61 h 68"/>
                <a:gd name="T38" fmla="*/ 110 w 110"/>
                <a:gd name="T39" fmla="*/ 61 h 68"/>
                <a:gd name="T40" fmla="*/ 110 w 110"/>
                <a:gd name="T41" fmla="*/ 27 h 68"/>
                <a:gd name="T42" fmla="*/ 98 w 110"/>
                <a:gd name="T43" fmla="*/ 27 h 68"/>
                <a:gd name="T44" fmla="*/ 98 w 110"/>
                <a:gd name="T45" fmla="*/ 17 h 68"/>
                <a:gd name="T46" fmla="*/ 85 w 110"/>
                <a:gd name="T47" fmla="*/ 17 h 68"/>
                <a:gd name="T48" fmla="*/ 85 w 110"/>
                <a:gd name="T49" fmla="*/ 0 h 68"/>
                <a:gd name="T50" fmla="*/ 0 w 110"/>
                <a:gd name="T51" fmla="*/ 0 h 68"/>
                <a:gd name="T52" fmla="*/ 0 w 110"/>
                <a:gd name="T53" fmla="*/ 61 h 68"/>
                <a:gd name="T54" fmla="*/ 6 w 110"/>
                <a:gd name="T55" fmla="*/ 61 h 68"/>
                <a:gd name="T56" fmla="*/ 6 w 110"/>
                <a:gd name="T57" fmla="*/ 5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0" h="68">
                  <a:moveTo>
                    <a:pt x="91" y="53"/>
                  </a:moveTo>
                  <a:cubicBezTo>
                    <a:pt x="94" y="53"/>
                    <a:pt x="97" y="56"/>
                    <a:pt x="97" y="59"/>
                  </a:cubicBezTo>
                  <a:cubicBezTo>
                    <a:pt x="97" y="62"/>
                    <a:pt x="94" y="65"/>
                    <a:pt x="91" y="65"/>
                  </a:cubicBezTo>
                  <a:cubicBezTo>
                    <a:pt x="88" y="65"/>
                    <a:pt x="85" y="62"/>
                    <a:pt x="85" y="59"/>
                  </a:cubicBezTo>
                  <a:cubicBezTo>
                    <a:pt x="85" y="56"/>
                    <a:pt x="88" y="53"/>
                    <a:pt x="91" y="53"/>
                  </a:cubicBezTo>
                  <a:moveTo>
                    <a:pt x="6" y="58"/>
                  </a:moveTo>
                  <a:cubicBezTo>
                    <a:pt x="3" y="58"/>
                    <a:pt x="3" y="58"/>
                    <a:pt x="3" y="58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64"/>
                    <a:pt x="86" y="68"/>
                    <a:pt x="91" y="68"/>
                  </a:cubicBezTo>
                  <a:cubicBezTo>
                    <a:pt x="96" y="68"/>
                    <a:pt x="100" y="64"/>
                    <a:pt x="100" y="59"/>
                  </a:cubicBezTo>
                  <a:cubicBezTo>
                    <a:pt x="100" y="54"/>
                    <a:pt x="96" y="50"/>
                    <a:pt x="91" y="50"/>
                  </a:cubicBezTo>
                  <a:cubicBezTo>
                    <a:pt x="89" y="50"/>
                    <a:pt x="87" y="51"/>
                    <a:pt x="85" y="53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61"/>
                    <a:pt x="108" y="61"/>
                    <a:pt x="108" y="61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" y="61"/>
                    <a:pt x="6" y="61"/>
                    <a:pt x="6" y="61"/>
                  </a:cubicBezTo>
                  <a:lnTo>
                    <a:pt x="6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74">
              <a:extLst>
                <a:ext uri="{FF2B5EF4-FFF2-40B4-BE49-F238E27FC236}">
                  <a16:creationId xmlns:a16="http://schemas.microsoft.com/office/drawing/2014/main" id="{336F8172-0B6A-4E36-BB79-6E68CE6040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9" y="1320"/>
              <a:ext cx="354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BEC12035-1B9F-47BF-91E1-AC5FAB9A0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" y="1176"/>
              <a:ext cx="90" cy="49"/>
            </a:xfrm>
            <a:custGeom>
              <a:avLst/>
              <a:gdLst>
                <a:gd name="T0" fmla="*/ 90 w 90"/>
                <a:gd name="T1" fmla="*/ 21 h 49"/>
                <a:gd name="T2" fmla="*/ 13 w 90"/>
                <a:gd name="T3" fmla="*/ 21 h 49"/>
                <a:gd name="T4" fmla="*/ 28 w 90"/>
                <a:gd name="T5" fmla="*/ 5 h 49"/>
                <a:gd name="T6" fmla="*/ 23 w 90"/>
                <a:gd name="T7" fmla="*/ 0 h 49"/>
                <a:gd name="T8" fmla="*/ 0 w 90"/>
                <a:gd name="T9" fmla="*/ 23 h 49"/>
                <a:gd name="T10" fmla="*/ 23 w 90"/>
                <a:gd name="T11" fmla="*/ 49 h 49"/>
                <a:gd name="T12" fmla="*/ 28 w 90"/>
                <a:gd name="T13" fmla="*/ 41 h 49"/>
                <a:gd name="T14" fmla="*/ 13 w 90"/>
                <a:gd name="T15" fmla="*/ 28 h 49"/>
                <a:gd name="T16" fmla="*/ 90 w 90"/>
                <a:gd name="T17" fmla="*/ 28 h 49"/>
                <a:gd name="T18" fmla="*/ 90 w 90"/>
                <a:gd name="T19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49">
                  <a:moveTo>
                    <a:pt x="90" y="21"/>
                  </a:moveTo>
                  <a:lnTo>
                    <a:pt x="13" y="21"/>
                  </a:lnTo>
                  <a:lnTo>
                    <a:pt x="28" y="5"/>
                  </a:lnTo>
                  <a:lnTo>
                    <a:pt x="23" y="0"/>
                  </a:lnTo>
                  <a:lnTo>
                    <a:pt x="0" y="23"/>
                  </a:lnTo>
                  <a:lnTo>
                    <a:pt x="23" y="49"/>
                  </a:lnTo>
                  <a:lnTo>
                    <a:pt x="28" y="41"/>
                  </a:lnTo>
                  <a:lnTo>
                    <a:pt x="13" y="28"/>
                  </a:lnTo>
                  <a:lnTo>
                    <a:pt x="90" y="28"/>
                  </a:lnTo>
                  <a:lnTo>
                    <a:pt x="90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69330068-30CD-48C3-8D7B-CA2C8B154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5" y="1217"/>
              <a:ext cx="90" cy="49"/>
            </a:xfrm>
            <a:custGeom>
              <a:avLst/>
              <a:gdLst>
                <a:gd name="T0" fmla="*/ 0 w 90"/>
                <a:gd name="T1" fmla="*/ 28 h 49"/>
                <a:gd name="T2" fmla="*/ 77 w 90"/>
                <a:gd name="T3" fmla="*/ 28 h 49"/>
                <a:gd name="T4" fmla="*/ 62 w 90"/>
                <a:gd name="T5" fmla="*/ 44 h 49"/>
                <a:gd name="T6" fmla="*/ 67 w 90"/>
                <a:gd name="T7" fmla="*/ 49 h 49"/>
                <a:gd name="T8" fmla="*/ 90 w 90"/>
                <a:gd name="T9" fmla="*/ 26 h 49"/>
                <a:gd name="T10" fmla="*/ 67 w 90"/>
                <a:gd name="T11" fmla="*/ 0 h 49"/>
                <a:gd name="T12" fmla="*/ 62 w 90"/>
                <a:gd name="T13" fmla="*/ 8 h 49"/>
                <a:gd name="T14" fmla="*/ 77 w 90"/>
                <a:gd name="T15" fmla="*/ 21 h 49"/>
                <a:gd name="T16" fmla="*/ 0 w 90"/>
                <a:gd name="T17" fmla="*/ 21 h 49"/>
                <a:gd name="T18" fmla="*/ 0 w 90"/>
                <a:gd name="T19" fmla="*/ 2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49">
                  <a:moveTo>
                    <a:pt x="0" y="28"/>
                  </a:moveTo>
                  <a:lnTo>
                    <a:pt x="77" y="28"/>
                  </a:lnTo>
                  <a:lnTo>
                    <a:pt x="62" y="44"/>
                  </a:lnTo>
                  <a:lnTo>
                    <a:pt x="67" y="49"/>
                  </a:lnTo>
                  <a:lnTo>
                    <a:pt x="90" y="26"/>
                  </a:lnTo>
                  <a:lnTo>
                    <a:pt x="67" y="0"/>
                  </a:lnTo>
                  <a:lnTo>
                    <a:pt x="62" y="8"/>
                  </a:lnTo>
                  <a:lnTo>
                    <a:pt x="77" y="21"/>
                  </a:lnTo>
                  <a:lnTo>
                    <a:pt x="0" y="21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9" name="Group 79">
            <a:extLst>
              <a:ext uri="{FF2B5EF4-FFF2-40B4-BE49-F238E27FC236}">
                <a16:creationId xmlns:a16="http://schemas.microsoft.com/office/drawing/2014/main" id="{BA1FCB2A-C738-4E9C-9F0F-1B9976E29A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2200" y="1579563"/>
            <a:ext cx="758825" cy="758825"/>
            <a:chOff x="2288" y="995"/>
            <a:chExt cx="478" cy="478"/>
          </a:xfrm>
        </p:grpSpPr>
        <p:sp>
          <p:nvSpPr>
            <p:cNvPr id="100" name="AutoShape 78">
              <a:extLst>
                <a:ext uri="{FF2B5EF4-FFF2-40B4-BE49-F238E27FC236}">
                  <a16:creationId xmlns:a16="http://schemas.microsoft.com/office/drawing/2014/main" id="{3768B084-0047-448D-9195-2B8353FD32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8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0">
              <a:extLst>
                <a:ext uri="{FF2B5EF4-FFF2-40B4-BE49-F238E27FC236}">
                  <a16:creationId xmlns:a16="http://schemas.microsoft.com/office/drawing/2014/main" id="{D362C207-6F82-46D2-BA1D-DC5E3A594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0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81">
              <a:extLst>
                <a:ext uri="{FF2B5EF4-FFF2-40B4-BE49-F238E27FC236}">
                  <a16:creationId xmlns:a16="http://schemas.microsoft.com/office/drawing/2014/main" id="{1EBED908-AFC2-4265-8C18-C912CF15E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" y="1289"/>
              <a:ext cx="17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82">
              <a:extLst>
                <a:ext uri="{FF2B5EF4-FFF2-40B4-BE49-F238E27FC236}">
                  <a16:creationId xmlns:a16="http://schemas.microsoft.com/office/drawing/2014/main" id="{DBC168B1-C0FB-4E6F-9E3D-1F8AF0141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8" y="1270"/>
              <a:ext cx="44" cy="44"/>
            </a:xfrm>
            <a:custGeom>
              <a:avLst/>
              <a:gdLst>
                <a:gd name="T0" fmla="*/ 9 w 18"/>
                <a:gd name="T1" fmla="*/ 15 h 18"/>
                <a:gd name="T2" fmla="*/ 3 w 18"/>
                <a:gd name="T3" fmla="*/ 9 h 18"/>
                <a:gd name="T4" fmla="*/ 9 w 18"/>
                <a:gd name="T5" fmla="*/ 3 h 18"/>
                <a:gd name="T6" fmla="*/ 15 w 18"/>
                <a:gd name="T7" fmla="*/ 9 h 18"/>
                <a:gd name="T8" fmla="*/ 9 w 18"/>
                <a:gd name="T9" fmla="*/ 15 h 18"/>
                <a:gd name="T10" fmla="*/ 9 w 18"/>
                <a:gd name="T11" fmla="*/ 0 h 18"/>
                <a:gd name="T12" fmla="*/ 0 w 18"/>
                <a:gd name="T13" fmla="*/ 9 h 18"/>
                <a:gd name="T14" fmla="*/ 9 w 18"/>
                <a:gd name="T15" fmla="*/ 18 h 18"/>
                <a:gd name="T16" fmla="*/ 18 w 18"/>
                <a:gd name="T17" fmla="*/ 9 h 18"/>
                <a:gd name="T18" fmla="*/ 9 w 18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5"/>
                  </a:moveTo>
                  <a:cubicBezTo>
                    <a:pt x="6" y="15"/>
                    <a:pt x="3" y="12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2" y="3"/>
                    <a:pt x="15" y="6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83">
              <a:extLst>
                <a:ext uri="{FF2B5EF4-FFF2-40B4-BE49-F238E27FC236}">
                  <a16:creationId xmlns:a16="http://schemas.microsoft.com/office/drawing/2014/main" id="{4FD21967-44ED-47C4-AFC5-41B7FB2B8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" y="1289"/>
              <a:ext cx="123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4">
              <a:extLst>
                <a:ext uri="{FF2B5EF4-FFF2-40B4-BE49-F238E27FC236}">
                  <a16:creationId xmlns:a16="http://schemas.microsoft.com/office/drawing/2014/main" id="{DB6DFBC1-5F22-4B64-93EC-AC123C68E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1147"/>
              <a:ext cx="269" cy="167"/>
            </a:xfrm>
            <a:custGeom>
              <a:avLst/>
              <a:gdLst>
                <a:gd name="T0" fmla="*/ 91 w 110"/>
                <a:gd name="T1" fmla="*/ 53 h 68"/>
                <a:gd name="T2" fmla="*/ 97 w 110"/>
                <a:gd name="T3" fmla="*/ 59 h 68"/>
                <a:gd name="T4" fmla="*/ 91 w 110"/>
                <a:gd name="T5" fmla="*/ 65 h 68"/>
                <a:gd name="T6" fmla="*/ 85 w 110"/>
                <a:gd name="T7" fmla="*/ 59 h 68"/>
                <a:gd name="T8" fmla="*/ 91 w 110"/>
                <a:gd name="T9" fmla="*/ 53 h 68"/>
                <a:gd name="T10" fmla="*/ 6 w 110"/>
                <a:gd name="T11" fmla="*/ 58 h 68"/>
                <a:gd name="T12" fmla="*/ 3 w 110"/>
                <a:gd name="T13" fmla="*/ 58 h 68"/>
                <a:gd name="T14" fmla="*/ 3 w 110"/>
                <a:gd name="T15" fmla="*/ 3 h 68"/>
                <a:gd name="T16" fmla="*/ 82 w 110"/>
                <a:gd name="T17" fmla="*/ 3 h 68"/>
                <a:gd name="T18" fmla="*/ 82 w 110"/>
                <a:gd name="T19" fmla="*/ 59 h 68"/>
                <a:gd name="T20" fmla="*/ 91 w 110"/>
                <a:gd name="T21" fmla="*/ 68 h 68"/>
                <a:gd name="T22" fmla="*/ 100 w 110"/>
                <a:gd name="T23" fmla="*/ 59 h 68"/>
                <a:gd name="T24" fmla="*/ 91 w 110"/>
                <a:gd name="T25" fmla="*/ 50 h 68"/>
                <a:gd name="T26" fmla="*/ 85 w 110"/>
                <a:gd name="T27" fmla="*/ 53 h 68"/>
                <a:gd name="T28" fmla="*/ 85 w 110"/>
                <a:gd name="T29" fmla="*/ 20 h 68"/>
                <a:gd name="T30" fmla="*/ 95 w 110"/>
                <a:gd name="T31" fmla="*/ 20 h 68"/>
                <a:gd name="T32" fmla="*/ 95 w 110"/>
                <a:gd name="T33" fmla="*/ 30 h 68"/>
                <a:gd name="T34" fmla="*/ 108 w 110"/>
                <a:gd name="T35" fmla="*/ 30 h 68"/>
                <a:gd name="T36" fmla="*/ 108 w 110"/>
                <a:gd name="T37" fmla="*/ 61 h 68"/>
                <a:gd name="T38" fmla="*/ 110 w 110"/>
                <a:gd name="T39" fmla="*/ 61 h 68"/>
                <a:gd name="T40" fmla="*/ 110 w 110"/>
                <a:gd name="T41" fmla="*/ 27 h 68"/>
                <a:gd name="T42" fmla="*/ 98 w 110"/>
                <a:gd name="T43" fmla="*/ 27 h 68"/>
                <a:gd name="T44" fmla="*/ 98 w 110"/>
                <a:gd name="T45" fmla="*/ 17 h 68"/>
                <a:gd name="T46" fmla="*/ 85 w 110"/>
                <a:gd name="T47" fmla="*/ 17 h 68"/>
                <a:gd name="T48" fmla="*/ 85 w 110"/>
                <a:gd name="T49" fmla="*/ 0 h 68"/>
                <a:gd name="T50" fmla="*/ 0 w 110"/>
                <a:gd name="T51" fmla="*/ 0 h 68"/>
                <a:gd name="T52" fmla="*/ 0 w 110"/>
                <a:gd name="T53" fmla="*/ 61 h 68"/>
                <a:gd name="T54" fmla="*/ 6 w 110"/>
                <a:gd name="T55" fmla="*/ 61 h 68"/>
                <a:gd name="T56" fmla="*/ 6 w 110"/>
                <a:gd name="T57" fmla="*/ 5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0" h="68">
                  <a:moveTo>
                    <a:pt x="91" y="53"/>
                  </a:moveTo>
                  <a:cubicBezTo>
                    <a:pt x="94" y="53"/>
                    <a:pt x="97" y="56"/>
                    <a:pt x="97" y="59"/>
                  </a:cubicBezTo>
                  <a:cubicBezTo>
                    <a:pt x="97" y="62"/>
                    <a:pt x="94" y="65"/>
                    <a:pt x="91" y="65"/>
                  </a:cubicBezTo>
                  <a:cubicBezTo>
                    <a:pt x="88" y="65"/>
                    <a:pt x="85" y="62"/>
                    <a:pt x="85" y="59"/>
                  </a:cubicBezTo>
                  <a:cubicBezTo>
                    <a:pt x="85" y="56"/>
                    <a:pt x="88" y="53"/>
                    <a:pt x="91" y="53"/>
                  </a:cubicBezTo>
                  <a:moveTo>
                    <a:pt x="6" y="58"/>
                  </a:moveTo>
                  <a:cubicBezTo>
                    <a:pt x="3" y="58"/>
                    <a:pt x="3" y="58"/>
                    <a:pt x="3" y="58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64"/>
                    <a:pt x="86" y="68"/>
                    <a:pt x="91" y="68"/>
                  </a:cubicBezTo>
                  <a:cubicBezTo>
                    <a:pt x="96" y="68"/>
                    <a:pt x="100" y="64"/>
                    <a:pt x="100" y="59"/>
                  </a:cubicBezTo>
                  <a:cubicBezTo>
                    <a:pt x="100" y="54"/>
                    <a:pt x="96" y="50"/>
                    <a:pt x="91" y="50"/>
                  </a:cubicBezTo>
                  <a:cubicBezTo>
                    <a:pt x="89" y="50"/>
                    <a:pt x="87" y="51"/>
                    <a:pt x="85" y="53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61"/>
                    <a:pt x="108" y="61"/>
                    <a:pt x="108" y="61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6" y="61"/>
                    <a:pt x="6" y="61"/>
                    <a:pt x="6" y="61"/>
                  </a:cubicBezTo>
                  <a:lnTo>
                    <a:pt x="6" y="5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85">
              <a:extLst>
                <a:ext uri="{FF2B5EF4-FFF2-40B4-BE49-F238E27FC236}">
                  <a16:creationId xmlns:a16="http://schemas.microsoft.com/office/drawing/2014/main" id="{E8E7C010-1239-45A2-9B30-D01EB5754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9" y="1316"/>
              <a:ext cx="338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6">
              <a:extLst>
                <a:ext uri="{FF2B5EF4-FFF2-40B4-BE49-F238E27FC236}">
                  <a16:creationId xmlns:a16="http://schemas.microsoft.com/office/drawing/2014/main" id="{DF76509A-8DB9-43EC-AF2E-0265531AE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" y="1179"/>
              <a:ext cx="86" cy="46"/>
            </a:xfrm>
            <a:custGeom>
              <a:avLst/>
              <a:gdLst>
                <a:gd name="T0" fmla="*/ 86 w 86"/>
                <a:gd name="T1" fmla="*/ 19 h 46"/>
                <a:gd name="T2" fmla="*/ 12 w 86"/>
                <a:gd name="T3" fmla="*/ 19 h 46"/>
                <a:gd name="T4" fmla="*/ 27 w 86"/>
                <a:gd name="T5" fmla="*/ 5 h 46"/>
                <a:gd name="T6" fmla="*/ 22 w 86"/>
                <a:gd name="T7" fmla="*/ 0 h 46"/>
                <a:gd name="T8" fmla="*/ 0 w 86"/>
                <a:gd name="T9" fmla="*/ 22 h 46"/>
                <a:gd name="T10" fmla="*/ 22 w 86"/>
                <a:gd name="T11" fmla="*/ 46 h 46"/>
                <a:gd name="T12" fmla="*/ 27 w 86"/>
                <a:gd name="T13" fmla="*/ 39 h 46"/>
                <a:gd name="T14" fmla="*/ 12 w 86"/>
                <a:gd name="T15" fmla="*/ 27 h 46"/>
                <a:gd name="T16" fmla="*/ 86 w 86"/>
                <a:gd name="T17" fmla="*/ 27 h 46"/>
                <a:gd name="T18" fmla="*/ 86 w 86"/>
                <a:gd name="T19" fmla="*/ 1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46">
                  <a:moveTo>
                    <a:pt x="86" y="19"/>
                  </a:moveTo>
                  <a:lnTo>
                    <a:pt x="12" y="19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0" y="22"/>
                  </a:lnTo>
                  <a:lnTo>
                    <a:pt x="22" y="46"/>
                  </a:lnTo>
                  <a:lnTo>
                    <a:pt x="27" y="39"/>
                  </a:lnTo>
                  <a:lnTo>
                    <a:pt x="12" y="27"/>
                  </a:lnTo>
                  <a:lnTo>
                    <a:pt x="86" y="27"/>
                  </a:lnTo>
                  <a:lnTo>
                    <a:pt x="86" y="1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7">
              <a:extLst>
                <a:ext uri="{FF2B5EF4-FFF2-40B4-BE49-F238E27FC236}">
                  <a16:creationId xmlns:a16="http://schemas.microsoft.com/office/drawing/2014/main" id="{2727E022-A7EC-4413-BD6A-176E822FE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9" y="1218"/>
              <a:ext cx="86" cy="47"/>
            </a:xfrm>
            <a:custGeom>
              <a:avLst/>
              <a:gdLst>
                <a:gd name="T0" fmla="*/ 0 w 86"/>
                <a:gd name="T1" fmla="*/ 27 h 47"/>
                <a:gd name="T2" fmla="*/ 74 w 86"/>
                <a:gd name="T3" fmla="*/ 27 h 47"/>
                <a:gd name="T4" fmla="*/ 59 w 86"/>
                <a:gd name="T5" fmla="*/ 42 h 47"/>
                <a:gd name="T6" fmla="*/ 64 w 86"/>
                <a:gd name="T7" fmla="*/ 47 h 47"/>
                <a:gd name="T8" fmla="*/ 86 w 86"/>
                <a:gd name="T9" fmla="*/ 25 h 47"/>
                <a:gd name="T10" fmla="*/ 64 w 86"/>
                <a:gd name="T11" fmla="*/ 0 h 47"/>
                <a:gd name="T12" fmla="*/ 59 w 86"/>
                <a:gd name="T13" fmla="*/ 7 h 47"/>
                <a:gd name="T14" fmla="*/ 74 w 86"/>
                <a:gd name="T15" fmla="*/ 20 h 47"/>
                <a:gd name="T16" fmla="*/ 0 w 86"/>
                <a:gd name="T17" fmla="*/ 20 h 47"/>
                <a:gd name="T18" fmla="*/ 0 w 86"/>
                <a:gd name="T19" fmla="*/ 2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47">
                  <a:moveTo>
                    <a:pt x="0" y="27"/>
                  </a:moveTo>
                  <a:lnTo>
                    <a:pt x="74" y="27"/>
                  </a:lnTo>
                  <a:lnTo>
                    <a:pt x="59" y="42"/>
                  </a:lnTo>
                  <a:lnTo>
                    <a:pt x="64" y="47"/>
                  </a:lnTo>
                  <a:lnTo>
                    <a:pt x="86" y="25"/>
                  </a:lnTo>
                  <a:lnTo>
                    <a:pt x="64" y="0"/>
                  </a:lnTo>
                  <a:lnTo>
                    <a:pt x="59" y="7"/>
                  </a:lnTo>
                  <a:lnTo>
                    <a:pt x="74" y="20"/>
                  </a:lnTo>
                  <a:lnTo>
                    <a:pt x="0" y="2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90">
            <a:extLst>
              <a:ext uri="{FF2B5EF4-FFF2-40B4-BE49-F238E27FC236}">
                <a16:creationId xmlns:a16="http://schemas.microsoft.com/office/drawing/2014/main" id="{6B7F21D1-81AB-4245-9371-92B8C922CE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9800" y="1538288"/>
            <a:ext cx="841375" cy="841375"/>
            <a:chOff x="2992" y="969"/>
            <a:chExt cx="530" cy="530"/>
          </a:xfrm>
        </p:grpSpPr>
        <p:sp>
          <p:nvSpPr>
            <p:cNvPr id="110" name="AutoShape 89">
              <a:extLst>
                <a:ext uri="{FF2B5EF4-FFF2-40B4-BE49-F238E27FC236}">
                  <a16:creationId xmlns:a16="http://schemas.microsoft.com/office/drawing/2014/main" id="{26EFACCB-F64E-4F42-B930-5F34C183C2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2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Oval 91">
              <a:extLst>
                <a:ext uri="{FF2B5EF4-FFF2-40B4-BE49-F238E27FC236}">
                  <a16:creationId xmlns:a16="http://schemas.microsoft.com/office/drawing/2014/main" id="{A06CB1F7-AF37-4EB5-A314-149C47B92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2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2">
              <a:extLst>
                <a:ext uri="{FF2B5EF4-FFF2-40B4-BE49-F238E27FC236}">
                  <a16:creationId xmlns:a16="http://schemas.microsoft.com/office/drawing/2014/main" id="{C081E9A0-30C8-441A-BBE8-6F00C6267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3">
              <a:extLst>
                <a:ext uri="{FF2B5EF4-FFF2-40B4-BE49-F238E27FC236}">
                  <a16:creationId xmlns:a16="http://schemas.microsoft.com/office/drawing/2014/main" id="{91D3AC2A-D2EA-494C-B64F-7896F7AF3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2" y="1120"/>
              <a:ext cx="295" cy="312"/>
            </a:xfrm>
            <a:custGeom>
              <a:avLst/>
              <a:gdLst>
                <a:gd name="T0" fmla="*/ 102 w 115"/>
                <a:gd name="T1" fmla="*/ 36 h 122"/>
                <a:gd name="T2" fmla="*/ 107 w 115"/>
                <a:gd name="T3" fmla="*/ 52 h 122"/>
                <a:gd name="T4" fmla="*/ 67 w 115"/>
                <a:gd name="T5" fmla="*/ 69 h 122"/>
                <a:gd name="T6" fmla="*/ 77 w 115"/>
                <a:gd name="T7" fmla="*/ 64 h 122"/>
                <a:gd name="T8" fmla="*/ 64 w 115"/>
                <a:gd name="T9" fmla="*/ 86 h 122"/>
                <a:gd name="T10" fmla="*/ 67 w 115"/>
                <a:gd name="T11" fmla="*/ 82 h 122"/>
                <a:gd name="T12" fmla="*/ 69 w 115"/>
                <a:gd name="T13" fmla="*/ 77 h 122"/>
                <a:gd name="T14" fmla="*/ 69 w 115"/>
                <a:gd name="T15" fmla="*/ 74 h 122"/>
                <a:gd name="T16" fmla="*/ 50 w 115"/>
                <a:gd name="T17" fmla="*/ 114 h 122"/>
                <a:gd name="T18" fmla="*/ 54 w 115"/>
                <a:gd name="T19" fmla="*/ 87 h 122"/>
                <a:gd name="T20" fmla="*/ 57 w 115"/>
                <a:gd name="T21" fmla="*/ 88 h 122"/>
                <a:gd name="T22" fmla="*/ 58 w 115"/>
                <a:gd name="T23" fmla="*/ 88 h 122"/>
                <a:gd name="T24" fmla="*/ 61 w 115"/>
                <a:gd name="T25" fmla="*/ 87 h 122"/>
                <a:gd name="T26" fmla="*/ 60 w 115"/>
                <a:gd name="T27" fmla="*/ 77 h 122"/>
                <a:gd name="T28" fmla="*/ 37 w 115"/>
                <a:gd name="T29" fmla="*/ 60 h 122"/>
                <a:gd name="T30" fmla="*/ 25 w 115"/>
                <a:gd name="T31" fmla="*/ 60 h 122"/>
                <a:gd name="T32" fmla="*/ 13 w 115"/>
                <a:gd name="T33" fmla="*/ 51 h 122"/>
                <a:gd name="T34" fmla="*/ 3 w 115"/>
                <a:gd name="T35" fmla="*/ 36 h 122"/>
                <a:gd name="T36" fmla="*/ 7 w 115"/>
                <a:gd name="T37" fmla="*/ 25 h 122"/>
                <a:gd name="T38" fmla="*/ 25 w 115"/>
                <a:gd name="T39" fmla="*/ 20 h 122"/>
                <a:gd name="T40" fmla="*/ 39 w 115"/>
                <a:gd name="T41" fmla="*/ 22 h 122"/>
                <a:gd name="T42" fmla="*/ 46 w 115"/>
                <a:gd name="T43" fmla="*/ 17 h 122"/>
                <a:gd name="T44" fmla="*/ 49 w 115"/>
                <a:gd name="T45" fmla="*/ 30 h 122"/>
                <a:gd name="T46" fmla="*/ 51 w 115"/>
                <a:gd name="T47" fmla="*/ 45 h 122"/>
                <a:gd name="T48" fmla="*/ 48 w 115"/>
                <a:gd name="T49" fmla="*/ 51 h 122"/>
                <a:gd name="T50" fmla="*/ 62 w 115"/>
                <a:gd name="T51" fmla="*/ 3 h 122"/>
                <a:gd name="T52" fmla="*/ 74 w 115"/>
                <a:gd name="T53" fmla="*/ 24 h 122"/>
                <a:gd name="T54" fmla="*/ 61 w 115"/>
                <a:gd name="T55" fmla="*/ 65 h 122"/>
                <a:gd name="T56" fmla="*/ 58 w 115"/>
                <a:gd name="T57" fmla="*/ 64 h 122"/>
                <a:gd name="T58" fmla="*/ 53 w 115"/>
                <a:gd name="T59" fmla="*/ 65 h 122"/>
                <a:gd name="T60" fmla="*/ 50 w 115"/>
                <a:gd name="T61" fmla="*/ 66 h 122"/>
                <a:gd name="T62" fmla="*/ 58 w 115"/>
                <a:gd name="T63" fmla="*/ 56 h 122"/>
                <a:gd name="T64" fmla="*/ 61 w 115"/>
                <a:gd name="T65" fmla="*/ 32 h 122"/>
                <a:gd name="T66" fmla="*/ 57 w 115"/>
                <a:gd name="T67" fmla="*/ 24 h 122"/>
                <a:gd name="T68" fmla="*/ 66 w 115"/>
                <a:gd name="T69" fmla="*/ 74 h 122"/>
                <a:gd name="T70" fmla="*/ 63 w 115"/>
                <a:gd name="T71" fmla="*/ 82 h 122"/>
                <a:gd name="T72" fmla="*/ 64 w 115"/>
                <a:gd name="T73" fmla="*/ 77 h 122"/>
                <a:gd name="T74" fmla="*/ 50 w 115"/>
                <a:gd name="T75" fmla="*/ 71 h 122"/>
                <a:gd name="T76" fmla="*/ 52 w 115"/>
                <a:gd name="T77" fmla="*/ 69 h 122"/>
                <a:gd name="T78" fmla="*/ 57 w 115"/>
                <a:gd name="T79" fmla="*/ 67 h 122"/>
                <a:gd name="T80" fmla="*/ 63 w 115"/>
                <a:gd name="T81" fmla="*/ 69 h 122"/>
                <a:gd name="T82" fmla="*/ 113 w 115"/>
                <a:gd name="T83" fmla="*/ 39 h 122"/>
                <a:gd name="T84" fmla="*/ 96 w 115"/>
                <a:gd name="T85" fmla="*/ 35 h 122"/>
                <a:gd name="T86" fmla="*/ 62 w 115"/>
                <a:gd name="T87" fmla="*/ 0 h 122"/>
                <a:gd name="T88" fmla="*/ 22 w 115"/>
                <a:gd name="T89" fmla="*/ 18 h 122"/>
                <a:gd name="T90" fmla="*/ 8 w 115"/>
                <a:gd name="T91" fmla="*/ 33 h 122"/>
                <a:gd name="T92" fmla="*/ 4 w 115"/>
                <a:gd name="T93" fmla="*/ 57 h 122"/>
                <a:gd name="T94" fmla="*/ 24 w 115"/>
                <a:gd name="T95" fmla="*/ 71 h 122"/>
                <a:gd name="T96" fmla="*/ 47 w 115"/>
                <a:gd name="T97" fmla="*/ 70 h 122"/>
                <a:gd name="T98" fmla="*/ 55 w 115"/>
                <a:gd name="T99" fmla="*/ 122 h 122"/>
                <a:gd name="T100" fmla="*/ 77 w 115"/>
                <a:gd name="T101" fmla="*/ 114 h 122"/>
                <a:gd name="T102" fmla="*/ 114 w 115"/>
                <a:gd name="T103" fmla="*/ 4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" h="122">
                  <a:moveTo>
                    <a:pt x="107" y="52"/>
                  </a:moveTo>
                  <a:cubicBezTo>
                    <a:pt x="103" y="54"/>
                    <a:pt x="98" y="53"/>
                    <a:pt x="95" y="49"/>
                  </a:cubicBezTo>
                  <a:cubicBezTo>
                    <a:pt x="94" y="47"/>
                    <a:pt x="93" y="45"/>
                    <a:pt x="94" y="43"/>
                  </a:cubicBezTo>
                  <a:cubicBezTo>
                    <a:pt x="94" y="40"/>
                    <a:pt x="95" y="38"/>
                    <a:pt x="97" y="37"/>
                  </a:cubicBezTo>
                  <a:cubicBezTo>
                    <a:pt x="99" y="36"/>
                    <a:pt x="101" y="36"/>
                    <a:pt x="102" y="36"/>
                  </a:cubicBezTo>
                  <a:cubicBezTo>
                    <a:pt x="104" y="36"/>
                    <a:pt x="105" y="36"/>
                    <a:pt x="106" y="36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7"/>
                    <a:pt x="110" y="50"/>
                    <a:pt x="107" y="52"/>
                  </a:cubicBezTo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3" y="53"/>
                    <a:pt x="93" y="53"/>
                    <a:pt x="93" y="53"/>
                  </a:cubicBezTo>
                  <a:lnTo>
                    <a:pt x="77" y="64"/>
                  </a:lnTo>
                  <a:close/>
                  <a:moveTo>
                    <a:pt x="74" y="114"/>
                  </a:moveTo>
                  <a:cubicBezTo>
                    <a:pt x="74" y="117"/>
                    <a:pt x="72" y="119"/>
                    <a:pt x="69" y="119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66" y="119"/>
                    <a:pt x="64" y="117"/>
                    <a:pt x="64" y="114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5"/>
                    <a:pt x="65" y="85"/>
                    <a:pt x="65" y="85"/>
                  </a:cubicBezTo>
                  <a:cubicBezTo>
                    <a:pt x="65" y="85"/>
                    <a:pt x="65" y="84"/>
                    <a:pt x="65" y="84"/>
                  </a:cubicBezTo>
                  <a:cubicBezTo>
                    <a:pt x="66" y="84"/>
                    <a:pt x="67" y="83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1"/>
                    <a:pt x="68" y="81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79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9" y="78"/>
                    <a:pt x="69" y="78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6"/>
                    <a:pt x="69" y="76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5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4" y="70"/>
                    <a:pt x="74" y="70"/>
                    <a:pt x="74" y="70"/>
                  </a:cubicBezTo>
                  <a:lnTo>
                    <a:pt x="74" y="114"/>
                  </a:lnTo>
                  <a:close/>
                  <a:moveTo>
                    <a:pt x="56" y="119"/>
                  </a:moveTo>
                  <a:cubicBezTo>
                    <a:pt x="55" y="119"/>
                    <a:pt x="55" y="119"/>
                    <a:pt x="55" y="119"/>
                  </a:cubicBezTo>
                  <a:cubicBezTo>
                    <a:pt x="52" y="119"/>
                    <a:pt x="50" y="117"/>
                    <a:pt x="50" y="114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1" y="86"/>
                    <a:pt x="52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7"/>
                  </a:cubicBezTo>
                  <a:cubicBezTo>
                    <a:pt x="59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61" y="117"/>
                    <a:pt x="58" y="119"/>
                    <a:pt x="56" y="119"/>
                  </a:cubicBezTo>
                  <a:moveTo>
                    <a:pt x="58" y="73"/>
                  </a:moveTo>
                  <a:cubicBezTo>
                    <a:pt x="60" y="77"/>
                    <a:pt x="60" y="77"/>
                    <a:pt x="60" y="77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79"/>
                    <a:pt x="50" y="79"/>
                    <a:pt x="50" y="79"/>
                  </a:cubicBezTo>
                  <a:lnTo>
                    <a:pt x="58" y="73"/>
                  </a:lnTo>
                  <a:close/>
                  <a:moveTo>
                    <a:pt x="41" y="58"/>
                  </a:moveTo>
                  <a:cubicBezTo>
                    <a:pt x="40" y="59"/>
                    <a:pt x="38" y="59"/>
                    <a:pt x="37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4" y="60"/>
                    <a:pt x="23" y="59"/>
                    <a:pt x="21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49"/>
                    <a:pt x="12" y="48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4"/>
                    <a:pt x="12" y="32"/>
                    <a:pt x="12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2"/>
                    <a:pt x="23" y="21"/>
                    <a:pt x="24" y="2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7" y="21"/>
                    <a:pt x="38" y="21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2"/>
                    <a:pt x="50" y="33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7"/>
                    <a:pt x="49" y="48"/>
                    <a:pt x="49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57"/>
                    <a:pt x="42" y="57"/>
                    <a:pt x="42" y="57"/>
                  </a:cubicBezTo>
                  <a:lnTo>
                    <a:pt x="41" y="58"/>
                  </a:lnTo>
                  <a:close/>
                  <a:moveTo>
                    <a:pt x="62" y="3"/>
                  </a:moveTo>
                  <a:cubicBezTo>
                    <a:pt x="73" y="3"/>
                    <a:pt x="82" y="12"/>
                    <a:pt x="82" y="2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2" y="66"/>
                    <a:pt x="62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9" y="65"/>
                    <a:pt x="59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6" y="64"/>
                    <a:pt x="56" y="64"/>
                    <a:pt x="55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4" y="65"/>
                    <a:pt x="54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2" y="65"/>
                    <a:pt x="52" y="65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1" y="66"/>
                    <a:pt x="51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3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2" y="31"/>
                    <a:pt x="52" y="31"/>
                    <a:pt x="52" y="30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6" y="8"/>
                    <a:pt x="53" y="3"/>
                    <a:pt x="62" y="3"/>
                  </a:cubicBezTo>
                  <a:moveTo>
                    <a:pt x="65" y="73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5"/>
                    <a:pt x="66" y="75"/>
                    <a:pt x="66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8"/>
                    <a:pt x="65" y="79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4" y="81"/>
                    <a:pt x="64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3"/>
                    <a:pt x="62" y="83"/>
                    <a:pt x="62" y="83"/>
                  </a:cubicBezTo>
                  <a:cubicBezTo>
                    <a:pt x="61" y="84"/>
                    <a:pt x="61" y="84"/>
                    <a:pt x="60" y="84"/>
                  </a:cubicBezTo>
                  <a:cubicBezTo>
                    <a:pt x="58" y="85"/>
                    <a:pt x="56" y="85"/>
                    <a:pt x="54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5"/>
                    <a:pt x="49" y="73"/>
                    <a:pt x="49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0"/>
                    <a:pt x="51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69"/>
                    <a:pt x="51" y="69"/>
                  </a:cubicBezTo>
                  <a:cubicBezTo>
                    <a:pt x="51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4" y="68"/>
                    <a:pt x="55" y="67"/>
                    <a:pt x="56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8" y="67"/>
                    <a:pt x="59" y="67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1" y="68"/>
                    <a:pt x="62" y="6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3" y="70"/>
                    <a:pt x="64" y="70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2"/>
                    <a:pt x="65" y="72"/>
                    <a:pt x="65" y="73"/>
                  </a:cubicBezTo>
                  <a:moveTo>
                    <a:pt x="114" y="41"/>
                  </a:moveTo>
                  <a:cubicBezTo>
                    <a:pt x="113" y="39"/>
                    <a:pt x="113" y="39"/>
                    <a:pt x="113" y="39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5" y="32"/>
                    <a:pt x="100" y="32"/>
                    <a:pt x="96" y="35"/>
                  </a:cubicBezTo>
                  <a:cubicBezTo>
                    <a:pt x="93" y="37"/>
                    <a:pt x="91" y="39"/>
                    <a:pt x="91" y="42"/>
                  </a:cubicBezTo>
                  <a:cubicBezTo>
                    <a:pt x="91" y="44"/>
                    <a:pt x="91" y="45"/>
                    <a:pt x="91" y="46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5" y="10"/>
                    <a:pt x="75" y="0"/>
                    <a:pt x="62" y="0"/>
                  </a:cubicBezTo>
                  <a:cubicBezTo>
                    <a:pt x="51" y="0"/>
                    <a:pt x="42" y="8"/>
                    <a:pt x="39" y="19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9"/>
                    <a:pt x="21" y="19"/>
                    <a:pt x="20" y="2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2"/>
                    <a:pt x="9" y="32"/>
                    <a:pt x="8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9" y="50"/>
                    <a:pt x="10" y="51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2"/>
                    <a:pt x="23" y="62"/>
                    <a:pt x="23" y="62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2"/>
                    <a:pt x="40" y="61"/>
                    <a:pt x="41" y="61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5" y="73"/>
                    <a:pt x="45" y="76"/>
                    <a:pt x="46" y="79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114"/>
                    <a:pt x="47" y="114"/>
                    <a:pt x="47" y="114"/>
                  </a:cubicBezTo>
                  <a:cubicBezTo>
                    <a:pt x="47" y="118"/>
                    <a:pt x="51" y="122"/>
                    <a:pt x="55" y="122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58" y="122"/>
                    <a:pt x="61" y="120"/>
                    <a:pt x="62" y="118"/>
                  </a:cubicBezTo>
                  <a:cubicBezTo>
                    <a:pt x="64" y="120"/>
                    <a:pt x="66" y="122"/>
                    <a:pt x="69" y="122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74" y="122"/>
                    <a:pt x="77" y="118"/>
                    <a:pt x="77" y="114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8" y="55"/>
                    <a:pt x="100" y="56"/>
                    <a:pt x="102" y="56"/>
                  </a:cubicBezTo>
                  <a:cubicBezTo>
                    <a:pt x="105" y="56"/>
                    <a:pt x="107" y="55"/>
                    <a:pt x="109" y="54"/>
                  </a:cubicBezTo>
                  <a:cubicBezTo>
                    <a:pt x="113" y="51"/>
                    <a:pt x="115" y="46"/>
                    <a:pt x="11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4">
              <a:extLst>
                <a:ext uri="{FF2B5EF4-FFF2-40B4-BE49-F238E27FC236}">
                  <a16:creationId xmlns:a16="http://schemas.microsoft.com/office/drawing/2014/main" id="{1F5EF735-4F6D-43F3-BA2F-1A13D329B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6" y="1189"/>
              <a:ext cx="69" cy="69"/>
            </a:xfrm>
            <a:custGeom>
              <a:avLst/>
              <a:gdLst>
                <a:gd name="T0" fmla="*/ 21 w 27"/>
                <a:gd name="T1" fmla="*/ 21 h 27"/>
                <a:gd name="T2" fmla="*/ 14 w 27"/>
                <a:gd name="T3" fmla="*/ 24 h 27"/>
                <a:gd name="T4" fmla="*/ 6 w 27"/>
                <a:gd name="T5" fmla="*/ 21 h 27"/>
                <a:gd name="T6" fmla="*/ 3 w 27"/>
                <a:gd name="T7" fmla="*/ 14 h 27"/>
                <a:gd name="T8" fmla="*/ 6 w 27"/>
                <a:gd name="T9" fmla="*/ 6 h 27"/>
                <a:gd name="T10" fmla="*/ 13 w 27"/>
                <a:gd name="T11" fmla="*/ 3 h 27"/>
                <a:gd name="T12" fmla="*/ 21 w 27"/>
                <a:gd name="T13" fmla="*/ 6 h 27"/>
                <a:gd name="T14" fmla="*/ 24 w 27"/>
                <a:gd name="T15" fmla="*/ 13 h 27"/>
                <a:gd name="T16" fmla="*/ 21 w 27"/>
                <a:gd name="T17" fmla="*/ 21 h 27"/>
                <a:gd name="T18" fmla="*/ 13 w 27"/>
                <a:gd name="T19" fmla="*/ 0 h 27"/>
                <a:gd name="T20" fmla="*/ 4 w 27"/>
                <a:gd name="T21" fmla="*/ 4 h 27"/>
                <a:gd name="T22" fmla="*/ 0 w 27"/>
                <a:gd name="T23" fmla="*/ 14 h 27"/>
                <a:gd name="T24" fmla="*/ 4 w 27"/>
                <a:gd name="T25" fmla="*/ 23 h 27"/>
                <a:gd name="T26" fmla="*/ 14 w 27"/>
                <a:gd name="T27" fmla="*/ 27 h 27"/>
                <a:gd name="T28" fmla="*/ 14 w 27"/>
                <a:gd name="T29" fmla="*/ 27 h 27"/>
                <a:gd name="T30" fmla="*/ 23 w 27"/>
                <a:gd name="T31" fmla="*/ 23 h 27"/>
                <a:gd name="T32" fmla="*/ 27 w 27"/>
                <a:gd name="T33" fmla="*/ 13 h 27"/>
                <a:gd name="T34" fmla="*/ 23 w 27"/>
                <a:gd name="T35" fmla="*/ 4 h 27"/>
                <a:gd name="T36" fmla="*/ 13 w 27"/>
                <a:gd name="T3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7">
                  <a:moveTo>
                    <a:pt x="21" y="21"/>
                  </a:moveTo>
                  <a:cubicBezTo>
                    <a:pt x="19" y="23"/>
                    <a:pt x="17" y="24"/>
                    <a:pt x="14" y="24"/>
                  </a:cubicBezTo>
                  <a:cubicBezTo>
                    <a:pt x="11" y="24"/>
                    <a:pt x="8" y="23"/>
                    <a:pt x="6" y="21"/>
                  </a:cubicBezTo>
                  <a:cubicBezTo>
                    <a:pt x="4" y="19"/>
                    <a:pt x="3" y="16"/>
                    <a:pt x="3" y="14"/>
                  </a:cubicBezTo>
                  <a:cubicBezTo>
                    <a:pt x="3" y="11"/>
                    <a:pt x="4" y="8"/>
                    <a:pt x="6" y="6"/>
                  </a:cubicBezTo>
                  <a:cubicBezTo>
                    <a:pt x="8" y="4"/>
                    <a:pt x="11" y="3"/>
                    <a:pt x="13" y="3"/>
                  </a:cubicBezTo>
                  <a:cubicBezTo>
                    <a:pt x="16" y="3"/>
                    <a:pt x="19" y="4"/>
                    <a:pt x="21" y="6"/>
                  </a:cubicBezTo>
                  <a:cubicBezTo>
                    <a:pt x="23" y="8"/>
                    <a:pt x="24" y="10"/>
                    <a:pt x="24" y="13"/>
                  </a:cubicBezTo>
                  <a:cubicBezTo>
                    <a:pt x="24" y="16"/>
                    <a:pt x="23" y="19"/>
                    <a:pt x="21" y="21"/>
                  </a:cubicBezTo>
                  <a:moveTo>
                    <a:pt x="13" y="0"/>
                  </a:moveTo>
                  <a:cubicBezTo>
                    <a:pt x="10" y="0"/>
                    <a:pt x="6" y="1"/>
                    <a:pt x="4" y="4"/>
                  </a:cubicBezTo>
                  <a:cubicBezTo>
                    <a:pt x="1" y="7"/>
                    <a:pt x="0" y="10"/>
                    <a:pt x="0" y="14"/>
                  </a:cubicBezTo>
                  <a:cubicBezTo>
                    <a:pt x="0" y="17"/>
                    <a:pt x="2" y="21"/>
                    <a:pt x="4" y="23"/>
                  </a:cubicBezTo>
                  <a:cubicBezTo>
                    <a:pt x="7" y="25"/>
                    <a:pt x="10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7" y="27"/>
                    <a:pt x="21" y="25"/>
                    <a:pt x="23" y="23"/>
                  </a:cubicBezTo>
                  <a:cubicBezTo>
                    <a:pt x="26" y="20"/>
                    <a:pt x="27" y="17"/>
                    <a:pt x="27" y="13"/>
                  </a:cubicBezTo>
                  <a:cubicBezTo>
                    <a:pt x="27" y="9"/>
                    <a:pt x="26" y="6"/>
                    <a:pt x="23" y="4"/>
                  </a:cubicBezTo>
                  <a:cubicBezTo>
                    <a:pt x="20" y="1"/>
                    <a:pt x="17" y="0"/>
                    <a:pt x="1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5">
              <a:extLst>
                <a:ext uri="{FF2B5EF4-FFF2-40B4-BE49-F238E27FC236}">
                  <a16:creationId xmlns:a16="http://schemas.microsoft.com/office/drawing/2014/main" id="{66D34275-38FB-488C-BEAD-A1F5E1CA8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7" y="1038"/>
              <a:ext cx="88" cy="77"/>
            </a:xfrm>
            <a:custGeom>
              <a:avLst/>
              <a:gdLst>
                <a:gd name="T0" fmla="*/ 13 w 34"/>
                <a:gd name="T1" fmla="*/ 4 h 30"/>
                <a:gd name="T2" fmla="*/ 13 w 34"/>
                <a:gd name="T3" fmla="*/ 12 h 30"/>
                <a:gd name="T4" fmla="*/ 5 w 34"/>
                <a:gd name="T5" fmla="*/ 12 h 30"/>
                <a:gd name="T6" fmla="*/ 13 w 34"/>
                <a:gd name="T7" fmla="*/ 4 h 30"/>
                <a:gd name="T8" fmla="*/ 29 w 34"/>
                <a:gd name="T9" fmla="*/ 12 h 30"/>
                <a:gd name="T10" fmla="*/ 22 w 34"/>
                <a:gd name="T11" fmla="*/ 12 h 30"/>
                <a:gd name="T12" fmla="*/ 22 w 34"/>
                <a:gd name="T13" fmla="*/ 4 h 30"/>
                <a:gd name="T14" fmla="*/ 29 w 34"/>
                <a:gd name="T15" fmla="*/ 12 h 30"/>
                <a:gd name="T16" fmla="*/ 15 w 34"/>
                <a:gd name="T17" fmla="*/ 3 h 30"/>
                <a:gd name="T18" fmla="*/ 17 w 34"/>
                <a:gd name="T19" fmla="*/ 3 h 30"/>
                <a:gd name="T20" fmla="*/ 19 w 34"/>
                <a:gd name="T21" fmla="*/ 3 h 30"/>
                <a:gd name="T22" fmla="*/ 19 w 34"/>
                <a:gd name="T23" fmla="*/ 12 h 30"/>
                <a:gd name="T24" fmla="*/ 15 w 34"/>
                <a:gd name="T25" fmla="*/ 12 h 30"/>
                <a:gd name="T26" fmla="*/ 15 w 34"/>
                <a:gd name="T27" fmla="*/ 3 h 30"/>
                <a:gd name="T28" fmla="*/ 29 w 34"/>
                <a:gd name="T29" fmla="*/ 15 h 30"/>
                <a:gd name="T30" fmla="*/ 17 w 34"/>
                <a:gd name="T31" fmla="*/ 28 h 30"/>
                <a:gd name="T32" fmla="*/ 5 w 34"/>
                <a:gd name="T33" fmla="*/ 15 h 30"/>
                <a:gd name="T34" fmla="*/ 5 w 34"/>
                <a:gd name="T35" fmla="*/ 15 h 30"/>
                <a:gd name="T36" fmla="*/ 13 w 34"/>
                <a:gd name="T37" fmla="*/ 15 h 30"/>
                <a:gd name="T38" fmla="*/ 22 w 34"/>
                <a:gd name="T39" fmla="*/ 15 h 30"/>
                <a:gd name="T40" fmla="*/ 29 w 34"/>
                <a:gd name="T41" fmla="*/ 15 h 30"/>
                <a:gd name="T42" fmla="*/ 29 w 34"/>
                <a:gd name="T43" fmla="*/ 15 h 30"/>
                <a:gd name="T44" fmla="*/ 2 w 34"/>
                <a:gd name="T45" fmla="*/ 15 h 30"/>
                <a:gd name="T46" fmla="*/ 17 w 34"/>
                <a:gd name="T47" fmla="*/ 30 h 30"/>
                <a:gd name="T48" fmla="*/ 32 w 34"/>
                <a:gd name="T49" fmla="*/ 15 h 30"/>
                <a:gd name="T50" fmla="*/ 32 w 34"/>
                <a:gd name="T51" fmla="*/ 15 h 30"/>
                <a:gd name="T52" fmla="*/ 34 w 34"/>
                <a:gd name="T53" fmla="*/ 15 h 30"/>
                <a:gd name="T54" fmla="*/ 34 w 34"/>
                <a:gd name="T55" fmla="*/ 12 h 30"/>
                <a:gd name="T56" fmla="*/ 32 w 34"/>
                <a:gd name="T57" fmla="*/ 12 h 30"/>
                <a:gd name="T58" fmla="*/ 22 w 34"/>
                <a:gd name="T59" fmla="*/ 1 h 30"/>
                <a:gd name="T60" fmla="*/ 22 w 34"/>
                <a:gd name="T61" fmla="*/ 0 h 30"/>
                <a:gd name="T62" fmla="*/ 13 w 34"/>
                <a:gd name="T63" fmla="*/ 0 h 30"/>
                <a:gd name="T64" fmla="*/ 13 w 34"/>
                <a:gd name="T65" fmla="*/ 1 h 30"/>
                <a:gd name="T66" fmla="*/ 2 w 34"/>
                <a:gd name="T67" fmla="*/ 12 h 30"/>
                <a:gd name="T68" fmla="*/ 0 w 34"/>
                <a:gd name="T69" fmla="*/ 12 h 30"/>
                <a:gd name="T70" fmla="*/ 0 w 34"/>
                <a:gd name="T71" fmla="*/ 15 h 30"/>
                <a:gd name="T72" fmla="*/ 2 w 34"/>
                <a:gd name="T73" fmla="*/ 15 h 30"/>
                <a:gd name="T74" fmla="*/ 2 w 34"/>
                <a:gd name="T7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0">
                  <a:moveTo>
                    <a:pt x="13" y="4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8"/>
                    <a:pt x="9" y="5"/>
                    <a:pt x="13" y="4"/>
                  </a:cubicBezTo>
                  <a:moveTo>
                    <a:pt x="29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5"/>
                    <a:pt x="28" y="8"/>
                    <a:pt x="29" y="12"/>
                  </a:cubicBezTo>
                  <a:moveTo>
                    <a:pt x="15" y="3"/>
                  </a:moveTo>
                  <a:cubicBezTo>
                    <a:pt x="16" y="3"/>
                    <a:pt x="17" y="3"/>
                    <a:pt x="17" y="3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5" y="12"/>
                    <a:pt x="15" y="12"/>
                  </a:cubicBezTo>
                  <a:lnTo>
                    <a:pt x="15" y="3"/>
                  </a:lnTo>
                  <a:close/>
                  <a:moveTo>
                    <a:pt x="29" y="15"/>
                  </a:moveTo>
                  <a:cubicBezTo>
                    <a:pt x="29" y="22"/>
                    <a:pt x="24" y="28"/>
                    <a:pt x="17" y="28"/>
                  </a:cubicBezTo>
                  <a:cubicBezTo>
                    <a:pt x="10" y="28"/>
                    <a:pt x="5" y="22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moveTo>
                    <a:pt x="2" y="15"/>
                  </a:moveTo>
                  <a:cubicBezTo>
                    <a:pt x="2" y="24"/>
                    <a:pt x="9" y="30"/>
                    <a:pt x="17" y="30"/>
                  </a:cubicBezTo>
                  <a:cubicBezTo>
                    <a:pt x="25" y="30"/>
                    <a:pt x="32" y="24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7"/>
                    <a:pt x="27" y="3"/>
                    <a:pt x="2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8" y="3"/>
                    <a:pt x="4" y="7"/>
                    <a:pt x="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98">
            <a:extLst>
              <a:ext uri="{FF2B5EF4-FFF2-40B4-BE49-F238E27FC236}">
                <a16:creationId xmlns:a16="http://schemas.microsoft.com/office/drawing/2014/main" id="{2544F23F-59AC-46A0-811A-2F4A22FF9A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68988" y="1579563"/>
            <a:ext cx="758825" cy="758825"/>
            <a:chOff x="3697" y="995"/>
            <a:chExt cx="478" cy="478"/>
          </a:xfrm>
        </p:grpSpPr>
        <p:sp>
          <p:nvSpPr>
            <p:cNvPr id="117" name="AutoShape 97">
              <a:extLst>
                <a:ext uri="{FF2B5EF4-FFF2-40B4-BE49-F238E27FC236}">
                  <a16:creationId xmlns:a16="http://schemas.microsoft.com/office/drawing/2014/main" id="{AE6F280C-DD9C-4593-9991-31D4B2FBB9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7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99">
              <a:extLst>
                <a:ext uri="{FF2B5EF4-FFF2-40B4-BE49-F238E27FC236}">
                  <a16:creationId xmlns:a16="http://schemas.microsoft.com/office/drawing/2014/main" id="{21EDDD2D-47BA-40E8-9FC2-4941297D4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9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0">
              <a:extLst>
                <a:ext uri="{FF2B5EF4-FFF2-40B4-BE49-F238E27FC236}">
                  <a16:creationId xmlns:a16="http://schemas.microsoft.com/office/drawing/2014/main" id="{027F1B07-EECE-40D5-8634-2A3E80CD6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7" y="1125"/>
              <a:ext cx="282" cy="299"/>
            </a:xfrm>
            <a:custGeom>
              <a:avLst/>
              <a:gdLst>
                <a:gd name="T0" fmla="*/ 102 w 115"/>
                <a:gd name="T1" fmla="*/ 36 h 122"/>
                <a:gd name="T2" fmla="*/ 107 w 115"/>
                <a:gd name="T3" fmla="*/ 52 h 122"/>
                <a:gd name="T4" fmla="*/ 67 w 115"/>
                <a:gd name="T5" fmla="*/ 69 h 122"/>
                <a:gd name="T6" fmla="*/ 77 w 115"/>
                <a:gd name="T7" fmla="*/ 64 h 122"/>
                <a:gd name="T8" fmla="*/ 64 w 115"/>
                <a:gd name="T9" fmla="*/ 86 h 122"/>
                <a:gd name="T10" fmla="*/ 67 w 115"/>
                <a:gd name="T11" fmla="*/ 82 h 122"/>
                <a:gd name="T12" fmla="*/ 69 w 115"/>
                <a:gd name="T13" fmla="*/ 77 h 122"/>
                <a:gd name="T14" fmla="*/ 69 w 115"/>
                <a:gd name="T15" fmla="*/ 74 h 122"/>
                <a:gd name="T16" fmla="*/ 50 w 115"/>
                <a:gd name="T17" fmla="*/ 114 h 122"/>
                <a:gd name="T18" fmla="*/ 54 w 115"/>
                <a:gd name="T19" fmla="*/ 87 h 122"/>
                <a:gd name="T20" fmla="*/ 57 w 115"/>
                <a:gd name="T21" fmla="*/ 88 h 122"/>
                <a:gd name="T22" fmla="*/ 58 w 115"/>
                <a:gd name="T23" fmla="*/ 88 h 122"/>
                <a:gd name="T24" fmla="*/ 61 w 115"/>
                <a:gd name="T25" fmla="*/ 87 h 122"/>
                <a:gd name="T26" fmla="*/ 60 w 115"/>
                <a:gd name="T27" fmla="*/ 77 h 122"/>
                <a:gd name="T28" fmla="*/ 37 w 115"/>
                <a:gd name="T29" fmla="*/ 60 h 122"/>
                <a:gd name="T30" fmla="*/ 25 w 115"/>
                <a:gd name="T31" fmla="*/ 60 h 122"/>
                <a:gd name="T32" fmla="*/ 13 w 115"/>
                <a:gd name="T33" fmla="*/ 51 h 122"/>
                <a:gd name="T34" fmla="*/ 3 w 115"/>
                <a:gd name="T35" fmla="*/ 36 h 122"/>
                <a:gd name="T36" fmla="*/ 7 w 115"/>
                <a:gd name="T37" fmla="*/ 25 h 122"/>
                <a:gd name="T38" fmla="*/ 25 w 115"/>
                <a:gd name="T39" fmla="*/ 20 h 122"/>
                <a:gd name="T40" fmla="*/ 39 w 115"/>
                <a:gd name="T41" fmla="*/ 22 h 122"/>
                <a:gd name="T42" fmla="*/ 46 w 115"/>
                <a:gd name="T43" fmla="*/ 17 h 122"/>
                <a:gd name="T44" fmla="*/ 49 w 115"/>
                <a:gd name="T45" fmla="*/ 30 h 122"/>
                <a:gd name="T46" fmla="*/ 51 w 115"/>
                <a:gd name="T47" fmla="*/ 45 h 122"/>
                <a:gd name="T48" fmla="*/ 48 w 115"/>
                <a:gd name="T49" fmla="*/ 51 h 122"/>
                <a:gd name="T50" fmla="*/ 62 w 115"/>
                <a:gd name="T51" fmla="*/ 3 h 122"/>
                <a:gd name="T52" fmla="*/ 74 w 115"/>
                <a:gd name="T53" fmla="*/ 24 h 122"/>
                <a:gd name="T54" fmla="*/ 61 w 115"/>
                <a:gd name="T55" fmla="*/ 65 h 122"/>
                <a:gd name="T56" fmla="*/ 58 w 115"/>
                <a:gd name="T57" fmla="*/ 64 h 122"/>
                <a:gd name="T58" fmla="*/ 53 w 115"/>
                <a:gd name="T59" fmla="*/ 65 h 122"/>
                <a:gd name="T60" fmla="*/ 50 w 115"/>
                <a:gd name="T61" fmla="*/ 66 h 122"/>
                <a:gd name="T62" fmla="*/ 58 w 115"/>
                <a:gd name="T63" fmla="*/ 56 h 122"/>
                <a:gd name="T64" fmla="*/ 61 w 115"/>
                <a:gd name="T65" fmla="*/ 32 h 122"/>
                <a:gd name="T66" fmla="*/ 57 w 115"/>
                <a:gd name="T67" fmla="*/ 24 h 122"/>
                <a:gd name="T68" fmla="*/ 66 w 115"/>
                <a:gd name="T69" fmla="*/ 74 h 122"/>
                <a:gd name="T70" fmla="*/ 63 w 115"/>
                <a:gd name="T71" fmla="*/ 82 h 122"/>
                <a:gd name="T72" fmla="*/ 64 w 115"/>
                <a:gd name="T73" fmla="*/ 77 h 122"/>
                <a:gd name="T74" fmla="*/ 50 w 115"/>
                <a:gd name="T75" fmla="*/ 71 h 122"/>
                <a:gd name="T76" fmla="*/ 52 w 115"/>
                <a:gd name="T77" fmla="*/ 69 h 122"/>
                <a:gd name="T78" fmla="*/ 57 w 115"/>
                <a:gd name="T79" fmla="*/ 67 h 122"/>
                <a:gd name="T80" fmla="*/ 63 w 115"/>
                <a:gd name="T81" fmla="*/ 69 h 122"/>
                <a:gd name="T82" fmla="*/ 113 w 115"/>
                <a:gd name="T83" fmla="*/ 39 h 122"/>
                <a:gd name="T84" fmla="*/ 96 w 115"/>
                <a:gd name="T85" fmla="*/ 35 h 122"/>
                <a:gd name="T86" fmla="*/ 62 w 115"/>
                <a:gd name="T87" fmla="*/ 0 h 122"/>
                <a:gd name="T88" fmla="*/ 22 w 115"/>
                <a:gd name="T89" fmla="*/ 18 h 122"/>
                <a:gd name="T90" fmla="*/ 8 w 115"/>
                <a:gd name="T91" fmla="*/ 33 h 122"/>
                <a:gd name="T92" fmla="*/ 4 w 115"/>
                <a:gd name="T93" fmla="*/ 57 h 122"/>
                <a:gd name="T94" fmla="*/ 24 w 115"/>
                <a:gd name="T95" fmla="*/ 71 h 122"/>
                <a:gd name="T96" fmla="*/ 47 w 115"/>
                <a:gd name="T97" fmla="*/ 70 h 122"/>
                <a:gd name="T98" fmla="*/ 55 w 115"/>
                <a:gd name="T99" fmla="*/ 122 h 122"/>
                <a:gd name="T100" fmla="*/ 77 w 115"/>
                <a:gd name="T101" fmla="*/ 114 h 122"/>
                <a:gd name="T102" fmla="*/ 114 w 115"/>
                <a:gd name="T103" fmla="*/ 4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" h="122">
                  <a:moveTo>
                    <a:pt x="107" y="52"/>
                  </a:moveTo>
                  <a:cubicBezTo>
                    <a:pt x="103" y="54"/>
                    <a:pt x="98" y="53"/>
                    <a:pt x="95" y="49"/>
                  </a:cubicBezTo>
                  <a:cubicBezTo>
                    <a:pt x="94" y="47"/>
                    <a:pt x="93" y="45"/>
                    <a:pt x="94" y="43"/>
                  </a:cubicBezTo>
                  <a:cubicBezTo>
                    <a:pt x="94" y="40"/>
                    <a:pt x="95" y="38"/>
                    <a:pt x="97" y="37"/>
                  </a:cubicBezTo>
                  <a:cubicBezTo>
                    <a:pt x="99" y="36"/>
                    <a:pt x="101" y="36"/>
                    <a:pt x="102" y="36"/>
                  </a:cubicBezTo>
                  <a:cubicBezTo>
                    <a:pt x="104" y="36"/>
                    <a:pt x="105" y="36"/>
                    <a:pt x="106" y="36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7"/>
                    <a:pt x="110" y="50"/>
                    <a:pt x="107" y="52"/>
                  </a:cubicBezTo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3" y="53"/>
                    <a:pt x="93" y="53"/>
                    <a:pt x="93" y="53"/>
                  </a:cubicBezTo>
                  <a:lnTo>
                    <a:pt x="77" y="64"/>
                  </a:lnTo>
                  <a:close/>
                  <a:moveTo>
                    <a:pt x="74" y="114"/>
                  </a:moveTo>
                  <a:cubicBezTo>
                    <a:pt x="74" y="117"/>
                    <a:pt x="72" y="119"/>
                    <a:pt x="69" y="119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66" y="119"/>
                    <a:pt x="64" y="117"/>
                    <a:pt x="64" y="114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5"/>
                    <a:pt x="65" y="85"/>
                    <a:pt x="65" y="85"/>
                  </a:cubicBezTo>
                  <a:cubicBezTo>
                    <a:pt x="65" y="85"/>
                    <a:pt x="65" y="84"/>
                    <a:pt x="65" y="84"/>
                  </a:cubicBezTo>
                  <a:cubicBezTo>
                    <a:pt x="66" y="84"/>
                    <a:pt x="67" y="83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1"/>
                    <a:pt x="68" y="81"/>
                    <a:pt x="68" y="80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68" y="80"/>
                    <a:pt x="68" y="79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9" y="78"/>
                    <a:pt x="69" y="78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6"/>
                    <a:pt x="69" y="76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5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4" y="70"/>
                    <a:pt x="74" y="70"/>
                    <a:pt x="74" y="70"/>
                  </a:cubicBezTo>
                  <a:lnTo>
                    <a:pt x="74" y="114"/>
                  </a:lnTo>
                  <a:close/>
                  <a:moveTo>
                    <a:pt x="56" y="119"/>
                  </a:moveTo>
                  <a:cubicBezTo>
                    <a:pt x="55" y="119"/>
                    <a:pt x="55" y="119"/>
                    <a:pt x="55" y="119"/>
                  </a:cubicBezTo>
                  <a:cubicBezTo>
                    <a:pt x="52" y="119"/>
                    <a:pt x="50" y="117"/>
                    <a:pt x="50" y="114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1" y="86"/>
                    <a:pt x="52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7"/>
                  </a:cubicBezTo>
                  <a:cubicBezTo>
                    <a:pt x="59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61" y="117"/>
                    <a:pt x="58" y="119"/>
                    <a:pt x="56" y="119"/>
                  </a:cubicBezTo>
                  <a:moveTo>
                    <a:pt x="58" y="73"/>
                  </a:moveTo>
                  <a:cubicBezTo>
                    <a:pt x="60" y="77"/>
                    <a:pt x="60" y="77"/>
                    <a:pt x="60" y="77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79"/>
                    <a:pt x="50" y="79"/>
                    <a:pt x="50" y="79"/>
                  </a:cubicBezTo>
                  <a:lnTo>
                    <a:pt x="58" y="73"/>
                  </a:lnTo>
                  <a:close/>
                  <a:moveTo>
                    <a:pt x="41" y="58"/>
                  </a:moveTo>
                  <a:cubicBezTo>
                    <a:pt x="40" y="59"/>
                    <a:pt x="38" y="59"/>
                    <a:pt x="37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4" y="60"/>
                    <a:pt x="23" y="59"/>
                    <a:pt x="21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49"/>
                    <a:pt x="12" y="48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4"/>
                    <a:pt x="12" y="32"/>
                    <a:pt x="12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2"/>
                    <a:pt x="23" y="21"/>
                    <a:pt x="24" y="2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7" y="21"/>
                    <a:pt x="38" y="21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2"/>
                    <a:pt x="50" y="33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7"/>
                    <a:pt x="49" y="48"/>
                    <a:pt x="49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2" y="57"/>
                    <a:pt x="42" y="57"/>
                    <a:pt x="42" y="57"/>
                  </a:cubicBezTo>
                  <a:lnTo>
                    <a:pt x="41" y="58"/>
                  </a:lnTo>
                  <a:close/>
                  <a:moveTo>
                    <a:pt x="62" y="3"/>
                  </a:moveTo>
                  <a:cubicBezTo>
                    <a:pt x="73" y="3"/>
                    <a:pt x="82" y="12"/>
                    <a:pt x="82" y="2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2" y="66"/>
                    <a:pt x="62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9" y="65"/>
                    <a:pt x="59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6" y="64"/>
                    <a:pt x="56" y="64"/>
                    <a:pt x="55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4" y="65"/>
                    <a:pt x="54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2" y="65"/>
                    <a:pt x="52" y="65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1" y="66"/>
                    <a:pt x="51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3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2" y="31"/>
                    <a:pt x="52" y="31"/>
                    <a:pt x="52" y="30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6" y="8"/>
                    <a:pt x="53" y="3"/>
                    <a:pt x="62" y="3"/>
                  </a:cubicBezTo>
                  <a:moveTo>
                    <a:pt x="65" y="73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5"/>
                    <a:pt x="66" y="75"/>
                    <a:pt x="66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8"/>
                    <a:pt x="65" y="79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4" y="81"/>
                    <a:pt x="64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3"/>
                    <a:pt x="62" y="83"/>
                    <a:pt x="62" y="83"/>
                  </a:cubicBezTo>
                  <a:cubicBezTo>
                    <a:pt x="61" y="84"/>
                    <a:pt x="61" y="84"/>
                    <a:pt x="60" y="84"/>
                  </a:cubicBezTo>
                  <a:cubicBezTo>
                    <a:pt x="58" y="85"/>
                    <a:pt x="56" y="85"/>
                    <a:pt x="54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5"/>
                    <a:pt x="49" y="73"/>
                    <a:pt x="49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0"/>
                    <a:pt x="51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69"/>
                    <a:pt x="51" y="69"/>
                  </a:cubicBezTo>
                  <a:cubicBezTo>
                    <a:pt x="51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4" y="68"/>
                    <a:pt x="55" y="67"/>
                    <a:pt x="56" y="67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8" y="67"/>
                    <a:pt x="59" y="67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1" y="68"/>
                    <a:pt x="62" y="6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3" y="70"/>
                    <a:pt x="64" y="70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2"/>
                    <a:pt x="65" y="72"/>
                    <a:pt x="65" y="73"/>
                  </a:cubicBezTo>
                  <a:moveTo>
                    <a:pt x="114" y="41"/>
                  </a:moveTo>
                  <a:cubicBezTo>
                    <a:pt x="113" y="39"/>
                    <a:pt x="113" y="39"/>
                    <a:pt x="113" y="39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5" y="32"/>
                    <a:pt x="100" y="32"/>
                    <a:pt x="96" y="35"/>
                  </a:cubicBezTo>
                  <a:cubicBezTo>
                    <a:pt x="93" y="37"/>
                    <a:pt x="91" y="39"/>
                    <a:pt x="91" y="42"/>
                  </a:cubicBezTo>
                  <a:cubicBezTo>
                    <a:pt x="91" y="44"/>
                    <a:pt x="91" y="45"/>
                    <a:pt x="91" y="46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5" y="10"/>
                    <a:pt x="75" y="0"/>
                    <a:pt x="62" y="0"/>
                  </a:cubicBezTo>
                  <a:cubicBezTo>
                    <a:pt x="51" y="0"/>
                    <a:pt x="42" y="8"/>
                    <a:pt x="39" y="19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9"/>
                    <a:pt x="21" y="19"/>
                    <a:pt x="20" y="2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2"/>
                    <a:pt x="9" y="32"/>
                    <a:pt x="8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9" y="50"/>
                    <a:pt x="10" y="51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2"/>
                    <a:pt x="23" y="62"/>
                    <a:pt x="23" y="62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2"/>
                    <a:pt x="40" y="61"/>
                    <a:pt x="41" y="61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5" y="73"/>
                    <a:pt x="45" y="76"/>
                    <a:pt x="46" y="79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114"/>
                    <a:pt x="47" y="114"/>
                    <a:pt x="47" y="114"/>
                  </a:cubicBezTo>
                  <a:cubicBezTo>
                    <a:pt x="47" y="118"/>
                    <a:pt x="51" y="122"/>
                    <a:pt x="55" y="122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58" y="122"/>
                    <a:pt x="61" y="120"/>
                    <a:pt x="62" y="118"/>
                  </a:cubicBezTo>
                  <a:cubicBezTo>
                    <a:pt x="64" y="120"/>
                    <a:pt x="66" y="122"/>
                    <a:pt x="69" y="122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74" y="122"/>
                    <a:pt x="77" y="118"/>
                    <a:pt x="77" y="114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8" y="55"/>
                    <a:pt x="100" y="56"/>
                    <a:pt x="102" y="56"/>
                  </a:cubicBezTo>
                  <a:cubicBezTo>
                    <a:pt x="105" y="56"/>
                    <a:pt x="107" y="55"/>
                    <a:pt x="109" y="54"/>
                  </a:cubicBezTo>
                  <a:cubicBezTo>
                    <a:pt x="113" y="51"/>
                    <a:pt x="115" y="46"/>
                    <a:pt x="114" y="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1">
              <a:extLst>
                <a:ext uri="{FF2B5EF4-FFF2-40B4-BE49-F238E27FC236}">
                  <a16:creationId xmlns:a16="http://schemas.microsoft.com/office/drawing/2014/main" id="{0C17B4C1-06AD-436D-AEF3-2CEDE2461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9" y="1191"/>
              <a:ext cx="66" cy="66"/>
            </a:xfrm>
            <a:custGeom>
              <a:avLst/>
              <a:gdLst>
                <a:gd name="T0" fmla="*/ 21 w 27"/>
                <a:gd name="T1" fmla="*/ 21 h 27"/>
                <a:gd name="T2" fmla="*/ 14 w 27"/>
                <a:gd name="T3" fmla="*/ 24 h 27"/>
                <a:gd name="T4" fmla="*/ 6 w 27"/>
                <a:gd name="T5" fmla="*/ 21 h 27"/>
                <a:gd name="T6" fmla="*/ 3 w 27"/>
                <a:gd name="T7" fmla="*/ 14 h 27"/>
                <a:gd name="T8" fmla="*/ 6 w 27"/>
                <a:gd name="T9" fmla="*/ 6 h 27"/>
                <a:gd name="T10" fmla="*/ 13 w 27"/>
                <a:gd name="T11" fmla="*/ 3 h 27"/>
                <a:gd name="T12" fmla="*/ 21 w 27"/>
                <a:gd name="T13" fmla="*/ 6 h 27"/>
                <a:gd name="T14" fmla="*/ 24 w 27"/>
                <a:gd name="T15" fmla="*/ 13 h 27"/>
                <a:gd name="T16" fmla="*/ 21 w 27"/>
                <a:gd name="T17" fmla="*/ 21 h 27"/>
                <a:gd name="T18" fmla="*/ 13 w 27"/>
                <a:gd name="T19" fmla="*/ 0 h 27"/>
                <a:gd name="T20" fmla="*/ 4 w 27"/>
                <a:gd name="T21" fmla="*/ 4 h 27"/>
                <a:gd name="T22" fmla="*/ 0 w 27"/>
                <a:gd name="T23" fmla="*/ 14 h 27"/>
                <a:gd name="T24" fmla="*/ 4 w 27"/>
                <a:gd name="T25" fmla="*/ 23 h 27"/>
                <a:gd name="T26" fmla="*/ 14 w 27"/>
                <a:gd name="T27" fmla="*/ 27 h 27"/>
                <a:gd name="T28" fmla="*/ 14 w 27"/>
                <a:gd name="T29" fmla="*/ 27 h 27"/>
                <a:gd name="T30" fmla="*/ 23 w 27"/>
                <a:gd name="T31" fmla="*/ 23 h 27"/>
                <a:gd name="T32" fmla="*/ 27 w 27"/>
                <a:gd name="T33" fmla="*/ 13 h 27"/>
                <a:gd name="T34" fmla="*/ 23 w 27"/>
                <a:gd name="T35" fmla="*/ 4 h 27"/>
                <a:gd name="T36" fmla="*/ 13 w 27"/>
                <a:gd name="T3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7">
                  <a:moveTo>
                    <a:pt x="21" y="21"/>
                  </a:moveTo>
                  <a:cubicBezTo>
                    <a:pt x="19" y="23"/>
                    <a:pt x="17" y="24"/>
                    <a:pt x="14" y="24"/>
                  </a:cubicBezTo>
                  <a:cubicBezTo>
                    <a:pt x="11" y="24"/>
                    <a:pt x="8" y="23"/>
                    <a:pt x="6" y="21"/>
                  </a:cubicBezTo>
                  <a:cubicBezTo>
                    <a:pt x="4" y="19"/>
                    <a:pt x="3" y="16"/>
                    <a:pt x="3" y="14"/>
                  </a:cubicBezTo>
                  <a:cubicBezTo>
                    <a:pt x="3" y="11"/>
                    <a:pt x="4" y="8"/>
                    <a:pt x="6" y="6"/>
                  </a:cubicBezTo>
                  <a:cubicBezTo>
                    <a:pt x="8" y="4"/>
                    <a:pt x="11" y="3"/>
                    <a:pt x="13" y="3"/>
                  </a:cubicBezTo>
                  <a:cubicBezTo>
                    <a:pt x="16" y="3"/>
                    <a:pt x="19" y="4"/>
                    <a:pt x="21" y="6"/>
                  </a:cubicBezTo>
                  <a:cubicBezTo>
                    <a:pt x="23" y="8"/>
                    <a:pt x="24" y="10"/>
                    <a:pt x="24" y="13"/>
                  </a:cubicBezTo>
                  <a:cubicBezTo>
                    <a:pt x="24" y="16"/>
                    <a:pt x="23" y="19"/>
                    <a:pt x="21" y="21"/>
                  </a:cubicBezTo>
                  <a:moveTo>
                    <a:pt x="13" y="0"/>
                  </a:moveTo>
                  <a:cubicBezTo>
                    <a:pt x="10" y="0"/>
                    <a:pt x="6" y="1"/>
                    <a:pt x="4" y="4"/>
                  </a:cubicBezTo>
                  <a:cubicBezTo>
                    <a:pt x="1" y="7"/>
                    <a:pt x="0" y="10"/>
                    <a:pt x="0" y="14"/>
                  </a:cubicBezTo>
                  <a:cubicBezTo>
                    <a:pt x="0" y="17"/>
                    <a:pt x="2" y="21"/>
                    <a:pt x="4" y="23"/>
                  </a:cubicBezTo>
                  <a:cubicBezTo>
                    <a:pt x="7" y="25"/>
                    <a:pt x="10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7" y="27"/>
                    <a:pt x="21" y="25"/>
                    <a:pt x="23" y="23"/>
                  </a:cubicBezTo>
                  <a:cubicBezTo>
                    <a:pt x="26" y="20"/>
                    <a:pt x="27" y="17"/>
                    <a:pt x="27" y="13"/>
                  </a:cubicBezTo>
                  <a:cubicBezTo>
                    <a:pt x="27" y="9"/>
                    <a:pt x="26" y="6"/>
                    <a:pt x="23" y="4"/>
                  </a:cubicBezTo>
                  <a:cubicBezTo>
                    <a:pt x="20" y="1"/>
                    <a:pt x="17" y="0"/>
                    <a:pt x="1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2">
              <a:extLst>
                <a:ext uri="{FF2B5EF4-FFF2-40B4-BE49-F238E27FC236}">
                  <a16:creationId xmlns:a16="http://schemas.microsoft.com/office/drawing/2014/main" id="{22408518-FF18-458B-8764-6F97FFBF26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8" y="1046"/>
              <a:ext cx="83" cy="74"/>
            </a:xfrm>
            <a:custGeom>
              <a:avLst/>
              <a:gdLst>
                <a:gd name="T0" fmla="*/ 13 w 34"/>
                <a:gd name="T1" fmla="*/ 4 h 30"/>
                <a:gd name="T2" fmla="*/ 13 w 34"/>
                <a:gd name="T3" fmla="*/ 12 h 30"/>
                <a:gd name="T4" fmla="*/ 5 w 34"/>
                <a:gd name="T5" fmla="*/ 12 h 30"/>
                <a:gd name="T6" fmla="*/ 13 w 34"/>
                <a:gd name="T7" fmla="*/ 4 h 30"/>
                <a:gd name="T8" fmla="*/ 29 w 34"/>
                <a:gd name="T9" fmla="*/ 12 h 30"/>
                <a:gd name="T10" fmla="*/ 22 w 34"/>
                <a:gd name="T11" fmla="*/ 12 h 30"/>
                <a:gd name="T12" fmla="*/ 22 w 34"/>
                <a:gd name="T13" fmla="*/ 4 h 30"/>
                <a:gd name="T14" fmla="*/ 29 w 34"/>
                <a:gd name="T15" fmla="*/ 12 h 30"/>
                <a:gd name="T16" fmla="*/ 15 w 34"/>
                <a:gd name="T17" fmla="*/ 3 h 30"/>
                <a:gd name="T18" fmla="*/ 17 w 34"/>
                <a:gd name="T19" fmla="*/ 3 h 30"/>
                <a:gd name="T20" fmla="*/ 19 w 34"/>
                <a:gd name="T21" fmla="*/ 3 h 30"/>
                <a:gd name="T22" fmla="*/ 19 w 34"/>
                <a:gd name="T23" fmla="*/ 12 h 30"/>
                <a:gd name="T24" fmla="*/ 15 w 34"/>
                <a:gd name="T25" fmla="*/ 12 h 30"/>
                <a:gd name="T26" fmla="*/ 15 w 34"/>
                <a:gd name="T27" fmla="*/ 3 h 30"/>
                <a:gd name="T28" fmla="*/ 29 w 34"/>
                <a:gd name="T29" fmla="*/ 15 h 30"/>
                <a:gd name="T30" fmla="*/ 17 w 34"/>
                <a:gd name="T31" fmla="*/ 28 h 30"/>
                <a:gd name="T32" fmla="*/ 5 w 34"/>
                <a:gd name="T33" fmla="*/ 15 h 30"/>
                <a:gd name="T34" fmla="*/ 5 w 34"/>
                <a:gd name="T35" fmla="*/ 15 h 30"/>
                <a:gd name="T36" fmla="*/ 13 w 34"/>
                <a:gd name="T37" fmla="*/ 15 h 30"/>
                <a:gd name="T38" fmla="*/ 22 w 34"/>
                <a:gd name="T39" fmla="*/ 15 h 30"/>
                <a:gd name="T40" fmla="*/ 29 w 34"/>
                <a:gd name="T41" fmla="*/ 15 h 30"/>
                <a:gd name="T42" fmla="*/ 29 w 34"/>
                <a:gd name="T43" fmla="*/ 15 h 30"/>
                <a:gd name="T44" fmla="*/ 2 w 34"/>
                <a:gd name="T45" fmla="*/ 15 h 30"/>
                <a:gd name="T46" fmla="*/ 17 w 34"/>
                <a:gd name="T47" fmla="*/ 30 h 30"/>
                <a:gd name="T48" fmla="*/ 32 w 34"/>
                <a:gd name="T49" fmla="*/ 15 h 30"/>
                <a:gd name="T50" fmla="*/ 32 w 34"/>
                <a:gd name="T51" fmla="*/ 15 h 30"/>
                <a:gd name="T52" fmla="*/ 34 w 34"/>
                <a:gd name="T53" fmla="*/ 15 h 30"/>
                <a:gd name="T54" fmla="*/ 34 w 34"/>
                <a:gd name="T55" fmla="*/ 12 h 30"/>
                <a:gd name="T56" fmla="*/ 32 w 34"/>
                <a:gd name="T57" fmla="*/ 12 h 30"/>
                <a:gd name="T58" fmla="*/ 22 w 34"/>
                <a:gd name="T59" fmla="*/ 1 h 30"/>
                <a:gd name="T60" fmla="*/ 22 w 34"/>
                <a:gd name="T61" fmla="*/ 0 h 30"/>
                <a:gd name="T62" fmla="*/ 13 w 34"/>
                <a:gd name="T63" fmla="*/ 0 h 30"/>
                <a:gd name="T64" fmla="*/ 13 w 34"/>
                <a:gd name="T65" fmla="*/ 1 h 30"/>
                <a:gd name="T66" fmla="*/ 2 w 34"/>
                <a:gd name="T67" fmla="*/ 12 h 30"/>
                <a:gd name="T68" fmla="*/ 0 w 34"/>
                <a:gd name="T69" fmla="*/ 12 h 30"/>
                <a:gd name="T70" fmla="*/ 0 w 34"/>
                <a:gd name="T71" fmla="*/ 15 h 30"/>
                <a:gd name="T72" fmla="*/ 2 w 34"/>
                <a:gd name="T73" fmla="*/ 15 h 30"/>
                <a:gd name="T74" fmla="*/ 2 w 34"/>
                <a:gd name="T7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0">
                  <a:moveTo>
                    <a:pt x="13" y="4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8"/>
                    <a:pt x="9" y="5"/>
                    <a:pt x="13" y="4"/>
                  </a:cubicBezTo>
                  <a:moveTo>
                    <a:pt x="29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5"/>
                    <a:pt x="28" y="8"/>
                    <a:pt x="29" y="12"/>
                  </a:cubicBezTo>
                  <a:moveTo>
                    <a:pt x="15" y="3"/>
                  </a:moveTo>
                  <a:cubicBezTo>
                    <a:pt x="16" y="3"/>
                    <a:pt x="17" y="3"/>
                    <a:pt x="17" y="3"/>
                  </a:cubicBezTo>
                  <a:cubicBezTo>
                    <a:pt x="18" y="3"/>
                    <a:pt x="18" y="3"/>
                    <a:pt x="19" y="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5" y="12"/>
                    <a:pt x="15" y="12"/>
                  </a:cubicBezTo>
                  <a:lnTo>
                    <a:pt x="15" y="3"/>
                  </a:lnTo>
                  <a:close/>
                  <a:moveTo>
                    <a:pt x="29" y="15"/>
                  </a:moveTo>
                  <a:cubicBezTo>
                    <a:pt x="29" y="22"/>
                    <a:pt x="24" y="28"/>
                    <a:pt x="17" y="28"/>
                  </a:cubicBezTo>
                  <a:cubicBezTo>
                    <a:pt x="10" y="28"/>
                    <a:pt x="5" y="22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moveTo>
                    <a:pt x="2" y="15"/>
                  </a:moveTo>
                  <a:cubicBezTo>
                    <a:pt x="2" y="24"/>
                    <a:pt x="9" y="30"/>
                    <a:pt x="17" y="30"/>
                  </a:cubicBezTo>
                  <a:cubicBezTo>
                    <a:pt x="25" y="30"/>
                    <a:pt x="32" y="24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7"/>
                    <a:pt x="27" y="3"/>
                    <a:pt x="22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8" y="3"/>
                    <a:pt x="4" y="7"/>
                    <a:pt x="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105">
            <a:extLst>
              <a:ext uri="{FF2B5EF4-FFF2-40B4-BE49-F238E27FC236}">
                <a16:creationId xmlns:a16="http://schemas.microsoft.com/office/drawing/2014/main" id="{712681CC-E0D7-43AE-B44E-734EC90DC4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4688" y="1538288"/>
            <a:ext cx="841375" cy="841375"/>
            <a:chOff x="4425" y="969"/>
            <a:chExt cx="530" cy="530"/>
          </a:xfrm>
        </p:grpSpPr>
        <p:sp>
          <p:nvSpPr>
            <p:cNvPr id="123" name="AutoShape 104">
              <a:extLst>
                <a:ext uri="{FF2B5EF4-FFF2-40B4-BE49-F238E27FC236}">
                  <a16:creationId xmlns:a16="http://schemas.microsoft.com/office/drawing/2014/main" id="{9388D37F-0981-4E06-A862-08FC61112B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5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06">
              <a:extLst>
                <a:ext uri="{FF2B5EF4-FFF2-40B4-BE49-F238E27FC236}">
                  <a16:creationId xmlns:a16="http://schemas.microsoft.com/office/drawing/2014/main" id="{86D2D2F2-CA90-42D8-BE2E-6383C43AF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7">
              <a:extLst>
                <a:ext uri="{FF2B5EF4-FFF2-40B4-BE49-F238E27FC236}">
                  <a16:creationId xmlns:a16="http://schemas.microsoft.com/office/drawing/2014/main" id="{57714D28-A213-4B93-8E46-16D6683EB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8">
              <a:extLst>
                <a:ext uri="{FF2B5EF4-FFF2-40B4-BE49-F238E27FC236}">
                  <a16:creationId xmlns:a16="http://schemas.microsoft.com/office/drawing/2014/main" id="{A8BCD99A-C6BF-481E-B743-48FBF025B6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5" y="1038"/>
              <a:ext cx="79" cy="77"/>
            </a:xfrm>
            <a:custGeom>
              <a:avLst/>
              <a:gdLst>
                <a:gd name="T0" fmla="*/ 16 w 31"/>
                <a:gd name="T1" fmla="*/ 3 h 30"/>
                <a:gd name="T2" fmla="*/ 28 w 31"/>
                <a:gd name="T3" fmla="*/ 15 h 30"/>
                <a:gd name="T4" fmla="*/ 16 w 31"/>
                <a:gd name="T5" fmla="*/ 27 h 30"/>
                <a:gd name="T6" fmla="*/ 3 w 31"/>
                <a:gd name="T7" fmla="*/ 15 h 30"/>
                <a:gd name="T8" fmla="*/ 16 w 31"/>
                <a:gd name="T9" fmla="*/ 3 h 30"/>
                <a:gd name="T10" fmla="*/ 16 w 31"/>
                <a:gd name="T11" fmla="*/ 30 h 30"/>
                <a:gd name="T12" fmla="*/ 31 w 31"/>
                <a:gd name="T13" fmla="*/ 15 h 30"/>
                <a:gd name="T14" fmla="*/ 16 w 31"/>
                <a:gd name="T15" fmla="*/ 0 h 30"/>
                <a:gd name="T16" fmla="*/ 0 w 31"/>
                <a:gd name="T17" fmla="*/ 15 h 30"/>
                <a:gd name="T18" fmla="*/ 16 w 31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0">
                  <a:moveTo>
                    <a:pt x="16" y="3"/>
                  </a:moveTo>
                  <a:cubicBezTo>
                    <a:pt x="22" y="3"/>
                    <a:pt x="28" y="8"/>
                    <a:pt x="28" y="15"/>
                  </a:cubicBezTo>
                  <a:cubicBezTo>
                    <a:pt x="28" y="22"/>
                    <a:pt x="22" y="27"/>
                    <a:pt x="16" y="27"/>
                  </a:cubicBezTo>
                  <a:cubicBezTo>
                    <a:pt x="9" y="27"/>
                    <a:pt x="3" y="22"/>
                    <a:pt x="3" y="15"/>
                  </a:cubicBezTo>
                  <a:cubicBezTo>
                    <a:pt x="3" y="8"/>
                    <a:pt x="9" y="3"/>
                    <a:pt x="16" y="3"/>
                  </a:cubicBezTo>
                  <a:moveTo>
                    <a:pt x="16" y="30"/>
                  </a:moveTo>
                  <a:cubicBezTo>
                    <a:pt x="24" y="30"/>
                    <a:pt x="31" y="23"/>
                    <a:pt x="31" y="15"/>
                  </a:cubicBezTo>
                  <a:cubicBezTo>
                    <a:pt x="31" y="7"/>
                    <a:pt x="24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6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9">
              <a:extLst>
                <a:ext uri="{FF2B5EF4-FFF2-40B4-BE49-F238E27FC236}">
                  <a16:creationId xmlns:a16="http://schemas.microsoft.com/office/drawing/2014/main" id="{D16417A8-24B0-4A44-9C34-0A5A80F4B0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4" y="1120"/>
              <a:ext cx="203" cy="312"/>
            </a:xfrm>
            <a:custGeom>
              <a:avLst/>
              <a:gdLst>
                <a:gd name="T0" fmla="*/ 47 w 79"/>
                <a:gd name="T1" fmla="*/ 93 h 122"/>
                <a:gd name="T2" fmla="*/ 55 w 79"/>
                <a:gd name="T3" fmla="*/ 90 h 122"/>
                <a:gd name="T4" fmla="*/ 47 w 79"/>
                <a:gd name="T5" fmla="*/ 96 h 122"/>
                <a:gd name="T6" fmla="*/ 47 w 79"/>
                <a:gd name="T7" fmla="*/ 98 h 122"/>
                <a:gd name="T8" fmla="*/ 37 w 79"/>
                <a:gd name="T9" fmla="*/ 92 h 122"/>
                <a:gd name="T10" fmla="*/ 20 w 79"/>
                <a:gd name="T11" fmla="*/ 38 h 122"/>
                <a:gd name="T12" fmla="*/ 44 w 79"/>
                <a:gd name="T13" fmla="*/ 98 h 122"/>
                <a:gd name="T14" fmla="*/ 36 w 79"/>
                <a:gd name="T15" fmla="*/ 114 h 122"/>
                <a:gd name="T16" fmla="*/ 30 w 79"/>
                <a:gd name="T17" fmla="*/ 119 h 122"/>
                <a:gd name="T18" fmla="*/ 25 w 79"/>
                <a:gd name="T19" fmla="*/ 79 h 122"/>
                <a:gd name="T20" fmla="*/ 36 w 79"/>
                <a:gd name="T21" fmla="*/ 114 h 122"/>
                <a:gd name="T22" fmla="*/ 16 w 79"/>
                <a:gd name="T23" fmla="*/ 119 h 122"/>
                <a:gd name="T24" fmla="*/ 11 w 79"/>
                <a:gd name="T25" fmla="*/ 57 h 122"/>
                <a:gd name="T26" fmla="*/ 8 w 79"/>
                <a:gd name="T27" fmla="*/ 26 h 122"/>
                <a:gd name="T28" fmla="*/ 6 w 79"/>
                <a:gd name="T29" fmla="*/ 60 h 122"/>
                <a:gd name="T30" fmla="*/ 3 w 79"/>
                <a:gd name="T31" fmla="*/ 23 h 122"/>
                <a:gd name="T32" fmla="*/ 44 w 79"/>
                <a:gd name="T33" fmla="*/ 23 h 122"/>
                <a:gd name="T34" fmla="*/ 39 w 79"/>
                <a:gd name="T35" fmla="*/ 35 h 122"/>
                <a:gd name="T36" fmla="*/ 36 w 79"/>
                <a:gd name="T37" fmla="*/ 26 h 122"/>
                <a:gd name="T38" fmla="*/ 19 w 79"/>
                <a:gd name="T39" fmla="*/ 35 h 122"/>
                <a:gd name="T40" fmla="*/ 18 w 79"/>
                <a:gd name="T41" fmla="*/ 37 h 122"/>
                <a:gd name="T42" fmla="*/ 18 w 79"/>
                <a:gd name="T43" fmla="*/ 37 h 122"/>
                <a:gd name="T44" fmla="*/ 18 w 79"/>
                <a:gd name="T45" fmla="*/ 37 h 122"/>
                <a:gd name="T46" fmla="*/ 18 w 79"/>
                <a:gd name="T47" fmla="*/ 38 h 122"/>
                <a:gd name="T48" fmla="*/ 18 w 79"/>
                <a:gd name="T49" fmla="*/ 39 h 122"/>
                <a:gd name="T50" fmla="*/ 18 w 79"/>
                <a:gd name="T51" fmla="*/ 40 h 122"/>
                <a:gd name="T52" fmla="*/ 17 w 79"/>
                <a:gd name="T53" fmla="*/ 41 h 122"/>
                <a:gd name="T54" fmla="*/ 22 w 79"/>
                <a:gd name="T55" fmla="*/ 114 h 122"/>
                <a:gd name="T56" fmla="*/ 70 w 79"/>
                <a:gd name="T57" fmla="*/ 42 h 122"/>
                <a:gd name="T58" fmla="*/ 47 w 79"/>
                <a:gd name="T59" fmla="*/ 38 h 122"/>
                <a:gd name="T60" fmla="*/ 70 w 79"/>
                <a:gd name="T61" fmla="*/ 42 h 122"/>
                <a:gd name="T62" fmla="*/ 47 w 79"/>
                <a:gd name="T63" fmla="*/ 45 h 122"/>
                <a:gd name="T64" fmla="*/ 70 w 79"/>
                <a:gd name="T65" fmla="*/ 48 h 122"/>
                <a:gd name="T66" fmla="*/ 47 w 79"/>
                <a:gd name="T67" fmla="*/ 55 h 122"/>
                <a:gd name="T68" fmla="*/ 70 w 79"/>
                <a:gd name="T69" fmla="*/ 51 h 122"/>
                <a:gd name="T70" fmla="*/ 47 w 79"/>
                <a:gd name="T71" fmla="*/ 55 h 122"/>
                <a:gd name="T72" fmla="*/ 47 w 79"/>
                <a:gd name="T73" fmla="*/ 58 h 122"/>
                <a:gd name="T74" fmla="*/ 69 w 79"/>
                <a:gd name="T75" fmla="*/ 61 h 122"/>
                <a:gd name="T76" fmla="*/ 47 w 79"/>
                <a:gd name="T77" fmla="*/ 68 h 122"/>
                <a:gd name="T78" fmla="*/ 68 w 79"/>
                <a:gd name="T79" fmla="*/ 64 h 122"/>
                <a:gd name="T80" fmla="*/ 47 w 79"/>
                <a:gd name="T81" fmla="*/ 68 h 122"/>
                <a:gd name="T82" fmla="*/ 47 w 79"/>
                <a:gd name="T83" fmla="*/ 70 h 122"/>
                <a:gd name="T84" fmla="*/ 65 w 79"/>
                <a:gd name="T85" fmla="*/ 74 h 122"/>
                <a:gd name="T86" fmla="*/ 47 w 79"/>
                <a:gd name="T87" fmla="*/ 80 h 122"/>
                <a:gd name="T88" fmla="*/ 64 w 79"/>
                <a:gd name="T89" fmla="*/ 77 h 122"/>
                <a:gd name="T90" fmla="*/ 47 w 79"/>
                <a:gd name="T91" fmla="*/ 80 h 122"/>
                <a:gd name="T92" fmla="*/ 60 w 79"/>
                <a:gd name="T93" fmla="*/ 83 h 122"/>
                <a:gd name="T94" fmla="*/ 47 w 79"/>
                <a:gd name="T95" fmla="*/ 87 h 122"/>
                <a:gd name="T96" fmla="*/ 73 w 79"/>
                <a:gd name="T97" fmla="*/ 37 h 122"/>
                <a:gd name="T98" fmla="*/ 47 w 79"/>
                <a:gd name="T99" fmla="*/ 35 h 122"/>
                <a:gd name="T100" fmla="*/ 24 w 79"/>
                <a:gd name="T101" fmla="*/ 0 h 122"/>
                <a:gd name="T102" fmla="*/ 0 w 79"/>
                <a:gd name="T103" fmla="*/ 57 h 122"/>
                <a:gd name="T104" fmla="*/ 8 w 79"/>
                <a:gd name="T105" fmla="*/ 62 h 122"/>
                <a:gd name="T106" fmla="*/ 16 w 79"/>
                <a:gd name="T107" fmla="*/ 122 h 122"/>
                <a:gd name="T108" fmla="*/ 24 w 79"/>
                <a:gd name="T109" fmla="*/ 119 h 122"/>
                <a:gd name="T110" fmla="*/ 31 w 79"/>
                <a:gd name="T111" fmla="*/ 122 h 122"/>
                <a:gd name="T112" fmla="*/ 39 w 79"/>
                <a:gd name="T113" fmla="*/ 97 h 122"/>
                <a:gd name="T114" fmla="*/ 45 w 79"/>
                <a:gd name="T115" fmla="*/ 102 h 122"/>
                <a:gd name="T116" fmla="*/ 45 w 79"/>
                <a:gd name="T117" fmla="*/ 102 h 122"/>
                <a:gd name="T118" fmla="*/ 45 w 79"/>
                <a:gd name="T119" fmla="*/ 102 h 122"/>
                <a:gd name="T120" fmla="*/ 46 w 79"/>
                <a:gd name="T121" fmla="*/ 102 h 122"/>
                <a:gd name="T122" fmla="*/ 46 w 79"/>
                <a:gd name="T123" fmla="*/ 102 h 122"/>
                <a:gd name="T124" fmla="*/ 73 w 79"/>
                <a:gd name="T125" fmla="*/ 3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9" h="122">
                  <a:moveTo>
                    <a:pt x="52" y="93"/>
                  </a:moveTo>
                  <a:cubicBezTo>
                    <a:pt x="47" y="93"/>
                    <a:pt x="47" y="93"/>
                    <a:pt x="47" y="93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4" y="91"/>
                    <a:pt x="53" y="92"/>
                    <a:pt x="52" y="93"/>
                  </a:cubicBezTo>
                  <a:moveTo>
                    <a:pt x="47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8" y="97"/>
                    <a:pt x="48" y="97"/>
                    <a:pt x="47" y="98"/>
                  </a:cubicBezTo>
                  <a:lnTo>
                    <a:pt x="47" y="96"/>
                  </a:ln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7" y="92"/>
                  </a:cubicBezTo>
                  <a:cubicBezTo>
                    <a:pt x="18" y="71"/>
                    <a:pt x="20" y="44"/>
                    <a:pt x="20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2" y="96"/>
                    <a:pt x="39" y="94"/>
                    <a:pt x="37" y="92"/>
                  </a:cubicBezTo>
                  <a:moveTo>
                    <a:pt x="36" y="114"/>
                  </a:moveTo>
                  <a:cubicBezTo>
                    <a:pt x="36" y="117"/>
                    <a:pt x="34" y="119"/>
                    <a:pt x="31" y="119"/>
                  </a:cubicBezTo>
                  <a:cubicBezTo>
                    <a:pt x="30" y="119"/>
                    <a:pt x="30" y="119"/>
                    <a:pt x="30" y="119"/>
                  </a:cubicBezTo>
                  <a:cubicBezTo>
                    <a:pt x="27" y="119"/>
                    <a:pt x="25" y="117"/>
                    <a:pt x="25" y="114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8" y="84"/>
                    <a:pt x="31" y="90"/>
                    <a:pt x="36" y="95"/>
                  </a:cubicBezTo>
                  <a:lnTo>
                    <a:pt x="36" y="114"/>
                  </a:lnTo>
                  <a:close/>
                  <a:moveTo>
                    <a:pt x="17" y="119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4" y="119"/>
                    <a:pt x="11" y="117"/>
                    <a:pt x="11" y="114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8"/>
                    <a:pt x="7" y="60"/>
                    <a:pt x="6" y="60"/>
                  </a:cubicBezTo>
                  <a:cubicBezTo>
                    <a:pt x="4" y="60"/>
                    <a:pt x="3" y="58"/>
                    <a:pt x="3" y="5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12"/>
                    <a:pt x="12" y="3"/>
                    <a:pt x="24" y="3"/>
                  </a:cubicBezTo>
                  <a:cubicBezTo>
                    <a:pt x="35" y="3"/>
                    <a:pt x="44" y="12"/>
                    <a:pt x="44" y="23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7" y="40"/>
                    <a:pt x="17" y="40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7"/>
                    <a:pt x="17" y="59"/>
                    <a:pt x="22" y="73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7"/>
                    <a:pt x="20" y="119"/>
                    <a:pt x="17" y="119"/>
                  </a:cubicBezTo>
                  <a:moveTo>
                    <a:pt x="70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40"/>
                    <a:pt x="70" y="42"/>
                  </a:cubicBezTo>
                  <a:moveTo>
                    <a:pt x="47" y="48"/>
                  </a:moveTo>
                  <a:cubicBezTo>
                    <a:pt x="47" y="45"/>
                    <a:pt x="47" y="45"/>
                    <a:pt x="47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6"/>
                    <a:pt x="70" y="47"/>
                    <a:pt x="70" y="48"/>
                  </a:cubicBezTo>
                  <a:lnTo>
                    <a:pt x="47" y="48"/>
                  </a:lnTo>
                  <a:close/>
                  <a:moveTo>
                    <a:pt x="47" y="55"/>
                  </a:moveTo>
                  <a:cubicBezTo>
                    <a:pt x="47" y="51"/>
                    <a:pt x="47" y="51"/>
                    <a:pt x="47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2"/>
                    <a:pt x="70" y="53"/>
                    <a:pt x="70" y="55"/>
                  </a:cubicBezTo>
                  <a:lnTo>
                    <a:pt x="47" y="55"/>
                  </a:lnTo>
                  <a:close/>
                  <a:moveTo>
                    <a:pt x="47" y="61"/>
                  </a:moveTo>
                  <a:cubicBezTo>
                    <a:pt x="47" y="58"/>
                    <a:pt x="47" y="58"/>
                    <a:pt x="47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60"/>
                    <a:pt x="69" y="61"/>
                  </a:cubicBezTo>
                  <a:lnTo>
                    <a:pt x="47" y="61"/>
                  </a:lnTo>
                  <a:close/>
                  <a:moveTo>
                    <a:pt x="47" y="68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5"/>
                    <a:pt x="68" y="66"/>
                    <a:pt x="67" y="68"/>
                  </a:cubicBezTo>
                  <a:lnTo>
                    <a:pt x="47" y="68"/>
                  </a:lnTo>
                  <a:close/>
                  <a:moveTo>
                    <a:pt x="47" y="74"/>
                  </a:moveTo>
                  <a:cubicBezTo>
                    <a:pt x="47" y="70"/>
                    <a:pt x="47" y="70"/>
                    <a:pt x="47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2"/>
                    <a:pt x="65" y="73"/>
                    <a:pt x="65" y="74"/>
                  </a:cubicBezTo>
                  <a:lnTo>
                    <a:pt x="47" y="74"/>
                  </a:lnTo>
                  <a:close/>
                  <a:moveTo>
                    <a:pt x="47" y="80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3" y="78"/>
                    <a:pt x="62" y="79"/>
                    <a:pt x="62" y="80"/>
                  </a:cubicBezTo>
                  <a:lnTo>
                    <a:pt x="47" y="80"/>
                  </a:lnTo>
                  <a:close/>
                  <a:moveTo>
                    <a:pt x="47" y="83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59" y="84"/>
                    <a:pt x="58" y="86"/>
                    <a:pt x="58" y="87"/>
                  </a:cubicBezTo>
                  <a:cubicBezTo>
                    <a:pt x="47" y="87"/>
                    <a:pt x="47" y="87"/>
                    <a:pt x="47" y="87"/>
                  </a:cubicBezTo>
                  <a:lnTo>
                    <a:pt x="47" y="83"/>
                  </a:lnTo>
                  <a:close/>
                  <a:moveTo>
                    <a:pt x="73" y="37"/>
                  </a:moveTo>
                  <a:cubicBezTo>
                    <a:pt x="73" y="36"/>
                    <a:pt x="72" y="35"/>
                    <a:pt x="71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11"/>
                    <a:pt x="36" y="0"/>
                    <a:pt x="24" y="0"/>
                  </a:cubicBezTo>
                  <a:cubicBezTo>
                    <a:pt x="11" y="0"/>
                    <a:pt x="0" y="11"/>
                    <a:pt x="0" y="2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0"/>
                    <a:pt x="3" y="62"/>
                    <a:pt x="6" y="62"/>
                  </a:cubicBezTo>
                  <a:cubicBezTo>
                    <a:pt x="7" y="62"/>
                    <a:pt x="8" y="62"/>
                    <a:pt x="8" y="62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9"/>
                    <a:pt x="12" y="122"/>
                    <a:pt x="16" y="122"/>
                  </a:cubicBezTo>
                  <a:cubicBezTo>
                    <a:pt x="17" y="122"/>
                    <a:pt x="17" y="122"/>
                    <a:pt x="17" y="122"/>
                  </a:cubicBezTo>
                  <a:cubicBezTo>
                    <a:pt x="20" y="122"/>
                    <a:pt x="22" y="121"/>
                    <a:pt x="24" y="119"/>
                  </a:cubicBezTo>
                  <a:cubicBezTo>
                    <a:pt x="25" y="121"/>
                    <a:pt x="27" y="122"/>
                    <a:pt x="30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5" y="122"/>
                    <a:pt x="39" y="119"/>
                    <a:pt x="39" y="114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40" y="99"/>
                    <a:pt x="42" y="101"/>
                    <a:pt x="44" y="102"/>
                  </a:cubicBezTo>
                  <a:cubicBezTo>
                    <a:pt x="44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79" y="78"/>
                    <a:pt x="73" y="37"/>
                    <a:pt x="73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112">
            <a:extLst>
              <a:ext uri="{FF2B5EF4-FFF2-40B4-BE49-F238E27FC236}">
                <a16:creationId xmlns:a16="http://schemas.microsoft.com/office/drawing/2014/main" id="{63A85241-063C-471B-B087-141D61E111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62913" y="1579563"/>
            <a:ext cx="758825" cy="758825"/>
            <a:chOff x="5079" y="995"/>
            <a:chExt cx="478" cy="478"/>
          </a:xfrm>
        </p:grpSpPr>
        <p:sp>
          <p:nvSpPr>
            <p:cNvPr id="129" name="AutoShape 111">
              <a:extLst>
                <a:ext uri="{FF2B5EF4-FFF2-40B4-BE49-F238E27FC236}">
                  <a16:creationId xmlns:a16="http://schemas.microsoft.com/office/drawing/2014/main" id="{55332621-BAD4-4C9F-9E20-5C26F061A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9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3">
              <a:extLst>
                <a:ext uri="{FF2B5EF4-FFF2-40B4-BE49-F238E27FC236}">
                  <a16:creationId xmlns:a16="http://schemas.microsoft.com/office/drawing/2014/main" id="{444F38D8-74EA-42AF-9637-B989FA8F5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1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4">
              <a:extLst>
                <a:ext uri="{FF2B5EF4-FFF2-40B4-BE49-F238E27FC236}">
                  <a16:creationId xmlns:a16="http://schemas.microsoft.com/office/drawing/2014/main" id="{BC7C2A5C-779C-4D37-A6D8-66DDA7DB0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5" y="1046"/>
              <a:ext cx="76" cy="74"/>
            </a:xfrm>
            <a:custGeom>
              <a:avLst/>
              <a:gdLst>
                <a:gd name="T0" fmla="*/ 16 w 31"/>
                <a:gd name="T1" fmla="*/ 3 h 30"/>
                <a:gd name="T2" fmla="*/ 28 w 31"/>
                <a:gd name="T3" fmla="*/ 15 h 30"/>
                <a:gd name="T4" fmla="*/ 16 w 31"/>
                <a:gd name="T5" fmla="*/ 27 h 30"/>
                <a:gd name="T6" fmla="*/ 3 w 31"/>
                <a:gd name="T7" fmla="*/ 15 h 30"/>
                <a:gd name="T8" fmla="*/ 16 w 31"/>
                <a:gd name="T9" fmla="*/ 3 h 30"/>
                <a:gd name="T10" fmla="*/ 16 w 31"/>
                <a:gd name="T11" fmla="*/ 30 h 30"/>
                <a:gd name="T12" fmla="*/ 31 w 31"/>
                <a:gd name="T13" fmla="*/ 15 h 30"/>
                <a:gd name="T14" fmla="*/ 16 w 31"/>
                <a:gd name="T15" fmla="*/ 0 h 30"/>
                <a:gd name="T16" fmla="*/ 0 w 31"/>
                <a:gd name="T17" fmla="*/ 15 h 30"/>
                <a:gd name="T18" fmla="*/ 16 w 31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0">
                  <a:moveTo>
                    <a:pt x="16" y="3"/>
                  </a:moveTo>
                  <a:cubicBezTo>
                    <a:pt x="22" y="3"/>
                    <a:pt x="28" y="8"/>
                    <a:pt x="28" y="15"/>
                  </a:cubicBezTo>
                  <a:cubicBezTo>
                    <a:pt x="28" y="22"/>
                    <a:pt x="22" y="27"/>
                    <a:pt x="16" y="27"/>
                  </a:cubicBezTo>
                  <a:cubicBezTo>
                    <a:pt x="9" y="27"/>
                    <a:pt x="3" y="22"/>
                    <a:pt x="3" y="15"/>
                  </a:cubicBezTo>
                  <a:cubicBezTo>
                    <a:pt x="3" y="8"/>
                    <a:pt x="9" y="3"/>
                    <a:pt x="16" y="3"/>
                  </a:cubicBezTo>
                  <a:moveTo>
                    <a:pt x="16" y="30"/>
                  </a:moveTo>
                  <a:cubicBezTo>
                    <a:pt x="24" y="30"/>
                    <a:pt x="31" y="23"/>
                    <a:pt x="31" y="15"/>
                  </a:cubicBezTo>
                  <a:cubicBezTo>
                    <a:pt x="31" y="7"/>
                    <a:pt x="24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6" y="3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15">
              <a:extLst>
                <a:ext uri="{FF2B5EF4-FFF2-40B4-BE49-F238E27FC236}">
                  <a16:creationId xmlns:a16="http://schemas.microsoft.com/office/drawing/2014/main" id="{F71ECEF5-70A5-4012-8495-705246663A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6" y="1125"/>
              <a:ext cx="193" cy="299"/>
            </a:xfrm>
            <a:custGeom>
              <a:avLst/>
              <a:gdLst>
                <a:gd name="T0" fmla="*/ 47 w 79"/>
                <a:gd name="T1" fmla="*/ 93 h 122"/>
                <a:gd name="T2" fmla="*/ 55 w 79"/>
                <a:gd name="T3" fmla="*/ 90 h 122"/>
                <a:gd name="T4" fmla="*/ 47 w 79"/>
                <a:gd name="T5" fmla="*/ 96 h 122"/>
                <a:gd name="T6" fmla="*/ 47 w 79"/>
                <a:gd name="T7" fmla="*/ 98 h 122"/>
                <a:gd name="T8" fmla="*/ 37 w 79"/>
                <a:gd name="T9" fmla="*/ 92 h 122"/>
                <a:gd name="T10" fmla="*/ 20 w 79"/>
                <a:gd name="T11" fmla="*/ 38 h 122"/>
                <a:gd name="T12" fmla="*/ 44 w 79"/>
                <a:gd name="T13" fmla="*/ 98 h 122"/>
                <a:gd name="T14" fmla="*/ 36 w 79"/>
                <a:gd name="T15" fmla="*/ 114 h 122"/>
                <a:gd name="T16" fmla="*/ 30 w 79"/>
                <a:gd name="T17" fmla="*/ 119 h 122"/>
                <a:gd name="T18" fmla="*/ 25 w 79"/>
                <a:gd name="T19" fmla="*/ 79 h 122"/>
                <a:gd name="T20" fmla="*/ 36 w 79"/>
                <a:gd name="T21" fmla="*/ 114 h 122"/>
                <a:gd name="T22" fmla="*/ 16 w 79"/>
                <a:gd name="T23" fmla="*/ 119 h 122"/>
                <a:gd name="T24" fmla="*/ 11 w 79"/>
                <a:gd name="T25" fmla="*/ 57 h 122"/>
                <a:gd name="T26" fmla="*/ 8 w 79"/>
                <a:gd name="T27" fmla="*/ 26 h 122"/>
                <a:gd name="T28" fmla="*/ 6 w 79"/>
                <a:gd name="T29" fmla="*/ 60 h 122"/>
                <a:gd name="T30" fmla="*/ 3 w 79"/>
                <a:gd name="T31" fmla="*/ 23 h 122"/>
                <a:gd name="T32" fmla="*/ 44 w 79"/>
                <a:gd name="T33" fmla="*/ 23 h 122"/>
                <a:gd name="T34" fmla="*/ 39 w 79"/>
                <a:gd name="T35" fmla="*/ 35 h 122"/>
                <a:gd name="T36" fmla="*/ 36 w 79"/>
                <a:gd name="T37" fmla="*/ 26 h 122"/>
                <a:gd name="T38" fmla="*/ 19 w 79"/>
                <a:gd name="T39" fmla="*/ 35 h 122"/>
                <a:gd name="T40" fmla="*/ 18 w 79"/>
                <a:gd name="T41" fmla="*/ 37 h 122"/>
                <a:gd name="T42" fmla="*/ 18 w 79"/>
                <a:gd name="T43" fmla="*/ 37 h 122"/>
                <a:gd name="T44" fmla="*/ 18 w 79"/>
                <a:gd name="T45" fmla="*/ 37 h 122"/>
                <a:gd name="T46" fmla="*/ 18 w 79"/>
                <a:gd name="T47" fmla="*/ 38 h 122"/>
                <a:gd name="T48" fmla="*/ 18 w 79"/>
                <a:gd name="T49" fmla="*/ 39 h 122"/>
                <a:gd name="T50" fmla="*/ 18 w 79"/>
                <a:gd name="T51" fmla="*/ 40 h 122"/>
                <a:gd name="T52" fmla="*/ 17 w 79"/>
                <a:gd name="T53" fmla="*/ 41 h 122"/>
                <a:gd name="T54" fmla="*/ 22 w 79"/>
                <a:gd name="T55" fmla="*/ 114 h 122"/>
                <a:gd name="T56" fmla="*/ 70 w 79"/>
                <a:gd name="T57" fmla="*/ 42 h 122"/>
                <a:gd name="T58" fmla="*/ 47 w 79"/>
                <a:gd name="T59" fmla="*/ 38 h 122"/>
                <a:gd name="T60" fmla="*/ 70 w 79"/>
                <a:gd name="T61" fmla="*/ 42 h 122"/>
                <a:gd name="T62" fmla="*/ 47 w 79"/>
                <a:gd name="T63" fmla="*/ 45 h 122"/>
                <a:gd name="T64" fmla="*/ 70 w 79"/>
                <a:gd name="T65" fmla="*/ 48 h 122"/>
                <a:gd name="T66" fmla="*/ 47 w 79"/>
                <a:gd name="T67" fmla="*/ 55 h 122"/>
                <a:gd name="T68" fmla="*/ 70 w 79"/>
                <a:gd name="T69" fmla="*/ 51 h 122"/>
                <a:gd name="T70" fmla="*/ 47 w 79"/>
                <a:gd name="T71" fmla="*/ 55 h 122"/>
                <a:gd name="T72" fmla="*/ 47 w 79"/>
                <a:gd name="T73" fmla="*/ 58 h 122"/>
                <a:gd name="T74" fmla="*/ 69 w 79"/>
                <a:gd name="T75" fmla="*/ 61 h 122"/>
                <a:gd name="T76" fmla="*/ 47 w 79"/>
                <a:gd name="T77" fmla="*/ 68 h 122"/>
                <a:gd name="T78" fmla="*/ 68 w 79"/>
                <a:gd name="T79" fmla="*/ 64 h 122"/>
                <a:gd name="T80" fmla="*/ 47 w 79"/>
                <a:gd name="T81" fmla="*/ 68 h 122"/>
                <a:gd name="T82" fmla="*/ 47 w 79"/>
                <a:gd name="T83" fmla="*/ 70 h 122"/>
                <a:gd name="T84" fmla="*/ 65 w 79"/>
                <a:gd name="T85" fmla="*/ 74 h 122"/>
                <a:gd name="T86" fmla="*/ 47 w 79"/>
                <a:gd name="T87" fmla="*/ 80 h 122"/>
                <a:gd name="T88" fmla="*/ 64 w 79"/>
                <a:gd name="T89" fmla="*/ 77 h 122"/>
                <a:gd name="T90" fmla="*/ 47 w 79"/>
                <a:gd name="T91" fmla="*/ 80 h 122"/>
                <a:gd name="T92" fmla="*/ 60 w 79"/>
                <a:gd name="T93" fmla="*/ 83 h 122"/>
                <a:gd name="T94" fmla="*/ 47 w 79"/>
                <a:gd name="T95" fmla="*/ 87 h 122"/>
                <a:gd name="T96" fmla="*/ 73 w 79"/>
                <a:gd name="T97" fmla="*/ 37 h 122"/>
                <a:gd name="T98" fmla="*/ 47 w 79"/>
                <a:gd name="T99" fmla="*/ 35 h 122"/>
                <a:gd name="T100" fmla="*/ 24 w 79"/>
                <a:gd name="T101" fmla="*/ 0 h 122"/>
                <a:gd name="T102" fmla="*/ 0 w 79"/>
                <a:gd name="T103" fmla="*/ 57 h 122"/>
                <a:gd name="T104" fmla="*/ 8 w 79"/>
                <a:gd name="T105" fmla="*/ 62 h 122"/>
                <a:gd name="T106" fmla="*/ 16 w 79"/>
                <a:gd name="T107" fmla="*/ 122 h 122"/>
                <a:gd name="T108" fmla="*/ 24 w 79"/>
                <a:gd name="T109" fmla="*/ 119 h 122"/>
                <a:gd name="T110" fmla="*/ 31 w 79"/>
                <a:gd name="T111" fmla="*/ 122 h 122"/>
                <a:gd name="T112" fmla="*/ 39 w 79"/>
                <a:gd name="T113" fmla="*/ 97 h 122"/>
                <a:gd name="T114" fmla="*/ 45 w 79"/>
                <a:gd name="T115" fmla="*/ 102 h 122"/>
                <a:gd name="T116" fmla="*/ 45 w 79"/>
                <a:gd name="T117" fmla="*/ 102 h 122"/>
                <a:gd name="T118" fmla="*/ 45 w 79"/>
                <a:gd name="T119" fmla="*/ 102 h 122"/>
                <a:gd name="T120" fmla="*/ 46 w 79"/>
                <a:gd name="T121" fmla="*/ 102 h 122"/>
                <a:gd name="T122" fmla="*/ 46 w 79"/>
                <a:gd name="T123" fmla="*/ 102 h 122"/>
                <a:gd name="T124" fmla="*/ 73 w 79"/>
                <a:gd name="T125" fmla="*/ 3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9" h="122">
                  <a:moveTo>
                    <a:pt x="52" y="93"/>
                  </a:moveTo>
                  <a:cubicBezTo>
                    <a:pt x="47" y="93"/>
                    <a:pt x="47" y="93"/>
                    <a:pt x="47" y="93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4" y="91"/>
                    <a:pt x="53" y="92"/>
                    <a:pt x="52" y="93"/>
                  </a:cubicBezTo>
                  <a:moveTo>
                    <a:pt x="47" y="96"/>
                  </a:moveTo>
                  <a:cubicBezTo>
                    <a:pt x="49" y="96"/>
                    <a:pt x="49" y="96"/>
                    <a:pt x="49" y="96"/>
                  </a:cubicBezTo>
                  <a:cubicBezTo>
                    <a:pt x="48" y="97"/>
                    <a:pt x="48" y="97"/>
                    <a:pt x="47" y="98"/>
                  </a:cubicBezTo>
                  <a:lnTo>
                    <a:pt x="47" y="96"/>
                  </a:ln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7" y="92"/>
                  </a:cubicBezTo>
                  <a:cubicBezTo>
                    <a:pt x="18" y="71"/>
                    <a:pt x="20" y="44"/>
                    <a:pt x="20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2" y="96"/>
                    <a:pt x="39" y="94"/>
                    <a:pt x="37" y="92"/>
                  </a:cubicBezTo>
                  <a:moveTo>
                    <a:pt x="36" y="114"/>
                  </a:moveTo>
                  <a:cubicBezTo>
                    <a:pt x="36" y="117"/>
                    <a:pt x="34" y="119"/>
                    <a:pt x="31" y="119"/>
                  </a:cubicBezTo>
                  <a:cubicBezTo>
                    <a:pt x="30" y="119"/>
                    <a:pt x="30" y="119"/>
                    <a:pt x="30" y="119"/>
                  </a:cubicBezTo>
                  <a:cubicBezTo>
                    <a:pt x="27" y="119"/>
                    <a:pt x="25" y="117"/>
                    <a:pt x="25" y="114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8" y="84"/>
                    <a:pt x="31" y="90"/>
                    <a:pt x="36" y="95"/>
                  </a:cubicBezTo>
                  <a:lnTo>
                    <a:pt x="36" y="114"/>
                  </a:lnTo>
                  <a:close/>
                  <a:moveTo>
                    <a:pt x="17" y="119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4" y="119"/>
                    <a:pt x="11" y="117"/>
                    <a:pt x="11" y="114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8"/>
                    <a:pt x="7" y="60"/>
                    <a:pt x="6" y="60"/>
                  </a:cubicBezTo>
                  <a:cubicBezTo>
                    <a:pt x="4" y="60"/>
                    <a:pt x="3" y="58"/>
                    <a:pt x="3" y="5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12"/>
                    <a:pt x="12" y="3"/>
                    <a:pt x="24" y="3"/>
                  </a:cubicBezTo>
                  <a:cubicBezTo>
                    <a:pt x="35" y="3"/>
                    <a:pt x="44" y="12"/>
                    <a:pt x="44" y="23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7" y="40"/>
                    <a:pt x="17" y="40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7"/>
                    <a:pt x="17" y="59"/>
                    <a:pt x="22" y="73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7"/>
                    <a:pt x="20" y="119"/>
                    <a:pt x="17" y="119"/>
                  </a:cubicBezTo>
                  <a:moveTo>
                    <a:pt x="70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40"/>
                    <a:pt x="70" y="42"/>
                  </a:cubicBezTo>
                  <a:moveTo>
                    <a:pt x="47" y="48"/>
                  </a:moveTo>
                  <a:cubicBezTo>
                    <a:pt x="47" y="45"/>
                    <a:pt x="47" y="45"/>
                    <a:pt x="47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6"/>
                    <a:pt x="70" y="47"/>
                    <a:pt x="70" y="48"/>
                  </a:cubicBezTo>
                  <a:lnTo>
                    <a:pt x="47" y="48"/>
                  </a:lnTo>
                  <a:close/>
                  <a:moveTo>
                    <a:pt x="47" y="55"/>
                  </a:moveTo>
                  <a:cubicBezTo>
                    <a:pt x="47" y="51"/>
                    <a:pt x="47" y="51"/>
                    <a:pt x="47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2"/>
                    <a:pt x="70" y="53"/>
                    <a:pt x="70" y="55"/>
                  </a:cubicBezTo>
                  <a:lnTo>
                    <a:pt x="47" y="55"/>
                  </a:lnTo>
                  <a:close/>
                  <a:moveTo>
                    <a:pt x="47" y="61"/>
                  </a:moveTo>
                  <a:cubicBezTo>
                    <a:pt x="47" y="58"/>
                    <a:pt x="47" y="58"/>
                    <a:pt x="47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60"/>
                    <a:pt x="69" y="61"/>
                  </a:cubicBezTo>
                  <a:lnTo>
                    <a:pt x="47" y="61"/>
                  </a:lnTo>
                  <a:close/>
                  <a:moveTo>
                    <a:pt x="47" y="68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5"/>
                    <a:pt x="68" y="66"/>
                    <a:pt x="67" y="68"/>
                  </a:cubicBezTo>
                  <a:lnTo>
                    <a:pt x="47" y="68"/>
                  </a:lnTo>
                  <a:close/>
                  <a:moveTo>
                    <a:pt x="47" y="74"/>
                  </a:moveTo>
                  <a:cubicBezTo>
                    <a:pt x="47" y="70"/>
                    <a:pt x="47" y="70"/>
                    <a:pt x="47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2"/>
                    <a:pt x="65" y="73"/>
                    <a:pt x="65" y="74"/>
                  </a:cubicBezTo>
                  <a:lnTo>
                    <a:pt x="47" y="74"/>
                  </a:lnTo>
                  <a:close/>
                  <a:moveTo>
                    <a:pt x="47" y="80"/>
                  </a:moveTo>
                  <a:cubicBezTo>
                    <a:pt x="47" y="77"/>
                    <a:pt x="47" y="77"/>
                    <a:pt x="47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3" y="78"/>
                    <a:pt x="62" y="79"/>
                    <a:pt x="62" y="80"/>
                  </a:cubicBezTo>
                  <a:lnTo>
                    <a:pt x="47" y="80"/>
                  </a:lnTo>
                  <a:close/>
                  <a:moveTo>
                    <a:pt x="47" y="83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59" y="84"/>
                    <a:pt x="58" y="86"/>
                    <a:pt x="58" y="87"/>
                  </a:cubicBezTo>
                  <a:cubicBezTo>
                    <a:pt x="47" y="87"/>
                    <a:pt x="47" y="87"/>
                    <a:pt x="47" y="87"/>
                  </a:cubicBezTo>
                  <a:lnTo>
                    <a:pt x="47" y="83"/>
                  </a:lnTo>
                  <a:close/>
                  <a:moveTo>
                    <a:pt x="73" y="37"/>
                  </a:moveTo>
                  <a:cubicBezTo>
                    <a:pt x="73" y="36"/>
                    <a:pt x="72" y="35"/>
                    <a:pt x="71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11"/>
                    <a:pt x="36" y="0"/>
                    <a:pt x="24" y="0"/>
                  </a:cubicBezTo>
                  <a:cubicBezTo>
                    <a:pt x="11" y="0"/>
                    <a:pt x="0" y="11"/>
                    <a:pt x="0" y="2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0"/>
                    <a:pt x="3" y="62"/>
                    <a:pt x="6" y="62"/>
                  </a:cubicBezTo>
                  <a:cubicBezTo>
                    <a:pt x="7" y="62"/>
                    <a:pt x="8" y="62"/>
                    <a:pt x="8" y="62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9"/>
                    <a:pt x="12" y="122"/>
                    <a:pt x="16" y="122"/>
                  </a:cubicBezTo>
                  <a:cubicBezTo>
                    <a:pt x="17" y="122"/>
                    <a:pt x="17" y="122"/>
                    <a:pt x="17" y="122"/>
                  </a:cubicBezTo>
                  <a:cubicBezTo>
                    <a:pt x="20" y="122"/>
                    <a:pt x="22" y="121"/>
                    <a:pt x="24" y="119"/>
                  </a:cubicBezTo>
                  <a:cubicBezTo>
                    <a:pt x="25" y="121"/>
                    <a:pt x="27" y="122"/>
                    <a:pt x="30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5" y="122"/>
                    <a:pt x="39" y="119"/>
                    <a:pt x="39" y="114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40" y="99"/>
                    <a:pt x="42" y="101"/>
                    <a:pt x="44" y="102"/>
                  </a:cubicBezTo>
                  <a:cubicBezTo>
                    <a:pt x="44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79" y="78"/>
                    <a:pt x="73" y="37"/>
                    <a:pt x="73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38" name="Picture 137">
            <a:extLst>
              <a:ext uri="{FF2B5EF4-FFF2-40B4-BE49-F238E27FC236}">
                <a16:creationId xmlns:a16="http://schemas.microsoft.com/office/drawing/2014/main" id="{6D284676-000E-41CC-8549-AF155538CE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0" y="2830193"/>
            <a:ext cx="841519" cy="841248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DC7D5E57-136D-4EF8-A9C8-9248690842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000" y="2871341"/>
            <a:ext cx="759197" cy="758952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7A09AA2B-392F-43DB-9DD1-3791CF4DFF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239" y="2830193"/>
            <a:ext cx="841519" cy="841248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71616C16-AB39-47AA-8699-1D4D2C30E9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163" y="2871341"/>
            <a:ext cx="759197" cy="758952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9729EC59-4363-42D8-9787-5784DB7F65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127" y="2830193"/>
            <a:ext cx="841519" cy="841248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2DA3EB6B-F07E-4D5C-8562-38346B6778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445" y="2871341"/>
            <a:ext cx="759197" cy="758952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4354B0C2-64C5-47F3-B654-CC5394F79B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263" y="2830193"/>
            <a:ext cx="841519" cy="841248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CD96D4FF-A19F-44C8-A6C3-073B1CE9F5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693" y="2871341"/>
            <a:ext cx="759197" cy="758952"/>
          </a:xfrm>
          <a:prstGeom prst="rect">
            <a:avLst/>
          </a:prstGeom>
        </p:spPr>
      </p:pic>
      <p:grpSp>
        <p:nvGrpSpPr>
          <p:cNvPr id="171" name="Group 118">
            <a:extLst>
              <a:ext uri="{FF2B5EF4-FFF2-40B4-BE49-F238E27FC236}">
                <a16:creationId xmlns:a16="http://schemas.microsoft.com/office/drawing/2014/main" id="{B95B1082-BA3B-4C04-B2BA-A7BE0E5FFB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7988" y="4119563"/>
            <a:ext cx="841375" cy="841375"/>
            <a:chOff x="257" y="2595"/>
            <a:chExt cx="530" cy="530"/>
          </a:xfrm>
        </p:grpSpPr>
        <p:sp>
          <p:nvSpPr>
            <p:cNvPr id="172" name="AutoShape 117">
              <a:extLst>
                <a:ext uri="{FF2B5EF4-FFF2-40B4-BE49-F238E27FC236}">
                  <a16:creationId xmlns:a16="http://schemas.microsoft.com/office/drawing/2014/main" id="{59EABF2F-9127-404E-9C6F-D6646B575F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7" y="25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19">
              <a:extLst>
                <a:ext uri="{FF2B5EF4-FFF2-40B4-BE49-F238E27FC236}">
                  <a16:creationId xmlns:a16="http://schemas.microsoft.com/office/drawing/2014/main" id="{B08FA94C-F327-44EA-A6FB-A77040A9C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" y="25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20">
              <a:extLst>
                <a:ext uri="{FF2B5EF4-FFF2-40B4-BE49-F238E27FC236}">
                  <a16:creationId xmlns:a16="http://schemas.microsoft.com/office/drawing/2014/main" id="{B98230BA-9279-4F35-B464-D724A229EB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" y="26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21">
              <a:extLst>
                <a:ext uri="{FF2B5EF4-FFF2-40B4-BE49-F238E27FC236}">
                  <a16:creationId xmlns:a16="http://schemas.microsoft.com/office/drawing/2014/main" id="{775D76DB-2E09-4D28-9561-184944855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" y="2815"/>
              <a:ext cx="11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Oval 122">
              <a:extLst>
                <a:ext uri="{FF2B5EF4-FFF2-40B4-BE49-F238E27FC236}">
                  <a16:creationId xmlns:a16="http://schemas.microsoft.com/office/drawing/2014/main" id="{21A7FE5C-FA5C-4EE4-8A93-0BC5B6AB8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" y="2907"/>
              <a:ext cx="10" cy="1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23">
              <a:extLst>
                <a:ext uri="{FF2B5EF4-FFF2-40B4-BE49-F238E27FC236}">
                  <a16:creationId xmlns:a16="http://schemas.microsoft.com/office/drawing/2014/main" id="{3DD7F4A0-20F8-433C-A93B-6220F74EA7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" y="2736"/>
              <a:ext cx="263" cy="263"/>
            </a:xfrm>
            <a:custGeom>
              <a:avLst/>
              <a:gdLst>
                <a:gd name="T0" fmla="*/ 77 w 103"/>
                <a:gd name="T1" fmla="*/ 35 h 103"/>
                <a:gd name="T2" fmla="*/ 36 w 103"/>
                <a:gd name="T3" fmla="*/ 75 h 103"/>
                <a:gd name="T4" fmla="*/ 33 w 103"/>
                <a:gd name="T5" fmla="*/ 92 h 103"/>
                <a:gd name="T6" fmla="*/ 19 w 103"/>
                <a:gd name="T7" fmla="*/ 98 h 103"/>
                <a:gd name="T8" fmla="*/ 25 w 103"/>
                <a:gd name="T9" fmla="*/ 90 h 103"/>
                <a:gd name="T10" fmla="*/ 25 w 103"/>
                <a:gd name="T11" fmla="*/ 83 h 103"/>
                <a:gd name="T12" fmla="*/ 18 w 103"/>
                <a:gd name="T13" fmla="*/ 77 h 103"/>
                <a:gd name="T14" fmla="*/ 11 w 103"/>
                <a:gd name="T15" fmla="*/ 78 h 103"/>
                <a:gd name="T16" fmla="*/ 4 w 103"/>
                <a:gd name="T17" fmla="*/ 82 h 103"/>
                <a:gd name="T18" fmla="*/ 25 w 103"/>
                <a:gd name="T19" fmla="*/ 67 h 103"/>
                <a:gd name="T20" fmla="*/ 67 w 103"/>
                <a:gd name="T21" fmla="*/ 28 h 103"/>
                <a:gd name="T22" fmla="*/ 69 w 103"/>
                <a:gd name="T23" fmla="*/ 11 h 103"/>
                <a:gd name="T24" fmla="*/ 84 w 103"/>
                <a:gd name="T25" fmla="*/ 5 h 103"/>
                <a:gd name="T26" fmla="*/ 77 w 103"/>
                <a:gd name="T27" fmla="*/ 12 h 103"/>
                <a:gd name="T28" fmla="*/ 78 w 103"/>
                <a:gd name="T29" fmla="*/ 19 h 103"/>
                <a:gd name="T30" fmla="*/ 85 w 103"/>
                <a:gd name="T31" fmla="*/ 26 h 103"/>
                <a:gd name="T32" fmla="*/ 92 w 103"/>
                <a:gd name="T33" fmla="*/ 25 h 103"/>
                <a:gd name="T34" fmla="*/ 98 w 103"/>
                <a:gd name="T35" fmla="*/ 20 h 103"/>
                <a:gd name="T36" fmla="*/ 65 w 103"/>
                <a:gd name="T37" fmla="*/ 57 h 103"/>
                <a:gd name="T38" fmla="*/ 54 w 103"/>
                <a:gd name="T39" fmla="*/ 63 h 103"/>
                <a:gd name="T40" fmla="*/ 65 w 103"/>
                <a:gd name="T41" fmla="*/ 57 h 103"/>
                <a:gd name="T42" fmla="*/ 96 w 103"/>
                <a:gd name="T43" fmla="*/ 85 h 103"/>
                <a:gd name="T44" fmla="*/ 85 w 103"/>
                <a:gd name="T45" fmla="*/ 96 h 103"/>
                <a:gd name="T46" fmla="*/ 68 w 103"/>
                <a:gd name="T47" fmla="*/ 60 h 103"/>
                <a:gd name="T48" fmla="*/ 16 w 103"/>
                <a:gd name="T49" fmla="*/ 20 h 103"/>
                <a:gd name="T50" fmla="*/ 5 w 103"/>
                <a:gd name="T51" fmla="*/ 9 h 103"/>
                <a:gd name="T52" fmla="*/ 20 w 103"/>
                <a:gd name="T53" fmla="*/ 12 h 103"/>
                <a:gd name="T54" fmla="*/ 21 w 103"/>
                <a:gd name="T55" fmla="*/ 18 h 103"/>
                <a:gd name="T56" fmla="*/ 43 w 103"/>
                <a:gd name="T57" fmla="*/ 46 h 103"/>
                <a:gd name="T58" fmla="*/ 100 w 103"/>
                <a:gd name="T59" fmla="*/ 13 h 103"/>
                <a:gd name="T60" fmla="*/ 90 w 103"/>
                <a:gd name="T61" fmla="*/ 22 h 103"/>
                <a:gd name="T62" fmla="*/ 81 w 103"/>
                <a:gd name="T63" fmla="*/ 17 h 103"/>
                <a:gd name="T64" fmla="*/ 89 w 103"/>
                <a:gd name="T65" fmla="*/ 5 h 103"/>
                <a:gd name="T66" fmla="*/ 89 w 103"/>
                <a:gd name="T67" fmla="*/ 2 h 103"/>
                <a:gd name="T68" fmla="*/ 66 w 103"/>
                <a:gd name="T69" fmla="*/ 9 h 103"/>
                <a:gd name="T70" fmla="*/ 48 w 103"/>
                <a:gd name="T71" fmla="*/ 40 h 103"/>
                <a:gd name="T72" fmla="*/ 24 w 103"/>
                <a:gd name="T73" fmla="*/ 11 h 103"/>
                <a:gd name="T74" fmla="*/ 9 w 103"/>
                <a:gd name="T75" fmla="*/ 1 h 103"/>
                <a:gd name="T76" fmla="*/ 1 w 103"/>
                <a:gd name="T77" fmla="*/ 7 h 103"/>
                <a:gd name="T78" fmla="*/ 9 w 103"/>
                <a:gd name="T79" fmla="*/ 23 h 103"/>
                <a:gd name="T80" fmla="*/ 16 w 103"/>
                <a:gd name="T81" fmla="*/ 24 h 103"/>
                <a:gd name="T82" fmla="*/ 25 w 103"/>
                <a:gd name="T83" fmla="*/ 63 h 103"/>
                <a:gd name="T84" fmla="*/ 0 w 103"/>
                <a:gd name="T85" fmla="*/ 82 h 103"/>
                <a:gd name="T86" fmla="*/ 3 w 103"/>
                <a:gd name="T87" fmla="*/ 90 h 103"/>
                <a:gd name="T88" fmla="*/ 13 w 103"/>
                <a:gd name="T89" fmla="*/ 81 h 103"/>
                <a:gd name="T90" fmla="*/ 22 w 103"/>
                <a:gd name="T91" fmla="*/ 86 h 103"/>
                <a:gd name="T92" fmla="*/ 13 w 103"/>
                <a:gd name="T93" fmla="*/ 98 h 103"/>
                <a:gd name="T94" fmla="*/ 14 w 103"/>
                <a:gd name="T95" fmla="*/ 101 h 103"/>
                <a:gd name="T96" fmla="*/ 36 w 103"/>
                <a:gd name="T97" fmla="*/ 94 h 103"/>
                <a:gd name="T98" fmla="*/ 51 w 103"/>
                <a:gd name="T99" fmla="*/ 66 h 103"/>
                <a:gd name="T100" fmla="*/ 53 w 103"/>
                <a:gd name="T101" fmla="*/ 70 h 103"/>
                <a:gd name="T102" fmla="*/ 55 w 103"/>
                <a:gd name="T103" fmla="*/ 72 h 103"/>
                <a:gd name="T104" fmla="*/ 82 w 103"/>
                <a:gd name="T105" fmla="*/ 99 h 103"/>
                <a:gd name="T106" fmla="*/ 99 w 103"/>
                <a:gd name="T107" fmla="*/ 99 h 103"/>
                <a:gd name="T108" fmla="*/ 99 w 103"/>
                <a:gd name="T109" fmla="*/ 82 h 103"/>
                <a:gd name="T110" fmla="*/ 72 w 103"/>
                <a:gd name="T111" fmla="*/ 56 h 103"/>
                <a:gd name="T112" fmla="*/ 70 w 103"/>
                <a:gd name="T113" fmla="*/ 53 h 103"/>
                <a:gd name="T114" fmla="*/ 65 w 103"/>
                <a:gd name="T115" fmla="*/ 51 h 103"/>
                <a:gd name="T116" fmla="*/ 82 w 103"/>
                <a:gd name="T117" fmla="*/ 40 h 103"/>
                <a:gd name="T118" fmla="*/ 101 w 103"/>
                <a:gd name="T119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" h="103">
                  <a:moveTo>
                    <a:pt x="82" y="36"/>
                  </a:moveTo>
                  <a:cubicBezTo>
                    <a:pt x="81" y="36"/>
                    <a:pt x="79" y="36"/>
                    <a:pt x="77" y="35"/>
                  </a:cubicBezTo>
                  <a:cubicBezTo>
                    <a:pt x="76" y="35"/>
                    <a:pt x="76" y="35"/>
                    <a:pt x="75" y="36"/>
                  </a:cubicBezTo>
                  <a:cubicBezTo>
                    <a:pt x="65" y="46"/>
                    <a:pt x="44" y="67"/>
                    <a:pt x="36" y="75"/>
                  </a:cubicBezTo>
                  <a:cubicBezTo>
                    <a:pt x="35" y="76"/>
                    <a:pt x="35" y="77"/>
                    <a:pt x="35" y="77"/>
                  </a:cubicBezTo>
                  <a:cubicBezTo>
                    <a:pt x="37" y="82"/>
                    <a:pt x="36" y="87"/>
                    <a:pt x="33" y="92"/>
                  </a:cubicBezTo>
                  <a:cubicBezTo>
                    <a:pt x="30" y="96"/>
                    <a:pt x="25" y="98"/>
                    <a:pt x="20" y="98"/>
                  </a:cubicBezTo>
                  <a:cubicBezTo>
                    <a:pt x="20" y="98"/>
                    <a:pt x="19" y="98"/>
                    <a:pt x="19" y="98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5" y="91"/>
                    <a:pt x="25" y="91"/>
                    <a:pt x="25" y="90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5" y="84"/>
                    <a:pt x="25" y="83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7"/>
                    <a:pt x="18" y="77"/>
                    <a:pt x="18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7"/>
                    <a:pt x="11" y="77"/>
                    <a:pt x="11" y="78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4" y="83"/>
                    <a:pt x="4" y="83"/>
                    <a:pt x="4" y="82"/>
                  </a:cubicBezTo>
                  <a:cubicBezTo>
                    <a:pt x="4" y="77"/>
                    <a:pt x="7" y="72"/>
                    <a:pt x="11" y="69"/>
                  </a:cubicBezTo>
                  <a:cubicBezTo>
                    <a:pt x="15" y="66"/>
                    <a:pt x="20" y="66"/>
                    <a:pt x="25" y="67"/>
                  </a:cubicBezTo>
                  <a:cubicBezTo>
                    <a:pt x="26" y="68"/>
                    <a:pt x="27" y="67"/>
                    <a:pt x="27" y="67"/>
                  </a:cubicBezTo>
                  <a:cubicBezTo>
                    <a:pt x="28" y="67"/>
                    <a:pt x="67" y="28"/>
                    <a:pt x="67" y="28"/>
                  </a:cubicBezTo>
                  <a:cubicBezTo>
                    <a:pt x="67" y="27"/>
                    <a:pt x="67" y="26"/>
                    <a:pt x="67" y="26"/>
                  </a:cubicBezTo>
                  <a:cubicBezTo>
                    <a:pt x="66" y="21"/>
                    <a:pt x="66" y="15"/>
                    <a:pt x="69" y="11"/>
                  </a:cubicBezTo>
                  <a:cubicBezTo>
                    <a:pt x="72" y="7"/>
                    <a:pt x="77" y="5"/>
                    <a:pt x="82" y="5"/>
                  </a:cubicBezTo>
                  <a:cubicBezTo>
                    <a:pt x="83" y="5"/>
                    <a:pt x="83" y="5"/>
                    <a:pt x="84" y="5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1"/>
                    <a:pt x="77" y="12"/>
                    <a:pt x="77" y="12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8" y="19"/>
                    <a:pt x="78" y="19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4" y="25"/>
                    <a:pt x="84" y="26"/>
                    <a:pt x="85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1" y="26"/>
                    <a:pt x="91" y="25"/>
                    <a:pt x="92" y="25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20"/>
                    <a:pt x="98" y="20"/>
                  </a:cubicBezTo>
                  <a:cubicBezTo>
                    <a:pt x="98" y="29"/>
                    <a:pt x="91" y="36"/>
                    <a:pt x="82" y="36"/>
                  </a:cubicBezTo>
                  <a:moveTo>
                    <a:pt x="65" y="57"/>
                  </a:moveTo>
                  <a:cubicBezTo>
                    <a:pt x="57" y="66"/>
                    <a:pt x="57" y="66"/>
                    <a:pt x="57" y="66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63" y="54"/>
                    <a:pt x="63" y="54"/>
                    <a:pt x="63" y="54"/>
                  </a:cubicBezTo>
                  <a:lnTo>
                    <a:pt x="65" y="57"/>
                  </a:lnTo>
                  <a:close/>
                  <a:moveTo>
                    <a:pt x="68" y="60"/>
                  </a:moveTo>
                  <a:cubicBezTo>
                    <a:pt x="96" y="85"/>
                    <a:pt x="96" y="85"/>
                    <a:pt x="96" y="85"/>
                  </a:cubicBezTo>
                  <a:cubicBezTo>
                    <a:pt x="99" y="88"/>
                    <a:pt x="99" y="93"/>
                    <a:pt x="96" y="96"/>
                  </a:cubicBezTo>
                  <a:cubicBezTo>
                    <a:pt x="93" y="99"/>
                    <a:pt x="88" y="99"/>
                    <a:pt x="85" y="96"/>
                  </a:cubicBezTo>
                  <a:cubicBezTo>
                    <a:pt x="59" y="69"/>
                    <a:pt x="59" y="69"/>
                    <a:pt x="59" y="69"/>
                  </a:cubicBezTo>
                  <a:lnTo>
                    <a:pt x="68" y="60"/>
                  </a:lnTo>
                  <a:close/>
                  <a:moveTo>
                    <a:pt x="18" y="21"/>
                  </a:moveTo>
                  <a:cubicBezTo>
                    <a:pt x="18" y="20"/>
                    <a:pt x="17" y="20"/>
                    <a:pt x="16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8"/>
                    <a:pt x="21" y="1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3" y="46"/>
                    <a:pt x="43" y="46"/>
                    <a:pt x="43" y="46"/>
                  </a:cubicBezTo>
                  <a:lnTo>
                    <a:pt x="18" y="21"/>
                  </a:lnTo>
                  <a:close/>
                  <a:moveTo>
                    <a:pt x="100" y="13"/>
                  </a:moveTo>
                  <a:cubicBezTo>
                    <a:pt x="99" y="13"/>
                    <a:pt x="98" y="13"/>
                    <a:pt x="98" y="13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90" y="4"/>
                    <a:pt x="90" y="4"/>
                    <a:pt x="90" y="3"/>
                  </a:cubicBezTo>
                  <a:cubicBezTo>
                    <a:pt x="90" y="2"/>
                    <a:pt x="89" y="2"/>
                    <a:pt x="89" y="2"/>
                  </a:cubicBezTo>
                  <a:cubicBezTo>
                    <a:pt x="87" y="1"/>
                    <a:pt x="84" y="1"/>
                    <a:pt x="82" y="1"/>
                  </a:cubicBezTo>
                  <a:cubicBezTo>
                    <a:pt x="76" y="1"/>
                    <a:pt x="70" y="4"/>
                    <a:pt x="66" y="9"/>
                  </a:cubicBezTo>
                  <a:cubicBezTo>
                    <a:pt x="63" y="14"/>
                    <a:pt x="62" y="20"/>
                    <a:pt x="63" y="26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0"/>
                    <a:pt x="24" y="10"/>
                    <a:pt x="23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4"/>
                    <a:pt x="10" y="24"/>
                    <a:pt x="11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0" y="62"/>
                    <a:pt x="14" y="63"/>
                    <a:pt x="9" y="66"/>
                  </a:cubicBezTo>
                  <a:cubicBezTo>
                    <a:pt x="3" y="70"/>
                    <a:pt x="0" y="76"/>
                    <a:pt x="0" y="82"/>
                  </a:cubicBezTo>
                  <a:cubicBezTo>
                    <a:pt x="0" y="85"/>
                    <a:pt x="1" y="87"/>
                    <a:pt x="2" y="89"/>
                  </a:cubicBezTo>
                  <a:cubicBezTo>
                    <a:pt x="2" y="89"/>
                    <a:pt x="2" y="90"/>
                    <a:pt x="3" y="90"/>
                  </a:cubicBezTo>
                  <a:cubicBezTo>
                    <a:pt x="4" y="90"/>
                    <a:pt x="4" y="90"/>
                    <a:pt x="5" y="89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9"/>
                    <a:pt x="13" y="100"/>
                  </a:cubicBezTo>
                  <a:cubicBezTo>
                    <a:pt x="13" y="100"/>
                    <a:pt x="13" y="101"/>
                    <a:pt x="14" y="101"/>
                  </a:cubicBezTo>
                  <a:cubicBezTo>
                    <a:pt x="16" y="102"/>
                    <a:pt x="18" y="102"/>
                    <a:pt x="20" y="102"/>
                  </a:cubicBezTo>
                  <a:cubicBezTo>
                    <a:pt x="27" y="102"/>
                    <a:pt x="33" y="99"/>
                    <a:pt x="36" y="94"/>
                  </a:cubicBezTo>
                  <a:cubicBezTo>
                    <a:pt x="40" y="89"/>
                    <a:pt x="41" y="83"/>
                    <a:pt x="40" y="77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2" y="70"/>
                    <a:pt x="52" y="72"/>
                    <a:pt x="53" y="72"/>
                  </a:cubicBezTo>
                  <a:cubicBezTo>
                    <a:pt x="53" y="73"/>
                    <a:pt x="55" y="73"/>
                    <a:pt x="55" y="72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6" y="103"/>
                    <a:pt x="94" y="103"/>
                    <a:pt x="99" y="99"/>
                  </a:cubicBezTo>
                  <a:cubicBezTo>
                    <a:pt x="103" y="94"/>
                    <a:pt x="103" y="86"/>
                    <a:pt x="99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3" y="55"/>
                    <a:pt x="73" y="54"/>
                    <a:pt x="72" y="53"/>
                  </a:cubicBezTo>
                  <a:cubicBezTo>
                    <a:pt x="72" y="52"/>
                    <a:pt x="70" y="52"/>
                    <a:pt x="70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9" y="40"/>
                    <a:pt x="81" y="40"/>
                    <a:pt x="82" y="40"/>
                  </a:cubicBezTo>
                  <a:cubicBezTo>
                    <a:pt x="93" y="40"/>
                    <a:pt x="102" y="31"/>
                    <a:pt x="102" y="20"/>
                  </a:cubicBezTo>
                  <a:cubicBezTo>
                    <a:pt x="102" y="18"/>
                    <a:pt x="102" y="16"/>
                    <a:pt x="101" y="14"/>
                  </a:cubicBezTo>
                  <a:cubicBezTo>
                    <a:pt x="101" y="13"/>
                    <a:pt x="100" y="13"/>
                    <a:pt x="100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24">
              <a:extLst>
                <a:ext uri="{FF2B5EF4-FFF2-40B4-BE49-F238E27FC236}">
                  <a16:creationId xmlns:a16="http://schemas.microsoft.com/office/drawing/2014/main" id="{24AD8DDF-FA60-4C4D-9AF4-43DE305FE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" y="2830"/>
              <a:ext cx="75" cy="75"/>
            </a:xfrm>
            <a:custGeom>
              <a:avLst/>
              <a:gdLst>
                <a:gd name="T0" fmla="*/ 25 w 29"/>
                <a:gd name="T1" fmla="*/ 1 h 29"/>
                <a:gd name="T2" fmla="*/ 0 w 29"/>
                <a:gd name="T3" fmla="*/ 25 h 29"/>
                <a:gd name="T4" fmla="*/ 0 w 29"/>
                <a:gd name="T5" fmla="*/ 28 h 29"/>
                <a:gd name="T6" fmla="*/ 3 w 29"/>
                <a:gd name="T7" fmla="*/ 28 h 29"/>
                <a:gd name="T8" fmla="*/ 28 w 29"/>
                <a:gd name="T9" fmla="*/ 3 h 29"/>
                <a:gd name="T10" fmla="*/ 28 w 29"/>
                <a:gd name="T11" fmla="*/ 1 h 29"/>
                <a:gd name="T12" fmla="*/ 25 w 29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25" y="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9" y="3"/>
                    <a:pt x="29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25">
              <a:extLst>
                <a:ext uri="{FF2B5EF4-FFF2-40B4-BE49-F238E27FC236}">
                  <a16:creationId xmlns:a16="http://schemas.microsoft.com/office/drawing/2014/main" id="{54A02DCB-4128-4190-8306-D4B9681BF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2912"/>
              <a:ext cx="57" cy="57"/>
            </a:xfrm>
            <a:custGeom>
              <a:avLst/>
              <a:gdLst>
                <a:gd name="T0" fmla="*/ 18 w 22"/>
                <a:gd name="T1" fmla="*/ 21 h 22"/>
                <a:gd name="T2" fmla="*/ 21 w 22"/>
                <a:gd name="T3" fmla="*/ 21 h 22"/>
                <a:gd name="T4" fmla="*/ 21 w 22"/>
                <a:gd name="T5" fmla="*/ 18 h 22"/>
                <a:gd name="T6" fmla="*/ 3 w 22"/>
                <a:gd name="T7" fmla="*/ 1 h 22"/>
                <a:gd name="T8" fmla="*/ 1 w 22"/>
                <a:gd name="T9" fmla="*/ 1 h 22"/>
                <a:gd name="T10" fmla="*/ 1 w 22"/>
                <a:gd name="T11" fmla="*/ 3 h 22"/>
                <a:gd name="T12" fmla="*/ 18 w 22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18" y="21"/>
                  </a:moveTo>
                  <a:cubicBezTo>
                    <a:pt x="19" y="22"/>
                    <a:pt x="20" y="22"/>
                    <a:pt x="21" y="21"/>
                  </a:cubicBezTo>
                  <a:cubicBezTo>
                    <a:pt x="22" y="20"/>
                    <a:pt x="22" y="19"/>
                    <a:pt x="21" y="1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lnTo>
                    <a:pt x="1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28">
            <a:extLst>
              <a:ext uri="{FF2B5EF4-FFF2-40B4-BE49-F238E27FC236}">
                <a16:creationId xmlns:a16="http://schemas.microsoft.com/office/drawing/2014/main" id="{D7BD0FCC-F14E-4E4B-9FE7-03F96B7D2B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7000" y="4160838"/>
            <a:ext cx="758825" cy="758825"/>
            <a:chOff x="880" y="2621"/>
            <a:chExt cx="478" cy="478"/>
          </a:xfrm>
        </p:grpSpPr>
        <p:sp>
          <p:nvSpPr>
            <p:cNvPr id="181" name="AutoShape 127">
              <a:extLst>
                <a:ext uri="{FF2B5EF4-FFF2-40B4-BE49-F238E27FC236}">
                  <a16:creationId xmlns:a16="http://schemas.microsoft.com/office/drawing/2014/main" id="{19A4D7AD-1EAE-42D5-905D-D0C2313E2E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0" y="262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29">
              <a:extLst>
                <a:ext uri="{FF2B5EF4-FFF2-40B4-BE49-F238E27FC236}">
                  <a16:creationId xmlns:a16="http://schemas.microsoft.com/office/drawing/2014/main" id="{54958435-13E1-42E8-984A-2DEE6B5143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" y="262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130">
              <a:extLst>
                <a:ext uri="{FF2B5EF4-FFF2-40B4-BE49-F238E27FC236}">
                  <a16:creationId xmlns:a16="http://schemas.microsoft.com/office/drawing/2014/main" id="{FACE3FF1-D80B-410B-9DFC-F3EAFD8C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4" y="2817"/>
              <a:ext cx="10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131">
              <a:extLst>
                <a:ext uri="{FF2B5EF4-FFF2-40B4-BE49-F238E27FC236}">
                  <a16:creationId xmlns:a16="http://schemas.microsoft.com/office/drawing/2014/main" id="{C453DAAE-6DAB-4027-B6AB-B5B3E0871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" y="2905"/>
              <a:ext cx="10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32">
              <a:extLst>
                <a:ext uri="{FF2B5EF4-FFF2-40B4-BE49-F238E27FC236}">
                  <a16:creationId xmlns:a16="http://schemas.microsoft.com/office/drawing/2014/main" id="{3B747D90-3DAF-477B-9E26-7C6EF9C6B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" y="2741"/>
              <a:ext cx="253" cy="253"/>
            </a:xfrm>
            <a:custGeom>
              <a:avLst/>
              <a:gdLst>
                <a:gd name="T0" fmla="*/ 77 w 103"/>
                <a:gd name="T1" fmla="*/ 35 h 103"/>
                <a:gd name="T2" fmla="*/ 36 w 103"/>
                <a:gd name="T3" fmla="*/ 75 h 103"/>
                <a:gd name="T4" fmla="*/ 33 w 103"/>
                <a:gd name="T5" fmla="*/ 92 h 103"/>
                <a:gd name="T6" fmla="*/ 19 w 103"/>
                <a:gd name="T7" fmla="*/ 98 h 103"/>
                <a:gd name="T8" fmla="*/ 25 w 103"/>
                <a:gd name="T9" fmla="*/ 90 h 103"/>
                <a:gd name="T10" fmla="*/ 25 w 103"/>
                <a:gd name="T11" fmla="*/ 83 h 103"/>
                <a:gd name="T12" fmla="*/ 18 w 103"/>
                <a:gd name="T13" fmla="*/ 77 h 103"/>
                <a:gd name="T14" fmla="*/ 11 w 103"/>
                <a:gd name="T15" fmla="*/ 78 h 103"/>
                <a:gd name="T16" fmla="*/ 4 w 103"/>
                <a:gd name="T17" fmla="*/ 82 h 103"/>
                <a:gd name="T18" fmla="*/ 25 w 103"/>
                <a:gd name="T19" fmla="*/ 67 h 103"/>
                <a:gd name="T20" fmla="*/ 67 w 103"/>
                <a:gd name="T21" fmla="*/ 28 h 103"/>
                <a:gd name="T22" fmla="*/ 69 w 103"/>
                <a:gd name="T23" fmla="*/ 11 h 103"/>
                <a:gd name="T24" fmla="*/ 84 w 103"/>
                <a:gd name="T25" fmla="*/ 5 h 103"/>
                <a:gd name="T26" fmla="*/ 77 w 103"/>
                <a:gd name="T27" fmla="*/ 12 h 103"/>
                <a:gd name="T28" fmla="*/ 78 w 103"/>
                <a:gd name="T29" fmla="*/ 19 h 103"/>
                <a:gd name="T30" fmla="*/ 85 w 103"/>
                <a:gd name="T31" fmla="*/ 26 h 103"/>
                <a:gd name="T32" fmla="*/ 92 w 103"/>
                <a:gd name="T33" fmla="*/ 25 h 103"/>
                <a:gd name="T34" fmla="*/ 98 w 103"/>
                <a:gd name="T35" fmla="*/ 20 h 103"/>
                <a:gd name="T36" fmla="*/ 65 w 103"/>
                <a:gd name="T37" fmla="*/ 57 h 103"/>
                <a:gd name="T38" fmla="*/ 54 w 103"/>
                <a:gd name="T39" fmla="*/ 63 h 103"/>
                <a:gd name="T40" fmla="*/ 65 w 103"/>
                <a:gd name="T41" fmla="*/ 57 h 103"/>
                <a:gd name="T42" fmla="*/ 96 w 103"/>
                <a:gd name="T43" fmla="*/ 85 h 103"/>
                <a:gd name="T44" fmla="*/ 85 w 103"/>
                <a:gd name="T45" fmla="*/ 96 h 103"/>
                <a:gd name="T46" fmla="*/ 68 w 103"/>
                <a:gd name="T47" fmla="*/ 60 h 103"/>
                <a:gd name="T48" fmla="*/ 16 w 103"/>
                <a:gd name="T49" fmla="*/ 20 h 103"/>
                <a:gd name="T50" fmla="*/ 5 w 103"/>
                <a:gd name="T51" fmla="*/ 9 h 103"/>
                <a:gd name="T52" fmla="*/ 20 w 103"/>
                <a:gd name="T53" fmla="*/ 12 h 103"/>
                <a:gd name="T54" fmla="*/ 21 w 103"/>
                <a:gd name="T55" fmla="*/ 18 h 103"/>
                <a:gd name="T56" fmla="*/ 43 w 103"/>
                <a:gd name="T57" fmla="*/ 46 h 103"/>
                <a:gd name="T58" fmla="*/ 100 w 103"/>
                <a:gd name="T59" fmla="*/ 13 h 103"/>
                <a:gd name="T60" fmla="*/ 90 w 103"/>
                <a:gd name="T61" fmla="*/ 22 h 103"/>
                <a:gd name="T62" fmla="*/ 81 w 103"/>
                <a:gd name="T63" fmla="*/ 17 h 103"/>
                <a:gd name="T64" fmla="*/ 89 w 103"/>
                <a:gd name="T65" fmla="*/ 5 h 103"/>
                <a:gd name="T66" fmla="*/ 89 w 103"/>
                <a:gd name="T67" fmla="*/ 2 h 103"/>
                <a:gd name="T68" fmla="*/ 66 w 103"/>
                <a:gd name="T69" fmla="*/ 9 h 103"/>
                <a:gd name="T70" fmla="*/ 48 w 103"/>
                <a:gd name="T71" fmla="*/ 40 h 103"/>
                <a:gd name="T72" fmla="*/ 24 w 103"/>
                <a:gd name="T73" fmla="*/ 11 h 103"/>
                <a:gd name="T74" fmla="*/ 9 w 103"/>
                <a:gd name="T75" fmla="*/ 1 h 103"/>
                <a:gd name="T76" fmla="*/ 1 w 103"/>
                <a:gd name="T77" fmla="*/ 7 h 103"/>
                <a:gd name="T78" fmla="*/ 9 w 103"/>
                <a:gd name="T79" fmla="*/ 23 h 103"/>
                <a:gd name="T80" fmla="*/ 16 w 103"/>
                <a:gd name="T81" fmla="*/ 24 h 103"/>
                <a:gd name="T82" fmla="*/ 25 w 103"/>
                <a:gd name="T83" fmla="*/ 63 h 103"/>
                <a:gd name="T84" fmla="*/ 0 w 103"/>
                <a:gd name="T85" fmla="*/ 82 h 103"/>
                <a:gd name="T86" fmla="*/ 3 w 103"/>
                <a:gd name="T87" fmla="*/ 90 h 103"/>
                <a:gd name="T88" fmla="*/ 13 w 103"/>
                <a:gd name="T89" fmla="*/ 81 h 103"/>
                <a:gd name="T90" fmla="*/ 22 w 103"/>
                <a:gd name="T91" fmla="*/ 86 h 103"/>
                <a:gd name="T92" fmla="*/ 13 w 103"/>
                <a:gd name="T93" fmla="*/ 98 h 103"/>
                <a:gd name="T94" fmla="*/ 14 w 103"/>
                <a:gd name="T95" fmla="*/ 101 h 103"/>
                <a:gd name="T96" fmla="*/ 36 w 103"/>
                <a:gd name="T97" fmla="*/ 94 h 103"/>
                <a:gd name="T98" fmla="*/ 51 w 103"/>
                <a:gd name="T99" fmla="*/ 66 h 103"/>
                <a:gd name="T100" fmla="*/ 53 w 103"/>
                <a:gd name="T101" fmla="*/ 70 h 103"/>
                <a:gd name="T102" fmla="*/ 55 w 103"/>
                <a:gd name="T103" fmla="*/ 72 h 103"/>
                <a:gd name="T104" fmla="*/ 82 w 103"/>
                <a:gd name="T105" fmla="*/ 99 h 103"/>
                <a:gd name="T106" fmla="*/ 99 w 103"/>
                <a:gd name="T107" fmla="*/ 99 h 103"/>
                <a:gd name="T108" fmla="*/ 99 w 103"/>
                <a:gd name="T109" fmla="*/ 82 h 103"/>
                <a:gd name="T110" fmla="*/ 72 w 103"/>
                <a:gd name="T111" fmla="*/ 56 h 103"/>
                <a:gd name="T112" fmla="*/ 70 w 103"/>
                <a:gd name="T113" fmla="*/ 53 h 103"/>
                <a:gd name="T114" fmla="*/ 65 w 103"/>
                <a:gd name="T115" fmla="*/ 51 h 103"/>
                <a:gd name="T116" fmla="*/ 82 w 103"/>
                <a:gd name="T117" fmla="*/ 40 h 103"/>
                <a:gd name="T118" fmla="*/ 101 w 103"/>
                <a:gd name="T119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" h="103">
                  <a:moveTo>
                    <a:pt x="82" y="36"/>
                  </a:moveTo>
                  <a:cubicBezTo>
                    <a:pt x="81" y="36"/>
                    <a:pt x="79" y="36"/>
                    <a:pt x="77" y="35"/>
                  </a:cubicBezTo>
                  <a:cubicBezTo>
                    <a:pt x="76" y="35"/>
                    <a:pt x="76" y="35"/>
                    <a:pt x="75" y="36"/>
                  </a:cubicBezTo>
                  <a:cubicBezTo>
                    <a:pt x="65" y="46"/>
                    <a:pt x="44" y="67"/>
                    <a:pt x="36" y="75"/>
                  </a:cubicBezTo>
                  <a:cubicBezTo>
                    <a:pt x="35" y="76"/>
                    <a:pt x="35" y="77"/>
                    <a:pt x="35" y="77"/>
                  </a:cubicBezTo>
                  <a:cubicBezTo>
                    <a:pt x="37" y="82"/>
                    <a:pt x="36" y="87"/>
                    <a:pt x="33" y="92"/>
                  </a:cubicBezTo>
                  <a:cubicBezTo>
                    <a:pt x="30" y="96"/>
                    <a:pt x="25" y="98"/>
                    <a:pt x="20" y="98"/>
                  </a:cubicBezTo>
                  <a:cubicBezTo>
                    <a:pt x="20" y="98"/>
                    <a:pt x="19" y="98"/>
                    <a:pt x="19" y="98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5" y="91"/>
                    <a:pt x="25" y="91"/>
                    <a:pt x="25" y="90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5" y="84"/>
                    <a:pt x="25" y="83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7"/>
                    <a:pt x="18" y="77"/>
                    <a:pt x="18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7"/>
                    <a:pt x="11" y="77"/>
                    <a:pt x="11" y="78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4" y="83"/>
                    <a:pt x="4" y="83"/>
                    <a:pt x="4" y="82"/>
                  </a:cubicBezTo>
                  <a:cubicBezTo>
                    <a:pt x="4" y="77"/>
                    <a:pt x="7" y="72"/>
                    <a:pt x="11" y="69"/>
                  </a:cubicBezTo>
                  <a:cubicBezTo>
                    <a:pt x="15" y="66"/>
                    <a:pt x="20" y="66"/>
                    <a:pt x="25" y="67"/>
                  </a:cubicBezTo>
                  <a:cubicBezTo>
                    <a:pt x="26" y="68"/>
                    <a:pt x="27" y="67"/>
                    <a:pt x="27" y="67"/>
                  </a:cubicBezTo>
                  <a:cubicBezTo>
                    <a:pt x="28" y="67"/>
                    <a:pt x="67" y="28"/>
                    <a:pt x="67" y="28"/>
                  </a:cubicBezTo>
                  <a:cubicBezTo>
                    <a:pt x="67" y="27"/>
                    <a:pt x="67" y="26"/>
                    <a:pt x="67" y="26"/>
                  </a:cubicBezTo>
                  <a:cubicBezTo>
                    <a:pt x="66" y="21"/>
                    <a:pt x="66" y="15"/>
                    <a:pt x="69" y="11"/>
                  </a:cubicBezTo>
                  <a:cubicBezTo>
                    <a:pt x="72" y="7"/>
                    <a:pt x="77" y="5"/>
                    <a:pt x="82" y="5"/>
                  </a:cubicBezTo>
                  <a:cubicBezTo>
                    <a:pt x="83" y="5"/>
                    <a:pt x="83" y="5"/>
                    <a:pt x="84" y="5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1"/>
                    <a:pt x="77" y="12"/>
                    <a:pt x="77" y="12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8" y="19"/>
                    <a:pt x="78" y="19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4" y="25"/>
                    <a:pt x="84" y="26"/>
                    <a:pt x="85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1" y="26"/>
                    <a:pt x="91" y="25"/>
                    <a:pt x="92" y="25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20"/>
                    <a:pt x="98" y="20"/>
                  </a:cubicBezTo>
                  <a:cubicBezTo>
                    <a:pt x="98" y="29"/>
                    <a:pt x="91" y="36"/>
                    <a:pt x="82" y="36"/>
                  </a:cubicBezTo>
                  <a:moveTo>
                    <a:pt x="65" y="57"/>
                  </a:moveTo>
                  <a:cubicBezTo>
                    <a:pt x="57" y="66"/>
                    <a:pt x="57" y="66"/>
                    <a:pt x="57" y="66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63" y="54"/>
                    <a:pt x="63" y="54"/>
                    <a:pt x="63" y="54"/>
                  </a:cubicBezTo>
                  <a:lnTo>
                    <a:pt x="65" y="57"/>
                  </a:lnTo>
                  <a:close/>
                  <a:moveTo>
                    <a:pt x="68" y="60"/>
                  </a:moveTo>
                  <a:cubicBezTo>
                    <a:pt x="96" y="85"/>
                    <a:pt x="96" y="85"/>
                    <a:pt x="96" y="85"/>
                  </a:cubicBezTo>
                  <a:cubicBezTo>
                    <a:pt x="99" y="88"/>
                    <a:pt x="99" y="93"/>
                    <a:pt x="96" y="96"/>
                  </a:cubicBezTo>
                  <a:cubicBezTo>
                    <a:pt x="93" y="99"/>
                    <a:pt x="88" y="99"/>
                    <a:pt x="85" y="96"/>
                  </a:cubicBezTo>
                  <a:cubicBezTo>
                    <a:pt x="59" y="69"/>
                    <a:pt x="59" y="69"/>
                    <a:pt x="59" y="69"/>
                  </a:cubicBezTo>
                  <a:lnTo>
                    <a:pt x="68" y="60"/>
                  </a:lnTo>
                  <a:close/>
                  <a:moveTo>
                    <a:pt x="18" y="21"/>
                  </a:moveTo>
                  <a:cubicBezTo>
                    <a:pt x="18" y="20"/>
                    <a:pt x="17" y="20"/>
                    <a:pt x="16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8"/>
                    <a:pt x="21" y="1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3" y="46"/>
                    <a:pt x="43" y="46"/>
                    <a:pt x="43" y="46"/>
                  </a:cubicBezTo>
                  <a:lnTo>
                    <a:pt x="18" y="21"/>
                  </a:lnTo>
                  <a:close/>
                  <a:moveTo>
                    <a:pt x="100" y="13"/>
                  </a:moveTo>
                  <a:cubicBezTo>
                    <a:pt x="99" y="13"/>
                    <a:pt x="98" y="13"/>
                    <a:pt x="98" y="13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90" y="4"/>
                    <a:pt x="90" y="4"/>
                    <a:pt x="90" y="3"/>
                  </a:cubicBezTo>
                  <a:cubicBezTo>
                    <a:pt x="90" y="2"/>
                    <a:pt x="89" y="2"/>
                    <a:pt x="89" y="2"/>
                  </a:cubicBezTo>
                  <a:cubicBezTo>
                    <a:pt x="87" y="1"/>
                    <a:pt x="84" y="1"/>
                    <a:pt x="82" y="1"/>
                  </a:cubicBezTo>
                  <a:cubicBezTo>
                    <a:pt x="76" y="1"/>
                    <a:pt x="70" y="4"/>
                    <a:pt x="66" y="9"/>
                  </a:cubicBezTo>
                  <a:cubicBezTo>
                    <a:pt x="63" y="14"/>
                    <a:pt x="62" y="20"/>
                    <a:pt x="63" y="26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0"/>
                    <a:pt x="24" y="10"/>
                    <a:pt x="23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4"/>
                    <a:pt x="10" y="24"/>
                    <a:pt x="11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0" y="62"/>
                    <a:pt x="14" y="63"/>
                    <a:pt x="9" y="66"/>
                  </a:cubicBezTo>
                  <a:cubicBezTo>
                    <a:pt x="3" y="70"/>
                    <a:pt x="0" y="76"/>
                    <a:pt x="0" y="82"/>
                  </a:cubicBezTo>
                  <a:cubicBezTo>
                    <a:pt x="0" y="85"/>
                    <a:pt x="1" y="87"/>
                    <a:pt x="2" y="89"/>
                  </a:cubicBezTo>
                  <a:cubicBezTo>
                    <a:pt x="2" y="89"/>
                    <a:pt x="2" y="90"/>
                    <a:pt x="3" y="90"/>
                  </a:cubicBezTo>
                  <a:cubicBezTo>
                    <a:pt x="4" y="90"/>
                    <a:pt x="4" y="90"/>
                    <a:pt x="5" y="89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9"/>
                    <a:pt x="13" y="100"/>
                  </a:cubicBezTo>
                  <a:cubicBezTo>
                    <a:pt x="13" y="100"/>
                    <a:pt x="13" y="101"/>
                    <a:pt x="14" y="101"/>
                  </a:cubicBezTo>
                  <a:cubicBezTo>
                    <a:pt x="16" y="102"/>
                    <a:pt x="18" y="102"/>
                    <a:pt x="20" y="102"/>
                  </a:cubicBezTo>
                  <a:cubicBezTo>
                    <a:pt x="27" y="102"/>
                    <a:pt x="33" y="99"/>
                    <a:pt x="36" y="94"/>
                  </a:cubicBezTo>
                  <a:cubicBezTo>
                    <a:pt x="40" y="89"/>
                    <a:pt x="41" y="83"/>
                    <a:pt x="40" y="77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2" y="70"/>
                    <a:pt x="52" y="72"/>
                    <a:pt x="53" y="72"/>
                  </a:cubicBezTo>
                  <a:cubicBezTo>
                    <a:pt x="53" y="73"/>
                    <a:pt x="55" y="73"/>
                    <a:pt x="55" y="72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6" y="103"/>
                    <a:pt x="94" y="103"/>
                    <a:pt x="99" y="99"/>
                  </a:cubicBezTo>
                  <a:cubicBezTo>
                    <a:pt x="103" y="94"/>
                    <a:pt x="103" y="86"/>
                    <a:pt x="99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3" y="55"/>
                    <a:pt x="73" y="54"/>
                    <a:pt x="72" y="53"/>
                  </a:cubicBezTo>
                  <a:cubicBezTo>
                    <a:pt x="72" y="52"/>
                    <a:pt x="70" y="52"/>
                    <a:pt x="70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9" y="40"/>
                    <a:pt x="81" y="40"/>
                    <a:pt x="82" y="40"/>
                  </a:cubicBezTo>
                  <a:cubicBezTo>
                    <a:pt x="93" y="40"/>
                    <a:pt x="102" y="31"/>
                    <a:pt x="102" y="20"/>
                  </a:cubicBezTo>
                  <a:cubicBezTo>
                    <a:pt x="102" y="18"/>
                    <a:pt x="102" y="16"/>
                    <a:pt x="101" y="14"/>
                  </a:cubicBezTo>
                  <a:cubicBezTo>
                    <a:pt x="101" y="13"/>
                    <a:pt x="100" y="13"/>
                    <a:pt x="100" y="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33">
              <a:extLst>
                <a:ext uri="{FF2B5EF4-FFF2-40B4-BE49-F238E27FC236}">
                  <a16:creationId xmlns:a16="http://schemas.microsoft.com/office/drawing/2014/main" id="{E445DB09-36D6-4A8F-A5FB-E40B6994D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" y="2832"/>
              <a:ext cx="71" cy="71"/>
            </a:xfrm>
            <a:custGeom>
              <a:avLst/>
              <a:gdLst>
                <a:gd name="T0" fmla="*/ 25 w 29"/>
                <a:gd name="T1" fmla="*/ 1 h 29"/>
                <a:gd name="T2" fmla="*/ 0 w 29"/>
                <a:gd name="T3" fmla="*/ 25 h 29"/>
                <a:gd name="T4" fmla="*/ 0 w 29"/>
                <a:gd name="T5" fmla="*/ 28 h 29"/>
                <a:gd name="T6" fmla="*/ 3 w 29"/>
                <a:gd name="T7" fmla="*/ 28 h 29"/>
                <a:gd name="T8" fmla="*/ 28 w 29"/>
                <a:gd name="T9" fmla="*/ 3 h 29"/>
                <a:gd name="T10" fmla="*/ 28 w 29"/>
                <a:gd name="T11" fmla="*/ 1 h 29"/>
                <a:gd name="T12" fmla="*/ 25 w 29"/>
                <a:gd name="T1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25" y="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3" y="29"/>
                    <a:pt x="3" y="28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9" y="3"/>
                    <a:pt x="29" y="1"/>
                    <a:pt x="28" y="1"/>
                  </a:cubicBezTo>
                  <a:cubicBezTo>
                    <a:pt x="27" y="0"/>
                    <a:pt x="26" y="0"/>
                    <a:pt x="25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34">
              <a:extLst>
                <a:ext uri="{FF2B5EF4-FFF2-40B4-BE49-F238E27FC236}">
                  <a16:creationId xmlns:a16="http://schemas.microsoft.com/office/drawing/2014/main" id="{2CBBBFF4-0DC7-4CF8-941B-E6E4A36C2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" y="2910"/>
              <a:ext cx="54" cy="54"/>
            </a:xfrm>
            <a:custGeom>
              <a:avLst/>
              <a:gdLst>
                <a:gd name="T0" fmla="*/ 18 w 22"/>
                <a:gd name="T1" fmla="*/ 21 h 22"/>
                <a:gd name="T2" fmla="*/ 21 w 22"/>
                <a:gd name="T3" fmla="*/ 21 h 22"/>
                <a:gd name="T4" fmla="*/ 21 w 22"/>
                <a:gd name="T5" fmla="*/ 18 h 22"/>
                <a:gd name="T6" fmla="*/ 3 w 22"/>
                <a:gd name="T7" fmla="*/ 1 h 22"/>
                <a:gd name="T8" fmla="*/ 1 w 22"/>
                <a:gd name="T9" fmla="*/ 1 h 22"/>
                <a:gd name="T10" fmla="*/ 1 w 22"/>
                <a:gd name="T11" fmla="*/ 3 h 22"/>
                <a:gd name="T12" fmla="*/ 18 w 22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18" y="21"/>
                  </a:moveTo>
                  <a:cubicBezTo>
                    <a:pt x="19" y="22"/>
                    <a:pt x="20" y="22"/>
                    <a:pt x="21" y="21"/>
                  </a:cubicBezTo>
                  <a:cubicBezTo>
                    <a:pt x="22" y="20"/>
                    <a:pt x="22" y="19"/>
                    <a:pt x="21" y="1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1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lnTo>
                    <a:pt x="18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8" name="Group 137">
            <a:extLst>
              <a:ext uri="{FF2B5EF4-FFF2-40B4-BE49-F238E27FC236}">
                <a16:creationId xmlns:a16="http://schemas.microsoft.com/office/drawing/2014/main" id="{F7C74C12-6D51-48AB-BFDC-91CC475FD8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7625" y="4119563"/>
            <a:ext cx="841375" cy="841375"/>
            <a:chOff x="1630" y="2595"/>
            <a:chExt cx="530" cy="530"/>
          </a:xfrm>
        </p:grpSpPr>
        <p:sp>
          <p:nvSpPr>
            <p:cNvPr id="189" name="AutoShape 136">
              <a:extLst>
                <a:ext uri="{FF2B5EF4-FFF2-40B4-BE49-F238E27FC236}">
                  <a16:creationId xmlns:a16="http://schemas.microsoft.com/office/drawing/2014/main" id="{D58FC57F-AEBB-4AC1-BD86-6494D7C23C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0" y="25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138">
              <a:extLst>
                <a:ext uri="{FF2B5EF4-FFF2-40B4-BE49-F238E27FC236}">
                  <a16:creationId xmlns:a16="http://schemas.microsoft.com/office/drawing/2014/main" id="{1D3FE86B-11A7-4F62-A2F9-F6A09C7CE8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0" y="25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39">
              <a:extLst>
                <a:ext uri="{FF2B5EF4-FFF2-40B4-BE49-F238E27FC236}">
                  <a16:creationId xmlns:a16="http://schemas.microsoft.com/office/drawing/2014/main" id="{5DD4CE51-24A8-4B09-A107-2BFFCF09D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8" y="26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40">
              <a:extLst>
                <a:ext uri="{FF2B5EF4-FFF2-40B4-BE49-F238E27FC236}">
                  <a16:creationId xmlns:a16="http://schemas.microsoft.com/office/drawing/2014/main" id="{C2F90011-E30A-4276-A306-2E75946C46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" y="2864"/>
              <a:ext cx="336" cy="143"/>
            </a:xfrm>
            <a:custGeom>
              <a:avLst/>
              <a:gdLst>
                <a:gd name="T0" fmla="*/ 91 w 131"/>
                <a:gd name="T1" fmla="*/ 30 h 56"/>
                <a:gd name="T2" fmla="*/ 73 w 131"/>
                <a:gd name="T3" fmla="*/ 34 h 56"/>
                <a:gd name="T4" fmla="*/ 36 w 131"/>
                <a:gd name="T5" fmla="*/ 35 h 56"/>
                <a:gd name="T6" fmla="*/ 36 w 131"/>
                <a:gd name="T7" fmla="*/ 18 h 56"/>
                <a:gd name="T8" fmla="*/ 65 w 131"/>
                <a:gd name="T9" fmla="*/ 14 h 56"/>
                <a:gd name="T10" fmla="*/ 73 w 131"/>
                <a:gd name="T11" fmla="*/ 18 h 56"/>
                <a:gd name="T12" fmla="*/ 73 w 131"/>
                <a:gd name="T13" fmla="*/ 18 h 56"/>
                <a:gd name="T14" fmla="*/ 90 w 131"/>
                <a:gd name="T15" fmla="*/ 18 h 56"/>
                <a:gd name="T16" fmla="*/ 95 w 131"/>
                <a:gd name="T17" fmla="*/ 18 h 56"/>
                <a:gd name="T18" fmla="*/ 97 w 131"/>
                <a:gd name="T19" fmla="*/ 19 h 56"/>
                <a:gd name="T20" fmla="*/ 93 w 131"/>
                <a:gd name="T21" fmla="*/ 22 h 56"/>
                <a:gd name="T22" fmla="*/ 78 w 131"/>
                <a:gd name="T23" fmla="*/ 26 h 56"/>
                <a:gd name="T24" fmla="*/ 71 w 131"/>
                <a:gd name="T25" fmla="*/ 26 h 56"/>
                <a:gd name="T26" fmla="*/ 70 w 131"/>
                <a:gd name="T27" fmla="*/ 28 h 56"/>
                <a:gd name="T28" fmla="*/ 71 w 131"/>
                <a:gd name="T29" fmla="*/ 30 h 56"/>
                <a:gd name="T30" fmla="*/ 78 w 131"/>
                <a:gd name="T31" fmla="*/ 30 h 56"/>
                <a:gd name="T32" fmla="*/ 95 w 131"/>
                <a:gd name="T33" fmla="*/ 25 h 56"/>
                <a:gd name="T34" fmla="*/ 99 w 131"/>
                <a:gd name="T35" fmla="*/ 22 h 56"/>
                <a:gd name="T36" fmla="*/ 101 w 131"/>
                <a:gd name="T37" fmla="*/ 18 h 56"/>
                <a:gd name="T38" fmla="*/ 117 w 131"/>
                <a:gd name="T39" fmla="*/ 11 h 56"/>
                <a:gd name="T40" fmla="*/ 119 w 131"/>
                <a:gd name="T41" fmla="*/ 11 h 56"/>
                <a:gd name="T42" fmla="*/ 127 w 131"/>
                <a:gd name="T43" fmla="*/ 12 h 56"/>
                <a:gd name="T44" fmla="*/ 91 w 131"/>
                <a:gd name="T45" fmla="*/ 30 h 56"/>
                <a:gd name="T46" fmla="*/ 33 w 131"/>
                <a:gd name="T47" fmla="*/ 44 h 56"/>
                <a:gd name="T48" fmla="*/ 23 w 131"/>
                <a:gd name="T49" fmla="*/ 44 h 56"/>
                <a:gd name="T50" fmla="*/ 23 w 131"/>
                <a:gd name="T51" fmla="*/ 14 h 56"/>
                <a:gd name="T52" fmla="*/ 33 w 131"/>
                <a:gd name="T53" fmla="*/ 14 h 56"/>
                <a:gd name="T54" fmla="*/ 33 w 131"/>
                <a:gd name="T55" fmla="*/ 44 h 56"/>
                <a:gd name="T56" fmla="*/ 19 w 131"/>
                <a:gd name="T57" fmla="*/ 53 h 56"/>
                <a:gd name="T58" fmla="*/ 3 w 131"/>
                <a:gd name="T59" fmla="*/ 53 h 56"/>
                <a:gd name="T60" fmla="*/ 3 w 131"/>
                <a:gd name="T61" fmla="*/ 4 h 56"/>
                <a:gd name="T62" fmla="*/ 19 w 131"/>
                <a:gd name="T63" fmla="*/ 4 h 56"/>
                <a:gd name="T64" fmla="*/ 19 w 131"/>
                <a:gd name="T65" fmla="*/ 53 h 56"/>
                <a:gd name="T66" fmla="*/ 130 w 131"/>
                <a:gd name="T67" fmla="*/ 10 h 56"/>
                <a:gd name="T68" fmla="*/ 118 w 131"/>
                <a:gd name="T69" fmla="*/ 7 h 56"/>
                <a:gd name="T70" fmla="*/ 116 w 131"/>
                <a:gd name="T71" fmla="*/ 8 h 56"/>
                <a:gd name="T72" fmla="*/ 98 w 131"/>
                <a:gd name="T73" fmla="*/ 15 h 56"/>
                <a:gd name="T74" fmla="*/ 97 w 131"/>
                <a:gd name="T75" fmla="*/ 15 h 56"/>
                <a:gd name="T76" fmla="*/ 88 w 131"/>
                <a:gd name="T77" fmla="*/ 14 h 56"/>
                <a:gd name="T78" fmla="*/ 74 w 131"/>
                <a:gd name="T79" fmla="*/ 15 h 56"/>
                <a:gd name="T80" fmla="*/ 67 w 131"/>
                <a:gd name="T81" fmla="*/ 11 h 56"/>
                <a:gd name="T82" fmla="*/ 36 w 131"/>
                <a:gd name="T83" fmla="*/ 14 h 56"/>
                <a:gd name="T84" fmla="*/ 36 w 131"/>
                <a:gd name="T85" fmla="*/ 12 h 56"/>
                <a:gd name="T86" fmla="*/ 35 w 131"/>
                <a:gd name="T87" fmla="*/ 10 h 56"/>
                <a:gd name="T88" fmla="*/ 23 w 131"/>
                <a:gd name="T89" fmla="*/ 10 h 56"/>
                <a:gd name="T90" fmla="*/ 23 w 131"/>
                <a:gd name="T91" fmla="*/ 2 h 56"/>
                <a:gd name="T92" fmla="*/ 21 w 131"/>
                <a:gd name="T93" fmla="*/ 0 h 56"/>
                <a:gd name="T94" fmla="*/ 1 w 131"/>
                <a:gd name="T95" fmla="*/ 0 h 56"/>
                <a:gd name="T96" fmla="*/ 0 w 131"/>
                <a:gd name="T97" fmla="*/ 2 h 56"/>
                <a:gd name="T98" fmla="*/ 0 w 131"/>
                <a:gd name="T99" fmla="*/ 54 h 56"/>
                <a:gd name="T100" fmla="*/ 1 w 131"/>
                <a:gd name="T101" fmla="*/ 56 h 56"/>
                <a:gd name="T102" fmla="*/ 21 w 131"/>
                <a:gd name="T103" fmla="*/ 56 h 56"/>
                <a:gd name="T104" fmla="*/ 23 w 131"/>
                <a:gd name="T105" fmla="*/ 54 h 56"/>
                <a:gd name="T106" fmla="*/ 23 w 131"/>
                <a:gd name="T107" fmla="*/ 47 h 56"/>
                <a:gd name="T108" fmla="*/ 35 w 131"/>
                <a:gd name="T109" fmla="*/ 47 h 56"/>
                <a:gd name="T110" fmla="*/ 36 w 131"/>
                <a:gd name="T111" fmla="*/ 45 h 56"/>
                <a:gd name="T112" fmla="*/ 36 w 131"/>
                <a:gd name="T113" fmla="*/ 38 h 56"/>
                <a:gd name="T114" fmla="*/ 73 w 131"/>
                <a:gd name="T115" fmla="*/ 37 h 56"/>
                <a:gd name="T116" fmla="*/ 92 w 131"/>
                <a:gd name="T117" fmla="*/ 33 h 56"/>
                <a:gd name="T118" fmla="*/ 129 w 131"/>
                <a:gd name="T119" fmla="*/ 15 h 56"/>
                <a:gd name="T120" fmla="*/ 131 w 131"/>
                <a:gd name="T121" fmla="*/ 13 h 56"/>
                <a:gd name="T122" fmla="*/ 130 w 131"/>
                <a:gd name="T1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1" h="56">
                  <a:moveTo>
                    <a:pt x="91" y="30"/>
                  </a:moveTo>
                  <a:cubicBezTo>
                    <a:pt x="85" y="33"/>
                    <a:pt x="79" y="34"/>
                    <a:pt x="73" y="34"/>
                  </a:cubicBezTo>
                  <a:cubicBezTo>
                    <a:pt x="54" y="33"/>
                    <a:pt x="41" y="34"/>
                    <a:pt x="36" y="35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45" y="12"/>
                    <a:pt x="56" y="11"/>
                    <a:pt x="65" y="14"/>
                  </a:cubicBezTo>
                  <a:cubicBezTo>
                    <a:pt x="68" y="15"/>
                    <a:pt x="70" y="17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81" y="22"/>
                    <a:pt x="90" y="18"/>
                  </a:cubicBezTo>
                  <a:cubicBezTo>
                    <a:pt x="92" y="17"/>
                    <a:pt x="94" y="17"/>
                    <a:pt x="95" y="18"/>
                  </a:cubicBezTo>
                  <a:cubicBezTo>
                    <a:pt x="96" y="18"/>
                    <a:pt x="97" y="19"/>
                    <a:pt x="97" y="19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88" y="25"/>
                    <a:pt x="83" y="26"/>
                    <a:pt x="78" y="26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70" y="29"/>
                    <a:pt x="70" y="30"/>
                    <a:pt x="71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84" y="30"/>
                    <a:pt x="90" y="28"/>
                    <a:pt x="95" y="25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01" y="21"/>
                    <a:pt x="101" y="19"/>
                    <a:pt x="101" y="1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11"/>
                    <a:pt x="118" y="11"/>
                    <a:pt x="119" y="11"/>
                  </a:cubicBezTo>
                  <a:cubicBezTo>
                    <a:pt x="123" y="9"/>
                    <a:pt x="126" y="11"/>
                    <a:pt x="127" y="12"/>
                  </a:cubicBezTo>
                  <a:lnTo>
                    <a:pt x="91" y="30"/>
                  </a:lnTo>
                  <a:close/>
                  <a:moveTo>
                    <a:pt x="3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44"/>
                  </a:lnTo>
                  <a:close/>
                  <a:moveTo>
                    <a:pt x="19" y="53"/>
                  </a:moveTo>
                  <a:cubicBezTo>
                    <a:pt x="3" y="53"/>
                    <a:pt x="3" y="53"/>
                    <a:pt x="3" y="5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19" y="53"/>
                  </a:lnTo>
                  <a:close/>
                  <a:moveTo>
                    <a:pt x="130" y="10"/>
                  </a:moveTo>
                  <a:cubicBezTo>
                    <a:pt x="128" y="8"/>
                    <a:pt x="125" y="5"/>
                    <a:pt x="118" y="7"/>
                  </a:cubicBezTo>
                  <a:cubicBezTo>
                    <a:pt x="117" y="7"/>
                    <a:pt x="116" y="8"/>
                    <a:pt x="116" y="8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15"/>
                    <a:pt x="98" y="15"/>
                    <a:pt x="97" y="15"/>
                  </a:cubicBezTo>
                  <a:cubicBezTo>
                    <a:pt x="95" y="13"/>
                    <a:pt x="91" y="13"/>
                    <a:pt x="88" y="14"/>
                  </a:cubicBezTo>
                  <a:cubicBezTo>
                    <a:pt x="81" y="18"/>
                    <a:pt x="75" y="15"/>
                    <a:pt x="74" y="15"/>
                  </a:cubicBezTo>
                  <a:cubicBezTo>
                    <a:pt x="72" y="14"/>
                    <a:pt x="69" y="12"/>
                    <a:pt x="67" y="11"/>
                  </a:cubicBezTo>
                  <a:cubicBezTo>
                    <a:pt x="57" y="7"/>
                    <a:pt x="46" y="8"/>
                    <a:pt x="36" y="1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1"/>
                    <a:pt x="36" y="10"/>
                    <a:pt x="35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1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5"/>
                    <a:pt x="23" y="5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6" y="47"/>
                    <a:pt x="36" y="46"/>
                    <a:pt x="36" y="45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40" y="38"/>
                    <a:pt x="53" y="36"/>
                    <a:pt x="73" y="37"/>
                  </a:cubicBezTo>
                  <a:cubicBezTo>
                    <a:pt x="80" y="38"/>
                    <a:pt x="86" y="36"/>
                    <a:pt x="92" y="33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30" y="14"/>
                    <a:pt x="130" y="14"/>
                    <a:pt x="131" y="13"/>
                  </a:cubicBezTo>
                  <a:cubicBezTo>
                    <a:pt x="131" y="12"/>
                    <a:pt x="131" y="11"/>
                    <a:pt x="130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41">
              <a:extLst>
                <a:ext uri="{FF2B5EF4-FFF2-40B4-BE49-F238E27FC236}">
                  <a16:creationId xmlns:a16="http://schemas.microsoft.com/office/drawing/2014/main" id="{65BB778E-3C5F-404B-95D6-C0F4358B22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1" y="2756"/>
              <a:ext cx="105" cy="97"/>
            </a:xfrm>
            <a:custGeom>
              <a:avLst/>
              <a:gdLst>
                <a:gd name="T0" fmla="*/ 20 w 41"/>
                <a:gd name="T1" fmla="*/ 3 h 38"/>
                <a:gd name="T2" fmla="*/ 37 w 41"/>
                <a:gd name="T3" fmla="*/ 19 h 38"/>
                <a:gd name="T4" fmla="*/ 20 w 41"/>
                <a:gd name="T5" fmla="*/ 35 h 38"/>
                <a:gd name="T6" fmla="*/ 4 w 41"/>
                <a:gd name="T7" fmla="*/ 19 h 38"/>
                <a:gd name="T8" fmla="*/ 20 w 41"/>
                <a:gd name="T9" fmla="*/ 3 h 38"/>
                <a:gd name="T10" fmla="*/ 20 w 41"/>
                <a:gd name="T11" fmla="*/ 38 h 38"/>
                <a:gd name="T12" fmla="*/ 41 w 41"/>
                <a:gd name="T13" fmla="*/ 19 h 38"/>
                <a:gd name="T14" fmla="*/ 20 w 41"/>
                <a:gd name="T15" fmla="*/ 0 h 38"/>
                <a:gd name="T16" fmla="*/ 0 w 41"/>
                <a:gd name="T17" fmla="*/ 19 h 38"/>
                <a:gd name="T18" fmla="*/ 20 w 4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8">
                  <a:moveTo>
                    <a:pt x="20" y="3"/>
                  </a:moveTo>
                  <a:cubicBezTo>
                    <a:pt x="30" y="3"/>
                    <a:pt x="37" y="10"/>
                    <a:pt x="37" y="19"/>
                  </a:cubicBezTo>
                  <a:cubicBezTo>
                    <a:pt x="37" y="28"/>
                    <a:pt x="30" y="35"/>
                    <a:pt x="20" y="35"/>
                  </a:cubicBezTo>
                  <a:cubicBezTo>
                    <a:pt x="11" y="35"/>
                    <a:pt x="4" y="28"/>
                    <a:pt x="4" y="19"/>
                  </a:cubicBezTo>
                  <a:cubicBezTo>
                    <a:pt x="4" y="10"/>
                    <a:pt x="11" y="3"/>
                    <a:pt x="20" y="3"/>
                  </a:cubicBezTo>
                  <a:moveTo>
                    <a:pt x="20" y="38"/>
                  </a:moveTo>
                  <a:cubicBezTo>
                    <a:pt x="32" y="38"/>
                    <a:pt x="41" y="30"/>
                    <a:pt x="41" y="19"/>
                  </a:cubicBezTo>
                  <a:cubicBezTo>
                    <a:pt x="41" y="8"/>
                    <a:pt x="32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0"/>
                    <a:pt x="9" y="38"/>
                    <a:pt x="20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42">
              <a:extLst>
                <a:ext uri="{FF2B5EF4-FFF2-40B4-BE49-F238E27FC236}">
                  <a16:creationId xmlns:a16="http://schemas.microsoft.com/office/drawing/2014/main" id="{73361E75-9E73-41A5-BE4A-A012F1E171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0" y="2715"/>
              <a:ext cx="187" cy="179"/>
            </a:xfrm>
            <a:custGeom>
              <a:avLst/>
              <a:gdLst>
                <a:gd name="T0" fmla="*/ 5 w 73"/>
                <a:gd name="T1" fmla="*/ 31 h 70"/>
                <a:gd name="T2" fmla="*/ 12 w 73"/>
                <a:gd name="T3" fmla="*/ 23 h 70"/>
                <a:gd name="T4" fmla="*/ 11 w 73"/>
                <a:gd name="T5" fmla="*/ 15 h 70"/>
                <a:gd name="T6" fmla="*/ 15 w 73"/>
                <a:gd name="T7" fmla="*/ 11 h 70"/>
                <a:gd name="T8" fmla="*/ 23 w 73"/>
                <a:gd name="T9" fmla="*/ 12 h 70"/>
                <a:gd name="T10" fmla="*/ 32 w 73"/>
                <a:gd name="T11" fmla="*/ 5 h 70"/>
                <a:gd name="T12" fmla="*/ 38 w 73"/>
                <a:gd name="T13" fmla="*/ 3 h 70"/>
                <a:gd name="T14" fmla="*/ 44 w 73"/>
                <a:gd name="T15" fmla="*/ 10 h 70"/>
                <a:gd name="T16" fmla="*/ 56 w 73"/>
                <a:gd name="T17" fmla="*/ 11 h 70"/>
                <a:gd name="T18" fmla="*/ 61 w 73"/>
                <a:gd name="T19" fmla="*/ 14 h 70"/>
                <a:gd name="T20" fmla="*/ 60 w 73"/>
                <a:gd name="T21" fmla="*/ 23 h 70"/>
                <a:gd name="T22" fmla="*/ 68 w 73"/>
                <a:gd name="T23" fmla="*/ 31 h 70"/>
                <a:gd name="T24" fmla="*/ 69 w 73"/>
                <a:gd name="T25" fmla="*/ 37 h 70"/>
                <a:gd name="T26" fmla="*/ 62 w 73"/>
                <a:gd name="T27" fmla="*/ 42 h 70"/>
                <a:gd name="T28" fmla="*/ 61 w 73"/>
                <a:gd name="T29" fmla="*/ 53 h 70"/>
                <a:gd name="T30" fmla="*/ 58 w 73"/>
                <a:gd name="T31" fmla="*/ 59 h 70"/>
                <a:gd name="T32" fmla="*/ 56 w 73"/>
                <a:gd name="T33" fmla="*/ 59 h 70"/>
                <a:gd name="T34" fmla="*/ 44 w 73"/>
                <a:gd name="T35" fmla="*/ 60 h 70"/>
                <a:gd name="T36" fmla="*/ 38 w 73"/>
                <a:gd name="T37" fmla="*/ 66 h 70"/>
                <a:gd name="T38" fmla="*/ 32 w 73"/>
                <a:gd name="T39" fmla="*/ 65 h 70"/>
                <a:gd name="T40" fmla="*/ 23 w 73"/>
                <a:gd name="T41" fmla="*/ 58 h 70"/>
                <a:gd name="T42" fmla="*/ 17 w 73"/>
                <a:gd name="T43" fmla="*/ 59 h 70"/>
                <a:gd name="T44" fmla="*/ 15 w 73"/>
                <a:gd name="T45" fmla="*/ 59 h 70"/>
                <a:gd name="T46" fmla="*/ 11 w 73"/>
                <a:gd name="T47" fmla="*/ 55 h 70"/>
                <a:gd name="T48" fmla="*/ 11 w 73"/>
                <a:gd name="T49" fmla="*/ 53 h 70"/>
                <a:gd name="T50" fmla="*/ 10 w 73"/>
                <a:gd name="T51" fmla="*/ 42 h 70"/>
                <a:gd name="T52" fmla="*/ 3 w 73"/>
                <a:gd name="T53" fmla="*/ 37 h 70"/>
                <a:gd name="T54" fmla="*/ 5 w 73"/>
                <a:gd name="T55" fmla="*/ 42 h 70"/>
                <a:gd name="T56" fmla="*/ 9 w 73"/>
                <a:gd name="T57" fmla="*/ 49 h 70"/>
                <a:gd name="T58" fmla="*/ 9 w 73"/>
                <a:gd name="T59" fmla="*/ 51 h 70"/>
                <a:gd name="T60" fmla="*/ 9 w 73"/>
                <a:gd name="T61" fmla="*/ 58 h 70"/>
                <a:gd name="T62" fmla="*/ 16 w 73"/>
                <a:gd name="T63" fmla="*/ 63 h 70"/>
                <a:gd name="T64" fmla="*/ 20 w 73"/>
                <a:gd name="T65" fmla="*/ 61 h 70"/>
                <a:gd name="T66" fmla="*/ 28 w 73"/>
                <a:gd name="T67" fmla="*/ 63 h 70"/>
                <a:gd name="T68" fmla="*/ 34 w 73"/>
                <a:gd name="T69" fmla="*/ 70 h 70"/>
                <a:gd name="T70" fmla="*/ 44 w 73"/>
                <a:gd name="T71" fmla="*/ 65 h 70"/>
                <a:gd name="T72" fmla="*/ 51 w 73"/>
                <a:gd name="T73" fmla="*/ 61 h 70"/>
                <a:gd name="T74" fmla="*/ 53 w 73"/>
                <a:gd name="T75" fmla="*/ 61 h 70"/>
                <a:gd name="T76" fmla="*/ 61 w 73"/>
                <a:gd name="T77" fmla="*/ 61 h 70"/>
                <a:gd name="T78" fmla="*/ 64 w 73"/>
                <a:gd name="T79" fmla="*/ 51 h 70"/>
                <a:gd name="T80" fmla="*/ 66 w 73"/>
                <a:gd name="T81" fmla="*/ 43 h 70"/>
                <a:gd name="T82" fmla="*/ 73 w 73"/>
                <a:gd name="T83" fmla="*/ 37 h 70"/>
                <a:gd name="T84" fmla="*/ 68 w 73"/>
                <a:gd name="T85" fmla="*/ 28 h 70"/>
                <a:gd name="T86" fmla="*/ 63 w 73"/>
                <a:gd name="T87" fmla="*/ 21 h 70"/>
                <a:gd name="T88" fmla="*/ 64 w 73"/>
                <a:gd name="T89" fmla="*/ 12 h 70"/>
                <a:gd name="T90" fmla="*/ 53 w 73"/>
                <a:gd name="T91" fmla="*/ 9 h 70"/>
                <a:gd name="T92" fmla="*/ 45 w 73"/>
                <a:gd name="T93" fmla="*/ 7 h 70"/>
                <a:gd name="T94" fmla="*/ 38 w 73"/>
                <a:gd name="T95" fmla="*/ 0 h 70"/>
                <a:gd name="T96" fmla="*/ 29 w 73"/>
                <a:gd name="T97" fmla="*/ 5 h 70"/>
                <a:gd name="T98" fmla="*/ 22 w 73"/>
                <a:gd name="T99" fmla="*/ 9 h 70"/>
                <a:gd name="T100" fmla="*/ 12 w 73"/>
                <a:gd name="T101" fmla="*/ 9 h 70"/>
                <a:gd name="T102" fmla="*/ 7 w 73"/>
                <a:gd name="T103" fmla="*/ 15 h 70"/>
                <a:gd name="T104" fmla="*/ 9 w 73"/>
                <a:gd name="T105" fmla="*/ 21 h 70"/>
                <a:gd name="T106" fmla="*/ 5 w 73"/>
                <a:gd name="T107" fmla="*/ 28 h 70"/>
                <a:gd name="T108" fmla="*/ 0 w 73"/>
                <a:gd name="T109" fmla="*/ 3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70">
                  <a:moveTo>
                    <a:pt x="3" y="33"/>
                  </a:moveTo>
                  <a:cubicBezTo>
                    <a:pt x="3" y="32"/>
                    <a:pt x="4" y="31"/>
                    <a:pt x="5" y="31"/>
                  </a:cubicBezTo>
                  <a:cubicBezTo>
                    <a:pt x="7" y="31"/>
                    <a:pt x="9" y="30"/>
                    <a:pt x="10" y="28"/>
                  </a:cubicBezTo>
                  <a:cubicBezTo>
                    <a:pt x="11" y="26"/>
                    <a:pt x="11" y="24"/>
                    <a:pt x="12" y="23"/>
                  </a:cubicBezTo>
                  <a:cubicBezTo>
                    <a:pt x="13" y="21"/>
                    <a:pt x="13" y="18"/>
                    <a:pt x="11" y="17"/>
                  </a:cubicBezTo>
                  <a:cubicBezTo>
                    <a:pt x="11" y="16"/>
                    <a:pt x="11" y="16"/>
                    <a:pt x="11" y="15"/>
                  </a:cubicBezTo>
                  <a:cubicBezTo>
                    <a:pt x="11" y="15"/>
                    <a:pt x="11" y="14"/>
                    <a:pt x="11" y="14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6" y="11"/>
                    <a:pt x="17" y="11"/>
                  </a:cubicBezTo>
                  <a:cubicBezTo>
                    <a:pt x="19" y="13"/>
                    <a:pt x="21" y="13"/>
                    <a:pt x="23" y="12"/>
                  </a:cubicBezTo>
                  <a:cubicBezTo>
                    <a:pt x="25" y="11"/>
                    <a:pt x="27" y="11"/>
                    <a:pt x="29" y="10"/>
                  </a:cubicBezTo>
                  <a:cubicBezTo>
                    <a:pt x="31" y="9"/>
                    <a:pt x="32" y="7"/>
                    <a:pt x="32" y="5"/>
                  </a:cubicBezTo>
                  <a:cubicBezTo>
                    <a:pt x="32" y="4"/>
                    <a:pt x="33" y="3"/>
                    <a:pt x="34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9" y="3"/>
                    <a:pt x="40" y="4"/>
                    <a:pt x="40" y="5"/>
                  </a:cubicBezTo>
                  <a:cubicBezTo>
                    <a:pt x="40" y="7"/>
                    <a:pt x="42" y="9"/>
                    <a:pt x="44" y="10"/>
                  </a:cubicBezTo>
                  <a:cubicBezTo>
                    <a:pt x="46" y="11"/>
                    <a:pt x="48" y="11"/>
                    <a:pt x="49" y="12"/>
                  </a:cubicBezTo>
                  <a:cubicBezTo>
                    <a:pt x="51" y="13"/>
                    <a:pt x="54" y="13"/>
                    <a:pt x="56" y="11"/>
                  </a:cubicBezTo>
                  <a:cubicBezTo>
                    <a:pt x="56" y="11"/>
                    <a:pt x="57" y="11"/>
                    <a:pt x="58" y="11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5"/>
                    <a:pt x="62" y="16"/>
                    <a:pt x="61" y="17"/>
                  </a:cubicBezTo>
                  <a:cubicBezTo>
                    <a:pt x="60" y="18"/>
                    <a:pt x="59" y="21"/>
                    <a:pt x="60" y="23"/>
                  </a:cubicBezTo>
                  <a:cubicBezTo>
                    <a:pt x="61" y="24"/>
                    <a:pt x="62" y="26"/>
                    <a:pt x="62" y="28"/>
                  </a:cubicBezTo>
                  <a:cubicBezTo>
                    <a:pt x="63" y="30"/>
                    <a:pt x="65" y="31"/>
                    <a:pt x="68" y="31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9"/>
                    <a:pt x="68" y="39"/>
                  </a:cubicBezTo>
                  <a:cubicBezTo>
                    <a:pt x="65" y="39"/>
                    <a:pt x="63" y="40"/>
                    <a:pt x="62" y="42"/>
                  </a:cubicBezTo>
                  <a:cubicBezTo>
                    <a:pt x="62" y="44"/>
                    <a:pt x="61" y="46"/>
                    <a:pt x="60" y="47"/>
                  </a:cubicBezTo>
                  <a:cubicBezTo>
                    <a:pt x="59" y="49"/>
                    <a:pt x="60" y="52"/>
                    <a:pt x="61" y="53"/>
                  </a:cubicBezTo>
                  <a:cubicBezTo>
                    <a:pt x="62" y="54"/>
                    <a:pt x="62" y="55"/>
                    <a:pt x="61" y="56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4" y="57"/>
                    <a:pt x="51" y="57"/>
                    <a:pt x="49" y="58"/>
                  </a:cubicBezTo>
                  <a:cubicBezTo>
                    <a:pt x="48" y="59"/>
                    <a:pt x="46" y="59"/>
                    <a:pt x="44" y="60"/>
                  </a:cubicBezTo>
                  <a:cubicBezTo>
                    <a:pt x="42" y="61"/>
                    <a:pt x="40" y="63"/>
                    <a:pt x="40" y="65"/>
                  </a:cubicBezTo>
                  <a:cubicBezTo>
                    <a:pt x="40" y="66"/>
                    <a:pt x="39" y="66"/>
                    <a:pt x="38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3" y="66"/>
                    <a:pt x="32" y="66"/>
                    <a:pt x="32" y="65"/>
                  </a:cubicBezTo>
                  <a:cubicBezTo>
                    <a:pt x="32" y="63"/>
                    <a:pt x="31" y="61"/>
                    <a:pt x="29" y="60"/>
                  </a:cubicBezTo>
                  <a:cubicBezTo>
                    <a:pt x="27" y="59"/>
                    <a:pt x="25" y="59"/>
                    <a:pt x="23" y="58"/>
                  </a:cubicBezTo>
                  <a:cubicBezTo>
                    <a:pt x="22" y="57"/>
                    <a:pt x="22" y="57"/>
                    <a:pt x="21" y="57"/>
                  </a:cubicBezTo>
                  <a:cubicBezTo>
                    <a:pt x="19" y="57"/>
                    <a:pt x="18" y="58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59"/>
                    <a:pt x="15" y="59"/>
                    <a:pt x="15" y="59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4"/>
                    <a:pt x="11" y="54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3" y="52"/>
                    <a:pt x="13" y="49"/>
                    <a:pt x="12" y="47"/>
                  </a:cubicBezTo>
                  <a:cubicBezTo>
                    <a:pt x="11" y="46"/>
                    <a:pt x="11" y="44"/>
                    <a:pt x="10" y="42"/>
                  </a:cubicBezTo>
                  <a:cubicBezTo>
                    <a:pt x="9" y="40"/>
                    <a:pt x="7" y="39"/>
                    <a:pt x="5" y="39"/>
                  </a:cubicBezTo>
                  <a:cubicBezTo>
                    <a:pt x="4" y="39"/>
                    <a:pt x="3" y="38"/>
                    <a:pt x="3" y="37"/>
                  </a:cubicBezTo>
                  <a:lnTo>
                    <a:pt x="3" y="33"/>
                  </a:lnTo>
                  <a:close/>
                  <a:moveTo>
                    <a:pt x="5" y="42"/>
                  </a:moveTo>
                  <a:cubicBezTo>
                    <a:pt x="6" y="42"/>
                    <a:pt x="6" y="43"/>
                    <a:pt x="7" y="43"/>
                  </a:cubicBezTo>
                  <a:cubicBezTo>
                    <a:pt x="7" y="45"/>
                    <a:pt x="8" y="47"/>
                    <a:pt x="9" y="49"/>
                  </a:cubicBezTo>
                  <a:cubicBezTo>
                    <a:pt x="10" y="50"/>
                    <a:pt x="9" y="50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2"/>
                    <a:pt x="7" y="53"/>
                    <a:pt x="7" y="55"/>
                  </a:cubicBezTo>
                  <a:cubicBezTo>
                    <a:pt x="7" y="56"/>
                    <a:pt x="8" y="57"/>
                    <a:pt x="9" y="58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3" y="62"/>
                    <a:pt x="14" y="63"/>
                    <a:pt x="16" y="63"/>
                  </a:cubicBezTo>
                  <a:cubicBezTo>
                    <a:pt x="17" y="63"/>
                    <a:pt x="18" y="62"/>
                    <a:pt x="19" y="61"/>
                  </a:cubicBezTo>
                  <a:cubicBezTo>
                    <a:pt x="19" y="61"/>
                    <a:pt x="19" y="61"/>
                    <a:pt x="20" y="61"/>
                  </a:cubicBezTo>
                  <a:cubicBezTo>
                    <a:pt x="20" y="61"/>
                    <a:pt x="21" y="61"/>
                    <a:pt x="22" y="61"/>
                  </a:cubicBezTo>
                  <a:cubicBezTo>
                    <a:pt x="23" y="62"/>
                    <a:pt x="25" y="63"/>
                    <a:pt x="28" y="63"/>
                  </a:cubicBezTo>
                  <a:cubicBezTo>
                    <a:pt x="28" y="63"/>
                    <a:pt x="29" y="64"/>
                    <a:pt x="29" y="65"/>
                  </a:cubicBezTo>
                  <a:cubicBezTo>
                    <a:pt x="29" y="68"/>
                    <a:pt x="31" y="70"/>
                    <a:pt x="3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41" y="70"/>
                    <a:pt x="44" y="68"/>
                    <a:pt x="44" y="65"/>
                  </a:cubicBezTo>
                  <a:cubicBezTo>
                    <a:pt x="44" y="64"/>
                    <a:pt x="44" y="63"/>
                    <a:pt x="45" y="63"/>
                  </a:cubicBezTo>
                  <a:cubicBezTo>
                    <a:pt x="47" y="63"/>
                    <a:pt x="49" y="62"/>
                    <a:pt x="51" y="61"/>
                  </a:cubicBezTo>
                  <a:cubicBezTo>
                    <a:pt x="52" y="61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62"/>
                    <a:pt x="55" y="63"/>
                    <a:pt x="57" y="63"/>
                  </a:cubicBezTo>
                  <a:cubicBezTo>
                    <a:pt x="58" y="63"/>
                    <a:pt x="60" y="62"/>
                    <a:pt x="61" y="61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6" y="56"/>
                    <a:pt x="66" y="53"/>
                    <a:pt x="64" y="51"/>
                  </a:cubicBezTo>
                  <a:cubicBezTo>
                    <a:pt x="63" y="50"/>
                    <a:pt x="63" y="50"/>
                    <a:pt x="63" y="49"/>
                  </a:cubicBezTo>
                  <a:cubicBezTo>
                    <a:pt x="64" y="47"/>
                    <a:pt x="65" y="45"/>
                    <a:pt x="66" y="43"/>
                  </a:cubicBezTo>
                  <a:cubicBezTo>
                    <a:pt x="66" y="43"/>
                    <a:pt x="67" y="42"/>
                    <a:pt x="68" y="42"/>
                  </a:cubicBezTo>
                  <a:cubicBezTo>
                    <a:pt x="71" y="42"/>
                    <a:pt x="73" y="40"/>
                    <a:pt x="73" y="3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0"/>
                    <a:pt x="71" y="28"/>
                    <a:pt x="68" y="28"/>
                  </a:cubicBezTo>
                  <a:cubicBezTo>
                    <a:pt x="67" y="28"/>
                    <a:pt x="66" y="27"/>
                    <a:pt x="66" y="27"/>
                  </a:cubicBezTo>
                  <a:cubicBezTo>
                    <a:pt x="65" y="25"/>
                    <a:pt x="64" y="23"/>
                    <a:pt x="63" y="21"/>
                  </a:cubicBezTo>
                  <a:cubicBezTo>
                    <a:pt x="63" y="20"/>
                    <a:pt x="63" y="19"/>
                    <a:pt x="64" y="19"/>
                  </a:cubicBezTo>
                  <a:cubicBezTo>
                    <a:pt x="66" y="17"/>
                    <a:pt x="66" y="14"/>
                    <a:pt x="64" y="12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59" y="7"/>
                    <a:pt x="55" y="7"/>
                    <a:pt x="53" y="9"/>
                  </a:cubicBezTo>
                  <a:cubicBezTo>
                    <a:pt x="53" y="9"/>
                    <a:pt x="52" y="9"/>
                    <a:pt x="51" y="9"/>
                  </a:cubicBezTo>
                  <a:cubicBezTo>
                    <a:pt x="49" y="8"/>
                    <a:pt x="47" y="7"/>
                    <a:pt x="45" y="7"/>
                  </a:cubicBezTo>
                  <a:cubicBezTo>
                    <a:pt x="44" y="6"/>
                    <a:pt x="44" y="6"/>
                    <a:pt x="44" y="5"/>
                  </a:cubicBezTo>
                  <a:cubicBezTo>
                    <a:pt x="44" y="2"/>
                    <a:pt x="41" y="0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29" y="2"/>
                    <a:pt x="29" y="5"/>
                  </a:cubicBezTo>
                  <a:cubicBezTo>
                    <a:pt x="29" y="6"/>
                    <a:pt x="28" y="6"/>
                    <a:pt x="28" y="7"/>
                  </a:cubicBezTo>
                  <a:cubicBezTo>
                    <a:pt x="25" y="7"/>
                    <a:pt x="23" y="8"/>
                    <a:pt x="22" y="9"/>
                  </a:cubicBezTo>
                  <a:cubicBezTo>
                    <a:pt x="21" y="9"/>
                    <a:pt x="20" y="9"/>
                    <a:pt x="20" y="9"/>
                  </a:cubicBezTo>
                  <a:cubicBezTo>
                    <a:pt x="17" y="7"/>
                    <a:pt x="14" y="7"/>
                    <a:pt x="12" y="9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7"/>
                    <a:pt x="8" y="18"/>
                    <a:pt x="9" y="19"/>
                  </a:cubicBezTo>
                  <a:cubicBezTo>
                    <a:pt x="9" y="19"/>
                    <a:pt x="10" y="20"/>
                    <a:pt x="9" y="21"/>
                  </a:cubicBezTo>
                  <a:cubicBezTo>
                    <a:pt x="8" y="23"/>
                    <a:pt x="7" y="25"/>
                    <a:pt x="7" y="27"/>
                  </a:cubicBezTo>
                  <a:cubicBezTo>
                    <a:pt x="6" y="27"/>
                    <a:pt x="6" y="28"/>
                    <a:pt x="5" y="28"/>
                  </a:cubicBezTo>
                  <a:cubicBezTo>
                    <a:pt x="2" y="28"/>
                    <a:pt x="0" y="30"/>
                    <a:pt x="0" y="3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0"/>
                    <a:pt x="2" y="42"/>
                    <a:pt x="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45">
            <a:extLst>
              <a:ext uri="{FF2B5EF4-FFF2-40B4-BE49-F238E27FC236}">
                <a16:creationId xmlns:a16="http://schemas.microsoft.com/office/drawing/2014/main" id="{6D7B6FF7-E20D-4069-B405-F019F32E80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53611" y="4160838"/>
            <a:ext cx="758825" cy="758825"/>
            <a:chOff x="2286" y="2621"/>
            <a:chExt cx="478" cy="478"/>
          </a:xfrm>
        </p:grpSpPr>
        <p:sp>
          <p:nvSpPr>
            <p:cNvPr id="196" name="AutoShape 144">
              <a:extLst>
                <a:ext uri="{FF2B5EF4-FFF2-40B4-BE49-F238E27FC236}">
                  <a16:creationId xmlns:a16="http://schemas.microsoft.com/office/drawing/2014/main" id="{EFA7B1A8-4803-4C57-9D22-4A529191C5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6" y="262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46">
              <a:extLst>
                <a:ext uri="{FF2B5EF4-FFF2-40B4-BE49-F238E27FC236}">
                  <a16:creationId xmlns:a16="http://schemas.microsoft.com/office/drawing/2014/main" id="{ED99AA7E-5BE2-4FDE-B8B6-4BD5AFAF7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8" y="262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47">
              <a:extLst>
                <a:ext uri="{FF2B5EF4-FFF2-40B4-BE49-F238E27FC236}">
                  <a16:creationId xmlns:a16="http://schemas.microsoft.com/office/drawing/2014/main" id="{24907029-4554-47E9-928E-A00C7204E6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4" y="2864"/>
              <a:ext cx="322" cy="137"/>
            </a:xfrm>
            <a:custGeom>
              <a:avLst/>
              <a:gdLst>
                <a:gd name="T0" fmla="*/ 91 w 131"/>
                <a:gd name="T1" fmla="*/ 30 h 56"/>
                <a:gd name="T2" fmla="*/ 73 w 131"/>
                <a:gd name="T3" fmla="*/ 34 h 56"/>
                <a:gd name="T4" fmla="*/ 36 w 131"/>
                <a:gd name="T5" fmla="*/ 35 h 56"/>
                <a:gd name="T6" fmla="*/ 36 w 131"/>
                <a:gd name="T7" fmla="*/ 18 h 56"/>
                <a:gd name="T8" fmla="*/ 65 w 131"/>
                <a:gd name="T9" fmla="*/ 14 h 56"/>
                <a:gd name="T10" fmla="*/ 73 w 131"/>
                <a:gd name="T11" fmla="*/ 18 h 56"/>
                <a:gd name="T12" fmla="*/ 73 w 131"/>
                <a:gd name="T13" fmla="*/ 18 h 56"/>
                <a:gd name="T14" fmla="*/ 90 w 131"/>
                <a:gd name="T15" fmla="*/ 18 h 56"/>
                <a:gd name="T16" fmla="*/ 95 w 131"/>
                <a:gd name="T17" fmla="*/ 18 h 56"/>
                <a:gd name="T18" fmla="*/ 97 w 131"/>
                <a:gd name="T19" fmla="*/ 19 h 56"/>
                <a:gd name="T20" fmla="*/ 93 w 131"/>
                <a:gd name="T21" fmla="*/ 22 h 56"/>
                <a:gd name="T22" fmla="*/ 78 w 131"/>
                <a:gd name="T23" fmla="*/ 26 h 56"/>
                <a:gd name="T24" fmla="*/ 71 w 131"/>
                <a:gd name="T25" fmla="*/ 26 h 56"/>
                <a:gd name="T26" fmla="*/ 70 w 131"/>
                <a:gd name="T27" fmla="*/ 28 h 56"/>
                <a:gd name="T28" fmla="*/ 71 w 131"/>
                <a:gd name="T29" fmla="*/ 30 h 56"/>
                <a:gd name="T30" fmla="*/ 78 w 131"/>
                <a:gd name="T31" fmla="*/ 30 h 56"/>
                <a:gd name="T32" fmla="*/ 95 w 131"/>
                <a:gd name="T33" fmla="*/ 25 h 56"/>
                <a:gd name="T34" fmla="*/ 99 w 131"/>
                <a:gd name="T35" fmla="*/ 22 h 56"/>
                <a:gd name="T36" fmla="*/ 101 w 131"/>
                <a:gd name="T37" fmla="*/ 18 h 56"/>
                <a:gd name="T38" fmla="*/ 117 w 131"/>
                <a:gd name="T39" fmla="*/ 11 h 56"/>
                <a:gd name="T40" fmla="*/ 119 w 131"/>
                <a:gd name="T41" fmla="*/ 11 h 56"/>
                <a:gd name="T42" fmla="*/ 127 w 131"/>
                <a:gd name="T43" fmla="*/ 12 h 56"/>
                <a:gd name="T44" fmla="*/ 91 w 131"/>
                <a:gd name="T45" fmla="*/ 30 h 56"/>
                <a:gd name="T46" fmla="*/ 33 w 131"/>
                <a:gd name="T47" fmla="*/ 44 h 56"/>
                <a:gd name="T48" fmla="*/ 23 w 131"/>
                <a:gd name="T49" fmla="*/ 44 h 56"/>
                <a:gd name="T50" fmla="*/ 23 w 131"/>
                <a:gd name="T51" fmla="*/ 14 h 56"/>
                <a:gd name="T52" fmla="*/ 33 w 131"/>
                <a:gd name="T53" fmla="*/ 14 h 56"/>
                <a:gd name="T54" fmla="*/ 33 w 131"/>
                <a:gd name="T55" fmla="*/ 44 h 56"/>
                <a:gd name="T56" fmla="*/ 19 w 131"/>
                <a:gd name="T57" fmla="*/ 53 h 56"/>
                <a:gd name="T58" fmla="*/ 3 w 131"/>
                <a:gd name="T59" fmla="*/ 53 h 56"/>
                <a:gd name="T60" fmla="*/ 3 w 131"/>
                <a:gd name="T61" fmla="*/ 4 h 56"/>
                <a:gd name="T62" fmla="*/ 19 w 131"/>
                <a:gd name="T63" fmla="*/ 4 h 56"/>
                <a:gd name="T64" fmla="*/ 19 w 131"/>
                <a:gd name="T65" fmla="*/ 53 h 56"/>
                <a:gd name="T66" fmla="*/ 130 w 131"/>
                <a:gd name="T67" fmla="*/ 10 h 56"/>
                <a:gd name="T68" fmla="*/ 118 w 131"/>
                <a:gd name="T69" fmla="*/ 7 h 56"/>
                <a:gd name="T70" fmla="*/ 116 w 131"/>
                <a:gd name="T71" fmla="*/ 8 h 56"/>
                <a:gd name="T72" fmla="*/ 98 w 131"/>
                <a:gd name="T73" fmla="*/ 15 h 56"/>
                <a:gd name="T74" fmla="*/ 97 w 131"/>
                <a:gd name="T75" fmla="*/ 15 h 56"/>
                <a:gd name="T76" fmla="*/ 88 w 131"/>
                <a:gd name="T77" fmla="*/ 14 h 56"/>
                <a:gd name="T78" fmla="*/ 74 w 131"/>
                <a:gd name="T79" fmla="*/ 15 h 56"/>
                <a:gd name="T80" fmla="*/ 67 w 131"/>
                <a:gd name="T81" fmla="*/ 11 h 56"/>
                <a:gd name="T82" fmla="*/ 36 w 131"/>
                <a:gd name="T83" fmla="*/ 14 h 56"/>
                <a:gd name="T84" fmla="*/ 36 w 131"/>
                <a:gd name="T85" fmla="*/ 12 h 56"/>
                <a:gd name="T86" fmla="*/ 35 w 131"/>
                <a:gd name="T87" fmla="*/ 10 h 56"/>
                <a:gd name="T88" fmla="*/ 23 w 131"/>
                <a:gd name="T89" fmla="*/ 10 h 56"/>
                <a:gd name="T90" fmla="*/ 23 w 131"/>
                <a:gd name="T91" fmla="*/ 2 h 56"/>
                <a:gd name="T92" fmla="*/ 21 w 131"/>
                <a:gd name="T93" fmla="*/ 0 h 56"/>
                <a:gd name="T94" fmla="*/ 1 w 131"/>
                <a:gd name="T95" fmla="*/ 0 h 56"/>
                <a:gd name="T96" fmla="*/ 0 w 131"/>
                <a:gd name="T97" fmla="*/ 2 h 56"/>
                <a:gd name="T98" fmla="*/ 0 w 131"/>
                <a:gd name="T99" fmla="*/ 54 h 56"/>
                <a:gd name="T100" fmla="*/ 1 w 131"/>
                <a:gd name="T101" fmla="*/ 56 h 56"/>
                <a:gd name="T102" fmla="*/ 21 w 131"/>
                <a:gd name="T103" fmla="*/ 56 h 56"/>
                <a:gd name="T104" fmla="*/ 23 w 131"/>
                <a:gd name="T105" fmla="*/ 54 h 56"/>
                <a:gd name="T106" fmla="*/ 23 w 131"/>
                <a:gd name="T107" fmla="*/ 47 h 56"/>
                <a:gd name="T108" fmla="*/ 35 w 131"/>
                <a:gd name="T109" fmla="*/ 47 h 56"/>
                <a:gd name="T110" fmla="*/ 36 w 131"/>
                <a:gd name="T111" fmla="*/ 45 h 56"/>
                <a:gd name="T112" fmla="*/ 36 w 131"/>
                <a:gd name="T113" fmla="*/ 38 h 56"/>
                <a:gd name="T114" fmla="*/ 73 w 131"/>
                <a:gd name="T115" fmla="*/ 37 h 56"/>
                <a:gd name="T116" fmla="*/ 92 w 131"/>
                <a:gd name="T117" fmla="*/ 33 h 56"/>
                <a:gd name="T118" fmla="*/ 129 w 131"/>
                <a:gd name="T119" fmla="*/ 15 h 56"/>
                <a:gd name="T120" fmla="*/ 131 w 131"/>
                <a:gd name="T121" fmla="*/ 13 h 56"/>
                <a:gd name="T122" fmla="*/ 130 w 131"/>
                <a:gd name="T1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1" h="56">
                  <a:moveTo>
                    <a:pt x="91" y="30"/>
                  </a:moveTo>
                  <a:cubicBezTo>
                    <a:pt x="85" y="33"/>
                    <a:pt x="79" y="34"/>
                    <a:pt x="73" y="34"/>
                  </a:cubicBezTo>
                  <a:cubicBezTo>
                    <a:pt x="54" y="33"/>
                    <a:pt x="41" y="34"/>
                    <a:pt x="36" y="35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45" y="12"/>
                    <a:pt x="56" y="11"/>
                    <a:pt x="65" y="14"/>
                  </a:cubicBezTo>
                  <a:cubicBezTo>
                    <a:pt x="68" y="15"/>
                    <a:pt x="70" y="17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81" y="22"/>
                    <a:pt x="90" y="18"/>
                  </a:cubicBezTo>
                  <a:cubicBezTo>
                    <a:pt x="92" y="17"/>
                    <a:pt x="94" y="17"/>
                    <a:pt x="95" y="18"/>
                  </a:cubicBezTo>
                  <a:cubicBezTo>
                    <a:pt x="96" y="18"/>
                    <a:pt x="97" y="19"/>
                    <a:pt x="97" y="19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88" y="25"/>
                    <a:pt x="83" y="26"/>
                    <a:pt x="78" y="26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70" y="29"/>
                    <a:pt x="70" y="30"/>
                    <a:pt x="71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84" y="30"/>
                    <a:pt x="90" y="28"/>
                    <a:pt x="95" y="25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01" y="21"/>
                    <a:pt x="101" y="19"/>
                    <a:pt x="101" y="18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7" y="11"/>
                    <a:pt x="118" y="11"/>
                    <a:pt x="119" y="11"/>
                  </a:cubicBezTo>
                  <a:cubicBezTo>
                    <a:pt x="123" y="9"/>
                    <a:pt x="126" y="11"/>
                    <a:pt x="127" y="12"/>
                  </a:cubicBezTo>
                  <a:lnTo>
                    <a:pt x="91" y="30"/>
                  </a:lnTo>
                  <a:close/>
                  <a:moveTo>
                    <a:pt x="3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44"/>
                  </a:lnTo>
                  <a:close/>
                  <a:moveTo>
                    <a:pt x="19" y="53"/>
                  </a:moveTo>
                  <a:cubicBezTo>
                    <a:pt x="3" y="53"/>
                    <a:pt x="3" y="53"/>
                    <a:pt x="3" y="5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19" y="53"/>
                  </a:lnTo>
                  <a:close/>
                  <a:moveTo>
                    <a:pt x="130" y="10"/>
                  </a:moveTo>
                  <a:cubicBezTo>
                    <a:pt x="128" y="8"/>
                    <a:pt x="125" y="5"/>
                    <a:pt x="118" y="7"/>
                  </a:cubicBezTo>
                  <a:cubicBezTo>
                    <a:pt x="117" y="7"/>
                    <a:pt x="116" y="8"/>
                    <a:pt x="116" y="8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15"/>
                    <a:pt x="98" y="15"/>
                    <a:pt x="97" y="15"/>
                  </a:cubicBezTo>
                  <a:cubicBezTo>
                    <a:pt x="95" y="13"/>
                    <a:pt x="91" y="13"/>
                    <a:pt x="88" y="14"/>
                  </a:cubicBezTo>
                  <a:cubicBezTo>
                    <a:pt x="81" y="18"/>
                    <a:pt x="75" y="15"/>
                    <a:pt x="74" y="15"/>
                  </a:cubicBezTo>
                  <a:cubicBezTo>
                    <a:pt x="72" y="14"/>
                    <a:pt x="69" y="12"/>
                    <a:pt x="67" y="11"/>
                  </a:cubicBezTo>
                  <a:cubicBezTo>
                    <a:pt x="57" y="7"/>
                    <a:pt x="46" y="8"/>
                    <a:pt x="36" y="1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1"/>
                    <a:pt x="36" y="10"/>
                    <a:pt x="35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1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5"/>
                    <a:pt x="23" y="5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6" y="47"/>
                    <a:pt x="36" y="46"/>
                    <a:pt x="36" y="45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40" y="38"/>
                    <a:pt x="53" y="36"/>
                    <a:pt x="73" y="37"/>
                  </a:cubicBezTo>
                  <a:cubicBezTo>
                    <a:pt x="80" y="38"/>
                    <a:pt x="86" y="36"/>
                    <a:pt x="92" y="33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30" y="14"/>
                    <a:pt x="130" y="14"/>
                    <a:pt x="131" y="13"/>
                  </a:cubicBezTo>
                  <a:cubicBezTo>
                    <a:pt x="131" y="12"/>
                    <a:pt x="131" y="11"/>
                    <a:pt x="130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48">
              <a:extLst>
                <a:ext uri="{FF2B5EF4-FFF2-40B4-BE49-F238E27FC236}">
                  <a16:creationId xmlns:a16="http://schemas.microsoft.com/office/drawing/2014/main" id="{9134B756-21E7-48B6-9DF0-63ACE5F9D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2" y="2761"/>
              <a:ext cx="100" cy="93"/>
            </a:xfrm>
            <a:custGeom>
              <a:avLst/>
              <a:gdLst>
                <a:gd name="T0" fmla="*/ 20 w 41"/>
                <a:gd name="T1" fmla="*/ 3 h 38"/>
                <a:gd name="T2" fmla="*/ 37 w 41"/>
                <a:gd name="T3" fmla="*/ 19 h 38"/>
                <a:gd name="T4" fmla="*/ 20 w 41"/>
                <a:gd name="T5" fmla="*/ 35 h 38"/>
                <a:gd name="T6" fmla="*/ 4 w 41"/>
                <a:gd name="T7" fmla="*/ 19 h 38"/>
                <a:gd name="T8" fmla="*/ 20 w 41"/>
                <a:gd name="T9" fmla="*/ 3 h 38"/>
                <a:gd name="T10" fmla="*/ 20 w 41"/>
                <a:gd name="T11" fmla="*/ 38 h 38"/>
                <a:gd name="T12" fmla="*/ 41 w 41"/>
                <a:gd name="T13" fmla="*/ 19 h 38"/>
                <a:gd name="T14" fmla="*/ 20 w 41"/>
                <a:gd name="T15" fmla="*/ 0 h 38"/>
                <a:gd name="T16" fmla="*/ 0 w 41"/>
                <a:gd name="T17" fmla="*/ 19 h 38"/>
                <a:gd name="T18" fmla="*/ 20 w 41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8">
                  <a:moveTo>
                    <a:pt x="20" y="3"/>
                  </a:moveTo>
                  <a:cubicBezTo>
                    <a:pt x="30" y="3"/>
                    <a:pt x="37" y="10"/>
                    <a:pt x="37" y="19"/>
                  </a:cubicBezTo>
                  <a:cubicBezTo>
                    <a:pt x="37" y="28"/>
                    <a:pt x="30" y="35"/>
                    <a:pt x="20" y="35"/>
                  </a:cubicBezTo>
                  <a:cubicBezTo>
                    <a:pt x="11" y="35"/>
                    <a:pt x="4" y="28"/>
                    <a:pt x="4" y="19"/>
                  </a:cubicBezTo>
                  <a:cubicBezTo>
                    <a:pt x="4" y="10"/>
                    <a:pt x="11" y="3"/>
                    <a:pt x="20" y="3"/>
                  </a:cubicBezTo>
                  <a:moveTo>
                    <a:pt x="20" y="38"/>
                  </a:moveTo>
                  <a:cubicBezTo>
                    <a:pt x="32" y="38"/>
                    <a:pt x="41" y="30"/>
                    <a:pt x="41" y="19"/>
                  </a:cubicBezTo>
                  <a:cubicBezTo>
                    <a:pt x="41" y="8"/>
                    <a:pt x="32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0"/>
                    <a:pt x="9" y="38"/>
                    <a:pt x="20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49">
              <a:extLst>
                <a:ext uri="{FF2B5EF4-FFF2-40B4-BE49-F238E27FC236}">
                  <a16:creationId xmlns:a16="http://schemas.microsoft.com/office/drawing/2014/main" id="{8AFBFF4C-D103-45B1-8D86-302B1A84E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2" y="2721"/>
              <a:ext cx="179" cy="172"/>
            </a:xfrm>
            <a:custGeom>
              <a:avLst/>
              <a:gdLst>
                <a:gd name="T0" fmla="*/ 5 w 73"/>
                <a:gd name="T1" fmla="*/ 31 h 70"/>
                <a:gd name="T2" fmla="*/ 12 w 73"/>
                <a:gd name="T3" fmla="*/ 23 h 70"/>
                <a:gd name="T4" fmla="*/ 11 w 73"/>
                <a:gd name="T5" fmla="*/ 15 h 70"/>
                <a:gd name="T6" fmla="*/ 15 w 73"/>
                <a:gd name="T7" fmla="*/ 11 h 70"/>
                <a:gd name="T8" fmla="*/ 23 w 73"/>
                <a:gd name="T9" fmla="*/ 12 h 70"/>
                <a:gd name="T10" fmla="*/ 32 w 73"/>
                <a:gd name="T11" fmla="*/ 5 h 70"/>
                <a:gd name="T12" fmla="*/ 38 w 73"/>
                <a:gd name="T13" fmla="*/ 3 h 70"/>
                <a:gd name="T14" fmla="*/ 44 w 73"/>
                <a:gd name="T15" fmla="*/ 10 h 70"/>
                <a:gd name="T16" fmla="*/ 56 w 73"/>
                <a:gd name="T17" fmla="*/ 11 h 70"/>
                <a:gd name="T18" fmla="*/ 61 w 73"/>
                <a:gd name="T19" fmla="*/ 14 h 70"/>
                <a:gd name="T20" fmla="*/ 60 w 73"/>
                <a:gd name="T21" fmla="*/ 23 h 70"/>
                <a:gd name="T22" fmla="*/ 68 w 73"/>
                <a:gd name="T23" fmla="*/ 31 h 70"/>
                <a:gd name="T24" fmla="*/ 69 w 73"/>
                <a:gd name="T25" fmla="*/ 37 h 70"/>
                <a:gd name="T26" fmla="*/ 62 w 73"/>
                <a:gd name="T27" fmla="*/ 42 h 70"/>
                <a:gd name="T28" fmla="*/ 61 w 73"/>
                <a:gd name="T29" fmla="*/ 53 h 70"/>
                <a:gd name="T30" fmla="*/ 58 w 73"/>
                <a:gd name="T31" fmla="*/ 59 h 70"/>
                <a:gd name="T32" fmla="*/ 56 w 73"/>
                <a:gd name="T33" fmla="*/ 59 h 70"/>
                <a:gd name="T34" fmla="*/ 44 w 73"/>
                <a:gd name="T35" fmla="*/ 60 h 70"/>
                <a:gd name="T36" fmla="*/ 38 w 73"/>
                <a:gd name="T37" fmla="*/ 66 h 70"/>
                <a:gd name="T38" fmla="*/ 32 w 73"/>
                <a:gd name="T39" fmla="*/ 65 h 70"/>
                <a:gd name="T40" fmla="*/ 23 w 73"/>
                <a:gd name="T41" fmla="*/ 58 h 70"/>
                <a:gd name="T42" fmla="*/ 17 w 73"/>
                <a:gd name="T43" fmla="*/ 59 h 70"/>
                <a:gd name="T44" fmla="*/ 15 w 73"/>
                <a:gd name="T45" fmla="*/ 59 h 70"/>
                <a:gd name="T46" fmla="*/ 11 w 73"/>
                <a:gd name="T47" fmla="*/ 55 h 70"/>
                <a:gd name="T48" fmla="*/ 11 w 73"/>
                <a:gd name="T49" fmla="*/ 53 h 70"/>
                <a:gd name="T50" fmla="*/ 10 w 73"/>
                <a:gd name="T51" fmla="*/ 42 h 70"/>
                <a:gd name="T52" fmla="*/ 3 w 73"/>
                <a:gd name="T53" fmla="*/ 37 h 70"/>
                <a:gd name="T54" fmla="*/ 5 w 73"/>
                <a:gd name="T55" fmla="*/ 42 h 70"/>
                <a:gd name="T56" fmla="*/ 9 w 73"/>
                <a:gd name="T57" fmla="*/ 49 h 70"/>
                <a:gd name="T58" fmla="*/ 9 w 73"/>
                <a:gd name="T59" fmla="*/ 51 h 70"/>
                <a:gd name="T60" fmla="*/ 9 w 73"/>
                <a:gd name="T61" fmla="*/ 58 h 70"/>
                <a:gd name="T62" fmla="*/ 16 w 73"/>
                <a:gd name="T63" fmla="*/ 63 h 70"/>
                <a:gd name="T64" fmla="*/ 20 w 73"/>
                <a:gd name="T65" fmla="*/ 61 h 70"/>
                <a:gd name="T66" fmla="*/ 28 w 73"/>
                <a:gd name="T67" fmla="*/ 63 h 70"/>
                <a:gd name="T68" fmla="*/ 34 w 73"/>
                <a:gd name="T69" fmla="*/ 70 h 70"/>
                <a:gd name="T70" fmla="*/ 44 w 73"/>
                <a:gd name="T71" fmla="*/ 65 h 70"/>
                <a:gd name="T72" fmla="*/ 51 w 73"/>
                <a:gd name="T73" fmla="*/ 61 h 70"/>
                <a:gd name="T74" fmla="*/ 53 w 73"/>
                <a:gd name="T75" fmla="*/ 61 h 70"/>
                <a:gd name="T76" fmla="*/ 61 w 73"/>
                <a:gd name="T77" fmla="*/ 61 h 70"/>
                <a:gd name="T78" fmla="*/ 64 w 73"/>
                <a:gd name="T79" fmla="*/ 51 h 70"/>
                <a:gd name="T80" fmla="*/ 66 w 73"/>
                <a:gd name="T81" fmla="*/ 43 h 70"/>
                <a:gd name="T82" fmla="*/ 73 w 73"/>
                <a:gd name="T83" fmla="*/ 37 h 70"/>
                <a:gd name="T84" fmla="*/ 68 w 73"/>
                <a:gd name="T85" fmla="*/ 28 h 70"/>
                <a:gd name="T86" fmla="*/ 63 w 73"/>
                <a:gd name="T87" fmla="*/ 21 h 70"/>
                <a:gd name="T88" fmla="*/ 64 w 73"/>
                <a:gd name="T89" fmla="*/ 12 h 70"/>
                <a:gd name="T90" fmla="*/ 53 w 73"/>
                <a:gd name="T91" fmla="*/ 9 h 70"/>
                <a:gd name="T92" fmla="*/ 45 w 73"/>
                <a:gd name="T93" fmla="*/ 7 h 70"/>
                <a:gd name="T94" fmla="*/ 38 w 73"/>
                <a:gd name="T95" fmla="*/ 0 h 70"/>
                <a:gd name="T96" fmla="*/ 29 w 73"/>
                <a:gd name="T97" fmla="*/ 5 h 70"/>
                <a:gd name="T98" fmla="*/ 22 w 73"/>
                <a:gd name="T99" fmla="*/ 9 h 70"/>
                <a:gd name="T100" fmla="*/ 12 w 73"/>
                <a:gd name="T101" fmla="*/ 9 h 70"/>
                <a:gd name="T102" fmla="*/ 7 w 73"/>
                <a:gd name="T103" fmla="*/ 15 h 70"/>
                <a:gd name="T104" fmla="*/ 9 w 73"/>
                <a:gd name="T105" fmla="*/ 21 h 70"/>
                <a:gd name="T106" fmla="*/ 5 w 73"/>
                <a:gd name="T107" fmla="*/ 28 h 70"/>
                <a:gd name="T108" fmla="*/ 0 w 73"/>
                <a:gd name="T109" fmla="*/ 3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70">
                  <a:moveTo>
                    <a:pt x="3" y="33"/>
                  </a:moveTo>
                  <a:cubicBezTo>
                    <a:pt x="3" y="32"/>
                    <a:pt x="4" y="31"/>
                    <a:pt x="5" y="31"/>
                  </a:cubicBezTo>
                  <a:cubicBezTo>
                    <a:pt x="7" y="31"/>
                    <a:pt x="9" y="30"/>
                    <a:pt x="10" y="28"/>
                  </a:cubicBezTo>
                  <a:cubicBezTo>
                    <a:pt x="11" y="26"/>
                    <a:pt x="11" y="24"/>
                    <a:pt x="12" y="23"/>
                  </a:cubicBezTo>
                  <a:cubicBezTo>
                    <a:pt x="13" y="21"/>
                    <a:pt x="13" y="18"/>
                    <a:pt x="11" y="17"/>
                  </a:cubicBezTo>
                  <a:cubicBezTo>
                    <a:pt x="11" y="16"/>
                    <a:pt x="11" y="16"/>
                    <a:pt x="11" y="15"/>
                  </a:cubicBezTo>
                  <a:cubicBezTo>
                    <a:pt x="11" y="15"/>
                    <a:pt x="11" y="14"/>
                    <a:pt x="11" y="14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6" y="11"/>
                    <a:pt x="17" y="11"/>
                  </a:cubicBezTo>
                  <a:cubicBezTo>
                    <a:pt x="19" y="13"/>
                    <a:pt x="21" y="13"/>
                    <a:pt x="23" y="12"/>
                  </a:cubicBezTo>
                  <a:cubicBezTo>
                    <a:pt x="25" y="11"/>
                    <a:pt x="27" y="11"/>
                    <a:pt x="29" y="10"/>
                  </a:cubicBezTo>
                  <a:cubicBezTo>
                    <a:pt x="31" y="9"/>
                    <a:pt x="32" y="7"/>
                    <a:pt x="32" y="5"/>
                  </a:cubicBezTo>
                  <a:cubicBezTo>
                    <a:pt x="32" y="4"/>
                    <a:pt x="33" y="3"/>
                    <a:pt x="34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9" y="3"/>
                    <a:pt x="40" y="4"/>
                    <a:pt x="40" y="5"/>
                  </a:cubicBezTo>
                  <a:cubicBezTo>
                    <a:pt x="40" y="7"/>
                    <a:pt x="42" y="9"/>
                    <a:pt x="44" y="10"/>
                  </a:cubicBezTo>
                  <a:cubicBezTo>
                    <a:pt x="46" y="11"/>
                    <a:pt x="48" y="11"/>
                    <a:pt x="49" y="12"/>
                  </a:cubicBezTo>
                  <a:cubicBezTo>
                    <a:pt x="51" y="13"/>
                    <a:pt x="54" y="13"/>
                    <a:pt x="56" y="11"/>
                  </a:cubicBezTo>
                  <a:cubicBezTo>
                    <a:pt x="56" y="11"/>
                    <a:pt x="57" y="11"/>
                    <a:pt x="58" y="11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2" y="15"/>
                    <a:pt x="62" y="16"/>
                    <a:pt x="61" y="17"/>
                  </a:cubicBezTo>
                  <a:cubicBezTo>
                    <a:pt x="60" y="18"/>
                    <a:pt x="59" y="21"/>
                    <a:pt x="60" y="23"/>
                  </a:cubicBezTo>
                  <a:cubicBezTo>
                    <a:pt x="61" y="24"/>
                    <a:pt x="62" y="26"/>
                    <a:pt x="62" y="28"/>
                  </a:cubicBezTo>
                  <a:cubicBezTo>
                    <a:pt x="63" y="30"/>
                    <a:pt x="65" y="31"/>
                    <a:pt x="68" y="31"/>
                  </a:cubicBezTo>
                  <a:cubicBezTo>
                    <a:pt x="69" y="31"/>
                    <a:pt x="69" y="32"/>
                    <a:pt x="69" y="33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9"/>
                    <a:pt x="68" y="39"/>
                  </a:cubicBezTo>
                  <a:cubicBezTo>
                    <a:pt x="65" y="39"/>
                    <a:pt x="63" y="40"/>
                    <a:pt x="62" y="42"/>
                  </a:cubicBezTo>
                  <a:cubicBezTo>
                    <a:pt x="62" y="44"/>
                    <a:pt x="61" y="46"/>
                    <a:pt x="60" y="47"/>
                  </a:cubicBezTo>
                  <a:cubicBezTo>
                    <a:pt x="59" y="49"/>
                    <a:pt x="60" y="52"/>
                    <a:pt x="61" y="53"/>
                  </a:cubicBezTo>
                  <a:cubicBezTo>
                    <a:pt x="62" y="54"/>
                    <a:pt x="62" y="55"/>
                    <a:pt x="61" y="56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4" y="57"/>
                    <a:pt x="51" y="57"/>
                    <a:pt x="49" y="58"/>
                  </a:cubicBezTo>
                  <a:cubicBezTo>
                    <a:pt x="48" y="59"/>
                    <a:pt x="46" y="59"/>
                    <a:pt x="44" y="60"/>
                  </a:cubicBezTo>
                  <a:cubicBezTo>
                    <a:pt x="42" y="61"/>
                    <a:pt x="40" y="63"/>
                    <a:pt x="40" y="65"/>
                  </a:cubicBezTo>
                  <a:cubicBezTo>
                    <a:pt x="40" y="66"/>
                    <a:pt x="39" y="66"/>
                    <a:pt x="38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3" y="66"/>
                    <a:pt x="32" y="66"/>
                    <a:pt x="32" y="65"/>
                  </a:cubicBezTo>
                  <a:cubicBezTo>
                    <a:pt x="32" y="63"/>
                    <a:pt x="31" y="61"/>
                    <a:pt x="29" y="60"/>
                  </a:cubicBezTo>
                  <a:cubicBezTo>
                    <a:pt x="27" y="59"/>
                    <a:pt x="25" y="59"/>
                    <a:pt x="23" y="58"/>
                  </a:cubicBezTo>
                  <a:cubicBezTo>
                    <a:pt x="22" y="57"/>
                    <a:pt x="22" y="57"/>
                    <a:pt x="21" y="57"/>
                  </a:cubicBezTo>
                  <a:cubicBezTo>
                    <a:pt x="19" y="57"/>
                    <a:pt x="18" y="58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59"/>
                    <a:pt x="15" y="59"/>
                    <a:pt x="15" y="59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4"/>
                    <a:pt x="11" y="54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3" y="52"/>
                    <a:pt x="13" y="49"/>
                    <a:pt x="12" y="47"/>
                  </a:cubicBezTo>
                  <a:cubicBezTo>
                    <a:pt x="11" y="46"/>
                    <a:pt x="11" y="44"/>
                    <a:pt x="10" y="42"/>
                  </a:cubicBezTo>
                  <a:cubicBezTo>
                    <a:pt x="9" y="40"/>
                    <a:pt x="7" y="39"/>
                    <a:pt x="5" y="39"/>
                  </a:cubicBezTo>
                  <a:cubicBezTo>
                    <a:pt x="4" y="39"/>
                    <a:pt x="3" y="38"/>
                    <a:pt x="3" y="37"/>
                  </a:cubicBezTo>
                  <a:lnTo>
                    <a:pt x="3" y="33"/>
                  </a:lnTo>
                  <a:close/>
                  <a:moveTo>
                    <a:pt x="5" y="42"/>
                  </a:moveTo>
                  <a:cubicBezTo>
                    <a:pt x="6" y="42"/>
                    <a:pt x="6" y="43"/>
                    <a:pt x="7" y="43"/>
                  </a:cubicBezTo>
                  <a:cubicBezTo>
                    <a:pt x="7" y="45"/>
                    <a:pt x="8" y="47"/>
                    <a:pt x="9" y="49"/>
                  </a:cubicBezTo>
                  <a:cubicBezTo>
                    <a:pt x="10" y="50"/>
                    <a:pt x="9" y="50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2"/>
                    <a:pt x="7" y="53"/>
                    <a:pt x="7" y="55"/>
                  </a:cubicBezTo>
                  <a:cubicBezTo>
                    <a:pt x="7" y="56"/>
                    <a:pt x="8" y="57"/>
                    <a:pt x="9" y="58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3" y="62"/>
                    <a:pt x="14" y="63"/>
                    <a:pt x="16" y="63"/>
                  </a:cubicBezTo>
                  <a:cubicBezTo>
                    <a:pt x="17" y="63"/>
                    <a:pt x="18" y="62"/>
                    <a:pt x="19" y="61"/>
                  </a:cubicBezTo>
                  <a:cubicBezTo>
                    <a:pt x="19" y="61"/>
                    <a:pt x="19" y="61"/>
                    <a:pt x="20" y="61"/>
                  </a:cubicBezTo>
                  <a:cubicBezTo>
                    <a:pt x="20" y="61"/>
                    <a:pt x="21" y="61"/>
                    <a:pt x="22" y="61"/>
                  </a:cubicBezTo>
                  <a:cubicBezTo>
                    <a:pt x="23" y="62"/>
                    <a:pt x="25" y="63"/>
                    <a:pt x="28" y="63"/>
                  </a:cubicBezTo>
                  <a:cubicBezTo>
                    <a:pt x="28" y="63"/>
                    <a:pt x="29" y="64"/>
                    <a:pt x="29" y="65"/>
                  </a:cubicBezTo>
                  <a:cubicBezTo>
                    <a:pt x="29" y="68"/>
                    <a:pt x="31" y="70"/>
                    <a:pt x="34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41" y="70"/>
                    <a:pt x="44" y="68"/>
                    <a:pt x="44" y="65"/>
                  </a:cubicBezTo>
                  <a:cubicBezTo>
                    <a:pt x="44" y="64"/>
                    <a:pt x="44" y="63"/>
                    <a:pt x="45" y="63"/>
                  </a:cubicBezTo>
                  <a:cubicBezTo>
                    <a:pt x="47" y="63"/>
                    <a:pt x="49" y="62"/>
                    <a:pt x="51" y="61"/>
                  </a:cubicBezTo>
                  <a:cubicBezTo>
                    <a:pt x="52" y="61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62"/>
                    <a:pt x="55" y="63"/>
                    <a:pt x="57" y="63"/>
                  </a:cubicBezTo>
                  <a:cubicBezTo>
                    <a:pt x="58" y="63"/>
                    <a:pt x="60" y="62"/>
                    <a:pt x="61" y="61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6" y="56"/>
                    <a:pt x="66" y="53"/>
                    <a:pt x="64" y="51"/>
                  </a:cubicBezTo>
                  <a:cubicBezTo>
                    <a:pt x="63" y="50"/>
                    <a:pt x="63" y="50"/>
                    <a:pt x="63" y="49"/>
                  </a:cubicBezTo>
                  <a:cubicBezTo>
                    <a:pt x="64" y="47"/>
                    <a:pt x="65" y="45"/>
                    <a:pt x="66" y="43"/>
                  </a:cubicBezTo>
                  <a:cubicBezTo>
                    <a:pt x="66" y="43"/>
                    <a:pt x="67" y="42"/>
                    <a:pt x="68" y="42"/>
                  </a:cubicBezTo>
                  <a:cubicBezTo>
                    <a:pt x="71" y="42"/>
                    <a:pt x="73" y="40"/>
                    <a:pt x="73" y="37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0"/>
                    <a:pt x="71" y="28"/>
                    <a:pt x="68" y="28"/>
                  </a:cubicBezTo>
                  <a:cubicBezTo>
                    <a:pt x="67" y="28"/>
                    <a:pt x="66" y="27"/>
                    <a:pt x="66" y="27"/>
                  </a:cubicBezTo>
                  <a:cubicBezTo>
                    <a:pt x="65" y="25"/>
                    <a:pt x="64" y="23"/>
                    <a:pt x="63" y="21"/>
                  </a:cubicBezTo>
                  <a:cubicBezTo>
                    <a:pt x="63" y="20"/>
                    <a:pt x="63" y="19"/>
                    <a:pt x="64" y="19"/>
                  </a:cubicBezTo>
                  <a:cubicBezTo>
                    <a:pt x="66" y="17"/>
                    <a:pt x="66" y="14"/>
                    <a:pt x="64" y="12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59" y="7"/>
                    <a:pt x="55" y="7"/>
                    <a:pt x="53" y="9"/>
                  </a:cubicBezTo>
                  <a:cubicBezTo>
                    <a:pt x="53" y="9"/>
                    <a:pt x="52" y="9"/>
                    <a:pt x="51" y="9"/>
                  </a:cubicBezTo>
                  <a:cubicBezTo>
                    <a:pt x="49" y="8"/>
                    <a:pt x="47" y="7"/>
                    <a:pt x="45" y="7"/>
                  </a:cubicBezTo>
                  <a:cubicBezTo>
                    <a:pt x="44" y="6"/>
                    <a:pt x="44" y="6"/>
                    <a:pt x="44" y="5"/>
                  </a:cubicBezTo>
                  <a:cubicBezTo>
                    <a:pt x="44" y="2"/>
                    <a:pt x="41" y="0"/>
                    <a:pt x="3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29" y="2"/>
                    <a:pt x="29" y="5"/>
                  </a:cubicBezTo>
                  <a:cubicBezTo>
                    <a:pt x="29" y="6"/>
                    <a:pt x="28" y="6"/>
                    <a:pt x="28" y="7"/>
                  </a:cubicBezTo>
                  <a:cubicBezTo>
                    <a:pt x="25" y="7"/>
                    <a:pt x="23" y="8"/>
                    <a:pt x="22" y="9"/>
                  </a:cubicBezTo>
                  <a:cubicBezTo>
                    <a:pt x="21" y="9"/>
                    <a:pt x="20" y="9"/>
                    <a:pt x="20" y="9"/>
                  </a:cubicBezTo>
                  <a:cubicBezTo>
                    <a:pt x="17" y="7"/>
                    <a:pt x="14" y="7"/>
                    <a:pt x="12" y="9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7"/>
                    <a:pt x="8" y="18"/>
                    <a:pt x="9" y="19"/>
                  </a:cubicBezTo>
                  <a:cubicBezTo>
                    <a:pt x="9" y="19"/>
                    <a:pt x="10" y="20"/>
                    <a:pt x="9" y="21"/>
                  </a:cubicBezTo>
                  <a:cubicBezTo>
                    <a:pt x="8" y="23"/>
                    <a:pt x="7" y="25"/>
                    <a:pt x="7" y="27"/>
                  </a:cubicBezTo>
                  <a:cubicBezTo>
                    <a:pt x="6" y="27"/>
                    <a:pt x="6" y="28"/>
                    <a:pt x="5" y="28"/>
                  </a:cubicBezTo>
                  <a:cubicBezTo>
                    <a:pt x="2" y="28"/>
                    <a:pt x="0" y="30"/>
                    <a:pt x="0" y="3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0"/>
                    <a:pt x="2" y="42"/>
                    <a:pt x="5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1" name="Group 152">
            <a:extLst>
              <a:ext uri="{FF2B5EF4-FFF2-40B4-BE49-F238E27FC236}">
                <a16:creationId xmlns:a16="http://schemas.microsoft.com/office/drawing/2014/main" id="{BD441E70-56B0-4E78-A756-85355E0E5CC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67263" y="4119563"/>
            <a:ext cx="841375" cy="841375"/>
            <a:chOff x="3003" y="2595"/>
            <a:chExt cx="530" cy="530"/>
          </a:xfrm>
        </p:grpSpPr>
        <p:sp>
          <p:nvSpPr>
            <p:cNvPr id="202" name="AutoShape 151">
              <a:extLst>
                <a:ext uri="{FF2B5EF4-FFF2-40B4-BE49-F238E27FC236}">
                  <a16:creationId xmlns:a16="http://schemas.microsoft.com/office/drawing/2014/main" id="{C335A9D0-435D-4E6A-A67B-A397021575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3" y="25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153">
              <a:extLst>
                <a:ext uri="{FF2B5EF4-FFF2-40B4-BE49-F238E27FC236}">
                  <a16:creationId xmlns:a16="http://schemas.microsoft.com/office/drawing/2014/main" id="{7BC94BA6-BCAC-4147-A868-FB7991AAD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3" y="25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54">
              <a:extLst>
                <a:ext uri="{FF2B5EF4-FFF2-40B4-BE49-F238E27FC236}">
                  <a16:creationId xmlns:a16="http://schemas.microsoft.com/office/drawing/2014/main" id="{763A1A64-B4DB-48A3-82ED-45A0C0ACC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1" y="26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55">
              <a:extLst>
                <a:ext uri="{FF2B5EF4-FFF2-40B4-BE49-F238E27FC236}">
                  <a16:creationId xmlns:a16="http://schemas.microsoft.com/office/drawing/2014/main" id="{0F3B5AFB-52E4-422A-96E8-CD8D3D1A60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4" y="2764"/>
              <a:ext cx="213" cy="212"/>
            </a:xfrm>
            <a:custGeom>
              <a:avLst/>
              <a:gdLst>
                <a:gd name="T0" fmla="*/ 67 w 83"/>
                <a:gd name="T1" fmla="*/ 70 h 83"/>
                <a:gd name="T2" fmla="*/ 60 w 83"/>
                <a:gd name="T3" fmla="*/ 64 h 83"/>
                <a:gd name="T4" fmla="*/ 34 w 83"/>
                <a:gd name="T5" fmla="*/ 79 h 83"/>
                <a:gd name="T6" fmla="*/ 23 w 83"/>
                <a:gd name="T7" fmla="*/ 64 h 83"/>
                <a:gd name="T8" fmla="*/ 16 w 83"/>
                <a:gd name="T9" fmla="*/ 13 h 83"/>
                <a:gd name="T10" fmla="*/ 23 w 83"/>
                <a:gd name="T11" fmla="*/ 19 h 83"/>
                <a:gd name="T12" fmla="*/ 48 w 83"/>
                <a:gd name="T13" fmla="*/ 4 h 83"/>
                <a:gd name="T14" fmla="*/ 60 w 83"/>
                <a:gd name="T15" fmla="*/ 19 h 83"/>
                <a:gd name="T16" fmla="*/ 43 w 83"/>
                <a:gd name="T17" fmla="*/ 43 h 83"/>
                <a:gd name="T18" fmla="*/ 58 w 83"/>
                <a:gd name="T19" fmla="*/ 59 h 83"/>
                <a:gd name="T20" fmla="*/ 43 w 83"/>
                <a:gd name="T21" fmla="*/ 60 h 83"/>
                <a:gd name="T22" fmla="*/ 43 w 83"/>
                <a:gd name="T23" fmla="*/ 78 h 83"/>
                <a:gd name="T24" fmla="*/ 39 w 83"/>
                <a:gd name="T25" fmla="*/ 60 h 83"/>
                <a:gd name="T26" fmla="*/ 26 w 83"/>
                <a:gd name="T27" fmla="*/ 63 h 83"/>
                <a:gd name="T28" fmla="*/ 39 w 83"/>
                <a:gd name="T29" fmla="*/ 43 h 83"/>
                <a:gd name="T30" fmla="*/ 25 w 83"/>
                <a:gd name="T31" fmla="*/ 59 h 83"/>
                <a:gd name="T32" fmla="*/ 39 w 83"/>
                <a:gd name="T33" fmla="*/ 43 h 83"/>
                <a:gd name="T34" fmla="*/ 39 w 83"/>
                <a:gd name="T35" fmla="*/ 40 h 83"/>
                <a:gd name="T36" fmla="*/ 24 w 83"/>
                <a:gd name="T37" fmla="*/ 23 h 83"/>
                <a:gd name="T38" fmla="*/ 39 w 83"/>
                <a:gd name="T39" fmla="*/ 23 h 83"/>
                <a:gd name="T40" fmla="*/ 39 w 83"/>
                <a:gd name="T41" fmla="*/ 4 h 83"/>
                <a:gd name="T42" fmla="*/ 43 w 83"/>
                <a:gd name="T43" fmla="*/ 23 h 83"/>
                <a:gd name="T44" fmla="*/ 57 w 83"/>
                <a:gd name="T45" fmla="*/ 20 h 83"/>
                <a:gd name="T46" fmla="*/ 43 w 83"/>
                <a:gd name="T47" fmla="*/ 40 h 83"/>
                <a:gd name="T48" fmla="*/ 58 w 83"/>
                <a:gd name="T49" fmla="*/ 23 h 83"/>
                <a:gd name="T50" fmla="*/ 43 w 83"/>
                <a:gd name="T51" fmla="*/ 40 h 83"/>
                <a:gd name="T52" fmla="*/ 64 w 83"/>
                <a:gd name="T53" fmla="*/ 40 h 83"/>
                <a:gd name="T54" fmla="*/ 69 w 83"/>
                <a:gd name="T55" fmla="*/ 15 h 83"/>
                <a:gd name="T56" fmla="*/ 13 w 83"/>
                <a:gd name="T57" fmla="*/ 15 h 83"/>
                <a:gd name="T58" fmla="*/ 18 w 83"/>
                <a:gd name="T59" fmla="*/ 40 h 83"/>
                <a:gd name="T60" fmla="*/ 13 w 83"/>
                <a:gd name="T61" fmla="*/ 15 h 83"/>
                <a:gd name="T62" fmla="*/ 18 w 83"/>
                <a:gd name="T63" fmla="*/ 43 h 83"/>
                <a:gd name="T64" fmla="*/ 13 w 83"/>
                <a:gd name="T65" fmla="*/ 67 h 83"/>
                <a:gd name="T66" fmla="*/ 69 w 83"/>
                <a:gd name="T67" fmla="*/ 67 h 83"/>
                <a:gd name="T68" fmla="*/ 64 w 83"/>
                <a:gd name="T69" fmla="*/ 43 h 83"/>
                <a:gd name="T70" fmla="*/ 69 w 83"/>
                <a:gd name="T71" fmla="*/ 67 h 83"/>
                <a:gd name="T72" fmla="*/ 70 w 83"/>
                <a:gd name="T73" fmla="*/ 12 h 83"/>
                <a:gd name="T74" fmla="*/ 41 w 83"/>
                <a:gd name="T75" fmla="*/ 0 h 83"/>
                <a:gd name="T76" fmla="*/ 12 w 83"/>
                <a:gd name="T77" fmla="*/ 12 h 83"/>
                <a:gd name="T78" fmla="*/ 0 w 83"/>
                <a:gd name="T79" fmla="*/ 41 h 83"/>
                <a:gd name="T80" fmla="*/ 0 w 83"/>
                <a:gd name="T81" fmla="*/ 41 h 83"/>
                <a:gd name="T82" fmla="*/ 12 w 83"/>
                <a:gd name="T83" fmla="*/ 71 h 83"/>
                <a:gd name="T84" fmla="*/ 70 w 83"/>
                <a:gd name="T85" fmla="*/ 71 h 83"/>
                <a:gd name="T86" fmla="*/ 83 w 83"/>
                <a:gd name="T87" fmla="*/ 41 h 83"/>
                <a:gd name="T88" fmla="*/ 83 w 83"/>
                <a:gd name="T89" fmla="*/ 41 h 83"/>
                <a:gd name="T90" fmla="*/ 83 w 83"/>
                <a:gd name="T91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83">
                  <a:moveTo>
                    <a:pt x="60" y="64"/>
                  </a:moveTo>
                  <a:cubicBezTo>
                    <a:pt x="64" y="66"/>
                    <a:pt x="66" y="68"/>
                    <a:pt x="67" y="70"/>
                  </a:cubicBezTo>
                  <a:cubicBezTo>
                    <a:pt x="62" y="74"/>
                    <a:pt x="55" y="77"/>
                    <a:pt x="48" y="79"/>
                  </a:cubicBezTo>
                  <a:cubicBezTo>
                    <a:pt x="52" y="76"/>
                    <a:pt x="56" y="71"/>
                    <a:pt x="60" y="64"/>
                  </a:cubicBezTo>
                  <a:moveTo>
                    <a:pt x="23" y="64"/>
                  </a:moveTo>
                  <a:cubicBezTo>
                    <a:pt x="26" y="71"/>
                    <a:pt x="30" y="76"/>
                    <a:pt x="34" y="79"/>
                  </a:cubicBezTo>
                  <a:cubicBezTo>
                    <a:pt x="27" y="77"/>
                    <a:pt x="21" y="74"/>
                    <a:pt x="16" y="70"/>
                  </a:cubicBezTo>
                  <a:cubicBezTo>
                    <a:pt x="17" y="68"/>
                    <a:pt x="19" y="66"/>
                    <a:pt x="23" y="64"/>
                  </a:cubicBezTo>
                  <a:moveTo>
                    <a:pt x="23" y="19"/>
                  </a:moveTo>
                  <a:cubicBezTo>
                    <a:pt x="19" y="17"/>
                    <a:pt x="17" y="14"/>
                    <a:pt x="16" y="13"/>
                  </a:cubicBezTo>
                  <a:cubicBezTo>
                    <a:pt x="21" y="8"/>
                    <a:pt x="27" y="5"/>
                    <a:pt x="34" y="4"/>
                  </a:cubicBezTo>
                  <a:cubicBezTo>
                    <a:pt x="30" y="7"/>
                    <a:pt x="26" y="12"/>
                    <a:pt x="23" y="19"/>
                  </a:cubicBezTo>
                  <a:moveTo>
                    <a:pt x="60" y="19"/>
                  </a:moveTo>
                  <a:cubicBezTo>
                    <a:pt x="56" y="12"/>
                    <a:pt x="52" y="7"/>
                    <a:pt x="48" y="4"/>
                  </a:cubicBezTo>
                  <a:cubicBezTo>
                    <a:pt x="55" y="5"/>
                    <a:pt x="62" y="8"/>
                    <a:pt x="67" y="13"/>
                  </a:cubicBezTo>
                  <a:cubicBezTo>
                    <a:pt x="66" y="14"/>
                    <a:pt x="64" y="17"/>
                    <a:pt x="60" y="19"/>
                  </a:cubicBezTo>
                  <a:moveTo>
                    <a:pt x="43" y="57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50"/>
                    <a:pt x="59" y="55"/>
                    <a:pt x="58" y="59"/>
                  </a:cubicBezTo>
                  <a:cubicBezTo>
                    <a:pt x="54" y="58"/>
                    <a:pt x="49" y="57"/>
                    <a:pt x="43" y="57"/>
                  </a:cubicBezTo>
                  <a:moveTo>
                    <a:pt x="43" y="60"/>
                  </a:moveTo>
                  <a:cubicBezTo>
                    <a:pt x="49" y="60"/>
                    <a:pt x="53" y="61"/>
                    <a:pt x="57" y="63"/>
                  </a:cubicBezTo>
                  <a:cubicBezTo>
                    <a:pt x="52" y="72"/>
                    <a:pt x="46" y="76"/>
                    <a:pt x="43" y="78"/>
                  </a:cubicBezTo>
                  <a:lnTo>
                    <a:pt x="43" y="60"/>
                  </a:lnTo>
                  <a:close/>
                  <a:moveTo>
                    <a:pt x="39" y="60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36" y="76"/>
                    <a:pt x="30" y="72"/>
                    <a:pt x="26" y="63"/>
                  </a:cubicBezTo>
                  <a:cubicBezTo>
                    <a:pt x="29" y="61"/>
                    <a:pt x="34" y="60"/>
                    <a:pt x="39" y="60"/>
                  </a:cubicBezTo>
                  <a:moveTo>
                    <a:pt x="39" y="43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3" y="57"/>
                    <a:pt x="28" y="58"/>
                    <a:pt x="25" y="59"/>
                  </a:cubicBezTo>
                  <a:cubicBezTo>
                    <a:pt x="23" y="55"/>
                    <a:pt x="22" y="50"/>
                    <a:pt x="22" y="43"/>
                  </a:cubicBezTo>
                  <a:lnTo>
                    <a:pt x="39" y="43"/>
                  </a:lnTo>
                  <a:close/>
                  <a:moveTo>
                    <a:pt x="39" y="26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3"/>
                    <a:pt x="23" y="28"/>
                    <a:pt x="24" y="23"/>
                  </a:cubicBezTo>
                  <a:cubicBezTo>
                    <a:pt x="28" y="25"/>
                    <a:pt x="33" y="26"/>
                    <a:pt x="39" y="26"/>
                  </a:cubicBezTo>
                  <a:moveTo>
                    <a:pt x="39" y="23"/>
                  </a:moveTo>
                  <a:cubicBezTo>
                    <a:pt x="34" y="22"/>
                    <a:pt x="29" y="21"/>
                    <a:pt x="26" y="20"/>
                  </a:cubicBezTo>
                  <a:cubicBezTo>
                    <a:pt x="30" y="11"/>
                    <a:pt x="36" y="6"/>
                    <a:pt x="39" y="4"/>
                  </a:cubicBezTo>
                  <a:lnTo>
                    <a:pt x="39" y="23"/>
                  </a:lnTo>
                  <a:close/>
                  <a:moveTo>
                    <a:pt x="43" y="23"/>
                  </a:moveTo>
                  <a:cubicBezTo>
                    <a:pt x="43" y="4"/>
                    <a:pt x="43" y="4"/>
                    <a:pt x="43" y="4"/>
                  </a:cubicBezTo>
                  <a:cubicBezTo>
                    <a:pt x="46" y="6"/>
                    <a:pt x="52" y="11"/>
                    <a:pt x="57" y="20"/>
                  </a:cubicBezTo>
                  <a:cubicBezTo>
                    <a:pt x="53" y="21"/>
                    <a:pt x="49" y="22"/>
                    <a:pt x="43" y="23"/>
                  </a:cubicBezTo>
                  <a:moveTo>
                    <a:pt x="43" y="40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9" y="26"/>
                    <a:pt x="54" y="25"/>
                    <a:pt x="58" y="23"/>
                  </a:cubicBezTo>
                  <a:cubicBezTo>
                    <a:pt x="59" y="28"/>
                    <a:pt x="61" y="33"/>
                    <a:pt x="61" y="40"/>
                  </a:cubicBezTo>
                  <a:lnTo>
                    <a:pt x="43" y="40"/>
                  </a:lnTo>
                  <a:close/>
                  <a:moveTo>
                    <a:pt x="79" y="40"/>
                  </a:moveTo>
                  <a:cubicBezTo>
                    <a:pt x="64" y="40"/>
                    <a:pt x="64" y="40"/>
                    <a:pt x="64" y="40"/>
                  </a:cubicBezTo>
                  <a:cubicBezTo>
                    <a:pt x="64" y="33"/>
                    <a:pt x="63" y="27"/>
                    <a:pt x="61" y="22"/>
                  </a:cubicBezTo>
                  <a:cubicBezTo>
                    <a:pt x="65" y="20"/>
                    <a:pt x="68" y="17"/>
                    <a:pt x="69" y="15"/>
                  </a:cubicBezTo>
                  <a:cubicBezTo>
                    <a:pt x="75" y="22"/>
                    <a:pt x="79" y="30"/>
                    <a:pt x="79" y="40"/>
                  </a:cubicBezTo>
                  <a:moveTo>
                    <a:pt x="13" y="15"/>
                  </a:moveTo>
                  <a:cubicBezTo>
                    <a:pt x="15" y="17"/>
                    <a:pt x="17" y="20"/>
                    <a:pt x="21" y="22"/>
                  </a:cubicBezTo>
                  <a:cubicBezTo>
                    <a:pt x="20" y="27"/>
                    <a:pt x="18" y="33"/>
                    <a:pt x="18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30"/>
                    <a:pt x="7" y="22"/>
                    <a:pt x="13" y="15"/>
                  </a:cubicBezTo>
                  <a:moveTo>
                    <a:pt x="3" y="43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18" y="50"/>
                    <a:pt x="20" y="56"/>
                    <a:pt x="21" y="61"/>
                  </a:cubicBezTo>
                  <a:cubicBezTo>
                    <a:pt x="17" y="63"/>
                    <a:pt x="15" y="66"/>
                    <a:pt x="13" y="67"/>
                  </a:cubicBezTo>
                  <a:cubicBezTo>
                    <a:pt x="7" y="61"/>
                    <a:pt x="4" y="52"/>
                    <a:pt x="3" y="43"/>
                  </a:cubicBezTo>
                  <a:moveTo>
                    <a:pt x="69" y="67"/>
                  </a:moveTo>
                  <a:cubicBezTo>
                    <a:pt x="68" y="66"/>
                    <a:pt x="65" y="63"/>
                    <a:pt x="61" y="61"/>
                  </a:cubicBezTo>
                  <a:cubicBezTo>
                    <a:pt x="63" y="56"/>
                    <a:pt x="64" y="50"/>
                    <a:pt x="64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52"/>
                    <a:pt x="75" y="61"/>
                    <a:pt x="69" y="67"/>
                  </a:cubicBezTo>
                  <a:moveTo>
                    <a:pt x="83" y="41"/>
                  </a:moveTo>
                  <a:cubicBezTo>
                    <a:pt x="83" y="30"/>
                    <a:pt x="78" y="19"/>
                    <a:pt x="70" y="12"/>
                  </a:cubicBezTo>
                  <a:cubicBezTo>
                    <a:pt x="70" y="12"/>
                    <a:pt x="70" y="11"/>
                    <a:pt x="70" y="11"/>
                  </a:cubicBezTo>
                  <a:cubicBezTo>
                    <a:pt x="62" y="4"/>
                    <a:pt x="52" y="0"/>
                    <a:pt x="41" y="0"/>
                  </a:cubicBezTo>
                  <a:cubicBezTo>
                    <a:pt x="30" y="0"/>
                    <a:pt x="20" y="4"/>
                    <a:pt x="13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4" y="19"/>
                    <a:pt x="0" y="3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3"/>
                    <a:pt x="4" y="63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20" y="79"/>
                    <a:pt x="30" y="83"/>
                    <a:pt x="41" y="83"/>
                  </a:cubicBezTo>
                  <a:cubicBezTo>
                    <a:pt x="52" y="83"/>
                    <a:pt x="62" y="79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8" y="63"/>
                    <a:pt x="83" y="53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56">
              <a:extLst>
                <a:ext uri="{FF2B5EF4-FFF2-40B4-BE49-F238E27FC236}">
                  <a16:creationId xmlns:a16="http://schemas.microsoft.com/office/drawing/2014/main" id="{2035D11B-7AE9-4A38-855D-5D82D1FEA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2700"/>
              <a:ext cx="146" cy="228"/>
            </a:xfrm>
            <a:custGeom>
              <a:avLst/>
              <a:gdLst>
                <a:gd name="T0" fmla="*/ 8 w 57"/>
                <a:gd name="T1" fmla="*/ 89 h 89"/>
                <a:gd name="T2" fmla="*/ 8 w 57"/>
                <a:gd name="T3" fmla="*/ 89 h 89"/>
                <a:gd name="T4" fmla="*/ 9 w 57"/>
                <a:gd name="T5" fmla="*/ 86 h 89"/>
                <a:gd name="T6" fmla="*/ 11 w 57"/>
                <a:gd name="T7" fmla="*/ 43 h 89"/>
                <a:gd name="T8" fmla="*/ 28 w 57"/>
                <a:gd name="T9" fmla="*/ 22 h 89"/>
                <a:gd name="T10" fmla="*/ 38 w 57"/>
                <a:gd name="T11" fmla="*/ 17 h 89"/>
                <a:gd name="T12" fmla="*/ 52 w 57"/>
                <a:gd name="T13" fmla="*/ 6 h 89"/>
                <a:gd name="T14" fmla="*/ 53 w 57"/>
                <a:gd name="T15" fmla="*/ 11 h 89"/>
                <a:gd name="T16" fmla="*/ 55 w 57"/>
                <a:gd name="T17" fmla="*/ 13 h 89"/>
                <a:gd name="T18" fmla="*/ 55 w 57"/>
                <a:gd name="T19" fmla="*/ 13 h 89"/>
                <a:gd name="T20" fmla="*/ 57 w 57"/>
                <a:gd name="T21" fmla="*/ 11 h 89"/>
                <a:gd name="T22" fmla="*/ 54 w 57"/>
                <a:gd name="T23" fmla="*/ 1 h 89"/>
                <a:gd name="T24" fmla="*/ 52 w 57"/>
                <a:gd name="T25" fmla="*/ 0 h 89"/>
                <a:gd name="T26" fmla="*/ 43 w 57"/>
                <a:gd name="T27" fmla="*/ 2 h 89"/>
                <a:gd name="T28" fmla="*/ 42 w 57"/>
                <a:gd name="T29" fmla="*/ 4 h 89"/>
                <a:gd name="T30" fmla="*/ 44 w 57"/>
                <a:gd name="T31" fmla="*/ 5 h 89"/>
                <a:gd name="T32" fmla="*/ 49 w 57"/>
                <a:gd name="T33" fmla="*/ 4 h 89"/>
                <a:gd name="T34" fmla="*/ 37 w 57"/>
                <a:gd name="T35" fmla="*/ 14 h 89"/>
                <a:gd name="T36" fmla="*/ 26 w 57"/>
                <a:gd name="T37" fmla="*/ 19 h 89"/>
                <a:gd name="T38" fmla="*/ 7 w 57"/>
                <a:gd name="T39" fmla="*/ 41 h 89"/>
                <a:gd name="T40" fmla="*/ 6 w 57"/>
                <a:gd name="T41" fmla="*/ 88 h 89"/>
                <a:gd name="T42" fmla="*/ 8 w 57"/>
                <a:gd name="T4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89">
                  <a:moveTo>
                    <a:pt x="8" y="89"/>
                  </a:moveTo>
                  <a:cubicBezTo>
                    <a:pt x="8" y="89"/>
                    <a:pt x="8" y="89"/>
                    <a:pt x="8" y="89"/>
                  </a:cubicBezTo>
                  <a:cubicBezTo>
                    <a:pt x="9" y="88"/>
                    <a:pt x="10" y="87"/>
                    <a:pt x="9" y="86"/>
                  </a:cubicBezTo>
                  <a:cubicBezTo>
                    <a:pt x="4" y="73"/>
                    <a:pt x="4" y="56"/>
                    <a:pt x="11" y="43"/>
                  </a:cubicBezTo>
                  <a:cubicBezTo>
                    <a:pt x="15" y="34"/>
                    <a:pt x="21" y="27"/>
                    <a:pt x="28" y="22"/>
                  </a:cubicBezTo>
                  <a:cubicBezTo>
                    <a:pt x="32" y="20"/>
                    <a:pt x="35" y="18"/>
                    <a:pt x="38" y="17"/>
                  </a:cubicBezTo>
                  <a:cubicBezTo>
                    <a:pt x="44" y="14"/>
                    <a:pt x="49" y="12"/>
                    <a:pt x="52" y="6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2"/>
                    <a:pt x="54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6" y="12"/>
                    <a:pt x="57" y="11"/>
                    <a:pt x="57" y="1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0"/>
                    <a:pt x="53" y="0"/>
                    <a:pt x="52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2" y="3"/>
                    <a:pt x="42" y="4"/>
                  </a:cubicBezTo>
                  <a:cubicBezTo>
                    <a:pt x="42" y="5"/>
                    <a:pt x="43" y="6"/>
                    <a:pt x="44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9"/>
                    <a:pt x="43" y="11"/>
                    <a:pt x="37" y="14"/>
                  </a:cubicBezTo>
                  <a:cubicBezTo>
                    <a:pt x="34" y="15"/>
                    <a:pt x="30" y="17"/>
                    <a:pt x="26" y="19"/>
                  </a:cubicBezTo>
                  <a:cubicBezTo>
                    <a:pt x="19" y="24"/>
                    <a:pt x="12" y="32"/>
                    <a:pt x="7" y="41"/>
                  </a:cubicBezTo>
                  <a:cubicBezTo>
                    <a:pt x="1" y="56"/>
                    <a:pt x="0" y="73"/>
                    <a:pt x="6" y="88"/>
                  </a:cubicBezTo>
                  <a:cubicBezTo>
                    <a:pt x="6" y="88"/>
                    <a:pt x="7" y="89"/>
                    <a:pt x="8" y="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57">
              <a:extLst>
                <a:ext uri="{FF2B5EF4-FFF2-40B4-BE49-F238E27FC236}">
                  <a16:creationId xmlns:a16="http://schemas.microsoft.com/office/drawing/2014/main" id="{1208E939-78CD-4EE2-81C2-EFA044E5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2946"/>
              <a:ext cx="259" cy="71"/>
            </a:xfrm>
            <a:custGeom>
              <a:avLst/>
              <a:gdLst>
                <a:gd name="T0" fmla="*/ 100 w 101"/>
                <a:gd name="T1" fmla="*/ 3 h 28"/>
                <a:gd name="T2" fmla="*/ 97 w 101"/>
                <a:gd name="T3" fmla="*/ 4 h 28"/>
                <a:gd name="T4" fmla="*/ 59 w 101"/>
                <a:gd name="T5" fmla="*/ 24 h 28"/>
                <a:gd name="T6" fmla="*/ 32 w 101"/>
                <a:gd name="T7" fmla="*/ 19 h 28"/>
                <a:gd name="T8" fmla="*/ 23 w 101"/>
                <a:gd name="T9" fmla="*/ 13 h 28"/>
                <a:gd name="T10" fmla="*/ 6 w 101"/>
                <a:gd name="T11" fmla="*/ 7 h 28"/>
                <a:gd name="T12" fmla="*/ 10 w 101"/>
                <a:gd name="T13" fmla="*/ 3 h 28"/>
                <a:gd name="T14" fmla="*/ 11 w 101"/>
                <a:gd name="T15" fmla="*/ 1 h 28"/>
                <a:gd name="T16" fmla="*/ 8 w 101"/>
                <a:gd name="T17" fmla="*/ 0 h 28"/>
                <a:gd name="T18" fmla="*/ 1 w 101"/>
                <a:gd name="T19" fmla="*/ 7 h 28"/>
                <a:gd name="T20" fmla="*/ 1 w 101"/>
                <a:gd name="T21" fmla="*/ 9 h 28"/>
                <a:gd name="T22" fmla="*/ 7 w 101"/>
                <a:gd name="T23" fmla="*/ 16 h 28"/>
                <a:gd name="T24" fmla="*/ 9 w 101"/>
                <a:gd name="T25" fmla="*/ 17 h 28"/>
                <a:gd name="T26" fmla="*/ 10 w 101"/>
                <a:gd name="T27" fmla="*/ 17 h 28"/>
                <a:gd name="T28" fmla="*/ 10 w 101"/>
                <a:gd name="T29" fmla="*/ 14 h 28"/>
                <a:gd name="T30" fmla="*/ 6 w 101"/>
                <a:gd name="T31" fmla="*/ 10 h 28"/>
                <a:gd name="T32" fmla="*/ 21 w 101"/>
                <a:gd name="T33" fmla="*/ 16 h 28"/>
                <a:gd name="T34" fmla="*/ 30 w 101"/>
                <a:gd name="T35" fmla="*/ 22 h 28"/>
                <a:gd name="T36" fmla="*/ 54 w 101"/>
                <a:gd name="T37" fmla="*/ 28 h 28"/>
                <a:gd name="T38" fmla="*/ 59 w 101"/>
                <a:gd name="T39" fmla="*/ 28 h 28"/>
                <a:gd name="T40" fmla="*/ 100 w 101"/>
                <a:gd name="T41" fmla="*/ 6 h 28"/>
                <a:gd name="T42" fmla="*/ 100 w 101"/>
                <a:gd name="T43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28">
                  <a:moveTo>
                    <a:pt x="100" y="3"/>
                  </a:moveTo>
                  <a:cubicBezTo>
                    <a:pt x="99" y="3"/>
                    <a:pt x="98" y="3"/>
                    <a:pt x="97" y="4"/>
                  </a:cubicBezTo>
                  <a:cubicBezTo>
                    <a:pt x="88" y="15"/>
                    <a:pt x="74" y="23"/>
                    <a:pt x="59" y="24"/>
                  </a:cubicBezTo>
                  <a:cubicBezTo>
                    <a:pt x="49" y="25"/>
                    <a:pt x="40" y="23"/>
                    <a:pt x="32" y="19"/>
                  </a:cubicBezTo>
                  <a:cubicBezTo>
                    <a:pt x="28" y="17"/>
                    <a:pt x="25" y="15"/>
                    <a:pt x="23" y="13"/>
                  </a:cubicBezTo>
                  <a:cubicBezTo>
                    <a:pt x="17" y="9"/>
                    <a:pt x="13" y="6"/>
                    <a:pt x="6" y="7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1"/>
                    <a:pt x="11" y="1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7"/>
                    <a:pt x="8" y="17"/>
                    <a:pt x="9" y="17"/>
                  </a:cubicBezTo>
                  <a:cubicBezTo>
                    <a:pt x="9" y="17"/>
                    <a:pt x="10" y="17"/>
                    <a:pt x="10" y="17"/>
                  </a:cubicBezTo>
                  <a:cubicBezTo>
                    <a:pt x="11" y="16"/>
                    <a:pt x="11" y="15"/>
                    <a:pt x="10" y="14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2" y="10"/>
                    <a:pt x="15" y="12"/>
                    <a:pt x="21" y="16"/>
                  </a:cubicBezTo>
                  <a:cubicBezTo>
                    <a:pt x="23" y="18"/>
                    <a:pt x="27" y="20"/>
                    <a:pt x="30" y="22"/>
                  </a:cubicBezTo>
                  <a:cubicBezTo>
                    <a:pt x="37" y="26"/>
                    <a:pt x="46" y="28"/>
                    <a:pt x="54" y="28"/>
                  </a:cubicBezTo>
                  <a:cubicBezTo>
                    <a:pt x="56" y="28"/>
                    <a:pt x="58" y="28"/>
                    <a:pt x="59" y="28"/>
                  </a:cubicBezTo>
                  <a:cubicBezTo>
                    <a:pt x="75" y="26"/>
                    <a:pt x="90" y="18"/>
                    <a:pt x="100" y="6"/>
                  </a:cubicBezTo>
                  <a:cubicBezTo>
                    <a:pt x="101" y="5"/>
                    <a:pt x="100" y="4"/>
                    <a:pt x="10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58">
              <a:extLst>
                <a:ext uri="{FF2B5EF4-FFF2-40B4-BE49-F238E27FC236}">
                  <a16:creationId xmlns:a16="http://schemas.microsoft.com/office/drawing/2014/main" id="{B9717A12-B7F7-4414-9DA0-E4787D713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5" y="2725"/>
              <a:ext cx="148" cy="218"/>
            </a:xfrm>
            <a:custGeom>
              <a:avLst/>
              <a:gdLst>
                <a:gd name="T0" fmla="*/ 57 w 58"/>
                <a:gd name="T1" fmla="*/ 72 h 85"/>
                <a:gd name="T2" fmla="*/ 55 w 58"/>
                <a:gd name="T3" fmla="*/ 74 h 85"/>
                <a:gd name="T4" fmla="*/ 53 w 58"/>
                <a:gd name="T5" fmla="*/ 79 h 85"/>
                <a:gd name="T6" fmla="*/ 51 w 58"/>
                <a:gd name="T7" fmla="*/ 64 h 85"/>
                <a:gd name="T8" fmla="*/ 51 w 58"/>
                <a:gd name="T9" fmla="*/ 52 h 85"/>
                <a:gd name="T10" fmla="*/ 42 w 58"/>
                <a:gd name="T11" fmla="*/ 24 h 85"/>
                <a:gd name="T12" fmla="*/ 2 w 58"/>
                <a:gd name="T13" fmla="*/ 0 h 85"/>
                <a:gd name="T14" fmla="*/ 0 w 58"/>
                <a:gd name="T15" fmla="*/ 1 h 85"/>
                <a:gd name="T16" fmla="*/ 2 w 58"/>
                <a:gd name="T17" fmla="*/ 3 h 85"/>
                <a:gd name="T18" fmla="*/ 39 w 58"/>
                <a:gd name="T19" fmla="*/ 26 h 85"/>
                <a:gd name="T20" fmla="*/ 48 w 58"/>
                <a:gd name="T21" fmla="*/ 52 h 85"/>
                <a:gd name="T22" fmla="*/ 48 w 58"/>
                <a:gd name="T23" fmla="*/ 63 h 85"/>
                <a:gd name="T24" fmla="*/ 50 w 58"/>
                <a:gd name="T25" fmla="*/ 80 h 85"/>
                <a:gd name="T26" fmla="*/ 45 w 58"/>
                <a:gd name="T27" fmla="*/ 79 h 85"/>
                <a:gd name="T28" fmla="*/ 43 w 58"/>
                <a:gd name="T29" fmla="*/ 80 h 85"/>
                <a:gd name="T30" fmla="*/ 44 w 58"/>
                <a:gd name="T31" fmla="*/ 82 h 85"/>
                <a:gd name="T32" fmla="*/ 53 w 58"/>
                <a:gd name="T33" fmla="*/ 85 h 85"/>
                <a:gd name="T34" fmla="*/ 53 w 58"/>
                <a:gd name="T35" fmla="*/ 85 h 85"/>
                <a:gd name="T36" fmla="*/ 55 w 58"/>
                <a:gd name="T37" fmla="*/ 84 h 85"/>
                <a:gd name="T38" fmla="*/ 58 w 58"/>
                <a:gd name="T39" fmla="*/ 75 h 85"/>
                <a:gd name="T40" fmla="*/ 57 w 58"/>
                <a:gd name="T4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" h="85">
                  <a:moveTo>
                    <a:pt x="57" y="72"/>
                  </a:moveTo>
                  <a:cubicBezTo>
                    <a:pt x="56" y="72"/>
                    <a:pt x="55" y="73"/>
                    <a:pt x="55" y="74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0" y="74"/>
                    <a:pt x="50" y="70"/>
                    <a:pt x="51" y="64"/>
                  </a:cubicBezTo>
                  <a:cubicBezTo>
                    <a:pt x="51" y="60"/>
                    <a:pt x="52" y="56"/>
                    <a:pt x="51" y="52"/>
                  </a:cubicBezTo>
                  <a:cubicBezTo>
                    <a:pt x="51" y="42"/>
                    <a:pt x="48" y="33"/>
                    <a:pt x="42" y="24"/>
                  </a:cubicBezTo>
                  <a:cubicBezTo>
                    <a:pt x="33" y="11"/>
                    <a:pt x="18" y="2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17" y="5"/>
                    <a:pt x="30" y="14"/>
                    <a:pt x="39" y="26"/>
                  </a:cubicBezTo>
                  <a:cubicBezTo>
                    <a:pt x="44" y="34"/>
                    <a:pt x="48" y="43"/>
                    <a:pt x="48" y="52"/>
                  </a:cubicBezTo>
                  <a:cubicBezTo>
                    <a:pt x="48" y="56"/>
                    <a:pt x="48" y="60"/>
                    <a:pt x="48" y="63"/>
                  </a:cubicBezTo>
                  <a:cubicBezTo>
                    <a:pt x="47" y="70"/>
                    <a:pt x="46" y="75"/>
                    <a:pt x="50" y="80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4" y="79"/>
                    <a:pt x="43" y="79"/>
                    <a:pt x="43" y="80"/>
                  </a:cubicBezTo>
                  <a:cubicBezTo>
                    <a:pt x="42" y="81"/>
                    <a:pt x="43" y="82"/>
                    <a:pt x="44" y="82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4" y="85"/>
                    <a:pt x="55" y="85"/>
                    <a:pt x="55" y="84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3"/>
                    <a:pt x="57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9" name="Group 161">
            <a:extLst>
              <a:ext uri="{FF2B5EF4-FFF2-40B4-BE49-F238E27FC236}">
                <a16:creationId xmlns:a16="http://schemas.microsoft.com/office/drawing/2014/main" id="{E30D83F7-F7F8-47F8-B616-11CCEEF9C5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4538" y="4160838"/>
            <a:ext cx="758825" cy="758825"/>
            <a:chOff x="3669" y="2621"/>
            <a:chExt cx="478" cy="478"/>
          </a:xfrm>
        </p:grpSpPr>
        <p:sp>
          <p:nvSpPr>
            <p:cNvPr id="210" name="AutoShape 160">
              <a:extLst>
                <a:ext uri="{FF2B5EF4-FFF2-40B4-BE49-F238E27FC236}">
                  <a16:creationId xmlns:a16="http://schemas.microsoft.com/office/drawing/2014/main" id="{11089ABD-18B6-469D-B1CE-6EBC7F4A6D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9" y="262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62">
              <a:extLst>
                <a:ext uri="{FF2B5EF4-FFF2-40B4-BE49-F238E27FC236}">
                  <a16:creationId xmlns:a16="http://schemas.microsoft.com/office/drawing/2014/main" id="{DAAFDE0F-6897-488D-87EF-4E5910A32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1" y="262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63">
              <a:extLst>
                <a:ext uri="{FF2B5EF4-FFF2-40B4-BE49-F238E27FC236}">
                  <a16:creationId xmlns:a16="http://schemas.microsoft.com/office/drawing/2014/main" id="{A159C0E2-5D56-4EAF-96D1-C2E78B464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9" y="2768"/>
              <a:ext cx="203" cy="204"/>
            </a:xfrm>
            <a:custGeom>
              <a:avLst/>
              <a:gdLst>
                <a:gd name="T0" fmla="*/ 67 w 83"/>
                <a:gd name="T1" fmla="*/ 70 h 83"/>
                <a:gd name="T2" fmla="*/ 60 w 83"/>
                <a:gd name="T3" fmla="*/ 64 h 83"/>
                <a:gd name="T4" fmla="*/ 34 w 83"/>
                <a:gd name="T5" fmla="*/ 79 h 83"/>
                <a:gd name="T6" fmla="*/ 23 w 83"/>
                <a:gd name="T7" fmla="*/ 64 h 83"/>
                <a:gd name="T8" fmla="*/ 16 w 83"/>
                <a:gd name="T9" fmla="*/ 13 h 83"/>
                <a:gd name="T10" fmla="*/ 23 w 83"/>
                <a:gd name="T11" fmla="*/ 19 h 83"/>
                <a:gd name="T12" fmla="*/ 48 w 83"/>
                <a:gd name="T13" fmla="*/ 4 h 83"/>
                <a:gd name="T14" fmla="*/ 60 w 83"/>
                <a:gd name="T15" fmla="*/ 19 h 83"/>
                <a:gd name="T16" fmla="*/ 43 w 83"/>
                <a:gd name="T17" fmla="*/ 43 h 83"/>
                <a:gd name="T18" fmla="*/ 58 w 83"/>
                <a:gd name="T19" fmla="*/ 59 h 83"/>
                <a:gd name="T20" fmla="*/ 43 w 83"/>
                <a:gd name="T21" fmla="*/ 60 h 83"/>
                <a:gd name="T22" fmla="*/ 43 w 83"/>
                <a:gd name="T23" fmla="*/ 78 h 83"/>
                <a:gd name="T24" fmla="*/ 39 w 83"/>
                <a:gd name="T25" fmla="*/ 60 h 83"/>
                <a:gd name="T26" fmla="*/ 26 w 83"/>
                <a:gd name="T27" fmla="*/ 63 h 83"/>
                <a:gd name="T28" fmla="*/ 39 w 83"/>
                <a:gd name="T29" fmla="*/ 43 h 83"/>
                <a:gd name="T30" fmla="*/ 25 w 83"/>
                <a:gd name="T31" fmla="*/ 59 h 83"/>
                <a:gd name="T32" fmla="*/ 39 w 83"/>
                <a:gd name="T33" fmla="*/ 43 h 83"/>
                <a:gd name="T34" fmla="*/ 39 w 83"/>
                <a:gd name="T35" fmla="*/ 40 h 83"/>
                <a:gd name="T36" fmla="*/ 24 w 83"/>
                <a:gd name="T37" fmla="*/ 23 h 83"/>
                <a:gd name="T38" fmla="*/ 39 w 83"/>
                <a:gd name="T39" fmla="*/ 23 h 83"/>
                <a:gd name="T40" fmla="*/ 39 w 83"/>
                <a:gd name="T41" fmla="*/ 4 h 83"/>
                <a:gd name="T42" fmla="*/ 43 w 83"/>
                <a:gd name="T43" fmla="*/ 23 h 83"/>
                <a:gd name="T44" fmla="*/ 57 w 83"/>
                <a:gd name="T45" fmla="*/ 20 h 83"/>
                <a:gd name="T46" fmla="*/ 43 w 83"/>
                <a:gd name="T47" fmla="*/ 40 h 83"/>
                <a:gd name="T48" fmla="*/ 58 w 83"/>
                <a:gd name="T49" fmla="*/ 23 h 83"/>
                <a:gd name="T50" fmla="*/ 43 w 83"/>
                <a:gd name="T51" fmla="*/ 40 h 83"/>
                <a:gd name="T52" fmla="*/ 64 w 83"/>
                <a:gd name="T53" fmla="*/ 40 h 83"/>
                <a:gd name="T54" fmla="*/ 69 w 83"/>
                <a:gd name="T55" fmla="*/ 15 h 83"/>
                <a:gd name="T56" fmla="*/ 13 w 83"/>
                <a:gd name="T57" fmla="*/ 15 h 83"/>
                <a:gd name="T58" fmla="*/ 18 w 83"/>
                <a:gd name="T59" fmla="*/ 40 h 83"/>
                <a:gd name="T60" fmla="*/ 13 w 83"/>
                <a:gd name="T61" fmla="*/ 15 h 83"/>
                <a:gd name="T62" fmla="*/ 18 w 83"/>
                <a:gd name="T63" fmla="*/ 43 h 83"/>
                <a:gd name="T64" fmla="*/ 13 w 83"/>
                <a:gd name="T65" fmla="*/ 67 h 83"/>
                <a:gd name="T66" fmla="*/ 69 w 83"/>
                <a:gd name="T67" fmla="*/ 67 h 83"/>
                <a:gd name="T68" fmla="*/ 64 w 83"/>
                <a:gd name="T69" fmla="*/ 43 h 83"/>
                <a:gd name="T70" fmla="*/ 69 w 83"/>
                <a:gd name="T71" fmla="*/ 67 h 83"/>
                <a:gd name="T72" fmla="*/ 70 w 83"/>
                <a:gd name="T73" fmla="*/ 12 h 83"/>
                <a:gd name="T74" fmla="*/ 41 w 83"/>
                <a:gd name="T75" fmla="*/ 0 h 83"/>
                <a:gd name="T76" fmla="*/ 12 w 83"/>
                <a:gd name="T77" fmla="*/ 12 h 83"/>
                <a:gd name="T78" fmla="*/ 0 w 83"/>
                <a:gd name="T79" fmla="*/ 41 h 83"/>
                <a:gd name="T80" fmla="*/ 0 w 83"/>
                <a:gd name="T81" fmla="*/ 41 h 83"/>
                <a:gd name="T82" fmla="*/ 12 w 83"/>
                <a:gd name="T83" fmla="*/ 71 h 83"/>
                <a:gd name="T84" fmla="*/ 70 w 83"/>
                <a:gd name="T85" fmla="*/ 71 h 83"/>
                <a:gd name="T86" fmla="*/ 83 w 83"/>
                <a:gd name="T87" fmla="*/ 41 h 83"/>
                <a:gd name="T88" fmla="*/ 83 w 83"/>
                <a:gd name="T89" fmla="*/ 41 h 83"/>
                <a:gd name="T90" fmla="*/ 83 w 83"/>
                <a:gd name="T91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83">
                  <a:moveTo>
                    <a:pt x="60" y="64"/>
                  </a:moveTo>
                  <a:cubicBezTo>
                    <a:pt x="64" y="66"/>
                    <a:pt x="66" y="68"/>
                    <a:pt x="67" y="70"/>
                  </a:cubicBezTo>
                  <a:cubicBezTo>
                    <a:pt x="62" y="74"/>
                    <a:pt x="55" y="77"/>
                    <a:pt x="48" y="79"/>
                  </a:cubicBezTo>
                  <a:cubicBezTo>
                    <a:pt x="52" y="76"/>
                    <a:pt x="56" y="71"/>
                    <a:pt x="60" y="64"/>
                  </a:cubicBezTo>
                  <a:moveTo>
                    <a:pt x="23" y="64"/>
                  </a:moveTo>
                  <a:cubicBezTo>
                    <a:pt x="26" y="71"/>
                    <a:pt x="30" y="76"/>
                    <a:pt x="34" y="79"/>
                  </a:cubicBezTo>
                  <a:cubicBezTo>
                    <a:pt x="27" y="77"/>
                    <a:pt x="21" y="74"/>
                    <a:pt x="16" y="70"/>
                  </a:cubicBezTo>
                  <a:cubicBezTo>
                    <a:pt x="17" y="68"/>
                    <a:pt x="19" y="66"/>
                    <a:pt x="23" y="64"/>
                  </a:cubicBezTo>
                  <a:moveTo>
                    <a:pt x="23" y="19"/>
                  </a:moveTo>
                  <a:cubicBezTo>
                    <a:pt x="19" y="17"/>
                    <a:pt x="17" y="14"/>
                    <a:pt x="16" y="13"/>
                  </a:cubicBezTo>
                  <a:cubicBezTo>
                    <a:pt x="21" y="8"/>
                    <a:pt x="27" y="5"/>
                    <a:pt x="34" y="4"/>
                  </a:cubicBezTo>
                  <a:cubicBezTo>
                    <a:pt x="30" y="7"/>
                    <a:pt x="26" y="12"/>
                    <a:pt x="23" y="19"/>
                  </a:cubicBezTo>
                  <a:moveTo>
                    <a:pt x="60" y="19"/>
                  </a:moveTo>
                  <a:cubicBezTo>
                    <a:pt x="56" y="12"/>
                    <a:pt x="52" y="7"/>
                    <a:pt x="48" y="4"/>
                  </a:cubicBezTo>
                  <a:cubicBezTo>
                    <a:pt x="55" y="5"/>
                    <a:pt x="62" y="8"/>
                    <a:pt x="67" y="13"/>
                  </a:cubicBezTo>
                  <a:cubicBezTo>
                    <a:pt x="66" y="14"/>
                    <a:pt x="64" y="17"/>
                    <a:pt x="60" y="19"/>
                  </a:cubicBezTo>
                  <a:moveTo>
                    <a:pt x="43" y="57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50"/>
                    <a:pt x="59" y="55"/>
                    <a:pt x="58" y="59"/>
                  </a:cubicBezTo>
                  <a:cubicBezTo>
                    <a:pt x="54" y="58"/>
                    <a:pt x="49" y="57"/>
                    <a:pt x="43" y="57"/>
                  </a:cubicBezTo>
                  <a:moveTo>
                    <a:pt x="43" y="60"/>
                  </a:moveTo>
                  <a:cubicBezTo>
                    <a:pt x="49" y="60"/>
                    <a:pt x="53" y="61"/>
                    <a:pt x="57" y="63"/>
                  </a:cubicBezTo>
                  <a:cubicBezTo>
                    <a:pt x="52" y="72"/>
                    <a:pt x="46" y="76"/>
                    <a:pt x="43" y="78"/>
                  </a:cubicBezTo>
                  <a:lnTo>
                    <a:pt x="43" y="60"/>
                  </a:lnTo>
                  <a:close/>
                  <a:moveTo>
                    <a:pt x="39" y="60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36" y="76"/>
                    <a:pt x="30" y="72"/>
                    <a:pt x="26" y="63"/>
                  </a:cubicBezTo>
                  <a:cubicBezTo>
                    <a:pt x="29" y="61"/>
                    <a:pt x="34" y="60"/>
                    <a:pt x="39" y="60"/>
                  </a:cubicBezTo>
                  <a:moveTo>
                    <a:pt x="39" y="43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3" y="57"/>
                    <a:pt x="28" y="58"/>
                    <a:pt x="25" y="59"/>
                  </a:cubicBezTo>
                  <a:cubicBezTo>
                    <a:pt x="23" y="55"/>
                    <a:pt x="22" y="50"/>
                    <a:pt x="22" y="43"/>
                  </a:cubicBezTo>
                  <a:lnTo>
                    <a:pt x="39" y="43"/>
                  </a:lnTo>
                  <a:close/>
                  <a:moveTo>
                    <a:pt x="39" y="26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3"/>
                    <a:pt x="23" y="28"/>
                    <a:pt x="24" y="23"/>
                  </a:cubicBezTo>
                  <a:cubicBezTo>
                    <a:pt x="28" y="25"/>
                    <a:pt x="33" y="26"/>
                    <a:pt x="39" y="26"/>
                  </a:cubicBezTo>
                  <a:moveTo>
                    <a:pt x="39" y="23"/>
                  </a:moveTo>
                  <a:cubicBezTo>
                    <a:pt x="34" y="22"/>
                    <a:pt x="29" y="21"/>
                    <a:pt x="26" y="20"/>
                  </a:cubicBezTo>
                  <a:cubicBezTo>
                    <a:pt x="30" y="11"/>
                    <a:pt x="36" y="6"/>
                    <a:pt x="39" y="4"/>
                  </a:cubicBezTo>
                  <a:lnTo>
                    <a:pt x="39" y="23"/>
                  </a:lnTo>
                  <a:close/>
                  <a:moveTo>
                    <a:pt x="43" y="23"/>
                  </a:moveTo>
                  <a:cubicBezTo>
                    <a:pt x="43" y="4"/>
                    <a:pt x="43" y="4"/>
                    <a:pt x="43" y="4"/>
                  </a:cubicBezTo>
                  <a:cubicBezTo>
                    <a:pt x="46" y="6"/>
                    <a:pt x="52" y="11"/>
                    <a:pt x="57" y="20"/>
                  </a:cubicBezTo>
                  <a:cubicBezTo>
                    <a:pt x="53" y="21"/>
                    <a:pt x="49" y="22"/>
                    <a:pt x="43" y="23"/>
                  </a:cubicBezTo>
                  <a:moveTo>
                    <a:pt x="43" y="40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9" y="26"/>
                    <a:pt x="54" y="25"/>
                    <a:pt x="58" y="23"/>
                  </a:cubicBezTo>
                  <a:cubicBezTo>
                    <a:pt x="59" y="28"/>
                    <a:pt x="61" y="33"/>
                    <a:pt x="61" y="40"/>
                  </a:cubicBezTo>
                  <a:lnTo>
                    <a:pt x="43" y="40"/>
                  </a:lnTo>
                  <a:close/>
                  <a:moveTo>
                    <a:pt x="79" y="40"/>
                  </a:moveTo>
                  <a:cubicBezTo>
                    <a:pt x="64" y="40"/>
                    <a:pt x="64" y="40"/>
                    <a:pt x="64" y="40"/>
                  </a:cubicBezTo>
                  <a:cubicBezTo>
                    <a:pt x="64" y="33"/>
                    <a:pt x="63" y="27"/>
                    <a:pt x="61" y="22"/>
                  </a:cubicBezTo>
                  <a:cubicBezTo>
                    <a:pt x="65" y="20"/>
                    <a:pt x="68" y="17"/>
                    <a:pt x="69" y="15"/>
                  </a:cubicBezTo>
                  <a:cubicBezTo>
                    <a:pt x="75" y="22"/>
                    <a:pt x="79" y="30"/>
                    <a:pt x="79" y="40"/>
                  </a:cubicBezTo>
                  <a:moveTo>
                    <a:pt x="13" y="15"/>
                  </a:moveTo>
                  <a:cubicBezTo>
                    <a:pt x="15" y="17"/>
                    <a:pt x="17" y="20"/>
                    <a:pt x="21" y="22"/>
                  </a:cubicBezTo>
                  <a:cubicBezTo>
                    <a:pt x="20" y="27"/>
                    <a:pt x="18" y="33"/>
                    <a:pt x="18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30"/>
                    <a:pt x="7" y="22"/>
                    <a:pt x="13" y="15"/>
                  </a:cubicBezTo>
                  <a:moveTo>
                    <a:pt x="3" y="43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18" y="50"/>
                    <a:pt x="20" y="56"/>
                    <a:pt x="21" y="61"/>
                  </a:cubicBezTo>
                  <a:cubicBezTo>
                    <a:pt x="17" y="63"/>
                    <a:pt x="15" y="66"/>
                    <a:pt x="13" y="67"/>
                  </a:cubicBezTo>
                  <a:cubicBezTo>
                    <a:pt x="7" y="61"/>
                    <a:pt x="4" y="52"/>
                    <a:pt x="3" y="43"/>
                  </a:cubicBezTo>
                  <a:moveTo>
                    <a:pt x="69" y="67"/>
                  </a:moveTo>
                  <a:cubicBezTo>
                    <a:pt x="68" y="66"/>
                    <a:pt x="65" y="63"/>
                    <a:pt x="61" y="61"/>
                  </a:cubicBezTo>
                  <a:cubicBezTo>
                    <a:pt x="63" y="56"/>
                    <a:pt x="64" y="50"/>
                    <a:pt x="64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52"/>
                    <a:pt x="75" y="61"/>
                    <a:pt x="69" y="67"/>
                  </a:cubicBezTo>
                  <a:moveTo>
                    <a:pt x="83" y="41"/>
                  </a:moveTo>
                  <a:cubicBezTo>
                    <a:pt x="83" y="30"/>
                    <a:pt x="78" y="19"/>
                    <a:pt x="70" y="12"/>
                  </a:cubicBezTo>
                  <a:cubicBezTo>
                    <a:pt x="70" y="12"/>
                    <a:pt x="70" y="11"/>
                    <a:pt x="70" y="11"/>
                  </a:cubicBezTo>
                  <a:cubicBezTo>
                    <a:pt x="62" y="4"/>
                    <a:pt x="52" y="0"/>
                    <a:pt x="41" y="0"/>
                  </a:cubicBezTo>
                  <a:cubicBezTo>
                    <a:pt x="30" y="0"/>
                    <a:pt x="20" y="4"/>
                    <a:pt x="13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4" y="19"/>
                    <a:pt x="0" y="3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3"/>
                    <a:pt x="4" y="63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20" y="79"/>
                    <a:pt x="30" y="83"/>
                    <a:pt x="41" y="83"/>
                  </a:cubicBezTo>
                  <a:cubicBezTo>
                    <a:pt x="52" y="83"/>
                    <a:pt x="62" y="79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8" y="63"/>
                    <a:pt x="83" y="53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64">
              <a:extLst>
                <a:ext uri="{FF2B5EF4-FFF2-40B4-BE49-F238E27FC236}">
                  <a16:creationId xmlns:a16="http://schemas.microsoft.com/office/drawing/2014/main" id="{036965A3-A0A1-4952-96A3-D79D117BD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2707"/>
              <a:ext cx="139" cy="218"/>
            </a:xfrm>
            <a:custGeom>
              <a:avLst/>
              <a:gdLst>
                <a:gd name="T0" fmla="*/ 8 w 57"/>
                <a:gd name="T1" fmla="*/ 89 h 89"/>
                <a:gd name="T2" fmla="*/ 8 w 57"/>
                <a:gd name="T3" fmla="*/ 89 h 89"/>
                <a:gd name="T4" fmla="*/ 9 w 57"/>
                <a:gd name="T5" fmla="*/ 86 h 89"/>
                <a:gd name="T6" fmla="*/ 11 w 57"/>
                <a:gd name="T7" fmla="*/ 43 h 89"/>
                <a:gd name="T8" fmla="*/ 28 w 57"/>
                <a:gd name="T9" fmla="*/ 22 h 89"/>
                <a:gd name="T10" fmla="*/ 38 w 57"/>
                <a:gd name="T11" fmla="*/ 17 h 89"/>
                <a:gd name="T12" fmla="*/ 52 w 57"/>
                <a:gd name="T13" fmla="*/ 6 h 89"/>
                <a:gd name="T14" fmla="*/ 53 w 57"/>
                <a:gd name="T15" fmla="*/ 11 h 89"/>
                <a:gd name="T16" fmla="*/ 55 w 57"/>
                <a:gd name="T17" fmla="*/ 13 h 89"/>
                <a:gd name="T18" fmla="*/ 55 w 57"/>
                <a:gd name="T19" fmla="*/ 13 h 89"/>
                <a:gd name="T20" fmla="*/ 57 w 57"/>
                <a:gd name="T21" fmla="*/ 11 h 89"/>
                <a:gd name="T22" fmla="*/ 54 w 57"/>
                <a:gd name="T23" fmla="*/ 1 h 89"/>
                <a:gd name="T24" fmla="*/ 52 w 57"/>
                <a:gd name="T25" fmla="*/ 0 h 89"/>
                <a:gd name="T26" fmla="*/ 43 w 57"/>
                <a:gd name="T27" fmla="*/ 2 h 89"/>
                <a:gd name="T28" fmla="*/ 42 w 57"/>
                <a:gd name="T29" fmla="*/ 4 h 89"/>
                <a:gd name="T30" fmla="*/ 44 w 57"/>
                <a:gd name="T31" fmla="*/ 5 h 89"/>
                <a:gd name="T32" fmla="*/ 49 w 57"/>
                <a:gd name="T33" fmla="*/ 4 h 89"/>
                <a:gd name="T34" fmla="*/ 37 w 57"/>
                <a:gd name="T35" fmla="*/ 14 h 89"/>
                <a:gd name="T36" fmla="*/ 26 w 57"/>
                <a:gd name="T37" fmla="*/ 19 h 89"/>
                <a:gd name="T38" fmla="*/ 7 w 57"/>
                <a:gd name="T39" fmla="*/ 41 h 89"/>
                <a:gd name="T40" fmla="*/ 6 w 57"/>
                <a:gd name="T41" fmla="*/ 88 h 89"/>
                <a:gd name="T42" fmla="*/ 8 w 57"/>
                <a:gd name="T4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89">
                  <a:moveTo>
                    <a:pt x="8" y="89"/>
                  </a:moveTo>
                  <a:cubicBezTo>
                    <a:pt x="8" y="89"/>
                    <a:pt x="8" y="89"/>
                    <a:pt x="8" y="89"/>
                  </a:cubicBezTo>
                  <a:cubicBezTo>
                    <a:pt x="9" y="88"/>
                    <a:pt x="10" y="87"/>
                    <a:pt x="9" y="86"/>
                  </a:cubicBezTo>
                  <a:cubicBezTo>
                    <a:pt x="4" y="73"/>
                    <a:pt x="4" y="56"/>
                    <a:pt x="11" y="43"/>
                  </a:cubicBezTo>
                  <a:cubicBezTo>
                    <a:pt x="15" y="34"/>
                    <a:pt x="21" y="27"/>
                    <a:pt x="28" y="22"/>
                  </a:cubicBezTo>
                  <a:cubicBezTo>
                    <a:pt x="32" y="20"/>
                    <a:pt x="35" y="18"/>
                    <a:pt x="38" y="17"/>
                  </a:cubicBezTo>
                  <a:cubicBezTo>
                    <a:pt x="44" y="14"/>
                    <a:pt x="49" y="12"/>
                    <a:pt x="52" y="6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2"/>
                    <a:pt x="54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6" y="12"/>
                    <a:pt x="57" y="11"/>
                    <a:pt x="57" y="1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0"/>
                    <a:pt x="53" y="0"/>
                    <a:pt x="52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2" y="3"/>
                    <a:pt x="42" y="4"/>
                  </a:cubicBezTo>
                  <a:cubicBezTo>
                    <a:pt x="42" y="5"/>
                    <a:pt x="43" y="6"/>
                    <a:pt x="44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9"/>
                    <a:pt x="43" y="11"/>
                    <a:pt x="37" y="14"/>
                  </a:cubicBezTo>
                  <a:cubicBezTo>
                    <a:pt x="34" y="15"/>
                    <a:pt x="30" y="17"/>
                    <a:pt x="26" y="19"/>
                  </a:cubicBezTo>
                  <a:cubicBezTo>
                    <a:pt x="19" y="24"/>
                    <a:pt x="12" y="32"/>
                    <a:pt x="7" y="41"/>
                  </a:cubicBezTo>
                  <a:cubicBezTo>
                    <a:pt x="1" y="56"/>
                    <a:pt x="0" y="73"/>
                    <a:pt x="6" y="88"/>
                  </a:cubicBezTo>
                  <a:cubicBezTo>
                    <a:pt x="6" y="88"/>
                    <a:pt x="7" y="89"/>
                    <a:pt x="8" y="8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65">
              <a:extLst>
                <a:ext uri="{FF2B5EF4-FFF2-40B4-BE49-F238E27FC236}">
                  <a16:creationId xmlns:a16="http://schemas.microsoft.com/office/drawing/2014/main" id="{8BEE5DFD-5D6B-46FC-8C1E-279E7F921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4" y="2942"/>
              <a:ext cx="248" cy="69"/>
            </a:xfrm>
            <a:custGeom>
              <a:avLst/>
              <a:gdLst>
                <a:gd name="T0" fmla="*/ 100 w 101"/>
                <a:gd name="T1" fmla="*/ 3 h 28"/>
                <a:gd name="T2" fmla="*/ 97 w 101"/>
                <a:gd name="T3" fmla="*/ 4 h 28"/>
                <a:gd name="T4" fmla="*/ 59 w 101"/>
                <a:gd name="T5" fmla="*/ 24 h 28"/>
                <a:gd name="T6" fmla="*/ 32 w 101"/>
                <a:gd name="T7" fmla="*/ 19 h 28"/>
                <a:gd name="T8" fmla="*/ 23 w 101"/>
                <a:gd name="T9" fmla="*/ 13 h 28"/>
                <a:gd name="T10" fmla="*/ 6 w 101"/>
                <a:gd name="T11" fmla="*/ 7 h 28"/>
                <a:gd name="T12" fmla="*/ 10 w 101"/>
                <a:gd name="T13" fmla="*/ 3 h 28"/>
                <a:gd name="T14" fmla="*/ 11 w 101"/>
                <a:gd name="T15" fmla="*/ 1 h 28"/>
                <a:gd name="T16" fmla="*/ 8 w 101"/>
                <a:gd name="T17" fmla="*/ 0 h 28"/>
                <a:gd name="T18" fmla="*/ 1 w 101"/>
                <a:gd name="T19" fmla="*/ 7 h 28"/>
                <a:gd name="T20" fmla="*/ 1 w 101"/>
                <a:gd name="T21" fmla="*/ 9 h 28"/>
                <a:gd name="T22" fmla="*/ 7 w 101"/>
                <a:gd name="T23" fmla="*/ 16 h 28"/>
                <a:gd name="T24" fmla="*/ 9 w 101"/>
                <a:gd name="T25" fmla="*/ 17 h 28"/>
                <a:gd name="T26" fmla="*/ 10 w 101"/>
                <a:gd name="T27" fmla="*/ 17 h 28"/>
                <a:gd name="T28" fmla="*/ 10 w 101"/>
                <a:gd name="T29" fmla="*/ 14 h 28"/>
                <a:gd name="T30" fmla="*/ 6 w 101"/>
                <a:gd name="T31" fmla="*/ 10 h 28"/>
                <a:gd name="T32" fmla="*/ 21 w 101"/>
                <a:gd name="T33" fmla="*/ 16 h 28"/>
                <a:gd name="T34" fmla="*/ 30 w 101"/>
                <a:gd name="T35" fmla="*/ 22 h 28"/>
                <a:gd name="T36" fmla="*/ 54 w 101"/>
                <a:gd name="T37" fmla="*/ 28 h 28"/>
                <a:gd name="T38" fmla="*/ 59 w 101"/>
                <a:gd name="T39" fmla="*/ 28 h 28"/>
                <a:gd name="T40" fmla="*/ 100 w 101"/>
                <a:gd name="T41" fmla="*/ 6 h 28"/>
                <a:gd name="T42" fmla="*/ 100 w 101"/>
                <a:gd name="T43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28">
                  <a:moveTo>
                    <a:pt x="100" y="3"/>
                  </a:moveTo>
                  <a:cubicBezTo>
                    <a:pt x="99" y="3"/>
                    <a:pt x="98" y="3"/>
                    <a:pt x="97" y="4"/>
                  </a:cubicBezTo>
                  <a:cubicBezTo>
                    <a:pt x="88" y="15"/>
                    <a:pt x="74" y="23"/>
                    <a:pt x="59" y="24"/>
                  </a:cubicBezTo>
                  <a:cubicBezTo>
                    <a:pt x="49" y="25"/>
                    <a:pt x="40" y="23"/>
                    <a:pt x="32" y="19"/>
                  </a:cubicBezTo>
                  <a:cubicBezTo>
                    <a:pt x="28" y="17"/>
                    <a:pt x="25" y="15"/>
                    <a:pt x="23" y="13"/>
                  </a:cubicBezTo>
                  <a:cubicBezTo>
                    <a:pt x="17" y="9"/>
                    <a:pt x="13" y="6"/>
                    <a:pt x="6" y="7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1"/>
                    <a:pt x="11" y="1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7"/>
                    <a:pt x="8" y="17"/>
                    <a:pt x="9" y="17"/>
                  </a:cubicBezTo>
                  <a:cubicBezTo>
                    <a:pt x="9" y="17"/>
                    <a:pt x="10" y="17"/>
                    <a:pt x="10" y="17"/>
                  </a:cubicBezTo>
                  <a:cubicBezTo>
                    <a:pt x="11" y="16"/>
                    <a:pt x="11" y="15"/>
                    <a:pt x="10" y="14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2" y="10"/>
                    <a:pt x="15" y="12"/>
                    <a:pt x="21" y="16"/>
                  </a:cubicBezTo>
                  <a:cubicBezTo>
                    <a:pt x="23" y="18"/>
                    <a:pt x="27" y="20"/>
                    <a:pt x="30" y="22"/>
                  </a:cubicBezTo>
                  <a:cubicBezTo>
                    <a:pt x="37" y="26"/>
                    <a:pt x="46" y="28"/>
                    <a:pt x="54" y="28"/>
                  </a:cubicBezTo>
                  <a:cubicBezTo>
                    <a:pt x="56" y="28"/>
                    <a:pt x="58" y="28"/>
                    <a:pt x="59" y="28"/>
                  </a:cubicBezTo>
                  <a:cubicBezTo>
                    <a:pt x="75" y="26"/>
                    <a:pt x="90" y="18"/>
                    <a:pt x="100" y="6"/>
                  </a:cubicBezTo>
                  <a:cubicBezTo>
                    <a:pt x="101" y="5"/>
                    <a:pt x="100" y="4"/>
                    <a:pt x="100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66">
              <a:extLst>
                <a:ext uri="{FF2B5EF4-FFF2-40B4-BE49-F238E27FC236}">
                  <a16:creationId xmlns:a16="http://schemas.microsoft.com/office/drawing/2014/main" id="{1F9A831D-8C0C-41F2-AE78-C5BB8414D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2731"/>
              <a:ext cx="142" cy="209"/>
            </a:xfrm>
            <a:custGeom>
              <a:avLst/>
              <a:gdLst>
                <a:gd name="T0" fmla="*/ 57 w 58"/>
                <a:gd name="T1" fmla="*/ 72 h 85"/>
                <a:gd name="T2" fmla="*/ 55 w 58"/>
                <a:gd name="T3" fmla="*/ 74 h 85"/>
                <a:gd name="T4" fmla="*/ 53 w 58"/>
                <a:gd name="T5" fmla="*/ 79 h 85"/>
                <a:gd name="T6" fmla="*/ 51 w 58"/>
                <a:gd name="T7" fmla="*/ 64 h 85"/>
                <a:gd name="T8" fmla="*/ 51 w 58"/>
                <a:gd name="T9" fmla="*/ 52 h 85"/>
                <a:gd name="T10" fmla="*/ 42 w 58"/>
                <a:gd name="T11" fmla="*/ 24 h 85"/>
                <a:gd name="T12" fmla="*/ 2 w 58"/>
                <a:gd name="T13" fmla="*/ 0 h 85"/>
                <a:gd name="T14" fmla="*/ 0 w 58"/>
                <a:gd name="T15" fmla="*/ 1 h 85"/>
                <a:gd name="T16" fmla="*/ 2 w 58"/>
                <a:gd name="T17" fmla="*/ 3 h 85"/>
                <a:gd name="T18" fmla="*/ 39 w 58"/>
                <a:gd name="T19" fmla="*/ 26 h 85"/>
                <a:gd name="T20" fmla="*/ 48 w 58"/>
                <a:gd name="T21" fmla="*/ 52 h 85"/>
                <a:gd name="T22" fmla="*/ 48 w 58"/>
                <a:gd name="T23" fmla="*/ 63 h 85"/>
                <a:gd name="T24" fmla="*/ 50 w 58"/>
                <a:gd name="T25" fmla="*/ 80 h 85"/>
                <a:gd name="T26" fmla="*/ 45 w 58"/>
                <a:gd name="T27" fmla="*/ 79 h 85"/>
                <a:gd name="T28" fmla="*/ 43 w 58"/>
                <a:gd name="T29" fmla="*/ 80 h 85"/>
                <a:gd name="T30" fmla="*/ 44 w 58"/>
                <a:gd name="T31" fmla="*/ 82 h 85"/>
                <a:gd name="T32" fmla="*/ 53 w 58"/>
                <a:gd name="T33" fmla="*/ 85 h 85"/>
                <a:gd name="T34" fmla="*/ 53 w 58"/>
                <a:gd name="T35" fmla="*/ 85 h 85"/>
                <a:gd name="T36" fmla="*/ 55 w 58"/>
                <a:gd name="T37" fmla="*/ 84 h 85"/>
                <a:gd name="T38" fmla="*/ 58 w 58"/>
                <a:gd name="T39" fmla="*/ 75 h 85"/>
                <a:gd name="T40" fmla="*/ 57 w 58"/>
                <a:gd name="T4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" h="85">
                  <a:moveTo>
                    <a:pt x="57" y="72"/>
                  </a:moveTo>
                  <a:cubicBezTo>
                    <a:pt x="56" y="72"/>
                    <a:pt x="55" y="73"/>
                    <a:pt x="55" y="74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0" y="74"/>
                    <a:pt x="50" y="70"/>
                    <a:pt x="51" y="64"/>
                  </a:cubicBezTo>
                  <a:cubicBezTo>
                    <a:pt x="51" y="60"/>
                    <a:pt x="52" y="56"/>
                    <a:pt x="51" y="52"/>
                  </a:cubicBezTo>
                  <a:cubicBezTo>
                    <a:pt x="51" y="42"/>
                    <a:pt x="48" y="33"/>
                    <a:pt x="42" y="24"/>
                  </a:cubicBezTo>
                  <a:cubicBezTo>
                    <a:pt x="33" y="11"/>
                    <a:pt x="18" y="2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17" y="5"/>
                    <a:pt x="30" y="14"/>
                    <a:pt x="39" y="26"/>
                  </a:cubicBezTo>
                  <a:cubicBezTo>
                    <a:pt x="44" y="34"/>
                    <a:pt x="48" y="43"/>
                    <a:pt x="48" y="52"/>
                  </a:cubicBezTo>
                  <a:cubicBezTo>
                    <a:pt x="48" y="56"/>
                    <a:pt x="48" y="60"/>
                    <a:pt x="48" y="63"/>
                  </a:cubicBezTo>
                  <a:cubicBezTo>
                    <a:pt x="47" y="70"/>
                    <a:pt x="46" y="75"/>
                    <a:pt x="50" y="80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4" y="79"/>
                    <a:pt x="43" y="79"/>
                    <a:pt x="43" y="80"/>
                  </a:cubicBezTo>
                  <a:cubicBezTo>
                    <a:pt x="42" y="81"/>
                    <a:pt x="43" y="82"/>
                    <a:pt x="44" y="82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4" y="85"/>
                    <a:pt x="55" y="85"/>
                    <a:pt x="55" y="84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3"/>
                    <a:pt x="57" y="7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169">
            <a:extLst>
              <a:ext uri="{FF2B5EF4-FFF2-40B4-BE49-F238E27FC236}">
                <a16:creationId xmlns:a16="http://schemas.microsoft.com/office/drawing/2014/main" id="{A9CF2B9D-09B2-43D8-B43F-FD2DFE28DC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3263" y="4119563"/>
            <a:ext cx="841375" cy="841375"/>
            <a:chOff x="4443" y="2595"/>
            <a:chExt cx="530" cy="530"/>
          </a:xfrm>
        </p:grpSpPr>
        <p:sp>
          <p:nvSpPr>
            <p:cNvPr id="217" name="AutoShape 168">
              <a:extLst>
                <a:ext uri="{FF2B5EF4-FFF2-40B4-BE49-F238E27FC236}">
                  <a16:creationId xmlns:a16="http://schemas.microsoft.com/office/drawing/2014/main" id="{4E5F9C02-62A9-41A0-9CB6-8574331B91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3" y="25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Oval 170">
              <a:extLst>
                <a:ext uri="{FF2B5EF4-FFF2-40B4-BE49-F238E27FC236}">
                  <a16:creationId xmlns:a16="http://schemas.microsoft.com/office/drawing/2014/main" id="{F86D78B8-85BC-4349-BDA3-1AEFF1B11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3" y="25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71">
              <a:extLst>
                <a:ext uri="{FF2B5EF4-FFF2-40B4-BE49-F238E27FC236}">
                  <a16:creationId xmlns:a16="http://schemas.microsoft.com/office/drawing/2014/main" id="{0CF1E970-88CC-4050-9DAD-086F703D3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1" y="26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72">
              <a:extLst>
                <a:ext uri="{FF2B5EF4-FFF2-40B4-BE49-F238E27FC236}">
                  <a16:creationId xmlns:a16="http://schemas.microsoft.com/office/drawing/2014/main" id="{DEB23DF4-709F-49C6-AD33-9241CDB44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3" y="2690"/>
              <a:ext cx="307" cy="340"/>
            </a:xfrm>
            <a:custGeom>
              <a:avLst/>
              <a:gdLst>
                <a:gd name="T0" fmla="*/ 11 w 120"/>
                <a:gd name="T1" fmla="*/ 65 h 133"/>
                <a:gd name="T2" fmla="*/ 4 w 120"/>
                <a:gd name="T3" fmla="*/ 73 h 133"/>
                <a:gd name="T4" fmla="*/ 60 w 120"/>
                <a:gd name="T5" fmla="*/ 130 h 133"/>
                <a:gd name="T6" fmla="*/ 60 w 120"/>
                <a:gd name="T7" fmla="*/ 130 h 133"/>
                <a:gd name="T8" fmla="*/ 117 w 120"/>
                <a:gd name="T9" fmla="*/ 74 h 133"/>
                <a:gd name="T10" fmla="*/ 100 w 120"/>
                <a:gd name="T11" fmla="*/ 34 h 133"/>
                <a:gd name="T12" fmla="*/ 85 w 120"/>
                <a:gd name="T13" fmla="*/ 22 h 133"/>
                <a:gd name="T14" fmla="*/ 84 w 120"/>
                <a:gd name="T15" fmla="*/ 21 h 133"/>
                <a:gd name="T16" fmla="*/ 85 w 120"/>
                <a:gd name="T17" fmla="*/ 19 h 133"/>
                <a:gd name="T18" fmla="*/ 86 w 120"/>
                <a:gd name="T19" fmla="*/ 18 h 133"/>
                <a:gd name="T20" fmla="*/ 90 w 120"/>
                <a:gd name="T21" fmla="*/ 14 h 133"/>
                <a:gd name="T22" fmla="*/ 89 w 120"/>
                <a:gd name="T23" fmla="*/ 8 h 133"/>
                <a:gd name="T24" fmla="*/ 85 w 120"/>
                <a:gd name="T25" fmla="*/ 5 h 133"/>
                <a:gd name="T26" fmla="*/ 79 w 120"/>
                <a:gd name="T27" fmla="*/ 5 h 133"/>
                <a:gd name="T28" fmla="*/ 56 w 120"/>
                <a:gd name="T29" fmla="*/ 18 h 133"/>
                <a:gd name="T30" fmla="*/ 53 w 120"/>
                <a:gd name="T31" fmla="*/ 22 h 133"/>
                <a:gd name="T32" fmla="*/ 53 w 120"/>
                <a:gd name="T33" fmla="*/ 28 h 133"/>
                <a:gd name="T34" fmla="*/ 66 w 120"/>
                <a:gd name="T35" fmla="*/ 50 h 133"/>
                <a:gd name="T36" fmla="*/ 72 w 120"/>
                <a:gd name="T37" fmla="*/ 54 h 133"/>
                <a:gd name="T38" fmla="*/ 76 w 120"/>
                <a:gd name="T39" fmla="*/ 53 h 133"/>
                <a:gd name="T40" fmla="*/ 80 w 120"/>
                <a:gd name="T41" fmla="*/ 49 h 133"/>
                <a:gd name="T42" fmla="*/ 79 w 120"/>
                <a:gd name="T43" fmla="*/ 43 h 133"/>
                <a:gd name="T44" fmla="*/ 76 w 120"/>
                <a:gd name="T45" fmla="*/ 38 h 133"/>
                <a:gd name="T46" fmla="*/ 76 w 120"/>
                <a:gd name="T47" fmla="*/ 36 h 133"/>
                <a:gd name="T48" fmla="*/ 79 w 120"/>
                <a:gd name="T49" fmla="*/ 36 h 133"/>
                <a:gd name="T50" fmla="*/ 90 w 120"/>
                <a:gd name="T51" fmla="*/ 44 h 133"/>
                <a:gd name="T52" fmla="*/ 102 w 120"/>
                <a:gd name="T53" fmla="*/ 74 h 133"/>
                <a:gd name="T54" fmla="*/ 89 w 120"/>
                <a:gd name="T55" fmla="*/ 103 h 133"/>
                <a:gd name="T56" fmla="*/ 60 w 120"/>
                <a:gd name="T57" fmla="*/ 115 h 133"/>
                <a:gd name="T58" fmla="*/ 60 w 120"/>
                <a:gd name="T59" fmla="*/ 115 h 133"/>
                <a:gd name="T60" fmla="*/ 19 w 120"/>
                <a:gd name="T61" fmla="*/ 73 h 133"/>
                <a:gd name="T62" fmla="*/ 16 w 120"/>
                <a:gd name="T63" fmla="*/ 68 h 133"/>
                <a:gd name="T64" fmla="*/ 11 w 120"/>
                <a:gd name="T65" fmla="*/ 65 h 133"/>
                <a:gd name="T66" fmla="*/ 60 w 120"/>
                <a:gd name="T67" fmla="*/ 133 h 133"/>
                <a:gd name="T68" fmla="*/ 60 w 120"/>
                <a:gd name="T69" fmla="*/ 133 h 133"/>
                <a:gd name="T70" fmla="*/ 0 w 120"/>
                <a:gd name="T71" fmla="*/ 73 h 133"/>
                <a:gd name="T72" fmla="*/ 11 w 120"/>
                <a:gd name="T73" fmla="*/ 62 h 133"/>
                <a:gd name="T74" fmla="*/ 19 w 120"/>
                <a:gd name="T75" fmla="*/ 65 h 133"/>
                <a:gd name="T76" fmla="*/ 22 w 120"/>
                <a:gd name="T77" fmla="*/ 73 h 133"/>
                <a:gd name="T78" fmla="*/ 60 w 120"/>
                <a:gd name="T79" fmla="*/ 111 h 133"/>
                <a:gd name="T80" fmla="*/ 60 w 120"/>
                <a:gd name="T81" fmla="*/ 111 h 133"/>
                <a:gd name="T82" fmla="*/ 87 w 120"/>
                <a:gd name="T83" fmla="*/ 100 h 133"/>
                <a:gd name="T84" fmla="*/ 98 w 120"/>
                <a:gd name="T85" fmla="*/ 73 h 133"/>
                <a:gd name="T86" fmla="*/ 87 w 120"/>
                <a:gd name="T87" fmla="*/ 46 h 133"/>
                <a:gd name="T88" fmla="*/ 82 w 120"/>
                <a:gd name="T89" fmla="*/ 42 h 133"/>
                <a:gd name="T90" fmla="*/ 83 w 120"/>
                <a:gd name="T91" fmla="*/ 50 h 133"/>
                <a:gd name="T92" fmla="*/ 78 w 120"/>
                <a:gd name="T93" fmla="*/ 56 h 133"/>
                <a:gd name="T94" fmla="*/ 72 w 120"/>
                <a:gd name="T95" fmla="*/ 58 h 133"/>
                <a:gd name="T96" fmla="*/ 63 w 120"/>
                <a:gd name="T97" fmla="*/ 52 h 133"/>
                <a:gd name="T98" fmla="*/ 50 w 120"/>
                <a:gd name="T99" fmla="*/ 29 h 133"/>
                <a:gd name="T100" fmla="*/ 50 w 120"/>
                <a:gd name="T101" fmla="*/ 21 h 133"/>
                <a:gd name="T102" fmla="*/ 55 w 120"/>
                <a:gd name="T103" fmla="*/ 15 h 133"/>
                <a:gd name="T104" fmla="*/ 78 w 120"/>
                <a:gd name="T105" fmla="*/ 2 h 133"/>
                <a:gd name="T106" fmla="*/ 86 w 120"/>
                <a:gd name="T107" fmla="*/ 1 h 133"/>
                <a:gd name="T108" fmla="*/ 92 w 120"/>
                <a:gd name="T109" fmla="*/ 6 h 133"/>
                <a:gd name="T110" fmla="*/ 93 w 120"/>
                <a:gd name="T111" fmla="*/ 15 h 133"/>
                <a:gd name="T112" fmla="*/ 89 w 120"/>
                <a:gd name="T113" fmla="*/ 21 h 133"/>
                <a:gd name="T114" fmla="*/ 103 w 120"/>
                <a:gd name="T115" fmla="*/ 31 h 133"/>
                <a:gd name="T116" fmla="*/ 120 w 120"/>
                <a:gd name="T117" fmla="*/ 74 h 133"/>
                <a:gd name="T118" fmla="*/ 60 w 120"/>
                <a:gd name="T11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33">
                  <a:moveTo>
                    <a:pt x="11" y="65"/>
                  </a:moveTo>
                  <a:cubicBezTo>
                    <a:pt x="7" y="65"/>
                    <a:pt x="4" y="69"/>
                    <a:pt x="4" y="73"/>
                  </a:cubicBezTo>
                  <a:cubicBezTo>
                    <a:pt x="3" y="104"/>
                    <a:pt x="29" y="130"/>
                    <a:pt x="60" y="130"/>
                  </a:cubicBezTo>
                  <a:cubicBezTo>
                    <a:pt x="60" y="130"/>
                    <a:pt x="60" y="130"/>
                    <a:pt x="60" y="130"/>
                  </a:cubicBezTo>
                  <a:cubicBezTo>
                    <a:pt x="91" y="130"/>
                    <a:pt x="116" y="105"/>
                    <a:pt x="117" y="74"/>
                  </a:cubicBezTo>
                  <a:cubicBezTo>
                    <a:pt x="117" y="59"/>
                    <a:pt x="111" y="44"/>
                    <a:pt x="100" y="34"/>
                  </a:cubicBezTo>
                  <a:cubicBezTo>
                    <a:pt x="96" y="29"/>
                    <a:pt x="90" y="25"/>
                    <a:pt x="85" y="22"/>
                  </a:cubicBezTo>
                  <a:cubicBezTo>
                    <a:pt x="84" y="22"/>
                    <a:pt x="84" y="21"/>
                    <a:pt x="84" y="21"/>
                  </a:cubicBezTo>
                  <a:cubicBezTo>
                    <a:pt x="84" y="20"/>
                    <a:pt x="84" y="19"/>
                    <a:pt x="85" y="19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8" y="17"/>
                    <a:pt x="89" y="16"/>
                    <a:pt x="90" y="14"/>
                  </a:cubicBezTo>
                  <a:cubicBezTo>
                    <a:pt x="90" y="12"/>
                    <a:pt x="90" y="10"/>
                    <a:pt x="89" y="8"/>
                  </a:cubicBezTo>
                  <a:cubicBezTo>
                    <a:pt x="88" y="6"/>
                    <a:pt x="87" y="5"/>
                    <a:pt x="85" y="5"/>
                  </a:cubicBezTo>
                  <a:cubicBezTo>
                    <a:pt x="83" y="4"/>
                    <a:pt x="81" y="4"/>
                    <a:pt x="79" y="5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9"/>
                    <a:pt x="53" y="20"/>
                    <a:pt x="53" y="22"/>
                  </a:cubicBezTo>
                  <a:cubicBezTo>
                    <a:pt x="52" y="24"/>
                    <a:pt x="53" y="26"/>
                    <a:pt x="53" y="28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7" y="53"/>
                    <a:pt x="70" y="54"/>
                    <a:pt x="72" y="54"/>
                  </a:cubicBezTo>
                  <a:cubicBezTo>
                    <a:pt x="74" y="54"/>
                    <a:pt x="75" y="54"/>
                    <a:pt x="76" y="53"/>
                  </a:cubicBezTo>
                  <a:cubicBezTo>
                    <a:pt x="78" y="52"/>
                    <a:pt x="79" y="51"/>
                    <a:pt x="80" y="49"/>
                  </a:cubicBezTo>
                  <a:cubicBezTo>
                    <a:pt x="80" y="47"/>
                    <a:pt x="80" y="45"/>
                    <a:pt x="79" y="43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7" y="36"/>
                    <a:pt x="78" y="36"/>
                    <a:pt x="79" y="36"/>
                  </a:cubicBezTo>
                  <a:cubicBezTo>
                    <a:pt x="83" y="38"/>
                    <a:pt x="87" y="41"/>
                    <a:pt x="90" y="44"/>
                  </a:cubicBezTo>
                  <a:cubicBezTo>
                    <a:pt x="98" y="52"/>
                    <a:pt x="102" y="62"/>
                    <a:pt x="102" y="74"/>
                  </a:cubicBezTo>
                  <a:cubicBezTo>
                    <a:pt x="102" y="85"/>
                    <a:pt x="97" y="95"/>
                    <a:pt x="89" y="103"/>
                  </a:cubicBezTo>
                  <a:cubicBezTo>
                    <a:pt x="82" y="111"/>
                    <a:pt x="71" y="115"/>
                    <a:pt x="60" y="115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37" y="115"/>
                    <a:pt x="18" y="96"/>
                    <a:pt x="19" y="73"/>
                  </a:cubicBezTo>
                  <a:cubicBezTo>
                    <a:pt x="19" y="71"/>
                    <a:pt x="18" y="69"/>
                    <a:pt x="16" y="68"/>
                  </a:cubicBezTo>
                  <a:cubicBezTo>
                    <a:pt x="15" y="66"/>
                    <a:pt x="13" y="65"/>
                    <a:pt x="11" y="65"/>
                  </a:cubicBezTo>
                  <a:moveTo>
                    <a:pt x="60" y="133"/>
                  </a:moveTo>
                  <a:cubicBezTo>
                    <a:pt x="60" y="133"/>
                    <a:pt x="60" y="133"/>
                    <a:pt x="60" y="133"/>
                  </a:cubicBezTo>
                  <a:cubicBezTo>
                    <a:pt x="27" y="133"/>
                    <a:pt x="0" y="106"/>
                    <a:pt x="0" y="73"/>
                  </a:cubicBezTo>
                  <a:cubicBezTo>
                    <a:pt x="0" y="67"/>
                    <a:pt x="5" y="62"/>
                    <a:pt x="11" y="62"/>
                  </a:cubicBezTo>
                  <a:cubicBezTo>
                    <a:pt x="14" y="62"/>
                    <a:pt x="17" y="63"/>
                    <a:pt x="19" y="65"/>
                  </a:cubicBezTo>
                  <a:cubicBezTo>
                    <a:pt x="21" y="67"/>
                    <a:pt x="22" y="70"/>
                    <a:pt x="22" y="73"/>
                  </a:cubicBezTo>
                  <a:cubicBezTo>
                    <a:pt x="22" y="94"/>
                    <a:pt x="39" y="111"/>
                    <a:pt x="60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70" y="111"/>
                    <a:pt x="80" y="108"/>
                    <a:pt x="87" y="100"/>
                  </a:cubicBezTo>
                  <a:cubicBezTo>
                    <a:pt x="94" y="93"/>
                    <a:pt x="98" y="84"/>
                    <a:pt x="98" y="73"/>
                  </a:cubicBezTo>
                  <a:cubicBezTo>
                    <a:pt x="98" y="63"/>
                    <a:pt x="95" y="54"/>
                    <a:pt x="87" y="46"/>
                  </a:cubicBezTo>
                  <a:cubicBezTo>
                    <a:pt x="86" y="45"/>
                    <a:pt x="84" y="43"/>
                    <a:pt x="82" y="42"/>
                  </a:cubicBezTo>
                  <a:cubicBezTo>
                    <a:pt x="83" y="45"/>
                    <a:pt x="84" y="47"/>
                    <a:pt x="83" y="50"/>
                  </a:cubicBezTo>
                  <a:cubicBezTo>
                    <a:pt x="82" y="53"/>
                    <a:pt x="80" y="55"/>
                    <a:pt x="78" y="56"/>
                  </a:cubicBezTo>
                  <a:cubicBezTo>
                    <a:pt x="76" y="57"/>
                    <a:pt x="74" y="58"/>
                    <a:pt x="72" y="58"/>
                  </a:cubicBezTo>
                  <a:cubicBezTo>
                    <a:pt x="69" y="58"/>
                    <a:pt x="65" y="56"/>
                    <a:pt x="63" y="52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27"/>
                    <a:pt x="49" y="24"/>
                    <a:pt x="50" y="21"/>
                  </a:cubicBezTo>
                  <a:cubicBezTo>
                    <a:pt x="50" y="18"/>
                    <a:pt x="52" y="16"/>
                    <a:pt x="55" y="15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80" y="1"/>
                    <a:pt x="83" y="0"/>
                    <a:pt x="86" y="1"/>
                  </a:cubicBezTo>
                  <a:cubicBezTo>
                    <a:pt x="89" y="2"/>
                    <a:pt x="91" y="4"/>
                    <a:pt x="92" y="6"/>
                  </a:cubicBezTo>
                  <a:cubicBezTo>
                    <a:pt x="94" y="9"/>
                    <a:pt x="94" y="12"/>
                    <a:pt x="93" y="15"/>
                  </a:cubicBezTo>
                  <a:cubicBezTo>
                    <a:pt x="92" y="17"/>
                    <a:pt x="91" y="19"/>
                    <a:pt x="89" y="21"/>
                  </a:cubicBezTo>
                  <a:cubicBezTo>
                    <a:pt x="94" y="23"/>
                    <a:pt x="99" y="27"/>
                    <a:pt x="103" y="31"/>
                  </a:cubicBezTo>
                  <a:cubicBezTo>
                    <a:pt x="114" y="43"/>
                    <a:pt x="120" y="58"/>
                    <a:pt x="120" y="74"/>
                  </a:cubicBezTo>
                  <a:cubicBezTo>
                    <a:pt x="120" y="106"/>
                    <a:pt x="93" y="133"/>
                    <a:pt x="60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175">
            <a:extLst>
              <a:ext uri="{FF2B5EF4-FFF2-40B4-BE49-F238E27FC236}">
                <a16:creationId xmlns:a16="http://schemas.microsoft.com/office/drawing/2014/main" id="{592A640F-0E52-48BD-BD44-749441A73A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99425" y="4160838"/>
            <a:ext cx="758825" cy="758825"/>
            <a:chOff x="5102" y="2621"/>
            <a:chExt cx="478" cy="478"/>
          </a:xfrm>
        </p:grpSpPr>
        <p:sp>
          <p:nvSpPr>
            <p:cNvPr id="222" name="AutoShape 174">
              <a:extLst>
                <a:ext uri="{FF2B5EF4-FFF2-40B4-BE49-F238E27FC236}">
                  <a16:creationId xmlns:a16="http://schemas.microsoft.com/office/drawing/2014/main" id="{49651607-0E21-4AFD-B5AE-830B163582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02" y="262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76">
              <a:extLst>
                <a:ext uri="{FF2B5EF4-FFF2-40B4-BE49-F238E27FC236}">
                  <a16:creationId xmlns:a16="http://schemas.microsoft.com/office/drawing/2014/main" id="{AD9BED0B-764D-4C6F-BF24-9F04DC22AD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4" y="262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77">
              <a:extLst>
                <a:ext uri="{FF2B5EF4-FFF2-40B4-BE49-F238E27FC236}">
                  <a16:creationId xmlns:a16="http://schemas.microsoft.com/office/drawing/2014/main" id="{B3B72983-A723-4D22-B763-B95D78943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3" y="2697"/>
              <a:ext cx="294" cy="326"/>
            </a:xfrm>
            <a:custGeom>
              <a:avLst/>
              <a:gdLst>
                <a:gd name="T0" fmla="*/ 11 w 120"/>
                <a:gd name="T1" fmla="*/ 65 h 133"/>
                <a:gd name="T2" fmla="*/ 4 w 120"/>
                <a:gd name="T3" fmla="*/ 73 h 133"/>
                <a:gd name="T4" fmla="*/ 60 w 120"/>
                <a:gd name="T5" fmla="*/ 130 h 133"/>
                <a:gd name="T6" fmla="*/ 60 w 120"/>
                <a:gd name="T7" fmla="*/ 130 h 133"/>
                <a:gd name="T8" fmla="*/ 117 w 120"/>
                <a:gd name="T9" fmla="*/ 74 h 133"/>
                <a:gd name="T10" fmla="*/ 100 w 120"/>
                <a:gd name="T11" fmla="*/ 34 h 133"/>
                <a:gd name="T12" fmla="*/ 85 w 120"/>
                <a:gd name="T13" fmla="*/ 22 h 133"/>
                <a:gd name="T14" fmla="*/ 84 w 120"/>
                <a:gd name="T15" fmla="*/ 21 h 133"/>
                <a:gd name="T16" fmla="*/ 85 w 120"/>
                <a:gd name="T17" fmla="*/ 19 h 133"/>
                <a:gd name="T18" fmla="*/ 86 w 120"/>
                <a:gd name="T19" fmla="*/ 18 h 133"/>
                <a:gd name="T20" fmla="*/ 90 w 120"/>
                <a:gd name="T21" fmla="*/ 14 h 133"/>
                <a:gd name="T22" fmla="*/ 89 w 120"/>
                <a:gd name="T23" fmla="*/ 8 h 133"/>
                <a:gd name="T24" fmla="*/ 85 w 120"/>
                <a:gd name="T25" fmla="*/ 5 h 133"/>
                <a:gd name="T26" fmla="*/ 79 w 120"/>
                <a:gd name="T27" fmla="*/ 5 h 133"/>
                <a:gd name="T28" fmla="*/ 56 w 120"/>
                <a:gd name="T29" fmla="*/ 18 h 133"/>
                <a:gd name="T30" fmla="*/ 53 w 120"/>
                <a:gd name="T31" fmla="*/ 22 h 133"/>
                <a:gd name="T32" fmla="*/ 53 w 120"/>
                <a:gd name="T33" fmla="*/ 28 h 133"/>
                <a:gd name="T34" fmla="*/ 66 w 120"/>
                <a:gd name="T35" fmla="*/ 50 h 133"/>
                <a:gd name="T36" fmla="*/ 72 w 120"/>
                <a:gd name="T37" fmla="*/ 54 h 133"/>
                <a:gd name="T38" fmla="*/ 76 w 120"/>
                <a:gd name="T39" fmla="*/ 53 h 133"/>
                <a:gd name="T40" fmla="*/ 80 w 120"/>
                <a:gd name="T41" fmla="*/ 49 h 133"/>
                <a:gd name="T42" fmla="*/ 79 w 120"/>
                <a:gd name="T43" fmla="*/ 43 h 133"/>
                <a:gd name="T44" fmla="*/ 76 w 120"/>
                <a:gd name="T45" fmla="*/ 38 h 133"/>
                <a:gd name="T46" fmla="*/ 76 w 120"/>
                <a:gd name="T47" fmla="*/ 36 h 133"/>
                <a:gd name="T48" fmla="*/ 79 w 120"/>
                <a:gd name="T49" fmla="*/ 36 h 133"/>
                <a:gd name="T50" fmla="*/ 90 w 120"/>
                <a:gd name="T51" fmla="*/ 44 h 133"/>
                <a:gd name="T52" fmla="*/ 102 w 120"/>
                <a:gd name="T53" fmla="*/ 74 h 133"/>
                <a:gd name="T54" fmla="*/ 89 w 120"/>
                <a:gd name="T55" fmla="*/ 103 h 133"/>
                <a:gd name="T56" fmla="*/ 60 w 120"/>
                <a:gd name="T57" fmla="*/ 115 h 133"/>
                <a:gd name="T58" fmla="*/ 60 w 120"/>
                <a:gd name="T59" fmla="*/ 115 h 133"/>
                <a:gd name="T60" fmla="*/ 19 w 120"/>
                <a:gd name="T61" fmla="*/ 73 h 133"/>
                <a:gd name="T62" fmla="*/ 16 w 120"/>
                <a:gd name="T63" fmla="*/ 68 h 133"/>
                <a:gd name="T64" fmla="*/ 11 w 120"/>
                <a:gd name="T65" fmla="*/ 65 h 133"/>
                <a:gd name="T66" fmla="*/ 60 w 120"/>
                <a:gd name="T67" fmla="*/ 133 h 133"/>
                <a:gd name="T68" fmla="*/ 60 w 120"/>
                <a:gd name="T69" fmla="*/ 133 h 133"/>
                <a:gd name="T70" fmla="*/ 0 w 120"/>
                <a:gd name="T71" fmla="*/ 73 h 133"/>
                <a:gd name="T72" fmla="*/ 11 w 120"/>
                <a:gd name="T73" fmla="*/ 62 h 133"/>
                <a:gd name="T74" fmla="*/ 19 w 120"/>
                <a:gd name="T75" fmla="*/ 65 h 133"/>
                <a:gd name="T76" fmla="*/ 22 w 120"/>
                <a:gd name="T77" fmla="*/ 73 h 133"/>
                <a:gd name="T78" fmla="*/ 60 w 120"/>
                <a:gd name="T79" fmla="*/ 111 h 133"/>
                <a:gd name="T80" fmla="*/ 60 w 120"/>
                <a:gd name="T81" fmla="*/ 111 h 133"/>
                <a:gd name="T82" fmla="*/ 87 w 120"/>
                <a:gd name="T83" fmla="*/ 100 h 133"/>
                <a:gd name="T84" fmla="*/ 98 w 120"/>
                <a:gd name="T85" fmla="*/ 73 h 133"/>
                <a:gd name="T86" fmla="*/ 87 w 120"/>
                <a:gd name="T87" fmla="*/ 46 h 133"/>
                <a:gd name="T88" fmla="*/ 82 w 120"/>
                <a:gd name="T89" fmla="*/ 42 h 133"/>
                <a:gd name="T90" fmla="*/ 83 w 120"/>
                <a:gd name="T91" fmla="*/ 50 h 133"/>
                <a:gd name="T92" fmla="*/ 78 w 120"/>
                <a:gd name="T93" fmla="*/ 56 h 133"/>
                <a:gd name="T94" fmla="*/ 72 w 120"/>
                <a:gd name="T95" fmla="*/ 58 h 133"/>
                <a:gd name="T96" fmla="*/ 63 w 120"/>
                <a:gd name="T97" fmla="*/ 52 h 133"/>
                <a:gd name="T98" fmla="*/ 50 w 120"/>
                <a:gd name="T99" fmla="*/ 29 h 133"/>
                <a:gd name="T100" fmla="*/ 50 w 120"/>
                <a:gd name="T101" fmla="*/ 21 h 133"/>
                <a:gd name="T102" fmla="*/ 55 w 120"/>
                <a:gd name="T103" fmla="*/ 15 h 133"/>
                <a:gd name="T104" fmla="*/ 78 w 120"/>
                <a:gd name="T105" fmla="*/ 2 h 133"/>
                <a:gd name="T106" fmla="*/ 86 w 120"/>
                <a:gd name="T107" fmla="*/ 1 h 133"/>
                <a:gd name="T108" fmla="*/ 92 w 120"/>
                <a:gd name="T109" fmla="*/ 6 h 133"/>
                <a:gd name="T110" fmla="*/ 93 w 120"/>
                <a:gd name="T111" fmla="*/ 15 h 133"/>
                <a:gd name="T112" fmla="*/ 89 w 120"/>
                <a:gd name="T113" fmla="*/ 21 h 133"/>
                <a:gd name="T114" fmla="*/ 103 w 120"/>
                <a:gd name="T115" fmla="*/ 31 h 133"/>
                <a:gd name="T116" fmla="*/ 120 w 120"/>
                <a:gd name="T117" fmla="*/ 74 h 133"/>
                <a:gd name="T118" fmla="*/ 60 w 120"/>
                <a:gd name="T11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33">
                  <a:moveTo>
                    <a:pt x="11" y="65"/>
                  </a:moveTo>
                  <a:cubicBezTo>
                    <a:pt x="7" y="65"/>
                    <a:pt x="4" y="69"/>
                    <a:pt x="4" y="73"/>
                  </a:cubicBezTo>
                  <a:cubicBezTo>
                    <a:pt x="3" y="104"/>
                    <a:pt x="29" y="130"/>
                    <a:pt x="60" y="130"/>
                  </a:cubicBezTo>
                  <a:cubicBezTo>
                    <a:pt x="60" y="130"/>
                    <a:pt x="60" y="130"/>
                    <a:pt x="60" y="130"/>
                  </a:cubicBezTo>
                  <a:cubicBezTo>
                    <a:pt x="91" y="130"/>
                    <a:pt x="116" y="105"/>
                    <a:pt x="117" y="74"/>
                  </a:cubicBezTo>
                  <a:cubicBezTo>
                    <a:pt x="117" y="59"/>
                    <a:pt x="111" y="44"/>
                    <a:pt x="100" y="34"/>
                  </a:cubicBezTo>
                  <a:cubicBezTo>
                    <a:pt x="96" y="29"/>
                    <a:pt x="90" y="25"/>
                    <a:pt x="85" y="22"/>
                  </a:cubicBezTo>
                  <a:cubicBezTo>
                    <a:pt x="84" y="22"/>
                    <a:pt x="84" y="21"/>
                    <a:pt x="84" y="21"/>
                  </a:cubicBezTo>
                  <a:cubicBezTo>
                    <a:pt x="84" y="20"/>
                    <a:pt x="84" y="19"/>
                    <a:pt x="85" y="19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8" y="17"/>
                    <a:pt x="89" y="16"/>
                    <a:pt x="90" y="14"/>
                  </a:cubicBezTo>
                  <a:cubicBezTo>
                    <a:pt x="90" y="12"/>
                    <a:pt x="90" y="10"/>
                    <a:pt x="89" y="8"/>
                  </a:cubicBezTo>
                  <a:cubicBezTo>
                    <a:pt x="88" y="6"/>
                    <a:pt x="87" y="5"/>
                    <a:pt x="85" y="5"/>
                  </a:cubicBezTo>
                  <a:cubicBezTo>
                    <a:pt x="83" y="4"/>
                    <a:pt x="81" y="4"/>
                    <a:pt x="79" y="5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9"/>
                    <a:pt x="53" y="20"/>
                    <a:pt x="53" y="22"/>
                  </a:cubicBezTo>
                  <a:cubicBezTo>
                    <a:pt x="52" y="24"/>
                    <a:pt x="53" y="26"/>
                    <a:pt x="53" y="28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7" y="53"/>
                    <a:pt x="70" y="54"/>
                    <a:pt x="72" y="54"/>
                  </a:cubicBezTo>
                  <a:cubicBezTo>
                    <a:pt x="74" y="54"/>
                    <a:pt x="75" y="54"/>
                    <a:pt x="76" y="53"/>
                  </a:cubicBezTo>
                  <a:cubicBezTo>
                    <a:pt x="78" y="52"/>
                    <a:pt x="79" y="51"/>
                    <a:pt x="80" y="49"/>
                  </a:cubicBezTo>
                  <a:cubicBezTo>
                    <a:pt x="80" y="47"/>
                    <a:pt x="80" y="45"/>
                    <a:pt x="79" y="43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7" y="36"/>
                    <a:pt x="78" y="36"/>
                    <a:pt x="79" y="36"/>
                  </a:cubicBezTo>
                  <a:cubicBezTo>
                    <a:pt x="83" y="38"/>
                    <a:pt x="87" y="41"/>
                    <a:pt x="90" y="44"/>
                  </a:cubicBezTo>
                  <a:cubicBezTo>
                    <a:pt x="98" y="52"/>
                    <a:pt x="102" y="62"/>
                    <a:pt x="102" y="74"/>
                  </a:cubicBezTo>
                  <a:cubicBezTo>
                    <a:pt x="102" y="85"/>
                    <a:pt x="97" y="95"/>
                    <a:pt x="89" y="103"/>
                  </a:cubicBezTo>
                  <a:cubicBezTo>
                    <a:pt x="82" y="111"/>
                    <a:pt x="71" y="115"/>
                    <a:pt x="60" y="115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37" y="115"/>
                    <a:pt x="18" y="96"/>
                    <a:pt x="19" y="73"/>
                  </a:cubicBezTo>
                  <a:cubicBezTo>
                    <a:pt x="19" y="71"/>
                    <a:pt x="18" y="69"/>
                    <a:pt x="16" y="68"/>
                  </a:cubicBezTo>
                  <a:cubicBezTo>
                    <a:pt x="15" y="66"/>
                    <a:pt x="13" y="65"/>
                    <a:pt x="11" y="65"/>
                  </a:cubicBezTo>
                  <a:moveTo>
                    <a:pt x="60" y="133"/>
                  </a:moveTo>
                  <a:cubicBezTo>
                    <a:pt x="60" y="133"/>
                    <a:pt x="60" y="133"/>
                    <a:pt x="60" y="133"/>
                  </a:cubicBezTo>
                  <a:cubicBezTo>
                    <a:pt x="27" y="133"/>
                    <a:pt x="0" y="106"/>
                    <a:pt x="0" y="73"/>
                  </a:cubicBezTo>
                  <a:cubicBezTo>
                    <a:pt x="0" y="67"/>
                    <a:pt x="5" y="62"/>
                    <a:pt x="11" y="62"/>
                  </a:cubicBezTo>
                  <a:cubicBezTo>
                    <a:pt x="14" y="62"/>
                    <a:pt x="17" y="63"/>
                    <a:pt x="19" y="65"/>
                  </a:cubicBezTo>
                  <a:cubicBezTo>
                    <a:pt x="21" y="67"/>
                    <a:pt x="22" y="70"/>
                    <a:pt x="22" y="73"/>
                  </a:cubicBezTo>
                  <a:cubicBezTo>
                    <a:pt x="22" y="94"/>
                    <a:pt x="39" y="111"/>
                    <a:pt x="60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70" y="111"/>
                    <a:pt x="80" y="108"/>
                    <a:pt x="87" y="100"/>
                  </a:cubicBezTo>
                  <a:cubicBezTo>
                    <a:pt x="94" y="93"/>
                    <a:pt x="98" y="84"/>
                    <a:pt x="98" y="73"/>
                  </a:cubicBezTo>
                  <a:cubicBezTo>
                    <a:pt x="98" y="63"/>
                    <a:pt x="95" y="54"/>
                    <a:pt x="87" y="46"/>
                  </a:cubicBezTo>
                  <a:cubicBezTo>
                    <a:pt x="86" y="45"/>
                    <a:pt x="84" y="43"/>
                    <a:pt x="82" y="42"/>
                  </a:cubicBezTo>
                  <a:cubicBezTo>
                    <a:pt x="83" y="45"/>
                    <a:pt x="84" y="47"/>
                    <a:pt x="83" y="50"/>
                  </a:cubicBezTo>
                  <a:cubicBezTo>
                    <a:pt x="82" y="53"/>
                    <a:pt x="80" y="55"/>
                    <a:pt x="78" y="56"/>
                  </a:cubicBezTo>
                  <a:cubicBezTo>
                    <a:pt x="76" y="57"/>
                    <a:pt x="74" y="58"/>
                    <a:pt x="72" y="58"/>
                  </a:cubicBezTo>
                  <a:cubicBezTo>
                    <a:pt x="69" y="58"/>
                    <a:pt x="65" y="56"/>
                    <a:pt x="63" y="52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27"/>
                    <a:pt x="49" y="24"/>
                    <a:pt x="50" y="21"/>
                  </a:cubicBezTo>
                  <a:cubicBezTo>
                    <a:pt x="50" y="18"/>
                    <a:pt x="52" y="16"/>
                    <a:pt x="55" y="15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80" y="1"/>
                    <a:pt x="83" y="0"/>
                    <a:pt x="86" y="1"/>
                  </a:cubicBezTo>
                  <a:cubicBezTo>
                    <a:pt x="89" y="2"/>
                    <a:pt x="91" y="4"/>
                    <a:pt x="92" y="6"/>
                  </a:cubicBezTo>
                  <a:cubicBezTo>
                    <a:pt x="94" y="9"/>
                    <a:pt x="94" y="12"/>
                    <a:pt x="93" y="15"/>
                  </a:cubicBezTo>
                  <a:cubicBezTo>
                    <a:pt x="92" y="17"/>
                    <a:pt x="91" y="19"/>
                    <a:pt x="89" y="21"/>
                  </a:cubicBezTo>
                  <a:cubicBezTo>
                    <a:pt x="94" y="23"/>
                    <a:pt x="99" y="27"/>
                    <a:pt x="103" y="31"/>
                  </a:cubicBezTo>
                  <a:cubicBezTo>
                    <a:pt x="114" y="43"/>
                    <a:pt x="120" y="58"/>
                    <a:pt x="120" y="74"/>
                  </a:cubicBezTo>
                  <a:cubicBezTo>
                    <a:pt x="120" y="106"/>
                    <a:pt x="93" y="133"/>
                    <a:pt x="60" y="1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1" name="Group 180">
            <a:extLst>
              <a:ext uri="{FF2B5EF4-FFF2-40B4-BE49-F238E27FC236}">
                <a16:creationId xmlns:a16="http://schemas.microsoft.com/office/drawing/2014/main" id="{EEF817F1-EDF7-489A-9D6E-5226D9D01F4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9100" y="5472113"/>
            <a:ext cx="842963" cy="841375"/>
            <a:chOff x="264" y="3447"/>
            <a:chExt cx="531" cy="530"/>
          </a:xfrm>
        </p:grpSpPr>
        <p:sp>
          <p:nvSpPr>
            <p:cNvPr id="242" name="AutoShape 179">
              <a:extLst>
                <a:ext uri="{FF2B5EF4-FFF2-40B4-BE49-F238E27FC236}">
                  <a16:creationId xmlns:a16="http://schemas.microsoft.com/office/drawing/2014/main" id="{0F53DC82-2604-427D-A233-7A1EE2923A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4" y="3447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181">
              <a:extLst>
                <a:ext uri="{FF2B5EF4-FFF2-40B4-BE49-F238E27FC236}">
                  <a16:creationId xmlns:a16="http://schemas.microsoft.com/office/drawing/2014/main" id="{78C8618F-B8CD-4D30-B864-779C3789C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3447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82">
              <a:extLst>
                <a:ext uri="{FF2B5EF4-FFF2-40B4-BE49-F238E27FC236}">
                  <a16:creationId xmlns:a16="http://schemas.microsoft.com/office/drawing/2014/main" id="{10C40EEF-5267-4ECF-85E7-82A7FE291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" y="3465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83">
              <a:extLst>
                <a:ext uri="{FF2B5EF4-FFF2-40B4-BE49-F238E27FC236}">
                  <a16:creationId xmlns:a16="http://schemas.microsoft.com/office/drawing/2014/main" id="{39140821-D7BC-44F2-BB09-93A919EC6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3552"/>
              <a:ext cx="144" cy="225"/>
            </a:xfrm>
            <a:custGeom>
              <a:avLst/>
              <a:gdLst>
                <a:gd name="T0" fmla="*/ 7 w 56"/>
                <a:gd name="T1" fmla="*/ 88 h 88"/>
                <a:gd name="T2" fmla="*/ 8 w 56"/>
                <a:gd name="T3" fmla="*/ 88 h 88"/>
                <a:gd name="T4" fmla="*/ 9 w 56"/>
                <a:gd name="T5" fmla="*/ 86 h 88"/>
                <a:gd name="T6" fmla="*/ 10 w 56"/>
                <a:gd name="T7" fmla="*/ 43 h 88"/>
                <a:gd name="T8" fmla="*/ 28 w 56"/>
                <a:gd name="T9" fmla="*/ 22 h 88"/>
                <a:gd name="T10" fmla="*/ 37 w 56"/>
                <a:gd name="T11" fmla="*/ 17 h 88"/>
                <a:gd name="T12" fmla="*/ 51 w 56"/>
                <a:gd name="T13" fmla="*/ 6 h 88"/>
                <a:gd name="T14" fmla="*/ 52 w 56"/>
                <a:gd name="T15" fmla="*/ 12 h 88"/>
                <a:gd name="T16" fmla="*/ 54 w 56"/>
                <a:gd name="T17" fmla="*/ 13 h 88"/>
                <a:gd name="T18" fmla="*/ 54 w 56"/>
                <a:gd name="T19" fmla="*/ 13 h 88"/>
                <a:gd name="T20" fmla="*/ 56 w 56"/>
                <a:gd name="T21" fmla="*/ 11 h 88"/>
                <a:gd name="T22" fmla="*/ 53 w 56"/>
                <a:gd name="T23" fmla="*/ 2 h 88"/>
                <a:gd name="T24" fmla="*/ 53 w 56"/>
                <a:gd name="T25" fmla="*/ 1 h 88"/>
                <a:gd name="T26" fmla="*/ 51 w 56"/>
                <a:gd name="T27" fmla="*/ 0 h 88"/>
                <a:gd name="T28" fmla="*/ 42 w 56"/>
                <a:gd name="T29" fmla="*/ 3 h 88"/>
                <a:gd name="T30" fmla="*/ 41 w 56"/>
                <a:gd name="T31" fmla="*/ 5 h 88"/>
                <a:gd name="T32" fmla="*/ 43 w 56"/>
                <a:gd name="T33" fmla="*/ 6 h 88"/>
                <a:gd name="T34" fmla="*/ 48 w 56"/>
                <a:gd name="T35" fmla="*/ 5 h 88"/>
                <a:gd name="T36" fmla="*/ 36 w 56"/>
                <a:gd name="T37" fmla="*/ 14 h 88"/>
                <a:gd name="T38" fmla="*/ 26 w 56"/>
                <a:gd name="T39" fmla="*/ 19 h 88"/>
                <a:gd name="T40" fmla="*/ 7 w 56"/>
                <a:gd name="T41" fmla="*/ 42 h 88"/>
                <a:gd name="T42" fmla="*/ 5 w 56"/>
                <a:gd name="T43" fmla="*/ 87 h 88"/>
                <a:gd name="T44" fmla="*/ 7 w 56"/>
                <a:gd name="T4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88">
                  <a:moveTo>
                    <a:pt x="7" y="88"/>
                  </a:moveTo>
                  <a:cubicBezTo>
                    <a:pt x="7" y="88"/>
                    <a:pt x="7" y="88"/>
                    <a:pt x="8" y="88"/>
                  </a:cubicBezTo>
                  <a:cubicBezTo>
                    <a:pt x="9" y="88"/>
                    <a:pt x="9" y="87"/>
                    <a:pt x="9" y="86"/>
                  </a:cubicBezTo>
                  <a:cubicBezTo>
                    <a:pt x="3" y="72"/>
                    <a:pt x="4" y="56"/>
                    <a:pt x="10" y="43"/>
                  </a:cubicBezTo>
                  <a:cubicBezTo>
                    <a:pt x="14" y="34"/>
                    <a:pt x="20" y="27"/>
                    <a:pt x="28" y="22"/>
                  </a:cubicBezTo>
                  <a:cubicBezTo>
                    <a:pt x="31" y="20"/>
                    <a:pt x="34" y="19"/>
                    <a:pt x="37" y="17"/>
                  </a:cubicBezTo>
                  <a:cubicBezTo>
                    <a:pt x="43" y="15"/>
                    <a:pt x="48" y="12"/>
                    <a:pt x="51" y="6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3"/>
                    <a:pt x="53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5" y="13"/>
                    <a:pt x="56" y="12"/>
                    <a:pt x="56" y="11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3"/>
                    <a:pt x="41" y="4"/>
                    <a:pt x="41" y="5"/>
                  </a:cubicBezTo>
                  <a:cubicBezTo>
                    <a:pt x="41" y="6"/>
                    <a:pt x="42" y="6"/>
                    <a:pt x="43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6" y="10"/>
                    <a:pt x="42" y="11"/>
                    <a:pt x="36" y="14"/>
                  </a:cubicBezTo>
                  <a:cubicBezTo>
                    <a:pt x="33" y="15"/>
                    <a:pt x="29" y="17"/>
                    <a:pt x="26" y="19"/>
                  </a:cubicBezTo>
                  <a:cubicBezTo>
                    <a:pt x="18" y="24"/>
                    <a:pt x="11" y="32"/>
                    <a:pt x="7" y="42"/>
                  </a:cubicBezTo>
                  <a:cubicBezTo>
                    <a:pt x="0" y="56"/>
                    <a:pt x="0" y="73"/>
                    <a:pt x="5" y="87"/>
                  </a:cubicBezTo>
                  <a:cubicBezTo>
                    <a:pt x="6" y="88"/>
                    <a:pt x="6" y="88"/>
                    <a:pt x="7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84">
              <a:extLst>
                <a:ext uri="{FF2B5EF4-FFF2-40B4-BE49-F238E27FC236}">
                  <a16:creationId xmlns:a16="http://schemas.microsoft.com/office/drawing/2014/main" id="{FF654F1B-7928-48F6-A8C1-91B736E12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" y="3795"/>
              <a:ext cx="254" cy="72"/>
            </a:xfrm>
            <a:custGeom>
              <a:avLst/>
              <a:gdLst>
                <a:gd name="T0" fmla="*/ 98 w 99"/>
                <a:gd name="T1" fmla="*/ 4 h 28"/>
                <a:gd name="T2" fmla="*/ 96 w 99"/>
                <a:gd name="T3" fmla="*/ 4 h 28"/>
                <a:gd name="T4" fmla="*/ 58 w 99"/>
                <a:gd name="T5" fmla="*/ 25 h 28"/>
                <a:gd name="T6" fmla="*/ 31 w 99"/>
                <a:gd name="T7" fmla="*/ 20 h 28"/>
                <a:gd name="T8" fmla="*/ 22 w 99"/>
                <a:gd name="T9" fmla="*/ 14 h 28"/>
                <a:gd name="T10" fmla="*/ 6 w 99"/>
                <a:gd name="T11" fmla="*/ 7 h 28"/>
                <a:gd name="T12" fmla="*/ 10 w 99"/>
                <a:gd name="T13" fmla="*/ 4 h 28"/>
                <a:gd name="T14" fmla="*/ 10 w 99"/>
                <a:gd name="T15" fmla="*/ 1 h 28"/>
                <a:gd name="T16" fmla="*/ 7 w 99"/>
                <a:gd name="T17" fmla="*/ 1 h 28"/>
                <a:gd name="T18" fmla="*/ 0 w 99"/>
                <a:gd name="T19" fmla="*/ 8 h 28"/>
                <a:gd name="T20" fmla="*/ 0 w 99"/>
                <a:gd name="T21" fmla="*/ 9 h 28"/>
                <a:gd name="T22" fmla="*/ 0 w 99"/>
                <a:gd name="T23" fmla="*/ 10 h 28"/>
                <a:gd name="T24" fmla="*/ 7 w 99"/>
                <a:gd name="T25" fmla="*/ 17 h 28"/>
                <a:gd name="T26" fmla="*/ 8 w 99"/>
                <a:gd name="T27" fmla="*/ 18 h 28"/>
                <a:gd name="T28" fmla="*/ 9 w 99"/>
                <a:gd name="T29" fmla="*/ 17 h 28"/>
                <a:gd name="T30" fmla="*/ 9 w 99"/>
                <a:gd name="T31" fmla="*/ 15 h 28"/>
                <a:gd name="T32" fmla="*/ 6 w 99"/>
                <a:gd name="T33" fmla="*/ 11 h 28"/>
                <a:gd name="T34" fmla="*/ 20 w 99"/>
                <a:gd name="T35" fmla="*/ 17 h 28"/>
                <a:gd name="T36" fmla="*/ 30 w 99"/>
                <a:gd name="T37" fmla="*/ 23 h 28"/>
                <a:gd name="T38" fmla="*/ 53 w 99"/>
                <a:gd name="T39" fmla="*/ 28 h 28"/>
                <a:gd name="T40" fmla="*/ 58 w 99"/>
                <a:gd name="T41" fmla="*/ 28 h 28"/>
                <a:gd name="T42" fmla="*/ 99 w 99"/>
                <a:gd name="T43" fmla="*/ 6 h 28"/>
                <a:gd name="T44" fmla="*/ 98 w 99"/>
                <a:gd name="T45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28">
                  <a:moveTo>
                    <a:pt x="98" y="4"/>
                  </a:moveTo>
                  <a:cubicBezTo>
                    <a:pt x="97" y="3"/>
                    <a:pt x="96" y="4"/>
                    <a:pt x="96" y="4"/>
                  </a:cubicBezTo>
                  <a:cubicBezTo>
                    <a:pt x="87" y="16"/>
                    <a:pt x="73" y="23"/>
                    <a:pt x="58" y="25"/>
                  </a:cubicBezTo>
                  <a:cubicBezTo>
                    <a:pt x="48" y="25"/>
                    <a:pt x="39" y="24"/>
                    <a:pt x="31" y="20"/>
                  </a:cubicBezTo>
                  <a:cubicBezTo>
                    <a:pt x="27" y="18"/>
                    <a:pt x="24" y="16"/>
                    <a:pt x="22" y="14"/>
                  </a:cubicBezTo>
                  <a:cubicBezTo>
                    <a:pt x="17" y="10"/>
                    <a:pt x="12" y="7"/>
                    <a:pt x="6" y="7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9" y="1"/>
                    <a:pt x="8" y="0"/>
                    <a:pt x="7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8" y="18"/>
                    <a:pt x="8" y="18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0" y="15"/>
                    <a:pt x="9" y="15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1" y="10"/>
                    <a:pt x="15" y="13"/>
                    <a:pt x="20" y="17"/>
                  </a:cubicBezTo>
                  <a:cubicBezTo>
                    <a:pt x="23" y="19"/>
                    <a:pt x="26" y="21"/>
                    <a:pt x="30" y="23"/>
                  </a:cubicBezTo>
                  <a:cubicBezTo>
                    <a:pt x="37" y="26"/>
                    <a:pt x="45" y="28"/>
                    <a:pt x="53" y="28"/>
                  </a:cubicBezTo>
                  <a:cubicBezTo>
                    <a:pt x="55" y="28"/>
                    <a:pt x="57" y="28"/>
                    <a:pt x="58" y="28"/>
                  </a:cubicBezTo>
                  <a:cubicBezTo>
                    <a:pt x="74" y="27"/>
                    <a:pt x="89" y="19"/>
                    <a:pt x="99" y="6"/>
                  </a:cubicBezTo>
                  <a:cubicBezTo>
                    <a:pt x="99" y="6"/>
                    <a:pt x="99" y="5"/>
                    <a:pt x="98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85">
              <a:extLst>
                <a:ext uri="{FF2B5EF4-FFF2-40B4-BE49-F238E27FC236}">
                  <a16:creationId xmlns:a16="http://schemas.microsoft.com/office/drawing/2014/main" id="{D3FE4FA0-569E-4136-98DE-ED50CE44F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3577"/>
              <a:ext cx="146" cy="218"/>
            </a:xfrm>
            <a:custGeom>
              <a:avLst/>
              <a:gdLst>
                <a:gd name="T0" fmla="*/ 56 w 57"/>
                <a:gd name="T1" fmla="*/ 72 h 85"/>
                <a:gd name="T2" fmla="*/ 54 w 57"/>
                <a:gd name="T3" fmla="*/ 73 h 85"/>
                <a:gd name="T4" fmla="*/ 52 w 57"/>
                <a:gd name="T5" fmla="*/ 78 h 85"/>
                <a:gd name="T6" fmla="*/ 50 w 57"/>
                <a:gd name="T7" fmla="*/ 63 h 85"/>
                <a:gd name="T8" fmla="*/ 51 w 57"/>
                <a:gd name="T9" fmla="*/ 52 h 85"/>
                <a:gd name="T10" fmla="*/ 41 w 57"/>
                <a:gd name="T11" fmla="*/ 24 h 85"/>
                <a:gd name="T12" fmla="*/ 2 w 57"/>
                <a:gd name="T13" fmla="*/ 0 h 85"/>
                <a:gd name="T14" fmla="*/ 0 w 57"/>
                <a:gd name="T15" fmla="*/ 2 h 85"/>
                <a:gd name="T16" fmla="*/ 2 w 57"/>
                <a:gd name="T17" fmla="*/ 4 h 85"/>
                <a:gd name="T18" fmla="*/ 38 w 57"/>
                <a:gd name="T19" fmla="*/ 26 h 85"/>
                <a:gd name="T20" fmla="*/ 47 w 57"/>
                <a:gd name="T21" fmla="*/ 52 h 85"/>
                <a:gd name="T22" fmla="*/ 47 w 57"/>
                <a:gd name="T23" fmla="*/ 63 h 85"/>
                <a:gd name="T24" fmla="*/ 49 w 57"/>
                <a:gd name="T25" fmla="*/ 80 h 85"/>
                <a:gd name="T26" fmla="*/ 44 w 57"/>
                <a:gd name="T27" fmla="*/ 79 h 85"/>
                <a:gd name="T28" fmla="*/ 42 w 57"/>
                <a:gd name="T29" fmla="*/ 80 h 85"/>
                <a:gd name="T30" fmla="*/ 43 w 57"/>
                <a:gd name="T31" fmla="*/ 82 h 85"/>
                <a:gd name="T32" fmla="*/ 52 w 57"/>
                <a:gd name="T33" fmla="*/ 85 h 85"/>
                <a:gd name="T34" fmla="*/ 53 w 57"/>
                <a:gd name="T35" fmla="*/ 85 h 85"/>
                <a:gd name="T36" fmla="*/ 54 w 57"/>
                <a:gd name="T37" fmla="*/ 83 h 85"/>
                <a:gd name="T38" fmla="*/ 57 w 57"/>
                <a:gd name="T39" fmla="*/ 74 h 85"/>
                <a:gd name="T40" fmla="*/ 56 w 57"/>
                <a:gd name="T4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85">
                  <a:moveTo>
                    <a:pt x="56" y="72"/>
                  </a:moveTo>
                  <a:cubicBezTo>
                    <a:pt x="55" y="72"/>
                    <a:pt x="54" y="72"/>
                    <a:pt x="54" y="73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49" y="74"/>
                    <a:pt x="50" y="70"/>
                    <a:pt x="50" y="63"/>
                  </a:cubicBezTo>
                  <a:cubicBezTo>
                    <a:pt x="51" y="60"/>
                    <a:pt x="51" y="56"/>
                    <a:pt x="51" y="52"/>
                  </a:cubicBezTo>
                  <a:cubicBezTo>
                    <a:pt x="50" y="42"/>
                    <a:pt x="47" y="33"/>
                    <a:pt x="41" y="24"/>
                  </a:cubicBezTo>
                  <a:cubicBezTo>
                    <a:pt x="32" y="11"/>
                    <a:pt x="18" y="2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6" y="6"/>
                    <a:pt x="30" y="14"/>
                    <a:pt x="38" y="26"/>
                  </a:cubicBezTo>
                  <a:cubicBezTo>
                    <a:pt x="44" y="34"/>
                    <a:pt x="47" y="43"/>
                    <a:pt x="47" y="52"/>
                  </a:cubicBezTo>
                  <a:cubicBezTo>
                    <a:pt x="48" y="56"/>
                    <a:pt x="47" y="60"/>
                    <a:pt x="47" y="63"/>
                  </a:cubicBezTo>
                  <a:cubicBezTo>
                    <a:pt x="46" y="69"/>
                    <a:pt x="46" y="75"/>
                    <a:pt x="49" y="80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78"/>
                    <a:pt x="42" y="79"/>
                    <a:pt x="42" y="80"/>
                  </a:cubicBezTo>
                  <a:cubicBezTo>
                    <a:pt x="42" y="81"/>
                    <a:pt x="42" y="82"/>
                    <a:pt x="43" y="82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3" y="85"/>
                    <a:pt x="53" y="85"/>
                  </a:cubicBezTo>
                  <a:cubicBezTo>
                    <a:pt x="53" y="85"/>
                    <a:pt x="54" y="84"/>
                    <a:pt x="54" y="83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3"/>
                    <a:pt x="57" y="73"/>
                    <a:pt x="56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86">
              <a:extLst>
                <a:ext uri="{FF2B5EF4-FFF2-40B4-BE49-F238E27FC236}">
                  <a16:creationId xmlns:a16="http://schemas.microsoft.com/office/drawing/2014/main" id="{28C8000C-64F8-415D-9D46-7F46005E68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" y="3665"/>
              <a:ext cx="120" cy="120"/>
            </a:xfrm>
            <a:custGeom>
              <a:avLst/>
              <a:gdLst>
                <a:gd name="T0" fmla="*/ 23 w 47"/>
                <a:gd name="T1" fmla="*/ 43 h 47"/>
                <a:gd name="T2" fmla="*/ 3 w 47"/>
                <a:gd name="T3" fmla="*/ 23 h 47"/>
                <a:gd name="T4" fmla="*/ 23 w 47"/>
                <a:gd name="T5" fmla="*/ 3 h 47"/>
                <a:gd name="T6" fmla="*/ 44 w 47"/>
                <a:gd name="T7" fmla="*/ 23 h 47"/>
                <a:gd name="T8" fmla="*/ 23 w 47"/>
                <a:gd name="T9" fmla="*/ 43 h 47"/>
                <a:gd name="T10" fmla="*/ 23 w 47"/>
                <a:gd name="T11" fmla="*/ 0 h 47"/>
                <a:gd name="T12" fmla="*/ 0 w 47"/>
                <a:gd name="T13" fmla="*/ 23 h 47"/>
                <a:gd name="T14" fmla="*/ 23 w 47"/>
                <a:gd name="T15" fmla="*/ 47 h 47"/>
                <a:gd name="T16" fmla="*/ 47 w 47"/>
                <a:gd name="T17" fmla="*/ 23 h 47"/>
                <a:gd name="T18" fmla="*/ 23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23" y="43"/>
                  </a:moveTo>
                  <a:cubicBezTo>
                    <a:pt x="12" y="43"/>
                    <a:pt x="3" y="34"/>
                    <a:pt x="3" y="23"/>
                  </a:cubicBezTo>
                  <a:cubicBezTo>
                    <a:pt x="3" y="12"/>
                    <a:pt x="12" y="3"/>
                    <a:pt x="23" y="3"/>
                  </a:cubicBezTo>
                  <a:cubicBezTo>
                    <a:pt x="35" y="3"/>
                    <a:pt x="44" y="12"/>
                    <a:pt x="44" y="23"/>
                  </a:cubicBezTo>
                  <a:cubicBezTo>
                    <a:pt x="44" y="34"/>
                    <a:pt x="35" y="43"/>
                    <a:pt x="23" y="43"/>
                  </a:cubicBezTo>
                  <a:moveTo>
                    <a:pt x="23" y="0"/>
                  </a:moveTo>
                  <a:cubicBezTo>
                    <a:pt x="10" y="0"/>
                    <a:pt x="0" y="10"/>
                    <a:pt x="0" y="23"/>
                  </a:cubicBezTo>
                  <a:cubicBezTo>
                    <a:pt x="0" y="36"/>
                    <a:pt x="10" y="47"/>
                    <a:pt x="23" y="47"/>
                  </a:cubicBezTo>
                  <a:cubicBezTo>
                    <a:pt x="36" y="47"/>
                    <a:pt x="47" y="36"/>
                    <a:pt x="47" y="23"/>
                  </a:cubicBezTo>
                  <a:cubicBezTo>
                    <a:pt x="47" y="10"/>
                    <a:pt x="36" y="0"/>
                    <a:pt x="2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87">
              <a:extLst>
                <a:ext uri="{FF2B5EF4-FFF2-40B4-BE49-F238E27FC236}">
                  <a16:creationId xmlns:a16="http://schemas.microsoft.com/office/drawing/2014/main" id="{DA6676A2-7D37-43AB-B69F-03F5452591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" y="3613"/>
              <a:ext cx="218" cy="221"/>
            </a:xfrm>
            <a:custGeom>
              <a:avLst/>
              <a:gdLst>
                <a:gd name="T0" fmla="*/ 82 w 85"/>
                <a:gd name="T1" fmla="*/ 41 h 86"/>
                <a:gd name="T2" fmla="*/ 79 w 85"/>
                <a:gd name="T3" fmla="*/ 48 h 86"/>
                <a:gd name="T4" fmla="*/ 71 w 85"/>
                <a:gd name="T5" fmla="*/ 59 h 86"/>
                <a:gd name="T6" fmla="*/ 72 w 85"/>
                <a:gd name="T7" fmla="*/ 66 h 86"/>
                <a:gd name="T8" fmla="*/ 72 w 85"/>
                <a:gd name="T9" fmla="*/ 69 h 86"/>
                <a:gd name="T10" fmla="*/ 65 w 85"/>
                <a:gd name="T11" fmla="*/ 73 h 86"/>
                <a:gd name="T12" fmla="*/ 52 w 85"/>
                <a:gd name="T13" fmla="*/ 74 h 86"/>
                <a:gd name="T14" fmla="*/ 45 w 85"/>
                <a:gd name="T15" fmla="*/ 82 h 86"/>
                <a:gd name="T16" fmla="*/ 37 w 85"/>
                <a:gd name="T17" fmla="*/ 80 h 86"/>
                <a:gd name="T18" fmla="*/ 27 w 85"/>
                <a:gd name="T19" fmla="*/ 72 h 86"/>
                <a:gd name="T20" fmla="*/ 20 w 85"/>
                <a:gd name="T21" fmla="*/ 73 h 86"/>
                <a:gd name="T22" fmla="*/ 13 w 85"/>
                <a:gd name="T23" fmla="*/ 69 h 86"/>
                <a:gd name="T24" fmla="*/ 13 w 85"/>
                <a:gd name="T25" fmla="*/ 66 h 86"/>
                <a:gd name="T26" fmla="*/ 11 w 85"/>
                <a:gd name="T27" fmla="*/ 52 h 86"/>
                <a:gd name="T28" fmla="*/ 3 w 85"/>
                <a:gd name="T29" fmla="*/ 46 h 86"/>
                <a:gd name="T30" fmla="*/ 6 w 85"/>
                <a:gd name="T31" fmla="*/ 38 h 86"/>
                <a:gd name="T32" fmla="*/ 14 w 85"/>
                <a:gd name="T33" fmla="*/ 28 h 86"/>
                <a:gd name="T34" fmla="*/ 13 w 85"/>
                <a:gd name="T35" fmla="*/ 17 h 86"/>
                <a:gd name="T36" fmla="*/ 20 w 85"/>
                <a:gd name="T37" fmla="*/ 14 h 86"/>
                <a:gd name="T38" fmla="*/ 33 w 85"/>
                <a:gd name="T39" fmla="*/ 12 h 86"/>
                <a:gd name="T40" fmla="*/ 40 w 85"/>
                <a:gd name="T41" fmla="*/ 4 h 86"/>
                <a:gd name="T42" fmla="*/ 47 w 85"/>
                <a:gd name="T43" fmla="*/ 6 h 86"/>
                <a:gd name="T44" fmla="*/ 58 w 85"/>
                <a:gd name="T45" fmla="*/ 15 h 86"/>
                <a:gd name="T46" fmla="*/ 68 w 85"/>
                <a:gd name="T47" fmla="*/ 14 h 86"/>
                <a:gd name="T48" fmla="*/ 72 w 85"/>
                <a:gd name="T49" fmla="*/ 21 h 86"/>
                <a:gd name="T50" fmla="*/ 71 w 85"/>
                <a:gd name="T51" fmla="*/ 28 h 86"/>
                <a:gd name="T52" fmla="*/ 79 w 85"/>
                <a:gd name="T53" fmla="*/ 38 h 86"/>
                <a:gd name="T54" fmla="*/ 75 w 85"/>
                <a:gd name="T55" fmla="*/ 15 h 86"/>
                <a:gd name="T56" fmla="*/ 63 w 85"/>
                <a:gd name="T57" fmla="*/ 11 h 86"/>
                <a:gd name="T58" fmla="*/ 53 w 85"/>
                <a:gd name="T59" fmla="*/ 9 h 86"/>
                <a:gd name="T60" fmla="*/ 45 w 85"/>
                <a:gd name="T61" fmla="*/ 0 h 86"/>
                <a:gd name="T62" fmla="*/ 34 w 85"/>
                <a:gd name="T63" fmla="*/ 6 h 86"/>
                <a:gd name="T64" fmla="*/ 25 w 85"/>
                <a:gd name="T65" fmla="*/ 12 h 86"/>
                <a:gd name="T66" fmla="*/ 18 w 85"/>
                <a:gd name="T67" fmla="*/ 9 h 86"/>
                <a:gd name="T68" fmla="*/ 10 w 85"/>
                <a:gd name="T69" fmla="*/ 15 h 86"/>
                <a:gd name="T70" fmla="*/ 11 w 85"/>
                <a:gd name="T71" fmla="*/ 26 h 86"/>
                <a:gd name="T72" fmla="*/ 6 w 85"/>
                <a:gd name="T73" fmla="*/ 35 h 86"/>
                <a:gd name="T74" fmla="*/ 0 w 85"/>
                <a:gd name="T75" fmla="*/ 46 h 86"/>
                <a:gd name="T76" fmla="*/ 8 w 85"/>
                <a:gd name="T77" fmla="*/ 53 h 86"/>
                <a:gd name="T78" fmla="*/ 10 w 85"/>
                <a:gd name="T79" fmla="*/ 63 h 86"/>
                <a:gd name="T80" fmla="*/ 10 w 85"/>
                <a:gd name="T81" fmla="*/ 72 h 86"/>
                <a:gd name="T82" fmla="*/ 18 w 85"/>
                <a:gd name="T83" fmla="*/ 77 h 86"/>
                <a:gd name="T84" fmla="*/ 25 w 85"/>
                <a:gd name="T85" fmla="*/ 75 h 86"/>
                <a:gd name="T86" fmla="*/ 34 w 85"/>
                <a:gd name="T87" fmla="*/ 80 h 86"/>
                <a:gd name="T88" fmla="*/ 45 w 85"/>
                <a:gd name="T89" fmla="*/ 86 h 86"/>
                <a:gd name="T90" fmla="*/ 53 w 85"/>
                <a:gd name="T91" fmla="*/ 78 h 86"/>
                <a:gd name="T92" fmla="*/ 63 w 85"/>
                <a:gd name="T93" fmla="*/ 75 h 86"/>
                <a:gd name="T94" fmla="*/ 75 w 85"/>
                <a:gd name="T95" fmla="*/ 72 h 86"/>
                <a:gd name="T96" fmla="*/ 75 w 85"/>
                <a:gd name="T97" fmla="*/ 63 h 86"/>
                <a:gd name="T98" fmla="*/ 74 w 85"/>
                <a:gd name="T99" fmla="*/ 60 h 86"/>
                <a:gd name="T100" fmla="*/ 79 w 85"/>
                <a:gd name="T101" fmla="*/ 52 h 86"/>
                <a:gd name="T102" fmla="*/ 85 w 85"/>
                <a:gd name="T103" fmla="*/ 41 h 86"/>
                <a:gd name="T104" fmla="*/ 77 w 85"/>
                <a:gd name="T105" fmla="*/ 33 h 86"/>
                <a:gd name="T106" fmla="*/ 75 w 85"/>
                <a:gd name="T107" fmla="*/ 2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" h="86">
                  <a:moveTo>
                    <a:pt x="79" y="38"/>
                  </a:moveTo>
                  <a:cubicBezTo>
                    <a:pt x="81" y="38"/>
                    <a:pt x="82" y="39"/>
                    <a:pt x="82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7"/>
                    <a:pt x="81" y="48"/>
                    <a:pt x="79" y="48"/>
                  </a:cubicBezTo>
                  <a:cubicBezTo>
                    <a:pt x="77" y="48"/>
                    <a:pt x="74" y="50"/>
                    <a:pt x="74" y="52"/>
                  </a:cubicBezTo>
                  <a:cubicBezTo>
                    <a:pt x="73" y="55"/>
                    <a:pt x="72" y="57"/>
                    <a:pt x="71" y="59"/>
                  </a:cubicBezTo>
                  <a:cubicBezTo>
                    <a:pt x="70" y="61"/>
                    <a:pt x="70" y="64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3" y="66"/>
                    <a:pt x="73" y="67"/>
                    <a:pt x="73" y="67"/>
                  </a:cubicBezTo>
                  <a:cubicBezTo>
                    <a:pt x="73" y="68"/>
                    <a:pt x="73" y="69"/>
                    <a:pt x="72" y="69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4"/>
                    <a:pt x="66" y="74"/>
                    <a:pt x="65" y="73"/>
                  </a:cubicBezTo>
                  <a:cubicBezTo>
                    <a:pt x="63" y="71"/>
                    <a:pt x="60" y="70"/>
                    <a:pt x="58" y="72"/>
                  </a:cubicBezTo>
                  <a:cubicBezTo>
                    <a:pt x="56" y="73"/>
                    <a:pt x="54" y="74"/>
                    <a:pt x="52" y="74"/>
                  </a:cubicBezTo>
                  <a:cubicBezTo>
                    <a:pt x="49" y="75"/>
                    <a:pt x="47" y="77"/>
                    <a:pt x="47" y="80"/>
                  </a:cubicBezTo>
                  <a:cubicBezTo>
                    <a:pt x="47" y="81"/>
                    <a:pt x="46" y="82"/>
                    <a:pt x="45" y="82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39" y="82"/>
                    <a:pt x="37" y="81"/>
                    <a:pt x="37" y="80"/>
                  </a:cubicBezTo>
                  <a:cubicBezTo>
                    <a:pt x="37" y="77"/>
                    <a:pt x="36" y="75"/>
                    <a:pt x="33" y="74"/>
                  </a:cubicBezTo>
                  <a:cubicBezTo>
                    <a:pt x="31" y="74"/>
                    <a:pt x="29" y="73"/>
                    <a:pt x="27" y="72"/>
                  </a:cubicBezTo>
                  <a:cubicBezTo>
                    <a:pt x="26" y="71"/>
                    <a:pt x="25" y="71"/>
                    <a:pt x="24" y="71"/>
                  </a:cubicBezTo>
                  <a:cubicBezTo>
                    <a:pt x="23" y="71"/>
                    <a:pt x="21" y="72"/>
                    <a:pt x="20" y="73"/>
                  </a:cubicBezTo>
                  <a:cubicBezTo>
                    <a:pt x="19" y="74"/>
                    <a:pt x="17" y="74"/>
                    <a:pt x="17" y="73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2" y="69"/>
                    <a:pt x="12" y="68"/>
                    <a:pt x="12" y="67"/>
                  </a:cubicBezTo>
                  <a:cubicBezTo>
                    <a:pt x="12" y="67"/>
                    <a:pt x="12" y="66"/>
                    <a:pt x="13" y="66"/>
                  </a:cubicBezTo>
                  <a:cubicBezTo>
                    <a:pt x="15" y="64"/>
                    <a:pt x="15" y="61"/>
                    <a:pt x="14" y="59"/>
                  </a:cubicBezTo>
                  <a:cubicBezTo>
                    <a:pt x="13" y="57"/>
                    <a:pt x="12" y="55"/>
                    <a:pt x="11" y="52"/>
                  </a:cubicBezTo>
                  <a:cubicBezTo>
                    <a:pt x="11" y="50"/>
                    <a:pt x="8" y="48"/>
                    <a:pt x="6" y="48"/>
                  </a:cubicBezTo>
                  <a:cubicBezTo>
                    <a:pt x="4" y="48"/>
                    <a:pt x="3" y="47"/>
                    <a:pt x="3" y="46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9"/>
                    <a:pt x="4" y="38"/>
                    <a:pt x="6" y="38"/>
                  </a:cubicBezTo>
                  <a:cubicBezTo>
                    <a:pt x="8" y="38"/>
                    <a:pt x="11" y="36"/>
                    <a:pt x="11" y="34"/>
                  </a:cubicBezTo>
                  <a:cubicBezTo>
                    <a:pt x="12" y="32"/>
                    <a:pt x="13" y="30"/>
                    <a:pt x="14" y="28"/>
                  </a:cubicBezTo>
                  <a:cubicBezTo>
                    <a:pt x="15" y="25"/>
                    <a:pt x="15" y="22"/>
                    <a:pt x="13" y="21"/>
                  </a:cubicBezTo>
                  <a:cubicBezTo>
                    <a:pt x="12" y="20"/>
                    <a:pt x="12" y="18"/>
                    <a:pt x="13" y="1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9" y="13"/>
                    <a:pt x="20" y="14"/>
                  </a:cubicBezTo>
                  <a:cubicBezTo>
                    <a:pt x="22" y="15"/>
                    <a:pt x="25" y="16"/>
                    <a:pt x="27" y="15"/>
                  </a:cubicBezTo>
                  <a:cubicBezTo>
                    <a:pt x="29" y="13"/>
                    <a:pt x="31" y="13"/>
                    <a:pt x="33" y="12"/>
                  </a:cubicBezTo>
                  <a:cubicBezTo>
                    <a:pt x="36" y="11"/>
                    <a:pt x="37" y="9"/>
                    <a:pt x="37" y="6"/>
                  </a:cubicBezTo>
                  <a:cubicBezTo>
                    <a:pt x="37" y="5"/>
                    <a:pt x="39" y="4"/>
                    <a:pt x="40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7" y="5"/>
                    <a:pt x="47" y="6"/>
                  </a:cubicBezTo>
                  <a:cubicBezTo>
                    <a:pt x="47" y="9"/>
                    <a:pt x="49" y="11"/>
                    <a:pt x="52" y="12"/>
                  </a:cubicBezTo>
                  <a:cubicBezTo>
                    <a:pt x="54" y="13"/>
                    <a:pt x="56" y="13"/>
                    <a:pt x="58" y="15"/>
                  </a:cubicBezTo>
                  <a:cubicBezTo>
                    <a:pt x="60" y="16"/>
                    <a:pt x="63" y="15"/>
                    <a:pt x="65" y="14"/>
                  </a:cubicBezTo>
                  <a:cubicBezTo>
                    <a:pt x="66" y="13"/>
                    <a:pt x="67" y="13"/>
                    <a:pt x="68" y="14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3" y="18"/>
                    <a:pt x="73" y="20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0" y="23"/>
                    <a:pt x="70" y="25"/>
                    <a:pt x="71" y="28"/>
                  </a:cubicBezTo>
                  <a:cubicBezTo>
                    <a:pt x="72" y="30"/>
                    <a:pt x="73" y="32"/>
                    <a:pt x="74" y="34"/>
                  </a:cubicBezTo>
                  <a:cubicBezTo>
                    <a:pt x="74" y="36"/>
                    <a:pt x="77" y="38"/>
                    <a:pt x="79" y="38"/>
                  </a:cubicBezTo>
                  <a:moveTo>
                    <a:pt x="75" y="23"/>
                  </a:moveTo>
                  <a:cubicBezTo>
                    <a:pt x="77" y="21"/>
                    <a:pt x="77" y="17"/>
                    <a:pt x="75" y="15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9"/>
                    <a:pt x="65" y="9"/>
                    <a:pt x="63" y="11"/>
                  </a:cubicBezTo>
                  <a:cubicBezTo>
                    <a:pt x="62" y="12"/>
                    <a:pt x="61" y="12"/>
                    <a:pt x="60" y="12"/>
                  </a:cubicBezTo>
                  <a:cubicBezTo>
                    <a:pt x="57" y="10"/>
                    <a:pt x="55" y="9"/>
                    <a:pt x="53" y="9"/>
                  </a:cubicBezTo>
                  <a:cubicBezTo>
                    <a:pt x="52" y="8"/>
                    <a:pt x="51" y="7"/>
                    <a:pt x="51" y="6"/>
                  </a:cubicBezTo>
                  <a:cubicBezTo>
                    <a:pt x="51" y="3"/>
                    <a:pt x="48" y="0"/>
                    <a:pt x="4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4" y="3"/>
                    <a:pt x="34" y="6"/>
                  </a:cubicBezTo>
                  <a:cubicBezTo>
                    <a:pt x="34" y="7"/>
                    <a:pt x="33" y="8"/>
                    <a:pt x="32" y="9"/>
                  </a:cubicBezTo>
                  <a:cubicBezTo>
                    <a:pt x="30" y="9"/>
                    <a:pt x="28" y="10"/>
                    <a:pt x="25" y="12"/>
                  </a:cubicBezTo>
                  <a:cubicBezTo>
                    <a:pt x="24" y="12"/>
                    <a:pt x="23" y="12"/>
                    <a:pt x="22" y="11"/>
                  </a:cubicBezTo>
                  <a:cubicBezTo>
                    <a:pt x="21" y="10"/>
                    <a:pt x="20" y="9"/>
                    <a:pt x="18" y="9"/>
                  </a:cubicBezTo>
                  <a:cubicBezTo>
                    <a:pt x="17" y="9"/>
                    <a:pt x="15" y="10"/>
                    <a:pt x="14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8" y="17"/>
                    <a:pt x="8" y="21"/>
                    <a:pt x="10" y="23"/>
                  </a:cubicBezTo>
                  <a:cubicBezTo>
                    <a:pt x="11" y="24"/>
                    <a:pt x="11" y="25"/>
                    <a:pt x="11" y="26"/>
                  </a:cubicBezTo>
                  <a:cubicBezTo>
                    <a:pt x="10" y="28"/>
                    <a:pt x="9" y="31"/>
                    <a:pt x="8" y="33"/>
                  </a:cubicBezTo>
                  <a:cubicBezTo>
                    <a:pt x="8" y="34"/>
                    <a:pt x="7" y="35"/>
                    <a:pt x="6" y="35"/>
                  </a:cubicBezTo>
                  <a:cubicBezTo>
                    <a:pt x="2" y="35"/>
                    <a:pt x="0" y="37"/>
                    <a:pt x="0" y="4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9"/>
                    <a:pt x="2" y="52"/>
                    <a:pt x="6" y="52"/>
                  </a:cubicBezTo>
                  <a:cubicBezTo>
                    <a:pt x="7" y="52"/>
                    <a:pt x="8" y="52"/>
                    <a:pt x="8" y="53"/>
                  </a:cubicBezTo>
                  <a:cubicBezTo>
                    <a:pt x="9" y="56"/>
                    <a:pt x="10" y="58"/>
                    <a:pt x="11" y="60"/>
                  </a:cubicBezTo>
                  <a:cubicBezTo>
                    <a:pt x="11" y="61"/>
                    <a:pt x="11" y="62"/>
                    <a:pt x="10" y="63"/>
                  </a:cubicBezTo>
                  <a:cubicBezTo>
                    <a:pt x="9" y="64"/>
                    <a:pt x="9" y="66"/>
                    <a:pt x="9" y="67"/>
                  </a:cubicBezTo>
                  <a:cubicBezTo>
                    <a:pt x="9" y="69"/>
                    <a:pt x="9" y="70"/>
                    <a:pt x="10" y="72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5" y="76"/>
                    <a:pt x="17" y="77"/>
                    <a:pt x="18" y="77"/>
                  </a:cubicBezTo>
                  <a:cubicBezTo>
                    <a:pt x="20" y="77"/>
                    <a:pt x="21" y="76"/>
                    <a:pt x="22" y="75"/>
                  </a:cubicBezTo>
                  <a:cubicBezTo>
                    <a:pt x="23" y="74"/>
                    <a:pt x="24" y="74"/>
                    <a:pt x="25" y="75"/>
                  </a:cubicBezTo>
                  <a:cubicBezTo>
                    <a:pt x="28" y="76"/>
                    <a:pt x="30" y="77"/>
                    <a:pt x="32" y="78"/>
                  </a:cubicBezTo>
                  <a:cubicBezTo>
                    <a:pt x="33" y="78"/>
                    <a:pt x="34" y="79"/>
                    <a:pt x="34" y="80"/>
                  </a:cubicBezTo>
                  <a:cubicBezTo>
                    <a:pt x="34" y="83"/>
                    <a:pt x="37" y="86"/>
                    <a:pt x="40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8" y="86"/>
                    <a:pt x="51" y="83"/>
                    <a:pt x="51" y="80"/>
                  </a:cubicBezTo>
                  <a:cubicBezTo>
                    <a:pt x="51" y="79"/>
                    <a:pt x="52" y="78"/>
                    <a:pt x="53" y="78"/>
                  </a:cubicBezTo>
                  <a:cubicBezTo>
                    <a:pt x="55" y="77"/>
                    <a:pt x="57" y="76"/>
                    <a:pt x="60" y="75"/>
                  </a:cubicBezTo>
                  <a:cubicBezTo>
                    <a:pt x="61" y="74"/>
                    <a:pt x="62" y="74"/>
                    <a:pt x="63" y="75"/>
                  </a:cubicBezTo>
                  <a:cubicBezTo>
                    <a:pt x="65" y="77"/>
                    <a:pt x="69" y="77"/>
                    <a:pt x="71" y="75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6" y="70"/>
                    <a:pt x="76" y="69"/>
                    <a:pt x="76" y="67"/>
                  </a:cubicBezTo>
                  <a:cubicBezTo>
                    <a:pt x="76" y="66"/>
                    <a:pt x="76" y="64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4" y="62"/>
                    <a:pt x="74" y="61"/>
                    <a:pt x="74" y="60"/>
                  </a:cubicBezTo>
                  <a:cubicBezTo>
                    <a:pt x="75" y="58"/>
                    <a:pt x="76" y="56"/>
                    <a:pt x="77" y="53"/>
                  </a:cubicBezTo>
                  <a:cubicBezTo>
                    <a:pt x="77" y="52"/>
                    <a:pt x="78" y="52"/>
                    <a:pt x="79" y="52"/>
                  </a:cubicBezTo>
                  <a:cubicBezTo>
                    <a:pt x="83" y="52"/>
                    <a:pt x="85" y="49"/>
                    <a:pt x="85" y="46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37"/>
                    <a:pt x="83" y="35"/>
                    <a:pt x="79" y="35"/>
                  </a:cubicBezTo>
                  <a:cubicBezTo>
                    <a:pt x="78" y="35"/>
                    <a:pt x="77" y="34"/>
                    <a:pt x="77" y="33"/>
                  </a:cubicBezTo>
                  <a:cubicBezTo>
                    <a:pt x="76" y="31"/>
                    <a:pt x="75" y="28"/>
                    <a:pt x="74" y="26"/>
                  </a:cubicBezTo>
                  <a:cubicBezTo>
                    <a:pt x="74" y="25"/>
                    <a:pt x="74" y="24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0" name="Group 190">
            <a:extLst>
              <a:ext uri="{FF2B5EF4-FFF2-40B4-BE49-F238E27FC236}">
                <a16:creationId xmlns:a16="http://schemas.microsoft.com/office/drawing/2014/main" id="{CFBF4DBE-9C87-4645-A33C-D8622C1B89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3350" y="5513388"/>
            <a:ext cx="758825" cy="758825"/>
            <a:chOff x="884" y="3473"/>
            <a:chExt cx="478" cy="478"/>
          </a:xfrm>
        </p:grpSpPr>
        <p:sp>
          <p:nvSpPr>
            <p:cNvPr id="251" name="AutoShape 189">
              <a:extLst>
                <a:ext uri="{FF2B5EF4-FFF2-40B4-BE49-F238E27FC236}">
                  <a16:creationId xmlns:a16="http://schemas.microsoft.com/office/drawing/2014/main" id="{A89683B5-2708-4D43-ADD8-20A2CAC23B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4" y="347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91">
              <a:extLst>
                <a:ext uri="{FF2B5EF4-FFF2-40B4-BE49-F238E27FC236}">
                  <a16:creationId xmlns:a16="http://schemas.microsoft.com/office/drawing/2014/main" id="{1595F94F-03B3-4500-97B1-06094696D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" y="347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92">
              <a:extLst>
                <a:ext uri="{FF2B5EF4-FFF2-40B4-BE49-F238E27FC236}">
                  <a16:creationId xmlns:a16="http://schemas.microsoft.com/office/drawing/2014/main" id="{F6976B2B-8B63-42AF-904A-AF11FF772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3559"/>
              <a:ext cx="137" cy="216"/>
            </a:xfrm>
            <a:custGeom>
              <a:avLst/>
              <a:gdLst>
                <a:gd name="T0" fmla="*/ 7 w 56"/>
                <a:gd name="T1" fmla="*/ 88 h 88"/>
                <a:gd name="T2" fmla="*/ 8 w 56"/>
                <a:gd name="T3" fmla="*/ 88 h 88"/>
                <a:gd name="T4" fmla="*/ 9 w 56"/>
                <a:gd name="T5" fmla="*/ 86 h 88"/>
                <a:gd name="T6" fmla="*/ 10 w 56"/>
                <a:gd name="T7" fmla="*/ 43 h 88"/>
                <a:gd name="T8" fmla="*/ 28 w 56"/>
                <a:gd name="T9" fmla="*/ 22 h 88"/>
                <a:gd name="T10" fmla="*/ 37 w 56"/>
                <a:gd name="T11" fmla="*/ 17 h 88"/>
                <a:gd name="T12" fmla="*/ 51 w 56"/>
                <a:gd name="T13" fmla="*/ 6 h 88"/>
                <a:gd name="T14" fmla="*/ 52 w 56"/>
                <a:gd name="T15" fmla="*/ 12 h 88"/>
                <a:gd name="T16" fmla="*/ 54 w 56"/>
                <a:gd name="T17" fmla="*/ 13 h 88"/>
                <a:gd name="T18" fmla="*/ 54 w 56"/>
                <a:gd name="T19" fmla="*/ 13 h 88"/>
                <a:gd name="T20" fmla="*/ 56 w 56"/>
                <a:gd name="T21" fmla="*/ 11 h 88"/>
                <a:gd name="T22" fmla="*/ 53 w 56"/>
                <a:gd name="T23" fmla="*/ 2 h 88"/>
                <a:gd name="T24" fmla="*/ 53 w 56"/>
                <a:gd name="T25" fmla="*/ 1 h 88"/>
                <a:gd name="T26" fmla="*/ 51 w 56"/>
                <a:gd name="T27" fmla="*/ 0 h 88"/>
                <a:gd name="T28" fmla="*/ 42 w 56"/>
                <a:gd name="T29" fmla="*/ 3 h 88"/>
                <a:gd name="T30" fmla="*/ 41 w 56"/>
                <a:gd name="T31" fmla="*/ 5 h 88"/>
                <a:gd name="T32" fmla="*/ 43 w 56"/>
                <a:gd name="T33" fmla="*/ 6 h 88"/>
                <a:gd name="T34" fmla="*/ 48 w 56"/>
                <a:gd name="T35" fmla="*/ 5 h 88"/>
                <a:gd name="T36" fmla="*/ 36 w 56"/>
                <a:gd name="T37" fmla="*/ 14 h 88"/>
                <a:gd name="T38" fmla="*/ 26 w 56"/>
                <a:gd name="T39" fmla="*/ 19 h 88"/>
                <a:gd name="T40" fmla="*/ 7 w 56"/>
                <a:gd name="T41" fmla="*/ 42 h 88"/>
                <a:gd name="T42" fmla="*/ 5 w 56"/>
                <a:gd name="T43" fmla="*/ 87 h 88"/>
                <a:gd name="T44" fmla="*/ 7 w 56"/>
                <a:gd name="T4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88">
                  <a:moveTo>
                    <a:pt x="7" y="88"/>
                  </a:moveTo>
                  <a:cubicBezTo>
                    <a:pt x="7" y="88"/>
                    <a:pt x="7" y="88"/>
                    <a:pt x="8" y="88"/>
                  </a:cubicBezTo>
                  <a:cubicBezTo>
                    <a:pt x="9" y="88"/>
                    <a:pt x="9" y="87"/>
                    <a:pt x="9" y="86"/>
                  </a:cubicBezTo>
                  <a:cubicBezTo>
                    <a:pt x="3" y="72"/>
                    <a:pt x="4" y="56"/>
                    <a:pt x="10" y="43"/>
                  </a:cubicBezTo>
                  <a:cubicBezTo>
                    <a:pt x="14" y="34"/>
                    <a:pt x="20" y="27"/>
                    <a:pt x="28" y="22"/>
                  </a:cubicBezTo>
                  <a:cubicBezTo>
                    <a:pt x="31" y="20"/>
                    <a:pt x="34" y="19"/>
                    <a:pt x="37" y="17"/>
                  </a:cubicBezTo>
                  <a:cubicBezTo>
                    <a:pt x="43" y="15"/>
                    <a:pt x="48" y="12"/>
                    <a:pt x="51" y="6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3"/>
                    <a:pt x="53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5" y="13"/>
                    <a:pt x="56" y="12"/>
                    <a:pt x="56" y="11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2" y="0"/>
                    <a:pt x="52" y="0"/>
                    <a:pt x="5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3"/>
                    <a:pt x="41" y="4"/>
                    <a:pt x="41" y="5"/>
                  </a:cubicBezTo>
                  <a:cubicBezTo>
                    <a:pt x="41" y="6"/>
                    <a:pt x="42" y="6"/>
                    <a:pt x="43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6" y="10"/>
                    <a:pt x="42" y="11"/>
                    <a:pt x="36" y="14"/>
                  </a:cubicBezTo>
                  <a:cubicBezTo>
                    <a:pt x="33" y="15"/>
                    <a:pt x="29" y="17"/>
                    <a:pt x="26" y="19"/>
                  </a:cubicBezTo>
                  <a:cubicBezTo>
                    <a:pt x="18" y="24"/>
                    <a:pt x="11" y="32"/>
                    <a:pt x="7" y="42"/>
                  </a:cubicBezTo>
                  <a:cubicBezTo>
                    <a:pt x="0" y="56"/>
                    <a:pt x="0" y="73"/>
                    <a:pt x="5" y="87"/>
                  </a:cubicBezTo>
                  <a:cubicBezTo>
                    <a:pt x="6" y="88"/>
                    <a:pt x="6" y="88"/>
                    <a:pt x="7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93">
              <a:extLst>
                <a:ext uri="{FF2B5EF4-FFF2-40B4-BE49-F238E27FC236}">
                  <a16:creationId xmlns:a16="http://schemas.microsoft.com/office/drawing/2014/main" id="{3F6BEAAD-6EEE-4E17-8DA0-E0A602FFC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" y="3792"/>
              <a:ext cx="243" cy="68"/>
            </a:xfrm>
            <a:custGeom>
              <a:avLst/>
              <a:gdLst>
                <a:gd name="T0" fmla="*/ 98 w 99"/>
                <a:gd name="T1" fmla="*/ 4 h 28"/>
                <a:gd name="T2" fmla="*/ 96 w 99"/>
                <a:gd name="T3" fmla="*/ 4 h 28"/>
                <a:gd name="T4" fmla="*/ 58 w 99"/>
                <a:gd name="T5" fmla="*/ 25 h 28"/>
                <a:gd name="T6" fmla="*/ 31 w 99"/>
                <a:gd name="T7" fmla="*/ 20 h 28"/>
                <a:gd name="T8" fmla="*/ 22 w 99"/>
                <a:gd name="T9" fmla="*/ 14 h 28"/>
                <a:gd name="T10" fmla="*/ 6 w 99"/>
                <a:gd name="T11" fmla="*/ 7 h 28"/>
                <a:gd name="T12" fmla="*/ 10 w 99"/>
                <a:gd name="T13" fmla="*/ 4 h 28"/>
                <a:gd name="T14" fmla="*/ 10 w 99"/>
                <a:gd name="T15" fmla="*/ 1 h 28"/>
                <a:gd name="T16" fmla="*/ 7 w 99"/>
                <a:gd name="T17" fmla="*/ 1 h 28"/>
                <a:gd name="T18" fmla="*/ 0 w 99"/>
                <a:gd name="T19" fmla="*/ 8 h 28"/>
                <a:gd name="T20" fmla="*/ 0 w 99"/>
                <a:gd name="T21" fmla="*/ 9 h 28"/>
                <a:gd name="T22" fmla="*/ 0 w 99"/>
                <a:gd name="T23" fmla="*/ 10 h 28"/>
                <a:gd name="T24" fmla="*/ 7 w 99"/>
                <a:gd name="T25" fmla="*/ 17 h 28"/>
                <a:gd name="T26" fmla="*/ 8 w 99"/>
                <a:gd name="T27" fmla="*/ 18 h 28"/>
                <a:gd name="T28" fmla="*/ 9 w 99"/>
                <a:gd name="T29" fmla="*/ 17 h 28"/>
                <a:gd name="T30" fmla="*/ 9 w 99"/>
                <a:gd name="T31" fmla="*/ 15 h 28"/>
                <a:gd name="T32" fmla="*/ 6 w 99"/>
                <a:gd name="T33" fmla="*/ 11 h 28"/>
                <a:gd name="T34" fmla="*/ 20 w 99"/>
                <a:gd name="T35" fmla="*/ 17 h 28"/>
                <a:gd name="T36" fmla="*/ 30 w 99"/>
                <a:gd name="T37" fmla="*/ 23 h 28"/>
                <a:gd name="T38" fmla="*/ 53 w 99"/>
                <a:gd name="T39" fmla="*/ 28 h 28"/>
                <a:gd name="T40" fmla="*/ 58 w 99"/>
                <a:gd name="T41" fmla="*/ 28 h 28"/>
                <a:gd name="T42" fmla="*/ 99 w 99"/>
                <a:gd name="T43" fmla="*/ 6 h 28"/>
                <a:gd name="T44" fmla="*/ 98 w 99"/>
                <a:gd name="T45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28">
                  <a:moveTo>
                    <a:pt x="98" y="4"/>
                  </a:moveTo>
                  <a:cubicBezTo>
                    <a:pt x="97" y="3"/>
                    <a:pt x="96" y="4"/>
                    <a:pt x="96" y="4"/>
                  </a:cubicBezTo>
                  <a:cubicBezTo>
                    <a:pt x="87" y="16"/>
                    <a:pt x="73" y="23"/>
                    <a:pt x="58" y="25"/>
                  </a:cubicBezTo>
                  <a:cubicBezTo>
                    <a:pt x="48" y="25"/>
                    <a:pt x="39" y="24"/>
                    <a:pt x="31" y="20"/>
                  </a:cubicBezTo>
                  <a:cubicBezTo>
                    <a:pt x="27" y="18"/>
                    <a:pt x="24" y="16"/>
                    <a:pt x="22" y="14"/>
                  </a:cubicBezTo>
                  <a:cubicBezTo>
                    <a:pt x="17" y="10"/>
                    <a:pt x="12" y="7"/>
                    <a:pt x="6" y="7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9" y="1"/>
                    <a:pt x="8" y="0"/>
                    <a:pt x="7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8" y="18"/>
                    <a:pt x="8" y="18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0" y="15"/>
                    <a:pt x="9" y="15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1" y="10"/>
                    <a:pt x="15" y="13"/>
                    <a:pt x="20" y="17"/>
                  </a:cubicBezTo>
                  <a:cubicBezTo>
                    <a:pt x="23" y="19"/>
                    <a:pt x="26" y="21"/>
                    <a:pt x="30" y="23"/>
                  </a:cubicBezTo>
                  <a:cubicBezTo>
                    <a:pt x="37" y="26"/>
                    <a:pt x="45" y="28"/>
                    <a:pt x="53" y="28"/>
                  </a:cubicBezTo>
                  <a:cubicBezTo>
                    <a:pt x="55" y="28"/>
                    <a:pt x="57" y="28"/>
                    <a:pt x="58" y="28"/>
                  </a:cubicBezTo>
                  <a:cubicBezTo>
                    <a:pt x="74" y="27"/>
                    <a:pt x="89" y="19"/>
                    <a:pt x="99" y="6"/>
                  </a:cubicBezTo>
                  <a:cubicBezTo>
                    <a:pt x="99" y="6"/>
                    <a:pt x="99" y="5"/>
                    <a:pt x="98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194">
              <a:extLst>
                <a:ext uri="{FF2B5EF4-FFF2-40B4-BE49-F238E27FC236}">
                  <a16:creationId xmlns:a16="http://schemas.microsoft.com/office/drawing/2014/main" id="{2E52D314-3DA7-4D6E-A9E6-DA6AECA23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3583"/>
              <a:ext cx="140" cy="209"/>
            </a:xfrm>
            <a:custGeom>
              <a:avLst/>
              <a:gdLst>
                <a:gd name="T0" fmla="*/ 56 w 57"/>
                <a:gd name="T1" fmla="*/ 72 h 85"/>
                <a:gd name="T2" fmla="*/ 54 w 57"/>
                <a:gd name="T3" fmla="*/ 73 h 85"/>
                <a:gd name="T4" fmla="*/ 52 w 57"/>
                <a:gd name="T5" fmla="*/ 78 h 85"/>
                <a:gd name="T6" fmla="*/ 50 w 57"/>
                <a:gd name="T7" fmla="*/ 63 h 85"/>
                <a:gd name="T8" fmla="*/ 51 w 57"/>
                <a:gd name="T9" fmla="*/ 52 h 85"/>
                <a:gd name="T10" fmla="*/ 41 w 57"/>
                <a:gd name="T11" fmla="*/ 24 h 85"/>
                <a:gd name="T12" fmla="*/ 2 w 57"/>
                <a:gd name="T13" fmla="*/ 0 h 85"/>
                <a:gd name="T14" fmla="*/ 0 w 57"/>
                <a:gd name="T15" fmla="*/ 2 h 85"/>
                <a:gd name="T16" fmla="*/ 2 w 57"/>
                <a:gd name="T17" fmla="*/ 4 h 85"/>
                <a:gd name="T18" fmla="*/ 38 w 57"/>
                <a:gd name="T19" fmla="*/ 26 h 85"/>
                <a:gd name="T20" fmla="*/ 47 w 57"/>
                <a:gd name="T21" fmla="*/ 52 h 85"/>
                <a:gd name="T22" fmla="*/ 47 w 57"/>
                <a:gd name="T23" fmla="*/ 63 h 85"/>
                <a:gd name="T24" fmla="*/ 49 w 57"/>
                <a:gd name="T25" fmla="*/ 80 h 85"/>
                <a:gd name="T26" fmla="*/ 44 w 57"/>
                <a:gd name="T27" fmla="*/ 79 h 85"/>
                <a:gd name="T28" fmla="*/ 42 w 57"/>
                <a:gd name="T29" fmla="*/ 80 h 85"/>
                <a:gd name="T30" fmla="*/ 43 w 57"/>
                <a:gd name="T31" fmla="*/ 82 h 85"/>
                <a:gd name="T32" fmla="*/ 52 w 57"/>
                <a:gd name="T33" fmla="*/ 85 h 85"/>
                <a:gd name="T34" fmla="*/ 53 w 57"/>
                <a:gd name="T35" fmla="*/ 85 h 85"/>
                <a:gd name="T36" fmla="*/ 54 w 57"/>
                <a:gd name="T37" fmla="*/ 83 h 85"/>
                <a:gd name="T38" fmla="*/ 57 w 57"/>
                <a:gd name="T39" fmla="*/ 74 h 85"/>
                <a:gd name="T40" fmla="*/ 56 w 57"/>
                <a:gd name="T4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85">
                  <a:moveTo>
                    <a:pt x="56" y="72"/>
                  </a:moveTo>
                  <a:cubicBezTo>
                    <a:pt x="55" y="72"/>
                    <a:pt x="54" y="72"/>
                    <a:pt x="54" y="73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49" y="74"/>
                    <a:pt x="50" y="70"/>
                    <a:pt x="50" y="63"/>
                  </a:cubicBezTo>
                  <a:cubicBezTo>
                    <a:pt x="51" y="60"/>
                    <a:pt x="51" y="56"/>
                    <a:pt x="51" y="52"/>
                  </a:cubicBezTo>
                  <a:cubicBezTo>
                    <a:pt x="50" y="42"/>
                    <a:pt x="47" y="33"/>
                    <a:pt x="41" y="24"/>
                  </a:cubicBezTo>
                  <a:cubicBezTo>
                    <a:pt x="32" y="11"/>
                    <a:pt x="18" y="2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6" y="6"/>
                    <a:pt x="30" y="14"/>
                    <a:pt x="38" y="26"/>
                  </a:cubicBezTo>
                  <a:cubicBezTo>
                    <a:pt x="44" y="34"/>
                    <a:pt x="47" y="43"/>
                    <a:pt x="47" y="52"/>
                  </a:cubicBezTo>
                  <a:cubicBezTo>
                    <a:pt x="48" y="56"/>
                    <a:pt x="47" y="60"/>
                    <a:pt x="47" y="63"/>
                  </a:cubicBezTo>
                  <a:cubicBezTo>
                    <a:pt x="46" y="69"/>
                    <a:pt x="46" y="75"/>
                    <a:pt x="49" y="80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3" y="78"/>
                    <a:pt x="42" y="79"/>
                    <a:pt x="42" y="80"/>
                  </a:cubicBezTo>
                  <a:cubicBezTo>
                    <a:pt x="42" y="81"/>
                    <a:pt x="42" y="82"/>
                    <a:pt x="43" y="82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3" y="85"/>
                    <a:pt x="53" y="85"/>
                  </a:cubicBezTo>
                  <a:cubicBezTo>
                    <a:pt x="53" y="85"/>
                    <a:pt x="54" y="84"/>
                    <a:pt x="54" y="83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3"/>
                    <a:pt x="57" y="73"/>
                    <a:pt x="56" y="7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95">
              <a:extLst>
                <a:ext uri="{FF2B5EF4-FFF2-40B4-BE49-F238E27FC236}">
                  <a16:creationId xmlns:a16="http://schemas.microsoft.com/office/drawing/2014/main" id="{940F4E04-5852-44FD-B48B-E57175152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3" y="3667"/>
              <a:ext cx="115" cy="115"/>
            </a:xfrm>
            <a:custGeom>
              <a:avLst/>
              <a:gdLst>
                <a:gd name="T0" fmla="*/ 23 w 47"/>
                <a:gd name="T1" fmla="*/ 43 h 47"/>
                <a:gd name="T2" fmla="*/ 3 w 47"/>
                <a:gd name="T3" fmla="*/ 23 h 47"/>
                <a:gd name="T4" fmla="*/ 23 w 47"/>
                <a:gd name="T5" fmla="*/ 3 h 47"/>
                <a:gd name="T6" fmla="*/ 44 w 47"/>
                <a:gd name="T7" fmla="*/ 23 h 47"/>
                <a:gd name="T8" fmla="*/ 23 w 47"/>
                <a:gd name="T9" fmla="*/ 43 h 47"/>
                <a:gd name="T10" fmla="*/ 23 w 47"/>
                <a:gd name="T11" fmla="*/ 0 h 47"/>
                <a:gd name="T12" fmla="*/ 0 w 47"/>
                <a:gd name="T13" fmla="*/ 23 h 47"/>
                <a:gd name="T14" fmla="*/ 23 w 47"/>
                <a:gd name="T15" fmla="*/ 47 h 47"/>
                <a:gd name="T16" fmla="*/ 47 w 47"/>
                <a:gd name="T17" fmla="*/ 23 h 47"/>
                <a:gd name="T18" fmla="*/ 23 w 47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7">
                  <a:moveTo>
                    <a:pt x="23" y="43"/>
                  </a:moveTo>
                  <a:cubicBezTo>
                    <a:pt x="12" y="43"/>
                    <a:pt x="3" y="34"/>
                    <a:pt x="3" y="23"/>
                  </a:cubicBezTo>
                  <a:cubicBezTo>
                    <a:pt x="3" y="12"/>
                    <a:pt x="12" y="3"/>
                    <a:pt x="23" y="3"/>
                  </a:cubicBezTo>
                  <a:cubicBezTo>
                    <a:pt x="35" y="3"/>
                    <a:pt x="44" y="12"/>
                    <a:pt x="44" y="23"/>
                  </a:cubicBezTo>
                  <a:cubicBezTo>
                    <a:pt x="44" y="34"/>
                    <a:pt x="35" y="43"/>
                    <a:pt x="23" y="43"/>
                  </a:cubicBezTo>
                  <a:moveTo>
                    <a:pt x="23" y="0"/>
                  </a:moveTo>
                  <a:cubicBezTo>
                    <a:pt x="10" y="0"/>
                    <a:pt x="0" y="10"/>
                    <a:pt x="0" y="23"/>
                  </a:cubicBezTo>
                  <a:cubicBezTo>
                    <a:pt x="0" y="36"/>
                    <a:pt x="10" y="47"/>
                    <a:pt x="23" y="47"/>
                  </a:cubicBezTo>
                  <a:cubicBezTo>
                    <a:pt x="36" y="47"/>
                    <a:pt x="47" y="36"/>
                    <a:pt x="47" y="23"/>
                  </a:cubicBezTo>
                  <a:cubicBezTo>
                    <a:pt x="47" y="10"/>
                    <a:pt x="36" y="0"/>
                    <a:pt x="2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96">
              <a:extLst>
                <a:ext uri="{FF2B5EF4-FFF2-40B4-BE49-F238E27FC236}">
                  <a16:creationId xmlns:a16="http://schemas.microsoft.com/office/drawing/2014/main" id="{B818AE06-AED8-4FF0-8778-F397270C7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" y="3618"/>
              <a:ext cx="209" cy="210"/>
            </a:xfrm>
            <a:custGeom>
              <a:avLst/>
              <a:gdLst>
                <a:gd name="T0" fmla="*/ 82 w 85"/>
                <a:gd name="T1" fmla="*/ 41 h 86"/>
                <a:gd name="T2" fmla="*/ 79 w 85"/>
                <a:gd name="T3" fmla="*/ 48 h 86"/>
                <a:gd name="T4" fmla="*/ 71 w 85"/>
                <a:gd name="T5" fmla="*/ 59 h 86"/>
                <a:gd name="T6" fmla="*/ 72 w 85"/>
                <a:gd name="T7" fmla="*/ 66 h 86"/>
                <a:gd name="T8" fmla="*/ 72 w 85"/>
                <a:gd name="T9" fmla="*/ 69 h 86"/>
                <a:gd name="T10" fmla="*/ 65 w 85"/>
                <a:gd name="T11" fmla="*/ 73 h 86"/>
                <a:gd name="T12" fmla="*/ 52 w 85"/>
                <a:gd name="T13" fmla="*/ 74 h 86"/>
                <a:gd name="T14" fmla="*/ 45 w 85"/>
                <a:gd name="T15" fmla="*/ 82 h 86"/>
                <a:gd name="T16" fmla="*/ 37 w 85"/>
                <a:gd name="T17" fmla="*/ 80 h 86"/>
                <a:gd name="T18" fmla="*/ 27 w 85"/>
                <a:gd name="T19" fmla="*/ 72 h 86"/>
                <a:gd name="T20" fmla="*/ 20 w 85"/>
                <a:gd name="T21" fmla="*/ 73 h 86"/>
                <a:gd name="T22" fmla="*/ 13 w 85"/>
                <a:gd name="T23" fmla="*/ 69 h 86"/>
                <a:gd name="T24" fmla="*/ 13 w 85"/>
                <a:gd name="T25" fmla="*/ 66 h 86"/>
                <a:gd name="T26" fmla="*/ 11 w 85"/>
                <a:gd name="T27" fmla="*/ 52 h 86"/>
                <a:gd name="T28" fmla="*/ 3 w 85"/>
                <a:gd name="T29" fmla="*/ 46 h 86"/>
                <a:gd name="T30" fmla="*/ 6 w 85"/>
                <a:gd name="T31" fmla="*/ 38 h 86"/>
                <a:gd name="T32" fmla="*/ 14 w 85"/>
                <a:gd name="T33" fmla="*/ 28 h 86"/>
                <a:gd name="T34" fmla="*/ 13 w 85"/>
                <a:gd name="T35" fmla="*/ 17 h 86"/>
                <a:gd name="T36" fmla="*/ 20 w 85"/>
                <a:gd name="T37" fmla="*/ 14 h 86"/>
                <a:gd name="T38" fmla="*/ 33 w 85"/>
                <a:gd name="T39" fmla="*/ 12 h 86"/>
                <a:gd name="T40" fmla="*/ 40 w 85"/>
                <a:gd name="T41" fmla="*/ 4 h 86"/>
                <a:gd name="T42" fmla="*/ 47 w 85"/>
                <a:gd name="T43" fmla="*/ 6 h 86"/>
                <a:gd name="T44" fmla="*/ 58 w 85"/>
                <a:gd name="T45" fmla="*/ 15 h 86"/>
                <a:gd name="T46" fmla="*/ 68 w 85"/>
                <a:gd name="T47" fmla="*/ 14 h 86"/>
                <a:gd name="T48" fmla="*/ 72 w 85"/>
                <a:gd name="T49" fmla="*/ 21 h 86"/>
                <a:gd name="T50" fmla="*/ 71 w 85"/>
                <a:gd name="T51" fmla="*/ 28 h 86"/>
                <a:gd name="T52" fmla="*/ 79 w 85"/>
                <a:gd name="T53" fmla="*/ 38 h 86"/>
                <a:gd name="T54" fmla="*/ 75 w 85"/>
                <a:gd name="T55" fmla="*/ 15 h 86"/>
                <a:gd name="T56" fmla="*/ 63 w 85"/>
                <a:gd name="T57" fmla="*/ 11 h 86"/>
                <a:gd name="T58" fmla="*/ 53 w 85"/>
                <a:gd name="T59" fmla="*/ 9 h 86"/>
                <a:gd name="T60" fmla="*/ 45 w 85"/>
                <a:gd name="T61" fmla="*/ 0 h 86"/>
                <a:gd name="T62" fmla="*/ 34 w 85"/>
                <a:gd name="T63" fmla="*/ 6 h 86"/>
                <a:gd name="T64" fmla="*/ 25 w 85"/>
                <a:gd name="T65" fmla="*/ 12 h 86"/>
                <a:gd name="T66" fmla="*/ 18 w 85"/>
                <a:gd name="T67" fmla="*/ 9 h 86"/>
                <a:gd name="T68" fmla="*/ 10 w 85"/>
                <a:gd name="T69" fmla="*/ 15 h 86"/>
                <a:gd name="T70" fmla="*/ 11 w 85"/>
                <a:gd name="T71" fmla="*/ 26 h 86"/>
                <a:gd name="T72" fmla="*/ 6 w 85"/>
                <a:gd name="T73" fmla="*/ 35 h 86"/>
                <a:gd name="T74" fmla="*/ 0 w 85"/>
                <a:gd name="T75" fmla="*/ 46 h 86"/>
                <a:gd name="T76" fmla="*/ 8 w 85"/>
                <a:gd name="T77" fmla="*/ 53 h 86"/>
                <a:gd name="T78" fmla="*/ 10 w 85"/>
                <a:gd name="T79" fmla="*/ 63 h 86"/>
                <a:gd name="T80" fmla="*/ 10 w 85"/>
                <a:gd name="T81" fmla="*/ 72 h 86"/>
                <a:gd name="T82" fmla="*/ 18 w 85"/>
                <a:gd name="T83" fmla="*/ 77 h 86"/>
                <a:gd name="T84" fmla="*/ 25 w 85"/>
                <a:gd name="T85" fmla="*/ 75 h 86"/>
                <a:gd name="T86" fmla="*/ 34 w 85"/>
                <a:gd name="T87" fmla="*/ 80 h 86"/>
                <a:gd name="T88" fmla="*/ 45 w 85"/>
                <a:gd name="T89" fmla="*/ 86 h 86"/>
                <a:gd name="T90" fmla="*/ 53 w 85"/>
                <a:gd name="T91" fmla="*/ 78 h 86"/>
                <a:gd name="T92" fmla="*/ 63 w 85"/>
                <a:gd name="T93" fmla="*/ 75 h 86"/>
                <a:gd name="T94" fmla="*/ 75 w 85"/>
                <a:gd name="T95" fmla="*/ 72 h 86"/>
                <a:gd name="T96" fmla="*/ 75 w 85"/>
                <a:gd name="T97" fmla="*/ 63 h 86"/>
                <a:gd name="T98" fmla="*/ 74 w 85"/>
                <a:gd name="T99" fmla="*/ 60 h 86"/>
                <a:gd name="T100" fmla="*/ 79 w 85"/>
                <a:gd name="T101" fmla="*/ 52 h 86"/>
                <a:gd name="T102" fmla="*/ 85 w 85"/>
                <a:gd name="T103" fmla="*/ 41 h 86"/>
                <a:gd name="T104" fmla="*/ 77 w 85"/>
                <a:gd name="T105" fmla="*/ 33 h 86"/>
                <a:gd name="T106" fmla="*/ 75 w 85"/>
                <a:gd name="T107" fmla="*/ 2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" h="86">
                  <a:moveTo>
                    <a:pt x="79" y="38"/>
                  </a:moveTo>
                  <a:cubicBezTo>
                    <a:pt x="81" y="38"/>
                    <a:pt x="82" y="39"/>
                    <a:pt x="82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7"/>
                    <a:pt x="81" y="48"/>
                    <a:pt x="79" y="48"/>
                  </a:cubicBezTo>
                  <a:cubicBezTo>
                    <a:pt x="77" y="48"/>
                    <a:pt x="74" y="50"/>
                    <a:pt x="74" y="52"/>
                  </a:cubicBezTo>
                  <a:cubicBezTo>
                    <a:pt x="73" y="55"/>
                    <a:pt x="72" y="57"/>
                    <a:pt x="71" y="59"/>
                  </a:cubicBezTo>
                  <a:cubicBezTo>
                    <a:pt x="70" y="61"/>
                    <a:pt x="70" y="64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3" y="66"/>
                    <a:pt x="73" y="67"/>
                    <a:pt x="73" y="67"/>
                  </a:cubicBezTo>
                  <a:cubicBezTo>
                    <a:pt x="73" y="68"/>
                    <a:pt x="73" y="69"/>
                    <a:pt x="72" y="69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4"/>
                    <a:pt x="66" y="74"/>
                    <a:pt x="65" y="73"/>
                  </a:cubicBezTo>
                  <a:cubicBezTo>
                    <a:pt x="63" y="71"/>
                    <a:pt x="60" y="70"/>
                    <a:pt x="58" y="72"/>
                  </a:cubicBezTo>
                  <a:cubicBezTo>
                    <a:pt x="56" y="73"/>
                    <a:pt x="54" y="74"/>
                    <a:pt x="52" y="74"/>
                  </a:cubicBezTo>
                  <a:cubicBezTo>
                    <a:pt x="49" y="75"/>
                    <a:pt x="47" y="77"/>
                    <a:pt x="47" y="80"/>
                  </a:cubicBezTo>
                  <a:cubicBezTo>
                    <a:pt x="47" y="81"/>
                    <a:pt x="46" y="82"/>
                    <a:pt x="45" y="82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39" y="82"/>
                    <a:pt x="37" y="81"/>
                    <a:pt x="37" y="80"/>
                  </a:cubicBezTo>
                  <a:cubicBezTo>
                    <a:pt x="37" y="77"/>
                    <a:pt x="36" y="75"/>
                    <a:pt x="33" y="74"/>
                  </a:cubicBezTo>
                  <a:cubicBezTo>
                    <a:pt x="31" y="74"/>
                    <a:pt x="29" y="73"/>
                    <a:pt x="27" y="72"/>
                  </a:cubicBezTo>
                  <a:cubicBezTo>
                    <a:pt x="26" y="71"/>
                    <a:pt x="25" y="71"/>
                    <a:pt x="24" y="71"/>
                  </a:cubicBezTo>
                  <a:cubicBezTo>
                    <a:pt x="23" y="71"/>
                    <a:pt x="21" y="72"/>
                    <a:pt x="20" y="73"/>
                  </a:cubicBezTo>
                  <a:cubicBezTo>
                    <a:pt x="19" y="74"/>
                    <a:pt x="17" y="74"/>
                    <a:pt x="17" y="73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2" y="69"/>
                    <a:pt x="12" y="68"/>
                    <a:pt x="12" y="67"/>
                  </a:cubicBezTo>
                  <a:cubicBezTo>
                    <a:pt x="12" y="67"/>
                    <a:pt x="12" y="66"/>
                    <a:pt x="13" y="66"/>
                  </a:cubicBezTo>
                  <a:cubicBezTo>
                    <a:pt x="15" y="64"/>
                    <a:pt x="15" y="61"/>
                    <a:pt x="14" y="59"/>
                  </a:cubicBezTo>
                  <a:cubicBezTo>
                    <a:pt x="13" y="57"/>
                    <a:pt x="12" y="55"/>
                    <a:pt x="11" y="52"/>
                  </a:cubicBezTo>
                  <a:cubicBezTo>
                    <a:pt x="11" y="50"/>
                    <a:pt x="8" y="48"/>
                    <a:pt x="6" y="48"/>
                  </a:cubicBezTo>
                  <a:cubicBezTo>
                    <a:pt x="4" y="48"/>
                    <a:pt x="3" y="47"/>
                    <a:pt x="3" y="46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9"/>
                    <a:pt x="4" y="38"/>
                    <a:pt x="6" y="38"/>
                  </a:cubicBezTo>
                  <a:cubicBezTo>
                    <a:pt x="8" y="38"/>
                    <a:pt x="11" y="36"/>
                    <a:pt x="11" y="34"/>
                  </a:cubicBezTo>
                  <a:cubicBezTo>
                    <a:pt x="12" y="32"/>
                    <a:pt x="13" y="30"/>
                    <a:pt x="14" y="28"/>
                  </a:cubicBezTo>
                  <a:cubicBezTo>
                    <a:pt x="15" y="25"/>
                    <a:pt x="15" y="22"/>
                    <a:pt x="13" y="21"/>
                  </a:cubicBezTo>
                  <a:cubicBezTo>
                    <a:pt x="12" y="20"/>
                    <a:pt x="12" y="18"/>
                    <a:pt x="13" y="17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9" y="13"/>
                    <a:pt x="20" y="14"/>
                  </a:cubicBezTo>
                  <a:cubicBezTo>
                    <a:pt x="22" y="15"/>
                    <a:pt x="25" y="16"/>
                    <a:pt x="27" y="15"/>
                  </a:cubicBezTo>
                  <a:cubicBezTo>
                    <a:pt x="29" y="13"/>
                    <a:pt x="31" y="13"/>
                    <a:pt x="33" y="12"/>
                  </a:cubicBezTo>
                  <a:cubicBezTo>
                    <a:pt x="36" y="11"/>
                    <a:pt x="37" y="9"/>
                    <a:pt x="37" y="6"/>
                  </a:cubicBezTo>
                  <a:cubicBezTo>
                    <a:pt x="37" y="5"/>
                    <a:pt x="39" y="4"/>
                    <a:pt x="40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7" y="5"/>
                    <a:pt x="47" y="6"/>
                  </a:cubicBezTo>
                  <a:cubicBezTo>
                    <a:pt x="47" y="9"/>
                    <a:pt x="49" y="11"/>
                    <a:pt x="52" y="12"/>
                  </a:cubicBezTo>
                  <a:cubicBezTo>
                    <a:pt x="54" y="13"/>
                    <a:pt x="56" y="13"/>
                    <a:pt x="58" y="15"/>
                  </a:cubicBezTo>
                  <a:cubicBezTo>
                    <a:pt x="60" y="16"/>
                    <a:pt x="63" y="15"/>
                    <a:pt x="65" y="14"/>
                  </a:cubicBezTo>
                  <a:cubicBezTo>
                    <a:pt x="66" y="13"/>
                    <a:pt x="67" y="13"/>
                    <a:pt x="68" y="14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3" y="18"/>
                    <a:pt x="73" y="20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0" y="23"/>
                    <a:pt x="70" y="25"/>
                    <a:pt x="71" y="28"/>
                  </a:cubicBezTo>
                  <a:cubicBezTo>
                    <a:pt x="72" y="30"/>
                    <a:pt x="73" y="32"/>
                    <a:pt x="74" y="34"/>
                  </a:cubicBezTo>
                  <a:cubicBezTo>
                    <a:pt x="74" y="36"/>
                    <a:pt x="77" y="38"/>
                    <a:pt x="79" y="38"/>
                  </a:cubicBezTo>
                  <a:moveTo>
                    <a:pt x="75" y="23"/>
                  </a:moveTo>
                  <a:cubicBezTo>
                    <a:pt x="77" y="21"/>
                    <a:pt x="77" y="17"/>
                    <a:pt x="75" y="15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9"/>
                    <a:pt x="65" y="9"/>
                    <a:pt x="63" y="11"/>
                  </a:cubicBezTo>
                  <a:cubicBezTo>
                    <a:pt x="62" y="12"/>
                    <a:pt x="61" y="12"/>
                    <a:pt x="60" y="12"/>
                  </a:cubicBezTo>
                  <a:cubicBezTo>
                    <a:pt x="57" y="10"/>
                    <a:pt x="55" y="9"/>
                    <a:pt x="53" y="9"/>
                  </a:cubicBezTo>
                  <a:cubicBezTo>
                    <a:pt x="52" y="8"/>
                    <a:pt x="51" y="7"/>
                    <a:pt x="51" y="6"/>
                  </a:cubicBezTo>
                  <a:cubicBezTo>
                    <a:pt x="51" y="3"/>
                    <a:pt x="48" y="0"/>
                    <a:pt x="4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4" y="3"/>
                    <a:pt x="34" y="6"/>
                  </a:cubicBezTo>
                  <a:cubicBezTo>
                    <a:pt x="34" y="7"/>
                    <a:pt x="33" y="8"/>
                    <a:pt x="32" y="9"/>
                  </a:cubicBezTo>
                  <a:cubicBezTo>
                    <a:pt x="30" y="9"/>
                    <a:pt x="28" y="10"/>
                    <a:pt x="25" y="12"/>
                  </a:cubicBezTo>
                  <a:cubicBezTo>
                    <a:pt x="24" y="12"/>
                    <a:pt x="23" y="12"/>
                    <a:pt x="22" y="11"/>
                  </a:cubicBezTo>
                  <a:cubicBezTo>
                    <a:pt x="21" y="10"/>
                    <a:pt x="20" y="9"/>
                    <a:pt x="18" y="9"/>
                  </a:cubicBezTo>
                  <a:cubicBezTo>
                    <a:pt x="17" y="9"/>
                    <a:pt x="15" y="10"/>
                    <a:pt x="14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8" y="17"/>
                    <a:pt x="8" y="21"/>
                    <a:pt x="10" y="23"/>
                  </a:cubicBezTo>
                  <a:cubicBezTo>
                    <a:pt x="11" y="24"/>
                    <a:pt x="11" y="25"/>
                    <a:pt x="11" y="26"/>
                  </a:cubicBezTo>
                  <a:cubicBezTo>
                    <a:pt x="10" y="28"/>
                    <a:pt x="9" y="31"/>
                    <a:pt x="8" y="33"/>
                  </a:cubicBezTo>
                  <a:cubicBezTo>
                    <a:pt x="8" y="34"/>
                    <a:pt x="7" y="35"/>
                    <a:pt x="6" y="35"/>
                  </a:cubicBezTo>
                  <a:cubicBezTo>
                    <a:pt x="2" y="35"/>
                    <a:pt x="0" y="37"/>
                    <a:pt x="0" y="4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9"/>
                    <a:pt x="2" y="52"/>
                    <a:pt x="6" y="52"/>
                  </a:cubicBezTo>
                  <a:cubicBezTo>
                    <a:pt x="7" y="52"/>
                    <a:pt x="8" y="52"/>
                    <a:pt x="8" y="53"/>
                  </a:cubicBezTo>
                  <a:cubicBezTo>
                    <a:pt x="9" y="56"/>
                    <a:pt x="10" y="58"/>
                    <a:pt x="11" y="60"/>
                  </a:cubicBezTo>
                  <a:cubicBezTo>
                    <a:pt x="11" y="61"/>
                    <a:pt x="11" y="62"/>
                    <a:pt x="10" y="63"/>
                  </a:cubicBezTo>
                  <a:cubicBezTo>
                    <a:pt x="9" y="64"/>
                    <a:pt x="9" y="66"/>
                    <a:pt x="9" y="67"/>
                  </a:cubicBezTo>
                  <a:cubicBezTo>
                    <a:pt x="9" y="69"/>
                    <a:pt x="9" y="70"/>
                    <a:pt x="10" y="72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5" y="76"/>
                    <a:pt x="17" y="77"/>
                    <a:pt x="18" y="77"/>
                  </a:cubicBezTo>
                  <a:cubicBezTo>
                    <a:pt x="20" y="77"/>
                    <a:pt x="21" y="76"/>
                    <a:pt x="22" y="75"/>
                  </a:cubicBezTo>
                  <a:cubicBezTo>
                    <a:pt x="23" y="74"/>
                    <a:pt x="24" y="74"/>
                    <a:pt x="25" y="75"/>
                  </a:cubicBezTo>
                  <a:cubicBezTo>
                    <a:pt x="28" y="76"/>
                    <a:pt x="30" y="77"/>
                    <a:pt x="32" y="78"/>
                  </a:cubicBezTo>
                  <a:cubicBezTo>
                    <a:pt x="33" y="78"/>
                    <a:pt x="34" y="79"/>
                    <a:pt x="34" y="80"/>
                  </a:cubicBezTo>
                  <a:cubicBezTo>
                    <a:pt x="34" y="83"/>
                    <a:pt x="37" y="86"/>
                    <a:pt x="40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8" y="86"/>
                    <a:pt x="51" y="83"/>
                    <a:pt x="51" y="80"/>
                  </a:cubicBezTo>
                  <a:cubicBezTo>
                    <a:pt x="51" y="79"/>
                    <a:pt x="52" y="78"/>
                    <a:pt x="53" y="78"/>
                  </a:cubicBezTo>
                  <a:cubicBezTo>
                    <a:pt x="55" y="77"/>
                    <a:pt x="57" y="76"/>
                    <a:pt x="60" y="75"/>
                  </a:cubicBezTo>
                  <a:cubicBezTo>
                    <a:pt x="61" y="74"/>
                    <a:pt x="62" y="74"/>
                    <a:pt x="63" y="75"/>
                  </a:cubicBezTo>
                  <a:cubicBezTo>
                    <a:pt x="65" y="77"/>
                    <a:pt x="69" y="77"/>
                    <a:pt x="71" y="75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6" y="70"/>
                    <a:pt x="76" y="69"/>
                    <a:pt x="76" y="67"/>
                  </a:cubicBezTo>
                  <a:cubicBezTo>
                    <a:pt x="76" y="66"/>
                    <a:pt x="76" y="64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4" y="62"/>
                    <a:pt x="74" y="61"/>
                    <a:pt x="74" y="60"/>
                  </a:cubicBezTo>
                  <a:cubicBezTo>
                    <a:pt x="75" y="58"/>
                    <a:pt x="76" y="56"/>
                    <a:pt x="77" y="53"/>
                  </a:cubicBezTo>
                  <a:cubicBezTo>
                    <a:pt x="77" y="52"/>
                    <a:pt x="78" y="52"/>
                    <a:pt x="79" y="52"/>
                  </a:cubicBezTo>
                  <a:cubicBezTo>
                    <a:pt x="83" y="52"/>
                    <a:pt x="85" y="49"/>
                    <a:pt x="85" y="46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37"/>
                    <a:pt x="83" y="35"/>
                    <a:pt x="79" y="35"/>
                  </a:cubicBezTo>
                  <a:cubicBezTo>
                    <a:pt x="78" y="35"/>
                    <a:pt x="77" y="34"/>
                    <a:pt x="77" y="33"/>
                  </a:cubicBezTo>
                  <a:cubicBezTo>
                    <a:pt x="76" y="31"/>
                    <a:pt x="75" y="28"/>
                    <a:pt x="74" y="26"/>
                  </a:cubicBezTo>
                  <a:cubicBezTo>
                    <a:pt x="74" y="25"/>
                    <a:pt x="74" y="24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199">
            <a:extLst>
              <a:ext uri="{FF2B5EF4-FFF2-40B4-BE49-F238E27FC236}">
                <a16:creationId xmlns:a16="http://schemas.microsoft.com/office/drawing/2014/main" id="{B6F7C3BB-13B4-4FCE-B4C6-C7E72E7983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200" y="5472113"/>
            <a:ext cx="841375" cy="841375"/>
            <a:chOff x="1648" y="3447"/>
            <a:chExt cx="530" cy="530"/>
          </a:xfrm>
        </p:grpSpPr>
        <p:sp>
          <p:nvSpPr>
            <p:cNvPr id="259" name="AutoShape 198">
              <a:extLst>
                <a:ext uri="{FF2B5EF4-FFF2-40B4-BE49-F238E27FC236}">
                  <a16:creationId xmlns:a16="http://schemas.microsoft.com/office/drawing/2014/main" id="{377E1228-E78F-4986-AE71-0C7D7A0F56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8" y="344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200">
              <a:extLst>
                <a:ext uri="{FF2B5EF4-FFF2-40B4-BE49-F238E27FC236}">
                  <a16:creationId xmlns:a16="http://schemas.microsoft.com/office/drawing/2014/main" id="{29DA883E-987A-4D5A-A2F5-D48603A0C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8" y="344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01">
              <a:extLst>
                <a:ext uri="{FF2B5EF4-FFF2-40B4-BE49-F238E27FC236}">
                  <a16:creationId xmlns:a16="http://schemas.microsoft.com/office/drawing/2014/main" id="{430872FA-9E63-426D-86B1-FA89419D15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6" y="346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02">
              <a:extLst>
                <a:ext uri="{FF2B5EF4-FFF2-40B4-BE49-F238E27FC236}">
                  <a16:creationId xmlns:a16="http://schemas.microsoft.com/office/drawing/2014/main" id="{23BF4101-7195-418A-9913-BB6A930B9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" y="3816"/>
              <a:ext cx="89" cy="15"/>
            </a:xfrm>
            <a:custGeom>
              <a:avLst/>
              <a:gdLst>
                <a:gd name="T0" fmla="*/ 32 w 35"/>
                <a:gd name="T1" fmla="*/ 0 h 6"/>
                <a:gd name="T2" fmla="*/ 2 w 35"/>
                <a:gd name="T3" fmla="*/ 0 h 6"/>
                <a:gd name="T4" fmla="*/ 0 w 35"/>
                <a:gd name="T5" fmla="*/ 1 h 6"/>
                <a:gd name="T6" fmla="*/ 1 w 35"/>
                <a:gd name="T7" fmla="*/ 3 h 6"/>
                <a:gd name="T8" fmla="*/ 18 w 35"/>
                <a:gd name="T9" fmla="*/ 6 h 6"/>
                <a:gd name="T10" fmla="*/ 34 w 35"/>
                <a:gd name="T11" fmla="*/ 4 h 6"/>
                <a:gd name="T12" fmla="*/ 35 w 35"/>
                <a:gd name="T13" fmla="*/ 1 h 6"/>
                <a:gd name="T14" fmla="*/ 32 w 35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6">
                  <a:moveTo>
                    <a:pt x="32" y="0"/>
                  </a:moveTo>
                  <a:cubicBezTo>
                    <a:pt x="23" y="4"/>
                    <a:pt x="12" y="4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5"/>
                    <a:pt x="12" y="6"/>
                    <a:pt x="18" y="6"/>
                  </a:cubicBezTo>
                  <a:cubicBezTo>
                    <a:pt x="23" y="6"/>
                    <a:pt x="28" y="5"/>
                    <a:pt x="34" y="4"/>
                  </a:cubicBezTo>
                  <a:cubicBezTo>
                    <a:pt x="34" y="3"/>
                    <a:pt x="35" y="2"/>
                    <a:pt x="35" y="1"/>
                  </a:cubicBezTo>
                  <a:cubicBezTo>
                    <a:pt x="34" y="1"/>
                    <a:pt x="33" y="0"/>
                    <a:pt x="3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03">
              <a:extLst>
                <a:ext uri="{FF2B5EF4-FFF2-40B4-BE49-F238E27FC236}">
                  <a16:creationId xmlns:a16="http://schemas.microsoft.com/office/drawing/2014/main" id="{CA83F80B-18B8-4AC4-85B1-E5146D91F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3572"/>
              <a:ext cx="279" cy="167"/>
            </a:xfrm>
            <a:custGeom>
              <a:avLst/>
              <a:gdLst>
                <a:gd name="T0" fmla="*/ 77 w 109"/>
                <a:gd name="T1" fmla="*/ 17 h 65"/>
                <a:gd name="T2" fmla="*/ 75 w 109"/>
                <a:gd name="T3" fmla="*/ 16 h 65"/>
                <a:gd name="T4" fmla="*/ 75 w 109"/>
                <a:gd name="T5" fmla="*/ 16 h 65"/>
                <a:gd name="T6" fmla="*/ 74 w 109"/>
                <a:gd name="T7" fmla="*/ 17 h 65"/>
                <a:gd name="T8" fmla="*/ 35 w 109"/>
                <a:gd name="T9" fmla="*/ 39 h 65"/>
                <a:gd name="T10" fmla="*/ 19 w 109"/>
                <a:gd name="T11" fmla="*/ 43 h 65"/>
                <a:gd name="T12" fmla="*/ 3 w 109"/>
                <a:gd name="T13" fmla="*/ 56 h 65"/>
                <a:gd name="T14" fmla="*/ 3 w 109"/>
                <a:gd name="T15" fmla="*/ 55 h 65"/>
                <a:gd name="T16" fmla="*/ 54 w 109"/>
                <a:gd name="T17" fmla="*/ 3 h 65"/>
                <a:gd name="T18" fmla="*/ 105 w 109"/>
                <a:gd name="T19" fmla="*/ 49 h 65"/>
                <a:gd name="T20" fmla="*/ 77 w 109"/>
                <a:gd name="T21" fmla="*/ 17 h 65"/>
                <a:gd name="T22" fmla="*/ 54 w 109"/>
                <a:gd name="T23" fmla="*/ 0 h 65"/>
                <a:gd name="T24" fmla="*/ 0 w 109"/>
                <a:gd name="T25" fmla="*/ 55 h 65"/>
                <a:gd name="T26" fmla="*/ 0 w 109"/>
                <a:gd name="T27" fmla="*/ 63 h 65"/>
                <a:gd name="T28" fmla="*/ 2 w 109"/>
                <a:gd name="T29" fmla="*/ 65 h 65"/>
                <a:gd name="T30" fmla="*/ 2 w 109"/>
                <a:gd name="T31" fmla="*/ 65 h 65"/>
                <a:gd name="T32" fmla="*/ 4 w 109"/>
                <a:gd name="T33" fmla="*/ 64 h 65"/>
                <a:gd name="T34" fmla="*/ 20 w 109"/>
                <a:gd name="T35" fmla="*/ 46 h 65"/>
                <a:gd name="T36" fmla="*/ 36 w 109"/>
                <a:gd name="T37" fmla="*/ 43 h 65"/>
                <a:gd name="T38" fmla="*/ 75 w 109"/>
                <a:gd name="T39" fmla="*/ 24 h 65"/>
                <a:gd name="T40" fmla="*/ 107 w 109"/>
                <a:gd name="T41" fmla="*/ 53 h 65"/>
                <a:gd name="T42" fmla="*/ 108 w 109"/>
                <a:gd name="T43" fmla="*/ 53 h 65"/>
                <a:gd name="T44" fmla="*/ 109 w 109"/>
                <a:gd name="T45" fmla="*/ 51 h 65"/>
                <a:gd name="T46" fmla="*/ 54 w 109"/>
                <a:gd name="T4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9" h="65">
                  <a:moveTo>
                    <a:pt x="77" y="17"/>
                  </a:moveTo>
                  <a:cubicBezTo>
                    <a:pt x="77" y="16"/>
                    <a:pt x="76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4" y="16"/>
                    <a:pt x="74" y="17"/>
                  </a:cubicBezTo>
                  <a:cubicBezTo>
                    <a:pt x="71" y="33"/>
                    <a:pt x="52" y="36"/>
                    <a:pt x="35" y="39"/>
                  </a:cubicBezTo>
                  <a:cubicBezTo>
                    <a:pt x="29" y="40"/>
                    <a:pt x="24" y="41"/>
                    <a:pt x="19" y="43"/>
                  </a:cubicBezTo>
                  <a:cubicBezTo>
                    <a:pt x="11" y="45"/>
                    <a:pt x="6" y="51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26"/>
                    <a:pt x="26" y="3"/>
                    <a:pt x="54" y="3"/>
                  </a:cubicBezTo>
                  <a:cubicBezTo>
                    <a:pt x="81" y="3"/>
                    <a:pt x="103" y="23"/>
                    <a:pt x="105" y="49"/>
                  </a:cubicBezTo>
                  <a:cubicBezTo>
                    <a:pt x="80" y="38"/>
                    <a:pt x="77" y="18"/>
                    <a:pt x="77" y="17"/>
                  </a:cubicBezTo>
                  <a:moveTo>
                    <a:pt x="54" y="0"/>
                  </a:moveTo>
                  <a:cubicBezTo>
                    <a:pt x="24" y="0"/>
                    <a:pt x="0" y="25"/>
                    <a:pt x="0" y="55"/>
                  </a:cubicBezTo>
                  <a:cubicBezTo>
                    <a:pt x="0" y="58"/>
                    <a:pt x="0" y="60"/>
                    <a:pt x="0" y="63"/>
                  </a:cubicBezTo>
                  <a:cubicBezTo>
                    <a:pt x="1" y="64"/>
                    <a:pt x="1" y="65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3" y="65"/>
                    <a:pt x="3" y="64"/>
                    <a:pt x="4" y="64"/>
                  </a:cubicBezTo>
                  <a:cubicBezTo>
                    <a:pt x="6" y="57"/>
                    <a:pt x="11" y="49"/>
                    <a:pt x="20" y="46"/>
                  </a:cubicBezTo>
                  <a:cubicBezTo>
                    <a:pt x="25" y="45"/>
                    <a:pt x="30" y="44"/>
                    <a:pt x="36" y="43"/>
                  </a:cubicBezTo>
                  <a:cubicBezTo>
                    <a:pt x="51" y="40"/>
                    <a:pt x="69" y="36"/>
                    <a:pt x="75" y="24"/>
                  </a:cubicBezTo>
                  <a:cubicBezTo>
                    <a:pt x="78" y="32"/>
                    <a:pt x="86" y="45"/>
                    <a:pt x="107" y="53"/>
                  </a:cubicBezTo>
                  <a:cubicBezTo>
                    <a:pt x="107" y="53"/>
                    <a:pt x="108" y="53"/>
                    <a:pt x="108" y="53"/>
                  </a:cubicBezTo>
                  <a:cubicBezTo>
                    <a:pt x="109" y="53"/>
                    <a:pt x="109" y="52"/>
                    <a:pt x="109" y="51"/>
                  </a:cubicBezTo>
                  <a:cubicBezTo>
                    <a:pt x="107" y="23"/>
                    <a:pt x="83" y="0"/>
                    <a:pt x="5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04">
              <a:extLst>
                <a:ext uri="{FF2B5EF4-FFF2-40B4-BE49-F238E27FC236}">
                  <a16:creationId xmlns:a16="http://schemas.microsoft.com/office/drawing/2014/main" id="{A050FD3C-33C3-4D41-8757-C5B25C228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0" y="3547"/>
              <a:ext cx="361" cy="333"/>
            </a:xfrm>
            <a:custGeom>
              <a:avLst/>
              <a:gdLst>
                <a:gd name="T0" fmla="*/ 134 w 141"/>
                <a:gd name="T1" fmla="*/ 53 h 130"/>
                <a:gd name="T2" fmla="*/ 138 w 141"/>
                <a:gd name="T3" fmla="*/ 63 h 130"/>
                <a:gd name="T4" fmla="*/ 134 w 141"/>
                <a:gd name="T5" fmla="*/ 74 h 130"/>
                <a:gd name="T6" fmla="*/ 134 w 141"/>
                <a:gd name="T7" fmla="*/ 53 h 130"/>
                <a:gd name="T8" fmla="*/ 74 w 141"/>
                <a:gd name="T9" fmla="*/ 123 h 130"/>
                <a:gd name="T10" fmla="*/ 76 w 141"/>
                <a:gd name="T11" fmla="*/ 124 h 130"/>
                <a:gd name="T12" fmla="*/ 74 w 141"/>
                <a:gd name="T13" fmla="*/ 126 h 130"/>
                <a:gd name="T14" fmla="*/ 72 w 141"/>
                <a:gd name="T15" fmla="*/ 124 h 130"/>
                <a:gd name="T16" fmla="*/ 74 w 141"/>
                <a:gd name="T17" fmla="*/ 123 h 130"/>
                <a:gd name="T18" fmla="*/ 7 w 141"/>
                <a:gd name="T19" fmla="*/ 74 h 130"/>
                <a:gd name="T20" fmla="*/ 3 w 141"/>
                <a:gd name="T21" fmla="*/ 63 h 130"/>
                <a:gd name="T22" fmla="*/ 7 w 141"/>
                <a:gd name="T23" fmla="*/ 53 h 130"/>
                <a:gd name="T24" fmla="*/ 7 w 141"/>
                <a:gd name="T25" fmla="*/ 74 h 130"/>
                <a:gd name="T26" fmla="*/ 133 w 141"/>
                <a:gd name="T27" fmla="*/ 47 h 130"/>
                <a:gd name="T28" fmla="*/ 131 w 141"/>
                <a:gd name="T29" fmla="*/ 47 h 130"/>
                <a:gd name="T30" fmla="*/ 70 w 141"/>
                <a:gd name="T31" fmla="*/ 0 h 130"/>
                <a:gd name="T32" fmla="*/ 10 w 141"/>
                <a:gd name="T33" fmla="*/ 47 h 130"/>
                <a:gd name="T34" fmla="*/ 8 w 141"/>
                <a:gd name="T35" fmla="*/ 47 h 130"/>
                <a:gd name="T36" fmla="*/ 0 w 141"/>
                <a:gd name="T37" fmla="*/ 63 h 130"/>
                <a:gd name="T38" fmla="*/ 8 w 141"/>
                <a:gd name="T39" fmla="*/ 80 h 130"/>
                <a:gd name="T40" fmla="*/ 9 w 141"/>
                <a:gd name="T41" fmla="*/ 81 h 130"/>
                <a:gd name="T42" fmla="*/ 10 w 141"/>
                <a:gd name="T43" fmla="*/ 80 h 130"/>
                <a:gd name="T44" fmla="*/ 69 w 141"/>
                <a:gd name="T45" fmla="*/ 127 h 130"/>
                <a:gd name="T46" fmla="*/ 74 w 141"/>
                <a:gd name="T47" fmla="*/ 130 h 130"/>
                <a:gd name="T48" fmla="*/ 79 w 141"/>
                <a:gd name="T49" fmla="*/ 124 h 130"/>
                <a:gd name="T50" fmla="*/ 74 w 141"/>
                <a:gd name="T51" fmla="*/ 119 h 130"/>
                <a:gd name="T52" fmla="*/ 69 w 141"/>
                <a:gd name="T53" fmla="*/ 123 h 130"/>
                <a:gd name="T54" fmla="*/ 11 w 141"/>
                <a:gd name="T55" fmla="*/ 63 h 130"/>
                <a:gd name="T56" fmla="*/ 70 w 141"/>
                <a:gd name="T57" fmla="*/ 4 h 130"/>
                <a:gd name="T58" fmla="*/ 130 w 141"/>
                <a:gd name="T59" fmla="*/ 63 h 130"/>
                <a:gd name="T60" fmla="*/ 130 w 141"/>
                <a:gd name="T61" fmla="*/ 79 h 130"/>
                <a:gd name="T62" fmla="*/ 131 w 141"/>
                <a:gd name="T63" fmla="*/ 80 h 130"/>
                <a:gd name="T64" fmla="*/ 132 w 141"/>
                <a:gd name="T65" fmla="*/ 81 h 130"/>
                <a:gd name="T66" fmla="*/ 133 w 141"/>
                <a:gd name="T67" fmla="*/ 80 h 130"/>
                <a:gd name="T68" fmla="*/ 141 w 141"/>
                <a:gd name="T69" fmla="*/ 63 h 130"/>
                <a:gd name="T70" fmla="*/ 133 w 141"/>
                <a:gd name="T71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1" h="130">
                  <a:moveTo>
                    <a:pt x="134" y="53"/>
                  </a:moveTo>
                  <a:cubicBezTo>
                    <a:pt x="136" y="56"/>
                    <a:pt x="138" y="60"/>
                    <a:pt x="138" y="63"/>
                  </a:cubicBezTo>
                  <a:cubicBezTo>
                    <a:pt x="138" y="67"/>
                    <a:pt x="136" y="71"/>
                    <a:pt x="134" y="74"/>
                  </a:cubicBezTo>
                  <a:lnTo>
                    <a:pt x="134" y="53"/>
                  </a:lnTo>
                  <a:close/>
                  <a:moveTo>
                    <a:pt x="74" y="123"/>
                  </a:moveTo>
                  <a:cubicBezTo>
                    <a:pt x="75" y="123"/>
                    <a:pt x="76" y="123"/>
                    <a:pt x="76" y="124"/>
                  </a:cubicBezTo>
                  <a:cubicBezTo>
                    <a:pt x="76" y="125"/>
                    <a:pt x="75" y="126"/>
                    <a:pt x="74" y="126"/>
                  </a:cubicBezTo>
                  <a:cubicBezTo>
                    <a:pt x="73" y="126"/>
                    <a:pt x="72" y="125"/>
                    <a:pt x="72" y="124"/>
                  </a:cubicBezTo>
                  <a:cubicBezTo>
                    <a:pt x="72" y="123"/>
                    <a:pt x="73" y="123"/>
                    <a:pt x="74" y="123"/>
                  </a:cubicBezTo>
                  <a:moveTo>
                    <a:pt x="7" y="74"/>
                  </a:moveTo>
                  <a:cubicBezTo>
                    <a:pt x="5" y="71"/>
                    <a:pt x="3" y="67"/>
                    <a:pt x="3" y="63"/>
                  </a:cubicBezTo>
                  <a:cubicBezTo>
                    <a:pt x="3" y="60"/>
                    <a:pt x="5" y="56"/>
                    <a:pt x="7" y="53"/>
                  </a:cubicBezTo>
                  <a:lnTo>
                    <a:pt x="7" y="74"/>
                  </a:lnTo>
                  <a:close/>
                  <a:moveTo>
                    <a:pt x="133" y="47"/>
                  </a:moveTo>
                  <a:cubicBezTo>
                    <a:pt x="133" y="46"/>
                    <a:pt x="132" y="46"/>
                    <a:pt x="131" y="47"/>
                  </a:cubicBezTo>
                  <a:cubicBezTo>
                    <a:pt x="124" y="20"/>
                    <a:pt x="99" y="0"/>
                    <a:pt x="70" y="0"/>
                  </a:cubicBezTo>
                  <a:cubicBezTo>
                    <a:pt x="41" y="0"/>
                    <a:pt x="17" y="20"/>
                    <a:pt x="10" y="47"/>
                  </a:cubicBezTo>
                  <a:cubicBezTo>
                    <a:pt x="9" y="46"/>
                    <a:pt x="8" y="46"/>
                    <a:pt x="8" y="47"/>
                  </a:cubicBezTo>
                  <a:cubicBezTo>
                    <a:pt x="7" y="47"/>
                    <a:pt x="0" y="55"/>
                    <a:pt x="0" y="63"/>
                  </a:cubicBezTo>
                  <a:cubicBezTo>
                    <a:pt x="0" y="72"/>
                    <a:pt x="7" y="80"/>
                    <a:pt x="8" y="80"/>
                  </a:cubicBezTo>
                  <a:cubicBezTo>
                    <a:pt x="8" y="80"/>
                    <a:pt x="9" y="81"/>
                    <a:pt x="9" y="81"/>
                  </a:cubicBezTo>
                  <a:cubicBezTo>
                    <a:pt x="9" y="81"/>
                    <a:pt x="9" y="81"/>
                    <a:pt x="10" y="80"/>
                  </a:cubicBezTo>
                  <a:cubicBezTo>
                    <a:pt x="17" y="107"/>
                    <a:pt x="41" y="126"/>
                    <a:pt x="69" y="127"/>
                  </a:cubicBezTo>
                  <a:cubicBezTo>
                    <a:pt x="70" y="128"/>
                    <a:pt x="72" y="130"/>
                    <a:pt x="74" y="130"/>
                  </a:cubicBezTo>
                  <a:cubicBezTo>
                    <a:pt x="77" y="130"/>
                    <a:pt x="79" y="127"/>
                    <a:pt x="79" y="124"/>
                  </a:cubicBezTo>
                  <a:cubicBezTo>
                    <a:pt x="79" y="122"/>
                    <a:pt x="77" y="119"/>
                    <a:pt x="74" y="119"/>
                  </a:cubicBezTo>
                  <a:cubicBezTo>
                    <a:pt x="72" y="119"/>
                    <a:pt x="69" y="121"/>
                    <a:pt x="69" y="123"/>
                  </a:cubicBezTo>
                  <a:cubicBezTo>
                    <a:pt x="37" y="122"/>
                    <a:pt x="11" y="96"/>
                    <a:pt x="11" y="63"/>
                  </a:cubicBezTo>
                  <a:cubicBezTo>
                    <a:pt x="11" y="31"/>
                    <a:pt x="37" y="4"/>
                    <a:pt x="70" y="4"/>
                  </a:cubicBezTo>
                  <a:cubicBezTo>
                    <a:pt x="103" y="4"/>
                    <a:pt x="130" y="31"/>
                    <a:pt x="130" y="63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80"/>
                    <a:pt x="131" y="80"/>
                    <a:pt x="131" y="80"/>
                  </a:cubicBezTo>
                  <a:cubicBezTo>
                    <a:pt x="131" y="81"/>
                    <a:pt x="132" y="81"/>
                    <a:pt x="132" y="81"/>
                  </a:cubicBezTo>
                  <a:cubicBezTo>
                    <a:pt x="132" y="81"/>
                    <a:pt x="133" y="80"/>
                    <a:pt x="133" y="80"/>
                  </a:cubicBezTo>
                  <a:cubicBezTo>
                    <a:pt x="133" y="80"/>
                    <a:pt x="141" y="72"/>
                    <a:pt x="141" y="63"/>
                  </a:cubicBezTo>
                  <a:cubicBezTo>
                    <a:pt x="141" y="55"/>
                    <a:pt x="133" y="47"/>
                    <a:pt x="133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05">
              <a:extLst>
                <a:ext uri="{FF2B5EF4-FFF2-40B4-BE49-F238E27FC236}">
                  <a16:creationId xmlns:a16="http://schemas.microsoft.com/office/drawing/2014/main" id="{969584B8-EAD2-4C0D-A629-54B0DA517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3" y="3713"/>
              <a:ext cx="48" cy="49"/>
            </a:xfrm>
            <a:custGeom>
              <a:avLst/>
              <a:gdLst>
                <a:gd name="T0" fmla="*/ 4 w 19"/>
                <a:gd name="T1" fmla="*/ 10 h 19"/>
                <a:gd name="T2" fmla="*/ 10 w 19"/>
                <a:gd name="T3" fmla="*/ 4 h 19"/>
                <a:gd name="T4" fmla="*/ 16 w 19"/>
                <a:gd name="T5" fmla="*/ 10 h 19"/>
                <a:gd name="T6" fmla="*/ 10 w 19"/>
                <a:gd name="T7" fmla="*/ 15 h 19"/>
                <a:gd name="T8" fmla="*/ 4 w 19"/>
                <a:gd name="T9" fmla="*/ 10 h 19"/>
                <a:gd name="T10" fmla="*/ 19 w 19"/>
                <a:gd name="T11" fmla="*/ 10 h 19"/>
                <a:gd name="T12" fmla="*/ 10 w 19"/>
                <a:gd name="T13" fmla="*/ 0 h 19"/>
                <a:gd name="T14" fmla="*/ 0 w 19"/>
                <a:gd name="T15" fmla="*/ 10 h 19"/>
                <a:gd name="T16" fmla="*/ 10 w 19"/>
                <a:gd name="T17" fmla="*/ 19 h 19"/>
                <a:gd name="T18" fmla="*/ 19 w 19"/>
                <a:gd name="T1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4" y="10"/>
                  </a:moveTo>
                  <a:cubicBezTo>
                    <a:pt x="4" y="6"/>
                    <a:pt x="6" y="4"/>
                    <a:pt x="10" y="4"/>
                  </a:cubicBezTo>
                  <a:cubicBezTo>
                    <a:pt x="13" y="4"/>
                    <a:pt x="16" y="6"/>
                    <a:pt x="16" y="10"/>
                  </a:cubicBezTo>
                  <a:cubicBezTo>
                    <a:pt x="16" y="13"/>
                    <a:pt x="13" y="15"/>
                    <a:pt x="10" y="15"/>
                  </a:cubicBezTo>
                  <a:cubicBezTo>
                    <a:pt x="6" y="15"/>
                    <a:pt x="4" y="13"/>
                    <a:pt x="4" y="10"/>
                  </a:cubicBezTo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10" y="19"/>
                  </a:cubicBezTo>
                  <a:cubicBezTo>
                    <a:pt x="15" y="19"/>
                    <a:pt x="19" y="15"/>
                    <a:pt x="19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06">
              <a:extLst>
                <a:ext uri="{FF2B5EF4-FFF2-40B4-BE49-F238E27FC236}">
                  <a16:creationId xmlns:a16="http://schemas.microsoft.com/office/drawing/2014/main" id="{B7AAEE3C-ECF0-46D8-9A94-E82A963EFE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3713"/>
              <a:ext cx="48" cy="49"/>
            </a:xfrm>
            <a:custGeom>
              <a:avLst/>
              <a:gdLst>
                <a:gd name="T0" fmla="*/ 9 w 19"/>
                <a:gd name="T1" fmla="*/ 15 h 19"/>
                <a:gd name="T2" fmla="*/ 3 w 19"/>
                <a:gd name="T3" fmla="*/ 10 h 19"/>
                <a:gd name="T4" fmla="*/ 9 w 19"/>
                <a:gd name="T5" fmla="*/ 4 h 19"/>
                <a:gd name="T6" fmla="*/ 15 w 19"/>
                <a:gd name="T7" fmla="*/ 10 h 19"/>
                <a:gd name="T8" fmla="*/ 9 w 19"/>
                <a:gd name="T9" fmla="*/ 15 h 19"/>
                <a:gd name="T10" fmla="*/ 9 w 19"/>
                <a:gd name="T11" fmla="*/ 0 h 19"/>
                <a:gd name="T12" fmla="*/ 0 w 19"/>
                <a:gd name="T13" fmla="*/ 10 h 19"/>
                <a:gd name="T14" fmla="*/ 9 w 19"/>
                <a:gd name="T15" fmla="*/ 19 h 19"/>
                <a:gd name="T16" fmla="*/ 19 w 19"/>
                <a:gd name="T17" fmla="*/ 10 h 19"/>
                <a:gd name="T18" fmla="*/ 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5"/>
                  </a:moveTo>
                  <a:cubicBezTo>
                    <a:pt x="6" y="15"/>
                    <a:pt x="3" y="13"/>
                    <a:pt x="3" y="10"/>
                  </a:cubicBezTo>
                  <a:cubicBezTo>
                    <a:pt x="3" y="6"/>
                    <a:pt x="6" y="4"/>
                    <a:pt x="9" y="4"/>
                  </a:cubicBezTo>
                  <a:cubicBezTo>
                    <a:pt x="13" y="4"/>
                    <a:pt x="15" y="6"/>
                    <a:pt x="15" y="10"/>
                  </a:cubicBezTo>
                  <a:cubicBezTo>
                    <a:pt x="15" y="13"/>
                    <a:pt x="13" y="15"/>
                    <a:pt x="9" y="15"/>
                  </a:cubicBezTo>
                  <a:moveTo>
                    <a:pt x="9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15" y="19"/>
                    <a:pt x="19" y="15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7" name="Group 209">
            <a:extLst>
              <a:ext uri="{FF2B5EF4-FFF2-40B4-BE49-F238E27FC236}">
                <a16:creationId xmlns:a16="http://schemas.microsoft.com/office/drawing/2014/main" id="{1DEBCD63-EFE0-4548-BCDF-4E939F3F6C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388" y="5513388"/>
            <a:ext cx="758825" cy="758825"/>
            <a:chOff x="2273" y="3473"/>
            <a:chExt cx="478" cy="478"/>
          </a:xfrm>
        </p:grpSpPr>
        <p:sp>
          <p:nvSpPr>
            <p:cNvPr id="268" name="AutoShape 208">
              <a:extLst>
                <a:ext uri="{FF2B5EF4-FFF2-40B4-BE49-F238E27FC236}">
                  <a16:creationId xmlns:a16="http://schemas.microsoft.com/office/drawing/2014/main" id="{8B98C09A-1413-4D2D-B15C-CCFDEBCF39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3" y="347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10">
              <a:extLst>
                <a:ext uri="{FF2B5EF4-FFF2-40B4-BE49-F238E27FC236}">
                  <a16:creationId xmlns:a16="http://schemas.microsoft.com/office/drawing/2014/main" id="{88EA9F4F-7794-4887-9234-434EC971C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47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11">
              <a:extLst>
                <a:ext uri="{FF2B5EF4-FFF2-40B4-BE49-F238E27FC236}">
                  <a16:creationId xmlns:a16="http://schemas.microsoft.com/office/drawing/2014/main" id="{70C2A382-6DD3-43FD-A7AB-C77A5007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6" y="3811"/>
              <a:ext cx="86" cy="15"/>
            </a:xfrm>
            <a:custGeom>
              <a:avLst/>
              <a:gdLst>
                <a:gd name="T0" fmla="*/ 32 w 35"/>
                <a:gd name="T1" fmla="*/ 0 h 6"/>
                <a:gd name="T2" fmla="*/ 2 w 35"/>
                <a:gd name="T3" fmla="*/ 0 h 6"/>
                <a:gd name="T4" fmla="*/ 0 w 35"/>
                <a:gd name="T5" fmla="*/ 1 h 6"/>
                <a:gd name="T6" fmla="*/ 1 w 35"/>
                <a:gd name="T7" fmla="*/ 3 h 6"/>
                <a:gd name="T8" fmla="*/ 18 w 35"/>
                <a:gd name="T9" fmla="*/ 6 h 6"/>
                <a:gd name="T10" fmla="*/ 34 w 35"/>
                <a:gd name="T11" fmla="*/ 4 h 6"/>
                <a:gd name="T12" fmla="*/ 35 w 35"/>
                <a:gd name="T13" fmla="*/ 1 h 6"/>
                <a:gd name="T14" fmla="*/ 32 w 35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6">
                  <a:moveTo>
                    <a:pt x="32" y="0"/>
                  </a:moveTo>
                  <a:cubicBezTo>
                    <a:pt x="23" y="4"/>
                    <a:pt x="12" y="4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5"/>
                    <a:pt x="12" y="6"/>
                    <a:pt x="18" y="6"/>
                  </a:cubicBezTo>
                  <a:cubicBezTo>
                    <a:pt x="23" y="6"/>
                    <a:pt x="28" y="5"/>
                    <a:pt x="34" y="4"/>
                  </a:cubicBezTo>
                  <a:cubicBezTo>
                    <a:pt x="34" y="3"/>
                    <a:pt x="35" y="2"/>
                    <a:pt x="35" y="1"/>
                  </a:cubicBezTo>
                  <a:cubicBezTo>
                    <a:pt x="34" y="1"/>
                    <a:pt x="33" y="0"/>
                    <a:pt x="3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12">
              <a:extLst>
                <a:ext uri="{FF2B5EF4-FFF2-40B4-BE49-F238E27FC236}">
                  <a16:creationId xmlns:a16="http://schemas.microsoft.com/office/drawing/2014/main" id="{2B05D7B5-B6B2-4B16-83F8-D6BB124231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6" y="3578"/>
              <a:ext cx="267" cy="160"/>
            </a:xfrm>
            <a:custGeom>
              <a:avLst/>
              <a:gdLst>
                <a:gd name="T0" fmla="*/ 77 w 109"/>
                <a:gd name="T1" fmla="*/ 17 h 65"/>
                <a:gd name="T2" fmla="*/ 75 w 109"/>
                <a:gd name="T3" fmla="*/ 16 h 65"/>
                <a:gd name="T4" fmla="*/ 75 w 109"/>
                <a:gd name="T5" fmla="*/ 16 h 65"/>
                <a:gd name="T6" fmla="*/ 74 w 109"/>
                <a:gd name="T7" fmla="*/ 17 h 65"/>
                <a:gd name="T8" fmla="*/ 35 w 109"/>
                <a:gd name="T9" fmla="*/ 39 h 65"/>
                <a:gd name="T10" fmla="*/ 19 w 109"/>
                <a:gd name="T11" fmla="*/ 43 h 65"/>
                <a:gd name="T12" fmla="*/ 3 w 109"/>
                <a:gd name="T13" fmla="*/ 56 h 65"/>
                <a:gd name="T14" fmla="*/ 3 w 109"/>
                <a:gd name="T15" fmla="*/ 55 h 65"/>
                <a:gd name="T16" fmla="*/ 54 w 109"/>
                <a:gd name="T17" fmla="*/ 3 h 65"/>
                <a:gd name="T18" fmla="*/ 105 w 109"/>
                <a:gd name="T19" fmla="*/ 49 h 65"/>
                <a:gd name="T20" fmla="*/ 77 w 109"/>
                <a:gd name="T21" fmla="*/ 17 h 65"/>
                <a:gd name="T22" fmla="*/ 54 w 109"/>
                <a:gd name="T23" fmla="*/ 0 h 65"/>
                <a:gd name="T24" fmla="*/ 0 w 109"/>
                <a:gd name="T25" fmla="*/ 55 h 65"/>
                <a:gd name="T26" fmla="*/ 0 w 109"/>
                <a:gd name="T27" fmla="*/ 63 h 65"/>
                <a:gd name="T28" fmla="*/ 2 w 109"/>
                <a:gd name="T29" fmla="*/ 65 h 65"/>
                <a:gd name="T30" fmla="*/ 2 w 109"/>
                <a:gd name="T31" fmla="*/ 65 h 65"/>
                <a:gd name="T32" fmla="*/ 4 w 109"/>
                <a:gd name="T33" fmla="*/ 64 h 65"/>
                <a:gd name="T34" fmla="*/ 20 w 109"/>
                <a:gd name="T35" fmla="*/ 46 h 65"/>
                <a:gd name="T36" fmla="*/ 36 w 109"/>
                <a:gd name="T37" fmla="*/ 43 h 65"/>
                <a:gd name="T38" fmla="*/ 75 w 109"/>
                <a:gd name="T39" fmla="*/ 24 h 65"/>
                <a:gd name="T40" fmla="*/ 107 w 109"/>
                <a:gd name="T41" fmla="*/ 53 h 65"/>
                <a:gd name="T42" fmla="*/ 108 w 109"/>
                <a:gd name="T43" fmla="*/ 53 h 65"/>
                <a:gd name="T44" fmla="*/ 109 w 109"/>
                <a:gd name="T45" fmla="*/ 51 h 65"/>
                <a:gd name="T46" fmla="*/ 54 w 109"/>
                <a:gd name="T4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9" h="65">
                  <a:moveTo>
                    <a:pt x="77" y="17"/>
                  </a:moveTo>
                  <a:cubicBezTo>
                    <a:pt x="77" y="16"/>
                    <a:pt x="76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4" y="16"/>
                    <a:pt x="74" y="17"/>
                  </a:cubicBezTo>
                  <a:cubicBezTo>
                    <a:pt x="71" y="33"/>
                    <a:pt x="52" y="36"/>
                    <a:pt x="35" y="39"/>
                  </a:cubicBezTo>
                  <a:cubicBezTo>
                    <a:pt x="29" y="40"/>
                    <a:pt x="24" y="41"/>
                    <a:pt x="19" y="43"/>
                  </a:cubicBezTo>
                  <a:cubicBezTo>
                    <a:pt x="11" y="45"/>
                    <a:pt x="6" y="51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26"/>
                    <a:pt x="26" y="3"/>
                    <a:pt x="54" y="3"/>
                  </a:cubicBezTo>
                  <a:cubicBezTo>
                    <a:pt x="81" y="3"/>
                    <a:pt x="103" y="23"/>
                    <a:pt x="105" y="49"/>
                  </a:cubicBezTo>
                  <a:cubicBezTo>
                    <a:pt x="80" y="38"/>
                    <a:pt x="77" y="18"/>
                    <a:pt x="77" y="17"/>
                  </a:cubicBezTo>
                  <a:moveTo>
                    <a:pt x="54" y="0"/>
                  </a:moveTo>
                  <a:cubicBezTo>
                    <a:pt x="24" y="0"/>
                    <a:pt x="0" y="25"/>
                    <a:pt x="0" y="55"/>
                  </a:cubicBezTo>
                  <a:cubicBezTo>
                    <a:pt x="0" y="58"/>
                    <a:pt x="0" y="60"/>
                    <a:pt x="0" y="63"/>
                  </a:cubicBezTo>
                  <a:cubicBezTo>
                    <a:pt x="1" y="64"/>
                    <a:pt x="1" y="65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3" y="65"/>
                    <a:pt x="3" y="64"/>
                    <a:pt x="4" y="64"/>
                  </a:cubicBezTo>
                  <a:cubicBezTo>
                    <a:pt x="6" y="57"/>
                    <a:pt x="11" y="49"/>
                    <a:pt x="20" y="46"/>
                  </a:cubicBezTo>
                  <a:cubicBezTo>
                    <a:pt x="25" y="45"/>
                    <a:pt x="30" y="44"/>
                    <a:pt x="36" y="43"/>
                  </a:cubicBezTo>
                  <a:cubicBezTo>
                    <a:pt x="51" y="40"/>
                    <a:pt x="69" y="36"/>
                    <a:pt x="75" y="24"/>
                  </a:cubicBezTo>
                  <a:cubicBezTo>
                    <a:pt x="78" y="32"/>
                    <a:pt x="86" y="45"/>
                    <a:pt x="107" y="53"/>
                  </a:cubicBezTo>
                  <a:cubicBezTo>
                    <a:pt x="107" y="53"/>
                    <a:pt x="108" y="53"/>
                    <a:pt x="108" y="53"/>
                  </a:cubicBezTo>
                  <a:cubicBezTo>
                    <a:pt x="109" y="53"/>
                    <a:pt x="109" y="52"/>
                    <a:pt x="109" y="51"/>
                  </a:cubicBezTo>
                  <a:cubicBezTo>
                    <a:pt x="107" y="23"/>
                    <a:pt x="83" y="0"/>
                    <a:pt x="5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13">
              <a:extLst>
                <a:ext uri="{FF2B5EF4-FFF2-40B4-BE49-F238E27FC236}">
                  <a16:creationId xmlns:a16="http://schemas.microsoft.com/office/drawing/2014/main" id="{C4C5E168-368F-42B0-B8A3-5B9740BEB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7" y="3554"/>
              <a:ext cx="345" cy="319"/>
            </a:xfrm>
            <a:custGeom>
              <a:avLst/>
              <a:gdLst>
                <a:gd name="T0" fmla="*/ 134 w 141"/>
                <a:gd name="T1" fmla="*/ 53 h 130"/>
                <a:gd name="T2" fmla="*/ 138 w 141"/>
                <a:gd name="T3" fmla="*/ 63 h 130"/>
                <a:gd name="T4" fmla="*/ 134 w 141"/>
                <a:gd name="T5" fmla="*/ 74 h 130"/>
                <a:gd name="T6" fmla="*/ 134 w 141"/>
                <a:gd name="T7" fmla="*/ 53 h 130"/>
                <a:gd name="T8" fmla="*/ 74 w 141"/>
                <a:gd name="T9" fmla="*/ 123 h 130"/>
                <a:gd name="T10" fmla="*/ 76 w 141"/>
                <a:gd name="T11" fmla="*/ 124 h 130"/>
                <a:gd name="T12" fmla="*/ 74 w 141"/>
                <a:gd name="T13" fmla="*/ 126 h 130"/>
                <a:gd name="T14" fmla="*/ 72 w 141"/>
                <a:gd name="T15" fmla="*/ 124 h 130"/>
                <a:gd name="T16" fmla="*/ 74 w 141"/>
                <a:gd name="T17" fmla="*/ 123 h 130"/>
                <a:gd name="T18" fmla="*/ 7 w 141"/>
                <a:gd name="T19" fmla="*/ 74 h 130"/>
                <a:gd name="T20" fmla="*/ 3 w 141"/>
                <a:gd name="T21" fmla="*/ 63 h 130"/>
                <a:gd name="T22" fmla="*/ 7 w 141"/>
                <a:gd name="T23" fmla="*/ 53 h 130"/>
                <a:gd name="T24" fmla="*/ 7 w 141"/>
                <a:gd name="T25" fmla="*/ 74 h 130"/>
                <a:gd name="T26" fmla="*/ 133 w 141"/>
                <a:gd name="T27" fmla="*/ 47 h 130"/>
                <a:gd name="T28" fmla="*/ 131 w 141"/>
                <a:gd name="T29" fmla="*/ 47 h 130"/>
                <a:gd name="T30" fmla="*/ 70 w 141"/>
                <a:gd name="T31" fmla="*/ 0 h 130"/>
                <a:gd name="T32" fmla="*/ 10 w 141"/>
                <a:gd name="T33" fmla="*/ 47 h 130"/>
                <a:gd name="T34" fmla="*/ 8 w 141"/>
                <a:gd name="T35" fmla="*/ 47 h 130"/>
                <a:gd name="T36" fmla="*/ 0 w 141"/>
                <a:gd name="T37" fmla="*/ 63 h 130"/>
                <a:gd name="T38" fmla="*/ 8 w 141"/>
                <a:gd name="T39" fmla="*/ 80 h 130"/>
                <a:gd name="T40" fmla="*/ 9 w 141"/>
                <a:gd name="T41" fmla="*/ 81 h 130"/>
                <a:gd name="T42" fmla="*/ 10 w 141"/>
                <a:gd name="T43" fmla="*/ 80 h 130"/>
                <a:gd name="T44" fmla="*/ 69 w 141"/>
                <a:gd name="T45" fmla="*/ 127 h 130"/>
                <a:gd name="T46" fmla="*/ 74 w 141"/>
                <a:gd name="T47" fmla="*/ 130 h 130"/>
                <a:gd name="T48" fmla="*/ 79 w 141"/>
                <a:gd name="T49" fmla="*/ 124 h 130"/>
                <a:gd name="T50" fmla="*/ 74 w 141"/>
                <a:gd name="T51" fmla="*/ 119 h 130"/>
                <a:gd name="T52" fmla="*/ 69 w 141"/>
                <a:gd name="T53" fmla="*/ 123 h 130"/>
                <a:gd name="T54" fmla="*/ 11 w 141"/>
                <a:gd name="T55" fmla="*/ 63 h 130"/>
                <a:gd name="T56" fmla="*/ 70 w 141"/>
                <a:gd name="T57" fmla="*/ 4 h 130"/>
                <a:gd name="T58" fmla="*/ 130 w 141"/>
                <a:gd name="T59" fmla="*/ 63 h 130"/>
                <a:gd name="T60" fmla="*/ 130 w 141"/>
                <a:gd name="T61" fmla="*/ 79 h 130"/>
                <a:gd name="T62" fmla="*/ 131 w 141"/>
                <a:gd name="T63" fmla="*/ 80 h 130"/>
                <a:gd name="T64" fmla="*/ 132 w 141"/>
                <a:gd name="T65" fmla="*/ 81 h 130"/>
                <a:gd name="T66" fmla="*/ 133 w 141"/>
                <a:gd name="T67" fmla="*/ 80 h 130"/>
                <a:gd name="T68" fmla="*/ 141 w 141"/>
                <a:gd name="T69" fmla="*/ 63 h 130"/>
                <a:gd name="T70" fmla="*/ 133 w 141"/>
                <a:gd name="T71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1" h="130">
                  <a:moveTo>
                    <a:pt x="134" y="53"/>
                  </a:moveTo>
                  <a:cubicBezTo>
                    <a:pt x="136" y="56"/>
                    <a:pt x="138" y="60"/>
                    <a:pt x="138" y="63"/>
                  </a:cubicBezTo>
                  <a:cubicBezTo>
                    <a:pt x="138" y="67"/>
                    <a:pt x="136" y="71"/>
                    <a:pt x="134" y="74"/>
                  </a:cubicBezTo>
                  <a:lnTo>
                    <a:pt x="134" y="53"/>
                  </a:lnTo>
                  <a:close/>
                  <a:moveTo>
                    <a:pt x="74" y="123"/>
                  </a:moveTo>
                  <a:cubicBezTo>
                    <a:pt x="75" y="123"/>
                    <a:pt x="76" y="123"/>
                    <a:pt x="76" y="124"/>
                  </a:cubicBezTo>
                  <a:cubicBezTo>
                    <a:pt x="76" y="125"/>
                    <a:pt x="75" y="126"/>
                    <a:pt x="74" y="126"/>
                  </a:cubicBezTo>
                  <a:cubicBezTo>
                    <a:pt x="73" y="126"/>
                    <a:pt x="72" y="125"/>
                    <a:pt x="72" y="124"/>
                  </a:cubicBezTo>
                  <a:cubicBezTo>
                    <a:pt x="72" y="123"/>
                    <a:pt x="73" y="123"/>
                    <a:pt x="74" y="123"/>
                  </a:cubicBezTo>
                  <a:moveTo>
                    <a:pt x="7" y="74"/>
                  </a:moveTo>
                  <a:cubicBezTo>
                    <a:pt x="5" y="71"/>
                    <a:pt x="3" y="67"/>
                    <a:pt x="3" y="63"/>
                  </a:cubicBezTo>
                  <a:cubicBezTo>
                    <a:pt x="3" y="60"/>
                    <a:pt x="5" y="56"/>
                    <a:pt x="7" y="53"/>
                  </a:cubicBezTo>
                  <a:lnTo>
                    <a:pt x="7" y="74"/>
                  </a:lnTo>
                  <a:close/>
                  <a:moveTo>
                    <a:pt x="133" y="47"/>
                  </a:moveTo>
                  <a:cubicBezTo>
                    <a:pt x="133" y="46"/>
                    <a:pt x="132" y="46"/>
                    <a:pt x="131" y="47"/>
                  </a:cubicBezTo>
                  <a:cubicBezTo>
                    <a:pt x="124" y="20"/>
                    <a:pt x="99" y="0"/>
                    <a:pt x="70" y="0"/>
                  </a:cubicBezTo>
                  <a:cubicBezTo>
                    <a:pt x="41" y="0"/>
                    <a:pt x="17" y="20"/>
                    <a:pt x="10" y="47"/>
                  </a:cubicBezTo>
                  <a:cubicBezTo>
                    <a:pt x="9" y="46"/>
                    <a:pt x="8" y="46"/>
                    <a:pt x="8" y="47"/>
                  </a:cubicBezTo>
                  <a:cubicBezTo>
                    <a:pt x="7" y="47"/>
                    <a:pt x="0" y="55"/>
                    <a:pt x="0" y="63"/>
                  </a:cubicBezTo>
                  <a:cubicBezTo>
                    <a:pt x="0" y="72"/>
                    <a:pt x="7" y="80"/>
                    <a:pt x="8" y="80"/>
                  </a:cubicBezTo>
                  <a:cubicBezTo>
                    <a:pt x="8" y="80"/>
                    <a:pt x="9" y="81"/>
                    <a:pt x="9" y="81"/>
                  </a:cubicBezTo>
                  <a:cubicBezTo>
                    <a:pt x="9" y="81"/>
                    <a:pt x="9" y="81"/>
                    <a:pt x="10" y="80"/>
                  </a:cubicBezTo>
                  <a:cubicBezTo>
                    <a:pt x="17" y="107"/>
                    <a:pt x="41" y="126"/>
                    <a:pt x="69" y="127"/>
                  </a:cubicBezTo>
                  <a:cubicBezTo>
                    <a:pt x="70" y="128"/>
                    <a:pt x="72" y="130"/>
                    <a:pt x="74" y="130"/>
                  </a:cubicBezTo>
                  <a:cubicBezTo>
                    <a:pt x="77" y="130"/>
                    <a:pt x="79" y="127"/>
                    <a:pt x="79" y="124"/>
                  </a:cubicBezTo>
                  <a:cubicBezTo>
                    <a:pt x="79" y="122"/>
                    <a:pt x="77" y="119"/>
                    <a:pt x="74" y="119"/>
                  </a:cubicBezTo>
                  <a:cubicBezTo>
                    <a:pt x="72" y="119"/>
                    <a:pt x="69" y="121"/>
                    <a:pt x="69" y="123"/>
                  </a:cubicBezTo>
                  <a:cubicBezTo>
                    <a:pt x="37" y="122"/>
                    <a:pt x="11" y="96"/>
                    <a:pt x="11" y="63"/>
                  </a:cubicBezTo>
                  <a:cubicBezTo>
                    <a:pt x="11" y="31"/>
                    <a:pt x="37" y="4"/>
                    <a:pt x="70" y="4"/>
                  </a:cubicBezTo>
                  <a:cubicBezTo>
                    <a:pt x="103" y="4"/>
                    <a:pt x="130" y="31"/>
                    <a:pt x="130" y="63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80"/>
                    <a:pt x="131" y="80"/>
                    <a:pt x="131" y="80"/>
                  </a:cubicBezTo>
                  <a:cubicBezTo>
                    <a:pt x="131" y="81"/>
                    <a:pt x="132" y="81"/>
                    <a:pt x="132" y="81"/>
                  </a:cubicBezTo>
                  <a:cubicBezTo>
                    <a:pt x="132" y="81"/>
                    <a:pt x="133" y="80"/>
                    <a:pt x="133" y="80"/>
                  </a:cubicBezTo>
                  <a:cubicBezTo>
                    <a:pt x="133" y="80"/>
                    <a:pt x="141" y="72"/>
                    <a:pt x="141" y="63"/>
                  </a:cubicBezTo>
                  <a:cubicBezTo>
                    <a:pt x="141" y="55"/>
                    <a:pt x="133" y="47"/>
                    <a:pt x="133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14">
              <a:extLst>
                <a:ext uri="{FF2B5EF4-FFF2-40B4-BE49-F238E27FC236}">
                  <a16:creationId xmlns:a16="http://schemas.microsoft.com/office/drawing/2014/main" id="{A2920F2D-C27A-4BA8-8623-0E78B9C8F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3713"/>
              <a:ext cx="47" cy="47"/>
            </a:xfrm>
            <a:custGeom>
              <a:avLst/>
              <a:gdLst>
                <a:gd name="T0" fmla="*/ 4 w 19"/>
                <a:gd name="T1" fmla="*/ 10 h 19"/>
                <a:gd name="T2" fmla="*/ 10 w 19"/>
                <a:gd name="T3" fmla="*/ 4 h 19"/>
                <a:gd name="T4" fmla="*/ 16 w 19"/>
                <a:gd name="T5" fmla="*/ 10 h 19"/>
                <a:gd name="T6" fmla="*/ 10 w 19"/>
                <a:gd name="T7" fmla="*/ 15 h 19"/>
                <a:gd name="T8" fmla="*/ 4 w 19"/>
                <a:gd name="T9" fmla="*/ 10 h 19"/>
                <a:gd name="T10" fmla="*/ 19 w 19"/>
                <a:gd name="T11" fmla="*/ 10 h 19"/>
                <a:gd name="T12" fmla="*/ 10 w 19"/>
                <a:gd name="T13" fmla="*/ 0 h 19"/>
                <a:gd name="T14" fmla="*/ 0 w 19"/>
                <a:gd name="T15" fmla="*/ 10 h 19"/>
                <a:gd name="T16" fmla="*/ 10 w 19"/>
                <a:gd name="T17" fmla="*/ 19 h 19"/>
                <a:gd name="T18" fmla="*/ 19 w 19"/>
                <a:gd name="T1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4" y="10"/>
                  </a:moveTo>
                  <a:cubicBezTo>
                    <a:pt x="4" y="6"/>
                    <a:pt x="6" y="4"/>
                    <a:pt x="10" y="4"/>
                  </a:cubicBezTo>
                  <a:cubicBezTo>
                    <a:pt x="13" y="4"/>
                    <a:pt x="16" y="6"/>
                    <a:pt x="16" y="10"/>
                  </a:cubicBezTo>
                  <a:cubicBezTo>
                    <a:pt x="16" y="13"/>
                    <a:pt x="13" y="15"/>
                    <a:pt x="10" y="15"/>
                  </a:cubicBezTo>
                  <a:cubicBezTo>
                    <a:pt x="6" y="15"/>
                    <a:pt x="4" y="13"/>
                    <a:pt x="4" y="10"/>
                  </a:cubicBezTo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10" y="19"/>
                  </a:cubicBezTo>
                  <a:cubicBezTo>
                    <a:pt x="15" y="19"/>
                    <a:pt x="19" y="15"/>
                    <a:pt x="19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15">
              <a:extLst>
                <a:ext uri="{FF2B5EF4-FFF2-40B4-BE49-F238E27FC236}">
                  <a16:creationId xmlns:a16="http://schemas.microsoft.com/office/drawing/2014/main" id="{883BE11F-83CF-413B-A61B-09512A60E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3713"/>
              <a:ext cx="46" cy="47"/>
            </a:xfrm>
            <a:custGeom>
              <a:avLst/>
              <a:gdLst>
                <a:gd name="T0" fmla="*/ 9 w 19"/>
                <a:gd name="T1" fmla="*/ 15 h 19"/>
                <a:gd name="T2" fmla="*/ 3 w 19"/>
                <a:gd name="T3" fmla="*/ 10 h 19"/>
                <a:gd name="T4" fmla="*/ 9 w 19"/>
                <a:gd name="T5" fmla="*/ 4 h 19"/>
                <a:gd name="T6" fmla="*/ 15 w 19"/>
                <a:gd name="T7" fmla="*/ 10 h 19"/>
                <a:gd name="T8" fmla="*/ 9 w 19"/>
                <a:gd name="T9" fmla="*/ 15 h 19"/>
                <a:gd name="T10" fmla="*/ 9 w 19"/>
                <a:gd name="T11" fmla="*/ 0 h 19"/>
                <a:gd name="T12" fmla="*/ 0 w 19"/>
                <a:gd name="T13" fmla="*/ 10 h 19"/>
                <a:gd name="T14" fmla="*/ 9 w 19"/>
                <a:gd name="T15" fmla="*/ 19 h 19"/>
                <a:gd name="T16" fmla="*/ 19 w 19"/>
                <a:gd name="T17" fmla="*/ 10 h 19"/>
                <a:gd name="T18" fmla="*/ 9 w 19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9">
                  <a:moveTo>
                    <a:pt x="9" y="15"/>
                  </a:moveTo>
                  <a:cubicBezTo>
                    <a:pt x="6" y="15"/>
                    <a:pt x="3" y="13"/>
                    <a:pt x="3" y="10"/>
                  </a:cubicBezTo>
                  <a:cubicBezTo>
                    <a:pt x="3" y="6"/>
                    <a:pt x="6" y="4"/>
                    <a:pt x="9" y="4"/>
                  </a:cubicBezTo>
                  <a:cubicBezTo>
                    <a:pt x="13" y="4"/>
                    <a:pt x="15" y="6"/>
                    <a:pt x="15" y="10"/>
                  </a:cubicBezTo>
                  <a:cubicBezTo>
                    <a:pt x="15" y="13"/>
                    <a:pt x="13" y="15"/>
                    <a:pt x="9" y="15"/>
                  </a:cubicBezTo>
                  <a:moveTo>
                    <a:pt x="9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15" y="19"/>
                    <a:pt x="19" y="15"/>
                    <a:pt x="19" y="10"/>
                  </a:cubicBezTo>
                  <a:cubicBezTo>
                    <a:pt x="19" y="4"/>
                    <a:pt x="15" y="0"/>
                    <a:pt x="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18">
            <a:extLst>
              <a:ext uri="{FF2B5EF4-FFF2-40B4-BE49-F238E27FC236}">
                <a16:creationId xmlns:a16="http://schemas.microsoft.com/office/drawing/2014/main" id="{3317142F-76FD-4122-956E-E917F6570B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5838" y="5472113"/>
            <a:ext cx="841375" cy="841375"/>
            <a:chOff x="3021" y="3447"/>
            <a:chExt cx="530" cy="530"/>
          </a:xfrm>
        </p:grpSpPr>
        <p:sp>
          <p:nvSpPr>
            <p:cNvPr id="276" name="AutoShape 217">
              <a:extLst>
                <a:ext uri="{FF2B5EF4-FFF2-40B4-BE49-F238E27FC236}">
                  <a16:creationId xmlns:a16="http://schemas.microsoft.com/office/drawing/2014/main" id="{010F3632-9118-420C-BF2C-94AA84B94A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1" y="344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219">
              <a:extLst>
                <a:ext uri="{FF2B5EF4-FFF2-40B4-BE49-F238E27FC236}">
                  <a16:creationId xmlns:a16="http://schemas.microsoft.com/office/drawing/2014/main" id="{05ABFC37-89BD-47A7-A2DD-78E1539259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44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20">
              <a:extLst>
                <a:ext uri="{FF2B5EF4-FFF2-40B4-BE49-F238E27FC236}">
                  <a16:creationId xmlns:a16="http://schemas.microsoft.com/office/drawing/2014/main" id="{0C5AFB0A-77C7-4811-BDD8-84CEF42E4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" y="346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21">
              <a:extLst>
                <a:ext uri="{FF2B5EF4-FFF2-40B4-BE49-F238E27FC236}">
                  <a16:creationId xmlns:a16="http://schemas.microsoft.com/office/drawing/2014/main" id="{35FEBD64-D89C-470D-AEE6-089CEE8D6E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" y="3575"/>
              <a:ext cx="276" cy="276"/>
            </a:xfrm>
            <a:custGeom>
              <a:avLst/>
              <a:gdLst>
                <a:gd name="T0" fmla="*/ 101 w 108"/>
                <a:gd name="T1" fmla="*/ 61 h 108"/>
                <a:gd name="T2" fmla="*/ 91 w 108"/>
                <a:gd name="T3" fmla="*/ 74 h 108"/>
                <a:gd name="T4" fmla="*/ 92 w 108"/>
                <a:gd name="T5" fmla="*/ 87 h 108"/>
                <a:gd name="T6" fmla="*/ 82 w 108"/>
                <a:gd name="T7" fmla="*/ 92 h 108"/>
                <a:gd name="T8" fmla="*/ 66 w 108"/>
                <a:gd name="T9" fmla="*/ 94 h 108"/>
                <a:gd name="T10" fmla="*/ 57 w 108"/>
                <a:gd name="T11" fmla="*/ 105 h 108"/>
                <a:gd name="T12" fmla="*/ 47 w 108"/>
                <a:gd name="T13" fmla="*/ 101 h 108"/>
                <a:gd name="T14" fmla="*/ 34 w 108"/>
                <a:gd name="T15" fmla="*/ 91 h 108"/>
                <a:gd name="T16" fmla="*/ 26 w 108"/>
                <a:gd name="T17" fmla="*/ 92 h 108"/>
                <a:gd name="T18" fmla="*/ 16 w 108"/>
                <a:gd name="T19" fmla="*/ 87 h 108"/>
                <a:gd name="T20" fmla="*/ 17 w 108"/>
                <a:gd name="T21" fmla="*/ 74 h 108"/>
                <a:gd name="T22" fmla="*/ 7 w 108"/>
                <a:gd name="T23" fmla="*/ 61 h 108"/>
                <a:gd name="T24" fmla="*/ 3 w 108"/>
                <a:gd name="T25" fmla="*/ 51 h 108"/>
                <a:gd name="T26" fmla="*/ 14 w 108"/>
                <a:gd name="T27" fmla="*/ 42 h 108"/>
                <a:gd name="T28" fmla="*/ 16 w 108"/>
                <a:gd name="T29" fmla="*/ 26 h 108"/>
                <a:gd name="T30" fmla="*/ 21 w 108"/>
                <a:gd name="T31" fmla="*/ 16 h 108"/>
                <a:gd name="T32" fmla="*/ 26 w 108"/>
                <a:gd name="T33" fmla="*/ 16 h 108"/>
                <a:gd name="T34" fmla="*/ 42 w 108"/>
                <a:gd name="T35" fmla="*/ 14 h 108"/>
                <a:gd name="T36" fmla="*/ 51 w 108"/>
                <a:gd name="T37" fmla="*/ 3 h 108"/>
                <a:gd name="T38" fmla="*/ 61 w 108"/>
                <a:gd name="T39" fmla="*/ 7 h 108"/>
                <a:gd name="T40" fmla="*/ 74 w 108"/>
                <a:gd name="T41" fmla="*/ 17 h 108"/>
                <a:gd name="T42" fmla="*/ 82 w 108"/>
                <a:gd name="T43" fmla="*/ 16 h 108"/>
                <a:gd name="T44" fmla="*/ 92 w 108"/>
                <a:gd name="T45" fmla="*/ 21 h 108"/>
                <a:gd name="T46" fmla="*/ 92 w 108"/>
                <a:gd name="T47" fmla="*/ 26 h 108"/>
                <a:gd name="T48" fmla="*/ 94 w 108"/>
                <a:gd name="T49" fmla="*/ 42 h 108"/>
                <a:gd name="T50" fmla="*/ 105 w 108"/>
                <a:gd name="T51" fmla="*/ 51 h 108"/>
                <a:gd name="T52" fmla="*/ 101 w 108"/>
                <a:gd name="T53" fmla="*/ 44 h 108"/>
                <a:gd name="T54" fmla="*/ 94 w 108"/>
                <a:gd name="T55" fmla="*/ 32 h 108"/>
                <a:gd name="T56" fmla="*/ 95 w 108"/>
                <a:gd name="T57" fmla="*/ 28 h 108"/>
                <a:gd name="T58" fmla="*/ 90 w 108"/>
                <a:gd name="T59" fmla="*/ 13 h 108"/>
                <a:gd name="T60" fmla="*/ 80 w 108"/>
                <a:gd name="T61" fmla="*/ 13 h 108"/>
                <a:gd name="T62" fmla="*/ 67 w 108"/>
                <a:gd name="T63" fmla="*/ 10 h 108"/>
                <a:gd name="T64" fmla="*/ 57 w 108"/>
                <a:gd name="T65" fmla="*/ 0 h 108"/>
                <a:gd name="T66" fmla="*/ 44 w 108"/>
                <a:gd name="T67" fmla="*/ 7 h 108"/>
                <a:gd name="T68" fmla="*/ 32 w 108"/>
                <a:gd name="T69" fmla="*/ 14 h 108"/>
                <a:gd name="T70" fmla="*/ 28 w 108"/>
                <a:gd name="T71" fmla="*/ 13 h 108"/>
                <a:gd name="T72" fmla="*/ 13 w 108"/>
                <a:gd name="T73" fmla="*/ 18 h 108"/>
                <a:gd name="T74" fmla="*/ 14 w 108"/>
                <a:gd name="T75" fmla="*/ 32 h 108"/>
                <a:gd name="T76" fmla="*/ 7 w 108"/>
                <a:gd name="T77" fmla="*/ 44 h 108"/>
                <a:gd name="T78" fmla="*/ 0 w 108"/>
                <a:gd name="T79" fmla="*/ 57 h 108"/>
                <a:gd name="T80" fmla="*/ 10 w 108"/>
                <a:gd name="T81" fmla="*/ 67 h 108"/>
                <a:gd name="T82" fmla="*/ 13 w 108"/>
                <a:gd name="T83" fmla="*/ 80 h 108"/>
                <a:gd name="T84" fmla="*/ 18 w 108"/>
                <a:gd name="T85" fmla="*/ 95 h 108"/>
                <a:gd name="T86" fmla="*/ 32 w 108"/>
                <a:gd name="T87" fmla="*/ 94 h 108"/>
                <a:gd name="T88" fmla="*/ 44 w 108"/>
                <a:gd name="T89" fmla="*/ 101 h 108"/>
                <a:gd name="T90" fmla="*/ 57 w 108"/>
                <a:gd name="T91" fmla="*/ 108 h 108"/>
                <a:gd name="T92" fmla="*/ 67 w 108"/>
                <a:gd name="T93" fmla="*/ 98 h 108"/>
                <a:gd name="T94" fmla="*/ 80 w 108"/>
                <a:gd name="T95" fmla="*/ 95 h 108"/>
                <a:gd name="T96" fmla="*/ 95 w 108"/>
                <a:gd name="T97" fmla="*/ 90 h 108"/>
                <a:gd name="T98" fmla="*/ 94 w 108"/>
                <a:gd name="T99" fmla="*/ 76 h 108"/>
                <a:gd name="T100" fmla="*/ 101 w 108"/>
                <a:gd name="T101" fmla="*/ 64 h 108"/>
                <a:gd name="T102" fmla="*/ 108 w 108"/>
                <a:gd name="T103" fmla="*/ 5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08">
                  <a:moveTo>
                    <a:pt x="105" y="57"/>
                  </a:moveTo>
                  <a:cubicBezTo>
                    <a:pt x="105" y="59"/>
                    <a:pt x="103" y="61"/>
                    <a:pt x="101" y="61"/>
                  </a:cubicBezTo>
                  <a:cubicBezTo>
                    <a:pt x="98" y="61"/>
                    <a:pt x="95" y="63"/>
                    <a:pt x="94" y="66"/>
                  </a:cubicBezTo>
                  <a:cubicBezTo>
                    <a:pt x="93" y="69"/>
                    <a:pt x="92" y="71"/>
                    <a:pt x="91" y="74"/>
                  </a:cubicBezTo>
                  <a:cubicBezTo>
                    <a:pt x="89" y="77"/>
                    <a:pt x="90" y="80"/>
                    <a:pt x="92" y="82"/>
                  </a:cubicBezTo>
                  <a:cubicBezTo>
                    <a:pt x="93" y="84"/>
                    <a:pt x="93" y="86"/>
                    <a:pt x="92" y="87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6" y="93"/>
                    <a:pt x="84" y="93"/>
                    <a:pt x="82" y="92"/>
                  </a:cubicBezTo>
                  <a:cubicBezTo>
                    <a:pt x="80" y="90"/>
                    <a:pt x="77" y="89"/>
                    <a:pt x="74" y="91"/>
                  </a:cubicBezTo>
                  <a:cubicBezTo>
                    <a:pt x="71" y="92"/>
                    <a:pt x="69" y="93"/>
                    <a:pt x="66" y="94"/>
                  </a:cubicBezTo>
                  <a:cubicBezTo>
                    <a:pt x="63" y="95"/>
                    <a:pt x="61" y="98"/>
                    <a:pt x="61" y="101"/>
                  </a:cubicBezTo>
                  <a:cubicBezTo>
                    <a:pt x="61" y="103"/>
                    <a:pt x="59" y="105"/>
                    <a:pt x="57" y="105"/>
                  </a:cubicBezTo>
                  <a:cubicBezTo>
                    <a:pt x="51" y="105"/>
                    <a:pt x="51" y="105"/>
                    <a:pt x="51" y="105"/>
                  </a:cubicBezTo>
                  <a:cubicBezTo>
                    <a:pt x="49" y="105"/>
                    <a:pt x="47" y="103"/>
                    <a:pt x="47" y="101"/>
                  </a:cubicBezTo>
                  <a:cubicBezTo>
                    <a:pt x="47" y="98"/>
                    <a:pt x="45" y="95"/>
                    <a:pt x="42" y="94"/>
                  </a:cubicBezTo>
                  <a:cubicBezTo>
                    <a:pt x="39" y="93"/>
                    <a:pt x="37" y="92"/>
                    <a:pt x="34" y="91"/>
                  </a:cubicBezTo>
                  <a:cubicBezTo>
                    <a:pt x="33" y="90"/>
                    <a:pt x="32" y="90"/>
                    <a:pt x="31" y="90"/>
                  </a:cubicBezTo>
                  <a:cubicBezTo>
                    <a:pt x="29" y="90"/>
                    <a:pt x="27" y="91"/>
                    <a:pt x="26" y="92"/>
                  </a:cubicBezTo>
                  <a:cubicBezTo>
                    <a:pt x="24" y="93"/>
                    <a:pt x="22" y="93"/>
                    <a:pt x="21" y="92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5" y="86"/>
                    <a:pt x="15" y="84"/>
                    <a:pt x="16" y="82"/>
                  </a:cubicBezTo>
                  <a:cubicBezTo>
                    <a:pt x="18" y="80"/>
                    <a:pt x="19" y="77"/>
                    <a:pt x="17" y="74"/>
                  </a:cubicBezTo>
                  <a:cubicBezTo>
                    <a:pt x="16" y="71"/>
                    <a:pt x="15" y="69"/>
                    <a:pt x="14" y="66"/>
                  </a:cubicBezTo>
                  <a:cubicBezTo>
                    <a:pt x="13" y="63"/>
                    <a:pt x="10" y="61"/>
                    <a:pt x="7" y="61"/>
                  </a:cubicBezTo>
                  <a:cubicBezTo>
                    <a:pt x="5" y="61"/>
                    <a:pt x="3" y="59"/>
                    <a:pt x="3" y="57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49"/>
                    <a:pt x="5" y="47"/>
                    <a:pt x="7" y="47"/>
                  </a:cubicBezTo>
                  <a:cubicBezTo>
                    <a:pt x="10" y="47"/>
                    <a:pt x="13" y="45"/>
                    <a:pt x="14" y="42"/>
                  </a:cubicBezTo>
                  <a:cubicBezTo>
                    <a:pt x="15" y="39"/>
                    <a:pt x="16" y="37"/>
                    <a:pt x="17" y="34"/>
                  </a:cubicBezTo>
                  <a:cubicBezTo>
                    <a:pt x="19" y="31"/>
                    <a:pt x="18" y="28"/>
                    <a:pt x="16" y="26"/>
                  </a:cubicBezTo>
                  <a:cubicBezTo>
                    <a:pt x="15" y="24"/>
                    <a:pt x="15" y="22"/>
                    <a:pt x="16" y="2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5"/>
                    <a:pt x="24" y="15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8" y="18"/>
                    <a:pt x="31" y="19"/>
                    <a:pt x="34" y="17"/>
                  </a:cubicBezTo>
                  <a:cubicBezTo>
                    <a:pt x="37" y="16"/>
                    <a:pt x="39" y="15"/>
                    <a:pt x="42" y="14"/>
                  </a:cubicBezTo>
                  <a:cubicBezTo>
                    <a:pt x="45" y="13"/>
                    <a:pt x="47" y="10"/>
                    <a:pt x="47" y="7"/>
                  </a:cubicBezTo>
                  <a:cubicBezTo>
                    <a:pt x="47" y="5"/>
                    <a:pt x="49" y="3"/>
                    <a:pt x="51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3"/>
                    <a:pt x="61" y="5"/>
                    <a:pt x="61" y="7"/>
                  </a:cubicBezTo>
                  <a:cubicBezTo>
                    <a:pt x="61" y="10"/>
                    <a:pt x="63" y="13"/>
                    <a:pt x="66" y="14"/>
                  </a:cubicBezTo>
                  <a:cubicBezTo>
                    <a:pt x="69" y="15"/>
                    <a:pt x="71" y="16"/>
                    <a:pt x="74" y="17"/>
                  </a:cubicBezTo>
                  <a:cubicBezTo>
                    <a:pt x="77" y="19"/>
                    <a:pt x="80" y="18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4" y="15"/>
                    <a:pt x="86" y="15"/>
                    <a:pt x="87" y="16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3" y="22"/>
                    <a:pt x="93" y="24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0" y="28"/>
                    <a:pt x="89" y="31"/>
                    <a:pt x="91" y="34"/>
                  </a:cubicBezTo>
                  <a:cubicBezTo>
                    <a:pt x="92" y="37"/>
                    <a:pt x="93" y="39"/>
                    <a:pt x="94" y="42"/>
                  </a:cubicBezTo>
                  <a:cubicBezTo>
                    <a:pt x="95" y="45"/>
                    <a:pt x="98" y="47"/>
                    <a:pt x="101" y="47"/>
                  </a:cubicBezTo>
                  <a:cubicBezTo>
                    <a:pt x="103" y="47"/>
                    <a:pt x="105" y="49"/>
                    <a:pt x="105" y="51"/>
                  </a:cubicBezTo>
                  <a:lnTo>
                    <a:pt x="105" y="57"/>
                  </a:lnTo>
                  <a:close/>
                  <a:moveTo>
                    <a:pt x="101" y="44"/>
                  </a:moveTo>
                  <a:cubicBezTo>
                    <a:pt x="99" y="44"/>
                    <a:pt x="98" y="43"/>
                    <a:pt x="98" y="41"/>
                  </a:cubicBezTo>
                  <a:cubicBezTo>
                    <a:pt x="97" y="38"/>
                    <a:pt x="95" y="35"/>
                    <a:pt x="94" y="32"/>
                  </a:cubicBezTo>
                  <a:cubicBezTo>
                    <a:pt x="93" y="31"/>
                    <a:pt x="93" y="29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7" y="25"/>
                    <a:pt x="97" y="21"/>
                    <a:pt x="95" y="18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87" y="11"/>
                    <a:pt x="83" y="11"/>
                    <a:pt x="80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79" y="15"/>
                    <a:pt x="77" y="15"/>
                    <a:pt x="76" y="14"/>
                  </a:cubicBezTo>
                  <a:cubicBezTo>
                    <a:pt x="73" y="13"/>
                    <a:pt x="70" y="11"/>
                    <a:pt x="67" y="10"/>
                  </a:cubicBezTo>
                  <a:cubicBezTo>
                    <a:pt x="65" y="10"/>
                    <a:pt x="64" y="9"/>
                    <a:pt x="64" y="7"/>
                  </a:cubicBezTo>
                  <a:cubicBezTo>
                    <a:pt x="64" y="3"/>
                    <a:pt x="61" y="0"/>
                    <a:pt x="5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0"/>
                    <a:pt x="44" y="3"/>
                    <a:pt x="44" y="7"/>
                  </a:cubicBezTo>
                  <a:cubicBezTo>
                    <a:pt x="44" y="9"/>
                    <a:pt x="43" y="10"/>
                    <a:pt x="41" y="10"/>
                  </a:cubicBezTo>
                  <a:cubicBezTo>
                    <a:pt x="38" y="11"/>
                    <a:pt x="35" y="13"/>
                    <a:pt x="32" y="14"/>
                  </a:cubicBezTo>
                  <a:cubicBezTo>
                    <a:pt x="31" y="15"/>
                    <a:pt x="29" y="15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5" y="11"/>
                    <a:pt x="21" y="11"/>
                    <a:pt x="18" y="1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1" y="21"/>
                    <a:pt x="11" y="25"/>
                    <a:pt x="13" y="28"/>
                  </a:cubicBezTo>
                  <a:cubicBezTo>
                    <a:pt x="15" y="29"/>
                    <a:pt x="15" y="31"/>
                    <a:pt x="14" y="32"/>
                  </a:cubicBezTo>
                  <a:cubicBezTo>
                    <a:pt x="13" y="35"/>
                    <a:pt x="11" y="38"/>
                    <a:pt x="10" y="41"/>
                  </a:cubicBezTo>
                  <a:cubicBezTo>
                    <a:pt x="10" y="43"/>
                    <a:pt x="9" y="44"/>
                    <a:pt x="7" y="44"/>
                  </a:cubicBezTo>
                  <a:cubicBezTo>
                    <a:pt x="3" y="44"/>
                    <a:pt x="0" y="47"/>
                    <a:pt x="0" y="5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9" y="64"/>
                    <a:pt x="10" y="65"/>
                    <a:pt x="10" y="67"/>
                  </a:cubicBezTo>
                  <a:cubicBezTo>
                    <a:pt x="11" y="70"/>
                    <a:pt x="13" y="73"/>
                    <a:pt x="14" y="76"/>
                  </a:cubicBezTo>
                  <a:cubicBezTo>
                    <a:pt x="15" y="77"/>
                    <a:pt x="15" y="79"/>
                    <a:pt x="13" y="80"/>
                  </a:cubicBezTo>
                  <a:cubicBezTo>
                    <a:pt x="11" y="83"/>
                    <a:pt x="11" y="87"/>
                    <a:pt x="13" y="90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21" y="97"/>
                    <a:pt x="25" y="97"/>
                    <a:pt x="28" y="95"/>
                  </a:cubicBezTo>
                  <a:cubicBezTo>
                    <a:pt x="29" y="93"/>
                    <a:pt x="31" y="93"/>
                    <a:pt x="32" y="94"/>
                  </a:cubicBezTo>
                  <a:cubicBezTo>
                    <a:pt x="35" y="95"/>
                    <a:pt x="38" y="97"/>
                    <a:pt x="41" y="98"/>
                  </a:cubicBezTo>
                  <a:cubicBezTo>
                    <a:pt x="43" y="98"/>
                    <a:pt x="44" y="99"/>
                    <a:pt x="44" y="101"/>
                  </a:cubicBezTo>
                  <a:cubicBezTo>
                    <a:pt x="44" y="105"/>
                    <a:pt x="47" y="108"/>
                    <a:pt x="51" y="108"/>
                  </a:cubicBezTo>
                  <a:cubicBezTo>
                    <a:pt x="57" y="108"/>
                    <a:pt x="57" y="108"/>
                    <a:pt x="57" y="108"/>
                  </a:cubicBezTo>
                  <a:cubicBezTo>
                    <a:pt x="61" y="108"/>
                    <a:pt x="64" y="105"/>
                    <a:pt x="64" y="101"/>
                  </a:cubicBezTo>
                  <a:cubicBezTo>
                    <a:pt x="64" y="99"/>
                    <a:pt x="65" y="98"/>
                    <a:pt x="67" y="98"/>
                  </a:cubicBezTo>
                  <a:cubicBezTo>
                    <a:pt x="70" y="97"/>
                    <a:pt x="73" y="95"/>
                    <a:pt x="76" y="94"/>
                  </a:cubicBezTo>
                  <a:cubicBezTo>
                    <a:pt x="77" y="93"/>
                    <a:pt x="79" y="93"/>
                    <a:pt x="80" y="95"/>
                  </a:cubicBezTo>
                  <a:cubicBezTo>
                    <a:pt x="83" y="97"/>
                    <a:pt x="87" y="97"/>
                    <a:pt x="90" y="9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7" y="87"/>
                    <a:pt x="97" y="83"/>
                    <a:pt x="95" y="80"/>
                  </a:cubicBezTo>
                  <a:cubicBezTo>
                    <a:pt x="93" y="79"/>
                    <a:pt x="93" y="77"/>
                    <a:pt x="94" y="76"/>
                  </a:cubicBezTo>
                  <a:cubicBezTo>
                    <a:pt x="95" y="73"/>
                    <a:pt x="97" y="70"/>
                    <a:pt x="98" y="67"/>
                  </a:cubicBezTo>
                  <a:cubicBezTo>
                    <a:pt x="98" y="65"/>
                    <a:pt x="99" y="64"/>
                    <a:pt x="101" y="64"/>
                  </a:cubicBezTo>
                  <a:cubicBezTo>
                    <a:pt x="105" y="64"/>
                    <a:pt x="108" y="61"/>
                    <a:pt x="108" y="57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47"/>
                    <a:pt x="105" y="44"/>
                    <a:pt x="101" y="4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22">
              <a:extLst>
                <a:ext uri="{FF2B5EF4-FFF2-40B4-BE49-F238E27FC236}">
                  <a16:creationId xmlns:a16="http://schemas.microsoft.com/office/drawing/2014/main" id="{C2AB26CD-B4CC-4F36-85B5-EB9E6A5413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3" y="3626"/>
              <a:ext cx="169" cy="149"/>
            </a:xfrm>
            <a:custGeom>
              <a:avLst/>
              <a:gdLst>
                <a:gd name="T0" fmla="*/ 62 w 66"/>
                <a:gd name="T1" fmla="*/ 54 h 58"/>
                <a:gd name="T2" fmla="*/ 62 w 66"/>
                <a:gd name="T3" fmla="*/ 54 h 58"/>
                <a:gd name="T4" fmla="*/ 5 w 66"/>
                <a:gd name="T5" fmla="*/ 54 h 58"/>
                <a:gd name="T6" fmla="*/ 4 w 66"/>
                <a:gd name="T7" fmla="*/ 54 h 58"/>
                <a:gd name="T8" fmla="*/ 4 w 66"/>
                <a:gd name="T9" fmla="*/ 53 h 58"/>
                <a:gd name="T10" fmla="*/ 32 w 66"/>
                <a:gd name="T11" fmla="*/ 4 h 58"/>
                <a:gd name="T12" fmla="*/ 33 w 66"/>
                <a:gd name="T13" fmla="*/ 3 h 58"/>
                <a:gd name="T14" fmla="*/ 34 w 66"/>
                <a:gd name="T15" fmla="*/ 4 h 58"/>
                <a:gd name="T16" fmla="*/ 62 w 66"/>
                <a:gd name="T17" fmla="*/ 53 h 58"/>
                <a:gd name="T18" fmla="*/ 62 w 66"/>
                <a:gd name="T19" fmla="*/ 54 h 58"/>
                <a:gd name="T20" fmla="*/ 37 w 66"/>
                <a:gd name="T21" fmla="*/ 2 h 58"/>
                <a:gd name="T22" fmla="*/ 33 w 66"/>
                <a:gd name="T23" fmla="*/ 0 h 58"/>
                <a:gd name="T24" fmla="*/ 30 w 66"/>
                <a:gd name="T25" fmla="*/ 2 h 58"/>
                <a:gd name="T26" fmla="*/ 1 w 66"/>
                <a:gd name="T27" fmla="*/ 51 h 58"/>
                <a:gd name="T28" fmla="*/ 1 w 66"/>
                <a:gd name="T29" fmla="*/ 56 h 58"/>
                <a:gd name="T30" fmla="*/ 5 w 66"/>
                <a:gd name="T31" fmla="*/ 58 h 58"/>
                <a:gd name="T32" fmla="*/ 62 w 66"/>
                <a:gd name="T33" fmla="*/ 58 h 58"/>
                <a:gd name="T34" fmla="*/ 65 w 66"/>
                <a:gd name="T35" fmla="*/ 56 h 58"/>
                <a:gd name="T36" fmla="*/ 65 w 66"/>
                <a:gd name="T37" fmla="*/ 51 h 58"/>
                <a:gd name="T38" fmla="*/ 37 w 66"/>
                <a:gd name="T39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58">
                  <a:moveTo>
                    <a:pt x="62" y="54"/>
                  </a:moveTo>
                  <a:cubicBezTo>
                    <a:pt x="62" y="54"/>
                    <a:pt x="62" y="54"/>
                    <a:pt x="62" y="5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4"/>
                    <a:pt x="4" y="54"/>
                    <a:pt x="4" y="54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3" y="53"/>
                    <a:pt x="63" y="54"/>
                    <a:pt x="62" y="54"/>
                  </a:cubicBezTo>
                  <a:moveTo>
                    <a:pt x="37" y="2"/>
                  </a:moveTo>
                  <a:cubicBezTo>
                    <a:pt x="36" y="1"/>
                    <a:pt x="35" y="0"/>
                    <a:pt x="33" y="0"/>
                  </a:cubicBezTo>
                  <a:cubicBezTo>
                    <a:pt x="32" y="0"/>
                    <a:pt x="30" y="1"/>
                    <a:pt x="30" y="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0" y="54"/>
                    <a:pt x="1" y="56"/>
                  </a:cubicBezTo>
                  <a:cubicBezTo>
                    <a:pt x="2" y="57"/>
                    <a:pt x="3" y="58"/>
                    <a:pt x="5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3" y="58"/>
                    <a:pt x="65" y="57"/>
                    <a:pt x="65" y="56"/>
                  </a:cubicBezTo>
                  <a:cubicBezTo>
                    <a:pt x="66" y="54"/>
                    <a:pt x="66" y="52"/>
                    <a:pt x="65" y="51"/>
                  </a:cubicBezTo>
                  <a:lnTo>
                    <a:pt x="37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23">
              <a:extLst>
                <a:ext uri="{FF2B5EF4-FFF2-40B4-BE49-F238E27FC236}">
                  <a16:creationId xmlns:a16="http://schemas.microsoft.com/office/drawing/2014/main" id="{E39E5883-FEE8-4DDC-83A8-91BC8D3D42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4" y="3670"/>
              <a:ext cx="26" cy="53"/>
            </a:xfrm>
            <a:custGeom>
              <a:avLst/>
              <a:gdLst>
                <a:gd name="T0" fmla="*/ 7 w 10"/>
                <a:gd name="T1" fmla="*/ 18 h 21"/>
                <a:gd name="T2" fmla="*/ 4 w 10"/>
                <a:gd name="T3" fmla="*/ 18 h 21"/>
                <a:gd name="T4" fmla="*/ 4 w 10"/>
                <a:gd name="T5" fmla="*/ 3 h 21"/>
                <a:gd name="T6" fmla="*/ 7 w 10"/>
                <a:gd name="T7" fmla="*/ 3 h 21"/>
                <a:gd name="T8" fmla="*/ 7 w 10"/>
                <a:gd name="T9" fmla="*/ 18 h 21"/>
                <a:gd name="T10" fmla="*/ 9 w 10"/>
                <a:gd name="T11" fmla="*/ 0 h 21"/>
                <a:gd name="T12" fmla="*/ 2 w 10"/>
                <a:gd name="T13" fmla="*/ 0 h 21"/>
                <a:gd name="T14" fmla="*/ 0 w 10"/>
                <a:gd name="T15" fmla="*/ 1 h 21"/>
                <a:gd name="T16" fmla="*/ 0 w 10"/>
                <a:gd name="T17" fmla="*/ 19 h 21"/>
                <a:gd name="T18" fmla="*/ 2 w 10"/>
                <a:gd name="T19" fmla="*/ 21 h 21"/>
                <a:gd name="T20" fmla="*/ 9 w 10"/>
                <a:gd name="T21" fmla="*/ 21 h 21"/>
                <a:gd name="T22" fmla="*/ 10 w 10"/>
                <a:gd name="T23" fmla="*/ 19 h 21"/>
                <a:gd name="T24" fmla="*/ 10 w 10"/>
                <a:gd name="T25" fmla="*/ 1 h 21"/>
                <a:gd name="T26" fmla="*/ 9 w 10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21">
                  <a:moveTo>
                    <a:pt x="7" y="18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7" y="3"/>
                    <a:pt x="7" y="3"/>
                    <a:pt x="7" y="3"/>
                  </a:cubicBezTo>
                  <a:lnTo>
                    <a:pt x="7" y="18"/>
                  </a:lnTo>
                  <a:close/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1"/>
                    <a:pt x="2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1"/>
                    <a:pt x="10" y="20"/>
                    <a:pt x="10" y="19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24">
              <a:extLst>
                <a:ext uri="{FF2B5EF4-FFF2-40B4-BE49-F238E27FC236}">
                  <a16:creationId xmlns:a16="http://schemas.microsoft.com/office/drawing/2014/main" id="{672F6BBC-7666-4DF6-B6B1-559CA7AB1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4" y="3731"/>
              <a:ext cx="26" cy="26"/>
            </a:xfrm>
            <a:custGeom>
              <a:avLst/>
              <a:gdLst>
                <a:gd name="T0" fmla="*/ 7 w 10"/>
                <a:gd name="T1" fmla="*/ 6 h 10"/>
                <a:gd name="T2" fmla="*/ 4 w 10"/>
                <a:gd name="T3" fmla="*/ 6 h 10"/>
                <a:gd name="T4" fmla="*/ 4 w 10"/>
                <a:gd name="T5" fmla="*/ 3 h 10"/>
                <a:gd name="T6" fmla="*/ 7 w 10"/>
                <a:gd name="T7" fmla="*/ 3 h 10"/>
                <a:gd name="T8" fmla="*/ 7 w 10"/>
                <a:gd name="T9" fmla="*/ 6 h 10"/>
                <a:gd name="T10" fmla="*/ 9 w 10"/>
                <a:gd name="T11" fmla="*/ 0 h 10"/>
                <a:gd name="T12" fmla="*/ 2 w 10"/>
                <a:gd name="T13" fmla="*/ 0 h 10"/>
                <a:gd name="T14" fmla="*/ 0 w 10"/>
                <a:gd name="T15" fmla="*/ 1 h 10"/>
                <a:gd name="T16" fmla="*/ 0 w 10"/>
                <a:gd name="T17" fmla="*/ 8 h 10"/>
                <a:gd name="T18" fmla="*/ 2 w 10"/>
                <a:gd name="T19" fmla="*/ 10 h 10"/>
                <a:gd name="T20" fmla="*/ 9 w 10"/>
                <a:gd name="T21" fmla="*/ 10 h 10"/>
                <a:gd name="T22" fmla="*/ 10 w 10"/>
                <a:gd name="T23" fmla="*/ 8 h 10"/>
                <a:gd name="T24" fmla="*/ 10 w 10"/>
                <a:gd name="T25" fmla="*/ 1 h 10"/>
                <a:gd name="T26" fmla="*/ 9 w 10"/>
                <a:gd name="T2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7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7" y="3"/>
                    <a:pt x="7" y="3"/>
                    <a:pt x="7" y="3"/>
                  </a:cubicBezTo>
                  <a:lnTo>
                    <a:pt x="7" y="6"/>
                  </a:lnTo>
                  <a:close/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9"/>
                    <a:pt x="10" y="8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3" name="Group 227">
            <a:extLst>
              <a:ext uri="{FF2B5EF4-FFF2-40B4-BE49-F238E27FC236}">
                <a16:creationId xmlns:a16="http://schemas.microsoft.com/office/drawing/2014/main" id="{8AD84881-4221-4523-ABDD-716B460654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9938" y="5513388"/>
            <a:ext cx="758825" cy="758825"/>
            <a:chOff x="3685" y="3473"/>
            <a:chExt cx="478" cy="478"/>
          </a:xfrm>
        </p:grpSpPr>
        <p:sp>
          <p:nvSpPr>
            <p:cNvPr id="284" name="AutoShape 226">
              <a:extLst>
                <a:ext uri="{FF2B5EF4-FFF2-40B4-BE49-F238E27FC236}">
                  <a16:creationId xmlns:a16="http://schemas.microsoft.com/office/drawing/2014/main" id="{B56012A9-F24F-4CC1-BF52-0F9D1B4AB2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5" y="347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28">
              <a:extLst>
                <a:ext uri="{FF2B5EF4-FFF2-40B4-BE49-F238E27FC236}">
                  <a16:creationId xmlns:a16="http://schemas.microsoft.com/office/drawing/2014/main" id="{6F5AD9E6-9964-4BEB-AE64-0FA9686F6C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7" y="347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29">
              <a:extLst>
                <a:ext uri="{FF2B5EF4-FFF2-40B4-BE49-F238E27FC236}">
                  <a16:creationId xmlns:a16="http://schemas.microsoft.com/office/drawing/2014/main" id="{570DE2FB-DC67-4F47-A2BC-254E03E48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3581"/>
              <a:ext cx="265" cy="265"/>
            </a:xfrm>
            <a:custGeom>
              <a:avLst/>
              <a:gdLst>
                <a:gd name="T0" fmla="*/ 101 w 108"/>
                <a:gd name="T1" fmla="*/ 61 h 108"/>
                <a:gd name="T2" fmla="*/ 91 w 108"/>
                <a:gd name="T3" fmla="*/ 74 h 108"/>
                <a:gd name="T4" fmla="*/ 92 w 108"/>
                <a:gd name="T5" fmla="*/ 87 h 108"/>
                <a:gd name="T6" fmla="*/ 82 w 108"/>
                <a:gd name="T7" fmla="*/ 92 h 108"/>
                <a:gd name="T8" fmla="*/ 66 w 108"/>
                <a:gd name="T9" fmla="*/ 94 h 108"/>
                <a:gd name="T10" fmla="*/ 57 w 108"/>
                <a:gd name="T11" fmla="*/ 105 h 108"/>
                <a:gd name="T12" fmla="*/ 47 w 108"/>
                <a:gd name="T13" fmla="*/ 101 h 108"/>
                <a:gd name="T14" fmla="*/ 34 w 108"/>
                <a:gd name="T15" fmla="*/ 91 h 108"/>
                <a:gd name="T16" fmla="*/ 26 w 108"/>
                <a:gd name="T17" fmla="*/ 92 h 108"/>
                <a:gd name="T18" fmla="*/ 16 w 108"/>
                <a:gd name="T19" fmla="*/ 87 h 108"/>
                <a:gd name="T20" fmla="*/ 17 w 108"/>
                <a:gd name="T21" fmla="*/ 74 h 108"/>
                <a:gd name="T22" fmla="*/ 7 w 108"/>
                <a:gd name="T23" fmla="*/ 61 h 108"/>
                <a:gd name="T24" fmla="*/ 3 w 108"/>
                <a:gd name="T25" fmla="*/ 51 h 108"/>
                <a:gd name="T26" fmla="*/ 14 w 108"/>
                <a:gd name="T27" fmla="*/ 42 h 108"/>
                <a:gd name="T28" fmla="*/ 16 w 108"/>
                <a:gd name="T29" fmla="*/ 26 h 108"/>
                <a:gd name="T30" fmla="*/ 21 w 108"/>
                <a:gd name="T31" fmla="*/ 16 h 108"/>
                <a:gd name="T32" fmla="*/ 26 w 108"/>
                <a:gd name="T33" fmla="*/ 16 h 108"/>
                <a:gd name="T34" fmla="*/ 42 w 108"/>
                <a:gd name="T35" fmla="*/ 14 h 108"/>
                <a:gd name="T36" fmla="*/ 51 w 108"/>
                <a:gd name="T37" fmla="*/ 3 h 108"/>
                <a:gd name="T38" fmla="*/ 61 w 108"/>
                <a:gd name="T39" fmla="*/ 7 h 108"/>
                <a:gd name="T40" fmla="*/ 74 w 108"/>
                <a:gd name="T41" fmla="*/ 17 h 108"/>
                <a:gd name="T42" fmla="*/ 82 w 108"/>
                <a:gd name="T43" fmla="*/ 16 h 108"/>
                <a:gd name="T44" fmla="*/ 92 w 108"/>
                <a:gd name="T45" fmla="*/ 21 h 108"/>
                <a:gd name="T46" fmla="*/ 92 w 108"/>
                <a:gd name="T47" fmla="*/ 26 h 108"/>
                <a:gd name="T48" fmla="*/ 94 w 108"/>
                <a:gd name="T49" fmla="*/ 42 h 108"/>
                <a:gd name="T50" fmla="*/ 105 w 108"/>
                <a:gd name="T51" fmla="*/ 51 h 108"/>
                <a:gd name="T52" fmla="*/ 101 w 108"/>
                <a:gd name="T53" fmla="*/ 44 h 108"/>
                <a:gd name="T54" fmla="*/ 94 w 108"/>
                <a:gd name="T55" fmla="*/ 32 h 108"/>
                <a:gd name="T56" fmla="*/ 95 w 108"/>
                <a:gd name="T57" fmla="*/ 28 h 108"/>
                <a:gd name="T58" fmla="*/ 90 w 108"/>
                <a:gd name="T59" fmla="*/ 13 h 108"/>
                <a:gd name="T60" fmla="*/ 80 w 108"/>
                <a:gd name="T61" fmla="*/ 13 h 108"/>
                <a:gd name="T62" fmla="*/ 67 w 108"/>
                <a:gd name="T63" fmla="*/ 10 h 108"/>
                <a:gd name="T64" fmla="*/ 57 w 108"/>
                <a:gd name="T65" fmla="*/ 0 h 108"/>
                <a:gd name="T66" fmla="*/ 44 w 108"/>
                <a:gd name="T67" fmla="*/ 7 h 108"/>
                <a:gd name="T68" fmla="*/ 32 w 108"/>
                <a:gd name="T69" fmla="*/ 14 h 108"/>
                <a:gd name="T70" fmla="*/ 28 w 108"/>
                <a:gd name="T71" fmla="*/ 13 h 108"/>
                <a:gd name="T72" fmla="*/ 13 w 108"/>
                <a:gd name="T73" fmla="*/ 18 h 108"/>
                <a:gd name="T74" fmla="*/ 14 w 108"/>
                <a:gd name="T75" fmla="*/ 32 h 108"/>
                <a:gd name="T76" fmla="*/ 7 w 108"/>
                <a:gd name="T77" fmla="*/ 44 h 108"/>
                <a:gd name="T78" fmla="*/ 0 w 108"/>
                <a:gd name="T79" fmla="*/ 57 h 108"/>
                <a:gd name="T80" fmla="*/ 10 w 108"/>
                <a:gd name="T81" fmla="*/ 67 h 108"/>
                <a:gd name="T82" fmla="*/ 13 w 108"/>
                <a:gd name="T83" fmla="*/ 80 h 108"/>
                <a:gd name="T84" fmla="*/ 18 w 108"/>
                <a:gd name="T85" fmla="*/ 95 h 108"/>
                <a:gd name="T86" fmla="*/ 32 w 108"/>
                <a:gd name="T87" fmla="*/ 94 h 108"/>
                <a:gd name="T88" fmla="*/ 44 w 108"/>
                <a:gd name="T89" fmla="*/ 101 h 108"/>
                <a:gd name="T90" fmla="*/ 57 w 108"/>
                <a:gd name="T91" fmla="*/ 108 h 108"/>
                <a:gd name="T92" fmla="*/ 67 w 108"/>
                <a:gd name="T93" fmla="*/ 98 h 108"/>
                <a:gd name="T94" fmla="*/ 80 w 108"/>
                <a:gd name="T95" fmla="*/ 95 h 108"/>
                <a:gd name="T96" fmla="*/ 95 w 108"/>
                <a:gd name="T97" fmla="*/ 90 h 108"/>
                <a:gd name="T98" fmla="*/ 94 w 108"/>
                <a:gd name="T99" fmla="*/ 76 h 108"/>
                <a:gd name="T100" fmla="*/ 101 w 108"/>
                <a:gd name="T101" fmla="*/ 64 h 108"/>
                <a:gd name="T102" fmla="*/ 108 w 108"/>
                <a:gd name="T103" fmla="*/ 5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8" h="108">
                  <a:moveTo>
                    <a:pt x="105" y="57"/>
                  </a:moveTo>
                  <a:cubicBezTo>
                    <a:pt x="105" y="59"/>
                    <a:pt x="103" y="61"/>
                    <a:pt x="101" y="61"/>
                  </a:cubicBezTo>
                  <a:cubicBezTo>
                    <a:pt x="98" y="61"/>
                    <a:pt x="95" y="63"/>
                    <a:pt x="94" y="66"/>
                  </a:cubicBezTo>
                  <a:cubicBezTo>
                    <a:pt x="93" y="69"/>
                    <a:pt x="92" y="71"/>
                    <a:pt x="91" y="74"/>
                  </a:cubicBezTo>
                  <a:cubicBezTo>
                    <a:pt x="89" y="77"/>
                    <a:pt x="90" y="80"/>
                    <a:pt x="92" y="82"/>
                  </a:cubicBezTo>
                  <a:cubicBezTo>
                    <a:pt x="93" y="84"/>
                    <a:pt x="93" y="86"/>
                    <a:pt x="92" y="87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6" y="93"/>
                    <a:pt x="84" y="93"/>
                    <a:pt x="82" y="92"/>
                  </a:cubicBezTo>
                  <a:cubicBezTo>
                    <a:pt x="80" y="90"/>
                    <a:pt x="77" y="89"/>
                    <a:pt x="74" y="91"/>
                  </a:cubicBezTo>
                  <a:cubicBezTo>
                    <a:pt x="71" y="92"/>
                    <a:pt x="69" y="93"/>
                    <a:pt x="66" y="94"/>
                  </a:cubicBezTo>
                  <a:cubicBezTo>
                    <a:pt x="63" y="95"/>
                    <a:pt x="61" y="98"/>
                    <a:pt x="61" y="101"/>
                  </a:cubicBezTo>
                  <a:cubicBezTo>
                    <a:pt x="61" y="103"/>
                    <a:pt x="59" y="105"/>
                    <a:pt x="57" y="105"/>
                  </a:cubicBezTo>
                  <a:cubicBezTo>
                    <a:pt x="51" y="105"/>
                    <a:pt x="51" y="105"/>
                    <a:pt x="51" y="105"/>
                  </a:cubicBezTo>
                  <a:cubicBezTo>
                    <a:pt x="49" y="105"/>
                    <a:pt x="47" y="103"/>
                    <a:pt x="47" y="101"/>
                  </a:cubicBezTo>
                  <a:cubicBezTo>
                    <a:pt x="47" y="98"/>
                    <a:pt x="45" y="95"/>
                    <a:pt x="42" y="94"/>
                  </a:cubicBezTo>
                  <a:cubicBezTo>
                    <a:pt x="39" y="93"/>
                    <a:pt x="37" y="92"/>
                    <a:pt x="34" y="91"/>
                  </a:cubicBezTo>
                  <a:cubicBezTo>
                    <a:pt x="33" y="90"/>
                    <a:pt x="32" y="90"/>
                    <a:pt x="31" y="90"/>
                  </a:cubicBezTo>
                  <a:cubicBezTo>
                    <a:pt x="29" y="90"/>
                    <a:pt x="27" y="91"/>
                    <a:pt x="26" y="92"/>
                  </a:cubicBezTo>
                  <a:cubicBezTo>
                    <a:pt x="24" y="93"/>
                    <a:pt x="22" y="93"/>
                    <a:pt x="21" y="92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5" y="86"/>
                    <a:pt x="15" y="84"/>
                    <a:pt x="16" y="82"/>
                  </a:cubicBezTo>
                  <a:cubicBezTo>
                    <a:pt x="18" y="80"/>
                    <a:pt x="19" y="77"/>
                    <a:pt x="17" y="74"/>
                  </a:cubicBezTo>
                  <a:cubicBezTo>
                    <a:pt x="16" y="71"/>
                    <a:pt x="15" y="69"/>
                    <a:pt x="14" y="66"/>
                  </a:cubicBezTo>
                  <a:cubicBezTo>
                    <a:pt x="13" y="63"/>
                    <a:pt x="10" y="61"/>
                    <a:pt x="7" y="61"/>
                  </a:cubicBezTo>
                  <a:cubicBezTo>
                    <a:pt x="5" y="61"/>
                    <a:pt x="3" y="59"/>
                    <a:pt x="3" y="57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49"/>
                    <a:pt x="5" y="47"/>
                    <a:pt x="7" y="47"/>
                  </a:cubicBezTo>
                  <a:cubicBezTo>
                    <a:pt x="10" y="47"/>
                    <a:pt x="13" y="45"/>
                    <a:pt x="14" y="42"/>
                  </a:cubicBezTo>
                  <a:cubicBezTo>
                    <a:pt x="15" y="39"/>
                    <a:pt x="16" y="37"/>
                    <a:pt x="17" y="34"/>
                  </a:cubicBezTo>
                  <a:cubicBezTo>
                    <a:pt x="19" y="31"/>
                    <a:pt x="18" y="28"/>
                    <a:pt x="16" y="26"/>
                  </a:cubicBezTo>
                  <a:cubicBezTo>
                    <a:pt x="15" y="24"/>
                    <a:pt x="15" y="22"/>
                    <a:pt x="16" y="21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5"/>
                    <a:pt x="24" y="15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8" y="18"/>
                    <a:pt x="31" y="19"/>
                    <a:pt x="34" y="17"/>
                  </a:cubicBezTo>
                  <a:cubicBezTo>
                    <a:pt x="37" y="16"/>
                    <a:pt x="39" y="15"/>
                    <a:pt x="42" y="14"/>
                  </a:cubicBezTo>
                  <a:cubicBezTo>
                    <a:pt x="45" y="13"/>
                    <a:pt x="47" y="10"/>
                    <a:pt x="47" y="7"/>
                  </a:cubicBezTo>
                  <a:cubicBezTo>
                    <a:pt x="47" y="5"/>
                    <a:pt x="49" y="3"/>
                    <a:pt x="51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9" y="3"/>
                    <a:pt x="61" y="5"/>
                    <a:pt x="61" y="7"/>
                  </a:cubicBezTo>
                  <a:cubicBezTo>
                    <a:pt x="61" y="10"/>
                    <a:pt x="63" y="13"/>
                    <a:pt x="66" y="14"/>
                  </a:cubicBezTo>
                  <a:cubicBezTo>
                    <a:pt x="69" y="15"/>
                    <a:pt x="71" y="16"/>
                    <a:pt x="74" y="17"/>
                  </a:cubicBezTo>
                  <a:cubicBezTo>
                    <a:pt x="77" y="19"/>
                    <a:pt x="80" y="18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4" y="15"/>
                    <a:pt x="86" y="15"/>
                    <a:pt x="87" y="16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3" y="22"/>
                    <a:pt x="93" y="24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0" y="28"/>
                    <a:pt x="89" y="31"/>
                    <a:pt x="91" y="34"/>
                  </a:cubicBezTo>
                  <a:cubicBezTo>
                    <a:pt x="92" y="37"/>
                    <a:pt x="93" y="39"/>
                    <a:pt x="94" y="42"/>
                  </a:cubicBezTo>
                  <a:cubicBezTo>
                    <a:pt x="95" y="45"/>
                    <a:pt x="98" y="47"/>
                    <a:pt x="101" y="47"/>
                  </a:cubicBezTo>
                  <a:cubicBezTo>
                    <a:pt x="103" y="47"/>
                    <a:pt x="105" y="49"/>
                    <a:pt x="105" y="51"/>
                  </a:cubicBezTo>
                  <a:lnTo>
                    <a:pt x="105" y="57"/>
                  </a:lnTo>
                  <a:close/>
                  <a:moveTo>
                    <a:pt x="101" y="44"/>
                  </a:moveTo>
                  <a:cubicBezTo>
                    <a:pt x="99" y="44"/>
                    <a:pt x="98" y="43"/>
                    <a:pt x="98" y="41"/>
                  </a:cubicBezTo>
                  <a:cubicBezTo>
                    <a:pt x="97" y="38"/>
                    <a:pt x="95" y="35"/>
                    <a:pt x="94" y="32"/>
                  </a:cubicBezTo>
                  <a:cubicBezTo>
                    <a:pt x="93" y="31"/>
                    <a:pt x="93" y="29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7" y="25"/>
                    <a:pt x="97" y="21"/>
                    <a:pt x="95" y="18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87" y="11"/>
                    <a:pt x="83" y="11"/>
                    <a:pt x="80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79" y="15"/>
                    <a:pt x="77" y="15"/>
                    <a:pt x="76" y="14"/>
                  </a:cubicBezTo>
                  <a:cubicBezTo>
                    <a:pt x="73" y="13"/>
                    <a:pt x="70" y="11"/>
                    <a:pt x="67" y="10"/>
                  </a:cubicBezTo>
                  <a:cubicBezTo>
                    <a:pt x="65" y="10"/>
                    <a:pt x="64" y="9"/>
                    <a:pt x="64" y="7"/>
                  </a:cubicBezTo>
                  <a:cubicBezTo>
                    <a:pt x="64" y="3"/>
                    <a:pt x="61" y="0"/>
                    <a:pt x="5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0"/>
                    <a:pt x="44" y="3"/>
                    <a:pt x="44" y="7"/>
                  </a:cubicBezTo>
                  <a:cubicBezTo>
                    <a:pt x="44" y="9"/>
                    <a:pt x="43" y="10"/>
                    <a:pt x="41" y="10"/>
                  </a:cubicBezTo>
                  <a:cubicBezTo>
                    <a:pt x="38" y="11"/>
                    <a:pt x="35" y="13"/>
                    <a:pt x="32" y="14"/>
                  </a:cubicBezTo>
                  <a:cubicBezTo>
                    <a:pt x="31" y="15"/>
                    <a:pt x="29" y="15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5" y="11"/>
                    <a:pt x="21" y="11"/>
                    <a:pt x="18" y="1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1" y="21"/>
                    <a:pt x="11" y="25"/>
                    <a:pt x="13" y="28"/>
                  </a:cubicBezTo>
                  <a:cubicBezTo>
                    <a:pt x="15" y="29"/>
                    <a:pt x="15" y="31"/>
                    <a:pt x="14" y="32"/>
                  </a:cubicBezTo>
                  <a:cubicBezTo>
                    <a:pt x="13" y="35"/>
                    <a:pt x="11" y="38"/>
                    <a:pt x="10" y="41"/>
                  </a:cubicBezTo>
                  <a:cubicBezTo>
                    <a:pt x="10" y="43"/>
                    <a:pt x="9" y="44"/>
                    <a:pt x="7" y="44"/>
                  </a:cubicBezTo>
                  <a:cubicBezTo>
                    <a:pt x="3" y="44"/>
                    <a:pt x="0" y="47"/>
                    <a:pt x="0" y="5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9" y="64"/>
                    <a:pt x="10" y="65"/>
                    <a:pt x="10" y="67"/>
                  </a:cubicBezTo>
                  <a:cubicBezTo>
                    <a:pt x="11" y="70"/>
                    <a:pt x="13" y="73"/>
                    <a:pt x="14" y="76"/>
                  </a:cubicBezTo>
                  <a:cubicBezTo>
                    <a:pt x="15" y="77"/>
                    <a:pt x="15" y="79"/>
                    <a:pt x="13" y="80"/>
                  </a:cubicBezTo>
                  <a:cubicBezTo>
                    <a:pt x="11" y="83"/>
                    <a:pt x="11" y="87"/>
                    <a:pt x="13" y="90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21" y="97"/>
                    <a:pt x="25" y="97"/>
                    <a:pt x="28" y="95"/>
                  </a:cubicBezTo>
                  <a:cubicBezTo>
                    <a:pt x="29" y="93"/>
                    <a:pt x="31" y="93"/>
                    <a:pt x="32" y="94"/>
                  </a:cubicBezTo>
                  <a:cubicBezTo>
                    <a:pt x="35" y="95"/>
                    <a:pt x="38" y="97"/>
                    <a:pt x="41" y="98"/>
                  </a:cubicBezTo>
                  <a:cubicBezTo>
                    <a:pt x="43" y="98"/>
                    <a:pt x="44" y="99"/>
                    <a:pt x="44" y="101"/>
                  </a:cubicBezTo>
                  <a:cubicBezTo>
                    <a:pt x="44" y="105"/>
                    <a:pt x="47" y="108"/>
                    <a:pt x="51" y="108"/>
                  </a:cubicBezTo>
                  <a:cubicBezTo>
                    <a:pt x="57" y="108"/>
                    <a:pt x="57" y="108"/>
                    <a:pt x="57" y="108"/>
                  </a:cubicBezTo>
                  <a:cubicBezTo>
                    <a:pt x="61" y="108"/>
                    <a:pt x="64" y="105"/>
                    <a:pt x="64" y="101"/>
                  </a:cubicBezTo>
                  <a:cubicBezTo>
                    <a:pt x="64" y="99"/>
                    <a:pt x="65" y="98"/>
                    <a:pt x="67" y="98"/>
                  </a:cubicBezTo>
                  <a:cubicBezTo>
                    <a:pt x="70" y="97"/>
                    <a:pt x="73" y="95"/>
                    <a:pt x="76" y="94"/>
                  </a:cubicBezTo>
                  <a:cubicBezTo>
                    <a:pt x="77" y="93"/>
                    <a:pt x="79" y="93"/>
                    <a:pt x="80" y="95"/>
                  </a:cubicBezTo>
                  <a:cubicBezTo>
                    <a:pt x="83" y="97"/>
                    <a:pt x="87" y="97"/>
                    <a:pt x="90" y="95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7" y="87"/>
                    <a:pt x="97" y="83"/>
                    <a:pt x="95" y="80"/>
                  </a:cubicBezTo>
                  <a:cubicBezTo>
                    <a:pt x="93" y="79"/>
                    <a:pt x="93" y="77"/>
                    <a:pt x="94" y="76"/>
                  </a:cubicBezTo>
                  <a:cubicBezTo>
                    <a:pt x="95" y="73"/>
                    <a:pt x="97" y="70"/>
                    <a:pt x="98" y="67"/>
                  </a:cubicBezTo>
                  <a:cubicBezTo>
                    <a:pt x="98" y="65"/>
                    <a:pt x="99" y="64"/>
                    <a:pt x="101" y="64"/>
                  </a:cubicBezTo>
                  <a:cubicBezTo>
                    <a:pt x="105" y="64"/>
                    <a:pt x="108" y="61"/>
                    <a:pt x="108" y="57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47"/>
                    <a:pt x="105" y="44"/>
                    <a:pt x="101" y="4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30">
              <a:extLst>
                <a:ext uri="{FF2B5EF4-FFF2-40B4-BE49-F238E27FC236}">
                  <a16:creationId xmlns:a16="http://schemas.microsoft.com/office/drawing/2014/main" id="{E7D7DC64-02AF-4891-A3F8-6278C002E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4" y="3630"/>
              <a:ext cx="162" cy="142"/>
            </a:xfrm>
            <a:custGeom>
              <a:avLst/>
              <a:gdLst>
                <a:gd name="T0" fmla="*/ 62 w 66"/>
                <a:gd name="T1" fmla="*/ 54 h 58"/>
                <a:gd name="T2" fmla="*/ 62 w 66"/>
                <a:gd name="T3" fmla="*/ 54 h 58"/>
                <a:gd name="T4" fmla="*/ 5 w 66"/>
                <a:gd name="T5" fmla="*/ 54 h 58"/>
                <a:gd name="T6" fmla="*/ 4 w 66"/>
                <a:gd name="T7" fmla="*/ 54 h 58"/>
                <a:gd name="T8" fmla="*/ 4 w 66"/>
                <a:gd name="T9" fmla="*/ 53 h 58"/>
                <a:gd name="T10" fmla="*/ 32 w 66"/>
                <a:gd name="T11" fmla="*/ 4 h 58"/>
                <a:gd name="T12" fmla="*/ 33 w 66"/>
                <a:gd name="T13" fmla="*/ 3 h 58"/>
                <a:gd name="T14" fmla="*/ 34 w 66"/>
                <a:gd name="T15" fmla="*/ 4 h 58"/>
                <a:gd name="T16" fmla="*/ 62 w 66"/>
                <a:gd name="T17" fmla="*/ 53 h 58"/>
                <a:gd name="T18" fmla="*/ 62 w 66"/>
                <a:gd name="T19" fmla="*/ 54 h 58"/>
                <a:gd name="T20" fmla="*/ 37 w 66"/>
                <a:gd name="T21" fmla="*/ 2 h 58"/>
                <a:gd name="T22" fmla="*/ 33 w 66"/>
                <a:gd name="T23" fmla="*/ 0 h 58"/>
                <a:gd name="T24" fmla="*/ 30 w 66"/>
                <a:gd name="T25" fmla="*/ 2 h 58"/>
                <a:gd name="T26" fmla="*/ 1 w 66"/>
                <a:gd name="T27" fmla="*/ 51 h 58"/>
                <a:gd name="T28" fmla="*/ 1 w 66"/>
                <a:gd name="T29" fmla="*/ 56 h 58"/>
                <a:gd name="T30" fmla="*/ 5 w 66"/>
                <a:gd name="T31" fmla="*/ 58 h 58"/>
                <a:gd name="T32" fmla="*/ 62 w 66"/>
                <a:gd name="T33" fmla="*/ 58 h 58"/>
                <a:gd name="T34" fmla="*/ 65 w 66"/>
                <a:gd name="T35" fmla="*/ 56 h 58"/>
                <a:gd name="T36" fmla="*/ 65 w 66"/>
                <a:gd name="T37" fmla="*/ 51 h 58"/>
                <a:gd name="T38" fmla="*/ 37 w 66"/>
                <a:gd name="T39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58">
                  <a:moveTo>
                    <a:pt x="62" y="54"/>
                  </a:moveTo>
                  <a:cubicBezTo>
                    <a:pt x="62" y="54"/>
                    <a:pt x="62" y="54"/>
                    <a:pt x="62" y="5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4"/>
                    <a:pt x="4" y="54"/>
                    <a:pt x="4" y="54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3" y="53"/>
                    <a:pt x="63" y="54"/>
                    <a:pt x="62" y="54"/>
                  </a:cubicBezTo>
                  <a:moveTo>
                    <a:pt x="37" y="2"/>
                  </a:moveTo>
                  <a:cubicBezTo>
                    <a:pt x="36" y="1"/>
                    <a:pt x="35" y="0"/>
                    <a:pt x="33" y="0"/>
                  </a:cubicBezTo>
                  <a:cubicBezTo>
                    <a:pt x="32" y="0"/>
                    <a:pt x="30" y="1"/>
                    <a:pt x="30" y="2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0" y="54"/>
                    <a:pt x="1" y="56"/>
                  </a:cubicBezTo>
                  <a:cubicBezTo>
                    <a:pt x="2" y="57"/>
                    <a:pt x="3" y="58"/>
                    <a:pt x="5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3" y="58"/>
                    <a:pt x="65" y="57"/>
                    <a:pt x="65" y="56"/>
                  </a:cubicBezTo>
                  <a:cubicBezTo>
                    <a:pt x="66" y="54"/>
                    <a:pt x="66" y="52"/>
                    <a:pt x="65" y="51"/>
                  </a:cubicBezTo>
                  <a:lnTo>
                    <a:pt x="37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31">
              <a:extLst>
                <a:ext uri="{FF2B5EF4-FFF2-40B4-BE49-F238E27FC236}">
                  <a16:creationId xmlns:a16="http://schemas.microsoft.com/office/drawing/2014/main" id="{EE9EC451-0FF2-43E3-BA5D-C31EFEBE23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3" y="3672"/>
              <a:ext cx="24" cy="51"/>
            </a:xfrm>
            <a:custGeom>
              <a:avLst/>
              <a:gdLst>
                <a:gd name="T0" fmla="*/ 7 w 10"/>
                <a:gd name="T1" fmla="*/ 18 h 21"/>
                <a:gd name="T2" fmla="*/ 4 w 10"/>
                <a:gd name="T3" fmla="*/ 18 h 21"/>
                <a:gd name="T4" fmla="*/ 4 w 10"/>
                <a:gd name="T5" fmla="*/ 3 h 21"/>
                <a:gd name="T6" fmla="*/ 7 w 10"/>
                <a:gd name="T7" fmla="*/ 3 h 21"/>
                <a:gd name="T8" fmla="*/ 7 w 10"/>
                <a:gd name="T9" fmla="*/ 18 h 21"/>
                <a:gd name="T10" fmla="*/ 9 w 10"/>
                <a:gd name="T11" fmla="*/ 0 h 21"/>
                <a:gd name="T12" fmla="*/ 2 w 10"/>
                <a:gd name="T13" fmla="*/ 0 h 21"/>
                <a:gd name="T14" fmla="*/ 0 w 10"/>
                <a:gd name="T15" fmla="*/ 1 h 21"/>
                <a:gd name="T16" fmla="*/ 0 w 10"/>
                <a:gd name="T17" fmla="*/ 19 h 21"/>
                <a:gd name="T18" fmla="*/ 2 w 10"/>
                <a:gd name="T19" fmla="*/ 21 h 21"/>
                <a:gd name="T20" fmla="*/ 9 w 10"/>
                <a:gd name="T21" fmla="*/ 21 h 21"/>
                <a:gd name="T22" fmla="*/ 10 w 10"/>
                <a:gd name="T23" fmla="*/ 19 h 21"/>
                <a:gd name="T24" fmla="*/ 10 w 10"/>
                <a:gd name="T25" fmla="*/ 1 h 21"/>
                <a:gd name="T26" fmla="*/ 9 w 10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21">
                  <a:moveTo>
                    <a:pt x="7" y="18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7" y="3"/>
                    <a:pt x="7" y="3"/>
                    <a:pt x="7" y="3"/>
                  </a:cubicBezTo>
                  <a:lnTo>
                    <a:pt x="7" y="18"/>
                  </a:lnTo>
                  <a:close/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1"/>
                    <a:pt x="2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1"/>
                    <a:pt x="10" y="20"/>
                    <a:pt x="10" y="19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32">
              <a:extLst>
                <a:ext uri="{FF2B5EF4-FFF2-40B4-BE49-F238E27FC236}">
                  <a16:creationId xmlns:a16="http://schemas.microsoft.com/office/drawing/2014/main" id="{F7864705-42CC-4B9F-8B5D-7D85A2D282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3" y="3730"/>
              <a:ext cx="24" cy="25"/>
            </a:xfrm>
            <a:custGeom>
              <a:avLst/>
              <a:gdLst>
                <a:gd name="T0" fmla="*/ 7 w 10"/>
                <a:gd name="T1" fmla="*/ 6 h 10"/>
                <a:gd name="T2" fmla="*/ 4 w 10"/>
                <a:gd name="T3" fmla="*/ 6 h 10"/>
                <a:gd name="T4" fmla="*/ 4 w 10"/>
                <a:gd name="T5" fmla="*/ 3 h 10"/>
                <a:gd name="T6" fmla="*/ 7 w 10"/>
                <a:gd name="T7" fmla="*/ 3 h 10"/>
                <a:gd name="T8" fmla="*/ 7 w 10"/>
                <a:gd name="T9" fmla="*/ 6 h 10"/>
                <a:gd name="T10" fmla="*/ 9 w 10"/>
                <a:gd name="T11" fmla="*/ 0 h 10"/>
                <a:gd name="T12" fmla="*/ 2 w 10"/>
                <a:gd name="T13" fmla="*/ 0 h 10"/>
                <a:gd name="T14" fmla="*/ 0 w 10"/>
                <a:gd name="T15" fmla="*/ 1 h 10"/>
                <a:gd name="T16" fmla="*/ 0 w 10"/>
                <a:gd name="T17" fmla="*/ 8 h 10"/>
                <a:gd name="T18" fmla="*/ 2 w 10"/>
                <a:gd name="T19" fmla="*/ 10 h 10"/>
                <a:gd name="T20" fmla="*/ 9 w 10"/>
                <a:gd name="T21" fmla="*/ 10 h 10"/>
                <a:gd name="T22" fmla="*/ 10 w 10"/>
                <a:gd name="T23" fmla="*/ 8 h 10"/>
                <a:gd name="T24" fmla="*/ 10 w 10"/>
                <a:gd name="T25" fmla="*/ 1 h 10"/>
                <a:gd name="T26" fmla="*/ 9 w 10"/>
                <a:gd name="T2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7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7" y="3"/>
                    <a:pt x="7" y="3"/>
                    <a:pt x="7" y="3"/>
                  </a:cubicBezTo>
                  <a:lnTo>
                    <a:pt x="7" y="6"/>
                  </a:lnTo>
                  <a:close/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9"/>
                    <a:pt x="10" y="8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35">
            <a:extLst>
              <a:ext uri="{FF2B5EF4-FFF2-40B4-BE49-F238E27FC236}">
                <a16:creationId xmlns:a16="http://schemas.microsoft.com/office/drawing/2014/main" id="{B9734F43-86D3-4BA6-8741-64589D28FA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4213" y="5472113"/>
            <a:ext cx="841375" cy="841375"/>
            <a:chOff x="4431" y="3447"/>
            <a:chExt cx="530" cy="530"/>
          </a:xfrm>
        </p:grpSpPr>
        <p:sp>
          <p:nvSpPr>
            <p:cNvPr id="291" name="AutoShape 234">
              <a:extLst>
                <a:ext uri="{FF2B5EF4-FFF2-40B4-BE49-F238E27FC236}">
                  <a16:creationId xmlns:a16="http://schemas.microsoft.com/office/drawing/2014/main" id="{724FB258-C266-4C78-8E23-AFA632AAF1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1" y="344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236">
              <a:extLst>
                <a:ext uri="{FF2B5EF4-FFF2-40B4-BE49-F238E27FC236}">
                  <a16:creationId xmlns:a16="http://schemas.microsoft.com/office/drawing/2014/main" id="{6913DBAB-3E77-4264-BBA0-4A14D7F71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1" y="344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37">
              <a:extLst>
                <a:ext uri="{FF2B5EF4-FFF2-40B4-BE49-F238E27FC236}">
                  <a16:creationId xmlns:a16="http://schemas.microsoft.com/office/drawing/2014/main" id="{0749C097-D043-4723-BE49-ACE4CEF1E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9" y="346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38">
              <a:extLst>
                <a:ext uri="{FF2B5EF4-FFF2-40B4-BE49-F238E27FC236}">
                  <a16:creationId xmlns:a16="http://schemas.microsoft.com/office/drawing/2014/main" id="{D0CFA9CD-74FB-4419-888C-7D4483A393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3" y="3744"/>
              <a:ext cx="72" cy="125"/>
            </a:xfrm>
            <a:custGeom>
              <a:avLst/>
              <a:gdLst>
                <a:gd name="T0" fmla="*/ 14 w 28"/>
                <a:gd name="T1" fmla="*/ 45 h 49"/>
                <a:gd name="T2" fmla="*/ 4 w 28"/>
                <a:gd name="T3" fmla="*/ 36 h 49"/>
                <a:gd name="T4" fmla="*/ 11 w 28"/>
                <a:gd name="T5" fmla="*/ 8 h 49"/>
                <a:gd name="T6" fmla="*/ 13 w 28"/>
                <a:gd name="T7" fmla="*/ 9 h 49"/>
                <a:gd name="T8" fmla="*/ 14 w 28"/>
                <a:gd name="T9" fmla="*/ 10 h 49"/>
                <a:gd name="T10" fmla="*/ 15 w 28"/>
                <a:gd name="T11" fmla="*/ 9 h 49"/>
                <a:gd name="T12" fmla="*/ 17 w 28"/>
                <a:gd name="T13" fmla="*/ 8 h 49"/>
                <a:gd name="T14" fmla="*/ 24 w 28"/>
                <a:gd name="T15" fmla="*/ 36 h 49"/>
                <a:gd name="T16" fmla="*/ 14 w 28"/>
                <a:gd name="T17" fmla="*/ 45 h 49"/>
                <a:gd name="T18" fmla="*/ 20 w 28"/>
                <a:gd name="T19" fmla="*/ 5 h 49"/>
                <a:gd name="T20" fmla="*/ 23 w 28"/>
                <a:gd name="T21" fmla="*/ 3 h 49"/>
                <a:gd name="T22" fmla="*/ 24 w 28"/>
                <a:gd name="T23" fmla="*/ 1 h 49"/>
                <a:gd name="T24" fmla="*/ 21 w 28"/>
                <a:gd name="T25" fmla="*/ 0 h 49"/>
                <a:gd name="T26" fmla="*/ 14 w 28"/>
                <a:gd name="T27" fmla="*/ 6 h 49"/>
                <a:gd name="T28" fmla="*/ 7 w 28"/>
                <a:gd name="T29" fmla="*/ 0 h 49"/>
                <a:gd name="T30" fmla="*/ 4 w 28"/>
                <a:gd name="T31" fmla="*/ 1 h 49"/>
                <a:gd name="T32" fmla="*/ 5 w 28"/>
                <a:gd name="T33" fmla="*/ 3 h 49"/>
                <a:gd name="T34" fmla="*/ 8 w 28"/>
                <a:gd name="T35" fmla="*/ 5 h 49"/>
                <a:gd name="T36" fmla="*/ 0 w 28"/>
                <a:gd name="T37" fmla="*/ 36 h 49"/>
                <a:gd name="T38" fmla="*/ 1 w 28"/>
                <a:gd name="T39" fmla="*/ 38 h 49"/>
                <a:gd name="T40" fmla="*/ 13 w 28"/>
                <a:gd name="T41" fmla="*/ 49 h 49"/>
                <a:gd name="T42" fmla="*/ 13 w 28"/>
                <a:gd name="T43" fmla="*/ 49 h 49"/>
                <a:gd name="T44" fmla="*/ 13 w 28"/>
                <a:gd name="T45" fmla="*/ 49 h 49"/>
                <a:gd name="T46" fmla="*/ 13 w 28"/>
                <a:gd name="T47" fmla="*/ 49 h 49"/>
                <a:gd name="T48" fmla="*/ 14 w 28"/>
                <a:gd name="T49" fmla="*/ 49 h 49"/>
                <a:gd name="T50" fmla="*/ 14 w 28"/>
                <a:gd name="T51" fmla="*/ 49 h 49"/>
                <a:gd name="T52" fmla="*/ 15 w 28"/>
                <a:gd name="T53" fmla="*/ 49 h 49"/>
                <a:gd name="T54" fmla="*/ 15 w 28"/>
                <a:gd name="T55" fmla="*/ 49 h 49"/>
                <a:gd name="T56" fmla="*/ 15 w 28"/>
                <a:gd name="T57" fmla="*/ 49 h 49"/>
                <a:gd name="T58" fmla="*/ 15 w 28"/>
                <a:gd name="T59" fmla="*/ 49 h 49"/>
                <a:gd name="T60" fmla="*/ 27 w 28"/>
                <a:gd name="T61" fmla="*/ 38 h 49"/>
                <a:gd name="T62" fmla="*/ 28 w 28"/>
                <a:gd name="T63" fmla="*/ 36 h 49"/>
                <a:gd name="T64" fmla="*/ 20 w 28"/>
                <a:gd name="T65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" h="49">
                  <a:moveTo>
                    <a:pt x="14" y="45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14" y="45"/>
                  </a:lnTo>
                  <a:close/>
                  <a:moveTo>
                    <a:pt x="20" y="5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4" y="1"/>
                    <a:pt x="24" y="1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4" y="1"/>
                    <a:pt x="4" y="2"/>
                    <a:pt x="5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1" y="38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7"/>
                    <a:pt x="28" y="37"/>
                    <a:pt x="28" y="36"/>
                  </a:cubicBezTo>
                  <a:lnTo>
                    <a:pt x="2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39">
              <a:extLst>
                <a:ext uri="{FF2B5EF4-FFF2-40B4-BE49-F238E27FC236}">
                  <a16:creationId xmlns:a16="http://schemas.microsoft.com/office/drawing/2014/main" id="{F9E90C38-D6B2-48F8-8808-7B3D828D97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3544"/>
              <a:ext cx="297" cy="338"/>
            </a:xfrm>
            <a:custGeom>
              <a:avLst/>
              <a:gdLst>
                <a:gd name="T0" fmla="*/ 98 w 116"/>
                <a:gd name="T1" fmla="*/ 127 h 132"/>
                <a:gd name="T2" fmla="*/ 84 w 116"/>
                <a:gd name="T3" fmla="*/ 127 h 132"/>
                <a:gd name="T4" fmla="*/ 80 w 116"/>
                <a:gd name="T5" fmla="*/ 93 h 132"/>
                <a:gd name="T6" fmla="*/ 80 w 116"/>
                <a:gd name="T7" fmla="*/ 93 h 132"/>
                <a:gd name="T8" fmla="*/ 105 w 116"/>
                <a:gd name="T9" fmla="*/ 90 h 132"/>
                <a:gd name="T10" fmla="*/ 93 w 116"/>
                <a:gd name="T11" fmla="*/ 109 h 132"/>
                <a:gd name="T12" fmla="*/ 93 w 116"/>
                <a:gd name="T13" fmla="*/ 115 h 132"/>
                <a:gd name="T14" fmla="*/ 93 w 116"/>
                <a:gd name="T15" fmla="*/ 127 h 132"/>
                <a:gd name="T16" fmla="*/ 89 w 116"/>
                <a:gd name="T17" fmla="*/ 127 h 132"/>
                <a:gd name="T18" fmla="*/ 80 w 116"/>
                <a:gd name="T19" fmla="*/ 109 h 132"/>
                <a:gd name="T20" fmla="*/ 82 w 116"/>
                <a:gd name="T21" fmla="*/ 117 h 132"/>
                <a:gd name="T22" fmla="*/ 89 w 116"/>
                <a:gd name="T23" fmla="*/ 105 h 132"/>
                <a:gd name="T24" fmla="*/ 89 w 116"/>
                <a:gd name="T25" fmla="*/ 99 h 132"/>
                <a:gd name="T26" fmla="*/ 89 w 116"/>
                <a:gd name="T27" fmla="*/ 87 h 132"/>
                <a:gd name="T28" fmla="*/ 93 w 116"/>
                <a:gd name="T29" fmla="*/ 99 h 132"/>
                <a:gd name="T30" fmla="*/ 93 w 116"/>
                <a:gd name="T31" fmla="*/ 105 h 132"/>
                <a:gd name="T32" fmla="*/ 99 w 116"/>
                <a:gd name="T33" fmla="*/ 94 h 132"/>
                <a:gd name="T34" fmla="*/ 95 w 116"/>
                <a:gd name="T35" fmla="*/ 88 h 132"/>
                <a:gd name="T36" fmla="*/ 103 w 116"/>
                <a:gd name="T37" fmla="*/ 96 h 132"/>
                <a:gd name="T38" fmla="*/ 75 w 116"/>
                <a:gd name="T39" fmla="*/ 93 h 132"/>
                <a:gd name="T40" fmla="*/ 70 w 116"/>
                <a:gd name="T41" fmla="*/ 105 h 132"/>
                <a:gd name="T42" fmla="*/ 77 w 116"/>
                <a:gd name="T43" fmla="*/ 109 h 132"/>
                <a:gd name="T44" fmla="*/ 70 w 116"/>
                <a:gd name="T45" fmla="*/ 109 h 132"/>
                <a:gd name="T46" fmla="*/ 105 w 116"/>
                <a:gd name="T47" fmla="*/ 109 h 132"/>
                <a:gd name="T48" fmla="*/ 51 w 116"/>
                <a:gd name="T49" fmla="*/ 74 h 132"/>
                <a:gd name="T50" fmla="*/ 39 w 116"/>
                <a:gd name="T51" fmla="*/ 58 h 132"/>
                <a:gd name="T52" fmla="*/ 25 w 116"/>
                <a:gd name="T53" fmla="*/ 37 h 132"/>
                <a:gd name="T54" fmla="*/ 28 w 116"/>
                <a:gd name="T55" fmla="*/ 31 h 132"/>
                <a:gd name="T56" fmla="*/ 29 w 116"/>
                <a:gd name="T57" fmla="*/ 30 h 132"/>
                <a:gd name="T58" fmla="*/ 29 w 116"/>
                <a:gd name="T59" fmla="*/ 30 h 132"/>
                <a:gd name="T60" fmla="*/ 29 w 116"/>
                <a:gd name="T61" fmla="*/ 29 h 132"/>
                <a:gd name="T62" fmla="*/ 29 w 116"/>
                <a:gd name="T63" fmla="*/ 29 h 132"/>
                <a:gd name="T64" fmla="*/ 66 w 116"/>
                <a:gd name="T65" fmla="*/ 9 h 132"/>
                <a:gd name="T66" fmla="*/ 72 w 116"/>
                <a:gd name="T67" fmla="*/ 30 h 132"/>
                <a:gd name="T68" fmla="*/ 73 w 116"/>
                <a:gd name="T69" fmla="*/ 30 h 132"/>
                <a:gd name="T70" fmla="*/ 73 w 116"/>
                <a:gd name="T71" fmla="*/ 42 h 132"/>
                <a:gd name="T72" fmla="*/ 62 w 116"/>
                <a:gd name="T73" fmla="*/ 59 h 132"/>
                <a:gd name="T74" fmla="*/ 116 w 116"/>
                <a:gd name="T75" fmla="*/ 107 h 132"/>
                <a:gd name="T76" fmla="*/ 108 w 116"/>
                <a:gd name="T77" fmla="*/ 89 h 132"/>
                <a:gd name="T78" fmla="*/ 91 w 116"/>
                <a:gd name="T79" fmla="*/ 76 h 132"/>
                <a:gd name="T80" fmla="*/ 67 w 116"/>
                <a:gd name="T81" fmla="*/ 67 h 132"/>
                <a:gd name="T82" fmla="*/ 75 w 116"/>
                <a:gd name="T83" fmla="*/ 46 h 132"/>
                <a:gd name="T84" fmla="*/ 68 w 116"/>
                <a:gd name="T85" fmla="*/ 7 h 132"/>
                <a:gd name="T86" fmla="*/ 26 w 116"/>
                <a:gd name="T87" fmla="*/ 28 h 132"/>
                <a:gd name="T88" fmla="*/ 36 w 116"/>
                <a:gd name="T89" fmla="*/ 60 h 132"/>
                <a:gd name="T90" fmla="*/ 34 w 116"/>
                <a:gd name="T91" fmla="*/ 67 h 132"/>
                <a:gd name="T92" fmla="*/ 4 w 116"/>
                <a:gd name="T93" fmla="*/ 87 h 132"/>
                <a:gd name="T94" fmla="*/ 27 w 116"/>
                <a:gd name="T95" fmla="*/ 114 h 132"/>
                <a:gd name="T96" fmla="*/ 28 w 116"/>
                <a:gd name="T97" fmla="*/ 111 h 132"/>
                <a:gd name="T98" fmla="*/ 13 w 116"/>
                <a:gd name="T99" fmla="*/ 78 h 132"/>
                <a:gd name="T100" fmla="*/ 37 w 116"/>
                <a:gd name="T101" fmla="*/ 70 h 132"/>
                <a:gd name="T102" fmla="*/ 51 w 116"/>
                <a:gd name="T103" fmla="*/ 78 h 132"/>
                <a:gd name="T104" fmla="*/ 65 w 116"/>
                <a:gd name="T105" fmla="*/ 70 h 132"/>
                <a:gd name="T106" fmla="*/ 89 w 116"/>
                <a:gd name="T107" fmla="*/ 78 h 132"/>
                <a:gd name="T108" fmla="*/ 91 w 116"/>
                <a:gd name="T109" fmla="*/ 82 h 132"/>
                <a:gd name="T110" fmla="*/ 73 w 116"/>
                <a:gd name="T111" fmla="*/ 89 h 132"/>
                <a:gd name="T112" fmla="*/ 66 w 116"/>
                <a:gd name="T113" fmla="*/ 107 h 132"/>
                <a:gd name="T114" fmla="*/ 74 w 116"/>
                <a:gd name="T115" fmla="*/ 125 h 132"/>
                <a:gd name="T116" fmla="*/ 108 w 116"/>
                <a:gd name="T117" fmla="*/ 125 h 132"/>
                <a:gd name="T118" fmla="*/ 116 w 116"/>
                <a:gd name="T119" fmla="*/ 10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" h="132">
                  <a:moveTo>
                    <a:pt x="102" y="121"/>
                  </a:moveTo>
                  <a:cubicBezTo>
                    <a:pt x="103" y="122"/>
                    <a:pt x="104" y="123"/>
                    <a:pt x="105" y="123"/>
                  </a:cubicBezTo>
                  <a:cubicBezTo>
                    <a:pt x="103" y="125"/>
                    <a:pt x="100" y="126"/>
                    <a:pt x="98" y="127"/>
                  </a:cubicBezTo>
                  <a:cubicBezTo>
                    <a:pt x="99" y="126"/>
                    <a:pt x="101" y="124"/>
                    <a:pt x="102" y="121"/>
                  </a:cubicBezTo>
                  <a:moveTo>
                    <a:pt x="80" y="121"/>
                  </a:moveTo>
                  <a:cubicBezTo>
                    <a:pt x="81" y="124"/>
                    <a:pt x="83" y="126"/>
                    <a:pt x="84" y="127"/>
                  </a:cubicBezTo>
                  <a:cubicBezTo>
                    <a:pt x="82" y="126"/>
                    <a:pt x="79" y="125"/>
                    <a:pt x="77" y="123"/>
                  </a:cubicBezTo>
                  <a:cubicBezTo>
                    <a:pt x="78" y="123"/>
                    <a:pt x="79" y="122"/>
                    <a:pt x="80" y="121"/>
                  </a:cubicBezTo>
                  <a:moveTo>
                    <a:pt x="80" y="93"/>
                  </a:moveTo>
                  <a:cubicBezTo>
                    <a:pt x="79" y="92"/>
                    <a:pt x="78" y="91"/>
                    <a:pt x="77" y="90"/>
                  </a:cubicBezTo>
                  <a:cubicBezTo>
                    <a:pt x="79" y="89"/>
                    <a:pt x="82" y="87"/>
                    <a:pt x="84" y="86"/>
                  </a:cubicBezTo>
                  <a:cubicBezTo>
                    <a:pt x="83" y="88"/>
                    <a:pt x="81" y="90"/>
                    <a:pt x="80" y="93"/>
                  </a:cubicBezTo>
                  <a:moveTo>
                    <a:pt x="102" y="93"/>
                  </a:moveTo>
                  <a:cubicBezTo>
                    <a:pt x="101" y="90"/>
                    <a:pt x="99" y="88"/>
                    <a:pt x="98" y="86"/>
                  </a:cubicBezTo>
                  <a:cubicBezTo>
                    <a:pt x="100" y="87"/>
                    <a:pt x="103" y="89"/>
                    <a:pt x="105" y="90"/>
                  </a:cubicBezTo>
                  <a:cubicBezTo>
                    <a:pt x="104" y="91"/>
                    <a:pt x="103" y="92"/>
                    <a:pt x="102" y="93"/>
                  </a:cubicBezTo>
                  <a:moveTo>
                    <a:pt x="93" y="115"/>
                  </a:moveTo>
                  <a:cubicBezTo>
                    <a:pt x="93" y="109"/>
                    <a:pt x="93" y="109"/>
                    <a:pt x="93" y="109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2" y="112"/>
                    <a:pt x="101" y="114"/>
                    <a:pt x="100" y="117"/>
                  </a:cubicBezTo>
                  <a:cubicBezTo>
                    <a:pt x="98" y="116"/>
                    <a:pt x="96" y="115"/>
                    <a:pt x="93" y="115"/>
                  </a:cubicBezTo>
                  <a:moveTo>
                    <a:pt x="93" y="119"/>
                  </a:moveTo>
                  <a:cubicBezTo>
                    <a:pt x="95" y="119"/>
                    <a:pt x="97" y="119"/>
                    <a:pt x="99" y="120"/>
                  </a:cubicBezTo>
                  <a:cubicBezTo>
                    <a:pt x="97" y="124"/>
                    <a:pt x="95" y="126"/>
                    <a:pt x="93" y="127"/>
                  </a:cubicBezTo>
                  <a:lnTo>
                    <a:pt x="93" y="119"/>
                  </a:lnTo>
                  <a:close/>
                  <a:moveTo>
                    <a:pt x="89" y="119"/>
                  </a:moveTo>
                  <a:cubicBezTo>
                    <a:pt x="89" y="127"/>
                    <a:pt x="89" y="127"/>
                    <a:pt x="89" y="127"/>
                  </a:cubicBezTo>
                  <a:cubicBezTo>
                    <a:pt x="87" y="126"/>
                    <a:pt x="85" y="124"/>
                    <a:pt x="83" y="120"/>
                  </a:cubicBezTo>
                  <a:cubicBezTo>
                    <a:pt x="85" y="119"/>
                    <a:pt x="87" y="119"/>
                    <a:pt x="89" y="119"/>
                  </a:cubicBezTo>
                  <a:moveTo>
                    <a:pt x="80" y="109"/>
                  </a:moveTo>
                  <a:cubicBezTo>
                    <a:pt x="89" y="109"/>
                    <a:pt x="89" y="109"/>
                    <a:pt x="89" y="109"/>
                  </a:cubicBezTo>
                  <a:cubicBezTo>
                    <a:pt x="89" y="115"/>
                    <a:pt x="89" y="115"/>
                    <a:pt x="89" y="115"/>
                  </a:cubicBezTo>
                  <a:cubicBezTo>
                    <a:pt x="86" y="115"/>
                    <a:pt x="84" y="116"/>
                    <a:pt x="82" y="117"/>
                  </a:cubicBezTo>
                  <a:cubicBezTo>
                    <a:pt x="81" y="114"/>
                    <a:pt x="80" y="112"/>
                    <a:pt x="80" y="109"/>
                  </a:cubicBezTo>
                  <a:moveTo>
                    <a:pt x="89" y="99"/>
                  </a:moveTo>
                  <a:cubicBezTo>
                    <a:pt x="89" y="105"/>
                    <a:pt x="89" y="105"/>
                    <a:pt x="89" y="105"/>
                  </a:cubicBezTo>
                  <a:cubicBezTo>
                    <a:pt x="80" y="105"/>
                    <a:pt x="80" y="105"/>
                    <a:pt x="80" y="105"/>
                  </a:cubicBezTo>
                  <a:cubicBezTo>
                    <a:pt x="80" y="102"/>
                    <a:pt x="81" y="99"/>
                    <a:pt x="82" y="97"/>
                  </a:cubicBezTo>
                  <a:cubicBezTo>
                    <a:pt x="84" y="98"/>
                    <a:pt x="86" y="98"/>
                    <a:pt x="89" y="99"/>
                  </a:cubicBezTo>
                  <a:moveTo>
                    <a:pt x="89" y="95"/>
                  </a:moveTo>
                  <a:cubicBezTo>
                    <a:pt x="87" y="95"/>
                    <a:pt x="85" y="95"/>
                    <a:pt x="83" y="94"/>
                  </a:cubicBezTo>
                  <a:cubicBezTo>
                    <a:pt x="85" y="90"/>
                    <a:pt x="87" y="88"/>
                    <a:pt x="89" y="87"/>
                  </a:cubicBezTo>
                  <a:lnTo>
                    <a:pt x="89" y="95"/>
                  </a:lnTo>
                  <a:close/>
                  <a:moveTo>
                    <a:pt x="93" y="105"/>
                  </a:moveTo>
                  <a:cubicBezTo>
                    <a:pt x="93" y="99"/>
                    <a:pt x="93" y="99"/>
                    <a:pt x="93" y="99"/>
                  </a:cubicBezTo>
                  <a:cubicBezTo>
                    <a:pt x="96" y="98"/>
                    <a:pt x="98" y="98"/>
                    <a:pt x="100" y="97"/>
                  </a:cubicBezTo>
                  <a:cubicBezTo>
                    <a:pt x="101" y="99"/>
                    <a:pt x="102" y="102"/>
                    <a:pt x="102" y="105"/>
                  </a:cubicBezTo>
                  <a:lnTo>
                    <a:pt x="93" y="105"/>
                  </a:lnTo>
                  <a:close/>
                  <a:moveTo>
                    <a:pt x="95" y="88"/>
                  </a:moveTo>
                  <a:cubicBezTo>
                    <a:pt x="95" y="89"/>
                    <a:pt x="95" y="89"/>
                    <a:pt x="96" y="89"/>
                  </a:cubicBezTo>
                  <a:cubicBezTo>
                    <a:pt x="97" y="91"/>
                    <a:pt x="98" y="92"/>
                    <a:pt x="99" y="94"/>
                  </a:cubicBezTo>
                  <a:cubicBezTo>
                    <a:pt x="97" y="95"/>
                    <a:pt x="95" y="95"/>
                    <a:pt x="93" y="95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3" y="87"/>
                    <a:pt x="94" y="88"/>
                    <a:pt x="95" y="88"/>
                  </a:cubicBezTo>
                  <a:moveTo>
                    <a:pt x="112" y="105"/>
                  </a:moveTo>
                  <a:cubicBezTo>
                    <a:pt x="105" y="105"/>
                    <a:pt x="105" y="105"/>
                    <a:pt x="105" y="105"/>
                  </a:cubicBezTo>
                  <a:cubicBezTo>
                    <a:pt x="105" y="102"/>
                    <a:pt x="104" y="98"/>
                    <a:pt x="103" y="96"/>
                  </a:cubicBezTo>
                  <a:cubicBezTo>
                    <a:pt x="105" y="95"/>
                    <a:pt x="106" y="94"/>
                    <a:pt x="107" y="93"/>
                  </a:cubicBezTo>
                  <a:cubicBezTo>
                    <a:pt x="110" y="96"/>
                    <a:pt x="112" y="100"/>
                    <a:pt x="112" y="105"/>
                  </a:cubicBezTo>
                  <a:moveTo>
                    <a:pt x="75" y="93"/>
                  </a:moveTo>
                  <a:cubicBezTo>
                    <a:pt x="75" y="94"/>
                    <a:pt x="77" y="95"/>
                    <a:pt x="78" y="96"/>
                  </a:cubicBezTo>
                  <a:cubicBezTo>
                    <a:pt x="78" y="98"/>
                    <a:pt x="77" y="102"/>
                    <a:pt x="77" y="105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70" y="100"/>
                    <a:pt x="72" y="96"/>
                    <a:pt x="75" y="93"/>
                  </a:cubicBezTo>
                  <a:moveTo>
                    <a:pt x="70" y="109"/>
                  </a:moveTo>
                  <a:cubicBezTo>
                    <a:pt x="77" y="109"/>
                    <a:pt x="77" y="109"/>
                    <a:pt x="77" y="109"/>
                  </a:cubicBezTo>
                  <a:cubicBezTo>
                    <a:pt x="77" y="112"/>
                    <a:pt x="78" y="115"/>
                    <a:pt x="78" y="118"/>
                  </a:cubicBezTo>
                  <a:cubicBezTo>
                    <a:pt x="77" y="119"/>
                    <a:pt x="75" y="120"/>
                    <a:pt x="75" y="121"/>
                  </a:cubicBezTo>
                  <a:cubicBezTo>
                    <a:pt x="72" y="118"/>
                    <a:pt x="70" y="113"/>
                    <a:pt x="70" y="109"/>
                  </a:cubicBezTo>
                  <a:moveTo>
                    <a:pt x="107" y="121"/>
                  </a:moveTo>
                  <a:cubicBezTo>
                    <a:pt x="106" y="120"/>
                    <a:pt x="105" y="119"/>
                    <a:pt x="103" y="118"/>
                  </a:cubicBezTo>
                  <a:cubicBezTo>
                    <a:pt x="104" y="115"/>
                    <a:pt x="105" y="112"/>
                    <a:pt x="105" y="109"/>
                  </a:cubicBezTo>
                  <a:cubicBezTo>
                    <a:pt x="112" y="109"/>
                    <a:pt x="112" y="109"/>
                    <a:pt x="112" y="109"/>
                  </a:cubicBezTo>
                  <a:cubicBezTo>
                    <a:pt x="112" y="113"/>
                    <a:pt x="110" y="118"/>
                    <a:pt x="107" y="121"/>
                  </a:cubicBezTo>
                  <a:moveTo>
                    <a:pt x="51" y="74"/>
                  </a:moveTo>
                  <a:cubicBezTo>
                    <a:pt x="39" y="64"/>
                    <a:pt x="39" y="64"/>
                    <a:pt x="39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8"/>
                    <a:pt x="39" y="58"/>
                  </a:cubicBezTo>
                  <a:cubicBezTo>
                    <a:pt x="35" y="55"/>
                    <a:pt x="32" y="50"/>
                    <a:pt x="30" y="44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7" y="42"/>
                    <a:pt x="25" y="40"/>
                    <a:pt x="25" y="37"/>
                  </a:cubicBezTo>
                  <a:cubicBezTo>
                    <a:pt x="25" y="34"/>
                    <a:pt x="26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9" y="31"/>
                    <a:pt x="29" y="31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17"/>
                    <a:pt x="36" y="9"/>
                  </a:cubicBezTo>
                  <a:cubicBezTo>
                    <a:pt x="40" y="5"/>
                    <a:pt x="45" y="4"/>
                    <a:pt x="51" y="4"/>
                  </a:cubicBezTo>
                  <a:cubicBezTo>
                    <a:pt x="57" y="4"/>
                    <a:pt x="62" y="5"/>
                    <a:pt x="66" y="9"/>
                  </a:cubicBezTo>
                  <a:cubicBezTo>
                    <a:pt x="73" y="17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0"/>
                    <a:pt x="72" y="30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31"/>
                    <a:pt x="74" y="31"/>
                  </a:cubicBezTo>
                  <a:cubicBezTo>
                    <a:pt x="75" y="31"/>
                    <a:pt x="77" y="34"/>
                    <a:pt x="77" y="37"/>
                  </a:cubicBezTo>
                  <a:cubicBezTo>
                    <a:pt x="77" y="40"/>
                    <a:pt x="75" y="42"/>
                    <a:pt x="73" y="42"/>
                  </a:cubicBezTo>
                  <a:cubicBezTo>
                    <a:pt x="72" y="43"/>
                    <a:pt x="72" y="43"/>
                    <a:pt x="72" y="44"/>
                  </a:cubicBezTo>
                  <a:cubicBezTo>
                    <a:pt x="70" y="50"/>
                    <a:pt x="67" y="55"/>
                    <a:pt x="63" y="58"/>
                  </a:cubicBezTo>
                  <a:cubicBezTo>
                    <a:pt x="62" y="58"/>
                    <a:pt x="62" y="59"/>
                    <a:pt x="62" y="59"/>
                  </a:cubicBezTo>
                  <a:cubicBezTo>
                    <a:pt x="62" y="64"/>
                    <a:pt x="62" y="64"/>
                    <a:pt x="62" y="64"/>
                  </a:cubicBezTo>
                  <a:lnTo>
                    <a:pt x="51" y="74"/>
                  </a:lnTo>
                  <a:close/>
                  <a:moveTo>
                    <a:pt x="116" y="107"/>
                  </a:moveTo>
                  <a:cubicBezTo>
                    <a:pt x="116" y="107"/>
                    <a:pt x="116" y="107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16" y="100"/>
                    <a:pt x="113" y="94"/>
                    <a:pt x="108" y="89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5" y="86"/>
                    <a:pt x="101" y="83"/>
                    <a:pt x="96" y="82"/>
                  </a:cubicBezTo>
                  <a:cubicBezTo>
                    <a:pt x="95" y="80"/>
                    <a:pt x="93" y="77"/>
                    <a:pt x="91" y="76"/>
                  </a:cubicBezTo>
                  <a:cubicBezTo>
                    <a:pt x="89" y="74"/>
                    <a:pt x="86" y="72"/>
                    <a:pt x="84" y="72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6" y="66"/>
                    <a:pt x="66" y="66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70" y="56"/>
                    <a:pt x="73" y="51"/>
                    <a:pt x="75" y="46"/>
                  </a:cubicBezTo>
                  <a:cubicBezTo>
                    <a:pt x="78" y="45"/>
                    <a:pt x="80" y="41"/>
                    <a:pt x="80" y="37"/>
                  </a:cubicBezTo>
                  <a:cubicBezTo>
                    <a:pt x="80" y="33"/>
                    <a:pt x="78" y="29"/>
                    <a:pt x="76" y="28"/>
                  </a:cubicBezTo>
                  <a:cubicBezTo>
                    <a:pt x="76" y="24"/>
                    <a:pt x="75" y="14"/>
                    <a:pt x="68" y="7"/>
                  </a:cubicBezTo>
                  <a:cubicBezTo>
                    <a:pt x="64" y="2"/>
                    <a:pt x="58" y="0"/>
                    <a:pt x="51" y="0"/>
                  </a:cubicBezTo>
                  <a:cubicBezTo>
                    <a:pt x="44" y="0"/>
                    <a:pt x="38" y="2"/>
                    <a:pt x="34" y="7"/>
                  </a:cubicBezTo>
                  <a:cubicBezTo>
                    <a:pt x="27" y="14"/>
                    <a:pt x="26" y="24"/>
                    <a:pt x="26" y="28"/>
                  </a:cubicBezTo>
                  <a:cubicBezTo>
                    <a:pt x="23" y="29"/>
                    <a:pt x="22" y="33"/>
                    <a:pt x="22" y="37"/>
                  </a:cubicBezTo>
                  <a:cubicBezTo>
                    <a:pt x="22" y="41"/>
                    <a:pt x="24" y="45"/>
                    <a:pt x="27" y="46"/>
                  </a:cubicBezTo>
                  <a:cubicBezTo>
                    <a:pt x="29" y="51"/>
                    <a:pt x="32" y="56"/>
                    <a:pt x="36" y="60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6"/>
                    <a:pt x="35" y="67"/>
                    <a:pt x="35" y="67"/>
                  </a:cubicBezTo>
                  <a:cubicBezTo>
                    <a:pt x="35" y="67"/>
                    <a:pt x="35" y="67"/>
                    <a:pt x="34" y="67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6" y="72"/>
                    <a:pt x="13" y="74"/>
                    <a:pt x="11" y="76"/>
                  </a:cubicBezTo>
                  <a:cubicBezTo>
                    <a:pt x="7" y="79"/>
                    <a:pt x="5" y="83"/>
                    <a:pt x="4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8"/>
                    <a:pt x="0" y="108"/>
                    <a:pt x="1" y="109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28" y="114"/>
                    <a:pt x="28" y="114"/>
                  </a:cubicBezTo>
                  <a:cubicBezTo>
                    <a:pt x="29" y="114"/>
                    <a:pt x="29" y="113"/>
                    <a:pt x="29" y="113"/>
                  </a:cubicBezTo>
                  <a:cubicBezTo>
                    <a:pt x="30" y="112"/>
                    <a:pt x="29" y="111"/>
                    <a:pt x="28" y="111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4"/>
                    <a:pt x="10" y="81"/>
                    <a:pt x="13" y="78"/>
                  </a:cubicBezTo>
                  <a:cubicBezTo>
                    <a:pt x="15" y="77"/>
                    <a:pt x="17" y="76"/>
                    <a:pt x="19" y="75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6" y="70"/>
                    <a:pt x="36" y="70"/>
                    <a:pt x="37" y="70"/>
                  </a:cubicBezTo>
                  <a:cubicBezTo>
                    <a:pt x="38" y="69"/>
                    <a:pt x="38" y="68"/>
                    <a:pt x="39" y="6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8"/>
                    <a:pt x="64" y="69"/>
                    <a:pt x="65" y="70"/>
                  </a:cubicBezTo>
                  <a:cubicBezTo>
                    <a:pt x="66" y="70"/>
                    <a:pt x="66" y="70"/>
                    <a:pt x="67" y="70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5" y="76"/>
                    <a:pt x="87" y="77"/>
                    <a:pt x="89" y="78"/>
                  </a:cubicBezTo>
                  <a:cubicBezTo>
                    <a:pt x="90" y="79"/>
                    <a:pt x="91" y="81"/>
                    <a:pt x="92" y="82"/>
                  </a:cubicBezTo>
                  <a:cubicBezTo>
                    <a:pt x="92" y="82"/>
                    <a:pt x="91" y="82"/>
                    <a:pt x="91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84" y="82"/>
                    <a:pt x="78" y="85"/>
                    <a:pt x="74" y="89"/>
                  </a:cubicBezTo>
                  <a:cubicBezTo>
                    <a:pt x="74" y="89"/>
                    <a:pt x="74" y="89"/>
                    <a:pt x="73" y="89"/>
                  </a:cubicBezTo>
                  <a:cubicBezTo>
                    <a:pt x="69" y="94"/>
                    <a:pt x="66" y="100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14"/>
                    <a:pt x="69" y="120"/>
                    <a:pt x="74" y="125"/>
                  </a:cubicBezTo>
                  <a:cubicBezTo>
                    <a:pt x="74" y="125"/>
                    <a:pt x="74" y="125"/>
                    <a:pt x="74" y="125"/>
                  </a:cubicBezTo>
                  <a:cubicBezTo>
                    <a:pt x="78" y="129"/>
                    <a:pt x="84" y="132"/>
                    <a:pt x="91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98" y="132"/>
                    <a:pt x="104" y="129"/>
                    <a:pt x="108" y="125"/>
                  </a:cubicBezTo>
                  <a:cubicBezTo>
                    <a:pt x="108" y="125"/>
                    <a:pt x="108" y="125"/>
                    <a:pt x="108" y="125"/>
                  </a:cubicBezTo>
                  <a:cubicBezTo>
                    <a:pt x="113" y="120"/>
                    <a:pt x="116" y="114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6" name="Group 242">
            <a:extLst>
              <a:ext uri="{FF2B5EF4-FFF2-40B4-BE49-F238E27FC236}">
                <a16:creationId xmlns:a16="http://schemas.microsoft.com/office/drawing/2014/main" id="{AD04B7B8-8B45-4CAE-8B9B-942BA24A0F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97838" y="5513388"/>
            <a:ext cx="758825" cy="758825"/>
            <a:chOff x="5101" y="3473"/>
            <a:chExt cx="478" cy="478"/>
          </a:xfrm>
        </p:grpSpPr>
        <p:sp>
          <p:nvSpPr>
            <p:cNvPr id="297" name="AutoShape 241">
              <a:extLst>
                <a:ext uri="{FF2B5EF4-FFF2-40B4-BE49-F238E27FC236}">
                  <a16:creationId xmlns:a16="http://schemas.microsoft.com/office/drawing/2014/main" id="{D2B18A1C-30AA-4739-B389-1BA53771CA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01" y="347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43">
              <a:extLst>
                <a:ext uri="{FF2B5EF4-FFF2-40B4-BE49-F238E27FC236}">
                  <a16:creationId xmlns:a16="http://schemas.microsoft.com/office/drawing/2014/main" id="{8F1F075E-F71B-490D-A01E-5D6F3DB1D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" y="347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44">
              <a:extLst>
                <a:ext uri="{FF2B5EF4-FFF2-40B4-BE49-F238E27FC236}">
                  <a16:creationId xmlns:a16="http://schemas.microsoft.com/office/drawing/2014/main" id="{A0DA60BD-F878-4FFB-B11B-6B9619755B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0" y="3743"/>
              <a:ext cx="68" cy="120"/>
            </a:xfrm>
            <a:custGeom>
              <a:avLst/>
              <a:gdLst>
                <a:gd name="T0" fmla="*/ 14 w 28"/>
                <a:gd name="T1" fmla="*/ 45 h 49"/>
                <a:gd name="T2" fmla="*/ 4 w 28"/>
                <a:gd name="T3" fmla="*/ 36 h 49"/>
                <a:gd name="T4" fmla="*/ 11 w 28"/>
                <a:gd name="T5" fmla="*/ 8 h 49"/>
                <a:gd name="T6" fmla="*/ 13 w 28"/>
                <a:gd name="T7" fmla="*/ 9 h 49"/>
                <a:gd name="T8" fmla="*/ 14 w 28"/>
                <a:gd name="T9" fmla="*/ 10 h 49"/>
                <a:gd name="T10" fmla="*/ 15 w 28"/>
                <a:gd name="T11" fmla="*/ 9 h 49"/>
                <a:gd name="T12" fmla="*/ 17 w 28"/>
                <a:gd name="T13" fmla="*/ 8 h 49"/>
                <a:gd name="T14" fmla="*/ 24 w 28"/>
                <a:gd name="T15" fmla="*/ 36 h 49"/>
                <a:gd name="T16" fmla="*/ 14 w 28"/>
                <a:gd name="T17" fmla="*/ 45 h 49"/>
                <a:gd name="T18" fmla="*/ 20 w 28"/>
                <a:gd name="T19" fmla="*/ 5 h 49"/>
                <a:gd name="T20" fmla="*/ 23 w 28"/>
                <a:gd name="T21" fmla="*/ 3 h 49"/>
                <a:gd name="T22" fmla="*/ 24 w 28"/>
                <a:gd name="T23" fmla="*/ 1 h 49"/>
                <a:gd name="T24" fmla="*/ 21 w 28"/>
                <a:gd name="T25" fmla="*/ 0 h 49"/>
                <a:gd name="T26" fmla="*/ 14 w 28"/>
                <a:gd name="T27" fmla="*/ 6 h 49"/>
                <a:gd name="T28" fmla="*/ 7 w 28"/>
                <a:gd name="T29" fmla="*/ 0 h 49"/>
                <a:gd name="T30" fmla="*/ 4 w 28"/>
                <a:gd name="T31" fmla="*/ 1 h 49"/>
                <a:gd name="T32" fmla="*/ 5 w 28"/>
                <a:gd name="T33" fmla="*/ 3 h 49"/>
                <a:gd name="T34" fmla="*/ 8 w 28"/>
                <a:gd name="T35" fmla="*/ 5 h 49"/>
                <a:gd name="T36" fmla="*/ 0 w 28"/>
                <a:gd name="T37" fmla="*/ 36 h 49"/>
                <a:gd name="T38" fmla="*/ 1 w 28"/>
                <a:gd name="T39" fmla="*/ 38 h 49"/>
                <a:gd name="T40" fmla="*/ 13 w 28"/>
                <a:gd name="T41" fmla="*/ 49 h 49"/>
                <a:gd name="T42" fmla="*/ 13 w 28"/>
                <a:gd name="T43" fmla="*/ 49 h 49"/>
                <a:gd name="T44" fmla="*/ 13 w 28"/>
                <a:gd name="T45" fmla="*/ 49 h 49"/>
                <a:gd name="T46" fmla="*/ 13 w 28"/>
                <a:gd name="T47" fmla="*/ 49 h 49"/>
                <a:gd name="T48" fmla="*/ 14 w 28"/>
                <a:gd name="T49" fmla="*/ 49 h 49"/>
                <a:gd name="T50" fmla="*/ 14 w 28"/>
                <a:gd name="T51" fmla="*/ 49 h 49"/>
                <a:gd name="T52" fmla="*/ 15 w 28"/>
                <a:gd name="T53" fmla="*/ 49 h 49"/>
                <a:gd name="T54" fmla="*/ 15 w 28"/>
                <a:gd name="T55" fmla="*/ 49 h 49"/>
                <a:gd name="T56" fmla="*/ 15 w 28"/>
                <a:gd name="T57" fmla="*/ 49 h 49"/>
                <a:gd name="T58" fmla="*/ 15 w 28"/>
                <a:gd name="T59" fmla="*/ 49 h 49"/>
                <a:gd name="T60" fmla="*/ 27 w 28"/>
                <a:gd name="T61" fmla="*/ 38 h 49"/>
                <a:gd name="T62" fmla="*/ 28 w 28"/>
                <a:gd name="T63" fmla="*/ 36 h 49"/>
                <a:gd name="T64" fmla="*/ 20 w 28"/>
                <a:gd name="T65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" h="49">
                  <a:moveTo>
                    <a:pt x="14" y="45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14" y="45"/>
                  </a:lnTo>
                  <a:close/>
                  <a:moveTo>
                    <a:pt x="20" y="5"/>
                  </a:move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4" y="1"/>
                    <a:pt x="24" y="1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4" y="1"/>
                    <a:pt x="4" y="2"/>
                    <a:pt x="5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1" y="38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7"/>
                    <a:pt x="28" y="37"/>
                    <a:pt x="28" y="36"/>
                  </a:cubicBezTo>
                  <a:lnTo>
                    <a:pt x="20" y="5"/>
                  </a:lnTo>
                  <a:close/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45">
              <a:extLst>
                <a:ext uri="{FF2B5EF4-FFF2-40B4-BE49-F238E27FC236}">
                  <a16:creationId xmlns:a16="http://schemas.microsoft.com/office/drawing/2014/main" id="{69170CD9-4EE8-46A7-9F7A-9489AE5553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9" y="3551"/>
              <a:ext cx="284" cy="324"/>
            </a:xfrm>
            <a:custGeom>
              <a:avLst/>
              <a:gdLst>
                <a:gd name="T0" fmla="*/ 98 w 116"/>
                <a:gd name="T1" fmla="*/ 127 h 132"/>
                <a:gd name="T2" fmla="*/ 84 w 116"/>
                <a:gd name="T3" fmla="*/ 127 h 132"/>
                <a:gd name="T4" fmla="*/ 80 w 116"/>
                <a:gd name="T5" fmla="*/ 93 h 132"/>
                <a:gd name="T6" fmla="*/ 80 w 116"/>
                <a:gd name="T7" fmla="*/ 93 h 132"/>
                <a:gd name="T8" fmla="*/ 105 w 116"/>
                <a:gd name="T9" fmla="*/ 90 h 132"/>
                <a:gd name="T10" fmla="*/ 93 w 116"/>
                <a:gd name="T11" fmla="*/ 109 h 132"/>
                <a:gd name="T12" fmla="*/ 93 w 116"/>
                <a:gd name="T13" fmla="*/ 115 h 132"/>
                <a:gd name="T14" fmla="*/ 93 w 116"/>
                <a:gd name="T15" fmla="*/ 127 h 132"/>
                <a:gd name="T16" fmla="*/ 89 w 116"/>
                <a:gd name="T17" fmla="*/ 127 h 132"/>
                <a:gd name="T18" fmla="*/ 80 w 116"/>
                <a:gd name="T19" fmla="*/ 109 h 132"/>
                <a:gd name="T20" fmla="*/ 82 w 116"/>
                <a:gd name="T21" fmla="*/ 117 h 132"/>
                <a:gd name="T22" fmla="*/ 89 w 116"/>
                <a:gd name="T23" fmla="*/ 105 h 132"/>
                <a:gd name="T24" fmla="*/ 89 w 116"/>
                <a:gd name="T25" fmla="*/ 99 h 132"/>
                <a:gd name="T26" fmla="*/ 89 w 116"/>
                <a:gd name="T27" fmla="*/ 87 h 132"/>
                <a:gd name="T28" fmla="*/ 93 w 116"/>
                <a:gd name="T29" fmla="*/ 99 h 132"/>
                <a:gd name="T30" fmla="*/ 93 w 116"/>
                <a:gd name="T31" fmla="*/ 105 h 132"/>
                <a:gd name="T32" fmla="*/ 99 w 116"/>
                <a:gd name="T33" fmla="*/ 94 h 132"/>
                <a:gd name="T34" fmla="*/ 95 w 116"/>
                <a:gd name="T35" fmla="*/ 88 h 132"/>
                <a:gd name="T36" fmla="*/ 103 w 116"/>
                <a:gd name="T37" fmla="*/ 96 h 132"/>
                <a:gd name="T38" fmla="*/ 75 w 116"/>
                <a:gd name="T39" fmla="*/ 93 h 132"/>
                <a:gd name="T40" fmla="*/ 70 w 116"/>
                <a:gd name="T41" fmla="*/ 105 h 132"/>
                <a:gd name="T42" fmla="*/ 77 w 116"/>
                <a:gd name="T43" fmla="*/ 109 h 132"/>
                <a:gd name="T44" fmla="*/ 70 w 116"/>
                <a:gd name="T45" fmla="*/ 109 h 132"/>
                <a:gd name="T46" fmla="*/ 105 w 116"/>
                <a:gd name="T47" fmla="*/ 109 h 132"/>
                <a:gd name="T48" fmla="*/ 51 w 116"/>
                <a:gd name="T49" fmla="*/ 74 h 132"/>
                <a:gd name="T50" fmla="*/ 39 w 116"/>
                <a:gd name="T51" fmla="*/ 58 h 132"/>
                <a:gd name="T52" fmla="*/ 25 w 116"/>
                <a:gd name="T53" fmla="*/ 37 h 132"/>
                <a:gd name="T54" fmla="*/ 28 w 116"/>
                <a:gd name="T55" fmla="*/ 31 h 132"/>
                <a:gd name="T56" fmla="*/ 29 w 116"/>
                <a:gd name="T57" fmla="*/ 30 h 132"/>
                <a:gd name="T58" fmla="*/ 29 w 116"/>
                <a:gd name="T59" fmla="*/ 30 h 132"/>
                <a:gd name="T60" fmla="*/ 29 w 116"/>
                <a:gd name="T61" fmla="*/ 29 h 132"/>
                <a:gd name="T62" fmla="*/ 29 w 116"/>
                <a:gd name="T63" fmla="*/ 29 h 132"/>
                <a:gd name="T64" fmla="*/ 66 w 116"/>
                <a:gd name="T65" fmla="*/ 9 h 132"/>
                <a:gd name="T66" fmla="*/ 72 w 116"/>
                <a:gd name="T67" fmla="*/ 30 h 132"/>
                <a:gd name="T68" fmla="*/ 73 w 116"/>
                <a:gd name="T69" fmla="*/ 30 h 132"/>
                <a:gd name="T70" fmla="*/ 73 w 116"/>
                <a:gd name="T71" fmla="*/ 42 h 132"/>
                <a:gd name="T72" fmla="*/ 62 w 116"/>
                <a:gd name="T73" fmla="*/ 59 h 132"/>
                <a:gd name="T74" fmla="*/ 116 w 116"/>
                <a:gd name="T75" fmla="*/ 107 h 132"/>
                <a:gd name="T76" fmla="*/ 108 w 116"/>
                <a:gd name="T77" fmla="*/ 89 h 132"/>
                <a:gd name="T78" fmla="*/ 91 w 116"/>
                <a:gd name="T79" fmla="*/ 76 h 132"/>
                <a:gd name="T80" fmla="*/ 67 w 116"/>
                <a:gd name="T81" fmla="*/ 67 h 132"/>
                <a:gd name="T82" fmla="*/ 75 w 116"/>
                <a:gd name="T83" fmla="*/ 46 h 132"/>
                <a:gd name="T84" fmla="*/ 68 w 116"/>
                <a:gd name="T85" fmla="*/ 7 h 132"/>
                <a:gd name="T86" fmla="*/ 26 w 116"/>
                <a:gd name="T87" fmla="*/ 28 h 132"/>
                <a:gd name="T88" fmla="*/ 36 w 116"/>
                <a:gd name="T89" fmla="*/ 60 h 132"/>
                <a:gd name="T90" fmla="*/ 34 w 116"/>
                <a:gd name="T91" fmla="*/ 67 h 132"/>
                <a:gd name="T92" fmla="*/ 4 w 116"/>
                <a:gd name="T93" fmla="*/ 87 h 132"/>
                <a:gd name="T94" fmla="*/ 27 w 116"/>
                <a:gd name="T95" fmla="*/ 114 h 132"/>
                <a:gd name="T96" fmla="*/ 28 w 116"/>
                <a:gd name="T97" fmla="*/ 111 h 132"/>
                <a:gd name="T98" fmla="*/ 13 w 116"/>
                <a:gd name="T99" fmla="*/ 78 h 132"/>
                <a:gd name="T100" fmla="*/ 37 w 116"/>
                <a:gd name="T101" fmla="*/ 70 h 132"/>
                <a:gd name="T102" fmla="*/ 51 w 116"/>
                <a:gd name="T103" fmla="*/ 78 h 132"/>
                <a:gd name="T104" fmla="*/ 65 w 116"/>
                <a:gd name="T105" fmla="*/ 70 h 132"/>
                <a:gd name="T106" fmla="*/ 89 w 116"/>
                <a:gd name="T107" fmla="*/ 78 h 132"/>
                <a:gd name="T108" fmla="*/ 91 w 116"/>
                <a:gd name="T109" fmla="*/ 82 h 132"/>
                <a:gd name="T110" fmla="*/ 73 w 116"/>
                <a:gd name="T111" fmla="*/ 89 h 132"/>
                <a:gd name="T112" fmla="*/ 66 w 116"/>
                <a:gd name="T113" fmla="*/ 107 h 132"/>
                <a:gd name="T114" fmla="*/ 74 w 116"/>
                <a:gd name="T115" fmla="*/ 125 h 132"/>
                <a:gd name="T116" fmla="*/ 108 w 116"/>
                <a:gd name="T117" fmla="*/ 125 h 132"/>
                <a:gd name="T118" fmla="*/ 116 w 116"/>
                <a:gd name="T119" fmla="*/ 10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" h="132">
                  <a:moveTo>
                    <a:pt x="102" y="121"/>
                  </a:moveTo>
                  <a:cubicBezTo>
                    <a:pt x="103" y="122"/>
                    <a:pt x="104" y="123"/>
                    <a:pt x="105" y="123"/>
                  </a:cubicBezTo>
                  <a:cubicBezTo>
                    <a:pt x="103" y="125"/>
                    <a:pt x="100" y="126"/>
                    <a:pt x="98" y="127"/>
                  </a:cubicBezTo>
                  <a:cubicBezTo>
                    <a:pt x="99" y="126"/>
                    <a:pt x="101" y="124"/>
                    <a:pt x="102" y="121"/>
                  </a:cubicBezTo>
                  <a:moveTo>
                    <a:pt x="80" y="121"/>
                  </a:moveTo>
                  <a:cubicBezTo>
                    <a:pt x="81" y="124"/>
                    <a:pt x="83" y="126"/>
                    <a:pt x="84" y="127"/>
                  </a:cubicBezTo>
                  <a:cubicBezTo>
                    <a:pt x="82" y="126"/>
                    <a:pt x="79" y="125"/>
                    <a:pt x="77" y="123"/>
                  </a:cubicBezTo>
                  <a:cubicBezTo>
                    <a:pt x="78" y="123"/>
                    <a:pt x="79" y="122"/>
                    <a:pt x="80" y="121"/>
                  </a:cubicBezTo>
                  <a:moveTo>
                    <a:pt x="80" y="93"/>
                  </a:moveTo>
                  <a:cubicBezTo>
                    <a:pt x="79" y="92"/>
                    <a:pt x="78" y="91"/>
                    <a:pt x="77" y="90"/>
                  </a:cubicBezTo>
                  <a:cubicBezTo>
                    <a:pt x="79" y="89"/>
                    <a:pt x="82" y="87"/>
                    <a:pt x="84" y="86"/>
                  </a:cubicBezTo>
                  <a:cubicBezTo>
                    <a:pt x="83" y="88"/>
                    <a:pt x="81" y="90"/>
                    <a:pt x="80" y="93"/>
                  </a:cubicBezTo>
                  <a:moveTo>
                    <a:pt x="102" y="93"/>
                  </a:moveTo>
                  <a:cubicBezTo>
                    <a:pt x="101" y="90"/>
                    <a:pt x="99" y="88"/>
                    <a:pt x="98" y="86"/>
                  </a:cubicBezTo>
                  <a:cubicBezTo>
                    <a:pt x="100" y="87"/>
                    <a:pt x="103" y="89"/>
                    <a:pt x="105" y="90"/>
                  </a:cubicBezTo>
                  <a:cubicBezTo>
                    <a:pt x="104" y="91"/>
                    <a:pt x="103" y="92"/>
                    <a:pt x="102" y="93"/>
                  </a:cubicBezTo>
                  <a:moveTo>
                    <a:pt x="93" y="115"/>
                  </a:moveTo>
                  <a:cubicBezTo>
                    <a:pt x="93" y="109"/>
                    <a:pt x="93" y="109"/>
                    <a:pt x="93" y="109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2" y="112"/>
                    <a:pt x="101" y="114"/>
                    <a:pt x="100" y="117"/>
                  </a:cubicBezTo>
                  <a:cubicBezTo>
                    <a:pt x="98" y="116"/>
                    <a:pt x="96" y="115"/>
                    <a:pt x="93" y="115"/>
                  </a:cubicBezTo>
                  <a:moveTo>
                    <a:pt x="93" y="119"/>
                  </a:moveTo>
                  <a:cubicBezTo>
                    <a:pt x="95" y="119"/>
                    <a:pt x="97" y="119"/>
                    <a:pt x="99" y="120"/>
                  </a:cubicBezTo>
                  <a:cubicBezTo>
                    <a:pt x="97" y="124"/>
                    <a:pt x="95" y="126"/>
                    <a:pt x="93" y="127"/>
                  </a:cubicBezTo>
                  <a:lnTo>
                    <a:pt x="93" y="119"/>
                  </a:lnTo>
                  <a:close/>
                  <a:moveTo>
                    <a:pt x="89" y="119"/>
                  </a:moveTo>
                  <a:cubicBezTo>
                    <a:pt x="89" y="127"/>
                    <a:pt x="89" y="127"/>
                    <a:pt x="89" y="127"/>
                  </a:cubicBezTo>
                  <a:cubicBezTo>
                    <a:pt x="87" y="126"/>
                    <a:pt x="85" y="124"/>
                    <a:pt x="83" y="120"/>
                  </a:cubicBezTo>
                  <a:cubicBezTo>
                    <a:pt x="85" y="119"/>
                    <a:pt x="87" y="119"/>
                    <a:pt x="89" y="119"/>
                  </a:cubicBezTo>
                  <a:moveTo>
                    <a:pt x="80" y="109"/>
                  </a:moveTo>
                  <a:cubicBezTo>
                    <a:pt x="89" y="109"/>
                    <a:pt x="89" y="109"/>
                    <a:pt x="89" y="109"/>
                  </a:cubicBezTo>
                  <a:cubicBezTo>
                    <a:pt x="89" y="115"/>
                    <a:pt x="89" y="115"/>
                    <a:pt x="89" y="115"/>
                  </a:cubicBezTo>
                  <a:cubicBezTo>
                    <a:pt x="86" y="115"/>
                    <a:pt x="84" y="116"/>
                    <a:pt x="82" y="117"/>
                  </a:cubicBezTo>
                  <a:cubicBezTo>
                    <a:pt x="81" y="114"/>
                    <a:pt x="80" y="112"/>
                    <a:pt x="80" y="109"/>
                  </a:cubicBezTo>
                  <a:moveTo>
                    <a:pt x="89" y="99"/>
                  </a:moveTo>
                  <a:cubicBezTo>
                    <a:pt x="89" y="105"/>
                    <a:pt x="89" y="105"/>
                    <a:pt x="89" y="105"/>
                  </a:cubicBezTo>
                  <a:cubicBezTo>
                    <a:pt x="80" y="105"/>
                    <a:pt x="80" y="105"/>
                    <a:pt x="80" y="105"/>
                  </a:cubicBezTo>
                  <a:cubicBezTo>
                    <a:pt x="80" y="102"/>
                    <a:pt x="81" y="99"/>
                    <a:pt x="82" y="97"/>
                  </a:cubicBezTo>
                  <a:cubicBezTo>
                    <a:pt x="84" y="98"/>
                    <a:pt x="86" y="98"/>
                    <a:pt x="89" y="99"/>
                  </a:cubicBezTo>
                  <a:moveTo>
                    <a:pt x="89" y="95"/>
                  </a:moveTo>
                  <a:cubicBezTo>
                    <a:pt x="87" y="95"/>
                    <a:pt x="85" y="95"/>
                    <a:pt x="83" y="94"/>
                  </a:cubicBezTo>
                  <a:cubicBezTo>
                    <a:pt x="85" y="90"/>
                    <a:pt x="87" y="88"/>
                    <a:pt x="89" y="87"/>
                  </a:cubicBezTo>
                  <a:lnTo>
                    <a:pt x="89" y="95"/>
                  </a:lnTo>
                  <a:close/>
                  <a:moveTo>
                    <a:pt x="93" y="105"/>
                  </a:moveTo>
                  <a:cubicBezTo>
                    <a:pt x="93" y="99"/>
                    <a:pt x="93" y="99"/>
                    <a:pt x="93" y="99"/>
                  </a:cubicBezTo>
                  <a:cubicBezTo>
                    <a:pt x="96" y="98"/>
                    <a:pt x="98" y="98"/>
                    <a:pt x="100" y="97"/>
                  </a:cubicBezTo>
                  <a:cubicBezTo>
                    <a:pt x="101" y="99"/>
                    <a:pt x="102" y="102"/>
                    <a:pt x="102" y="105"/>
                  </a:cubicBezTo>
                  <a:lnTo>
                    <a:pt x="93" y="105"/>
                  </a:lnTo>
                  <a:close/>
                  <a:moveTo>
                    <a:pt x="95" y="88"/>
                  </a:moveTo>
                  <a:cubicBezTo>
                    <a:pt x="95" y="89"/>
                    <a:pt x="95" y="89"/>
                    <a:pt x="96" y="89"/>
                  </a:cubicBezTo>
                  <a:cubicBezTo>
                    <a:pt x="97" y="91"/>
                    <a:pt x="98" y="92"/>
                    <a:pt x="99" y="94"/>
                  </a:cubicBezTo>
                  <a:cubicBezTo>
                    <a:pt x="97" y="95"/>
                    <a:pt x="95" y="95"/>
                    <a:pt x="93" y="95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3" y="87"/>
                    <a:pt x="94" y="88"/>
                    <a:pt x="95" y="88"/>
                  </a:cubicBezTo>
                  <a:moveTo>
                    <a:pt x="112" y="105"/>
                  </a:moveTo>
                  <a:cubicBezTo>
                    <a:pt x="105" y="105"/>
                    <a:pt x="105" y="105"/>
                    <a:pt x="105" y="105"/>
                  </a:cubicBezTo>
                  <a:cubicBezTo>
                    <a:pt x="105" y="102"/>
                    <a:pt x="104" y="98"/>
                    <a:pt x="103" y="96"/>
                  </a:cubicBezTo>
                  <a:cubicBezTo>
                    <a:pt x="105" y="95"/>
                    <a:pt x="106" y="94"/>
                    <a:pt x="107" y="93"/>
                  </a:cubicBezTo>
                  <a:cubicBezTo>
                    <a:pt x="110" y="96"/>
                    <a:pt x="112" y="100"/>
                    <a:pt x="112" y="105"/>
                  </a:cubicBezTo>
                  <a:moveTo>
                    <a:pt x="75" y="93"/>
                  </a:moveTo>
                  <a:cubicBezTo>
                    <a:pt x="75" y="94"/>
                    <a:pt x="77" y="95"/>
                    <a:pt x="78" y="96"/>
                  </a:cubicBezTo>
                  <a:cubicBezTo>
                    <a:pt x="78" y="98"/>
                    <a:pt x="77" y="102"/>
                    <a:pt x="77" y="105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70" y="100"/>
                    <a:pt x="72" y="96"/>
                    <a:pt x="75" y="93"/>
                  </a:cubicBezTo>
                  <a:moveTo>
                    <a:pt x="70" y="109"/>
                  </a:moveTo>
                  <a:cubicBezTo>
                    <a:pt x="77" y="109"/>
                    <a:pt x="77" y="109"/>
                    <a:pt x="77" y="109"/>
                  </a:cubicBezTo>
                  <a:cubicBezTo>
                    <a:pt x="77" y="112"/>
                    <a:pt x="78" y="115"/>
                    <a:pt x="78" y="118"/>
                  </a:cubicBezTo>
                  <a:cubicBezTo>
                    <a:pt x="77" y="119"/>
                    <a:pt x="75" y="120"/>
                    <a:pt x="75" y="121"/>
                  </a:cubicBezTo>
                  <a:cubicBezTo>
                    <a:pt x="72" y="118"/>
                    <a:pt x="70" y="113"/>
                    <a:pt x="70" y="109"/>
                  </a:cubicBezTo>
                  <a:moveTo>
                    <a:pt x="107" y="121"/>
                  </a:moveTo>
                  <a:cubicBezTo>
                    <a:pt x="106" y="120"/>
                    <a:pt x="105" y="119"/>
                    <a:pt x="103" y="118"/>
                  </a:cubicBezTo>
                  <a:cubicBezTo>
                    <a:pt x="104" y="115"/>
                    <a:pt x="105" y="112"/>
                    <a:pt x="105" y="109"/>
                  </a:cubicBezTo>
                  <a:cubicBezTo>
                    <a:pt x="112" y="109"/>
                    <a:pt x="112" y="109"/>
                    <a:pt x="112" y="109"/>
                  </a:cubicBezTo>
                  <a:cubicBezTo>
                    <a:pt x="112" y="113"/>
                    <a:pt x="110" y="118"/>
                    <a:pt x="107" y="121"/>
                  </a:cubicBezTo>
                  <a:moveTo>
                    <a:pt x="51" y="74"/>
                  </a:moveTo>
                  <a:cubicBezTo>
                    <a:pt x="39" y="64"/>
                    <a:pt x="39" y="64"/>
                    <a:pt x="39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8"/>
                    <a:pt x="39" y="58"/>
                  </a:cubicBezTo>
                  <a:cubicBezTo>
                    <a:pt x="35" y="55"/>
                    <a:pt x="32" y="50"/>
                    <a:pt x="30" y="44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7" y="42"/>
                    <a:pt x="25" y="40"/>
                    <a:pt x="25" y="37"/>
                  </a:cubicBezTo>
                  <a:cubicBezTo>
                    <a:pt x="25" y="34"/>
                    <a:pt x="26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9" y="31"/>
                    <a:pt x="29" y="31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17"/>
                    <a:pt x="36" y="9"/>
                  </a:cubicBezTo>
                  <a:cubicBezTo>
                    <a:pt x="40" y="5"/>
                    <a:pt x="45" y="4"/>
                    <a:pt x="51" y="4"/>
                  </a:cubicBezTo>
                  <a:cubicBezTo>
                    <a:pt x="57" y="4"/>
                    <a:pt x="62" y="5"/>
                    <a:pt x="66" y="9"/>
                  </a:cubicBezTo>
                  <a:cubicBezTo>
                    <a:pt x="73" y="17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0"/>
                    <a:pt x="72" y="30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30"/>
                    <a:pt x="73" y="31"/>
                    <a:pt x="74" y="31"/>
                  </a:cubicBezTo>
                  <a:cubicBezTo>
                    <a:pt x="75" y="31"/>
                    <a:pt x="77" y="34"/>
                    <a:pt x="77" y="37"/>
                  </a:cubicBezTo>
                  <a:cubicBezTo>
                    <a:pt x="77" y="40"/>
                    <a:pt x="75" y="42"/>
                    <a:pt x="73" y="42"/>
                  </a:cubicBezTo>
                  <a:cubicBezTo>
                    <a:pt x="72" y="43"/>
                    <a:pt x="72" y="43"/>
                    <a:pt x="72" y="44"/>
                  </a:cubicBezTo>
                  <a:cubicBezTo>
                    <a:pt x="70" y="50"/>
                    <a:pt x="67" y="55"/>
                    <a:pt x="63" y="58"/>
                  </a:cubicBezTo>
                  <a:cubicBezTo>
                    <a:pt x="62" y="58"/>
                    <a:pt x="62" y="59"/>
                    <a:pt x="62" y="59"/>
                  </a:cubicBezTo>
                  <a:cubicBezTo>
                    <a:pt x="62" y="64"/>
                    <a:pt x="62" y="64"/>
                    <a:pt x="62" y="64"/>
                  </a:cubicBezTo>
                  <a:lnTo>
                    <a:pt x="51" y="74"/>
                  </a:lnTo>
                  <a:close/>
                  <a:moveTo>
                    <a:pt x="116" y="107"/>
                  </a:moveTo>
                  <a:cubicBezTo>
                    <a:pt x="116" y="107"/>
                    <a:pt x="116" y="107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16" y="100"/>
                    <a:pt x="113" y="94"/>
                    <a:pt x="108" y="89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5" y="86"/>
                    <a:pt x="101" y="83"/>
                    <a:pt x="96" y="82"/>
                  </a:cubicBezTo>
                  <a:cubicBezTo>
                    <a:pt x="95" y="80"/>
                    <a:pt x="93" y="77"/>
                    <a:pt x="91" y="76"/>
                  </a:cubicBezTo>
                  <a:cubicBezTo>
                    <a:pt x="89" y="74"/>
                    <a:pt x="86" y="72"/>
                    <a:pt x="84" y="72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6" y="66"/>
                    <a:pt x="66" y="66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70" y="56"/>
                    <a:pt x="73" y="51"/>
                    <a:pt x="75" y="46"/>
                  </a:cubicBezTo>
                  <a:cubicBezTo>
                    <a:pt x="78" y="45"/>
                    <a:pt x="80" y="41"/>
                    <a:pt x="80" y="37"/>
                  </a:cubicBezTo>
                  <a:cubicBezTo>
                    <a:pt x="80" y="33"/>
                    <a:pt x="78" y="29"/>
                    <a:pt x="76" y="28"/>
                  </a:cubicBezTo>
                  <a:cubicBezTo>
                    <a:pt x="76" y="24"/>
                    <a:pt x="75" y="14"/>
                    <a:pt x="68" y="7"/>
                  </a:cubicBezTo>
                  <a:cubicBezTo>
                    <a:pt x="64" y="2"/>
                    <a:pt x="58" y="0"/>
                    <a:pt x="51" y="0"/>
                  </a:cubicBezTo>
                  <a:cubicBezTo>
                    <a:pt x="44" y="0"/>
                    <a:pt x="38" y="2"/>
                    <a:pt x="34" y="7"/>
                  </a:cubicBezTo>
                  <a:cubicBezTo>
                    <a:pt x="27" y="14"/>
                    <a:pt x="26" y="24"/>
                    <a:pt x="26" y="28"/>
                  </a:cubicBezTo>
                  <a:cubicBezTo>
                    <a:pt x="23" y="29"/>
                    <a:pt x="22" y="33"/>
                    <a:pt x="22" y="37"/>
                  </a:cubicBezTo>
                  <a:cubicBezTo>
                    <a:pt x="22" y="41"/>
                    <a:pt x="24" y="45"/>
                    <a:pt x="27" y="46"/>
                  </a:cubicBezTo>
                  <a:cubicBezTo>
                    <a:pt x="29" y="51"/>
                    <a:pt x="32" y="56"/>
                    <a:pt x="36" y="60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6"/>
                    <a:pt x="35" y="67"/>
                    <a:pt x="35" y="67"/>
                  </a:cubicBezTo>
                  <a:cubicBezTo>
                    <a:pt x="35" y="67"/>
                    <a:pt x="35" y="67"/>
                    <a:pt x="34" y="67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6" y="72"/>
                    <a:pt x="13" y="74"/>
                    <a:pt x="11" y="76"/>
                  </a:cubicBezTo>
                  <a:cubicBezTo>
                    <a:pt x="7" y="79"/>
                    <a:pt x="5" y="83"/>
                    <a:pt x="4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8"/>
                    <a:pt x="0" y="108"/>
                    <a:pt x="1" y="109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28" y="114"/>
                    <a:pt x="28" y="114"/>
                  </a:cubicBezTo>
                  <a:cubicBezTo>
                    <a:pt x="29" y="114"/>
                    <a:pt x="29" y="113"/>
                    <a:pt x="29" y="113"/>
                  </a:cubicBezTo>
                  <a:cubicBezTo>
                    <a:pt x="30" y="112"/>
                    <a:pt x="29" y="111"/>
                    <a:pt x="28" y="111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4"/>
                    <a:pt x="10" y="81"/>
                    <a:pt x="13" y="78"/>
                  </a:cubicBezTo>
                  <a:cubicBezTo>
                    <a:pt x="15" y="77"/>
                    <a:pt x="17" y="76"/>
                    <a:pt x="19" y="75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6" y="70"/>
                    <a:pt x="36" y="70"/>
                    <a:pt x="37" y="70"/>
                  </a:cubicBezTo>
                  <a:cubicBezTo>
                    <a:pt x="38" y="69"/>
                    <a:pt x="38" y="68"/>
                    <a:pt x="39" y="6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8"/>
                    <a:pt x="64" y="69"/>
                    <a:pt x="65" y="70"/>
                  </a:cubicBezTo>
                  <a:cubicBezTo>
                    <a:pt x="66" y="70"/>
                    <a:pt x="66" y="70"/>
                    <a:pt x="67" y="70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5" y="76"/>
                    <a:pt x="87" y="77"/>
                    <a:pt x="89" y="78"/>
                  </a:cubicBezTo>
                  <a:cubicBezTo>
                    <a:pt x="90" y="79"/>
                    <a:pt x="91" y="81"/>
                    <a:pt x="92" y="82"/>
                  </a:cubicBezTo>
                  <a:cubicBezTo>
                    <a:pt x="92" y="82"/>
                    <a:pt x="91" y="82"/>
                    <a:pt x="91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84" y="82"/>
                    <a:pt x="78" y="85"/>
                    <a:pt x="74" y="89"/>
                  </a:cubicBezTo>
                  <a:cubicBezTo>
                    <a:pt x="74" y="89"/>
                    <a:pt x="74" y="89"/>
                    <a:pt x="73" y="89"/>
                  </a:cubicBezTo>
                  <a:cubicBezTo>
                    <a:pt x="69" y="94"/>
                    <a:pt x="66" y="100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14"/>
                    <a:pt x="69" y="120"/>
                    <a:pt x="74" y="125"/>
                  </a:cubicBezTo>
                  <a:cubicBezTo>
                    <a:pt x="74" y="125"/>
                    <a:pt x="74" y="125"/>
                    <a:pt x="74" y="125"/>
                  </a:cubicBezTo>
                  <a:cubicBezTo>
                    <a:pt x="78" y="129"/>
                    <a:pt x="84" y="132"/>
                    <a:pt x="91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98" y="132"/>
                    <a:pt x="104" y="129"/>
                    <a:pt x="108" y="125"/>
                  </a:cubicBezTo>
                  <a:cubicBezTo>
                    <a:pt x="108" y="125"/>
                    <a:pt x="108" y="125"/>
                    <a:pt x="108" y="125"/>
                  </a:cubicBezTo>
                  <a:cubicBezTo>
                    <a:pt x="113" y="120"/>
                    <a:pt x="116" y="114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16" y="107"/>
                    <a:pt x="116" y="107"/>
                    <a:pt x="116" y="107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80090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68D35F-2643-422D-9C91-69B9F00ED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649896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entralized &amp; Scalable Solu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sistent, Integrated Approac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ient Centric Service Deliver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w – Ionic Capital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ales of Justic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ance &amp; Insur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cure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anc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st Man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pu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dit Card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dit Card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alth Safeguard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alle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cure Credit Car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obal Cit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gistic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Jump To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reehol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23" name="Group 4">
            <a:extLst>
              <a:ext uri="{FF2B5EF4-FFF2-40B4-BE49-F238E27FC236}">
                <a16:creationId xmlns:a16="http://schemas.microsoft.com/office/drawing/2014/main" id="{411325C8-F3AF-4BB0-9717-4A849FDA09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8300" y="265113"/>
            <a:ext cx="841375" cy="841375"/>
            <a:chOff x="232" y="167"/>
            <a:chExt cx="530" cy="53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4818D471-534F-41A1-8811-690526B8B2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2" y="1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5">
              <a:extLst>
                <a:ext uri="{FF2B5EF4-FFF2-40B4-BE49-F238E27FC236}">
                  <a16:creationId xmlns:a16="http://schemas.microsoft.com/office/drawing/2014/main" id="{BE2FA24F-5E59-4795-8CC6-69614453A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" y="1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6675DB62-2C12-456E-8F92-3E42F80FE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" y="1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3A4990E8-640A-4D95-9C81-79ABCA55A6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" y="354"/>
              <a:ext cx="113" cy="120"/>
            </a:xfrm>
            <a:custGeom>
              <a:avLst/>
              <a:gdLst>
                <a:gd name="T0" fmla="*/ 35 w 44"/>
                <a:gd name="T1" fmla="*/ 36 h 47"/>
                <a:gd name="T2" fmla="*/ 31 w 44"/>
                <a:gd name="T3" fmla="*/ 44 h 47"/>
                <a:gd name="T4" fmla="*/ 13 w 44"/>
                <a:gd name="T5" fmla="*/ 44 h 47"/>
                <a:gd name="T6" fmla="*/ 9 w 44"/>
                <a:gd name="T7" fmla="*/ 36 h 47"/>
                <a:gd name="T8" fmla="*/ 4 w 44"/>
                <a:gd name="T9" fmla="*/ 21 h 47"/>
                <a:gd name="T10" fmla="*/ 21 w 44"/>
                <a:gd name="T11" fmla="*/ 4 h 47"/>
                <a:gd name="T12" fmla="*/ 35 w 44"/>
                <a:gd name="T13" fmla="*/ 9 h 47"/>
                <a:gd name="T14" fmla="*/ 40 w 44"/>
                <a:gd name="T15" fmla="*/ 23 h 47"/>
                <a:gd name="T16" fmla="*/ 35 w 44"/>
                <a:gd name="T17" fmla="*/ 36 h 47"/>
                <a:gd name="T18" fmla="*/ 20 w 44"/>
                <a:gd name="T19" fmla="*/ 1 h 47"/>
                <a:gd name="T20" fmla="*/ 0 w 44"/>
                <a:gd name="T21" fmla="*/ 21 h 47"/>
                <a:gd name="T22" fmla="*/ 6 w 44"/>
                <a:gd name="T23" fmla="*/ 38 h 47"/>
                <a:gd name="T24" fmla="*/ 9 w 44"/>
                <a:gd name="T25" fmla="*/ 45 h 47"/>
                <a:gd name="T26" fmla="*/ 11 w 44"/>
                <a:gd name="T27" fmla="*/ 47 h 47"/>
                <a:gd name="T28" fmla="*/ 33 w 44"/>
                <a:gd name="T29" fmla="*/ 47 h 47"/>
                <a:gd name="T30" fmla="*/ 35 w 44"/>
                <a:gd name="T31" fmla="*/ 45 h 47"/>
                <a:gd name="T32" fmla="*/ 37 w 44"/>
                <a:gd name="T33" fmla="*/ 38 h 47"/>
                <a:gd name="T34" fmla="*/ 44 w 44"/>
                <a:gd name="T35" fmla="*/ 23 h 47"/>
                <a:gd name="T36" fmla="*/ 37 w 44"/>
                <a:gd name="T37" fmla="*/ 7 h 47"/>
                <a:gd name="T38" fmla="*/ 20 w 44"/>
                <a:gd name="T3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47">
                  <a:moveTo>
                    <a:pt x="35" y="36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2" y="41"/>
                    <a:pt x="11" y="38"/>
                    <a:pt x="9" y="36"/>
                  </a:cubicBezTo>
                  <a:cubicBezTo>
                    <a:pt x="5" y="32"/>
                    <a:pt x="3" y="26"/>
                    <a:pt x="4" y="21"/>
                  </a:cubicBezTo>
                  <a:cubicBezTo>
                    <a:pt x="4" y="12"/>
                    <a:pt x="12" y="5"/>
                    <a:pt x="21" y="4"/>
                  </a:cubicBezTo>
                  <a:cubicBezTo>
                    <a:pt x="26" y="4"/>
                    <a:pt x="31" y="6"/>
                    <a:pt x="35" y="9"/>
                  </a:cubicBezTo>
                  <a:cubicBezTo>
                    <a:pt x="38" y="13"/>
                    <a:pt x="40" y="18"/>
                    <a:pt x="40" y="23"/>
                  </a:cubicBezTo>
                  <a:cubicBezTo>
                    <a:pt x="40" y="28"/>
                    <a:pt x="39" y="32"/>
                    <a:pt x="35" y="36"/>
                  </a:cubicBezTo>
                  <a:moveTo>
                    <a:pt x="20" y="1"/>
                  </a:moveTo>
                  <a:cubicBezTo>
                    <a:pt x="10" y="1"/>
                    <a:pt x="1" y="10"/>
                    <a:pt x="0" y="21"/>
                  </a:cubicBezTo>
                  <a:cubicBezTo>
                    <a:pt x="0" y="27"/>
                    <a:pt x="2" y="33"/>
                    <a:pt x="6" y="38"/>
                  </a:cubicBezTo>
                  <a:cubicBezTo>
                    <a:pt x="8" y="40"/>
                    <a:pt x="9" y="43"/>
                    <a:pt x="9" y="45"/>
                  </a:cubicBezTo>
                  <a:cubicBezTo>
                    <a:pt x="9" y="46"/>
                    <a:pt x="10" y="47"/>
                    <a:pt x="11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7"/>
                    <a:pt x="35" y="46"/>
                    <a:pt x="35" y="45"/>
                  </a:cubicBezTo>
                  <a:cubicBezTo>
                    <a:pt x="35" y="43"/>
                    <a:pt x="36" y="40"/>
                    <a:pt x="37" y="38"/>
                  </a:cubicBezTo>
                  <a:cubicBezTo>
                    <a:pt x="42" y="34"/>
                    <a:pt x="44" y="29"/>
                    <a:pt x="44" y="23"/>
                  </a:cubicBezTo>
                  <a:cubicBezTo>
                    <a:pt x="44" y="17"/>
                    <a:pt x="41" y="11"/>
                    <a:pt x="37" y="7"/>
                  </a:cubicBezTo>
                  <a:cubicBezTo>
                    <a:pt x="32" y="2"/>
                    <a:pt x="27" y="0"/>
                    <a:pt x="20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5F0CCCE1-1F5C-4EFD-AC95-253D18A03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" y="477"/>
              <a:ext cx="66" cy="7"/>
            </a:xfrm>
            <a:custGeom>
              <a:avLst/>
              <a:gdLst>
                <a:gd name="T0" fmla="*/ 24 w 26"/>
                <a:gd name="T1" fmla="*/ 0 h 3"/>
                <a:gd name="T2" fmla="*/ 2 w 26"/>
                <a:gd name="T3" fmla="*/ 0 h 3"/>
                <a:gd name="T4" fmla="*/ 0 w 26"/>
                <a:gd name="T5" fmla="*/ 2 h 3"/>
                <a:gd name="T6" fmla="*/ 2 w 26"/>
                <a:gd name="T7" fmla="*/ 3 h 3"/>
                <a:gd name="T8" fmla="*/ 24 w 26"/>
                <a:gd name="T9" fmla="*/ 3 h 3"/>
                <a:gd name="T10" fmla="*/ 26 w 26"/>
                <a:gd name="T11" fmla="*/ 2 h 3"/>
                <a:gd name="T12" fmla="*/ 24 w 2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"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6" y="3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1E084EA8-2093-43DD-AE10-AD3DBF7E0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" y="487"/>
              <a:ext cx="66" cy="49"/>
            </a:xfrm>
            <a:custGeom>
              <a:avLst/>
              <a:gdLst>
                <a:gd name="T0" fmla="*/ 22 w 26"/>
                <a:gd name="T1" fmla="*/ 8 h 19"/>
                <a:gd name="T2" fmla="*/ 19 w 26"/>
                <a:gd name="T3" fmla="*/ 11 h 19"/>
                <a:gd name="T4" fmla="*/ 7 w 26"/>
                <a:gd name="T5" fmla="*/ 11 h 19"/>
                <a:gd name="T6" fmla="*/ 4 w 26"/>
                <a:gd name="T7" fmla="*/ 8 h 19"/>
                <a:gd name="T8" fmla="*/ 4 w 26"/>
                <a:gd name="T9" fmla="*/ 4 h 19"/>
                <a:gd name="T10" fmla="*/ 22 w 26"/>
                <a:gd name="T11" fmla="*/ 4 h 19"/>
                <a:gd name="T12" fmla="*/ 22 w 26"/>
                <a:gd name="T13" fmla="*/ 8 h 19"/>
                <a:gd name="T14" fmla="*/ 13 w 26"/>
                <a:gd name="T15" fmla="*/ 15 h 19"/>
                <a:gd name="T16" fmla="*/ 12 w 26"/>
                <a:gd name="T17" fmla="*/ 14 h 19"/>
                <a:gd name="T18" fmla="*/ 14 w 26"/>
                <a:gd name="T19" fmla="*/ 14 h 19"/>
                <a:gd name="T20" fmla="*/ 13 w 26"/>
                <a:gd name="T21" fmla="*/ 15 h 19"/>
                <a:gd name="T22" fmla="*/ 24 w 26"/>
                <a:gd name="T23" fmla="*/ 0 h 19"/>
                <a:gd name="T24" fmla="*/ 2 w 26"/>
                <a:gd name="T25" fmla="*/ 0 h 19"/>
                <a:gd name="T26" fmla="*/ 0 w 26"/>
                <a:gd name="T27" fmla="*/ 2 h 19"/>
                <a:gd name="T28" fmla="*/ 0 w 26"/>
                <a:gd name="T29" fmla="*/ 8 h 19"/>
                <a:gd name="T30" fmla="*/ 7 w 26"/>
                <a:gd name="T31" fmla="*/ 14 h 19"/>
                <a:gd name="T32" fmla="*/ 8 w 26"/>
                <a:gd name="T33" fmla="*/ 14 h 19"/>
                <a:gd name="T34" fmla="*/ 13 w 26"/>
                <a:gd name="T35" fmla="*/ 19 h 19"/>
                <a:gd name="T36" fmla="*/ 18 w 26"/>
                <a:gd name="T37" fmla="*/ 14 h 19"/>
                <a:gd name="T38" fmla="*/ 19 w 26"/>
                <a:gd name="T39" fmla="*/ 14 h 19"/>
                <a:gd name="T40" fmla="*/ 26 w 26"/>
                <a:gd name="T41" fmla="*/ 8 h 19"/>
                <a:gd name="T42" fmla="*/ 26 w 26"/>
                <a:gd name="T43" fmla="*/ 2 h 19"/>
                <a:gd name="T44" fmla="*/ 24 w 26"/>
                <a:gd name="T4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" h="19">
                  <a:moveTo>
                    <a:pt x="22" y="8"/>
                  </a:moveTo>
                  <a:cubicBezTo>
                    <a:pt x="22" y="9"/>
                    <a:pt x="21" y="11"/>
                    <a:pt x="1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5" y="11"/>
                    <a:pt x="4" y="9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8"/>
                  </a:lnTo>
                  <a:close/>
                  <a:moveTo>
                    <a:pt x="13" y="15"/>
                  </a:moveTo>
                  <a:cubicBezTo>
                    <a:pt x="12" y="15"/>
                    <a:pt x="12" y="15"/>
                    <a:pt x="1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3" y="15"/>
                  </a:cubicBezTo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7"/>
                    <a:pt x="10" y="19"/>
                    <a:pt x="13" y="19"/>
                  </a:cubicBezTo>
                  <a:cubicBezTo>
                    <a:pt x="16" y="19"/>
                    <a:pt x="18" y="17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6" y="11"/>
                    <a:pt x="26" y="8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32E69B0F-F3BF-4823-9696-7687E6DDE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" y="331"/>
              <a:ext cx="10" cy="20"/>
            </a:xfrm>
            <a:custGeom>
              <a:avLst/>
              <a:gdLst>
                <a:gd name="T0" fmla="*/ 2 w 4"/>
                <a:gd name="T1" fmla="*/ 8 h 8"/>
                <a:gd name="T2" fmla="*/ 4 w 4"/>
                <a:gd name="T3" fmla="*/ 7 h 8"/>
                <a:gd name="T4" fmla="*/ 4 w 4"/>
                <a:gd name="T5" fmla="*/ 2 h 8"/>
                <a:gd name="T6" fmla="*/ 2 w 4"/>
                <a:gd name="T7" fmla="*/ 0 h 8"/>
                <a:gd name="T8" fmla="*/ 0 w 4"/>
                <a:gd name="T9" fmla="*/ 2 h 8"/>
                <a:gd name="T10" fmla="*/ 0 w 4"/>
                <a:gd name="T11" fmla="*/ 7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3" y="8"/>
                    <a:pt x="4" y="8"/>
                    <a:pt x="4" y="7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E0FBCC2E-BCF0-4865-AA29-FBF408936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" y="336"/>
              <a:ext cx="13" cy="20"/>
            </a:xfrm>
            <a:custGeom>
              <a:avLst/>
              <a:gdLst>
                <a:gd name="T0" fmla="*/ 2 w 5"/>
                <a:gd name="T1" fmla="*/ 7 h 8"/>
                <a:gd name="T2" fmla="*/ 3 w 5"/>
                <a:gd name="T3" fmla="*/ 8 h 8"/>
                <a:gd name="T4" fmla="*/ 4 w 5"/>
                <a:gd name="T5" fmla="*/ 8 h 8"/>
                <a:gd name="T6" fmla="*/ 5 w 5"/>
                <a:gd name="T7" fmla="*/ 6 h 8"/>
                <a:gd name="T8" fmla="*/ 3 w 5"/>
                <a:gd name="T9" fmla="*/ 1 h 8"/>
                <a:gd name="T10" fmla="*/ 1 w 5"/>
                <a:gd name="T11" fmla="*/ 0 h 8"/>
                <a:gd name="T12" fmla="*/ 0 w 5"/>
                <a:gd name="T13" fmla="*/ 3 h 8"/>
                <a:gd name="T14" fmla="*/ 2 w 5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2" y="7"/>
                  </a:move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2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4C3F9FA8-2D28-47FB-832E-D43099F39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" y="349"/>
              <a:ext cx="18" cy="20"/>
            </a:xfrm>
            <a:custGeom>
              <a:avLst/>
              <a:gdLst>
                <a:gd name="T0" fmla="*/ 4 w 7"/>
                <a:gd name="T1" fmla="*/ 7 h 8"/>
                <a:gd name="T2" fmla="*/ 5 w 7"/>
                <a:gd name="T3" fmla="*/ 8 h 8"/>
                <a:gd name="T4" fmla="*/ 6 w 7"/>
                <a:gd name="T5" fmla="*/ 7 h 8"/>
                <a:gd name="T6" fmla="*/ 6 w 7"/>
                <a:gd name="T7" fmla="*/ 5 h 8"/>
                <a:gd name="T8" fmla="*/ 3 w 7"/>
                <a:gd name="T9" fmla="*/ 1 h 8"/>
                <a:gd name="T10" fmla="*/ 1 w 7"/>
                <a:gd name="T11" fmla="*/ 1 h 8"/>
                <a:gd name="T12" fmla="*/ 1 w 7"/>
                <a:gd name="T13" fmla="*/ 3 h 8"/>
                <a:gd name="T14" fmla="*/ 4 w 7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8">
                  <a:moveTo>
                    <a:pt x="4" y="7"/>
                  </a:move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6" y="7"/>
                    <a:pt x="6" y="7"/>
                  </a:cubicBezTo>
                  <a:cubicBezTo>
                    <a:pt x="7" y="7"/>
                    <a:pt x="7" y="5"/>
                    <a:pt x="6" y="5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2DC1F6C9-9E45-4B59-9FB6-80A2411DC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" y="369"/>
              <a:ext cx="21" cy="16"/>
            </a:xfrm>
            <a:custGeom>
              <a:avLst/>
              <a:gdLst>
                <a:gd name="T0" fmla="*/ 7 w 8"/>
                <a:gd name="T1" fmla="*/ 6 h 6"/>
                <a:gd name="T2" fmla="*/ 6 w 8"/>
                <a:gd name="T3" fmla="*/ 3 h 6"/>
                <a:gd name="T4" fmla="*/ 2 w 8"/>
                <a:gd name="T5" fmla="*/ 1 h 6"/>
                <a:gd name="T6" fmla="*/ 0 w 8"/>
                <a:gd name="T7" fmla="*/ 1 h 6"/>
                <a:gd name="T8" fmla="*/ 1 w 8"/>
                <a:gd name="T9" fmla="*/ 4 h 6"/>
                <a:gd name="T10" fmla="*/ 5 w 8"/>
                <a:gd name="T11" fmla="*/ 6 h 6"/>
                <a:gd name="T12" fmla="*/ 6 w 8"/>
                <a:gd name="T13" fmla="*/ 6 h 6"/>
                <a:gd name="T14" fmla="*/ 7 w 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7" y="6"/>
                  </a:moveTo>
                  <a:cubicBezTo>
                    <a:pt x="8" y="5"/>
                    <a:pt x="7" y="4"/>
                    <a:pt x="6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6"/>
                    <a:pt x="7" y="6"/>
                    <a:pt x="7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AA7EF608-B4FA-41F7-90AA-73D22B74F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" y="336"/>
              <a:ext cx="13" cy="20"/>
            </a:xfrm>
            <a:custGeom>
              <a:avLst/>
              <a:gdLst>
                <a:gd name="T0" fmla="*/ 1 w 5"/>
                <a:gd name="T1" fmla="*/ 8 h 8"/>
                <a:gd name="T2" fmla="*/ 2 w 5"/>
                <a:gd name="T3" fmla="*/ 8 h 8"/>
                <a:gd name="T4" fmla="*/ 3 w 5"/>
                <a:gd name="T5" fmla="*/ 7 h 8"/>
                <a:gd name="T6" fmla="*/ 5 w 5"/>
                <a:gd name="T7" fmla="*/ 3 h 8"/>
                <a:gd name="T8" fmla="*/ 4 w 5"/>
                <a:gd name="T9" fmla="*/ 0 h 8"/>
                <a:gd name="T10" fmla="*/ 2 w 5"/>
                <a:gd name="T11" fmla="*/ 1 h 8"/>
                <a:gd name="T12" fmla="*/ 0 w 5"/>
                <a:gd name="T13" fmla="*/ 6 h 8"/>
                <a:gd name="T14" fmla="*/ 1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1" y="8"/>
                  </a:moveTo>
                  <a:cubicBezTo>
                    <a:pt x="1" y="8"/>
                    <a:pt x="1" y="8"/>
                    <a:pt x="2" y="8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1"/>
                    <a:pt x="4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1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BE941464-93ED-46EB-82C8-1C001293E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349"/>
              <a:ext cx="18" cy="20"/>
            </a:xfrm>
            <a:custGeom>
              <a:avLst/>
              <a:gdLst>
                <a:gd name="T0" fmla="*/ 2 w 7"/>
                <a:gd name="T1" fmla="*/ 8 h 8"/>
                <a:gd name="T2" fmla="*/ 3 w 7"/>
                <a:gd name="T3" fmla="*/ 7 h 8"/>
                <a:gd name="T4" fmla="*/ 6 w 7"/>
                <a:gd name="T5" fmla="*/ 3 h 8"/>
                <a:gd name="T6" fmla="*/ 6 w 7"/>
                <a:gd name="T7" fmla="*/ 1 h 8"/>
                <a:gd name="T8" fmla="*/ 4 w 7"/>
                <a:gd name="T9" fmla="*/ 1 h 8"/>
                <a:gd name="T10" fmla="*/ 1 w 7"/>
                <a:gd name="T11" fmla="*/ 5 h 8"/>
                <a:gd name="T12" fmla="*/ 1 w 7"/>
                <a:gd name="T13" fmla="*/ 7 h 8"/>
                <a:gd name="T14" fmla="*/ 2 w 7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8">
                  <a:moveTo>
                    <a:pt x="2" y="8"/>
                  </a:moveTo>
                  <a:cubicBezTo>
                    <a:pt x="2" y="8"/>
                    <a:pt x="3" y="7"/>
                    <a:pt x="3" y="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7"/>
                    <a:pt x="1" y="7"/>
                  </a:cubicBezTo>
                  <a:cubicBezTo>
                    <a:pt x="1" y="7"/>
                    <a:pt x="2" y="8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34B4E612-4293-41F2-914F-CD50A9A44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" y="369"/>
              <a:ext cx="20" cy="16"/>
            </a:xfrm>
            <a:custGeom>
              <a:avLst/>
              <a:gdLst>
                <a:gd name="T0" fmla="*/ 8 w 8"/>
                <a:gd name="T1" fmla="*/ 1 h 6"/>
                <a:gd name="T2" fmla="*/ 6 w 8"/>
                <a:gd name="T3" fmla="*/ 1 h 6"/>
                <a:gd name="T4" fmla="*/ 2 w 8"/>
                <a:gd name="T5" fmla="*/ 3 h 6"/>
                <a:gd name="T6" fmla="*/ 1 w 8"/>
                <a:gd name="T7" fmla="*/ 6 h 6"/>
                <a:gd name="T8" fmla="*/ 2 w 8"/>
                <a:gd name="T9" fmla="*/ 6 h 6"/>
                <a:gd name="T10" fmla="*/ 3 w 8"/>
                <a:gd name="T11" fmla="*/ 6 h 6"/>
                <a:gd name="T12" fmla="*/ 7 w 8"/>
                <a:gd name="T13" fmla="*/ 4 h 6"/>
                <a:gd name="T14" fmla="*/ 8 w 8"/>
                <a:gd name="T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1"/>
                  </a:moveTo>
                  <a:cubicBezTo>
                    <a:pt x="7" y="1"/>
                    <a:pt x="6" y="0"/>
                    <a:pt x="6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2"/>
                    <a:pt x="8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EDF2E166-BAD9-4C5C-B62F-DAF18CA75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" y="287"/>
              <a:ext cx="80" cy="80"/>
            </a:xfrm>
            <a:custGeom>
              <a:avLst/>
              <a:gdLst>
                <a:gd name="T0" fmla="*/ 25 w 31"/>
                <a:gd name="T1" fmla="*/ 28 h 31"/>
                <a:gd name="T2" fmla="*/ 16 w 31"/>
                <a:gd name="T3" fmla="*/ 28 h 31"/>
                <a:gd name="T4" fmla="*/ 14 w 31"/>
                <a:gd name="T5" fmla="*/ 29 h 31"/>
                <a:gd name="T6" fmla="*/ 16 w 31"/>
                <a:gd name="T7" fmla="*/ 31 h 31"/>
                <a:gd name="T8" fmla="*/ 29 w 31"/>
                <a:gd name="T9" fmla="*/ 31 h 31"/>
                <a:gd name="T10" fmla="*/ 30 w 31"/>
                <a:gd name="T11" fmla="*/ 31 h 31"/>
                <a:gd name="T12" fmla="*/ 30 w 31"/>
                <a:gd name="T13" fmla="*/ 31 h 31"/>
                <a:gd name="T14" fmla="*/ 31 w 31"/>
                <a:gd name="T15" fmla="*/ 30 h 31"/>
                <a:gd name="T16" fmla="*/ 31 w 31"/>
                <a:gd name="T17" fmla="*/ 30 h 31"/>
                <a:gd name="T18" fmla="*/ 31 w 31"/>
                <a:gd name="T19" fmla="*/ 29 h 31"/>
                <a:gd name="T20" fmla="*/ 31 w 31"/>
                <a:gd name="T21" fmla="*/ 16 h 31"/>
                <a:gd name="T22" fmla="*/ 29 w 31"/>
                <a:gd name="T23" fmla="*/ 14 h 31"/>
                <a:gd name="T24" fmla="*/ 28 w 31"/>
                <a:gd name="T25" fmla="*/ 16 h 31"/>
                <a:gd name="T26" fmla="*/ 28 w 31"/>
                <a:gd name="T27" fmla="*/ 25 h 31"/>
                <a:gd name="T28" fmla="*/ 3 w 31"/>
                <a:gd name="T29" fmla="*/ 0 h 31"/>
                <a:gd name="T30" fmla="*/ 0 w 31"/>
                <a:gd name="T31" fmla="*/ 0 h 31"/>
                <a:gd name="T32" fmla="*/ 0 w 31"/>
                <a:gd name="T33" fmla="*/ 3 h 31"/>
                <a:gd name="T34" fmla="*/ 25 w 31"/>
                <a:gd name="T35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1">
                  <a:moveTo>
                    <a:pt x="25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4" y="28"/>
                    <a:pt x="14" y="29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29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0" y="14"/>
                    <a:pt x="29" y="14"/>
                  </a:cubicBezTo>
                  <a:cubicBezTo>
                    <a:pt x="28" y="14"/>
                    <a:pt x="28" y="15"/>
                    <a:pt x="28" y="1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25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F3843E1F-3778-4653-8347-5B9C0FE1B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" y="287"/>
              <a:ext cx="79" cy="80"/>
            </a:xfrm>
            <a:custGeom>
              <a:avLst/>
              <a:gdLst>
                <a:gd name="T0" fmla="*/ 0 w 31"/>
                <a:gd name="T1" fmla="*/ 30 h 31"/>
                <a:gd name="T2" fmla="*/ 1 w 31"/>
                <a:gd name="T3" fmla="*/ 31 h 31"/>
                <a:gd name="T4" fmla="*/ 1 w 31"/>
                <a:gd name="T5" fmla="*/ 31 h 31"/>
                <a:gd name="T6" fmla="*/ 2 w 31"/>
                <a:gd name="T7" fmla="*/ 31 h 31"/>
                <a:gd name="T8" fmla="*/ 15 w 31"/>
                <a:gd name="T9" fmla="*/ 31 h 31"/>
                <a:gd name="T10" fmla="*/ 17 w 31"/>
                <a:gd name="T11" fmla="*/ 29 h 31"/>
                <a:gd name="T12" fmla="*/ 15 w 31"/>
                <a:gd name="T13" fmla="*/ 28 h 31"/>
                <a:gd name="T14" fmla="*/ 6 w 31"/>
                <a:gd name="T15" fmla="*/ 28 h 31"/>
                <a:gd name="T16" fmla="*/ 31 w 31"/>
                <a:gd name="T17" fmla="*/ 3 h 31"/>
                <a:gd name="T18" fmla="*/ 31 w 31"/>
                <a:gd name="T19" fmla="*/ 0 h 31"/>
                <a:gd name="T20" fmla="*/ 28 w 31"/>
                <a:gd name="T21" fmla="*/ 0 h 31"/>
                <a:gd name="T22" fmla="*/ 3 w 31"/>
                <a:gd name="T23" fmla="*/ 25 h 31"/>
                <a:gd name="T24" fmla="*/ 3 w 31"/>
                <a:gd name="T25" fmla="*/ 16 h 31"/>
                <a:gd name="T26" fmla="*/ 2 w 31"/>
                <a:gd name="T27" fmla="*/ 14 h 31"/>
                <a:gd name="T28" fmla="*/ 0 w 31"/>
                <a:gd name="T29" fmla="*/ 16 h 31"/>
                <a:gd name="T30" fmla="*/ 0 w 31"/>
                <a:gd name="T31" fmla="*/ 29 h 31"/>
                <a:gd name="T32" fmla="*/ 0 w 31"/>
                <a:gd name="T33" fmla="*/ 30 h 31"/>
                <a:gd name="T34" fmla="*/ 0 w 31"/>
                <a:gd name="T3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1">
                  <a:moveTo>
                    <a:pt x="0" y="30"/>
                  </a:moveTo>
                  <a:cubicBezTo>
                    <a:pt x="0" y="30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2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6" y="31"/>
                    <a:pt x="17" y="30"/>
                    <a:pt x="17" y="29"/>
                  </a:cubicBezTo>
                  <a:cubicBezTo>
                    <a:pt x="17" y="28"/>
                    <a:pt x="16" y="28"/>
                    <a:pt x="15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2"/>
                    <a:pt x="31" y="1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4"/>
                    <a:pt x="2" y="14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9B51AAA3-0864-4E60-9EE7-2C84E48BE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" y="500"/>
              <a:ext cx="80" cy="79"/>
            </a:xfrm>
            <a:custGeom>
              <a:avLst/>
              <a:gdLst>
                <a:gd name="T0" fmla="*/ 31 w 31"/>
                <a:gd name="T1" fmla="*/ 1 h 31"/>
                <a:gd name="T2" fmla="*/ 30 w 31"/>
                <a:gd name="T3" fmla="*/ 0 h 31"/>
                <a:gd name="T4" fmla="*/ 30 w 31"/>
                <a:gd name="T5" fmla="*/ 0 h 31"/>
                <a:gd name="T6" fmla="*/ 29 w 31"/>
                <a:gd name="T7" fmla="*/ 0 h 31"/>
                <a:gd name="T8" fmla="*/ 16 w 31"/>
                <a:gd name="T9" fmla="*/ 0 h 31"/>
                <a:gd name="T10" fmla="*/ 14 w 31"/>
                <a:gd name="T11" fmla="*/ 2 h 31"/>
                <a:gd name="T12" fmla="*/ 16 w 31"/>
                <a:gd name="T13" fmla="*/ 3 h 31"/>
                <a:gd name="T14" fmla="*/ 25 w 31"/>
                <a:gd name="T15" fmla="*/ 3 h 31"/>
                <a:gd name="T16" fmla="*/ 0 w 31"/>
                <a:gd name="T17" fmla="*/ 28 h 31"/>
                <a:gd name="T18" fmla="*/ 0 w 31"/>
                <a:gd name="T19" fmla="*/ 31 h 31"/>
                <a:gd name="T20" fmla="*/ 2 w 31"/>
                <a:gd name="T21" fmla="*/ 31 h 31"/>
                <a:gd name="T22" fmla="*/ 3 w 31"/>
                <a:gd name="T23" fmla="*/ 31 h 31"/>
                <a:gd name="T24" fmla="*/ 28 w 31"/>
                <a:gd name="T25" fmla="*/ 6 h 31"/>
                <a:gd name="T26" fmla="*/ 28 w 31"/>
                <a:gd name="T27" fmla="*/ 15 h 31"/>
                <a:gd name="T28" fmla="*/ 29 w 31"/>
                <a:gd name="T29" fmla="*/ 17 h 31"/>
                <a:gd name="T30" fmla="*/ 31 w 31"/>
                <a:gd name="T31" fmla="*/ 15 h 31"/>
                <a:gd name="T32" fmla="*/ 31 w 31"/>
                <a:gd name="T33" fmla="*/ 2 h 31"/>
                <a:gd name="T34" fmla="*/ 31 w 31"/>
                <a:gd name="T35" fmla="*/ 1 h 31"/>
                <a:gd name="T36" fmla="*/ 31 w 31"/>
                <a:gd name="T3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1">
                  <a:moveTo>
                    <a:pt x="31" y="1"/>
                  </a:moveTo>
                  <a:cubicBezTo>
                    <a:pt x="31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30"/>
                    <a:pt x="0" y="31"/>
                  </a:cubicBezTo>
                  <a:cubicBezTo>
                    <a:pt x="1" y="31"/>
                    <a:pt x="1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7"/>
                    <a:pt x="29" y="17"/>
                  </a:cubicBezTo>
                  <a:cubicBezTo>
                    <a:pt x="30" y="17"/>
                    <a:pt x="31" y="16"/>
                    <a:pt x="31" y="15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30068143-123F-45B4-BABE-B75426D86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" y="500"/>
              <a:ext cx="79" cy="79"/>
            </a:xfrm>
            <a:custGeom>
              <a:avLst/>
              <a:gdLst>
                <a:gd name="T0" fmla="*/ 6 w 31"/>
                <a:gd name="T1" fmla="*/ 3 h 31"/>
                <a:gd name="T2" fmla="*/ 15 w 31"/>
                <a:gd name="T3" fmla="*/ 3 h 31"/>
                <a:gd name="T4" fmla="*/ 17 w 31"/>
                <a:gd name="T5" fmla="*/ 2 h 31"/>
                <a:gd name="T6" fmla="*/ 15 w 31"/>
                <a:gd name="T7" fmla="*/ 0 h 31"/>
                <a:gd name="T8" fmla="*/ 2 w 31"/>
                <a:gd name="T9" fmla="*/ 0 h 31"/>
                <a:gd name="T10" fmla="*/ 1 w 31"/>
                <a:gd name="T11" fmla="*/ 0 h 31"/>
                <a:gd name="T12" fmla="*/ 1 w 31"/>
                <a:gd name="T13" fmla="*/ 0 h 31"/>
                <a:gd name="T14" fmla="*/ 0 w 31"/>
                <a:gd name="T15" fmla="*/ 1 h 31"/>
                <a:gd name="T16" fmla="*/ 0 w 31"/>
                <a:gd name="T17" fmla="*/ 1 h 31"/>
                <a:gd name="T18" fmla="*/ 0 w 31"/>
                <a:gd name="T19" fmla="*/ 2 h 31"/>
                <a:gd name="T20" fmla="*/ 0 w 31"/>
                <a:gd name="T21" fmla="*/ 15 h 31"/>
                <a:gd name="T22" fmla="*/ 2 w 31"/>
                <a:gd name="T23" fmla="*/ 17 h 31"/>
                <a:gd name="T24" fmla="*/ 3 w 31"/>
                <a:gd name="T25" fmla="*/ 15 h 31"/>
                <a:gd name="T26" fmla="*/ 3 w 31"/>
                <a:gd name="T27" fmla="*/ 6 h 31"/>
                <a:gd name="T28" fmla="*/ 28 w 31"/>
                <a:gd name="T29" fmla="*/ 31 h 31"/>
                <a:gd name="T30" fmla="*/ 29 w 31"/>
                <a:gd name="T31" fmla="*/ 31 h 31"/>
                <a:gd name="T32" fmla="*/ 31 w 31"/>
                <a:gd name="T33" fmla="*/ 31 h 31"/>
                <a:gd name="T34" fmla="*/ 31 w 31"/>
                <a:gd name="T35" fmla="*/ 28 h 31"/>
                <a:gd name="T36" fmla="*/ 6 w 31"/>
                <a:gd name="T3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1">
                  <a:moveTo>
                    <a:pt x="6" y="3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3"/>
                    <a:pt x="17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3" y="17"/>
                    <a:pt x="3" y="16"/>
                    <a:pt x="3" y="1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9" y="31"/>
                    <a:pt x="29" y="31"/>
                  </a:cubicBezTo>
                  <a:cubicBezTo>
                    <a:pt x="30" y="31"/>
                    <a:pt x="30" y="31"/>
                    <a:pt x="31" y="31"/>
                  </a:cubicBezTo>
                  <a:cubicBezTo>
                    <a:pt x="31" y="30"/>
                    <a:pt x="31" y="29"/>
                    <a:pt x="31" y="28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Group 23">
            <a:extLst>
              <a:ext uri="{FF2B5EF4-FFF2-40B4-BE49-F238E27FC236}">
                <a16:creationId xmlns:a16="http://schemas.microsoft.com/office/drawing/2014/main" id="{3B08AB3D-3DF7-4B68-B06A-C7BD3F4577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5773" y="306388"/>
            <a:ext cx="758825" cy="758825"/>
            <a:chOff x="870" y="193"/>
            <a:chExt cx="478" cy="478"/>
          </a:xfrm>
        </p:grpSpPr>
        <p:sp>
          <p:nvSpPr>
            <p:cNvPr id="42" name="AutoShape 22">
              <a:extLst>
                <a:ext uri="{FF2B5EF4-FFF2-40B4-BE49-F238E27FC236}">
                  <a16:creationId xmlns:a16="http://schemas.microsoft.com/office/drawing/2014/main" id="{EC0ADF94-BE29-454E-AC4E-62DAE8F786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0" y="1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25C9A6A4-021F-466B-ADC2-924682389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2" y="1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F38FF637-CEA2-4298-A8C2-989128164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" y="357"/>
              <a:ext cx="108" cy="115"/>
            </a:xfrm>
            <a:custGeom>
              <a:avLst/>
              <a:gdLst>
                <a:gd name="T0" fmla="*/ 35 w 44"/>
                <a:gd name="T1" fmla="*/ 36 h 47"/>
                <a:gd name="T2" fmla="*/ 31 w 44"/>
                <a:gd name="T3" fmla="*/ 44 h 47"/>
                <a:gd name="T4" fmla="*/ 13 w 44"/>
                <a:gd name="T5" fmla="*/ 44 h 47"/>
                <a:gd name="T6" fmla="*/ 9 w 44"/>
                <a:gd name="T7" fmla="*/ 36 h 47"/>
                <a:gd name="T8" fmla="*/ 4 w 44"/>
                <a:gd name="T9" fmla="*/ 21 h 47"/>
                <a:gd name="T10" fmla="*/ 21 w 44"/>
                <a:gd name="T11" fmla="*/ 4 h 47"/>
                <a:gd name="T12" fmla="*/ 35 w 44"/>
                <a:gd name="T13" fmla="*/ 9 h 47"/>
                <a:gd name="T14" fmla="*/ 40 w 44"/>
                <a:gd name="T15" fmla="*/ 23 h 47"/>
                <a:gd name="T16" fmla="*/ 35 w 44"/>
                <a:gd name="T17" fmla="*/ 36 h 47"/>
                <a:gd name="T18" fmla="*/ 20 w 44"/>
                <a:gd name="T19" fmla="*/ 1 h 47"/>
                <a:gd name="T20" fmla="*/ 0 w 44"/>
                <a:gd name="T21" fmla="*/ 21 h 47"/>
                <a:gd name="T22" fmla="*/ 6 w 44"/>
                <a:gd name="T23" fmla="*/ 38 h 47"/>
                <a:gd name="T24" fmla="*/ 9 w 44"/>
                <a:gd name="T25" fmla="*/ 45 h 47"/>
                <a:gd name="T26" fmla="*/ 11 w 44"/>
                <a:gd name="T27" fmla="*/ 47 h 47"/>
                <a:gd name="T28" fmla="*/ 33 w 44"/>
                <a:gd name="T29" fmla="*/ 47 h 47"/>
                <a:gd name="T30" fmla="*/ 35 w 44"/>
                <a:gd name="T31" fmla="*/ 45 h 47"/>
                <a:gd name="T32" fmla="*/ 37 w 44"/>
                <a:gd name="T33" fmla="*/ 38 h 47"/>
                <a:gd name="T34" fmla="*/ 44 w 44"/>
                <a:gd name="T35" fmla="*/ 23 h 47"/>
                <a:gd name="T36" fmla="*/ 37 w 44"/>
                <a:gd name="T37" fmla="*/ 7 h 47"/>
                <a:gd name="T38" fmla="*/ 20 w 44"/>
                <a:gd name="T39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47">
                  <a:moveTo>
                    <a:pt x="35" y="36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2" y="41"/>
                    <a:pt x="11" y="38"/>
                    <a:pt x="9" y="36"/>
                  </a:cubicBezTo>
                  <a:cubicBezTo>
                    <a:pt x="5" y="32"/>
                    <a:pt x="3" y="26"/>
                    <a:pt x="4" y="21"/>
                  </a:cubicBezTo>
                  <a:cubicBezTo>
                    <a:pt x="4" y="12"/>
                    <a:pt x="12" y="5"/>
                    <a:pt x="21" y="4"/>
                  </a:cubicBezTo>
                  <a:cubicBezTo>
                    <a:pt x="26" y="4"/>
                    <a:pt x="31" y="6"/>
                    <a:pt x="35" y="9"/>
                  </a:cubicBezTo>
                  <a:cubicBezTo>
                    <a:pt x="38" y="13"/>
                    <a:pt x="40" y="18"/>
                    <a:pt x="40" y="23"/>
                  </a:cubicBezTo>
                  <a:cubicBezTo>
                    <a:pt x="40" y="28"/>
                    <a:pt x="39" y="32"/>
                    <a:pt x="35" y="36"/>
                  </a:cubicBezTo>
                  <a:moveTo>
                    <a:pt x="20" y="1"/>
                  </a:moveTo>
                  <a:cubicBezTo>
                    <a:pt x="10" y="1"/>
                    <a:pt x="1" y="10"/>
                    <a:pt x="0" y="21"/>
                  </a:cubicBezTo>
                  <a:cubicBezTo>
                    <a:pt x="0" y="27"/>
                    <a:pt x="2" y="33"/>
                    <a:pt x="6" y="38"/>
                  </a:cubicBezTo>
                  <a:cubicBezTo>
                    <a:pt x="8" y="40"/>
                    <a:pt x="9" y="43"/>
                    <a:pt x="9" y="45"/>
                  </a:cubicBezTo>
                  <a:cubicBezTo>
                    <a:pt x="9" y="46"/>
                    <a:pt x="10" y="47"/>
                    <a:pt x="11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7"/>
                    <a:pt x="35" y="46"/>
                    <a:pt x="35" y="45"/>
                  </a:cubicBezTo>
                  <a:cubicBezTo>
                    <a:pt x="35" y="43"/>
                    <a:pt x="36" y="40"/>
                    <a:pt x="37" y="38"/>
                  </a:cubicBezTo>
                  <a:cubicBezTo>
                    <a:pt x="42" y="34"/>
                    <a:pt x="44" y="29"/>
                    <a:pt x="44" y="23"/>
                  </a:cubicBezTo>
                  <a:cubicBezTo>
                    <a:pt x="44" y="17"/>
                    <a:pt x="41" y="11"/>
                    <a:pt x="37" y="7"/>
                  </a:cubicBezTo>
                  <a:cubicBezTo>
                    <a:pt x="32" y="2"/>
                    <a:pt x="27" y="0"/>
                    <a:pt x="20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616ABEC3-F120-4670-9439-7DFF3F71C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475"/>
              <a:ext cx="64" cy="7"/>
            </a:xfrm>
            <a:custGeom>
              <a:avLst/>
              <a:gdLst>
                <a:gd name="T0" fmla="*/ 24 w 26"/>
                <a:gd name="T1" fmla="*/ 0 h 3"/>
                <a:gd name="T2" fmla="*/ 2 w 26"/>
                <a:gd name="T3" fmla="*/ 0 h 3"/>
                <a:gd name="T4" fmla="*/ 0 w 26"/>
                <a:gd name="T5" fmla="*/ 2 h 3"/>
                <a:gd name="T6" fmla="*/ 2 w 26"/>
                <a:gd name="T7" fmla="*/ 3 h 3"/>
                <a:gd name="T8" fmla="*/ 24 w 26"/>
                <a:gd name="T9" fmla="*/ 3 h 3"/>
                <a:gd name="T10" fmla="*/ 26 w 26"/>
                <a:gd name="T11" fmla="*/ 2 h 3"/>
                <a:gd name="T12" fmla="*/ 24 w 2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"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6" y="3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7E60237C-F186-42AF-9AA4-76A7DD693E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485"/>
              <a:ext cx="64" cy="46"/>
            </a:xfrm>
            <a:custGeom>
              <a:avLst/>
              <a:gdLst>
                <a:gd name="T0" fmla="*/ 22 w 26"/>
                <a:gd name="T1" fmla="*/ 8 h 19"/>
                <a:gd name="T2" fmla="*/ 19 w 26"/>
                <a:gd name="T3" fmla="*/ 11 h 19"/>
                <a:gd name="T4" fmla="*/ 7 w 26"/>
                <a:gd name="T5" fmla="*/ 11 h 19"/>
                <a:gd name="T6" fmla="*/ 4 w 26"/>
                <a:gd name="T7" fmla="*/ 8 h 19"/>
                <a:gd name="T8" fmla="*/ 4 w 26"/>
                <a:gd name="T9" fmla="*/ 4 h 19"/>
                <a:gd name="T10" fmla="*/ 22 w 26"/>
                <a:gd name="T11" fmla="*/ 4 h 19"/>
                <a:gd name="T12" fmla="*/ 22 w 26"/>
                <a:gd name="T13" fmla="*/ 8 h 19"/>
                <a:gd name="T14" fmla="*/ 13 w 26"/>
                <a:gd name="T15" fmla="*/ 15 h 19"/>
                <a:gd name="T16" fmla="*/ 12 w 26"/>
                <a:gd name="T17" fmla="*/ 14 h 19"/>
                <a:gd name="T18" fmla="*/ 14 w 26"/>
                <a:gd name="T19" fmla="*/ 14 h 19"/>
                <a:gd name="T20" fmla="*/ 13 w 26"/>
                <a:gd name="T21" fmla="*/ 15 h 19"/>
                <a:gd name="T22" fmla="*/ 24 w 26"/>
                <a:gd name="T23" fmla="*/ 0 h 19"/>
                <a:gd name="T24" fmla="*/ 2 w 26"/>
                <a:gd name="T25" fmla="*/ 0 h 19"/>
                <a:gd name="T26" fmla="*/ 0 w 26"/>
                <a:gd name="T27" fmla="*/ 2 h 19"/>
                <a:gd name="T28" fmla="*/ 0 w 26"/>
                <a:gd name="T29" fmla="*/ 8 h 19"/>
                <a:gd name="T30" fmla="*/ 7 w 26"/>
                <a:gd name="T31" fmla="*/ 14 h 19"/>
                <a:gd name="T32" fmla="*/ 8 w 26"/>
                <a:gd name="T33" fmla="*/ 14 h 19"/>
                <a:gd name="T34" fmla="*/ 13 w 26"/>
                <a:gd name="T35" fmla="*/ 19 h 19"/>
                <a:gd name="T36" fmla="*/ 18 w 26"/>
                <a:gd name="T37" fmla="*/ 14 h 19"/>
                <a:gd name="T38" fmla="*/ 19 w 26"/>
                <a:gd name="T39" fmla="*/ 14 h 19"/>
                <a:gd name="T40" fmla="*/ 26 w 26"/>
                <a:gd name="T41" fmla="*/ 8 h 19"/>
                <a:gd name="T42" fmla="*/ 26 w 26"/>
                <a:gd name="T43" fmla="*/ 2 h 19"/>
                <a:gd name="T44" fmla="*/ 24 w 26"/>
                <a:gd name="T4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" h="19">
                  <a:moveTo>
                    <a:pt x="22" y="8"/>
                  </a:moveTo>
                  <a:cubicBezTo>
                    <a:pt x="22" y="9"/>
                    <a:pt x="21" y="11"/>
                    <a:pt x="1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5" y="11"/>
                    <a:pt x="4" y="9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8"/>
                  </a:lnTo>
                  <a:close/>
                  <a:moveTo>
                    <a:pt x="13" y="15"/>
                  </a:moveTo>
                  <a:cubicBezTo>
                    <a:pt x="12" y="15"/>
                    <a:pt x="12" y="15"/>
                    <a:pt x="1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3" y="15"/>
                  </a:cubicBezTo>
                  <a:moveTo>
                    <a:pt x="2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7"/>
                    <a:pt x="10" y="19"/>
                    <a:pt x="13" y="19"/>
                  </a:cubicBezTo>
                  <a:cubicBezTo>
                    <a:pt x="16" y="19"/>
                    <a:pt x="18" y="17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6" y="11"/>
                    <a:pt x="26" y="8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2B046B49-3634-456A-B700-774AE6E79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" y="335"/>
              <a:ext cx="10" cy="20"/>
            </a:xfrm>
            <a:custGeom>
              <a:avLst/>
              <a:gdLst>
                <a:gd name="T0" fmla="*/ 2 w 4"/>
                <a:gd name="T1" fmla="*/ 8 h 8"/>
                <a:gd name="T2" fmla="*/ 4 w 4"/>
                <a:gd name="T3" fmla="*/ 7 h 8"/>
                <a:gd name="T4" fmla="*/ 4 w 4"/>
                <a:gd name="T5" fmla="*/ 2 h 8"/>
                <a:gd name="T6" fmla="*/ 2 w 4"/>
                <a:gd name="T7" fmla="*/ 0 h 8"/>
                <a:gd name="T8" fmla="*/ 0 w 4"/>
                <a:gd name="T9" fmla="*/ 2 h 8"/>
                <a:gd name="T10" fmla="*/ 0 w 4"/>
                <a:gd name="T11" fmla="*/ 7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3" y="8"/>
                    <a:pt x="4" y="8"/>
                    <a:pt x="4" y="7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234ACDCD-BCD2-4E3E-AD02-F97A7AD5E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" y="340"/>
              <a:ext cx="12" cy="20"/>
            </a:xfrm>
            <a:custGeom>
              <a:avLst/>
              <a:gdLst>
                <a:gd name="T0" fmla="*/ 2 w 5"/>
                <a:gd name="T1" fmla="*/ 7 h 8"/>
                <a:gd name="T2" fmla="*/ 3 w 5"/>
                <a:gd name="T3" fmla="*/ 8 h 8"/>
                <a:gd name="T4" fmla="*/ 4 w 5"/>
                <a:gd name="T5" fmla="*/ 8 h 8"/>
                <a:gd name="T6" fmla="*/ 5 w 5"/>
                <a:gd name="T7" fmla="*/ 6 h 8"/>
                <a:gd name="T8" fmla="*/ 3 w 5"/>
                <a:gd name="T9" fmla="*/ 1 h 8"/>
                <a:gd name="T10" fmla="*/ 1 w 5"/>
                <a:gd name="T11" fmla="*/ 0 h 8"/>
                <a:gd name="T12" fmla="*/ 0 w 5"/>
                <a:gd name="T13" fmla="*/ 3 h 8"/>
                <a:gd name="T14" fmla="*/ 2 w 5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2" y="7"/>
                  </a:moveTo>
                  <a:cubicBezTo>
                    <a:pt x="2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B17C1922-22F3-4B84-B9B8-AB84DF1C0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" y="352"/>
              <a:ext cx="17" cy="20"/>
            </a:xfrm>
            <a:custGeom>
              <a:avLst/>
              <a:gdLst>
                <a:gd name="T0" fmla="*/ 4 w 7"/>
                <a:gd name="T1" fmla="*/ 7 h 8"/>
                <a:gd name="T2" fmla="*/ 5 w 7"/>
                <a:gd name="T3" fmla="*/ 8 h 8"/>
                <a:gd name="T4" fmla="*/ 6 w 7"/>
                <a:gd name="T5" fmla="*/ 7 h 8"/>
                <a:gd name="T6" fmla="*/ 6 w 7"/>
                <a:gd name="T7" fmla="*/ 5 h 8"/>
                <a:gd name="T8" fmla="*/ 3 w 7"/>
                <a:gd name="T9" fmla="*/ 1 h 8"/>
                <a:gd name="T10" fmla="*/ 1 w 7"/>
                <a:gd name="T11" fmla="*/ 1 h 8"/>
                <a:gd name="T12" fmla="*/ 1 w 7"/>
                <a:gd name="T13" fmla="*/ 3 h 8"/>
                <a:gd name="T14" fmla="*/ 4 w 7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8">
                  <a:moveTo>
                    <a:pt x="4" y="7"/>
                  </a:move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6" y="7"/>
                    <a:pt x="6" y="7"/>
                  </a:cubicBezTo>
                  <a:cubicBezTo>
                    <a:pt x="7" y="7"/>
                    <a:pt x="7" y="5"/>
                    <a:pt x="6" y="5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A9703AD1-309A-42A3-B37B-A4560F930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" y="372"/>
              <a:ext cx="20" cy="15"/>
            </a:xfrm>
            <a:custGeom>
              <a:avLst/>
              <a:gdLst>
                <a:gd name="T0" fmla="*/ 7 w 8"/>
                <a:gd name="T1" fmla="*/ 6 h 6"/>
                <a:gd name="T2" fmla="*/ 6 w 8"/>
                <a:gd name="T3" fmla="*/ 3 h 6"/>
                <a:gd name="T4" fmla="*/ 2 w 8"/>
                <a:gd name="T5" fmla="*/ 1 h 6"/>
                <a:gd name="T6" fmla="*/ 0 w 8"/>
                <a:gd name="T7" fmla="*/ 1 h 6"/>
                <a:gd name="T8" fmla="*/ 1 w 8"/>
                <a:gd name="T9" fmla="*/ 4 h 6"/>
                <a:gd name="T10" fmla="*/ 5 w 8"/>
                <a:gd name="T11" fmla="*/ 6 h 6"/>
                <a:gd name="T12" fmla="*/ 6 w 8"/>
                <a:gd name="T13" fmla="*/ 6 h 6"/>
                <a:gd name="T14" fmla="*/ 7 w 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7" y="6"/>
                  </a:moveTo>
                  <a:cubicBezTo>
                    <a:pt x="8" y="5"/>
                    <a:pt x="7" y="4"/>
                    <a:pt x="6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6"/>
                    <a:pt x="7" y="6"/>
                    <a:pt x="7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15CD8CD0-182A-4BF0-9116-9087388AE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" y="340"/>
              <a:ext cx="13" cy="20"/>
            </a:xfrm>
            <a:custGeom>
              <a:avLst/>
              <a:gdLst>
                <a:gd name="T0" fmla="*/ 1 w 5"/>
                <a:gd name="T1" fmla="*/ 8 h 8"/>
                <a:gd name="T2" fmla="*/ 2 w 5"/>
                <a:gd name="T3" fmla="*/ 8 h 8"/>
                <a:gd name="T4" fmla="*/ 3 w 5"/>
                <a:gd name="T5" fmla="*/ 7 h 8"/>
                <a:gd name="T6" fmla="*/ 5 w 5"/>
                <a:gd name="T7" fmla="*/ 3 h 8"/>
                <a:gd name="T8" fmla="*/ 4 w 5"/>
                <a:gd name="T9" fmla="*/ 0 h 8"/>
                <a:gd name="T10" fmla="*/ 2 w 5"/>
                <a:gd name="T11" fmla="*/ 1 h 8"/>
                <a:gd name="T12" fmla="*/ 0 w 5"/>
                <a:gd name="T13" fmla="*/ 6 h 8"/>
                <a:gd name="T14" fmla="*/ 1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1" y="8"/>
                  </a:moveTo>
                  <a:cubicBezTo>
                    <a:pt x="1" y="8"/>
                    <a:pt x="1" y="8"/>
                    <a:pt x="2" y="8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1"/>
                    <a:pt x="4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1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D83E037D-A437-49CC-8BD5-3192F2908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5" y="352"/>
              <a:ext cx="17" cy="20"/>
            </a:xfrm>
            <a:custGeom>
              <a:avLst/>
              <a:gdLst>
                <a:gd name="T0" fmla="*/ 2 w 7"/>
                <a:gd name="T1" fmla="*/ 8 h 8"/>
                <a:gd name="T2" fmla="*/ 3 w 7"/>
                <a:gd name="T3" fmla="*/ 7 h 8"/>
                <a:gd name="T4" fmla="*/ 6 w 7"/>
                <a:gd name="T5" fmla="*/ 3 h 8"/>
                <a:gd name="T6" fmla="*/ 6 w 7"/>
                <a:gd name="T7" fmla="*/ 1 h 8"/>
                <a:gd name="T8" fmla="*/ 4 w 7"/>
                <a:gd name="T9" fmla="*/ 1 h 8"/>
                <a:gd name="T10" fmla="*/ 1 w 7"/>
                <a:gd name="T11" fmla="*/ 5 h 8"/>
                <a:gd name="T12" fmla="*/ 1 w 7"/>
                <a:gd name="T13" fmla="*/ 7 h 8"/>
                <a:gd name="T14" fmla="*/ 2 w 7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8">
                  <a:moveTo>
                    <a:pt x="2" y="8"/>
                  </a:moveTo>
                  <a:cubicBezTo>
                    <a:pt x="2" y="8"/>
                    <a:pt x="3" y="7"/>
                    <a:pt x="3" y="7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7"/>
                    <a:pt x="1" y="7"/>
                  </a:cubicBezTo>
                  <a:cubicBezTo>
                    <a:pt x="1" y="7"/>
                    <a:pt x="2" y="8"/>
                    <a:pt x="2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F6760FB4-0140-4896-A27D-2A73D3163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" y="372"/>
              <a:ext cx="19" cy="15"/>
            </a:xfrm>
            <a:custGeom>
              <a:avLst/>
              <a:gdLst>
                <a:gd name="T0" fmla="*/ 8 w 8"/>
                <a:gd name="T1" fmla="*/ 1 h 6"/>
                <a:gd name="T2" fmla="*/ 6 w 8"/>
                <a:gd name="T3" fmla="*/ 1 h 6"/>
                <a:gd name="T4" fmla="*/ 2 w 8"/>
                <a:gd name="T5" fmla="*/ 3 h 6"/>
                <a:gd name="T6" fmla="*/ 1 w 8"/>
                <a:gd name="T7" fmla="*/ 6 h 6"/>
                <a:gd name="T8" fmla="*/ 2 w 8"/>
                <a:gd name="T9" fmla="*/ 6 h 6"/>
                <a:gd name="T10" fmla="*/ 3 w 8"/>
                <a:gd name="T11" fmla="*/ 6 h 6"/>
                <a:gd name="T12" fmla="*/ 7 w 8"/>
                <a:gd name="T13" fmla="*/ 4 h 6"/>
                <a:gd name="T14" fmla="*/ 8 w 8"/>
                <a:gd name="T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1"/>
                  </a:moveTo>
                  <a:cubicBezTo>
                    <a:pt x="7" y="1"/>
                    <a:pt x="6" y="0"/>
                    <a:pt x="6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2"/>
                    <a:pt x="8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3567BEC1-54F0-40A5-9B03-3FFD262C9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" y="293"/>
              <a:ext cx="76" cy="76"/>
            </a:xfrm>
            <a:custGeom>
              <a:avLst/>
              <a:gdLst>
                <a:gd name="T0" fmla="*/ 25 w 31"/>
                <a:gd name="T1" fmla="*/ 28 h 31"/>
                <a:gd name="T2" fmla="*/ 16 w 31"/>
                <a:gd name="T3" fmla="*/ 28 h 31"/>
                <a:gd name="T4" fmla="*/ 14 w 31"/>
                <a:gd name="T5" fmla="*/ 29 h 31"/>
                <a:gd name="T6" fmla="*/ 16 w 31"/>
                <a:gd name="T7" fmla="*/ 31 h 31"/>
                <a:gd name="T8" fmla="*/ 29 w 31"/>
                <a:gd name="T9" fmla="*/ 31 h 31"/>
                <a:gd name="T10" fmla="*/ 30 w 31"/>
                <a:gd name="T11" fmla="*/ 31 h 31"/>
                <a:gd name="T12" fmla="*/ 30 w 31"/>
                <a:gd name="T13" fmla="*/ 31 h 31"/>
                <a:gd name="T14" fmla="*/ 31 w 31"/>
                <a:gd name="T15" fmla="*/ 30 h 31"/>
                <a:gd name="T16" fmla="*/ 31 w 31"/>
                <a:gd name="T17" fmla="*/ 30 h 31"/>
                <a:gd name="T18" fmla="*/ 31 w 31"/>
                <a:gd name="T19" fmla="*/ 29 h 31"/>
                <a:gd name="T20" fmla="*/ 31 w 31"/>
                <a:gd name="T21" fmla="*/ 16 h 31"/>
                <a:gd name="T22" fmla="*/ 29 w 31"/>
                <a:gd name="T23" fmla="*/ 14 h 31"/>
                <a:gd name="T24" fmla="*/ 28 w 31"/>
                <a:gd name="T25" fmla="*/ 16 h 31"/>
                <a:gd name="T26" fmla="*/ 28 w 31"/>
                <a:gd name="T27" fmla="*/ 25 h 31"/>
                <a:gd name="T28" fmla="*/ 3 w 31"/>
                <a:gd name="T29" fmla="*/ 0 h 31"/>
                <a:gd name="T30" fmla="*/ 0 w 31"/>
                <a:gd name="T31" fmla="*/ 0 h 31"/>
                <a:gd name="T32" fmla="*/ 0 w 31"/>
                <a:gd name="T33" fmla="*/ 3 h 31"/>
                <a:gd name="T34" fmla="*/ 25 w 31"/>
                <a:gd name="T35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1">
                  <a:moveTo>
                    <a:pt x="25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4" y="28"/>
                    <a:pt x="14" y="29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29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5"/>
                    <a:pt x="30" y="14"/>
                    <a:pt x="29" y="14"/>
                  </a:cubicBezTo>
                  <a:cubicBezTo>
                    <a:pt x="28" y="14"/>
                    <a:pt x="28" y="15"/>
                    <a:pt x="28" y="1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25" y="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5101F2DA-C12B-41EB-9BEE-DA428993B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" y="293"/>
              <a:ext cx="76" cy="76"/>
            </a:xfrm>
            <a:custGeom>
              <a:avLst/>
              <a:gdLst>
                <a:gd name="T0" fmla="*/ 0 w 31"/>
                <a:gd name="T1" fmla="*/ 30 h 31"/>
                <a:gd name="T2" fmla="*/ 1 w 31"/>
                <a:gd name="T3" fmla="*/ 31 h 31"/>
                <a:gd name="T4" fmla="*/ 1 w 31"/>
                <a:gd name="T5" fmla="*/ 31 h 31"/>
                <a:gd name="T6" fmla="*/ 2 w 31"/>
                <a:gd name="T7" fmla="*/ 31 h 31"/>
                <a:gd name="T8" fmla="*/ 15 w 31"/>
                <a:gd name="T9" fmla="*/ 31 h 31"/>
                <a:gd name="T10" fmla="*/ 17 w 31"/>
                <a:gd name="T11" fmla="*/ 29 h 31"/>
                <a:gd name="T12" fmla="*/ 15 w 31"/>
                <a:gd name="T13" fmla="*/ 28 h 31"/>
                <a:gd name="T14" fmla="*/ 6 w 31"/>
                <a:gd name="T15" fmla="*/ 28 h 31"/>
                <a:gd name="T16" fmla="*/ 31 w 31"/>
                <a:gd name="T17" fmla="*/ 3 h 31"/>
                <a:gd name="T18" fmla="*/ 31 w 31"/>
                <a:gd name="T19" fmla="*/ 0 h 31"/>
                <a:gd name="T20" fmla="*/ 28 w 31"/>
                <a:gd name="T21" fmla="*/ 0 h 31"/>
                <a:gd name="T22" fmla="*/ 3 w 31"/>
                <a:gd name="T23" fmla="*/ 25 h 31"/>
                <a:gd name="T24" fmla="*/ 3 w 31"/>
                <a:gd name="T25" fmla="*/ 16 h 31"/>
                <a:gd name="T26" fmla="*/ 2 w 31"/>
                <a:gd name="T27" fmla="*/ 14 h 31"/>
                <a:gd name="T28" fmla="*/ 0 w 31"/>
                <a:gd name="T29" fmla="*/ 16 h 31"/>
                <a:gd name="T30" fmla="*/ 0 w 31"/>
                <a:gd name="T31" fmla="*/ 29 h 31"/>
                <a:gd name="T32" fmla="*/ 0 w 31"/>
                <a:gd name="T33" fmla="*/ 30 h 31"/>
                <a:gd name="T34" fmla="*/ 0 w 31"/>
                <a:gd name="T3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1">
                  <a:moveTo>
                    <a:pt x="0" y="30"/>
                  </a:moveTo>
                  <a:cubicBezTo>
                    <a:pt x="0" y="30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2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6" y="31"/>
                    <a:pt x="17" y="30"/>
                    <a:pt x="17" y="29"/>
                  </a:cubicBezTo>
                  <a:cubicBezTo>
                    <a:pt x="17" y="28"/>
                    <a:pt x="16" y="28"/>
                    <a:pt x="15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2"/>
                    <a:pt x="31" y="1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4"/>
                    <a:pt x="2" y="14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4387C0CE-AAF3-488C-B572-E0DECC293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" y="497"/>
              <a:ext cx="76" cy="76"/>
            </a:xfrm>
            <a:custGeom>
              <a:avLst/>
              <a:gdLst>
                <a:gd name="T0" fmla="*/ 31 w 31"/>
                <a:gd name="T1" fmla="*/ 1 h 31"/>
                <a:gd name="T2" fmla="*/ 30 w 31"/>
                <a:gd name="T3" fmla="*/ 0 h 31"/>
                <a:gd name="T4" fmla="*/ 30 w 31"/>
                <a:gd name="T5" fmla="*/ 0 h 31"/>
                <a:gd name="T6" fmla="*/ 29 w 31"/>
                <a:gd name="T7" fmla="*/ 0 h 31"/>
                <a:gd name="T8" fmla="*/ 16 w 31"/>
                <a:gd name="T9" fmla="*/ 0 h 31"/>
                <a:gd name="T10" fmla="*/ 14 w 31"/>
                <a:gd name="T11" fmla="*/ 2 h 31"/>
                <a:gd name="T12" fmla="*/ 16 w 31"/>
                <a:gd name="T13" fmla="*/ 3 h 31"/>
                <a:gd name="T14" fmla="*/ 25 w 31"/>
                <a:gd name="T15" fmla="*/ 3 h 31"/>
                <a:gd name="T16" fmla="*/ 0 w 31"/>
                <a:gd name="T17" fmla="*/ 28 h 31"/>
                <a:gd name="T18" fmla="*/ 0 w 31"/>
                <a:gd name="T19" fmla="*/ 31 h 31"/>
                <a:gd name="T20" fmla="*/ 2 w 31"/>
                <a:gd name="T21" fmla="*/ 31 h 31"/>
                <a:gd name="T22" fmla="*/ 3 w 31"/>
                <a:gd name="T23" fmla="*/ 31 h 31"/>
                <a:gd name="T24" fmla="*/ 28 w 31"/>
                <a:gd name="T25" fmla="*/ 6 h 31"/>
                <a:gd name="T26" fmla="*/ 28 w 31"/>
                <a:gd name="T27" fmla="*/ 15 h 31"/>
                <a:gd name="T28" fmla="*/ 29 w 31"/>
                <a:gd name="T29" fmla="*/ 17 h 31"/>
                <a:gd name="T30" fmla="*/ 31 w 31"/>
                <a:gd name="T31" fmla="*/ 15 h 31"/>
                <a:gd name="T32" fmla="*/ 31 w 31"/>
                <a:gd name="T33" fmla="*/ 2 h 31"/>
                <a:gd name="T34" fmla="*/ 31 w 31"/>
                <a:gd name="T35" fmla="*/ 1 h 31"/>
                <a:gd name="T36" fmla="*/ 31 w 31"/>
                <a:gd name="T3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1">
                  <a:moveTo>
                    <a:pt x="31" y="1"/>
                  </a:moveTo>
                  <a:cubicBezTo>
                    <a:pt x="31" y="1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30"/>
                    <a:pt x="0" y="31"/>
                  </a:cubicBezTo>
                  <a:cubicBezTo>
                    <a:pt x="1" y="31"/>
                    <a:pt x="1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7"/>
                    <a:pt x="29" y="17"/>
                  </a:cubicBezTo>
                  <a:cubicBezTo>
                    <a:pt x="30" y="17"/>
                    <a:pt x="31" y="16"/>
                    <a:pt x="31" y="15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565E29-F8D3-4134-87DA-A1EC3DFB7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" y="497"/>
              <a:ext cx="76" cy="76"/>
            </a:xfrm>
            <a:custGeom>
              <a:avLst/>
              <a:gdLst>
                <a:gd name="T0" fmla="*/ 6 w 31"/>
                <a:gd name="T1" fmla="*/ 3 h 31"/>
                <a:gd name="T2" fmla="*/ 15 w 31"/>
                <a:gd name="T3" fmla="*/ 3 h 31"/>
                <a:gd name="T4" fmla="*/ 17 w 31"/>
                <a:gd name="T5" fmla="*/ 2 h 31"/>
                <a:gd name="T6" fmla="*/ 15 w 31"/>
                <a:gd name="T7" fmla="*/ 0 h 31"/>
                <a:gd name="T8" fmla="*/ 2 w 31"/>
                <a:gd name="T9" fmla="*/ 0 h 31"/>
                <a:gd name="T10" fmla="*/ 1 w 31"/>
                <a:gd name="T11" fmla="*/ 0 h 31"/>
                <a:gd name="T12" fmla="*/ 1 w 31"/>
                <a:gd name="T13" fmla="*/ 0 h 31"/>
                <a:gd name="T14" fmla="*/ 0 w 31"/>
                <a:gd name="T15" fmla="*/ 1 h 31"/>
                <a:gd name="T16" fmla="*/ 0 w 31"/>
                <a:gd name="T17" fmla="*/ 1 h 31"/>
                <a:gd name="T18" fmla="*/ 0 w 31"/>
                <a:gd name="T19" fmla="*/ 2 h 31"/>
                <a:gd name="T20" fmla="*/ 0 w 31"/>
                <a:gd name="T21" fmla="*/ 15 h 31"/>
                <a:gd name="T22" fmla="*/ 2 w 31"/>
                <a:gd name="T23" fmla="*/ 17 h 31"/>
                <a:gd name="T24" fmla="*/ 3 w 31"/>
                <a:gd name="T25" fmla="*/ 15 h 31"/>
                <a:gd name="T26" fmla="*/ 3 w 31"/>
                <a:gd name="T27" fmla="*/ 6 h 31"/>
                <a:gd name="T28" fmla="*/ 28 w 31"/>
                <a:gd name="T29" fmla="*/ 31 h 31"/>
                <a:gd name="T30" fmla="*/ 29 w 31"/>
                <a:gd name="T31" fmla="*/ 31 h 31"/>
                <a:gd name="T32" fmla="*/ 31 w 31"/>
                <a:gd name="T33" fmla="*/ 31 h 31"/>
                <a:gd name="T34" fmla="*/ 31 w 31"/>
                <a:gd name="T35" fmla="*/ 28 h 31"/>
                <a:gd name="T36" fmla="*/ 6 w 31"/>
                <a:gd name="T3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1">
                  <a:moveTo>
                    <a:pt x="6" y="3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3"/>
                    <a:pt x="17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cubicBezTo>
                    <a:pt x="3" y="17"/>
                    <a:pt x="3" y="16"/>
                    <a:pt x="3" y="1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9" y="31"/>
                    <a:pt x="29" y="31"/>
                  </a:cubicBezTo>
                  <a:cubicBezTo>
                    <a:pt x="30" y="31"/>
                    <a:pt x="30" y="31"/>
                    <a:pt x="31" y="31"/>
                  </a:cubicBezTo>
                  <a:cubicBezTo>
                    <a:pt x="31" y="30"/>
                    <a:pt x="31" y="29"/>
                    <a:pt x="31" y="28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41">
            <a:extLst>
              <a:ext uri="{FF2B5EF4-FFF2-40B4-BE49-F238E27FC236}">
                <a16:creationId xmlns:a16="http://schemas.microsoft.com/office/drawing/2014/main" id="{23F42A07-A32D-40B0-83F7-291AAC81C7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68575" y="265113"/>
            <a:ext cx="841375" cy="841375"/>
            <a:chOff x="1618" y="167"/>
            <a:chExt cx="530" cy="530"/>
          </a:xfrm>
        </p:grpSpPr>
        <p:sp>
          <p:nvSpPr>
            <p:cNvPr id="59" name="AutoShape 40">
              <a:extLst>
                <a:ext uri="{FF2B5EF4-FFF2-40B4-BE49-F238E27FC236}">
                  <a16:creationId xmlns:a16="http://schemas.microsoft.com/office/drawing/2014/main" id="{161C737D-AAC8-432A-8648-F08AD70544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18" y="1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42">
              <a:extLst>
                <a:ext uri="{FF2B5EF4-FFF2-40B4-BE49-F238E27FC236}">
                  <a16:creationId xmlns:a16="http://schemas.microsoft.com/office/drawing/2014/main" id="{39E56EA5-CC5E-4969-BDCB-7B8FCF211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8" y="1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7296180C-CC8C-46EB-A05F-A655ACB1A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6" y="1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4">
              <a:extLst>
                <a:ext uri="{FF2B5EF4-FFF2-40B4-BE49-F238E27FC236}">
                  <a16:creationId xmlns:a16="http://schemas.microsoft.com/office/drawing/2014/main" id="{33BBA7A8-06F4-478C-900B-B8A394DF2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" y="295"/>
              <a:ext cx="261" cy="276"/>
            </a:xfrm>
            <a:custGeom>
              <a:avLst/>
              <a:gdLst>
                <a:gd name="T0" fmla="*/ 102 w 102"/>
                <a:gd name="T1" fmla="*/ 51 h 108"/>
                <a:gd name="T2" fmla="*/ 101 w 102"/>
                <a:gd name="T3" fmla="*/ 40 h 108"/>
                <a:gd name="T4" fmla="*/ 99 w 102"/>
                <a:gd name="T5" fmla="*/ 38 h 108"/>
                <a:gd name="T6" fmla="*/ 98 w 102"/>
                <a:gd name="T7" fmla="*/ 40 h 108"/>
                <a:gd name="T8" fmla="*/ 99 w 102"/>
                <a:gd name="T9" fmla="*/ 51 h 108"/>
                <a:gd name="T10" fmla="*/ 51 w 102"/>
                <a:gd name="T11" fmla="*/ 98 h 108"/>
                <a:gd name="T12" fmla="*/ 4 w 102"/>
                <a:gd name="T13" fmla="*/ 51 h 108"/>
                <a:gd name="T14" fmla="*/ 51 w 102"/>
                <a:gd name="T15" fmla="*/ 3 h 108"/>
                <a:gd name="T16" fmla="*/ 85 w 102"/>
                <a:gd name="T17" fmla="*/ 17 h 108"/>
                <a:gd name="T18" fmla="*/ 87 w 102"/>
                <a:gd name="T19" fmla="*/ 17 h 108"/>
                <a:gd name="T20" fmla="*/ 87 w 102"/>
                <a:gd name="T21" fmla="*/ 14 h 108"/>
                <a:gd name="T22" fmla="*/ 51 w 102"/>
                <a:gd name="T23" fmla="*/ 0 h 108"/>
                <a:gd name="T24" fmla="*/ 0 w 102"/>
                <a:gd name="T25" fmla="*/ 51 h 108"/>
                <a:gd name="T26" fmla="*/ 23 w 102"/>
                <a:gd name="T27" fmla="*/ 93 h 108"/>
                <a:gd name="T28" fmla="*/ 14 w 102"/>
                <a:gd name="T29" fmla="*/ 106 h 108"/>
                <a:gd name="T30" fmla="*/ 15 w 102"/>
                <a:gd name="T31" fmla="*/ 108 h 108"/>
                <a:gd name="T32" fmla="*/ 16 w 102"/>
                <a:gd name="T33" fmla="*/ 108 h 108"/>
                <a:gd name="T34" fmla="*/ 17 w 102"/>
                <a:gd name="T35" fmla="*/ 108 h 108"/>
                <a:gd name="T36" fmla="*/ 25 w 102"/>
                <a:gd name="T37" fmla="*/ 95 h 108"/>
                <a:gd name="T38" fmla="*/ 51 w 102"/>
                <a:gd name="T39" fmla="*/ 102 h 108"/>
                <a:gd name="T40" fmla="*/ 77 w 102"/>
                <a:gd name="T41" fmla="*/ 95 h 108"/>
                <a:gd name="T42" fmla="*/ 85 w 102"/>
                <a:gd name="T43" fmla="*/ 108 h 108"/>
                <a:gd name="T44" fmla="*/ 86 w 102"/>
                <a:gd name="T45" fmla="*/ 108 h 108"/>
                <a:gd name="T46" fmla="*/ 87 w 102"/>
                <a:gd name="T47" fmla="*/ 108 h 108"/>
                <a:gd name="T48" fmla="*/ 88 w 102"/>
                <a:gd name="T49" fmla="*/ 106 h 108"/>
                <a:gd name="T50" fmla="*/ 80 w 102"/>
                <a:gd name="T51" fmla="*/ 93 h 108"/>
                <a:gd name="T52" fmla="*/ 102 w 102"/>
                <a:gd name="T53" fmla="*/ 5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08">
                  <a:moveTo>
                    <a:pt x="102" y="51"/>
                  </a:moveTo>
                  <a:cubicBezTo>
                    <a:pt x="102" y="47"/>
                    <a:pt x="102" y="43"/>
                    <a:pt x="101" y="40"/>
                  </a:cubicBezTo>
                  <a:cubicBezTo>
                    <a:pt x="101" y="39"/>
                    <a:pt x="100" y="38"/>
                    <a:pt x="99" y="38"/>
                  </a:cubicBezTo>
                  <a:cubicBezTo>
                    <a:pt x="98" y="38"/>
                    <a:pt x="97" y="39"/>
                    <a:pt x="98" y="40"/>
                  </a:cubicBezTo>
                  <a:cubicBezTo>
                    <a:pt x="98" y="44"/>
                    <a:pt x="99" y="47"/>
                    <a:pt x="99" y="51"/>
                  </a:cubicBezTo>
                  <a:cubicBezTo>
                    <a:pt x="99" y="77"/>
                    <a:pt x="77" y="98"/>
                    <a:pt x="51" y="98"/>
                  </a:cubicBezTo>
                  <a:cubicBezTo>
                    <a:pt x="25" y="98"/>
                    <a:pt x="4" y="77"/>
                    <a:pt x="4" y="51"/>
                  </a:cubicBezTo>
                  <a:cubicBezTo>
                    <a:pt x="4" y="24"/>
                    <a:pt x="25" y="3"/>
                    <a:pt x="51" y="3"/>
                  </a:cubicBezTo>
                  <a:cubicBezTo>
                    <a:pt x="64" y="3"/>
                    <a:pt x="76" y="8"/>
                    <a:pt x="85" y="17"/>
                  </a:cubicBezTo>
                  <a:cubicBezTo>
                    <a:pt x="85" y="18"/>
                    <a:pt x="87" y="18"/>
                    <a:pt x="87" y="17"/>
                  </a:cubicBezTo>
                  <a:cubicBezTo>
                    <a:pt x="88" y="16"/>
                    <a:pt x="88" y="15"/>
                    <a:pt x="87" y="14"/>
                  </a:cubicBezTo>
                  <a:cubicBezTo>
                    <a:pt x="78" y="5"/>
                    <a:pt x="65" y="0"/>
                    <a:pt x="51" y="0"/>
                  </a:cubicBezTo>
                  <a:cubicBezTo>
                    <a:pt x="23" y="0"/>
                    <a:pt x="0" y="22"/>
                    <a:pt x="0" y="51"/>
                  </a:cubicBezTo>
                  <a:cubicBezTo>
                    <a:pt x="0" y="68"/>
                    <a:pt x="9" y="84"/>
                    <a:pt x="23" y="93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8"/>
                    <a:pt x="15" y="108"/>
                  </a:cubicBezTo>
                  <a:cubicBezTo>
                    <a:pt x="15" y="108"/>
                    <a:pt x="16" y="108"/>
                    <a:pt x="16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33" y="99"/>
                    <a:pt x="42" y="102"/>
                    <a:pt x="51" y="102"/>
                  </a:cubicBezTo>
                  <a:cubicBezTo>
                    <a:pt x="60" y="102"/>
                    <a:pt x="69" y="99"/>
                    <a:pt x="77" y="95"/>
                  </a:cubicBezTo>
                  <a:cubicBezTo>
                    <a:pt x="85" y="108"/>
                    <a:pt x="85" y="108"/>
                    <a:pt x="85" y="108"/>
                  </a:cubicBezTo>
                  <a:cubicBezTo>
                    <a:pt x="85" y="108"/>
                    <a:pt x="86" y="108"/>
                    <a:pt x="86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8" y="108"/>
                    <a:pt x="88" y="107"/>
                    <a:pt x="88" y="106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93" y="84"/>
                    <a:pt x="102" y="68"/>
                    <a:pt x="102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672103CE-1396-4B91-BB36-B36AFB996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" y="321"/>
              <a:ext cx="110" cy="107"/>
            </a:xfrm>
            <a:custGeom>
              <a:avLst/>
              <a:gdLst>
                <a:gd name="T0" fmla="*/ 43 w 43"/>
                <a:gd name="T1" fmla="*/ 1 h 42"/>
                <a:gd name="T2" fmla="*/ 41 w 43"/>
                <a:gd name="T3" fmla="*/ 0 h 42"/>
                <a:gd name="T4" fmla="*/ 0 w 43"/>
                <a:gd name="T5" fmla="*/ 41 h 42"/>
                <a:gd name="T6" fmla="*/ 2 w 43"/>
                <a:gd name="T7" fmla="*/ 42 h 42"/>
                <a:gd name="T8" fmla="*/ 4 w 43"/>
                <a:gd name="T9" fmla="*/ 41 h 42"/>
                <a:gd name="T10" fmla="*/ 41 w 43"/>
                <a:gd name="T11" fmla="*/ 3 h 42"/>
                <a:gd name="T12" fmla="*/ 43 w 43"/>
                <a:gd name="T13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43" y="1"/>
                  </a:moveTo>
                  <a:cubicBezTo>
                    <a:pt x="43" y="0"/>
                    <a:pt x="42" y="0"/>
                    <a:pt x="41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0" y="42"/>
                    <a:pt x="1" y="42"/>
                    <a:pt x="2" y="42"/>
                  </a:cubicBezTo>
                  <a:cubicBezTo>
                    <a:pt x="3" y="42"/>
                    <a:pt x="4" y="42"/>
                    <a:pt x="4" y="41"/>
                  </a:cubicBezTo>
                  <a:cubicBezTo>
                    <a:pt x="4" y="20"/>
                    <a:pt x="20" y="3"/>
                    <a:pt x="41" y="3"/>
                  </a:cubicBezTo>
                  <a:cubicBezTo>
                    <a:pt x="42" y="3"/>
                    <a:pt x="43" y="2"/>
                    <a:pt x="4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450C95A3-7367-43B4-B83C-9EC8C8E56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" y="349"/>
              <a:ext cx="154" cy="153"/>
            </a:xfrm>
            <a:custGeom>
              <a:avLst/>
              <a:gdLst>
                <a:gd name="T0" fmla="*/ 30 w 60"/>
                <a:gd name="T1" fmla="*/ 3 h 60"/>
                <a:gd name="T2" fmla="*/ 49 w 60"/>
                <a:gd name="T3" fmla="*/ 11 h 60"/>
                <a:gd name="T4" fmla="*/ 51 w 60"/>
                <a:gd name="T5" fmla="*/ 10 h 60"/>
                <a:gd name="T6" fmla="*/ 51 w 60"/>
                <a:gd name="T7" fmla="*/ 8 h 60"/>
                <a:gd name="T8" fmla="*/ 30 w 60"/>
                <a:gd name="T9" fmla="*/ 0 h 60"/>
                <a:gd name="T10" fmla="*/ 0 w 60"/>
                <a:gd name="T11" fmla="*/ 30 h 60"/>
                <a:gd name="T12" fmla="*/ 30 w 60"/>
                <a:gd name="T13" fmla="*/ 60 h 60"/>
                <a:gd name="T14" fmla="*/ 60 w 60"/>
                <a:gd name="T15" fmla="*/ 30 h 60"/>
                <a:gd name="T16" fmla="*/ 59 w 60"/>
                <a:gd name="T17" fmla="*/ 23 h 60"/>
                <a:gd name="T18" fmla="*/ 57 w 60"/>
                <a:gd name="T19" fmla="*/ 22 h 60"/>
                <a:gd name="T20" fmla="*/ 56 w 60"/>
                <a:gd name="T21" fmla="*/ 24 h 60"/>
                <a:gd name="T22" fmla="*/ 57 w 60"/>
                <a:gd name="T23" fmla="*/ 30 h 60"/>
                <a:gd name="T24" fmla="*/ 30 w 60"/>
                <a:gd name="T25" fmla="*/ 56 h 60"/>
                <a:gd name="T26" fmla="*/ 4 w 60"/>
                <a:gd name="T27" fmla="*/ 30 h 60"/>
                <a:gd name="T28" fmla="*/ 30 w 60"/>
                <a:gd name="T29" fmla="*/ 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0">
                  <a:moveTo>
                    <a:pt x="30" y="3"/>
                  </a:moveTo>
                  <a:cubicBezTo>
                    <a:pt x="37" y="3"/>
                    <a:pt x="44" y="6"/>
                    <a:pt x="49" y="11"/>
                  </a:cubicBezTo>
                  <a:cubicBezTo>
                    <a:pt x="49" y="11"/>
                    <a:pt x="50" y="11"/>
                    <a:pt x="51" y="10"/>
                  </a:cubicBezTo>
                  <a:cubicBezTo>
                    <a:pt x="52" y="10"/>
                    <a:pt x="52" y="9"/>
                    <a:pt x="51" y="8"/>
                  </a:cubicBezTo>
                  <a:cubicBezTo>
                    <a:pt x="45" y="3"/>
                    <a:pt x="38" y="0"/>
                    <a:pt x="30" y="0"/>
                  </a:cubicBezTo>
                  <a:cubicBezTo>
                    <a:pt x="14" y="0"/>
                    <a:pt x="0" y="13"/>
                    <a:pt x="0" y="30"/>
                  </a:cubicBezTo>
                  <a:cubicBezTo>
                    <a:pt x="0" y="46"/>
                    <a:pt x="14" y="60"/>
                    <a:pt x="30" y="60"/>
                  </a:cubicBezTo>
                  <a:cubicBezTo>
                    <a:pt x="47" y="60"/>
                    <a:pt x="60" y="46"/>
                    <a:pt x="60" y="30"/>
                  </a:cubicBezTo>
                  <a:cubicBezTo>
                    <a:pt x="60" y="27"/>
                    <a:pt x="60" y="25"/>
                    <a:pt x="59" y="23"/>
                  </a:cubicBezTo>
                  <a:cubicBezTo>
                    <a:pt x="59" y="22"/>
                    <a:pt x="58" y="22"/>
                    <a:pt x="57" y="22"/>
                  </a:cubicBezTo>
                  <a:cubicBezTo>
                    <a:pt x="56" y="22"/>
                    <a:pt x="56" y="23"/>
                    <a:pt x="56" y="24"/>
                  </a:cubicBezTo>
                  <a:cubicBezTo>
                    <a:pt x="56" y="26"/>
                    <a:pt x="57" y="28"/>
                    <a:pt x="57" y="30"/>
                  </a:cubicBezTo>
                  <a:cubicBezTo>
                    <a:pt x="57" y="44"/>
                    <a:pt x="45" y="56"/>
                    <a:pt x="30" y="56"/>
                  </a:cubicBezTo>
                  <a:cubicBezTo>
                    <a:pt x="16" y="56"/>
                    <a:pt x="4" y="44"/>
                    <a:pt x="4" y="30"/>
                  </a:cubicBezTo>
                  <a:cubicBezTo>
                    <a:pt x="4" y="15"/>
                    <a:pt x="16" y="3"/>
                    <a:pt x="30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C1E34861-5E39-4B81-8806-28C67BC0C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" y="328"/>
              <a:ext cx="153" cy="108"/>
            </a:xfrm>
            <a:custGeom>
              <a:avLst/>
              <a:gdLst>
                <a:gd name="T0" fmla="*/ 58 w 60"/>
                <a:gd name="T1" fmla="*/ 15 h 42"/>
                <a:gd name="T2" fmla="*/ 47 w 60"/>
                <a:gd name="T3" fmla="*/ 13 h 42"/>
                <a:gd name="T4" fmla="*/ 50 w 60"/>
                <a:gd name="T5" fmla="*/ 2 h 42"/>
                <a:gd name="T6" fmla="*/ 49 w 60"/>
                <a:gd name="T7" fmla="*/ 0 h 42"/>
                <a:gd name="T8" fmla="*/ 47 w 60"/>
                <a:gd name="T9" fmla="*/ 1 h 42"/>
                <a:gd name="T10" fmla="*/ 44 w 60"/>
                <a:gd name="T11" fmla="*/ 13 h 42"/>
                <a:gd name="T12" fmla="*/ 4 w 60"/>
                <a:gd name="T13" fmla="*/ 34 h 42"/>
                <a:gd name="T14" fmla="*/ 6 w 60"/>
                <a:gd name="T15" fmla="*/ 28 h 42"/>
                <a:gd name="T16" fmla="*/ 4 w 60"/>
                <a:gd name="T17" fmla="*/ 26 h 42"/>
                <a:gd name="T18" fmla="*/ 2 w 60"/>
                <a:gd name="T19" fmla="*/ 27 h 42"/>
                <a:gd name="T20" fmla="*/ 0 w 60"/>
                <a:gd name="T21" fmla="*/ 37 h 42"/>
                <a:gd name="T22" fmla="*/ 1 w 60"/>
                <a:gd name="T23" fmla="*/ 39 h 42"/>
                <a:gd name="T24" fmla="*/ 11 w 60"/>
                <a:gd name="T25" fmla="*/ 42 h 42"/>
                <a:gd name="T26" fmla="*/ 12 w 60"/>
                <a:gd name="T27" fmla="*/ 42 h 42"/>
                <a:gd name="T28" fmla="*/ 14 w 60"/>
                <a:gd name="T29" fmla="*/ 41 h 42"/>
                <a:gd name="T30" fmla="*/ 12 w 60"/>
                <a:gd name="T31" fmla="*/ 39 h 42"/>
                <a:gd name="T32" fmla="*/ 6 w 60"/>
                <a:gd name="T33" fmla="*/ 37 h 42"/>
                <a:gd name="T34" fmla="*/ 45 w 60"/>
                <a:gd name="T35" fmla="*/ 16 h 42"/>
                <a:gd name="T36" fmla="*/ 57 w 60"/>
                <a:gd name="T37" fmla="*/ 19 h 42"/>
                <a:gd name="T38" fmla="*/ 58 w 60"/>
                <a:gd name="T39" fmla="*/ 19 h 42"/>
                <a:gd name="T40" fmla="*/ 59 w 60"/>
                <a:gd name="T41" fmla="*/ 18 h 42"/>
                <a:gd name="T42" fmla="*/ 58 w 60"/>
                <a:gd name="T43" fmla="*/ 1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42">
                  <a:moveTo>
                    <a:pt x="58" y="15"/>
                  </a:moveTo>
                  <a:cubicBezTo>
                    <a:pt x="47" y="13"/>
                    <a:pt x="47" y="13"/>
                    <a:pt x="47" y="13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50" y="0"/>
                    <a:pt x="49" y="0"/>
                  </a:cubicBezTo>
                  <a:cubicBezTo>
                    <a:pt x="48" y="0"/>
                    <a:pt x="47" y="0"/>
                    <a:pt x="47" y="1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7"/>
                    <a:pt x="5" y="26"/>
                    <a:pt x="4" y="26"/>
                  </a:cubicBezTo>
                  <a:cubicBezTo>
                    <a:pt x="3" y="26"/>
                    <a:pt x="2" y="27"/>
                    <a:pt x="2" y="2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1" y="39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42"/>
                    <a:pt x="13" y="42"/>
                    <a:pt x="14" y="41"/>
                  </a:cubicBezTo>
                  <a:cubicBezTo>
                    <a:pt x="14" y="40"/>
                    <a:pt x="13" y="39"/>
                    <a:pt x="12" y="39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8" y="19"/>
                  </a:cubicBezTo>
                  <a:cubicBezTo>
                    <a:pt x="58" y="19"/>
                    <a:pt x="59" y="18"/>
                    <a:pt x="59" y="18"/>
                  </a:cubicBezTo>
                  <a:cubicBezTo>
                    <a:pt x="60" y="17"/>
                    <a:pt x="59" y="16"/>
                    <a:pt x="5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1D942614-14EE-4A66-9CC5-B8DB982BC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1" y="313"/>
              <a:ext cx="41" cy="48"/>
            </a:xfrm>
            <a:custGeom>
              <a:avLst/>
              <a:gdLst>
                <a:gd name="T0" fmla="*/ 15 w 16"/>
                <a:gd name="T1" fmla="*/ 16 h 19"/>
                <a:gd name="T2" fmla="*/ 4 w 16"/>
                <a:gd name="T3" fmla="*/ 13 h 19"/>
                <a:gd name="T4" fmla="*/ 7 w 16"/>
                <a:gd name="T5" fmla="*/ 2 h 19"/>
                <a:gd name="T6" fmla="*/ 6 w 16"/>
                <a:gd name="T7" fmla="*/ 0 h 19"/>
                <a:gd name="T8" fmla="*/ 4 w 16"/>
                <a:gd name="T9" fmla="*/ 2 h 19"/>
                <a:gd name="T10" fmla="*/ 0 w 16"/>
                <a:gd name="T11" fmla="*/ 14 h 19"/>
                <a:gd name="T12" fmla="*/ 2 w 16"/>
                <a:gd name="T13" fmla="*/ 16 h 19"/>
                <a:gd name="T14" fmla="*/ 14 w 16"/>
                <a:gd name="T15" fmla="*/ 19 h 19"/>
                <a:gd name="T16" fmla="*/ 14 w 16"/>
                <a:gd name="T17" fmla="*/ 19 h 19"/>
                <a:gd name="T18" fmla="*/ 16 w 16"/>
                <a:gd name="T19" fmla="*/ 18 h 19"/>
                <a:gd name="T20" fmla="*/ 15 w 16"/>
                <a:gd name="T2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9">
                  <a:moveTo>
                    <a:pt x="15" y="16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1"/>
                    <a:pt x="6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6" y="19"/>
                    <a:pt x="16" y="18"/>
                  </a:cubicBezTo>
                  <a:cubicBezTo>
                    <a:pt x="16" y="17"/>
                    <a:pt x="16" y="16"/>
                    <a:pt x="1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DE692C65-439B-4C9C-B743-5CA20682A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7" y="297"/>
              <a:ext cx="41" cy="52"/>
            </a:xfrm>
            <a:custGeom>
              <a:avLst/>
              <a:gdLst>
                <a:gd name="T0" fmla="*/ 15 w 16"/>
                <a:gd name="T1" fmla="*/ 16 h 20"/>
                <a:gd name="T2" fmla="*/ 4 w 16"/>
                <a:gd name="T3" fmla="*/ 14 h 20"/>
                <a:gd name="T4" fmla="*/ 7 w 16"/>
                <a:gd name="T5" fmla="*/ 3 h 20"/>
                <a:gd name="T6" fmla="*/ 6 w 16"/>
                <a:gd name="T7" fmla="*/ 1 h 20"/>
                <a:gd name="T8" fmla="*/ 3 w 16"/>
                <a:gd name="T9" fmla="*/ 2 h 20"/>
                <a:gd name="T10" fmla="*/ 0 w 16"/>
                <a:gd name="T11" fmla="*/ 14 h 20"/>
                <a:gd name="T12" fmla="*/ 0 w 16"/>
                <a:gd name="T13" fmla="*/ 16 h 20"/>
                <a:gd name="T14" fmla="*/ 1 w 16"/>
                <a:gd name="T15" fmla="*/ 16 h 20"/>
                <a:gd name="T16" fmla="*/ 14 w 16"/>
                <a:gd name="T17" fmla="*/ 20 h 20"/>
                <a:gd name="T18" fmla="*/ 14 w 16"/>
                <a:gd name="T19" fmla="*/ 20 h 20"/>
                <a:gd name="T20" fmla="*/ 16 w 16"/>
                <a:gd name="T21" fmla="*/ 18 h 20"/>
                <a:gd name="T22" fmla="*/ 15 w 16"/>
                <a:gd name="T23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0">
                  <a:moveTo>
                    <a:pt x="15" y="16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6" y="19"/>
                    <a:pt x="16" y="18"/>
                  </a:cubicBezTo>
                  <a:cubicBezTo>
                    <a:pt x="16" y="18"/>
                    <a:pt x="16" y="17"/>
                    <a:pt x="1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52">
            <a:extLst>
              <a:ext uri="{FF2B5EF4-FFF2-40B4-BE49-F238E27FC236}">
                <a16:creationId xmlns:a16="http://schemas.microsoft.com/office/drawing/2014/main" id="{407B9475-0FE4-41B0-B9EC-8D7911D8B8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0613" y="306388"/>
            <a:ext cx="758825" cy="758825"/>
            <a:chOff x="2287" y="193"/>
            <a:chExt cx="478" cy="478"/>
          </a:xfrm>
        </p:grpSpPr>
        <p:sp>
          <p:nvSpPr>
            <p:cNvPr id="69" name="AutoShape 51">
              <a:extLst>
                <a:ext uri="{FF2B5EF4-FFF2-40B4-BE49-F238E27FC236}">
                  <a16:creationId xmlns:a16="http://schemas.microsoft.com/office/drawing/2014/main" id="{D7444E46-58BF-4795-ACE7-E4D48B6F9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7" y="1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3">
              <a:extLst>
                <a:ext uri="{FF2B5EF4-FFF2-40B4-BE49-F238E27FC236}">
                  <a16:creationId xmlns:a16="http://schemas.microsoft.com/office/drawing/2014/main" id="{B863656B-B6C3-41DA-8770-D3C5C90766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" y="1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4">
              <a:extLst>
                <a:ext uri="{FF2B5EF4-FFF2-40B4-BE49-F238E27FC236}">
                  <a16:creationId xmlns:a16="http://schemas.microsoft.com/office/drawing/2014/main" id="{259BEA3B-F965-4FD8-9CDD-E04920AB3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301"/>
              <a:ext cx="250" cy="265"/>
            </a:xfrm>
            <a:custGeom>
              <a:avLst/>
              <a:gdLst>
                <a:gd name="T0" fmla="*/ 102 w 102"/>
                <a:gd name="T1" fmla="*/ 51 h 108"/>
                <a:gd name="T2" fmla="*/ 101 w 102"/>
                <a:gd name="T3" fmla="*/ 40 h 108"/>
                <a:gd name="T4" fmla="*/ 99 w 102"/>
                <a:gd name="T5" fmla="*/ 38 h 108"/>
                <a:gd name="T6" fmla="*/ 98 w 102"/>
                <a:gd name="T7" fmla="*/ 40 h 108"/>
                <a:gd name="T8" fmla="*/ 99 w 102"/>
                <a:gd name="T9" fmla="*/ 51 h 108"/>
                <a:gd name="T10" fmla="*/ 51 w 102"/>
                <a:gd name="T11" fmla="*/ 98 h 108"/>
                <a:gd name="T12" fmla="*/ 4 w 102"/>
                <a:gd name="T13" fmla="*/ 51 h 108"/>
                <a:gd name="T14" fmla="*/ 51 w 102"/>
                <a:gd name="T15" fmla="*/ 3 h 108"/>
                <a:gd name="T16" fmla="*/ 85 w 102"/>
                <a:gd name="T17" fmla="*/ 17 h 108"/>
                <a:gd name="T18" fmla="*/ 87 w 102"/>
                <a:gd name="T19" fmla="*/ 17 h 108"/>
                <a:gd name="T20" fmla="*/ 87 w 102"/>
                <a:gd name="T21" fmla="*/ 14 h 108"/>
                <a:gd name="T22" fmla="*/ 51 w 102"/>
                <a:gd name="T23" fmla="*/ 0 h 108"/>
                <a:gd name="T24" fmla="*/ 0 w 102"/>
                <a:gd name="T25" fmla="*/ 51 h 108"/>
                <a:gd name="T26" fmla="*/ 23 w 102"/>
                <a:gd name="T27" fmla="*/ 93 h 108"/>
                <a:gd name="T28" fmla="*/ 14 w 102"/>
                <a:gd name="T29" fmla="*/ 106 h 108"/>
                <a:gd name="T30" fmla="*/ 15 w 102"/>
                <a:gd name="T31" fmla="*/ 108 h 108"/>
                <a:gd name="T32" fmla="*/ 16 w 102"/>
                <a:gd name="T33" fmla="*/ 108 h 108"/>
                <a:gd name="T34" fmla="*/ 17 w 102"/>
                <a:gd name="T35" fmla="*/ 108 h 108"/>
                <a:gd name="T36" fmla="*/ 25 w 102"/>
                <a:gd name="T37" fmla="*/ 95 h 108"/>
                <a:gd name="T38" fmla="*/ 51 w 102"/>
                <a:gd name="T39" fmla="*/ 102 h 108"/>
                <a:gd name="T40" fmla="*/ 77 w 102"/>
                <a:gd name="T41" fmla="*/ 95 h 108"/>
                <a:gd name="T42" fmla="*/ 85 w 102"/>
                <a:gd name="T43" fmla="*/ 108 h 108"/>
                <a:gd name="T44" fmla="*/ 86 w 102"/>
                <a:gd name="T45" fmla="*/ 108 h 108"/>
                <a:gd name="T46" fmla="*/ 87 w 102"/>
                <a:gd name="T47" fmla="*/ 108 h 108"/>
                <a:gd name="T48" fmla="*/ 88 w 102"/>
                <a:gd name="T49" fmla="*/ 106 h 108"/>
                <a:gd name="T50" fmla="*/ 80 w 102"/>
                <a:gd name="T51" fmla="*/ 93 h 108"/>
                <a:gd name="T52" fmla="*/ 102 w 102"/>
                <a:gd name="T53" fmla="*/ 5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08">
                  <a:moveTo>
                    <a:pt x="102" y="51"/>
                  </a:moveTo>
                  <a:cubicBezTo>
                    <a:pt x="102" y="47"/>
                    <a:pt x="102" y="43"/>
                    <a:pt x="101" y="40"/>
                  </a:cubicBezTo>
                  <a:cubicBezTo>
                    <a:pt x="101" y="39"/>
                    <a:pt x="100" y="38"/>
                    <a:pt x="99" y="38"/>
                  </a:cubicBezTo>
                  <a:cubicBezTo>
                    <a:pt x="98" y="38"/>
                    <a:pt x="97" y="39"/>
                    <a:pt x="98" y="40"/>
                  </a:cubicBezTo>
                  <a:cubicBezTo>
                    <a:pt x="98" y="44"/>
                    <a:pt x="99" y="47"/>
                    <a:pt x="99" y="51"/>
                  </a:cubicBezTo>
                  <a:cubicBezTo>
                    <a:pt x="99" y="77"/>
                    <a:pt x="77" y="98"/>
                    <a:pt x="51" y="98"/>
                  </a:cubicBezTo>
                  <a:cubicBezTo>
                    <a:pt x="25" y="98"/>
                    <a:pt x="4" y="77"/>
                    <a:pt x="4" y="51"/>
                  </a:cubicBezTo>
                  <a:cubicBezTo>
                    <a:pt x="4" y="24"/>
                    <a:pt x="25" y="3"/>
                    <a:pt x="51" y="3"/>
                  </a:cubicBezTo>
                  <a:cubicBezTo>
                    <a:pt x="64" y="3"/>
                    <a:pt x="76" y="8"/>
                    <a:pt x="85" y="17"/>
                  </a:cubicBezTo>
                  <a:cubicBezTo>
                    <a:pt x="85" y="18"/>
                    <a:pt x="87" y="18"/>
                    <a:pt x="87" y="17"/>
                  </a:cubicBezTo>
                  <a:cubicBezTo>
                    <a:pt x="88" y="16"/>
                    <a:pt x="88" y="15"/>
                    <a:pt x="87" y="14"/>
                  </a:cubicBezTo>
                  <a:cubicBezTo>
                    <a:pt x="78" y="5"/>
                    <a:pt x="65" y="0"/>
                    <a:pt x="51" y="0"/>
                  </a:cubicBezTo>
                  <a:cubicBezTo>
                    <a:pt x="23" y="0"/>
                    <a:pt x="0" y="22"/>
                    <a:pt x="0" y="51"/>
                  </a:cubicBezTo>
                  <a:cubicBezTo>
                    <a:pt x="0" y="68"/>
                    <a:pt x="9" y="84"/>
                    <a:pt x="23" y="93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8"/>
                    <a:pt x="15" y="108"/>
                  </a:cubicBezTo>
                  <a:cubicBezTo>
                    <a:pt x="15" y="108"/>
                    <a:pt x="16" y="108"/>
                    <a:pt x="16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33" y="99"/>
                    <a:pt x="42" y="102"/>
                    <a:pt x="51" y="102"/>
                  </a:cubicBezTo>
                  <a:cubicBezTo>
                    <a:pt x="60" y="102"/>
                    <a:pt x="69" y="99"/>
                    <a:pt x="77" y="95"/>
                  </a:cubicBezTo>
                  <a:cubicBezTo>
                    <a:pt x="85" y="108"/>
                    <a:pt x="85" y="108"/>
                    <a:pt x="85" y="108"/>
                  </a:cubicBezTo>
                  <a:cubicBezTo>
                    <a:pt x="85" y="108"/>
                    <a:pt x="86" y="108"/>
                    <a:pt x="86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8" y="108"/>
                    <a:pt x="88" y="107"/>
                    <a:pt x="88" y="106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93" y="84"/>
                    <a:pt x="102" y="68"/>
                    <a:pt x="102" y="5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5">
              <a:extLst>
                <a:ext uri="{FF2B5EF4-FFF2-40B4-BE49-F238E27FC236}">
                  <a16:creationId xmlns:a16="http://schemas.microsoft.com/office/drawing/2014/main" id="{BC86D4CF-66E8-41BB-B4A8-9B4600ED2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325"/>
              <a:ext cx="105" cy="103"/>
            </a:xfrm>
            <a:custGeom>
              <a:avLst/>
              <a:gdLst>
                <a:gd name="T0" fmla="*/ 43 w 43"/>
                <a:gd name="T1" fmla="*/ 1 h 42"/>
                <a:gd name="T2" fmla="*/ 41 w 43"/>
                <a:gd name="T3" fmla="*/ 0 h 42"/>
                <a:gd name="T4" fmla="*/ 0 w 43"/>
                <a:gd name="T5" fmla="*/ 41 h 42"/>
                <a:gd name="T6" fmla="*/ 2 w 43"/>
                <a:gd name="T7" fmla="*/ 42 h 42"/>
                <a:gd name="T8" fmla="*/ 4 w 43"/>
                <a:gd name="T9" fmla="*/ 41 h 42"/>
                <a:gd name="T10" fmla="*/ 41 w 43"/>
                <a:gd name="T11" fmla="*/ 3 h 42"/>
                <a:gd name="T12" fmla="*/ 43 w 43"/>
                <a:gd name="T13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43" y="1"/>
                  </a:moveTo>
                  <a:cubicBezTo>
                    <a:pt x="43" y="0"/>
                    <a:pt x="42" y="0"/>
                    <a:pt x="41" y="0"/>
                  </a:cubicBezTo>
                  <a:cubicBezTo>
                    <a:pt x="19" y="0"/>
                    <a:pt x="0" y="18"/>
                    <a:pt x="0" y="41"/>
                  </a:cubicBezTo>
                  <a:cubicBezTo>
                    <a:pt x="0" y="42"/>
                    <a:pt x="1" y="42"/>
                    <a:pt x="2" y="42"/>
                  </a:cubicBezTo>
                  <a:cubicBezTo>
                    <a:pt x="3" y="42"/>
                    <a:pt x="4" y="42"/>
                    <a:pt x="4" y="41"/>
                  </a:cubicBezTo>
                  <a:cubicBezTo>
                    <a:pt x="4" y="20"/>
                    <a:pt x="20" y="3"/>
                    <a:pt x="41" y="3"/>
                  </a:cubicBezTo>
                  <a:cubicBezTo>
                    <a:pt x="42" y="3"/>
                    <a:pt x="43" y="2"/>
                    <a:pt x="4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6">
              <a:extLst>
                <a:ext uri="{FF2B5EF4-FFF2-40B4-BE49-F238E27FC236}">
                  <a16:creationId xmlns:a16="http://schemas.microsoft.com/office/drawing/2014/main" id="{543FA1FD-BE22-4457-8574-752527BA7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352"/>
              <a:ext cx="147" cy="147"/>
            </a:xfrm>
            <a:custGeom>
              <a:avLst/>
              <a:gdLst>
                <a:gd name="T0" fmla="*/ 30 w 60"/>
                <a:gd name="T1" fmla="*/ 3 h 60"/>
                <a:gd name="T2" fmla="*/ 49 w 60"/>
                <a:gd name="T3" fmla="*/ 11 h 60"/>
                <a:gd name="T4" fmla="*/ 51 w 60"/>
                <a:gd name="T5" fmla="*/ 10 h 60"/>
                <a:gd name="T6" fmla="*/ 51 w 60"/>
                <a:gd name="T7" fmla="*/ 8 h 60"/>
                <a:gd name="T8" fmla="*/ 30 w 60"/>
                <a:gd name="T9" fmla="*/ 0 h 60"/>
                <a:gd name="T10" fmla="*/ 0 w 60"/>
                <a:gd name="T11" fmla="*/ 30 h 60"/>
                <a:gd name="T12" fmla="*/ 30 w 60"/>
                <a:gd name="T13" fmla="*/ 60 h 60"/>
                <a:gd name="T14" fmla="*/ 60 w 60"/>
                <a:gd name="T15" fmla="*/ 30 h 60"/>
                <a:gd name="T16" fmla="*/ 59 w 60"/>
                <a:gd name="T17" fmla="*/ 23 h 60"/>
                <a:gd name="T18" fmla="*/ 57 w 60"/>
                <a:gd name="T19" fmla="*/ 22 h 60"/>
                <a:gd name="T20" fmla="*/ 56 w 60"/>
                <a:gd name="T21" fmla="*/ 24 h 60"/>
                <a:gd name="T22" fmla="*/ 57 w 60"/>
                <a:gd name="T23" fmla="*/ 30 h 60"/>
                <a:gd name="T24" fmla="*/ 30 w 60"/>
                <a:gd name="T25" fmla="*/ 56 h 60"/>
                <a:gd name="T26" fmla="*/ 4 w 60"/>
                <a:gd name="T27" fmla="*/ 30 h 60"/>
                <a:gd name="T28" fmla="*/ 30 w 60"/>
                <a:gd name="T29" fmla="*/ 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0">
                  <a:moveTo>
                    <a:pt x="30" y="3"/>
                  </a:moveTo>
                  <a:cubicBezTo>
                    <a:pt x="37" y="3"/>
                    <a:pt x="44" y="6"/>
                    <a:pt x="49" y="11"/>
                  </a:cubicBezTo>
                  <a:cubicBezTo>
                    <a:pt x="49" y="11"/>
                    <a:pt x="50" y="11"/>
                    <a:pt x="51" y="10"/>
                  </a:cubicBezTo>
                  <a:cubicBezTo>
                    <a:pt x="52" y="10"/>
                    <a:pt x="52" y="9"/>
                    <a:pt x="51" y="8"/>
                  </a:cubicBezTo>
                  <a:cubicBezTo>
                    <a:pt x="45" y="3"/>
                    <a:pt x="38" y="0"/>
                    <a:pt x="30" y="0"/>
                  </a:cubicBezTo>
                  <a:cubicBezTo>
                    <a:pt x="14" y="0"/>
                    <a:pt x="0" y="13"/>
                    <a:pt x="0" y="30"/>
                  </a:cubicBezTo>
                  <a:cubicBezTo>
                    <a:pt x="0" y="46"/>
                    <a:pt x="14" y="60"/>
                    <a:pt x="30" y="60"/>
                  </a:cubicBezTo>
                  <a:cubicBezTo>
                    <a:pt x="47" y="60"/>
                    <a:pt x="60" y="46"/>
                    <a:pt x="60" y="30"/>
                  </a:cubicBezTo>
                  <a:cubicBezTo>
                    <a:pt x="60" y="27"/>
                    <a:pt x="60" y="25"/>
                    <a:pt x="59" y="23"/>
                  </a:cubicBezTo>
                  <a:cubicBezTo>
                    <a:pt x="59" y="22"/>
                    <a:pt x="58" y="22"/>
                    <a:pt x="57" y="22"/>
                  </a:cubicBezTo>
                  <a:cubicBezTo>
                    <a:pt x="56" y="22"/>
                    <a:pt x="56" y="23"/>
                    <a:pt x="56" y="24"/>
                  </a:cubicBezTo>
                  <a:cubicBezTo>
                    <a:pt x="56" y="26"/>
                    <a:pt x="57" y="28"/>
                    <a:pt x="57" y="30"/>
                  </a:cubicBezTo>
                  <a:cubicBezTo>
                    <a:pt x="57" y="44"/>
                    <a:pt x="45" y="56"/>
                    <a:pt x="30" y="56"/>
                  </a:cubicBezTo>
                  <a:cubicBezTo>
                    <a:pt x="16" y="56"/>
                    <a:pt x="4" y="44"/>
                    <a:pt x="4" y="30"/>
                  </a:cubicBezTo>
                  <a:cubicBezTo>
                    <a:pt x="4" y="15"/>
                    <a:pt x="16" y="3"/>
                    <a:pt x="30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7">
              <a:extLst>
                <a:ext uri="{FF2B5EF4-FFF2-40B4-BE49-F238E27FC236}">
                  <a16:creationId xmlns:a16="http://schemas.microsoft.com/office/drawing/2014/main" id="{A3E46EA9-0B9C-4256-9A1F-DB6D9166E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0" y="333"/>
              <a:ext cx="148" cy="103"/>
            </a:xfrm>
            <a:custGeom>
              <a:avLst/>
              <a:gdLst>
                <a:gd name="T0" fmla="*/ 58 w 60"/>
                <a:gd name="T1" fmla="*/ 15 h 42"/>
                <a:gd name="T2" fmla="*/ 47 w 60"/>
                <a:gd name="T3" fmla="*/ 13 h 42"/>
                <a:gd name="T4" fmla="*/ 50 w 60"/>
                <a:gd name="T5" fmla="*/ 2 h 42"/>
                <a:gd name="T6" fmla="*/ 49 w 60"/>
                <a:gd name="T7" fmla="*/ 0 h 42"/>
                <a:gd name="T8" fmla="*/ 47 w 60"/>
                <a:gd name="T9" fmla="*/ 1 h 42"/>
                <a:gd name="T10" fmla="*/ 44 w 60"/>
                <a:gd name="T11" fmla="*/ 13 h 42"/>
                <a:gd name="T12" fmla="*/ 4 w 60"/>
                <a:gd name="T13" fmla="*/ 34 h 42"/>
                <a:gd name="T14" fmla="*/ 6 w 60"/>
                <a:gd name="T15" fmla="*/ 28 h 42"/>
                <a:gd name="T16" fmla="*/ 4 w 60"/>
                <a:gd name="T17" fmla="*/ 26 h 42"/>
                <a:gd name="T18" fmla="*/ 2 w 60"/>
                <a:gd name="T19" fmla="*/ 27 h 42"/>
                <a:gd name="T20" fmla="*/ 0 w 60"/>
                <a:gd name="T21" fmla="*/ 37 h 42"/>
                <a:gd name="T22" fmla="*/ 1 w 60"/>
                <a:gd name="T23" fmla="*/ 39 h 42"/>
                <a:gd name="T24" fmla="*/ 11 w 60"/>
                <a:gd name="T25" fmla="*/ 42 h 42"/>
                <a:gd name="T26" fmla="*/ 12 w 60"/>
                <a:gd name="T27" fmla="*/ 42 h 42"/>
                <a:gd name="T28" fmla="*/ 14 w 60"/>
                <a:gd name="T29" fmla="*/ 41 h 42"/>
                <a:gd name="T30" fmla="*/ 12 w 60"/>
                <a:gd name="T31" fmla="*/ 39 h 42"/>
                <a:gd name="T32" fmla="*/ 6 w 60"/>
                <a:gd name="T33" fmla="*/ 37 h 42"/>
                <a:gd name="T34" fmla="*/ 45 w 60"/>
                <a:gd name="T35" fmla="*/ 16 h 42"/>
                <a:gd name="T36" fmla="*/ 57 w 60"/>
                <a:gd name="T37" fmla="*/ 19 h 42"/>
                <a:gd name="T38" fmla="*/ 58 w 60"/>
                <a:gd name="T39" fmla="*/ 19 h 42"/>
                <a:gd name="T40" fmla="*/ 59 w 60"/>
                <a:gd name="T41" fmla="*/ 18 h 42"/>
                <a:gd name="T42" fmla="*/ 58 w 60"/>
                <a:gd name="T43" fmla="*/ 1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42">
                  <a:moveTo>
                    <a:pt x="58" y="15"/>
                  </a:moveTo>
                  <a:cubicBezTo>
                    <a:pt x="47" y="13"/>
                    <a:pt x="47" y="13"/>
                    <a:pt x="47" y="13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50" y="0"/>
                    <a:pt x="49" y="0"/>
                  </a:cubicBezTo>
                  <a:cubicBezTo>
                    <a:pt x="48" y="0"/>
                    <a:pt x="47" y="0"/>
                    <a:pt x="47" y="1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7"/>
                    <a:pt x="5" y="26"/>
                    <a:pt x="4" y="26"/>
                  </a:cubicBezTo>
                  <a:cubicBezTo>
                    <a:pt x="3" y="26"/>
                    <a:pt x="2" y="27"/>
                    <a:pt x="2" y="2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0" y="39"/>
                    <a:pt x="1" y="39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3" y="42"/>
                    <a:pt x="13" y="42"/>
                    <a:pt x="14" y="41"/>
                  </a:cubicBezTo>
                  <a:cubicBezTo>
                    <a:pt x="14" y="40"/>
                    <a:pt x="13" y="39"/>
                    <a:pt x="12" y="39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8" y="19"/>
                  </a:cubicBezTo>
                  <a:cubicBezTo>
                    <a:pt x="58" y="19"/>
                    <a:pt x="59" y="18"/>
                    <a:pt x="59" y="18"/>
                  </a:cubicBezTo>
                  <a:cubicBezTo>
                    <a:pt x="60" y="17"/>
                    <a:pt x="59" y="16"/>
                    <a:pt x="58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8">
              <a:extLst>
                <a:ext uri="{FF2B5EF4-FFF2-40B4-BE49-F238E27FC236}">
                  <a16:creationId xmlns:a16="http://schemas.microsoft.com/office/drawing/2014/main" id="{5A32A7DD-7192-470F-AF62-F08A0BC62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0" y="318"/>
              <a:ext cx="40" cy="47"/>
            </a:xfrm>
            <a:custGeom>
              <a:avLst/>
              <a:gdLst>
                <a:gd name="T0" fmla="*/ 15 w 16"/>
                <a:gd name="T1" fmla="*/ 16 h 19"/>
                <a:gd name="T2" fmla="*/ 4 w 16"/>
                <a:gd name="T3" fmla="*/ 13 h 19"/>
                <a:gd name="T4" fmla="*/ 7 w 16"/>
                <a:gd name="T5" fmla="*/ 2 h 19"/>
                <a:gd name="T6" fmla="*/ 6 w 16"/>
                <a:gd name="T7" fmla="*/ 0 h 19"/>
                <a:gd name="T8" fmla="*/ 4 w 16"/>
                <a:gd name="T9" fmla="*/ 2 h 19"/>
                <a:gd name="T10" fmla="*/ 0 w 16"/>
                <a:gd name="T11" fmla="*/ 14 h 19"/>
                <a:gd name="T12" fmla="*/ 2 w 16"/>
                <a:gd name="T13" fmla="*/ 16 h 19"/>
                <a:gd name="T14" fmla="*/ 14 w 16"/>
                <a:gd name="T15" fmla="*/ 19 h 19"/>
                <a:gd name="T16" fmla="*/ 14 w 16"/>
                <a:gd name="T17" fmla="*/ 19 h 19"/>
                <a:gd name="T18" fmla="*/ 16 w 16"/>
                <a:gd name="T19" fmla="*/ 18 h 19"/>
                <a:gd name="T20" fmla="*/ 15 w 16"/>
                <a:gd name="T21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9">
                  <a:moveTo>
                    <a:pt x="15" y="16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1"/>
                    <a:pt x="6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6" y="19"/>
                    <a:pt x="16" y="18"/>
                  </a:cubicBezTo>
                  <a:cubicBezTo>
                    <a:pt x="16" y="17"/>
                    <a:pt x="16" y="16"/>
                    <a:pt x="15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9">
              <a:extLst>
                <a:ext uri="{FF2B5EF4-FFF2-40B4-BE49-F238E27FC236}">
                  <a16:creationId xmlns:a16="http://schemas.microsoft.com/office/drawing/2014/main" id="{6F475D4A-57A9-477B-BA01-DBA65C4CD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" y="303"/>
              <a:ext cx="39" cy="49"/>
            </a:xfrm>
            <a:custGeom>
              <a:avLst/>
              <a:gdLst>
                <a:gd name="T0" fmla="*/ 15 w 16"/>
                <a:gd name="T1" fmla="*/ 16 h 20"/>
                <a:gd name="T2" fmla="*/ 4 w 16"/>
                <a:gd name="T3" fmla="*/ 14 h 20"/>
                <a:gd name="T4" fmla="*/ 7 w 16"/>
                <a:gd name="T5" fmla="*/ 3 h 20"/>
                <a:gd name="T6" fmla="*/ 6 w 16"/>
                <a:gd name="T7" fmla="*/ 1 h 20"/>
                <a:gd name="T8" fmla="*/ 3 w 16"/>
                <a:gd name="T9" fmla="*/ 2 h 20"/>
                <a:gd name="T10" fmla="*/ 0 w 16"/>
                <a:gd name="T11" fmla="*/ 14 h 20"/>
                <a:gd name="T12" fmla="*/ 0 w 16"/>
                <a:gd name="T13" fmla="*/ 16 h 20"/>
                <a:gd name="T14" fmla="*/ 1 w 16"/>
                <a:gd name="T15" fmla="*/ 16 h 20"/>
                <a:gd name="T16" fmla="*/ 14 w 16"/>
                <a:gd name="T17" fmla="*/ 20 h 20"/>
                <a:gd name="T18" fmla="*/ 14 w 16"/>
                <a:gd name="T19" fmla="*/ 20 h 20"/>
                <a:gd name="T20" fmla="*/ 16 w 16"/>
                <a:gd name="T21" fmla="*/ 18 h 20"/>
                <a:gd name="T22" fmla="*/ 15 w 16"/>
                <a:gd name="T23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0">
                  <a:moveTo>
                    <a:pt x="15" y="16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6" y="19"/>
                    <a:pt x="16" y="18"/>
                  </a:cubicBezTo>
                  <a:cubicBezTo>
                    <a:pt x="16" y="18"/>
                    <a:pt x="16" y="17"/>
                    <a:pt x="15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62">
            <a:extLst>
              <a:ext uri="{FF2B5EF4-FFF2-40B4-BE49-F238E27FC236}">
                <a16:creationId xmlns:a16="http://schemas.microsoft.com/office/drawing/2014/main" id="{2D2A4711-D5CE-4A2D-9512-CB4F33AD980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65675" y="265113"/>
            <a:ext cx="841375" cy="841375"/>
            <a:chOff x="3002" y="167"/>
            <a:chExt cx="530" cy="530"/>
          </a:xfrm>
        </p:grpSpPr>
        <p:sp>
          <p:nvSpPr>
            <p:cNvPr id="78" name="AutoShape 61">
              <a:extLst>
                <a:ext uri="{FF2B5EF4-FFF2-40B4-BE49-F238E27FC236}">
                  <a16:creationId xmlns:a16="http://schemas.microsoft.com/office/drawing/2014/main" id="{24112D1C-930F-4E64-9D82-C48A0106A4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2" y="1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63">
              <a:extLst>
                <a:ext uri="{FF2B5EF4-FFF2-40B4-BE49-F238E27FC236}">
                  <a16:creationId xmlns:a16="http://schemas.microsoft.com/office/drawing/2014/main" id="{C1D0E0D9-B73A-4F66-9F9E-5B159B8A9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2" y="1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4">
              <a:extLst>
                <a:ext uri="{FF2B5EF4-FFF2-40B4-BE49-F238E27FC236}">
                  <a16:creationId xmlns:a16="http://schemas.microsoft.com/office/drawing/2014/main" id="{8D89C8A6-4003-4912-B37B-95ADBEE86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0" y="1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5">
              <a:extLst>
                <a:ext uri="{FF2B5EF4-FFF2-40B4-BE49-F238E27FC236}">
                  <a16:creationId xmlns:a16="http://schemas.microsoft.com/office/drawing/2014/main" id="{DC2EC38D-5053-49CE-925B-7A0BB18B48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9" y="354"/>
              <a:ext cx="138" cy="143"/>
            </a:xfrm>
            <a:custGeom>
              <a:avLst/>
              <a:gdLst>
                <a:gd name="T0" fmla="*/ 16 w 54"/>
                <a:gd name="T1" fmla="*/ 21 h 56"/>
                <a:gd name="T2" fmla="*/ 16 w 54"/>
                <a:gd name="T3" fmla="*/ 17 h 56"/>
                <a:gd name="T4" fmla="*/ 16 w 54"/>
                <a:gd name="T5" fmla="*/ 17 h 56"/>
                <a:gd name="T6" fmla="*/ 16 w 54"/>
                <a:gd name="T7" fmla="*/ 17 h 56"/>
                <a:gd name="T8" fmla="*/ 16 w 54"/>
                <a:gd name="T9" fmla="*/ 16 h 56"/>
                <a:gd name="T10" fmla="*/ 17 w 54"/>
                <a:gd name="T11" fmla="*/ 16 h 56"/>
                <a:gd name="T12" fmla="*/ 17 w 54"/>
                <a:gd name="T13" fmla="*/ 16 h 56"/>
                <a:gd name="T14" fmla="*/ 17 w 54"/>
                <a:gd name="T15" fmla="*/ 15 h 56"/>
                <a:gd name="T16" fmla="*/ 17 w 54"/>
                <a:gd name="T17" fmla="*/ 15 h 56"/>
                <a:gd name="T18" fmla="*/ 19 w 54"/>
                <a:gd name="T19" fmla="*/ 9 h 56"/>
                <a:gd name="T20" fmla="*/ 24 w 54"/>
                <a:gd name="T21" fmla="*/ 10 h 56"/>
                <a:gd name="T22" fmla="*/ 32 w 54"/>
                <a:gd name="T23" fmla="*/ 12 h 56"/>
                <a:gd name="T24" fmla="*/ 37 w 54"/>
                <a:gd name="T25" fmla="*/ 15 h 56"/>
                <a:gd name="T26" fmla="*/ 37 w 54"/>
                <a:gd name="T27" fmla="*/ 16 h 56"/>
                <a:gd name="T28" fmla="*/ 37 w 54"/>
                <a:gd name="T29" fmla="*/ 16 h 56"/>
                <a:gd name="T30" fmla="*/ 37 w 54"/>
                <a:gd name="T31" fmla="*/ 16 h 56"/>
                <a:gd name="T32" fmla="*/ 38 w 54"/>
                <a:gd name="T33" fmla="*/ 17 h 56"/>
                <a:gd name="T34" fmla="*/ 38 w 54"/>
                <a:gd name="T35" fmla="*/ 17 h 56"/>
                <a:gd name="T36" fmla="*/ 38 w 54"/>
                <a:gd name="T37" fmla="*/ 21 h 56"/>
                <a:gd name="T38" fmla="*/ 32 w 54"/>
                <a:gd name="T39" fmla="*/ 29 h 56"/>
                <a:gd name="T40" fmla="*/ 32 w 54"/>
                <a:gd name="T41" fmla="*/ 34 h 56"/>
                <a:gd name="T42" fmla="*/ 27 w 54"/>
                <a:gd name="T43" fmla="*/ 41 h 56"/>
                <a:gd name="T44" fmla="*/ 22 w 54"/>
                <a:gd name="T45" fmla="*/ 34 h 56"/>
                <a:gd name="T46" fmla="*/ 22 w 54"/>
                <a:gd name="T47" fmla="*/ 29 h 56"/>
                <a:gd name="T48" fmla="*/ 34 w 54"/>
                <a:gd name="T49" fmla="*/ 6 h 56"/>
                <a:gd name="T50" fmla="*/ 31 w 54"/>
                <a:gd name="T51" fmla="*/ 9 h 56"/>
                <a:gd name="T52" fmla="*/ 24 w 54"/>
                <a:gd name="T53" fmla="*/ 6 h 56"/>
                <a:gd name="T54" fmla="*/ 27 w 54"/>
                <a:gd name="T55" fmla="*/ 3 h 56"/>
                <a:gd name="T56" fmla="*/ 52 w 54"/>
                <a:gd name="T57" fmla="*/ 45 h 56"/>
                <a:gd name="T58" fmla="*/ 44 w 54"/>
                <a:gd name="T59" fmla="*/ 36 h 56"/>
                <a:gd name="T60" fmla="*/ 35 w 54"/>
                <a:gd name="T61" fmla="*/ 31 h 56"/>
                <a:gd name="T62" fmla="*/ 43 w 54"/>
                <a:gd name="T63" fmla="*/ 19 h 56"/>
                <a:gd name="T64" fmla="*/ 40 w 54"/>
                <a:gd name="T65" fmla="*/ 9 h 56"/>
                <a:gd name="T66" fmla="*/ 36 w 54"/>
                <a:gd name="T67" fmla="*/ 3 h 56"/>
                <a:gd name="T68" fmla="*/ 18 w 54"/>
                <a:gd name="T69" fmla="*/ 3 h 56"/>
                <a:gd name="T70" fmla="*/ 14 w 54"/>
                <a:gd name="T71" fmla="*/ 9 h 56"/>
                <a:gd name="T72" fmla="*/ 11 w 54"/>
                <a:gd name="T73" fmla="*/ 19 h 56"/>
                <a:gd name="T74" fmla="*/ 19 w 54"/>
                <a:gd name="T75" fmla="*/ 31 h 56"/>
                <a:gd name="T76" fmla="*/ 10 w 54"/>
                <a:gd name="T77" fmla="*/ 36 h 56"/>
                <a:gd name="T78" fmla="*/ 2 w 54"/>
                <a:gd name="T79" fmla="*/ 45 h 56"/>
                <a:gd name="T80" fmla="*/ 2 w 54"/>
                <a:gd name="T81" fmla="*/ 56 h 56"/>
                <a:gd name="T82" fmla="*/ 4 w 54"/>
                <a:gd name="T83" fmla="*/ 55 h 56"/>
                <a:gd name="T84" fmla="*/ 8 w 54"/>
                <a:gd name="T85" fmla="*/ 41 h 56"/>
                <a:gd name="T86" fmla="*/ 19 w 54"/>
                <a:gd name="T87" fmla="*/ 37 h 56"/>
                <a:gd name="T88" fmla="*/ 25 w 54"/>
                <a:gd name="T89" fmla="*/ 48 h 56"/>
                <a:gd name="T90" fmla="*/ 29 w 54"/>
                <a:gd name="T91" fmla="*/ 48 h 56"/>
                <a:gd name="T92" fmla="*/ 35 w 54"/>
                <a:gd name="T93" fmla="*/ 37 h 56"/>
                <a:gd name="T94" fmla="*/ 46 w 54"/>
                <a:gd name="T95" fmla="*/ 41 h 56"/>
                <a:gd name="T96" fmla="*/ 50 w 54"/>
                <a:gd name="T97" fmla="*/ 55 h 56"/>
                <a:gd name="T98" fmla="*/ 52 w 54"/>
                <a:gd name="T99" fmla="*/ 56 h 56"/>
                <a:gd name="T100" fmla="*/ 52 w 54"/>
                <a:gd name="T101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" h="56">
                  <a:moveTo>
                    <a:pt x="17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5" y="21"/>
                    <a:pt x="15" y="20"/>
                    <a:pt x="15" y="19"/>
                  </a:cubicBezTo>
                  <a:cubicBezTo>
                    <a:pt x="15" y="18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3"/>
                    <a:pt x="18" y="10"/>
                  </a:cubicBezTo>
                  <a:cubicBezTo>
                    <a:pt x="18" y="9"/>
                    <a:pt x="18" y="9"/>
                    <a:pt x="19" y="9"/>
                  </a:cubicBezTo>
                  <a:cubicBezTo>
                    <a:pt x="20" y="8"/>
                    <a:pt x="21" y="9"/>
                    <a:pt x="23" y="9"/>
                  </a:cubicBezTo>
                  <a:cubicBezTo>
                    <a:pt x="24" y="9"/>
                    <a:pt x="24" y="10"/>
                    <a:pt x="24" y="10"/>
                  </a:cubicBezTo>
                  <a:cubicBezTo>
                    <a:pt x="26" y="11"/>
                    <a:pt x="28" y="12"/>
                    <a:pt x="31" y="12"/>
                  </a:cubicBezTo>
                  <a:cubicBezTo>
                    <a:pt x="31" y="12"/>
                    <a:pt x="32" y="12"/>
                    <a:pt x="32" y="12"/>
                  </a:cubicBezTo>
                  <a:cubicBezTo>
                    <a:pt x="34" y="12"/>
                    <a:pt x="35" y="12"/>
                    <a:pt x="37" y="11"/>
                  </a:cubicBezTo>
                  <a:cubicBezTo>
                    <a:pt x="37" y="13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9" y="17"/>
                    <a:pt x="39" y="18"/>
                    <a:pt x="39" y="19"/>
                  </a:cubicBezTo>
                  <a:cubicBezTo>
                    <a:pt x="39" y="20"/>
                    <a:pt x="39" y="21"/>
                    <a:pt x="38" y="21"/>
                  </a:cubicBezTo>
                  <a:cubicBezTo>
                    <a:pt x="38" y="21"/>
                    <a:pt x="37" y="22"/>
                    <a:pt x="37" y="22"/>
                  </a:cubicBezTo>
                  <a:cubicBezTo>
                    <a:pt x="36" y="25"/>
                    <a:pt x="34" y="28"/>
                    <a:pt x="32" y="29"/>
                  </a:cubicBezTo>
                  <a:cubicBezTo>
                    <a:pt x="32" y="30"/>
                    <a:pt x="32" y="30"/>
                    <a:pt x="32" y="31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5"/>
                    <a:pt x="32" y="35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0"/>
                    <a:pt x="22" y="30"/>
                    <a:pt x="22" y="29"/>
                  </a:cubicBezTo>
                  <a:cubicBezTo>
                    <a:pt x="20" y="28"/>
                    <a:pt x="18" y="25"/>
                    <a:pt x="17" y="22"/>
                  </a:cubicBezTo>
                  <a:moveTo>
                    <a:pt x="34" y="6"/>
                  </a:moveTo>
                  <a:cubicBezTo>
                    <a:pt x="35" y="6"/>
                    <a:pt x="35" y="7"/>
                    <a:pt x="36" y="8"/>
                  </a:cubicBezTo>
                  <a:cubicBezTo>
                    <a:pt x="34" y="9"/>
                    <a:pt x="33" y="9"/>
                    <a:pt x="31" y="9"/>
                  </a:cubicBezTo>
                  <a:cubicBezTo>
                    <a:pt x="29" y="8"/>
                    <a:pt x="28" y="8"/>
                    <a:pt x="26" y="7"/>
                  </a:cubicBezTo>
                  <a:cubicBezTo>
                    <a:pt x="25" y="7"/>
                    <a:pt x="25" y="6"/>
                    <a:pt x="24" y="6"/>
                  </a:cubicBezTo>
                  <a:cubicBezTo>
                    <a:pt x="23" y="6"/>
                    <a:pt x="22" y="5"/>
                    <a:pt x="21" y="5"/>
                  </a:cubicBezTo>
                  <a:cubicBezTo>
                    <a:pt x="22" y="4"/>
                    <a:pt x="24" y="3"/>
                    <a:pt x="27" y="3"/>
                  </a:cubicBezTo>
                  <a:cubicBezTo>
                    <a:pt x="30" y="3"/>
                    <a:pt x="32" y="4"/>
                    <a:pt x="34" y="6"/>
                  </a:cubicBezTo>
                  <a:moveTo>
                    <a:pt x="52" y="45"/>
                  </a:moveTo>
                  <a:cubicBezTo>
                    <a:pt x="51" y="42"/>
                    <a:pt x="50" y="40"/>
                    <a:pt x="48" y="38"/>
                  </a:cubicBezTo>
                  <a:cubicBezTo>
                    <a:pt x="47" y="37"/>
                    <a:pt x="45" y="36"/>
                    <a:pt x="44" y="36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7" y="29"/>
                    <a:pt x="39" y="27"/>
                    <a:pt x="40" y="24"/>
                  </a:cubicBezTo>
                  <a:cubicBezTo>
                    <a:pt x="42" y="23"/>
                    <a:pt x="43" y="21"/>
                    <a:pt x="43" y="19"/>
                  </a:cubicBezTo>
                  <a:cubicBezTo>
                    <a:pt x="43" y="17"/>
                    <a:pt x="42" y="15"/>
                    <a:pt x="40" y="14"/>
                  </a:cubicBezTo>
                  <a:cubicBezTo>
                    <a:pt x="40" y="13"/>
                    <a:pt x="40" y="11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7"/>
                    <a:pt x="38" y="5"/>
                    <a:pt x="36" y="3"/>
                  </a:cubicBezTo>
                  <a:cubicBezTo>
                    <a:pt x="34" y="1"/>
                    <a:pt x="31" y="0"/>
                    <a:pt x="27" y="0"/>
                  </a:cubicBezTo>
                  <a:cubicBezTo>
                    <a:pt x="23" y="0"/>
                    <a:pt x="20" y="1"/>
                    <a:pt x="18" y="3"/>
                  </a:cubicBezTo>
                  <a:cubicBezTo>
                    <a:pt x="16" y="5"/>
                    <a:pt x="15" y="7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1"/>
                    <a:pt x="14" y="13"/>
                    <a:pt x="13" y="14"/>
                  </a:cubicBezTo>
                  <a:cubicBezTo>
                    <a:pt x="12" y="15"/>
                    <a:pt x="11" y="17"/>
                    <a:pt x="11" y="19"/>
                  </a:cubicBezTo>
                  <a:cubicBezTo>
                    <a:pt x="11" y="21"/>
                    <a:pt x="12" y="23"/>
                    <a:pt x="14" y="24"/>
                  </a:cubicBezTo>
                  <a:cubicBezTo>
                    <a:pt x="15" y="27"/>
                    <a:pt x="17" y="29"/>
                    <a:pt x="19" y="31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6"/>
                    <a:pt x="7" y="37"/>
                    <a:pt x="6" y="38"/>
                  </a:cubicBezTo>
                  <a:cubicBezTo>
                    <a:pt x="4" y="40"/>
                    <a:pt x="3" y="42"/>
                    <a:pt x="2" y="4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2"/>
                    <a:pt x="8" y="41"/>
                  </a:cubicBezTo>
                  <a:cubicBezTo>
                    <a:pt x="9" y="40"/>
                    <a:pt x="10" y="40"/>
                    <a:pt x="11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9"/>
                    <a:pt x="26" y="50"/>
                    <a:pt x="27" y="50"/>
                  </a:cubicBezTo>
                  <a:cubicBezTo>
                    <a:pt x="28" y="50"/>
                    <a:pt x="29" y="49"/>
                    <a:pt x="29" y="48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40"/>
                    <a:pt x="45" y="40"/>
                    <a:pt x="46" y="41"/>
                  </a:cubicBezTo>
                  <a:cubicBezTo>
                    <a:pt x="47" y="42"/>
                    <a:pt x="48" y="44"/>
                    <a:pt x="48" y="4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6"/>
                    <a:pt x="51" y="56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3" y="56"/>
                    <a:pt x="54" y="55"/>
                    <a:pt x="54" y="54"/>
                  </a:cubicBezTo>
                  <a:lnTo>
                    <a:pt x="52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6">
              <a:extLst>
                <a:ext uri="{FF2B5EF4-FFF2-40B4-BE49-F238E27FC236}">
                  <a16:creationId xmlns:a16="http://schemas.microsoft.com/office/drawing/2014/main" id="{6BF60379-05C6-4493-98D6-6BEC85156B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7" y="262"/>
              <a:ext cx="343" cy="343"/>
            </a:xfrm>
            <a:custGeom>
              <a:avLst/>
              <a:gdLst>
                <a:gd name="T0" fmla="*/ 69 w 134"/>
                <a:gd name="T1" fmla="*/ 112 h 134"/>
                <a:gd name="T2" fmla="*/ 69 w 134"/>
                <a:gd name="T3" fmla="*/ 106 h 134"/>
                <a:gd name="T4" fmla="*/ 67 w 134"/>
                <a:gd name="T5" fmla="*/ 105 h 134"/>
                <a:gd name="T6" fmla="*/ 65 w 134"/>
                <a:gd name="T7" fmla="*/ 106 h 134"/>
                <a:gd name="T8" fmla="*/ 65 w 134"/>
                <a:gd name="T9" fmla="*/ 112 h 134"/>
                <a:gd name="T10" fmla="*/ 22 w 134"/>
                <a:gd name="T11" fmla="*/ 69 h 134"/>
                <a:gd name="T12" fmla="*/ 28 w 134"/>
                <a:gd name="T13" fmla="*/ 69 h 134"/>
                <a:gd name="T14" fmla="*/ 29 w 134"/>
                <a:gd name="T15" fmla="*/ 67 h 134"/>
                <a:gd name="T16" fmla="*/ 28 w 134"/>
                <a:gd name="T17" fmla="*/ 65 h 134"/>
                <a:gd name="T18" fmla="*/ 22 w 134"/>
                <a:gd name="T19" fmla="*/ 65 h 134"/>
                <a:gd name="T20" fmla="*/ 65 w 134"/>
                <a:gd name="T21" fmla="*/ 22 h 134"/>
                <a:gd name="T22" fmla="*/ 65 w 134"/>
                <a:gd name="T23" fmla="*/ 28 h 134"/>
                <a:gd name="T24" fmla="*/ 67 w 134"/>
                <a:gd name="T25" fmla="*/ 29 h 134"/>
                <a:gd name="T26" fmla="*/ 69 w 134"/>
                <a:gd name="T27" fmla="*/ 28 h 134"/>
                <a:gd name="T28" fmla="*/ 69 w 134"/>
                <a:gd name="T29" fmla="*/ 22 h 134"/>
                <a:gd name="T30" fmla="*/ 112 w 134"/>
                <a:gd name="T31" fmla="*/ 65 h 134"/>
                <a:gd name="T32" fmla="*/ 106 w 134"/>
                <a:gd name="T33" fmla="*/ 65 h 134"/>
                <a:gd name="T34" fmla="*/ 105 w 134"/>
                <a:gd name="T35" fmla="*/ 67 h 134"/>
                <a:gd name="T36" fmla="*/ 106 w 134"/>
                <a:gd name="T37" fmla="*/ 69 h 134"/>
                <a:gd name="T38" fmla="*/ 112 w 134"/>
                <a:gd name="T39" fmla="*/ 69 h 134"/>
                <a:gd name="T40" fmla="*/ 69 w 134"/>
                <a:gd name="T41" fmla="*/ 112 h 134"/>
                <a:gd name="T42" fmla="*/ 132 w 134"/>
                <a:gd name="T43" fmla="*/ 65 h 134"/>
                <a:gd name="T44" fmla="*/ 115 w 134"/>
                <a:gd name="T45" fmla="*/ 65 h 134"/>
                <a:gd name="T46" fmla="*/ 69 w 134"/>
                <a:gd name="T47" fmla="*/ 19 h 134"/>
                <a:gd name="T48" fmla="*/ 69 w 134"/>
                <a:gd name="T49" fmla="*/ 2 h 134"/>
                <a:gd name="T50" fmla="*/ 67 w 134"/>
                <a:gd name="T51" fmla="*/ 0 h 134"/>
                <a:gd name="T52" fmla="*/ 65 w 134"/>
                <a:gd name="T53" fmla="*/ 2 h 134"/>
                <a:gd name="T54" fmla="*/ 65 w 134"/>
                <a:gd name="T55" fmla="*/ 19 h 134"/>
                <a:gd name="T56" fmla="*/ 19 w 134"/>
                <a:gd name="T57" fmla="*/ 65 h 134"/>
                <a:gd name="T58" fmla="*/ 2 w 134"/>
                <a:gd name="T59" fmla="*/ 65 h 134"/>
                <a:gd name="T60" fmla="*/ 0 w 134"/>
                <a:gd name="T61" fmla="*/ 67 h 134"/>
                <a:gd name="T62" fmla="*/ 2 w 134"/>
                <a:gd name="T63" fmla="*/ 69 h 134"/>
                <a:gd name="T64" fmla="*/ 19 w 134"/>
                <a:gd name="T65" fmla="*/ 69 h 134"/>
                <a:gd name="T66" fmla="*/ 65 w 134"/>
                <a:gd name="T67" fmla="*/ 115 h 134"/>
                <a:gd name="T68" fmla="*/ 65 w 134"/>
                <a:gd name="T69" fmla="*/ 132 h 134"/>
                <a:gd name="T70" fmla="*/ 67 w 134"/>
                <a:gd name="T71" fmla="*/ 134 h 134"/>
                <a:gd name="T72" fmla="*/ 69 w 134"/>
                <a:gd name="T73" fmla="*/ 132 h 134"/>
                <a:gd name="T74" fmla="*/ 69 w 134"/>
                <a:gd name="T75" fmla="*/ 115 h 134"/>
                <a:gd name="T76" fmla="*/ 115 w 134"/>
                <a:gd name="T77" fmla="*/ 69 h 134"/>
                <a:gd name="T78" fmla="*/ 132 w 134"/>
                <a:gd name="T79" fmla="*/ 69 h 134"/>
                <a:gd name="T80" fmla="*/ 134 w 134"/>
                <a:gd name="T81" fmla="*/ 67 h 134"/>
                <a:gd name="T82" fmla="*/ 132 w 134"/>
                <a:gd name="T83" fmla="*/ 6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" h="134">
                  <a:moveTo>
                    <a:pt x="69" y="112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69" y="105"/>
                    <a:pt x="68" y="105"/>
                    <a:pt x="67" y="105"/>
                  </a:cubicBezTo>
                  <a:cubicBezTo>
                    <a:pt x="66" y="105"/>
                    <a:pt x="65" y="105"/>
                    <a:pt x="65" y="106"/>
                  </a:cubicBezTo>
                  <a:cubicBezTo>
                    <a:pt x="65" y="112"/>
                    <a:pt x="65" y="112"/>
                    <a:pt x="65" y="112"/>
                  </a:cubicBezTo>
                  <a:cubicBezTo>
                    <a:pt x="42" y="111"/>
                    <a:pt x="23" y="92"/>
                    <a:pt x="22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9" y="68"/>
                    <a:pt x="29" y="67"/>
                  </a:cubicBezTo>
                  <a:cubicBezTo>
                    <a:pt x="29" y="66"/>
                    <a:pt x="28" y="65"/>
                    <a:pt x="28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3" y="42"/>
                    <a:pt x="42" y="23"/>
                    <a:pt x="65" y="22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5" y="28"/>
                    <a:pt x="66" y="29"/>
                    <a:pt x="67" y="29"/>
                  </a:cubicBezTo>
                  <a:cubicBezTo>
                    <a:pt x="68" y="29"/>
                    <a:pt x="69" y="28"/>
                    <a:pt x="69" y="28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92" y="23"/>
                    <a:pt x="111" y="42"/>
                    <a:pt x="112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5" y="65"/>
                    <a:pt x="105" y="66"/>
                    <a:pt x="105" y="67"/>
                  </a:cubicBezTo>
                  <a:cubicBezTo>
                    <a:pt x="105" y="68"/>
                    <a:pt x="105" y="69"/>
                    <a:pt x="106" y="69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1" y="92"/>
                    <a:pt x="92" y="111"/>
                    <a:pt x="69" y="112"/>
                  </a:cubicBezTo>
                  <a:moveTo>
                    <a:pt x="132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4" y="40"/>
                    <a:pt x="94" y="20"/>
                    <a:pt x="69" y="19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8" y="0"/>
                    <a:pt x="67" y="0"/>
                  </a:cubicBezTo>
                  <a:cubicBezTo>
                    <a:pt x="66" y="0"/>
                    <a:pt x="65" y="1"/>
                    <a:pt x="65" y="2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40" y="20"/>
                    <a:pt x="20" y="40"/>
                    <a:pt x="19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6"/>
                    <a:pt x="0" y="67"/>
                  </a:cubicBezTo>
                  <a:cubicBezTo>
                    <a:pt x="0" y="68"/>
                    <a:pt x="1" y="69"/>
                    <a:pt x="2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94"/>
                    <a:pt x="40" y="115"/>
                    <a:pt x="65" y="115"/>
                  </a:cubicBezTo>
                  <a:cubicBezTo>
                    <a:pt x="65" y="132"/>
                    <a:pt x="65" y="132"/>
                    <a:pt x="65" y="132"/>
                  </a:cubicBezTo>
                  <a:cubicBezTo>
                    <a:pt x="65" y="133"/>
                    <a:pt x="66" y="134"/>
                    <a:pt x="67" y="134"/>
                  </a:cubicBezTo>
                  <a:cubicBezTo>
                    <a:pt x="68" y="134"/>
                    <a:pt x="69" y="133"/>
                    <a:pt x="69" y="132"/>
                  </a:cubicBezTo>
                  <a:cubicBezTo>
                    <a:pt x="69" y="115"/>
                    <a:pt x="69" y="115"/>
                    <a:pt x="69" y="115"/>
                  </a:cubicBezTo>
                  <a:cubicBezTo>
                    <a:pt x="94" y="115"/>
                    <a:pt x="114" y="94"/>
                    <a:pt x="115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4" y="68"/>
                    <a:pt x="134" y="67"/>
                  </a:cubicBezTo>
                  <a:cubicBezTo>
                    <a:pt x="134" y="66"/>
                    <a:pt x="133" y="65"/>
                    <a:pt x="132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69">
            <a:extLst>
              <a:ext uri="{FF2B5EF4-FFF2-40B4-BE49-F238E27FC236}">
                <a16:creationId xmlns:a16="http://schemas.microsoft.com/office/drawing/2014/main" id="{B1EC9318-057D-4F4F-BD4F-18BB4DAF5C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8350" y="306388"/>
            <a:ext cx="758825" cy="758825"/>
            <a:chOff x="3684" y="193"/>
            <a:chExt cx="478" cy="478"/>
          </a:xfrm>
        </p:grpSpPr>
        <p:sp>
          <p:nvSpPr>
            <p:cNvPr id="84" name="AutoShape 68">
              <a:extLst>
                <a:ext uri="{FF2B5EF4-FFF2-40B4-BE49-F238E27FC236}">
                  <a16:creationId xmlns:a16="http://schemas.microsoft.com/office/drawing/2014/main" id="{40E3C5D5-B318-40D0-961D-E12E712315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4" y="1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0">
              <a:extLst>
                <a:ext uri="{FF2B5EF4-FFF2-40B4-BE49-F238E27FC236}">
                  <a16:creationId xmlns:a16="http://schemas.microsoft.com/office/drawing/2014/main" id="{5A031F83-C9E9-4F47-B731-6A3E0C7835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" y="1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1">
              <a:extLst>
                <a:ext uri="{FF2B5EF4-FFF2-40B4-BE49-F238E27FC236}">
                  <a16:creationId xmlns:a16="http://schemas.microsoft.com/office/drawing/2014/main" id="{16A2F018-5337-4290-8934-1B502A221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8" y="357"/>
              <a:ext cx="132" cy="138"/>
            </a:xfrm>
            <a:custGeom>
              <a:avLst/>
              <a:gdLst>
                <a:gd name="T0" fmla="*/ 16 w 54"/>
                <a:gd name="T1" fmla="*/ 21 h 56"/>
                <a:gd name="T2" fmla="*/ 16 w 54"/>
                <a:gd name="T3" fmla="*/ 17 h 56"/>
                <a:gd name="T4" fmla="*/ 16 w 54"/>
                <a:gd name="T5" fmla="*/ 17 h 56"/>
                <a:gd name="T6" fmla="*/ 16 w 54"/>
                <a:gd name="T7" fmla="*/ 17 h 56"/>
                <a:gd name="T8" fmla="*/ 16 w 54"/>
                <a:gd name="T9" fmla="*/ 16 h 56"/>
                <a:gd name="T10" fmla="*/ 17 w 54"/>
                <a:gd name="T11" fmla="*/ 16 h 56"/>
                <a:gd name="T12" fmla="*/ 17 w 54"/>
                <a:gd name="T13" fmla="*/ 16 h 56"/>
                <a:gd name="T14" fmla="*/ 17 w 54"/>
                <a:gd name="T15" fmla="*/ 15 h 56"/>
                <a:gd name="T16" fmla="*/ 17 w 54"/>
                <a:gd name="T17" fmla="*/ 15 h 56"/>
                <a:gd name="T18" fmla="*/ 19 w 54"/>
                <a:gd name="T19" fmla="*/ 9 h 56"/>
                <a:gd name="T20" fmla="*/ 24 w 54"/>
                <a:gd name="T21" fmla="*/ 10 h 56"/>
                <a:gd name="T22" fmla="*/ 32 w 54"/>
                <a:gd name="T23" fmla="*/ 12 h 56"/>
                <a:gd name="T24" fmla="*/ 37 w 54"/>
                <a:gd name="T25" fmla="*/ 15 h 56"/>
                <a:gd name="T26" fmla="*/ 37 w 54"/>
                <a:gd name="T27" fmla="*/ 16 h 56"/>
                <a:gd name="T28" fmla="*/ 37 w 54"/>
                <a:gd name="T29" fmla="*/ 16 h 56"/>
                <a:gd name="T30" fmla="*/ 37 w 54"/>
                <a:gd name="T31" fmla="*/ 16 h 56"/>
                <a:gd name="T32" fmla="*/ 38 w 54"/>
                <a:gd name="T33" fmla="*/ 17 h 56"/>
                <a:gd name="T34" fmla="*/ 38 w 54"/>
                <a:gd name="T35" fmla="*/ 17 h 56"/>
                <a:gd name="T36" fmla="*/ 38 w 54"/>
                <a:gd name="T37" fmla="*/ 21 h 56"/>
                <a:gd name="T38" fmla="*/ 32 w 54"/>
                <a:gd name="T39" fmla="*/ 29 h 56"/>
                <a:gd name="T40" fmla="*/ 32 w 54"/>
                <a:gd name="T41" fmla="*/ 34 h 56"/>
                <a:gd name="T42" fmla="*/ 27 w 54"/>
                <a:gd name="T43" fmla="*/ 41 h 56"/>
                <a:gd name="T44" fmla="*/ 22 w 54"/>
                <a:gd name="T45" fmla="*/ 34 h 56"/>
                <a:gd name="T46" fmla="*/ 22 w 54"/>
                <a:gd name="T47" fmla="*/ 29 h 56"/>
                <a:gd name="T48" fmla="*/ 34 w 54"/>
                <a:gd name="T49" fmla="*/ 6 h 56"/>
                <a:gd name="T50" fmla="*/ 31 w 54"/>
                <a:gd name="T51" fmla="*/ 9 h 56"/>
                <a:gd name="T52" fmla="*/ 24 w 54"/>
                <a:gd name="T53" fmla="*/ 6 h 56"/>
                <a:gd name="T54" fmla="*/ 27 w 54"/>
                <a:gd name="T55" fmla="*/ 3 h 56"/>
                <a:gd name="T56" fmla="*/ 52 w 54"/>
                <a:gd name="T57" fmla="*/ 45 h 56"/>
                <a:gd name="T58" fmla="*/ 44 w 54"/>
                <a:gd name="T59" fmla="*/ 36 h 56"/>
                <a:gd name="T60" fmla="*/ 35 w 54"/>
                <a:gd name="T61" fmla="*/ 31 h 56"/>
                <a:gd name="T62" fmla="*/ 43 w 54"/>
                <a:gd name="T63" fmla="*/ 19 h 56"/>
                <a:gd name="T64" fmla="*/ 40 w 54"/>
                <a:gd name="T65" fmla="*/ 9 h 56"/>
                <a:gd name="T66" fmla="*/ 36 w 54"/>
                <a:gd name="T67" fmla="*/ 3 h 56"/>
                <a:gd name="T68" fmla="*/ 18 w 54"/>
                <a:gd name="T69" fmla="*/ 3 h 56"/>
                <a:gd name="T70" fmla="*/ 14 w 54"/>
                <a:gd name="T71" fmla="*/ 9 h 56"/>
                <a:gd name="T72" fmla="*/ 11 w 54"/>
                <a:gd name="T73" fmla="*/ 19 h 56"/>
                <a:gd name="T74" fmla="*/ 19 w 54"/>
                <a:gd name="T75" fmla="*/ 31 h 56"/>
                <a:gd name="T76" fmla="*/ 10 w 54"/>
                <a:gd name="T77" fmla="*/ 36 h 56"/>
                <a:gd name="T78" fmla="*/ 2 w 54"/>
                <a:gd name="T79" fmla="*/ 45 h 56"/>
                <a:gd name="T80" fmla="*/ 2 w 54"/>
                <a:gd name="T81" fmla="*/ 56 h 56"/>
                <a:gd name="T82" fmla="*/ 4 w 54"/>
                <a:gd name="T83" fmla="*/ 55 h 56"/>
                <a:gd name="T84" fmla="*/ 8 w 54"/>
                <a:gd name="T85" fmla="*/ 41 h 56"/>
                <a:gd name="T86" fmla="*/ 19 w 54"/>
                <a:gd name="T87" fmla="*/ 37 h 56"/>
                <a:gd name="T88" fmla="*/ 25 w 54"/>
                <a:gd name="T89" fmla="*/ 48 h 56"/>
                <a:gd name="T90" fmla="*/ 29 w 54"/>
                <a:gd name="T91" fmla="*/ 48 h 56"/>
                <a:gd name="T92" fmla="*/ 35 w 54"/>
                <a:gd name="T93" fmla="*/ 37 h 56"/>
                <a:gd name="T94" fmla="*/ 46 w 54"/>
                <a:gd name="T95" fmla="*/ 41 h 56"/>
                <a:gd name="T96" fmla="*/ 50 w 54"/>
                <a:gd name="T97" fmla="*/ 55 h 56"/>
                <a:gd name="T98" fmla="*/ 52 w 54"/>
                <a:gd name="T99" fmla="*/ 56 h 56"/>
                <a:gd name="T100" fmla="*/ 52 w 54"/>
                <a:gd name="T101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" h="56">
                  <a:moveTo>
                    <a:pt x="17" y="22"/>
                  </a:moveTo>
                  <a:cubicBezTo>
                    <a:pt x="17" y="22"/>
                    <a:pt x="16" y="21"/>
                    <a:pt x="16" y="21"/>
                  </a:cubicBezTo>
                  <a:cubicBezTo>
                    <a:pt x="15" y="21"/>
                    <a:pt x="15" y="20"/>
                    <a:pt x="15" y="19"/>
                  </a:cubicBezTo>
                  <a:cubicBezTo>
                    <a:pt x="15" y="18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3"/>
                    <a:pt x="18" y="10"/>
                  </a:cubicBezTo>
                  <a:cubicBezTo>
                    <a:pt x="18" y="9"/>
                    <a:pt x="18" y="9"/>
                    <a:pt x="19" y="9"/>
                  </a:cubicBezTo>
                  <a:cubicBezTo>
                    <a:pt x="20" y="8"/>
                    <a:pt x="21" y="9"/>
                    <a:pt x="23" y="9"/>
                  </a:cubicBezTo>
                  <a:cubicBezTo>
                    <a:pt x="24" y="9"/>
                    <a:pt x="24" y="10"/>
                    <a:pt x="24" y="10"/>
                  </a:cubicBezTo>
                  <a:cubicBezTo>
                    <a:pt x="26" y="11"/>
                    <a:pt x="28" y="12"/>
                    <a:pt x="31" y="12"/>
                  </a:cubicBezTo>
                  <a:cubicBezTo>
                    <a:pt x="31" y="12"/>
                    <a:pt x="32" y="12"/>
                    <a:pt x="32" y="12"/>
                  </a:cubicBezTo>
                  <a:cubicBezTo>
                    <a:pt x="34" y="12"/>
                    <a:pt x="35" y="12"/>
                    <a:pt x="37" y="11"/>
                  </a:cubicBezTo>
                  <a:cubicBezTo>
                    <a:pt x="37" y="13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9" y="17"/>
                    <a:pt x="39" y="18"/>
                    <a:pt x="39" y="19"/>
                  </a:cubicBezTo>
                  <a:cubicBezTo>
                    <a:pt x="39" y="20"/>
                    <a:pt x="39" y="21"/>
                    <a:pt x="38" y="21"/>
                  </a:cubicBezTo>
                  <a:cubicBezTo>
                    <a:pt x="38" y="21"/>
                    <a:pt x="37" y="22"/>
                    <a:pt x="37" y="22"/>
                  </a:cubicBezTo>
                  <a:cubicBezTo>
                    <a:pt x="36" y="25"/>
                    <a:pt x="34" y="28"/>
                    <a:pt x="32" y="29"/>
                  </a:cubicBezTo>
                  <a:cubicBezTo>
                    <a:pt x="32" y="30"/>
                    <a:pt x="32" y="30"/>
                    <a:pt x="32" y="31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5"/>
                    <a:pt x="32" y="35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0"/>
                    <a:pt x="22" y="30"/>
                    <a:pt x="22" y="29"/>
                  </a:cubicBezTo>
                  <a:cubicBezTo>
                    <a:pt x="20" y="28"/>
                    <a:pt x="18" y="25"/>
                    <a:pt x="17" y="22"/>
                  </a:cubicBezTo>
                  <a:moveTo>
                    <a:pt x="34" y="6"/>
                  </a:moveTo>
                  <a:cubicBezTo>
                    <a:pt x="35" y="6"/>
                    <a:pt x="35" y="7"/>
                    <a:pt x="36" y="8"/>
                  </a:cubicBezTo>
                  <a:cubicBezTo>
                    <a:pt x="34" y="9"/>
                    <a:pt x="33" y="9"/>
                    <a:pt x="31" y="9"/>
                  </a:cubicBezTo>
                  <a:cubicBezTo>
                    <a:pt x="29" y="8"/>
                    <a:pt x="28" y="8"/>
                    <a:pt x="26" y="7"/>
                  </a:cubicBezTo>
                  <a:cubicBezTo>
                    <a:pt x="25" y="7"/>
                    <a:pt x="25" y="6"/>
                    <a:pt x="24" y="6"/>
                  </a:cubicBezTo>
                  <a:cubicBezTo>
                    <a:pt x="23" y="6"/>
                    <a:pt x="22" y="5"/>
                    <a:pt x="21" y="5"/>
                  </a:cubicBezTo>
                  <a:cubicBezTo>
                    <a:pt x="22" y="4"/>
                    <a:pt x="24" y="3"/>
                    <a:pt x="27" y="3"/>
                  </a:cubicBezTo>
                  <a:cubicBezTo>
                    <a:pt x="30" y="3"/>
                    <a:pt x="32" y="4"/>
                    <a:pt x="34" y="6"/>
                  </a:cubicBezTo>
                  <a:moveTo>
                    <a:pt x="52" y="45"/>
                  </a:moveTo>
                  <a:cubicBezTo>
                    <a:pt x="51" y="42"/>
                    <a:pt x="50" y="40"/>
                    <a:pt x="48" y="38"/>
                  </a:cubicBezTo>
                  <a:cubicBezTo>
                    <a:pt x="47" y="37"/>
                    <a:pt x="45" y="36"/>
                    <a:pt x="44" y="36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7" y="29"/>
                    <a:pt x="39" y="27"/>
                    <a:pt x="40" y="24"/>
                  </a:cubicBezTo>
                  <a:cubicBezTo>
                    <a:pt x="42" y="23"/>
                    <a:pt x="43" y="21"/>
                    <a:pt x="43" y="19"/>
                  </a:cubicBezTo>
                  <a:cubicBezTo>
                    <a:pt x="43" y="17"/>
                    <a:pt x="42" y="15"/>
                    <a:pt x="40" y="14"/>
                  </a:cubicBezTo>
                  <a:cubicBezTo>
                    <a:pt x="40" y="13"/>
                    <a:pt x="40" y="11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7"/>
                    <a:pt x="38" y="5"/>
                    <a:pt x="36" y="3"/>
                  </a:cubicBezTo>
                  <a:cubicBezTo>
                    <a:pt x="34" y="1"/>
                    <a:pt x="31" y="0"/>
                    <a:pt x="27" y="0"/>
                  </a:cubicBezTo>
                  <a:cubicBezTo>
                    <a:pt x="23" y="0"/>
                    <a:pt x="20" y="1"/>
                    <a:pt x="18" y="3"/>
                  </a:cubicBezTo>
                  <a:cubicBezTo>
                    <a:pt x="16" y="5"/>
                    <a:pt x="15" y="7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1"/>
                    <a:pt x="14" y="13"/>
                    <a:pt x="13" y="14"/>
                  </a:cubicBezTo>
                  <a:cubicBezTo>
                    <a:pt x="12" y="15"/>
                    <a:pt x="11" y="17"/>
                    <a:pt x="11" y="19"/>
                  </a:cubicBezTo>
                  <a:cubicBezTo>
                    <a:pt x="11" y="21"/>
                    <a:pt x="12" y="23"/>
                    <a:pt x="14" y="24"/>
                  </a:cubicBezTo>
                  <a:cubicBezTo>
                    <a:pt x="15" y="27"/>
                    <a:pt x="17" y="29"/>
                    <a:pt x="19" y="31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6"/>
                    <a:pt x="7" y="37"/>
                    <a:pt x="6" y="38"/>
                  </a:cubicBezTo>
                  <a:cubicBezTo>
                    <a:pt x="4" y="40"/>
                    <a:pt x="3" y="42"/>
                    <a:pt x="2" y="4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7" y="42"/>
                    <a:pt x="8" y="41"/>
                  </a:cubicBezTo>
                  <a:cubicBezTo>
                    <a:pt x="9" y="40"/>
                    <a:pt x="10" y="40"/>
                    <a:pt x="11" y="39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9"/>
                    <a:pt x="26" y="50"/>
                    <a:pt x="27" y="50"/>
                  </a:cubicBezTo>
                  <a:cubicBezTo>
                    <a:pt x="28" y="50"/>
                    <a:pt x="29" y="49"/>
                    <a:pt x="29" y="48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40"/>
                    <a:pt x="45" y="40"/>
                    <a:pt x="46" y="41"/>
                  </a:cubicBezTo>
                  <a:cubicBezTo>
                    <a:pt x="47" y="42"/>
                    <a:pt x="48" y="44"/>
                    <a:pt x="48" y="4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6"/>
                    <a:pt x="51" y="56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3" y="56"/>
                    <a:pt x="54" y="55"/>
                    <a:pt x="54" y="54"/>
                  </a:cubicBezTo>
                  <a:lnTo>
                    <a:pt x="52" y="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2">
              <a:extLst>
                <a:ext uri="{FF2B5EF4-FFF2-40B4-BE49-F238E27FC236}">
                  <a16:creationId xmlns:a16="http://schemas.microsoft.com/office/drawing/2014/main" id="{186ACA89-FDE4-458F-9DA5-C441C0C555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0" y="269"/>
              <a:ext cx="328" cy="328"/>
            </a:xfrm>
            <a:custGeom>
              <a:avLst/>
              <a:gdLst>
                <a:gd name="T0" fmla="*/ 69 w 134"/>
                <a:gd name="T1" fmla="*/ 112 h 134"/>
                <a:gd name="T2" fmla="*/ 69 w 134"/>
                <a:gd name="T3" fmla="*/ 106 h 134"/>
                <a:gd name="T4" fmla="*/ 67 w 134"/>
                <a:gd name="T5" fmla="*/ 105 h 134"/>
                <a:gd name="T6" fmla="*/ 65 w 134"/>
                <a:gd name="T7" fmla="*/ 106 h 134"/>
                <a:gd name="T8" fmla="*/ 65 w 134"/>
                <a:gd name="T9" fmla="*/ 112 h 134"/>
                <a:gd name="T10" fmla="*/ 22 w 134"/>
                <a:gd name="T11" fmla="*/ 69 h 134"/>
                <a:gd name="T12" fmla="*/ 28 w 134"/>
                <a:gd name="T13" fmla="*/ 69 h 134"/>
                <a:gd name="T14" fmla="*/ 29 w 134"/>
                <a:gd name="T15" fmla="*/ 67 h 134"/>
                <a:gd name="T16" fmla="*/ 28 w 134"/>
                <a:gd name="T17" fmla="*/ 65 h 134"/>
                <a:gd name="T18" fmla="*/ 22 w 134"/>
                <a:gd name="T19" fmla="*/ 65 h 134"/>
                <a:gd name="T20" fmla="*/ 65 w 134"/>
                <a:gd name="T21" fmla="*/ 22 h 134"/>
                <a:gd name="T22" fmla="*/ 65 w 134"/>
                <a:gd name="T23" fmla="*/ 28 h 134"/>
                <a:gd name="T24" fmla="*/ 67 w 134"/>
                <a:gd name="T25" fmla="*/ 29 h 134"/>
                <a:gd name="T26" fmla="*/ 69 w 134"/>
                <a:gd name="T27" fmla="*/ 28 h 134"/>
                <a:gd name="T28" fmla="*/ 69 w 134"/>
                <a:gd name="T29" fmla="*/ 22 h 134"/>
                <a:gd name="T30" fmla="*/ 112 w 134"/>
                <a:gd name="T31" fmla="*/ 65 h 134"/>
                <a:gd name="T32" fmla="*/ 106 w 134"/>
                <a:gd name="T33" fmla="*/ 65 h 134"/>
                <a:gd name="T34" fmla="*/ 105 w 134"/>
                <a:gd name="T35" fmla="*/ 67 h 134"/>
                <a:gd name="T36" fmla="*/ 106 w 134"/>
                <a:gd name="T37" fmla="*/ 69 h 134"/>
                <a:gd name="T38" fmla="*/ 112 w 134"/>
                <a:gd name="T39" fmla="*/ 69 h 134"/>
                <a:gd name="T40" fmla="*/ 69 w 134"/>
                <a:gd name="T41" fmla="*/ 112 h 134"/>
                <a:gd name="T42" fmla="*/ 132 w 134"/>
                <a:gd name="T43" fmla="*/ 65 h 134"/>
                <a:gd name="T44" fmla="*/ 115 w 134"/>
                <a:gd name="T45" fmla="*/ 65 h 134"/>
                <a:gd name="T46" fmla="*/ 69 w 134"/>
                <a:gd name="T47" fmla="*/ 19 h 134"/>
                <a:gd name="T48" fmla="*/ 69 w 134"/>
                <a:gd name="T49" fmla="*/ 2 h 134"/>
                <a:gd name="T50" fmla="*/ 67 w 134"/>
                <a:gd name="T51" fmla="*/ 0 h 134"/>
                <a:gd name="T52" fmla="*/ 65 w 134"/>
                <a:gd name="T53" fmla="*/ 2 h 134"/>
                <a:gd name="T54" fmla="*/ 65 w 134"/>
                <a:gd name="T55" fmla="*/ 19 h 134"/>
                <a:gd name="T56" fmla="*/ 19 w 134"/>
                <a:gd name="T57" fmla="*/ 65 h 134"/>
                <a:gd name="T58" fmla="*/ 2 w 134"/>
                <a:gd name="T59" fmla="*/ 65 h 134"/>
                <a:gd name="T60" fmla="*/ 0 w 134"/>
                <a:gd name="T61" fmla="*/ 67 h 134"/>
                <a:gd name="T62" fmla="*/ 2 w 134"/>
                <a:gd name="T63" fmla="*/ 69 h 134"/>
                <a:gd name="T64" fmla="*/ 19 w 134"/>
                <a:gd name="T65" fmla="*/ 69 h 134"/>
                <a:gd name="T66" fmla="*/ 65 w 134"/>
                <a:gd name="T67" fmla="*/ 115 h 134"/>
                <a:gd name="T68" fmla="*/ 65 w 134"/>
                <a:gd name="T69" fmla="*/ 132 h 134"/>
                <a:gd name="T70" fmla="*/ 67 w 134"/>
                <a:gd name="T71" fmla="*/ 134 h 134"/>
                <a:gd name="T72" fmla="*/ 69 w 134"/>
                <a:gd name="T73" fmla="*/ 132 h 134"/>
                <a:gd name="T74" fmla="*/ 69 w 134"/>
                <a:gd name="T75" fmla="*/ 115 h 134"/>
                <a:gd name="T76" fmla="*/ 115 w 134"/>
                <a:gd name="T77" fmla="*/ 69 h 134"/>
                <a:gd name="T78" fmla="*/ 132 w 134"/>
                <a:gd name="T79" fmla="*/ 69 h 134"/>
                <a:gd name="T80" fmla="*/ 134 w 134"/>
                <a:gd name="T81" fmla="*/ 67 h 134"/>
                <a:gd name="T82" fmla="*/ 132 w 134"/>
                <a:gd name="T83" fmla="*/ 6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" h="134">
                  <a:moveTo>
                    <a:pt x="69" y="112"/>
                  </a:moveTo>
                  <a:cubicBezTo>
                    <a:pt x="69" y="106"/>
                    <a:pt x="69" y="106"/>
                    <a:pt x="69" y="106"/>
                  </a:cubicBezTo>
                  <a:cubicBezTo>
                    <a:pt x="69" y="105"/>
                    <a:pt x="68" y="105"/>
                    <a:pt x="67" y="105"/>
                  </a:cubicBezTo>
                  <a:cubicBezTo>
                    <a:pt x="66" y="105"/>
                    <a:pt x="65" y="105"/>
                    <a:pt x="65" y="106"/>
                  </a:cubicBezTo>
                  <a:cubicBezTo>
                    <a:pt x="65" y="112"/>
                    <a:pt x="65" y="112"/>
                    <a:pt x="65" y="112"/>
                  </a:cubicBezTo>
                  <a:cubicBezTo>
                    <a:pt x="42" y="111"/>
                    <a:pt x="23" y="92"/>
                    <a:pt x="22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9" y="68"/>
                    <a:pt x="29" y="67"/>
                  </a:cubicBezTo>
                  <a:cubicBezTo>
                    <a:pt x="29" y="66"/>
                    <a:pt x="28" y="65"/>
                    <a:pt x="28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3" y="42"/>
                    <a:pt x="42" y="23"/>
                    <a:pt x="65" y="22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5" y="28"/>
                    <a:pt x="66" y="29"/>
                    <a:pt x="67" y="29"/>
                  </a:cubicBezTo>
                  <a:cubicBezTo>
                    <a:pt x="68" y="29"/>
                    <a:pt x="69" y="28"/>
                    <a:pt x="69" y="28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92" y="23"/>
                    <a:pt x="111" y="42"/>
                    <a:pt x="112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5" y="65"/>
                    <a:pt x="105" y="66"/>
                    <a:pt x="105" y="67"/>
                  </a:cubicBezTo>
                  <a:cubicBezTo>
                    <a:pt x="105" y="68"/>
                    <a:pt x="105" y="69"/>
                    <a:pt x="106" y="69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1" y="92"/>
                    <a:pt x="92" y="111"/>
                    <a:pt x="69" y="112"/>
                  </a:cubicBezTo>
                  <a:moveTo>
                    <a:pt x="132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4" y="40"/>
                    <a:pt x="94" y="20"/>
                    <a:pt x="69" y="19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8" y="0"/>
                    <a:pt x="67" y="0"/>
                  </a:cubicBezTo>
                  <a:cubicBezTo>
                    <a:pt x="66" y="0"/>
                    <a:pt x="65" y="1"/>
                    <a:pt x="65" y="2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40" y="20"/>
                    <a:pt x="20" y="40"/>
                    <a:pt x="19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0" y="66"/>
                    <a:pt x="0" y="67"/>
                  </a:cubicBezTo>
                  <a:cubicBezTo>
                    <a:pt x="0" y="68"/>
                    <a:pt x="1" y="69"/>
                    <a:pt x="2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0" y="94"/>
                    <a:pt x="40" y="115"/>
                    <a:pt x="65" y="115"/>
                  </a:cubicBezTo>
                  <a:cubicBezTo>
                    <a:pt x="65" y="132"/>
                    <a:pt x="65" y="132"/>
                    <a:pt x="65" y="132"/>
                  </a:cubicBezTo>
                  <a:cubicBezTo>
                    <a:pt x="65" y="133"/>
                    <a:pt x="66" y="134"/>
                    <a:pt x="67" y="134"/>
                  </a:cubicBezTo>
                  <a:cubicBezTo>
                    <a:pt x="68" y="134"/>
                    <a:pt x="69" y="133"/>
                    <a:pt x="69" y="132"/>
                  </a:cubicBezTo>
                  <a:cubicBezTo>
                    <a:pt x="69" y="115"/>
                    <a:pt x="69" y="115"/>
                    <a:pt x="69" y="115"/>
                  </a:cubicBezTo>
                  <a:cubicBezTo>
                    <a:pt x="94" y="115"/>
                    <a:pt x="114" y="94"/>
                    <a:pt x="115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4" y="68"/>
                    <a:pt x="134" y="67"/>
                  </a:cubicBezTo>
                  <a:cubicBezTo>
                    <a:pt x="134" y="66"/>
                    <a:pt x="133" y="65"/>
                    <a:pt x="132" y="6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75">
            <a:extLst>
              <a:ext uri="{FF2B5EF4-FFF2-40B4-BE49-F238E27FC236}">
                <a16:creationId xmlns:a16="http://schemas.microsoft.com/office/drawing/2014/main" id="{8C5FFEB2-6947-44A0-A2ED-FE780BF4B6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2775" y="265113"/>
            <a:ext cx="841375" cy="841375"/>
            <a:chOff x="4386" y="167"/>
            <a:chExt cx="530" cy="530"/>
          </a:xfrm>
        </p:grpSpPr>
        <p:sp>
          <p:nvSpPr>
            <p:cNvPr id="89" name="AutoShape 74">
              <a:extLst>
                <a:ext uri="{FF2B5EF4-FFF2-40B4-BE49-F238E27FC236}">
                  <a16:creationId xmlns:a16="http://schemas.microsoft.com/office/drawing/2014/main" id="{7F585584-2B13-42E4-A0BA-EFDFA2F53A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6" y="1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76">
              <a:extLst>
                <a:ext uri="{FF2B5EF4-FFF2-40B4-BE49-F238E27FC236}">
                  <a16:creationId xmlns:a16="http://schemas.microsoft.com/office/drawing/2014/main" id="{93AB4554-2F7D-4258-85B6-85F19DB8B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6" y="1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7">
              <a:extLst>
                <a:ext uri="{FF2B5EF4-FFF2-40B4-BE49-F238E27FC236}">
                  <a16:creationId xmlns:a16="http://schemas.microsoft.com/office/drawing/2014/main" id="{461575BD-0697-4244-8D9B-5F9EAC226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4" y="1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B232DFB2-EED3-4899-8B87-E503E452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3" y="282"/>
              <a:ext cx="318" cy="302"/>
            </a:xfrm>
            <a:custGeom>
              <a:avLst/>
              <a:gdLst>
                <a:gd name="T0" fmla="*/ 223 w 318"/>
                <a:gd name="T1" fmla="*/ 133 h 302"/>
                <a:gd name="T2" fmla="*/ 216 w 318"/>
                <a:gd name="T3" fmla="*/ 136 h 302"/>
                <a:gd name="T4" fmla="*/ 190 w 318"/>
                <a:gd name="T5" fmla="*/ 131 h 302"/>
                <a:gd name="T6" fmla="*/ 164 w 318"/>
                <a:gd name="T7" fmla="*/ 133 h 302"/>
                <a:gd name="T8" fmla="*/ 154 w 318"/>
                <a:gd name="T9" fmla="*/ 133 h 302"/>
                <a:gd name="T10" fmla="*/ 128 w 318"/>
                <a:gd name="T11" fmla="*/ 131 h 302"/>
                <a:gd name="T12" fmla="*/ 103 w 318"/>
                <a:gd name="T13" fmla="*/ 136 h 302"/>
                <a:gd name="T14" fmla="*/ 95 w 318"/>
                <a:gd name="T15" fmla="*/ 133 h 302"/>
                <a:gd name="T16" fmla="*/ 169 w 318"/>
                <a:gd name="T17" fmla="*/ 77 h 302"/>
                <a:gd name="T18" fmla="*/ 157 w 318"/>
                <a:gd name="T19" fmla="*/ 92 h 302"/>
                <a:gd name="T20" fmla="*/ 131 w 318"/>
                <a:gd name="T21" fmla="*/ 95 h 302"/>
                <a:gd name="T22" fmla="*/ 136 w 318"/>
                <a:gd name="T23" fmla="*/ 62 h 302"/>
                <a:gd name="T24" fmla="*/ 177 w 318"/>
                <a:gd name="T25" fmla="*/ 90 h 302"/>
                <a:gd name="T26" fmla="*/ 192 w 318"/>
                <a:gd name="T27" fmla="*/ 77 h 302"/>
                <a:gd name="T28" fmla="*/ 100 w 318"/>
                <a:gd name="T29" fmla="*/ 82 h 302"/>
                <a:gd name="T30" fmla="*/ 113 w 318"/>
                <a:gd name="T31" fmla="*/ 77 h 302"/>
                <a:gd name="T32" fmla="*/ 205 w 318"/>
                <a:gd name="T33" fmla="*/ 72 h 302"/>
                <a:gd name="T34" fmla="*/ 218 w 318"/>
                <a:gd name="T35" fmla="*/ 87 h 302"/>
                <a:gd name="T36" fmla="*/ 26 w 318"/>
                <a:gd name="T37" fmla="*/ 95 h 302"/>
                <a:gd name="T38" fmla="*/ 13 w 318"/>
                <a:gd name="T39" fmla="*/ 54 h 302"/>
                <a:gd name="T40" fmla="*/ 44 w 318"/>
                <a:gd name="T41" fmla="*/ 15 h 302"/>
                <a:gd name="T42" fmla="*/ 277 w 318"/>
                <a:gd name="T43" fmla="*/ 18 h 302"/>
                <a:gd name="T44" fmla="*/ 305 w 318"/>
                <a:gd name="T45" fmla="*/ 56 h 302"/>
                <a:gd name="T46" fmla="*/ 290 w 318"/>
                <a:gd name="T47" fmla="*/ 95 h 302"/>
                <a:gd name="T48" fmla="*/ 254 w 318"/>
                <a:gd name="T49" fmla="*/ 103 h 302"/>
                <a:gd name="T50" fmla="*/ 228 w 318"/>
                <a:gd name="T51" fmla="*/ 82 h 302"/>
                <a:gd name="T52" fmla="*/ 233 w 318"/>
                <a:gd name="T53" fmla="*/ 51 h 302"/>
                <a:gd name="T54" fmla="*/ 259 w 318"/>
                <a:gd name="T55" fmla="*/ 44 h 302"/>
                <a:gd name="T56" fmla="*/ 277 w 318"/>
                <a:gd name="T57" fmla="*/ 62 h 302"/>
                <a:gd name="T58" fmla="*/ 262 w 318"/>
                <a:gd name="T59" fmla="*/ 77 h 302"/>
                <a:gd name="T60" fmla="*/ 254 w 318"/>
                <a:gd name="T61" fmla="*/ 67 h 302"/>
                <a:gd name="T62" fmla="*/ 264 w 318"/>
                <a:gd name="T63" fmla="*/ 64 h 302"/>
                <a:gd name="T64" fmla="*/ 256 w 318"/>
                <a:gd name="T65" fmla="*/ 56 h 302"/>
                <a:gd name="T66" fmla="*/ 241 w 318"/>
                <a:gd name="T67" fmla="*/ 74 h 302"/>
                <a:gd name="T68" fmla="*/ 267 w 318"/>
                <a:gd name="T69" fmla="*/ 87 h 302"/>
                <a:gd name="T70" fmla="*/ 287 w 318"/>
                <a:gd name="T71" fmla="*/ 74 h 302"/>
                <a:gd name="T72" fmla="*/ 285 w 318"/>
                <a:gd name="T73" fmla="*/ 46 h 302"/>
                <a:gd name="T74" fmla="*/ 254 w 318"/>
                <a:gd name="T75" fmla="*/ 31 h 302"/>
                <a:gd name="T76" fmla="*/ 195 w 318"/>
                <a:gd name="T77" fmla="*/ 49 h 302"/>
                <a:gd name="T78" fmla="*/ 116 w 318"/>
                <a:gd name="T79" fmla="*/ 49 h 302"/>
                <a:gd name="T80" fmla="*/ 59 w 318"/>
                <a:gd name="T81" fmla="*/ 31 h 302"/>
                <a:gd name="T82" fmla="*/ 34 w 318"/>
                <a:gd name="T83" fmla="*/ 49 h 302"/>
                <a:gd name="T84" fmla="*/ 34 w 318"/>
                <a:gd name="T85" fmla="*/ 74 h 302"/>
                <a:gd name="T86" fmla="*/ 54 w 318"/>
                <a:gd name="T87" fmla="*/ 87 h 302"/>
                <a:gd name="T88" fmla="*/ 77 w 318"/>
                <a:gd name="T89" fmla="*/ 72 h 302"/>
                <a:gd name="T90" fmla="*/ 59 w 318"/>
                <a:gd name="T91" fmla="*/ 56 h 302"/>
                <a:gd name="T92" fmla="*/ 54 w 318"/>
                <a:gd name="T93" fmla="*/ 67 h 302"/>
                <a:gd name="T94" fmla="*/ 67 w 318"/>
                <a:gd name="T95" fmla="*/ 67 h 302"/>
                <a:gd name="T96" fmla="*/ 57 w 318"/>
                <a:gd name="T97" fmla="*/ 77 h 302"/>
                <a:gd name="T98" fmla="*/ 41 w 318"/>
                <a:gd name="T99" fmla="*/ 59 h 302"/>
                <a:gd name="T100" fmla="*/ 64 w 318"/>
                <a:gd name="T101" fmla="*/ 44 h 302"/>
                <a:gd name="T102" fmla="*/ 87 w 318"/>
                <a:gd name="T103" fmla="*/ 54 h 302"/>
                <a:gd name="T104" fmla="*/ 90 w 318"/>
                <a:gd name="T105" fmla="*/ 85 h 302"/>
                <a:gd name="T106" fmla="*/ 62 w 318"/>
                <a:gd name="T107" fmla="*/ 105 h 302"/>
                <a:gd name="T108" fmla="*/ 23 w 318"/>
                <a:gd name="T109" fmla="*/ 15 h 302"/>
                <a:gd name="T110" fmla="*/ 0 w 318"/>
                <a:gd name="T111" fmla="*/ 69 h 302"/>
                <a:gd name="T112" fmla="*/ 31 w 318"/>
                <a:gd name="T113" fmla="*/ 110 h 302"/>
                <a:gd name="T114" fmla="*/ 264 w 318"/>
                <a:gd name="T115" fmla="*/ 115 h 302"/>
                <a:gd name="T116" fmla="*/ 308 w 318"/>
                <a:gd name="T117" fmla="*/ 92 h 302"/>
                <a:gd name="T118" fmla="*/ 313 w 318"/>
                <a:gd name="T119" fmla="*/ 36 h 302"/>
                <a:gd name="T120" fmla="*/ 262 w 318"/>
                <a:gd name="T121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8" h="302">
                  <a:moveTo>
                    <a:pt x="77" y="110"/>
                  </a:moveTo>
                  <a:lnTo>
                    <a:pt x="80" y="110"/>
                  </a:lnTo>
                  <a:lnTo>
                    <a:pt x="82" y="108"/>
                  </a:lnTo>
                  <a:lnTo>
                    <a:pt x="85" y="108"/>
                  </a:lnTo>
                  <a:lnTo>
                    <a:pt x="87" y="105"/>
                  </a:lnTo>
                  <a:lnTo>
                    <a:pt x="231" y="105"/>
                  </a:lnTo>
                  <a:lnTo>
                    <a:pt x="233" y="108"/>
                  </a:lnTo>
                  <a:lnTo>
                    <a:pt x="236" y="108"/>
                  </a:lnTo>
                  <a:lnTo>
                    <a:pt x="239" y="110"/>
                  </a:lnTo>
                  <a:lnTo>
                    <a:pt x="241" y="110"/>
                  </a:lnTo>
                  <a:lnTo>
                    <a:pt x="241" y="292"/>
                  </a:lnTo>
                  <a:lnTo>
                    <a:pt x="226" y="292"/>
                  </a:lnTo>
                  <a:lnTo>
                    <a:pt x="226" y="136"/>
                  </a:lnTo>
                  <a:lnTo>
                    <a:pt x="226" y="136"/>
                  </a:lnTo>
                  <a:lnTo>
                    <a:pt x="226" y="136"/>
                  </a:lnTo>
                  <a:lnTo>
                    <a:pt x="226" y="136"/>
                  </a:lnTo>
                  <a:lnTo>
                    <a:pt x="226" y="136"/>
                  </a:lnTo>
                  <a:lnTo>
                    <a:pt x="226" y="133"/>
                  </a:lnTo>
                  <a:lnTo>
                    <a:pt x="226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292"/>
                  </a:lnTo>
                  <a:lnTo>
                    <a:pt x="198" y="292"/>
                  </a:lnTo>
                  <a:lnTo>
                    <a:pt x="198" y="136"/>
                  </a:lnTo>
                  <a:lnTo>
                    <a:pt x="198" y="136"/>
                  </a:lnTo>
                  <a:lnTo>
                    <a:pt x="198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5" y="133"/>
                  </a:lnTo>
                  <a:lnTo>
                    <a:pt x="195" y="133"/>
                  </a:lnTo>
                  <a:lnTo>
                    <a:pt x="195" y="133"/>
                  </a:lnTo>
                  <a:lnTo>
                    <a:pt x="195" y="133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87" y="131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5" y="133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292"/>
                  </a:lnTo>
                  <a:lnTo>
                    <a:pt x="164" y="292"/>
                  </a:lnTo>
                  <a:lnTo>
                    <a:pt x="164" y="136"/>
                  </a:lnTo>
                  <a:lnTo>
                    <a:pt x="164" y="136"/>
                  </a:lnTo>
                  <a:lnTo>
                    <a:pt x="164" y="136"/>
                  </a:lnTo>
                  <a:lnTo>
                    <a:pt x="164" y="136"/>
                  </a:lnTo>
                  <a:lnTo>
                    <a:pt x="164" y="136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59" y="131"/>
                  </a:lnTo>
                  <a:lnTo>
                    <a:pt x="159" y="131"/>
                  </a:lnTo>
                  <a:lnTo>
                    <a:pt x="159" y="131"/>
                  </a:lnTo>
                  <a:lnTo>
                    <a:pt x="159" y="131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7" y="131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3"/>
                  </a:lnTo>
                  <a:lnTo>
                    <a:pt x="154" y="136"/>
                  </a:lnTo>
                  <a:lnTo>
                    <a:pt x="154" y="136"/>
                  </a:lnTo>
                  <a:lnTo>
                    <a:pt x="154" y="136"/>
                  </a:lnTo>
                  <a:lnTo>
                    <a:pt x="154" y="136"/>
                  </a:lnTo>
                  <a:lnTo>
                    <a:pt x="154" y="136"/>
                  </a:lnTo>
                  <a:lnTo>
                    <a:pt x="154" y="292"/>
                  </a:lnTo>
                  <a:lnTo>
                    <a:pt x="134" y="292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4" y="133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1" y="292"/>
                  </a:lnTo>
                  <a:lnTo>
                    <a:pt x="103" y="292"/>
                  </a:lnTo>
                  <a:lnTo>
                    <a:pt x="103" y="136"/>
                  </a:lnTo>
                  <a:lnTo>
                    <a:pt x="103" y="136"/>
                  </a:lnTo>
                  <a:lnTo>
                    <a:pt x="103" y="136"/>
                  </a:lnTo>
                  <a:lnTo>
                    <a:pt x="103" y="136"/>
                  </a:lnTo>
                  <a:lnTo>
                    <a:pt x="103" y="136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1"/>
                  </a:lnTo>
                  <a:lnTo>
                    <a:pt x="100" y="131"/>
                  </a:lnTo>
                  <a:lnTo>
                    <a:pt x="100" y="131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292"/>
                  </a:lnTo>
                  <a:lnTo>
                    <a:pt x="77" y="292"/>
                  </a:lnTo>
                  <a:lnTo>
                    <a:pt x="77" y="110"/>
                  </a:lnTo>
                  <a:close/>
                  <a:moveTo>
                    <a:pt x="164" y="64"/>
                  </a:moveTo>
                  <a:lnTo>
                    <a:pt x="172" y="64"/>
                  </a:lnTo>
                  <a:lnTo>
                    <a:pt x="172" y="64"/>
                  </a:lnTo>
                  <a:lnTo>
                    <a:pt x="172" y="67"/>
                  </a:lnTo>
                  <a:lnTo>
                    <a:pt x="172" y="69"/>
                  </a:lnTo>
                  <a:lnTo>
                    <a:pt x="172" y="72"/>
                  </a:lnTo>
                  <a:lnTo>
                    <a:pt x="169" y="74"/>
                  </a:lnTo>
                  <a:lnTo>
                    <a:pt x="169" y="77"/>
                  </a:lnTo>
                  <a:lnTo>
                    <a:pt x="169" y="79"/>
                  </a:lnTo>
                  <a:lnTo>
                    <a:pt x="169" y="82"/>
                  </a:lnTo>
                  <a:lnTo>
                    <a:pt x="167" y="85"/>
                  </a:lnTo>
                  <a:lnTo>
                    <a:pt x="167" y="87"/>
                  </a:lnTo>
                  <a:lnTo>
                    <a:pt x="167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2" y="92"/>
                  </a:lnTo>
                  <a:lnTo>
                    <a:pt x="162" y="92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1" y="90"/>
                  </a:lnTo>
                  <a:lnTo>
                    <a:pt x="151" y="87"/>
                  </a:lnTo>
                  <a:lnTo>
                    <a:pt x="151" y="85"/>
                  </a:lnTo>
                  <a:lnTo>
                    <a:pt x="149" y="82"/>
                  </a:lnTo>
                  <a:lnTo>
                    <a:pt x="149" y="79"/>
                  </a:lnTo>
                  <a:lnTo>
                    <a:pt x="149" y="77"/>
                  </a:lnTo>
                  <a:lnTo>
                    <a:pt x="149" y="74"/>
                  </a:lnTo>
                  <a:lnTo>
                    <a:pt x="146" y="72"/>
                  </a:lnTo>
                  <a:lnTo>
                    <a:pt x="146" y="69"/>
                  </a:lnTo>
                  <a:lnTo>
                    <a:pt x="146" y="67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54" y="64"/>
                  </a:lnTo>
                  <a:lnTo>
                    <a:pt x="159" y="64"/>
                  </a:lnTo>
                  <a:lnTo>
                    <a:pt x="164" y="64"/>
                  </a:lnTo>
                  <a:close/>
                  <a:moveTo>
                    <a:pt x="131" y="95"/>
                  </a:moveTo>
                  <a:lnTo>
                    <a:pt x="131" y="95"/>
                  </a:lnTo>
                  <a:lnTo>
                    <a:pt x="131" y="95"/>
                  </a:lnTo>
                  <a:lnTo>
                    <a:pt x="131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8" y="90"/>
                  </a:lnTo>
                  <a:lnTo>
                    <a:pt x="128" y="87"/>
                  </a:lnTo>
                  <a:lnTo>
                    <a:pt x="126" y="85"/>
                  </a:lnTo>
                  <a:lnTo>
                    <a:pt x="126" y="82"/>
                  </a:lnTo>
                  <a:lnTo>
                    <a:pt x="126" y="79"/>
                  </a:lnTo>
                  <a:lnTo>
                    <a:pt x="126" y="77"/>
                  </a:lnTo>
                  <a:lnTo>
                    <a:pt x="123" y="74"/>
                  </a:lnTo>
                  <a:lnTo>
                    <a:pt x="123" y="67"/>
                  </a:lnTo>
                  <a:lnTo>
                    <a:pt x="123" y="64"/>
                  </a:lnTo>
                  <a:lnTo>
                    <a:pt x="123" y="62"/>
                  </a:lnTo>
                  <a:lnTo>
                    <a:pt x="126" y="62"/>
                  </a:lnTo>
                  <a:lnTo>
                    <a:pt x="128" y="62"/>
                  </a:lnTo>
                  <a:lnTo>
                    <a:pt x="131" y="62"/>
                  </a:lnTo>
                  <a:lnTo>
                    <a:pt x="136" y="62"/>
                  </a:lnTo>
                  <a:lnTo>
                    <a:pt x="136" y="67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6" y="72"/>
                  </a:lnTo>
                  <a:lnTo>
                    <a:pt x="136" y="74"/>
                  </a:lnTo>
                  <a:lnTo>
                    <a:pt x="136" y="77"/>
                  </a:lnTo>
                  <a:lnTo>
                    <a:pt x="136" y="79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9" y="85"/>
                  </a:lnTo>
                  <a:lnTo>
                    <a:pt x="139" y="87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4" y="95"/>
                  </a:lnTo>
                  <a:lnTo>
                    <a:pt x="131" y="95"/>
                  </a:lnTo>
                  <a:lnTo>
                    <a:pt x="131" y="95"/>
                  </a:lnTo>
                  <a:close/>
                  <a:moveTo>
                    <a:pt x="177" y="92"/>
                  </a:moveTo>
                  <a:lnTo>
                    <a:pt x="177" y="92"/>
                  </a:lnTo>
                  <a:lnTo>
                    <a:pt x="177" y="90"/>
                  </a:lnTo>
                  <a:lnTo>
                    <a:pt x="180" y="87"/>
                  </a:lnTo>
                  <a:lnTo>
                    <a:pt x="180" y="85"/>
                  </a:lnTo>
                  <a:lnTo>
                    <a:pt x="180" y="82"/>
                  </a:lnTo>
                  <a:lnTo>
                    <a:pt x="180" y="82"/>
                  </a:lnTo>
                  <a:lnTo>
                    <a:pt x="182" y="79"/>
                  </a:lnTo>
                  <a:lnTo>
                    <a:pt x="182" y="77"/>
                  </a:lnTo>
                  <a:lnTo>
                    <a:pt x="182" y="74"/>
                  </a:lnTo>
                  <a:lnTo>
                    <a:pt x="182" y="72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2" y="67"/>
                  </a:lnTo>
                  <a:lnTo>
                    <a:pt x="182" y="62"/>
                  </a:lnTo>
                  <a:lnTo>
                    <a:pt x="185" y="62"/>
                  </a:lnTo>
                  <a:lnTo>
                    <a:pt x="190" y="62"/>
                  </a:lnTo>
                  <a:lnTo>
                    <a:pt x="192" y="62"/>
                  </a:lnTo>
                  <a:lnTo>
                    <a:pt x="195" y="62"/>
                  </a:lnTo>
                  <a:lnTo>
                    <a:pt x="195" y="64"/>
                  </a:lnTo>
                  <a:lnTo>
                    <a:pt x="195" y="67"/>
                  </a:lnTo>
                  <a:lnTo>
                    <a:pt x="195" y="74"/>
                  </a:lnTo>
                  <a:lnTo>
                    <a:pt x="192" y="77"/>
                  </a:lnTo>
                  <a:lnTo>
                    <a:pt x="192" y="79"/>
                  </a:lnTo>
                  <a:lnTo>
                    <a:pt x="192" y="82"/>
                  </a:lnTo>
                  <a:lnTo>
                    <a:pt x="192" y="85"/>
                  </a:lnTo>
                  <a:lnTo>
                    <a:pt x="190" y="87"/>
                  </a:lnTo>
                  <a:lnTo>
                    <a:pt x="190" y="90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87" y="92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75" y="95"/>
                  </a:lnTo>
                  <a:lnTo>
                    <a:pt x="177" y="92"/>
                  </a:lnTo>
                  <a:close/>
                  <a:moveTo>
                    <a:pt x="98" y="92"/>
                  </a:moveTo>
                  <a:lnTo>
                    <a:pt x="98" y="90"/>
                  </a:lnTo>
                  <a:lnTo>
                    <a:pt x="100" y="87"/>
                  </a:lnTo>
                  <a:lnTo>
                    <a:pt x="100" y="85"/>
                  </a:lnTo>
                  <a:lnTo>
                    <a:pt x="100" y="82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3" y="69"/>
                  </a:lnTo>
                  <a:lnTo>
                    <a:pt x="103" y="67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0" y="59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3" y="56"/>
                  </a:lnTo>
                  <a:lnTo>
                    <a:pt x="105" y="56"/>
                  </a:lnTo>
                  <a:lnTo>
                    <a:pt x="108" y="59"/>
                  </a:lnTo>
                  <a:lnTo>
                    <a:pt x="111" y="59"/>
                  </a:lnTo>
                  <a:lnTo>
                    <a:pt x="111" y="62"/>
                  </a:lnTo>
                  <a:lnTo>
                    <a:pt x="113" y="67"/>
                  </a:lnTo>
                  <a:lnTo>
                    <a:pt x="113" y="72"/>
                  </a:lnTo>
                  <a:lnTo>
                    <a:pt x="113" y="74"/>
                  </a:lnTo>
                  <a:lnTo>
                    <a:pt x="113" y="77"/>
                  </a:lnTo>
                  <a:lnTo>
                    <a:pt x="113" y="79"/>
                  </a:lnTo>
                  <a:lnTo>
                    <a:pt x="113" y="82"/>
                  </a:lnTo>
                  <a:lnTo>
                    <a:pt x="116" y="85"/>
                  </a:lnTo>
                  <a:lnTo>
                    <a:pt x="116" y="87"/>
                  </a:lnTo>
                  <a:lnTo>
                    <a:pt x="116" y="90"/>
                  </a:lnTo>
                  <a:lnTo>
                    <a:pt x="118" y="90"/>
                  </a:lnTo>
                  <a:lnTo>
                    <a:pt x="118" y="92"/>
                  </a:lnTo>
                  <a:lnTo>
                    <a:pt x="118" y="95"/>
                  </a:lnTo>
                  <a:lnTo>
                    <a:pt x="95" y="95"/>
                  </a:lnTo>
                  <a:lnTo>
                    <a:pt x="98" y="92"/>
                  </a:lnTo>
                  <a:close/>
                  <a:moveTo>
                    <a:pt x="200" y="92"/>
                  </a:moveTo>
                  <a:lnTo>
                    <a:pt x="203" y="90"/>
                  </a:lnTo>
                  <a:lnTo>
                    <a:pt x="203" y="90"/>
                  </a:lnTo>
                  <a:lnTo>
                    <a:pt x="203" y="87"/>
                  </a:lnTo>
                  <a:lnTo>
                    <a:pt x="203" y="85"/>
                  </a:lnTo>
                  <a:lnTo>
                    <a:pt x="205" y="82"/>
                  </a:lnTo>
                  <a:lnTo>
                    <a:pt x="205" y="79"/>
                  </a:lnTo>
                  <a:lnTo>
                    <a:pt x="205" y="77"/>
                  </a:lnTo>
                  <a:lnTo>
                    <a:pt x="205" y="74"/>
                  </a:lnTo>
                  <a:lnTo>
                    <a:pt x="205" y="72"/>
                  </a:lnTo>
                  <a:lnTo>
                    <a:pt x="205" y="67"/>
                  </a:lnTo>
                  <a:lnTo>
                    <a:pt x="205" y="62"/>
                  </a:lnTo>
                  <a:lnTo>
                    <a:pt x="208" y="59"/>
                  </a:lnTo>
                  <a:lnTo>
                    <a:pt x="210" y="59"/>
                  </a:lnTo>
                  <a:lnTo>
                    <a:pt x="213" y="56"/>
                  </a:lnTo>
                  <a:lnTo>
                    <a:pt x="216" y="56"/>
                  </a:lnTo>
                  <a:lnTo>
                    <a:pt x="218" y="54"/>
                  </a:lnTo>
                  <a:lnTo>
                    <a:pt x="218" y="56"/>
                  </a:lnTo>
                  <a:lnTo>
                    <a:pt x="218" y="59"/>
                  </a:lnTo>
                  <a:lnTo>
                    <a:pt x="216" y="62"/>
                  </a:lnTo>
                  <a:lnTo>
                    <a:pt x="216" y="64"/>
                  </a:lnTo>
                  <a:lnTo>
                    <a:pt x="216" y="67"/>
                  </a:lnTo>
                  <a:lnTo>
                    <a:pt x="216" y="69"/>
                  </a:lnTo>
                  <a:lnTo>
                    <a:pt x="216" y="72"/>
                  </a:lnTo>
                  <a:lnTo>
                    <a:pt x="216" y="74"/>
                  </a:lnTo>
                  <a:lnTo>
                    <a:pt x="216" y="77"/>
                  </a:lnTo>
                  <a:lnTo>
                    <a:pt x="216" y="79"/>
                  </a:lnTo>
                  <a:lnTo>
                    <a:pt x="218" y="82"/>
                  </a:lnTo>
                  <a:lnTo>
                    <a:pt x="218" y="85"/>
                  </a:lnTo>
                  <a:lnTo>
                    <a:pt x="218" y="87"/>
                  </a:lnTo>
                  <a:lnTo>
                    <a:pt x="221" y="90"/>
                  </a:lnTo>
                  <a:lnTo>
                    <a:pt x="221" y="92"/>
                  </a:lnTo>
                  <a:lnTo>
                    <a:pt x="223" y="95"/>
                  </a:lnTo>
                  <a:lnTo>
                    <a:pt x="200" y="95"/>
                  </a:lnTo>
                  <a:lnTo>
                    <a:pt x="200" y="92"/>
                  </a:lnTo>
                  <a:close/>
                  <a:moveTo>
                    <a:pt x="52" y="105"/>
                  </a:moveTo>
                  <a:lnTo>
                    <a:pt x="49" y="105"/>
                  </a:lnTo>
                  <a:lnTo>
                    <a:pt x="47" y="105"/>
                  </a:lnTo>
                  <a:lnTo>
                    <a:pt x="47" y="103"/>
                  </a:lnTo>
                  <a:lnTo>
                    <a:pt x="44" y="103"/>
                  </a:lnTo>
                  <a:lnTo>
                    <a:pt x="41" y="103"/>
                  </a:lnTo>
                  <a:lnTo>
                    <a:pt x="39" y="103"/>
                  </a:lnTo>
                  <a:lnTo>
                    <a:pt x="39" y="100"/>
                  </a:lnTo>
                  <a:lnTo>
                    <a:pt x="36" y="100"/>
                  </a:lnTo>
                  <a:lnTo>
                    <a:pt x="34" y="100"/>
                  </a:lnTo>
                  <a:lnTo>
                    <a:pt x="34" y="97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29" y="95"/>
                  </a:lnTo>
                  <a:lnTo>
                    <a:pt x="26" y="95"/>
                  </a:lnTo>
                  <a:lnTo>
                    <a:pt x="26" y="92"/>
                  </a:lnTo>
                  <a:lnTo>
                    <a:pt x="23" y="92"/>
                  </a:lnTo>
                  <a:lnTo>
                    <a:pt x="21" y="90"/>
                  </a:lnTo>
                  <a:lnTo>
                    <a:pt x="21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2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3" y="74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1"/>
                  </a:lnTo>
                  <a:lnTo>
                    <a:pt x="13" y="49"/>
                  </a:lnTo>
                  <a:lnTo>
                    <a:pt x="13" y="46"/>
                  </a:lnTo>
                  <a:lnTo>
                    <a:pt x="16" y="44"/>
                  </a:lnTo>
                  <a:lnTo>
                    <a:pt x="16" y="41"/>
                  </a:lnTo>
                  <a:lnTo>
                    <a:pt x="18" y="39"/>
                  </a:lnTo>
                  <a:lnTo>
                    <a:pt x="18" y="36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3" y="31"/>
                  </a:lnTo>
                  <a:lnTo>
                    <a:pt x="26" y="28"/>
                  </a:lnTo>
                  <a:lnTo>
                    <a:pt x="26" y="26"/>
                  </a:lnTo>
                  <a:lnTo>
                    <a:pt x="29" y="26"/>
                  </a:lnTo>
                  <a:lnTo>
                    <a:pt x="31" y="23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6" y="18"/>
                  </a:lnTo>
                  <a:lnTo>
                    <a:pt x="39" y="18"/>
                  </a:lnTo>
                  <a:lnTo>
                    <a:pt x="41" y="18"/>
                  </a:lnTo>
                  <a:lnTo>
                    <a:pt x="44" y="15"/>
                  </a:lnTo>
                  <a:lnTo>
                    <a:pt x="47" y="15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4" y="10"/>
                  </a:lnTo>
                  <a:lnTo>
                    <a:pt x="67" y="10"/>
                  </a:lnTo>
                  <a:lnTo>
                    <a:pt x="70" y="10"/>
                  </a:lnTo>
                  <a:lnTo>
                    <a:pt x="249" y="10"/>
                  </a:lnTo>
                  <a:lnTo>
                    <a:pt x="251" y="10"/>
                  </a:lnTo>
                  <a:lnTo>
                    <a:pt x="254" y="10"/>
                  </a:lnTo>
                  <a:lnTo>
                    <a:pt x="256" y="13"/>
                  </a:lnTo>
                  <a:lnTo>
                    <a:pt x="259" y="13"/>
                  </a:lnTo>
                  <a:lnTo>
                    <a:pt x="264" y="13"/>
                  </a:lnTo>
                  <a:lnTo>
                    <a:pt x="267" y="13"/>
                  </a:lnTo>
                  <a:lnTo>
                    <a:pt x="269" y="13"/>
                  </a:lnTo>
                  <a:lnTo>
                    <a:pt x="272" y="15"/>
                  </a:lnTo>
                  <a:lnTo>
                    <a:pt x="274" y="15"/>
                  </a:lnTo>
                  <a:lnTo>
                    <a:pt x="277" y="18"/>
                  </a:lnTo>
                  <a:lnTo>
                    <a:pt x="280" y="18"/>
                  </a:lnTo>
                  <a:lnTo>
                    <a:pt x="282" y="18"/>
                  </a:lnTo>
                  <a:lnTo>
                    <a:pt x="285" y="21"/>
                  </a:lnTo>
                  <a:lnTo>
                    <a:pt x="285" y="21"/>
                  </a:lnTo>
                  <a:lnTo>
                    <a:pt x="287" y="23"/>
                  </a:lnTo>
                  <a:lnTo>
                    <a:pt x="290" y="26"/>
                  </a:lnTo>
                  <a:lnTo>
                    <a:pt x="292" y="26"/>
                  </a:lnTo>
                  <a:lnTo>
                    <a:pt x="292" y="28"/>
                  </a:lnTo>
                  <a:lnTo>
                    <a:pt x="295" y="31"/>
                  </a:lnTo>
                  <a:lnTo>
                    <a:pt x="297" y="33"/>
                  </a:lnTo>
                  <a:lnTo>
                    <a:pt x="297" y="36"/>
                  </a:lnTo>
                  <a:lnTo>
                    <a:pt x="300" y="36"/>
                  </a:lnTo>
                  <a:lnTo>
                    <a:pt x="300" y="39"/>
                  </a:lnTo>
                  <a:lnTo>
                    <a:pt x="303" y="41"/>
                  </a:lnTo>
                  <a:lnTo>
                    <a:pt x="303" y="44"/>
                  </a:lnTo>
                  <a:lnTo>
                    <a:pt x="305" y="46"/>
                  </a:lnTo>
                  <a:lnTo>
                    <a:pt x="305" y="49"/>
                  </a:lnTo>
                  <a:lnTo>
                    <a:pt x="305" y="51"/>
                  </a:lnTo>
                  <a:lnTo>
                    <a:pt x="305" y="54"/>
                  </a:lnTo>
                  <a:lnTo>
                    <a:pt x="305" y="56"/>
                  </a:lnTo>
                  <a:lnTo>
                    <a:pt x="305" y="59"/>
                  </a:lnTo>
                  <a:lnTo>
                    <a:pt x="305" y="62"/>
                  </a:lnTo>
                  <a:lnTo>
                    <a:pt x="305" y="64"/>
                  </a:lnTo>
                  <a:lnTo>
                    <a:pt x="305" y="67"/>
                  </a:lnTo>
                  <a:lnTo>
                    <a:pt x="305" y="69"/>
                  </a:lnTo>
                  <a:lnTo>
                    <a:pt x="305" y="72"/>
                  </a:lnTo>
                  <a:lnTo>
                    <a:pt x="305" y="72"/>
                  </a:lnTo>
                  <a:lnTo>
                    <a:pt x="305" y="74"/>
                  </a:lnTo>
                  <a:lnTo>
                    <a:pt x="303" y="77"/>
                  </a:lnTo>
                  <a:lnTo>
                    <a:pt x="303" y="79"/>
                  </a:lnTo>
                  <a:lnTo>
                    <a:pt x="303" y="79"/>
                  </a:lnTo>
                  <a:lnTo>
                    <a:pt x="300" y="82"/>
                  </a:lnTo>
                  <a:lnTo>
                    <a:pt x="300" y="85"/>
                  </a:lnTo>
                  <a:lnTo>
                    <a:pt x="300" y="87"/>
                  </a:lnTo>
                  <a:lnTo>
                    <a:pt x="297" y="87"/>
                  </a:lnTo>
                  <a:lnTo>
                    <a:pt x="297" y="90"/>
                  </a:lnTo>
                  <a:lnTo>
                    <a:pt x="295" y="92"/>
                  </a:lnTo>
                  <a:lnTo>
                    <a:pt x="292" y="92"/>
                  </a:lnTo>
                  <a:lnTo>
                    <a:pt x="292" y="95"/>
                  </a:lnTo>
                  <a:lnTo>
                    <a:pt x="290" y="95"/>
                  </a:lnTo>
                  <a:lnTo>
                    <a:pt x="290" y="97"/>
                  </a:lnTo>
                  <a:lnTo>
                    <a:pt x="287" y="97"/>
                  </a:lnTo>
                  <a:lnTo>
                    <a:pt x="285" y="97"/>
                  </a:lnTo>
                  <a:lnTo>
                    <a:pt x="285" y="100"/>
                  </a:lnTo>
                  <a:lnTo>
                    <a:pt x="282" y="100"/>
                  </a:lnTo>
                  <a:lnTo>
                    <a:pt x="280" y="100"/>
                  </a:lnTo>
                  <a:lnTo>
                    <a:pt x="280" y="103"/>
                  </a:lnTo>
                  <a:lnTo>
                    <a:pt x="277" y="103"/>
                  </a:lnTo>
                  <a:lnTo>
                    <a:pt x="274" y="103"/>
                  </a:lnTo>
                  <a:lnTo>
                    <a:pt x="272" y="103"/>
                  </a:lnTo>
                  <a:lnTo>
                    <a:pt x="272" y="105"/>
                  </a:lnTo>
                  <a:lnTo>
                    <a:pt x="269" y="105"/>
                  </a:lnTo>
                  <a:lnTo>
                    <a:pt x="267" y="105"/>
                  </a:lnTo>
                  <a:lnTo>
                    <a:pt x="264" y="105"/>
                  </a:lnTo>
                  <a:lnTo>
                    <a:pt x="262" y="105"/>
                  </a:lnTo>
                  <a:lnTo>
                    <a:pt x="262" y="105"/>
                  </a:lnTo>
                  <a:lnTo>
                    <a:pt x="259" y="105"/>
                  </a:lnTo>
                  <a:lnTo>
                    <a:pt x="256" y="105"/>
                  </a:lnTo>
                  <a:lnTo>
                    <a:pt x="254" y="105"/>
                  </a:lnTo>
                  <a:lnTo>
                    <a:pt x="254" y="103"/>
                  </a:lnTo>
                  <a:lnTo>
                    <a:pt x="251" y="10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46" y="100"/>
                  </a:lnTo>
                  <a:lnTo>
                    <a:pt x="244" y="100"/>
                  </a:lnTo>
                  <a:lnTo>
                    <a:pt x="241" y="100"/>
                  </a:lnTo>
                  <a:lnTo>
                    <a:pt x="241" y="97"/>
                  </a:lnTo>
                  <a:lnTo>
                    <a:pt x="239" y="97"/>
                  </a:lnTo>
                  <a:lnTo>
                    <a:pt x="239" y="95"/>
                  </a:lnTo>
                  <a:lnTo>
                    <a:pt x="236" y="95"/>
                  </a:lnTo>
                  <a:lnTo>
                    <a:pt x="236" y="95"/>
                  </a:lnTo>
                  <a:lnTo>
                    <a:pt x="233" y="92"/>
                  </a:lnTo>
                  <a:lnTo>
                    <a:pt x="233" y="92"/>
                  </a:lnTo>
                  <a:lnTo>
                    <a:pt x="233" y="90"/>
                  </a:lnTo>
                  <a:lnTo>
                    <a:pt x="231" y="90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28" y="85"/>
                  </a:lnTo>
                  <a:lnTo>
                    <a:pt x="228" y="82"/>
                  </a:lnTo>
                  <a:lnTo>
                    <a:pt x="228" y="82"/>
                  </a:lnTo>
                  <a:lnTo>
                    <a:pt x="228" y="79"/>
                  </a:lnTo>
                  <a:lnTo>
                    <a:pt x="228" y="79"/>
                  </a:lnTo>
                  <a:lnTo>
                    <a:pt x="228" y="77"/>
                  </a:lnTo>
                  <a:lnTo>
                    <a:pt x="228" y="74"/>
                  </a:lnTo>
                  <a:lnTo>
                    <a:pt x="226" y="74"/>
                  </a:lnTo>
                  <a:lnTo>
                    <a:pt x="226" y="72"/>
                  </a:lnTo>
                  <a:lnTo>
                    <a:pt x="226" y="69"/>
                  </a:lnTo>
                  <a:lnTo>
                    <a:pt x="226" y="69"/>
                  </a:lnTo>
                  <a:lnTo>
                    <a:pt x="226" y="67"/>
                  </a:lnTo>
                  <a:lnTo>
                    <a:pt x="228" y="67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8" y="62"/>
                  </a:lnTo>
                  <a:lnTo>
                    <a:pt x="228" y="59"/>
                  </a:lnTo>
                  <a:lnTo>
                    <a:pt x="228" y="59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4"/>
                  </a:lnTo>
                  <a:lnTo>
                    <a:pt x="233" y="54"/>
                  </a:lnTo>
                  <a:lnTo>
                    <a:pt x="233" y="51"/>
                  </a:lnTo>
                  <a:lnTo>
                    <a:pt x="233" y="51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9" y="49"/>
                  </a:lnTo>
                  <a:lnTo>
                    <a:pt x="239" y="46"/>
                  </a:lnTo>
                  <a:lnTo>
                    <a:pt x="241" y="46"/>
                  </a:lnTo>
                  <a:lnTo>
                    <a:pt x="241" y="46"/>
                  </a:lnTo>
                  <a:lnTo>
                    <a:pt x="241" y="46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6" y="44"/>
                  </a:lnTo>
                  <a:lnTo>
                    <a:pt x="246" y="44"/>
                  </a:lnTo>
                  <a:lnTo>
                    <a:pt x="249" y="44"/>
                  </a:lnTo>
                  <a:lnTo>
                    <a:pt x="249" y="44"/>
                  </a:lnTo>
                  <a:lnTo>
                    <a:pt x="251" y="44"/>
                  </a:lnTo>
                  <a:lnTo>
                    <a:pt x="251" y="44"/>
                  </a:lnTo>
                  <a:lnTo>
                    <a:pt x="254" y="44"/>
                  </a:lnTo>
                  <a:lnTo>
                    <a:pt x="256" y="44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4" y="44"/>
                  </a:lnTo>
                  <a:lnTo>
                    <a:pt x="264" y="44"/>
                  </a:lnTo>
                  <a:lnTo>
                    <a:pt x="264" y="44"/>
                  </a:lnTo>
                  <a:lnTo>
                    <a:pt x="267" y="46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69" y="46"/>
                  </a:lnTo>
                  <a:lnTo>
                    <a:pt x="269" y="49"/>
                  </a:lnTo>
                  <a:lnTo>
                    <a:pt x="272" y="49"/>
                  </a:lnTo>
                  <a:lnTo>
                    <a:pt x="272" y="49"/>
                  </a:lnTo>
                  <a:lnTo>
                    <a:pt x="274" y="51"/>
                  </a:lnTo>
                  <a:lnTo>
                    <a:pt x="274" y="54"/>
                  </a:lnTo>
                  <a:lnTo>
                    <a:pt x="277" y="54"/>
                  </a:lnTo>
                  <a:lnTo>
                    <a:pt x="277" y="56"/>
                  </a:lnTo>
                  <a:lnTo>
                    <a:pt x="277" y="59"/>
                  </a:lnTo>
                  <a:lnTo>
                    <a:pt x="277" y="59"/>
                  </a:lnTo>
                  <a:lnTo>
                    <a:pt x="277" y="62"/>
                  </a:lnTo>
                  <a:lnTo>
                    <a:pt x="277" y="64"/>
                  </a:lnTo>
                  <a:lnTo>
                    <a:pt x="277" y="64"/>
                  </a:lnTo>
                  <a:lnTo>
                    <a:pt x="277" y="67"/>
                  </a:lnTo>
                  <a:lnTo>
                    <a:pt x="277" y="67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72"/>
                  </a:lnTo>
                  <a:lnTo>
                    <a:pt x="272" y="72"/>
                  </a:lnTo>
                  <a:lnTo>
                    <a:pt x="272" y="74"/>
                  </a:lnTo>
                  <a:lnTo>
                    <a:pt x="272" y="74"/>
                  </a:lnTo>
                  <a:lnTo>
                    <a:pt x="269" y="74"/>
                  </a:lnTo>
                  <a:lnTo>
                    <a:pt x="269" y="74"/>
                  </a:lnTo>
                  <a:lnTo>
                    <a:pt x="269" y="74"/>
                  </a:lnTo>
                  <a:lnTo>
                    <a:pt x="267" y="77"/>
                  </a:lnTo>
                  <a:lnTo>
                    <a:pt x="267" y="77"/>
                  </a:lnTo>
                  <a:lnTo>
                    <a:pt x="264" y="77"/>
                  </a:lnTo>
                  <a:lnTo>
                    <a:pt x="264" y="77"/>
                  </a:lnTo>
                  <a:lnTo>
                    <a:pt x="262" y="77"/>
                  </a:lnTo>
                  <a:lnTo>
                    <a:pt x="262" y="77"/>
                  </a:lnTo>
                  <a:lnTo>
                    <a:pt x="262" y="77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6" y="77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4" y="74"/>
                  </a:lnTo>
                  <a:lnTo>
                    <a:pt x="254" y="74"/>
                  </a:lnTo>
                  <a:lnTo>
                    <a:pt x="254" y="74"/>
                  </a:lnTo>
                  <a:lnTo>
                    <a:pt x="254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59" y="67"/>
                  </a:lnTo>
                  <a:lnTo>
                    <a:pt x="259" y="67"/>
                  </a:lnTo>
                  <a:lnTo>
                    <a:pt x="259" y="67"/>
                  </a:lnTo>
                  <a:lnTo>
                    <a:pt x="259" y="67"/>
                  </a:lnTo>
                  <a:lnTo>
                    <a:pt x="262" y="67"/>
                  </a:lnTo>
                  <a:lnTo>
                    <a:pt x="262" y="67"/>
                  </a:lnTo>
                  <a:lnTo>
                    <a:pt x="262" y="67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7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2"/>
                  </a:lnTo>
                  <a:lnTo>
                    <a:pt x="267" y="62"/>
                  </a:lnTo>
                  <a:lnTo>
                    <a:pt x="267" y="62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4" y="56"/>
                  </a:lnTo>
                  <a:lnTo>
                    <a:pt x="262" y="56"/>
                  </a:lnTo>
                  <a:lnTo>
                    <a:pt x="262" y="56"/>
                  </a:lnTo>
                  <a:lnTo>
                    <a:pt x="262" y="56"/>
                  </a:lnTo>
                  <a:lnTo>
                    <a:pt x="259" y="56"/>
                  </a:lnTo>
                  <a:lnTo>
                    <a:pt x="259" y="56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4" y="56"/>
                  </a:lnTo>
                  <a:lnTo>
                    <a:pt x="254" y="56"/>
                  </a:lnTo>
                  <a:lnTo>
                    <a:pt x="251" y="56"/>
                  </a:lnTo>
                  <a:lnTo>
                    <a:pt x="251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46" y="59"/>
                  </a:lnTo>
                  <a:lnTo>
                    <a:pt x="246" y="59"/>
                  </a:lnTo>
                  <a:lnTo>
                    <a:pt x="244" y="59"/>
                  </a:lnTo>
                  <a:lnTo>
                    <a:pt x="244" y="62"/>
                  </a:lnTo>
                  <a:lnTo>
                    <a:pt x="244" y="62"/>
                  </a:lnTo>
                  <a:lnTo>
                    <a:pt x="241" y="64"/>
                  </a:lnTo>
                  <a:lnTo>
                    <a:pt x="241" y="64"/>
                  </a:lnTo>
                  <a:lnTo>
                    <a:pt x="241" y="67"/>
                  </a:lnTo>
                  <a:lnTo>
                    <a:pt x="241" y="67"/>
                  </a:lnTo>
                  <a:lnTo>
                    <a:pt x="241" y="69"/>
                  </a:lnTo>
                  <a:lnTo>
                    <a:pt x="241" y="69"/>
                  </a:lnTo>
                  <a:lnTo>
                    <a:pt x="241" y="72"/>
                  </a:lnTo>
                  <a:lnTo>
                    <a:pt x="241" y="72"/>
                  </a:lnTo>
                  <a:lnTo>
                    <a:pt x="241" y="74"/>
                  </a:lnTo>
                  <a:lnTo>
                    <a:pt x="241" y="74"/>
                  </a:lnTo>
                  <a:lnTo>
                    <a:pt x="241" y="74"/>
                  </a:lnTo>
                  <a:lnTo>
                    <a:pt x="241" y="77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4" y="82"/>
                  </a:lnTo>
                  <a:lnTo>
                    <a:pt x="246" y="82"/>
                  </a:lnTo>
                  <a:lnTo>
                    <a:pt x="246" y="82"/>
                  </a:lnTo>
                  <a:lnTo>
                    <a:pt x="249" y="85"/>
                  </a:lnTo>
                  <a:lnTo>
                    <a:pt x="251" y="85"/>
                  </a:lnTo>
                  <a:lnTo>
                    <a:pt x="251" y="87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9" y="87"/>
                  </a:lnTo>
                  <a:lnTo>
                    <a:pt x="262" y="87"/>
                  </a:lnTo>
                  <a:lnTo>
                    <a:pt x="262" y="87"/>
                  </a:lnTo>
                  <a:lnTo>
                    <a:pt x="264" y="87"/>
                  </a:lnTo>
                  <a:lnTo>
                    <a:pt x="264" y="87"/>
                  </a:lnTo>
                  <a:lnTo>
                    <a:pt x="267" y="87"/>
                  </a:lnTo>
                  <a:lnTo>
                    <a:pt x="267" y="87"/>
                  </a:lnTo>
                  <a:lnTo>
                    <a:pt x="269" y="87"/>
                  </a:lnTo>
                  <a:lnTo>
                    <a:pt x="269" y="87"/>
                  </a:lnTo>
                  <a:lnTo>
                    <a:pt x="272" y="87"/>
                  </a:lnTo>
                  <a:lnTo>
                    <a:pt x="272" y="85"/>
                  </a:lnTo>
                  <a:lnTo>
                    <a:pt x="274" y="85"/>
                  </a:lnTo>
                  <a:lnTo>
                    <a:pt x="274" y="85"/>
                  </a:lnTo>
                  <a:lnTo>
                    <a:pt x="277" y="85"/>
                  </a:lnTo>
                  <a:lnTo>
                    <a:pt x="277" y="85"/>
                  </a:lnTo>
                  <a:lnTo>
                    <a:pt x="277" y="82"/>
                  </a:lnTo>
                  <a:lnTo>
                    <a:pt x="280" y="82"/>
                  </a:lnTo>
                  <a:lnTo>
                    <a:pt x="280" y="82"/>
                  </a:lnTo>
                  <a:lnTo>
                    <a:pt x="282" y="79"/>
                  </a:lnTo>
                  <a:lnTo>
                    <a:pt x="282" y="79"/>
                  </a:lnTo>
                  <a:lnTo>
                    <a:pt x="282" y="79"/>
                  </a:lnTo>
                  <a:lnTo>
                    <a:pt x="285" y="77"/>
                  </a:lnTo>
                  <a:lnTo>
                    <a:pt x="285" y="77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7" y="74"/>
                  </a:lnTo>
                  <a:lnTo>
                    <a:pt x="287" y="72"/>
                  </a:lnTo>
                  <a:lnTo>
                    <a:pt x="287" y="72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7"/>
                  </a:lnTo>
                  <a:lnTo>
                    <a:pt x="287" y="67"/>
                  </a:lnTo>
                  <a:lnTo>
                    <a:pt x="290" y="64"/>
                  </a:lnTo>
                  <a:lnTo>
                    <a:pt x="290" y="64"/>
                  </a:lnTo>
                  <a:lnTo>
                    <a:pt x="290" y="62"/>
                  </a:lnTo>
                  <a:lnTo>
                    <a:pt x="290" y="59"/>
                  </a:lnTo>
                  <a:lnTo>
                    <a:pt x="290" y="59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5" y="49"/>
                  </a:lnTo>
                  <a:lnTo>
                    <a:pt x="285" y="49"/>
                  </a:lnTo>
                  <a:lnTo>
                    <a:pt x="285" y="46"/>
                  </a:lnTo>
                  <a:lnTo>
                    <a:pt x="282" y="46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80" y="41"/>
                  </a:lnTo>
                  <a:lnTo>
                    <a:pt x="280" y="41"/>
                  </a:lnTo>
                  <a:lnTo>
                    <a:pt x="277" y="39"/>
                  </a:lnTo>
                  <a:lnTo>
                    <a:pt x="277" y="39"/>
                  </a:lnTo>
                  <a:lnTo>
                    <a:pt x="274" y="36"/>
                  </a:lnTo>
                  <a:lnTo>
                    <a:pt x="274" y="36"/>
                  </a:lnTo>
                  <a:lnTo>
                    <a:pt x="272" y="36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67" y="33"/>
                  </a:lnTo>
                  <a:lnTo>
                    <a:pt x="267" y="33"/>
                  </a:lnTo>
                  <a:lnTo>
                    <a:pt x="264" y="33"/>
                  </a:lnTo>
                  <a:lnTo>
                    <a:pt x="262" y="31"/>
                  </a:lnTo>
                  <a:lnTo>
                    <a:pt x="259" y="31"/>
                  </a:lnTo>
                  <a:lnTo>
                    <a:pt x="259" y="31"/>
                  </a:lnTo>
                  <a:lnTo>
                    <a:pt x="256" y="31"/>
                  </a:lnTo>
                  <a:lnTo>
                    <a:pt x="254" y="31"/>
                  </a:lnTo>
                  <a:lnTo>
                    <a:pt x="254" y="31"/>
                  </a:lnTo>
                  <a:lnTo>
                    <a:pt x="251" y="31"/>
                  </a:lnTo>
                  <a:lnTo>
                    <a:pt x="249" y="31"/>
                  </a:lnTo>
                  <a:lnTo>
                    <a:pt x="246" y="31"/>
                  </a:lnTo>
                  <a:lnTo>
                    <a:pt x="246" y="33"/>
                  </a:lnTo>
                  <a:lnTo>
                    <a:pt x="244" y="33"/>
                  </a:lnTo>
                  <a:lnTo>
                    <a:pt x="241" y="33"/>
                  </a:lnTo>
                  <a:lnTo>
                    <a:pt x="239" y="33"/>
                  </a:lnTo>
                  <a:lnTo>
                    <a:pt x="239" y="36"/>
                  </a:lnTo>
                  <a:lnTo>
                    <a:pt x="233" y="36"/>
                  </a:lnTo>
                  <a:lnTo>
                    <a:pt x="231" y="39"/>
                  </a:lnTo>
                  <a:lnTo>
                    <a:pt x="226" y="39"/>
                  </a:lnTo>
                  <a:lnTo>
                    <a:pt x="223" y="41"/>
                  </a:lnTo>
                  <a:lnTo>
                    <a:pt x="218" y="44"/>
                  </a:lnTo>
                  <a:lnTo>
                    <a:pt x="216" y="44"/>
                  </a:lnTo>
                  <a:lnTo>
                    <a:pt x="210" y="46"/>
                  </a:lnTo>
                  <a:lnTo>
                    <a:pt x="208" y="46"/>
                  </a:lnTo>
                  <a:lnTo>
                    <a:pt x="203" y="49"/>
                  </a:lnTo>
                  <a:lnTo>
                    <a:pt x="200" y="49"/>
                  </a:lnTo>
                  <a:lnTo>
                    <a:pt x="195" y="49"/>
                  </a:lnTo>
                  <a:lnTo>
                    <a:pt x="192" y="51"/>
                  </a:lnTo>
                  <a:lnTo>
                    <a:pt x="187" y="51"/>
                  </a:lnTo>
                  <a:lnTo>
                    <a:pt x="185" y="51"/>
                  </a:lnTo>
                  <a:lnTo>
                    <a:pt x="180" y="51"/>
                  </a:lnTo>
                  <a:lnTo>
                    <a:pt x="177" y="51"/>
                  </a:lnTo>
                  <a:lnTo>
                    <a:pt x="172" y="51"/>
                  </a:lnTo>
                  <a:lnTo>
                    <a:pt x="167" y="51"/>
                  </a:lnTo>
                  <a:lnTo>
                    <a:pt x="164" y="51"/>
                  </a:lnTo>
                  <a:lnTo>
                    <a:pt x="159" y="51"/>
                  </a:lnTo>
                  <a:lnTo>
                    <a:pt x="154" y="51"/>
                  </a:lnTo>
                  <a:lnTo>
                    <a:pt x="151" y="51"/>
                  </a:lnTo>
                  <a:lnTo>
                    <a:pt x="146" y="51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4" y="51"/>
                  </a:lnTo>
                  <a:lnTo>
                    <a:pt x="131" y="51"/>
                  </a:lnTo>
                  <a:lnTo>
                    <a:pt x="126" y="51"/>
                  </a:lnTo>
                  <a:lnTo>
                    <a:pt x="123" y="49"/>
                  </a:lnTo>
                  <a:lnTo>
                    <a:pt x="118" y="49"/>
                  </a:lnTo>
                  <a:lnTo>
                    <a:pt x="116" y="49"/>
                  </a:lnTo>
                  <a:lnTo>
                    <a:pt x="111" y="46"/>
                  </a:lnTo>
                  <a:lnTo>
                    <a:pt x="108" y="46"/>
                  </a:lnTo>
                  <a:lnTo>
                    <a:pt x="103" y="44"/>
                  </a:lnTo>
                  <a:lnTo>
                    <a:pt x="100" y="44"/>
                  </a:lnTo>
                  <a:lnTo>
                    <a:pt x="95" y="41"/>
                  </a:lnTo>
                  <a:lnTo>
                    <a:pt x="93" y="39"/>
                  </a:lnTo>
                  <a:lnTo>
                    <a:pt x="87" y="39"/>
                  </a:lnTo>
                  <a:lnTo>
                    <a:pt x="85" y="36"/>
                  </a:lnTo>
                  <a:lnTo>
                    <a:pt x="80" y="36"/>
                  </a:lnTo>
                  <a:lnTo>
                    <a:pt x="80" y="33"/>
                  </a:lnTo>
                  <a:lnTo>
                    <a:pt x="77" y="33"/>
                  </a:lnTo>
                  <a:lnTo>
                    <a:pt x="75" y="33"/>
                  </a:lnTo>
                  <a:lnTo>
                    <a:pt x="72" y="33"/>
                  </a:lnTo>
                  <a:lnTo>
                    <a:pt x="72" y="31"/>
                  </a:lnTo>
                  <a:lnTo>
                    <a:pt x="70" y="31"/>
                  </a:lnTo>
                  <a:lnTo>
                    <a:pt x="67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59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7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6"/>
                  </a:lnTo>
                  <a:lnTo>
                    <a:pt x="34" y="46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1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1" y="82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7" y="85"/>
                  </a:lnTo>
                  <a:lnTo>
                    <a:pt x="47" y="87"/>
                  </a:lnTo>
                  <a:lnTo>
                    <a:pt x="49" y="87"/>
                  </a:lnTo>
                  <a:lnTo>
                    <a:pt x="49" y="87"/>
                  </a:lnTo>
                  <a:lnTo>
                    <a:pt x="52" y="87"/>
                  </a:lnTo>
                  <a:lnTo>
                    <a:pt x="52" y="87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4" y="87"/>
                  </a:lnTo>
                  <a:lnTo>
                    <a:pt x="67" y="87"/>
                  </a:lnTo>
                  <a:lnTo>
                    <a:pt x="67" y="85"/>
                  </a:lnTo>
                  <a:lnTo>
                    <a:pt x="70" y="85"/>
                  </a:lnTo>
                  <a:lnTo>
                    <a:pt x="72" y="82"/>
                  </a:lnTo>
                  <a:lnTo>
                    <a:pt x="72" y="82"/>
                  </a:lnTo>
                  <a:lnTo>
                    <a:pt x="75" y="82"/>
                  </a:lnTo>
                  <a:lnTo>
                    <a:pt x="75" y="79"/>
                  </a:lnTo>
                  <a:lnTo>
                    <a:pt x="75" y="77"/>
                  </a:lnTo>
                  <a:lnTo>
                    <a:pt x="77" y="77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4" y="72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2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6"/>
                  </a:lnTo>
                  <a:lnTo>
                    <a:pt x="41" y="54"/>
                  </a:lnTo>
                  <a:lnTo>
                    <a:pt x="44" y="54"/>
                  </a:lnTo>
                  <a:lnTo>
                    <a:pt x="44" y="51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9" y="49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2" y="44"/>
                  </a:lnTo>
                  <a:lnTo>
                    <a:pt x="64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75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80" y="46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4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0" y="62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7"/>
                  </a:lnTo>
                  <a:lnTo>
                    <a:pt x="93" y="67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72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5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90"/>
                  </a:lnTo>
                  <a:lnTo>
                    <a:pt x="85" y="90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0" y="95"/>
                  </a:lnTo>
                  <a:lnTo>
                    <a:pt x="80" y="97"/>
                  </a:lnTo>
                  <a:lnTo>
                    <a:pt x="77" y="97"/>
                  </a:lnTo>
                  <a:lnTo>
                    <a:pt x="77" y="100"/>
                  </a:lnTo>
                  <a:lnTo>
                    <a:pt x="75" y="100"/>
                  </a:lnTo>
                  <a:lnTo>
                    <a:pt x="72" y="100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67" y="103"/>
                  </a:lnTo>
                  <a:lnTo>
                    <a:pt x="64" y="103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59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4" y="105"/>
                  </a:lnTo>
                  <a:lnTo>
                    <a:pt x="52" y="105"/>
                  </a:lnTo>
                  <a:close/>
                  <a:moveTo>
                    <a:pt x="67" y="0"/>
                  </a:moveTo>
                  <a:lnTo>
                    <a:pt x="64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4" y="5"/>
                  </a:lnTo>
                  <a:lnTo>
                    <a:pt x="39" y="5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6" y="13"/>
                  </a:lnTo>
                  <a:lnTo>
                    <a:pt x="23" y="15"/>
                  </a:lnTo>
                  <a:lnTo>
                    <a:pt x="21" y="15"/>
                  </a:lnTo>
                  <a:lnTo>
                    <a:pt x="18" y="18"/>
                  </a:lnTo>
                  <a:lnTo>
                    <a:pt x="16" y="21"/>
                  </a:lnTo>
                  <a:lnTo>
                    <a:pt x="13" y="23"/>
                  </a:lnTo>
                  <a:lnTo>
                    <a:pt x="13" y="26"/>
                  </a:lnTo>
                  <a:lnTo>
                    <a:pt x="11" y="28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6" y="36"/>
                  </a:lnTo>
                  <a:lnTo>
                    <a:pt x="6" y="41"/>
                  </a:lnTo>
                  <a:lnTo>
                    <a:pt x="3" y="44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0" y="51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3" y="74"/>
                  </a:lnTo>
                  <a:lnTo>
                    <a:pt x="3" y="77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6" y="82"/>
                  </a:lnTo>
                  <a:lnTo>
                    <a:pt x="6" y="85"/>
                  </a:lnTo>
                  <a:lnTo>
                    <a:pt x="8" y="87"/>
                  </a:lnTo>
                  <a:lnTo>
                    <a:pt x="8" y="90"/>
                  </a:lnTo>
                  <a:lnTo>
                    <a:pt x="11" y="92"/>
                  </a:lnTo>
                  <a:lnTo>
                    <a:pt x="11" y="95"/>
                  </a:lnTo>
                  <a:lnTo>
                    <a:pt x="13" y="97"/>
                  </a:lnTo>
                  <a:lnTo>
                    <a:pt x="16" y="100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9" y="110"/>
                  </a:lnTo>
                  <a:lnTo>
                    <a:pt x="31" y="110"/>
                  </a:lnTo>
                  <a:lnTo>
                    <a:pt x="34" y="110"/>
                  </a:lnTo>
                  <a:lnTo>
                    <a:pt x="36" y="113"/>
                  </a:lnTo>
                  <a:lnTo>
                    <a:pt x="39" y="113"/>
                  </a:lnTo>
                  <a:lnTo>
                    <a:pt x="41" y="113"/>
                  </a:lnTo>
                  <a:lnTo>
                    <a:pt x="44" y="115"/>
                  </a:lnTo>
                  <a:lnTo>
                    <a:pt x="47" y="115"/>
                  </a:lnTo>
                  <a:lnTo>
                    <a:pt x="49" y="115"/>
                  </a:lnTo>
                  <a:lnTo>
                    <a:pt x="52" y="115"/>
                  </a:lnTo>
                  <a:lnTo>
                    <a:pt x="54" y="115"/>
                  </a:lnTo>
                  <a:lnTo>
                    <a:pt x="57" y="115"/>
                  </a:lnTo>
                  <a:lnTo>
                    <a:pt x="59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302"/>
                  </a:lnTo>
                  <a:lnTo>
                    <a:pt x="254" y="302"/>
                  </a:lnTo>
                  <a:lnTo>
                    <a:pt x="254" y="115"/>
                  </a:lnTo>
                  <a:lnTo>
                    <a:pt x="256" y="115"/>
                  </a:lnTo>
                  <a:lnTo>
                    <a:pt x="259" y="115"/>
                  </a:lnTo>
                  <a:lnTo>
                    <a:pt x="262" y="115"/>
                  </a:lnTo>
                  <a:lnTo>
                    <a:pt x="264" y="115"/>
                  </a:lnTo>
                  <a:lnTo>
                    <a:pt x="267" y="115"/>
                  </a:lnTo>
                  <a:lnTo>
                    <a:pt x="269" y="115"/>
                  </a:lnTo>
                  <a:lnTo>
                    <a:pt x="272" y="115"/>
                  </a:lnTo>
                  <a:lnTo>
                    <a:pt x="274" y="115"/>
                  </a:lnTo>
                  <a:lnTo>
                    <a:pt x="277" y="113"/>
                  </a:lnTo>
                  <a:lnTo>
                    <a:pt x="280" y="113"/>
                  </a:lnTo>
                  <a:lnTo>
                    <a:pt x="282" y="113"/>
                  </a:lnTo>
                  <a:lnTo>
                    <a:pt x="285" y="110"/>
                  </a:lnTo>
                  <a:lnTo>
                    <a:pt x="287" y="110"/>
                  </a:lnTo>
                  <a:lnTo>
                    <a:pt x="290" y="110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5" y="105"/>
                  </a:lnTo>
                  <a:lnTo>
                    <a:pt x="297" y="105"/>
                  </a:lnTo>
                  <a:lnTo>
                    <a:pt x="300" y="103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5" y="97"/>
                  </a:lnTo>
                  <a:lnTo>
                    <a:pt x="308" y="95"/>
                  </a:lnTo>
                  <a:lnTo>
                    <a:pt x="308" y="92"/>
                  </a:lnTo>
                  <a:lnTo>
                    <a:pt x="310" y="90"/>
                  </a:lnTo>
                  <a:lnTo>
                    <a:pt x="310" y="87"/>
                  </a:lnTo>
                  <a:lnTo>
                    <a:pt x="313" y="85"/>
                  </a:lnTo>
                  <a:lnTo>
                    <a:pt x="313" y="82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7"/>
                  </a:lnTo>
                  <a:lnTo>
                    <a:pt x="315" y="74"/>
                  </a:lnTo>
                  <a:lnTo>
                    <a:pt x="318" y="69"/>
                  </a:lnTo>
                  <a:lnTo>
                    <a:pt x="318" y="67"/>
                  </a:lnTo>
                  <a:lnTo>
                    <a:pt x="318" y="64"/>
                  </a:lnTo>
                  <a:lnTo>
                    <a:pt x="318" y="62"/>
                  </a:lnTo>
                  <a:lnTo>
                    <a:pt x="318" y="59"/>
                  </a:lnTo>
                  <a:lnTo>
                    <a:pt x="318" y="56"/>
                  </a:lnTo>
                  <a:lnTo>
                    <a:pt x="318" y="51"/>
                  </a:lnTo>
                  <a:lnTo>
                    <a:pt x="315" y="49"/>
                  </a:lnTo>
                  <a:lnTo>
                    <a:pt x="315" y="46"/>
                  </a:lnTo>
                  <a:lnTo>
                    <a:pt x="315" y="44"/>
                  </a:lnTo>
                  <a:lnTo>
                    <a:pt x="313" y="41"/>
                  </a:lnTo>
                  <a:lnTo>
                    <a:pt x="313" y="36"/>
                  </a:lnTo>
                  <a:lnTo>
                    <a:pt x="310" y="33"/>
                  </a:lnTo>
                  <a:lnTo>
                    <a:pt x="310" y="31"/>
                  </a:lnTo>
                  <a:lnTo>
                    <a:pt x="308" y="28"/>
                  </a:lnTo>
                  <a:lnTo>
                    <a:pt x="305" y="26"/>
                  </a:lnTo>
                  <a:lnTo>
                    <a:pt x="305" y="23"/>
                  </a:lnTo>
                  <a:lnTo>
                    <a:pt x="303" y="21"/>
                  </a:lnTo>
                  <a:lnTo>
                    <a:pt x="300" y="18"/>
                  </a:lnTo>
                  <a:lnTo>
                    <a:pt x="297" y="15"/>
                  </a:lnTo>
                  <a:lnTo>
                    <a:pt x="295" y="15"/>
                  </a:lnTo>
                  <a:lnTo>
                    <a:pt x="292" y="13"/>
                  </a:lnTo>
                  <a:lnTo>
                    <a:pt x="290" y="10"/>
                  </a:lnTo>
                  <a:lnTo>
                    <a:pt x="287" y="10"/>
                  </a:lnTo>
                  <a:lnTo>
                    <a:pt x="285" y="8"/>
                  </a:lnTo>
                  <a:lnTo>
                    <a:pt x="282" y="8"/>
                  </a:lnTo>
                  <a:lnTo>
                    <a:pt x="280" y="5"/>
                  </a:lnTo>
                  <a:lnTo>
                    <a:pt x="274" y="5"/>
                  </a:lnTo>
                  <a:lnTo>
                    <a:pt x="272" y="3"/>
                  </a:lnTo>
                  <a:lnTo>
                    <a:pt x="269" y="3"/>
                  </a:lnTo>
                  <a:lnTo>
                    <a:pt x="267" y="3"/>
                  </a:lnTo>
                  <a:lnTo>
                    <a:pt x="262" y="0"/>
                  </a:lnTo>
                  <a:lnTo>
                    <a:pt x="259" y="0"/>
                  </a:lnTo>
                  <a:lnTo>
                    <a:pt x="254" y="0"/>
                  </a:lnTo>
                  <a:lnTo>
                    <a:pt x="251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81">
            <a:extLst>
              <a:ext uri="{FF2B5EF4-FFF2-40B4-BE49-F238E27FC236}">
                <a16:creationId xmlns:a16="http://schemas.microsoft.com/office/drawing/2014/main" id="{256D5CF1-27D4-40E6-8CA0-11FBA20FCC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7988" y="306388"/>
            <a:ext cx="758825" cy="758825"/>
            <a:chOff x="5057" y="193"/>
            <a:chExt cx="478" cy="478"/>
          </a:xfrm>
        </p:grpSpPr>
        <p:sp>
          <p:nvSpPr>
            <p:cNvPr id="94" name="AutoShape 80">
              <a:extLst>
                <a:ext uri="{FF2B5EF4-FFF2-40B4-BE49-F238E27FC236}">
                  <a16:creationId xmlns:a16="http://schemas.microsoft.com/office/drawing/2014/main" id="{40B6F50F-3DCD-4EE8-B58B-F35CAE5AAE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7" y="1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2">
              <a:extLst>
                <a:ext uri="{FF2B5EF4-FFF2-40B4-BE49-F238E27FC236}">
                  <a16:creationId xmlns:a16="http://schemas.microsoft.com/office/drawing/2014/main" id="{E4846004-B179-4D9B-8882-6847C01DC3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9" y="1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3">
              <a:extLst>
                <a:ext uri="{FF2B5EF4-FFF2-40B4-BE49-F238E27FC236}">
                  <a16:creationId xmlns:a16="http://schemas.microsoft.com/office/drawing/2014/main" id="{7C61CB61-1291-4118-A92E-779A60793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" y="289"/>
              <a:ext cx="304" cy="289"/>
            </a:xfrm>
            <a:custGeom>
              <a:avLst/>
              <a:gdLst>
                <a:gd name="T0" fmla="*/ 214 w 304"/>
                <a:gd name="T1" fmla="*/ 127 h 289"/>
                <a:gd name="T2" fmla="*/ 206 w 304"/>
                <a:gd name="T3" fmla="*/ 130 h 289"/>
                <a:gd name="T4" fmla="*/ 182 w 304"/>
                <a:gd name="T5" fmla="*/ 125 h 289"/>
                <a:gd name="T6" fmla="*/ 157 w 304"/>
                <a:gd name="T7" fmla="*/ 127 h 289"/>
                <a:gd name="T8" fmla="*/ 147 w 304"/>
                <a:gd name="T9" fmla="*/ 127 h 289"/>
                <a:gd name="T10" fmla="*/ 123 w 304"/>
                <a:gd name="T11" fmla="*/ 125 h 289"/>
                <a:gd name="T12" fmla="*/ 98 w 304"/>
                <a:gd name="T13" fmla="*/ 130 h 289"/>
                <a:gd name="T14" fmla="*/ 91 w 304"/>
                <a:gd name="T15" fmla="*/ 127 h 289"/>
                <a:gd name="T16" fmla="*/ 162 w 304"/>
                <a:gd name="T17" fmla="*/ 73 h 289"/>
                <a:gd name="T18" fmla="*/ 150 w 304"/>
                <a:gd name="T19" fmla="*/ 88 h 289"/>
                <a:gd name="T20" fmla="*/ 125 w 304"/>
                <a:gd name="T21" fmla="*/ 90 h 289"/>
                <a:gd name="T22" fmla="*/ 130 w 304"/>
                <a:gd name="T23" fmla="*/ 58 h 289"/>
                <a:gd name="T24" fmla="*/ 169 w 304"/>
                <a:gd name="T25" fmla="*/ 85 h 289"/>
                <a:gd name="T26" fmla="*/ 184 w 304"/>
                <a:gd name="T27" fmla="*/ 73 h 289"/>
                <a:gd name="T28" fmla="*/ 96 w 304"/>
                <a:gd name="T29" fmla="*/ 78 h 289"/>
                <a:gd name="T30" fmla="*/ 108 w 304"/>
                <a:gd name="T31" fmla="*/ 73 h 289"/>
                <a:gd name="T32" fmla="*/ 196 w 304"/>
                <a:gd name="T33" fmla="*/ 68 h 289"/>
                <a:gd name="T34" fmla="*/ 209 w 304"/>
                <a:gd name="T35" fmla="*/ 83 h 289"/>
                <a:gd name="T36" fmla="*/ 25 w 304"/>
                <a:gd name="T37" fmla="*/ 90 h 289"/>
                <a:gd name="T38" fmla="*/ 12 w 304"/>
                <a:gd name="T39" fmla="*/ 51 h 289"/>
                <a:gd name="T40" fmla="*/ 42 w 304"/>
                <a:gd name="T41" fmla="*/ 14 h 289"/>
                <a:gd name="T42" fmla="*/ 265 w 304"/>
                <a:gd name="T43" fmla="*/ 17 h 289"/>
                <a:gd name="T44" fmla="*/ 292 w 304"/>
                <a:gd name="T45" fmla="*/ 54 h 289"/>
                <a:gd name="T46" fmla="*/ 277 w 304"/>
                <a:gd name="T47" fmla="*/ 90 h 289"/>
                <a:gd name="T48" fmla="*/ 243 w 304"/>
                <a:gd name="T49" fmla="*/ 98 h 289"/>
                <a:gd name="T50" fmla="*/ 218 w 304"/>
                <a:gd name="T51" fmla="*/ 78 h 289"/>
                <a:gd name="T52" fmla="*/ 223 w 304"/>
                <a:gd name="T53" fmla="*/ 49 h 289"/>
                <a:gd name="T54" fmla="*/ 248 w 304"/>
                <a:gd name="T55" fmla="*/ 41 h 289"/>
                <a:gd name="T56" fmla="*/ 265 w 304"/>
                <a:gd name="T57" fmla="*/ 58 h 289"/>
                <a:gd name="T58" fmla="*/ 250 w 304"/>
                <a:gd name="T59" fmla="*/ 73 h 289"/>
                <a:gd name="T60" fmla="*/ 243 w 304"/>
                <a:gd name="T61" fmla="*/ 63 h 289"/>
                <a:gd name="T62" fmla="*/ 253 w 304"/>
                <a:gd name="T63" fmla="*/ 61 h 289"/>
                <a:gd name="T64" fmla="*/ 245 w 304"/>
                <a:gd name="T65" fmla="*/ 54 h 289"/>
                <a:gd name="T66" fmla="*/ 231 w 304"/>
                <a:gd name="T67" fmla="*/ 71 h 289"/>
                <a:gd name="T68" fmla="*/ 255 w 304"/>
                <a:gd name="T69" fmla="*/ 83 h 289"/>
                <a:gd name="T70" fmla="*/ 275 w 304"/>
                <a:gd name="T71" fmla="*/ 71 h 289"/>
                <a:gd name="T72" fmla="*/ 272 w 304"/>
                <a:gd name="T73" fmla="*/ 44 h 289"/>
                <a:gd name="T74" fmla="*/ 243 w 304"/>
                <a:gd name="T75" fmla="*/ 29 h 289"/>
                <a:gd name="T76" fmla="*/ 187 w 304"/>
                <a:gd name="T77" fmla="*/ 46 h 289"/>
                <a:gd name="T78" fmla="*/ 111 w 304"/>
                <a:gd name="T79" fmla="*/ 46 h 289"/>
                <a:gd name="T80" fmla="*/ 57 w 304"/>
                <a:gd name="T81" fmla="*/ 29 h 289"/>
                <a:gd name="T82" fmla="*/ 32 w 304"/>
                <a:gd name="T83" fmla="*/ 46 h 289"/>
                <a:gd name="T84" fmla="*/ 32 w 304"/>
                <a:gd name="T85" fmla="*/ 71 h 289"/>
                <a:gd name="T86" fmla="*/ 52 w 304"/>
                <a:gd name="T87" fmla="*/ 83 h 289"/>
                <a:gd name="T88" fmla="*/ 74 w 304"/>
                <a:gd name="T89" fmla="*/ 68 h 289"/>
                <a:gd name="T90" fmla="*/ 57 w 304"/>
                <a:gd name="T91" fmla="*/ 54 h 289"/>
                <a:gd name="T92" fmla="*/ 52 w 304"/>
                <a:gd name="T93" fmla="*/ 63 h 289"/>
                <a:gd name="T94" fmla="*/ 64 w 304"/>
                <a:gd name="T95" fmla="*/ 63 h 289"/>
                <a:gd name="T96" fmla="*/ 54 w 304"/>
                <a:gd name="T97" fmla="*/ 73 h 289"/>
                <a:gd name="T98" fmla="*/ 39 w 304"/>
                <a:gd name="T99" fmla="*/ 56 h 289"/>
                <a:gd name="T100" fmla="*/ 62 w 304"/>
                <a:gd name="T101" fmla="*/ 41 h 289"/>
                <a:gd name="T102" fmla="*/ 84 w 304"/>
                <a:gd name="T103" fmla="*/ 51 h 289"/>
                <a:gd name="T104" fmla="*/ 86 w 304"/>
                <a:gd name="T105" fmla="*/ 80 h 289"/>
                <a:gd name="T106" fmla="*/ 59 w 304"/>
                <a:gd name="T107" fmla="*/ 100 h 289"/>
                <a:gd name="T108" fmla="*/ 22 w 304"/>
                <a:gd name="T109" fmla="*/ 14 h 289"/>
                <a:gd name="T110" fmla="*/ 0 w 304"/>
                <a:gd name="T111" fmla="*/ 66 h 289"/>
                <a:gd name="T112" fmla="*/ 30 w 304"/>
                <a:gd name="T113" fmla="*/ 105 h 289"/>
                <a:gd name="T114" fmla="*/ 253 w 304"/>
                <a:gd name="T115" fmla="*/ 110 h 289"/>
                <a:gd name="T116" fmla="*/ 294 w 304"/>
                <a:gd name="T117" fmla="*/ 88 h 289"/>
                <a:gd name="T118" fmla="*/ 299 w 304"/>
                <a:gd name="T119" fmla="*/ 34 h 289"/>
                <a:gd name="T120" fmla="*/ 250 w 304"/>
                <a:gd name="T121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4" h="289">
                  <a:moveTo>
                    <a:pt x="74" y="105"/>
                  </a:moveTo>
                  <a:lnTo>
                    <a:pt x="76" y="105"/>
                  </a:lnTo>
                  <a:lnTo>
                    <a:pt x="79" y="103"/>
                  </a:lnTo>
                  <a:lnTo>
                    <a:pt x="81" y="103"/>
                  </a:lnTo>
                  <a:lnTo>
                    <a:pt x="84" y="100"/>
                  </a:lnTo>
                  <a:lnTo>
                    <a:pt x="221" y="100"/>
                  </a:lnTo>
                  <a:lnTo>
                    <a:pt x="223" y="103"/>
                  </a:lnTo>
                  <a:lnTo>
                    <a:pt x="226" y="103"/>
                  </a:lnTo>
                  <a:lnTo>
                    <a:pt x="228" y="105"/>
                  </a:lnTo>
                  <a:lnTo>
                    <a:pt x="231" y="105"/>
                  </a:lnTo>
                  <a:lnTo>
                    <a:pt x="231" y="279"/>
                  </a:lnTo>
                  <a:lnTo>
                    <a:pt x="216" y="279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6" y="127"/>
                  </a:lnTo>
                  <a:lnTo>
                    <a:pt x="216" y="127"/>
                  </a:lnTo>
                  <a:lnTo>
                    <a:pt x="214" y="127"/>
                  </a:lnTo>
                  <a:lnTo>
                    <a:pt x="214" y="127"/>
                  </a:lnTo>
                  <a:lnTo>
                    <a:pt x="214" y="127"/>
                  </a:lnTo>
                  <a:lnTo>
                    <a:pt x="214" y="125"/>
                  </a:lnTo>
                  <a:lnTo>
                    <a:pt x="211" y="125"/>
                  </a:lnTo>
                  <a:lnTo>
                    <a:pt x="211" y="125"/>
                  </a:lnTo>
                  <a:lnTo>
                    <a:pt x="211" y="125"/>
                  </a:lnTo>
                  <a:lnTo>
                    <a:pt x="211" y="125"/>
                  </a:lnTo>
                  <a:lnTo>
                    <a:pt x="211" y="125"/>
                  </a:lnTo>
                  <a:lnTo>
                    <a:pt x="209" y="125"/>
                  </a:lnTo>
                  <a:lnTo>
                    <a:pt x="209" y="125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06" y="127"/>
                  </a:lnTo>
                  <a:lnTo>
                    <a:pt x="206" y="127"/>
                  </a:lnTo>
                  <a:lnTo>
                    <a:pt x="206" y="127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130"/>
                  </a:lnTo>
                  <a:lnTo>
                    <a:pt x="206" y="279"/>
                  </a:lnTo>
                  <a:lnTo>
                    <a:pt x="189" y="279"/>
                  </a:lnTo>
                  <a:lnTo>
                    <a:pt x="189" y="130"/>
                  </a:lnTo>
                  <a:lnTo>
                    <a:pt x="189" y="130"/>
                  </a:lnTo>
                  <a:lnTo>
                    <a:pt x="189" y="130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7" y="127"/>
                  </a:lnTo>
                  <a:lnTo>
                    <a:pt x="184" y="127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79" y="125"/>
                  </a:lnTo>
                  <a:lnTo>
                    <a:pt x="179" y="127"/>
                  </a:lnTo>
                  <a:lnTo>
                    <a:pt x="179" y="127"/>
                  </a:lnTo>
                  <a:lnTo>
                    <a:pt x="179" y="127"/>
                  </a:lnTo>
                  <a:lnTo>
                    <a:pt x="179" y="127"/>
                  </a:lnTo>
                  <a:lnTo>
                    <a:pt x="177" y="127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279"/>
                  </a:lnTo>
                  <a:lnTo>
                    <a:pt x="157" y="279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5" y="127"/>
                  </a:lnTo>
                  <a:lnTo>
                    <a:pt x="155" y="127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2" y="125"/>
                  </a:lnTo>
                  <a:lnTo>
                    <a:pt x="152" y="125"/>
                  </a:lnTo>
                  <a:lnTo>
                    <a:pt x="152" y="125"/>
                  </a:lnTo>
                  <a:lnTo>
                    <a:pt x="152" y="125"/>
                  </a:lnTo>
                  <a:lnTo>
                    <a:pt x="152" y="125"/>
                  </a:lnTo>
                  <a:lnTo>
                    <a:pt x="150" y="125"/>
                  </a:lnTo>
                  <a:lnTo>
                    <a:pt x="150" y="125"/>
                  </a:lnTo>
                  <a:lnTo>
                    <a:pt x="150" y="127"/>
                  </a:lnTo>
                  <a:lnTo>
                    <a:pt x="150" y="127"/>
                  </a:lnTo>
                  <a:lnTo>
                    <a:pt x="147" y="127"/>
                  </a:lnTo>
                  <a:lnTo>
                    <a:pt x="147" y="127"/>
                  </a:lnTo>
                  <a:lnTo>
                    <a:pt x="147" y="127"/>
                  </a:lnTo>
                  <a:lnTo>
                    <a:pt x="147" y="130"/>
                  </a:lnTo>
                  <a:lnTo>
                    <a:pt x="147" y="130"/>
                  </a:lnTo>
                  <a:lnTo>
                    <a:pt x="147" y="130"/>
                  </a:lnTo>
                  <a:lnTo>
                    <a:pt x="147" y="130"/>
                  </a:lnTo>
                  <a:lnTo>
                    <a:pt x="147" y="130"/>
                  </a:lnTo>
                  <a:lnTo>
                    <a:pt x="147" y="279"/>
                  </a:lnTo>
                  <a:lnTo>
                    <a:pt x="128" y="279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27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3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8" y="130"/>
                  </a:lnTo>
                  <a:lnTo>
                    <a:pt x="118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279"/>
                  </a:lnTo>
                  <a:lnTo>
                    <a:pt x="98" y="279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6" y="127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1" y="125"/>
                  </a:lnTo>
                  <a:lnTo>
                    <a:pt x="91" y="127"/>
                  </a:lnTo>
                  <a:lnTo>
                    <a:pt x="91" y="127"/>
                  </a:lnTo>
                  <a:lnTo>
                    <a:pt x="91" y="127"/>
                  </a:lnTo>
                  <a:lnTo>
                    <a:pt x="91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279"/>
                  </a:lnTo>
                  <a:lnTo>
                    <a:pt x="74" y="279"/>
                  </a:lnTo>
                  <a:lnTo>
                    <a:pt x="74" y="105"/>
                  </a:lnTo>
                  <a:close/>
                  <a:moveTo>
                    <a:pt x="157" y="61"/>
                  </a:moveTo>
                  <a:lnTo>
                    <a:pt x="164" y="61"/>
                  </a:lnTo>
                  <a:lnTo>
                    <a:pt x="164" y="61"/>
                  </a:lnTo>
                  <a:lnTo>
                    <a:pt x="164" y="63"/>
                  </a:lnTo>
                  <a:lnTo>
                    <a:pt x="164" y="66"/>
                  </a:lnTo>
                  <a:lnTo>
                    <a:pt x="164" y="68"/>
                  </a:lnTo>
                  <a:lnTo>
                    <a:pt x="162" y="71"/>
                  </a:lnTo>
                  <a:lnTo>
                    <a:pt x="162" y="73"/>
                  </a:lnTo>
                  <a:lnTo>
                    <a:pt x="162" y="76"/>
                  </a:lnTo>
                  <a:lnTo>
                    <a:pt x="162" y="78"/>
                  </a:lnTo>
                  <a:lnTo>
                    <a:pt x="160" y="80"/>
                  </a:lnTo>
                  <a:lnTo>
                    <a:pt x="160" y="83"/>
                  </a:lnTo>
                  <a:lnTo>
                    <a:pt x="160" y="85"/>
                  </a:lnTo>
                  <a:lnTo>
                    <a:pt x="157" y="85"/>
                  </a:lnTo>
                  <a:lnTo>
                    <a:pt x="157" y="85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47" y="88"/>
                  </a:lnTo>
                  <a:lnTo>
                    <a:pt x="147" y="88"/>
                  </a:lnTo>
                  <a:lnTo>
                    <a:pt x="147" y="85"/>
                  </a:lnTo>
                  <a:lnTo>
                    <a:pt x="147" y="85"/>
                  </a:lnTo>
                  <a:lnTo>
                    <a:pt x="145" y="85"/>
                  </a:lnTo>
                  <a:lnTo>
                    <a:pt x="145" y="83"/>
                  </a:lnTo>
                  <a:lnTo>
                    <a:pt x="145" y="80"/>
                  </a:lnTo>
                  <a:lnTo>
                    <a:pt x="142" y="78"/>
                  </a:lnTo>
                  <a:lnTo>
                    <a:pt x="142" y="76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0" y="68"/>
                  </a:lnTo>
                  <a:lnTo>
                    <a:pt x="140" y="66"/>
                  </a:lnTo>
                  <a:lnTo>
                    <a:pt x="140" y="63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47" y="61"/>
                  </a:lnTo>
                  <a:lnTo>
                    <a:pt x="152" y="61"/>
                  </a:lnTo>
                  <a:lnTo>
                    <a:pt x="157" y="61"/>
                  </a:lnTo>
                  <a:close/>
                  <a:moveTo>
                    <a:pt x="125" y="90"/>
                  </a:moveTo>
                  <a:lnTo>
                    <a:pt x="125" y="90"/>
                  </a:lnTo>
                  <a:lnTo>
                    <a:pt x="125" y="90"/>
                  </a:lnTo>
                  <a:lnTo>
                    <a:pt x="125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3"/>
                  </a:lnTo>
                  <a:lnTo>
                    <a:pt x="120" y="80"/>
                  </a:lnTo>
                  <a:lnTo>
                    <a:pt x="120" y="78"/>
                  </a:lnTo>
                  <a:lnTo>
                    <a:pt x="120" y="76"/>
                  </a:lnTo>
                  <a:lnTo>
                    <a:pt x="120" y="73"/>
                  </a:lnTo>
                  <a:lnTo>
                    <a:pt x="118" y="71"/>
                  </a:lnTo>
                  <a:lnTo>
                    <a:pt x="118" y="63"/>
                  </a:lnTo>
                  <a:lnTo>
                    <a:pt x="118" y="61"/>
                  </a:lnTo>
                  <a:lnTo>
                    <a:pt x="118" y="58"/>
                  </a:lnTo>
                  <a:lnTo>
                    <a:pt x="120" y="58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30" y="58"/>
                  </a:lnTo>
                  <a:lnTo>
                    <a:pt x="130" y="63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30" y="68"/>
                  </a:lnTo>
                  <a:lnTo>
                    <a:pt x="130" y="71"/>
                  </a:lnTo>
                  <a:lnTo>
                    <a:pt x="130" y="73"/>
                  </a:lnTo>
                  <a:lnTo>
                    <a:pt x="130" y="76"/>
                  </a:lnTo>
                  <a:lnTo>
                    <a:pt x="133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8" y="90"/>
                  </a:lnTo>
                  <a:lnTo>
                    <a:pt x="125" y="90"/>
                  </a:lnTo>
                  <a:lnTo>
                    <a:pt x="125" y="90"/>
                  </a:lnTo>
                  <a:close/>
                  <a:moveTo>
                    <a:pt x="169" y="88"/>
                  </a:moveTo>
                  <a:lnTo>
                    <a:pt x="169" y="88"/>
                  </a:lnTo>
                  <a:lnTo>
                    <a:pt x="169" y="85"/>
                  </a:lnTo>
                  <a:lnTo>
                    <a:pt x="172" y="83"/>
                  </a:lnTo>
                  <a:lnTo>
                    <a:pt x="172" y="80"/>
                  </a:lnTo>
                  <a:lnTo>
                    <a:pt x="172" y="78"/>
                  </a:lnTo>
                  <a:lnTo>
                    <a:pt x="172" y="78"/>
                  </a:lnTo>
                  <a:lnTo>
                    <a:pt x="174" y="76"/>
                  </a:lnTo>
                  <a:lnTo>
                    <a:pt x="174" y="73"/>
                  </a:lnTo>
                  <a:lnTo>
                    <a:pt x="174" y="71"/>
                  </a:lnTo>
                  <a:lnTo>
                    <a:pt x="174" y="68"/>
                  </a:lnTo>
                  <a:lnTo>
                    <a:pt x="174" y="66"/>
                  </a:lnTo>
                  <a:lnTo>
                    <a:pt x="174" y="66"/>
                  </a:lnTo>
                  <a:lnTo>
                    <a:pt x="174" y="63"/>
                  </a:lnTo>
                  <a:lnTo>
                    <a:pt x="174" y="58"/>
                  </a:lnTo>
                  <a:lnTo>
                    <a:pt x="177" y="58"/>
                  </a:lnTo>
                  <a:lnTo>
                    <a:pt x="182" y="58"/>
                  </a:lnTo>
                  <a:lnTo>
                    <a:pt x="184" y="58"/>
                  </a:lnTo>
                  <a:lnTo>
                    <a:pt x="187" y="58"/>
                  </a:lnTo>
                  <a:lnTo>
                    <a:pt x="187" y="61"/>
                  </a:lnTo>
                  <a:lnTo>
                    <a:pt x="187" y="63"/>
                  </a:lnTo>
                  <a:lnTo>
                    <a:pt x="187" y="71"/>
                  </a:lnTo>
                  <a:lnTo>
                    <a:pt x="184" y="73"/>
                  </a:lnTo>
                  <a:lnTo>
                    <a:pt x="184" y="76"/>
                  </a:lnTo>
                  <a:lnTo>
                    <a:pt x="184" y="78"/>
                  </a:lnTo>
                  <a:lnTo>
                    <a:pt x="184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9" y="90"/>
                  </a:lnTo>
                  <a:lnTo>
                    <a:pt x="179" y="90"/>
                  </a:lnTo>
                  <a:lnTo>
                    <a:pt x="179" y="90"/>
                  </a:lnTo>
                  <a:lnTo>
                    <a:pt x="167" y="90"/>
                  </a:lnTo>
                  <a:lnTo>
                    <a:pt x="169" y="88"/>
                  </a:lnTo>
                  <a:close/>
                  <a:moveTo>
                    <a:pt x="93" y="88"/>
                  </a:moveTo>
                  <a:lnTo>
                    <a:pt x="93" y="85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8"/>
                  </a:lnTo>
                  <a:lnTo>
                    <a:pt x="98" y="76"/>
                  </a:lnTo>
                  <a:lnTo>
                    <a:pt x="98" y="73"/>
                  </a:lnTo>
                  <a:lnTo>
                    <a:pt x="98" y="71"/>
                  </a:lnTo>
                  <a:lnTo>
                    <a:pt x="98" y="68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98" y="61"/>
                  </a:lnTo>
                  <a:lnTo>
                    <a:pt x="98" y="58"/>
                  </a:lnTo>
                  <a:lnTo>
                    <a:pt x="96" y="56"/>
                  </a:lnTo>
                  <a:lnTo>
                    <a:pt x="96" y="54"/>
                  </a:lnTo>
                  <a:lnTo>
                    <a:pt x="96" y="51"/>
                  </a:lnTo>
                  <a:lnTo>
                    <a:pt x="98" y="54"/>
                  </a:lnTo>
                  <a:lnTo>
                    <a:pt x="101" y="54"/>
                  </a:lnTo>
                  <a:lnTo>
                    <a:pt x="103" y="56"/>
                  </a:lnTo>
                  <a:lnTo>
                    <a:pt x="106" y="56"/>
                  </a:lnTo>
                  <a:lnTo>
                    <a:pt x="106" y="58"/>
                  </a:lnTo>
                  <a:lnTo>
                    <a:pt x="108" y="63"/>
                  </a:lnTo>
                  <a:lnTo>
                    <a:pt x="108" y="68"/>
                  </a:lnTo>
                  <a:lnTo>
                    <a:pt x="108" y="71"/>
                  </a:lnTo>
                  <a:lnTo>
                    <a:pt x="108" y="73"/>
                  </a:lnTo>
                  <a:lnTo>
                    <a:pt x="108" y="76"/>
                  </a:lnTo>
                  <a:lnTo>
                    <a:pt x="108" y="78"/>
                  </a:lnTo>
                  <a:lnTo>
                    <a:pt x="111" y="80"/>
                  </a:lnTo>
                  <a:lnTo>
                    <a:pt x="111" y="83"/>
                  </a:lnTo>
                  <a:lnTo>
                    <a:pt x="111" y="85"/>
                  </a:lnTo>
                  <a:lnTo>
                    <a:pt x="113" y="85"/>
                  </a:lnTo>
                  <a:lnTo>
                    <a:pt x="113" y="88"/>
                  </a:lnTo>
                  <a:lnTo>
                    <a:pt x="113" y="90"/>
                  </a:lnTo>
                  <a:lnTo>
                    <a:pt x="91" y="90"/>
                  </a:lnTo>
                  <a:lnTo>
                    <a:pt x="93" y="88"/>
                  </a:lnTo>
                  <a:close/>
                  <a:moveTo>
                    <a:pt x="191" y="88"/>
                  </a:moveTo>
                  <a:lnTo>
                    <a:pt x="194" y="85"/>
                  </a:lnTo>
                  <a:lnTo>
                    <a:pt x="194" y="85"/>
                  </a:lnTo>
                  <a:lnTo>
                    <a:pt x="194" y="83"/>
                  </a:lnTo>
                  <a:lnTo>
                    <a:pt x="194" y="80"/>
                  </a:lnTo>
                  <a:lnTo>
                    <a:pt x="196" y="78"/>
                  </a:lnTo>
                  <a:lnTo>
                    <a:pt x="196" y="76"/>
                  </a:lnTo>
                  <a:lnTo>
                    <a:pt x="196" y="73"/>
                  </a:lnTo>
                  <a:lnTo>
                    <a:pt x="196" y="71"/>
                  </a:lnTo>
                  <a:lnTo>
                    <a:pt x="196" y="68"/>
                  </a:lnTo>
                  <a:lnTo>
                    <a:pt x="196" y="63"/>
                  </a:lnTo>
                  <a:lnTo>
                    <a:pt x="196" y="58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4" y="54"/>
                  </a:lnTo>
                  <a:lnTo>
                    <a:pt x="206" y="54"/>
                  </a:lnTo>
                  <a:lnTo>
                    <a:pt x="209" y="51"/>
                  </a:lnTo>
                  <a:lnTo>
                    <a:pt x="209" y="54"/>
                  </a:lnTo>
                  <a:lnTo>
                    <a:pt x="209" y="56"/>
                  </a:lnTo>
                  <a:lnTo>
                    <a:pt x="206" y="58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6"/>
                  </a:lnTo>
                  <a:lnTo>
                    <a:pt x="206" y="68"/>
                  </a:lnTo>
                  <a:lnTo>
                    <a:pt x="206" y="71"/>
                  </a:lnTo>
                  <a:lnTo>
                    <a:pt x="206" y="73"/>
                  </a:lnTo>
                  <a:lnTo>
                    <a:pt x="206" y="76"/>
                  </a:lnTo>
                  <a:lnTo>
                    <a:pt x="209" y="78"/>
                  </a:lnTo>
                  <a:lnTo>
                    <a:pt x="209" y="80"/>
                  </a:lnTo>
                  <a:lnTo>
                    <a:pt x="209" y="83"/>
                  </a:lnTo>
                  <a:lnTo>
                    <a:pt x="211" y="85"/>
                  </a:lnTo>
                  <a:lnTo>
                    <a:pt x="211" y="88"/>
                  </a:lnTo>
                  <a:lnTo>
                    <a:pt x="214" y="90"/>
                  </a:lnTo>
                  <a:lnTo>
                    <a:pt x="191" y="90"/>
                  </a:lnTo>
                  <a:lnTo>
                    <a:pt x="191" y="88"/>
                  </a:lnTo>
                  <a:close/>
                  <a:moveTo>
                    <a:pt x="49" y="100"/>
                  </a:moveTo>
                  <a:lnTo>
                    <a:pt x="47" y="100"/>
                  </a:lnTo>
                  <a:lnTo>
                    <a:pt x="44" y="100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5"/>
                  </a:lnTo>
                  <a:lnTo>
                    <a:pt x="35" y="95"/>
                  </a:lnTo>
                  <a:lnTo>
                    <a:pt x="32" y="95"/>
                  </a:lnTo>
                  <a:lnTo>
                    <a:pt x="32" y="93"/>
                  </a:lnTo>
                  <a:lnTo>
                    <a:pt x="30" y="93"/>
                  </a:lnTo>
                  <a:lnTo>
                    <a:pt x="27" y="93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2" y="88"/>
                  </a:lnTo>
                  <a:lnTo>
                    <a:pt x="20" y="85"/>
                  </a:lnTo>
                  <a:lnTo>
                    <a:pt x="20" y="83"/>
                  </a:lnTo>
                  <a:lnTo>
                    <a:pt x="17" y="83"/>
                  </a:lnTo>
                  <a:lnTo>
                    <a:pt x="17" y="80"/>
                  </a:lnTo>
                  <a:lnTo>
                    <a:pt x="17" y="78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3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2" y="49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5" y="41"/>
                  </a:lnTo>
                  <a:lnTo>
                    <a:pt x="15" y="39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20" y="34"/>
                  </a:lnTo>
                  <a:lnTo>
                    <a:pt x="20" y="31"/>
                  </a:lnTo>
                  <a:lnTo>
                    <a:pt x="22" y="29"/>
                  </a:lnTo>
                  <a:lnTo>
                    <a:pt x="25" y="27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30" y="22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9" y="17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2" y="12"/>
                  </a:lnTo>
                  <a:lnTo>
                    <a:pt x="57" y="12"/>
                  </a:lnTo>
                  <a:lnTo>
                    <a:pt x="59" y="12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238" y="9"/>
                  </a:lnTo>
                  <a:lnTo>
                    <a:pt x="240" y="9"/>
                  </a:lnTo>
                  <a:lnTo>
                    <a:pt x="243" y="9"/>
                  </a:lnTo>
                  <a:lnTo>
                    <a:pt x="245" y="12"/>
                  </a:lnTo>
                  <a:lnTo>
                    <a:pt x="248" y="12"/>
                  </a:lnTo>
                  <a:lnTo>
                    <a:pt x="253" y="12"/>
                  </a:lnTo>
                  <a:lnTo>
                    <a:pt x="255" y="12"/>
                  </a:lnTo>
                  <a:lnTo>
                    <a:pt x="258" y="12"/>
                  </a:lnTo>
                  <a:lnTo>
                    <a:pt x="260" y="14"/>
                  </a:lnTo>
                  <a:lnTo>
                    <a:pt x="263" y="14"/>
                  </a:lnTo>
                  <a:lnTo>
                    <a:pt x="265" y="17"/>
                  </a:lnTo>
                  <a:lnTo>
                    <a:pt x="267" y="17"/>
                  </a:lnTo>
                  <a:lnTo>
                    <a:pt x="270" y="17"/>
                  </a:lnTo>
                  <a:lnTo>
                    <a:pt x="272" y="19"/>
                  </a:lnTo>
                  <a:lnTo>
                    <a:pt x="272" y="19"/>
                  </a:lnTo>
                  <a:lnTo>
                    <a:pt x="275" y="22"/>
                  </a:lnTo>
                  <a:lnTo>
                    <a:pt x="277" y="24"/>
                  </a:lnTo>
                  <a:lnTo>
                    <a:pt x="280" y="24"/>
                  </a:lnTo>
                  <a:lnTo>
                    <a:pt x="280" y="27"/>
                  </a:lnTo>
                  <a:lnTo>
                    <a:pt x="282" y="29"/>
                  </a:lnTo>
                  <a:lnTo>
                    <a:pt x="285" y="31"/>
                  </a:lnTo>
                  <a:lnTo>
                    <a:pt x="285" y="34"/>
                  </a:lnTo>
                  <a:lnTo>
                    <a:pt x="287" y="34"/>
                  </a:lnTo>
                  <a:lnTo>
                    <a:pt x="287" y="36"/>
                  </a:lnTo>
                  <a:lnTo>
                    <a:pt x="290" y="39"/>
                  </a:lnTo>
                  <a:lnTo>
                    <a:pt x="290" y="41"/>
                  </a:lnTo>
                  <a:lnTo>
                    <a:pt x="292" y="44"/>
                  </a:lnTo>
                  <a:lnTo>
                    <a:pt x="292" y="46"/>
                  </a:lnTo>
                  <a:lnTo>
                    <a:pt x="292" y="49"/>
                  </a:lnTo>
                  <a:lnTo>
                    <a:pt x="292" y="51"/>
                  </a:lnTo>
                  <a:lnTo>
                    <a:pt x="292" y="54"/>
                  </a:lnTo>
                  <a:lnTo>
                    <a:pt x="292" y="56"/>
                  </a:lnTo>
                  <a:lnTo>
                    <a:pt x="292" y="58"/>
                  </a:lnTo>
                  <a:lnTo>
                    <a:pt x="292" y="61"/>
                  </a:lnTo>
                  <a:lnTo>
                    <a:pt x="292" y="63"/>
                  </a:lnTo>
                  <a:lnTo>
                    <a:pt x="292" y="66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71"/>
                  </a:lnTo>
                  <a:lnTo>
                    <a:pt x="290" y="73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87" y="78"/>
                  </a:lnTo>
                  <a:lnTo>
                    <a:pt x="287" y="80"/>
                  </a:lnTo>
                  <a:lnTo>
                    <a:pt x="287" y="83"/>
                  </a:lnTo>
                  <a:lnTo>
                    <a:pt x="285" y="83"/>
                  </a:lnTo>
                  <a:lnTo>
                    <a:pt x="285" y="85"/>
                  </a:lnTo>
                  <a:lnTo>
                    <a:pt x="282" y="88"/>
                  </a:lnTo>
                  <a:lnTo>
                    <a:pt x="280" y="88"/>
                  </a:lnTo>
                  <a:lnTo>
                    <a:pt x="280" y="90"/>
                  </a:lnTo>
                  <a:lnTo>
                    <a:pt x="277" y="90"/>
                  </a:lnTo>
                  <a:lnTo>
                    <a:pt x="277" y="93"/>
                  </a:lnTo>
                  <a:lnTo>
                    <a:pt x="275" y="93"/>
                  </a:lnTo>
                  <a:lnTo>
                    <a:pt x="272" y="93"/>
                  </a:lnTo>
                  <a:lnTo>
                    <a:pt x="272" y="95"/>
                  </a:lnTo>
                  <a:lnTo>
                    <a:pt x="270" y="95"/>
                  </a:lnTo>
                  <a:lnTo>
                    <a:pt x="267" y="95"/>
                  </a:lnTo>
                  <a:lnTo>
                    <a:pt x="267" y="98"/>
                  </a:lnTo>
                  <a:lnTo>
                    <a:pt x="265" y="98"/>
                  </a:lnTo>
                  <a:lnTo>
                    <a:pt x="263" y="98"/>
                  </a:lnTo>
                  <a:lnTo>
                    <a:pt x="260" y="98"/>
                  </a:lnTo>
                  <a:lnTo>
                    <a:pt x="260" y="100"/>
                  </a:lnTo>
                  <a:lnTo>
                    <a:pt x="258" y="100"/>
                  </a:lnTo>
                  <a:lnTo>
                    <a:pt x="255" y="100"/>
                  </a:lnTo>
                  <a:lnTo>
                    <a:pt x="253" y="100"/>
                  </a:lnTo>
                  <a:lnTo>
                    <a:pt x="250" y="100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45" y="100"/>
                  </a:lnTo>
                  <a:lnTo>
                    <a:pt x="243" y="100"/>
                  </a:lnTo>
                  <a:lnTo>
                    <a:pt x="243" y="98"/>
                  </a:lnTo>
                  <a:lnTo>
                    <a:pt x="240" y="98"/>
                  </a:lnTo>
                  <a:lnTo>
                    <a:pt x="238" y="98"/>
                  </a:lnTo>
                  <a:lnTo>
                    <a:pt x="238" y="98"/>
                  </a:lnTo>
                  <a:lnTo>
                    <a:pt x="236" y="95"/>
                  </a:lnTo>
                  <a:lnTo>
                    <a:pt x="233" y="95"/>
                  </a:lnTo>
                  <a:lnTo>
                    <a:pt x="231" y="95"/>
                  </a:lnTo>
                  <a:lnTo>
                    <a:pt x="231" y="93"/>
                  </a:lnTo>
                  <a:lnTo>
                    <a:pt x="228" y="93"/>
                  </a:lnTo>
                  <a:lnTo>
                    <a:pt x="228" y="90"/>
                  </a:lnTo>
                  <a:lnTo>
                    <a:pt x="226" y="90"/>
                  </a:lnTo>
                  <a:lnTo>
                    <a:pt x="226" y="90"/>
                  </a:lnTo>
                  <a:lnTo>
                    <a:pt x="223" y="88"/>
                  </a:lnTo>
                  <a:lnTo>
                    <a:pt x="223" y="88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8" y="80"/>
                  </a:lnTo>
                  <a:lnTo>
                    <a:pt x="218" y="78"/>
                  </a:lnTo>
                  <a:lnTo>
                    <a:pt x="218" y="78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8" y="73"/>
                  </a:lnTo>
                  <a:lnTo>
                    <a:pt x="218" y="71"/>
                  </a:lnTo>
                  <a:lnTo>
                    <a:pt x="216" y="71"/>
                  </a:lnTo>
                  <a:lnTo>
                    <a:pt x="216" y="68"/>
                  </a:lnTo>
                  <a:lnTo>
                    <a:pt x="216" y="66"/>
                  </a:lnTo>
                  <a:lnTo>
                    <a:pt x="216" y="66"/>
                  </a:lnTo>
                  <a:lnTo>
                    <a:pt x="216" y="63"/>
                  </a:lnTo>
                  <a:lnTo>
                    <a:pt x="218" y="63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58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21" y="54"/>
                  </a:lnTo>
                  <a:lnTo>
                    <a:pt x="221" y="54"/>
                  </a:lnTo>
                  <a:lnTo>
                    <a:pt x="221" y="51"/>
                  </a:lnTo>
                  <a:lnTo>
                    <a:pt x="223" y="51"/>
                  </a:lnTo>
                  <a:lnTo>
                    <a:pt x="223" y="49"/>
                  </a:lnTo>
                  <a:lnTo>
                    <a:pt x="223" y="49"/>
                  </a:lnTo>
                  <a:lnTo>
                    <a:pt x="226" y="46"/>
                  </a:lnTo>
                  <a:lnTo>
                    <a:pt x="226" y="46"/>
                  </a:lnTo>
                  <a:lnTo>
                    <a:pt x="226" y="46"/>
                  </a:lnTo>
                  <a:lnTo>
                    <a:pt x="228" y="46"/>
                  </a:lnTo>
                  <a:lnTo>
                    <a:pt x="228" y="44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33" y="41"/>
                  </a:lnTo>
                  <a:lnTo>
                    <a:pt x="233" y="41"/>
                  </a:lnTo>
                  <a:lnTo>
                    <a:pt x="236" y="41"/>
                  </a:lnTo>
                  <a:lnTo>
                    <a:pt x="236" y="41"/>
                  </a:lnTo>
                  <a:lnTo>
                    <a:pt x="238" y="41"/>
                  </a:lnTo>
                  <a:lnTo>
                    <a:pt x="238" y="41"/>
                  </a:lnTo>
                  <a:lnTo>
                    <a:pt x="240" y="41"/>
                  </a:lnTo>
                  <a:lnTo>
                    <a:pt x="240" y="41"/>
                  </a:lnTo>
                  <a:lnTo>
                    <a:pt x="243" y="41"/>
                  </a:lnTo>
                  <a:lnTo>
                    <a:pt x="245" y="41"/>
                  </a:lnTo>
                  <a:lnTo>
                    <a:pt x="248" y="41"/>
                  </a:lnTo>
                  <a:lnTo>
                    <a:pt x="248" y="41"/>
                  </a:lnTo>
                  <a:lnTo>
                    <a:pt x="250" y="41"/>
                  </a:lnTo>
                  <a:lnTo>
                    <a:pt x="250" y="41"/>
                  </a:lnTo>
                  <a:lnTo>
                    <a:pt x="253" y="41"/>
                  </a:lnTo>
                  <a:lnTo>
                    <a:pt x="253" y="41"/>
                  </a:lnTo>
                  <a:lnTo>
                    <a:pt x="253" y="41"/>
                  </a:lnTo>
                  <a:lnTo>
                    <a:pt x="255" y="44"/>
                  </a:lnTo>
                  <a:lnTo>
                    <a:pt x="255" y="44"/>
                  </a:lnTo>
                  <a:lnTo>
                    <a:pt x="258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0" y="46"/>
                  </a:lnTo>
                  <a:lnTo>
                    <a:pt x="263" y="49"/>
                  </a:lnTo>
                  <a:lnTo>
                    <a:pt x="263" y="51"/>
                  </a:lnTo>
                  <a:lnTo>
                    <a:pt x="265" y="51"/>
                  </a:lnTo>
                  <a:lnTo>
                    <a:pt x="26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65" y="58"/>
                  </a:lnTo>
                  <a:lnTo>
                    <a:pt x="265" y="61"/>
                  </a:lnTo>
                  <a:lnTo>
                    <a:pt x="265" y="61"/>
                  </a:lnTo>
                  <a:lnTo>
                    <a:pt x="265" y="63"/>
                  </a:lnTo>
                  <a:lnTo>
                    <a:pt x="265" y="63"/>
                  </a:lnTo>
                  <a:lnTo>
                    <a:pt x="263" y="66"/>
                  </a:lnTo>
                  <a:lnTo>
                    <a:pt x="263" y="66"/>
                  </a:lnTo>
                  <a:lnTo>
                    <a:pt x="263" y="68"/>
                  </a:lnTo>
                  <a:lnTo>
                    <a:pt x="260" y="68"/>
                  </a:lnTo>
                  <a:lnTo>
                    <a:pt x="260" y="71"/>
                  </a:lnTo>
                  <a:lnTo>
                    <a:pt x="260" y="71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55" y="73"/>
                  </a:lnTo>
                  <a:lnTo>
                    <a:pt x="255" y="73"/>
                  </a:lnTo>
                  <a:lnTo>
                    <a:pt x="253" y="73"/>
                  </a:lnTo>
                  <a:lnTo>
                    <a:pt x="253" y="73"/>
                  </a:lnTo>
                  <a:lnTo>
                    <a:pt x="250" y="73"/>
                  </a:lnTo>
                  <a:lnTo>
                    <a:pt x="250" y="73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3"/>
                  </a:lnTo>
                  <a:lnTo>
                    <a:pt x="245" y="73"/>
                  </a:lnTo>
                  <a:lnTo>
                    <a:pt x="245" y="71"/>
                  </a:lnTo>
                  <a:lnTo>
                    <a:pt x="245" y="71"/>
                  </a:lnTo>
                  <a:lnTo>
                    <a:pt x="243" y="71"/>
                  </a:lnTo>
                  <a:lnTo>
                    <a:pt x="243" y="71"/>
                  </a:lnTo>
                  <a:lnTo>
                    <a:pt x="243" y="71"/>
                  </a:lnTo>
                  <a:lnTo>
                    <a:pt x="243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8" y="63"/>
                  </a:lnTo>
                  <a:lnTo>
                    <a:pt x="248" y="63"/>
                  </a:lnTo>
                  <a:lnTo>
                    <a:pt x="248" y="63"/>
                  </a:lnTo>
                  <a:lnTo>
                    <a:pt x="248" y="63"/>
                  </a:lnTo>
                  <a:lnTo>
                    <a:pt x="250" y="63"/>
                  </a:lnTo>
                  <a:lnTo>
                    <a:pt x="250" y="63"/>
                  </a:lnTo>
                  <a:lnTo>
                    <a:pt x="250" y="63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3" y="61"/>
                  </a:lnTo>
                  <a:lnTo>
                    <a:pt x="253" y="61"/>
                  </a:lnTo>
                  <a:lnTo>
                    <a:pt x="253" y="61"/>
                  </a:lnTo>
                  <a:lnTo>
                    <a:pt x="253" y="61"/>
                  </a:lnTo>
                  <a:lnTo>
                    <a:pt x="255" y="61"/>
                  </a:lnTo>
                  <a:lnTo>
                    <a:pt x="255" y="58"/>
                  </a:lnTo>
                  <a:lnTo>
                    <a:pt x="255" y="58"/>
                  </a:lnTo>
                  <a:lnTo>
                    <a:pt x="255" y="58"/>
                  </a:lnTo>
                  <a:lnTo>
                    <a:pt x="255" y="58"/>
                  </a:lnTo>
                  <a:lnTo>
                    <a:pt x="253" y="56"/>
                  </a:lnTo>
                  <a:lnTo>
                    <a:pt x="253" y="56"/>
                  </a:lnTo>
                  <a:lnTo>
                    <a:pt x="253" y="56"/>
                  </a:lnTo>
                  <a:lnTo>
                    <a:pt x="253" y="56"/>
                  </a:lnTo>
                  <a:lnTo>
                    <a:pt x="253" y="56"/>
                  </a:lnTo>
                  <a:lnTo>
                    <a:pt x="253" y="54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48" y="54"/>
                  </a:lnTo>
                  <a:lnTo>
                    <a:pt x="248" y="54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3" y="54"/>
                  </a:lnTo>
                  <a:lnTo>
                    <a:pt x="243" y="54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3" y="56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6"/>
                  </a:lnTo>
                  <a:lnTo>
                    <a:pt x="231" y="66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1"/>
                  </a:lnTo>
                  <a:lnTo>
                    <a:pt x="231" y="73"/>
                  </a:lnTo>
                  <a:lnTo>
                    <a:pt x="233" y="73"/>
                  </a:lnTo>
                  <a:lnTo>
                    <a:pt x="233" y="76"/>
                  </a:lnTo>
                  <a:lnTo>
                    <a:pt x="233" y="78"/>
                  </a:lnTo>
                  <a:lnTo>
                    <a:pt x="236" y="78"/>
                  </a:lnTo>
                  <a:lnTo>
                    <a:pt x="236" y="78"/>
                  </a:lnTo>
                  <a:lnTo>
                    <a:pt x="238" y="80"/>
                  </a:lnTo>
                  <a:lnTo>
                    <a:pt x="240" y="80"/>
                  </a:lnTo>
                  <a:lnTo>
                    <a:pt x="240" y="83"/>
                  </a:lnTo>
                  <a:lnTo>
                    <a:pt x="243" y="83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3"/>
                  </a:lnTo>
                  <a:lnTo>
                    <a:pt x="253" y="83"/>
                  </a:lnTo>
                  <a:lnTo>
                    <a:pt x="253" y="83"/>
                  </a:lnTo>
                  <a:lnTo>
                    <a:pt x="255" y="83"/>
                  </a:lnTo>
                  <a:lnTo>
                    <a:pt x="255" y="83"/>
                  </a:lnTo>
                  <a:lnTo>
                    <a:pt x="258" y="83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0" y="80"/>
                  </a:lnTo>
                  <a:lnTo>
                    <a:pt x="263" y="80"/>
                  </a:lnTo>
                  <a:lnTo>
                    <a:pt x="263" y="80"/>
                  </a:lnTo>
                  <a:lnTo>
                    <a:pt x="265" y="80"/>
                  </a:lnTo>
                  <a:lnTo>
                    <a:pt x="265" y="80"/>
                  </a:lnTo>
                  <a:lnTo>
                    <a:pt x="265" y="78"/>
                  </a:lnTo>
                  <a:lnTo>
                    <a:pt x="267" y="78"/>
                  </a:lnTo>
                  <a:lnTo>
                    <a:pt x="267" y="78"/>
                  </a:lnTo>
                  <a:lnTo>
                    <a:pt x="270" y="76"/>
                  </a:lnTo>
                  <a:lnTo>
                    <a:pt x="270" y="76"/>
                  </a:lnTo>
                  <a:lnTo>
                    <a:pt x="270" y="76"/>
                  </a:lnTo>
                  <a:lnTo>
                    <a:pt x="272" y="73"/>
                  </a:lnTo>
                  <a:lnTo>
                    <a:pt x="272" y="73"/>
                  </a:lnTo>
                  <a:lnTo>
                    <a:pt x="272" y="71"/>
                  </a:lnTo>
                  <a:lnTo>
                    <a:pt x="272" y="71"/>
                  </a:lnTo>
                  <a:lnTo>
                    <a:pt x="275" y="71"/>
                  </a:lnTo>
                  <a:lnTo>
                    <a:pt x="275" y="68"/>
                  </a:lnTo>
                  <a:lnTo>
                    <a:pt x="275" y="68"/>
                  </a:lnTo>
                  <a:lnTo>
                    <a:pt x="275" y="66"/>
                  </a:lnTo>
                  <a:lnTo>
                    <a:pt x="275" y="66"/>
                  </a:lnTo>
                  <a:lnTo>
                    <a:pt x="275" y="63"/>
                  </a:lnTo>
                  <a:lnTo>
                    <a:pt x="275" y="63"/>
                  </a:lnTo>
                  <a:lnTo>
                    <a:pt x="277" y="61"/>
                  </a:lnTo>
                  <a:lnTo>
                    <a:pt x="277" y="61"/>
                  </a:lnTo>
                  <a:lnTo>
                    <a:pt x="277" y="58"/>
                  </a:lnTo>
                  <a:lnTo>
                    <a:pt x="277" y="56"/>
                  </a:lnTo>
                  <a:lnTo>
                    <a:pt x="277" y="56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5" y="49"/>
                  </a:lnTo>
                  <a:lnTo>
                    <a:pt x="275" y="49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4"/>
                  </a:lnTo>
                  <a:lnTo>
                    <a:pt x="270" y="44"/>
                  </a:lnTo>
                  <a:lnTo>
                    <a:pt x="270" y="41"/>
                  </a:lnTo>
                  <a:lnTo>
                    <a:pt x="270" y="41"/>
                  </a:lnTo>
                  <a:lnTo>
                    <a:pt x="267" y="39"/>
                  </a:lnTo>
                  <a:lnTo>
                    <a:pt x="267" y="39"/>
                  </a:lnTo>
                  <a:lnTo>
                    <a:pt x="265" y="36"/>
                  </a:lnTo>
                  <a:lnTo>
                    <a:pt x="265" y="36"/>
                  </a:lnTo>
                  <a:lnTo>
                    <a:pt x="263" y="34"/>
                  </a:lnTo>
                  <a:lnTo>
                    <a:pt x="263" y="34"/>
                  </a:lnTo>
                  <a:lnTo>
                    <a:pt x="260" y="34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3" y="31"/>
                  </a:lnTo>
                  <a:lnTo>
                    <a:pt x="250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5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0" y="29"/>
                  </a:lnTo>
                  <a:lnTo>
                    <a:pt x="238" y="29"/>
                  </a:lnTo>
                  <a:lnTo>
                    <a:pt x="236" y="29"/>
                  </a:lnTo>
                  <a:lnTo>
                    <a:pt x="236" y="31"/>
                  </a:lnTo>
                  <a:lnTo>
                    <a:pt x="233" y="31"/>
                  </a:lnTo>
                  <a:lnTo>
                    <a:pt x="231" y="31"/>
                  </a:lnTo>
                  <a:lnTo>
                    <a:pt x="228" y="31"/>
                  </a:lnTo>
                  <a:lnTo>
                    <a:pt x="228" y="34"/>
                  </a:lnTo>
                  <a:lnTo>
                    <a:pt x="223" y="34"/>
                  </a:lnTo>
                  <a:lnTo>
                    <a:pt x="221" y="36"/>
                  </a:lnTo>
                  <a:lnTo>
                    <a:pt x="216" y="36"/>
                  </a:lnTo>
                  <a:lnTo>
                    <a:pt x="214" y="39"/>
                  </a:lnTo>
                  <a:lnTo>
                    <a:pt x="209" y="41"/>
                  </a:lnTo>
                  <a:lnTo>
                    <a:pt x="206" y="41"/>
                  </a:lnTo>
                  <a:lnTo>
                    <a:pt x="201" y="44"/>
                  </a:lnTo>
                  <a:lnTo>
                    <a:pt x="199" y="44"/>
                  </a:lnTo>
                  <a:lnTo>
                    <a:pt x="194" y="46"/>
                  </a:lnTo>
                  <a:lnTo>
                    <a:pt x="191" y="46"/>
                  </a:lnTo>
                  <a:lnTo>
                    <a:pt x="187" y="46"/>
                  </a:lnTo>
                  <a:lnTo>
                    <a:pt x="184" y="49"/>
                  </a:lnTo>
                  <a:lnTo>
                    <a:pt x="179" y="49"/>
                  </a:lnTo>
                  <a:lnTo>
                    <a:pt x="177" y="49"/>
                  </a:lnTo>
                  <a:lnTo>
                    <a:pt x="172" y="49"/>
                  </a:lnTo>
                  <a:lnTo>
                    <a:pt x="169" y="49"/>
                  </a:lnTo>
                  <a:lnTo>
                    <a:pt x="164" y="49"/>
                  </a:lnTo>
                  <a:lnTo>
                    <a:pt x="160" y="49"/>
                  </a:lnTo>
                  <a:lnTo>
                    <a:pt x="157" y="49"/>
                  </a:lnTo>
                  <a:lnTo>
                    <a:pt x="152" y="49"/>
                  </a:lnTo>
                  <a:lnTo>
                    <a:pt x="147" y="49"/>
                  </a:lnTo>
                  <a:lnTo>
                    <a:pt x="145" y="49"/>
                  </a:lnTo>
                  <a:lnTo>
                    <a:pt x="140" y="49"/>
                  </a:lnTo>
                  <a:lnTo>
                    <a:pt x="135" y="49"/>
                  </a:lnTo>
                  <a:lnTo>
                    <a:pt x="133" y="49"/>
                  </a:lnTo>
                  <a:lnTo>
                    <a:pt x="128" y="49"/>
                  </a:lnTo>
                  <a:lnTo>
                    <a:pt x="125" y="49"/>
                  </a:lnTo>
                  <a:lnTo>
                    <a:pt x="120" y="49"/>
                  </a:lnTo>
                  <a:lnTo>
                    <a:pt x="118" y="46"/>
                  </a:lnTo>
                  <a:lnTo>
                    <a:pt x="113" y="46"/>
                  </a:lnTo>
                  <a:lnTo>
                    <a:pt x="111" y="46"/>
                  </a:lnTo>
                  <a:lnTo>
                    <a:pt x="106" y="44"/>
                  </a:lnTo>
                  <a:lnTo>
                    <a:pt x="103" y="44"/>
                  </a:lnTo>
                  <a:lnTo>
                    <a:pt x="98" y="41"/>
                  </a:lnTo>
                  <a:lnTo>
                    <a:pt x="96" y="41"/>
                  </a:lnTo>
                  <a:lnTo>
                    <a:pt x="91" y="39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1" y="34"/>
                  </a:lnTo>
                  <a:lnTo>
                    <a:pt x="76" y="34"/>
                  </a:lnTo>
                  <a:lnTo>
                    <a:pt x="76" y="31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6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2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4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0" y="49"/>
                  </a:lnTo>
                  <a:lnTo>
                    <a:pt x="30" y="49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8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4" y="80"/>
                  </a:lnTo>
                  <a:lnTo>
                    <a:pt x="44" y="83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7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4" y="80"/>
                  </a:lnTo>
                  <a:lnTo>
                    <a:pt x="66" y="80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71" y="78"/>
                  </a:lnTo>
                  <a:lnTo>
                    <a:pt x="71" y="76"/>
                  </a:lnTo>
                  <a:lnTo>
                    <a:pt x="71" y="73"/>
                  </a:lnTo>
                  <a:lnTo>
                    <a:pt x="74" y="73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4" y="63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2" y="68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68"/>
                  </a:lnTo>
                  <a:lnTo>
                    <a:pt x="42" y="68"/>
                  </a:lnTo>
                  <a:lnTo>
                    <a:pt x="42" y="66"/>
                  </a:lnTo>
                  <a:lnTo>
                    <a:pt x="39" y="66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39" y="51"/>
                  </a:lnTo>
                  <a:lnTo>
                    <a:pt x="42" y="51"/>
                  </a:lnTo>
                  <a:lnTo>
                    <a:pt x="42" y="49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7" y="46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6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1" y="51"/>
                  </a:lnTo>
                  <a:lnTo>
                    <a:pt x="84" y="51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3"/>
                  </a:lnTo>
                  <a:lnTo>
                    <a:pt x="88" y="63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8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6" y="73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80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4" y="85"/>
                  </a:lnTo>
                  <a:lnTo>
                    <a:pt x="81" y="85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6" y="90"/>
                  </a:lnTo>
                  <a:lnTo>
                    <a:pt x="76" y="93"/>
                  </a:lnTo>
                  <a:lnTo>
                    <a:pt x="74" y="93"/>
                  </a:lnTo>
                  <a:lnTo>
                    <a:pt x="74" y="95"/>
                  </a:lnTo>
                  <a:lnTo>
                    <a:pt x="71" y="95"/>
                  </a:lnTo>
                  <a:lnTo>
                    <a:pt x="69" y="95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2" y="100"/>
                  </a:lnTo>
                  <a:lnTo>
                    <a:pt x="59" y="100"/>
                  </a:lnTo>
                  <a:lnTo>
                    <a:pt x="57" y="100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2" y="100"/>
                  </a:lnTo>
                  <a:lnTo>
                    <a:pt x="49" y="100"/>
                  </a:lnTo>
                  <a:close/>
                  <a:moveTo>
                    <a:pt x="64" y="0"/>
                  </a:moveTo>
                  <a:lnTo>
                    <a:pt x="62" y="0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4" y="2"/>
                  </a:lnTo>
                  <a:lnTo>
                    <a:pt x="42" y="4"/>
                  </a:lnTo>
                  <a:lnTo>
                    <a:pt x="37" y="4"/>
                  </a:lnTo>
                  <a:lnTo>
                    <a:pt x="35" y="7"/>
                  </a:lnTo>
                  <a:lnTo>
                    <a:pt x="32" y="7"/>
                  </a:lnTo>
                  <a:lnTo>
                    <a:pt x="30" y="9"/>
                  </a:lnTo>
                  <a:lnTo>
                    <a:pt x="27" y="9"/>
                  </a:lnTo>
                  <a:lnTo>
                    <a:pt x="25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7" y="17"/>
                  </a:lnTo>
                  <a:lnTo>
                    <a:pt x="15" y="19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0" y="27"/>
                  </a:lnTo>
                  <a:lnTo>
                    <a:pt x="8" y="29"/>
                  </a:lnTo>
                  <a:lnTo>
                    <a:pt x="8" y="31"/>
                  </a:lnTo>
                  <a:lnTo>
                    <a:pt x="5" y="34"/>
                  </a:lnTo>
                  <a:lnTo>
                    <a:pt x="5" y="39"/>
                  </a:lnTo>
                  <a:lnTo>
                    <a:pt x="3" y="41"/>
                  </a:lnTo>
                  <a:lnTo>
                    <a:pt x="3" y="44"/>
                  </a:lnTo>
                  <a:lnTo>
                    <a:pt x="3" y="46"/>
                  </a:lnTo>
                  <a:lnTo>
                    <a:pt x="0" y="49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3" y="71"/>
                  </a:lnTo>
                  <a:lnTo>
                    <a:pt x="3" y="73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5" y="78"/>
                  </a:lnTo>
                  <a:lnTo>
                    <a:pt x="5" y="80"/>
                  </a:lnTo>
                  <a:lnTo>
                    <a:pt x="8" y="83"/>
                  </a:lnTo>
                  <a:lnTo>
                    <a:pt x="8" y="85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12" y="93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17" y="98"/>
                  </a:lnTo>
                  <a:lnTo>
                    <a:pt x="20" y="100"/>
                  </a:lnTo>
                  <a:lnTo>
                    <a:pt x="22" y="100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7" y="105"/>
                  </a:lnTo>
                  <a:lnTo>
                    <a:pt x="30" y="105"/>
                  </a:lnTo>
                  <a:lnTo>
                    <a:pt x="32" y="105"/>
                  </a:lnTo>
                  <a:lnTo>
                    <a:pt x="35" y="107"/>
                  </a:lnTo>
                  <a:lnTo>
                    <a:pt x="37" y="107"/>
                  </a:lnTo>
                  <a:lnTo>
                    <a:pt x="39" y="107"/>
                  </a:lnTo>
                  <a:lnTo>
                    <a:pt x="42" y="110"/>
                  </a:lnTo>
                  <a:lnTo>
                    <a:pt x="44" y="110"/>
                  </a:lnTo>
                  <a:lnTo>
                    <a:pt x="47" y="110"/>
                  </a:lnTo>
                  <a:lnTo>
                    <a:pt x="49" y="110"/>
                  </a:lnTo>
                  <a:lnTo>
                    <a:pt x="52" y="110"/>
                  </a:lnTo>
                  <a:lnTo>
                    <a:pt x="54" y="110"/>
                  </a:lnTo>
                  <a:lnTo>
                    <a:pt x="57" y="110"/>
                  </a:lnTo>
                  <a:lnTo>
                    <a:pt x="59" y="110"/>
                  </a:lnTo>
                  <a:lnTo>
                    <a:pt x="62" y="110"/>
                  </a:lnTo>
                  <a:lnTo>
                    <a:pt x="62" y="289"/>
                  </a:lnTo>
                  <a:lnTo>
                    <a:pt x="243" y="289"/>
                  </a:lnTo>
                  <a:lnTo>
                    <a:pt x="243" y="110"/>
                  </a:lnTo>
                  <a:lnTo>
                    <a:pt x="245" y="110"/>
                  </a:lnTo>
                  <a:lnTo>
                    <a:pt x="248" y="110"/>
                  </a:lnTo>
                  <a:lnTo>
                    <a:pt x="250" y="110"/>
                  </a:lnTo>
                  <a:lnTo>
                    <a:pt x="253" y="110"/>
                  </a:lnTo>
                  <a:lnTo>
                    <a:pt x="255" y="110"/>
                  </a:lnTo>
                  <a:lnTo>
                    <a:pt x="258" y="110"/>
                  </a:lnTo>
                  <a:lnTo>
                    <a:pt x="260" y="110"/>
                  </a:lnTo>
                  <a:lnTo>
                    <a:pt x="263" y="110"/>
                  </a:lnTo>
                  <a:lnTo>
                    <a:pt x="265" y="107"/>
                  </a:lnTo>
                  <a:lnTo>
                    <a:pt x="267" y="107"/>
                  </a:lnTo>
                  <a:lnTo>
                    <a:pt x="270" y="107"/>
                  </a:lnTo>
                  <a:lnTo>
                    <a:pt x="272" y="105"/>
                  </a:lnTo>
                  <a:lnTo>
                    <a:pt x="275" y="105"/>
                  </a:lnTo>
                  <a:lnTo>
                    <a:pt x="277" y="105"/>
                  </a:lnTo>
                  <a:lnTo>
                    <a:pt x="280" y="103"/>
                  </a:lnTo>
                  <a:lnTo>
                    <a:pt x="280" y="103"/>
                  </a:lnTo>
                  <a:lnTo>
                    <a:pt x="282" y="100"/>
                  </a:lnTo>
                  <a:lnTo>
                    <a:pt x="285" y="100"/>
                  </a:lnTo>
                  <a:lnTo>
                    <a:pt x="287" y="98"/>
                  </a:lnTo>
                  <a:lnTo>
                    <a:pt x="290" y="95"/>
                  </a:lnTo>
                  <a:lnTo>
                    <a:pt x="290" y="95"/>
                  </a:lnTo>
                  <a:lnTo>
                    <a:pt x="292" y="93"/>
                  </a:lnTo>
                  <a:lnTo>
                    <a:pt x="294" y="90"/>
                  </a:lnTo>
                  <a:lnTo>
                    <a:pt x="294" y="88"/>
                  </a:lnTo>
                  <a:lnTo>
                    <a:pt x="297" y="85"/>
                  </a:lnTo>
                  <a:lnTo>
                    <a:pt x="297" y="83"/>
                  </a:lnTo>
                  <a:lnTo>
                    <a:pt x="299" y="80"/>
                  </a:lnTo>
                  <a:lnTo>
                    <a:pt x="299" y="78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2" y="73"/>
                  </a:lnTo>
                  <a:lnTo>
                    <a:pt x="302" y="71"/>
                  </a:lnTo>
                  <a:lnTo>
                    <a:pt x="304" y="66"/>
                  </a:lnTo>
                  <a:lnTo>
                    <a:pt x="304" y="63"/>
                  </a:lnTo>
                  <a:lnTo>
                    <a:pt x="304" y="61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4" y="54"/>
                  </a:lnTo>
                  <a:lnTo>
                    <a:pt x="304" y="49"/>
                  </a:lnTo>
                  <a:lnTo>
                    <a:pt x="302" y="46"/>
                  </a:lnTo>
                  <a:lnTo>
                    <a:pt x="302" y="44"/>
                  </a:lnTo>
                  <a:lnTo>
                    <a:pt x="302" y="41"/>
                  </a:lnTo>
                  <a:lnTo>
                    <a:pt x="299" y="39"/>
                  </a:lnTo>
                  <a:lnTo>
                    <a:pt x="299" y="34"/>
                  </a:lnTo>
                  <a:lnTo>
                    <a:pt x="297" y="31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2" y="24"/>
                  </a:lnTo>
                  <a:lnTo>
                    <a:pt x="292" y="22"/>
                  </a:lnTo>
                  <a:lnTo>
                    <a:pt x="290" y="19"/>
                  </a:lnTo>
                  <a:lnTo>
                    <a:pt x="287" y="17"/>
                  </a:lnTo>
                  <a:lnTo>
                    <a:pt x="285" y="14"/>
                  </a:lnTo>
                  <a:lnTo>
                    <a:pt x="282" y="14"/>
                  </a:lnTo>
                  <a:lnTo>
                    <a:pt x="280" y="12"/>
                  </a:lnTo>
                  <a:lnTo>
                    <a:pt x="277" y="9"/>
                  </a:lnTo>
                  <a:lnTo>
                    <a:pt x="275" y="9"/>
                  </a:lnTo>
                  <a:lnTo>
                    <a:pt x="272" y="7"/>
                  </a:lnTo>
                  <a:lnTo>
                    <a:pt x="270" y="7"/>
                  </a:lnTo>
                  <a:lnTo>
                    <a:pt x="267" y="4"/>
                  </a:lnTo>
                  <a:lnTo>
                    <a:pt x="263" y="4"/>
                  </a:lnTo>
                  <a:lnTo>
                    <a:pt x="260" y="2"/>
                  </a:lnTo>
                  <a:lnTo>
                    <a:pt x="258" y="2"/>
                  </a:lnTo>
                  <a:lnTo>
                    <a:pt x="255" y="2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3" y="0"/>
                  </a:lnTo>
                  <a:lnTo>
                    <a:pt x="240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86">
            <a:extLst>
              <a:ext uri="{FF2B5EF4-FFF2-40B4-BE49-F238E27FC236}">
                <a16:creationId xmlns:a16="http://schemas.microsoft.com/office/drawing/2014/main" id="{0D003A52-1F5A-4854-8C90-B3175529D8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8" y="1549400"/>
            <a:ext cx="841375" cy="841375"/>
            <a:chOff x="217" y="976"/>
            <a:chExt cx="530" cy="530"/>
          </a:xfrm>
        </p:grpSpPr>
        <p:sp>
          <p:nvSpPr>
            <p:cNvPr id="114" name="AutoShape 85">
              <a:extLst>
                <a:ext uri="{FF2B5EF4-FFF2-40B4-BE49-F238E27FC236}">
                  <a16:creationId xmlns:a16="http://schemas.microsoft.com/office/drawing/2014/main" id="{3F940251-3E27-453D-9794-E729853FCD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" y="9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Oval 87">
              <a:extLst>
                <a:ext uri="{FF2B5EF4-FFF2-40B4-BE49-F238E27FC236}">
                  <a16:creationId xmlns:a16="http://schemas.microsoft.com/office/drawing/2014/main" id="{DCF03990-28CA-4B0E-AA3D-E9CF8EBAD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" y="97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88">
              <a:extLst>
                <a:ext uri="{FF2B5EF4-FFF2-40B4-BE49-F238E27FC236}">
                  <a16:creationId xmlns:a16="http://schemas.microsoft.com/office/drawing/2014/main" id="{3540AD3F-CE4A-4194-BC2C-ECC414F2F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" y="99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89">
              <a:extLst>
                <a:ext uri="{FF2B5EF4-FFF2-40B4-BE49-F238E27FC236}">
                  <a16:creationId xmlns:a16="http://schemas.microsoft.com/office/drawing/2014/main" id="{9835871B-088B-420A-BED8-463E3572A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" y="1081"/>
              <a:ext cx="354" cy="302"/>
            </a:xfrm>
            <a:custGeom>
              <a:avLst/>
              <a:gdLst>
                <a:gd name="T0" fmla="*/ 92 w 138"/>
                <a:gd name="T1" fmla="*/ 86 h 118"/>
                <a:gd name="T2" fmla="*/ 113 w 138"/>
                <a:gd name="T3" fmla="*/ 95 h 118"/>
                <a:gd name="T4" fmla="*/ 93 w 138"/>
                <a:gd name="T5" fmla="*/ 82 h 118"/>
                <a:gd name="T6" fmla="*/ 132 w 138"/>
                <a:gd name="T7" fmla="*/ 82 h 118"/>
                <a:gd name="T8" fmla="*/ 64 w 138"/>
                <a:gd name="T9" fmla="*/ 20 h 118"/>
                <a:gd name="T10" fmla="*/ 74 w 138"/>
                <a:gd name="T11" fmla="*/ 20 h 118"/>
                <a:gd name="T12" fmla="*/ 76 w 138"/>
                <a:gd name="T13" fmla="*/ 79 h 118"/>
                <a:gd name="T14" fmla="*/ 64 w 138"/>
                <a:gd name="T15" fmla="*/ 82 h 118"/>
                <a:gd name="T16" fmla="*/ 64 w 138"/>
                <a:gd name="T17" fmla="*/ 77 h 118"/>
                <a:gd name="T18" fmla="*/ 76 w 138"/>
                <a:gd name="T19" fmla="*/ 79 h 118"/>
                <a:gd name="T20" fmla="*/ 67 w 138"/>
                <a:gd name="T21" fmla="*/ 86 h 118"/>
                <a:gd name="T22" fmla="*/ 79 w 138"/>
                <a:gd name="T23" fmla="*/ 104 h 118"/>
                <a:gd name="T24" fmla="*/ 96 w 138"/>
                <a:gd name="T25" fmla="*/ 113 h 118"/>
                <a:gd name="T26" fmla="*/ 48 w 138"/>
                <a:gd name="T27" fmla="*/ 109 h 118"/>
                <a:gd name="T28" fmla="*/ 96 w 138"/>
                <a:gd name="T29" fmla="*/ 113 h 118"/>
                <a:gd name="T30" fmla="*/ 5 w 138"/>
                <a:gd name="T31" fmla="*/ 86 h 118"/>
                <a:gd name="T32" fmla="*/ 25 w 138"/>
                <a:gd name="T33" fmla="*/ 95 h 118"/>
                <a:gd name="T34" fmla="*/ 45 w 138"/>
                <a:gd name="T35" fmla="*/ 82 h 118"/>
                <a:gd name="T36" fmla="*/ 25 w 138"/>
                <a:gd name="T37" fmla="*/ 31 h 118"/>
                <a:gd name="T38" fmla="*/ 116 w 138"/>
                <a:gd name="T39" fmla="*/ 26 h 118"/>
                <a:gd name="T40" fmla="*/ 117 w 138"/>
                <a:gd name="T41" fmla="*/ 18 h 118"/>
                <a:gd name="T42" fmla="*/ 113 w 138"/>
                <a:gd name="T43" fmla="*/ 23 h 118"/>
                <a:gd name="T44" fmla="*/ 108 w 138"/>
                <a:gd name="T45" fmla="*/ 18 h 118"/>
                <a:gd name="T46" fmla="*/ 71 w 138"/>
                <a:gd name="T47" fmla="*/ 12 h 118"/>
                <a:gd name="T48" fmla="*/ 69 w 138"/>
                <a:gd name="T49" fmla="*/ 0 h 118"/>
                <a:gd name="T50" fmla="*/ 67 w 138"/>
                <a:gd name="T51" fmla="*/ 12 h 118"/>
                <a:gd name="T52" fmla="*/ 30 w 138"/>
                <a:gd name="T53" fmla="*/ 18 h 118"/>
                <a:gd name="T54" fmla="*/ 25 w 138"/>
                <a:gd name="T55" fmla="*/ 23 h 118"/>
                <a:gd name="T56" fmla="*/ 21 w 138"/>
                <a:gd name="T57" fmla="*/ 18 h 118"/>
                <a:gd name="T58" fmla="*/ 22 w 138"/>
                <a:gd name="T59" fmla="*/ 26 h 118"/>
                <a:gd name="T60" fmla="*/ 0 w 138"/>
                <a:gd name="T61" fmla="*/ 84 h 118"/>
                <a:gd name="T62" fmla="*/ 51 w 138"/>
                <a:gd name="T63" fmla="*/ 84 h 118"/>
                <a:gd name="T64" fmla="*/ 28 w 138"/>
                <a:gd name="T65" fmla="*/ 26 h 118"/>
                <a:gd name="T66" fmla="*/ 60 w 138"/>
                <a:gd name="T67" fmla="*/ 23 h 118"/>
                <a:gd name="T68" fmla="*/ 67 w 138"/>
                <a:gd name="T69" fmla="*/ 73 h 118"/>
                <a:gd name="T70" fmla="*/ 58 w 138"/>
                <a:gd name="T71" fmla="*/ 79 h 118"/>
                <a:gd name="T72" fmla="*/ 52 w 138"/>
                <a:gd name="T73" fmla="*/ 104 h 118"/>
                <a:gd name="T74" fmla="*/ 37 w 138"/>
                <a:gd name="T75" fmla="*/ 116 h 118"/>
                <a:gd name="T76" fmla="*/ 99 w 138"/>
                <a:gd name="T77" fmla="*/ 118 h 118"/>
                <a:gd name="T78" fmla="*/ 90 w 138"/>
                <a:gd name="T79" fmla="*/ 104 h 118"/>
                <a:gd name="T80" fmla="*/ 76 w 138"/>
                <a:gd name="T81" fmla="*/ 86 h 118"/>
                <a:gd name="T82" fmla="*/ 74 w 138"/>
                <a:gd name="T83" fmla="*/ 73 h 118"/>
                <a:gd name="T84" fmla="*/ 71 w 138"/>
                <a:gd name="T85" fmla="*/ 29 h 118"/>
                <a:gd name="T86" fmla="*/ 106 w 138"/>
                <a:gd name="T87" fmla="*/ 23 h 118"/>
                <a:gd name="T88" fmla="*/ 88 w 138"/>
                <a:gd name="T89" fmla="*/ 83 h 118"/>
                <a:gd name="T90" fmla="*/ 113 w 138"/>
                <a:gd name="T91" fmla="*/ 100 h 118"/>
                <a:gd name="T92" fmla="*/ 138 w 138"/>
                <a:gd name="T93" fmla="*/ 8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8" h="118">
                  <a:moveTo>
                    <a:pt x="113" y="95"/>
                  </a:moveTo>
                  <a:cubicBezTo>
                    <a:pt x="103" y="95"/>
                    <a:pt x="94" y="91"/>
                    <a:pt x="92" y="86"/>
                  </a:cubicBezTo>
                  <a:cubicBezTo>
                    <a:pt x="133" y="86"/>
                    <a:pt x="133" y="86"/>
                    <a:pt x="133" y="86"/>
                  </a:cubicBezTo>
                  <a:cubicBezTo>
                    <a:pt x="131" y="91"/>
                    <a:pt x="122" y="95"/>
                    <a:pt x="113" y="95"/>
                  </a:cubicBezTo>
                  <a:moveTo>
                    <a:pt x="132" y="82"/>
                  </a:moveTo>
                  <a:cubicBezTo>
                    <a:pt x="93" y="82"/>
                    <a:pt x="93" y="82"/>
                    <a:pt x="93" y="82"/>
                  </a:cubicBezTo>
                  <a:cubicBezTo>
                    <a:pt x="113" y="31"/>
                    <a:pt x="113" y="31"/>
                    <a:pt x="113" y="31"/>
                  </a:cubicBezTo>
                  <a:lnTo>
                    <a:pt x="132" y="82"/>
                  </a:lnTo>
                  <a:close/>
                  <a:moveTo>
                    <a:pt x="69" y="25"/>
                  </a:moveTo>
                  <a:cubicBezTo>
                    <a:pt x="66" y="25"/>
                    <a:pt x="64" y="23"/>
                    <a:pt x="64" y="20"/>
                  </a:cubicBezTo>
                  <a:cubicBezTo>
                    <a:pt x="64" y="18"/>
                    <a:pt x="66" y="16"/>
                    <a:pt x="69" y="16"/>
                  </a:cubicBezTo>
                  <a:cubicBezTo>
                    <a:pt x="72" y="16"/>
                    <a:pt x="74" y="18"/>
                    <a:pt x="74" y="20"/>
                  </a:cubicBezTo>
                  <a:cubicBezTo>
                    <a:pt x="74" y="23"/>
                    <a:pt x="72" y="25"/>
                    <a:pt x="69" y="25"/>
                  </a:cubicBezTo>
                  <a:moveTo>
                    <a:pt x="76" y="79"/>
                  </a:moveTo>
                  <a:cubicBezTo>
                    <a:pt x="76" y="81"/>
                    <a:pt x="75" y="82"/>
                    <a:pt x="74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3" y="82"/>
                    <a:pt x="62" y="81"/>
                    <a:pt x="62" y="79"/>
                  </a:cubicBezTo>
                  <a:cubicBezTo>
                    <a:pt x="62" y="78"/>
                    <a:pt x="63" y="77"/>
                    <a:pt x="6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5" y="77"/>
                    <a:pt x="76" y="78"/>
                    <a:pt x="76" y="79"/>
                  </a:cubicBezTo>
                  <a:moveTo>
                    <a:pt x="59" y="104"/>
                  </a:moveTo>
                  <a:cubicBezTo>
                    <a:pt x="63" y="99"/>
                    <a:pt x="66" y="93"/>
                    <a:pt x="67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2" y="93"/>
                    <a:pt x="75" y="99"/>
                    <a:pt x="79" y="104"/>
                  </a:cubicBezTo>
                  <a:lnTo>
                    <a:pt x="59" y="104"/>
                  </a:lnTo>
                  <a:close/>
                  <a:moveTo>
                    <a:pt x="96" y="113"/>
                  </a:moveTo>
                  <a:cubicBezTo>
                    <a:pt x="42" y="113"/>
                    <a:pt x="42" y="113"/>
                    <a:pt x="42" y="113"/>
                  </a:cubicBezTo>
                  <a:cubicBezTo>
                    <a:pt x="43" y="111"/>
                    <a:pt x="45" y="109"/>
                    <a:pt x="48" y="109"/>
                  </a:cubicBezTo>
                  <a:cubicBezTo>
                    <a:pt x="90" y="109"/>
                    <a:pt x="90" y="109"/>
                    <a:pt x="90" y="109"/>
                  </a:cubicBezTo>
                  <a:cubicBezTo>
                    <a:pt x="93" y="109"/>
                    <a:pt x="95" y="111"/>
                    <a:pt x="96" y="113"/>
                  </a:cubicBezTo>
                  <a:moveTo>
                    <a:pt x="25" y="95"/>
                  </a:moveTo>
                  <a:cubicBezTo>
                    <a:pt x="16" y="95"/>
                    <a:pt x="7" y="91"/>
                    <a:pt x="5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4" y="91"/>
                    <a:pt x="35" y="95"/>
                    <a:pt x="25" y="95"/>
                  </a:cubicBezTo>
                  <a:moveTo>
                    <a:pt x="25" y="31"/>
                  </a:moveTo>
                  <a:cubicBezTo>
                    <a:pt x="45" y="82"/>
                    <a:pt x="45" y="82"/>
                    <a:pt x="45" y="82"/>
                  </a:cubicBezTo>
                  <a:cubicBezTo>
                    <a:pt x="6" y="82"/>
                    <a:pt x="6" y="82"/>
                    <a:pt x="6" y="82"/>
                  </a:cubicBezTo>
                  <a:lnTo>
                    <a:pt x="25" y="31"/>
                  </a:lnTo>
                  <a:close/>
                  <a:moveTo>
                    <a:pt x="138" y="83"/>
                  </a:moveTo>
                  <a:cubicBezTo>
                    <a:pt x="116" y="26"/>
                    <a:pt x="116" y="26"/>
                    <a:pt x="116" y="26"/>
                  </a:cubicBezTo>
                  <a:cubicBezTo>
                    <a:pt x="118" y="25"/>
                    <a:pt x="120" y="23"/>
                    <a:pt x="120" y="20"/>
                  </a:cubicBezTo>
                  <a:cubicBezTo>
                    <a:pt x="120" y="19"/>
                    <a:pt x="119" y="18"/>
                    <a:pt x="117" y="18"/>
                  </a:cubicBezTo>
                  <a:cubicBezTo>
                    <a:pt x="116" y="18"/>
                    <a:pt x="115" y="19"/>
                    <a:pt x="115" y="20"/>
                  </a:cubicBezTo>
                  <a:cubicBezTo>
                    <a:pt x="115" y="22"/>
                    <a:pt x="114" y="23"/>
                    <a:pt x="113" y="23"/>
                  </a:cubicBezTo>
                  <a:cubicBezTo>
                    <a:pt x="111" y="23"/>
                    <a:pt x="110" y="22"/>
                    <a:pt x="110" y="20"/>
                  </a:cubicBezTo>
                  <a:cubicBezTo>
                    <a:pt x="110" y="19"/>
                    <a:pt x="109" y="18"/>
                    <a:pt x="108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5"/>
                    <a:pt x="75" y="12"/>
                    <a:pt x="71" y="12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1" y="1"/>
                    <a:pt x="70" y="0"/>
                    <a:pt x="69" y="0"/>
                  </a:cubicBezTo>
                  <a:cubicBezTo>
                    <a:pt x="68" y="0"/>
                    <a:pt x="67" y="1"/>
                    <a:pt x="67" y="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4" y="12"/>
                    <a:pt x="61" y="15"/>
                    <a:pt x="6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8" y="19"/>
                    <a:pt x="28" y="20"/>
                  </a:cubicBezTo>
                  <a:cubicBezTo>
                    <a:pt x="28" y="22"/>
                    <a:pt x="27" y="23"/>
                    <a:pt x="25" y="23"/>
                  </a:cubicBezTo>
                  <a:cubicBezTo>
                    <a:pt x="24" y="23"/>
                    <a:pt x="23" y="22"/>
                    <a:pt x="23" y="20"/>
                  </a:cubicBezTo>
                  <a:cubicBezTo>
                    <a:pt x="23" y="19"/>
                    <a:pt x="22" y="18"/>
                    <a:pt x="21" y="18"/>
                  </a:cubicBezTo>
                  <a:cubicBezTo>
                    <a:pt x="19" y="18"/>
                    <a:pt x="18" y="19"/>
                    <a:pt x="18" y="20"/>
                  </a:cubicBezTo>
                  <a:cubicBezTo>
                    <a:pt x="18" y="23"/>
                    <a:pt x="20" y="25"/>
                    <a:pt x="22" y="2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0" y="93"/>
                    <a:pt x="11" y="100"/>
                    <a:pt x="25" y="100"/>
                  </a:cubicBezTo>
                  <a:cubicBezTo>
                    <a:pt x="40" y="100"/>
                    <a:pt x="51" y="93"/>
                    <a:pt x="51" y="84"/>
                  </a:cubicBezTo>
                  <a:cubicBezTo>
                    <a:pt x="51" y="84"/>
                    <a:pt x="51" y="83"/>
                    <a:pt x="50" y="83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30" y="26"/>
                    <a:pt x="31" y="24"/>
                    <a:pt x="32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6"/>
                    <a:pt x="64" y="28"/>
                    <a:pt x="67" y="29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1" y="73"/>
                    <a:pt x="58" y="76"/>
                    <a:pt x="58" y="79"/>
                  </a:cubicBezTo>
                  <a:cubicBezTo>
                    <a:pt x="58" y="82"/>
                    <a:pt x="59" y="85"/>
                    <a:pt x="62" y="86"/>
                  </a:cubicBezTo>
                  <a:cubicBezTo>
                    <a:pt x="62" y="93"/>
                    <a:pt x="58" y="99"/>
                    <a:pt x="52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2" y="104"/>
                    <a:pt x="37" y="109"/>
                    <a:pt x="37" y="116"/>
                  </a:cubicBezTo>
                  <a:cubicBezTo>
                    <a:pt x="37" y="117"/>
                    <a:pt x="38" y="118"/>
                    <a:pt x="39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0" y="118"/>
                    <a:pt x="101" y="117"/>
                    <a:pt x="101" y="116"/>
                  </a:cubicBezTo>
                  <a:cubicBezTo>
                    <a:pt x="101" y="109"/>
                    <a:pt x="96" y="104"/>
                    <a:pt x="90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0" y="99"/>
                    <a:pt x="77" y="93"/>
                    <a:pt x="76" y="86"/>
                  </a:cubicBezTo>
                  <a:cubicBezTo>
                    <a:pt x="79" y="85"/>
                    <a:pt x="80" y="82"/>
                    <a:pt x="80" y="79"/>
                  </a:cubicBezTo>
                  <a:cubicBezTo>
                    <a:pt x="80" y="76"/>
                    <a:pt x="77" y="73"/>
                    <a:pt x="74" y="73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5" y="28"/>
                    <a:pt x="77" y="26"/>
                    <a:pt x="78" y="23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7" y="24"/>
                    <a:pt x="108" y="26"/>
                    <a:pt x="110" y="26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3"/>
                    <a:pt x="87" y="84"/>
                    <a:pt x="87" y="84"/>
                  </a:cubicBezTo>
                  <a:cubicBezTo>
                    <a:pt x="87" y="93"/>
                    <a:pt x="98" y="100"/>
                    <a:pt x="113" y="100"/>
                  </a:cubicBezTo>
                  <a:cubicBezTo>
                    <a:pt x="127" y="100"/>
                    <a:pt x="138" y="93"/>
                    <a:pt x="138" y="84"/>
                  </a:cubicBezTo>
                  <a:cubicBezTo>
                    <a:pt x="138" y="84"/>
                    <a:pt x="138" y="83"/>
                    <a:pt x="138" y="8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8" name="Group 92">
            <a:extLst>
              <a:ext uri="{FF2B5EF4-FFF2-40B4-BE49-F238E27FC236}">
                <a16:creationId xmlns:a16="http://schemas.microsoft.com/office/drawing/2014/main" id="{EE4230DD-FFB9-40C3-82B2-6DCCCE6C96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30373" y="1590675"/>
            <a:ext cx="758825" cy="758825"/>
            <a:chOff x="854" y="1002"/>
            <a:chExt cx="478" cy="478"/>
          </a:xfrm>
        </p:grpSpPr>
        <p:sp>
          <p:nvSpPr>
            <p:cNvPr id="119" name="AutoShape 91">
              <a:extLst>
                <a:ext uri="{FF2B5EF4-FFF2-40B4-BE49-F238E27FC236}">
                  <a16:creationId xmlns:a16="http://schemas.microsoft.com/office/drawing/2014/main" id="{9F434FDB-9423-4FFC-9F27-2449D3C12D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54" y="100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3">
              <a:extLst>
                <a:ext uri="{FF2B5EF4-FFF2-40B4-BE49-F238E27FC236}">
                  <a16:creationId xmlns:a16="http://schemas.microsoft.com/office/drawing/2014/main" id="{7E3F220E-DCDE-4380-B742-CAE9D3A65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" y="100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4">
              <a:extLst>
                <a:ext uri="{FF2B5EF4-FFF2-40B4-BE49-F238E27FC236}">
                  <a16:creationId xmlns:a16="http://schemas.microsoft.com/office/drawing/2014/main" id="{37019E37-8FD3-470E-9237-553DD5EFB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5" y="1088"/>
              <a:ext cx="338" cy="289"/>
            </a:xfrm>
            <a:custGeom>
              <a:avLst/>
              <a:gdLst>
                <a:gd name="T0" fmla="*/ 92 w 138"/>
                <a:gd name="T1" fmla="*/ 86 h 118"/>
                <a:gd name="T2" fmla="*/ 113 w 138"/>
                <a:gd name="T3" fmla="*/ 95 h 118"/>
                <a:gd name="T4" fmla="*/ 93 w 138"/>
                <a:gd name="T5" fmla="*/ 82 h 118"/>
                <a:gd name="T6" fmla="*/ 132 w 138"/>
                <a:gd name="T7" fmla="*/ 82 h 118"/>
                <a:gd name="T8" fmla="*/ 64 w 138"/>
                <a:gd name="T9" fmla="*/ 20 h 118"/>
                <a:gd name="T10" fmla="*/ 74 w 138"/>
                <a:gd name="T11" fmla="*/ 20 h 118"/>
                <a:gd name="T12" fmla="*/ 76 w 138"/>
                <a:gd name="T13" fmla="*/ 79 h 118"/>
                <a:gd name="T14" fmla="*/ 64 w 138"/>
                <a:gd name="T15" fmla="*/ 82 h 118"/>
                <a:gd name="T16" fmla="*/ 64 w 138"/>
                <a:gd name="T17" fmla="*/ 77 h 118"/>
                <a:gd name="T18" fmla="*/ 76 w 138"/>
                <a:gd name="T19" fmla="*/ 79 h 118"/>
                <a:gd name="T20" fmla="*/ 67 w 138"/>
                <a:gd name="T21" fmla="*/ 86 h 118"/>
                <a:gd name="T22" fmla="*/ 79 w 138"/>
                <a:gd name="T23" fmla="*/ 104 h 118"/>
                <a:gd name="T24" fmla="*/ 96 w 138"/>
                <a:gd name="T25" fmla="*/ 113 h 118"/>
                <a:gd name="T26" fmla="*/ 48 w 138"/>
                <a:gd name="T27" fmla="*/ 109 h 118"/>
                <a:gd name="T28" fmla="*/ 96 w 138"/>
                <a:gd name="T29" fmla="*/ 113 h 118"/>
                <a:gd name="T30" fmla="*/ 5 w 138"/>
                <a:gd name="T31" fmla="*/ 86 h 118"/>
                <a:gd name="T32" fmla="*/ 25 w 138"/>
                <a:gd name="T33" fmla="*/ 95 h 118"/>
                <a:gd name="T34" fmla="*/ 45 w 138"/>
                <a:gd name="T35" fmla="*/ 82 h 118"/>
                <a:gd name="T36" fmla="*/ 25 w 138"/>
                <a:gd name="T37" fmla="*/ 31 h 118"/>
                <a:gd name="T38" fmla="*/ 116 w 138"/>
                <a:gd name="T39" fmla="*/ 26 h 118"/>
                <a:gd name="T40" fmla="*/ 117 w 138"/>
                <a:gd name="T41" fmla="*/ 18 h 118"/>
                <a:gd name="T42" fmla="*/ 113 w 138"/>
                <a:gd name="T43" fmla="*/ 23 h 118"/>
                <a:gd name="T44" fmla="*/ 108 w 138"/>
                <a:gd name="T45" fmla="*/ 18 h 118"/>
                <a:gd name="T46" fmla="*/ 71 w 138"/>
                <a:gd name="T47" fmla="*/ 12 h 118"/>
                <a:gd name="T48" fmla="*/ 69 w 138"/>
                <a:gd name="T49" fmla="*/ 0 h 118"/>
                <a:gd name="T50" fmla="*/ 67 w 138"/>
                <a:gd name="T51" fmla="*/ 12 h 118"/>
                <a:gd name="T52" fmla="*/ 30 w 138"/>
                <a:gd name="T53" fmla="*/ 18 h 118"/>
                <a:gd name="T54" fmla="*/ 25 w 138"/>
                <a:gd name="T55" fmla="*/ 23 h 118"/>
                <a:gd name="T56" fmla="*/ 21 w 138"/>
                <a:gd name="T57" fmla="*/ 18 h 118"/>
                <a:gd name="T58" fmla="*/ 22 w 138"/>
                <a:gd name="T59" fmla="*/ 26 h 118"/>
                <a:gd name="T60" fmla="*/ 0 w 138"/>
                <a:gd name="T61" fmla="*/ 84 h 118"/>
                <a:gd name="T62" fmla="*/ 51 w 138"/>
                <a:gd name="T63" fmla="*/ 84 h 118"/>
                <a:gd name="T64" fmla="*/ 28 w 138"/>
                <a:gd name="T65" fmla="*/ 26 h 118"/>
                <a:gd name="T66" fmla="*/ 60 w 138"/>
                <a:gd name="T67" fmla="*/ 23 h 118"/>
                <a:gd name="T68" fmla="*/ 67 w 138"/>
                <a:gd name="T69" fmla="*/ 73 h 118"/>
                <a:gd name="T70" fmla="*/ 58 w 138"/>
                <a:gd name="T71" fmla="*/ 79 h 118"/>
                <a:gd name="T72" fmla="*/ 52 w 138"/>
                <a:gd name="T73" fmla="*/ 104 h 118"/>
                <a:gd name="T74" fmla="*/ 37 w 138"/>
                <a:gd name="T75" fmla="*/ 116 h 118"/>
                <a:gd name="T76" fmla="*/ 99 w 138"/>
                <a:gd name="T77" fmla="*/ 118 h 118"/>
                <a:gd name="T78" fmla="*/ 90 w 138"/>
                <a:gd name="T79" fmla="*/ 104 h 118"/>
                <a:gd name="T80" fmla="*/ 76 w 138"/>
                <a:gd name="T81" fmla="*/ 86 h 118"/>
                <a:gd name="T82" fmla="*/ 74 w 138"/>
                <a:gd name="T83" fmla="*/ 73 h 118"/>
                <a:gd name="T84" fmla="*/ 71 w 138"/>
                <a:gd name="T85" fmla="*/ 29 h 118"/>
                <a:gd name="T86" fmla="*/ 106 w 138"/>
                <a:gd name="T87" fmla="*/ 23 h 118"/>
                <a:gd name="T88" fmla="*/ 88 w 138"/>
                <a:gd name="T89" fmla="*/ 83 h 118"/>
                <a:gd name="T90" fmla="*/ 113 w 138"/>
                <a:gd name="T91" fmla="*/ 100 h 118"/>
                <a:gd name="T92" fmla="*/ 138 w 138"/>
                <a:gd name="T93" fmla="*/ 8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8" h="118">
                  <a:moveTo>
                    <a:pt x="113" y="95"/>
                  </a:moveTo>
                  <a:cubicBezTo>
                    <a:pt x="103" y="95"/>
                    <a:pt x="94" y="91"/>
                    <a:pt x="92" y="86"/>
                  </a:cubicBezTo>
                  <a:cubicBezTo>
                    <a:pt x="133" y="86"/>
                    <a:pt x="133" y="86"/>
                    <a:pt x="133" y="86"/>
                  </a:cubicBezTo>
                  <a:cubicBezTo>
                    <a:pt x="131" y="91"/>
                    <a:pt x="122" y="95"/>
                    <a:pt x="113" y="95"/>
                  </a:cubicBezTo>
                  <a:moveTo>
                    <a:pt x="132" y="82"/>
                  </a:moveTo>
                  <a:cubicBezTo>
                    <a:pt x="93" y="82"/>
                    <a:pt x="93" y="82"/>
                    <a:pt x="93" y="82"/>
                  </a:cubicBezTo>
                  <a:cubicBezTo>
                    <a:pt x="113" y="31"/>
                    <a:pt x="113" y="31"/>
                    <a:pt x="113" y="31"/>
                  </a:cubicBezTo>
                  <a:lnTo>
                    <a:pt x="132" y="82"/>
                  </a:lnTo>
                  <a:close/>
                  <a:moveTo>
                    <a:pt x="69" y="25"/>
                  </a:moveTo>
                  <a:cubicBezTo>
                    <a:pt x="66" y="25"/>
                    <a:pt x="64" y="23"/>
                    <a:pt x="64" y="20"/>
                  </a:cubicBezTo>
                  <a:cubicBezTo>
                    <a:pt x="64" y="18"/>
                    <a:pt x="66" y="16"/>
                    <a:pt x="69" y="16"/>
                  </a:cubicBezTo>
                  <a:cubicBezTo>
                    <a:pt x="72" y="16"/>
                    <a:pt x="74" y="18"/>
                    <a:pt x="74" y="20"/>
                  </a:cubicBezTo>
                  <a:cubicBezTo>
                    <a:pt x="74" y="23"/>
                    <a:pt x="72" y="25"/>
                    <a:pt x="69" y="25"/>
                  </a:cubicBezTo>
                  <a:moveTo>
                    <a:pt x="76" y="79"/>
                  </a:moveTo>
                  <a:cubicBezTo>
                    <a:pt x="76" y="81"/>
                    <a:pt x="75" y="82"/>
                    <a:pt x="74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3" y="82"/>
                    <a:pt x="62" y="81"/>
                    <a:pt x="62" y="79"/>
                  </a:cubicBezTo>
                  <a:cubicBezTo>
                    <a:pt x="62" y="78"/>
                    <a:pt x="63" y="77"/>
                    <a:pt x="6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5" y="77"/>
                    <a:pt x="76" y="78"/>
                    <a:pt x="76" y="79"/>
                  </a:cubicBezTo>
                  <a:moveTo>
                    <a:pt x="59" y="104"/>
                  </a:moveTo>
                  <a:cubicBezTo>
                    <a:pt x="63" y="99"/>
                    <a:pt x="66" y="93"/>
                    <a:pt x="67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2" y="93"/>
                    <a:pt x="75" y="99"/>
                    <a:pt x="79" y="104"/>
                  </a:cubicBezTo>
                  <a:lnTo>
                    <a:pt x="59" y="104"/>
                  </a:lnTo>
                  <a:close/>
                  <a:moveTo>
                    <a:pt x="96" y="113"/>
                  </a:moveTo>
                  <a:cubicBezTo>
                    <a:pt x="42" y="113"/>
                    <a:pt x="42" y="113"/>
                    <a:pt x="42" y="113"/>
                  </a:cubicBezTo>
                  <a:cubicBezTo>
                    <a:pt x="43" y="111"/>
                    <a:pt x="45" y="109"/>
                    <a:pt x="48" y="109"/>
                  </a:cubicBezTo>
                  <a:cubicBezTo>
                    <a:pt x="90" y="109"/>
                    <a:pt x="90" y="109"/>
                    <a:pt x="90" y="109"/>
                  </a:cubicBezTo>
                  <a:cubicBezTo>
                    <a:pt x="93" y="109"/>
                    <a:pt x="95" y="111"/>
                    <a:pt x="96" y="113"/>
                  </a:cubicBezTo>
                  <a:moveTo>
                    <a:pt x="25" y="95"/>
                  </a:moveTo>
                  <a:cubicBezTo>
                    <a:pt x="16" y="95"/>
                    <a:pt x="7" y="91"/>
                    <a:pt x="5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4" y="91"/>
                    <a:pt x="35" y="95"/>
                    <a:pt x="25" y="95"/>
                  </a:cubicBezTo>
                  <a:moveTo>
                    <a:pt x="25" y="31"/>
                  </a:moveTo>
                  <a:cubicBezTo>
                    <a:pt x="45" y="82"/>
                    <a:pt x="45" y="82"/>
                    <a:pt x="45" y="82"/>
                  </a:cubicBezTo>
                  <a:cubicBezTo>
                    <a:pt x="6" y="82"/>
                    <a:pt x="6" y="82"/>
                    <a:pt x="6" y="82"/>
                  </a:cubicBezTo>
                  <a:lnTo>
                    <a:pt x="25" y="31"/>
                  </a:lnTo>
                  <a:close/>
                  <a:moveTo>
                    <a:pt x="138" y="83"/>
                  </a:moveTo>
                  <a:cubicBezTo>
                    <a:pt x="116" y="26"/>
                    <a:pt x="116" y="26"/>
                    <a:pt x="116" y="26"/>
                  </a:cubicBezTo>
                  <a:cubicBezTo>
                    <a:pt x="118" y="25"/>
                    <a:pt x="120" y="23"/>
                    <a:pt x="120" y="20"/>
                  </a:cubicBezTo>
                  <a:cubicBezTo>
                    <a:pt x="120" y="19"/>
                    <a:pt x="119" y="18"/>
                    <a:pt x="117" y="18"/>
                  </a:cubicBezTo>
                  <a:cubicBezTo>
                    <a:pt x="116" y="18"/>
                    <a:pt x="115" y="19"/>
                    <a:pt x="115" y="20"/>
                  </a:cubicBezTo>
                  <a:cubicBezTo>
                    <a:pt x="115" y="22"/>
                    <a:pt x="114" y="23"/>
                    <a:pt x="113" y="23"/>
                  </a:cubicBezTo>
                  <a:cubicBezTo>
                    <a:pt x="111" y="23"/>
                    <a:pt x="110" y="22"/>
                    <a:pt x="110" y="20"/>
                  </a:cubicBezTo>
                  <a:cubicBezTo>
                    <a:pt x="110" y="19"/>
                    <a:pt x="109" y="18"/>
                    <a:pt x="108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5"/>
                    <a:pt x="75" y="12"/>
                    <a:pt x="71" y="12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1" y="1"/>
                    <a:pt x="70" y="0"/>
                    <a:pt x="69" y="0"/>
                  </a:cubicBezTo>
                  <a:cubicBezTo>
                    <a:pt x="68" y="0"/>
                    <a:pt x="67" y="1"/>
                    <a:pt x="67" y="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4" y="12"/>
                    <a:pt x="61" y="15"/>
                    <a:pt x="6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8" y="19"/>
                    <a:pt x="28" y="20"/>
                  </a:cubicBezTo>
                  <a:cubicBezTo>
                    <a:pt x="28" y="22"/>
                    <a:pt x="27" y="23"/>
                    <a:pt x="25" y="23"/>
                  </a:cubicBezTo>
                  <a:cubicBezTo>
                    <a:pt x="24" y="23"/>
                    <a:pt x="23" y="22"/>
                    <a:pt x="23" y="20"/>
                  </a:cubicBezTo>
                  <a:cubicBezTo>
                    <a:pt x="23" y="19"/>
                    <a:pt x="22" y="18"/>
                    <a:pt x="21" y="18"/>
                  </a:cubicBezTo>
                  <a:cubicBezTo>
                    <a:pt x="19" y="18"/>
                    <a:pt x="18" y="19"/>
                    <a:pt x="18" y="20"/>
                  </a:cubicBezTo>
                  <a:cubicBezTo>
                    <a:pt x="18" y="23"/>
                    <a:pt x="20" y="25"/>
                    <a:pt x="22" y="2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4"/>
                    <a:pt x="0" y="84"/>
                  </a:cubicBezTo>
                  <a:cubicBezTo>
                    <a:pt x="0" y="93"/>
                    <a:pt x="11" y="100"/>
                    <a:pt x="25" y="100"/>
                  </a:cubicBezTo>
                  <a:cubicBezTo>
                    <a:pt x="40" y="100"/>
                    <a:pt x="51" y="93"/>
                    <a:pt x="51" y="84"/>
                  </a:cubicBezTo>
                  <a:cubicBezTo>
                    <a:pt x="51" y="84"/>
                    <a:pt x="51" y="83"/>
                    <a:pt x="50" y="83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30" y="26"/>
                    <a:pt x="31" y="24"/>
                    <a:pt x="32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6"/>
                    <a:pt x="64" y="28"/>
                    <a:pt x="67" y="29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1" y="73"/>
                    <a:pt x="58" y="76"/>
                    <a:pt x="58" y="79"/>
                  </a:cubicBezTo>
                  <a:cubicBezTo>
                    <a:pt x="58" y="82"/>
                    <a:pt x="59" y="85"/>
                    <a:pt x="62" y="86"/>
                  </a:cubicBezTo>
                  <a:cubicBezTo>
                    <a:pt x="62" y="93"/>
                    <a:pt x="58" y="99"/>
                    <a:pt x="52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2" y="104"/>
                    <a:pt x="37" y="109"/>
                    <a:pt x="37" y="116"/>
                  </a:cubicBezTo>
                  <a:cubicBezTo>
                    <a:pt x="37" y="117"/>
                    <a:pt x="38" y="118"/>
                    <a:pt x="39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0" y="118"/>
                    <a:pt x="101" y="117"/>
                    <a:pt x="101" y="116"/>
                  </a:cubicBezTo>
                  <a:cubicBezTo>
                    <a:pt x="101" y="109"/>
                    <a:pt x="96" y="104"/>
                    <a:pt x="90" y="104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0" y="99"/>
                    <a:pt x="77" y="93"/>
                    <a:pt x="76" y="86"/>
                  </a:cubicBezTo>
                  <a:cubicBezTo>
                    <a:pt x="79" y="85"/>
                    <a:pt x="80" y="82"/>
                    <a:pt x="80" y="79"/>
                  </a:cubicBezTo>
                  <a:cubicBezTo>
                    <a:pt x="80" y="76"/>
                    <a:pt x="77" y="73"/>
                    <a:pt x="74" y="73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5" y="28"/>
                    <a:pt x="77" y="26"/>
                    <a:pt x="78" y="23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7" y="24"/>
                    <a:pt x="108" y="26"/>
                    <a:pt x="110" y="26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3"/>
                    <a:pt x="87" y="84"/>
                    <a:pt x="87" y="84"/>
                  </a:cubicBezTo>
                  <a:cubicBezTo>
                    <a:pt x="87" y="93"/>
                    <a:pt x="98" y="100"/>
                    <a:pt x="113" y="100"/>
                  </a:cubicBezTo>
                  <a:cubicBezTo>
                    <a:pt x="127" y="100"/>
                    <a:pt x="138" y="93"/>
                    <a:pt x="138" y="84"/>
                  </a:cubicBezTo>
                  <a:cubicBezTo>
                    <a:pt x="138" y="84"/>
                    <a:pt x="138" y="83"/>
                    <a:pt x="138" y="8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97">
            <a:extLst>
              <a:ext uri="{FF2B5EF4-FFF2-40B4-BE49-F238E27FC236}">
                <a16:creationId xmlns:a16="http://schemas.microsoft.com/office/drawing/2014/main" id="{E23A5B3D-1364-4DB2-87F5-DDFE82D5EE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1750" y="1549400"/>
            <a:ext cx="841375" cy="841375"/>
            <a:chOff x="1620" y="976"/>
            <a:chExt cx="530" cy="530"/>
          </a:xfrm>
        </p:grpSpPr>
        <p:sp>
          <p:nvSpPr>
            <p:cNvPr id="123" name="AutoShape 96">
              <a:extLst>
                <a:ext uri="{FF2B5EF4-FFF2-40B4-BE49-F238E27FC236}">
                  <a16:creationId xmlns:a16="http://schemas.microsoft.com/office/drawing/2014/main" id="{6E4B555F-9EE8-484A-AFF3-8D0D21BFB9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0" y="9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98">
              <a:extLst>
                <a:ext uri="{FF2B5EF4-FFF2-40B4-BE49-F238E27FC236}">
                  <a16:creationId xmlns:a16="http://schemas.microsoft.com/office/drawing/2014/main" id="{EDC52C6C-D44D-4A93-8B6B-18578C7445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0" y="97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9">
              <a:extLst>
                <a:ext uri="{FF2B5EF4-FFF2-40B4-BE49-F238E27FC236}">
                  <a16:creationId xmlns:a16="http://schemas.microsoft.com/office/drawing/2014/main" id="{74BB2627-78D3-4BDD-9362-F6DE926275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8" y="99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0">
              <a:extLst>
                <a:ext uri="{FF2B5EF4-FFF2-40B4-BE49-F238E27FC236}">
                  <a16:creationId xmlns:a16="http://schemas.microsoft.com/office/drawing/2014/main" id="{FC46B812-7DC1-4AEF-AE1C-711A626EF5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2" y="1086"/>
              <a:ext cx="328" cy="269"/>
            </a:xfrm>
            <a:custGeom>
              <a:avLst/>
              <a:gdLst>
                <a:gd name="T0" fmla="*/ 84 w 128"/>
                <a:gd name="T1" fmla="*/ 52 h 105"/>
                <a:gd name="T2" fmla="*/ 62 w 128"/>
                <a:gd name="T3" fmla="*/ 49 h 105"/>
                <a:gd name="T4" fmla="*/ 30 w 128"/>
                <a:gd name="T5" fmla="*/ 48 h 105"/>
                <a:gd name="T6" fmla="*/ 6 w 128"/>
                <a:gd name="T7" fmla="*/ 45 h 105"/>
                <a:gd name="T8" fmla="*/ 8 w 128"/>
                <a:gd name="T9" fmla="*/ 45 h 105"/>
                <a:gd name="T10" fmla="*/ 32 w 128"/>
                <a:gd name="T11" fmla="*/ 42 h 105"/>
                <a:gd name="T12" fmla="*/ 33 w 128"/>
                <a:gd name="T13" fmla="*/ 41 h 105"/>
                <a:gd name="T14" fmla="*/ 93 w 128"/>
                <a:gd name="T15" fmla="*/ 42 h 105"/>
                <a:gd name="T16" fmla="*/ 118 w 128"/>
                <a:gd name="T17" fmla="*/ 45 h 105"/>
                <a:gd name="T18" fmla="*/ 111 w 128"/>
                <a:gd name="T19" fmla="*/ 50 h 105"/>
                <a:gd name="T20" fmla="*/ 31 w 128"/>
                <a:gd name="T21" fmla="*/ 39 h 105"/>
                <a:gd name="T22" fmla="*/ 44 w 128"/>
                <a:gd name="T23" fmla="*/ 15 h 105"/>
                <a:gd name="T24" fmla="*/ 65 w 128"/>
                <a:gd name="T25" fmla="*/ 13 h 105"/>
                <a:gd name="T26" fmla="*/ 34 w 128"/>
                <a:gd name="T27" fmla="*/ 38 h 105"/>
                <a:gd name="T28" fmla="*/ 61 w 128"/>
                <a:gd name="T29" fmla="*/ 13 h 105"/>
                <a:gd name="T30" fmla="*/ 121 w 128"/>
                <a:gd name="T31" fmla="*/ 42 h 105"/>
                <a:gd name="T32" fmla="*/ 95 w 128"/>
                <a:gd name="T33" fmla="*/ 38 h 105"/>
                <a:gd name="T34" fmla="*/ 121 w 128"/>
                <a:gd name="T35" fmla="*/ 42 h 105"/>
                <a:gd name="T36" fmla="*/ 122 w 128"/>
                <a:gd name="T37" fmla="*/ 45 h 105"/>
                <a:gd name="T38" fmla="*/ 120 w 128"/>
                <a:gd name="T39" fmla="*/ 45 h 105"/>
                <a:gd name="T40" fmla="*/ 127 w 128"/>
                <a:gd name="T41" fmla="*/ 46 h 105"/>
                <a:gd name="T42" fmla="*/ 64 w 128"/>
                <a:gd name="T43" fmla="*/ 10 h 105"/>
                <a:gd name="T44" fmla="*/ 61 w 128"/>
                <a:gd name="T45" fmla="*/ 0 h 105"/>
                <a:gd name="T46" fmla="*/ 61 w 128"/>
                <a:gd name="T47" fmla="*/ 10 h 105"/>
                <a:gd name="T48" fmla="*/ 1 w 128"/>
                <a:gd name="T49" fmla="*/ 46 h 105"/>
                <a:gd name="T50" fmla="*/ 3 w 128"/>
                <a:gd name="T51" fmla="*/ 48 h 105"/>
                <a:gd name="T52" fmla="*/ 17 w 128"/>
                <a:gd name="T53" fmla="*/ 53 h 105"/>
                <a:gd name="T54" fmla="*/ 44 w 128"/>
                <a:gd name="T55" fmla="*/ 55 h 105"/>
                <a:gd name="T56" fmla="*/ 45 w 128"/>
                <a:gd name="T57" fmla="*/ 55 h 105"/>
                <a:gd name="T58" fmla="*/ 61 w 128"/>
                <a:gd name="T59" fmla="*/ 94 h 105"/>
                <a:gd name="T60" fmla="*/ 46 w 128"/>
                <a:gd name="T61" fmla="*/ 94 h 105"/>
                <a:gd name="T62" fmla="*/ 43 w 128"/>
                <a:gd name="T63" fmla="*/ 85 h 105"/>
                <a:gd name="T64" fmla="*/ 54 w 128"/>
                <a:gd name="T65" fmla="*/ 105 h 105"/>
                <a:gd name="T66" fmla="*/ 64 w 128"/>
                <a:gd name="T67" fmla="*/ 51 h 105"/>
                <a:gd name="T68" fmla="*/ 85 w 128"/>
                <a:gd name="T69" fmla="*/ 55 h 105"/>
                <a:gd name="T70" fmla="*/ 111 w 128"/>
                <a:gd name="T71" fmla="*/ 53 h 105"/>
                <a:gd name="T72" fmla="*/ 113 w 128"/>
                <a:gd name="T73" fmla="*/ 52 h 105"/>
                <a:gd name="T74" fmla="*/ 128 w 128"/>
                <a:gd name="T75" fmla="*/ 4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05">
                  <a:moveTo>
                    <a:pt x="111" y="50"/>
                  </a:moveTo>
                  <a:cubicBezTo>
                    <a:pt x="94" y="46"/>
                    <a:pt x="86" y="50"/>
                    <a:pt x="84" y="52"/>
                  </a:cubicBezTo>
                  <a:cubicBezTo>
                    <a:pt x="74" y="48"/>
                    <a:pt x="64" y="49"/>
                    <a:pt x="64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4" y="49"/>
                    <a:pt x="47" y="51"/>
                    <a:pt x="45" y="52"/>
                  </a:cubicBezTo>
                  <a:cubicBezTo>
                    <a:pt x="40" y="49"/>
                    <a:pt x="34" y="48"/>
                    <a:pt x="30" y="48"/>
                  </a:cubicBezTo>
                  <a:cubicBezTo>
                    <a:pt x="24" y="48"/>
                    <a:pt x="20" y="49"/>
                    <a:pt x="18" y="50"/>
                  </a:cubicBezTo>
                  <a:cubicBezTo>
                    <a:pt x="13" y="46"/>
                    <a:pt x="9" y="45"/>
                    <a:pt x="6" y="45"/>
                  </a:cubicBezTo>
                  <a:cubicBezTo>
                    <a:pt x="6" y="45"/>
                    <a:pt x="7" y="45"/>
                    <a:pt x="7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19" y="40"/>
                    <a:pt x="32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59" y="27"/>
                    <a:pt x="93" y="41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1"/>
                    <a:pt x="107" y="37"/>
                    <a:pt x="118" y="45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4" y="47"/>
                    <a:pt x="112" y="49"/>
                    <a:pt x="111" y="50"/>
                  </a:cubicBezTo>
                  <a:moveTo>
                    <a:pt x="44" y="15"/>
                  </a:moveTo>
                  <a:cubicBezTo>
                    <a:pt x="35" y="22"/>
                    <a:pt x="32" y="34"/>
                    <a:pt x="31" y="39"/>
                  </a:cubicBezTo>
                  <a:cubicBezTo>
                    <a:pt x="19" y="37"/>
                    <a:pt x="9" y="41"/>
                    <a:pt x="7" y="42"/>
                  </a:cubicBezTo>
                  <a:cubicBezTo>
                    <a:pt x="13" y="34"/>
                    <a:pt x="25" y="20"/>
                    <a:pt x="44" y="15"/>
                  </a:cubicBezTo>
                  <a:moveTo>
                    <a:pt x="65" y="13"/>
                  </a:moveTo>
                  <a:cubicBezTo>
                    <a:pt x="65" y="13"/>
                    <a:pt x="65" y="13"/>
                    <a:pt x="65" y="13"/>
                  </a:cubicBezTo>
                  <a:cubicBezTo>
                    <a:pt x="86" y="13"/>
                    <a:pt x="91" y="31"/>
                    <a:pt x="92" y="38"/>
                  </a:cubicBezTo>
                  <a:cubicBezTo>
                    <a:pt x="63" y="27"/>
                    <a:pt x="41" y="34"/>
                    <a:pt x="34" y="38"/>
                  </a:cubicBezTo>
                  <a:cubicBezTo>
                    <a:pt x="35" y="31"/>
                    <a:pt x="41" y="13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lnTo>
                    <a:pt x="65" y="13"/>
                  </a:lnTo>
                  <a:close/>
                  <a:moveTo>
                    <a:pt x="121" y="42"/>
                  </a:moveTo>
                  <a:cubicBezTo>
                    <a:pt x="120" y="42"/>
                    <a:pt x="119" y="42"/>
                    <a:pt x="119" y="42"/>
                  </a:cubicBezTo>
                  <a:cubicBezTo>
                    <a:pt x="109" y="36"/>
                    <a:pt x="99" y="37"/>
                    <a:pt x="95" y="38"/>
                  </a:cubicBezTo>
                  <a:cubicBezTo>
                    <a:pt x="94" y="34"/>
                    <a:pt x="92" y="22"/>
                    <a:pt x="82" y="15"/>
                  </a:cubicBezTo>
                  <a:cubicBezTo>
                    <a:pt x="103" y="20"/>
                    <a:pt x="115" y="34"/>
                    <a:pt x="121" y="42"/>
                  </a:cubicBezTo>
                  <a:moveTo>
                    <a:pt x="121" y="45"/>
                  </a:moveTo>
                  <a:cubicBezTo>
                    <a:pt x="122" y="45"/>
                    <a:pt x="122" y="45"/>
                    <a:pt x="122" y="45"/>
                  </a:cubicBezTo>
                  <a:cubicBezTo>
                    <a:pt x="121" y="45"/>
                    <a:pt x="120" y="45"/>
                    <a:pt x="119" y="46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20" y="45"/>
                    <a:pt x="120" y="45"/>
                    <a:pt x="121" y="45"/>
                  </a:cubicBezTo>
                  <a:moveTo>
                    <a:pt x="127" y="46"/>
                  </a:moveTo>
                  <a:cubicBezTo>
                    <a:pt x="126" y="46"/>
                    <a:pt x="108" y="10"/>
                    <a:pt x="65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24" y="10"/>
                    <a:pt x="5" y="39"/>
                    <a:pt x="2" y="45"/>
                  </a:cubicBezTo>
                  <a:cubicBezTo>
                    <a:pt x="2" y="46"/>
                    <a:pt x="1" y="46"/>
                    <a:pt x="1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10" y="47"/>
                    <a:pt x="16" y="52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34" y="48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53" y="52"/>
                    <a:pt x="61" y="51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5"/>
                    <a:pt x="61" y="102"/>
                    <a:pt x="54" y="102"/>
                  </a:cubicBezTo>
                  <a:cubicBezTo>
                    <a:pt x="47" y="102"/>
                    <a:pt x="46" y="95"/>
                    <a:pt x="46" y="9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8"/>
                    <a:pt x="46" y="105"/>
                    <a:pt x="54" y="105"/>
                  </a:cubicBezTo>
                  <a:cubicBezTo>
                    <a:pt x="62" y="105"/>
                    <a:pt x="64" y="98"/>
                    <a:pt x="64" y="94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6" y="51"/>
                    <a:pt x="76" y="51"/>
                    <a:pt x="84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92" y="49"/>
                    <a:pt x="111" y="53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2"/>
                    <a:pt x="116" y="47"/>
                    <a:pt x="125" y="48"/>
                  </a:cubicBezTo>
                  <a:cubicBezTo>
                    <a:pt x="128" y="48"/>
                    <a:pt x="128" y="48"/>
                    <a:pt x="128" y="48"/>
                  </a:cubicBezTo>
                  <a:lnTo>
                    <a:pt x="127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1">
              <a:extLst>
                <a:ext uri="{FF2B5EF4-FFF2-40B4-BE49-F238E27FC236}">
                  <a16:creationId xmlns:a16="http://schemas.microsoft.com/office/drawing/2014/main" id="{EFD12357-E6AC-4BF0-AA03-A1AE2BF98E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316"/>
              <a:ext cx="20" cy="34"/>
            </a:xfrm>
            <a:custGeom>
              <a:avLst/>
              <a:gdLst>
                <a:gd name="T0" fmla="*/ 5 w 8"/>
                <a:gd name="T1" fmla="*/ 7 h 13"/>
                <a:gd name="T2" fmla="*/ 3 w 8"/>
                <a:gd name="T3" fmla="*/ 10 h 13"/>
                <a:gd name="T4" fmla="*/ 3 w 8"/>
                <a:gd name="T5" fmla="*/ 4 h 13"/>
                <a:gd name="T6" fmla="*/ 5 w 8"/>
                <a:gd name="T7" fmla="*/ 7 h 13"/>
                <a:gd name="T8" fmla="*/ 2 w 8"/>
                <a:gd name="T9" fmla="*/ 0 h 13"/>
                <a:gd name="T10" fmla="*/ 0 w 8"/>
                <a:gd name="T11" fmla="*/ 0 h 13"/>
                <a:gd name="T12" fmla="*/ 0 w 8"/>
                <a:gd name="T13" fmla="*/ 13 h 13"/>
                <a:gd name="T14" fmla="*/ 2 w 8"/>
                <a:gd name="T15" fmla="*/ 13 h 13"/>
                <a:gd name="T16" fmla="*/ 8 w 8"/>
                <a:gd name="T17" fmla="*/ 7 h 13"/>
                <a:gd name="T18" fmla="*/ 8 w 8"/>
                <a:gd name="T19" fmla="*/ 7 h 13"/>
                <a:gd name="T20" fmla="*/ 2 w 8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3">
                  <a:moveTo>
                    <a:pt x="5" y="7"/>
                  </a:moveTo>
                  <a:cubicBezTo>
                    <a:pt x="5" y="8"/>
                    <a:pt x="5" y="9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5"/>
                    <a:pt x="5" y="6"/>
                    <a:pt x="5" y="7"/>
                  </a:cubicBezTo>
                  <a:close/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7" y="12"/>
                    <a:pt x="8" y="9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4"/>
                    <a:pt x="6" y="2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02">
              <a:extLst>
                <a:ext uri="{FF2B5EF4-FFF2-40B4-BE49-F238E27FC236}">
                  <a16:creationId xmlns:a16="http://schemas.microsoft.com/office/drawing/2014/main" id="{AA0DF187-2A56-4497-8A62-D4EA5C7DB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8" y="1227"/>
              <a:ext cx="108" cy="164"/>
            </a:xfrm>
            <a:custGeom>
              <a:avLst/>
              <a:gdLst>
                <a:gd name="T0" fmla="*/ 39 w 42"/>
                <a:gd name="T1" fmla="*/ 41 h 64"/>
                <a:gd name="T2" fmla="*/ 26 w 42"/>
                <a:gd name="T3" fmla="*/ 54 h 64"/>
                <a:gd name="T4" fmla="*/ 24 w 42"/>
                <a:gd name="T5" fmla="*/ 54 h 64"/>
                <a:gd name="T6" fmla="*/ 24 w 42"/>
                <a:gd name="T7" fmla="*/ 61 h 64"/>
                <a:gd name="T8" fmla="*/ 20 w 42"/>
                <a:gd name="T9" fmla="*/ 61 h 64"/>
                <a:gd name="T10" fmla="*/ 20 w 42"/>
                <a:gd name="T11" fmla="*/ 54 h 64"/>
                <a:gd name="T12" fmla="*/ 19 w 42"/>
                <a:gd name="T13" fmla="*/ 54 h 64"/>
                <a:gd name="T14" fmla="*/ 4 w 42"/>
                <a:gd name="T15" fmla="*/ 48 h 64"/>
                <a:gd name="T16" fmla="*/ 8 w 42"/>
                <a:gd name="T17" fmla="*/ 42 h 64"/>
                <a:gd name="T18" fmla="*/ 19 w 42"/>
                <a:gd name="T19" fmla="*/ 48 h 64"/>
                <a:gd name="T20" fmla="*/ 20 w 42"/>
                <a:gd name="T21" fmla="*/ 48 h 64"/>
                <a:gd name="T22" fmla="*/ 20 w 42"/>
                <a:gd name="T23" fmla="*/ 34 h 64"/>
                <a:gd name="T24" fmla="*/ 19 w 42"/>
                <a:gd name="T25" fmla="*/ 34 h 64"/>
                <a:gd name="T26" fmla="*/ 5 w 42"/>
                <a:gd name="T27" fmla="*/ 20 h 64"/>
                <a:gd name="T28" fmla="*/ 5 w 42"/>
                <a:gd name="T29" fmla="*/ 20 h 64"/>
                <a:gd name="T30" fmla="*/ 19 w 42"/>
                <a:gd name="T31" fmla="*/ 7 h 64"/>
                <a:gd name="T32" fmla="*/ 20 w 42"/>
                <a:gd name="T33" fmla="*/ 7 h 64"/>
                <a:gd name="T34" fmla="*/ 20 w 42"/>
                <a:gd name="T35" fmla="*/ 3 h 64"/>
                <a:gd name="T36" fmla="*/ 24 w 42"/>
                <a:gd name="T37" fmla="*/ 3 h 64"/>
                <a:gd name="T38" fmla="*/ 24 w 42"/>
                <a:gd name="T39" fmla="*/ 7 h 64"/>
                <a:gd name="T40" fmla="*/ 26 w 42"/>
                <a:gd name="T41" fmla="*/ 8 h 64"/>
                <a:gd name="T42" fmla="*/ 37 w 42"/>
                <a:gd name="T43" fmla="*/ 12 h 64"/>
                <a:gd name="T44" fmla="*/ 34 w 42"/>
                <a:gd name="T45" fmla="*/ 18 h 64"/>
                <a:gd name="T46" fmla="*/ 26 w 42"/>
                <a:gd name="T47" fmla="*/ 14 h 64"/>
                <a:gd name="T48" fmla="*/ 24 w 42"/>
                <a:gd name="T49" fmla="*/ 14 h 64"/>
                <a:gd name="T50" fmla="*/ 24 w 42"/>
                <a:gd name="T51" fmla="*/ 27 h 64"/>
                <a:gd name="T52" fmla="*/ 25 w 42"/>
                <a:gd name="T53" fmla="*/ 28 h 64"/>
                <a:gd name="T54" fmla="*/ 39 w 42"/>
                <a:gd name="T55" fmla="*/ 41 h 64"/>
                <a:gd name="T56" fmla="*/ 27 w 42"/>
                <a:gd name="T57" fmla="*/ 25 h 64"/>
                <a:gd name="T58" fmla="*/ 27 w 42"/>
                <a:gd name="T59" fmla="*/ 17 h 64"/>
                <a:gd name="T60" fmla="*/ 33 w 42"/>
                <a:gd name="T61" fmla="*/ 21 h 64"/>
                <a:gd name="T62" fmla="*/ 35 w 42"/>
                <a:gd name="T63" fmla="*/ 22 h 64"/>
                <a:gd name="T64" fmla="*/ 41 w 42"/>
                <a:gd name="T65" fmla="*/ 11 h 64"/>
                <a:gd name="T66" fmla="*/ 40 w 42"/>
                <a:gd name="T67" fmla="*/ 10 h 64"/>
                <a:gd name="T68" fmla="*/ 27 w 42"/>
                <a:gd name="T69" fmla="*/ 5 h 64"/>
                <a:gd name="T70" fmla="*/ 27 w 42"/>
                <a:gd name="T71" fmla="*/ 0 h 64"/>
                <a:gd name="T72" fmla="*/ 17 w 42"/>
                <a:gd name="T73" fmla="*/ 0 h 64"/>
                <a:gd name="T74" fmla="*/ 17 w 42"/>
                <a:gd name="T75" fmla="*/ 5 h 64"/>
                <a:gd name="T76" fmla="*/ 2 w 42"/>
                <a:gd name="T77" fmla="*/ 20 h 64"/>
                <a:gd name="T78" fmla="*/ 2 w 42"/>
                <a:gd name="T79" fmla="*/ 20 h 64"/>
                <a:gd name="T80" fmla="*/ 17 w 42"/>
                <a:gd name="T81" fmla="*/ 36 h 64"/>
                <a:gd name="T82" fmla="*/ 17 w 42"/>
                <a:gd name="T83" fmla="*/ 44 h 64"/>
                <a:gd name="T84" fmla="*/ 8 w 42"/>
                <a:gd name="T85" fmla="*/ 39 h 64"/>
                <a:gd name="T86" fmla="*/ 7 w 42"/>
                <a:gd name="T87" fmla="*/ 38 h 64"/>
                <a:gd name="T88" fmla="*/ 0 w 42"/>
                <a:gd name="T89" fmla="*/ 49 h 64"/>
                <a:gd name="T90" fmla="*/ 1 w 42"/>
                <a:gd name="T91" fmla="*/ 50 h 64"/>
                <a:gd name="T92" fmla="*/ 17 w 42"/>
                <a:gd name="T93" fmla="*/ 56 h 64"/>
                <a:gd name="T94" fmla="*/ 17 w 42"/>
                <a:gd name="T95" fmla="*/ 64 h 64"/>
                <a:gd name="T96" fmla="*/ 27 w 42"/>
                <a:gd name="T97" fmla="*/ 64 h 64"/>
                <a:gd name="T98" fmla="*/ 27 w 42"/>
                <a:gd name="T99" fmla="*/ 57 h 64"/>
                <a:gd name="T100" fmla="*/ 42 w 42"/>
                <a:gd name="T101" fmla="*/ 41 h 64"/>
                <a:gd name="T102" fmla="*/ 42 w 42"/>
                <a:gd name="T103" fmla="*/ 41 h 64"/>
                <a:gd name="T104" fmla="*/ 27 w 42"/>
                <a:gd name="T105" fmla="*/ 2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" h="64">
                  <a:moveTo>
                    <a:pt x="39" y="41"/>
                  </a:moveTo>
                  <a:cubicBezTo>
                    <a:pt x="39" y="48"/>
                    <a:pt x="34" y="53"/>
                    <a:pt x="26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3" y="53"/>
                    <a:pt x="8" y="51"/>
                    <a:pt x="4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2" y="45"/>
                    <a:pt x="15" y="47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9" y="31"/>
                    <a:pt x="5" y="27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3"/>
                    <a:pt x="10" y="8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0" y="8"/>
                    <a:pt x="33" y="10"/>
                    <a:pt x="37" y="12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1" y="16"/>
                    <a:pt x="28" y="15"/>
                    <a:pt x="26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35" y="30"/>
                    <a:pt x="39" y="34"/>
                    <a:pt x="39" y="41"/>
                  </a:cubicBezTo>
                  <a:close/>
                  <a:moveTo>
                    <a:pt x="27" y="25"/>
                  </a:moveTo>
                  <a:cubicBezTo>
                    <a:pt x="27" y="17"/>
                    <a:pt x="27" y="17"/>
                    <a:pt x="27" y="17"/>
                  </a:cubicBezTo>
                  <a:cubicBezTo>
                    <a:pt x="29" y="18"/>
                    <a:pt x="31" y="19"/>
                    <a:pt x="33" y="2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6" y="7"/>
                    <a:pt x="32" y="6"/>
                    <a:pt x="27" y="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8" y="6"/>
                    <a:pt x="2" y="12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30"/>
                    <a:pt x="9" y="34"/>
                    <a:pt x="17" y="36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4" y="43"/>
                    <a:pt x="12" y="42"/>
                    <a:pt x="8" y="39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6" y="53"/>
                    <a:pt x="11" y="55"/>
                    <a:pt x="17" y="56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36" y="55"/>
                    <a:pt x="42" y="49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33"/>
                    <a:pt x="38" y="28"/>
                    <a:pt x="27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3">
              <a:extLst>
                <a:ext uri="{FF2B5EF4-FFF2-40B4-BE49-F238E27FC236}">
                  <a16:creationId xmlns:a16="http://schemas.microsoft.com/office/drawing/2014/main" id="{2693C27C-69D9-4D39-978A-E370CC5C7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2" y="1260"/>
              <a:ext cx="18" cy="33"/>
            </a:xfrm>
            <a:custGeom>
              <a:avLst/>
              <a:gdLst>
                <a:gd name="T0" fmla="*/ 4 w 7"/>
                <a:gd name="T1" fmla="*/ 9 h 13"/>
                <a:gd name="T2" fmla="*/ 2 w 7"/>
                <a:gd name="T3" fmla="*/ 6 h 13"/>
                <a:gd name="T4" fmla="*/ 2 w 7"/>
                <a:gd name="T5" fmla="*/ 6 h 13"/>
                <a:gd name="T6" fmla="*/ 4 w 7"/>
                <a:gd name="T7" fmla="*/ 4 h 13"/>
                <a:gd name="T8" fmla="*/ 4 w 7"/>
                <a:gd name="T9" fmla="*/ 9 h 13"/>
                <a:gd name="T10" fmla="*/ 0 w 7"/>
                <a:gd name="T11" fmla="*/ 6 h 13"/>
                <a:gd name="T12" fmla="*/ 0 w 7"/>
                <a:gd name="T13" fmla="*/ 6 h 13"/>
                <a:gd name="T14" fmla="*/ 5 w 7"/>
                <a:gd name="T15" fmla="*/ 13 h 13"/>
                <a:gd name="T16" fmla="*/ 7 w 7"/>
                <a:gd name="T17" fmla="*/ 13 h 13"/>
                <a:gd name="T18" fmla="*/ 7 w 7"/>
                <a:gd name="T19" fmla="*/ 0 h 13"/>
                <a:gd name="T20" fmla="*/ 6 w 7"/>
                <a:gd name="T21" fmla="*/ 0 h 13"/>
                <a:gd name="T22" fmla="*/ 0 w 7"/>
                <a:gd name="T2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13">
                  <a:moveTo>
                    <a:pt x="4" y="9"/>
                  </a:moveTo>
                  <a:cubicBezTo>
                    <a:pt x="3" y="8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4"/>
                    <a:pt x="4" y="4"/>
                  </a:cubicBezTo>
                  <a:lnTo>
                    <a:pt x="4" y="9"/>
                  </a:lnTo>
                  <a:close/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1" y="11"/>
                    <a:pt x="5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1"/>
                    <a:pt x="0" y="5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06">
            <a:extLst>
              <a:ext uri="{FF2B5EF4-FFF2-40B4-BE49-F238E27FC236}">
                <a16:creationId xmlns:a16="http://schemas.microsoft.com/office/drawing/2014/main" id="{A3E10003-329F-4822-923D-E8CED96352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3788" y="1590675"/>
            <a:ext cx="758825" cy="758825"/>
            <a:chOff x="2289" y="1002"/>
            <a:chExt cx="478" cy="478"/>
          </a:xfrm>
        </p:grpSpPr>
        <p:sp>
          <p:nvSpPr>
            <p:cNvPr id="131" name="AutoShape 105">
              <a:extLst>
                <a:ext uri="{FF2B5EF4-FFF2-40B4-BE49-F238E27FC236}">
                  <a16:creationId xmlns:a16="http://schemas.microsoft.com/office/drawing/2014/main" id="{B91678BB-AD33-4650-BF66-4FD3D4F95D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9" y="100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7">
              <a:extLst>
                <a:ext uri="{FF2B5EF4-FFF2-40B4-BE49-F238E27FC236}">
                  <a16:creationId xmlns:a16="http://schemas.microsoft.com/office/drawing/2014/main" id="{2170CAC3-8094-44FF-B127-7E2567AFB7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1" y="100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8">
              <a:extLst>
                <a:ext uri="{FF2B5EF4-FFF2-40B4-BE49-F238E27FC236}">
                  <a16:creationId xmlns:a16="http://schemas.microsoft.com/office/drawing/2014/main" id="{E60E53D2-A00C-416D-BA2E-A70923004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3" y="1093"/>
              <a:ext cx="313" cy="257"/>
            </a:xfrm>
            <a:custGeom>
              <a:avLst/>
              <a:gdLst>
                <a:gd name="T0" fmla="*/ 84 w 128"/>
                <a:gd name="T1" fmla="*/ 52 h 105"/>
                <a:gd name="T2" fmla="*/ 62 w 128"/>
                <a:gd name="T3" fmla="*/ 49 h 105"/>
                <a:gd name="T4" fmla="*/ 30 w 128"/>
                <a:gd name="T5" fmla="*/ 48 h 105"/>
                <a:gd name="T6" fmla="*/ 6 w 128"/>
                <a:gd name="T7" fmla="*/ 45 h 105"/>
                <a:gd name="T8" fmla="*/ 8 w 128"/>
                <a:gd name="T9" fmla="*/ 45 h 105"/>
                <a:gd name="T10" fmla="*/ 32 w 128"/>
                <a:gd name="T11" fmla="*/ 42 h 105"/>
                <a:gd name="T12" fmla="*/ 33 w 128"/>
                <a:gd name="T13" fmla="*/ 41 h 105"/>
                <a:gd name="T14" fmla="*/ 93 w 128"/>
                <a:gd name="T15" fmla="*/ 42 h 105"/>
                <a:gd name="T16" fmla="*/ 118 w 128"/>
                <a:gd name="T17" fmla="*/ 45 h 105"/>
                <a:gd name="T18" fmla="*/ 111 w 128"/>
                <a:gd name="T19" fmla="*/ 50 h 105"/>
                <a:gd name="T20" fmla="*/ 31 w 128"/>
                <a:gd name="T21" fmla="*/ 39 h 105"/>
                <a:gd name="T22" fmla="*/ 44 w 128"/>
                <a:gd name="T23" fmla="*/ 15 h 105"/>
                <a:gd name="T24" fmla="*/ 65 w 128"/>
                <a:gd name="T25" fmla="*/ 13 h 105"/>
                <a:gd name="T26" fmla="*/ 34 w 128"/>
                <a:gd name="T27" fmla="*/ 38 h 105"/>
                <a:gd name="T28" fmla="*/ 61 w 128"/>
                <a:gd name="T29" fmla="*/ 13 h 105"/>
                <a:gd name="T30" fmla="*/ 121 w 128"/>
                <a:gd name="T31" fmla="*/ 42 h 105"/>
                <a:gd name="T32" fmla="*/ 95 w 128"/>
                <a:gd name="T33" fmla="*/ 38 h 105"/>
                <a:gd name="T34" fmla="*/ 121 w 128"/>
                <a:gd name="T35" fmla="*/ 42 h 105"/>
                <a:gd name="T36" fmla="*/ 122 w 128"/>
                <a:gd name="T37" fmla="*/ 45 h 105"/>
                <a:gd name="T38" fmla="*/ 120 w 128"/>
                <a:gd name="T39" fmla="*/ 45 h 105"/>
                <a:gd name="T40" fmla="*/ 127 w 128"/>
                <a:gd name="T41" fmla="*/ 46 h 105"/>
                <a:gd name="T42" fmla="*/ 64 w 128"/>
                <a:gd name="T43" fmla="*/ 10 h 105"/>
                <a:gd name="T44" fmla="*/ 61 w 128"/>
                <a:gd name="T45" fmla="*/ 0 h 105"/>
                <a:gd name="T46" fmla="*/ 61 w 128"/>
                <a:gd name="T47" fmla="*/ 10 h 105"/>
                <a:gd name="T48" fmla="*/ 1 w 128"/>
                <a:gd name="T49" fmla="*/ 46 h 105"/>
                <a:gd name="T50" fmla="*/ 3 w 128"/>
                <a:gd name="T51" fmla="*/ 48 h 105"/>
                <a:gd name="T52" fmla="*/ 17 w 128"/>
                <a:gd name="T53" fmla="*/ 53 h 105"/>
                <a:gd name="T54" fmla="*/ 44 w 128"/>
                <a:gd name="T55" fmla="*/ 55 h 105"/>
                <a:gd name="T56" fmla="*/ 45 w 128"/>
                <a:gd name="T57" fmla="*/ 55 h 105"/>
                <a:gd name="T58" fmla="*/ 61 w 128"/>
                <a:gd name="T59" fmla="*/ 94 h 105"/>
                <a:gd name="T60" fmla="*/ 46 w 128"/>
                <a:gd name="T61" fmla="*/ 94 h 105"/>
                <a:gd name="T62" fmla="*/ 43 w 128"/>
                <a:gd name="T63" fmla="*/ 85 h 105"/>
                <a:gd name="T64" fmla="*/ 54 w 128"/>
                <a:gd name="T65" fmla="*/ 105 h 105"/>
                <a:gd name="T66" fmla="*/ 64 w 128"/>
                <a:gd name="T67" fmla="*/ 51 h 105"/>
                <a:gd name="T68" fmla="*/ 85 w 128"/>
                <a:gd name="T69" fmla="*/ 55 h 105"/>
                <a:gd name="T70" fmla="*/ 111 w 128"/>
                <a:gd name="T71" fmla="*/ 53 h 105"/>
                <a:gd name="T72" fmla="*/ 113 w 128"/>
                <a:gd name="T73" fmla="*/ 52 h 105"/>
                <a:gd name="T74" fmla="*/ 128 w 128"/>
                <a:gd name="T75" fmla="*/ 4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05">
                  <a:moveTo>
                    <a:pt x="111" y="50"/>
                  </a:moveTo>
                  <a:cubicBezTo>
                    <a:pt x="94" y="46"/>
                    <a:pt x="86" y="50"/>
                    <a:pt x="84" y="52"/>
                  </a:cubicBezTo>
                  <a:cubicBezTo>
                    <a:pt x="74" y="48"/>
                    <a:pt x="64" y="49"/>
                    <a:pt x="64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4" y="49"/>
                    <a:pt x="47" y="51"/>
                    <a:pt x="45" y="52"/>
                  </a:cubicBezTo>
                  <a:cubicBezTo>
                    <a:pt x="40" y="49"/>
                    <a:pt x="34" y="48"/>
                    <a:pt x="30" y="48"/>
                  </a:cubicBezTo>
                  <a:cubicBezTo>
                    <a:pt x="24" y="48"/>
                    <a:pt x="20" y="49"/>
                    <a:pt x="18" y="50"/>
                  </a:cubicBezTo>
                  <a:cubicBezTo>
                    <a:pt x="13" y="46"/>
                    <a:pt x="9" y="45"/>
                    <a:pt x="6" y="45"/>
                  </a:cubicBezTo>
                  <a:cubicBezTo>
                    <a:pt x="6" y="45"/>
                    <a:pt x="7" y="45"/>
                    <a:pt x="7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19" y="40"/>
                    <a:pt x="32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59" y="27"/>
                    <a:pt x="93" y="41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1"/>
                    <a:pt x="107" y="37"/>
                    <a:pt x="118" y="45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4" y="47"/>
                    <a:pt x="112" y="49"/>
                    <a:pt x="111" y="50"/>
                  </a:cubicBezTo>
                  <a:moveTo>
                    <a:pt x="44" y="15"/>
                  </a:moveTo>
                  <a:cubicBezTo>
                    <a:pt x="35" y="22"/>
                    <a:pt x="32" y="34"/>
                    <a:pt x="31" y="39"/>
                  </a:cubicBezTo>
                  <a:cubicBezTo>
                    <a:pt x="19" y="37"/>
                    <a:pt x="9" y="41"/>
                    <a:pt x="7" y="42"/>
                  </a:cubicBezTo>
                  <a:cubicBezTo>
                    <a:pt x="13" y="34"/>
                    <a:pt x="25" y="20"/>
                    <a:pt x="44" y="15"/>
                  </a:cubicBezTo>
                  <a:moveTo>
                    <a:pt x="65" y="13"/>
                  </a:moveTo>
                  <a:cubicBezTo>
                    <a:pt x="65" y="13"/>
                    <a:pt x="65" y="13"/>
                    <a:pt x="65" y="13"/>
                  </a:cubicBezTo>
                  <a:cubicBezTo>
                    <a:pt x="86" y="13"/>
                    <a:pt x="91" y="31"/>
                    <a:pt x="92" y="38"/>
                  </a:cubicBezTo>
                  <a:cubicBezTo>
                    <a:pt x="63" y="27"/>
                    <a:pt x="41" y="34"/>
                    <a:pt x="34" y="38"/>
                  </a:cubicBezTo>
                  <a:cubicBezTo>
                    <a:pt x="35" y="31"/>
                    <a:pt x="41" y="13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lnTo>
                    <a:pt x="65" y="13"/>
                  </a:lnTo>
                  <a:close/>
                  <a:moveTo>
                    <a:pt x="121" y="42"/>
                  </a:moveTo>
                  <a:cubicBezTo>
                    <a:pt x="120" y="42"/>
                    <a:pt x="119" y="42"/>
                    <a:pt x="119" y="42"/>
                  </a:cubicBezTo>
                  <a:cubicBezTo>
                    <a:pt x="109" y="36"/>
                    <a:pt x="99" y="37"/>
                    <a:pt x="95" y="38"/>
                  </a:cubicBezTo>
                  <a:cubicBezTo>
                    <a:pt x="94" y="34"/>
                    <a:pt x="92" y="22"/>
                    <a:pt x="82" y="15"/>
                  </a:cubicBezTo>
                  <a:cubicBezTo>
                    <a:pt x="103" y="20"/>
                    <a:pt x="115" y="34"/>
                    <a:pt x="121" y="42"/>
                  </a:cubicBezTo>
                  <a:moveTo>
                    <a:pt x="121" y="45"/>
                  </a:moveTo>
                  <a:cubicBezTo>
                    <a:pt x="122" y="45"/>
                    <a:pt x="122" y="45"/>
                    <a:pt x="122" y="45"/>
                  </a:cubicBezTo>
                  <a:cubicBezTo>
                    <a:pt x="121" y="45"/>
                    <a:pt x="120" y="45"/>
                    <a:pt x="119" y="46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20" y="45"/>
                    <a:pt x="120" y="45"/>
                    <a:pt x="121" y="45"/>
                  </a:cubicBezTo>
                  <a:moveTo>
                    <a:pt x="127" y="46"/>
                  </a:moveTo>
                  <a:cubicBezTo>
                    <a:pt x="126" y="46"/>
                    <a:pt x="108" y="10"/>
                    <a:pt x="65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24" y="10"/>
                    <a:pt x="5" y="39"/>
                    <a:pt x="2" y="45"/>
                  </a:cubicBezTo>
                  <a:cubicBezTo>
                    <a:pt x="2" y="46"/>
                    <a:pt x="1" y="46"/>
                    <a:pt x="1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10" y="47"/>
                    <a:pt x="16" y="52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34" y="48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53" y="52"/>
                    <a:pt x="61" y="51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5"/>
                    <a:pt x="61" y="102"/>
                    <a:pt x="54" y="102"/>
                  </a:cubicBezTo>
                  <a:cubicBezTo>
                    <a:pt x="47" y="102"/>
                    <a:pt x="46" y="95"/>
                    <a:pt x="46" y="9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8"/>
                    <a:pt x="46" y="105"/>
                    <a:pt x="54" y="105"/>
                  </a:cubicBezTo>
                  <a:cubicBezTo>
                    <a:pt x="62" y="105"/>
                    <a:pt x="64" y="98"/>
                    <a:pt x="64" y="94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6" y="51"/>
                    <a:pt x="76" y="51"/>
                    <a:pt x="84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92" y="49"/>
                    <a:pt x="111" y="53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2"/>
                    <a:pt x="116" y="47"/>
                    <a:pt x="125" y="48"/>
                  </a:cubicBezTo>
                  <a:cubicBezTo>
                    <a:pt x="128" y="48"/>
                    <a:pt x="128" y="48"/>
                    <a:pt x="128" y="48"/>
                  </a:cubicBezTo>
                  <a:lnTo>
                    <a:pt x="127" y="4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09">
              <a:extLst>
                <a:ext uri="{FF2B5EF4-FFF2-40B4-BE49-F238E27FC236}">
                  <a16:creationId xmlns:a16="http://schemas.microsoft.com/office/drawing/2014/main" id="{D19389D9-621D-4B55-949B-075010B0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1" y="1313"/>
              <a:ext cx="19" cy="32"/>
            </a:xfrm>
            <a:custGeom>
              <a:avLst/>
              <a:gdLst>
                <a:gd name="T0" fmla="*/ 5 w 8"/>
                <a:gd name="T1" fmla="*/ 7 h 13"/>
                <a:gd name="T2" fmla="*/ 3 w 8"/>
                <a:gd name="T3" fmla="*/ 10 h 13"/>
                <a:gd name="T4" fmla="*/ 3 w 8"/>
                <a:gd name="T5" fmla="*/ 4 h 13"/>
                <a:gd name="T6" fmla="*/ 5 w 8"/>
                <a:gd name="T7" fmla="*/ 7 h 13"/>
                <a:gd name="T8" fmla="*/ 2 w 8"/>
                <a:gd name="T9" fmla="*/ 0 h 13"/>
                <a:gd name="T10" fmla="*/ 0 w 8"/>
                <a:gd name="T11" fmla="*/ 0 h 13"/>
                <a:gd name="T12" fmla="*/ 0 w 8"/>
                <a:gd name="T13" fmla="*/ 13 h 13"/>
                <a:gd name="T14" fmla="*/ 2 w 8"/>
                <a:gd name="T15" fmla="*/ 13 h 13"/>
                <a:gd name="T16" fmla="*/ 8 w 8"/>
                <a:gd name="T17" fmla="*/ 7 h 13"/>
                <a:gd name="T18" fmla="*/ 8 w 8"/>
                <a:gd name="T19" fmla="*/ 7 h 13"/>
                <a:gd name="T20" fmla="*/ 2 w 8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3">
                  <a:moveTo>
                    <a:pt x="5" y="7"/>
                  </a:moveTo>
                  <a:cubicBezTo>
                    <a:pt x="5" y="8"/>
                    <a:pt x="5" y="9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5"/>
                    <a:pt x="5" y="6"/>
                    <a:pt x="5" y="7"/>
                  </a:cubicBezTo>
                  <a:close/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7" y="12"/>
                    <a:pt x="8" y="9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4"/>
                    <a:pt x="6" y="2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0">
              <a:extLst>
                <a:ext uri="{FF2B5EF4-FFF2-40B4-BE49-F238E27FC236}">
                  <a16:creationId xmlns:a16="http://schemas.microsoft.com/office/drawing/2014/main" id="{B9AD3462-0173-4A6E-A226-AB7C5F5D8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2" y="1228"/>
              <a:ext cx="103" cy="156"/>
            </a:xfrm>
            <a:custGeom>
              <a:avLst/>
              <a:gdLst>
                <a:gd name="T0" fmla="*/ 39 w 42"/>
                <a:gd name="T1" fmla="*/ 41 h 64"/>
                <a:gd name="T2" fmla="*/ 26 w 42"/>
                <a:gd name="T3" fmla="*/ 54 h 64"/>
                <a:gd name="T4" fmla="*/ 24 w 42"/>
                <a:gd name="T5" fmla="*/ 54 h 64"/>
                <a:gd name="T6" fmla="*/ 24 w 42"/>
                <a:gd name="T7" fmla="*/ 61 h 64"/>
                <a:gd name="T8" fmla="*/ 20 w 42"/>
                <a:gd name="T9" fmla="*/ 61 h 64"/>
                <a:gd name="T10" fmla="*/ 20 w 42"/>
                <a:gd name="T11" fmla="*/ 54 h 64"/>
                <a:gd name="T12" fmla="*/ 19 w 42"/>
                <a:gd name="T13" fmla="*/ 54 h 64"/>
                <a:gd name="T14" fmla="*/ 4 w 42"/>
                <a:gd name="T15" fmla="*/ 48 h 64"/>
                <a:gd name="T16" fmla="*/ 8 w 42"/>
                <a:gd name="T17" fmla="*/ 42 h 64"/>
                <a:gd name="T18" fmla="*/ 19 w 42"/>
                <a:gd name="T19" fmla="*/ 48 h 64"/>
                <a:gd name="T20" fmla="*/ 20 w 42"/>
                <a:gd name="T21" fmla="*/ 48 h 64"/>
                <a:gd name="T22" fmla="*/ 20 w 42"/>
                <a:gd name="T23" fmla="*/ 34 h 64"/>
                <a:gd name="T24" fmla="*/ 19 w 42"/>
                <a:gd name="T25" fmla="*/ 34 h 64"/>
                <a:gd name="T26" fmla="*/ 5 w 42"/>
                <a:gd name="T27" fmla="*/ 20 h 64"/>
                <a:gd name="T28" fmla="*/ 5 w 42"/>
                <a:gd name="T29" fmla="*/ 20 h 64"/>
                <a:gd name="T30" fmla="*/ 19 w 42"/>
                <a:gd name="T31" fmla="*/ 7 h 64"/>
                <a:gd name="T32" fmla="*/ 20 w 42"/>
                <a:gd name="T33" fmla="*/ 7 h 64"/>
                <a:gd name="T34" fmla="*/ 20 w 42"/>
                <a:gd name="T35" fmla="*/ 3 h 64"/>
                <a:gd name="T36" fmla="*/ 24 w 42"/>
                <a:gd name="T37" fmla="*/ 3 h 64"/>
                <a:gd name="T38" fmla="*/ 24 w 42"/>
                <a:gd name="T39" fmla="*/ 7 h 64"/>
                <a:gd name="T40" fmla="*/ 26 w 42"/>
                <a:gd name="T41" fmla="*/ 8 h 64"/>
                <a:gd name="T42" fmla="*/ 37 w 42"/>
                <a:gd name="T43" fmla="*/ 12 h 64"/>
                <a:gd name="T44" fmla="*/ 34 w 42"/>
                <a:gd name="T45" fmla="*/ 18 h 64"/>
                <a:gd name="T46" fmla="*/ 26 w 42"/>
                <a:gd name="T47" fmla="*/ 14 h 64"/>
                <a:gd name="T48" fmla="*/ 24 w 42"/>
                <a:gd name="T49" fmla="*/ 14 h 64"/>
                <a:gd name="T50" fmla="*/ 24 w 42"/>
                <a:gd name="T51" fmla="*/ 27 h 64"/>
                <a:gd name="T52" fmla="*/ 25 w 42"/>
                <a:gd name="T53" fmla="*/ 28 h 64"/>
                <a:gd name="T54" fmla="*/ 39 w 42"/>
                <a:gd name="T55" fmla="*/ 41 h 64"/>
                <a:gd name="T56" fmla="*/ 27 w 42"/>
                <a:gd name="T57" fmla="*/ 25 h 64"/>
                <a:gd name="T58" fmla="*/ 27 w 42"/>
                <a:gd name="T59" fmla="*/ 17 h 64"/>
                <a:gd name="T60" fmla="*/ 33 w 42"/>
                <a:gd name="T61" fmla="*/ 21 h 64"/>
                <a:gd name="T62" fmla="*/ 35 w 42"/>
                <a:gd name="T63" fmla="*/ 22 h 64"/>
                <a:gd name="T64" fmla="*/ 41 w 42"/>
                <a:gd name="T65" fmla="*/ 11 h 64"/>
                <a:gd name="T66" fmla="*/ 40 w 42"/>
                <a:gd name="T67" fmla="*/ 10 h 64"/>
                <a:gd name="T68" fmla="*/ 27 w 42"/>
                <a:gd name="T69" fmla="*/ 5 h 64"/>
                <a:gd name="T70" fmla="*/ 27 w 42"/>
                <a:gd name="T71" fmla="*/ 0 h 64"/>
                <a:gd name="T72" fmla="*/ 17 w 42"/>
                <a:gd name="T73" fmla="*/ 0 h 64"/>
                <a:gd name="T74" fmla="*/ 17 w 42"/>
                <a:gd name="T75" fmla="*/ 5 h 64"/>
                <a:gd name="T76" fmla="*/ 2 w 42"/>
                <a:gd name="T77" fmla="*/ 20 h 64"/>
                <a:gd name="T78" fmla="*/ 2 w 42"/>
                <a:gd name="T79" fmla="*/ 20 h 64"/>
                <a:gd name="T80" fmla="*/ 17 w 42"/>
                <a:gd name="T81" fmla="*/ 36 h 64"/>
                <a:gd name="T82" fmla="*/ 17 w 42"/>
                <a:gd name="T83" fmla="*/ 44 h 64"/>
                <a:gd name="T84" fmla="*/ 8 w 42"/>
                <a:gd name="T85" fmla="*/ 39 h 64"/>
                <a:gd name="T86" fmla="*/ 7 w 42"/>
                <a:gd name="T87" fmla="*/ 38 h 64"/>
                <a:gd name="T88" fmla="*/ 0 w 42"/>
                <a:gd name="T89" fmla="*/ 49 h 64"/>
                <a:gd name="T90" fmla="*/ 1 w 42"/>
                <a:gd name="T91" fmla="*/ 50 h 64"/>
                <a:gd name="T92" fmla="*/ 17 w 42"/>
                <a:gd name="T93" fmla="*/ 56 h 64"/>
                <a:gd name="T94" fmla="*/ 17 w 42"/>
                <a:gd name="T95" fmla="*/ 64 h 64"/>
                <a:gd name="T96" fmla="*/ 27 w 42"/>
                <a:gd name="T97" fmla="*/ 64 h 64"/>
                <a:gd name="T98" fmla="*/ 27 w 42"/>
                <a:gd name="T99" fmla="*/ 57 h 64"/>
                <a:gd name="T100" fmla="*/ 42 w 42"/>
                <a:gd name="T101" fmla="*/ 41 h 64"/>
                <a:gd name="T102" fmla="*/ 42 w 42"/>
                <a:gd name="T103" fmla="*/ 41 h 64"/>
                <a:gd name="T104" fmla="*/ 27 w 42"/>
                <a:gd name="T105" fmla="*/ 2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" h="64">
                  <a:moveTo>
                    <a:pt x="39" y="41"/>
                  </a:moveTo>
                  <a:cubicBezTo>
                    <a:pt x="39" y="48"/>
                    <a:pt x="34" y="53"/>
                    <a:pt x="26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3" y="53"/>
                    <a:pt x="8" y="51"/>
                    <a:pt x="4" y="48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12" y="45"/>
                    <a:pt x="15" y="47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9" y="31"/>
                    <a:pt x="5" y="27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3"/>
                    <a:pt x="10" y="8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0" y="8"/>
                    <a:pt x="33" y="10"/>
                    <a:pt x="37" y="12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1" y="16"/>
                    <a:pt x="28" y="15"/>
                    <a:pt x="26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35" y="30"/>
                    <a:pt x="39" y="34"/>
                    <a:pt x="39" y="41"/>
                  </a:cubicBezTo>
                  <a:close/>
                  <a:moveTo>
                    <a:pt x="27" y="25"/>
                  </a:moveTo>
                  <a:cubicBezTo>
                    <a:pt x="27" y="17"/>
                    <a:pt x="27" y="17"/>
                    <a:pt x="27" y="17"/>
                  </a:cubicBezTo>
                  <a:cubicBezTo>
                    <a:pt x="29" y="18"/>
                    <a:pt x="31" y="19"/>
                    <a:pt x="33" y="2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6" y="7"/>
                    <a:pt x="32" y="6"/>
                    <a:pt x="27" y="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8" y="6"/>
                    <a:pt x="2" y="12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30"/>
                    <a:pt x="9" y="34"/>
                    <a:pt x="17" y="36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4" y="43"/>
                    <a:pt x="12" y="42"/>
                    <a:pt x="8" y="39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6" y="53"/>
                    <a:pt x="11" y="55"/>
                    <a:pt x="17" y="56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36" y="55"/>
                    <a:pt x="42" y="49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33"/>
                    <a:pt x="38" y="28"/>
                    <a:pt x="27" y="2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1">
              <a:extLst>
                <a:ext uri="{FF2B5EF4-FFF2-40B4-BE49-F238E27FC236}">
                  <a16:creationId xmlns:a16="http://schemas.microsoft.com/office/drawing/2014/main" id="{174FFBA4-FE76-4A7C-BA22-15ED3C722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4" y="1259"/>
              <a:ext cx="17" cy="32"/>
            </a:xfrm>
            <a:custGeom>
              <a:avLst/>
              <a:gdLst>
                <a:gd name="T0" fmla="*/ 4 w 7"/>
                <a:gd name="T1" fmla="*/ 9 h 13"/>
                <a:gd name="T2" fmla="*/ 2 w 7"/>
                <a:gd name="T3" fmla="*/ 6 h 13"/>
                <a:gd name="T4" fmla="*/ 2 w 7"/>
                <a:gd name="T5" fmla="*/ 6 h 13"/>
                <a:gd name="T6" fmla="*/ 4 w 7"/>
                <a:gd name="T7" fmla="*/ 4 h 13"/>
                <a:gd name="T8" fmla="*/ 4 w 7"/>
                <a:gd name="T9" fmla="*/ 9 h 13"/>
                <a:gd name="T10" fmla="*/ 0 w 7"/>
                <a:gd name="T11" fmla="*/ 6 h 13"/>
                <a:gd name="T12" fmla="*/ 0 w 7"/>
                <a:gd name="T13" fmla="*/ 6 h 13"/>
                <a:gd name="T14" fmla="*/ 5 w 7"/>
                <a:gd name="T15" fmla="*/ 13 h 13"/>
                <a:gd name="T16" fmla="*/ 7 w 7"/>
                <a:gd name="T17" fmla="*/ 13 h 13"/>
                <a:gd name="T18" fmla="*/ 7 w 7"/>
                <a:gd name="T19" fmla="*/ 0 h 13"/>
                <a:gd name="T20" fmla="*/ 6 w 7"/>
                <a:gd name="T21" fmla="*/ 0 h 13"/>
                <a:gd name="T22" fmla="*/ 0 w 7"/>
                <a:gd name="T2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13">
                  <a:moveTo>
                    <a:pt x="4" y="9"/>
                  </a:moveTo>
                  <a:cubicBezTo>
                    <a:pt x="3" y="8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4"/>
                    <a:pt x="4" y="4"/>
                  </a:cubicBezTo>
                  <a:lnTo>
                    <a:pt x="4" y="9"/>
                  </a:lnTo>
                  <a:close/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1" y="11"/>
                    <a:pt x="5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1"/>
                    <a:pt x="0" y="5"/>
                    <a:pt x="0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14">
            <a:extLst>
              <a:ext uri="{FF2B5EF4-FFF2-40B4-BE49-F238E27FC236}">
                <a16:creationId xmlns:a16="http://schemas.microsoft.com/office/drawing/2014/main" id="{D195A4AE-52E2-4BCE-94B9-8639B923FF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73613" y="1549400"/>
            <a:ext cx="841375" cy="841375"/>
            <a:chOff x="3007" y="976"/>
            <a:chExt cx="530" cy="530"/>
          </a:xfrm>
        </p:grpSpPr>
        <p:sp>
          <p:nvSpPr>
            <p:cNvPr id="138" name="AutoShape 113">
              <a:extLst>
                <a:ext uri="{FF2B5EF4-FFF2-40B4-BE49-F238E27FC236}">
                  <a16:creationId xmlns:a16="http://schemas.microsoft.com/office/drawing/2014/main" id="{1E3863E9-257B-46DD-A2D8-2B0D9B6D12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7" y="9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Oval 115">
              <a:extLst>
                <a:ext uri="{FF2B5EF4-FFF2-40B4-BE49-F238E27FC236}">
                  <a16:creationId xmlns:a16="http://schemas.microsoft.com/office/drawing/2014/main" id="{1A675B19-3D9A-4315-87F1-702A2F6A8F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7" y="97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id="{E5E02554-94FF-43AF-9F8C-540BE0D4D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5" y="99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7">
              <a:extLst>
                <a:ext uri="{FF2B5EF4-FFF2-40B4-BE49-F238E27FC236}">
                  <a16:creationId xmlns:a16="http://schemas.microsoft.com/office/drawing/2014/main" id="{E474DF4D-12B9-460A-A8BC-73F34E558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" y="1173"/>
              <a:ext cx="28" cy="67"/>
            </a:xfrm>
            <a:custGeom>
              <a:avLst/>
              <a:gdLst>
                <a:gd name="T0" fmla="*/ 6 w 11"/>
                <a:gd name="T1" fmla="*/ 19 h 26"/>
                <a:gd name="T2" fmla="*/ 2 w 11"/>
                <a:gd name="T3" fmla="*/ 19 h 26"/>
                <a:gd name="T4" fmla="*/ 0 w 11"/>
                <a:gd name="T5" fmla="*/ 20 h 26"/>
                <a:gd name="T6" fmla="*/ 2 w 11"/>
                <a:gd name="T7" fmla="*/ 22 h 26"/>
                <a:gd name="T8" fmla="*/ 4 w 11"/>
                <a:gd name="T9" fmla="*/ 22 h 26"/>
                <a:gd name="T10" fmla="*/ 4 w 11"/>
                <a:gd name="T11" fmla="*/ 24 h 26"/>
                <a:gd name="T12" fmla="*/ 6 w 11"/>
                <a:gd name="T13" fmla="*/ 26 h 26"/>
                <a:gd name="T14" fmla="*/ 7 w 11"/>
                <a:gd name="T15" fmla="*/ 24 h 26"/>
                <a:gd name="T16" fmla="*/ 7 w 11"/>
                <a:gd name="T17" fmla="*/ 22 h 26"/>
                <a:gd name="T18" fmla="*/ 11 w 11"/>
                <a:gd name="T19" fmla="*/ 17 h 26"/>
                <a:gd name="T20" fmla="*/ 6 w 11"/>
                <a:gd name="T21" fmla="*/ 11 h 26"/>
                <a:gd name="T22" fmla="*/ 3 w 11"/>
                <a:gd name="T23" fmla="*/ 9 h 26"/>
                <a:gd name="T24" fmla="*/ 6 w 11"/>
                <a:gd name="T25" fmla="*/ 7 h 26"/>
                <a:gd name="T26" fmla="*/ 9 w 11"/>
                <a:gd name="T27" fmla="*/ 7 h 26"/>
                <a:gd name="T28" fmla="*/ 11 w 11"/>
                <a:gd name="T29" fmla="*/ 5 h 26"/>
                <a:gd name="T30" fmla="*/ 9 w 11"/>
                <a:gd name="T31" fmla="*/ 3 h 26"/>
                <a:gd name="T32" fmla="*/ 7 w 11"/>
                <a:gd name="T33" fmla="*/ 3 h 26"/>
                <a:gd name="T34" fmla="*/ 7 w 11"/>
                <a:gd name="T35" fmla="*/ 1 h 26"/>
                <a:gd name="T36" fmla="*/ 6 w 11"/>
                <a:gd name="T37" fmla="*/ 0 h 26"/>
                <a:gd name="T38" fmla="*/ 4 w 11"/>
                <a:gd name="T39" fmla="*/ 1 h 26"/>
                <a:gd name="T40" fmla="*/ 4 w 11"/>
                <a:gd name="T41" fmla="*/ 4 h 26"/>
                <a:gd name="T42" fmla="*/ 0 w 11"/>
                <a:gd name="T43" fmla="*/ 9 h 26"/>
                <a:gd name="T44" fmla="*/ 6 w 11"/>
                <a:gd name="T45" fmla="*/ 14 h 26"/>
                <a:gd name="T46" fmla="*/ 8 w 11"/>
                <a:gd name="T47" fmla="*/ 17 h 26"/>
                <a:gd name="T48" fmla="*/ 6 w 11"/>
                <a:gd name="T49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" h="26">
                  <a:moveTo>
                    <a:pt x="6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5" y="26"/>
                    <a:pt x="6" y="26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21"/>
                    <a:pt x="11" y="20"/>
                    <a:pt x="11" y="17"/>
                  </a:cubicBezTo>
                  <a:cubicBezTo>
                    <a:pt x="11" y="12"/>
                    <a:pt x="8" y="11"/>
                    <a:pt x="6" y="11"/>
                  </a:cubicBezTo>
                  <a:cubicBezTo>
                    <a:pt x="5" y="11"/>
                    <a:pt x="3" y="11"/>
                    <a:pt x="3" y="9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1" y="6"/>
                    <a:pt x="11" y="5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0" y="6"/>
                    <a:pt x="0" y="9"/>
                  </a:cubicBezTo>
                  <a:cubicBezTo>
                    <a:pt x="0" y="13"/>
                    <a:pt x="3" y="14"/>
                    <a:pt x="6" y="14"/>
                  </a:cubicBezTo>
                  <a:cubicBezTo>
                    <a:pt x="6" y="14"/>
                    <a:pt x="8" y="15"/>
                    <a:pt x="8" y="17"/>
                  </a:cubicBezTo>
                  <a:cubicBezTo>
                    <a:pt x="8" y="18"/>
                    <a:pt x="6" y="19"/>
                    <a:pt x="6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8">
              <a:extLst>
                <a:ext uri="{FF2B5EF4-FFF2-40B4-BE49-F238E27FC236}">
                  <a16:creationId xmlns:a16="http://schemas.microsoft.com/office/drawing/2014/main" id="{D0A44D4C-E57B-4C9E-8D87-6E4131ABD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9" y="1347"/>
              <a:ext cx="33" cy="33"/>
            </a:xfrm>
            <a:custGeom>
              <a:avLst/>
              <a:gdLst>
                <a:gd name="T0" fmla="*/ 6 w 13"/>
                <a:gd name="T1" fmla="*/ 9 h 13"/>
                <a:gd name="T2" fmla="*/ 4 w 13"/>
                <a:gd name="T3" fmla="*/ 6 h 13"/>
                <a:gd name="T4" fmla="*/ 6 w 13"/>
                <a:gd name="T5" fmla="*/ 4 h 13"/>
                <a:gd name="T6" fmla="*/ 9 w 13"/>
                <a:gd name="T7" fmla="*/ 6 h 13"/>
                <a:gd name="T8" fmla="*/ 6 w 13"/>
                <a:gd name="T9" fmla="*/ 9 h 13"/>
                <a:gd name="T10" fmla="*/ 6 w 13"/>
                <a:gd name="T11" fmla="*/ 0 h 13"/>
                <a:gd name="T12" fmla="*/ 0 w 13"/>
                <a:gd name="T13" fmla="*/ 6 h 13"/>
                <a:gd name="T14" fmla="*/ 6 w 13"/>
                <a:gd name="T15" fmla="*/ 13 h 13"/>
                <a:gd name="T16" fmla="*/ 13 w 13"/>
                <a:gd name="T17" fmla="*/ 6 h 13"/>
                <a:gd name="T18" fmla="*/ 6 w 13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9"/>
                  </a:moveTo>
                  <a:cubicBezTo>
                    <a:pt x="5" y="9"/>
                    <a:pt x="4" y="8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8" y="4"/>
                    <a:pt x="9" y="5"/>
                    <a:pt x="9" y="6"/>
                  </a:cubicBezTo>
                  <a:cubicBezTo>
                    <a:pt x="9" y="8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0" y="13"/>
                    <a:pt x="13" y="10"/>
                    <a:pt x="13" y="6"/>
                  </a:cubicBezTo>
                  <a:cubicBezTo>
                    <a:pt x="13" y="3"/>
                    <a:pt x="10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9">
              <a:extLst>
                <a:ext uri="{FF2B5EF4-FFF2-40B4-BE49-F238E27FC236}">
                  <a16:creationId xmlns:a16="http://schemas.microsoft.com/office/drawing/2014/main" id="{83CF0D3C-542B-442F-A0BB-07D14CD193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2" y="1347"/>
              <a:ext cx="31" cy="33"/>
            </a:xfrm>
            <a:custGeom>
              <a:avLst/>
              <a:gdLst>
                <a:gd name="T0" fmla="*/ 6 w 12"/>
                <a:gd name="T1" fmla="*/ 9 h 13"/>
                <a:gd name="T2" fmla="*/ 3 w 12"/>
                <a:gd name="T3" fmla="*/ 6 h 13"/>
                <a:gd name="T4" fmla="*/ 6 w 12"/>
                <a:gd name="T5" fmla="*/ 4 h 13"/>
                <a:gd name="T6" fmla="*/ 9 w 12"/>
                <a:gd name="T7" fmla="*/ 6 h 13"/>
                <a:gd name="T8" fmla="*/ 6 w 12"/>
                <a:gd name="T9" fmla="*/ 9 h 13"/>
                <a:gd name="T10" fmla="*/ 6 w 12"/>
                <a:gd name="T11" fmla="*/ 0 h 13"/>
                <a:gd name="T12" fmla="*/ 0 w 12"/>
                <a:gd name="T13" fmla="*/ 6 h 13"/>
                <a:gd name="T14" fmla="*/ 6 w 12"/>
                <a:gd name="T15" fmla="*/ 13 h 13"/>
                <a:gd name="T16" fmla="*/ 12 w 12"/>
                <a:gd name="T17" fmla="*/ 6 h 13"/>
                <a:gd name="T18" fmla="*/ 6 w 12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3">
                  <a:moveTo>
                    <a:pt x="6" y="9"/>
                  </a:moveTo>
                  <a:cubicBezTo>
                    <a:pt x="4" y="9"/>
                    <a:pt x="3" y="8"/>
                    <a:pt x="3" y="6"/>
                  </a:cubicBezTo>
                  <a:cubicBezTo>
                    <a:pt x="3" y="5"/>
                    <a:pt x="4" y="4"/>
                    <a:pt x="6" y="4"/>
                  </a:cubicBezTo>
                  <a:cubicBezTo>
                    <a:pt x="8" y="4"/>
                    <a:pt x="9" y="5"/>
                    <a:pt x="9" y="6"/>
                  </a:cubicBezTo>
                  <a:cubicBezTo>
                    <a:pt x="9" y="8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0" y="13"/>
                    <a:pt x="12" y="10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0">
              <a:extLst>
                <a:ext uri="{FF2B5EF4-FFF2-40B4-BE49-F238E27FC236}">
                  <a16:creationId xmlns:a16="http://schemas.microsoft.com/office/drawing/2014/main" id="{C9CCFAEF-31B6-4188-B7FD-A7E99ED25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6" y="1117"/>
              <a:ext cx="328" cy="222"/>
            </a:xfrm>
            <a:custGeom>
              <a:avLst/>
              <a:gdLst>
                <a:gd name="T0" fmla="*/ 29 w 128"/>
                <a:gd name="T1" fmla="*/ 33 h 87"/>
                <a:gd name="T2" fmla="*/ 50 w 128"/>
                <a:gd name="T3" fmla="*/ 40 h 87"/>
                <a:gd name="T4" fmla="*/ 74 w 128"/>
                <a:gd name="T5" fmla="*/ 59 h 87"/>
                <a:gd name="T6" fmla="*/ 78 w 128"/>
                <a:gd name="T7" fmla="*/ 59 h 87"/>
                <a:gd name="T8" fmla="*/ 102 w 128"/>
                <a:gd name="T9" fmla="*/ 40 h 87"/>
                <a:gd name="T10" fmla="*/ 123 w 128"/>
                <a:gd name="T11" fmla="*/ 33 h 87"/>
                <a:gd name="T12" fmla="*/ 43 w 128"/>
                <a:gd name="T13" fmla="*/ 74 h 87"/>
                <a:gd name="T14" fmla="*/ 68 w 128"/>
                <a:gd name="T15" fmla="*/ 14 h 87"/>
                <a:gd name="T16" fmla="*/ 76 w 128"/>
                <a:gd name="T17" fmla="*/ 14 h 87"/>
                <a:gd name="T18" fmla="*/ 85 w 128"/>
                <a:gd name="T19" fmla="*/ 14 h 87"/>
                <a:gd name="T20" fmla="*/ 99 w 128"/>
                <a:gd name="T21" fmla="*/ 40 h 87"/>
                <a:gd name="T22" fmla="*/ 77 w 128"/>
                <a:gd name="T23" fmla="*/ 56 h 87"/>
                <a:gd name="T24" fmla="*/ 76 w 128"/>
                <a:gd name="T25" fmla="*/ 56 h 87"/>
                <a:gd name="T26" fmla="*/ 75 w 128"/>
                <a:gd name="T27" fmla="*/ 56 h 87"/>
                <a:gd name="T28" fmla="*/ 54 w 128"/>
                <a:gd name="T29" fmla="*/ 40 h 87"/>
                <a:gd name="T30" fmla="*/ 65 w 128"/>
                <a:gd name="T31" fmla="*/ 4 h 87"/>
                <a:gd name="T32" fmla="*/ 71 w 128"/>
                <a:gd name="T33" fmla="*/ 6 h 87"/>
                <a:gd name="T34" fmla="*/ 73 w 128"/>
                <a:gd name="T35" fmla="*/ 6 h 87"/>
                <a:gd name="T36" fmla="*/ 79 w 128"/>
                <a:gd name="T37" fmla="*/ 5 h 87"/>
                <a:gd name="T38" fmla="*/ 83 w 128"/>
                <a:gd name="T39" fmla="*/ 6 h 87"/>
                <a:gd name="T40" fmla="*/ 88 w 128"/>
                <a:gd name="T41" fmla="*/ 4 h 87"/>
                <a:gd name="T42" fmla="*/ 85 w 128"/>
                <a:gd name="T43" fmla="*/ 10 h 87"/>
                <a:gd name="T44" fmla="*/ 76 w 128"/>
                <a:gd name="T45" fmla="*/ 10 h 87"/>
                <a:gd name="T46" fmla="*/ 63 w 128"/>
                <a:gd name="T47" fmla="*/ 5 h 87"/>
                <a:gd name="T48" fmla="*/ 111 w 128"/>
                <a:gd name="T49" fmla="*/ 77 h 87"/>
                <a:gd name="T50" fmla="*/ 127 w 128"/>
                <a:gd name="T51" fmla="*/ 31 h 87"/>
                <a:gd name="T52" fmla="*/ 100 w 128"/>
                <a:gd name="T53" fmla="*/ 30 h 87"/>
                <a:gd name="T54" fmla="*/ 88 w 128"/>
                <a:gd name="T55" fmla="*/ 12 h 87"/>
                <a:gd name="T56" fmla="*/ 94 w 128"/>
                <a:gd name="T57" fmla="*/ 5 h 87"/>
                <a:gd name="T58" fmla="*/ 91 w 128"/>
                <a:gd name="T59" fmla="*/ 2 h 87"/>
                <a:gd name="T60" fmla="*/ 82 w 128"/>
                <a:gd name="T61" fmla="*/ 2 h 87"/>
                <a:gd name="T62" fmla="*/ 72 w 128"/>
                <a:gd name="T63" fmla="*/ 3 h 87"/>
                <a:gd name="T64" fmla="*/ 67 w 128"/>
                <a:gd name="T65" fmla="*/ 0 h 87"/>
                <a:gd name="T66" fmla="*/ 60 w 128"/>
                <a:gd name="T67" fmla="*/ 4 h 87"/>
                <a:gd name="T68" fmla="*/ 60 w 128"/>
                <a:gd name="T69" fmla="*/ 7 h 87"/>
                <a:gd name="T70" fmla="*/ 55 w 128"/>
                <a:gd name="T71" fmla="*/ 24 h 87"/>
                <a:gd name="T72" fmla="*/ 28 w 128"/>
                <a:gd name="T73" fmla="*/ 30 h 87"/>
                <a:gd name="T74" fmla="*/ 23 w 128"/>
                <a:gd name="T75" fmla="*/ 19 h 87"/>
                <a:gd name="T76" fmla="*/ 0 w 128"/>
                <a:gd name="T77" fmla="*/ 20 h 87"/>
                <a:gd name="T78" fmla="*/ 22 w 128"/>
                <a:gd name="T79" fmla="*/ 22 h 87"/>
                <a:gd name="T80" fmla="*/ 45 w 128"/>
                <a:gd name="T81" fmla="*/ 87 h 87"/>
                <a:gd name="T82" fmla="*/ 112 w 128"/>
                <a:gd name="T83" fmla="*/ 86 h 87"/>
                <a:gd name="T84" fmla="*/ 46 w 128"/>
                <a:gd name="T85" fmla="*/ 84 h 87"/>
                <a:gd name="T86" fmla="*/ 110 w 128"/>
                <a:gd name="T87" fmla="*/ 7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87">
                  <a:moveTo>
                    <a:pt x="43" y="74"/>
                  </a:moveTo>
                  <a:cubicBezTo>
                    <a:pt x="29" y="33"/>
                    <a:pt x="29" y="33"/>
                    <a:pt x="29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0" y="35"/>
                    <a:pt x="50" y="38"/>
                    <a:pt x="50" y="40"/>
                  </a:cubicBezTo>
                  <a:cubicBezTo>
                    <a:pt x="50" y="47"/>
                    <a:pt x="53" y="52"/>
                    <a:pt x="59" y="56"/>
                  </a:cubicBezTo>
                  <a:cubicBezTo>
                    <a:pt x="59" y="56"/>
                    <a:pt x="66" y="59"/>
                    <a:pt x="74" y="59"/>
                  </a:cubicBezTo>
                  <a:cubicBezTo>
                    <a:pt x="75" y="59"/>
                    <a:pt x="76" y="59"/>
                    <a:pt x="76" y="59"/>
                  </a:cubicBezTo>
                  <a:cubicBezTo>
                    <a:pt x="77" y="59"/>
                    <a:pt x="78" y="59"/>
                    <a:pt x="78" y="59"/>
                  </a:cubicBezTo>
                  <a:cubicBezTo>
                    <a:pt x="86" y="59"/>
                    <a:pt x="93" y="56"/>
                    <a:pt x="94" y="56"/>
                  </a:cubicBezTo>
                  <a:cubicBezTo>
                    <a:pt x="99" y="52"/>
                    <a:pt x="102" y="47"/>
                    <a:pt x="102" y="40"/>
                  </a:cubicBezTo>
                  <a:cubicBezTo>
                    <a:pt x="102" y="38"/>
                    <a:pt x="102" y="35"/>
                    <a:pt x="102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09" y="74"/>
                    <a:pt x="109" y="74"/>
                    <a:pt x="109" y="74"/>
                  </a:cubicBezTo>
                  <a:lnTo>
                    <a:pt x="43" y="74"/>
                  </a:lnTo>
                  <a:close/>
                  <a:moveTo>
                    <a:pt x="58" y="26"/>
                  </a:move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7" y="30"/>
                    <a:pt x="99" y="35"/>
                    <a:pt x="99" y="40"/>
                  </a:cubicBezTo>
                  <a:cubicBezTo>
                    <a:pt x="99" y="46"/>
                    <a:pt x="97" y="50"/>
                    <a:pt x="92" y="53"/>
                  </a:cubicBezTo>
                  <a:cubicBezTo>
                    <a:pt x="92" y="53"/>
                    <a:pt x="85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5" y="56"/>
                  </a:cubicBezTo>
                  <a:cubicBezTo>
                    <a:pt x="68" y="56"/>
                    <a:pt x="61" y="53"/>
                    <a:pt x="61" y="53"/>
                  </a:cubicBezTo>
                  <a:cubicBezTo>
                    <a:pt x="56" y="50"/>
                    <a:pt x="54" y="46"/>
                    <a:pt x="54" y="40"/>
                  </a:cubicBezTo>
                  <a:cubicBezTo>
                    <a:pt x="54" y="35"/>
                    <a:pt x="55" y="30"/>
                    <a:pt x="58" y="26"/>
                  </a:cubicBezTo>
                  <a:moveTo>
                    <a:pt x="65" y="4"/>
                  </a:moveTo>
                  <a:cubicBezTo>
                    <a:pt x="66" y="3"/>
                    <a:pt x="68" y="3"/>
                    <a:pt x="69" y="4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72" y="7"/>
                    <a:pt x="73" y="6"/>
                    <a:pt x="73" y="6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5" y="4"/>
                    <a:pt x="78" y="4"/>
                    <a:pt x="79" y="5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7"/>
                    <a:pt x="82" y="7"/>
                    <a:pt x="83" y="6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6" y="3"/>
                    <a:pt x="87" y="3"/>
                    <a:pt x="88" y="4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3" y="5"/>
                    <a:pt x="63" y="5"/>
                    <a:pt x="63" y="5"/>
                  </a:cubicBezTo>
                  <a:lnTo>
                    <a:pt x="65" y="4"/>
                  </a:lnTo>
                  <a:close/>
                  <a:moveTo>
                    <a:pt x="111" y="77"/>
                  </a:moveTo>
                  <a:cubicBezTo>
                    <a:pt x="127" y="32"/>
                    <a:pt x="127" y="32"/>
                    <a:pt x="127" y="32"/>
                  </a:cubicBezTo>
                  <a:cubicBezTo>
                    <a:pt x="128" y="32"/>
                    <a:pt x="128" y="31"/>
                    <a:pt x="127" y="31"/>
                  </a:cubicBezTo>
                  <a:cubicBezTo>
                    <a:pt x="127" y="30"/>
                    <a:pt x="126" y="30"/>
                    <a:pt x="126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8"/>
                    <a:pt x="98" y="26"/>
                    <a:pt x="97" y="2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4" y="6"/>
                    <a:pt x="94" y="6"/>
                    <a:pt x="94" y="5"/>
                  </a:cubicBezTo>
                  <a:cubicBezTo>
                    <a:pt x="94" y="5"/>
                    <a:pt x="94" y="5"/>
                    <a:pt x="93" y="4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0" y="1"/>
                    <a:pt x="88" y="0"/>
                    <a:pt x="86" y="0"/>
                  </a:cubicBezTo>
                  <a:cubicBezTo>
                    <a:pt x="85" y="0"/>
                    <a:pt x="83" y="1"/>
                    <a:pt x="82" y="2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79" y="0"/>
                    <a:pt x="74" y="0"/>
                    <a:pt x="72" y="3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0" y="1"/>
                    <a:pt x="68" y="0"/>
                    <a:pt x="67" y="0"/>
                  </a:cubicBezTo>
                  <a:cubicBezTo>
                    <a:pt x="65" y="0"/>
                    <a:pt x="63" y="1"/>
                    <a:pt x="62" y="2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6"/>
                    <a:pt x="59" y="6"/>
                    <a:pt x="60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6"/>
                    <a:pt x="53" y="28"/>
                    <a:pt x="5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19"/>
                    <a:pt x="24" y="19"/>
                    <a:pt x="23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0" y="22"/>
                    <a:pt x="1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7"/>
                    <a:pt x="44" y="87"/>
                    <a:pt x="45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1" y="87"/>
                    <a:pt x="112" y="86"/>
                    <a:pt x="112" y="86"/>
                  </a:cubicBezTo>
                  <a:cubicBezTo>
                    <a:pt x="112" y="85"/>
                    <a:pt x="111" y="84"/>
                    <a:pt x="110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1" y="78"/>
                    <a:pt x="111" y="77"/>
                    <a:pt x="111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23">
            <a:extLst>
              <a:ext uri="{FF2B5EF4-FFF2-40B4-BE49-F238E27FC236}">
                <a16:creationId xmlns:a16="http://schemas.microsoft.com/office/drawing/2014/main" id="{8DD46FEC-23AB-4E6A-9238-67999BB006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525" y="1590675"/>
            <a:ext cx="758825" cy="758825"/>
            <a:chOff x="3686" y="1002"/>
            <a:chExt cx="478" cy="478"/>
          </a:xfrm>
        </p:grpSpPr>
        <p:sp>
          <p:nvSpPr>
            <p:cNvPr id="146" name="AutoShape 122">
              <a:extLst>
                <a:ext uri="{FF2B5EF4-FFF2-40B4-BE49-F238E27FC236}">
                  <a16:creationId xmlns:a16="http://schemas.microsoft.com/office/drawing/2014/main" id="{994D0C6B-1E60-4C6A-84B6-4ED605AF8AD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6" y="100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4">
              <a:extLst>
                <a:ext uri="{FF2B5EF4-FFF2-40B4-BE49-F238E27FC236}">
                  <a16:creationId xmlns:a16="http://schemas.microsoft.com/office/drawing/2014/main" id="{C664907C-466A-493B-8CCF-D000DD7A5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8" y="100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5">
              <a:extLst>
                <a:ext uri="{FF2B5EF4-FFF2-40B4-BE49-F238E27FC236}">
                  <a16:creationId xmlns:a16="http://schemas.microsoft.com/office/drawing/2014/main" id="{4BE8AFFF-BB78-4AA3-843F-67C04228D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1176"/>
              <a:ext cx="27" cy="64"/>
            </a:xfrm>
            <a:custGeom>
              <a:avLst/>
              <a:gdLst>
                <a:gd name="T0" fmla="*/ 6 w 11"/>
                <a:gd name="T1" fmla="*/ 19 h 26"/>
                <a:gd name="T2" fmla="*/ 2 w 11"/>
                <a:gd name="T3" fmla="*/ 19 h 26"/>
                <a:gd name="T4" fmla="*/ 0 w 11"/>
                <a:gd name="T5" fmla="*/ 20 h 26"/>
                <a:gd name="T6" fmla="*/ 2 w 11"/>
                <a:gd name="T7" fmla="*/ 22 h 26"/>
                <a:gd name="T8" fmla="*/ 4 w 11"/>
                <a:gd name="T9" fmla="*/ 22 h 26"/>
                <a:gd name="T10" fmla="*/ 4 w 11"/>
                <a:gd name="T11" fmla="*/ 24 h 26"/>
                <a:gd name="T12" fmla="*/ 6 w 11"/>
                <a:gd name="T13" fmla="*/ 26 h 26"/>
                <a:gd name="T14" fmla="*/ 7 w 11"/>
                <a:gd name="T15" fmla="*/ 24 h 26"/>
                <a:gd name="T16" fmla="*/ 7 w 11"/>
                <a:gd name="T17" fmla="*/ 22 h 26"/>
                <a:gd name="T18" fmla="*/ 11 w 11"/>
                <a:gd name="T19" fmla="*/ 17 h 26"/>
                <a:gd name="T20" fmla="*/ 6 w 11"/>
                <a:gd name="T21" fmla="*/ 11 h 26"/>
                <a:gd name="T22" fmla="*/ 3 w 11"/>
                <a:gd name="T23" fmla="*/ 9 h 26"/>
                <a:gd name="T24" fmla="*/ 6 w 11"/>
                <a:gd name="T25" fmla="*/ 7 h 26"/>
                <a:gd name="T26" fmla="*/ 9 w 11"/>
                <a:gd name="T27" fmla="*/ 7 h 26"/>
                <a:gd name="T28" fmla="*/ 11 w 11"/>
                <a:gd name="T29" fmla="*/ 5 h 26"/>
                <a:gd name="T30" fmla="*/ 9 w 11"/>
                <a:gd name="T31" fmla="*/ 3 h 26"/>
                <a:gd name="T32" fmla="*/ 7 w 11"/>
                <a:gd name="T33" fmla="*/ 3 h 26"/>
                <a:gd name="T34" fmla="*/ 7 w 11"/>
                <a:gd name="T35" fmla="*/ 1 h 26"/>
                <a:gd name="T36" fmla="*/ 6 w 11"/>
                <a:gd name="T37" fmla="*/ 0 h 26"/>
                <a:gd name="T38" fmla="*/ 4 w 11"/>
                <a:gd name="T39" fmla="*/ 1 h 26"/>
                <a:gd name="T40" fmla="*/ 4 w 11"/>
                <a:gd name="T41" fmla="*/ 4 h 26"/>
                <a:gd name="T42" fmla="*/ 0 w 11"/>
                <a:gd name="T43" fmla="*/ 9 h 26"/>
                <a:gd name="T44" fmla="*/ 6 w 11"/>
                <a:gd name="T45" fmla="*/ 14 h 26"/>
                <a:gd name="T46" fmla="*/ 8 w 11"/>
                <a:gd name="T47" fmla="*/ 17 h 26"/>
                <a:gd name="T48" fmla="*/ 6 w 11"/>
                <a:gd name="T49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" h="26">
                  <a:moveTo>
                    <a:pt x="6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5" y="26"/>
                    <a:pt x="6" y="26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21"/>
                    <a:pt x="11" y="20"/>
                    <a:pt x="11" y="17"/>
                  </a:cubicBezTo>
                  <a:cubicBezTo>
                    <a:pt x="11" y="12"/>
                    <a:pt x="8" y="11"/>
                    <a:pt x="6" y="11"/>
                  </a:cubicBezTo>
                  <a:cubicBezTo>
                    <a:pt x="5" y="11"/>
                    <a:pt x="3" y="11"/>
                    <a:pt x="3" y="9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1" y="6"/>
                    <a:pt x="11" y="5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0" y="6"/>
                    <a:pt x="0" y="9"/>
                  </a:cubicBezTo>
                  <a:cubicBezTo>
                    <a:pt x="0" y="13"/>
                    <a:pt x="3" y="14"/>
                    <a:pt x="6" y="14"/>
                  </a:cubicBezTo>
                  <a:cubicBezTo>
                    <a:pt x="6" y="14"/>
                    <a:pt x="8" y="15"/>
                    <a:pt x="8" y="17"/>
                  </a:cubicBezTo>
                  <a:cubicBezTo>
                    <a:pt x="8" y="18"/>
                    <a:pt x="6" y="19"/>
                    <a:pt x="6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6">
              <a:extLst>
                <a:ext uri="{FF2B5EF4-FFF2-40B4-BE49-F238E27FC236}">
                  <a16:creationId xmlns:a16="http://schemas.microsoft.com/office/drawing/2014/main" id="{DC394B6B-79E7-4443-BC1E-EA436C2C19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5" y="1343"/>
              <a:ext cx="32" cy="32"/>
            </a:xfrm>
            <a:custGeom>
              <a:avLst/>
              <a:gdLst>
                <a:gd name="T0" fmla="*/ 6 w 13"/>
                <a:gd name="T1" fmla="*/ 9 h 13"/>
                <a:gd name="T2" fmla="*/ 4 w 13"/>
                <a:gd name="T3" fmla="*/ 6 h 13"/>
                <a:gd name="T4" fmla="*/ 6 w 13"/>
                <a:gd name="T5" fmla="*/ 4 h 13"/>
                <a:gd name="T6" fmla="*/ 9 w 13"/>
                <a:gd name="T7" fmla="*/ 6 h 13"/>
                <a:gd name="T8" fmla="*/ 6 w 13"/>
                <a:gd name="T9" fmla="*/ 9 h 13"/>
                <a:gd name="T10" fmla="*/ 6 w 13"/>
                <a:gd name="T11" fmla="*/ 0 h 13"/>
                <a:gd name="T12" fmla="*/ 0 w 13"/>
                <a:gd name="T13" fmla="*/ 6 h 13"/>
                <a:gd name="T14" fmla="*/ 6 w 13"/>
                <a:gd name="T15" fmla="*/ 13 h 13"/>
                <a:gd name="T16" fmla="*/ 13 w 13"/>
                <a:gd name="T17" fmla="*/ 6 h 13"/>
                <a:gd name="T18" fmla="*/ 6 w 13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9"/>
                  </a:moveTo>
                  <a:cubicBezTo>
                    <a:pt x="5" y="9"/>
                    <a:pt x="4" y="8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8" y="4"/>
                    <a:pt x="9" y="5"/>
                    <a:pt x="9" y="6"/>
                  </a:cubicBezTo>
                  <a:cubicBezTo>
                    <a:pt x="9" y="8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0" y="13"/>
                    <a:pt x="13" y="10"/>
                    <a:pt x="13" y="6"/>
                  </a:cubicBezTo>
                  <a:cubicBezTo>
                    <a:pt x="13" y="3"/>
                    <a:pt x="10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7">
              <a:extLst>
                <a:ext uri="{FF2B5EF4-FFF2-40B4-BE49-F238E27FC236}">
                  <a16:creationId xmlns:a16="http://schemas.microsoft.com/office/drawing/2014/main" id="{1B7DD112-25B6-4BB4-A660-1ED1E25761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3" y="1343"/>
              <a:ext cx="29" cy="32"/>
            </a:xfrm>
            <a:custGeom>
              <a:avLst/>
              <a:gdLst>
                <a:gd name="T0" fmla="*/ 6 w 12"/>
                <a:gd name="T1" fmla="*/ 9 h 13"/>
                <a:gd name="T2" fmla="*/ 3 w 12"/>
                <a:gd name="T3" fmla="*/ 6 h 13"/>
                <a:gd name="T4" fmla="*/ 6 w 12"/>
                <a:gd name="T5" fmla="*/ 4 h 13"/>
                <a:gd name="T6" fmla="*/ 9 w 12"/>
                <a:gd name="T7" fmla="*/ 6 h 13"/>
                <a:gd name="T8" fmla="*/ 6 w 12"/>
                <a:gd name="T9" fmla="*/ 9 h 13"/>
                <a:gd name="T10" fmla="*/ 6 w 12"/>
                <a:gd name="T11" fmla="*/ 0 h 13"/>
                <a:gd name="T12" fmla="*/ 0 w 12"/>
                <a:gd name="T13" fmla="*/ 6 h 13"/>
                <a:gd name="T14" fmla="*/ 6 w 12"/>
                <a:gd name="T15" fmla="*/ 13 h 13"/>
                <a:gd name="T16" fmla="*/ 12 w 12"/>
                <a:gd name="T17" fmla="*/ 6 h 13"/>
                <a:gd name="T18" fmla="*/ 6 w 12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3">
                  <a:moveTo>
                    <a:pt x="6" y="9"/>
                  </a:moveTo>
                  <a:cubicBezTo>
                    <a:pt x="4" y="9"/>
                    <a:pt x="3" y="8"/>
                    <a:pt x="3" y="6"/>
                  </a:cubicBezTo>
                  <a:cubicBezTo>
                    <a:pt x="3" y="5"/>
                    <a:pt x="4" y="4"/>
                    <a:pt x="6" y="4"/>
                  </a:cubicBezTo>
                  <a:cubicBezTo>
                    <a:pt x="8" y="4"/>
                    <a:pt x="9" y="5"/>
                    <a:pt x="9" y="6"/>
                  </a:cubicBezTo>
                  <a:cubicBezTo>
                    <a:pt x="9" y="8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0" y="13"/>
                    <a:pt x="12" y="10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8">
              <a:extLst>
                <a:ext uri="{FF2B5EF4-FFF2-40B4-BE49-F238E27FC236}">
                  <a16:creationId xmlns:a16="http://schemas.microsoft.com/office/drawing/2014/main" id="{7EF41500-117B-4B4D-9617-073AE99E2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7" y="1122"/>
              <a:ext cx="314" cy="213"/>
            </a:xfrm>
            <a:custGeom>
              <a:avLst/>
              <a:gdLst>
                <a:gd name="T0" fmla="*/ 29 w 128"/>
                <a:gd name="T1" fmla="*/ 33 h 87"/>
                <a:gd name="T2" fmla="*/ 50 w 128"/>
                <a:gd name="T3" fmla="*/ 40 h 87"/>
                <a:gd name="T4" fmla="*/ 74 w 128"/>
                <a:gd name="T5" fmla="*/ 59 h 87"/>
                <a:gd name="T6" fmla="*/ 78 w 128"/>
                <a:gd name="T7" fmla="*/ 59 h 87"/>
                <a:gd name="T8" fmla="*/ 102 w 128"/>
                <a:gd name="T9" fmla="*/ 40 h 87"/>
                <a:gd name="T10" fmla="*/ 123 w 128"/>
                <a:gd name="T11" fmla="*/ 33 h 87"/>
                <a:gd name="T12" fmla="*/ 43 w 128"/>
                <a:gd name="T13" fmla="*/ 74 h 87"/>
                <a:gd name="T14" fmla="*/ 68 w 128"/>
                <a:gd name="T15" fmla="*/ 14 h 87"/>
                <a:gd name="T16" fmla="*/ 76 w 128"/>
                <a:gd name="T17" fmla="*/ 14 h 87"/>
                <a:gd name="T18" fmla="*/ 85 w 128"/>
                <a:gd name="T19" fmla="*/ 14 h 87"/>
                <a:gd name="T20" fmla="*/ 99 w 128"/>
                <a:gd name="T21" fmla="*/ 40 h 87"/>
                <a:gd name="T22" fmla="*/ 77 w 128"/>
                <a:gd name="T23" fmla="*/ 56 h 87"/>
                <a:gd name="T24" fmla="*/ 76 w 128"/>
                <a:gd name="T25" fmla="*/ 56 h 87"/>
                <a:gd name="T26" fmla="*/ 75 w 128"/>
                <a:gd name="T27" fmla="*/ 56 h 87"/>
                <a:gd name="T28" fmla="*/ 54 w 128"/>
                <a:gd name="T29" fmla="*/ 40 h 87"/>
                <a:gd name="T30" fmla="*/ 65 w 128"/>
                <a:gd name="T31" fmla="*/ 4 h 87"/>
                <a:gd name="T32" fmla="*/ 71 w 128"/>
                <a:gd name="T33" fmla="*/ 6 h 87"/>
                <a:gd name="T34" fmla="*/ 73 w 128"/>
                <a:gd name="T35" fmla="*/ 6 h 87"/>
                <a:gd name="T36" fmla="*/ 79 w 128"/>
                <a:gd name="T37" fmla="*/ 5 h 87"/>
                <a:gd name="T38" fmla="*/ 83 w 128"/>
                <a:gd name="T39" fmla="*/ 6 h 87"/>
                <a:gd name="T40" fmla="*/ 88 w 128"/>
                <a:gd name="T41" fmla="*/ 4 h 87"/>
                <a:gd name="T42" fmla="*/ 85 w 128"/>
                <a:gd name="T43" fmla="*/ 10 h 87"/>
                <a:gd name="T44" fmla="*/ 76 w 128"/>
                <a:gd name="T45" fmla="*/ 10 h 87"/>
                <a:gd name="T46" fmla="*/ 63 w 128"/>
                <a:gd name="T47" fmla="*/ 5 h 87"/>
                <a:gd name="T48" fmla="*/ 111 w 128"/>
                <a:gd name="T49" fmla="*/ 77 h 87"/>
                <a:gd name="T50" fmla="*/ 127 w 128"/>
                <a:gd name="T51" fmla="*/ 31 h 87"/>
                <a:gd name="T52" fmla="*/ 100 w 128"/>
                <a:gd name="T53" fmla="*/ 30 h 87"/>
                <a:gd name="T54" fmla="*/ 88 w 128"/>
                <a:gd name="T55" fmla="*/ 12 h 87"/>
                <a:gd name="T56" fmla="*/ 94 w 128"/>
                <a:gd name="T57" fmla="*/ 5 h 87"/>
                <a:gd name="T58" fmla="*/ 91 w 128"/>
                <a:gd name="T59" fmla="*/ 2 h 87"/>
                <a:gd name="T60" fmla="*/ 82 w 128"/>
                <a:gd name="T61" fmla="*/ 2 h 87"/>
                <a:gd name="T62" fmla="*/ 72 w 128"/>
                <a:gd name="T63" fmla="*/ 3 h 87"/>
                <a:gd name="T64" fmla="*/ 67 w 128"/>
                <a:gd name="T65" fmla="*/ 0 h 87"/>
                <a:gd name="T66" fmla="*/ 60 w 128"/>
                <a:gd name="T67" fmla="*/ 4 h 87"/>
                <a:gd name="T68" fmla="*/ 60 w 128"/>
                <a:gd name="T69" fmla="*/ 7 h 87"/>
                <a:gd name="T70" fmla="*/ 55 w 128"/>
                <a:gd name="T71" fmla="*/ 24 h 87"/>
                <a:gd name="T72" fmla="*/ 28 w 128"/>
                <a:gd name="T73" fmla="*/ 30 h 87"/>
                <a:gd name="T74" fmla="*/ 23 w 128"/>
                <a:gd name="T75" fmla="*/ 19 h 87"/>
                <a:gd name="T76" fmla="*/ 0 w 128"/>
                <a:gd name="T77" fmla="*/ 20 h 87"/>
                <a:gd name="T78" fmla="*/ 22 w 128"/>
                <a:gd name="T79" fmla="*/ 22 h 87"/>
                <a:gd name="T80" fmla="*/ 45 w 128"/>
                <a:gd name="T81" fmla="*/ 87 h 87"/>
                <a:gd name="T82" fmla="*/ 112 w 128"/>
                <a:gd name="T83" fmla="*/ 86 h 87"/>
                <a:gd name="T84" fmla="*/ 46 w 128"/>
                <a:gd name="T85" fmla="*/ 84 h 87"/>
                <a:gd name="T86" fmla="*/ 110 w 128"/>
                <a:gd name="T87" fmla="*/ 7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87">
                  <a:moveTo>
                    <a:pt x="43" y="74"/>
                  </a:moveTo>
                  <a:cubicBezTo>
                    <a:pt x="29" y="33"/>
                    <a:pt x="29" y="33"/>
                    <a:pt x="29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0" y="35"/>
                    <a:pt x="50" y="38"/>
                    <a:pt x="50" y="40"/>
                  </a:cubicBezTo>
                  <a:cubicBezTo>
                    <a:pt x="50" y="47"/>
                    <a:pt x="53" y="52"/>
                    <a:pt x="59" y="56"/>
                  </a:cubicBezTo>
                  <a:cubicBezTo>
                    <a:pt x="59" y="56"/>
                    <a:pt x="66" y="59"/>
                    <a:pt x="74" y="59"/>
                  </a:cubicBezTo>
                  <a:cubicBezTo>
                    <a:pt x="75" y="59"/>
                    <a:pt x="76" y="59"/>
                    <a:pt x="76" y="59"/>
                  </a:cubicBezTo>
                  <a:cubicBezTo>
                    <a:pt x="77" y="59"/>
                    <a:pt x="78" y="59"/>
                    <a:pt x="78" y="59"/>
                  </a:cubicBezTo>
                  <a:cubicBezTo>
                    <a:pt x="86" y="59"/>
                    <a:pt x="93" y="56"/>
                    <a:pt x="94" y="56"/>
                  </a:cubicBezTo>
                  <a:cubicBezTo>
                    <a:pt x="99" y="52"/>
                    <a:pt x="102" y="47"/>
                    <a:pt x="102" y="40"/>
                  </a:cubicBezTo>
                  <a:cubicBezTo>
                    <a:pt x="102" y="38"/>
                    <a:pt x="102" y="35"/>
                    <a:pt x="102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09" y="74"/>
                    <a:pt x="109" y="74"/>
                    <a:pt x="109" y="74"/>
                  </a:cubicBezTo>
                  <a:lnTo>
                    <a:pt x="43" y="74"/>
                  </a:lnTo>
                  <a:close/>
                  <a:moveTo>
                    <a:pt x="58" y="26"/>
                  </a:move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7" y="30"/>
                    <a:pt x="99" y="35"/>
                    <a:pt x="99" y="40"/>
                  </a:cubicBezTo>
                  <a:cubicBezTo>
                    <a:pt x="99" y="46"/>
                    <a:pt x="97" y="50"/>
                    <a:pt x="92" y="53"/>
                  </a:cubicBezTo>
                  <a:cubicBezTo>
                    <a:pt x="92" y="53"/>
                    <a:pt x="85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5" y="56"/>
                  </a:cubicBezTo>
                  <a:cubicBezTo>
                    <a:pt x="68" y="56"/>
                    <a:pt x="61" y="53"/>
                    <a:pt x="61" y="53"/>
                  </a:cubicBezTo>
                  <a:cubicBezTo>
                    <a:pt x="56" y="50"/>
                    <a:pt x="54" y="46"/>
                    <a:pt x="54" y="40"/>
                  </a:cubicBezTo>
                  <a:cubicBezTo>
                    <a:pt x="54" y="35"/>
                    <a:pt x="55" y="30"/>
                    <a:pt x="58" y="26"/>
                  </a:cubicBezTo>
                  <a:moveTo>
                    <a:pt x="65" y="4"/>
                  </a:moveTo>
                  <a:cubicBezTo>
                    <a:pt x="66" y="3"/>
                    <a:pt x="68" y="3"/>
                    <a:pt x="69" y="4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72" y="7"/>
                    <a:pt x="73" y="6"/>
                    <a:pt x="73" y="6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5" y="4"/>
                    <a:pt x="78" y="4"/>
                    <a:pt x="79" y="5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7"/>
                    <a:pt x="82" y="7"/>
                    <a:pt x="83" y="6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6" y="3"/>
                    <a:pt x="87" y="3"/>
                    <a:pt x="88" y="4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3" y="5"/>
                    <a:pt x="63" y="5"/>
                    <a:pt x="63" y="5"/>
                  </a:cubicBezTo>
                  <a:lnTo>
                    <a:pt x="65" y="4"/>
                  </a:lnTo>
                  <a:close/>
                  <a:moveTo>
                    <a:pt x="111" y="77"/>
                  </a:moveTo>
                  <a:cubicBezTo>
                    <a:pt x="127" y="32"/>
                    <a:pt x="127" y="32"/>
                    <a:pt x="127" y="32"/>
                  </a:cubicBezTo>
                  <a:cubicBezTo>
                    <a:pt x="128" y="32"/>
                    <a:pt x="128" y="31"/>
                    <a:pt x="127" y="31"/>
                  </a:cubicBezTo>
                  <a:cubicBezTo>
                    <a:pt x="127" y="30"/>
                    <a:pt x="126" y="30"/>
                    <a:pt x="126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8"/>
                    <a:pt x="98" y="26"/>
                    <a:pt x="97" y="24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4" y="6"/>
                    <a:pt x="94" y="6"/>
                    <a:pt x="94" y="5"/>
                  </a:cubicBezTo>
                  <a:cubicBezTo>
                    <a:pt x="94" y="5"/>
                    <a:pt x="94" y="5"/>
                    <a:pt x="93" y="4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0" y="1"/>
                    <a:pt x="88" y="0"/>
                    <a:pt x="86" y="0"/>
                  </a:cubicBezTo>
                  <a:cubicBezTo>
                    <a:pt x="85" y="0"/>
                    <a:pt x="83" y="1"/>
                    <a:pt x="82" y="2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79" y="0"/>
                    <a:pt x="74" y="0"/>
                    <a:pt x="72" y="3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0" y="1"/>
                    <a:pt x="68" y="0"/>
                    <a:pt x="67" y="0"/>
                  </a:cubicBezTo>
                  <a:cubicBezTo>
                    <a:pt x="65" y="0"/>
                    <a:pt x="63" y="1"/>
                    <a:pt x="62" y="2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6"/>
                    <a:pt x="59" y="6"/>
                    <a:pt x="60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6"/>
                    <a:pt x="53" y="28"/>
                    <a:pt x="5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19"/>
                    <a:pt x="24" y="19"/>
                    <a:pt x="23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0" y="22"/>
                    <a:pt x="1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7"/>
                    <a:pt x="44" y="87"/>
                    <a:pt x="45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1" y="87"/>
                    <a:pt x="112" y="86"/>
                    <a:pt x="112" y="86"/>
                  </a:cubicBezTo>
                  <a:cubicBezTo>
                    <a:pt x="112" y="85"/>
                    <a:pt x="111" y="84"/>
                    <a:pt x="110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1" y="78"/>
                    <a:pt x="111" y="77"/>
                    <a:pt x="111" y="7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31">
            <a:extLst>
              <a:ext uri="{FF2B5EF4-FFF2-40B4-BE49-F238E27FC236}">
                <a16:creationId xmlns:a16="http://schemas.microsoft.com/office/drawing/2014/main" id="{8DCB920F-6C4D-4FFA-9799-934C3DF4B9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5950" y="1549400"/>
            <a:ext cx="841375" cy="841375"/>
            <a:chOff x="4388" y="976"/>
            <a:chExt cx="530" cy="530"/>
          </a:xfrm>
        </p:grpSpPr>
        <p:sp>
          <p:nvSpPr>
            <p:cNvPr id="153" name="AutoShape 130">
              <a:extLst>
                <a:ext uri="{FF2B5EF4-FFF2-40B4-BE49-F238E27FC236}">
                  <a16:creationId xmlns:a16="http://schemas.microsoft.com/office/drawing/2014/main" id="{517BEAA2-489E-447E-A548-E1D8071759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8" y="9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Oval 132">
              <a:extLst>
                <a:ext uri="{FF2B5EF4-FFF2-40B4-BE49-F238E27FC236}">
                  <a16:creationId xmlns:a16="http://schemas.microsoft.com/office/drawing/2014/main" id="{CA0D0CAD-3386-4DFD-A2B4-4D9F4B3D1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8" y="97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3">
              <a:extLst>
                <a:ext uri="{FF2B5EF4-FFF2-40B4-BE49-F238E27FC236}">
                  <a16:creationId xmlns:a16="http://schemas.microsoft.com/office/drawing/2014/main" id="{192CABCC-5695-4DAD-99EA-2EEDFE8786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6" y="99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4">
              <a:extLst>
                <a:ext uri="{FF2B5EF4-FFF2-40B4-BE49-F238E27FC236}">
                  <a16:creationId xmlns:a16="http://schemas.microsoft.com/office/drawing/2014/main" id="{62856C72-4FE7-4B72-95FA-9E9012A97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1204"/>
              <a:ext cx="46" cy="120"/>
            </a:xfrm>
            <a:custGeom>
              <a:avLst/>
              <a:gdLst>
                <a:gd name="T0" fmla="*/ 9 w 18"/>
                <a:gd name="T1" fmla="*/ 10 h 47"/>
                <a:gd name="T2" fmla="*/ 16 w 18"/>
                <a:gd name="T3" fmla="*/ 10 h 47"/>
                <a:gd name="T4" fmla="*/ 18 w 18"/>
                <a:gd name="T5" fmla="*/ 9 h 47"/>
                <a:gd name="T6" fmla="*/ 16 w 18"/>
                <a:gd name="T7" fmla="*/ 7 h 47"/>
                <a:gd name="T8" fmla="*/ 10 w 18"/>
                <a:gd name="T9" fmla="*/ 7 h 47"/>
                <a:gd name="T10" fmla="*/ 10 w 18"/>
                <a:gd name="T11" fmla="*/ 1 h 47"/>
                <a:gd name="T12" fmla="*/ 9 w 18"/>
                <a:gd name="T13" fmla="*/ 0 h 47"/>
                <a:gd name="T14" fmla="*/ 7 w 18"/>
                <a:gd name="T15" fmla="*/ 1 h 47"/>
                <a:gd name="T16" fmla="*/ 7 w 18"/>
                <a:gd name="T17" fmla="*/ 7 h 47"/>
                <a:gd name="T18" fmla="*/ 0 w 18"/>
                <a:gd name="T19" fmla="*/ 16 h 47"/>
                <a:gd name="T20" fmla="*/ 9 w 18"/>
                <a:gd name="T21" fmla="*/ 25 h 47"/>
                <a:gd name="T22" fmla="*/ 14 w 18"/>
                <a:gd name="T23" fmla="*/ 30 h 47"/>
                <a:gd name="T24" fmla="*/ 9 w 18"/>
                <a:gd name="T25" fmla="*/ 36 h 47"/>
                <a:gd name="T26" fmla="*/ 1 w 18"/>
                <a:gd name="T27" fmla="*/ 36 h 47"/>
                <a:gd name="T28" fmla="*/ 0 w 18"/>
                <a:gd name="T29" fmla="*/ 38 h 47"/>
                <a:gd name="T30" fmla="*/ 1 w 18"/>
                <a:gd name="T31" fmla="*/ 40 h 47"/>
                <a:gd name="T32" fmla="*/ 7 w 18"/>
                <a:gd name="T33" fmla="*/ 40 h 47"/>
                <a:gd name="T34" fmla="*/ 7 w 18"/>
                <a:gd name="T35" fmla="*/ 45 h 47"/>
                <a:gd name="T36" fmla="*/ 9 w 18"/>
                <a:gd name="T37" fmla="*/ 47 h 47"/>
                <a:gd name="T38" fmla="*/ 10 w 18"/>
                <a:gd name="T39" fmla="*/ 45 h 47"/>
                <a:gd name="T40" fmla="*/ 10 w 18"/>
                <a:gd name="T41" fmla="*/ 39 h 47"/>
                <a:gd name="T42" fmla="*/ 18 w 18"/>
                <a:gd name="T43" fmla="*/ 30 h 47"/>
                <a:gd name="T44" fmla="*/ 9 w 18"/>
                <a:gd name="T45" fmla="*/ 21 h 47"/>
                <a:gd name="T46" fmla="*/ 3 w 18"/>
                <a:gd name="T47" fmla="*/ 16 h 47"/>
                <a:gd name="T48" fmla="*/ 9 w 18"/>
                <a:gd name="T49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47">
                  <a:moveTo>
                    <a:pt x="9" y="10"/>
                  </a:move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8" y="10"/>
                    <a:pt x="18" y="9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8" y="0"/>
                    <a:pt x="7" y="0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4" y="8"/>
                    <a:pt x="0" y="10"/>
                    <a:pt x="0" y="16"/>
                  </a:cubicBezTo>
                  <a:cubicBezTo>
                    <a:pt x="0" y="23"/>
                    <a:pt x="6" y="25"/>
                    <a:pt x="9" y="25"/>
                  </a:cubicBezTo>
                  <a:cubicBezTo>
                    <a:pt x="9" y="25"/>
                    <a:pt x="14" y="25"/>
                    <a:pt x="14" y="30"/>
                  </a:cubicBezTo>
                  <a:cubicBezTo>
                    <a:pt x="14" y="36"/>
                    <a:pt x="9" y="36"/>
                    <a:pt x="9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0" y="37"/>
                    <a:pt x="0" y="38"/>
                  </a:cubicBezTo>
                  <a:cubicBezTo>
                    <a:pt x="0" y="39"/>
                    <a:pt x="1" y="40"/>
                    <a:pt x="1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6"/>
                    <a:pt x="8" y="47"/>
                    <a:pt x="9" y="47"/>
                  </a:cubicBezTo>
                  <a:cubicBezTo>
                    <a:pt x="10" y="47"/>
                    <a:pt x="10" y="46"/>
                    <a:pt x="10" y="45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4" y="39"/>
                    <a:pt x="18" y="36"/>
                    <a:pt x="18" y="30"/>
                  </a:cubicBezTo>
                  <a:cubicBezTo>
                    <a:pt x="18" y="23"/>
                    <a:pt x="12" y="21"/>
                    <a:pt x="9" y="21"/>
                  </a:cubicBezTo>
                  <a:cubicBezTo>
                    <a:pt x="8" y="21"/>
                    <a:pt x="3" y="21"/>
                    <a:pt x="3" y="16"/>
                  </a:cubicBezTo>
                  <a:cubicBezTo>
                    <a:pt x="3" y="10"/>
                    <a:pt x="8" y="10"/>
                    <a:pt x="9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5">
              <a:extLst>
                <a:ext uri="{FF2B5EF4-FFF2-40B4-BE49-F238E27FC236}">
                  <a16:creationId xmlns:a16="http://schemas.microsoft.com/office/drawing/2014/main" id="{E65A0D0A-B4B2-4AF9-A9D5-5C578E3C54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3" y="1114"/>
              <a:ext cx="282" cy="256"/>
            </a:xfrm>
            <a:custGeom>
              <a:avLst/>
              <a:gdLst>
                <a:gd name="T0" fmla="*/ 107 w 110"/>
                <a:gd name="T1" fmla="*/ 96 h 100"/>
                <a:gd name="T2" fmla="*/ 65 w 110"/>
                <a:gd name="T3" fmla="*/ 96 h 100"/>
                <a:gd name="T4" fmla="*/ 65 w 110"/>
                <a:gd name="T5" fmla="*/ 37 h 100"/>
                <a:gd name="T6" fmla="*/ 107 w 110"/>
                <a:gd name="T7" fmla="*/ 37 h 100"/>
                <a:gd name="T8" fmla="*/ 107 w 110"/>
                <a:gd name="T9" fmla="*/ 96 h 100"/>
                <a:gd name="T10" fmla="*/ 3 w 110"/>
                <a:gd name="T11" fmla="*/ 67 h 100"/>
                <a:gd name="T12" fmla="*/ 11 w 110"/>
                <a:gd name="T13" fmla="*/ 43 h 100"/>
                <a:gd name="T14" fmla="*/ 28 w 110"/>
                <a:gd name="T15" fmla="*/ 21 h 100"/>
                <a:gd name="T16" fmla="*/ 28 w 110"/>
                <a:gd name="T17" fmla="*/ 21 h 100"/>
                <a:gd name="T18" fmla="*/ 59 w 110"/>
                <a:gd name="T19" fmla="*/ 21 h 100"/>
                <a:gd name="T20" fmla="*/ 60 w 110"/>
                <a:gd name="T21" fmla="*/ 21 h 100"/>
                <a:gd name="T22" fmla="*/ 69 w 110"/>
                <a:gd name="T23" fmla="*/ 34 h 100"/>
                <a:gd name="T24" fmla="*/ 63 w 110"/>
                <a:gd name="T25" fmla="*/ 34 h 100"/>
                <a:gd name="T26" fmla="*/ 62 w 110"/>
                <a:gd name="T27" fmla="*/ 35 h 100"/>
                <a:gd name="T28" fmla="*/ 62 w 110"/>
                <a:gd name="T29" fmla="*/ 96 h 100"/>
                <a:gd name="T30" fmla="*/ 44 w 110"/>
                <a:gd name="T31" fmla="*/ 96 h 100"/>
                <a:gd name="T32" fmla="*/ 3 w 110"/>
                <a:gd name="T33" fmla="*/ 67 h 100"/>
                <a:gd name="T34" fmla="*/ 22 w 110"/>
                <a:gd name="T35" fmla="*/ 6 h 100"/>
                <a:gd name="T36" fmla="*/ 27 w 110"/>
                <a:gd name="T37" fmla="*/ 4 h 100"/>
                <a:gd name="T38" fmla="*/ 31 w 110"/>
                <a:gd name="T39" fmla="*/ 6 h 100"/>
                <a:gd name="T40" fmla="*/ 34 w 110"/>
                <a:gd name="T41" fmla="*/ 9 h 100"/>
                <a:gd name="T42" fmla="*/ 37 w 110"/>
                <a:gd name="T43" fmla="*/ 9 h 100"/>
                <a:gd name="T44" fmla="*/ 38 w 110"/>
                <a:gd name="T45" fmla="*/ 7 h 100"/>
                <a:gd name="T46" fmla="*/ 44 w 110"/>
                <a:gd name="T47" fmla="*/ 5 h 100"/>
                <a:gd name="T48" fmla="*/ 49 w 110"/>
                <a:gd name="T49" fmla="*/ 8 h 100"/>
                <a:gd name="T50" fmla="*/ 51 w 110"/>
                <a:gd name="T51" fmla="*/ 9 h 100"/>
                <a:gd name="T52" fmla="*/ 53 w 110"/>
                <a:gd name="T53" fmla="*/ 9 h 100"/>
                <a:gd name="T54" fmla="*/ 56 w 110"/>
                <a:gd name="T55" fmla="*/ 6 h 100"/>
                <a:gd name="T56" fmla="*/ 65 w 110"/>
                <a:gd name="T57" fmla="*/ 6 h 100"/>
                <a:gd name="T58" fmla="*/ 68 w 110"/>
                <a:gd name="T59" fmla="*/ 8 h 100"/>
                <a:gd name="T60" fmla="*/ 58 w 110"/>
                <a:gd name="T61" fmla="*/ 18 h 100"/>
                <a:gd name="T62" fmla="*/ 29 w 110"/>
                <a:gd name="T63" fmla="*/ 18 h 100"/>
                <a:gd name="T64" fmla="*/ 20 w 110"/>
                <a:gd name="T65" fmla="*/ 8 h 100"/>
                <a:gd name="T66" fmla="*/ 22 w 110"/>
                <a:gd name="T67" fmla="*/ 6 h 100"/>
                <a:gd name="T68" fmla="*/ 108 w 110"/>
                <a:gd name="T69" fmla="*/ 34 h 100"/>
                <a:gd name="T70" fmla="*/ 73 w 110"/>
                <a:gd name="T71" fmla="*/ 34 h 100"/>
                <a:gd name="T72" fmla="*/ 62 w 110"/>
                <a:gd name="T73" fmla="*/ 19 h 100"/>
                <a:gd name="T74" fmla="*/ 72 w 110"/>
                <a:gd name="T75" fmla="*/ 10 h 100"/>
                <a:gd name="T76" fmla="*/ 72 w 110"/>
                <a:gd name="T77" fmla="*/ 9 h 100"/>
                <a:gd name="T78" fmla="*/ 72 w 110"/>
                <a:gd name="T79" fmla="*/ 7 h 100"/>
                <a:gd name="T80" fmla="*/ 67 w 110"/>
                <a:gd name="T81" fmla="*/ 3 h 100"/>
                <a:gd name="T82" fmla="*/ 54 w 110"/>
                <a:gd name="T83" fmla="*/ 3 h 100"/>
                <a:gd name="T84" fmla="*/ 52 w 110"/>
                <a:gd name="T85" fmla="*/ 5 h 100"/>
                <a:gd name="T86" fmla="*/ 52 w 110"/>
                <a:gd name="T87" fmla="*/ 5 h 100"/>
                <a:gd name="T88" fmla="*/ 44 w 110"/>
                <a:gd name="T89" fmla="*/ 2 h 100"/>
                <a:gd name="T90" fmla="*/ 36 w 110"/>
                <a:gd name="T91" fmla="*/ 5 h 100"/>
                <a:gd name="T92" fmla="*/ 36 w 110"/>
                <a:gd name="T93" fmla="*/ 5 h 100"/>
                <a:gd name="T94" fmla="*/ 33 w 110"/>
                <a:gd name="T95" fmla="*/ 3 h 100"/>
                <a:gd name="T96" fmla="*/ 27 w 110"/>
                <a:gd name="T97" fmla="*/ 0 h 100"/>
                <a:gd name="T98" fmla="*/ 20 w 110"/>
                <a:gd name="T99" fmla="*/ 3 h 100"/>
                <a:gd name="T100" fmla="*/ 16 w 110"/>
                <a:gd name="T101" fmla="*/ 7 h 100"/>
                <a:gd name="T102" fmla="*/ 15 w 110"/>
                <a:gd name="T103" fmla="*/ 9 h 100"/>
                <a:gd name="T104" fmla="*/ 16 w 110"/>
                <a:gd name="T105" fmla="*/ 10 h 100"/>
                <a:gd name="T106" fmla="*/ 25 w 110"/>
                <a:gd name="T107" fmla="*/ 19 h 100"/>
                <a:gd name="T108" fmla="*/ 9 w 110"/>
                <a:gd name="T109" fmla="*/ 41 h 100"/>
                <a:gd name="T110" fmla="*/ 0 w 110"/>
                <a:gd name="T111" fmla="*/ 67 h 100"/>
                <a:gd name="T112" fmla="*/ 44 w 110"/>
                <a:gd name="T113" fmla="*/ 100 h 100"/>
                <a:gd name="T114" fmla="*/ 64 w 110"/>
                <a:gd name="T115" fmla="*/ 99 h 100"/>
                <a:gd name="T116" fmla="*/ 108 w 110"/>
                <a:gd name="T117" fmla="*/ 99 h 100"/>
                <a:gd name="T118" fmla="*/ 110 w 110"/>
                <a:gd name="T119" fmla="*/ 98 h 100"/>
                <a:gd name="T120" fmla="*/ 110 w 110"/>
                <a:gd name="T121" fmla="*/ 35 h 100"/>
                <a:gd name="T122" fmla="*/ 108 w 110"/>
                <a:gd name="T123" fmla="*/ 3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100">
                  <a:moveTo>
                    <a:pt x="107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107" y="37"/>
                    <a:pt x="107" y="37"/>
                    <a:pt x="107" y="37"/>
                  </a:cubicBezTo>
                  <a:lnTo>
                    <a:pt x="107" y="96"/>
                  </a:lnTo>
                  <a:close/>
                  <a:moveTo>
                    <a:pt x="3" y="67"/>
                  </a:moveTo>
                  <a:cubicBezTo>
                    <a:pt x="3" y="59"/>
                    <a:pt x="6" y="50"/>
                    <a:pt x="11" y="4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2" y="34"/>
                    <a:pt x="62" y="3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59" y="96"/>
                    <a:pt x="53" y="96"/>
                    <a:pt x="44" y="96"/>
                  </a:cubicBezTo>
                  <a:cubicBezTo>
                    <a:pt x="17" y="96"/>
                    <a:pt x="3" y="86"/>
                    <a:pt x="3" y="67"/>
                  </a:cubicBezTo>
                  <a:moveTo>
                    <a:pt x="22" y="6"/>
                  </a:moveTo>
                  <a:cubicBezTo>
                    <a:pt x="24" y="5"/>
                    <a:pt x="25" y="4"/>
                    <a:pt x="27" y="4"/>
                  </a:cubicBezTo>
                  <a:cubicBezTo>
                    <a:pt x="28" y="4"/>
                    <a:pt x="30" y="5"/>
                    <a:pt x="31" y="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10"/>
                    <a:pt x="36" y="10"/>
                    <a:pt x="37" y="9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40" y="6"/>
                    <a:pt x="42" y="5"/>
                    <a:pt x="44" y="5"/>
                  </a:cubicBezTo>
                  <a:cubicBezTo>
                    <a:pt x="46" y="5"/>
                    <a:pt x="48" y="6"/>
                    <a:pt x="49" y="8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1" y="10"/>
                    <a:pt x="53" y="10"/>
                    <a:pt x="53" y="9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9" y="3"/>
                    <a:pt x="63" y="3"/>
                    <a:pt x="65" y="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0" y="8"/>
                    <a:pt x="20" y="8"/>
                    <a:pt x="20" y="8"/>
                  </a:cubicBezTo>
                  <a:lnTo>
                    <a:pt x="22" y="6"/>
                  </a:lnTo>
                  <a:close/>
                  <a:moveTo>
                    <a:pt x="108" y="34"/>
                  </a:moveTo>
                  <a:cubicBezTo>
                    <a:pt x="73" y="34"/>
                    <a:pt x="73" y="34"/>
                    <a:pt x="73" y="34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2" y="8"/>
                    <a:pt x="72" y="8"/>
                    <a:pt x="72" y="7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4" y="0"/>
                    <a:pt x="58" y="0"/>
                    <a:pt x="54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0" y="3"/>
                    <a:pt x="47" y="2"/>
                    <a:pt x="44" y="2"/>
                  </a:cubicBezTo>
                  <a:cubicBezTo>
                    <a:pt x="41" y="2"/>
                    <a:pt x="38" y="3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1"/>
                    <a:pt x="29" y="0"/>
                    <a:pt x="27" y="0"/>
                  </a:cubicBezTo>
                  <a:cubicBezTo>
                    <a:pt x="24" y="0"/>
                    <a:pt x="22" y="1"/>
                    <a:pt x="20" y="3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5" y="8"/>
                    <a:pt x="15" y="9"/>
                  </a:cubicBezTo>
                  <a:cubicBezTo>
                    <a:pt x="15" y="9"/>
                    <a:pt x="16" y="9"/>
                    <a:pt x="16" y="1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3" y="49"/>
                    <a:pt x="0" y="58"/>
                    <a:pt x="0" y="67"/>
                  </a:cubicBezTo>
                  <a:cubicBezTo>
                    <a:pt x="0" y="82"/>
                    <a:pt x="8" y="100"/>
                    <a:pt x="44" y="100"/>
                  </a:cubicBezTo>
                  <a:cubicBezTo>
                    <a:pt x="57" y="100"/>
                    <a:pt x="63" y="99"/>
                    <a:pt x="64" y="99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9" y="99"/>
                    <a:pt x="110" y="98"/>
                    <a:pt x="110" y="98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4"/>
                    <a:pt x="109" y="34"/>
                    <a:pt x="108" y="3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6">
              <a:extLst>
                <a:ext uri="{FF2B5EF4-FFF2-40B4-BE49-F238E27FC236}">
                  <a16:creationId xmlns:a16="http://schemas.microsoft.com/office/drawing/2014/main" id="{48D435F4-8F4D-4FBE-8057-D45D18124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7" y="1217"/>
              <a:ext cx="93" cy="28"/>
            </a:xfrm>
            <a:custGeom>
              <a:avLst/>
              <a:gdLst>
                <a:gd name="T0" fmla="*/ 3 w 36"/>
                <a:gd name="T1" fmla="*/ 3 h 11"/>
                <a:gd name="T2" fmla="*/ 32 w 36"/>
                <a:gd name="T3" fmla="*/ 3 h 11"/>
                <a:gd name="T4" fmla="*/ 32 w 36"/>
                <a:gd name="T5" fmla="*/ 8 h 11"/>
                <a:gd name="T6" fmla="*/ 3 w 36"/>
                <a:gd name="T7" fmla="*/ 8 h 11"/>
                <a:gd name="T8" fmla="*/ 3 w 36"/>
                <a:gd name="T9" fmla="*/ 3 h 11"/>
                <a:gd name="T10" fmla="*/ 0 w 36"/>
                <a:gd name="T11" fmla="*/ 2 h 11"/>
                <a:gd name="T12" fmla="*/ 0 w 36"/>
                <a:gd name="T13" fmla="*/ 10 h 11"/>
                <a:gd name="T14" fmla="*/ 2 w 36"/>
                <a:gd name="T15" fmla="*/ 11 h 11"/>
                <a:gd name="T16" fmla="*/ 34 w 36"/>
                <a:gd name="T17" fmla="*/ 11 h 11"/>
                <a:gd name="T18" fmla="*/ 36 w 36"/>
                <a:gd name="T19" fmla="*/ 10 h 11"/>
                <a:gd name="T20" fmla="*/ 36 w 36"/>
                <a:gd name="T21" fmla="*/ 2 h 11"/>
                <a:gd name="T22" fmla="*/ 34 w 36"/>
                <a:gd name="T23" fmla="*/ 0 h 11"/>
                <a:gd name="T24" fmla="*/ 2 w 36"/>
                <a:gd name="T25" fmla="*/ 0 h 11"/>
                <a:gd name="T26" fmla="*/ 0 w 36"/>
                <a:gd name="T2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11">
                  <a:moveTo>
                    <a:pt x="3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" y="8"/>
                    <a:pt x="3" y="8"/>
                    <a:pt x="3" y="8"/>
                  </a:cubicBezTo>
                  <a:lnTo>
                    <a:pt x="3" y="3"/>
                  </a:lnTo>
                  <a:close/>
                  <a:moveTo>
                    <a:pt x="0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2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6" y="11"/>
                    <a:pt x="36" y="1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7">
              <a:extLst>
                <a:ext uri="{FF2B5EF4-FFF2-40B4-BE49-F238E27FC236}">
                  <a16:creationId xmlns:a16="http://schemas.microsoft.com/office/drawing/2014/main" id="{AC13D22C-57BB-4ACD-A83C-4C3FAC5EF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7" y="1263"/>
              <a:ext cx="93" cy="89"/>
            </a:xfrm>
            <a:custGeom>
              <a:avLst/>
              <a:gdLst>
                <a:gd name="T0" fmla="*/ 25 w 36"/>
                <a:gd name="T1" fmla="*/ 24 h 35"/>
                <a:gd name="T2" fmla="*/ 32 w 36"/>
                <a:gd name="T3" fmla="*/ 24 h 35"/>
                <a:gd name="T4" fmla="*/ 32 w 36"/>
                <a:gd name="T5" fmla="*/ 31 h 35"/>
                <a:gd name="T6" fmla="*/ 25 w 36"/>
                <a:gd name="T7" fmla="*/ 31 h 35"/>
                <a:gd name="T8" fmla="*/ 25 w 36"/>
                <a:gd name="T9" fmla="*/ 24 h 35"/>
                <a:gd name="T10" fmla="*/ 3 w 36"/>
                <a:gd name="T11" fmla="*/ 24 h 35"/>
                <a:gd name="T12" fmla="*/ 11 w 36"/>
                <a:gd name="T13" fmla="*/ 24 h 35"/>
                <a:gd name="T14" fmla="*/ 11 w 36"/>
                <a:gd name="T15" fmla="*/ 31 h 35"/>
                <a:gd name="T16" fmla="*/ 3 w 36"/>
                <a:gd name="T17" fmla="*/ 31 h 35"/>
                <a:gd name="T18" fmla="*/ 3 w 36"/>
                <a:gd name="T19" fmla="*/ 24 h 35"/>
                <a:gd name="T20" fmla="*/ 22 w 36"/>
                <a:gd name="T21" fmla="*/ 10 h 35"/>
                <a:gd name="T22" fmla="*/ 3 w 36"/>
                <a:gd name="T23" fmla="*/ 10 h 35"/>
                <a:gd name="T24" fmla="*/ 3 w 36"/>
                <a:gd name="T25" fmla="*/ 3 h 35"/>
                <a:gd name="T26" fmla="*/ 22 w 36"/>
                <a:gd name="T27" fmla="*/ 3 h 35"/>
                <a:gd name="T28" fmla="*/ 22 w 36"/>
                <a:gd name="T29" fmla="*/ 10 h 35"/>
                <a:gd name="T30" fmla="*/ 32 w 36"/>
                <a:gd name="T31" fmla="*/ 10 h 35"/>
                <a:gd name="T32" fmla="*/ 25 w 36"/>
                <a:gd name="T33" fmla="*/ 10 h 35"/>
                <a:gd name="T34" fmla="*/ 25 w 36"/>
                <a:gd name="T35" fmla="*/ 3 h 35"/>
                <a:gd name="T36" fmla="*/ 32 w 36"/>
                <a:gd name="T37" fmla="*/ 3 h 35"/>
                <a:gd name="T38" fmla="*/ 32 w 36"/>
                <a:gd name="T39" fmla="*/ 10 h 35"/>
                <a:gd name="T40" fmla="*/ 25 w 36"/>
                <a:gd name="T41" fmla="*/ 14 h 35"/>
                <a:gd name="T42" fmla="*/ 32 w 36"/>
                <a:gd name="T43" fmla="*/ 14 h 35"/>
                <a:gd name="T44" fmla="*/ 32 w 36"/>
                <a:gd name="T45" fmla="*/ 21 h 35"/>
                <a:gd name="T46" fmla="*/ 25 w 36"/>
                <a:gd name="T47" fmla="*/ 21 h 35"/>
                <a:gd name="T48" fmla="*/ 25 w 36"/>
                <a:gd name="T49" fmla="*/ 14 h 35"/>
                <a:gd name="T50" fmla="*/ 3 w 36"/>
                <a:gd name="T51" fmla="*/ 14 h 35"/>
                <a:gd name="T52" fmla="*/ 11 w 36"/>
                <a:gd name="T53" fmla="*/ 14 h 35"/>
                <a:gd name="T54" fmla="*/ 11 w 36"/>
                <a:gd name="T55" fmla="*/ 21 h 35"/>
                <a:gd name="T56" fmla="*/ 3 w 36"/>
                <a:gd name="T57" fmla="*/ 21 h 35"/>
                <a:gd name="T58" fmla="*/ 3 w 36"/>
                <a:gd name="T59" fmla="*/ 14 h 35"/>
                <a:gd name="T60" fmla="*/ 22 w 36"/>
                <a:gd name="T61" fmla="*/ 31 h 35"/>
                <a:gd name="T62" fmla="*/ 14 w 36"/>
                <a:gd name="T63" fmla="*/ 31 h 35"/>
                <a:gd name="T64" fmla="*/ 14 w 36"/>
                <a:gd name="T65" fmla="*/ 24 h 35"/>
                <a:gd name="T66" fmla="*/ 22 w 36"/>
                <a:gd name="T67" fmla="*/ 24 h 35"/>
                <a:gd name="T68" fmla="*/ 22 w 36"/>
                <a:gd name="T69" fmla="*/ 31 h 35"/>
                <a:gd name="T70" fmla="*/ 14 w 36"/>
                <a:gd name="T71" fmla="*/ 14 h 35"/>
                <a:gd name="T72" fmla="*/ 22 w 36"/>
                <a:gd name="T73" fmla="*/ 14 h 35"/>
                <a:gd name="T74" fmla="*/ 22 w 36"/>
                <a:gd name="T75" fmla="*/ 21 h 35"/>
                <a:gd name="T76" fmla="*/ 14 w 36"/>
                <a:gd name="T77" fmla="*/ 21 h 35"/>
                <a:gd name="T78" fmla="*/ 14 w 36"/>
                <a:gd name="T79" fmla="*/ 14 h 35"/>
                <a:gd name="T80" fmla="*/ 34 w 36"/>
                <a:gd name="T81" fmla="*/ 0 h 35"/>
                <a:gd name="T82" fmla="*/ 23 w 36"/>
                <a:gd name="T83" fmla="*/ 0 h 35"/>
                <a:gd name="T84" fmla="*/ 2 w 36"/>
                <a:gd name="T85" fmla="*/ 0 h 35"/>
                <a:gd name="T86" fmla="*/ 0 w 36"/>
                <a:gd name="T87" fmla="*/ 1 h 35"/>
                <a:gd name="T88" fmla="*/ 0 w 36"/>
                <a:gd name="T89" fmla="*/ 12 h 35"/>
                <a:gd name="T90" fmla="*/ 0 w 36"/>
                <a:gd name="T91" fmla="*/ 33 h 35"/>
                <a:gd name="T92" fmla="*/ 2 w 36"/>
                <a:gd name="T93" fmla="*/ 35 h 35"/>
                <a:gd name="T94" fmla="*/ 34 w 36"/>
                <a:gd name="T95" fmla="*/ 35 h 35"/>
                <a:gd name="T96" fmla="*/ 36 w 36"/>
                <a:gd name="T97" fmla="*/ 33 h 35"/>
                <a:gd name="T98" fmla="*/ 36 w 36"/>
                <a:gd name="T99" fmla="*/ 12 h 35"/>
                <a:gd name="T100" fmla="*/ 36 w 36"/>
                <a:gd name="T101" fmla="*/ 1 h 35"/>
                <a:gd name="T102" fmla="*/ 34 w 36"/>
                <a:gd name="T10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" h="35">
                  <a:moveTo>
                    <a:pt x="25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5" y="31"/>
                    <a:pt x="25" y="31"/>
                    <a:pt x="25" y="31"/>
                  </a:cubicBezTo>
                  <a:lnTo>
                    <a:pt x="25" y="24"/>
                  </a:lnTo>
                  <a:close/>
                  <a:moveTo>
                    <a:pt x="3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3" y="31"/>
                    <a:pt x="3" y="31"/>
                    <a:pt x="3" y="31"/>
                  </a:cubicBezTo>
                  <a:lnTo>
                    <a:pt x="3" y="24"/>
                  </a:lnTo>
                  <a:close/>
                  <a:moveTo>
                    <a:pt x="22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2" y="3"/>
                    <a:pt x="22" y="3"/>
                    <a:pt x="22" y="3"/>
                  </a:cubicBezTo>
                  <a:lnTo>
                    <a:pt x="22" y="10"/>
                  </a:lnTo>
                  <a:close/>
                  <a:moveTo>
                    <a:pt x="32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32" y="3"/>
                    <a:pt x="32" y="3"/>
                    <a:pt x="32" y="3"/>
                  </a:cubicBezTo>
                  <a:lnTo>
                    <a:pt x="32" y="10"/>
                  </a:lnTo>
                  <a:close/>
                  <a:moveTo>
                    <a:pt x="25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5" y="21"/>
                    <a:pt x="25" y="21"/>
                    <a:pt x="25" y="21"/>
                  </a:cubicBezTo>
                  <a:lnTo>
                    <a:pt x="25" y="14"/>
                  </a:lnTo>
                  <a:close/>
                  <a:moveTo>
                    <a:pt x="3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3" y="21"/>
                    <a:pt x="3" y="21"/>
                    <a:pt x="3" y="21"/>
                  </a:cubicBezTo>
                  <a:lnTo>
                    <a:pt x="3" y="14"/>
                  </a:lnTo>
                  <a:close/>
                  <a:moveTo>
                    <a:pt x="22" y="31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2" y="24"/>
                    <a:pt x="22" y="24"/>
                    <a:pt x="22" y="24"/>
                  </a:cubicBezTo>
                  <a:lnTo>
                    <a:pt x="22" y="31"/>
                  </a:lnTo>
                  <a:close/>
                  <a:moveTo>
                    <a:pt x="14" y="14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14" y="14"/>
                  </a:lnTo>
                  <a:close/>
                  <a:moveTo>
                    <a:pt x="34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5"/>
                    <a:pt x="2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6" y="34"/>
                    <a:pt x="36" y="3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5" y="0"/>
                    <a:pt x="3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0" name="Group 140">
            <a:extLst>
              <a:ext uri="{FF2B5EF4-FFF2-40B4-BE49-F238E27FC236}">
                <a16:creationId xmlns:a16="http://schemas.microsoft.com/office/drawing/2014/main" id="{B09862A3-4081-496D-BFFA-8E265B36AB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0688" y="1590675"/>
            <a:ext cx="758825" cy="758825"/>
            <a:chOff x="5065" y="1002"/>
            <a:chExt cx="478" cy="478"/>
          </a:xfrm>
        </p:grpSpPr>
        <p:sp>
          <p:nvSpPr>
            <p:cNvPr id="161" name="AutoShape 139">
              <a:extLst>
                <a:ext uri="{FF2B5EF4-FFF2-40B4-BE49-F238E27FC236}">
                  <a16:creationId xmlns:a16="http://schemas.microsoft.com/office/drawing/2014/main" id="{4375EF12-E71F-498A-8842-7D811E4FC2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5" y="100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1">
              <a:extLst>
                <a:ext uri="{FF2B5EF4-FFF2-40B4-BE49-F238E27FC236}">
                  <a16:creationId xmlns:a16="http://schemas.microsoft.com/office/drawing/2014/main" id="{5C9962D2-FD64-4CD8-98F0-3623C5A57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" y="100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42">
              <a:extLst>
                <a:ext uri="{FF2B5EF4-FFF2-40B4-BE49-F238E27FC236}">
                  <a16:creationId xmlns:a16="http://schemas.microsoft.com/office/drawing/2014/main" id="{9F82EADA-33DD-4570-B71E-EA0F001AB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6" y="1205"/>
              <a:ext cx="44" cy="116"/>
            </a:xfrm>
            <a:custGeom>
              <a:avLst/>
              <a:gdLst>
                <a:gd name="T0" fmla="*/ 9 w 18"/>
                <a:gd name="T1" fmla="*/ 10 h 47"/>
                <a:gd name="T2" fmla="*/ 16 w 18"/>
                <a:gd name="T3" fmla="*/ 10 h 47"/>
                <a:gd name="T4" fmla="*/ 18 w 18"/>
                <a:gd name="T5" fmla="*/ 9 h 47"/>
                <a:gd name="T6" fmla="*/ 16 w 18"/>
                <a:gd name="T7" fmla="*/ 7 h 47"/>
                <a:gd name="T8" fmla="*/ 10 w 18"/>
                <a:gd name="T9" fmla="*/ 7 h 47"/>
                <a:gd name="T10" fmla="*/ 10 w 18"/>
                <a:gd name="T11" fmla="*/ 1 h 47"/>
                <a:gd name="T12" fmla="*/ 9 w 18"/>
                <a:gd name="T13" fmla="*/ 0 h 47"/>
                <a:gd name="T14" fmla="*/ 7 w 18"/>
                <a:gd name="T15" fmla="*/ 1 h 47"/>
                <a:gd name="T16" fmla="*/ 7 w 18"/>
                <a:gd name="T17" fmla="*/ 7 h 47"/>
                <a:gd name="T18" fmla="*/ 0 w 18"/>
                <a:gd name="T19" fmla="*/ 16 h 47"/>
                <a:gd name="T20" fmla="*/ 9 w 18"/>
                <a:gd name="T21" fmla="*/ 25 h 47"/>
                <a:gd name="T22" fmla="*/ 14 w 18"/>
                <a:gd name="T23" fmla="*/ 30 h 47"/>
                <a:gd name="T24" fmla="*/ 9 w 18"/>
                <a:gd name="T25" fmla="*/ 36 h 47"/>
                <a:gd name="T26" fmla="*/ 1 w 18"/>
                <a:gd name="T27" fmla="*/ 36 h 47"/>
                <a:gd name="T28" fmla="*/ 0 w 18"/>
                <a:gd name="T29" fmla="*/ 38 h 47"/>
                <a:gd name="T30" fmla="*/ 1 w 18"/>
                <a:gd name="T31" fmla="*/ 40 h 47"/>
                <a:gd name="T32" fmla="*/ 7 w 18"/>
                <a:gd name="T33" fmla="*/ 40 h 47"/>
                <a:gd name="T34" fmla="*/ 7 w 18"/>
                <a:gd name="T35" fmla="*/ 45 h 47"/>
                <a:gd name="T36" fmla="*/ 9 w 18"/>
                <a:gd name="T37" fmla="*/ 47 h 47"/>
                <a:gd name="T38" fmla="*/ 10 w 18"/>
                <a:gd name="T39" fmla="*/ 45 h 47"/>
                <a:gd name="T40" fmla="*/ 10 w 18"/>
                <a:gd name="T41" fmla="*/ 39 h 47"/>
                <a:gd name="T42" fmla="*/ 18 w 18"/>
                <a:gd name="T43" fmla="*/ 30 h 47"/>
                <a:gd name="T44" fmla="*/ 9 w 18"/>
                <a:gd name="T45" fmla="*/ 21 h 47"/>
                <a:gd name="T46" fmla="*/ 3 w 18"/>
                <a:gd name="T47" fmla="*/ 16 h 47"/>
                <a:gd name="T48" fmla="*/ 9 w 18"/>
                <a:gd name="T49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47">
                  <a:moveTo>
                    <a:pt x="9" y="10"/>
                  </a:move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8" y="10"/>
                    <a:pt x="18" y="9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8" y="0"/>
                    <a:pt x="7" y="0"/>
                    <a:pt x="7" y="1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4" y="8"/>
                    <a:pt x="0" y="10"/>
                    <a:pt x="0" y="16"/>
                  </a:cubicBezTo>
                  <a:cubicBezTo>
                    <a:pt x="0" y="23"/>
                    <a:pt x="6" y="25"/>
                    <a:pt x="9" y="25"/>
                  </a:cubicBezTo>
                  <a:cubicBezTo>
                    <a:pt x="9" y="25"/>
                    <a:pt x="14" y="25"/>
                    <a:pt x="14" y="30"/>
                  </a:cubicBezTo>
                  <a:cubicBezTo>
                    <a:pt x="14" y="36"/>
                    <a:pt x="9" y="36"/>
                    <a:pt x="9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0" y="37"/>
                    <a:pt x="0" y="38"/>
                  </a:cubicBezTo>
                  <a:cubicBezTo>
                    <a:pt x="0" y="39"/>
                    <a:pt x="1" y="40"/>
                    <a:pt x="1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6"/>
                    <a:pt x="8" y="47"/>
                    <a:pt x="9" y="47"/>
                  </a:cubicBezTo>
                  <a:cubicBezTo>
                    <a:pt x="10" y="47"/>
                    <a:pt x="10" y="46"/>
                    <a:pt x="10" y="45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4" y="39"/>
                    <a:pt x="18" y="36"/>
                    <a:pt x="18" y="30"/>
                  </a:cubicBezTo>
                  <a:cubicBezTo>
                    <a:pt x="18" y="23"/>
                    <a:pt x="12" y="21"/>
                    <a:pt x="9" y="21"/>
                  </a:cubicBezTo>
                  <a:cubicBezTo>
                    <a:pt x="8" y="21"/>
                    <a:pt x="3" y="21"/>
                    <a:pt x="3" y="16"/>
                  </a:cubicBezTo>
                  <a:cubicBezTo>
                    <a:pt x="3" y="10"/>
                    <a:pt x="8" y="10"/>
                    <a:pt x="9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3">
              <a:extLst>
                <a:ext uri="{FF2B5EF4-FFF2-40B4-BE49-F238E27FC236}">
                  <a16:creationId xmlns:a16="http://schemas.microsoft.com/office/drawing/2014/main" id="{B445C250-4A53-4F96-9FC4-64DF87B018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0" y="1120"/>
              <a:ext cx="270" cy="245"/>
            </a:xfrm>
            <a:custGeom>
              <a:avLst/>
              <a:gdLst>
                <a:gd name="T0" fmla="*/ 107 w 110"/>
                <a:gd name="T1" fmla="*/ 96 h 100"/>
                <a:gd name="T2" fmla="*/ 65 w 110"/>
                <a:gd name="T3" fmla="*/ 96 h 100"/>
                <a:gd name="T4" fmla="*/ 65 w 110"/>
                <a:gd name="T5" fmla="*/ 37 h 100"/>
                <a:gd name="T6" fmla="*/ 107 w 110"/>
                <a:gd name="T7" fmla="*/ 37 h 100"/>
                <a:gd name="T8" fmla="*/ 107 w 110"/>
                <a:gd name="T9" fmla="*/ 96 h 100"/>
                <a:gd name="T10" fmla="*/ 3 w 110"/>
                <a:gd name="T11" fmla="*/ 67 h 100"/>
                <a:gd name="T12" fmla="*/ 11 w 110"/>
                <a:gd name="T13" fmla="*/ 43 h 100"/>
                <a:gd name="T14" fmla="*/ 28 w 110"/>
                <a:gd name="T15" fmla="*/ 21 h 100"/>
                <a:gd name="T16" fmla="*/ 28 w 110"/>
                <a:gd name="T17" fmla="*/ 21 h 100"/>
                <a:gd name="T18" fmla="*/ 59 w 110"/>
                <a:gd name="T19" fmla="*/ 21 h 100"/>
                <a:gd name="T20" fmla="*/ 60 w 110"/>
                <a:gd name="T21" fmla="*/ 21 h 100"/>
                <a:gd name="T22" fmla="*/ 69 w 110"/>
                <a:gd name="T23" fmla="*/ 34 h 100"/>
                <a:gd name="T24" fmla="*/ 63 w 110"/>
                <a:gd name="T25" fmla="*/ 34 h 100"/>
                <a:gd name="T26" fmla="*/ 62 w 110"/>
                <a:gd name="T27" fmla="*/ 35 h 100"/>
                <a:gd name="T28" fmla="*/ 62 w 110"/>
                <a:gd name="T29" fmla="*/ 96 h 100"/>
                <a:gd name="T30" fmla="*/ 44 w 110"/>
                <a:gd name="T31" fmla="*/ 96 h 100"/>
                <a:gd name="T32" fmla="*/ 3 w 110"/>
                <a:gd name="T33" fmla="*/ 67 h 100"/>
                <a:gd name="T34" fmla="*/ 22 w 110"/>
                <a:gd name="T35" fmla="*/ 6 h 100"/>
                <a:gd name="T36" fmla="*/ 27 w 110"/>
                <a:gd name="T37" fmla="*/ 4 h 100"/>
                <a:gd name="T38" fmla="*/ 31 w 110"/>
                <a:gd name="T39" fmla="*/ 6 h 100"/>
                <a:gd name="T40" fmla="*/ 34 w 110"/>
                <a:gd name="T41" fmla="*/ 9 h 100"/>
                <a:gd name="T42" fmla="*/ 37 w 110"/>
                <a:gd name="T43" fmla="*/ 9 h 100"/>
                <a:gd name="T44" fmla="*/ 38 w 110"/>
                <a:gd name="T45" fmla="*/ 7 h 100"/>
                <a:gd name="T46" fmla="*/ 44 w 110"/>
                <a:gd name="T47" fmla="*/ 5 h 100"/>
                <a:gd name="T48" fmla="*/ 49 w 110"/>
                <a:gd name="T49" fmla="*/ 8 h 100"/>
                <a:gd name="T50" fmla="*/ 51 w 110"/>
                <a:gd name="T51" fmla="*/ 9 h 100"/>
                <a:gd name="T52" fmla="*/ 53 w 110"/>
                <a:gd name="T53" fmla="*/ 9 h 100"/>
                <a:gd name="T54" fmla="*/ 56 w 110"/>
                <a:gd name="T55" fmla="*/ 6 h 100"/>
                <a:gd name="T56" fmla="*/ 65 w 110"/>
                <a:gd name="T57" fmla="*/ 6 h 100"/>
                <a:gd name="T58" fmla="*/ 68 w 110"/>
                <a:gd name="T59" fmla="*/ 8 h 100"/>
                <a:gd name="T60" fmla="*/ 58 w 110"/>
                <a:gd name="T61" fmla="*/ 18 h 100"/>
                <a:gd name="T62" fmla="*/ 29 w 110"/>
                <a:gd name="T63" fmla="*/ 18 h 100"/>
                <a:gd name="T64" fmla="*/ 20 w 110"/>
                <a:gd name="T65" fmla="*/ 8 h 100"/>
                <a:gd name="T66" fmla="*/ 22 w 110"/>
                <a:gd name="T67" fmla="*/ 6 h 100"/>
                <a:gd name="T68" fmla="*/ 108 w 110"/>
                <a:gd name="T69" fmla="*/ 34 h 100"/>
                <a:gd name="T70" fmla="*/ 73 w 110"/>
                <a:gd name="T71" fmla="*/ 34 h 100"/>
                <a:gd name="T72" fmla="*/ 62 w 110"/>
                <a:gd name="T73" fmla="*/ 19 h 100"/>
                <a:gd name="T74" fmla="*/ 72 w 110"/>
                <a:gd name="T75" fmla="*/ 10 h 100"/>
                <a:gd name="T76" fmla="*/ 72 w 110"/>
                <a:gd name="T77" fmla="*/ 9 h 100"/>
                <a:gd name="T78" fmla="*/ 72 w 110"/>
                <a:gd name="T79" fmla="*/ 7 h 100"/>
                <a:gd name="T80" fmla="*/ 67 w 110"/>
                <a:gd name="T81" fmla="*/ 3 h 100"/>
                <a:gd name="T82" fmla="*/ 54 w 110"/>
                <a:gd name="T83" fmla="*/ 3 h 100"/>
                <a:gd name="T84" fmla="*/ 52 w 110"/>
                <a:gd name="T85" fmla="*/ 5 h 100"/>
                <a:gd name="T86" fmla="*/ 52 w 110"/>
                <a:gd name="T87" fmla="*/ 5 h 100"/>
                <a:gd name="T88" fmla="*/ 44 w 110"/>
                <a:gd name="T89" fmla="*/ 2 h 100"/>
                <a:gd name="T90" fmla="*/ 36 w 110"/>
                <a:gd name="T91" fmla="*/ 5 h 100"/>
                <a:gd name="T92" fmla="*/ 36 w 110"/>
                <a:gd name="T93" fmla="*/ 5 h 100"/>
                <a:gd name="T94" fmla="*/ 33 w 110"/>
                <a:gd name="T95" fmla="*/ 3 h 100"/>
                <a:gd name="T96" fmla="*/ 27 w 110"/>
                <a:gd name="T97" fmla="*/ 0 h 100"/>
                <a:gd name="T98" fmla="*/ 20 w 110"/>
                <a:gd name="T99" fmla="*/ 3 h 100"/>
                <a:gd name="T100" fmla="*/ 16 w 110"/>
                <a:gd name="T101" fmla="*/ 7 h 100"/>
                <a:gd name="T102" fmla="*/ 15 w 110"/>
                <a:gd name="T103" fmla="*/ 9 h 100"/>
                <a:gd name="T104" fmla="*/ 16 w 110"/>
                <a:gd name="T105" fmla="*/ 10 h 100"/>
                <a:gd name="T106" fmla="*/ 25 w 110"/>
                <a:gd name="T107" fmla="*/ 19 h 100"/>
                <a:gd name="T108" fmla="*/ 9 w 110"/>
                <a:gd name="T109" fmla="*/ 41 h 100"/>
                <a:gd name="T110" fmla="*/ 0 w 110"/>
                <a:gd name="T111" fmla="*/ 67 h 100"/>
                <a:gd name="T112" fmla="*/ 44 w 110"/>
                <a:gd name="T113" fmla="*/ 100 h 100"/>
                <a:gd name="T114" fmla="*/ 64 w 110"/>
                <a:gd name="T115" fmla="*/ 99 h 100"/>
                <a:gd name="T116" fmla="*/ 108 w 110"/>
                <a:gd name="T117" fmla="*/ 99 h 100"/>
                <a:gd name="T118" fmla="*/ 110 w 110"/>
                <a:gd name="T119" fmla="*/ 98 h 100"/>
                <a:gd name="T120" fmla="*/ 110 w 110"/>
                <a:gd name="T121" fmla="*/ 35 h 100"/>
                <a:gd name="T122" fmla="*/ 108 w 110"/>
                <a:gd name="T123" fmla="*/ 3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100">
                  <a:moveTo>
                    <a:pt x="107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107" y="37"/>
                    <a:pt x="107" y="37"/>
                    <a:pt x="107" y="37"/>
                  </a:cubicBezTo>
                  <a:lnTo>
                    <a:pt x="107" y="96"/>
                  </a:lnTo>
                  <a:close/>
                  <a:moveTo>
                    <a:pt x="3" y="67"/>
                  </a:moveTo>
                  <a:cubicBezTo>
                    <a:pt x="3" y="59"/>
                    <a:pt x="6" y="50"/>
                    <a:pt x="11" y="43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2" y="34"/>
                    <a:pt x="62" y="3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59" y="96"/>
                    <a:pt x="53" y="96"/>
                    <a:pt x="44" y="96"/>
                  </a:cubicBezTo>
                  <a:cubicBezTo>
                    <a:pt x="17" y="96"/>
                    <a:pt x="3" y="86"/>
                    <a:pt x="3" y="67"/>
                  </a:cubicBezTo>
                  <a:moveTo>
                    <a:pt x="22" y="6"/>
                  </a:moveTo>
                  <a:cubicBezTo>
                    <a:pt x="24" y="5"/>
                    <a:pt x="25" y="4"/>
                    <a:pt x="27" y="4"/>
                  </a:cubicBezTo>
                  <a:cubicBezTo>
                    <a:pt x="28" y="4"/>
                    <a:pt x="30" y="5"/>
                    <a:pt x="31" y="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10"/>
                    <a:pt x="36" y="10"/>
                    <a:pt x="37" y="9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40" y="6"/>
                    <a:pt x="42" y="5"/>
                    <a:pt x="44" y="5"/>
                  </a:cubicBezTo>
                  <a:cubicBezTo>
                    <a:pt x="46" y="5"/>
                    <a:pt x="48" y="6"/>
                    <a:pt x="49" y="8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1" y="10"/>
                    <a:pt x="53" y="10"/>
                    <a:pt x="53" y="9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9" y="3"/>
                    <a:pt x="63" y="3"/>
                    <a:pt x="65" y="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0" y="8"/>
                    <a:pt x="20" y="8"/>
                    <a:pt x="20" y="8"/>
                  </a:cubicBezTo>
                  <a:lnTo>
                    <a:pt x="22" y="6"/>
                  </a:lnTo>
                  <a:close/>
                  <a:moveTo>
                    <a:pt x="108" y="34"/>
                  </a:moveTo>
                  <a:cubicBezTo>
                    <a:pt x="73" y="34"/>
                    <a:pt x="73" y="34"/>
                    <a:pt x="73" y="34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2" y="8"/>
                    <a:pt x="72" y="8"/>
                    <a:pt x="72" y="7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4" y="0"/>
                    <a:pt x="58" y="0"/>
                    <a:pt x="54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0" y="3"/>
                    <a:pt x="47" y="2"/>
                    <a:pt x="44" y="2"/>
                  </a:cubicBezTo>
                  <a:cubicBezTo>
                    <a:pt x="41" y="2"/>
                    <a:pt x="38" y="3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1"/>
                    <a:pt x="29" y="0"/>
                    <a:pt x="27" y="0"/>
                  </a:cubicBezTo>
                  <a:cubicBezTo>
                    <a:pt x="24" y="0"/>
                    <a:pt x="22" y="1"/>
                    <a:pt x="20" y="3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5" y="8"/>
                    <a:pt x="15" y="9"/>
                  </a:cubicBezTo>
                  <a:cubicBezTo>
                    <a:pt x="15" y="9"/>
                    <a:pt x="16" y="9"/>
                    <a:pt x="16" y="1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3" y="49"/>
                    <a:pt x="0" y="58"/>
                    <a:pt x="0" y="67"/>
                  </a:cubicBezTo>
                  <a:cubicBezTo>
                    <a:pt x="0" y="82"/>
                    <a:pt x="8" y="100"/>
                    <a:pt x="44" y="100"/>
                  </a:cubicBezTo>
                  <a:cubicBezTo>
                    <a:pt x="57" y="100"/>
                    <a:pt x="63" y="99"/>
                    <a:pt x="64" y="99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9" y="99"/>
                    <a:pt x="110" y="98"/>
                    <a:pt x="110" y="98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4"/>
                    <a:pt x="109" y="34"/>
                    <a:pt x="108" y="3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4">
              <a:extLst>
                <a:ext uri="{FF2B5EF4-FFF2-40B4-BE49-F238E27FC236}">
                  <a16:creationId xmlns:a16="http://schemas.microsoft.com/office/drawing/2014/main" id="{5C1CFABD-D074-4338-B37E-9B44E2BB8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7" y="1218"/>
              <a:ext cx="88" cy="27"/>
            </a:xfrm>
            <a:custGeom>
              <a:avLst/>
              <a:gdLst>
                <a:gd name="T0" fmla="*/ 3 w 36"/>
                <a:gd name="T1" fmla="*/ 3 h 11"/>
                <a:gd name="T2" fmla="*/ 32 w 36"/>
                <a:gd name="T3" fmla="*/ 3 h 11"/>
                <a:gd name="T4" fmla="*/ 32 w 36"/>
                <a:gd name="T5" fmla="*/ 8 h 11"/>
                <a:gd name="T6" fmla="*/ 3 w 36"/>
                <a:gd name="T7" fmla="*/ 8 h 11"/>
                <a:gd name="T8" fmla="*/ 3 w 36"/>
                <a:gd name="T9" fmla="*/ 3 h 11"/>
                <a:gd name="T10" fmla="*/ 0 w 36"/>
                <a:gd name="T11" fmla="*/ 2 h 11"/>
                <a:gd name="T12" fmla="*/ 0 w 36"/>
                <a:gd name="T13" fmla="*/ 10 h 11"/>
                <a:gd name="T14" fmla="*/ 2 w 36"/>
                <a:gd name="T15" fmla="*/ 11 h 11"/>
                <a:gd name="T16" fmla="*/ 34 w 36"/>
                <a:gd name="T17" fmla="*/ 11 h 11"/>
                <a:gd name="T18" fmla="*/ 36 w 36"/>
                <a:gd name="T19" fmla="*/ 10 h 11"/>
                <a:gd name="T20" fmla="*/ 36 w 36"/>
                <a:gd name="T21" fmla="*/ 2 h 11"/>
                <a:gd name="T22" fmla="*/ 34 w 36"/>
                <a:gd name="T23" fmla="*/ 0 h 11"/>
                <a:gd name="T24" fmla="*/ 2 w 36"/>
                <a:gd name="T25" fmla="*/ 0 h 11"/>
                <a:gd name="T26" fmla="*/ 0 w 36"/>
                <a:gd name="T2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11">
                  <a:moveTo>
                    <a:pt x="3" y="3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" y="8"/>
                    <a:pt x="3" y="8"/>
                    <a:pt x="3" y="8"/>
                  </a:cubicBezTo>
                  <a:lnTo>
                    <a:pt x="3" y="3"/>
                  </a:lnTo>
                  <a:close/>
                  <a:moveTo>
                    <a:pt x="0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2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6" y="11"/>
                    <a:pt x="36" y="1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5">
              <a:extLst>
                <a:ext uri="{FF2B5EF4-FFF2-40B4-BE49-F238E27FC236}">
                  <a16:creationId xmlns:a16="http://schemas.microsoft.com/office/drawing/2014/main" id="{C1837D21-906C-4F5B-B933-3F90D126E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7" y="1262"/>
              <a:ext cx="88" cy="86"/>
            </a:xfrm>
            <a:custGeom>
              <a:avLst/>
              <a:gdLst>
                <a:gd name="T0" fmla="*/ 25 w 36"/>
                <a:gd name="T1" fmla="*/ 24 h 35"/>
                <a:gd name="T2" fmla="*/ 32 w 36"/>
                <a:gd name="T3" fmla="*/ 24 h 35"/>
                <a:gd name="T4" fmla="*/ 32 w 36"/>
                <a:gd name="T5" fmla="*/ 31 h 35"/>
                <a:gd name="T6" fmla="*/ 25 w 36"/>
                <a:gd name="T7" fmla="*/ 31 h 35"/>
                <a:gd name="T8" fmla="*/ 25 w 36"/>
                <a:gd name="T9" fmla="*/ 24 h 35"/>
                <a:gd name="T10" fmla="*/ 3 w 36"/>
                <a:gd name="T11" fmla="*/ 24 h 35"/>
                <a:gd name="T12" fmla="*/ 11 w 36"/>
                <a:gd name="T13" fmla="*/ 24 h 35"/>
                <a:gd name="T14" fmla="*/ 11 w 36"/>
                <a:gd name="T15" fmla="*/ 31 h 35"/>
                <a:gd name="T16" fmla="*/ 3 w 36"/>
                <a:gd name="T17" fmla="*/ 31 h 35"/>
                <a:gd name="T18" fmla="*/ 3 w 36"/>
                <a:gd name="T19" fmla="*/ 24 h 35"/>
                <a:gd name="T20" fmla="*/ 22 w 36"/>
                <a:gd name="T21" fmla="*/ 10 h 35"/>
                <a:gd name="T22" fmla="*/ 3 w 36"/>
                <a:gd name="T23" fmla="*/ 10 h 35"/>
                <a:gd name="T24" fmla="*/ 3 w 36"/>
                <a:gd name="T25" fmla="*/ 3 h 35"/>
                <a:gd name="T26" fmla="*/ 22 w 36"/>
                <a:gd name="T27" fmla="*/ 3 h 35"/>
                <a:gd name="T28" fmla="*/ 22 w 36"/>
                <a:gd name="T29" fmla="*/ 10 h 35"/>
                <a:gd name="T30" fmla="*/ 32 w 36"/>
                <a:gd name="T31" fmla="*/ 10 h 35"/>
                <a:gd name="T32" fmla="*/ 25 w 36"/>
                <a:gd name="T33" fmla="*/ 10 h 35"/>
                <a:gd name="T34" fmla="*/ 25 w 36"/>
                <a:gd name="T35" fmla="*/ 3 h 35"/>
                <a:gd name="T36" fmla="*/ 32 w 36"/>
                <a:gd name="T37" fmla="*/ 3 h 35"/>
                <a:gd name="T38" fmla="*/ 32 w 36"/>
                <a:gd name="T39" fmla="*/ 10 h 35"/>
                <a:gd name="T40" fmla="*/ 25 w 36"/>
                <a:gd name="T41" fmla="*/ 14 h 35"/>
                <a:gd name="T42" fmla="*/ 32 w 36"/>
                <a:gd name="T43" fmla="*/ 14 h 35"/>
                <a:gd name="T44" fmla="*/ 32 w 36"/>
                <a:gd name="T45" fmla="*/ 21 h 35"/>
                <a:gd name="T46" fmla="*/ 25 w 36"/>
                <a:gd name="T47" fmla="*/ 21 h 35"/>
                <a:gd name="T48" fmla="*/ 25 w 36"/>
                <a:gd name="T49" fmla="*/ 14 h 35"/>
                <a:gd name="T50" fmla="*/ 3 w 36"/>
                <a:gd name="T51" fmla="*/ 14 h 35"/>
                <a:gd name="T52" fmla="*/ 11 w 36"/>
                <a:gd name="T53" fmla="*/ 14 h 35"/>
                <a:gd name="T54" fmla="*/ 11 w 36"/>
                <a:gd name="T55" fmla="*/ 21 h 35"/>
                <a:gd name="T56" fmla="*/ 3 w 36"/>
                <a:gd name="T57" fmla="*/ 21 h 35"/>
                <a:gd name="T58" fmla="*/ 3 w 36"/>
                <a:gd name="T59" fmla="*/ 14 h 35"/>
                <a:gd name="T60" fmla="*/ 22 w 36"/>
                <a:gd name="T61" fmla="*/ 31 h 35"/>
                <a:gd name="T62" fmla="*/ 14 w 36"/>
                <a:gd name="T63" fmla="*/ 31 h 35"/>
                <a:gd name="T64" fmla="*/ 14 w 36"/>
                <a:gd name="T65" fmla="*/ 24 h 35"/>
                <a:gd name="T66" fmla="*/ 22 w 36"/>
                <a:gd name="T67" fmla="*/ 24 h 35"/>
                <a:gd name="T68" fmla="*/ 22 w 36"/>
                <a:gd name="T69" fmla="*/ 31 h 35"/>
                <a:gd name="T70" fmla="*/ 14 w 36"/>
                <a:gd name="T71" fmla="*/ 14 h 35"/>
                <a:gd name="T72" fmla="*/ 22 w 36"/>
                <a:gd name="T73" fmla="*/ 14 h 35"/>
                <a:gd name="T74" fmla="*/ 22 w 36"/>
                <a:gd name="T75" fmla="*/ 21 h 35"/>
                <a:gd name="T76" fmla="*/ 14 w 36"/>
                <a:gd name="T77" fmla="*/ 21 h 35"/>
                <a:gd name="T78" fmla="*/ 14 w 36"/>
                <a:gd name="T79" fmla="*/ 14 h 35"/>
                <a:gd name="T80" fmla="*/ 34 w 36"/>
                <a:gd name="T81" fmla="*/ 0 h 35"/>
                <a:gd name="T82" fmla="*/ 23 w 36"/>
                <a:gd name="T83" fmla="*/ 0 h 35"/>
                <a:gd name="T84" fmla="*/ 2 w 36"/>
                <a:gd name="T85" fmla="*/ 0 h 35"/>
                <a:gd name="T86" fmla="*/ 0 w 36"/>
                <a:gd name="T87" fmla="*/ 1 h 35"/>
                <a:gd name="T88" fmla="*/ 0 w 36"/>
                <a:gd name="T89" fmla="*/ 12 h 35"/>
                <a:gd name="T90" fmla="*/ 0 w 36"/>
                <a:gd name="T91" fmla="*/ 33 h 35"/>
                <a:gd name="T92" fmla="*/ 2 w 36"/>
                <a:gd name="T93" fmla="*/ 35 h 35"/>
                <a:gd name="T94" fmla="*/ 34 w 36"/>
                <a:gd name="T95" fmla="*/ 35 h 35"/>
                <a:gd name="T96" fmla="*/ 36 w 36"/>
                <a:gd name="T97" fmla="*/ 33 h 35"/>
                <a:gd name="T98" fmla="*/ 36 w 36"/>
                <a:gd name="T99" fmla="*/ 12 h 35"/>
                <a:gd name="T100" fmla="*/ 36 w 36"/>
                <a:gd name="T101" fmla="*/ 1 h 35"/>
                <a:gd name="T102" fmla="*/ 34 w 36"/>
                <a:gd name="T10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" h="35">
                  <a:moveTo>
                    <a:pt x="25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5" y="31"/>
                    <a:pt x="25" y="31"/>
                    <a:pt x="25" y="31"/>
                  </a:cubicBezTo>
                  <a:lnTo>
                    <a:pt x="25" y="24"/>
                  </a:lnTo>
                  <a:close/>
                  <a:moveTo>
                    <a:pt x="3" y="24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3" y="31"/>
                    <a:pt x="3" y="31"/>
                    <a:pt x="3" y="31"/>
                  </a:cubicBezTo>
                  <a:lnTo>
                    <a:pt x="3" y="24"/>
                  </a:lnTo>
                  <a:close/>
                  <a:moveTo>
                    <a:pt x="22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2" y="3"/>
                    <a:pt x="22" y="3"/>
                    <a:pt x="22" y="3"/>
                  </a:cubicBezTo>
                  <a:lnTo>
                    <a:pt x="22" y="10"/>
                  </a:lnTo>
                  <a:close/>
                  <a:moveTo>
                    <a:pt x="32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32" y="3"/>
                    <a:pt x="32" y="3"/>
                    <a:pt x="32" y="3"/>
                  </a:cubicBezTo>
                  <a:lnTo>
                    <a:pt x="32" y="10"/>
                  </a:lnTo>
                  <a:close/>
                  <a:moveTo>
                    <a:pt x="25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5" y="21"/>
                    <a:pt x="25" y="21"/>
                    <a:pt x="25" y="21"/>
                  </a:cubicBezTo>
                  <a:lnTo>
                    <a:pt x="25" y="14"/>
                  </a:lnTo>
                  <a:close/>
                  <a:moveTo>
                    <a:pt x="3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3" y="21"/>
                    <a:pt x="3" y="21"/>
                    <a:pt x="3" y="21"/>
                  </a:cubicBezTo>
                  <a:lnTo>
                    <a:pt x="3" y="14"/>
                  </a:lnTo>
                  <a:close/>
                  <a:moveTo>
                    <a:pt x="22" y="31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22" y="24"/>
                    <a:pt x="22" y="24"/>
                    <a:pt x="22" y="24"/>
                  </a:cubicBezTo>
                  <a:lnTo>
                    <a:pt x="22" y="31"/>
                  </a:lnTo>
                  <a:close/>
                  <a:moveTo>
                    <a:pt x="14" y="14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14" y="14"/>
                  </a:lnTo>
                  <a:close/>
                  <a:moveTo>
                    <a:pt x="34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1" y="35"/>
                    <a:pt x="2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6" y="34"/>
                    <a:pt x="36" y="3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5" y="0"/>
                    <a:pt x="3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148">
            <a:extLst>
              <a:ext uri="{FF2B5EF4-FFF2-40B4-BE49-F238E27FC236}">
                <a16:creationId xmlns:a16="http://schemas.microsoft.com/office/drawing/2014/main" id="{9A0BA335-64C2-4A5B-A04C-0B6C3D8BF4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7663" y="2763609"/>
            <a:ext cx="841375" cy="841375"/>
            <a:chOff x="219" y="1771"/>
            <a:chExt cx="530" cy="530"/>
          </a:xfrm>
        </p:grpSpPr>
        <p:sp>
          <p:nvSpPr>
            <p:cNvPr id="184" name="AutoShape 147">
              <a:extLst>
                <a:ext uri="{FF2B5EF4-FFF2-40B4-BE49-F238E27FC236}">
                  <a16:creationId xmlns:a16="http://schemas.microsoft.com/office/drawing/2014/main" id="{6D20783B-E650-45EA-9260-2CC21874311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9" y="177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149">
              <a:extLst>
                <a:ext uri="{FF2B5EF4-FFF2-40B4-BE49-F238E27FC236}">
                  <a16:creationId xmlns:a16="http://schemas.microsoft.com/office/drawing/2014/main" id="{C982F8FB-C892-4785-99FF-13DEF71FD0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" y="177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50">
              <a:extLst>
                <a:ext uri="{FF2B5EF4-FFF2-40B4-BE49-F238E27FC236}">
                  <a16:creationId xmlns:a16="http://schemas.microsoft.com/office/drawing/2014/main" id="{B5537FC5-81B2-4BB7-9B17-2941120A4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" y="178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51">
              <a:extLst>
                <a:ext uri="{FF2B5EF4-FFF2-40B4-BE49-F238E27FC236}">
                  <a16:creationId xmlns:a16="http://schemas.microsoft.com/office/drawing/2014/main" id="{075B7D6F-C0CF-41C3-B34F-879E27ACB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" y="1937"/>
              <a:ext cx="205" cy="200"/>
            </a:xfrm>
            <a:custGeom>
              <a:avLst/>
              <a:gdLst>
                <a:gd name="T0" fmla="*/ 40 w 80"/>
                <a:gd name="T1" fmla="*/ 76 h 78"/>
                <a:gd name="T2" fmla="*/ 3 w 80"/>
                <a:gd name="T3" fmla="*/ 39 h 78"/>
                <a:gd name="T4" fmla="*/ 40 w 80"/>
                <a:gd name="T5" fmla="*/ 2 h 78"/>
                <a:gd name="T6" fmla="*/ 77 w 80"/>
                <a:gd name="T7" fmla="*/ 39 h 78"/>
                <a:gd name="T8" fmla="*/ 40 w 80"/>
                <a:gd name="T9" fmla="*/ 76 h 78"/>
                <a:gd name="T10" fmla="*/ 40 w 80"/>
                <a:gd name="T11" fmla="*/ 0 h 78"/>
                <a:gd name="T12" fmla="*/ 0 w 80"/>
                <a:gd name="T13" fmla="*/ 39 h 78"/>
                <a:gd name="T14" fmla="*/ 40 w 80"/>
                <a:gd name="T15" fmla="*/ 78 h 78"/>
                <a:gd name="T16" fmla="*/ 80 w 80"/>
                <a:gd name="T17" fmla="*/ 39 h 78"/>
                <a:gd name="T18" fmla="*/ 40 w 80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8">
                  <a:moveTo>
                    <a:pt x="40" y="76"/>
                  </a:moveTo>
                  <a:cubicBezTo>
                    <a:pt x="20" y="76"/>
                    <a:pt x="3" y="59"/>
                    <a:pt x="3" y="39"/>
                  </a:cubicBezTo>
                  <a:cubicBezTo>
                    <a:pt x="3" y="19"/>
                    <a:pt x="20" y="2"/>
                    <a:pt x="40" y="2"/>
                  </a:cubicBezTo>
                  <a:cubicBezTo>
                    <a:pt x="60" y="2"/>
                    <a:pt x="77" y="19"/>
                    <a:pt x="77" y="39"/>
                  </a:cubicBezTo>
                  <a:cubicBezTo>
                    <a:pt x="77" y="59"/>
                    <a:pt x="60" y="76"/>
                    <a:pt x="40" y="76"/>
                  </a:cubicBezTo>
                  <a:moveTo>
                    <a:pt x="40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61"/>
                    <a:pt x="18" y="78"/>
                    <a:pt x="40" y="78"/>
                  </a:cubicBezTo>
                  <a:cubicBezTo>
                    <a:pt x="62" y="78"/>
                    <a:pt x="80" y="61"/>
                    <a:pt x="80" y="39"/>
                  </a:cubicBezTo>
                  <a:cubicBezTo>
                    <a:pt x="80" y="17"/>
                    <a:pt x="62" y="0"/>
                    <a:pt x="4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52">
              <a:extLst>
                <a:ext uri="{FF2B5EF4-FFF2-40B4-BE49-F238E27FC236}">
                  <a16:creationId xmlns:a16="http://schemas.microsoft.com/office/drawing/2014/main" id="{9D996453-44C0-4BFF-AAF0-6AC673CC1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" y="1989"/>
              <a:ext cx="21" cy="33"/>
            </a:xfrm>
            <a:custGeom>
              <a:avLst/>
              <a:gdLst>
                <a:gd name="T0" fmla="*/ 5 w 8"/>
                <a:gd name="T1" fmla="*/ 9 h 13"/>
                <a:gd name="T2" fmla="*/ 3 w 8"/>
                <a:gd name="T3" fmla="*/ 6 h 13"/>
                <a:gd name="T4" fmla="*/ 3 w 8"/>
                <a:gd name="T5" fmla="*/ 6 h 13"/>
                <a:gd name="T6" fmla="*/ 5 w 8"/>
                <a:gd name="T7" fmla="*/ 3 h 13"/>
                <a:gd name="T8" fmla="*/ 5 w 8"/>
                <a:gd name="T9" fmla="*/ 9 h 13"/>
                <a:gd name="T10" fmla="*/ 0 w 8"/>
                <a:gd name="T11" fmla="*/ 6 h 13"/>
                <a:gd name="T12" fmla="*/ 0 w 8"/>
                <a:gd name="T13" fmla="*/ 6 h 13"/>
                <a:gd name="T14" fmla="*/ 6 w 8"/>
                <a:gd name="T15" fmla="*/ 12 h 13"/>
                <a:gd name="T16" fmla="*/ 8 w 8"/>
                <a:gd name="T17" fmla="*/ 13 h 13"/>
                <a:gd name="T18" fmla="*/ 8 w 8"/>
                <a:gd name="T19" fmla="*/ 0 h 13"/>
                <a:gd name="T20" fmla="*/ 6 w 8"/>
                <a:gd name="T21" fmla="*/ 0 h 13"/>
                <a:gd name="T22" fmla="*/ 0 w 8"/>
                <a:gd name="T2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3">
                  <a:moveTo>
                    <a:pt x="5" y="9"/>
                  </a:moveTo>
                  <a:cubicBezTo>
                    <a:pt x="3" y="8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3"/>
                    <a:pt x="5" y="3"/>
                  </a:cubicBezTo>
                  <a:lnTo>
                    <a:pt x="5" y="9"/>
                  </a:lnTo>
                  <a:close/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2" y="11"/>
                    <a:pt x="6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" y="1"/>
                    <a:pt x="0" y="4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53">
              <a:extLst>
                <a:ext uri="{FF2B5EF4-FFF2-40B4-BE49-F238E27FC236}">
                  <a16:creationId xmlns:a16="http://schemas.microsoft.com/office/drawing/2014/main" id="{DC8935C5-50C0-4AD4-BF90-1DBD0CE61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" y="1953"/>
              <a:ext cx="110" cy="169"/>
            </a:xfrm>
            <a:custGeom>
              <a:avLst/>
              <a:gdLst>
                <a:gd name="T0" fmla="*/ 41 w 43"/>
                <a:gd name="T1" fmla="*/ 43 h 66"/>
                <a:gd name="T2" fmla="*/ 27 w 43"/>
                <a:gd name="T3" fmla="*/ 56 h 66"/>
                <a:gd name="T4" fmla="*/ 25 w 43"/>
                <a:gd name="T5" fmla="*/ 56 h 66"/>
                <a:gd name="T6" fmla="*/ 25 w 43"/>
                <a:gd name="T7" fmla="*/ 63 h 66"/>
                <a:gd name="T8" fmla="*/ 20 w 43"/>
                <a:gd name="T9" fmla="*/ 63 h 66"/>
                <a:gd name="T10" fmla="*/ 20 w 43"/>
                <a:gd name="T11" fmla="*/ 56 h 66"/>
                <a:gd name="T12" fmla="*/ 19 w 43"/>
                <a:gd name="T13" fmla="*/ 56 h 66"/>
                <a:gd name="T14" fmla="*/ 3 w 43"/>
                <a:gd name="T15" fmla="*/ 50 h 66"/>
                <a:gd name="T16" fmla="*/ 8 w 43"/>
                <a:gd name="T17" fmla="*/ 43 h 66"/>
                <a:gd name="T18" fmla="*/ 19 w 43"/>
                <a:gd name="T19" fmla="*/ 49 h 66"/>
                <a:gd name="T20" fmla="*/ 21 w 43"/>
                <a:gd name="T21" fmla="*/ 49 h 66"/>
                <a:gd name="T22" fmla="*/ 21 w 43"/>
                <a:gd name="T23" fmla="*/ 35 h 66"/>
                <a:gd name="T24" fmla="*/ 20 w 43"/>
                <a:gd name="T25" fmla="*/ 35 h 66"/>
                <a:gd name="T26" fmla="*/ 5 w 43"/>
                <a:gd name="T27" fmla="*/ 20 h 66"/>
                <a:gd name="T28" fmla="*/ 5 w 43"/>
                <a:gd name="T29" fmla="*/ 20 h 66"/>
                <a:gd name="T30" fmla="*/ 19 w 43"/>
                <a:gd name="T31" fmla="*/ 7 h 66"/>
                <a:gd name="T32" fmla="*/ 20 w 43"/>
                <a:gd name="T33" fmla="*/ 7 h 66"/>
                <a:gd name="T34" fmla="*/ 20 w 43"/>
                <a:gd name="T35" fmla="*/ 3 h 66"/>
                <a:gd name="T36" fmla="*/ 25 w 43"/>
                <a:gd name="T37" fmla="*/ 3 h 66"/>
                <a:gd name="T38" fmla="*/ 25 w 43"/>
                <a:gd name="T39" fmla="*/ 7 h 66"/>
                <a:gd name="T40" fmla="*/ 27 w 43"/>
                <a:gd name="T41" fmla="*/ 7 h 66"/>
                <a:gd name="T42" fmla="*/ 39 w 43"/>
                <a:gd name="T43" fmla="*/ 12 h 66"/>
                <a:gd name="T44" fmla="*/ 35 w 43"/>
                <a:gd name="T45" fmla="*/ 18 h 66"/>
                <a:gd name="T46" fmla="*/ 27 w 43"/>
                <a:gd name="T47" fmla="*/ 15 h 66"/>
                <a:gd name="T48" fmla="*/ 25 w 43"/>
                <a:gd name="T49" fmla="*/ 14 h 66"/>
                <a:gd name="T50" fmla="*/ 25 w 43"/>
                <a:gd name="T51" fmla="*/ 28 h 66"/>
                <a:gd name="T52" fmla="*/ 26 w 43"/>
                <a:gd name="T53" fmla="*/ 28 h 66"/>
                <a:gd name="T54" fmla="*/ 41 w 43"/>
                <a:gd name="T55" fmla="*/ 43 h 66"/>
                <a:gd name="T56" fmla="*/ 28 w 43"/>
                <a:gd name="T57" fmla="*/ 26 h 66"/>
                <a:gd name="T58" fmla="*/ 28 w 43"/>
                <a:gd name="T59" fmla="*/ 17 h 66"/>
                <a:gd name="T60" fmla="*/ 35 w 43"/>
                <a:gd name="T61" fmla="*/ 21 h 66"/>
                <a:gd name="T62" fmla="*/ 36 w 43"/>
                <a:gd name="T63" fmla="*/ 22 h 66"/>
                <a:gd name="T64" fmla="*/ 42 w 43"/>
                <a:gd name="T65" fmla="*/ 11 h 66"/>
                <a:gd name="T66" fmla="*/ 41 w 43"/>
                <a:gd name="T67" fmla="*/ 11 h 66"/>
                <a:gd name="T68" fmla="*/ 28 w 43"/>
                <a:gd name="T69" fmla="*/ 5 h 66"/>
                <a:gd name="T70" fmla="*/ 28 w 43"/>
                <a:gd name="T71" fmla="*/ 0 h 66"/>
                <a:gd name="T72" fmla="*/ 18 w 43"/>
                <a:gd name="T73" fmla="*/ 0 h 66"/>
                <a:gd name="T74" fmla="*/ 18 w 43"/>
                <a:gd name="T75" fmla="*/ 5 h 66"/>
                <a:gd name="T76" fmla="*/ 2 w 43"/>
                <a:gd name="T77" fmla="*/ 20 h 66"/>
                <a:gd name="T78" fmla="*/ 2 w 43"/>
                <a:gd name="T79" fmla="*/ 20 h 66"/>
                <a:gd name="T80" fmla="*/ 18 w 43"/>
                <a:gd name="T81" fmla="*/ 37 h 66"/>
                <a:gd name="T82" fmla="*/ 18 w 43"/>
                <a:gd name="T83" fmla="*/ 46 h 66"/>
                <a:gd name="T84" fmla="*/ 8 w 43"/>
                <a:gd name="T85" fmla="*/ 41 h 66"/>
                <a:gd name="T86" fmla="*/ 7 w 43"/>
                <a:gd name="T87" fmla="*/ 40 h 66"/>
                <a:gd name="T88" fmla="*/ 0 w 43"/>
                <a:gd name="T89" fmla="*/ 50 h 66"/>
                <a:gd name="T90" fmla="*/ 1 w 43"/>
                <a:gd name="T91" fmla="*/ 51 h 66"/>
                <a:gd name="T92" fmla="*/ 18 w 43"/>
                <a:gd name="T93" fmla="*/ 58 h 66"/>
                <a:gd name="T94" fmla="*/ 18 w 43"/>
                <a:gd name="T95" fmla="*/ 66 h 66"/>
                <a:gd name="T96" fmla="*/ 28 w 43"/>
                <a:gd name="T97" fmla="*/ 66 h 66"/>
                <a:gd name="T98" fmla="*/ 28 w 43"/>
                <a:gd name="T99" fmla="*/ 58 h 66"/>
                <a:gd name="T100" fmla="*/ 43 w 43"/>
                <a:gd name="T101" fmla="*/ 43 h 66"/>
                <a:gd name="T102" fmla="*/ 43 w 43"/>
                <a:gd name="T103" fmla="*/ 43 h 66"/>
                <a:gd name="T104" fmla="*/ 28 w 43"/>
                <a:gd name="T105" fmla="*/ 2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" h="66">
                  <a:moveTo>
                    <a:pt x="41" y="43"/>
                  </a:moveTo>
                  <a:cubicBezTo>
                    <a:pt x="41" y="50"/>
                    <a:pt x="35" y="55"/>
                    <a:pt x="27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4" y="55"/>
                    <a:pt x="8" y="53"/>
                    <a:pt x="3" y="50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12" y="46"/>
                    <a:pt x="15" y="48"/>
                    <a:pt x="19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9" y="32"/>
                    <a:pt x="5" y="28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3"/>
                    <a:pt x="10" y="8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8"/>
                    <a:pt x="35" y="9"/>
                    <a:pt x="39" y="1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2" y="17"/>
                    <a:pt x="29" y="15"/>
                    <a:pt x="27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37" y="31"/>
                    <a:pt x="41" y="35"/>
                    <a:pt x="41" y="43"/>
                  </a:cubicBezTo>
                  <a:close/>
                  <a:moveTo>
                    <a:pt x="28" y="26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30" y="18"/>
                    <a:pt x="32" y="19"/>
                    <a:pt x="35" y="21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37" y="8"/>
                    <a:pt x="33" y="6"/>
                    <a:pt x="28" y="5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8" y="6"/>
                    <a:pt x="2" y="12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30"/>
                    <a:pt x="9" y="34"/>
                    <a:pt x="18" y="3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5"/>
                    <a:pt x="12" y="43"/>
                    <a:pt x="8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6" y="55"/>
                    <a:pt x="12" y="57"/>
                    <a:pt x="18" y="58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8" y="57"/>
                    <a:pt x="43" y="51"/>
                    <a:pt x="43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34"/>
                    <a:pt x="39" y="29"/>
                    <a:pt x="28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54">
              <a:extLst>
                <a:ext uri="{FF2B5EF4-FFF2-40B4-BE49-F238E27FC236}">
                  <a16:creationId xmlns:a16="http://schemas.microsoft.com/office/drawing/2014/main" id="{4D86F997-071A-4BCB-9867-FEDFE3675A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" y="2045"/>
              <a:ext cx="20" cy="33"/>
            </a:xfrm>
            <a:custGeom>
              <a:avLst/>
              <a:gdLst>
                <a:gd name="T0" fmla="*/ 5 w 8"/>
                <a:gd name="T1" fmla="*/ 7 h 13"/>
                <a:gd name="T2" fmla="*/ 3 w 8"/>
                <a:gd name="T3" fmla="*/ 10 h 13"/>
                <a:gd name="T4" fmla="*/ 3 w 8"/>
                <a:gd name="T5" fmla="*/ 4 h 13"/>
                <a:gd name="T6" fmla="*/ 5 w 8"/>
                <a:gd name="T7" fmla="*/ 7 h 13"/>
                <a:gd name="T8" fmla="*/ 2 w 8"/>
                <a:gd name="T9" fmla="*/ 1 h 13"/>
                <a:gd name="T10" fmla="*/ 0 w 8"/>
                <a:gd name="T11" fmla="*/ 0 h 13"/>
                <a:gd name="T12" fmla="*/ 0 w 8"/>
                <a:gd name="T13" fmla="*/ 13 h 13"/>
                <a:gd name="T14" fmla="*/ 1 w 8"/>
                <a:gd name="T15" fmla="*/ 13 h 13"/>
                <a:gd name="T16" fmla="*/ 8 w 8"/>
                <a:gd name="T17" fmla="*/ 7 h 13"/>
                <a:gd name="T18" fmla="*/ 8 w 8"/>
                <a:gd name="T19" fmla="*/ 7 h 13"/>
                <a:gd name="T20" fmla="*/ 2 w 8"/>
                <a:gd name="T21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3">
                  <a:moveTo>
                    <a:pt x="5" y="7"/>
                  </a:moveTo>
                  <a:cubicBezTo>
                    <a:pt x="5" y="8"/>
                    <a:pt x="5" y="10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5"/>
                    <a:pt x="5" y="6"/>
                    <a:pt x="5" y="7"/>
                  </a:cubicBezTo>
                  <a:close/>
                  <a:moveTo>
                    <a:pt x="2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7" y="12"/>
                    <a:pt x="8" y="9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4"/>
                    <a:pt x="6" y="2"/>
                    <a:pt x="2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55">
              <a:extLst>
                <a:ext uri="{FF2B5EF4-FFF2-40B4-BE49-F238E27FC236}">
                  <a16:creationId xmlns:a16="http://schemas.microsoft.com/office/drawing/2014/main" id="{5E00EF12-FD79-467C-B1E3-676E2E5C5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" y="2099"/>
              <a:ext cx="87" cy="84"/>
            </a:xfrm>
            <a:custGeom>
              <a:avLst/>
              <a:gdLst>
                <a:gd name="T0" fmla="*/ 32 w 34"/>
                <a:gd name="T1" fmla="*/ 11 h 33"/>
                <a:gd name="T2" fmla="*/ 28 w 34"/>
                <a:gd name="T3" fmla="*/ 15 h 33"/>
                <a:gd name="T4" fmla="*/ 25 w 34"/>
                <a:gd name="T5" fmla="*/ 27 h 33"/>
                <a:gd name="T6" fmla="*/ 16 w 34"/>
                <a:gd name="T7" fmla="*/ 31 h 33"/>
                <a:gd name="T8" fmla="*/ 13 w 34"/>
                <a:gd name="T9" fmla="*/ 31 h 33"/>
                <a:gd name="T10" fmla="*/ 20 w 34"/>
                <a:gd name="T11" fmla="*/ 23 h 33"/>
                <a:gd name="T12" fmla="*/ 20 w 34"/>
                <a:gd name="T13" fmla="*/ 14 h 33"/>
                <a:gd name="T14" fmla="*/ 11 w 34"/>
                <a:gd name="T15" fmla="*/ 14 h 33"/>
                <a:gd name="T16" fmla="*/ 4 w 34"/>
                <a:gd name="T17" fmla="*/ 22 h 33"/>
                <a:gd name="T18" fmla="*/ 7 w 34"/>
                <a:gd name="T19" fmla="*/ 10 h 33"/>
                <a:gd name="T20" fmla="*/ 16 w 34"/>
                <a:gd name="T21" fmla="*/ 6 h 33"/>
                <a:gd name="T22" fmla="*/ 19 w 34"/>
                <a:gd name="T23" fmla="*/ 7 h 33"/>
                <a:gd name="T24" fmla="*/ 23 w 34"/>
                <a:gd name="T25" fmla="*/ 2 h 33"/>
                <a:gd name="T26" fmla="*/ 21 w 34"/>
                <a:gd name="T27" fmla="*/ 0 h 33"/>
                <a:gd name="T28" fmla="*/ 18 w 34"/>
                <a:gd name="T29" fmla="*/ 4 h 33"/>
                <a:gd name="T30" fmla="*/ 16 w 34"/>
                <a:gd name="T31" fmla="*/ 4 h 33"/>
                <a:gd name="T32" fmla="*/ 5 w 34"/>
                <a:gd name="T33" fmla="*/ 9 h 33"/>
                <a:gd name="T34" fmla="*/ 2 w 34"/>
                <a:gd name="T35" fmla="*/ 23 h 33"/>
                <a:gd name="T36" fmla="*/ 3 w 34"/>
                <a:gd name="T37" fmla="*/ 27 h 33"/>
                <a:gd name="T38" fmla="*/ 6 w 34"/>
                <a:gd name="T39" fmla="*/ 24 h 33"/>
                <a:gd name="T40" fmla="*/ 12 w 34"/>
                <a:gd name="T41" fmla="*/ 17 h 33"/>
                <a:gd name="T42" fmla="*/ 18 w 34"/>
                <a:gd name="T43" fmla="*/ 17 h 33"/>
                <a:gd name="T44" fmla="*/ 18 w 34"/>
                <a:gd name="T45" fmla="*/ 22 h 33"/>
                <a:gd name="T46" fmla="*/ 11 w 34"/>
                <a:gd name="T47" fmla="*/ 29 h 33"/>
                <a:gd name="T48" fmla="*/ 8 w 34"/>
                <a:gd name="T49" fmla="*/ 32 h 33"/>
                <a:gd name="T50" fmla="*/ 12 w 34"/>
                <a:gd name="T51" fmla="*/ 33 h 33"/>
                <a:gd name="T52" fmla="*/ 16 w 34"/>
                <a:gd name="T53" fmla="*/ 33 h 33"/>
                <a:gd name="T54" fmla="*/ 27 w 34"/>
                <a:gd name="T55" fmla="*/ 29 h 33"/>
                <a:gd name="T56" fmla="*/ 30 w 34"/>
                <a:gd name="T57" fmla="*/ 16 h 33"/>
                <a:gd name="T58" fmla="*/ 34 w 34"/>
                <a:gd name="T59" fmla="*/ 12 h 33"/>
                <a:gd name="T60" fmla="*/ 32 w 34"/>
                <a:gd name="T61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33">
                  <a:moveTo>
                    <a:pt x="32" y="11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9" y="19"/>
                    <a:pt x="28" y="24"/>
                    <a:pt x="25" y="27"/>
                  </a:cubicBezTo>
                  <a:cubicBezTo>
                    <a:pt x="22" y="30"/>
                    <a:pt x="19" y="31"/>
                    <a:pt x="16" y="31"/>
                  </a:cubicBezTo>
                  <a:cubicBezTo>
                    <a:pt x="15" y="31"/>
                    <a:pt x="14" y="31"/>
                    <a:pt x="13" y="31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18"/>
                    <a:pt x="4" y="14"/>
                    <a:pt x="7" y="10"/>
                  </a:cubicBezTo>
                  <a:cubicBezTo>
                    <a:pt x="9" y="8"/>
                    <a:pt x="12" y="6"/>
                    <a:pt x="16" y="6"/>
                  </a:cubicBezTo>
                  <a:cubicBezTo>
                    <a:pt x="17" y="6"/>
                    <a:pt x="18" y="6"/>
                    <a:pt x="19" y="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2"/>
                    <a:pt x="22" y="1"/>
                    <a:pt x="21" y="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2" y="4"/>
                    <a:pt x="8" y="6"/>
                    <a:pt x="5" y="9"/>
                  </a:cubicBezTo>
                  <a:cubicBezTo>
                    <a:pt x="1" y="12"/>
                    <a:pt x="0" y="18"/>
                    <a:pt x="2" y="2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4" y="33"/>
                    <a:pt x="15" y="33"/>
                    <a:pt x="16" y="33"/>
                  </a:cubicBezTo>
                  <a:cubicBezTo>
                    <a:pt x="20" y="33"/>
                    <a:pt x="24" y="32"/>
                    <a:pt x="27" y="29"/>
                  </a:cubicBezTo>
                  <a:cubicBezTo>
                    <a:pt x="30" y="25"/>
                    <a:pt x="31" y="20"/>
                    <a:pt x="30" y="1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56">
              <a:extLst>
                <a:ext uri="{FF2B5EF4-FFF2-40B4-BE49-F238E27FC236}">
                  <a16:creationId xmlns:a16="http://schemas.microsoft.com/office/drawing/2014/main" id="{45D1FC33-AC36-455A-B440-1BDC59E69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" y="1891"/>
              <a:ext cx="87" cy="85"/>
            </a:xfrm>
            <a:custGeom>
              <a:avLst/>
              <a:gdLst>
                <a:gd name="T0" fmla="*/ 32 w 34"/>
                <a:gd name="T1" fmla="*/ 10 h 33"/>
                <a:gd name="T2" fmla="*/ 31 w 34"/>
                <a:gd name="T3" fmla="*/ 6 h 33"/>
                <a:gd name="T4" fmla="*/ 28 w 34"/>
                <a:gd name="T5" fmla="*/ 9 h 33"/>
                <a:gd name="T6" fmla="*/ 22 w 34"/>
                <a:gd name="T7" fmla="*/ 16 h 33"/>
                <a:gd name="T8" fmla="*/ 16 w 34"/>
                <a:gd name="T9" fmla="*/ 16 h 33"/>
                <a:gd name="T10" fmla="*/ 16 w 34"/>
                <a:gd name="T11" fmla="*/ 11 h 33"/>
                <a:gd name="T12" fmla="*/ 23 w 34"/>
                <a:gd name="T13" fmla="*/ 4 h 33"/>
                <a:gd name="T14" fmla="*/ 26 w 34"/>
                <a:gd name="T15" fmla="*/ 1 h 33"/>
                <a:gd name="T16" fmla="*/ 22 w 34"/>
                <a:gd name="T17" fmla="*/ 0 h 33"/>
                <a:gd name="T18" fmla="*/ 18 w 34"/>
                <a:gd name="T19" fmla="*/ 0 h 33"/>
                <a:gd name="T20" fmla="*/ 7 w 34"/>
                <a:gd name="T21" fmla="*/ 4 h 33"/>
                <a:gd name="T22" fmla="*/ 4 w 34"/>
                <a:gd name="T23" fmla="*/ 17 h 33"/>
                <a:gd name="T24" fmla="*/ 0 w 34"/>
                <a:gd name="T25" fmla="*/ 21 h 33"/>
                <a:gd name="T26" fmla="*/ 2 w 34"/>
                <a:gd name="T27" fmla="*/ 22 h 33"/>
                <a:gd name="T28" fmla="*/ 6 w 34"/>
                <a:gd name="T29" fmla="*/ 18 h 33"/>
                <a:gd name="T30" fmla="*/ 9 w 34"/>
                <a:gd name="T31" fmla="*/ 6 h 33"/>
                <a:gd name="T32" fmla="*/ 18 w 34"/>
                <a:gd name="T33" fmla="*/ 2 h 33"/>
                <a:gd name="T34" fmla="*/ 21 w 34"/>
                <a:gd name="T35" fmla="*/ 2 h 33"/>
                <a:gd name="T36" fmla="*/ 14 w 34"/>
                <a:gd name="T37" fmla="*/ 10 h 33"/>
                <a:gd name="T38" fmla="*/ 14 w 34"/>
                <a:gd name="T39" fmla="*/ 19 h 33"/>
                <a:gd name="T40" fmla="*/ 23 w 34"/>
                <a:gd name="T41" fmla="*/ 19 h 33"/>
                <a:gd name="T42" fmla="*/ 30 w 34"/>
                <a:gd name="T43" fmla="*/ 11 h 33"/>
                <a:gd name="T44" fmla="*/ 27 w 34"/>
                <a:gd name="T45" fmla="*/ 23 h 33"/>
                <a:gd name="T46" fmla="*/ 18 w 34"/>
                <a:gd name="T47" fmla="*/ 27 h 33"/>
                <a:gd name="T48" fmla="*/ 15 w 34"/>
                <a:gd name="T49" fmla="*/ 26 h 33"/>
                <a:gd name="T50" fmla="*/ 11 w 34"/>
                <a:gd name="T51" fmla="*/ 31 h 33"/>
                <a:gd name="T52" fmla="*/ 13 w 34"/>
                <a:gd name="T53" fmla="*/ 33 h 33"/>
                <a:gd name="T54" fmla="*/ 16 w 34"/>
                <a:gd name="T55" fmla="*/ 29 h 33"/>
                <a:gd name="T56" fmla="*/ 18 w 34"/>
                <a:gd name="T57" fmla="*/ 29 h 33"/>
                <a:gd name="T58" fmla="*/ 29 w 34"/>
                <a:gd name="T59" fmla="*/ 24 h 33"/>
                <a:gd name="T60" fmla="*/ 32 w 34"/>
                <a:gd name="T61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33">
                  <a:moveTo>
                    <a:pt x="32" y="10"/>
                  </a:moveTo>
                  <a:cubicBezTo>
                    <a:pt x="31" y="6"/>
                    <a:pt x="31" y="6"/>
                    <a:pt x="31" y="6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4" y="0"/>
                    <a:pt x="10" y="1"/>
                    <a:pt x="7" y="4"/>
                  </a:cubicBezTo>
                  <a:cubicBezTo>
                    <a:pt x="4" y="8"/>
                    <a:pt x="3" y="13"/>
                    <a:pt x="4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2" y="22"/>
                    <a:pt x="2" y="2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4"/>
                    <a:pt x="6" y="9"/>
                    <a:pt x="9" y="6"/>
                  </a:cubicBezTo>
                  <a:cubicBezTo>
                    <a:pt x="12" y="3"/>
                    <a:pt x="15" y="2"/>
                    <a:pt x="18" y="2"/>
                  </a:cubicBezTo>
                  <a:cubicBezTo>
                    <a:pt x="19" y="2"/>
                    <a:pt x="20" y="2"/>
                    <a:pt x="21" y="2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1" y="15"/>
                    <a:pt x="30" y="19"/>
                    <a:pt x="27" y="23"/>
                  </a:cubicBezTo>
                  <a:cubicBezTo>
                    <a:pt x="25" y="25"/>
                    <a:pt x="22" y="27"/>
                    <a:pt x="18" y="27"/>
                  </a:cubicBezTo>
                  <a:cubicBezTo>
                    <a:pt x="17" y="27"/>
                    <a:pt x="16" y="27"/>
                    <a:pt x="15" y="26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2"/>
                    <a:pt x="13" y="33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22" y="29"/>
                    <a:pt x="26" y="27"/>
                    <a:pt x="29" y="24"/>
                  </a:cubicBezTo>
                  <a:cubicBezTo>
                    <a:pt x="33" y="21"/>
                    <a:pt x="34" y="15"/>
                    <a:pt x="32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3" name="Group 159">
            <a:extLst>
              <a:ext uri="{FF2B5EF4-FFF2-40B4-BE49-F238E27FC236}">
                <a16:creationId xmlns:a16="http://schemas.microsoft.com/office/drawing/2014/main" id="{333925CD-A775-473F-BA92-9300ABB0E3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33548" y="2804884"/>
            <a:ext cx="758825" cy="758825"/>
            <a:chOff x="856" y="1801"/>
            <a:chExt cx="478" cy="478"/>
          </a:xfrm>
        </p:grpSpPr>
        <p:sp>
          <p:nvSpPr>
            <p:cNvPr id="194" name="AutoShape 158">
              <a:extLst>
                <a:ext uri="{FF2B5EF4-FFF2-40B4-BE49-F238E27FC236}">
                  <a16:creationId xmlns:a16="http://schemas.microsoft.com/office/drawing/2014/main" id="{5405856D-2DD1-4A26-B125-9D3D89BD62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56" y="18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60">
              <a:extLst>
                <a:ext uri="{FF2B5EF4-FFF2-40B4-BE49-F238E27FC236}">
                  <a16:creationId xmlns:a16="http://schemas.microsoft.com/office/drawing/2014/main" id="{2CAD0429-0EC9-45D0-8E5D-FB1FB18BAD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" y="180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61">
              <a:extLst>
                <a:ext uri="{FF2B5EF4-FFF2-40B4-BE49-F238E27FC236}">
                  <a16:creationId xmlns:a16="http://schemas.microsoft.com/office/drawing/2014/main" id="{112696A7-0EB6-405A-9BD3-3BC873FAE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" y="1946"/>
              <a:ext cx="196" cy="191"/>
            </a:xfrm>
            <a:custGeom>
              <a:avLst/>
              <a:gdLst>
                <a:gd name="T0" fmla="*/ 40 w 80"/>
                <a:gd name="T1" fmla="*/ 76 h 78"/>
                <a:gd name="T2" fmla="*/ 3 w 80"/>
                <a:gd name="T3" fmla="*/ 39 h 78"/>
                <a:gd name="T4" fmla="*/ 40 w 80"/>
                <a:gd name="T5" fmla="*/ 2 h 78"/>
                <a:gd name="T6" fmla="*/ 77 w 80"/>
                <a:gd name="T7" fmla="*/ 39 h 78"/>
                <a:gd name="T8" fmla="*/ 40 w 80"/>
                <a:gd name="T9" fmla="*/ 76 h 78"/>
                <a:gd name="T10" fmla="*/ 40 w 80"/>
                <a:gd name="T11" fmla="*/ 0 h 78"/>
                <a:gd name="T12" fmla="*/ 0 w 80"/>
                <a:gd name="T13" fmla="*/ 39 h 78"/>
                <a:gd name="T14" fmla="*/ 40 w 80"/>
                <a:gd name="T15" fmla="*/ 78 h 78"/>
                <a:gd name="T16" fmla="*/ 80 w 80"/>
                <a:gd name="T17" fmla="*/ 39 h 78"/>
                <a:gd name="T18" fmla="*/ 40 w 80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8">
                  <a:moveTo>
                    <a:pt x="40" y="76"/>
                  </a:moveTo>
                  <a:cubicBezTo>
                    <a:pt x="20" y="76"/>
                    <a:pt x="3" y="59"/>
                    <a:pt x="3" y="39"/>
                  </a:cubicBezTo>
                  <a:cubicBezTo>
                    <a:pt x="3" y="19"/>
                    <a:pt x="20" y="2"/>
                    <a:pt x="40" y="2"/>
                  </a:cubicBezTo>
                  <a:cubicBezTo>
                    <a:pt x="60" y="2"/>
                    <a:pt x="77" y="19"/>
                    <a:pt x="77" y="39"/>
                  </a:cubicBezTo>
                  <a:cubicBezTo>
                    <a:pt x="77" y="59"/>
                    <a:pt x="60" y="76"/>
                    <a:pt x="40" y="76"/>
                  </a:cubicBezTo>
                  <a:moveTo>
                    <a:pt x="40" y="0"/>
                  </a:moveTo>
                  <a:cubicBezTo>
                    <a:pt x="18" y="0"/>
                    <a:pt x="0" y="17"/>
                    <a:pt x="0" y="39"/>
                  </a:cubicBezTo>
                  <a:cubicBezTo>
                    <a:pt x="0" y="61"/>
                    <a:pt x="18" y="78"/>
                    <a:pt x="40" y="78"/>
                  </a:cubicBezTo>
                  <a:cubicBezTo>
                    <a:pt x="62" y="78"/>
                    <a:pt x="80" y="61"/>
                    <a:pt x="80" y="39"/>
                  </a:cubicBezTo>
                  <a:cubicBezTo>
                    <a:pt x="80" y="17"/>
                    <a:pt x="62" y="0"/>
                    <a:pt x="40" y="0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62">
              <a:extLst>
                <a:ext uri="{FF2B5EF4-FFF2-40B4-BE49-F238E27FC236}">
                  <a16:creationId xmlns:a16="http://schemas.microsoft.com/office/drawing/2014/main" id="{64253D42-1794-4710-9EFD-E41535D464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" y="1995"/>
              <a:ext cx="20" cy="32"/>
            </a:xfrm>
            <a:custGeom>
              <a:avLst/>
              <a:gdLst>
                <a:gd name="T0" fmla="*/ 5 w 8"/>
                <a:gd name="T1" fmla="*/ 9 h 13"/>
                <a:gd name="T2" fmla="*/ 3 w 8"/>
                <a:gd name="T3" fmla="*/ 6 h 13"/>
                <a:gd name="T4" fmla="*/ 3 w 8"/>
                <a:gd name="T5" fmla="*/ 6 h 13"/>
                <a:gd name="T6" fmla="*/ 5 w 8"/>
                <a:gd name="T7" fmla="*/ 3 h 13"/>
                <a:gd name="T8" fmla="*/ 5 w 8"/>
                <a:gd name="T9" fmla="*/ 9 h 13"/>
                <a:gd name="T10" fmla="*/ 0 w 8"/>
                <a:gd name="T11" fmla="*/ 6 h 13"/>
                <a:gd name="T12" fmla="*/ 0 w 8"/>
                <a:gd name="T13" fmla="*/ 6 h 13"/>
                <a:gd name="T14" fmla="*/ 6 w 8"/>
                <a:gd name="T15" fmla="*/ 12 h 13"/>
                <a:gd name="T16" fmla="*/ 8 w 8"/>
                <a:gd name="T17" fmla="*/ 13 h 13"/>
                <a:gd name="T18" fmla="*/ 8 w 8"/>
                <a:gd name="T19" fmla="*/ 0 h 13"/>
                <a:gd name="T20" fmla="*/ 6 w 8"/>
                <a:gd name="T21" fmla="*/ 0 h 13"/>
                <a:gd name="T22" fmla="*/ 0 w 8"/>
                <a:gd name="T2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3">
                  <a:moveTo>
                    <a:pt x="5" y="9"/>
                  </a:moveTo>
                  <a:cubicBezTo>
                    <a:pt x="3" y="8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3"/>
                    <a:pt x="5" y="3"/>
                  </a:cubicBezTo>
                  <a:lnTo>
                    <a:pt x="5" y="9"/>
                  </a:lnTo>
                  <a:close/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2" y="11"/>
                    <a:pt x="6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" y="1"/>
                    <a:pt x="0" y="4"/>
                    <a:pt x="0" y="6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63">
              <a:extLst>
                <a:ext uri="{FF2B5EF4-FFF2-40B4-BE49-F238E27FC236}">
                  <a16:creationId xmlns:a16="http://schemas.microsoft.com/office/drawing/2014/main" id="{CBEF6116-0A65-4362-8837-766F4BEBE9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" y="1960"/>
              <a:ext cx="106" cy="162"/>
            </a:xfrm>
            <a:custGeom>
              <a:avLst/>
              <a:gdLst>
                <a:gd name="T0" fmla="*/ 41 w 43"/>
                <a:gd name="T1" fmla="*/ 43 h 66"/>
                <a:gd name="T2" fmla="*/ 27 w 43"/>
                <a:gd name="T3" fmla="*/ 56 h 66"/>
                <a:gd name="T4" fmla="*/ 25 w 43"/>
                <a:gd name="T5" fmla="*/ 56 h 66"/>
                <a:gd name="T6" fmla="*/ 25 w 43"/>
                <a:gd name="T7" fmla="*/ 63 h 66"/>
                <a:gd name="T8" fmla="*/ 20 w 43"/>
                <a:gd name="T9" fmla="*/ 63 h 66"/>
                <a:gd name="T10" fmla="*/ 20 w 43"/>
                <a:gd name="T11" fmla="*/ 56 h 66"/>
                <a:gd name="T12" fmla="*/ 19 w 43"/>
                <a:gd name="T13" fmla="*/ 56 h 66"/>
                <a:gd name="T14" fmla="*/ 3 w 43"/>
                <a:gd name="T15" fmla="*/ 50 h 66"/>
                <a:gd name="T16" fmla="*/ 8 w 43"/>
                <a:gd name="T17" fmla="*/ 43 h 66"/>
                <a:gd name="T18" fmla="*/ 19 w 43"/>
                <a:gd name="T19" fmla="*/ 49 h 66"/>
                <a:gd name="T20" fmla="*/ 21 w 43"/>
                <a:gd name="T21" fmla="*/ 49 h 66"/>
                <a:gd name="T22" fmla="*/ 21 w 43"/>
                <a:gd name="T23" fmla="*/ 35 h 66"/>
                <a:gd name="T24" fmla="*/ 20 w 43"/>
                <a:gd name="T25" fmla="*/ 35 h 66"/>
                <a:gd name="T26" fmla="*/ 5 w 43"/>
                <a:gd name="T27" fmla="*/ 20 h 66"/>
                <a:gd name="T28" fmla="*/ 5 w 43"/>
                <a:gd name="T29" fmla="*/ 20 h 66"/>
                <a:gd name="T30" fmla="*/ 19 w 43"/>
                <a:gd name="T31" fmla="*/ 7 h 66"/>
                <a:gd name="T32" fmla="*/ 20 w 43"/>
                <a:gd name="T33" fmla="*/ 7 h 66"/>
                <a:gd name="T34" fmla="*/ 20 w 43"/>
                <a:gd name="T35" fmla="*/ 3 h 66"/>
                <a:gd name="T36" fmla="*/ 25 w 43"/>
                <a:gd name="T37" fmla="*/ 3 h 66"/>
                <a:gd name="T38" fmla="*/ 25 w 43"/>
                <a:gd name="T39" fmla="*/ 7 h 66"/>
                <a:gd name="T40" fmla="*/ 27 w 43"/>
                <a:gd name="T41" fmla="*/ 7 h 66"/>
                <a:gd name="T42" fmla="*/ 39 w 43"/>
                <a:gd name="T43" fmla="*/ 12 h 66"/>
                <a:gd name="T44" fmla="*/ 35 w 43"/>
                <a:gd name="T45" fmla="*/ 18 h 66"/>
                <a:gd name="T46" fmla="*/ 27 w 43"/>
                <a:gd name="T47" fmla="*/ 15 h 66"/>
                <a:gd name="T48" fmla="*/ 25 w 43"/>
                <a:gd name="T49" fmla="*/ 14 h 66"/>
                <a:gd name="T50" fmla="*/ 25 w 43"/>
                <a:gd name="T51" fmla="*/ 28 h 66"/>
                <a:gd name="T52" fmla="*/ 26 w 43"/>
                <a:gd name="T53" fmla="*/ 28 h 66"/>
                <a:gd name="T54" fmla="*/ 41 w 43"/>
                <a:gd name="T55" fmla="*/ 43 h 66"/>
                <a:gd name="T56" fmla="*/ 28 w 43"/>
                <a:gd name="T57" fmla="*/ 26 h 66"/>
                <a:gd name="T58" fmla="*/ 28 w 43"/>
                <a:gd name="T59" fmla="*/ 17 h 66"/>
                <a:gd name="T60" fmla="*/ 35 w 43"/>
                <a:gd name="T61" fmla="*/ 21 h 66"/>
                <a:gd name="T62" fmla="*/ 36 w 43"/>
                <a:gd name="T63" fmla="*/ 22 h 66"/>
                <a:gd name="T64" fmla="*/ 42 w 43"/>
                <a:gd name="T65" fmla="*/ 11 h 66"/>
                <a:gd name="T66" fmla="*/ 41 w 43"/>
                <a:gd name="T67" fmla="*/ 11 h 66"/>
                <a:gd name="T68" fmla="*/ 28 w 43"/>
                <a:gd name="T69" fmla="*/ 5 h 66"/>
                <a:gd name="T70" fmla="*/ 28 w 43"/>
                <a:gd name="T71" fmla="*/ 0 h 66"/>
                <a:gd name="T72" fmla="*/ 18 w 43"/>
                <a:gd name="T73" fmla="*/ 0 h 66"/>
                <a:gd name="T74" fmla="*/ 18 w 43"/>
                <a:gd name="T75" fmla="*/ 5 h 66"/>
                <a:gd name="T76" fmla="*/ 2 w 43"/>
                <a:gd name="T77" fmla="*/ 20 h 66"/>
                <a:gd name="T78" fmla="*/ 2 w 43"/>
                <a:gd name="T79" fmla="*/ 20 h 66"/>
                <a:gd name="T80" fmla="*/ 18 w 43"/>
                <a:gd name="T81" fmla="*/ 37 h 66"/>
                <a:gd name="T82" fmla="*/ 18 w 43"/>
                <a:gd name="T83" fmla="*/ 46 h 66"/>
                <a:gd name="T84" fmla="*/ 8 w 43"/>
                <a:gd name="T85" fmla="*/ 41 h 66"/>
                <a:gd name="T86" fmla="*/ 7 w 43"/>
                <a:gd name="T87" fmla="*/ 40 h 66"/>
                <a:gd name="T88" fmla="*/ 0 w 43"/>
                <a:gd name="T89" fmla="*/ 50 h 66"/>
                <a:gd name="T90" fmla="*/ 1 w 43"/>
                <a:gd name="T91" fmla="*/ 51 h 66"/>
                <a:gd name="T92" fmla="*/ 18 w 43"/>
                <a:gd name="T93" fmla="*/ 58 h 66"/>
                <a:gd name="T94" fmla="*/ 18 w 43"/>
                <a:gd name="T95" fmla="*/ 66 h 66"/>
                <a:gd name="T96" fmla="*/ 28 w 43"/>
                <a:gd name="T97" fmla="*/ 66 h 66"/>
                <a:gd name="T98" fmla="*/ 28 w 43"/>
                <a:gd name="T99" fmla="*/ 58 h 66"/>
                <a:gd name="T100" fmla="*/ 43 w 43"/>
                <a:gd name="T101" fmla="*/ 43 h 66"/>
                <a:gd name="T102" fmla="*/ 43 w 43"/>
                <a:gd name="T103" fmla="*/ 43 h 66"/>
                <a:gd name="T104" fmla="*/ 28 w 43"/>
                <a:gd name="T105" fmla="*/ 2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" h="66">
                  <a:moveTo>
                    <a:pt x="41" y="43"/>
                  </a:moveTo>
                  <a:cubicBezTo>
                    <a:pt x="41" y="50"/>
                    <a:pt x="35" y="55"/>
                    <a:pt x="27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4" y="55"/>
                    <a:pt x="8" y="53"/>
                    <a:pt x="3" y="50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12" y="46"/>
                    <a:pt x="15" y="48"/>
                    <a:pt x="19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9" y="32"/>
                    <a:pt x="5" y="28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3"/>
                    <a:pt x="10" y="8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8"/>
                    <a:pt x="35" y="9"/>
                    <a:pt x="39" y="12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2" y="17"/>
                    <a:pt x="29" y="15"/>
                    <a:pt x="27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37" y="31"/>
                    <a:pt x="41" y="35"/>
                    <a:pt x="41" y="43"/>
                  </a:cubicBezTo>
                  <a:close/>
                  <a:moveTo>
                    <a:pt x="28" y="26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30" y="18"/>
                    <a:pt x="32" y="19"/>
                    <a:pt x="35" y="21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37" y="8"/>
                    <a:pt x="33" y="6"/>
                    <a:pt x="28" y="5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8" y="6"/>
                    <a:pt x="2" y="12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30"/>
                    <a:pt x="9" y="34"/>
                    <a:pt x="18" y="3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5"/>
                    <a:pt x="12" y="43"/>
                    <a:pt x="8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6" y="55"/>
                    <a:pt x="12" y="57"/>
                    <a:pt x="18" y="58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8" y="57"/>
                    <a:pt x="43" y="51"/>
                    <a:pt x="43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34"/>
                    <a:pt x="39" y="29"/>
                    <a:pt x="28" y="26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64">
              <a:extLst>
                <a:ext uri="{FF2B5EF4-FFF2-40B4-BE49-F238E27FC236}">
                  <a16:creationId xmlns:a16="http://schemas.microsoft.com/office/drawing/2014/main" id="{555B11E6-DFEC-4DDC-888C-1F27F27AC8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" y="2049"/>
              <a:ext cx="19" cy="31"/>
            </a:xfrm>
            <a:custGeom>
              <a:avLst/>
              <a:gdLst>
                <a:gd name="T0" fmla="*/ 5 w 8"/>
                <a:gd name="T1" fmla="*/ 7 h 13"/>
                <a:gd name="T2" fmla="*/ 3 w 8"/>
                <a:gd name="T3" fmla="*/ 10 h 13"/>
                <a:gd name="T4" fmla="*/ 3 w 8"/>
                <a:gd name="T5" fmla="*/ 4 h 13"/>
                <a:gd name="T6" fmla="*/ 5 w 8"/>
                <a:gd name="T7" fmla="*/ 7 h 13"/>
                <a:gd name="T8" fmla="*/ 2 w 8"/>
                <a:gd name="T9" fmla="*/ 1 h 13"/>
                <a:gd name="T10" fmla="*/ 0 w 8"/>
                <a:gd name="T11" fmla="*/ 0 h 13"/>
                <a:gd name="T12" fmla="*/ 0 w 8"/>
                <a:gd name="T13" fmla="*/ 13 h 13"/>
                <a:gd name="T14" fmla="*/ 1 w 8"/>
                <a:gd name="T15" fmla="*/ 13 h 13"/>
                <a:gd name="T16" fmla="*/ 8 w 8"/>
                <a:gd name="T17" fmla="*/ 7 h 13"/>
                <a:gd name="T18" fmla="*/ 8 w 8"/>
                <a:gd name="T19" fmla="*/ 7 h 13"/>
                <a:gd name="T20" fmla="*/ 2 w 8"/>
                <a:gd name="T21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3">
                  <a:moveTo>
                    <a:pt x="5" y="7"/>
                  </a:moveTo>
                  <a:cubicBezTo>
                    <a:pt x="5" y="8"/>
                    <a:pt x="5" y="10"/>
                    <a:pt x="3" y="1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5"/>
                    <a:pt x="5" y="6"/>
                    <a:pt x="5" y="7"/>
                  </a:cubicBezTo>
                  <a:close/>
                  <a:moveTo>
                    <a:pt x="2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7" y="12"/>
                    <a:pt x="8" y="9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4"/>
                    <a:pt x="6" y="2"/>
                    <a:pt x="2" y="1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65">
              <a:extLst>
                <a:ext uri="{FF2B5EF4-FFF2-40B4-BE49-F238E27FC236}">
                  <a16:creationId xmlns:a16="http://schemas.microsoft.com/office/drawing/2014/main" id="{7057A072-F995-4D7E-B992-695F651B1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" y="2100"/>
              <a:ext cx="83" cy="81"/>
            </a:xfrm>
            <a:custGeom>
              <a:avLst/>
              <a:gdLst>
                <a:gd name="T0" fmla="*/ 32 w 34"/>
                <a:gd name="T1" fmla="*/ 11 h 33"/>
                <a:gd name="T2" fmla="*/ 28 w 34"/>
                <a:gd name="T3" fmla="*/ 15 h 33"/>
                <a:gd name="T4" fmla="*/ 25 w 34"/>
                <a:gd name="T5" fmla="*/ 27 h 33"/>
                <a:gd name="T6" fmla="*/ 16 w 34"/>
                <a:gd name="T7" fmla="*/ 31 h 33"/>
                <a:gd name="T8" fmla="*/ 13 w 34"/>
                <a:gd name="T9" fmla="*/ 31 h 33"/>
                <a:gd name="T10" fmla="*/ 20 w 34"/>
                <a:gd name="T11" fmla="*/ 23 h 33"/>
                <a:gd name="T12" fmla="*/ 20 w 34"/>
                <a:gd name="T13" fmla="*/ 14 h 33"/>
                <a:gd name="T14" fmla="*/ 11 w 34"/>
                <a:gd name="T15" fmla="*/ 14 h 33"/>
                <a:gd name="T16" fmla="*/ 4 w 34"/>
                <a:gd name="T17" fmla="*/ 22 h 33"/>
                <a:gd name="T18" fmla="*/ 7 w 34"/>
                <a:gd name="T19" fmla="*/ 10 h 33"/>
                <a:gd name="T20" fmla="*/ 16 w 34"/>
                <a:gd name="T21" fmla="*/ 6 h 33"/>
                <a:gd name="T22" fmla="*/ 19 w 34"/>
                <a:gd name="T23" fmla="*/ 7 h 33"/>
                <a:gd name="T24" fmla="*/ 23 w 34"/>
                <a:gd name="T25" fmla="*/ 2 h 33"/>
                <a:gd name="T26" fmla="*/ 21 w 34"/>
                <a:gd name="T27" fmla="*/ 0 h 33"/>
                <a:gd name="T28" fmla="*/ 18 w 34"/>
                <a:gd name="T29" fmla="*/ 4 h 33"/>
                <a:gd name="T30" fmla="*/ 16 w 34"/>
                <a:gd name="T31" fmla="*/ 4 h 33"/>
                <a:gd name="T32" fmla="*/ 5 w 34"/>
                <a:gd name="T33" fmla="*/ 9 h 33"/>
                <a:gd name="T34" fmla="*/ 2 w 34"/>
                <a:gd name="T35" fmla="*/ 23 h 33"/>
                <a:gd name="T36" fmla="*/ 3 w 34"/>
                <a:gd name="T37" fmla="*/ 27 h 33"/>
                <a:gd name="T38" fmla="*/ 6 w 34"/>
                <a:gd name="T39" fmla="*/ 24 h 33"/>
                <a:gd name="T40" fmla="*/ 12 w 34"/>
                <a:gd name="T41" fmla="*/ 17 h 33"/>
                <a:gd name="T42" fmla="*/ 18 w 34"/>
                <a:gd name="T43" fmla="*/ 17 h 33"/>
                <a:gd name="T44" fmla="*/ 18 w 34"/>
                <a:gd name="T45" fmla="*/ 22 h 33"/>
                <a:gd name="T46" fmla="*/ 11 w 34"/>
                <a:gd name="T47" fmla="*/ 29 h 33"/>
                <a:gd name="T48" fmla="*/ 8 w 34"/>
                <a:gd name="T49" fmla="*/ 32 h 33"/>
                <a:gd name="T50" fmla="*/ 12 w 34"/>
                <a:gd name="T51" fmla="*/ 33 h 33"/>
                <a:gd name="T52" fmla="*/ 16 w 34"/>
                <a:gd name="T53" fmla="*/ 33 h 33"/>
                <a:gd name="T54" fmla="*/ 27 w 34"/>
                <a:gd name="T55" fmla="*/ 29 h 33"/>
                <a:gd name="T56" fmla="*/ 30 w 34"/>
                <a:gd name="T57" fmla="*/ 16 h 33"/>
                <a:gd name="T58" fmla="*/ 34 w 34"/>
                <a:gd name="T59" fmla="*/ 12 h 33"/>
                <a:gd name="T60" fmla="*/ 32 w 34"/>
                <a:gd name="T61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33">
                  <a:moveTo>
                    <a:pt x="32" y="11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9" y="19"/>
                    <a:pt x="28" y="24"/>
                    <a:pt x="25" y="27"/>
                  </a:cubicBezTo>
                  <a:cubicBezTo>
                    <a:pt x="22" y="30"/>
                    <a:pt x="19" y="31"/>
                    <a:pt x="16" y="31"/>
                  </a:cubicBezTo>
                  <a:cubicBezTo>
                    <a:pt x="15" y="31"/>
                    <a:pt x="14" y="31"/>
                    <a:pt x="13" y="31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18"/>
                    <a:pt x="4" y="14"/>
                    <a:pt x="7" y="10"/>
                  </a:cubicBezTo>
                  <a:cubicBezTo>
                    <a:pt x="9" y="8"/>
                    <a:pt x="12" y="6"/>
                    <a:pt x="16" y="6"/>
                  </a:cubicBezTo>
                  <a:cubicBezTo>
                    <a:pt x="17" y="6"/>
                    <a:pt x="18" y="6"/>
                    <a:pt x="19" y="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2"/>
                    <a:pt x="22" y="1"/>
                    <a:pt x="21" y="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2" y="4"/>
                    <a:pt x="8" y="6"/>
                    <a:pt x="5" y="9"/>
                  </a:cubicBezTo>
                  <a:cubicBezTo>
                    <a:pt x="1" y="12"/>
                    <a:pt x="0" y="18"/>
                    <a:pt x="2" y="2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4" y="33"/>
                    <a:pt x="15" y="33"/>
                    <a:pt x="16" y="33"/>
                  </a:cubicBezTo>
                  <a:cubicBezTo>
                    <a:pt x="20" y="33"/>
                    <a:pt x="24" y="32"/>
                    <a:pt x="27" y="29"/>
                  </a:cubicBezTo>
                  <a:cubicBezTo>
                    <a:pt x="30" y="25"/>
                    <a:pt x="31" y="20"/>
                    <a:pt x="30" y="1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1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66">
              <a:extLst>
                <a:ext uri="{FF2B5EF4-FFF2-40B4-BE49-F238E27FC236}">
                  <a16:creationId xmlns:a16="http://schemas.microsoft.com/office/drawing/2014/main" id="{A2BDA336-3D8A-42D2-8503-FEFF32CF7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" y="1901"/>
              <a:ext cx="84" cy="81"/>
            </a:xfrm>
            <a:custGeom>
              <a:avLst/>
              <a:gdLst>
                <a:gd name="T0" fmla="*/ 32 w 34"/>
                <a:gd name="T1" fmla="*/ 10 h 33"/>
                <a:gd name="T2" fmla="*/ 31 w 34"/>
                <a:gd name="T3" fmla="*/ 6 h 33"/>
                <a:gd name="T4" fmla="*/ 28 w 34"/>
                <a:gd name="T5" fmla="*/ 9 h 33"/>
                <a:gd name="T6" fmla="*/ 22 w 34"/>
                <a:gd name="T7" fmla="*/ 16 h 33"/>
                <a:gd name="T8" fmla="*/ 16 w 34"/>
                <a:gd name="T9" fmla="*/ 16 h 33"/>
                <a:gd name="T10" fmla="*/ 16 w 34"/>
                <a:gd name="T11" fmla="*/ 11 h 33"/>
                <a:gd name="T12" fmla="*/ 23 w 34"/>
                <a:gd name="T13" fmla="*/ 4 h 33"/>
                <a:gd name="T14" fmla="*/ 26 w 34"/>
                <a:gd name="T15" fmla="*/ 1 h 33"/>
                <a:gd name="T16" fmla="*/ 22 w 34"/>
                <a:gd name="T17" fmla="*/ 0 h 33"/>
                <a:gd name="T18" fmla="*/ 18 w 34"/>
                <a:gd name="T19" fmla="*/ 0 h 33"/>
                <a:gd name="T20" fmla="*/ 7 w 34"/>
                <a:gd name="T21" fmla="*/ 4 h 33"/>
                <a:gd name="T22" fmla="*/ 4 w 34"/>
                <a:gd name="T23" fmla="*/ 17 h 33"/>
                <a:gd name="T24" fmla="*/ 0 w 34"/>
                <a:gd name="T25" fmla="*/ 21 h 33"/>
                <a:gd name="T26" fmla="*/ 2 w 34"/>
                <a:gd name="T27" fmla="*/ 22 h 33"/>
                <a:gd name="T28" fmla="*/ 6 w 34"/>
                <a:gd name="T29" fmla="*/ 18 h 33"/>
                <a:gd name="T30" fmla="*/ 9 w 34"/>
                <a:gd name="T31" fmla="*/ 6 h 33"/>
                <a:gd name="T32" fmla="*/ 18 w 34"/>
                <a:gd name="T33" fmla="*/ 2 h 33"/>
                <a:gd name="T34" fmla="*/ 21 w 34"/>
                <a:gd name="T35" fmla="*/ 2 h 33"/>
                <a:gd name="T36" fmla="*/ 14 w 34"/>
                <a:gd name="T37" fmla="*/ 10 h 33"/>
                <a:gd name="T38" fmla="*/ 14 w 34"/>
                <a:gd name="T39" fmla="*/ 19 h 33"/>
                <a:gd name="T40" fmla="*/ 23 w 34"/>
                <a:gd name="T41" fmla="*/ 19 h 33"/>
                <a:gd name="T42" fmla="*/ 30 w 34"/>
                <a:gd name="T43" fmla="*/ 11 h 33"/>
                <a:gd name="T44" fmla="*/ 27 w 34"/>
                <a:gd name="T45" fmla="*/ 23 h 33"/>
                <a:gd name="T46" fmla="*/ 18 w 34"/>
                <a:gd name="T47" fmla="*/ 27 h 33"/>
                <a:gd name="T48" fmla="*/ 15 w 34"/>
                <a:gd name="T49" fmla="*/ 26 h 33"/>
                <a:gd name="T50" fmla="*/ 11 w 34"/>
                <a:gd name="T51" fmla="*/ 31 h 33"/>
                <a:gd name="T52" fmla="*/ 13 w 34"/>
                <a:gd name="T53" fmla="*/ 33 h 33"/>
                <a:gd name="T54" fmla="*/ 16 w 34"/>
                <a:gd name="T55" fmla="*/ 29 h 33"/>
                <a:gd name="T56" fmla="*/ 18 w 34"/>
                <a:gd name="T57" fmla="*/ 29 h 33"/>
                <a:gd name="T58" fmla="*/ 29 w 34"/>
                <a:gd name="T59" fmla="*/ 24 h 33"/>
                <a:gd name="T60" fmla="*/ 32 w 34"/>
                <a:gd name="T61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33">
                  <a:moveTo>
                    <a:pt x="32" y="10"/>
                  </a:moveTo>
                  <a:cubicBezTo>
                    <a:pt x="31" y="6"/>
                    <a:pt x="31" y="6"/>
                    <a:pt x="31" y="6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4" y="0"/>
                    <a:pt x="10" y="1"/>
                    <a:pt x="7" y="4"/>
                  </a:cubicBezTo>
                  <a:cubicBezTo>
                    <a:pt x="4" y="8"/>
                    <a:pt x="3" y="13"/>
                    <a:pt x="4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2" y="22"/>
                    <a:pt x="2" y="2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4"/>
                    <a:pt x="6" y="9"/>
                    <a:pt x="9" y="6"/>
                  </a:cubicBezTo>
                  <a:cubicBezTo>
                    <a:pt x="12" y="3"/>
                    <a:pt x="15" y="2"/>
                    <a:pt x="18" y="2"/>
                  </a:cubicBezTo>
                  <a:cubicBezTo>
                    <a:pt x="19" y="2"/>
                    <a:pt x="20" y="2"/>
                    <a:pt x="21" y="2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1" y="15"/>
                    <a:pt x="30" y="19"/>
                    <a:pt x="27" y="23"/>
                  </a:cubicBezTo>
                  <a:cubicBezTo>
                    <a:pt x="25" y="25"/>
                    <a:pt x="22" y="27"/>
                    <a:pt x="18" y="27"/>
                  </a:cubicBezTo>
                  <a:cubicBezTo>
                    <a:pt x="17" y="27"/>
                    <a:pt x="16" y="27"/>
                    <a:pt x="15" y="26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2"/>
                    <a:pt x="13" y="33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22" y="29"/>
                    <a:pt x="26" y="27"/>
                    <a:pt x="29" y="24"/>
                  </a:cubicBezTo>
                  <a:cubicBezTo>
                    <a:pt x="33" y="21"/>
                    <a:pt x="34" y="15"/>
                    <a:pt x="32" y="10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2" name="Group 169">
            <a:extLst>
              <a:ext uri="{FF2B5EF4-FFF2-40B4-BE49-F238E27FC236}">
                <a16:creationId xmlns:a16="http://schemas.microsoft.com/office/drawing/2014/main" id="{143403D4-4985-4049-A477-450EE20D46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1750" y="2763609"/>
            <a:ext cx="841375" cy="841375"/>
            <a:chOff x="1620" y="1763"/>
            <a:chExt cx="530" cy="530"/>
          </a:xfrm>
        </p:grpSpPr>
        <p:sp>
          <p:nvSpPr>
            <p:cNvPr id="203" name="AutoShape 168">
              <a:extLst>
                <a:ext uri="{FF2B5EF4-FFF2-40B4-BE49-F238E27FC236}">
                  <a16:creationId xmlns:a16="http://schemas.microsoft.com/office/drawing/2014/main" id="{872EA84C-93F2-42DF-A174-8D48B74D0E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0" y="176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170">
              <a:extLst>
                <a:ext uri="{FF2B5EF4-FFF2-40B4-BE49-F238E27FC236}">
                  <a16:creationId xmlns:a16="http://schemas.microsoft.com/office/drawing/2014/main" id="{B8AADE34-5F1E-40E2-AAF7-EC38C6E51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0" y="176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1">
              <a:extLst>
                <a:ext uri="{FF2B5EF4-FFF2-40B4-BE49-F238E27FC236}">
                  <a16:creationId xmlns:a16="http://schemas.microsoft.com/office/drawing/2014/main" id="{761DA6EA-0592-4B01-A4EF-40C61D7E5A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8" y="178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72">
              <a:extLst>
                <a:ext uri="{FF2B5EF4-FFF2-40B4-BE49-F238E27FC236}">
                  <a16:creationId xmlns:a16="http://schemas.microsoft.com/office/drawing/2014/main" id="{61568AA4-2ABF-4071-9F2C-65E74BF4B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1906"/>
              <a:ext cx="41" cy="69"/>
            </a:xfrm>
            <a:custGeom>
              <a:avLst/>
              <a:gdLst>
                <a:gd name="T0" fmla="*/ 10 w 16"/>
                <a:gd name="T1" fmla="*/ 21 h 27"/>
                <a:gd name="T2" fmla="*/ 10 w 16"/>
                <a:gd name="T3" fmla="*/ 16 h 27"/>
                <a:gd name="T4" fmla="*/ 12 w 16"/>
                <a:gd name="T5" fmla="*/ 19 h 27"/>
                <a:gd name="T6" fmla="*/ 10 w 16"/>
                <a:gd name="T7" fmla="*/ 21 h 27"/>
                <a:gd name="T8" fmla="*/ 6 w 16"/>
                <a:gd name="T9" fmla="*/ 11 h 27"/>
                <a:gd name="T10" fmla="*/ 4 w 16"/>
                <a:gd name="T11" fmla="*/ 8 h 27"/>
                <a:gd name="T12" fmla="*/ 6 w 16"/>
                <a:gd name="T13" fmla="*/ 6 h 27"/>
                <a:gd name="T14" fmla="*/ 6 w 16"/>
                <a:gd name="T15" fmla="*/ 11 h 27"/>
                <a:gd name="T16" fmla="*/ 10 w 16"/>
                <a:gd name="T17" fmla="*/ 12 h 27"/>
                <a:gd name="T18" fmla="*/ 10 w 16"/>
                <a:gd name="T19" fmla="*/ 6 h 27"/>
                <a:gd name="T20" fmla="*/ 12 w 16"/>
                <a:gd name="T21" fmla="*/ 8 h 27"/>
                <a:gd name="T22" fmla="*/ 14 w 16"/>
                <a:gd name="T23" fmla="*/ 10 h 27"/>
                <a:gd name="T24" fmla="*/ 16 w 16"/>
                <a:gd name="T25" fmla="*/ 8 h 27"/>
                <a:gd name="T26" fmla="*/ 10 w 16"/>
                <a:gd name="T27" fmla="*/ 2 h 27"/>
                <a:gd name="T28" fmla="*/ 10 w 16"/>
                <a:gd name="T29" fmla="*/ 2 h 27"/>
                <a:gd name="T30" fmla="*/ 8 w 16"/>
                <a:gd name="T31" fmla="*/ 0 h 27"/>
                <a:gd name="T32" fmla="*/ 6 w 16"/>
                <a:gd name="T33" fmla="*/ 2 h 27"/>
                <a:gd name="T34" fmla="*/ 6 w 16"/>
                <a:gd name="T35" fmla="*/ 2 h 27"/>
                <a:gd name="T36" fmla="*/ 0 w 16"/>
                <a:gd name="T37" fmla="*/ 8 h 27"/>
                <a:gd name="T38" fmla="*/ 6 w 16"/>
                <a:gd name="T39" fmla="*/ 15 h 27"/>
                <a:gd name="T40" fmla="*/ 6 w 16"/>
                <a:gd name="T41" fmla="*/ 21 h 27"/>
                <a:gd name="T42" fmla="*/ 4 w 16"/>
                <a:gd name="T43" fmla="*/ 19 h 27"/>
                <a:gd name="T44" fmla="*/ 2 w 16"/>
                <a:gd name="T45" fmla="*/ 17 h 27"/>
                <a:gd name="T46" fmla="*/ 0 w 16"/>
                <a:gd name="T47" fmla="*/ 19 h 27"/>
                <a:gd name="T48" fmla="*/ 6 w 16"/>
                <a:gd name="T49" fmla="*/ 25 h 27"/>
                <a:gd name="T50" fmla="*/ 6 w 16"/>
                <a:gd name="T51" fmla="*/ 26 h 27"/>
                <a:gd name="T52" fmla="*/ 8 w 16"/>
                <a:gd name="T53" fmla="*/ 27 h 27"/>
                <a:gd name="T54" fmla="*/ 10 w 16"/>
                <a:gd name="T55" fmla="*/ 26 h 27"/>
                <a:gd name="T56" fmla="*/ 10 w 16"/>
                <a:gd name="T57" fmla="*/ 25 h 27"/>
                <a:gd name="T58" fmla="*/ 16 w 16"/>
                <a:gd name="T59" fmla="*/ 19 h 27"/>
                <a:gd name="T60" fmla="*/ 10 w 16"/>
                <a:gd name="T6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" h="27">
                  <a:moveTo>
                    <a:pt x="10" y="21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2" y="17"/>
                    <a:pt x="12" y="18"/>
                    <a:pt x="12" y="19"/>
                  </a:cubicBezTo>
                  <a:cubicBezTo>
                    <a:pt x="12" y="20"/>
                    <a:pt x="11" y="21"/>
                    <a:pt x="10" y="21"/>
                  </a:cubicBezTo>
                  <a:moveTo>
                    <a:pt x="6" y="11"/>
                  </a:moveTo>
                  <a:cubicBezTo>
                    <a:pt x="5" y="10"/>
                    <a:pt x="4" y="9"/>
                    <a:pt x="4" y="8"/>
                  </a:cubicBezTo>
                  <a:cubicBezTo>
                    <a:pt x="4" y="7"/>
                    <a:pt x="5" y="6"/>
                    <a:pt x="6" y="6"/>
                  </a:cubicBezTo>
                  <a:lnTo>
                    <a:pt x="6" y="11"/>
                  </a:lnTo>
                  <a:close/>
                  <a:moveTo>
                    <a:pt x="10" y="12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2" y="7"/>
                    <a:pt x="12" y="8"/>
                  </a:cubicBezTo>
                  <a:cubicBezTo>
                    <a:pt x="12" y="9"/>
                    <a:pt x="13" y="10"/>
                    <a:pt x="14" y="10"/>
                  </a:cubicBezTo>
                  <a:cubicBezTo>
                    <a:pt x="15" y="10"/>
                    <a:pt x="16" y="9"/>
                    <a:pt x="16" y="8"/>
                  </a:cubicBezTo>
                  <a:cubicBezTo>
                    <a:pt x="16" y="5"/>
                    <a:pt x="14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3" y="3"/>
                    <a:pt x="0" y="5"/>
                    <a:pt x="0" y="8"/>
                  </a:cubicBezTo>
                  <a:cubicBezTo>
                    <a:pt x="0" y="12"/>
                    <a:pt x="4" y="14"/>
                    <a:pt x="6" y="1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19"/>
                  </a:cubicBezTo>
                  <a:cubicBezTo>
                    <a:pt x="4" y="18"/>
                    <a:pt x="3" y="17"/>
                    <a:pt x="2" y="17"/>
                  </a:cubicBezTo>
                  <a:cubicBezTo>
                    <a:pt x="1" y="17"/>
                    <a:pt x="0" y="18"/>
                    <a:pt x="0" y="19"/>
                  </a:cubicBezTo>
                  <a:cubicBezTo>
                    <a:pt x="0" y="22"/>
                    <a:pt x="3" y="25"/>
                    <a:pt x="6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9" y="27"/>
                    <a:pt x="10" y="27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4" y="25"/>
                    <a:pt x="16" y="22"/>
                    <a:pt x="16" y="19"/>
                  </a:cubicBezTo>
                  <a:cubicBezTo>
                    <a:pt x="16" y="15"/>
                    <a:pt x="13" y="13"/>
                    <a:pt x="1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73">
              <a:extLst>
                <a:ext uri="{FF2B5EF4-FFF2-40B4-BE49-F238E27FC236}">
                  <a16:creationId xmlns:a16="http://schemas.microsoft.com/office/drawing/2014/main" id="{9C6C933F-670F-4284-968D-119DF59CB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" y="1917"/>
              <a:ext cx="52" cy="10"/>
            </a:xfrm>
            <a:custGeom>
              <a:avLst/>
              <a:gdLst>
                <a:gd name="T0" fmla="*/ 18 w 20"/>
                <a:gd name="T1" fmla="*/ 0 h 4"/>
                <a:gd name="T2" fmla="*/ 2 w 20"/>
                <a:gd name="T3" fmla="*/ 0 h 4"/>
                <a:gd name="T4" fmla="*/ 0 w 20"/>
                <a:gd name="T5" fmla="*/ 2 h 4"/>
                <a:gd name="T6" fmla="*/ 2 w 20"/>
                <a:gd name="T7" fmla="*/ 4 h 4"/>
                <a:gd name="T8" fmla="*/ 18 w 20"/>
                <a:gd name="T9" fmla="*/ 4 h 4"/>
                <a:gd name="T10" fmla="*/ 20 w 20"/>
                <a:gd name="T11" fmla="*/ 2 h 4"/>
                <a:gd name="T12" fmla="*/ 18 w 2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3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74">
              <a:extLst>
                <a:ext uri="{FF2B5EF4-FFF2-40B4-BE49-F238E27FC236}">
                  <a16:creationId xmlns:a16="http://schemas.microsoft.com/office/drawing/2014/main" id="{06ACDFF2-AEE2-4C6D-A5AC-D2E06BFC1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1993"/>
              <a:ext cx="151" cy="8"/>
            </a:xfrm>
            <a:custGeom>
              <a:avLst/>
              <a:gdLst>
                <a:gd name="T0" fmla="*/ 58 w 59"/>
                <a:gd name="T1" fmla="*/ 0 h 3"/>
                <a:gd name="T2" fmla="*/ 2 w 59"/>
                <a:gd name="T3" fmla="*/ 0 h 3"/>
                <a:gd name="T4" fmla="*/ 0 w 59"/>
                <a:gd name="T5" fmla="*/ 1 h 3"/>
                <a:gd name="T6" fmla="*/ 2 w 59"/>
                <a:gd name="T7" fmla="*/ 3 h 3"/>
                <a:gd name="T8" fmla="*/ 58 w 59"/>
                <a:gd name="T9" fmla="*/ 3 h 3"/>
                <a:gd name="T10" fmla="*/ 59 w 59"/>
                <a:gd name="T11" fmla="*/ 1 h 3"/>
                <a:gd name="T12" fmla="*/ 58 w 5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5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2"/>
                    <a:pt x="59" y="1"/>
                  </a:cubicBezTo>
                  <a:cubicBezTo>
                    <a:pt x="59" y="0"/>
                    <a:pt x="59" y="0"/>
                    <a:pt x="5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75">
              <a:extLst>
                <a:ext uri="{FF2B5EF4-FFF2-40B4-BE49-F238E27FC236}">
                  <a16:creationId xmlns:a16="http://schemas.microsoft.com/office/drawing/2014/main" id="{09BB4988-83EC-4D20-872D-E529FA676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1"/>
              <a:ext cx="25" cy="11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76">
              <a:extLst>
                <a:ext uri="{FF2B5EF4-FFF2-40B4-BE49-F238E27FC236}">
                  <a16:creationId xmlns:a16="http://schemas.microsoft.com/office/drawing/2014/main" id="{26CACA26-660D-471C-8B8F-52DFB7167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2021"/>
              <a:ext cx="21" cy="11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77">
              <a:extLst>
                <a:ext uri="{FF2B5EF4-FFF2-40B4-BE49-F238E27FC236}">
                  <a16:creationId xmlns:a16="http://schemas.microsoft.com/office/drawing/2014/main" id="{04D0CC7A-2F41-49A8-A0DE-FDC62F92C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42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78">
              <a:extLst>
                <a:ext uri="{FF2B5EF4-FFF2-40B4-BE49-F238E27FC236}">
                  <a16:creationId xmlns:a16="http://schemas.microsoft.com/office/drawing/2014/main" id="{E531A869-5A53-43B1-9D80-63EBE2E61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2042"/>
              <a:ext cx="21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79">
              <a:extLst>
                <a:ext uri="{FF2B5EF4-FFF2-40B4-BE49-F238E27FC236}">
                  <a16:creationId xmlns:a16="http://schemas.microsoft.com/office/drawing/2014/main" id="{CA89FA10-2171-42F0-B94D-220CF939C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62"/>
              <a:ext cx="25" cy="11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80">
              <a:extLst>
                <a:ext uri="{FF2B5EF4-FFF2-40B4-BE49-F238E27FC236}">
                  <a16:creationId xmlns:a16="http://schemas.microsoft.com/office/drawing/2014/main" id="{73E0187B-FE7F-4911-A8D2-68C54AB81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2062"/>
              <a:ext cx="21" cy="11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81">
              <a:extLst>
                <a:ext uri="{FF2B5EF4-FFF2-40B4-BE49-F238E27FC236}">
                  <a16:creationId xmlns:a16="http://schemas.microsoft.com/office/drawing/2014/main" id="{DA35392F-7B3D-4891-A685-F2201B82D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83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82">
              <a:extLst>
                <a:ext uri="{FF2B5EF4-FFF2-40B4-BE49-F238E27FC236}">
                  <a16:creationId xmlns:a16="http://schemas.microsoft.com/office/drawing/2014/main" id="{A8F55715-4C87-489C-839D-800BBA98F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2083"/>
              <a:ext cx="21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83">
              <a:extLst>
                <a:ext uri="{FF2B5EF4-FFF2-40B4-BE49-F238E27FC236}">
                  <a16:creationId xmlns:a16="http://schemas.microsoft.com/office/drawing/2014/main" id="{3725523C-6680-4FDA-A057-76F5A097F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103"/>
              <a:ext cx="25" cy="11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4">
              <a:extLst>
                <a:ext uri="{FF2B5EF4-FFF2-40B4-BE49-F238E27FC236}">
                  <a16:creationId xmlns:a16="http://schemas.microsoft.com/office/drawing/2014/main" id="{BCA5F9E1-5952-4A69-B696-A6E085E2F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2103"/>
              <a:ext cx="21" cy="11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85">
              <a:extLst>
                <a:ext uri="{FF2B5EF4-FFF2-40B4-BE49-F238E27FC236}">
                  <a16:creationId xmlns:a16="http://schemas.microsoft.com/office/drawing/2014/main" id="{5E2E0CA0-5130-4C94-8B66-AAE32D931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" y="1937"/>
              <a:ext cx="62" cy="10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86">
              <a:extLst>
                <a:ext uri="{FF2B5EF4-FFF2-40B4-BE49-F238E27FC236}">
                  <a16:creationId xmlns:a16="http://schemas.microsoft.com/office/drawing/2014/main" id="{38EE15AE-C6E4-4E6E-983A-1CDF753302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" y="1881"/>
              <a:ext cx="241" cy="302"/>
            </a:xfrm>
            <a:custGeom>
              <a:avLst/>
              <a:gdLst>
                <a:gd name="T0" fmla="*/ 90 w 94"/>
                <a:gd name="T1" fmla="*/ 111 h 118"/>
                <a:gd name="T2" fmla="*/ 86 w 94"/>
                <a:gd name="T3" fmla="*/ 115 h 118"/>
                <a:gd name="T4" fmla="*/ 43 w 94"/>
                <a:gd name="T5" fmla="*/ 115 h 118"/>
                <a:gd name="T6" fmla="*/ 39 w 94"/>
                <a:gd name="T7" fmla="*/ 111 h 118"/>
                <a:gd name="T8" fmla="*/ 39 w 94"/>
                <a:gd name="T9" fmla="*/ 59 h 118"/>
                <a:gd name="T10" fmla="*/ 43 w 94"/>
                <a:gd name="T11" fmla="*/ 55 h 118"/>
                <a:gd name="T12" fmla="*/ 86 w 94"/>
                <a:gd name="T13" fmla="*/ 55 h 118"/>
                <a:gd name="T14" fmla="*/ 90 w 94"/>
                <a:gd name="T15" fmla="*/ 59 h 118"/>
                <a:gd name="T16" fmla="*/ 90 w 94"/>
                <a:gd name="T17" fmla="*/ 111 h 118"/>
                <a:gd name="T18" fmla="*/ 35 w 94"/>
                <a:gd name="T19" fmla="*/ 59 h 118"/>
                <a:gd name="T20" fmla="*/ 35 w 94"/>
                <a:gd name="T21" fmla="*/ 103 h 118"/>
                <a:gd name="T22" fmla="*/ 5 w 94"/>
                <a:gd name="T23" fmla="*/ 103 h 118"/>
                <a:gd name="T24" fmla="*/ 3 w 94"/>
                <a:gd name="T25" fmla="*/ 101 h 118"/>
                <a:gd name="T26" fmla="*/ 3 w 94"/>
                <a:gd name="T27" fmla="*/ 6 h 118"/>
                <a:gd name="T28" fmla="*/ 5 w 94"/>
                <a:gd name="T29" fmla="*/ 4 h 118"/>
                <a:gd name="T30" fmla="*/ 55 w 94"/>
                <a:gd name="T31" fmla="*/ 4 h 118"/>
                <a:gd name="T32" fmla="*/ 55 w 94"/>
                <a:gd name="T33" fmla="*/ 16 h 118"/>
                <a:gd name="T34" fmla="*/ 63 w 94"/>
                <a:gd name="T35" fmla="*/ 24 h 118"/>
                <a:gd name="T36" fmla="*/ 75 w 94"/>
                <a:gd name="T37" fmla="*/ 24 h 118"/>
                <a:gd name="T38" fmla="*/ 75 w 94"/>
                <a:gd name="T39" fmla="*/ 51 h 118"/>
                <a:gd name="T40" fmla="*/ 43 w 94"/>
                <a:gd name="T41" fmla="*/ 51 h 118"/>
                <a:gd name="T42" fmla="*/ 35 w 94"/>
                <a:gd name="T43" fmla="*/ 59 h 118"/>
                <a:gd name="T44" fmla="*/ 59 w 94"/>
                <a:gd name="T45" fmla="*/ 6 h 118"/>
                <a:gd name="T46" fmla="*/ 72 w 94"/>
                <a:gd name="T47" fmla="*/ 20 h 118"/>
                <a:gd name="T48" fmla="*/ 63 w 94"/>
                <a:gd name="T49" fmla="*/ 20 h 118"/>
                <a:gd name="T50" fmla="*/ 59 w 94"/>
                <a:gd name="T51" fmla="*/ 16 h 118"/>
                <a:gd name="T52" fmla="*/ 59 w 94"/>
                <a:gd name="T53" fmla="*/ 6 h 118"/>
                <a:gd name="T54" fmla="*/ 86 w 94"/>
                <a:gd name="T55" fmla="*/ 51 h 118"/>
                <a:gd name="T56" fmla="*/ 78 w 94"/>
                <a:gd name="T57" fmla="*/ 51 h 118"/>
                <a:gd name="T58" fmla="*/ 78 w 94"/>
                <a:gd name="T59" fmla="*/ 22 h 118"/>
                <a:gd name="T60" fmla="*/ 78 w 94"/>
                <a:gd name="T61" fmla="*/ 20 h 118"/>
                <a:gd name="T62" fmla="*/ 58 w 94"/>
                <a:gd name="T63" fmla="*/ 1 h 118"/>
                <a:gd name="T64" fmla="*/ 57 w 94"/>
                <a:gd name="T65" fmla="*/ 0 h 118"/>
                <a:gd name="T66" fmla="*/ 5 w 94"/>
                <a:gd name="T67" fmla="*/ 0 h 118"/>
                <a:gd name="T68" fmla="*/ 0 w 94"/>
                <a:gd name="T69" fmla="*/ 6 h 118"/>
                <a:gd name="T70" fmla="*/ 0 w 94"/>
                <a:gd name="T71" fmla="*/ 101 h 118"/>
                <a:gd name="T72" fmla="*/ 5 w 94"/>
                <a:gd name="T73" fmla="*/ 106 h 118"/>
                <a:gd name="T74" fmla="*/ 35 w 94"/>
                <a:gd name="T75" fmla="*/ 106 h 118"/>
                <a:gd name="T76" fmla="*/ 35 w 94"/>
                <a:gd name="T77" fmla="*/ 111 h 118"/>
                <a:gd name="T78" fmla="*/ 43 w 94"/>
                <a:gd name="T79" fmla="*/ 118 h 118"/>
                <a:gd name="T80" fmla="*/ 86 w 94"/>
                <a:gd name="T81" fmla="*/ 118 h 118"/>
                <a:gd name="T82" fmla="*/ 94 w 94"/>
                <a:gd name="T83" fmla="*/ 111 h 118"/>
                <a:gd name="T84" fmla="*/ 94 w 94"/>
                <a:gd name="T85" fmla="*/ 59 h 118"/>
                <a:gd name="T86" fmla="*/ 86 w 94"/>
                <a:gd name="T87" fmla="*/ 5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4" h="118">
                  <a:moveTo>
                    <a:pt x="90" y="111"/>
                  </a:moveTo>
                  <a:cubicBezTo>
                    <a:pt x="90" y="113"/>
                    <a:pt x="89" y="115"/>
                    <a:pt x="86" y="11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1" y="115"/>
                    <a:pt x="39" y="113"/>
                    <a:pt x="39" y="111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7"/>
                    <a:pt x="41" y="55"/>
                    <a:pt x="43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9" y="55"/>
                    <a:pt x="90" y="57"/>
                    <a:pt x="90" y="59"/>
                  </a:cubicBezTo>
                  <a:lnTo>
                    <a:pt x="90" y="111"/>
                  </a:lnTo>
                  <a:close/>
                  <a:moveTo>
                    <a:pt x="35" y="59"/>
                  </a:moveTo>
                  <a:cubicBezTo>
                    <a:pt x="35" y="103"/>
                    <a:pt x="35" y="103"/>
                    <a:pt x="35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4" y="103"/>
                    <a:pt x="3" y="102"/>
                    <a:pt x="3" y="101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20"/>
                    <a:pt x="58" y="24"/>
                    <a:pt x="63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39" y="51"/>
                    <a:pt x="35" y="55"/>
                    <a:pt x="35" y="59"/>
                  </a:cubicBezTo>
                  <a:moveTo>
                    <a:pt x="59" y="6"/>
                  </a:moveTo>
                  <a:cubicBezTo>
                    <a:pt x="72" y="20"/>
                    <a:pt x="72" y="20"/>
                    <a:pt x="72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0" y="20"/>
                    <a:pt x="59" y="18"/>
                    <a:pt x="59" y="16"/>
                  </a:cubicBezTo>
                  <a:lnTo>
                    <a:pt x="59" y="6"/>
                  </a:lnTo>
                  <a:close/>
                  <a:moveTo>
                    <a:pt x="86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1"/>
                    <a:pt x="78" y="21"/>
                    <a:pt x="78" y="2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0"/>
                    <a:pt x="57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4"/>
                    <a:pt x="2" y="106"/>
                    <a:pt x="5" y="106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5" y="115"/>
                    <a:pt x="39" y="118"/>
                    <a:pt x="43" y="118"/>
                  </a:cubicBezTo>
                  <a:cubicBezTo>
                    <a:pt x="86" y="118"/>
                    <a:pt x="86" y="118"/>
                    <a:pt x="86" y="118"/>
                  </a:cubicBezTo>
                  <a:cubicBezTo>
                    <a:pt x="91" y="118"/>
                    <a:pt x="94" y="115"/>
                    <a:pt x="94" y="111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94" y="55"/>
                    <a:pt x="91" y="51"/>
                    <a:pt x="86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87">
              <a:extLst>
                <a:ext uri="{FF2B5EF4-FFF2-40B4-BE49-F238E27FC236}">
                  <a16:creationId xmlns:a16="http://schemas.microsoft.com/office/drawing/2014/main" id="{F87E55C6-CD6A-4680-BE17-B1F069BAA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6" y="2032"/>
              <a:ext cx="110" cy="41"/>
            </a:xfrm>
            <a:custGeom>
              <a:avLst/>
              <a:gdLst>
                <a:gd name="T0" fmla="*/ 40 w 43"/>
                <a:gd name="T1" fmla="*/ 12 h 16"/>
                <a:gd name="T2" fmla="*/ 39 w 43"/>
                <a:gd name="T3" fmla="*/ 12 h 16"/>
                <a:gd name="T4" fmla="*/ 4 w 43"/>
                <a:gd name="T5" fmla="*/ 12 h 16"/>
                <a:gd name="T6" fmla="*/ 4 w 43"/>
                <a:gd name="T7" fmla="*/ 12 h 16"/>
                <a:gd name="T8" fmla="*/ 4 w 43"/>
                <a:gd name="T9" fmla="*/ 4 h 16"/>
                <a:gd name="T10" fmla="*/ 4 w 43"/>
                <a:gd name="T11" fmla="*/ 4 h 16"/>
                <a:gd name="T12" fmla="*/ 39 w 43"/>
                <a:gd name="T13" fmla="*/ 4 h 16"/>
                <a:gd name="T14" fmla="*/ 40 w 43"/>
                <a:gd name="T15" fmla="*/ 4 h 16"/>
                <a:gd name="T16" fmla="*/ 40 w 43"/>
                <a:gd name="T17" fmla="*/ 12 h 16"/>
                <a:gd name="T18" fmla="*/ 39 w 43"/>
                <a:gd name="T19" fmla="*/ 0 h 16"/>
                <a:gd name="T20" fmla="*/ 4 w 43"/>
                <a:gd name="T21" fmla="*/ 0 h 16"/>
                <a:gd name="T22" fmla="*/ 0 w 43"/>
                <a:gd name="T23" fmla="*/ 4 h 16"/>
                <a:gd name="T24" fmla="*/ 0 w 43"/>
                <a:gd name="T25" fmla="*/ 12 h 16"/>
                <a:gd name="T26" fmla="*/ 4 w 43"/>
                <a:gd name="T27" fmla="*/ 16 h 16"/>
                <a:gd name="T28" fmla="*/ 39 w 43"/>
                <a:gd name="T29" fmla="*/ 16 h 16"/>
                <a:gd name="T30" fmla="*/ 43 w 43"/>
                <a:gd name="T31" fmla="*/ 12 h 16"/>
                <a:gd name="T32" fmla="*/ 43 w 43"/>
                <a:gd name="T33" fmla="*/ 4 h 16"/>
                <a:gd name="T34" fmla="*/ 39 w 43"/>
                <a:gd name="T3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16">
                  <a:moveTo>
                    <a:pt x="40" y="12"/>
                  </a:moveTo>
                  <a:cubicBezTo>
                    <a:pt x="40" y="12"/>
                    <a:pt x="39" y="12"/>
                    <a:pt x="39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40" y="4"/>
                    <a:pt x="40" y="4"/>
                  </a:cubicBezTo>
                  <a:lnTo>
                    <a:pt x="40" y="12"/>
                  </a:lnTo>
                  <a:close/>
                  <a:moveTo>
                    <a:pt x="3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2" y="16"/>
                    <a:pt x="4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2" y="16"/>
                    <a:pt x="43" y="14"/>
                    <a:pt x="43" y="1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2"/>
                    <a:pt x="42" y="0"/>
                    <a:pt x="3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88">
              <a:extLst>
                <a:ext uri="{FF2B5EF4-FFF2-40B4-BE49-F238E27FC236}">
                  <a16:creationId xmlns:a16="http://schemas.microsoft.com/office/drawing/2014/main" id="{AF80029C-D661-45FD-8B86-C09DE4C83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6" y="2088"/>
              <a:ext cx="31" cy="31"/>
            </a:xfrm>
            <a:custGeom>
              <a:avLst/>
              <a:gdLst>
                <a:gd name="T0" fmla="*/ 8 w 12"/>
                <a:gd name="T1" fmla="*/ 8 h 12"/>
                <a:gd name="T2" fmla="*/ 8 w 12"/>
                <a:gd name="T3" fmla="*/ 8 h 12"/>
                <a:gd name="T4" fmla="*/ 4 w 12"/>
                <a:gd name="T5" fmla="*/ 8 h 12"/>
                <a:gd name="T6" fmla="*/ 4 w 12"/>
                <a:gd name="T7" fmla="*/ 8 h 12"/>
                <a:gd name="T8" fmla="*/ 4 w 12"/>
                <a:gd name="T9" fmla="*/ 4 h 12"/>
                <a:gd name="T10" fmla="*/ 4 w 12"/>
                <a:gd name="T11" fmla="*/ 4 h 12"/>
                <a:gd name="T12" fmla="*/ 8 w 12"/>
                <a:gd name="T13" fmla="*/ 4 h 12"/>
                <a:gd name="T14" fmla="*/ 8 w 12"/>
                <a:gd name="T15" fmla="*/ 4 h 12"/>
                <a:gd name="T16" fmla="*/ 8 w 12"/>
                <a:gd name="T17" fmla="*/ 8 h 12"/>
                <a:gd name="T18" fmla="*/ 8 w 12"/>
                <a:gd name="T19" fmla="*/ 0 h 12"/>
                <a:gd name="T20" fmla="*/ 4 w 12"/>
                <a:gd name="T21" fmla="*/ 0 h 12"/>
                <a:gd name="T22" fmla="*/ 0 w 12"/>
                <a:gd name="T23" fmla="*/ 4 h 12"/>
                <a:gd name="T24" fmla="*/ 0 w 12"/>
                <a:gd name="T25" fmla="*/ 8 h 12"/>
                <a:gd name="T26" fmla="*/ 4 w 12"/>
                <a:gd name="T27" fmla="*/ 12 h 12"/>
                <a:gd name="T28" fmla="*/ 8 w 12"/>
                <a:gd name="T29" fmla="*/ 12 h 12"/>
                <a:gd name="T30" fmla="*/ 12 w 12"/>
                <a:gd name="T31" fmla="*/ 8 h 12"/>
                <a:gd name="T32" fmla="*/ 12 w 12"/>
                <a:gd name="T33" fmla="*/ 4 h 12"/>
                <a:gd name="T34" fmla="*/ 8 w 12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2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89">
              <a:extLst>
                <a:ext uri="{FF2B5EF4-FFF2-40B4-BE49-F238E27FC236}">
                  <a16:creationId xmlns:a16="http://schemas.microsoft.com/office/drawing/2014/main" id="{D614B8B2-0CA7-43ED-8DA2-7E3729BF9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8" y="2088"/>
              <a:ext cx="28" cy="31"/>
            </a:xfrm>
            <a:custGeom>
              <a:avLst/>
              <a:gdLst>
                <a:gd name="T0" fmla="*/ 8 w 11"/>
                <a:gd name="T1" fmla="*/ 8 h 12"/>
                <a:gd name="T2" fmla="*/ 7 w 11"/>
                <a:gd name="T3" fmla="*/ 8 h 12"/>
                <a:gd name="T4" fmla="*/ 3 w 11"/>
                <a:gd name="T5" fmla="*/ 8 h 12"/>
                <a:gd name="T6" fmla="*/ 3 w 11"/>
                <a:gd name="T7" fmla="*/ 8 h 12"/>
                <a:gd name="T8" fmla="*/ 3 w 11"/>
                <a:gd name="T9" fmla="*/ 4 h 12"/>
                <a:gd name="T10" fmla="*/ 3 w 11"/>
                <a:gd name="T11" fmla="*/ 4 h 12"/>
                <a:gd name="T12" fmla="*/ 7 w 11"/>
                <a:gd name="T13" fmla="*/ 4 h 12"/>
                <a:gd name="T14" fmla="*/ 8 w 11"/>
                <a:gd name="T15" fmla="*/ 4 h 12"/>
                <a:gd name="T16" fmla="*/ 8 w 11"/>
                <a:gd name="T17" fmla="*/ 8 h 12"/>
                <a:gd name="T18" fmla="*/ 7 w 11"/>
                <a:gd name="T19" fmla="*/ 0 h 12"/>
                <a:gd name="T20" fmla="*/ 3 w 11"/>
                <a:gd name="T21" fmla="*/ 0 h 12"/>
                <a:gd name="T22" fmla="*/ 0 w 11"/>
                <a:gd name="T23" fmla="*/ 4 h 12"/>
                <a:gd name="T24" fmla="*/ 0 w 11"/>
                <a:gd name="T25" fmla="*/ 8 h 12"/>
                <a:gd name="T26" fmla="*/ 3 w 11"/>
                <a:gd name="T27" fmla="*/ 12 h 12"/>
                <a:gd name="T28" fmla="*/ 7 w 11"/>
                <a:gd name="T29" fmla="*/ 12 h 12"/>
                <a:gd name="T30" fmla="*/ 11 w 11"/>
                <a:gd name="T31" fmla="*/ 8 h 12"/>
                <a:gd name="T32" fmla="*/ 11 w 11"/>
                <a:gd name="T33" fmla="*/ 4 h 12"/>
                <a:gd name="T34" fmla="*/ 7 w 11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2">
                  <a:moveTo>
                    <a:pt x="8" y="8"/>
                  </a:moveTo>
                  <a:cubicBezTo>
                    <a:pt x="8" y="8"/>
                    <a:pt x="7" y="8"/>
                    <a:pt x="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2"/>
                    <a:pt x="3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2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90">
              <a:extLst>
                <a:ext uri="{FF2B5EF4-FFF2-40B4-BE49-F238E27FC236}">
                  <a16:creationId xmlns:a16="http://schemas.microsoft.com/office/drawing/2014/main" id="{8BDF8EBC-4B53-4AD6-ADA0-E08E34DB28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7" y="2088"/>
              <a:ext cx="28" cy="31"/>
            </a:xfrm>
            <a:custGeom>
              <a:avLst/>
              <a:gdLst>
                <a:gd name="T0" fmla="*/ 8 w 11"/>
                <a:gd name="T1" fmla="*/ 8 h 12"/>
                <a:gd name="T2" fmla="*/ 8 w 11"/>
                <a:gd name="T3" fmla="*/ 8 h 12"/>
                <a:gd name="T4" fmla="*/ 4 w 11"/>
                <a:gd name="T5" fmla="*/ 8 h 12"/>
                <a:gd name="T6" fmla="*/ 4 w 11"/>
                <a:gd name="T7" fmla="*/ 8 h 12"/>
                <a:gd name="T8" fmla="*/ 4 w 11"/>
                <a:gd name="T9" fmla="*/ 4 h 12"/>
                <a:gd name="T10" fmla="*/ 4 w 11"/>
                <a:gd name="T11" fmla="*/ 4 h 12"/>
                <a:gd name="T12" fmla="*/ 8 w 11"/>
                <a:gd name="T13" fmla="*/ 4 h 12"/>
                <a:gd name="T14" fmla="*/ 8 w 11"/>
                <a:gd name="T15" fmla="*/ 4 h 12"/>
                <a:gd name="T16" fmla="*/ 8 w 11"/>
                <a:gd name="T17" fmla="*/ 8 h 12"/>
                <a:gd name="T18" fmla="*/ 8 w 11"/>
                <a:gd name="T19" fmla="*/ 0 h 12"/>
                <a:gd name="T20" fmla="*/ 4 w 11"/>
                <a:gd name="T21" fmla="*/ 0 h 12"/>
                <a:gd name="T22" fmla="*/ 0 w 11"/>
                <a:gd name="T23" fmla="*/ 4 h 12"/>
                <a:gd name="T24" fmla="*/ 0 w 11"/>
                <a:gd name="T25" fmla="*/ 8 h 12"/>
                <a:gd name="T26" fmla="*/ 4 w 11"/>
                <a:gd name="T27" fmla="*/ 12 h 12"/>
                <a:gd name="T28" fmla="*/ 8 w 11"/>
                <a:gd name="T29" fmla="*/ 12 h 12"/>
                <a:gd name="T30" fmla="*/ 11 w 11"/>
                <a:gd name="T31" fmla="*/ 8 h 12"/>
                <a:gd name="T32" fmla="*/ 11 w 11"/>
                <a:gd name="T33" fmla="*/ 4 h 12"/>
                <a:gd name="T34" fmla="*/ 8 w 11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2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0" y="12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91">
              <a:extLst>
                <a:ext uri="{FF2B5EF4-FFF2-40B4-BE49-F238E27FC236}">
                  <a16:creationId xmlns:a16="http://schemas.microsoft.com/office/drawing/2014/main" id="{41D6C0A8-F8BC-4C34-8D52-FF2F3786D9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6" y="2129"/>
              <a:ext cx="31" cy="28"/>
            </a:xfrm>
            <a:custGeom>
              <a:avLst/>
              <a:gdLst>
                <a:gd name="T0" fmla="*/ 8 w 12"/>
                <a:gd name="T1" fmla="*/ 8 h 11"/>
                <a:gd name="T2" fmla="*/ 8 w 12"/>
                <a:gd name="T3" fmla="*/ 8 h 11"/>
                <a:gd name="T4" fmla="*/ 4 w 12"/>
                <a:gd name="T5" fmla="*/ 8 h 11"/>
                <a:gd name="T6" fmla="*/ 4 w 12"/>
                <a:gd name="T7" fmla="*/ 8 h 11"/>
                <a:gd name="T8" fmla="*/ 4 w 12"/>
                <a:gd name="T9" fmla="*/ 4 h 11"/>
                <a:gd name="T10" fmla="*/ 4 w 12"/>
                <a:gd name="T11" fmla="*/ 4 h 11"/>
                <a:gd name="T12" fmla="*/ 8 w 12"/>
                <a:gd name="T13" fmla="*/ 4 h 11"/>
                <a:gd name="T14" fmla="*/ 8 w 12"/>
                <a:gd name="T15" fmla="*/ 4 h 11"/>
                <a:gd name="T16" fmla="*/ 8 w 12"/>
                <a:gd name="T17" fmla="*/ 8 h 11"/>
                <a:gd name="T18" fmla="*/ 8 w 12"/>
                <a:gd name="T19" fmla="*/ 0 h 11"/>
                <a:gd name="T20" fmla="*/ 4 w 12"/>
                <a:gd name="T21" fmla="*/ 0 h 11"/>
                <a:gd name="T22" fmla="*/ 0 w 12"/>
                <a:gd name="T23" fmla="*/ 4 h 11"/>
                <a:gd name="T24" fmla="*/ 0 w 12"/>
                <a:gd name="T25" fmla="*/ 8 h 11"/>
                <a:gd name="T26" fmla="*/ 4 w 12"/>
                <a:gd name="T27" fmla="*/ 11 h 11"/>
                <a:gd name="T28" fmla="*/ 8 w 12"/>
                <a:gd name="T29" fmla="*/ 11 h 11"/>
                <a:gd name="T30" fmla="*/ 12 w 12"/>
                <a:gd name="T31" fmla="*/ 8 h 11"/>
                <a:gd name="T32" fmla="*/ 12 w 12"/>
                <a:gd name="T33" fmla="*/ 4 h 11"/>
                <a:gd name="T34" fmla="*/ 8 w 12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1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1"/>
                    <a:pt x="4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1"/>
                    <a:pt x="12" y="10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92">
              <a:extLst>
                <a:ext uri="{FF2B5EF4-FFF2-40B4-BE49-F238E27FC236}">
                  <a16:creationId xmlns:a16="http://schemas.microsoft.com/office/drawing/2014/main" id="{83BF8BB0-5232-4CB1-9776-785964D1E7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8" y="2129"/>
              <a:ext cx="28" cy="28"/>
            </a:xfrm>
            <a:custGeom>
              <a:avLst/>
              <a:gdLst>
                <a:gd name="T0" fmla="*/ 8 w 11"/>
                <a:gd name="T1" fmla="*/ 8 h 11"/>
                <a:gd name="T2" fmla="*/ 7 w 11"/>
                <a:gd name="T3" fmla="*/ 8 h 11"/>
                <a:gd name="T4" fmla="*/ 3 w 11"/>
                <a:gd name="T5" fmla="*/ 8 h 11"/>
                <a:gd name="T6" fmla="*/ 3 w 11"/>
                <a:gd name="T7" fmla="*/ 8 h 11"/>
                <a:gd name="T8" fmla="*/ 3 w 11"/>
                <a:gd name="T9" fmla="*/ 4 h 11"/>
                <a:gd name="T10" fmla="*/ 3 w 11"/>
                <a:gd name="T11" fmla="*/ 4 h 11"/>
                <a:gd name="T12" fmla="*/ 7 w 11"/>
                <a:gd name="T13" fmla="*/ 4 h 11"/>
                <a:gd name="T14" fmla="*/ 8 w 11"/>
                <a:gd name="T15" fmla="*/ 4 h 11"/>
                <a:gd name="T16" fmla="*/ 8 w 11"/>
                <a:gd name="T17" fmla="*/ 8 h 11"/>
                <a:gd name="T18" fmla="*/ 7 w 11"/>
                <a:gd name="T19" fmla="*/ 0 h 11"/>
                <a:gd name="T20" fmla="*/ 3 w 11"/>
                <a:gd name="T21" fmla="*/ 0 h 11"/>
                <a:gd name="T22" fmla="*/ 0 w 11"/>
                <a:gd name="T23" fmla="*/ 4 h 11"/>
                <a:gd name="T24" fmla="*/ 0 w 11"/>
                <a:gd name="T25" fmla="*/ 8 h 11"/>
                <a:gd name="T26" fmla="*/ 3 w 11"/>
                <a:gd name="T27" fmla="*/ 11 h 11"/>
                <a:gd name="T28" fmla="*/ 7 w 11"/>
                <a:gd name="T29" fmla="*/ 11 h 11"/>
                <a:gd name="T30" fmla="*/ 11 w 11"/>
                <a:gd name="T31" fmla="*/ 8 h 11"/>
                <a:gd name="T32" fmla="*/ 11 w 11"/>
                <a:gd name="T33" fmla="*/ 4 h 11"/>
                <a:gd name="T34" fmla="*/ 7 w 11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8" y="8"/>
                  </a:moveTo>
                  <a:cubicBezTo>
                    <a:pt x="8" y="8"/>
                    <a:pt x="7" y="8"/>
                    <a:pt x="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1"/>
                    <a:pt x="3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3">
              <a:extLst>
                <a:ext uri="{FF2B5EF4-FFF2-40B4-BE49-F238E27FC236}">
                  <a16:creationId xmlns:a16="http://schemas.microsoft.com/office/drawing/2014/main" id="{BBD0CE0E-DDDC-4889-89E3-6C0FBB89C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7" y="2129"/>
              <a:ext cx="28" cy="28"/>
            </a:xfrm>
            <a:custGeom>
              <a:avLst/>
              <a:gdLst>
                <a:gd name="T0" fmla="*/ 8 w 11"/>
                <a:gd name="T1" fmla="*/ 8 h 11"/>
                <a:gd name="T2" fmla="*/ 8 w 11"/>
                <a:gd name="T3" fmla="*/ 8 h 11"/>
                <a:gd name="T4" fmla="*/ 4 w 11"/>
                <a:gd name="T5" fmla="*/ 8 h 11"/>
                <a:gd name="T6" fmla="*/ 4 w 11"/>
                <a:gd name="T7" fmla="*/ 8 h 11"/>
                <a:gd name="T8" fmla="*/ 4 w 11"/>
                <a:gd name="T9" fmla="*/ 4 h 11"/>
                <a:gd name="T10" fmla="*/ 4 w 11"/>
                <a:gd name="T11" fmla="*/ 4 h 11"/>
                <a:gd name="T12" fmla="*/ 8 w 11"/>
                <a:gd name="T13" fmla="*/ 4 h 11"/>
                <a:gd name="T14" fmla="*/ 8 w 11"/>
                <a:gd name="T15" fmla="*/ 4 h 11"/>
                <a:gd name="T16" fmla="*/ 8 w 11"/>
                <a:gd name="T17" fmla="*/ 8 h 11"/>
                <a:gd name="T18" fmla="*/ 8 w 11"/>
                <a:gd name="T19" fmla="*/ 0 h 11"/>
                <a:gd name="T20" fmla="*/ 4 w 11"/>
                <a:gd name="T21" fmla="*/ 0 h 11"/>
                <a:gd name="T22" fmla="*/ 0 w 11"/>
                <a:gd name="T23" fmla="*/ 4 h 11"/>
                <a:gd name="T24" fmla="*/ 0 w 11"/>
                <a:gd name="T25" fmla="*/ 8 h 11"/>
                <a:gd name="T26" fmla="*/ 4 w 11"/>
                <a:gd name="T27" fmla="*/ 11 h 11"/>
                <a:gd name="T28" fmla="*/ 8 w 11"/>
                <a:gd name="T29" fmla="*/ 11 h 11"/>
                <a:gd name="T30" fmla="*/ 11 w 11"/>
                <a:gd name="T31" fmla="*/ 8 h 11"/>
                <a:gd name="T32" fmla="*/ 11 w 11"/>
                <a:gd name="T33" fmla="*/ 4 h 11"/>
                <a:gd name="T34" fmla="*/ 8 w 11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1"/>
                    <a:pt x="4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8" name="Group 196">
            <a:extLst>
              <a:ext uri="{FF2B5EF4-FFF2-40B4-BE49-F238E27FC236}">
                <a16:creationId xmlns:a16="http://schemas.microsoft.com/office/drawing/2014/main" id="{39BA57E1-CE0C-4A21-BE9F-890842EC15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0613" y="2804884"/>
            <a:ext cx="758825" cy="758825"/>
            <a:chOff x="2287" y="1813"/>
            <a:chExt cx="478" cy="478"/>
          </a:xfrm>
        </p:grpSpPr>
        <p:sp>
          <p:nvSpPr>
            <p:cNvPr id="229" name="AutoShape 195">
              <a:extLst>
                <a:ext uri="{FF2B5EF4-FFF2-40B4-BE49-F238E27FC236}">
                  <a16:creationId xmlns:a16="http://schemas.microsoft.com/office/drawing/2014/main" id="{85D99D6C-37B0-4C52-8A7D-48B9750747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7" y="181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7">
              <a:extLst>
                <a:ext uri="{FF2B5EF4-FFF2-40B4-BE49-F238E27FC236}">
                  <a16:creationId xmlns:a16="http://schemas.microsoft.com/office/drawing/2014/main" id="{B1E78169-0470-4619-AFFD-46CC4710CA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" y="181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98">
              <a:extLst>
                <a:ext uri="{FF2B5EF4-FFF2-40B4-BE49-F238E27FC236}">
                  <a16:creationId xmlns:a16="http://schemas.microsoft.com/office/drawing/2014/main" id="{446764E0-ED59-4952-A67E-04DEC2E37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4" y="1936"/>
              <a:ext cx="39" cy="66"/>
            </a:xfrm>
            <a:custGeom>
              <a:avLst/>
              <a:gdLst>
                <a:gd name="T0" fmla="*/ 10 w 16"/>
                <a:gd name="T1" fmla="*/ 21 h 27"/>
                <a:gd name="T2" fmla="*/ 10 w 16"/>
                <a:gd name="T3" fmla="*/ 16 h 27"/>
                <a:gd name="T4" fmla="*/ 12 w 16"/>
                <a:gd name="T5" fmla="*/ 19 h 27"/>
                <a:gd name="T6" fmla="*/ 10 w 16"/>
                <a:gd name="T7" fmla="*/ 21 h 27"/>
                <a:gd name="T8" fmla="*/ 6 w 16"/>
                <a:gd name="T9" fmla="*/ 11 h 27"/>
                <a:gd name="T10" fmla="*/ 4 w 16"/>
                <a:gd name="T11" fmla="*/ 8 h 27"/>
                <a:gd name="T12" fmla="*/ 6 w 16"/>
                <a:gd name="T13" fmla="*/ 6 h 27"/>
                <a:gd name="T14" fmla="*/ 6 w 16"/>
                <a:gd name="T15" fmla="*/ 11 h 27"/>
                <a:gd name="T16" fmla="*/ 10 w 16"/>
                <a:gd name="T17" fmla="*/ 12 h 27"/>
                <a:gd name="T18" fmla="*/ 10 w 16"/>
                <a:gd name="T19" fmla="*/ 6 h 27"/>
                <a:gd name="T20" fmla="*/ 12 w 16"/>
                <a:gd name="T21" fmla="*/ 8 h 27"/>
                <a:gd name="T22" fmla="*/ 14 w 16"/>
                <a:gd name="T23" fmla="*/ 10 h 27"/>
                <a:gd name="T24" fmla="*/ 16 w 16"/>
                <a:gd name="T25" fmla="*/ 8 h 27"/>
                <a:gd name="T26" fmla="*/ 10 w 16"/>
                <a:gd name="T27" fmla="*/ 2 h 27"/>
                <a:gd name="T28" fmla="*/ 10 w 16"/>
                <a:gd name="T29" fmla="*/ 2 h 27"/>
                <a:gd name="T30" fmla="*/ 8 w 16"/>
                <a:gd name="T31" fmla="*/ 0 h 27"/>
                <a:gd name="T32" fmla="*/ 6 w 16"/>
                <a:gd name="T33" fmla="*/ 2 h 27"/>
                <a:gd name="T34" fmla="*/ 6 w 16"/>
                <a:gd name="T35" fmla="*/ 2 h 27"/>
                <a:gd name="T36" fmla="*/ 0 w 16"/>
                <a:gd name="T37" fmla="*/ 8 h 27"/>
                <a:gd name="T38" fmla="*/ 6 w 16"/>
                <a:gd name="T39" fmla="*/ 15 h 27"/>
                <a:gd name="T40" fmla="*/ 6 w 16"/>
                <a:gd name="T41" fmla="*/ 21 h 27"/>
                <a:gd name="T42" fmla="*/ 4 w 16"/>
                <a:gd name="T43" fmla="*/ 19 h 27"/>
                <a:gd name="T44" fmla="*/ 2 w 16"/>
                <a:gd name="T45" fmla="*/ 17 h 27"/>
                <a:gd name="T46" fmla="*/ 0 w 16"/>
                <a:gd name="T47" fmla="*/ 19 h 27"/>
                <a:gd name="T48" fmla="*/ 6 w 16"/>
                <a:gd name="T49" fmla="*/ 25 h 27"/>
                <a:gd name="T50" fmla="*/ 6 w 16"/>
                <a:gd name="T51" fmla="*/ 26 h 27"/>
                <a:gd name="T52" fmla="*/ 8 w 16"/>
                <a:gd name="T53" fmla="*/ 27 h 27"/>
                <a:gd name="T54" fmla="*/ 10 w 16"/>
                <a:gd name="T55" fmla="*/ 26 h 27"/>
                <a:gd name="T56" fmla="*/ 10 w 16"/>
                <a:gd name="T57" fmla="*/ 25 h 27"/>
                <a:gd name="T58" fmla="*/ 16 w 16"/>
                <a:gd name="T59" fmla="*/ 19 h 27"/>
                <a:gd name="T60" fmla="*/ 10 w 16"/>
                <a:gd name="T6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" h="27">
                  <a:moveTo>
                    <a:pt x="10" y="21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2" y="17"/>
                    <a:pt x="12" y="18"/>
                    <a:pt x="12" y="19"/>
                  </a:cubicBezTo>
                  <a:cubicBezTo>
                    <a:pt x="12" y="20"/>
                    <a:pt x="11" y="21"/>
                    <a:pt x="10" y="21"/>
                  </a:cubicBezTo>
                  <a:moveTo>
                    <a:pt x="6" y="11"/>
                  </a:moveTo>
                  <a:cubicBezTo>
                    <a:pt x="5" y="10"/>
                    <a:pt x="4" y="9"/>
                    <a:pt x="4" y="8"/>
                  </a:cubicBezTo>
                  <a:cubicBezTo>
                    <a:pt x="4" y="7"/>
                    <a:pt x="5" y="6"/>
                    <a:pt x="6" y="6"/>
                  </a:cubicBezTo>
                  <a:lnTo>
                    <a:pt x="6" y="11"/>
                  </a:lnTo>
                  <a:close/>
                  <a:moveTo>
                    <a:pt x="10" y="12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2" y="7"/>
                    <a:pt x="12" y="8"/>
                  </a:cubicBezTo>
                  <a:cubicBezTo>
                    <a:pt x="12" y="9"/>
                    <a:pt x="13" y="10"/>
                    <a:pt x="14" y="10"/>
                  </a:cubicBezTo>
                  <a:cubicBezTo>
                    <a:pt x="15" y="10"/>
                    <a:pt x="16" y="9"/>
                    <a:pt x="16" y="8"/>
                  </a:cubicBezTo>
                  <a:cubicBezTo>
                    <a:pt x="16" y="5"/>
                    <a:pt x="14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3" y="3"/>
                    <a:pt x="0" y="5"/>
                    <a:pt x="0" y="8"/>
                  </a:cubicBezTo>
                  <a:cubicBezTo>
                    <a:pt x="0" y="12"/>
                    <a:pt x="4" y="14"/>
                    <a:pt x="6" y="15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4" y="20"/>
                    <a:pt x="4" y="19"/>
                  </a:cubicBezTo>
                  <a:cubicBezTo>
                    <a:pt x="4" y="18"/>
                    <a:pt x="3" y="17"/>
                    <a:pt x="2" y="17"/>
                  </a:cubicBezTo>
                  <a:cubicBezTo>
                    <a:pt x="1" y="17"/>
                    <a:pt x="0" y="18"/>
                    <a:pt x="0" y="19"/>
                  </a:cubicBezTo>
                  <a:cubicBezTo>
                    <a:pt x="0" y="22"/>
                    <a:pt x="3" y="25"/>
                    <a:pt x="6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9" y="27"/>
                    <a:pt x="10" y="27"/>
                    <a:pt x="10" y="26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4" y="25"/>
                    <a:pt x="16" y="22"/>
                    <a:pt x="16" y="19"/>
                  </a:cubicBezTo>
                  <a:cubicBezTo>
                    <a:pt x="16" y="15"/>
                    <a:pt x="13" y="13"/>
                    <a:pt x="10" y="1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99">
              <a:extLst>
                <a:ext uri="{FF2B5EF4-FFF2-40B4-BE49-F238E27FC236}">
                  <a16:creationId xmlns:a16="http://schemas.microsoft.com/office/drawing/2014/main" id="{41760F50-6ED3-4D6B-92BA-BE507A6AA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1945"/>
              <a:ext cx="49" cy="10"/>
            </a:xfrm>
            <a:custGeom>
              <a:avLst/>
              <a:gdLst>
                <a:gd name="T0" fmla="*/ 18 w 20"/>
                <a:gd name="T1" fmla="*/ 0 h 4"/>
                <a:gd name="T2" fmla="*/ 2 w 20"/>
                <a:gd name="T3" fmla="*/ 0 h 4"/>
                <a:gd name="T4" fmla="*/ 0 w 20"/>
                <a:gd name="T5" fmla="*/ 2 h 4"/>
                <a:gd name="T6" fmla="*/ 2 w 20"/>
                <a:gd name="T7" fmla="*/ 4 h 4"/>
                <a:gd name="T8" fmla="*/ 18 w 20"/>
                <a:gd name="T9" fmla="*/ 4 h 4"/>
                <a:gd name="T10" fmla="*/ 20 w 20"/>
                <a:gd name="T11" fmla="*/ 2 h 4"/>
                <a:gd name="T12" fmla="*/ 18 w 2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3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00">
              <a:extLst>
                <a:ext uri="{FF2B5EF4-FFF2-40B4-BE49-F238E27FC236}">
                  <a16:creationId xmlns:a16="http://schemas.microsoft.com/office/drawing/2014/main" id="{63F592B8-D13D-4684-B6C0-A6AED48B7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019"/>
              <a:ext cx="145" cy="7"/>
            </a:xfrm>
            <a:custGeom>
              <a:avLst/>
              <a:gdLst>
                <a:gd name="T0" fmla="*/ 58 w 59"/>
                <a:gd name="T1" fmla="*/ 0 h 3"/>
                <a:gd name="T2" fmla="*/ 2 w 59"/>
                <a:gd name="T3" fmla="*/ 0 h 3"/>
                <a:gd name="T4" fmla="*/ 0 w 59"/>
                <a:gd name="T5" fmla="*/ 1 h 3"/>
                <a:gd name="T6" fmla="*/ 2 w 59"/>
                <a:gd name="T7" fmla="*/ 3 h 3"/>
                <a:gd name="T8" fmla="*/ 58 w 59"/>
                <a:gd name="T9" fmla="*/ 3 h 3"/>
                <a:gd name="T10" fmla="*/ 59 w 59"/>
                <a:gd name="T11" fmla="*/ 1 h 3"/>
                <a:gd name="T12" fmla="*/ 58 w 5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5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2"/>
                    <a:pt x="59" y="1"/>
                  </a:cubicBezTo>
                  <a:cubicBezTo>
                    <a:pt x="59" y="0"/>
                    <a:pt x="59" y="0"/>
                    <a:pt x="5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01">
              <a:extLst>
                <a:ext uri="{FF2B5EF4-FFF2-40B4-BE49-F238E27FC236}">
                  <a16:creationId xmlns:a16="http://schemas.microsoft.com/office/drawing/2014/main" id="{3EAEE52E-4910-4337-A790-BA3A77C55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046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02">
              <a:extLst>
                <a:ext uri="{FF2B5EF4-FFF2-40B4-BE49-F238E27FC236}">
                  <a16:creationId xmlns:a16="http://schemas.microsoft.com/office/drawing/2014/main" id="{C9C5D21F-DC37-4A2B-BCEB-F5C2F8FDC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046"/>
              <a:ext cx="19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3">
              <a:extLst>
                <a:ext uri="{FF2B5EF4-FFF2-40B4-BE49-F238E27FC236}">
                  <a16:creationId xmlns:a16="http://schemas.microsoft.com/office/drawing/2014/main" id="{CCAB75A1-D258-463C-B120-DC123D81A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065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4">
              <a:extLst>
                <a:ext uri="{FF2B5EF4-FFF2-40B4-BE49-F238E27FC236}">
                  <a16:creationId xmlns:a16="http://schemas.microsoft.com/office/drawing/2014/main" id="{247B7703-48BE-4973-8A11-DA837AD5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065"/>
              <a:ext cx="19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05">
              <a:extLst>
                <a:ext uri="{FF2B5EF4-FFF2-40B4-BE49-F238E27FC236}">
                  <a16:creationId xmlns:a16="http://schemas.microsoft.com/office/drawing/2014/main" id="{B0651E0D-896A-4488-9835-496C61783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085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06">
              <a:extLst>
                <a:ext uri="{FF2B5EF4-FFF2-40B4-BE49-F238E27FC236}">
                  <a16:creationId xmlns:a16="http://schemas.microsoft.com/office/drawing/2014/main" id="{A86BA4DF-66C5-48F4-A927-8B87BB3C9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085"/>
              <a:ext cx="19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07">
              <a:extLst>
                <a:ext uri="{FF2B5EF4-FFF2-40B4-BE49-F238E27FC236}">
                  <a16:creationId xmlns:a16="http://schemas.microsoft.com/office/drawing/2014/main" id="{7BCF77C3-0F62-44D4-8AA8-35ED3AC0B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105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8">
              <a:extLst>
                <a:ext uri="{FF2B5EF4-FFF2-40B4-BE49-F238E27FC236}">
                  <a16:creationId xmlns:a16="http://schemas.microsoft.com/office/drawing/2014/main" id="{8B545D23-14D3-4B6C-8A02-6EAC3F774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105"/>
              <a:ext cx="19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09">
              <a:extLst>
                <a:ext uri="{FF2B5EF4-FFF2-40B4-BE49-F238E27FC236}">
                  <a16:creationId xmlns:a16="http://schemas.microsoft.com/office/drawing/2014/main" id="{7C5E6C92-3A9C-444E-8910-ABA61440A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" y="2124"/>
              <a:ext cx="25" cy="10"/>
            </a:xfrm>
            <a:custGeom>
              <a:avLst/>
              <a:gdLst>
                <a:gd name="T0" fmla="*/ 8 w 10"/>
                <a:gd name="T1" fmla="*/ 0 h 4"/>
                <a:gd name="T2" fmla="*/ 2 w 10"/>
                <a:gd name="T3" fmla="*/ 0 h 4"/>
                <a:gd name="T4" fmla="*/ 0 w 10"/>
                <a:gd name="T5" fmla="*/ 2 h 4"/>
                <a:gd name="T6" fmla="*/ 2 w 10"/>
                <a:gd name="T7" fmla="*/ 4 h 4"/>
                <a:gd name="T8" fmla="*/ 8 w 10"/>
                <a:gd name="T9" fmla="*/ 4 h 4"/>
                <a:gd name="T10" fmla="*/ 10 w 10"/>
                <a:gd name="T11" fmla="*/ 2 h 4"/>
                <a:gd name="T12" fmla="*/ 8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10">
              <a:extLst>
                <a:ext uri="{FF2B5EF4-FFF2-40B4-BE49-F238E27FC236}">
                  <a16:creationId xmlns:a16="http://schemas.microsoft.com/office/drawing/2014/main" id="{CDEE2C4B-FA68-4668-9E89-7C922F000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" y="2124"/>
              <a:ext cx="19" cy="10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11">
              <a:extLst>
                <a:ext uri="{FF2B5EF4-FFF2-40B4-BE49-F238E27FC236}">
                  <a16:creationId xmlns:a16="http://schemas.microsoft.com/office/drawing/2014/main" id="{09D9BEB1-D6CB-4340-9053-AC5503402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1965"/>
              <a:ext cx="59" cy="10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12">
              <a:extLst>
                <a:ext uri="{FF2B5EF4-FFF2-40B4-BE49-F238E27FC236}">
                  <a16:creationId xmlns:a16="http://schemas.microsoft.com/office/drawing/2014/main" id="{2689A0EF-2007-4256-9305-8474A6FB1E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1911"/>
              <a:ext cx="230" cy="289"/>
            </a:xfrm>
            <a:custGeom>
              <a:avLst/>
              <a:gdLst>
                <a:gd name="T0" fmla="*/ 90 w 94"/>
                <a:gd name="T1" fmla="*/ 111 h 118"/>
                <a:gd name="T2" fmla="*/ 86 w 94"/>
                <a:gd name="T3" fmla="*/ 115 h 118"/>
                <a:gd name="T4" fmla="*/ 43 w 94"/>
                <a:gd name="T5" fmla="*/ 115 h 118"/>
                <a:gd name="T6" fmla="*/ 39 w 94"/>
                <a:gd name="T7" fmla="*/ 111 h 118"/>
                <a:gd name="T8" fmla="*/ 39 w 94"/>
                <a:gd name="T9" fmla="*/ 59 h 118"/>
                <a:gd name="T10" fmla="*/ 43 w 94"/>
                <a:gd name="T11" fmla="*/ 55 h 118"/>
                <a:gd name="T12" fmla="*/ 86 w 94"/>
                <a:gd name="T13" fmla="*/ 55 h 118"/>
                <a:gd name="T14" fmla="*/ 90 w 94"/>
                <a:gd name="T15" fmla="*/ 59 h 118"/>
                <a:gd name="T16" fmla="*/ 90 w 94"/>
                <a:gd name="T17" fmla="*/ 111 h 118"/>
                <a:gd name="T18" fmla="*/ 35 w 94"/>
                <a:gd name="T19" fmla="*/ 59 h 118"/>
                <a:gd name="T20" fmla="*/ 35 w 94"/>
                <a:gd name="T21" fmla="*/ 103 h 118"/>
                <a:gd name="T22" fmla="*/ 5 w 94"/>
                <a:gd name="T23" fmla="*/ 103 h 118"/>
                <a:gd name="T24" fmla="*/ 3 w 94"/>
                <a:gd name="T25" fmla="*/ 101 h 118"/>
                <a:gd name="T26" fmla="*/ 3 w 94"/>
                <a:gd name="T27" fmla="*/ 6 h 118"/>
                <a:gd name="T28" fmla="*/ 5 w 94"/>
                <a:gd name="T29" fmla="*/ 4 h 118"/>
                <a:gd name="T30" fmla="*/ 55 w 94"/>
                <a:gd name="T31" fmla="*/ 4 h 118"/>
                <a:gd name="T32" fmla="*/ 55 w 94"/>
                <a:gd name="T33" fmla="*/ 16 h 118"/>
                <a:gd name="T34" fmla="*/ 63 w 94"/>
                <a:gd name="T35" fmla="*/ 24 h 118"/>
                <a:gd name="T36" fmla="*/ 75 w 94"/>
                <a:gd name="T37" fmla="*/ 24 h 118"/>
                <a:gd name="T38" fmla="*/ 75 w 94"/>
                <a:gd name="T39" fmla="*/ 51 h 118"/>
                <a:gd name="T40" fmla="*/ 43 w 94"/>
                <a:gd name="T41" fmla="*/ 51 h 118"/>
                <a:gd name="T42" fmla="*/ 35 w 94"/>
                <a:gd name="T43" fmla="*/ 59 h 118"/>
                <a:gd name="T44" fmla="*/ 59 w 94"/>
                <a:gd name="T45" fmla="*/ 6 h 118"/>
                <a:gd name="T46" fmla="*/ 72 w 94"/>
                <a:gd name="T47" fmla="*/ 20 h 118"/>
                <a:gd name="T48" fmla="*/ 63 w 94"/>
                <a:gd name="T49" fmla="*/ 20 h 118"/>
                <a:gd name="T50" fmla="*/ 59 w 94"/>
                <a:gd name="T51" fmla="*/ 16 h 118"/>
                <a:gd name="T52" fmla="*/ 59 w 94"/>
                <a:gd name="T53" fmla="*/ 6 h 118"/>
                <a:gd name="T54" fmla="*/ 86 w 94"/>
                <a:gd name="T55" fmla="*/ 51 h 118"/>
                <a:gd name="T56" fmla="*/ 78 w 94"/>
                <a:gd name="T57" fmla="*/ 51 h 118"/>
                <a:gd name="T58" fmla="*/ 78 w 94"/>
                <a:gd name="T59" fmla="*/ 22 h 118"/>
                <a:gd name="T60" fmla="*/ 78 w 94"/>
                <a:gd name="T61" fmla="*/ 20 h 118"/>
                <a:gd name="T62" fmla="*/ 58 w 94"/>
                <a:gd name="T63" fmla="*/ 1 h 118"/>
                <a:gd name="T64" fmla="*/ 57 w 94"/>
                <a:gd name="T65" fmla="*/ 0 h 118"/>
                <a:gd name="T66" fmla="*/ 5 w 94"/>
                <a:gd name="T67" fmla="*/ 0 h 118"/>
                <a:gd name="T68" fmla="*/ 0 w 94"/>
                <a:gd name="T69" fmla="*/ 6 h 118"/>
                <a:gd name="T70" fmla="*/ 0 w 94"/>
                <a:gd name="T71" fmla="*/ 101 h 118"/>
                <a:gd name="T72" fmla="*/ 5 w 94"/>
                <a:gd name="T73" fmla="*/ 106 h 118"/>
                <a:gd name="T74" fmla="*/ 35 w 94"/>
                <a:gd name="T75" fmla="*/ 106 h 118"/>
                <a:gd name="T76" fmla="*/ 35 w 94"/>
                <a:gd name="T77" fmla="*/ 111 h 118"/>
                <a:gd name="T78" fmla="*/ 43 w 94"/>
                <a:gd name="T79" fmla="*/ 118 h 118"/>
                <a:gd name="T80" fmla="*/ 86 w 94"/>
                <a:gd name="T81" fmla="*/ 118 h 118"/>
                <a:gd name="T82" fmla="*/ 94 w 94"/>
                <a:gd name="T83" fmla="*/ 111 h 118"/>
                <a:gd name="T84" fmla="*/ 94 w 94"/>
                <a:gd name="T85" fmla="*/ 59 h 118"/>
                <a:gd name="T86" fmla="*/ 86 w 94"/>
                <a:gd name="T87" fmla="*/ 5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4" h="118">
                  <a:moveTo>
                    <a:pt x="90" y="111"/>
                  </a:moveTo>
                  <a:cubicBezTo>
                    <a:pt x="90" y="113"/>
                    <a:pt x="89" y="115"/>
                    <a:pt x="86" y="11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1" y="115"/>
                    <a:pt x="39" y="113"/>
                    <a:pt x="39" y="111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7"/>
                    <a:pt x="41" y="55"/>
                    <a:pt x="43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9" y="55"/>
                    <a:pt x="90" y="57"/>
                    <a:pt x="90" y="59"/>
                  </a:cubicBezTo>
                  <a:lnTo>
                    <a:pt x="90" y="111"/>
                  </a:lnTo>
                  <a:close/>
                  <a:moveTo>
                    <a:pt x="35" y="59"/>
                  </a:moveTo>
                  <a:cubicBezTo>
                    <a:pt x="35" y="103"/>
                    <a:pt x="35" y="103"/>
                    <a:pt x="35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4" y="103"/>
                    <a:pt x="3" y="102"/>
                    <a:pt x="3" y="101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4" y="4"/>
                    <a:pt x="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20"/>
                    <a:pt x="58" y="24"/>
                    <a:pt x="63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39" y="51"/>
                    <a:pt x="35" y="55"/>
                    <a:pt x="35" y="59"/>
                  </a:cubicBezTo>
                  <a:moveTo>
                    <a:pt x="59" y="6"/>
                  </a:moveTo>
                  <a:cubicBezTo>
                    <a:pt x="72" y="20"/>
                    <a:pt x="72" y="20"/>
                    <a:pt x="72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0" y="20"/>
                    <a:pt x="59" y="18"/>
                    <a:pt x="59" y="16"/>
                  </a:cubicBezTo>
                  <a:lnTo>
                    <a:pt x="59" y="6"/>
                  </a:lnTo>
                  <a:close/>
                  <a:moveTo>
                    <a:pt x="86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1"/>
                    <a:pt x="78" y="21"/>
                    <a:pt x="78" y="2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0"/>
                    <a:pt x="57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4"/>
                    <a:pt x="2" y="106"/>
                    <a:pt x="5" y="106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5" y="115"/>
                    <a:pt x="39" y="118"/>
                    <a:pt x="43" y="118"/>
                  </a:cubicBezTo>
                  <a:cubicBezTo>
                    <a:pt x="86" y="118"/>
                    <a:pt x="86" y="118"/>
                    <a:pt x="86" y="118"/>
                  </a:cubicBezTo>
                  <a:cubicBezTo>
                    <a:pt x="91" y="118"/>
                    <a:pt x="94" y="115"/>
                    <a:pt x="94" y="111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94" y="55"/>
                    <a:pt x="91" y="51"/>
                    <a:pt x="86" y="5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13">
              <a:extLst>
                <a:ext uri="{FF2B5EF4-FFF2-40B4-BE49-F238E27FC236}">
                  <a16:creationId xmlns:a16="http://schemas.microsoft.com/office/drawing/2014/main" id="{74B079B2-EA7B-4105-BBF1-5F3CDECF75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2056"/>
              <a:ext cx="106" cy="39"/>
            </a:xfrm>
            <a:custGeom>
              <a:avLst/>
              <a:gdLst>
                <a:gd name="T0" fmla="*/ 40 w 43"/>
                <a:gd name="T1" fmla="*/ 12 h 16"/>
                <a:gd name="T2" fmla="*/ 39 w 43"/>
                <a:gd name="T3" fmla="*/ 12 h 16"/>
                <a:gd name="T4" fmla="*/ 4 w 43"/>
                <a:gd name="T5" fmla="*/ 12 h 16"/>
                <a:gd name="T6" fmla="*/ 4 w 43"/>
                <a:gd name="T7" fmla="*/ 12 h 16"/>
                <a:gd name="T8" fmla="*/ 4 w 43"/>
                <a:gd name="T9" fmla="*/ 4 h 16"/>
                <a:gd name="T10" fmla="*/ 4 w 43"/>
                <a:gd name="T11" fmla="*/ 4 h 16"/>
                <a:gd name="T12" fmla="*/ 39 w 43"/>
                <a:gd name="T13" fmla="*/ 4 h 16"/>
                <a:gd name="T14" fmla="*/ 40 w 43"/>
                <a:gd name="T15" fmla="*/ 4 h 16"/>
                <a:gd name="T16" fmla="*/ 40 w 43"/>
                <a:gd name="T17" fmla="*/ 12 h 16"/>
                <a:gd name="T18" fmla="*/ 39 w 43"/>
                <a:gd name="T19" fmla="*/ 0 h 16"/>
                <a:gd name="T20" fmla="*/ 4 w 43"/>
                <a:gd name="T21" fmla="*/ 0 h 16"/>
                <a:gd name="T22" fmla="*/ 0 w 43"/>
                <a:gd name="T23" fmla="*/ 4 h 16"/>
                <a:gd name="T24" fmla="*/ 0 w 43"/>
                <a:gd name="T25" fmla="*/ 12 h 16"/>
                <a:gd name="T26" fmla="*/ 4 w 43"/>
                <a:gd name="T27" fmla="*/ 16 h 16"/>
                <a:gd name="T28" fmla="*/ 39 w 43"/>
                <a:gd name="T29" fmla="*/ 16 h 16"/>
                <a:gd name="T30" fmla="*/ 43 w 43"/>
                <a:gd name="T31" fmla="*/ 12 h 16"/>
                <a:gd name="T32" fmla="*/ 43 w 43"/>
                <a:gd name="T33" fmla="*/ 4 h 16"/>
                <a:gd name="T34" fmla="*/ 39 w 43"/>
                <a:gd name="T3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16">
                  <a:moveTo>
                    <a:pt x="40" y="12"/>
                  </a:moveTo>
                  <a:cubicBezTo>
                    <a:pt x="40" y="12"/>
                    <a:pt x="39" y="12"/>
                    <a:pt x="39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40" y="4"/>
                    <a:pt x="40" y="4"/>
                  </a:cubicBezTo>
                  <a:lnTo>
                    <a:pt x="40" y="12"/>
                  </a:lnTo>
                  <a:close/>
                  <a:moveTo>
                    <a:pt x="3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2" y="16"/>
                    <a:pt x="4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2" y="16"/>
                    <a:pt x="43" y="14"/>
                    <a:pt x="43" y="1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2"/>
                    <a:pt x="42" y="0"/>
                    <a:pt x="3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4">
              <a:extLst>
                <a:ext uri="{FF2B5EF4-FFF2-40B4-BE49-F238E27FC236}">
                  <a16:creationId xmlns:a16="http://schemas.microsoft.com/office/drawing/2014/main" id="{3BED94F3-32EF-42C5-9E92-79B51275B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2110"/>
              <a:ext cx="30" cy="29"/>
            </a:xfrm>
            <a:custGeom>
              <a:avLst/>
              <a:gdLst>
                <a:gd name="T0" fmla="*/ 8 w 12"/>
                <a:gd name="T1" fmla="*/ 8 h 12"/>
                <a:gd name="T2" fmla="*/ 8 w 12"/>
                <a:gd name="T3" fmla="*/ 8 h 12"/>
                <a:gd name="T4" fmla="*/ 4 w 12"/>
                <a:gd name="T5" fmla="*/ 8 h 12"/>
                <a:gd name="T6" fmla="*/ 4 w 12"/>
                <a:gd name="T7" fmla="*/ 8 h 12"/>
                <a:gd name="T8" fmla="*/ 4 w 12"/>
                <a:gd name="T9" fmla="*/ 4 h 12"/>
                <a:gd name="T10" fmla="*/ 4 w 12"/>
                <a:gd name="T11" fmla="*/ 4 h 12"/>
                <a:gd name="T12" fmla="*/ 8 w 12"/>
                <a:gd name="T13" fmla="*/ 4 h 12"/>
                <a:gd name="T14" fmla="*/ 8 w 12"/>
                <a:gd name="T15" fmla="*/ 4 h 12"/>
                <a:gd name="T16" fmla="*/ 8 w 12"/>
                <a:gd name="T17" fmla="*/ 8 h 12"/>
                <a:gd name="T18" fmla="*/ 8 w 12"/>
                <a:gd name="T19" fmla="*/ 0 h 12"/>
                <a:gd name="T20" fmla="*/ 4 w 12"/>
                <a:gd name="T21" fmla="*/ 0 h 12"/>
                <a:gd name="T22" fmla="*/ 0 w 12"/>
                <a:gd name="T23" fmla="*/ 4 h 12"/>
                <a:gd name="T24" fmla="*/ 0 w 12"/>
                <a:gd name="T25" fmla="*/ 8 h 12"/>
                <a:gd name="T26" fmla="*/ 4 w 12"/>
                <a:gd name="T27" fmla="*/ 12 h 12"/>
                <a:gd name="T28" fmla="*/ 8 w 12"/>
                <a:gd name="T29" fmla="*/ 12 h 12"/>
                <a:gd name="T30" fmla="*/ 12 w 12"/>
                <a:gd name="T31" fmla="*/ 8 h 12"/>
                <a:gd name="T32" fmla="*/ 12 w 12"/>
                <a:gd name="T33" fmla="*/ 4 h 12"/>
                <a:gd name="T34" fmla="*/ 8 w 12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2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15">
              <a:extLst>
                <a:ext uri="{FF2B5EF4-FFF2-40B4-BE49-F238E27FC236}">
                  <a16:creationId xmlns:a16="http://schemas.microsoft.com/office/drawing/2014/main" id="{20A23872-4EA7-4AAF-8E9C-410478490E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6" y="2110"/>
              <a:ext cx="27" cy="29"/>
            </a:xfrm>
            <a:custGeom>
              <a:avLst/>
              <a:gdLst>
                <a:gd name="T0" fmla="*/ 8 w 11"/>
                <a:gd name="T1" fmla="*/ 8 h 12"/>
                <a:gd name="T2" fmla="*/ 7 w 11"/>
                <a:gd name="T3" fmla="*/ 8 h 12"/>
                <a:gd name="T4" fmla="*/ 3 w 11"/>
                <a:gd name="T5" fmla="*/ 8 h 12"/>
                <a:gd name="T6" fmla="*/ 3 w 11"/>
                <a:gd name="T7" fmla="*/ 8 h 12"/>
                <a:gd name="T8" fmla="*/ 3 w 11"/>
                <a:gd name="T9" fmla="*/ 4 h 12"/>
                <a:gd name="T10" fmla="*/ 3 w 11"/>
                <a:gd name="T11" fmla="*/ 4 h 12"/>
                <a:gd name="T12" fmla="*/ 7 w 11"/>
                <a:gd name="T13" fmla="*/ 4 h 12"/>
                <a:gd name="T14" fmla="*/ 8 w 11"/>
                <a:gd name="T15" fmla="*/ 4 h 12"/>
                <a:gd name="T16" fmla="*/ 8 w 11"/>
                <a:gd name="T17" fmla="*/ 8 h 12"/>
                <a:gd name="T18" fmla="*/ 7 w 11"/>
                <a:gd name="T19" fmla="*/ 0 h 12"/>
                <a:gd name="T20" fmla="*/ 3 w 11"/>
                <a:gd name="T21" fmla="*/ 0 h 12"/>
                <a:gd name="T22" fmla="*/ 0 w 11"/>
                <a:gd name="T23" fmla="*/ 4 h 12"/>
                <a:gd name="T24" fmla="*/ 0 w 11"/>
                <a:gd name="T25" fmla="*/ 8 h 12"/>
                <a:gd name="T26" fmla="*/ 3 w 11"/>
                <a:gd name="T27" fmla="*/ 12 h 12"/>
                <a:gd name="T28" fmla="*/ 7 w 11"/>
                <a:gd name="T29" fmla="*/ 12 h 12"/>
                <a:gd name="T30" fmla="*/ 11 w 11"/>
                <a:gd name="T31" fmla="*/ 8 h 12"/>
                <a:gd name="T32" fmla="*/ 11 w 11"/>
                <a:gd name="T33" fmla="*/ 4 h 12"/>
                <a:gd name="T34" fmla="*/ 7 w 11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2">
                  <a:moveTo>
                    <a:pt x="8" y="8"/>
                  </a:moveTo>
                  <a:cubicBezTo>
                    <a:pt x="8" y="8"/>
                    <a:pt x="7" y="8"/>
                    <a:pt x="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2"/>
                    <a:pt x="3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2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16">
              <a:extLst>
                <a:ext uri="{FF2B5EF4-FFF2-40B4-BE49-F238E27FC236}">
                  <a16:creationId xmlns:a16="http://schemas.microsoft.com/office/drawing/2014/main" id="{B35E8E41-B7D3-4891-8C3B-EDCC05EA7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" y="2110"/>
              <a:ext cx="27" cy="29"/>
            </a:xfrm>
            <a:custGeom>
              <a:avLst/>
              <a:gdLst>
                <a:gd name="T0" fmla="*/ 8 w 11"/>
                <a:gd name="T1" fmla="*/ 8 h 12"/>
                <a:gd name="T2" fmla="*/ 8 w 11"/>
                <a:gd name="T3" fmla="*/ 8 h 12"/>
                <a:gd name="T4" fmla="*/ 4 w 11"/>
                <a:gd name="T5" fmla="*/ 8 h 12"/>
                <a:gd name="T6" fmla="*/ 4 w 11"/>
                <a:gd name="T7" fmla="*/ 8 h 12"/>
                <a:gd name="T8" fmla="*/ 4 w 11"/>
                <a:gd name="T9" fmla="*/ 4 h 12"/>
                <a:gd name="T10" fmla="*/ 4 w 11"/>
                <a:gd name="T11" fmla="*/ 4 h 12"/>
                <a:gd name="T12" fmla="*/ 8 w 11"/>
                <a:gd name="T13" fmla="*/ 4 h 12"/>
                <a:gd name="T14" fmla="*/ 8 w 11"/>
                <a:gd name="T15" fmla="*/ 4 h 12"/>
                <a:gd name="T16" fmla="*/ 8 w 11"/>
                <a:gd name="T17" fmla="*/ 8 h 12"/>
                <a:gd name="T18" fmla="*/ 8 w 11"/>
                <a:gd name="T19" fmla="*/ 0 h 12"/>
                <a:gd name="T20" fmla="*/ 4 w 11"/>
                <a:gd name="T21" fmla="*/ 0 h 12"/>
                <a:gd name="T22" fmla="*/ 0 w 11"/>
                <a:gd name="T23" fmla="*/ 4 h 12"/>
                <a:gd name="T24" fmla="*/ 0 w 11"/>
                <a:gd name="T25" fmla="*/ 8 h 12"/>
                <a:gd name="T26" fmla="*/ 4 w 11"/>
                <a:gd name="T27" fmla="*/ 12 h 12"/>
                <a:gd name="T28" fmla="*/ 8 w 11"/>
                <a:gd name="T29" fmla="*/ 12 h 12"/>
                <a:gd name="T30" fmla="*/ 11 w 11"/>
                <a:gd name="T31" fmla="*/ 8 h 12"/>
                <a:gd name="T32" fmla="*/ 11 w 11"/>
                <a:gd name="T33" fmla="*/ 4 h 12"/>
                <a:gd name="T34" fmla="*/ 8 w 11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2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0" y="12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7">
              <a:extLst>
                <a:ext uri="{FF2B5EF4-FFF2-40B4-BE49-F238E27FC236}">
                  <a16:creationId xmlns:a16="http://schemas.microsoft.com/office/drawing/2014/main" id="{5E3CD4A1-72F1-4EE4-8D3C-D535381D5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2149"/>
              <a:ext cx="30" cy="27"/>
            </a:xfrm>
            <a:custGeom>
              <a:avLst/>
              <a:gdLst>
                <a:gd name="T0" fmla="*/ 8 w 12"/>
                <a:gd name="T1" fmla="*/ 8 h 11"/>
                <a:gd name="T2" fmla="*/ 8 w 12"/>
                <a:gd name="T3" fmla="*/ 8 h 11"/>
                <a:gd name="T4" fmla="*/ 4 w 12"/>
                <a:gd name="T5" fmla="*/ 8 h 11"/>
                <a:gd name="T6" fmla="*/ 4 w 12"/>
                <a:gd name="T7" fmla="*/ 8 h 11"/>
                <a:gd name="T8" fmla="*/ 4 w 12"/>
                <a:gd name="T9" fmla="*/ 4 h 11"/>
                <a:gd name="T10" fmla="*/ 4 w 12"/>
                <a:gd name="T11" fmla="*/ 4 h 11"/>
                <a:gd name="T12" fmla="*/ 8 w 12"/>
                <a:gd name="T13" fmla="*/ 4 h 11"/>
                <a:gd name="T14" fmla="*/ 8 w 12"/>
                <a:gd name="T15" fmla="*/ 4 h 11"/>
                <a:gd name="T16" fmla="*/ 8 w 12"/>
                <a:gd name="T17" fmla="*/ 8 h 11"/>
                <a:gd name="T18" fmla="*/ 8 w 12"/>
                <a:gd name="T19" fmla="*/ 0 h 11"/>
                <a:gd name="T20" fmla="*/ 4 w 12"/>
                <a:gd name="T21" fmla="*/ 0 h 11"/>
                <a:gd name="T22" fmla="*/ 0 w 12"/>
                <a:gd name="T23" fmla="*/ 4 h 11"/>
                <a:gd name="T24" fmla="*/ 0 w 12"/>
                <a:gd name="T25" fmla="*/ 8 h 11"/>
                <a:gd name="T26" fmla="*/ 4 w 12"/>
                <a:gd name="T27" fmla="*/ 11 h 11"/>
                <a:gd name="T28" fmla="*/ 8 w 12"/>
                <a:gd name="T29" fmla="*/ 11 h 11"/>
                <a:gd name="T30" fmla="*/ 12 w 12"/>
                <a:gd name="T31" fmla="*/ 8 h 11"/>
                <a:gd name="T32" fmla="*/ 12 w 12"/>
                <a:gd name="T33" fmla="*/ 4 h 11"/>
                <a:gd name="T34" fmla="*/ 8 w 12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1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1"/>
                    <a:pt x="4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1"/>
                    <a:pt x="12" y="10"/>
                    <a:pt x="1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8">
              <a:extLst>
                <a:ext uri="{FF2B5EF4-FFF2-40B4-BE49-F238E27FC236}">
                  <a16:creationId xmlns:a16="http://schemas.microsoft.com/office/drawing/2014/main" id="{31B34391-F99C-4094-9A73-5FD5DA7F65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6" y="2149"/>
              <a:ext cx="27" cy="27"/>
            </a:xfrm>
            <a:custGeom>
              <a:avLst/>
              <a:gdLst>
                <a:gd name="T0" fmla="*/ 8 w 11"/>
                <a:gd name="T1" fmla="*/ 8 h 11"/>
                <a:gd name="T2" fmla="*/ 7 w 11"/>
                <a:gd name="T3" fmla="*/ 8 h 11"/>
                <a:gd name="T4" fmla="*/ 3 w 11"/>
                <a:gd name="T5" fmla="*/ 8 h 11"/>
                <a:gd name="T6" fmla="*/ 3 w 11"/>
                <a:gd name="T7" fmla="*/ 8 h 11"/>
                <a:gd name="T8" fmla="*/ 3 w 11"/>
                <a:gd name="T9" fmla="*/ 4 h 11"/>
                <a:gd name="T10" fmla="*/ 3 w 11"/>
                <a:gd name="T11" fmla="*/ 4 h 11"/>
                <a:gd name="T12" fmla="*/ 7 w 11"/>
                <a:gd name="T13" fmla="*/ 4 h 11"/>
                <a:gd name="T14" fmla="*/ 8 w 11"/>
                <a:gd name="T15" fmla="*/ 4 h 11"/>
                <a:gd name="T16" fmla="*/ 8 w 11"/>
                <a:gd name="T17" fmla="*/ 8 h 11"/>
                <a:gd name="T18" fmla="*/ 7 w 11"/>
                <a:gd name="T19" fmla="*/ 0 h 11"/>
                <a:gd name="T20" fmla="*/ 3 w 11"/>
                <a:gd name="T21" fmla="*/ 0 h 11"/>
                <a:gd name="T22" fmla="*/ 0 w 11"/>
                <a:gd name="T23" fmla="*/ 4 h 11"/>
                <a:gd name="T24" fmla="*/ 0 w 11"/>
                <a:gd name="T25" fmla="*/ 8 h 11"/>
                <a:gd name="T26" fmla="*/ 3 w 11"/>
                <a:gd name="T27" fmla="*/ 11 h 11"/>
                <a:gd name="T28" fmla="*/ 7 w 11"/>
                <a:gd name="T29" fmla="*/ 11 h 11"/>
                <a:gd name="T30" fmla="*/ 11 w 11"/>
                <a:gd name="T31" fmla="*/ 8 h 11"/>
                <a:gd name="T32" fmla="*/ 11 w 11"/>
                <a:gd name="T33" fmla="*/ 4 h 11"/>
                <a:gd name="T34" fmla="*/ 7 w 11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8" y="8"/>
                  </a:moveTo>
                  <a:cubicBezTo>
                    <a:pt x="8" y="8"/>
                    <a:pt x="7" y="8"/>
                    <a:pt x="7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1" y="11"/>
                    <a:pt x="3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19">
              <a:extLst>
                <a:ext uri="{FF2B5EF4-FFF2-40B4-BE49-F238E27FC236}">
                  <a16:creationId xmlns:a16="http://schemas.microsoft.com/office/drawing/2014/main" id="{AF71EDF1-023D-4B34-AD75-BFC49A399C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" y="2149"/>
              <a:ext cx="27" cy="27"/>
            </a:xfrm>
            <a:custGeom>
              <a:avLst/>
              <a:gdLst>
                <a:gd name="T0" fmla="*/ 8 w 11"/>
                <a:gd name="T1" fmla="*/ 8 h 11"/>
                <a:gd name="T2" fmla="*/ 8 w 11"/>
                <a:gd name="T3" fmla="*/ 8 h 11"/>
                <a:gd name="T4" fmla="*/ 4 w 11"/>
                <a:gd name="T5" fmla="*/ 8 h 11"/>
                <a:gd name="T6" fmla="*/ 4 w 11"/>
                <a:gd name="T7" fmla="*/ 8 h 11"/>
                <a:gd name="T8" fmla="*/ 4 w 11"/>
                <a:gd name="T9" fmla="*/ 4 h 11"/>
                <a:gd name="T10" fmla="*/ 4 w 11"/>
                <a:gd name="T11" fmla="*/ 4 h 11"/>
                <a:gd name="T12" fmla="*/ 8 w 11"/>
                <a:gd name="T13" fmla="*/ 4 h 11"/>
                <a:gd name="T14" fmla="*/ 8 w 11"/>
                <a:gd name="T15" fmla="*/ 4 h 11"/>
                <a:gd name="T16" fmla="*/ 8 w 11"/>
                <a:gd name="T17" fmla="*/ 8 h 11"/>
                <a:gd name="T18" fmla="*/ 8 w 11"/>
                <a:gd name="T19" fmla="*/ 0 h 11"/>
                <a:gd name="T20" fmla="*/ 4 w 11"/>
                <a:gd name="T21" fmla="*/ 0 h 11"/>
                <a:gd name="T22" fmla="*/ 0 w 11"/>
                <a:gd name="T23" fmla="*/ 4 h 11"/>
                <a:gd name="T24" fmla="*/ 0 w 11"/>
                <a:gd name="T25" fmla="*/ 8 h 11"/>
                <a:gd name="T26" fmla="*/ 4 w 11"/>
                <a:gd name="T27" fmla="*/ 11 h 11"/>
                <a:gd name="T28" fmla="*/ 8 w 11"/>
                <a:gd name="T29" fmla="*/ 11 h 11"/>
                <a:gd name="T30" fmla="*/ 11 w 11"/>
                <a:gd name="T31" fmla="*/ 8 h 11"/>
                <a:gd name="T32" fmla="*/ 11 w 11"/>
                <a:gd name="T33" fmla="*/ 4 h 11"/>
                <a:gd name="T34" fmla="*/ 8 w 11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8" y="8"/>
                  </a:lnTo>
                  <a:close/>
                  <a:moveTo>
                    <a:pt x="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1"/>
                    <a:pt x="4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2"/>
                    <a:pt x="10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3" name="Group 222">
            <a:extLst>
              <a:ext uri="{FF2B5EF4-FFF2-40B4-BE49-F238E27FC236}">
                <a16:creationId xmlns:a16="http://schemas.microsoft.com/office/drawing/2014/main" id="{B1111DC8-5A27-40BF-92D4-862A6BF758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4250" y="2763609"/>
            <a:ext cx="841375" cy="841375"/>
            <a:chOff x="3020" y="1801"/>
            <a:chExt cx="530" cy="530"/>
          </a:xfrm>
        </p:grpSpPr>
        <p:sp>
          <p:nvSpPr>
            <p:cNvPr id="254" name="AutoShape 221">
              <a:extLst>
                <a:ext uri="{FF2B5EF4-FFF2-40B4-BE49-F238E27FC236}">
                  <a16:creationId xmlns:a16="http://schemas.microsoft.com/office/drawing/2014/main" id="{F3E69970-39B0-4E5B-B86B-D023173E45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0" y="180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Oval 223">
              <a:extLst>
                <a:ext uri="{FF2B5EF4-FFF2-40B4-BE49-F238E27FC236}">
                  <a16:creationId xmlns:a16="http://schemas.microsoft.com/office/drawing/2014/main" id="{DB5F9CA4-D3E0-440D-A50E-AC7BF8440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0" y="180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24">
              <a:extLst>
                <a:ext uri="{FF2B5EF4-FFF2-40B4-BE49-F238E27FC236}">
                  <a16:creationId xmlns:a16="http://schemas.microsoft.com/office/drawing/2014/main" id="{5D2770B3-B80F-450D-9C4D-88DF724F7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8" y="181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5">
              <a:extLst>
                <a:ext uri="{FF2B5EF4-FFF2-40B4-BE49-F238E27FC236}">
                  <a16:creationId xmlns:a16="http://schemas.microsoft.com/office/drawing/2014/main" id="{7C380A95-90C0-4B34-B215-4A80C7F519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" y="1926"/>
              <a:ext cx="302" cy="302"/>
            </a:xfrm>
            <a:custGeom>
              <a:avLst/>
              <a:gdLst>
                <a:gd name="T0" fmla="*/ 101 w 118"/>
                <a:gd name="T1" fmla="*/ 101 h 118"/>
                <a:gd name="T2" fmla="*/ 87 w 118"/>
                <a:gd name="T3" fmla="*/ 104 h 118"/>
                <a:gd name="T4" fmla="*/ 77 w 118"/>
                <a:gd name="T5" fmla="*/ 107 h 118"/>
                <a:gd name="T6" fmla="*/ 58 w 118"/>
                <a:gd name="T7" fmla="*/ 99 h 118"/>
                <a:gd name="T8" fmla="*/ 55 w 118"/>
                <a:gd name="T9" fmla="*/ 84 h 118"/>
                <a:gd name="T10" fmla="*/ 67 w 118"/>
                <a:gd name="T11" fmla="*/ 68 h 118"/>
                <a:gd name="T12" fmla="*/ 81 w 118"/>
                <a:gd name="T13" fmla="*/ 64 h 118"/>
                <a:gd name="T14" fmla="*/ 91 w 118"/>
                <a:gd name="T15" fmla="*/ 62 h 118"/>
                <a:gd name="T16" fmla="*/ 110 w 118"/>
                <a:gd name="T17" fmla="*/ 70 h 118"/>
                <a:gd name="T18" fmla="*/ 114 w 118"/>
                <a:gd name="T19" fmla="*/ 85 h 118"/>
                <a:gd name="T20" fmla="*/ 45 w 118"/>
                <a:gd name="T21" fmla="*/ 45 h 118"/>
                <a:gd name="T22" fmla="*/ 72 w 118"/>
                <a:gd name="T23" fmla="*/ 56 h 118"/>
                <a:gd name="T24" fmla="*/ 65 w 118"/>
                <a:gd name="T25" fmla="*/ 30 h 118"/>
                <a:gd name="T26" fmla="*/ 84 w 118"/>
                <a:gd name="T27" fmla="*/ 51 h 118"/>
                <a:gd name="T28" fmla="*/ 41 w 118"/>
                <a:gd name="T29" fmla="*/ 43 h 118"/>
                <a:gd name="T30" fmla="*/ 35 w 118"/>
                <a:gd name="T31" fmla="*/ 49 h 118"/>
                <a:gd name="T32" fmla="*/ 20 w 118"/>
                <a:gd name="T33" fmla="*/ 68 h 118"/>
                <a:gd name="T34" fmla="*/ 12 w 118"/>
                <a:gd name="T35" fmla="*/ 71 h 118"/>
                <a:gd name="T36" fmla="*/ 114 w 118"/>
                <a:gd name="T37" fmla="*/ 68 h 118"/>
                <a:gd name="T38" fmla="*/ 96 w 118"/>
                <a:gd name="T39" fmla="*/ 64 h 118"/>
                <a:gd name="T40" fmla="*/ 96 w 118"/>
                <a:gd name="T41" fmla="*/ 18 h 118"/>
                <a:gd name="T42" fmla="*/ 80 w 118"/>
                <a:gd name="T43" fmla="*/ 56 h 118"/>
                <a:gd name="T44" fmla="*/ 76 w 118"/>
                <a:gd name="T45" fmla="*/ 28 h 118"/>
                <a:gd name="T46" fmla="*/ 61 w 118"/>
                <a:gd name="T47" fmla="*/ 60 h 118"/>
                <a:gd name="T48" fmla="*/ 63 w 118"/>
                <a:gd name="T49" fmla="*/ 73 h 118"/>
                <a:gd name="T50" fmla="*/ 55 w 118"/>
                <a:gd name="T51" fmla="*/ 41 h 118"/>
                <a:gd name="T52" fmla="*/ 31 w 118"/>
                <a:gd name="T53" fmla="*/ 68 h 118"/>
                <a:gd name="T54" fmla="*/ 33 w 118"/>
                <a:gd name="T55" fmla="*/ 53 h 118"/>
                <a:gd name="T56" fmla="*/ 47 w 118"/>
                <a:gd name="T57" fmla="*/ 95 h 118"/>
                <a:gd name="T58" fmla="*/ 43 w 118"/>
                <a:gd name="T59" fmla="*/ 106 h 118"/>
                <a:gd name="T60" fmla="*/ 29 w 118"/>
                <a:gd name="T61" fmla="*/ 109 h 118"/>
                <a:gd name="T62" fmla="*/ 18 w 118"/>
                <a:gd name="T63" fmla="*/ 106 h 118"/>
                <a:gd name="T64" fmla="*/ 11 w 118"/>
                <a:gd name="T65" fmla="*/ 102 h 118"/>
                <a:gd name="T66" fmla="*/ 4 w 118"/>
                <a:gd name="T67" fmla="*/ 90 h 118"/>
                <a:gd name="T68" fmla="*/ 8 w 118"/>
                <a:gd name="T69" fmla="*/ 79 h 118"/>
                <a:gd name="T70" fmla="*/ 22 w 118"/>
                <a:gd name="T71" fmla="*/ 76 h 118"/>
                <a:gd name="T72" fmla="*/ 33 w 118"/>
                <a:gd name="T73" fmla="*/ 79 h 118"/>
                <a:gd name="T74" fmla="*/ 40 w 118"/>
                <a:gd name="T75" fmla="*/ 83 h 118"/>
                <a:gd name="T76" fmla="*/ 116 w 118"/>
                <a:gd name="T77" fmla="*/ 81 h 118"/>
                <a:gd name="T78" fmla="*/ 107 w 118"/>
                <a:gd name="T79" fmla="*/ 78 h 118"/>
                <a:gd name="T80" fmla="*/ 117 w 118"/>
                <a:gd name="T81" fmla="*/ 73 h 118"/>
                <a:gd name="T82" fmla="*/ 0 w 118"/>
                <a:gd name="T83" fmla="*/ 2 h 118"/>
                <a:gd name="T84" fmla="*/ 5 w 118"/>
                <a:gd name="T85" fmla="*/ 77 h 118"/>
                <a:gd name="T86" fmla="*/ 0 w 118"/>
                <a:gd name="T87" fmla="*/ 88 h 118"/>
                <a:gd name="T88" fmla="*/ 4 w 118"/>
                <a:gd name="T89" fmla="*/ 105 h 118"/>
                <a:gd name="T90" fmla="*/ 18 w 118"/>
                <a:gd name="T91" fmla="*/ 110 h 118"/>
                <a:gd name="T92" fmla="*/ 31 w 118"/>
                <a:gd name="T93" fmla="*/ 116 h 118"/>
                <a:gd name="T94" fmla="*/ 46 w 118"/>
                <a:gd name="T95" fmla="*/ 107 h 118"/>
                <a:gd name="T96" fmla="*/ 51 w 118"/>
                <a:gd name="T97" fmla="*/ 96 h 118"/>
                <a:gd name="T98" fmla="*/ 47 w 118"/>
                <a:gd name="T99" fmla="*/ 80 h 118"/>
                <a:gd name="T100" fmla="*/ 50 w 118"/>
                <a:gd name="T101" fmla="*/ 85 h 118"/>
                <a:gd name="T102" fmla="*/ 61 w 118"/>
                <a:gd name="T103" fmla="*/ 91 h 118"/>
                <a:gd name="T104" fmla="*/ 61 w 118"/>
                <a:gd name="T105" fmla="*/ 109 h 118"/>
                <a:gd name="T106" fmla="*/ 73 w 118"/>
                <a:gd name="T107" fmla="*/ 107 h 118"/>
                <a:gd name="T108" fmla="*/ 85 w 118"/>
                <a:gd name="T109" fmla="*/ 118 h 118"/>
                <a:gd name="T110" fmla="*/ 91 w 118"/>
                <a:gd name="T111" fmla="*/ 107 h 118"/>
                <a:gd name="T112" fmla="*/ 109 w 118"/>
                <a:gd name="T113" fmla="*/ 107 h 118"/>
                <a:gd name="T114" fmla="*/ 106 w 118"/>
                <a:gd name="T115" fmla="*/ 95 h 118"/>
                <a:gd name="T116" fmla="*/ 116 w 118"/>
                <a:gd name="T117" fmla="*/ 8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" h="118">
                  <a:moveTo>
                    <a:pt x="113" y="92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104" y="91"/>
                    <a:pt x="101" y="93"/>
                    <a:pt x="100" y="97"/>
                  </a:cubicBezTo>
                  <a:cubicBezTo>
                    <a:pt x="100" y="98"/>
                    <a:pt x="101" y="100"/>
                    <a:pt x="101" y="101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99" y="110"/>
                    <a:pt x="99" y="110"/>
                    <a:pt x="99" y="110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93" y="103"/>
                    <a:pt x="90" y="102"/>
                    <a:pt x="87" y="104"/>
                  </a:cubicBezTo>
                  <a:cubicBezTo>
                    <a:pt x="86" y="105"/>
                    <a:pt x="85" y="107"/>
                    <a:pt x="85" y="108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7" y="104"/>
                    <a:pt x="75" y="101"/>
                    <a:pt x="72" y="101"/>
                  </a:cubicBezTo>
                  <a:cubicBezTo>
                    <a:pt x="70" y="100"/>
                    <a:pt x="69" y="101"/>
                    <a:pt x="68" y="102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6" y="93"/>
                    <a:pt x="66" y="90"/>
                    <a:pt x="64" y="87"/>
                  </a:cubicBezTo>
                  <a:cubicBezTo>
                    <a:pt x="63" y="86"/>
                    <a:pt x="62" y="85"/>
                    <a:pt x="60" y="85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5" y="78"/>
                    <a:pt x="68" y="75"/>
                    <a:pt x="68" y="72"/>
                  </a:cubicBezTo>
                  <a:cubicBezTo>
                    <a:pt x="68" y="71"/>
                    <a:pt x="68" y="69"/>
                    <a:pt x="67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5" y="66"/>
                    <a:pt x="79" y="66"/>
                    <a:pt x="81" y="64"/>
                  </a:cubicBezTo>
                  <a:cubicBezTo>
                    <a:pt x="83" y="63"/>
                    <a:pt x="83" y="62"/>
                    <a:pt x="84" y="60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5"/>
                    <a:pt x="93" y="68"/>
                    <a:pt x="96" y="68"/>
                  </a:cubicBezTo>
                  <a:cubicBezTo>
                    <a:pt x="98" y="68"/>
                    <a:pt x="99" y="68"/>
                    <a:pt x="101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3" y="75"/>
                    <a:pt x="102" y="79"/>
                    <a:pt x="104" y="82"/>
                  </a:cubicBezTo>
                  <a:cubicBezTo>
                    <a:pt x="105" y="83"/>
                    <a:pt x="107" y="84"/>
                    <a:pt x="108" y="84"/>
                  </a:cubicBezTo>
                  <a:cubicBezTo>
                    <a:pt x="114" y="85"/>
                    <a:pt x="114" y="85"/>
                    <a:pt x="114" y="85"/>
                  </a:cubicBezTo>
                  <a:lnTo>
                    <a:pt x="113" y="92"/>
                  </a:lnTo>
                  <a:close/>
                  <a:moveTo>
                    <a:pt x="53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53" y="45"/>
                    <a:pt x="53" y="45"/>
                    <a:pt x="53" y="45"/>
                  </a:cubicBezTo>
                  <a:lnTo>
                    <a:pt x="53" y="71"/>
                  </a:lnTo>
                  <a:close/>
                  <a:moveTo>
                    <a:pt x="72" y="30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4"/>
                    <a:pt x="70" y="54"/>
                    <a:pt x="69" y="54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30"/>
                    <a:pt x="65" y="30"/>
                    <a:pt x="65" y="30"/>
                  </a:cubicBezTo>
                  <a:lnTo>
                    <a:pt x="72" y="30"/>
                  </a:lnTo>
                  <a:close/>
                  <a:moveTo>
                    <a:pt x="92" y="20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20"/>
                    <a:pt x="84" y="20"/>
                    <a:pt x="84" y="20"/>
                  </a:cubicBezTo>
                  <a:lnTo>
                    <a:pt x="92" y="20"/>
                  </a:lnTo>
                  <a:close/>
                  <a:moveTo>
                    <a:pt x="43" y="41"/>
                  </a:moveTo>
                  <a:cubicBezTo>
                    <a:pt x="42" y="41"/>
                    <a:pt x="41" y="42"/>
                    <a:pt x="41" y="43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0"/>
                    <a:pt x="36" y="49"/>
                    <a:pt x="35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2" y="49"/>
                    <a:pt x="22" y="50"/>
                    <a:pt x="22" y="51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7"/>
                    <a:pt x="20" y="67"/>
                    <a:pt x="20" y="68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2" y="71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68"/>
                    <a:pt x="114" y="68"/>
                    <a:pt x="114" y="68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59"/>
                    <a:pt x="105" y="59"/>
                    <a:pt x="105" y="59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97" y="65"/>
                    <a:pt x="96" y="64"/>
                    <a:pt x="96" y="64"/>
                  </a:cubicBezTo>
                  <a:cubicBezTo>
                    <a:pt x="95" y="63"/>
                    <a:pt x="95" y="63"/>
                    <a:pt x="95" y="62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6" y="18"/>
                    <a:pt x="96" y="18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1" y="16"/>
                    <a:pt x="80" y="17"/>
                    <a:pt x="80" y="18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1"/>
                    <a:pt x="79" y="62"/>
                    <a:pt x="78" y="62"/>
                  </a:cubicBezTo>
                  <a:cubicBezTo>
                    <a:pt x="77" y="62"/>
                    <a:pt x="77" y="61"/>
                    <a:pt x="76" y="61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7"/>
                    <a:pt x="75" y="26"/>
                    <a:pt x="7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1" y="27"/>
                    <a:pt x="61" y="28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59" y="62"/>
                    <a:pt x="58" y="63"/>
                    <a:pt x="59" y="64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1"/>
                    <a:pt x="64" y="72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2"/>
                    <a:pt x="56" y="41"/>
                    <a:pt x="55" y="41"/>
                  </a:cubicBezTo>
                  <a:lnTo>
                    <a:pt x="43" y="41"/>
                  </a:lnTo>
                  <a:close/>
                  <a:moveTo>
                    <a:pt x="34" y="74"/>
                  </a:moveTo>
                  <a:cubicBezTo>
                    <a:pt x="33" y="75"/>
                    <a:pt x="33" y="75"/>
                    <a:pt x="33" y="75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7"/>
                    <a:pt x="30" y="67"/>
                    <a:pt x="29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3" y="73"/>
                    <a:pt x="34" y="74"/>
                    <a:pt x="34" y="74"/>
                  </a:cubicBezTo>
                  <a:moveTo>
                    <a:pt x="47" y="90"/>
                  </a:moveTo>
                  <a:cubicBezTo>
                    <a:pt x="47" y="95"/>
                    <a:pt x="47" y="95"/>
                    <a:pt x="47" y="95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0" y="96"/>
                    <a:pt x="39" y="98"/>
                    <a:pt x="39" y="100"/>
                  </a:cubicBezTo>
                  <a:cubicBezTo>
                    <a:pt x="39" y="101"/>
                    <a:pt x="39" y="101"/>
                    <a:pt x="40" y="102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3" y="105"/>
                    <a:pt x="31" y="106"/>
                    <a:pt x="29" y="107"/>
                  </a:cubicBezTo>
                  <a:cubicBezTo>
                    <a:pt x="29" y="108"/>
                    <a:pt x="29" y="108"/>
                    <a:pt x="29" y="109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7"/>
                    <a:pt x="20" y="105"/>
                    <a:pt x="18" y="106"/>
                  </a:cubicBezTo>
                  <a:cubicBezTo>
                    <a:pt x="17" y="106"/>
                    <a:pt x="17" y="106"/>
                    <a:pt x="16" y="106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3" y="100"/>
                    <a:pt x="12" y="97"/>
                    <a:pt x="10" y="96"/>
                  </a:cubicBezTo>
                  <a:cubicBezTo>
                    <a:pt x="10" y="96"/>
                    <a:pt x="9" y="96"/>
                    <a:pt x="9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11" y="88"/>
                    <a:pt x="12" y="86"/>
                    <a:pt x="12" y="84"/>
                  </a:cubicBezTo>
                  <a:cubicBezTo>
                    <a:pt x="12" y="84"/>
                    <a:pt x="12" y="83"/>
                    <a:pt x="11" y="83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8" y="79"/>
                    <a:pt x="20" y="79"/>
                    <a:pt x="22" y="77"/>
                  </a:cubicBezTo>
                  <a:cubicBezTo>
                    <a:pt x="22" y="77"/>
                    <a:pt x="22" y="76"/>
                    <a:pt x="22" y="76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8"/>
                    <a:pt x="31" y="79"/>
                    <a:pt x="33" y="79"/>
                  </a:cubicBezTo>
                  <a:cubicBezTo>
                    <a:pt x="34" y="78"/>
                    <a:pt x="34" y="78"/>
                    <a:pt x="35" y="78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8" y="85"/>
                    <a:pt x="39" y="87"/>
                    <a:pt x="41" y="88"/>
                  </a:cubicBezTo>
                  <a:cubicBezTo>
                    <a:pt x="41" y="89"/>
                    <a:pt x="42" y="89"/>
                    <a:pt x="42" y="89"/>
                  </a:cubicBezTo>
                  <a:lnTo>
                    <a:pt x="47" y="90"/>
                  </a:lnTo>
                  <a:close/>
                  <a:moveTo>
                    <a:pt x="116" y="81"/>
                  </a:moveTo>
                  <a:cubicBezTo>
                    <a:pt x="116" y="81"/>
                    <a:pt x="116" y="81"/>
                    <a:pt x="116" y="8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8" y="80"/>
                    <a:pt x="107" y="79"/>
                    <a:pt x="107" y="78"/>
                  </a:cubicBezTo>
                  <a:cubicBezTo>
                    <a:pt x="107" y="77"/>
                    <a:pt x="107" y="77"/>
                    <a:pt x="108" y="76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117" y="75"/>
                    <a:pt x="117" y="74"/>
                    <a:pt x="117" y="73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1"/>
                    <a:pt x="117" y="0"/>
                    <a:pt x="11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4"/>
                    <a:pt x="1" y="75"/>
                    <a:pt x="2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4" y="78"/>
                    <a:pt x="4" y="79"/>
                    <a:pt x="4" y="8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7"/>
                    <a:pt x="0" y="87"/>
                    <a:pt x="0" y="8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7"/>
                    <a:pt x="1" y="98"/>
                    <a:pt x="2" y="98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106"/>
                    <a:pt x="4" y="107"/>
                    <a:pt x="5" y="107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1" y="114"/>
                    <a:pt x="12" y="114"/>
                    <a:pt x="13" y="113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0" y="117"/>
                    <a:pt x="21" y="118"/>
                    <a:pt x="22" y="118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30" y="118"/>
                    <a:pt x="31" y="117"/>
                    <a:pt x="31" y="116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39" y="114"/>
                    <a:pt x="40" y="114"/>
                    <a:pt x="41" y="113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7" y="107"/>
                    <a:pt x="47" y="106"/>
                    <a:pt x="47" y="105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0" y="98"/>
                    <a:pt x="51" y="97"/>
                    <a:pt x="51" y="96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87"/>
                    <a:pt x="50" y="87"/>
                    <a:pt x="49" y="86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79"/>
                    <a:pt x="47" y="78"/>
                    <a:pt x="46" y="77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7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1" y="89"/>
                    <a:pt x="62" y="90"/>
                    <a:pt x="61" y="91"/>
                  </a:cubicBezTo>
                  <a:cubicBezTo>
                    <a:pt x="61" y="91"/>
                    <a:pt x="61" y="92"/>
                    <a:pt x="61" y="92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8"/>
                    <a:pt x="53" y="99"/>
                    <a:pt x="54" y="100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2" y="110"/>
                    <a:pt x="63" y="110"/>
                    <a:pt x="64" y="109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71" y="104"/>
                    <a:pt x="72" y="104"/>
                    <a:pt x="73" y="105"/>
                  </a:cubicBezTo>
                  <a:cubicBezTo>
                    <a:pt x="73" y="106"/>
                    <a:pt x="73" y="106"/>
                    <a:pt x="73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5"/>
                    <a:pt x="73" y="116"/>
                    <a:pt x="74" y="116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85" y="118"/>
                    <a:pt x="85" y="118"/>
                    <a:pt x="86" y="118"/>
                  </a:cubicBezTo>
                  <a:cubicBezTo>
                    <a:pt x="87" y="118"/>
                    <a:pt x="87" y="117"/>
                    <a:pt x="87" y="116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89" y="108"/>
                    <a:pt x="90" y="107"/>
                    <a:pt x="91" y="107"/>
                  </a:cubicBezTo>
                  <a:cubicBezTo>
                    <a:pt x="91" y="107"/>
                    <a:pt x="92" y="108"/>
                    <a:pt x="92" y="108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5"/>
                    <a:pt x="99" y="115"/>
                    <a:pt x="99" y="114"/>
                  </a:cubicBezTo>
                  <a:cubicBezTo>
                    <a:pt x="109" y="107"/>
                    <a:pt x="109" y="107"/>
                    <a:pt x="109" y="107"/>
                  </a:cubicBezTo>
                  <a:cubicBezTo>
                    <a:pt x="110" y="107"/>
                    <a:pt x="110" y="106"/>
                    <a:pt x="109" y="105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4" y="98"/>
                    <a:pt x="104" y="96"/>
                    <a:pt x="105" y="96"/>
                  </a:cubicBezTo>
                  <a:cubicBezTo>
                    <a:pt x="105" y="95"/>
                    <a:pt x="106" y="95"/>
                    <a:pt x="106" y="95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5" y="97"/>
                    <a:pt x="116" y="96"/>
                    <a:pt x="116" y="95"/>
                  </a:cubicBezTo>
                  <a:cubicBezTo>
                    <a:pt x="118" y="83"/>
                    <a:pt x="118" y="83"/>
                    <a:pt x="118" y="83"/>
                  </a:cubicBezTo>
                  <a:cubicBezTo>
                    <a:pt x="118" y="82"/>
                    <a:pt x="117" y="81"/>
                    <a:pt x="116" y="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26">
              <a:extLst>
                <a:ext uri="{FF2B5EF4-FFF2-40B4-BE49-F238E27FC236}">
                  <a16:creationId xmlns:a16="http://schemas.microsoft.com/office/drawing/2014/main" id="{BF5D6619-C64A-49CB-A1BA-7F70EB0B4C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" y="2131"/>
              <a:ext cx="59" cy="62"/>
            </a:xfrm>
            <a:custGeom>
              <a:avLst/>
              <a:gdLst>
                <a:gd name="T0" fmla="*/ 11 w 23"/>
                <a:gd name="T1" fmla="*/ 20 h 24"/>
                <a:gd name="T2" fmla="*/ 4 w 23"/>
                <a:gd name="T3" fmla="*/ 12 h 24"/>
                <a:gd name="T4" fmla="*/ 11 w 23"/>
                <a:gd name="T5" fmla="*/ 4 h 24"/>
                <a:gd name="T6" fmla="*/ 19 w 23"/>
                <a:gd name="T7" fmla="*/ 12 h 24"/>
                <a:gd name="T8" fmla="*/ 11 w 23"/>
                <a:gd name="T9" fmla="*/ 20 h 24"/>
                <a:gd name="T10" fmla="*/ 11 w 23"/>
                <a:gd name="T11" fmla="*/ 0 h 24"/>
                <a:gd name="T12" fmla="*/ 0 w 23"/>
                <a:gd name="T13" fmla="*/ 12 h 24"/>
                <a:gd name="T14" fmla="*/ 11 w 23"/>
                <a:gd name="T15" fmla="*/ 24 h 24"/>
                <a:gd name="T16" fmla="*/ 23 w 23"/>
                <a:gd name="T17" fmla="*/ 12 h 24"/>
                <a:gd name="T18" fmla="*/ 11 w 23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11" y="20"/>
                  </a:moveTo>
                  <a:cubicBezTo>
                    <a:pt x="7" y="20"/>
                    <a:pt x="4" y="16"/>
                    <a:pt x="4" y="12"/>
                  </a:cubicBezTo>
                  <a:cubicBezTo>
                    <a:pt x="4" y="8"/>
                    <a:pt x="7" y="4"/>
                    <a:pt x="11" y="4"/>
                  </a:cubicBezTo>
                  <a:cubicBezTo>
                    <a:pt x="16" y="4"/>
                    <a:pt x="19" y="8"/>
                    <a:pt x="19" y="12"/>
                  </a:cubicBezTo>
                  <a:cubicBezTo>
                    <a:pt x="19" y="16"/>
                    <a:pt x="16" y="20"/>
                    <a:pt x="11" y="20"/>
                  </a:cubicBezTo>
                  <a:moveTo>
                    <a:pt x="11" y="0"/>
                  </a:move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4"/>
                    <a:pt x="11" y="24"/>
                  </a:cubicBezTo>
                  <a:cubicBezTo>
                    <a:pt x="18" y="24"/>
                    <a:pt x="23" y="19"/>
                    <a:pt x="23" y="12"/>
                  </a:cubicBezTo>
                  <a:cubicBezTo>
                    <a:pt x="23" y="6"/>
                    <a:pt x="18" y="0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7">
              <a:extLst>
                <a:ext uri="{FF2B5EF4-FFF2-40B4-BE49-F238E27FC236}">
                  <a16:creationId xmlns:a16="http://schemas.microsoft.com/office/drawing/2014/main" id="{C5C22220-19CC-4E94-8E90-C7143233F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2" y="2103"/>
              <a:ext cx="79" cy="79"/>
            </a:xfrm>
            <a:custGeom>
              <a:avLst/>
              <a:gdLst>
                <a:gd name="T0" fmla="*/ 15 w 31"/>
                <a:gd name="T1" fmla="*/ 27 h 31"/>
                <a:gd name="T2" fmla="*/ 3 w 31"/>
                <a:gd name="T3" fmla="*/ 15 h 31"/>
                <a:gd name="T4" fmla="*/ 15 w 31"/>
                <a:gd name="T5" fmla="*/ 4 h 31"/>
                <a:gd name="T6" fmla="*/ 27 w 31"/>
                <a:gd name="T7" fmla="*/ 15 h 31"/>
                <a:gd name="T8" fmla="*/ 15 w 31"/>
                <a:gd name="T9" fmla="*/ 27 h 31"/>
                <a:gd name="T10" fmla="*/ 15 w 31"/>
                <a:gd name="T11" fmla="*/ 0 h 31"/>
                <a:gd name="T12" fmla="*/ 0 w 31"/>
                <a:gd name="T13" fmla="*/ 15 h 31"/>
                <a:gd name="T14" fmla="*/ 15 w 31"/>
                <a:gd name="T15" fmla="*/ 31 h 31"/>
                <a:gd name="T16" fmla="*/ 31 w 31"/>
                <a:gd name="T17" fmla="*/ 15 h 31"/>
                <a:gd name="T18" fmla="*/ 15 w 3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5" y="27"/>
                  </a:moveTo>
                  <a:cubicBezTo>
                    <a:pt x="9" y="27"/>
                    <a:pt x="3" y="22"/>
                    <a:pt x="3" y="15"/>
                  </a:cubicBezTo>
                  <a:cubicBezTo>
                    <a:pt x="3" y="9"/>
                    <a:pt x="9" y="4"/>
                    <a:pt x="15" y="4"/>
                  </a:cubicBezTo>
                  <a:cubicBezTo>
                    <a:pt x="22" y="4"/>
                    <a:pt x="27" y="9"/>
                    <a:pt x="27" y="15"/>
                  </a:cubicBezTo>
                  <a:cubicBezTo>
                    <a:pt x="27" y="22"/>
                    <a:pt x="22" y="27"/>
                    <a:pt x="15" y="27"/>
                  </a:cubicBezTo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24" y="31"/>
                    <a:pt x="31" y="24"/>
                    <a:pt x="31" y="15"/>
                  </a:cubicBezTo>
                  <a:cubicBezTo>
                    <a:pt x="31" y="7"/>
                    <a:pt x="24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8">
              <a:extLst>
                <a:ext uri="{FF2B5EF4-FFF2-40B4-BE49-F238E27FC236}">
                  <a16:creationId xmlns:a16="http://schemas.microsoft.com/office/drawing/2014/main" id="{E5993BC7-16E7-4ABC-97CB-E038D6FA9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" y="1942"/>
              <a:ext cx="151" cy="100"/>
            </a:xfrm>
            <a:custGeom>
              <a:avLst/>
              <a:gdLst>
                <a:gd name="T0" fmla="*/ 58 w 59"/>
                <a:gd name="T1" fmla="*/ 2 h 39"/>
                <a:gd name="T2" fmla="*/ 48 w 59"/>
                <a:gd name="T3" fmla="*/ 0 h 39"/>
                <a:gd name="T4" fmla="*/ 47 w 59"/>
                <a:gd name="T5" fmla="*/ 4 h 39"/>
                <a:gd name="T6" fmla="*/ 52 w 59"/>
                <a:gd name="T7" fmla="*/ 5 h 39"/>
                <a:gd name="T8" fmla="*/ 0 w 59"/>
                <a:gd name="T9" fmla="*/ 36 h 39"/>
                <a:gd name="T10" fmla="*/ 2 w 59"/>
                <a:gd name="T11" fmla="*/ 39 h 39"/>
                <a:gd name="T12" fmla="*/ 55 w 59"/>
                <a:gd name="T13" fmla="*/ 8 h 39"/>
                <a:gd name="T14" fmla="*/ 53 w 59"/>
                <a:gd name="T15" fmla="*/ 14 h 39"/>
                <a:gd name="T16" fmla="*/ 57 w 59"/>
                <a:gd name="T17" fmla="*/ 14 h 39"/>
                <a:gd name="T18" fmla="*/ 59 w 59"/>
                <a:gd name="T19" fmla="*/ 5 h 39"/>
                <a:gd name="T20" fmla="*/ 58 w 59"/>
                <a:gd name="T21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39">
                  <a:moveTo>
                    <a:pt x="58" y="2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3"/>
                    <a:pt x="59" y="2"/>
                    <a:pt x="58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Rectangle 229">
              <a:extLst>
                <a:ext uri="{FF2B5EF4-FFF2-40B4-BE49-F238E27FC236}">
                  <a16:creationId xmlns:a16="http://schemas.microsoft.com/office/drawing/2014/main" id="{E0AF18AB-FB18-4BC5-B13B-29AE4DC7D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" y="2062"/>
              <a:ext cx="10" cy="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230">
              <a:extLst>
                <a:ext uri="{FF2B5EF4-FFF2-40B4-BE49-F238E27FC236}">
                  <a16:creationId xmlns:a16="http://schemas.microsoft.com/office/drawing/2014/main" id="{B6FBF442-B1AA-4D8A-BABC-801154F05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" y="2042"/>
              <a:ext cx="10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231">
              <a:extLst>
                <a:ext uri="{FF2B5EF4-FFF2-40B4-BE49-F238E27FC236}">
                  <a16:creationId xmlns:a16="http://schemas.microsoft.com/office/drawing/2014/main" id="{03A63DC6-4FCD-4A73-9B5F-3DFE80316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7" y="1993"/>
              <a:ext cx="10" cy="7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232">
              <a:extLst>
                <a:ext uri="{FF2B5EF4-FFF2-40B4-BE49-F238E27FC236}">
                  <a16:creationId xmlns:a16="http://schemas.microsoft.com/office/drawing/2014/main" id="{B772BDEA-1D4C-437F-BAE6-F66559B20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7" y="1972"/>
              <a:ext cx="10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233">
              <a:extLst>
                <a:ext uri="{FF2B5EF4-FFF2-40B4-BE49-F238E27FC236}">
                  <a16:creationId xmlns:a16="http://schemas.microsoft.com/office/drawing/2014/main" id="{1C49869E-CE52-4499-9DC7-40DE4CC17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213"/>
              <a:ext cx="11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34">
              <a:extLst>
                <a:ext uri="{FF2B5EF4-FFF2-40B4-BE49-F238E27FC236}">
                  <a16:creationId xmlns:a16="http://schemas.microsoft.com/office/drawing/2014/main" id="{3C0CC7A0-4935-4B71-BCC9-FEFD35E31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1" y="2213"/>
              <a:ext cx="10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235">
              <a:extLst>
                <a:ext uri="{FF2B5EF4-FFF2-40B4-BE49-F238E27FC236}">
                  <a16:creationId xmlns:a16="http://schemas.microsoft.com/office/drawing/2014/main" id="{83F2E392-1D5C-49B0-B7D9-471A472928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1" y="2213"/>
              <a:ext cx="11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8" name="Group 238">
            <a:extLst>
              <a:ext uri="{FF2B5EF4-FFF2-40B4-BE49-F238E27FC236}">
                <a16:creationId xmlns:a16="http://schemas.microsoft.com/office/drawing/2014/main" id="{190FA201-85CB-459F-B618-AEBF93F496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88038" y="2804884"/>
            <a:ext cx="758825" cy="758825"/>
            <a:chOff x="3709" y="1815"/>
            <a:chExt cx="478" cy="478"/>
          </a:xfrm>
        </p:grpSpPr>
        <p:sp>
          <p:nvSpPr>
            <p:cNvPr id="269" name="AutoShape 237">
              <a:extLst>
                <a:ext uri="{FF2B5EF4-FFF2-40B4-BE49-F238E27FC236}">
                  <a16:creationId xmlns:a16="http://schemas.microsoft.com/office/drawing/2014/main" id="{C410FE96-A0CC-478E-ABC1-E0A9DAF5FE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09" y="181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39">
              <a:extLst>
                <a:ext uri="{FF2B5EF4-FFF2-40B4-BE49-F238E27FC236}">
                  <a16:creationId xmlns:a16="http://schemas.microsoft.com/office/drawing/2014/main" id="{DE1E6EC3-D7AA-4826-8BB6-36E42FA43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1" y="181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40">
              <a:extLst>
                <a:ext uri="{FF2B5EF4-FFF2-40B4-BE49-F238E27FC236}">
                  <a16:creationId xmlns:a16="http://schemas.microsoft.com/office/drawing/2014/main" id="{FD553D93-7210-4A72-9B4D-420913BF57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5" y="1920"/>
              <a:ext cx="289" cy="290"/>
            </a:xfrm>
            <a:custGeom>
              <a:avLst/>
              <a:gdLst>
                <a:gd name="T0" fmla="*/ 101 w 118"/>
                <a:gd name="T1" fmla="*/ 101 h 118"/>
                <a:gd name="T2" fmla="*/ 87 w 118"/>
                <a:gd name="T3" fmla="*/ 104 h 118"/>
                <a:gd name="T4" fmla="*/ 77 w 118"/>
                <a:gd name="T5" fmla="*/ 107 h 118"/>
                <a:gd name="T6" fmla="*/ 58 w 118"/>
                <a:gd name="T7" fmla="*/ 99 h 118"/>
                <a:gd name="T8" fmla="*/ 55 w 118"/>
                <a:gd name="T9" fmla="*/ 84 h 118"/>
                <a:gd name="T10" fmla="*/ 67 w 118"/>
                <a:gd name="T11" fmla="*/ 68 h 118"/>
                <a:gd name="T12" fmla="*/ 81 w 118"/>
                <a:gd name="T13" fmla="*/ 64 h 118"/>
                <a:gd name="T14" fmla="*/ 91 w 118"/>
                <a:gd name="T15" fmla="*/ 62 h 118"/>
                <a:gd name="T16" fmla="*/ 110 w 118"/>
                <a:gd name="T17" fmla="*/ 70 h 118"/>
                <a:gd name="T18" fmla="*/ 114 w 118"/>
                <a:gd name="T19" fmla="*/ 85 h 118"/>
                <a:gd name="T20" fmla="*/ 45 w 118"/>
                <a:gd name="T21" fmla="*/ 45 h 118"/>
                <a:gd name="T22" fmla="*/ 72 w 118"/>
                <a:gd name="T23" fmla="*/ 56 h 118"/>
                <a:gd name="T24" fmla="*/ 65 w 118"/>
                <a:gd name="T25" fmla="*/ 30 h 118"/>
                <a:gd name="T26" fmla="*/ 84 w 118"/>
                <a:gd name="T27" fmla="*/ 51 h 118"/>
                <a:gd name="T28" fmla="*/ 41 w 118"/>
                <a:gd name="T29" fmla="*/ 43 h 118"/>
                <a:gd name="T30" fmla="*/ 35 w 118"/>
                <a:gd name="T31" fmla="*/ 49 h 118"/>
                <a:gd name="T32" fmla="*/ 20 w 118"/>
                <a:gd name="T33" fmla="*/ 68 h 118"/>
                <a:gd name="T34" fmla="*/ 12 w 118"/>
                <a:gd name="T35" fmla="*/ 71 h 118"/>
                <a:gd name="T36" fmla="*/ 114 w 118"/>
                <a:gd name="T37" fmla="*/ 68 h 118"/>
                <a:gd name="T38" fmla="*/ 96 w 118"/>
                <a:gd name="T39" fmla="*/ 64 h 118"/>
                <a:gd name="T40" fmla="*/ 96 w 118"/>
                <a:gd name="T41" fmla="*/ 18 h 118"/>
                <a:gd name="T42" fmla="*/ 80 w 118"/>
                <a:gd name="T43" fmla="*/ 56 h 118"/>
                <a:gd name="T44" fmla="*/ 76 w 118"/>
                <a:gd name="T45" fmla="*/ 28 h 118"/>
                <a:gd name="T46" fmla="*/ 61 w 118"/>
                <a:gd name="T47" fmla="*/ 60 h 118"/>
                <a:gd name="T48" fmla="*/ 63 w 118"/>
                <a:gd name="T49" fmla="*/ 73 h 118"/>
                <a:gd name="T50" fmla="*/ 55 w 118"/>
                <a:gd name="T51" fmla="*/ 41 h 118"/>
                <a:gd name="T52" fmla="*/ 31 w 118"/>
                <a:gd name="T53" fmla="*/ 68 h 118"/>
                <a:gd name="T54" fmla="*/ 33 w 118"/>
                <a:gd name="T55" fmla="*/ 53 h 118"/>
                <a:gd name="T56" fmla="*/ 47 w 118"/>
                <a:gd name="T57" fmla="*/ 95 h 118"/>
                <a:gd name="T58" fmla="*/ 43 w 118"/>
                <a:gd name="T59" fmla="*/ 106 h 118"/>
                <a:gd name="T60" fmla="*/ 29 w 118"/>
                <a:gd name="T61" fmla="*/ 109 h 118"/>
                <a:gd name="T62" fmla="*/ 18 w 118"/>
                <a:gd name="T63" fmla="*/ 106 h 118"/>
                <a:gd name="T64" fmla="*/ 11 w 118"/>
                <a:gd name="T65" fmla="*/ 102 h 118"/>
                <a:gd name="T66" fmla="*/ 4 w 118"/>
                <a:gd name="T67" fmla="*/ 90 h 118"/>
                <a:gd name="T68" fmla="*/ 8 w 118"/>
                <a:gd name="T69" fmla="*/ 79 h 118"/>
                <a:gd name="T70" fmla="*/ 22 w 118"/>
                <a:gd name="T71" fmla="*/ 76 h 118"/>
                <a:gd name="T72" fmla="*/ 33 w 118"/>
                <a:gd name="T73" fmla="*/ 79 h 118"/>
                <a:gd name="T74" fmla="*/ 40 w 118"/>
                <a:gd name="T75" fmla="*/ 83 h 118"/>
                <a:gd name="T76" fmla="*/ 116 w 118"/>
                <a:gd name="T77" fmla="*/ 81 h 118"/>
                <a:gd name="T78" fmla="*/ 107 w 118"/>
                <a:gd name="T79" fmla="*/ 78 h 118"/>
                <a:gd name="T80" fmla="*/ 117 w 118"/>
                <a:gd name="T81" fmla="*/ 73 h 118"/>
                <a:gd name="T82" fmla="*/ 0 w 118"/>
                <a:gd name="T83" fmla="*/ 2 h 118"/>
                <a:gd name="T84" fmla="*/ 5 w 118"/>
                <a:gd name="T85" fmla="*/ 77 h 118"/>
                <a:gd name="T86" fmla="*/ 0 w 118"/>
                <a:gd name="T87" fmla="*/ 88 h 118"/>
                <a:gd name="T88" fmla="*/ 4 w 118"/>
                <a:gd name="T89" fmla="*/ 105 h 118"/>
                <a:gd name="T90" fmla="*/ 18 w 118"/>
                <a:gd name="T91" fmla="*/ 110 h 118"/>
                <a:gd name="T92" fmla="*/ 31 w 118"/>
                <a:gd name="T93" fmla="*/ 116 h 118"/>
                <a:gd name="T94" fmla="*/ 46 w 118"/>
                <a:gd name="T95" fmla="*/ 107 h 118"/>
                <a:gd name="T96" fmla="*/ 51 w 118"/>
                <a:gd name="T97" fmla="*/ 96 h 118"/>
                <a:gd name="T98" fmla="*/ 47 w 118"/>
                <a:gd name="T99" fmla="*/ 80 h 118"/>
                <a:gd name="T100" fmla="*/ 50 w 118"/>
                <a:gd name="T101" fmla="*/ 85 h 118"/>
                <a:gd name="T102" fmla="*/ 61 w 118"/>
                <a:gd name="T103" fmla="*/ 91 h 118"/>
                <a:gd name="T104" fmla="*/ 61 w 118"/>
                <a:gd name="T105" fmla="*/ 109 h 118"/>
                <a:gd name="T106" fmla="*/ 73 w 118"/>
                <a:gd name="T107" fmla="*/ 107 h 118"/>
                <a:gd name="T108" fmla="*/ 85 w 118"/>
                <a:gd name="T109" fmla="*/ 118 h 118"/>
                <a:gd name="T110" fmla="*/ 91 w 118"/>
                <a:gd name="T111" fmla="*/ 107 h 118"/>
                <a:gd name="T112" fmla="*/ 109 w 118"/>
                <a:gd name="T113" fmla="*/ 107 h 118"/>
                <a:gd name="T114" fmla="*/ 106 w 118"/>
                <a:gd name="T115" fmla="*/ 95 h 118"/>
                <a:gd name="T116" fmla="*/ 116 w 118"/>
                <a:gd name="T117" fmla="*/ 8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" h="118">
                  <a:moveTo>
                    <a:pt x="113" y="92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104" y="91"/>
                    <a:pt x="101" y="93"/>
                    <a:pt x="100" y="97"/>
                  </a:cubicBezTo>
                  <a:cubicBezTo>
                    <a:pt x="100" y="98"/>
                    <a:pt x="101" y="100"/>
                    <a:pt x="101" y="101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99" y="110"/>
                    <a:pt x="99" y="110"/>
                    <a:pt x="99" y="110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93" y="103"/>
                    <a:pt x="90" y="102"/>
                    <a:pt x="87" y="104"/>
                  </a:cubicBezTo>
                  <a:cubicBezTo>
                    <a:pt x="86" y="105"/>
                    <a:pt x="85" y="107"/>
                    <a:pt x="85" y="108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7" y="104"/>
                    <a:pt x="75" y="101"/>
                    <a:pt x="72" y="101"/>
                  </a:cubicBezTo>
                  <a:cubicBezTo>
                    <a:pt x="70" y="100"/>
                    <a:pt x="69" y="101"/>
                    <a:pt x="68" y="102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6" y="93"/>
                    <a:pt x="66" y="90"/>
                    <a:pt x="64" y="87"/>
                  </a:cubicBezTo>
                  <a:cubicBezTo>
                    <a:pt x="63" y="86"/>
                    <a:pt x="62" y="85"/>
                    <a:pt x="60" y="85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5" y="78"/>
                    <a:pt x="68" y="75"/>
                    <a:pt x="68" y="72"/>
                  </a:cubicBezTo>
                  <a:cubicBezTo>
                    <a:pt x="68" y="71"/>
                    <a:pt x="68" y="69"/>
                    <a:pt x="67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5" y="66"/>
                    <a:pt x="79" y="66"/>
                    <a:pt x="81" y="64"/>
                  </a:cubicBezTo>
                  <a:cubicBezTo>
                    <a:pt x="83" y="63"/>
                    <a:pt x="83" y="62"/>
                    <a:pt x="84" y="60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5"/>
                    <a:pt x="93" y="68"/>
                    <a:pt x="96" y="68"/>
                  </a:cubicBezTo>
                  <a:cubicBezTo>
                    <a:pt x="98" y="68"/>
                    <a:pt x="99" y="68"/>
                    <a:pt x="101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3" y="75"/>
                    <a:pt x="102" y="79"/>
                    <a:pt x="104" y="82"/>
                  </a:cubicBezTo>
                  <a:cubicBezTo>
                    <a:pt x="105" y="83"/>
                    <a:pt x="107" y="84"/>
                    <a:pt x="108" y="84"/>
                  </a:cubicBezTo>
                  <a:cubicBezTo>
                    <a:pt x="114" y="85"/>
                    <a:pt x="114" y="85"/>
                    <a:pt x="114" y="85"/>
                  </a:cubicBezTo>
                  <a:lnTo>
                    <a:pt x="113" y="92"/>
                  </a:lnTo>
                  <a:close/>
                  <a:moveTo>
                    <a:pt x="53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53" y="45"/>
                    <a:pt x="53" y="45"/>
                    <a:pt x="53" y="45"/>
                  </a:cubicBezTo>
                  <a:lnTo>
                    <a:pt x="53" y="71"/>
                  </a:lnTo>
                  <a:close/>
                  <a:moveTo>
                    <a:pt x="72" y="30"/>
                  </a:move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4"/>
                    <a:pt x="70" y="54"/>
                    <a:pt x="69" y="54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30"/>
                    <a:pt x="65" y="30"/>
                    <a:pt x="65" y="30"/>
                  </a:cubicBezTo>
                  <a:lnTo>
                    <a:pt x="72" y="30"/>
                  </a:lnTo>
                  <a:close/>
                  <a:moveTo>
                    <a:pt x="92" y="20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20"/>
                    <a:pt x="84" y="20"/>
                    <a:pt x="84" y="20"/>
                  </a:cubicBezTo>
                  <a:lnTo>
                    <a:pt x="92" y="20"/>
                  </a:lnTo>
                  <a:close/>
                  <a:moveTo>
                    <a:pt x="43" y="41"/>
                  </a:moveTo>
                  <a:cubicBezTo>
                    <a:pt x="42" y="41"/>
                    <a:pt x="41" y="42"/>
                    <a:pt x="41" y="43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0"/>
                    <a:pt x="36" y="49"/>
                    <a:pt x="35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2" y="49"/>
                    <a:pt x="22" y="50"/>
                    <a:pt x="22" y="51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7"/>
                    <a:pt x="20" y="67"/>
                    <a:pt x="20" y="68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2" y="71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68"/>
                    <a:pt x="114" y="68"/>
                    <a:pt x="114" y="68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59"/>
                    <a:pt x="105" y="59"/>
                    <a:pt x="105" y="59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97" y="65"/>
                    <a:pt x="96" y="64"/>
                    <a:pt x="96" y="64"/>
                  </a:cubicBezTo>
                  <a:cubicBezTo>
                    <a:pt x="95" y="63"/>
                    <a:pt x="95" y="63"/>
                    <a:pt x="95" y="62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6" y="18"/>
                    <a:pt x="96" y="18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1" y="16"/>
                    <a:pt x="80" y="17"/>
                    <a:pt x="80" y="18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1"/>
                    <a:pt x="79" y="62"/>
                    <a:pt x="78" y="62"/>
                  </a:cubicBezTo>
                  <a:cubicBezTo>
                    <a:pt x="77" y="62"/>
                    <a:pt x="77" y="61"/>
                    <a:pt x="76" y="61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7"/>
                    <a:pt x="75" y="26"/>
                    <a:pt x="7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1" y="27"/>
                    <a:pt x="61" y="28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59" y="62"/>
                    <a:pt x="58" y="63"/>
                    <a:pt x="59" y="64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1"/>
                    <a:pt x="64" y="72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2"/>
                    <a:pt x="56" y="41"/>
                    <a:pt x="55" y="41"/>
                  </a:cubicBezTo>
                  <a:lnTo>
                    <a:pt x="43" y="41"/>
                  </a:lnTo>
                  <a:close/>
                  <a:moveTo>
                    <a:pt x="34" y="74"/>
                  </a:moveTo>
                  <a:cubicBezTo>
                    <a:pt x="33" y="75"/>
                    <a:pt x="33" y="75"/>
                    <a:pt x="33" y="75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7"/>
                    <a:pt x="30" y="67"/>
                    <a:pt x="29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3" y="73"/>
                    <a:pt x="34" y="74"/>
                    <a:pt x="34" y="74"/>
                  </a:cubicBezTo>
                  <a:moveTo>
                    <a:pt x="47" y="90"/>
                  </a:moveTo>
                  <a:cubicBezTo>
                    <a:pt x="47" y="95"/>
                    <a:pt x="47" y="95"/>
                    <a:pt x="47" y="95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0" y="96"/>
                    <a:pt x="39" y="98"/>
                    <a:pt x="39" y="100"/>
                  </a:cubicBezTo>
                  <a:cubicBezTo>
                    <a:pt x="39" y="101"/>
                    <a:pt x="39" y="101"/>
                    <a:pt x="40" y="102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3" y="105"/>
                    <a:pt x="31" y="106"/>
                    <a:pt x="29" y="107"/>
                  </a:cubicBezTo>
                  <a:cubicBezTo>
                    <a:pt x="29" y="108"/>
                    <a:pt x="29" y="108"/>
                    <a:pt x="29" y="109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7"/>
                    <a:pt x="20" y="105"/>
                    <a:pt x="18" y="106"/>
                  </a:cubicBezTo>
                  <a:cubicBezTo>
                    <a:pt x="17" y="106"/>
                    <a:pt x="17" y="106"/>
                    <a:pt x="16" y="106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3" y="100"/>
                    <a:pt x="12" y="97"/>
                    <a:pt x="10" y="96"/>
                  </a:cubicBezTo>
                  <a:cubicBezTo>
                    <a:pt x="10" y="96"/>
                    <a:pt x="9" y="96"/>
                    <a:pt x="9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11" y="88"/>
                    <a:pt x="12" y="86"/>
                    <a:pt x="12" y="84"/>
                  </a:cubicBezTo>
                  <a:cubicBezTo>
                    <a:pt x="12" y="84"/>
                    <a:pt x="12" y="83"/>
                    <a:pt x="11" y="83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8" y="79"/>
                    <a:pt x="20" y="79"/>
                    <a:pt x="22" y="77"/>
                  </a:cubicBezTo>
                  <a:cubicBezTo>
                    <a:pt x="22" y="77"/>
                    <a:pt x="22" y="76"/>
                    <a:pt x="22" y="76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8"/>
                    <a:pt x="31" y="79"/>
                    <a:pt x="33" y="79"/>
                  </a:cubicBezTo>
                  <a:cubicBezTo>
                    <a:pt x="34" y="78"/>
                    <a:pt x="34" y="78"/>
                    <a:pt x="35" y="78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8" y="85"/>
                    <a:pt x="39" y="87"/>
                    <a:pt x="41" y="88"/>
                  </a:cubicBezTo>
                  <a:cubicBezTo>
                    <a:pt x="41" y="89"/>
                    <a:pt x="42" y="89"/>
                    <a:pt x="42" y="89"/>
                  </a:cubicBezTo>
                  <a:lnTo>
                    <a:pt x="47" y="90"/>
                  </a:lnTo>
                  <a:close/>
                  <a:moveTo>
                    <a:pt x="116" y="81"/>
                  </a:moveTo>
                  <a:cubicBezTo>
                    <a:pt x="116" y="81"/>
                    <a:pt x="116" y="81"/>
                    <a:pt x="116" y="8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8" y="80"/>
                    <a:pt x="107" y="79"/>
                    <a:pt x="107" y="78"/>
                  </a:cubicBezTo>
                  <a:cubicBezTo>
                    <a:pt x="107" y="77"/>
                    <a:pt x="107" y="77"/>
                    <a:pt x="108" y="76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117" y="75"/>
                    <a:pt x="117" y="74"/>
                    <a:pt x="117" y="73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1"/>
                    <a:pt x="117" y="0"/>
                    <a:pt x="11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4"/>
                    <a:pt x="1" y="75"/>
                    <a:pt x="2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4" y="78"/>
                    <a:pt x="4" y="79"/>
                    <a:pt x="4" y="8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7"/>
                    <a:pt x="0" y="87"/>
                    <a:pt x="0" y="8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7"/>
                    <a:pt x="1" y="98"/>
                    <a:pt x="2" y="98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106"/>
                    <a:pt x="4" y="107"/>
                    <a:pt x="5" y="107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1" y="114"/>
                    <a:pt x="12" y="114"/>
                    <a:pt x="13" y="113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0" y="117"/>
                    <a:pt x="21" y="118"/>
                    <a:pt x="22" y="118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30" y="118"/>
                    <a:pt x="31" y="117"/>
                    <a:pt x="31" y="116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39" y="114"/>
                    <a:pt x="40" y="114"/>
                    <a:pt x="41" y="113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7" y="107"/>
                    <a:pt x="47" y="106"/>
                    <a:pt x="47" y="105"/>
                  </a:cubicBezTo>
                  <a:cubicBezTo>
                    <a:pt x="43" y="99"/>
                    <a:pt x="43" y="99"/>
                    <a:pt x="43" y="9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0" y="98"/>
                    <a:pt x="51" y="97"/>
                    <a:pt x="51" y="96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87"/>
                    <a:pt x="50" y="87"/>
                    <a:pt x="49" y="86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79"/>
                    <a:pt x="47" y="78"/>
                    <a:pt x="46" y="77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7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1" y="89"/>
                    <a:pt x="62" y="90"/>
                    <a:pt x="61" y="91"/>
                  </a:cubicBezTo>
                  <a:cubicBezTo>
                    <a:pt x="61" y="91"/>
                    <a:pt x="61" y="92"/>
                    <a:pt x="61" y="92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8"/>
                    <a:pt x="53" y="99"/>
                    <a:pt x="54" y="100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2" y="110"/>
                    <a:pt x="63" y="110"/>
                    <a:pt x="64" y="109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71" y="104"/>
                    <a:pt x="72" y="104"/>
                    <a:pt x="73" y="105"/>
                  </a:cubicBezTo>
                  <a:cubicBezTo>
                    <a:pt x="73" y="106"/>
                    <a:pt x="73" y="106"/>
                    <a:pt x="73" y="107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5"/>
                    <a:pt x="73" y="116"/>
                    <a:pt x="74" y="116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85" y="118"/>
                    <a:pt x="85" y="118"/>
                    <a:pt x="86" y="118"/>
                  </a:cubicBezTo>
                  <a:cubicBezTo>
                    <a:pt x="87" y="118"/>
                    <a:pt x="87" y="117"/>
                    <a:pt x="87" y="116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89" y="108"/>
                    <a:pt x="90" y="107"/>
                    <a:pt x="91" y="107"/>
                  </a:cubicBezTo>
                  <a:cubicBezTo>
                    <a:pt x="91" y="107"/>
                    <a:pt x="92" y="108"/>
                    <a:pt x="92" y="108"/>
                  </a:cubicBezTo>
                  <a:cubicBezTo>
                    <a:pt x="97" y="114"/>
                    <a:pt x="97" y="114"/>
                    <a:pt x="97" y="114"/>
                  </a:cubicBezTo>
                  <a:cubicBezTo>
                    <a:pt x="97" y="115"/>
                    <a:pt x="99" y="115"/>
                    <a:pt x="99" y="114"/>
                  </a:cubicBezTo>
                  <a:cubicBezTo>
                    <a:pt x="109" y="107"/>
                    <a:pt x="109" y="107"/>
                    <a:pt x="109" y="107"/>
                  </a:cubicBezTo>
                  <a:cubicBezTo>
                    <a:pt x="110" y="107"/>
                    <a:pt x="110" y="106"/>
                    <a:pt x="109" y="105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4" y="98"/>
                    <a:pt x="104" y="96"/>
                    <a:pt x="105" y="96"/>
                  </a:cubicBezTo>
                  <a:cubicBezTo>
                    <a:pt x="105" y="95"/>
                    <a:pt x="106" y="95"/>
                    <a:pt x="106" y="95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5" y="97"/>
                    <a:pt x="116" y="96"/>
                    <a:pt x="116" y="95"/>
                  </a:cubicBezTo>
                  <a:cubicBezTo>
                    <a:pt x="118" y="83"/>
                    <a:pt x="118" y="83"/>
                    <a:pt x="118" y="83"/>
                  </a:cubicBezTo>
                  <a:cubicBezTo>
                    <a:pt x="118" y="82"/>
                    <a:pt x="117" y="81"/>
                    <a:pt x="116" y="8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41">
              <a:extLst>
                <a:ext uri="{FF2B5EF4-FFF2-40B4-BE49-F238E27FC236}">
                  <a16:creationId xmlns:a16="http://schemas.microsoft.com/office/drawing/2014/main" id="{B3C94986-A670-46DA-ACD1-6A42F998D1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9" y="2117"/>
              <a:ext cx="56" cy="58"/>
            </a:xfrm>
            <a:custGeom>
              <a:avLst/>
              <a:gdLst>
                <a:gd name="T0" fmla="*/ 11 w 23"/>
                <a:gd name="T1" fmla="*/ 20 h 24"/>
                <a:gd name="T2" fmla="*/ 4 w 23"/>
                <a:gd name="T3" fmla="*/ 12 h 24"/>
                <a:gd name="T4" fmla="*/ 11 w 23"/>
                <a:gd name="T5" fmla="*/ 4 h 24"/>
                <a:gd name="T6" fmla="*/ 19 w 23"/>
                <a:gd name="T7" fmla="*/ 12 h 24"/>
                <a:gd name="T8" fmla="*/ 11 w 23"/>
                <a:gd name="T9" fmla="*/ 20 h 24"/>
                <a:gd name="T10" fmla="*/ 11 w 23"/>
                <a:gd name="T11" fmla="*/ 0 h 24"/>
                <a:gd name="T12" fmla="*/ 0 w 23"/>
                <a:gd name="T13" fmla="*/ 12 h 24"/>
                <a:gd name="T14" fmla="*/ 11 w 23"/>
                <a:gd name="T15" fmla="*/ 24 h 24"/>
                <a:gd name="T16" fmla="*/ 23 w 23"/>
                <a:gd name="T17" fmla="*/ 12 h 24"/>
                <a:gd name="T18" fmla="*/ 11 w 23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11" y="20"/>
                  </a:moveTo>
                  <a:cubicBezTo>
                    <a:pt x="7" y="20"/>
                    <a:pt x="4" y="16"/>
                    <a:pt x="4" y="12"/>
                  </a:cubicBezTo>
                  <a:cubicBezTo>
                    <a:pt x="4" y="8"/>
                    <a:pt x="7" y="4"/>
                    <a:pt x="11" y="4"/>
                  </a:cubicBezTo>
                  <a:cubicBezTo>
                    <a:pt x="16" y="4"/>
                    <a:pt x="19" y="8"/>
                    <a:pt x="19" y="12"/>
                  </a:cubicBezTo>
                  <a:cubicBezTo>
                    <a:pt x="19" y="16"/>
                    <a:pt x="16" y="20"/>
                    <a:pt x="11" y="20"/>
                  </a:cubicBezTo>
                  <a:moveTo>
                    <a:pt x="11" y="0"/>
                  </a:moveTo>
                  <a:cubicBezTo>
                    <a:pt x="5" y="0"/>
                    <a:pt x="0" y="6"/>
                    <a:pt x="0" y="12"/>
                  </a:cubicBezTo>
                  <a:cubicBezTo>
                    <a:pt x="0" y="19"/>
                    <a:pt x="5" y="24"/>
                    <a:pt x="11" y="24"/>
                  </a:cubicBezTo>
                  <a:cubicBezTo>
                    <a:pt x="18" y="24"/>
                    <a:pt x="23" y="19"/>
                    <a:pt x="23" y="12"/>
                  </a:cubicBezTo>
                  <a:cubicBezTo>
                    <a:pt x="23" y="6"/>
                    <a:pt x="18" y="0"/>
                    <a:pt x="1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42">
              <a:extLst>
                <a:ext uri="{FF2B5EF4-FFF2-40B4-BE49-F238E27FC236}">
                  <a16:creationId xmlns:a16="http://schemas.microsoft.com/office/drawing/2014/main" id="{BF236E9A-B241-4BE9-9FC5-D26D6D0B5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4" y="2090"/>
              <a:ext cx="76" cy="76"/>
            </a:xfrm>
            <a:custGeom>
              <a:avLst/>
              <a:gdLst>
                <a:gd name="T0" fmla="*/ 15 w 31"/>
                <a:gd name="T1" fmla="*/ 27 h 31"/>
                <a:gd name="T2" fmla="*/ 3 w 31"/>
                <a:gd name="T3" fmla="*/ 15 h 31"/>
                <a:gd name="T4" fmla="*/ 15 w 31"/>
                <a:gd name="T5" fmla="*/ 4 h 31"/>
                <a:gd name="T6" fmla="*/ 27 w 31"/>
                <a:gd name="T7" fmla="*/ 15 h 31"/>
                <a:gd name="T8" fmla="*/ 15 w 31"/>
                <a:gd name="T9" fmla="*/ 27 h 31"/>
                <a:gd name="T10" fmla="*/ 15 w 31"/>
                <a:gd name="T11" fmla="*/ 0 h 31"/>
                <a:gd name="T12" fmla="*/ 0 w 31"/>
                <a:gd name="T13" fmla="*/ 15 h 31"/>
                <a:gd name="T14" fmla="*/ 15 w 31"/>
                <a:gd name="T15" fmla="*/ 31 h 31"/>
                <a:gd name="T16" fmla="*/ 31 w 31"/>
                <a:gd name="T17" fmla="*/ 15 h 31"/>
                <a:gd name="T18" fmla="*/ 15 w 3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5" y="27"/>
                  </a:moveTo>
                  <a:cubicBezTo>
                    <a:pt x="9" y="27"/>
                    <a:pt x="3" y="22"/>
                    <a:pt x="3" y="15"/>
                  </a:cubicBezTo>
                  <a:cubicBezTo>
                    <a:pt x="3" y="9"/>
                    <a:pt x="9" y="4"/>
                    <a:pt x="15" y="4"/>
                  </a:cubicBezTo>
                  <a:cubicBezTo>
                    <a:pt x="22" y="4"/>
                    <a:pt x="27" y="9"/>
                    <a:pt x="27" y="15"/>
                  </a:cubicBezTo>
                  <a:cubicBezTo>
                    <a:pt x="27" y="22"/>
                    <a:pt x="22" y="27"/>
                    <a:pt x="15" y="27"/>
                  </a:cubicBezTo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24" y="31"/>
                    <a:pt x="31" y="24"/>
                    <a:pt x="31" y="15"/>
                  </a:cubicBezTo>
                  <a:cubicBezTo>
                    <a:pt x="31" y="7"/>
                    <a:pt x="24" y="0"/>
                    <a:pt x="1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3">
              <a:extLst>
                <a:ext uri="{FF2B5EF4-FFF2-40B4-BE49-F238E27FC236}">
                  <a16:creationId xmlns:a16="http://schemas.microsoft.com/office/drawing/2014/main" id="{EF8C1199-A627-4F17-88EC-3B7CC9BCE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6" y="1935"/>
              <a:ext cx="145" cy="96"/>
            </a:xfrm>
            <a:custGeom>
              <a:avLst/>
              <a:gdLst>
                <a:gd name="T0" fmla="*/ 58 w 59"/>
                <a:gd name="T1" fmla="*/ 2 h 39"/>
                <a:gd name="T2" fmla="*/ 48 w 59"/>
                <a:gd name="T3" fmla="*/ 0 h 39"/>
                <a:gd name="T4" fmla="*/ 47 w 59"/>
                <a:gd name="T5" fmla="*/ 4 h 39"/>
                <a:gd name="T6" fmla="*/ 52 w 59"/>
                <a:gd name="T7" fmla="*/ 5 h 39"/>
                <a:gd name="T8" fmla="*/ 0 w 59"/>
                <a:gd name="T9" fmla="*/ 36 h 39"/>
                <a:gd name="T10" fmla="*/ 2 w 59"/>
                <a:gd name="T11" fmla="*/ 39 h 39"/>
                <a:gd name="T12" fmla="*/ 55 w 59"/>
                <a:gd name="T13" fmla="*/ 8 h 39"/>
                <a:gd name="T14" fmla="*/ 53 w 59"/>
                <a:gd name="T15" fmla="*/ 14 h 39"/>
                <a:gd name="T16" fmla="*/ 57 w 59"/>
                <a:gd name="T17" fmla="*/ 14 h 39"/>
                <a:gd name="T18" fmla="*/ 59 w 59"/>
                <a:gd name="T19" fmla="*/ 5 h 39"/>
                <a:gd name="T20" fmla="*/ 58 w 59"/>
                <a:gd name="T21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39">
                  <a:moveTo>
                    <a:pt x="58" y="2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3"/>
                    <a:pt x="59" y="2"/>
                    <a:pt x="58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Rectangle 244">
              <a:extLst>
                <a:ext uri="{FF2B5EF4-FFF2-40B4-BE49-F238E27FC236}">
                  <a16:creationId xmlns:a16="http://schemas.microsoft.com/office/drawing/2014/main" id="{704DBC30-E922-4E83-9533-621ACB330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050"/>
              <a:ext cx="10" cy="3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Rectangle 245">
              <a:extLst>
                <a:ext uri="{FF2B5EF4-FFF2-40B4-BE49-F238E27FC236}">
                  <a16:creationId xmlns:a16="http://schemas.microsoft.com/office/drawing/2014/main" id="{D3D4B6EB-5148-48C0-AFFF-04B02FA4D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031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246">
              <a:extLst>
                <a:ext uri="{FF2B5EF4-FFF2-40B4-BE49-F238E27FC236}">
                  <a16:creationId xmlns:a16="http://schemas.microsoft.com/office/drawing/2014/main" id="{3EC36E85-30DE-4D08-BC8D-1CEB6A77D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984"/>
              <a:ext cx="10" cy="7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Rectangle 247">
              <a:extLst>
                <a:ext uri="{FF2B5EF4-FFF2-40B4-BE49-F238E27FC236}">
                  <a16:creationId xmlns:a16="http://schemas.microsoft.com/office/drawing/2014/main" id="{D9E1A6FA-3A53-4DBF-98D0-489301F39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965"/>
              <a:ext cx="10" cy="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248">
              <a:extLst>
                <a:ext uri="{FF2B5EF4-FFF2-40B4-BE49-F238E27FC236}">
                  <a16:creationId xmlns:a16="http://schemas.microsoft.com/office/drawing/2014/main" id="{982F7C63-220C-4EBB-BDDC-DDFE53941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5" y="2195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Rectangle 249">
              <a:extLst>
                <a:ext uri="{FF2B5EF4-FFF2-40B4-BE49-F238E27FC236}">
                  <a16:creationId xmlns:a16="http://schemas.microsoft.com/office/drawing/2014/main" id="{DFA8E4E0-8D14-4292-9BE5-7D65B33DFC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5" y="2195"/>
              <a:ext cx="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Rectangle 250">
              <a:extLst>
                <a:ext uri="{FF2B5EF4-FFF2-40B4-BE49-F238E27FC236}">
                  <a16:creationId xmlns:a16="http://schemas.microsoft.com/office/drawing/2014/main" id="{0DF7D422-AE5F-4C5A-BC78-19351D237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" y="2195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253">
            <a:extLst>
              <a:ext uri="{FF2B5EF4-FFF2-40B4-BE49-F238E27FC236}">
                <a16:creationId xmlns:a16="http://schemas.microsoft.com/office/drawing/2014/main" id="{C4310B9B-E796-4002-9248-7954CC5479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9925" y="2763609"/>
            <a:ext cx="841375" cy="841375"/>
            <a:chOff x="4422" y="1773"/>
            <a:chExt cx="530" cy="530"/>
          </a:xfrm>
        </p:grpSpPr>
        <p:sp>
          <p:nvSpPr>
            <p:cNvPr id="283" name="AutoShape 252">
              <a:extLst>
                <a:ext uri="{FF2B5EF4-FFF2-40B4-BE49-F238E27FC236}">
                  <a16:creationId xmlns:a16="http://schemas.microsoft.com/office/drawing/2014/main" id="{2CD9BD4A-A5C6-4FDA-92D6-C163297FFA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2" y="177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254">
              <a:extLst>
                <a:ext uri="{FF2B5EF4-FFF2-40B4-BE49-F238E27FC236}">
                  <a16:creationId xmlns:a16="http://schemas.microsoft.com/office/drawing/2014/main" id="{FD887484-30E0-4250-B950-64DF29A82A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" y="177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55">
              <a:extLst>
                <a:ext uri="{FF2B5EF4-FFF2-40B4-BE49-F238E27FC236}">
                  <a16:creationId xmlns:a16="http://schemas.microsoft.com/office/drawing/2014/main" id="{E6B04520-8743-4ACB-8065-F094983FF1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0" y="179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56">
              <a:extLst>
                <a:ext uri="{FF2B5EF4-FFF2-40B4-BE49-F238E27FC236}">
                  <a16:creationId xmlns:a16="http://schemas.microsoft.com/office/drawing/2014/main" id="{D07E8C35-973B-41AD-B33E-8C016B8C0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" y="1878"/>
              <a:ext cx="230" cy="322"/>
            </a:xfrm>
            <a:custGeom>
              <a:avLst/>
              <a:gdLst>
                <a:gd name="T0" fmla="*/ 28 w 230"/>
                <a:gd name="T1" fmla="*/ 143 h 322"/>
                <a:gd name="T2" fmla="*/ 33 w 230"/>
                <a:gd name="T3" fmla="*/ 166 h 322"/>
                <a:gd name="T4" fmla="*/ 41 w 230"/>
                <a:gd name="T5" fmla="*/ 164 h 322"/>
                <a:gd name="T6" fmla="*/ 36 w 230"/>
                <a:gd name="T7" fmla="*/ 138 h 322"/>
                <a:gd name="T8" fmla="*/ 28 w 230"/>
                <a:gd name="T9" fmla="*/ 102 h 322"/>
                <a:gd name="T10" fmla="*/ 31 w 230"/>
                <a:gd name="T11" fmla="*/ 128 h 322"/>
                <a:gd name="T12" fmla="*/ 38 w 230"/>
                <a:gd name="T13" fmla="*/ 125 h 322"/>
                <a:gd name="T14" fmla="*/ 38 w 230"/>
                <a:gd name="T15" fmla="*/ 100 h 322"/>
                <a:gd name="T16" fmla="*/ 31 w 230"/>
                <a:gd name="T17" fmla="*/ 64 h 322"/>
                <a:gd name="T18" fmla="*/ 31 w 230"/>
                <a:gd name="T19" fmla="*/ 89 h 322"/>
                <a:gd name="T20" fmla="*/ 38 w 230"/>
                <a:gd name="T21" fmla="*/ 89 h 322"/>
                <a:gd name="T22" fmla="*/ 38 w 230"/>
                <a:gd name="T23" fmla="*/ 64 h 322"/>
                <a:gd name="T24" fmla="*/ 33 w 230"/>
                <a:gd name="T25" fmla="*/ 23 h 322"/>
                <a:gd name="T26" fmla="*/ 28 w 230"/>
                <a:gd name="T27" fmla="*/ 49 h 322"/>
                <a:gd name="T28" fmla="*/ 36 w 230"/>
                <a:gd name="T29" fmla="*/ 51 h 322"/>
                <a:gd name="T30" fmla="*/ 41 w 230"/>
                <a:gd name="T31" fmla="*/ 28 h 322"/>
                <a:gd name="T32" fmla="*/ 107 w 230"/>
                <a:gd name="T33" fmla="*/ 33 h 322"/>
                <a:gd name="T34" fmla="*/ 79 w 230"/>
                <a:gd name="T35" fmla="*/ 25 h 322"/>
                <a:gd name="T36" fmla="*/ 79 w 230"/>
                <a:gd name="T37" fmla="*/ 56 h 322"/>
                <a:gd name="T38" fmla="*/ 110 w 230"/>
                <a:gd name="T39" fmla="*/ 59 h 322"/>
                <a:gd name="T40" fmla="*/ 118 w 230"/>
                <a:gd name="T41" fmla="*/ 31 h 322"/>
                <a:gd name="T42" fmla="*/ 110 w 230"/>
                <a:gd name="T43" fmla="*/ 20 h 322"/>
                <a:gd name="T44" fmla="*/ 69 w 230"/>
                <a:gd name="T45" fmla="*/ 215 h 322"/>
                <a:gd name="T46" fmla="*/ 79 w 230"/>
                <a:gd name="T47" fmla="*/ 223 h 322"/>
                <a:gd name="T48" fmla="*/ 51 w 230"/>
                <a:gd name="T49" fmla="*/ 197 h 322"/>
                <a:gd name="T50" fmla="*/ 72 w 230"/>
                <a:gd name="T51" fmla="*/ 200 h 322"/>
                <a:gd name="T52" fmla="*/ 154 w 230"/>
                <a:gd name="T53" fmla="*/ 105 h 322"/>
                <a:gd name="T54" fmla="*/ 210 w 230"/>
                <a:gd name="T55" fmla="*/ 174 h 322"/>
                <a:gd name="T56" fmla="*/ 218 w 230"/>
                <a:gd name="T57" fmla="*/ 205 h 322"/>
                <a:gd name="T58" fmla="*/ 92 w 230"/>
                <a:gd name="T59" fmla="*/ 284 h 322"/>
                <a:gd name="T60" fmla="*/ 90 w 230"/>
                <a:gd name="T61" fmla="*/ 205 h 322"/>
                <a:gd name="T62" fmla="*/ 77 w 230"/>
                <a:gd name="T63" fmla="*/ 153 h 322"/>
                <a:gd name="T64" fmla="*/ 69 w 230"/>
                <a:gd name="T65" fmla="*/ 115 h 322"/>
                <a:gd name="T66" fmla="*/ 77 w 230"/>
                <a:gd name="T67" fmla="*/ 105 h 322"/>
                <a:gd name="T68" fmla="*/ 92 w 230"/>
                <a:gd name="T69" fmla="*/ 107 h 322"/>
                <a:gd name="T70" fmla="*/ 107 w 230"/>
                <a:gd name="T71" fmla="*/ 141 h 322"/>
                <a:gd name="T72" fmla="*/ 128 w 230"/>
                <a:gd name="T73" fmla="*/ 189 h 322"/>
                <a:gd name="T74" fmla="*/ 159 w 230"/>
                <a:gd name="T75" fmla="*/ 223 h 322"/>
                <a:gd name="T76" fmla="*/ 166 w 230"/>
                <a:gd name="T77" fmla="*/ 230 h 322"/>
                <a:gd name="T78" fmla="*/ 169 w 230"/>
                <a:gd name="T79" fmla="*/ 225 h 322"/>
                <a:gd name="T80" fmla="*/ 154 w 230"/>
                <a:gd name="T81" fmla="*/ 200 h 322"/>
                <a:gd name="T82" fmla="*/ 179 w 230"/>
                <a:gd name="T83" fmla="*/ 192 h 322"/>
                <a:gd name="T84" fmla="*/ 182 w 230"/>
                <a:gd name="T85" fmla="*/ 184 h 322"/>
                <a:gd name="T86" fmla="*/ 169 w 230"/>
                <a:gd name="T87" fmla="*/ 184 h 322"/>
                <a:gd name="T88" fmla="*/ 146 w 230"/>
                <a:gd name="T89" fmla="*/ 187 h 322"/>
                <a:gd name="T90" fmla="*/ 166 w 230"/>
                <a:gd name="T91" fmla="*/ 164 h 322"/>
                <a:gd name="T92" fmla="*/ 169 w 230"/>
                <a:gd name="T93" fmla="*/ 156 h 322"/>
                <a:gd name="T94" fmla="*/ 161 w 230"/>
                <a:gd name="T95" fmla="*/ 153 h 322"/>
                <a:gd name="T96" fmla="*/ 131 w 230"/>
                <a:gd name="T97" fmla="*/ 171 h 322"/>
                <a:gd name="T98" fmla="*/ 110 w 230"/>
                <a:gd name="T99" fmla="*/ 113 h 322"/>
                <a:gd name="T100" fmla="*/ 92 w 230"/>
                <a:gd name="T101" fmla="*/ 95 h 322"/>
                <a:gd name="T102" fmla="*/ 69 w 230"/>
                <a:gd name="T103" fmla="*/ 97 h 322"/>
                <a:gd name="T104" fmla="*/ 59 w 230"/>
                <a:gd name="T105" fmla="*/ 113 h 322"/>
                <a:gd name="T106" fmla="*/ 67 w 230"/>
                <a:gd name="T107" fmla="*/ 159 h 322"/>
                <a:gd name="T108" fmla="*/ 43 w 230"/>
                <a:gd name="T109" fmla="*/ 202 h 322"/>
                <a:gd name="T110" fmla="*/ 54 w 230"/>
                <a:gd name="T111" fmla="*/ 215 h 322"/>
                <a:gd name="T112" fmla="*/ 61 w 230"/>
                <a:gd name="T113" fmla="*/ 225 h 322"/>
                <a:gd name="T114" fmla="*/ 79 w 230"/>
                <a:gd name="T115" fmla="*/ 258 h 322"/>
                <a:gd name="T116" fmla="*/ 87 w 230"/>
                <a:gd name="T117" fmla="*/ 307 h 322"/>
                <a:gd name="T118" fmla="*/ 97 w 230"/>
                <a:gd name="T119" fmla="*/ 322 h 322"/>
                <a:gd name="T120" fmla="*/ 228 w 230"/>
                <a:gd name="T121" fmla="*/ 205 h 322"/>
                <a:gd name="T122" fmla="*/ 218 w 230"/>
                <a:gd name="T123" fmla="*/ 164 h 322"/>
                <a:gd name="T124" fmla="*/ 154 w 230"/>
                <a:gd name="T125" fmla="*/ 95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" h="322">
                  <a:moveTo>
                    <a:pt x="33" y="138"/>
                  </a:moveTo>
                  <a:lnTo>
                    <a:pt x="33" y="138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28" y="141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28" y="161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3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1"/>
                  </a:lnTo>
                  <a:lnTo>
                    <a:pt x="41" y="143"/>
                  </a:lnTo>
                  <a:lnTo>
                    <a:pt x="41" y="143"/>
                  </a:lnTo>
                  <a:lnTo>
                    <a:pt x="41" y="143"/>
                  </a:lnTo>
                  <a:lnTo>
                    <a:pt x="41" y="143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3" y="138"/>
                  </a:lnTo>
                  <a:lnTo>
                    <a:pt x="33" y="138"/>
                  </a:lnTo>
                  <a:close/>
                  <a:moveTo>
                    <a:pt x="33" y="100"/>
                  </a:move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1" y="100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28" y="102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23"/>
                  </a:lnTo>
                  <a:lnTo>
                    <a:pt x="28" y="123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3" y="100"/>
                  </a:lnTo>
                  <a:close/>
                  <a:moveTo>
                    <a:pt x="33" y="61"/>
                  </a:move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41" y="87"/>
                  </a:lnTo>
                  <a:lnTo>
                    <a:pt x="41" y="87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3" y="61"/>
                  </a:lnTo>
                  <a:lnTo>
                    <a:pt x="33" y="61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41" y="49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3" y="23"/>
                  </a:lnTo>
                  <a:close/>
                  <a:moveTo>
                    <a:pt x="90" y="33"/>
                  </a:moveTo>
                  <a:lnTo>
                    <a:pt x="107" y="33"/>
                  </a:lnTo>
                  <a:lnTo>
                    <a:pt x="107" y="49"/>
                  </a:lnTo>
                  <a:lnTo>
                    <a:pt x="90" y="49"/>
                  </a:lnTo>
                  <a:lnTo>
                    <a:pt x="90" y="33"/>
                  </a:lnTo>
                  <a:close/>
                  <a:moveTo>
                    <a:pt x="107" y="20"/>
                  </a:move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82" y="56"/>
                  </a:lnTo>
                  <a:lnTo>
                    <a:pt x="82" y="59"/>
                  </a:lnTo>
                  <a:lnTo>
                    <a:pt x="82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7" y="59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5" y="59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18" y="51"/>
                  </a:lnTo>
                  <a:lnTo>
                    <a:pt x="118" y="51"/>
                  </a:lnTo>
                  <a:lnTo>
                    <a:pt x="118" y="5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0" y="23"/>
                  </a:lnTo>
                  <a:lnTo>
                    <a:pt x="110" y="20"/>
                  </a:lnTo>
                  <a:lnTo>
                    <a:pt x="107" y="20"/>
                  </a:lnTo>
                  <a:lnTo>
                    <a:pt x="107" y="20"/>
                  </a:lnTo>
                  <a:close/>
                  <a:moveTo>
                    <a:pt x="77" y="223"/>
                  </a:moveTo>
                  <a:lnTo>
                    <a:pt x="74" y="223"/>
                  </a:lnTo>
                  <a:lnTo>
                    <a:pt x="74" y="223"/>
                  </a:lnTo>
                  <a:lnTo>
                    <a:pt x="74" y="223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69" y="220"/>
                  </a:lnTo>
                  <a:lnTo>
                    <a:pt x="69" y="218"/>
                  </a:lnTo>
                  <a:lnTo>
                    <a:pt x="69" y="218"/>
                  </a:lnTo>
                  <a:lnTo>
                    <a:pt x="69" y="218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72" y="215"/>
                  </a:lnTo>
                  <a:lnTo>
                    <a:pt x="74" y="212"/>
                  </a:lnTo>
                  <a:lnTo>
                    <a:pt x="74" y="212"/>
                  </a:lnTo>
                  <a:lnTo>
                    <a:pt x="77" y="212"/>
                  </a:lnTo>
                  <a:lnTo>
                    <a:pt x="77" y="210"/>
                  </a:lnTo>
                  <a:lnTo>
                    <a:pt x="79" y="210"/>
                  </a:lnTo>
                  <a:lnTo>
                    <a:pt x="79" y="207"/>
                  </a:lnTo>
                  <a:lnTo>
                    <a:pt x="79" y="212"/>
                  </a:lnTo>
                  <a:lnTo>
                    <a:pt x="79" y="215"/>
                  </a:lnTo>
                  <a:lnTo>
                    <a:pt x="79" y="218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7" y="223"/>
                  </a:lnTo>
                  <a:lnTo>
                    <a:pt x="77" y="223"/>
                  </a:lnTo>
                  <a:close/>
                  <a:moveTo>
                    <a:pt x="59" y="205"/>
                  </a:moveTo>
                  <a:lnTo>
                    <a:pt x="59" y="205"/>
                  </a:lnTo>
                  <a:lnTo>
                    <a:pt x="56" y="205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4" y="202"/>
                  </a:lnTo>
                  <a:lnTo>
                    <a:pt x="54" y="202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7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1" y="194"/>
                  </a:lnTo>
                  <a:lnTo>
                    <a:pt x="51" y="194"/>
                  </a:lnTo>
                  <a:lnTo>
                    <a:pt x="51" y="192"/>
                  </a:lnTo>
                  <a:lnTo>
                    <a:pt x="54" y="192"/>
                  </a:lnTo>
                  <a:lnTo>
                    <a:pt x="54" y="189"/>
                  </a:lnTo>
                  <a:lnTo>
                    <a:pt x="77" y="189"/>
                  </a:lnTo>
                  <a:lnTo>
                    <a:pt x="77" y="192"/>
                  </a:lnTo>
                  <a:lnTo>
                    <a:pt x="77" y="194"/>
                  </a:lnTo>
                  <a:lnTo>
                    <a:pt x="77" y="194"/>
                  </a:lnTo>
                  <a:lnTo>
                    <a:pt x="74" y="197"/>
                  </a:lnTo>
                  <a:lnTo>
                    <a:pt x="74" y="197"/>
                  </a:lnTo>
                  <a:lnTo>
                    <a:pt x="74" y="200"/>
                  </a:lnTo>
                  <a:lnTo>
                    <a:pt x="72" y="200"/>
                  </a:lnTo>
                  <a:lnTo>
                    <a:pt x="72" y="202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4" y="205"/>
                  </a:lnTo>
                  <a:lnTo>
                    <a:pt x="64" y="205"/>
                  </a:lnTo>
                  <a:lnTo>
                    <a:pt x="61" y="205"/>
                  </a:lnTo>
                  <a:lnTo>
                    <a:pt x="59" y="205"/>
                  </a:lnTo>
                  <a:close/>
                  <a:moveTo>
                    <a:pt x="146" y="105"/>
                  </a:moveTo>
                  <a:lnTo>
                    <a:pt x="148" y="105"/>
                  </a:lnTo>
                  <a:lnTo>
                    <a:pt x="151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6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64" y="107"/>
                  </a:lnTo>
                  <a:lnTo>
                    <a:pt x="166" y="110"/>
                  </a:lnTo>
                  <a:lnTo>
                    <a:pt x="166" y="110"/>
                  </a:lnTo>
                  <a:lnTo>
                    <a:pt x="169" y="113"/>
                  </a:lnTo>
                  <a:lnTo>
                    <a:pt x="169" y="115"/>
                  </a:lnTo>
                  <a:lnTo>
                    <a:pt x="172" y="115"/>
                  </a:lnTo>
                  <a:lnTo>
                    <a:pt x="172" y="118"/>
                  </a:lnTo>
                  <a:lnTo>
                    <a:pt x="210" y="171"/>
                  </a:lnTo>
                  <a:lnTo>
                    <a:pt x="210" y="174"/>
                  </a:lnTo>
                  <a:lnTo>
                    <a:pt x="212" y="177"/>
                  </a:lnTo>
                  <a:lnTo>
                    <a:pt x="212" y="179"/>
                  </a:lnTo>
                  <a:lnTo>
                    <a:pt x="215" y="179"/>
                  </a:lnTo>
                  <a:lnTo>
                    <a:pt x="215" y="182"/>
                  </a:lnTo>
                  <a:lnTo>
                    <a:pt x="215" y="184"/>
                  </a:lnTo>
                  <a:lnTo>
                    <a:pt x="218" y="187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18" y="197"/>
                  </a:lnTo>
                  <a:lnTo>
                    <a:pt x="218" y="200"/>
                  </a:lnTo>
                  <a:lnTo>
                    <a:pt x="218" y="202"/>
                  </a:lnTo>
                  <a:lnTo>
                    <a:pt x="218" y="205"/>
                  </a:lnTo>
                  <a:lnTo>
                    <a:pt x="218" y="207"/>
                  </a:lnTo>
                  <a:lnTo>
                    <a:pt x="189" y="312"/>
                  </a:lnTo>
                  <a:lnTo>
                    <a:pt x="102" y="312"/>
                  </a:lnTo>
                  <a:lnTo>
                    <a:pt x="100" y="310"/>
                  </a:lnTo>
                  <a:lnTo>
                    <a:pt x="100" y="307"/>
                  </a:lnTo>
                  <a:lnTo>
                    <a:pt x="97" y="305"/>
                  </a:lnTo>
                  <a:lnTo>
                    <a:pt x="97" y="302"/>
                  </a:lnTo>
                  <a:lnTo>
                    <a:pt x="95" y="299"/>
                  </a:lnTo>
                  <a:lnTo>
                    <a:pt x="95" y="297"/>
                  </a:lnTo>
                  <a:lnTo>
                    <a:pt x="95" y="294"/>
                  </a:lnTo>
                  <a:lnTo>
                    <a:pt x="92" y="292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2" y="284"/>
                  </a:lnTo>
                  <a:lnTo>
                    <a:pt x="92" y="282"/>
                  </a:lnTo>
                  <a:lnTo>
                    <a:pt x="90" y="276"/>
                  </a:lnTo>
                  <a:lnTo>
                    <a:pt x="90" y="271"/>
                  </a:lnTo>
                  <a:lnTo>
                    <a:pt x="90" y="266"/>
                  </a:lnTo>
                  <a:lnTo>
                    <a:pt x="90" y="261"/>
                  </a:lnTo>
                  <a:lnTo>
                    <a:pt x="90" y="256"/>
                  </a:lnTo>
                  <a:lnTo>
                    <a:pt x="90" y="251"/>
                  </a:lnTo>
                  <a:lnTo>
                    <a:pt x="90" y="241"/>
                  </a:lnTo>
                  <a:lnTo>
                    <a:pt x="92" y="228"/>
                  </a:lnTo>
                  <a:lnTo>
                    <a:pt x="92" y="223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2" y="207"/>
                  </a:lnTo>
                  <a:lnTo>
                    <a:pt x="90" y="205"/>
                  </a:lnTo>
                  <a:lnTo>
                    <a:pt x="90" y="202"/>
                  </a:lnTo>
                  <a:lnTo>
                    <a:pt x="90" y="200"/>
                  </a:lnTo>
                  <a:lnTo>
                    <a:pt x="90" y="197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87" y="189"/>
                  </a:lnTo>
                  <a:lnTo>
                    <a:pt x="87" y="187"/>
                  </a:lnTo>
                  <a:lnTo>
                    <a:pt x="87" y="182"/>
                  </a:lnTo>
                  <a:lnTo>
                    <a:pt x="84" y="179"/>
                  </a:lnTo>
                  <a:lnTo>
                    <a:pt x="84" y="177"/>
                  </a:lnTo>
                  <a:lnTo>
                    <a:pt x="84" y="171"/>
                  </a:lnTo>
                  <a:lnTo>
                    <a:pt x="82" y="166"/>
                  </a:lnTo>
                  <a:lnTo>
                    <a:pt x="79" y="159"/>
                  </a:lnTo>
                  <a:lnTo>
                    <a:pt x="77" y="153"/>
                  </a:lnTo>
                  <a:lnTo>
                    <a:pt x="74" y="146"/>
                  </a:lnTo>
                  <a:lnTo>
                    <a:pt x="74" y="143"/>
                  </a:lnTo>
                  <a:lnTo>
                    <a:pt x="72" y="141"/>
                  </a:lnTo>
                  <a:lnTo>
                    <a:pt x="72" y="138"/>
                  </a:lnTo>
                  <a:lnTo>
                    <a:pt x="72" y="133"/>
                  </a:lnTo>
                  <a:lnTo>
                    <a:pt x="69" y="133"/>
                  </a:lnTo>
                  <a:lnTo>
                    <a:pt x="69" y="130"/>
                  </a:lnTo>
                  <a:lnTo>
                    <a:pt x="69" y="128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9" y="123"/>
                  </a:lnTo>
                  <a:lnTo>
                    <a:pt x="69" y="120"/>
                  </a:lnTo>
                  <a:lnTo>
                    <a:pt x="69" y="118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72" y="113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07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77" y="105"/>
                  </a:lnTo>
                  <a:lnTo>
                    <a:pt x="77" y="105"/>
                  </a:lnTo>
                  <a:lnTo>
                    <a:pt x="77" y="105"/>
                  </a:lnTo>
                  <a:lnTo>
                    <a:pt x="79" y="105"/>
                  </a:lnTo>
                  <a:lnTo>
                    <a:pt x="79" y="105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4" y="105"/>
                  </a:lnTo>
                  <a:lnTo>
                    <a:pt x="84" y="105"/>
                  </a:lnTo>
                  <a:lnTo>
                    <a:pt x="84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2" y="110"/>
                  </a:lnTo>
                  <a:lnTo>
                    <a:pt x="95" y="110"/>
                  </a:lnTo>
                  <a:lnTo>
                    <a:pt x="97" y="113"/>
                  </a:lnTo>
                  <a:lnTo>
                    <a:pt x="97" y="115"/>
                  </a:lnTo>
                  <a:lnTo>
                    <a:pt x="100" y="115"/>
                  </a:lnTo>
                  <a:lnTo>
                    <a:pt x="100" y="118"/>
                  </a:lnTo>
                  <a:lnTo>
                    <a:pt x="100" y="120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5" y="125"/>
                  </a:lnTo>
                  <a:lnTo>
                    <a:pt x="105" y="130"/>
                  </a:lnTo>
                  <a:lnTo>
                    <a:pt x="105" y="133"/>
                  </a:lnTo>
                  <a:lnTo>
                    <a:pt x="107" y="136"/>
                  </a:lnTo>
                  <a:lnTo>
                    <a:pt x="107" y="141"/>
                  </a:lnTo>
                  <a:lnTo>
                    <a:pt x="110" y="146"/>
                  </a:lnTo>
                  <a:lnTo>
                    <a:pt x="113" y="159"/>
                  </a:lnTo>
                  <a:lnTo>
                    <a:pt x="115" y="164"/>
                  </a:lnTo>
                  <a:lnTo>
                    <a:pt x="118" y="169"/>
                  </a:lnTo>
                  <a:lnTo>
                    <a:pt x="118" y="171"/>
                  </a:lnTo>
                  <a:lnTo>
                    <a:pt x="120" y="174"/>
                  </a:lnTo>
                  <a:lnTo>
                    <a:pt x="120" y="177"/>
                  </a:lnTo>
                  <a:lnTo>
                    <a:pt x="120" y="179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5" y="184"/>
                  </a:lnTo>
                  <a:lnTo>
                    <a:pt x="125" y="187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31" y="192"/>
                  </a:lnTo>
                  <a:lnTo>
                    <a:pt x="131" y="194"/>
                  </a:lnTo>
                  <a:lnTo>
                    <a:pt x="133" y="197"/>
                  </a:lnTo>
                  <a:lnTo>
                    <a:pt x="138" y="200"/>
                  </a:lnTo>
                  <a:lnTo>
                    <a:pt x="141" y="205"/>
                  </a:lnTo>
                  <a:lnTo>
                    <a:pt x="143" y="207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51" y="215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6" y="220"/>
                  </a:lnTo>
                  <a:lnTo>
                    <a:pt x="156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61" y="228"/>
                  </a:lnTo>
                  <a:lnTo>
                    <a:pt x="161" y="230"/>
                  </a:lnTo>
                  <a:lnTo>
                    <a:pt x="161" y="230"/>
                  </a:lnTo>
                  <a:lnTo>
                    <a:pt x="161" y="230"/>
                  </a:lnTo>
                  <a:lnTo>
                    <a:pt x="161" y="230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66" y="230"/>
                  </a:lnTo>
                  <a:lnTo>
                    <a:pt x="166" y="230"/>
                  </a:lnTo>
                  <a:lnTo>
                    <a:pt x="166" y="230"/>
                  </a:lnTo>
                  <a:lnTo>
                    <a:pt x="166" y="230"/>
                  </a:lnTo>
                  <a:lnTo>
                    <a:pt x="166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8"/>
                  </a:lnTo>
                  <a:lnTo>
                    <a:pt x="169" y="228"/>
                  </a:lnTo>
                  <a:lnTo>
                    <a:pt x="169" y="228"/>
                  </a:lnTo>
                  <a:lnTo>
                    <a:pt x="169" y="228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69" y="220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5"/>
                  </a:lnTo>
                  <a:lnTo>
                    <a:pt x="164" y="215"/>
                  </a:lnTo>
                  <a:lnTo>
                    <a:pt x="164" y="212"/>
                  </a:lnTo>
                  <a:lnTo>
                    <a:pt x="161" y="210"/>
                  </a:lnTo>
                  <a:lnTo>
                    <a:pt x="159" y="207"/>
                  </a:lnTo>
                  <a:lnTo>
                    <a:pt x="156" y="205"/>
                  </a:lnTo>
                  <a:lnTo>
                    <a:pt x="154" y="202"/>
                  </a:lnTo>
                  <a:lnTo>
                    <a:pt x="154" y="200"/>
                  </a:lnTo>
                  <a:lnTo>
                    <a:pt x="156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4" y="197"/>
                  </a:lnTo>
                  <a:lnTo>
                    <a:pt x="169" y="194"/>
                  </a:lnTo>
                  <a:lnTo>
                    <a:pt x="172" y="194"/>
                  </a:lnTo>
                  <a:lnTo>
                    <a:pt x="174" y="194"/>
                  </a:lnTo>
                  <a:lnTo>
                    <a:pt x="177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82" y="192"/>
                  </a:lnTo>
                  <a:lnTo>
                    <a:pt x="182" y="192"/>
                  </a:lnTo>
                  <a:lnTo>
                    <a:pt x="182" y="189"/>
                  </a:lnTo>
                  <a:lnTo>
                    <a:pt x="182" y="189"/>
                  </a:lnTo>
                  <a:lnTo>
                    <a:pt x="182" y="189"/>
                  </a:lnTo>
                  <a:lnTo>
                    <a:pt x="182" y="189"/>
                  </a:lnTo>
                  <a:lnTo>
                    <a:pt x="182" y="187"/>
                  </a:lnTo>
                  <a:lnTo>
                    <a:pt x="182" y="187"/>
                  </a:lnTo>
                  <a:lnTo>
                    <a:pt x="182" y="187"/>
                  </a:lnTo>
                  <a:lnTo>
                    <a:pt x="182" y="187"/>
                  </a:lnTo>
                  <a:lnTo>
                    <a:pt x="182" y="187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79" y="184"/>
                  </a:lnTo>
                  <a:lnTo>
                    <a:pt x="179" y="182"/>
                  </a:lnTo>
                  <a:lnTo>
                    <a:pt x="179" y="182"/>
                  </a:lnTo>
                  <a:lnTo>
                    <a:pt x="179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4" y="182"/>
                  </a:lnTo>
                  <a:lnTo>
                    <a:pt x="172" y="182"/>
                  </a:lnTo>
                  <a:lnTo>
                    <a:pt x="169" y="182"/>
                  </a:lnTo>
                  <a:lnTo>
                    <a:pt x="169" y="184"/>
                  </a:lnTo>
                  <a:lnTo>
                    <a:pt x="166" y="184"/>
                  </a:lnTo>
                  <a:lnTo>
                    <a:pt x="164" y="184"/>
                  </a:lnTo>
                  <a:lnTo>
                    <a:pt x="161" y="184"/>
                  </a:lnTo>
                  <a:lnTo>
                    <a:pt x="161" y="187"/>
                  </a:lnTo>
                  <a:lnTo>
                    <a:pt x="159" y="187"/>
                  </a:lnTo>
                  <a:lnTo>
                    <a:pt x="156" y="187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51" y="189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6" y="194"/>
                  </a:lnTo>
                  <a:lnTo>
                    <a:pt x="146" y="189"/>
                  </a:lnTo>
                  <a:lnTo>
                    <a:pt x="146" y="187"/>
                  </a:lnTo>
                  <a:lnTo>
                    <a:pt x="146" y="184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48" y="179"/>
                  </a:lnTo>
                  <a:lnTo>
                    <a:pt x="148" y="177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4" y="171"/>
                  </a:lnTo>
                  <a:lnTo>
                    <a:pt x="156" y="171"/>
                  </a:lnTo>
                  <a:lnTo>
                    <a:pt x="156" y="169"/>
                  </a:lnTo>
                  <a:lnTo>
                    <a:pt x="159" y="166"/>
                  </a:lnTo>
                  <a:lnTo>
                    <a:pt x="161" y="166"/>
                  </a:lnTo>
                  <a:lnTo>
                    <a:pt x="164" y="164"/>
                  </a:lnTo>
                  <a:lnTo>
                    <a:pt x="166" y="164"/>
                  </a:lnTo>
                  <a:lnTo>
                    <a:pt x="166" y="164"/>
                  </a:lnTo>
                  <a:lnTo>
                    <a:pt x="166" y="164"/>
                  </a:lnTo>
                  <a:lnTo>
                    <a:pt x="166" y="161"/>
                  </a:lnTo>
                  <a:lnTo>
                    <a:pt x="166" y="16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59"/>
                  </a:lnTo>
                  <a:lnTo>
                    <a:pt x="169" y="159"/>
                  </a:lnTo>
                  <a:lnTo>
                    <a:pt x="169" y="159"/>
                  </a:lnTo>
                  <a:lnTo>
                    <a:pt x="169" y="159"/>
                  </a:lnTo>
                  <a:lnTo>
                    <a:pt x="169" y="156"/>
                  </a:lnTo>
                  <a:lnTo>
                    <a:pt x="169" y="156"/>
                  </a:lnTo>
                  <a:lnTo>
                    <a:pt x="169" y="156"/>
                  </a:lnTo>
                  <a:lnTo>
                    <a:pt x="169" y="156"/>
                  </a:lnTo>
                  <a:lnTo>
                    <a:pt x="166" y="156"/>
                  </a:lnTo>
                  <a:lnTo>
                    <a:pt x="166" y="153"/>
                  </a:lnTo>
                  <a:lnTo>
                    <a:pt x="166" y="153"/>
                  </a:lnTo>
                  <a:lnTo>
                    <a:pt x="166" y="153"/>
                  </a:lnTo>
                  <a:lnTo>
                    <a:pt x="166" y="153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56" y="156"/>
                  </a:lnTo>
                  <a:lnTo>
                    <a:pt x="154" y="156"/>
                  </a:lnTo>
                  <a:lnTo>
                    <a:pt x="154" y="159"/>
                  </a:lnTo>
                  <a:lnTo>
                    <a:pt x="151" y="159"/>
                  </a:lnTo>
                  <a:lnTo>
                    <a:pt x="148" y="161"/>
                  </a:lnTo>
                  <a:lnTo>
                    <a:pt x="148" y="161"/>
                  </a:lnTo>
                  <a:lnTo>
                    <a:pt x="146" y="164"/>
                  </a:lnTo>
                  <a:lnTo>
                    <a:pt x="146" y="105"/>
                  </a:lnTo>
                  <a:close/>
                  <a:moveTo>
                    <a:pt x="13" y="10"/>
                  </a:moveTo>
                  <a:lnTo>
                    <a:pt x="136" y="10"/>
                  </a:lnTo>
                  <a:lnTo>
                    <a:pt x="136" y="179"/>
                  </a:lnTo>
                  <a:lnTo>
                    <a:pt x="133" y="177"/>
                  </a:lnTo>
                  <a:lnTo>
                    <a:pt x="131" y="174"/>
                  </a:lnTo>
                  <a:lnTo>
                    <a:pt x="131" y="171"/>
                  </a:lnTo>
                  <a:lnTo>
                    <a:pt x="131" y="169"/>
                  </a:lnTo>
                  <a:lnTo>
                    <a:pt x="128" y="169"/>
                  </a:lnTo>
                  <a:lnTo>
                    <a:pt x="128" y="166"/>
                  </a:lnTo>
                  <a:lnTo>
                    <a:pt x="125" y="161"/>
                  </a:lnTo>
                  <a:lnTo>
                    <a:pt x="125" y="153"/>
                  </a:lnTo>
                  <a:lnTo>
                    <a:pt x="120" y="143"/>
                  </a:lnTo>
                  <a:lnTo>
                    <a:pt x="120" y="136"/>
                  </a:lnTo>
                  <a:lnTo>
                    <a:pt x="118" y="130"/>
                  </a:lnTo>
                  <a:lnTo>
                    <a:pt x="115" y="128"/>
                  </a:lnTo>
                  <a:lnTo>
                    <a:pt x="115" y="125"/>
                  </a:lnTo>
                  <a:lnTo>
                    <a:pt x="115" y="123"/>
                  </a:lnTo>
                  <a:lnTo>
                    <a:pt x="113" y="120"/>
                  </a:lnTo>
                  <a:lnTo>
                    <a:pt x="113" y="115"/>
                  </a:lnTo>
                  <a:lnTo>
                    <a:pt x="110" y="113"/>
                  </a:lnTo>
                  <a:lnTo>
                    <a:pt x="107" y="110"/>
                  </a:lnTo>
                  <a:lnTo>
                    <a:pt x="107" y="107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7" y="100"/>
                  </a:lnTo>
                  <a:lnTo>
                    <a:pt x="97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87" y="95"/>
                  </a:lnTo>
                  <a:lnTo>
                    <a:pt x="87" y="92"/>
                  </a:lnTo>
                  <a:lnTo>
                    <a:pt x="84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79" y="95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4" y="95"/>
                  </a:lnTo>
                  <a:lnTo>
                    <a:pt x="72" y="95"/>
                  </a:lnTo>
                  <a:lnTo>
                    <a:pt x="72" y="97"/>
                  </a:lnTo>
                  <a:lnTo>
                    <a:pt x="69" y="97"/>
                  </a:lnTo>
                  <a:lnTo>
                    <a:pt x="69" y="97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3"/>
                  </a:lnTo>
                  <a:lnTo>
                    <a:pt x="59" y="113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6" y="118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5"/>
                  </a:lnTo>
                  <a:lnTo>
                    <a:pt x="59" y="128"/>
                  </a:lnTo>
                  <a:lnTo>
                    <a:pt x="59" y="130"/>
                  </a:lnTo>
                  <a:lnTo>
                    <a:pt x="59" y="133"/>
                  </a:lnTo>
                  <a:lnTo>
                    <a:pt x="59" y="136"/>
                  </a:lnTo>
                  <a:lnTo>
                    <a:pt x="61" y="141"/>
                  </a:lnTo>
                  <a:lnTo>
                    <a:pt x="64" y="148"/>
                  </a:lnTo>
                  <a:lnTo>
                    <a:pt x="64" y="153"/>
                  </a:lnTo>
                  <a:lnTo>
                    <a:pt x="67" y="159"/>
                  </a:lnTo>
                  <a:lnTo>
                    <a:pt x="69" y="169"/>
                  </a:lnTo>
                  <a:lnTo>
                    <a:pt x="72" y="174"/>
                  </a:lnTo>
                  <a:lnTo>
                    <a:pt x="74" y="179"/>
                  </a:lnTo>
                  <a:lnTo>
                    <a:pt x="13" y="179"/>
                  </a:lnTo>
                  <a:lnTo>
                    <a:pt x="13" y="10"/>
                  </a:lnTo>
                  <a:close/>
                  <a:moveTo>
                    <a:pt x="0" y="0"/>
                  </a:moveTo>
                  <a:lnTo>
                    <a:pt x="0" y="189"/>
                  </a:lnTo>
                  <a:lnTo>
                    <a:pt x="41" y="189"/>
                  </a:lnTo>
                  <a:lnTo>
                    <a:pt x="41" y="192"/>
                  </a:lnTo>
                  <a:lnTo>
                    <a:pt x="41" y="194"/>
                  </a:lnTo>
                  <a:lnTo>
                    <a:pt x="41" y="197"/>
                  </a:lnTo>
                  <a:lnTo>
                    <a:pt x="41" y="200"/>
                  </a:lnTo>
                  <a:lnTo>
                    <a:pt x="41" y="202"/>
                  </a:lnTo>
                  <a:lnTo>
                    <a:pt x="43" y="202"/>
                  </a:lnTo>
                  <a:lnTo>
                    <a:pt x="43" y="205"/>
                  </a:lnTo>
                  <a:lnTo>
                    <a:pt x="43" y="207"/>
                  </a:lnTo>
                  <a:lnTo>
                    <a:pt x="46" y="207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9" y="210"/>
                  </a:lnTo>
                  <a:lnTo>
                    <a:pt x="49" y="212"/>
                  </a:lnTo>
                  <a:lnTo>
                    <a:pt x="49" y="212"/>
                  </a:lnTo>
                  <a:lnTo>
                    <a:pt x="51" y="212"/>
                  </a:lnTo>
                  <a:lnTo>
                    <a:pt x="51" y="212"/>
                  </a:lnTo>
                  <a:lnTo>
                    <a:pt x="51" y="215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6" y="215"/>
                  </a:lnTo>
                  <a:lnTo>
                    <a:pt x="56" y="215"/>
                  </a:lnTo>
                  <a:lnTo>
                    <a:pt x="56" y="218"/>
                  </a:lnTo>
                  <a:lnTo>
                    <a:pt x="56" y="218"/>
                  </a:lnTo>
                  <a:lnTo>
                    <a:pt x="59" y="218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4" y="228"/>
                  </a:lnTo>
                  <a:lnTo>
                    <a:pt x="64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9" y="233"/>
                  </a:lnTo>
                  <a:lnTo>
                    <a:pt x="72" y="233"/>
                  </a:lnTo>
                  <a:lnTo>
                    <a:pt x="74" y="233"/>
                  </a:lnTo>
                  <a:lnTo>
                    <a:pt x="77" y="233"/>
                  </a:lnTo>
                  <a:lnTo>
                    <a:pt x="77" y="233"/>
                  </a:lnTo>
                  <a:lnTo>
                    <a:pt x="79" y="233"/>
                  </a:lnTo>
                  <a:lnTo>
                    <a:pt x="79" y="243"/>
                  </a:lnTo>
                  <a:lnTo>
                    <a:pt x="79" y="248"/>
                  </a:lnTo>
                  <a:lnTo>
                    <a:pt x="79" y="253"/>
                  </a:lnTo>
                  <a:lnTo>
                    <a:pt x="79" y="258"/>
                  </a:lnTo>
                  <a:lnTo>
                    <a:pt x="79" y="264"/>
                  </a:lnTo>
                  <a:lnTo>
                    <a:pt x="79" y="269"/>
                  </a:lnTo>
                  <a:lnTo>
                    <a:pt x="79" y="274"/>
                  </a:lnTo>
                  <a:lnTo>
                    <a:pt x="79" y="276"/>
                  </a:lnTo>
                  <a:lnTo>
                    <a:pt x="79" y="279"/>
                  </a:lnTo>
                  <a:lnTo>
                    <a:pt x="79" y="282"/>
                  </a:lnTo>
                  <a:lnTo>
                    <a:pt x="79" y="284"/>
                  </a:lnTo>
                  <a:lnTo>
                    <a:pt x="82" y="289"/>
                  </a:lnTo>
                  <a:lnTo>
                    <a:pt x="82" y="292"/>
                  </a:lnTo>
                  <a:lnTo>
                    <a:pt x="82" y="294"/>
                  </a:lnTo>
                  <a:lnTo>
                    <a:pt x="82" y="299"/>
                  </a:lnTo>
                  <a:lnTo>
                    <a:pt x="84" y="302"/>
                  </a:lnTo>
                  <a:lnTo>
                    <a:pt x="84" y="305"/>
                  </a:lnTo>
                  <a:lnTo>
                    <a:pt x="87" y="307"/>
                  </a:lnTo>
                  <a:lnTo>
                    <a:pt x="87" y="310"/>
                  </a:lnTo>
                  <a:lnTo>
                    <a:pt x="90" y="312"/>
                  </a:lnTo>
                  <a:lnTo>
                    <a:pt x="90" y="315"/>
                  </a:lnTo>
                  <a:lnTo>
                    <a:pt x="90" y="317"/>
                  </a:lnTo>
                  <a:lnTo>
                    <a:pt x="92" y="317"/>
                  </a:lnTo>
                  <a:lnTo>
                    <a:pt x="92" y="320"/>
                  </a:lnTo>
                  <a:lnTo>
                    <a:pt x="95" y="320"/>
                  </a:lnTo>
                  <a:lnTo>
                    <a:pt x="95" y="320"/>
                  </a:lnTo>
                  <a:lnTo>
                    <a:pt x="95" y="322"/>
                  </a:lnTo>
                  <a:lnTo>
                    <a:pt x="95" y="322"/>
                  </a:lnTo>
                  <a:lnTo>
                    <a:pt x="97" y="322"/>
                  </a:lnTo>
                  <a:lnTo>
                    <a:pt x="97" y="322"/>
                  </a:lnTo>
                  <a:lnTo>
                    <a:pt x="97" y="322"/>
                  </a:lnTo>
                  <a:lnTo>
                    <a:pt x="97" y="322"/>
                  </a:lnTo>
                  <a:lnTo>
                    <a:pt x="97" y="322"/>
                  </a:lnTo>
                  <a:lnTo>
                    <a:pt x="100" y="322"/>
                  </a:lnTo>
                  <a:lnTo>
                    <a:pt x="192" y="322"/>
                  </a:lnTo>
                  <a:lnTo>
                    <a:pt x="195" y="322"/>
                  </a:lnTo>
                  <a:lnTo>
                    <a:pt x="195" y="322"/>
                  </a:lnTo>
                  <a:lnTo>
                    <a:pt x="195" y="322"/>
                  </a:lnTo>
                  <a:lnTo>
                    <a:pt x="197" y="322"/>
                  </a:lnTo>
                  <a:lnTo>
                    <a:pt x="197" y="320"/>
                  </a:lnTo>
                  <a:lnTo>
                    <a:pt x="197" y="320"/>
                  </a:lnTo>
                  <a:lnTo>
                    <a:pt x="197" y="320"/>
                  </a:lnTo>
                  <a:lnTo>
                    <a:pt x="197" y="320"/>
                  </a:lnTo>
                  <a:lnTo>
                    <a:pt x="228" y="210"/>
                  </a:lnTo>
                  <a:lnTo>
                    <a:pt x="228" y="207"/>
                  </a:lnTo>
                  <a:lnTo>
                    <a:pt x="228" y="205"/>
                  </a:lnTo>
                  <a:lnTo>
                    <a:pt x="230" y="202"/>
                  </a:lnTo>
                  <a:lnTo>
                    <a:pt x="230" y="197"/>
                  </a:lnTo>
                  <a:lnTo>
                    <a:pt x="230" y="194"/>
                  </a:lnTo>
                  <a:lnTo>
                    <a:pt x="230" y="192"/>
                  </a:lnTo>
                  <a:lnTo>
                    <a:pt x="228" y="189"/>
                  </a:lnTo>
                  <a:lnTo>
                    <a:pt x="228" y="187"/>
                  </a:lnTo>
                  <a:lnTo>
                    <a:pt x="228" y="184"/>
                  </a:lnTo>
                  <a:lnTo>
                    <a:pt x="228" y="182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4"/>
                  </a:lnTo>
                  <a:lnTo>
                    <a:pt x="223" y="171"/>
                  </a:lnTo>
                  <a:lnTo>
                    <a:pt x="220" y="169"/>
                  </a:lnTo>
                  <a:lnTo>
                    <a:pt x="218" y="164"/>
                  </a:lnTo>
                  <a:lnTo>
                    <a:pt x="182" y="113"/>
                  </a:lnTo>
                  <a:lnTo>
                    <a:pt x="179" y="110"/>
                  </a:lnTo>
                  <a:lnTo>
                    <a:pt x="177" y="107"/>
                  </a:lnTo>
                  <a:lnTo>
                    <a:pt x="177" y="105"/>
                  </a:lnTo>
                  <a:lnTo>
                    <a:pt x="174" y="102"/>
                  </a:lnTo>
                  <a:lnTo>
                    <a:pt x="172" y="100"/>
                  </a:lnTo>
                  <a:lnTo>
                    <a:pt x="169" y="100"/>
                  </a:lnTo>
                  <a:lnTo>
                    <a:pt x="169" y="97"/>
                  </a:lnTo>
                  <a:lnTo>
                    <a:pt x="166" y="97"/>
                  </a:lnTo>
                  <a:lnTo>
                    <a:pt x="164" y="97"/>
                  </a:lnTo>
                  <a:lnTo>
                    <a:pt x="161" y="95"/>
                  </a:lnTo>
                  <a:lnTo>
                    <a:pt x="159" y="95"/>
                  </a:lnTo>
                  <a:lnTo>
                    <a:pt x="156" y="95"/>
                  </a:lnTo>
                  <a:lnTo>
                    <a:pt x="154" y="95"/>
                  </a:lnTo>
                  <a:lnTo>
                    <a:pt x="151" y="95"/>
                  </a:lnTo>
                  <a:lnTo>
                    <a:pt x="148" y="92"/>
                  </a:lnTo>
                  <a:lnTo>
                    <a:pt x="146" y="92"/>
                  </a:lnTo>
                  <a:lnTo>
                    <a:pt x="1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7" name="Group 259">
            <a:extLst>
              <a:ext uri="{FF2B5EF4-FFF2-40B4-BE49-F238E27FC236}">
                <a16:creationId xmlns:a16="http://schemas.microsoft.com/office/drawing/2014/main" id="{C6488B5B-0609-43C6-A548-D015B53934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9738" y="2804884"/>
            <a:ext cx="758825" cy="758825"/>
            <a:chOff x="5077" y="1801"/>
            <a:chExt cx="478" cy="478"/>
          </a:xfrm>
        </p:grpSpPr>
        <p:sp>
          <p:nvSpPr>
            <p:cNvPr id="288" name="AutoShape 258">
              <a:extLst>
                <a:ext uri="{FF2B5EF4-FFF2-40B4-BE49-F238E27FC236}">
                  <a16:creationId xmlns:a16="http://schemas.microsoft.com/office/drawing/2014/main" id="{9543DC34-DD35-4A14-BD02-F7E02FFAB7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7" y="18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60">
              <a:extLst>
                <a:ext uri="{FF2B5EF4-FFF2-40B4-BE49-F238E27FC236}">
                  <a16:creationId xmlns:a16="http://schemas.microsoft.com/office/drawing/2014/main" id="{A9992B11-90C4-4D0A-ACF9-FCE37A41BF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9" y="180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61">
              <a:extLst>
                <a:ext uri="{FF2B5EF4-FFF2-40B4-BE49-F238E27FC236}">
                  <a16:creationId xmlns:a16="http://schemas.microsoft.com/office/drawing/2014/main" id="{14315184-3A83-4707-A569-E263C56C40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7" y="1887"/>
              <a:ext cx="221" cy="309"/>
            </a:xfrm>
            <a:custGeom>
              <a:avLst/>
              <a:gdLst>
                <a:gd name="T0" fmla="*/ 27 w 221"/>
                <a:gd name="T1" fmla="*/ 137 h 309"/>
                <a:gd name="T2" fmla="*/ 32 w 221"/>
                <a:gd name="T3" fmla="*/ 159 h 309"/>
                <a:gd name="T4" fmla="*/ 39 w 221"/>
                <a:gd name="T5" fmla="*/ 157 h 309"/>
                <a:gd name="T6" fmla="*/ 34 w 221"/>
                <a:gd name="T7" fmla="*/ 132 h 309"/>
                <a:gd name="T8" fmla="*/ 27 w 221"/>
                <a:gd name="T9" fmla="*/ 98 h 309"/>
                <a:gd name="T10" fmla="*/ 29 w 221"/>
                <a:gd name="T11" fmla="*/ 122 h 309"/>
                <a:gd name="T12" fmla="*/ 37 w 221"/>
                <a:gd name="T13" fmla="*/ 120 h 309"/>
                <a:gd name="T14" fmla="*/ 37 w 221"/>
                <a:gd name="T15" fmla="*/ 95 h 309"/>
                <a:gd name="T16" fmla="*/ 29 w 221"/>
                <a:gd name="T17" fmla="*/ 61 h 309"/>
                <a:gd name="T18" fmla="*/ 29 w 221"/>
                <a:gd name="T19" fmla="*/ 86 h 309"/>
                <a:gd name="T20" fmla="*/ 37 w 221"/>
                <a:gd name="T21" fmla="*/ 86 h 309"/>
                <a:gd name="T22" fmla="*/ 37 w 221"/>
                <a:gd name="T23" fmla="*/ 61 h 309"/>
                <a:gd name="T24" fmla="*/ 32 w 221"/>
                <a:gd name="T25" fmla="*/ 22 h 309"/>
                <a:gd name="T26" fmla="*/ 27 w 221"/>
                <a:gd name="T27" fmla="*/ 46 h 309"/>
                <a:gd name="T28" fmla="*/ 34 w 221"/>
                <a:gd name="T29" fmla="*/ 49 h 309"/>
                <a:gd name="T30" fmla="*/ 39 w 221"/>
                <a:gd name="T31" fmla="*/ 27 h 309"/>
                <a:gd name="T32" fmla="*/ 103 w 221"/>
                <a:gd name="T33" fmla="*/ 32 h 309"/>
                <a:gd name="T34" fmla="*/ 76 w 221"/>
                <a:gd name="T35" fmla="*/ 24 h 309"/>
                <a:gd name="T36" fmla="*/ 76 w 221"/>
                <a:gd name="T37" fmla="*/ 54 h 309"/>
                <a:gd name="T38" fmla="*/ 105 w 221"/>
                <a:gd name="T39" fmla="*/ 56 h 309"/>
                <a:gd name="T40" fmla="*/ 113 w 221"/>
                <a:gd name="T41" fmla="*/ 29 h 309"/>
                <a:gd name="T42" fmla="*/ 105 w 221"/>
                <a:gd name="T43" fmla="*/ 19 h 309"/>
                <a:gd name="T44" fmla="*/ 66 w 221"/>
                <a:gd name="T45" fmla="*/ 206 h 309"/>
                <a:gd name="T46" fmla="*/ 76 w 221"/>
                <a:gd name="T47" fmla="*/ 213 h 309"/>
                <a:gd name="T48" fmla="*/ 49 w 221"/>
                <a:gd name="T49" fmla="*/ 189 h 309"/>
                <a:gd name="T50" fmla="*/ 69 w 221"/>
                <a:gd name="T51" fmla="*/ 191 h 309"/>
                <a:gd name="T52" fmla="*/ 147 w 221"/>
                <a:gd name="T53" fmla="*/ 100 h 309"/>
                <a:gd name="T54" fmla="*/ 201 w 221"/>
                <a:gd name="T55" fmla="*/ 166 h 309"/>
                <a:gd name="T56" fmla="*/ 208 w 221"/>
                <a:gd name="T57" fmla="*/ 196 h 309"/>
                <a:gd name="T58" fmla="*/ 88 w 221"/>
                <a:gd name="T59" fmla="*/ 272 h 309"/>
                <a:gd name="T60" fmla="*/ 86 w 221"/>
                <a:gd name="T61" fmla="*/ 196 h 309"/>
                <a:gd name="T62" fmla="*/ 73 w 221"/>
                <a:gd name="T63" fmla="*/ 147 h 309"/>
                <a:gd name="T64" fmla="*/ 66 w 221"/>
                <a:gd name="T65" fmla="*/ 110 h 309"/>
                <a:gd name="T66" fmla="*/ 73 w 221"/>
                <a:gd name="T67" fmla="*/ 100 h 309"/>
                <a:gd name="T68" fmla="*/ 88 w 221"/>
                <a:gd name="T69" fmla="*/ 103 h 309"/>
                <a:gd name="T70" fmla="*/ 103 w 221"/>
                <a:gd name="T71" fmla="*/ 135 h 309"/>
                <a:gd name="T72" fmla="*/ 122 w 221"/>
                <a:gd name="T73" fmla="*/ 181 h 309"/>
                <a:gd name="T74" fmla="*/ 152 w 221"/>
                <a:gd name="T75" fmla="*/ 213 h 309"/>
                <a:gd name="T76" fmla="*/ 159 w 221"/>
                <a:gd name="T77" fmla="*/ 220 h 309"/>
                <a:gd name="T78" fmla="*/ 162 w 221"/>
                <a:gd name="T79" fmla="*/ 216 h 309"/>
                <a:gd name="T80" fmla="*/ 147 w 221"/>
                <a:gd name="T81" fmla="*/ 191 h 309"/>
                <a:gd name="T82" fmla="*/ 172 w 221"/>
                <a:gd name="T83" fmla="*/ 184 h 309"/>
                <a:gd name="T84" fmla="*/ 174 w 221"/>
                <a:gd name="T85" fmla="*/ 176 h 309"/>
                <a:gd name="T86" fmla="*/ 162 w 221"/>
                <a:gd name="T87" fmla="*/ 176 h 309"/>
                <a:gd name="T88" fmla="*/ 140 w 221"/>
                <a:gd name="T89" fmla="*/ 179 h 309"/>
                <a:gd name="T90" fmla="*/ 159 w 221"/>
                <a:gd name="T91" fmla="*/ 157 h 309"/>
                <a:gd name="T92" fmla="*/ 162 w 221"/>
                <a:gd name="T93" fmla="*/ 149 h 309"/>
                <a:gd name="T94" fmla="*/ 154 w 221"/>
                <a:gd name="T95" fmla="*/ 147 h 309"/>
                <a:gd name="T96" fmla="*/ 125 w 221"/>
                <a:gd name="T97" fmla="*/ 164 h 309"/>
                <a:gd name="T98" fmla="*/ 105 w 221"/>
                <a:gd name="T99" fmla="*/ 108 h 309"/>
                <a:gd name="T100" fmla="*/ 88 w 221"/>
                <a:gd name="T101" fmla="*/ 90 h 309"/>
                <a:gd name="T102" fmla="*/ 66 w 221"/>
                <a:gd name="T103" fmla="*/ 93 h 309"/>
                <a:gd name="T104" fmla="*/ 56 w 221"/>
                <a:gd name="T105" fmla="*/ 108 h 309"/>
                <a:gd name="T106" fmla="*/ 64 w 221"/>
                <a:gd name="T107" fmla="*/ 152 h 309"/>
                <a:gd name="T108" fmla="*/ 42 w 221"/>
                <a:gd name="T109" fmla="*/ 193 h 309"/>
                <a:gd name="T110" fmla="*/ 51 w 221"/>
                <a:gd name="T111" fmla="*/ 206 h 309"/>
                <a:gd name="T112" fmla="*/ 59 w 221"/>
                <a:gd name="T113" fmla="*/ 216 h 309"/>
                <a:gd name="T114" fmla="*/ 76 w 221"/>
                <a:gd name="T115" fmla="*/ 247 h 309"/>
                <a:gd name="T116" fmla="*/ 83 w 221"/>
                <a:gd name="T117" fmla="*/ 294 h 309"/>
                <a:gd name="T118" fmla="*/ 93 w 221"/>
                <a:gd name="T119" fmla="*/ 309 h 309"/>
                <a:gd name="T120" fmla="*/ 218 w 221"/>
                <a:gd name="T121" fmla="*/ 196 h 309"/>
                <a:gd name="T122" fmla="*/ 208 w 221"/>
                <a:gd name="T123" fmla="*/ 157 h 309"/>
                <a:gd name="T124" fmla="*/ 147 w 221"/>
                <a:gd name="T125" fmla="*/ 9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1" h="309">
                  <a:moveTo>
                    <a:pt x="32" y="132"/>
                  </a:move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29" y="132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7" y="135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54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9" y="157"/>
                  </a:lnTo>
                  <a:lnTo>
                    <a:pt x="29" y="157"/>
                  </a:lnTo>
                  <a:lnTo>
                    <a:pt x="29" y="159"/>
                  </a:lnTo>
                  <a:lnTo>
                    <a:pt x="29" y="159"/>
                  </a:lnTo>
                  <a:lnTo>
                    <a:pt x="29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7" y="159"/>
                  </a:lnTo>
                  <a:lnTo>
                    <a:pt x="37" y="159"/>
                  </a:lnTo>
                  <a:lnTo>
                    <a:pt x="37" y="159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9" y="157"/>
                  </a:lnTo>
                  <a:lnTo>
                    <a:pt x="39" y="157"/>
                  </a:lnTo>
                  <a:lnTo>
                    <a:pt x="39" y="157"/>
                  </a:lnTo>
                  <a:lnTo>
                    <a:pt x="39" y="154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2"/>
                  </a:lnTo>
                  <a:close/>
                  <a:moveTo>
                    <a:pt x="32" y="95"/>
                  </a:move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8"/>
                  </a:lnTo>
                  <a:lnTo>
                    <a:pt x="29" y="98"/>
                  </a:lnTo>
                  <a:lnTo>
                    <a:pt x="29" y="98"/>
                  </a:lnTo>
                  <a:lnTo>
                    <a:pt x="27" y="98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9" y="120"/>
                  </a:lnTo>
                  <a:lnTo>
                    <a:pt x="39" y="120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2" y="95"/>
                  </a:lnTo>
                  <a:close/>
                  <a:moveTo>
                    <a:pt x="32" y="59"/>
                  </a:move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1"/>
                  </a:lnTo>
                  <a:lnTo>
                    <a:pt x="39" y="81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2" y="59"/>
                  </a:lnTo>
                  <a:lnTo>
                    <a:pt x="32" y="59"/>
                  </a:lnTo>
                  <a:close/>
                  <a:moveTo>
                    <a:pt x="32" y="22"/>
                  </a:move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9" y="46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22"/>
                  </a:lnTo>
                  <a:close/>
                  <a:moveTo>
                    <a:pt x="86" y="32"/>
                  </a:moveTo>
                  <a:lnTo>
                    <a:pt x="103" y="32"/>
                  </a:lnTo>
                  <a:lnTo>
                    <a:pt x="103" y="46"/>
                  </a:lnTo>
                  <a:lnTo>
                    <a:pt x="86" y="46"/>
                  </a:lnTo>
                  <a:lnTo>
                    <a:pt x="86" y="32"/>
                  </a:lnTo>
                  <a:close/>
                  <a:moveTo>
                    <a:pt x="103" y="19"/>
                  </a:move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8" y="54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3" y="56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10" y="56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5" y="22"/>
                  </a:lnTo>
                  <a:lnTo>
                    <a:pt x="105" y="19"/>
                  </a:lnTo>
                  <a:lnTo>
                    <a:pt x="103" y="19"/>
                  </a:lnTo>
                  <a:lnTo>
                    <a:pt x="103" y="19"/>
                  </a:lnTo>
                  <a:close/>
                  <a:moveTo>
                    <a:pt x="73" y="213"/>
                  </a:move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6" y="211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6" y="206"/>
                  </a:lnTo>
                  <a:lnTo>
                    <a:pt x="66" y="206"/>
                  </a:lnTo>
                  <a:lnTo>
                    <a:pt x="66" y="206"/>
                  </a:lnTo>
                  <a:lnTo>
                    <a:pt x="69" y="206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3" y="203"/>
                  </a:lnTo>
                  <a:lnTo>
                    <a:pt x="73" y="201"/>
                  </a:lnTo>
                  <a:lnTo>
                    <a:pt x="76" y="201"/>
                  </a:lnTo>
                  <a:lnTo>
                    <a:pt x="76" y="198"/>
                  </a:lnTo>
                  <a:lnTo>
                    <a:pt x="76" y="203"/>
                  </a:lnTo>
                  <a:lnTo>
                    <a:pt x="76" y="206"/>
                  </a:lnTo>
                  <a:lnTo>
                    <a:pt x="76" y="208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73" y="213"/>
                  </a:lnTo>
                  <a:lnTo>
                    <a:pt x="73" y="213"/>
                  </a:lnTo>
                  <a:close/>
                  <a:moveTo>
                    <a:pt x="56" y="196"/>
                  </a:moveTo>
                  <a:lnTo>
                    <a:pt x="56" y="196"/>
                  </a:lnTo>
                  <a:lnTo>
                    <a:pt x="54" y="196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1" y="193"/>
                  </a:lnTo>
                  <a:lnTo>
                    <a:pt x="51" y="193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1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4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73" y="181"/>
                  </a:lnTo>
                  <a:lnTo>
                    <a:pt x="73" y="184"/>
                  </a:lnTo>
                  <a:lnTo>
                    <a:pt x="73" y="186"/>
                  </a:lnTo>
                  <a:lnTo>
                    <a:pt x="73" y="186"/>
                  </a:lnTo>
                  <a:lnTo>
                    <a:pt x="71" y="189"/>
                  </a:lnTo>
                  <a:lnTo>
                    <a:pt x="71" y="189"/>
                  </a:lnTo>
                  <a:lnTo>
                    <a:pt x="71" y="191"/>
                  </a:lnTo>
                  <a:lnTo>
                    <a:pt x="69" y="191"/>
                  </a:lnTo>
                  <a:lnTo>
                    <a:pt x="69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59" y="196"/>
                  </a:lnTo>
                  <a:lnTo>
                    <a:pt x="56" y="196"/>
                  </a:lnTo>
                  <a:close/>
                  <a:moveTo>
                    <a:pt x="140" y="100"/>
                  </a:moveTo>
                  <a:lnTo>
                    <a:pt x="142" y="100"/>
                  </a:lnTo>
                  <a:lnTo>
                    <a:pt x="145" y="100"/>
                  </a:lnTo>
                  <a:lnTo>
                    <a:pt x="147" y="100"/>
                  </a:lnTo>
                  <a:lnTo>
                    <a:pt x="147" y="100"/>
                  </a:lnTo>
                  <a:lnTo>
                    <a:pt x="149" y="100"/>
                  </a:lnTo>
                  <a:lnTo>
                    <a:pt x="152" y="100"/>
                  </a:lnTo>
                  <a:lnTo>
                    <a:pt x="152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7" y="103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2" y="108"/>
                  </a:lnTo>
                  <a:lnTo>
                    <a:pt x="162" y="110"/>
                  </a:lnTo>
                  <a:lnTo>
                    <a:pt x="164" y="110"/>
                  </a:lnTo>
                  <a:lnTo>
                    <a:pt x="164" y="113"/>
                  </a:lnTo>
                  <a:lnTo>
                    <a:pt x="201" y="164"/>
                  </a:lnTo>
                  <a:lnTo>
                    <a:pt x="201" y="166"/>
                  </a:lnTo>
                  <a:lnTo>
                    <a:pt x="203" y="169"/>
                  </a:lnTo>
                  <a:lnTo>
                    <a:pt x="203" y="171"/>
                  </a:lnTo>
                  <a:lnTo>
                    <a:pt x="206" y="171"/>
                  </a:lnTo>
                  <a:lnTo>
                    <a:pt x="206" y="174"/>
                  </a:lnTo>
                  <a:lnTo>
                    <a:pt x="206" y="176"/>
                  </a:lnTo>
                  <a:lnTo>
                    <a:pt x="208" y="179"/>
                  </a:lnTo>
                  <a:lnTo>
                    <a:pt x="208" y="181"/>
                  </a:lnTo>
                  <a:lnTo>
                    <a:pt x="208" y="181"/>
                  </a:lnTo>
                  <a:lnTo>
                    <a:pt x="208" y="184"/>
                  </a:lnTo>
                  <a:lnTo>
                    <a:pt x="208" y="186"/>
                  </a:lnTo>
                  <a:lnTo>
                    <a:pt x="208" y="189"/>
                  </a:lnTo>
                  <a:lnTo>
                    <a:pt x="208" y="191"/>
                  </a:lnTo>
                  <a:lnTo>
                    <a:pt x="208" y="193"/>
                  </a:lnTo>
                  <a:lnTo>
                    <a:pt x="208" y="196"/>
                  </a:lnTo>
                  <a:lnTo>
                    <a:pt x="208" y="198"/>
                  </a:lnTo>
                  <a:lnTo>
                    <a:pt x="181" y="299"/>
                  </a:lnTo>
                  <a:lnTo>
                    <a:pt x="98" y="299"/>
                  </a:lnTo>
                  <a:lnTo>
                    <a:pt x="96" y="296"/>
                  </a:lnTo>
                  <a:lnTo>
                    <a:pt x="96" y="294"/>
                  </a:lnTo>
                  <a:lnTo>
                    <a:pt x="93" y="292"/>
                  </a:lnTo>
                  <a:lnTo>
                    <a:pt x="93" y="289"/>
                  </a:lnTo>
                  <a:lnTo>
                    <a:pt x="91" y="287"/>
                  </a:lnTo>
                  <a:lnTo>
                    <a:pt x="91" y="284"/>
                  </a:lnTo>
                  <a:lnTo>
                    <a:pt x="91" y="282"/>
                  </a:lnTo>
                  <a:lnTo>
                    <a:pt x="88" y="279"/>
                  </a:lnTo>
                  <a:lnTo>
                    <a:pt x="88" y="277"/>
                  </a:lnTo>
                  <a:lnTo>
                    <a:pt x="88" y="274"/>
                  </a:lnTo>
                  <a:lnTo>
                    <a:pt x="88" y="272"/>
                  </a:lnTo>
                  <a:lnTo>
                    <a:pt x="88" y="269"/>
                  </a:lnTo>
                  <a:lnTo>
                    <a:pt x="86" y="265"/>
                  </a:lnTo>
                  <a:lnTo>
                    <a:pt x="86" y="260"/>
                  </a:lnTo>
                  <a:lnTo>
                    <a:pt x="86" y="255"/>
                  </a:lnTo>
                  <a:lnTo>
                    <a:pt x="86" y="250"/>
                  </a:lnTo>
                  <a:lnTo>
                    <a:pt x="86" y="245"/>
                  </a:lnTo>
                  <a:lnTo>
                    <a:pt x="86" y="240"/>
                  </a:lnTo>
                  <a:lnTo>
                    <a:pt x="86" y="230"/>
                  </a:lnTo>
                  <a:lnTo>
                    <a:pt x="88" y="218"/>
                  </a:lnTo>
                  <a:lnTo>
                    <a:pt x="88" y="213"/>
                  </a:lnTo>
                  <a:lnTo>
                    <a:pt x="88" y="208"/>
                  </a:lnTo>
                  <a:lnTo>
                    <a:pt x="88" y="203"/>
                  </a:lnTo>
                  <a:lnTo>
                    <a:pt x="88" y="198"/>
                  </a:lnTo>
                  <a:lnTo>
                    <a:pt x="86" y="196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86" y="189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3" y="181"/>
                  </a:lnTo>
                  <a:lnTo>
                    <a:pt x="83" y="179"/>
                  </a:lnTo>
                  <a:lnTo>
                    <a:pt x="83" y="174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64"/>
                  </a:lnTo>
                  <a:lnTo>
                    <a:pt x="78" y="159"/>
                  </a:lnTo>
                  <a:lnTo>
                    <a:pt x="76" y="152"/>
                  </a:lnTo>
                  <a:lnTo>
                    <a:pt x="73" y="147"/>
                  </a:lnTo>
                  <a:lnTo>
                    <a:pt x="71" y="140"/>
                  </a:lnTo>
                  <a:lnTo>
                    <a:pt x="71" y="137"/>
                  </a:lnTo>
                  <a:lnTo>
                    <a:pt x="69" y="135"/>
                  </a:lnTo>
                  <a:lnTo>
                    <a:pt x="69" y="132"/>
                  </a:lnTo>
                  <a:lnTo>
                    <a:pt x="69" y="127"/>
                  </a:lnTo>
                  <a:lnTo>
                    <a:pt x="66" y="127"/>
                  </a:lnTo>
                  <a:lnTo>
                    <a:pt x="66" y="125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66" y="113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9" y="108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71" y="103"/>
                  </a:lnTo>
                  <a:lnTo>
                    <a:pt x="71" y="103"/>
                  </a:lnTo>
                  <a:lnTo>
                    <a:pt x="71" y="103"/>
                  </a:lnTo>
                  <a:lnTo>
                    <a:pt x="73" y="100"/>
                  </a:lnTo>
                  <a:lnTo>
                    <a:pt x="73" y="100"/>
                  </a:lnTo>
                  <a:lnTo>
                    <a:pt x="73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3" y="100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6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1" y="105"/>
                  </a:lnTo>
                  <a:lnTo>
                    <a:pt x="93" y="108"/>
                  </a:lnTo>
                  <a:lnTo>
                    <a:pt x="93" y="110"/>
                  </a:lnTo>
                  <a:lnTo>
                    <a:pt x="96" y="110"/>
                  </a:lnTo>
                  <a:lnTo>
                    <a:pt x="96" y="113"/>
                  </a:lnTo>
                  <a:lnTo>
                    <a:pt x="96" y="115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100" y="120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103" y="130"/>
                  </a:lnTo>
                  <a:lnTo>
                    <a:pt x="103" y="135"/>
                  </a:lnTo>
                  <a:lnTo>
                    <a:pt x="105" y="140"/>
                  </a:lnTo>
                  <a:lnTo>
                    <a:pt x="108" y="152"/>
                  </a:lnTo>
                  <a:lnTo>
                    <a:pt x="110" y="157"/>
                  </a:lnTo>
                  <a:lnTo>
                    <a:pt x="113" y="162"/>
                  </a:lnTo>
                  <a:lnTo>
                    <a:pt x="113" y="164"/>
                  </a:lnTo>
                  <a:lnTo>
                    <a:pt x="115" y="166"/>
                  </a:lnTo>
                  <a:lnTo>
                    <a:pt x="115" y="169"/>
                  </a:lnTo>
                  <a:lnTo>
                    <a:pt x="115" y="171"/>
                  </a:lnTo>
                  <a:lnTo>
                    <a:pt x="118" y="174"/>
                  </a:lnTo>
                  <a:lnTo>
                    <a:pt x="118" y="174"/>
                  </a:lnTo>
                  <a:lnTo>
                    <a:pt x="120" y="176"/>
                  </a:lnTo>
                  <a:lnTo>
                    <a:pt x="120" y="179"/>
                  </a:lnTo>
                  <a:lnTo>
                    <a:pt x="122" y="181"/>
                  </a:lnTo>
                  <a:lnTo>
                    <a:pt x="122" y="181"/>
                  </a:lnTo>
                  <a:lnTo>
                    <a:pt x="125" y="184"/>
                  </a:lnTo>
                  <a:lnTo>
                    <a:pt x="125" y="186"/>
                  </a:lnTo>
                  <a:lnTo>
                    <a:pt x="127" y="189"/>
                  </a:lnTo>
                  <a:lnTo>
                    <a:pt x="132" y="191"/>
                  </a:lnTo>
                  <a:lnTo>
                    <a:pt x="135" y="196"/>
                  </a:lnTo>
                  <a:lnTo>
                    <a:pt x="137" y="198"/>
                  </a:lnTo>
                  <a:lnTo>
                    <a:pt x="140" y="201"/>
                  </a:lnTo>
                  <a:lnTo>
                    <a:pt x="142" y="203"/>
                  </a:lnTo>
                  <a:lnTo>
                    <a:pt x="145" y="206"/>
                  </a:lnTo>
                  <a:lnTo>
                    <a:pt x="147" y="208"/>
                  </a:lnTo>
                  <a:lnTo>
                    <a:pt x="147" y="208"/>
                  </a:lnTo>
                  <a:lnTo>
                    <a:pt x="149" y="211"/>
                  </a:lnTo>
                  <a:lnTo>
                    <a:pt x="149" y="213"/>
                  </a:lnTo>
                  <a:lnTo>
                    <a:pt x="152" y="213"/>
                  </a:lnTo>
                  <a:lnTo>
                    <a:pt x="152" y="216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4" y="218"/>
                  </a:lnTo>
                  <a:lnTo>
                    <a:pt x="154" y="220"/>
                  </a:lnTo>
                  <a:lnTo>
                    <a:pt x="154" y="220"/>
                  </a:lnTo>
                  <a:lnTo>
                    <a:pt x="154" y="220"/>
                  </a:lnTo>
                  <a:lnTo>
                    <a:pt x="154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2" y="220"/>
                  </a:lnTo>
                  <a:lnTo>
                    <a:pt x="162" y="220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62" y="218"/>
                  </a:lnTo>
                  <a:lnTo>
                    <a:pt x="162" y="216"/>
                  </a:lnTo>
                  <a:lnTo>
                    <a:pt x="162" y="216"/>
                  </a:lnTo>
                  <a:lnTo>
                    <a:pt x="162" y="216"/>
                  </a:lnTo>
                  <a:lnTo>
                    <a:pt x="162" y="216"/>
                  </a:lnTo>
                  <a:lnTo>
                    <a:pt x="162" y="216"/>
                  </a:lnTo>
                  <a:lnTo>
                    <a:pt x="162" y="213"/>
                  </a:lnTo>
                  <a:lnTo>
                    <a:pt x="162" y="213"/>
                  </a:lnTo>
                  <a:lnTo>
                    <a:pt x="162" y="213"/>
                  </a:lnTo>
                  <a:lnTo>
                    <a:pt x="162" y="211"/>
                  </a:lnTo>
                  <a:lnTo>
                    <a:pt x="159" y="208"/>
                  </a:lnTo>
                  <a:lnTo>
                    <a:pt x="159" y="208"/>
                  </a:lnTo>
                  <a:lnTo>
                    <a:pt x="159" y="206"/>
                  </a:lnTo>
                  <a:lnTo>
                    <a:pt x="157" y="206"/>
                  </a:lnTo>
                  <a:lnTo>
                    <a:pt x="157" y="203"/>
                  </a:lnTo>
                  <a:lnTo>
                    <a:pt x="154" y="201"/>
                  </a:lnTo>
                  <a:lnTo>
                    <a:pt x="152" y="198"/>
                  </a:lnTo>
                  <a:lnTo>
                    <a:pt x="149" y="196"/>
                  </a:lnTo>
                  <a:lnTo>
                    <a:pt x="147" y="193"/>
                  </a:lnTo>
                  <a:lnTo>
                    <a:pt x="147" y="191"/>
                  </a:lnTo>
                  <a:lnTo>
                    <a:pt x="149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57" y="189"/>
                  </a:lnTo>
                  <a:lnTo>
                    <a:pt x="162" y="186"/>
                  </a:lnTo>
                  <a:lnTo>
                    <a:pt x="164" y="186"/>
                  </a:lnTo>
                  <a:lnTo>
                    <a:pt x="167" y="186"/>
                  </a:lnTo>
                  <a:lnTo>
                    <a:pt x="169" y="184"/>
                  </a:lnTo>
                  <a:lnTo>
                    <a:pt x="172" y="184"/>
                  </a:lnTo>
                  <a:lnTo>
                    <a:pt x="172" y="184"/>
                  </a:lnTo>
                  <a:lnTo>
                    <a:pt x="172" y="184"/>
                  </a:lnTo>
                  <a:lnTo>
                    <a:pt x="172" y="184"/>
                  </a:lnTo>
                  <a:lnTo>
                    <a:pt x="172" y="184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4" y="181"/>
                  </a:lnTo>
                  <a:lnTo>
                    <a:pt x="174" y="181"/>
                  </a:lnTo>
                  <a:lnTo>
                    <a:pt x="174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4" y="176"/>
                  </a:lnTo>
                  <a:lnTo>
                    <a:pt x="174" y="176"/>
                  </a:lnTo>
                  <a:lnTo>
                    <a:pt x="174" y="176"/>
                  </a:lnTo>
                  <a:lnTo>
                    <a:pt x="174" y="176"/>
                  </a:lnTo>
                  <a:lnTo>
                    <a:pt x="172" y="176"/>
                  </a:lnTo>
                  <a:lnTo>
                    <a:pt x="172" y="174"/>
                  </a:lnTo>
                  <a:lnTo>
                    <a:pt x="172" y="174"/>
                  </a:lnTo>
                  <a:lnTo>
                    <a:pt x="172" y="174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67" y="174"/>
                  </a:lnTo>
                  <a:lnTo>
                    <a:pt x="164" y="174"/>
                  </a:lnTo>
                  <a:lnTo>
                    <a:pt x="162" y="174"/>
                  </a:lnTo>
                  <a:lnTo>
                    <a:pt x="162" y="176"/>
                  </a:lnTo>
                  <a:lnTo>
                    <a:pt x="159" y="176"/>
                  </a:lnTo>
                  <a:lnTo>
                    <a:pt x="157" y="176"/>
                  </a:lnTo>
                  <a:lnTo>
                    <a:pt x="154" y="176"/>
                  </a:lnTo>
                  <a:lnTo>
                    <a:pt x="154" y="179"/>
                  </a:lnTo>
                  <a:lnTo>
                    <a:pt x="152" y="179"/>
                  </a:lnTo>
                  <a:lnTo>
                    <a:pt x="149" y="179"/>
                  </a:lnTo>
                  <a:lnTo>
                    <a:pt x="147" y="181"/>
                  </a:lnTo>
                  <a:lnTo>
                    <a:pt x="147" y="181"/>
                  </a:lnTo>
                  <a:lnTo>
                    <a:pt x="145" y="181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0" y="186"/>
                  </a:lnTo>
                  <a:lnTo>
                    <a:pt x="140" y="181"/>
                  </a:lnTo>
                  <a:lnTo>
                    <a:pt x="140" y="179"/>
                  </a:lnTo>
                  <a:lnTo>
                    <a:pt x="140" y="176"/>
                  </a:lnTo>
                  <a:lnTo>
                    <a:pt x="140" y="174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5" y="166"/>
                  </a:lnTo>
                  <a:lnTo>
                    <a:pt x="145" y="166"/>
                  </a:lnTo>
                  <a:lnTo>
                    <a:pt x="147" y="164"/>
                  </a:lnTo>
                  <a:lnTo>
                    <a:pt x="149" y="164"/>
                  </a:lnTo>
                  <a:lnTo>
                    <a:pt x="149" y="162"/>
                  </a:lnTo>
                  <a:lnTo>
                    <a:pt x="152" y="159"/>
                  </a:lnTo>
                  <a:lnTo>
                    <a:pt x="154" y="159"/>
                  </a:lnTo>
                  <a:lnTo>
                    <a:pt x="157" y="157"/>
                  </a:lnTo>
                  <a:lnTo>
                    <a:pt x="159" y="157"/>
                  </a:lnTo>
                  <a:lnTo>
                    <a:pt x="159" y="157"/>
                  </a:lnTo>
                  <a:lnTo>
                    <a:pt x="159" y="157"/>
                  </a:lnTo>
                  <a:lnTo>
                    <a:pt x="159" y="154"/>
                  </a:lnTo>
                  <a:lnTo>
                    <a:pt x="159" y="154"/>
                  </a:lnTo>
                  <a:lnTo>
                    <a:pt x="162" y="154"/>
                  </a:lnTo>
                  <a:lnTo>
                    <a:pt x="162" y="154"/>
                  </a:lnTo>
                  <a:lnTo>
                    <a:pt x="162" y="154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2" y="149"/>
                  </a:lnTo>
                  <a:lnTo>
                    <a:pt x="162" y="149"/>
                  </a:lnTo>
                  <a:lnTo>
                    <a:pt x="162" y="149"/>
                  </a:lnTo>
                  <a:lnTo>
                    <a:pt x="162" y="149"/>
                  </a:lnTo>
                  <a:lnTo>
                    <a:pt x="159" y="149"/>
                  </a:lnTo>
                  <a:lnTo>
                    <a:pt x="159" y="147"/>
                  </a:lnTo>
                  <a:lnTo>
                    <a:pt x="159" y="147"/>
                  </a:lnTo>
                  <a:lnTo>
                    <a:pt x="159" y="147"/>
                  </a:lnTo>
                  <a:lnTo>
                    <a:pt x="159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4" y="147"/>
                  </a:lnTo>
                  <a:lnTo>
                    <a:pt x="154" y="147"/>
                  </a:lnTo>
                  <a:lnTo>
                    <a:pt x="154" y="147"/>
                  </a:lnTo>
                  <a:lnTo>
                    <a:pt x="154" y="147"/>
                  </a:lnTo>
                  <a:lnTo>
                    <a:pt x="154" y="147"/>
                  </a:lnTo>
                  <a:lnTo>
                    <a:pt x="149" y="149"/>
                  </a:lnTo>
                  <a:lnTo>
                    <a:pt x="147" y="149"/>
                  </a:lnTo>
                  <a:lnTo>
                    <a:pt x="147" y="152"/>
                  </a:lnTo>
                  <a:lnTo>
                    <a:pt x="145" y="152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0" y="157"/>
                  </a:lnTo>
                  <a:lnTo>
                    <a:pt x="140" y="100"/>
                  </a:lnTo>
                  <a:close/>
                  <a:moveTo>
                    <a:pt x="12" y="10"/>
                  </a:moveTo>
                  <a:lnTo>
                    <a:pt x="130" y="10"/>
                  </a:lnTo>
                  <a:lnTo>
                    <a:pt x="130" y="171"/>
                  </a:lnTo>
                  <a:lnTo>
                    <a:pt x="127" y="169"/>
                  </a:lnTo>
                  <a:lnTo>
                    <a:pt x="125" y="166"/>
                  </a:lnTo>
                  <a:lnTo>
                    <a:pt x="125" y="164"/>
                  </a:lnTo>
                  <a:lnTo>
                    <a:pt x="125" y="162"/>
                  </a:lnTo>
                  <a:lnTo>
                    <a:pt x="122" y="162"/>
                  </a:lnTo>
                  <a:lnTo>
                    <a:pt x="122" y="159"/>
                  </a:lnTo>
                  <a:lnTo>
                    <a:pt x="120" y="154"/>
                  </a:lnTo>
                  <a:lnTo>
                    <a:pt x="120" y="147"/>
                  </a:lnTo>
                  <a:lnTo>
                    <a:pt x="115" y="137"/>
                  </a:lnTo>
                  <a:lnTo>
                    <a:pt x="115" y="130"/>
                  </a:lnTo>
                  <a:lnTo>
                    <a:pt x="113" y="125"/>
                  </a:lnTo>
                  <a:lnTo>
                    <a:pt x="110" y="122"/>
                  </a:lnTo>
                  <a:lnTo>
                    <a:pt x="110" y="120"/>
                  </a:lnTo>
                  <a:lnTo>
                    <a:pt x="110" y="117"/>
                  </a:lnTo>
                  <a:lnTo>
                    <a:pt x="108" y="115"/>
                  </a:lnTo>
                  <a:lnTo>
                    <a:pt x="108" y="110"/>
                  </a:lnTo>
                  <a:lnTo>
                    <a:pt x="105" y="108"/>
                  </a:lnTo>
                  <a:lnTo>
                    <a:pt x="103" y="105"/>
                  </a:lnTo>
                  <a:lnTo>
                    <a:pt x="103" y="103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6" y="95"/>
                  </a:lnTo>
                  <a:lnTo>
                    <a:pt x="96" y="95"/>
                  </a:lnTo>
                  <a:lnTo>
                    <a:pt x="93" y="95"/>
                  </a:lnTo>
                  <a:lnTo>
                    <a:pt x="93" y="93"/>
                  </a:lnTo>
                  <a:lnTo>
                    <a:pt x="91" y="93"/>
                  </a:lnTo>
                  <a:lnTo>
                    <a:pt x="91" y="93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3" y="88"/>
                  </a:lnTo>
                  <a:lnTo>
                    <a:pt x="81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6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69" y="90"/>
                  </a:lnTo>
                  <a:lnTo>
                    <a:pt x="69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1" y="95"/>
                  </a:lnTo>
                  <a:lnTo>
                    <a:pt x="61" y="98"/>
                  </a:lnTo>
                  <a:lnTo>
                    <a:pt x="61" y="98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103"/>
                  </a:lnTo>
                  <a:lnTo>
                    <a:pt x="56" y="103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4" y="113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20"/>
                  </a:lnTo>
                  <a:lnTo>
                    <a:pt x="56" y="122"/>
                  </a:lnTo>
                  <a:lnTo>
                    <a:pt x="56" y="125"/>
                  </a:lnTo>
                  <a:lnTo>
                    <a:pt x="56" y="127"/>
                  </a:lnTo>
                  <a:lnTo>
                    <a:pt x="56" y="130"/>
                  </a:lnTo>
                  <a:lnTo>
                    <a:pt x="59" y="135"/>
                  </a:lnTo>
                  <a:lnTo>
                    <a:pt x="61" y="142"/>
                  </a:lnTo>
                  <a:lnTo>
                    <a:pt x="61" y="147"/>
                  </a:lnTo>
                  <a:lnTo>
                    <a:pt x="64" y="152"/>
                  </a:lnTo>
                  <a:lnTo>
                    <a:pt x="66" y="162"/>
                  </a:lnTo>
                  <a:lnTo>
                    <a:pt x="69" y="166"/>
                  </a:lnTo>
                  <a:lnTo>
                    <a:pt x="71" y="171"/>
                  </a:lnTo>
                  <a:lnTo>
                    <a:pt x="12" y="171"/>
                  </a:lnTo>
                  <a:lnTo>
                    <a:pt x="12" y="10"/>
                  </a:lnTo>
                  <a:close/>
                  <a:moveTo>
                    <a:pt x="0" y="0"/>
                  </a:moveTo>
                  <a:lnTo>
                    <a:pt x="0" y="181"/>
                  </a:lnTo>
                  <a:lnTo>
                    <a:pt x="39" y="181"/>
                  </a:lnTo>
                  <a:lnTo>
                    <a:pt x="39" y="184"/>
                  </a:lnTo>
                  <a:lnTo>
                    <a:pt x="39" y="186"/>
                  </a:lnTo>
                  <a:lnTo>
                    <a:pt x="39" y="189"/>
                  </a:lnTo>
                  <a:lnTo>
                    <a:pt x="39" y="191"/>
                  </a:lnTo>
                  <a:lnTo>
                    <a:pt x="39" y="193"/>
                  </a:lnTo>
                  <a:lnTo>
                    <a:pt x="42" y="193"/>
                  </a:lnTo>
                  <a:lnTo>
                    <a:pt x="42" y="196"/>
                  </a:lnTo>
                  <a:lnTo>
                    <a:pt x="42" y="198"/>
                  </a:lnTo>
                  <a:lnTo>
                    <a:pt x="44" y="198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46" y="201"/>
                  </a:lnTo>
                  <a:lnTo>
                    <a:pt x="46" y="203"/>
                  </a:lnTo>
                  <a:lnTo>
                    <a:pt x="46" y="203"/>
                  </a:lnTo>
                  <a:lnTo>
                    <a:pt x="49" y="203"/>
                  </a:lnTo>
                  <a:lnTo>
                    <a:pt x="49" y="203"/>
                  </a:lnTo>
                  <a:lnTo>
                    <a:pt x="49" y="206"/>
                  </a:lnTo>
                  <a:lnTo>
                    <a:pt x="51" y="206"/>
                  </a:lnTo>
                  <a:lnTo>
                    <a:pt x="51" y="206"/>
                  </a:lnTo>
                  <a:lnTo>
                    <a:pt x="51" y="206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6" y="208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6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61" y="218"/>
                  </a:lnTo>
                  <a:lnTo>
                    <a:pt x="61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6" y="223"/>
                  </a:lnTo>
                  <a:lnTo>
                    <a:pt x="69" y="223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3" y="223"/>
                  </a:lnTo>
                  <a:lnTo>
                    <a:pt x="76" y="223"/>
                  </a:lnTo>
                  <a:lnTo>
                    <a:pt x="76" y="233"/>
                  </a:lnTo>
                  <a:lnTo>
                    <a:pt x="76" y="238"/>
                  </a:lnTo>
                  <a:lnTo>
                    <a:pt x="76" y="242"/>
                  </a:lnTo>
                  <a:lnTo>
                    <a:pt x="76" y="247"/>
                  </a:lnTo>
                  <a:lnTo>
                    <a:pt x="76" y="252"/>
                  </a:lnTo>
                  <a:lnTo>
                    <a:pt x="76" y="257"/>
                  </a:lnTo>
                  <a:lnTo>
                    <a:pt x="76" y="262"/>
                  </a:lnTo>
                  <a:lnTo>
                    <a:pt x="76" y="265"/>
                  </a:lnTo>
                  <a:lnTo>
                    <a:pt x="76" y="267"/>
                  </a:lnTo>
                  <a:lnTo>
                    <a:pt x="76" y="269"/>
                  </a:lnTo>
                  <a:lnTo>
                    <a:pt x="76" y="272"/>
                  </a:lnTo>
                  <a:lnTo>
                    <a:pt x="78" y="277"/>
                  </a:lnTo>
                  <a:lnTo>
                    <a:pt x="78" y="279"/>
                  </a:lnTo>
                  <a:lnTo>
                    <a:pt x="78" y="282"/>
                  </a:lnTo>
                  <a:lnTo>
                    <a:pt x="78" y="287"/>
                  </a:lnTo>
                  <a:lnTo>
                    <a:pt x="81" y="289"/>
                  </a:lnTo>
                  <a:lnTo>
                    <a:pt x="81" y="292"/>
                  </a:lnTo>
                  <a:lnTo>
                    <a:pt x="83" y="294"/>
                  </a:lnTo>
                  <a:lnTo>
                    <a:pt x="83" y="296"/>
                  </a:lnTo>
                  <a:lnTo>
                    <a:pt x="86" y="299"/>
                  </a:lnTo>
                  <a:lnTo>
                    <a:pt x="86" y="301"/>
                  </a:lnTo>
                  <a:lnTo>
                    <a:pt x="86" y="304"/>
                  </a:lnTo>
                  <a:lnTo>
                    <a:pt x="88" y="304"/>
                  </a:lnTo>
                  <a:lnTo>
                    <a:pt x="88" y="306"/>
                  </a:lnTo>
                  <a:lnTo>
                    <a:pt x="91" y="306"/>
                  </a:lnTo>
                  <a:lnTo>
                    <a:pt x="91" y="306"/>
                  </a:lnTo>
                  <a:lnTo>
                    <a:pt x="91" y="309"/>
                  </a:lnTo>
                  <a:lnTo>
                    <a:pt x="91" y="309"/>
                  </a:lnTo>
                  <a:lnTo>
                    <a:pt x="93" y="309"/>
                  </a:lnTo>
                  <a:lnTo>
                    <a:pt x="93" y="309"/>
                  </a:lnTo>
                  <a:lnTo>
                    <a:pt x="93" y="309"/>
                  </a:lnTo>
                  <a:lnTo>
                    <a:pt x="93" y="309"/>
                  </a:lnTo>
                  <a:lnTo>
                    <a:pt x="93" y="309"/>
                  </a:lnTo>
                  <a:lnTo>
                    <a:pt x="96" y="309"/>
                  </a:lnTo>
                  <a:lnTo>
                    <a:pt x="184" y="309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6" y="309"/>
                  </a:lnTo>
                  <a:lnTo>
                    <a:pt x="189" y="309"/>
                  </a:lnTo>
                  <a:lnTo>
                    <a:pt x="189" y="306"/>
                  </a:lnTo>
                  <a:lnTo>
                    <a:pt x="189" y="306"/>
                  </a:lnTo>
                  <a:lnTo>
                    <a:pt x="189" y="306"/>
                  </a:lnTo>
                  <a:lnTo>
                    <a:pt x="189" y="306"/>
                  </a:lnTo>
                  <a:lnTo>
                    <a:pt x="218" y="201"/>
                  </a:lnTo>
                  <a:lnTo>
                    <a:pt x="218" y="198"/>
                  </a:lnTo>
                  <a:lnTo>
                    <a:pt x="218" y="196"/>
                  </a:lnTo>
                  <a:lnTo>
                    <a:pt x="221" y="193"/>
                  </a:lnTo>
                  <a:lnTo>
                    <a:pt x="221" y="189"/>
                  </a:lnTo>
                  <a:lnTo>
                    <a:pt x="221" y="186"/>
                  </a:lnTo>
                  <a:lnTo>
                    <a:pt x="221" y="184"/>
                  </a:lnTo>
                  <a:lnTo>
                    <a:pt x="218" y="181"/>
                  </a:lnTo>
                  <a:lnTo>
                    <a:pt x="218" y="179"/>
                  </a:lnTo>
                  <a:lnTo>
                    <a:pt x="218" y="176"/>
                  </a:lnTo>
                  <a:lnTo>
                    <a:pt x="218" y="174"/>
                  </a:lnTo>
                  <a:lnTo>
                    <a:pt x="216" y="171"/>
                  </a:lnTo>
                  <a:lnTo>
                    <a:pt x="216" y="169"/>
                  </a:lnTo>
                  <a:lnTo>
                    <a:pt x="213" y="166"/>
                  </a:lnTo>
                  <a:lnTo>
                    <a:pt x="213" y="164"/>
                  </a:lnTo>
                  <a:lnTo>
                    <a:pt x="211" y="162"/>
                  </a:lnTo>
                  <a:lnTo>
                    <a:pt x="208" y="157"/>
                  </a:lnTo>
                  <a:lnTo>
                    <a:pt x="174" y="108"/>
                  </a:lnTo>
                  <a:lnTo>
                    <a:pt x="172" y="105"/>
                  </a:lnTo>
                  <a:lnTo>
                    <a:pt x="169" y="103"/>
                  </a:lnTo>
                  <a:lnTo>
                    <a:pt x="169" y="100"/>
                  </a:lnTo>
                  <a:lnTo>
                    <a:pt x="167" y="98"/>
                  </a:lnTo>
                  <a:lnTo>
                    <a:pt x="164" y="95"/>
                  </a:lnTo>
                  <a:lnTo>
                    <a:pt x="162" y="95"/>
                  </a:lnTo>
                  <a:lnTo>
                    <a:pt x="162" y="93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4" y="90"/>
                  </a:lnTo>
                  <a:lnTo>
                    <a:pt x="152" y="90"/>
                  </a:lnTo>
                  <a:lnTo>
                    <a:pt x="149" y="90"/>
                  </a:lnTo>
                  <a:lnTo>
                    <a:pt x="147" y="90"/>
                  </a:lnTo>
                  <a:lnTo>
                    <a:pt x="145" y="90"/>
                  </a:lnTo>
                  <a:lnTo>
                    <a:pt x="142" y="88"/>
                  </a:lnTo>
                  <a:lnTo>
                    <a:pt x="140" y="88"/>
                  </a:lnTo>
                  <a:lnTo>
                    <a:pt x="14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7" name="Group 264">
            <a:extLst>
              <a:ext uri="{FF2B5EF4-FFF2-40B4-BE49-F238E27FC236}">
                <a16:creationId xmlns:a16="http://schemas.microsoft.com/office/drawing/2014/main" id="{990B28CB-9165-45BC-9487-6B2B44571E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6713" y="4107286"/>
            <a:ext cx="841375" cy="841375"/>
            <a:chOff x="231" y="2552"/>
            <a:chExt cx="530" cy="530"/>
          </a:xfrm>
        </p:grpSpPr>
        <p:sp>
          <p:nvSpPr>
            <p:cNvPr id="308" name="AutoShape 263">
              <a:extLst>
                <a:ext uri="{FF2B5EF4-FFF2-40B4-BE49-F238E27FC236}">
                  <a16:creationId xmlns:a16="http://schemas.microsoft.com/office/drawing/2014/main" id="{16E44199-52F4-4A7A-AFBD-51D3C5D4A8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1" y="255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265">
              <a:extLst>
                <a:ext uri="{FF2B5EF4-FFF2-40B4-BE49-F238E27FC236}">
                  <a16:creationId xmlns:a16="http://schemas.microsoft.com/office/drawing/2014/main" id="{6DBCEA81-2A64-4A6D-B241-5276C36BF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" y="255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66">
              <a:extLst>
                <a:ext uri="{FF2B5EF4-FFF2-40B4-BE49-F238E27FC236}">
                  <a16:creationId xmlns:a16="http://schemas.microsoft.com/office/drawing/2014/main" id="{F93FE1A6-7AB9-4A0D-9C31-EC2FB8C0C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" y="257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67">
              <a:extLst>
                <a:ext uri="{FF2B5EF4-FFF2-40B4-BE49-F238E27FC236}">
                  <a16:creationId xmlns:a16="http://schemas.microsoft.com/office/drawing/2014/main" id="{E8EA003E-9F8A-4AC6-9153-B62DC920A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" y="2670"/>
              <a:ext cx="322" cy="274"/>
            </a:xfrm>
            <a:custGeom>
              <a:avLst/>
              <a:gdLst>
                <a:gd name="T0" fmla="*/ 108 w 126"/>
                <a:gd name="T1" fmla="*/ 90 h 107"/>
                <a:gd name="T2" fmla="*/ 108 w 126"/>
                <a:gd name="T3" fmla="*/ 94 h 107"/>
                <a:gd name="T4" fmla="*/ 117 w 126"/>
                <a:gd name="T5" fmla="*/ 92 h 107"/>
                <a:gd name="T6" fmla="*/ 95 w 126"/>
                <a:gd name="T7" fmla="*/ 94 h 107"/>
                <a:gd name="T8" fmla="*/ 104 w 126"/>
                <a:gd name="T9" fmla="*/ 92 h 107"/>
                <a:gd name="T10" fmla="*/ 95 w 126"/>
                <a:gd name="T11" fmla="*/ 90 h 107"/>
                <a:gd name="T12" fmla="*/ 95 w 126"/>
                <a:gd name="T13" fmla="*/ 94 h 107"/>
                <a:gd name="T14" fmla="*/ 82 w 126"/>
                <a:gd name="T15" fmla="*/ 90 h 107"/>
                <a:gd name="T16" fmla="*/ 82 w 126"/>
                <a:gd name="T17" fmla="*/ 94 h 107"/>
                <a:gd name="T18" fmla="*/ 91 w 126"/>
                <a:gd name="T19" fmla="*/ 92 h 107"/>
                <a:gd name="T20" fmla="*/ 75 w 126"/>
                <a:gd name="T21" fmla="*/ 90 h 107"/>
                <a:gd name="T22" fmla="*/ 66 w 126"/>
                <a:gd name="T23" fmla="*/ 92 h 107"/>
                <a:gd name="T24" fmla="*/ 75 w 126"/>
                <a:gd name="T25" fmla="*/ 94 h 107"/>
                <a:gd name="T26" fmla="*/ 75 w 126"/>
                <a:gd name="T27" fmla="*/ 90 h 107"/>
                <a:gd name="T28" fmla="*/ 62 w 126"/>
                <a:gd name="T29" fmla="*/ 103 h 107"/>
                <a:gd name="T30" fmla="*/ 73 w 126"/>
                <a:gd name="T31" fmla="*/ 80 h 107"/>
                <a:gd name="T32" fmla="*/ 86 w 126"/>
                <a:gd name="T33" fmla="*/ 83 h 107"/>
                <a:gd name="T34" fmla="*/ 86 w 126"/>
                <a:gd name="T35" fmla="*/ 64 h 107"/>
                <a:gd name="T36" fmla="*/ 122 w 126"/>
                <a:gd name="T37" fmla="*/ 103 h 107"/>
                <a:gd name="T38" fmla="*/ 47 w 126"/>
                <a:gd name="T39" fmla="*/ 65 h 107"/>
                <a:gd name="T40" fmla="*/ 27 w 126"/>
                <a:gd name="T41" fmla="*/ 45 h 107"/>
                <a:gd name="T42" fmla="*/ 51 w 126"/>
                <a:gd name="T43" fmla="*/ 24 h 107"/>
                <a:gd name="T44" fmla="*/ 99 w 126"/>
                <a:gd name="T45" fmla="*/ 58 h 107"/>
                <a:gd name="T46" fmla="*/ 79 w 126"/>
                <a:gd name="T47" fmla="*/ 59 h 107"/>
                <a:gd name="T48" fmla="*/ 79 w 126"/>
                <a:gd name="T49" fmla="*/ 55 h 107"/>
                <a:gd name="T50" fmla="*/ 80 w 126"/>
                <a:gd name="T51" fmla="*/ 49 h 107"/>
                <a:gd name="T52" fmla="*/ 74 w 126"/>
                <a:gd name="T53" fmla="*/ 53 h 107"/>
                <a:gd name="T54" fmla="*/ 67 w 126"/>
                <a:gd name="T55" fmla="*/ 46 h 107"/>
                <a:gd name="T56" fmla="*/ 77 w 126"/>
                <a:gd name="T57" fmla="*/ 63 h 107"/>
                <a:gd name="T58" fmla="*/ 84 w 126"/>
                <a:gd name="T59" fmla="*/ 79 h 107"/>
                <a:gd name="T60" fmla="*/ 59 w 126"/>
                <a:gd name="T61" fmla="*/ 70 h 107"/>
                <a:gd name="T62" fmla="*/ 52 w 126"/>
                <a:gd name="T63" fmla="*/ 79 h 107"/>
                <a:gd name="T64" fmla="*/ 49 w 126"/>
                <a:gd name="T65" fmla="*/ 77 h 107"/>
                <a:gd name="T66" fmla="*/ 57 w 126"/>
                <a:gd name="T67" fmla="*/ 75 h 107"/>
                <a:gd name="T68" fmla="*/ 57 w 126"/>
                <a:gd name="T69" fmla="*/ 88 h 107"/>
                <a:gd name="T70" fmla="*/ 53 w 126"/>
                <a:gd name="T71" fmla="*/ 86 h 107"/>
                <a:gd name="T72" fmla="*/ 57 w 126"/>
                <a:gd name="T73" fmla="*/ 88 h 107"/>
                <a:gd name="T74" fmla="*/ 5 w 126"/>
                <a:gd name="T75" fmla="*/ 45 h 107"/>
                <a:gd name="T76" fmla="*/ 39 w 126"/>
                <a:gd name="T77" fmla="*/ 13 h 107"/>
                <a:gd name="T78" fmla="*/ 124 w 126"/>
                <a:gd name="T79" fmla="*/ 59 h 107"/>
                <a:gd name="T80" fmla="*/ 103 w 126"/>
                <a:gd name="T81" fmla="*/ 57 h 107"/>
                <a:gd name="T82" fmla="*/ 53 w 126"/>
                <a:gd name="T83" fmla="*/ 20 h 107"/>
                <a:gd name="T84" fmla="*/ 44 w 126"/>
                <a:gd name="T85" fmla="*/ 13 h 107"/>
                <a:gd name="T86" fmla="*/ 25 w 126"/>
                <a:gd name="T87" fmla="*/ 1 h 107"/>
                <a:gd name="T88" fmla="*/ 0 w 126"/>
                <a:gd name="T89" fmla="*/ 45 h 107"/>
                <a:gd name="T90" fmla="*/ 19 w 126"/>
                <a:gd name="T91" fmla="*/ 57 h 107"/>
                <a:gd name="T92" fmla="*/ 22 w 126"/>
                <a:gd name="T93" fmla="*/ 56 h 107"/>
                <a:gd name="T94" fmla="*/ 38 w 126"/>
                <a:gd name="T95" fmla="*/ 60 h 107"/>
                <a:gd name="T96" fmla="*/ 47 w 126"/>
                <a:gd name="T97" fmla="*/ 71 h 107"/>
                <a:gd name="T98" fmla="*/ 49 w 126"/>
                <a:gd name="T99" fmla="*/ 83 h 107"/>
                <a:gd name="T100" fmla="*/ 49 w 126"/>
                <a:gd name="T101" fmla="*/ 86 h 107"/>
                <a:gd name="T102" fmla="*/ 57 w 126"/>
                <a:gd name="T103" fmla="*/ 92 h 107"/>
                <a:gd name="T104" fmla="*/ 60 w 126"/>
                <a:gd name="T105" fmla="*/ 107 h 107"/>
                <a:gd name="T106" fmla="*/ 126 w 126"/>
                <a:gd name="T107" fmla="*/ 105 h 107"/>
                <a:gd name="T108" fmla="*/ 124 w 126"/>
                <a:gd name="T109" fmla="*/ 59 h 107"/>
                <a:gd name="T110" fmla="*/ 111 w 126"/>
                <a:gd name="T111" fmla="*/ 73 h 107"/>
                <a:gd name="T112" fmla="*/ 111 w 126"/>
                <a:gd name="T113" fmla="*/ 77 h 107"/>
                <a:gd name="T114" fmla="*/ 104 w 126"/>
                <a:gd name="T115" fmla="*/ 75 h 107"/>
                <a:gd name="T116" fmla="*/ 106 w 126"/>
                <a:gd name="T117" fmla="*/ 81 h 107"/>
                <a:gd name="T118" fmla="*/ 117 w 126"/>
                <a:gd name="T119" fmla="*/ 75 h 107"/>
                <a:gd name="T120" fmla="*/ 106 w 126"/>
                <a:gd name="T121" fmla="*/ 68 h 107"/>
                <a:gd name="T122" fmla="*/ 106 w 126"/>
                <a:gd name="T123" fmla="*/ 8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107">
                  <a:moveTo>
                    <a:pt x="115" y="90"/>
                  </a:moveTo>
                  <a:cubicBezTo>
                    <a:pt x="108" y="90"/>
                    <a:pt x="108" y="90"/>
                    <a:pt x="108" y="90"/>
                  </a:cubicBezTo>
                  <a:cubicBezTo>
                    <a:pt x="107" y="90"/>
                    <a:pt x="106" y="91"/>
                    <a:pt x="106" y="92"/>
                  </a:cubicBezTo>
                  <a:cubicBezTo>
                    <a:pt x="106" y="93"/>
                    <a:pt x="107" y="94"/>
                    <a:pt x="108" y="94"/>
                  </a:cubicBezTo>
                  <a:cubicBezTo>
                    <a:pt x="115" y="94"/>
                    <a:pt x="115" y="94"/>
                    <a:pt x="115" y="94"/>
                  </a:cubicBezTo>
                  <a:cubicBezTo>
                    <a:pt x="116" y="94"/>
                    <a:pt x="117" y="93"/>
                    <a:pt x="117" y="92"/>
                  </a:cubicBezTo>
                  <a:cubicBezTo>
                    <a:pt x="117" y="91"/>
                    <a:pt x="116" y="90"/>
                    <a:pt x="115" y="90"/>
                  </a:cubicBezTo>
                  <a:moveTo>
                    <a:pt x="95" y="94"/>
                  </a:moveTo>
                  <a:cubicBezTo>
                    <a:pt x="102" y="94"/>
                    <a:pt x="102" y="94"/>
                    <a:pt x="102" y="94"/>
                  </a:cubicBezTo>
                  <a:cubicBezTo>
                    <a:pt x="103" y="94"/>
                    <a:pt x="104" y="93"/>
                    <a:pt x="104" y="92"/>
                  </a:cubicBezTo>
                  <a:cubicBezTo>
                    <a:pt x="104" y="91"/>
                    <a:pt x="103" y="90"/>
                    <a:pt x="102" y="90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4" y="90"/>
                    <a:pt x="93" y="91"/>
                    <a:pt x="93" y="92"/>
                  </a:cubicBezTo>
                  <a:cubicBezTo>
                    <a:pt x="93" y="93"/>
                    <a:pt x="94" y="94"/>
                    <a:pt x="95" y="94"/>
                  </a:cubicBezTo>
                  <a:moveTo>
                    <a:pt x="88" y="90"/>
                  </a:moveTo>
                  <a:cubicBezTo>
                    <a:pt x="82" y="90"/>
                    <a:pt x="82" y="90"/>
                    <a:pt x="82" y="90"/>
                  </a:cubicBezTo>
                  <a:cubicBezTo>
                    <a:pt x="81" y="90"/>
                    <a:pt x="80" y="91"/>
                    <a:pt x="80" y="92"/>
                  </a:cubicBezTo>
                  <a:cubicBezTo>
                    <a:pt x="80" y="93"/>
                    <a:pt x="81" y="94"/>
                    <a:pt x="82" y="9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90" y="94"/>
                    <a:pt x="91" y="93"/>
                    <a:pt x="91" y="92"/>
                  </a:cubicBezTo>
                  <a:cubicBezTo>
                    <a:pt x="91" y="91"/>
                    <a:pt x="90" y="90"/>
                    <a:pt x="88" y="90"/>
                  </a:cubicBezTo>
                  <a:moveTo>
                    <a:pt x="75" y="90"/>
                  </a:moveTo>
                  <a:cubicBezTo>
                    <a:pt x="69" y="90"/>
                    <a:pt x="69" y="90"/>
                    <a:pt x="69" y="90"/>
                  </a:cubicBezTo>
                  <a:cubicBezTo>
                    <a:pt x="67" y="90"/>
                    <a:pt x="66" y="91"/>
                    <a:pt x="66" y="92"/>
                  </a:cubicBezTo>
                  <a:cubicBezTo>
                    <a:pt x="66" y="93"/>
                    <a:pt x="67" y="94"/>
                    <a:pt x="69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6" y="94"/>
                    <a:pt x="77" y="93"/>
                    <a:pt x="77" y="92"/>
                  </a:cubicBezTo>
                  <a:cubicBezTo>
                    <a:pt x="77" y="91"/>
                    <a:pt x="76" y="90"/>
                    <a:pt x="75" y="90"/>
                  </a:cubicBezTo>
                  <a:moveTo>
                    <a:pt x="122" y="103"/>
                  </a:moveTo>
                  <a:cubicBezTo>
                    <a:pt x="62" y="103"/>
                    <a:pt x="62" y="103"/>
                    <a:pt x="62" y="103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5" y="76"/>
                    <a:pt x="69" y="78"/>
                    <a:pt x="73" y="80"/>
                  </a:cubicBezTo>
                  <a:cubicBezTo>
                    <a:pt x="77" y="83"/>
                    <a:pt x="80" y="84"/>
                    <a:pt x="83" y="84"/>
                  </a:cubicBezTo>
                  <a:cubicBezTo>
                    <a:pt x="84" y="84"/>
                    <a:pt x="85" y="84"/>
                    <a:pt x="86" y="83"/>
                  </a:cubicBezTo>
                  <a:cubicBezTo>
                    <a:pt x="89" y="82"/>
                    <a:pt x="90" y="79"/>
                    <a:pt x="91" y="77"/>
                  </a:cubicBezTo>
                  <a:cubicBezTo>
                    <a:pt x="92" y="73"/>
                    <a:pt x="90" y="68"/>
                    <a:pt x="86" y="64"/>
                  </a:cubicBezTo>
                  <a:cubicBezTo>
                    <a:pt x="122" y="64"/>
                    <a:pt x="122" y="64"/>
                    <a:pt x="122" y="64"/>
                  </a:cubicBezTo>
                  <a:lnTo>
                    <a:pt x="122" y="103"/>
                  </a:lnTo>
                  <a:close/>
                  <a:moveTo>
                    <a:pt x="59" y="70"/>
                  </a:moveTo>
                  <a:cubicBezTo>
                    <a:pt x="54" y="69"/>
                    <a:pt x="51" y="69"/>
                    <a:pt x="47" y="65"/>
                  </a:cubicBezTo>
                  <a:cubicBezTo>
                    <a:pt x="45" y="63"/>
                    <a:pt x="43" y="61"/>
                    <a:pt x="42" y="58"/>
                  </a:cubicBezTo>
                  <a:cubicBezTo>
                    <a:pt x="39" y="54"/>
                    <a:pt x="36" y="48"/>
                    <a:pt x="27" y="45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3" y="21"/>
                    <a:pt x="47" y="23"/>
                    <a:pt x="51" y="24"/>
                  </a:cubicBezTo>
                  <a:cubicBezTo>
                    <a:pt x="69" y="31"/>
                    <a:pt x="83" y="36"/>
                    <a:pt x="88" y="36"/>
                  </a:cubicBezTo>
                  <a:cubicBezTo>
                    <a:pt x="93" y="36"/>
                    <a:pt x="97" y="53"/>
                    <a:pt x="99" y="58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8" y="59"/>
                    <a:pt x="78" y="58"/>
                    <a:pt x="79" y="55"/>
                  </a:cubicBezTo>
                  <a:cubicBezTo>
                    <a:pt x="80" y="54"/>
                    <a:pt x="81" y="53"/>
                    <a:pt x="81" y="52"/>
                  </a:cubicBezTo>
                  <a:cubicBezTo>
                    <a:pt x="82" y="51"/>
                    <a:pt x="81" y="49"/>
                    <a:pt x="80" y="49"/>
                  </a:cubicBezTo>
                  <a:cubicBezTo>
                    <a:pt x="79" y="49"/>
                    <a:pt x="77" y="49"/>
                    <a:pt x="77" y="50"/>
                  </a:cubicBezTo>
                  <a:cubicBezTo>
                    <a:pt x="76" y="52"/>
                    <a:pt x="75" y="53"/>
                    <a:pt x="74" y="53"/>
                  </a:cubicBezTo>
                  <a:cubicBezTo>
                    <a:pt x="70" y="55"/>
                    <a:pt x="68" y="50"/>
                    <a:pt x="68" y="49"/>
                  </a:cubicBezTo>
                  <a:cubicBezTo>
                    <a:pt x="68" y="48"/>
                    <a:pt x="68" y="46"/>
                    <a:pt x="67" y="46"/>
                  </a:cubicBezTo>
                  <a:cubicBezTo>
                    <a:pt x="65" y="46"/>
                    <a:pt x="64" y="46"/>
                    <a:pt x="64" y="47"/>
                  </a:cubicBezTo>
                  <a:cubicBezTo>
                    <a:pt x="62" y="54"/>
                    <a:pt x="69" y="61"/>
                    <a:pt x="77" y="63"/>
                  </a:cubicBezTo>
                  <a:cubicBezTo>
                    <a:pt x="84" y="65"/>
                    <a:pt x="88" y="72"/>
                    <a:pt x="87" y="76"/>
                  </a:cubicBezTo>
                  <a:cubicBezTo>
                    <a:pt x="86" y="78"/>
                    <a:pt x="85" y="79"/>
                    <a:pt x="84" y="79"/>
                  </a:cubicBezTo>
                  <a:cubicBezTo>
                    <a:pt x="83" y="80"/>
                    <a:pt x="81" y="80"/>
                    <a:pt x="75" y="77"/>
                  </a:cubicBezTo>
                  <a:cubicBezTo>
                    <a:pt x="68" y="72"/>
                    <a:pt x="63" y="71"/>
                    <a:pt x="59" y="70"/>
                  </a:cubicBezTo>
                  <a:moveTo>
                    <a:pt x="57" y="77"/>
                  </a:moveTo>
                  <a:cubicBezTo>
                    <a:pt x="55" y="77"/>
                    <a:pt x="53" y="78"/>
                    <a:pt x="52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78"/>
                    <a:pt x="49" y="77"/>
                  </a:cubicBezTo>
                  <a:cubicBezTo>
                    <a:pt x="49" y="75"/>
                    <a:pt x="50" y="74"/>
                    <a:pt x="52" y="73"/>
                  </a:cubicBezTo>
                  <a:cubicBezTo>
                    <a:pt x="54" y="74"/>
                    <a:pt x="55" y="74"/>
                    <a:pt x="57" y="75"/>
                  </a:cubicBezTo>
                  <a:lnTo>
                    <a:pt x="57" y="77"/>
                  </a:lnTo>
                  <a:close/>
                  <a:moveTo>
                    <a:pt x="57" y="88"/>
                  </a:move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7"/>
                    <a:pt x="53" y="86"/>
                  </a:cubicBezTo>
                  <a:cubicBezTo>
                    <a:pt x="53" y="83"/>
                    <a:pt x="55" y="82"/>
                    <a:pt x="57" y="81"/>
                  </a:cubicBezTo>
                  <a:lnTo>
                    <a:pt x="57" y="88"/>
                  </a:lnTo>
                  <a:close/>
                  <a:moveTo>
                    <a:pt x="19" y="52"/>
                  </a:moveTo>
                  <a:cubicBezTo>
                    <a:pt x="5" y="45"/>
                    <a:pt x="5" y="45"/>
                    <a:pt x="5" y="4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39" y="13"/>
                    <a:pt x="39" y="13"/>
                    <a:pt x="39" y="13"/>
                  </a:cubicBezTo>
                  <a:lnTo>
                    <a:pt x="19" y="52"/>
                  </a:lnTo>
                  <a:close/>
                  <a:moveTo>
                    <a:pt x="124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8"/>
                    <a:pt x="103" y="57"/>
                  </a:cubicBezTo>
                  <a:cubicBezTo>
                    <a:pt x="99" y="44"/>
                    <a:pt x="96" y="31"/>
                    <a:pt x="88" y="31"/>
                  </a:cubicBezTo>
                  <a:cubicBezTo>
                    <a:pt x="84" y="31"/>
                    <a:pt x="66" y="25"/>
                    <a:pt x="53" y="20"/>
                  </a:cubicBezTo>
                  <a:cubicBezTo>
                    <a:pt x="49" y="19"/>
                    <a:pt x="45" y="18"/>
                    <a:pt x="42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1"/>
                    <a:pt x="44" y="10"/>
                    <a:pt x="43" y="1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0"/>
                    <a:pt x="23" y="1"/>
                    <a:pt x="22" y="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8"/>
                    <a:pt x="1" y="48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20" y="57"/>
                  </a:cubicBezTo>
                  <a:cubicBezTo>
                    <a:pt x="21" y="57"/>
                    <a:pt x="21" y="57"/>
                    <a:pt x="22" y="56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33" y="52"/>
                    <a:pt x="35" y="56"/>
                    <a:pt x="38" y="60"/>
                  </a:cubicBezTo>
                  <a:cubicBezTo>
                    <a:pt x="39" y="63"/>
                    <a:pt x="41" y="66"/>
                    <a:pt x="44" y="69"/>
                  </a:cubicBezTo>
                  <a:cubicBezTo>
                    <a:pt x="45" y="69"/>
                    <a:pt x="46" y="70"/>
                    <a:pt x="47" y="71"/>
                  </a:cubicBezTo>
                  <a:cubicBezTo>
                    <a:pt x="45" y="72"/>
                    <a:pt x="44" y="74"/>
                    <a:pt x="44" y="77"/>
                  </a:cubicBezTo>
                  <a:cubicBezTo>
                    <a:pt x="44" y="83"/>
                    <a:pt x="48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4"/>
                    <a:pt x="49" y="85"/>
                    <a:pt x="49" y="86"/>
                  </a:cubicBezTo>
                  <a:cubicBezTo>
                    <a:pt x="49" y="92"/>
                    <a:pt x="53" y="92"/>
                    <a:pt x="53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6"/>
                    <a:pt x="58" y="107"/>
                    <a:pt x="60" y="107"/>
                  </a:cubicBezTo>
                  <a:cubicBezTo>
                    <a:pt x="124" y="107"/>
                    <a:pt x="124" y="107"/>
                    <a:pt x="124" y="107"/>
                  </a:cubicBezTo>
                  <a:cubicBezTo>
                    <a:pt x="125" y="107"/>
                    <a:pt x="126" y="106"/>
                    <a:pt x="126" y="105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6" y="60"/>
                    <a:pt x="125" y="59"/>
                    <a:pt x="124" y="59"/>
                  </a:cubicBezTo>
                  <a:moveTo>
                    <a:pt x="106" y="73"/>
                  </a:moveTo>
                  <a:cubicBezTo>
                    <a:pt x="111" y="73"/>
                    <a:pt x="111" y="73"/>
                    <a:pt x="111" y="73"/>
                  </a:cubicBezTo>
                  <a:cubicBezTo>
                    <a:pt x="112" y="73"/>
                    <a:pt x="113" y="73"/>
                    <a:pt x="113" y="75"/>
                  </a:cubicBezTo>
                  <a:cubicBezTo>
                    <a:pt x="113" y="76"/>
                    <a:pt x="112" y="77"/>
                    <a:pt x="111" y="77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5" y="77"/>
                    <a:pt x="104" y="76"/>
                    <a:pt x="104" y="75"/>
                  </a:cubicBezTo>
                  <a:cubicBezTo>
                    <a:pt x="104" y="73"/>
                    <a:pt x="105" y="73"/>
                    <a:pt x="106" y="73"/>
                  </a:cubicBezTo>
                  <a:moveTo>
                    <a:pt x="106" y="81"/>
                  </a:moveTo>
                  <a:cubicBezTo>
                    <a:pt x="111" y="81"/>
                    <a:pt x="111" y="81"/>
                    <a:pt x="111" y="81"/>
                  </a:cubicBezTo>
                  <a:cubicBezTo>
                    <a:pt x="114" y="81"/>
                    <a:pt x="117" y="78"/>
                    <a:pt x="117" y="75"/>
                  </a:cubicBezTo>
                  <a:cubicBezTo>
                    <a:pt x="117" y="71"/>
                    <a:pt x="114" y="68"/>
                    <a:pt x="111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103" y="68"/>
                    <a:pt x="100" y="71"/>
                    <a:pt x="100" y="75"/>
                  </a:cubicBezTo>
                  <a:cubicBezTo>
                    <a:pt x="100" y="78"/>
                    <a:pt x="103" y="81"/>
                    <a:pt x="106" y="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2" name="Group 270">
            <a:extLst>
              <a:ext uri="{FF2B5EF4-FFF2-40B4-BE49-F238E27FC236}">
                <a16:creationId xmlns:a16="http://schemas.microsoft.com/office/drawing/2014/main" id="{252B89C0-32D1-4105-8BC7-172EA6B3B1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30338" y="4148561"/>
            <a:ext cx="758825" cy="758825"/>
            <a:chOff x="901" y="2578"/>
            <a:chExt cx="478" cy="478"/>
          </a:xfrm>
        </p:grpSpPr>
        <p:sp>
          <p:nvSpPr>
            <p:cNvPr id="313" name="AutoShape 269">
              <a:extLst>
                <a:ext uri="{FF2B5EF4-FFF2-40B4-BE49-F238E27FC236}">
                  <a16:creationId xmlns:a16="http://schemas.microsoft.com/office/drawing/2014/main" id="{9AD3521C-04D6-405A-8C32-847A8F027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1" y="25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271">
              <a:extLst>
                <a:ext uri="{FF2B5EF4-FFF2-40B4-BE49-F238E27FC236}">
                  <a16:creationId xmlns:a16="http://schemas.microsoft.com/office/drawing/2014/main" id="{72B1476D-2BC1-4A4B-8726-EA8455597E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3" y="25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72">
              <a:extLst>
                <a:ext uri="{FF2B5EF4-FFF2-40B4-BE49-F238E27FC236}">
                  <a16:creationId xmlns:a16="http://schemas.microsoft.com/office/drawing/2014/main" id="{2D7D8AC0-1FB4-4053-BD40-37A24DA7F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" y="2676"/>
              <a:ext cx="309" cy="262"/>
            </a:xfrm>
            <a:custGeom>
              <a:avLst/>
              <a:gdLst>
                <a:gd name="T0" fmla="*/ 108 w 126"/>
                <a:gd name="T1" fmla="*/ 90 h 107"/>
                <a:gd name="T2" fmla="*/ 108 w 126"/>
                <a:gd name="T3" fmla="*/ 94 h 107"/>
                <a:gd name="T4" fmla="*/ 117 w 126"/>
                <a:gd name="T5" fmla="*/ 92 h 107"/>
                <a:gd name="T6" fmla="*/ 95 w 126"/>
                <a:gd name="T7" fmla="*/ 94 h 107"/>
                <a:gd name="T8" fmla="*/ 104 w 126"/>
                <a:gd name="T9" fmla="*/ 92 h 107"/>
                <a:gd name="T10" fmla="*/ 95 w 126"/>
                <a:gd name="T11" fmla="*/ 90 h 107"/>
                <a:gd name="T12" fmla="*/ 95 w 126"/>
                <a:gd name="T13" fmla="*/ 94 h 107"/>
                <a:gd name="T14" fmla="*/ 82 w 126"/>
                <a:gd name="T15" fmla="*/ 90 h 107"/>
                <a:gd name="T16" fmla="*/ 82 w 126"/>
                <a:gd name="T17" fmla="*/ 94 h 107"/>
                <a:gd name="T18" fmla="*/ 91 w 126"/>
                <a:gd name="T19" fmla="*/ 92 h 107"/>
                <a:gd name="T20" fmla="*/ 75 w 126"/>
                <a:gd name="T21" fmla="*/ 90 h 107"/>
                <a:gd name="T22" fmla="*/ 66 w 126"/>
                <a:gd name="T23" fmla="*/ 92 h 107"/>
                <a:gd name="T24" fmla="*/ 75 w 126"/>
                <a:gd name="T25" fmla="*/ 94 h 107"/>
                <a:gd name="T26" fmla="*/ 75 w 126"/>
                <a:gd name="T27" fmla="*/ 90 h 107"/>
                <a:gd name="T28" fmla="*/ 62 w 126"/>
                <a:gd name="T29" fmla="*/ 103 h 107"/>
                <a:gd name="T30" fmla="*/ 73 w 126"/>
                <a:gd name="T31" fmla="*/ 80 h 107"/>
                <a:gd name="T32" fmla="*/ 86 w 126"/>
                <a:gd name="T33" fmla="*/ 83 h 107"/>
                <a:gd name="T34" fmla="*/ 86 w 126"/>
                <a:gd name="T35" fmla="*/ 64 h 107"/>
                <a:gd name="T36" fmla="*/ 122 w 126"/>
                <a:gd name="T37" fmla="*/ 103 h 107"/>
                <a:gd name="T38" fmla="*/ 47 w 126"/>
                <a:gd name="T39" fmla="*/ 65 h 107"/>
                <a:gd name="T40" fmla="*/ 27 w 126"/>
                <a:gd name="T41" fmla="*/ 45 h 107"/>
                <a:gd name="T42" fmla="*/ 51 w 126"/>
                <a:gd name="T43" fmla="*/ 24 h 107"/>
                <a:gd name="T44" fmla="*/ 99 w 126"/>
                <a:gd name="T45" fmla="*/ 58 h 107"/>
                <a:gd name="T46" fmla="*/ 79 w 126"/>
                <a:gd name="T47" fmla="*/ 59 h 107"/>
                <a:gd name="T48" fmla="*/ 79 w 126"/>
                <a:gd name="T49" fmla="*/ 55 h 107"/>
                <a:gd name="T50" fmla="*/ 80 w 126"/>
                <a:gd name="T51" fmla="*/ 49 h 107"/>
                <a:gd name="T52" fmla="*/ 74 w 126"/>
                <a:gd name="T53" fmla="*/ 53 h 107"/>
                <a:gd name="T54" fmla="*/ 67 w 126"/>
                <a:gd name="T55" fmla="*/ 46 h 107"/>
                <a:gd name="T56" fmla="*/ 77 w 126"/>
                <a:gd name="T57" fmla="*/ 63 h 107"/>
                <a:gd name="T58" fmla="*/ 84 w 126"/>
                <a:gd name="T59" fmla="*/ 79 h 107"/>
                <a:gd name="T60" fmla="*/ 59 w 126"/>
                <a:gd name="T61" fmla="*/ 70 h 107"/>
                <a:gd name="T62" fmla="*/ 52 w 126"/>
                <a:gd name="T63" fmla="*/ 79 h 107"/>
                <a:gd name="T64" fmla="*/ 49 w 126"/>
                <a:gd name="T65" fmla="*/ 77 h 107"/>
                <a:gd name="T66" fmla="*/ 57 w 126"/>
                <a:gd name="T67" fmla="*/ 75 h 107"/>
                <a:gd name="T68" fmla="*/ 57 w 126"/>
                <a:gd name="T69" fmla="*/ 88 h 107"/>
                <a:gd name="T70" fmla="*/ 53 w 126"/>
                <a:gd name="T71" fmla="*/ 86 h 107"/>
                <a:gd name="T72" fmla="*/ 57 w 126"/>
                <a:gd name="T73" fmla="*/ 88 h 107"/>
                <a:gd name="T74" fmla="*/ 5 w 126"/>
                <a:gd name="T75" fmla="*/ 45 h 107"/>
                <a:gd name="T76" fmla="*/ 39 w 126"/>
                <a:gd name="T77" fmla="*/ 13 h 107"/>
                <a:gd name="T78" fmla="*/ 124 w 126"/>
                <a:gd name="T79" fmla="*/ 59 h 107"/>
                <a:gd name="T80" fmla="*/ 103 w 126"/>
                <a:gd name="T81" fmla="*/ 57 h 107"/>
                <a:gd name="T82" fmla="*/ 53 w 126"/>
                <a:gd name="T83" fmla="*/ 20 h 107"/>
                <a:gd name="T84" fmla="*/ 44 w 126"/>
                <a:gd name="T85" fmla="*/ 13 h 107"/>
                <a:gd name="T86" fmla="*/ 25 w 126"/>
                <a:gd name="T87" fmla="*/ 1 h 107"/>
                <a:gd name="T88" fmla="*/ 0 w 126"/>
                <a:gd name="T89" fmla="*/ 45 h 107"/>
                <a:gd name="T90" fmla="*/ 19 w 126"/>
                <a:gd name="T91" fmla="*/ 57 h 107"/>
                <a:gd name="T92" fmla="*/ 22 w 126"/>
                <a:gd name="T93" fmla="*/ 56 h 107"/>
                <a:gd name="T94" fmla="*/ 38 w 126"/>
                <a:gd name="T95" fmla="*/ 60 h 107"/>
                <a:gd name="T96" fmla="*/ 47 w 126"/>
                <a:gd name="T97" fmla="*/ 71 h 107"/>
                <a:gd name="T98" fmla="*/ 49 w 126"/>
                <a:gd name="T99" fmla="*/ 83 h 107"/>
                <a:gd name="T100" fmla="*/ 49 w 126"/>
                <a:gd name="T101" fmla="*/ 86 h 107"/>
                <a:gd name="T102" fmla="*/ 57 w 126"/>
                <a:gd name="T103" fmla="*/ 92 h 107"/>
                <a:gd name="T104" fmla="*/ 60 w 126"/>
                <a:gd name="T105" fmla="*/ 107 h 107"/>
                <a:gd name="T106" fmla="*/ 126 w 126"/>
                <a:gd name="T107" fmla="*/ 105 h 107"/>
                <a:gd name="T108" fmla="*/ 124 w 126"/>
                <a:gd name="T109" fmla="*/ 59 h 107"/>
                <a:gd name="T110" fmla="*/ 111 w 126"/>
                <a:gd name="T111" fmla="*/ 73 h 107"/>
                <a:gd name="T112" fmla="*/ 111 w 126"/>
                <a:gd name="T113" fmla="*/ 77 h 107"/>
                <a:gd name="T114" fmla="*/ 104 w 126"/>
                <a:gd name="T115" fmla="*/ 75 h 107"/>
                <a:gd name="T116" fmla="*/ 106 w 126"/>
                <a:gd name="T117" fmla="*/ 81 h 107"/>
                <a:gd name="T118" fmla="*/ 117 w 126"/>
                <a:gd name="T119" fmla="*/ 75 h 107"/>
                <a:gd name="T120" fmla="*/ 106 w 126"/>
                <a:gd name="T121" fmla="*/ 68 h 107"/>
                <a:gd name="T122" fmla="*/ 106 w 126"/>
                <a:gd name="T123" fmla="*/ 8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107">
                  <a:moveTo>
                    <a:pt x="115" y="90"/>
                  </a:moveTo>
                  <a:cubicBezTo>
                    <a:pt x="108" y="90"/>
                    <a:pt x="108" y="90"/>
                    <a:pt x="108" y="90"/>
                  </a:cubicBezTo>
                  <a:cubicBezTo>
                    <a:pt x="107" y="90"/>
                    <a:pt x="106" y="91"/>
                    <a:pt x="106" y="92"/>
                  </a:cubicBezTo>
                  <a:cubicBezTo>
                    <a:pt x="106" y="93"/>
                    <a:pt x="107" y="94"/>
                    <a:pt x="108" y="94"/>
                  </a:cubicBezTo>
                  <a:cubicBezTo>
                    <a:pt x="115" y="94"/>
                    <a:pt x="115" y="94"/>
                    <a:pt x="115" y="94"/>
                  </a:cubicBezTo>
                  <a:cubicBezTo>
                    <a:pt x="116" y="94"/>
                    <a:pt x="117" y="93"/>
                    <a:pt x="117" y="92"/>
                  </a:cubicBezTo>
                  <a:cubicBezTo>
                    <a:pt x="117" y="91"/>
                    <a:pt x="116" y="90"/>
                    <a:pt x="115" y="90"/>
                  </a:cubicBezTo>
                  <a:moveTo>
                    <a:pt x="95" y="94"/>
                  </a:moveTo>
                  <a:cubicBezTo>
                    <a:pt x="102" y="94"/>
                    <a:pt x="102" y="94"/>
                    <a:pt x="102" y="94"/>
                  </a:cubicBezTo>
                  <a:cubicBezTo>
                    <a:pt x="103" y="94"/>
                    <a:pt x="104" y="93"/>
                    <a:pt x="104" y="92"/>
                  </a:cubicBezTo>
                  <a:cubicBezTo>
                    <a:pt x="104" y="91"/>
                    <a:pt x="103" y="90"/>
                    <a:pt x="102" y="90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4" y="90"/>
                    <a:pt x="93" y="91"/>
                    <a:pt x="93" y="92"/>
                  </a:cubicBezTo>
                  <a:cubicBezTo>
                    <a:pt x="93" y="93"/>
                    <a:pt x="94" y="94"/>
                    <a:pt x="95" y="94"/>
                  </a:cubicBezTo>
                  <a:moveTo>
                    <a:pt x="88" y="90"/>
                  </a:moveTo>
                  <a:cubicBezTo>
                    <a:pt x="82" y="90"/>
                    <a:pt x="82" y="90"/>
                    <a:pt x="82" y="90"/>
                  </a:cubicBezTo>
                  <a:cubicBezTo>
                    <a:pt x="81" y="90"/>
                    <a:pt x="80" y="91"/>
                    <a:pt x="80" y="92"/>
                  </a:cubicBezTo>
                  <a:cubicBezTo>
                    <a:pt x="80" y="93"/>
                    <a:pt x="81" y="94"/>
                    <a:pt x="82" y="9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90" y="94"/>
                    <a:pt x="91" y="93"/>
                    <a:pt x="91" y="92"/>
                  </a:cubicBezTo>
                  <a:cubicBezTo>
                    <a:pt x="91" y="91"/>
                    <a:pt x="90" y="90"/>
                    <a:pt x="88" y="90"/>
                  </a:cubicBezTo>
                  <a:moveTo>
                    <a:pt x="75" y="90"/>
                  </a:moveTo>
                  <a:cubicBezTo>
                    <a:pt x="69" y="90"/>
                    <a:pt x="69" y="90"/>
                    <a:pt x="69" y="90"/>
                  </a:cubicBezTo>
                  <a:cubicBezTo>
                    <a:pt x="67" y="90"/>
                    <a:pt x="66" y="91"/>
                    <a:pt x="66" y="92"/>
                  </a:cubicBezTo>
                  <a:cubicBezTo>
                    <a:pt x="66" y="93"/>
                    <a:pt x="67" y="94"/>
                    <a:pt x="69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6" y="94"/>
                    <a:pt x="77" y="93"/>
                    <a:pt x="77" y="92"/>
                  </a:cubicBezTo>
                  <a:cubicBezTo>
                    <a:pt x="77" y="91"/>
                    <a:pt x="76" y="90"/>
                    <a:pt x="75" y="90"/>
                  </a:cubicBezTo>
                  <a:moveTo>
                    <a:pt x="122" y="103"/>
                  </a:moveTo>
                  <a:cubicBezTo>
                    <a:pt x="62" y="103"/>
                    <a:pt x="62" y="103"/>
                    <a:pt x="62" y="103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5" y="76"/>
                    <a:pt x="69" y="78"/>
                    <a:pt x="73" y="80"/>
                  </a:cubicBezTo>
                  <a:cubicBezTo>
                    <a:pt x="77" y="83"/>
                    <a:pt x="80" y="84"/>
                    <a:pt x="83" y="84"/>
                  </a:cubicBezTo>
                  <a:cubicBezTo>
                    <a:pt x="84" y="84"/>
                    <a:pt x="85" y="84"/>
                    <a:pt x="86" y="83"/>
                  </a:cubicBezTo>
                  <a:cubicBezTo>
                    <a:pt x="89" y="82"/>
                    <a:pt x="90" y="79"/>
                    <a:pt x="91" y="77"/>
                  </a:cubicBezTo>
                  <a:cubicBezTo>
                    <a:pt x="92" y="73"/>
                    <a:pt x="90" y="68"/>
                    <a:pt x="86" y="64"/>
                  </a:cubicBezTo>
                  <a:cubicBezTo>
                    <a:pt x="122" y="64"/>
                    <a:pt x="122" y="64"/>
                    <a:pt x="122" y="64"/>
                  </a:cubicBezTo>
                  <a:lnTo>
                    <a:pt x="122" y="103"/>
                  </a:lnTo>
                  <a:close/>
                  <a:moveTo>
                    <a:pt x="59" y="70"/>
                  </a:moveTo>
                  <a:cubicBezTo>
                    <a:pt x="54" y="69"/>
                    <a:pt x="51" y="69"/>
                    <a:pt x="47" y="65"/>
                  </a:cubicBezTo>
                  <a:cubicBezTo>
                    <a:pt x="45" y="63"/>
                    <a:pt x="43" y="61"/>
                    <a:pt x="42" y="58"/>
                  </a:cubicBezTo>
                  <a:cubicBezTo>
                    <a:pt x="39" y="54"/>
                    <a:pt x="36" y="48"/>
                    <a:pt x="27" y="45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3" y="21"/>
                    <a:pt x="47" y="23"/>
                    <a:pt x="51" y="24"/>
                  </a:cubicBezTo>
                  <a:cubicBezTo>
                    <a:pt x="69" y="31"/>
                    <a:pt x="83" y="36"/>
                    <a:pt x="88" y="36"/>
                  </a:cubicBezTo>
                  <a:cubicBezTo>
                    <a:pt x="93" y="36"/>
                    <a:pt x="97" y="53"/>
                    <a:pt x="99" y="58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8" y="59"/>
                    <a:pt x="78" y="58"/>
                    <a:pt x="79" y="55"/>
                  </a:cubicBezTo>
                  <a:cubicBezTo>
                    <a:pt x="80" y="54"/>
                    <a:pt x="81" y="53"/>
                    <a:pt x="81" y="52"/>
                  </a:cubicBezTo>
                  <a:cubicBezTo>
                    <a:pt x="82" y="51"/>
                    <a:pt x="81" y="49"/>
                    <a:pt x="80" y="49"/>
                  </a:cubicBezTo>
                  <a:cubicBezTo>
                    <a:pt x="79" y="49"/>
                    <a:pt x="77" y="49"/>
                    <a:pt x="77" y="50"/>
                  </a:cubicBezTo>
                  <a:cubicBezTo>
                    <a:pt x="76" y="52"/>
                    <a:pt x="75" y="53"/>
                    <a:pt x="74" y="53"/>
                  </a:cubicBezTo>
                  <a:cubicBezTo>
                    <a:pt x="70" y="55"/>
                    <a:pt x="68" y="50"/>
                    <a:pt x="68" y="49"/>
                  </a:cubicBezTo>
                  <a:cubicBezTo>
                    <a:pt x="68" y="48"/>
                    <a:pt x="68" y="46"/>
                    <a:pt x="67" y="46"/>
                  </a:cubicBezTo>
                  <a:cubicBezTo>
                    <a:pt x="65" y="46"/>
                    <a:pt x="64" y="46"/>
                    <a:pt x="64" y="47"/>
                  </a:cubicBezTo>
                  <a:cubicBezTo>
                    <a:pt x="62" y="54"/>
                    <a:pt x="69" y="61"/>
                    <a:pt x="77" y="63"/>
                  </a:cubicBezTo>
                  <a:cubicBezTo>
                    <a:pt x="84" y="65"/>
                    <a:pt x="88" y="72"/>
                    <a:pt x="87" y="76"/>
                  </a:cubicBezTo>
                  <a:cubicBezTo>
                    <a:pt x="86" y="78"/>
                    <a:pt x="85" y="79"/>
                    <a:pt x="84" y="79"/>
                  </a:cubicBezTo>
                  <a:cubicBezTo>
                    <a:pt x="83" y="80"/>
                    <a:pt x="81" y="80"/>
                    <a:pt x="75" y="77"/>
                  </a:cubicBezTo>
                  <a:cubicBezTo>
                    <a:pt x="68" y="72"/>
                    <a:pt x="63" y="71"/>
                    <a:pt x="59" y="70"/>
                  </a:cubicBezTo>
                  <a:moveTo>
                    <a:pt x="57" y="77"/>
                  </a:moveTo>
                  <a:cubicBezTo>
                    <a:pt x="55" y="77"/>
                    <a:pt x="53" y="78"/>
                    <a:pt x="52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78"/>
                    <a:pt x="49" y="77"/>
                  </a:cubicBezTo>
                  <a:cubicBezTo>
                    <a:pt x="49" y="75"/>
                    <a:pt x="50" y="74"/>
                    <a:pt x="52" y="73"/>
                  </a:cubicBezTo>
                  <a:cubicBezTo>
                    <a:pt x="54" y="74"/>
                    <a:pt x="55" y="74"/>
                    <a:pt x="57" y="75"/>
                  </a:cubicBezTo>
                  <a:lnTo>
                    <a:pt x="57" y="77"/>
                  </a:lnTo>
                  <a:close/>
                  <a:moveTo>
                    <a:pt x="57" y="88"/>
                  </a:move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7"/>
                    <a:pt x="53" y="86"/>
                  </a:cubicBezTo>
                  <a:cubicBezTo>
                    <a:pt x="53" y="83"/>
                    <a:pt x="55" y="82"/>
                    <a:pt x="57" y="81"/>
                  </a:cubicBezTo>
                  <a:lnTo>
                    <a:pt x="57" y="88"/>
                  </a:lnTo>
                  <a:close/>
                  <a:moveTo>
                    <a:pt x="19" y="52"/>
                  </a:moveTo>
                  <a:cubicBezTo>
                    <a:pt x="5" y="45"/>
                    <a:pt x="5" y="45"/>
                    <a:pt x="5" y="4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39" y="13"/>
                    <a:pt x="39" y="13"/>
                    <a:pt x="39" y="13"/>
                  </a:cubicBezTo>
                  <a:lnTo>
                    <a:pt x="19" y="52"/>
                  </a:lnTo>
                  <a:close/>
                  <a:moveTo>
                    <a:pt x="124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8"/>
                    <a:pt x="103" y="57"/>
                  </a:cubicBezTo>
                  <a:cubicBezTo>
                    <a:pt x="99" y="44"/>
                    <a:pt x="96" y="31"/>
                    <a:pt x="88" y="31"/>
                  </a:cubicBezTo>
                  <a:cubicBezTo>
                    <a:pt x="84" y="31"/>
                    <a:pt x="66" y="25"/>
                    <a:pt x="53" y="20"/>
                  </a:cubicBezTo>
                  <a:cubicBezTo>
                    <a:pt x="49" y="19"/>
                    <a:pt x="45" y="18"/>
                    <a:pt x="42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1"/>
                    <a:pt x="44" y="10"/>
                    <a:pt x="43" y="1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0"/>
                    <a:pt x="23" y="1"/>
                    <a:pt x="22" y="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8"/>
                    <a:pt x="1" y="48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20" y="57"/>
                  </a:cubicBezTo>
                  <a:cubicBezTo>
                    <a:pt x="21" y="57"/>
                    <a:pt x="21" y="57"/>
                    <a:pt x="22" y="56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33" y="52"/>
                    <a:pt x="35" y="56"/>
                    <a:pt x="38" y="60"/>
                  </a:cubicBezTo>
                  <a:cubicBezTo>
                    <a:pt x="39" y="63"/>
                    <a:pt x="41" y="66"/>
                    <a:pt x="44" y="69"/>
                  </a:cubicBezTo>
                  <a:cubicBezTo>
                    <a:pt x="45" y="69"/>
                    <a:pt x="46" y="70"/>
                    <a:pt x="47" y="71"/>
                  </a:cubicBezTo>
                  <a:cubicBezTo>
                    <a:pt x="45" y="72"/>
                    <a:pt x="44" y="74"/>
                    <a:pt x="44" y="77"/>
                  </a:cubicBezTo>
                  <a:cubicBezTo>
                    <a:pt x="44" y="83"/>
                    <a:pt x="48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4"/>
                    <a:pt x="49" y="85"/>
                    <a:pt x="49" y="86"/>
                  </a:cubicBezTo>
                  <a:cubicBezTo>
                    <a:pt x="49" y="92"/>
                    <a:pt x="53" y="92"/>
                    <a:pt x="53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6"/>
                    <a:pt x="58" y="107"/>
                    <a:pt x="60" y="107"/>
                  </a:cubicBezTo>
                  <a:cubicBezTo>
                    <a:pt x="124" y="107"/>
                    <a:pt x="124" y="107"/>
                    <a:pt x="124" y="107"/>
                  </a:cubicBezTo>
                  <a:cubicBezTo>
                    <a:pt x="125" y="107"/>
                    <a:pt x="126" y="106"/>
                    <a:pt x="126" y="105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6" y="60"/>
                    <a:pt x="125" y="59"/>
                    <a:pt x="124" y="59"/>
                  </a:cubicBezTo>
                  <a:moveTo>
                    <a:pt x="106" y="73"/>
                  </a:moveTo>
                  <a:cubicBezTo>
                    <a:pt x="111" y="73"/>
                    <a:pt x="111" y="73"/>
                    <a:pt x="111" y="73"/>
                  </a:cubicBezTo>
                  <a:cubicBezTo>
                    <a:pt x="112" y="73"/>
                    <a:pt x="113" y="73"/>
                    <a:pt x="113" y="75"/>
                  </a:cubicBezTo>
                  <a:cubicBezTo>
                    <a:pt x="113" y="76"/>
                    <a:pt x="112" y="77"/>
                    <a:pt x="111" y="77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5" y="77"/>
                    <a:pt x="104" y="76"/>
                    <a:pt x="104" y="75"/>
                  </a:cubicBezTo>
                  <a:cubicBezTo>
                    <a:pt x="104" y="73"/>
                    <a:pt x="105" y="73"/>
                    <a:pt x="106" y="73"/>
                  </a:cubicBezTo>
                  <a:moveTo>
                    <a:pt x="106" y="81"/>
                  </a:moveTo>
                  <a:cubicBezTo>
                    <a:pt x="111" y="81"/>
                    <a:pt x="111" y="81"/>
                    <a:pt x="111" y="81"/>
                  </a:cubicBezTo>
                  <a:cubicBezTo>
                    <a:pt x="114" y="81"/>
                    <a:pt x="117" y="78"/>
                    <a:pt x="117" y="75"/>
                  </a:cubicBezTo>
                  <a:cubicBezTo>
                    <a:pt x="117" y="71"/>
                    <a:pt x="114" y="68"/>
                    <a:pt x="111" y="68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103" y="68"/>
                    <a:pt x="100" y="71"/>
                    <a:pt x="100" y="75"/>
                  </a:cubicBezTo>
                  <a:cubicBezTo>
                    <a:pt x="100" y="78"/>
                    <a:pt x="103" y="81"/>
                    <a:pt x="106" y="8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6" name="Group 275">
            <a:extLst>
              <a:ext uri="{FF2B5EF4-FFF2-40B4-BE49-F238E27FC236}">
                <a16:creationId xmlns:a16="http://schemas.microsoft.com/office/drawing/2014/main" id="{59107F1E-C2FA-4F32-BAAA-156EDBF3F5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60638" y="4107286"/>
            <a:ext cx="841375" cy="841375"/>
            <a:chOff x="1613" y="2552"/>
            <a:chExt cx="530" cy="530"/>
          </a:xfrm>
        </p:grpSpPr>
        <p:sp>
          <p:nvSpPr>
            <p:cNvPr id="317" name="AutoShape 274">
              <a:extLst>
                <a:ext uri="{FF2B5EF4-FFF2-40B4-BE49-F238E27FC236}">
                  <a16:creationId xmlns:a16="http://schemas.microsoft.com/office/drawing/2014/main" id="{FC29883A-1827-41C3-928A-0E0ED51033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13" y="255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Oval 276">
              <a:extLst>
                <a:ext uri="{FF2B5EF4-FFF2-40B4-BE49-F238E27FC236}">
                  <a16:creationId xmlns:a16="http://schemas.microsoft.com/office/drawing/2014/main" id="{5B9CB259-FA34-44F5-92A5-1E4F85443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" y="255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77">
              <a:extLst>
                <a:ext uri="{FF2B5EF4-FFF2-40B4-BE49-F238E27FC236}">
                  <a16:creationId xmlns:a16="http://schemas.microsoft.com/office/drawing/2014/main" id="{AD4B84FD-A2B6-4AA1-87B4-0AD70819A0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1" y="257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8">
              <a:extLst>
                <a:ext uri="{FF2B5EF4-FFF2-40B4-BE49-F238E27FC236}">
                  <a16:creationId xmlns:a16="http://schemas.microsoft.com/office/drawing/2014/main" id="{A605F670-E2EB-4059-B132-574871A7A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1" y="2849"/>
              <a:ext cx="56" cy="59"/>
            </a:xfrm>
            <a:custGeom>
              <a:avLst/>
              <a:gdLst>
                <a:gd name="T0" fmla="*/ 11 w 22"/>
                <a:gd name="T1" fmla="*/ 23 h 23"/>
                <a:gd name="T2" fmla="*/ 22 w 22"/>
                <a:gd name="T3" fmla="*/ 11 h 23"/>
                <a:gd name="T4" fmla="*/ 11 w 22"/>
                <a:gd name="T5" fmla="*/ 0 h 23"/>
                <a:gd name="T6" fmla="*/ 0 w 22"/>
                <a:gd name="T7" fmla="*/ 11 h 23"/>
                <a:gd name="T8" fmla="*/ 11 w 22"/>
                <a:gd name="T9" fmla="*/ 23 h 23"/>
                <a:gd name="T10" fmla="*/ 11 w 22"/>
                <a:gd name="T11" fmla="*/ 3 h 23"/>
                <a:gd name="T12" fmla="*/ 19 w 22"/>
                <a:gd name="T13" fmla="*/ 11 h 23"/>
                <a:gd name="T14" fmla="*/ 11 w 22"/>
                <a:gd name="T15" fmla="*/ 19 h 23"/>
                <a:gd name="T16" fmla="*/ 3 w 22"/>
                <a:gd name="T17" fmla="*/ 11 h 23"/>
                <a:gd name="T18" fmla="*/ 11 w 22"/>
                <a:gd name="T1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3">
                  <a:moveTo>
                    <a:pt x="11" y="23"/>
                  </a:moveTo>
                  <a:cubicBezTo>
                    <a:pt x="17" y="23"/>
                    <a:pt x="22" y="17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3"/>
                    <a:pt x="11" y="23"/>
                  </a:cubicBezTo>
                  <a:close/>
                  <a:moveTo>
                    <a:pt x="11" y="3"/>
                  </a:moveTo>
                  <a:cubicBezTo>
                    <a:pt x="15" y="3"/>
                    <a:pt x="19" y="7"/>
                    <a:pt x="19" y="11"/>
                  </a:cubicBezTo>
                  <a:cubicBezTo>
                    <a:pt x="19" y="16"/>
                    <a:pt x="15" y="19"/>
                    <a:pt x="11" y="19"/>
                  </a:cubicBezTo>
                  <a:cubicBezTo>
                    <a:pt x="7" y="19"/>
                    <a:pt x="3" y="16"/>
                    <a:pt x="3" y="11"/>
                  </a:cubicBezTo>
                  <a:cubicBezTo>
                    <a:pt x="3" y="7"/>
                    <a:pt x="7" y="3"/>
                    <a:pt x="1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79">
              <a:extLst>
                <a:ext uri="{FF2B5EF4-FFF2-40B4-BE49-F238E27FC236}">
                  <a16:creationId xmlns:a16="http://schemas.microsoft.com/office/drawing/2014/main" id="{C3A89243-824A-4460-87FA-FCA79A4EC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8" y="2634"/>
              <a:ext cx="322" cy="348"/>
            </a:xfrm>
            <a:custGeom>
              <a:avLst/>
              <a:gdLst>
                <a:gd name="T0" fmla="*/ 125 w 126"/>
                <a:gd name="T1" fmla="*/ 67 h 136"/>
                <a:gd name="T2" fmla="*/ 65 w 126"/>
                <a:gd name="T3" fmla="*/ 10 h 136"/>
                <a:gd name="T4" fmla="*/ 65 w 126"/>
                <a:gd name="T5" fmla="*/ 2 h 136"/>
                <a:gd name="T6" fmla="*/ 61 w 126"/>
                <a:gd name="T7" fmla="*/ 2 h 136"/>
                <a:gd name="T8" fmla="*/ 61 w 126"/>
                <a:gd name="T9" fmla="*/ 10 h 136"/>
                <a:gd name="T10" fmla="*/ 1 w 126"/>
                <a:gd name="T11" fmla="*/ 67 h 136"/>
                <a:gd name="T12" fmla="*/ 19 w 126"/>
                <a:gd name="T13" fmla="*/ 62 h 136"/>
                <a:gd name="T14" fmla="*/ 37 w 126"/>
                <a:gd name="T15" fmla="*/ 67 h 136"/>
                <a:gd name="T16" fmla="*/ 61 w 126"/>
                <a:gd name="T17" fmla="*/ 60 h 136"/>
                <a:gd name="T18" fmla="*/ 27 w 126"/>
                <a:gd name="T19" fmla="*/ 74 h 136"/>
                <a:gd name="T20" fmla="*/ 25 w 126"/>
                <a:gd name="T21" fmla="*/ 115 h 136"/>
                <a:gd name="T22" fmla="*/ 61 w 126"/>
                <a:gd name="T23" fmla="*/ 116 h 136"/>
                <a:gd name="T24" fmla="*/ 53 w 126"/>
                <a:gd name="T25" fmla="*/ 133 h 136"/>
                <a:gd name="T26" fmla="*/ 44 w 126"/>
                <a:gd name="T27" fmla="*/ 123 h 136"/>
                <a:gd name="T28" fmla="*/ 53 w 126"/>
                <a:gd name="T29" fmla="*/ 136 h 136"/>
                <a:gd name="T30" fmla="*/ 65 w 126"/>
                <a:gd name="T31" fmla="*/ 116 h 136"/>
                <a:gd name="T32" fmla="*/ 101 w 126"/>
                <a:gd name="T33" fmla="*/ 115 h 136"/>
                <a:gd name="T34" fmla="*/ 100 w 126"/>
                <a:gd name="T35" fmla="*/ 74 h 136"/>
                <a:gd name="T36" fmla="*/ 65 w 126"/>
                <a:gd name="T37" fmla="*/ 60 h 136"/>
                <a:gd name="T38" fmla="*/ 89 w 126"/>
                <a:gd name="T39" fmla="*/ 67 h 136"/>
                <a:gd name="T40" fmla="*/ 107 w 126"/>
                <a:gd name="T41" fmla="*/ 62 h 136"/>
                <a:gd name="T42" fmla="*/ 35 w 126"/>
                <a:gd name="T43" fmla="*/ 62 h 136"/>
                <a:gd name="T44" fmla="*/ 34 w 126"/>
                <a:gd name="T45" fmla="*/ 62 h 136"/>
                <a:gd name="T46" fmla="*/ 5 w 126"/>
                <a:gd name="T47" fmla="*/ 62 h 136"/>
                <a:gd name="T48" fmla="*/ 4 w 126"/>
                <a:gd name="T49" fmla="*/ 61 h 136"/>
                <a:gd name="T50" fmla="*/ 51 w 126"/>
                <a:gd name="T51" fmla="*/ 14 h 136"/>
                <a:gd name="T52" fmla="*/ 35 w 126"/>
                <a:gd name="T53" fmla="*/ 62 h 136"/>
                <a:gd name="T54" fmla="*/ 34 w 126"/>
                <a:gd name="T55" fmla="*/ 77 h 136"/>
                <a:gd name="T56" fmla="*/ 29 w 126"/>
                <a:gd name="T57" fmla="*/ 83 h 136"/>
                <a:gd name="T58" fmla="*/ 28 w 126"/>
                <a:gd name="T59" fmla="*/ 77 h 136"/>
                <a:gd name="T60" fmla="*/ 28 w 126"/>
                <a:gd name="T61" fmla="*/ 107 h 136"/>
                <a:gd name="T62" fmla="*/ 34 w 126"/>
                <a:gd name="T63" fmla="*/ 112 h 136"/>
                <a:gd name="T64" fmla="*/ 28 w 126"/>
                <a:gd name="T65" fmla="*/ 113 h 136"/>
                <a:gd name="T66" fmla="*/ 92 w 126"/>
                <a:gd name="T67" fmla="*/ 113 h 136"/>
                <a:gd name="T68" fmla="*/ 97 w 126"/>
                <a:gd name="T69" fmla="*/ 107 h 136"/>
                <a:gd name="T70" fmla="*/ 98 w 126"/>
                <a:gd name="T71" fmla="*/ 113 h 136"/>
                <a:gd name="T72" fmla="*/ 98 w 126"/>
                <a:gd name="T73" fmla="*/ 83 h 136"/>
                <a:gd name="T74" fmla="*/ 92 w 126"/>
                <a:gd name="T75" fmla="*/ 78 h 136"/>
                <a:gd name="T76" fmla="*/ 98 w 126"/>
                <a:gd name="T77" fmla="*/ 77 h 136"/>
                <a:gd name="T78" fmla="*/ 88 w 126"/>
                <a:gd name="T79" fmla="*/ 78 h 136"/>
                <a:gd name="T80" fmla="*/ 98 w 126"/>
                <a:gd name="T81" fmla="*/ 87 h 136"/>
                <a:gd name="T82" fmla="*/ 97 w 126"/>
                <a:gd name="T83" fmla="*/ 103 h 136"/>
                <a:gd name="T84" fmla="*/ 88 w 126"/>
                <a:gd name="T85" fmla="*/ 113 h 136"/>
                <a:gd name="T86" fmla="*/ 38 w 126"/>
                <a:gd name="T87" fmla="*/ 112 h 136"/>
                <a:gd name="T88" fmla="*/ 28 w 126"/>
                <a:gd name="T89" fmla="*/ 103 h 136"/>
                <a:gd name="T90" fmla="*/ 29 w 126"/>
                <a:gd name="T91" fmla="*/ 87 h 136"/>
                <a:gd name="T92" fmla="*/ 38 w 126"/>
                <a:gd name="T93" fmla="*/ 77 h 136"/>
                <a:gd name="T94" fmla="*/ 87 w 126"/>
                <a:gd name="T95" fmla="*/ 62 h 136"/>
                <a:gd name="T96" fmla="*/ 39 w 126"/>
                <a:gd name="T97" fmla="*/ 62 h 136"/>
                <a:gd name="T98" fmla="*/ 38 w 126"/>
                <a:gd name="T99" fmla="*/ 61 h 136"/>
                <a:gd name="T100" fmla="*/ 88 w 126"/>
                <a:gd name="T101" fmla="*/ 61 h 136"/>
                <a:gd name="T102" fmla="*/ 87 w 126"/>
                <a:gd name="T103" fmla="*/ 62 h 136"/>
                <a:gd name="T104" fmla="*/ 91 w 126"/>
                <a:gd name="T105" fmla="*/ 62 h 136"/>
                <a:gd name="T106" fmla="*/ 75 w 126"/>
                <a:gd name="T107" fmla="*/ 14 h 136"/>
                <a:gd name="T108" fmla="*/ 122 w 126"/>
                <a:gd name="T109" fmla="*/ 61 h 136"/>
                <a:gd name="T110" fmla="*/ 121 w 126"/>
                <a:gd name="T111" fmla="*/ 62 h 136"/>
                <a:gd name="T112" fmla="*/ 92 w 126"/>
                <a:gd name="T113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" h="136">
                  <a:moveTo>
                    <a:pt x="123" y="67"/>
                  </a:moveTo>
                  <a:cubicBezTo>
                    <a:pt x="123" y="67"/>
                    <a:pt x="124" y="67"/>
                    <a:pt x="125" y="67"/>
                  </a:cubicBezTo>
                  <a:cubicBezTo>
                    <a:pt x="125" y="67"/>
                    <a:pt x="126" y="66"/>
                    <a:pt x="126" y="66"/>
                  </a:cubicBezTo>
                  <a:cubicBezTo>
                    <a:pt x="126" y="37"/>
                    <a:pt x="97" y="11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1"/>
                    <a:pt x="64" y="0"/>
                    <a:pt x="63" y="0"/>
                  </a:cubicBezTo>
                  <a:cubicBezTo>
                    <a:pt x="62" y="0"/>
                    <a:pt x="61" y="1"/>
                    <a:pt x="61" y="2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29" y="11"/>
                    <a:pt x="0" y="37"/>
                    <a:pt x="0" y="66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7"/>
                  </a:cubicBezTo>
                  <a:cubicBezTo>
                    <a:pt x="4" y="66"/>
                    <a:pt x="11" y="62"/>
                    <a:pt x="19" y="62"/>
                  </a:cubicBezTo>
                  <a:cubicBezTo>
                    <a:pt x="28" y="62"/>
                    <a:pt x="35" y="67"/>
                    <a:pt x="35" y="67"/>
                  </a:cubicBezTo>
                  <a:cubicBezTo>
                    <a:pt x="36" y="67"/>
                    <a:pt x="37" y="67"/>
                    <a:pt x="37" y="67"/>
                  </a:cubicBezTo>
                  <a:cubicBezTo>
                    <a:pt x="39" y="66"/>
                    <a:pt x="49" y="61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6" y="74"/>
                    <a:pt x="25" y="74"/>
                    <a:pt x="25" y="7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5" y="116"/>
                    <a:pt x="26" y="116"/>
                    <a:pt x="27" y="116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1" y="125"/>
                    <a:pt x="61" y="125"/>
                    <a:pt x="61" y="125"/>
                  </a:cubicBezTo>
                  <a:cubicBezTo>
                    <a:pt x="61" y="129"/>
                    <a:pt x="58" y="133"/>
                    <a:pt x="53" y="133"/>
                  </a:cubicBezTo>
                  <a:cubicBezTo>
                    <a:pt x="49" y="133"/>
                    <a:pt x="45" y="129"/>
                    <a:pt x="45" y="125"/>
                  </a:cubicBezTo>
                  <a:cubicBezTo>
                    <a:pt x="45" y="124"/>
                    <a:pt x="44" y="123"/>
                    <a:pt x="44" y="123"/>
                  </a:cubicBezTo>
                  <a:cubicBezTo>
                    <a:pt x="43" y="123"/>
                    <a:pt x="42" y="124"/>
                    <a:pt x="42" y="125"/>
                  </a:cubicBezTo>
                  <a:cubicBezTo>
                    <a:pt x="42" y="131"/>
                    <a:pt x="47" y="136"/>
                    <a:pt x="53" y="136"/>
                  </a:cubicBezTo>
                  <a:cubicBezTo>
                    <a:pt x="60" y="136"/>
                    <a:pt x="65" y="131"/>
                    <a:pt x="65" y="125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100" y="116"/>
                    <a:pt x="101" y="116"/>
                    <a:pt x="101" y="11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4"/>
                    <a:pt x="100" y="74"/>
                    <a:pt x="100" y="74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77" y="61"/>
                    <a:pt x="87" y="66"/>
                    <a:pt x="89" y="67"/>
                  </a:cubicBezTo>
                  <a:cubicBezTo>
                    <a:pt x="89" y="67"/>
                    <a:pt x="90" y="67"/>
                    <a:pt x="91" y="67"/>
                  </a:cubicBezTo>
                  <a:cubicBezTo>
                    <a:pt x="92" y="66"/>
                    <a:pt x="99" y="62"/>
                    <a:pt x="107" y="62"/>
                  </a:cubicBezTo>
                  <a:cubicBezTo>
                    <a:pt x="115" y="62"/>
                    <a:pt x="122" y="66"/>
                    <a:pt x="123" y="67"/>
                  </a:cubicBezTo>
                  <a:close/>
                  <a:moveTo>
                    <a:pt x="35" y="62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0" y="61"/>
                    <a:pt x="25" y="59"/>
                    <a:pt x="19" y="59"/>
                  </a:cubicBezTo>
                  <a:cubicBezTo>
                    <a:pt x="13" y="59"/>
                    <a:pt x="8" y="61"/>
                    <a:pt x="5" y="62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6" y="40"/>
                    <a:pt x="25" y="21"/>
                    <a:pt x="48" y="15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1" y="25"/>
                    <a:pt x="35" y="42"/>
                    <a:pt x="35" y="62"/>
                  </a:cubicBezTo>
                  <a:close/>
                  <a:moveTo>
                    <a:pt x="28" y="77"/>
                  </a:moveTo>
                  <a:cubicBezTo>
                    <a:pt x="34" y="77"/>
                    <a:pt x="34" y="77"/>
                    <a:pt x="34" y="77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3" y="80"/>
                    <a:pt x="32" y="82"/>
                    <a:pt x="29" y="83"/>
                  </a:cubicBezTo>
                  <a:cubicBezTo>
                    <a:pt x="28" y="83"/>
                    <a:pt x="28" y="83"/>
                    <a:pt x="28" y="83"/>
                  </a:cubicBezTo>
                  <a:lnTo>
                    <a:pt x="28" y="77"/>
                  </a:lnTo>
                  <a:close/>
                  <a:moveTo>
                    <a:pt x="28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31" y="108"/>
                    <a:pt x="33" y="110"/>
                    <a:pt x="34" y="112"/>
                  </a:cubicBezTo>
                  <a:cubicBezTo>
                    <a:pt x="34" y="113"/>
                    <a:pt x="34" y="113"/>
                    <a:pt x="34" y="113"/>
                  </a:cubicBezTo>
                  <a:lnTo>
                    <a:pt x="28" y="113"/>
                  </a:lnTo>
                  <a:close/>
                  <a:moveTo>
                    <a:pt x="98" y="113"/>
                  </a:moveTo>
                  <a:cubicBezTo>
                    <a:pt x="92" y="113"/>
                    <a:pt x="92" y="113"/>
                    <a:pt x="92" y="113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3" y="110"/>
                    <a:pt x="95" y="108"/>
                    <a:pt x="97" y="107"/>
                  </a:cubicBezTo>
                  <a:cubicBezTo>
                    <a:pt x="98" y="107"/>
                    <a:pt x="98" y="107"/>
                    <a:pt x="98" y="107"/>
                  </a:cubicBezTo>
                  <a:lnTo>
                    <a:pt x="98" y="113"/>
                  </a:lnTo>
                  <a:close/>
                  <a:moveTo>
                    <a:pt x="98" y="77"/>
                  </a:moveTo>
                  <a:cubicBezTo>
                    <a:pt x="98" y="83"/>
                    <a:pt x="98" y="83"/>
                    <a:pt x="98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5" y="82"/>
                    <a:pt x="93" y="80"/>
                    <a:pt x="92" y="78"/>
                  </a:cubicBezTo>
                  <a:cubicBezTo>
                    <a:pt x="92" y="77"/>
                    <a:pt x="92" y="77"/>
                    <a:pt x="92" y="77"/>
                  </a:cubicBezTo>
                  <a:lnTo>
                    <a:pt x="98" y="77"/>
                  </a:lnTo>
                  <a:close/>
                  <a:moveTo>
                    <a:pt x="88" y="77"/>
                  </a:moveTo>
                  <a:cubicBezTo>
                    <a:pt x="88" y="78"/>
                    <a:pt x="88" y="78"/>
                    <a:pt x="88" y="78"/>
                  </a:cubicBezTo>
                  <a:cubicBezTo>
                    <a:pt x="89" y="82"/>
                    <a:pt x="93" y="86"/>
                    <a:pt x="97" y="87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7" y="103"/>
                    <a:pt x="97" y="103"/>
                    <a:pt x="97" y="103"/>
                  </a:cubicBezTo>
                  <a:cubicBezTo>
                    <a:pt x="93" y="104"/>
                    <a:pt x="89" y="108"/>
                    <a:pt x="88" y="11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7" y="108"/>
                    <a:pt x="33" y="104"/>
                    <a:pt x="29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33" y="86"/>
                    <a:pt x="37" y="82"/>
                    <a:pt x="38" y="78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88" y="77"/>
                  </a:lnTo>
                  <a:close/>
                  <a:moveTo>
                    <a:pt x="87" y="62"/>
                  </a:moveTo>
                  <a:cubicBezTo>
                    <a:pt x="83" y="60"/>
                    <a:pt x="74" y="57"/>
                    <a:pt x="63" y="57"/>
                  </a:cubicBezTo>
                  <a:cubicBezTo>
                    <a:pt x="53" y="57"/>
                    <a:pt x="44" y="60"/>
                    <a:pt x="39" y="62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9" y="33"/>
                    <a:pt x="49" y="13"/>
                    <a:pt x="63" y="13"/>
                  </a:cubicBezTo>
                  <a:cubicBezTo>
                    <a:pt x="77" y="13"/>
                    <a:pt x="87" y="33"/>
                    <a:pt x="88" y="61"/>
                  </a:cubicBezTo>
                  <a:cubicBezTo>
                    <a:pt x="88" y="63"/>
                    <a:pt x="88" y="63"/>
                    <a:pt x="88" y="63"/>
                  </a:cubicBezTo>
                  <a:lnTo>
                    <a:pt x="87" y="62"/>
                  </a:lnTo>
                  <a:close/>
                  <a:moveTo>
                    <a:pt x="91" y="63"/>
                  </a:moveTo>
                  <a:cubicBezTo>
                    <a:pt x="91" y="62"/>
                    <a:pt x="91" y="62"/>
                    <a:pt x="91" y="62"/>
                  </a:cubicBezTo>
                  <a:cubicBezTo>
                    <a:pt x="91" y="42"/>
                    <a:pt x="85" y="25"/>
                    <a:pt x="77" y="16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101" y="21"/>
                    <a:pt x="120" y="40"/>
                    <a:pt x="122" y="61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18" y="61"/>
                    <a:pt x="113" y="59"/>
                    <a:pt x="107" y="59"/>
                  </a:cubicBezTo>
                  <a:cubicBezTo>
                    <a:pt x="102" y="59"/>
                    <a:pt x="97" y="60"/>
                    <a:pt x="92" y="62"/>
                  </a:cubicBezTo>
                  <a:lnTo>
                    <a:pt x="91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2" name="Group 282">
            <a:extLst>
              <a:ext uri="{FF2B5EF4-FFF2-40B4-BE49-F238E27FC236}">
                <a16:creationId xmlns:a16="http://schemas.microsoft.com/office/drawing/2014/main" id="{3E098E42-C261-4869-8164-AAC9E388C1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30613" y="4148561"/>
            <a:ext cx="758825" cy="758825"/>
            <a:chOff x="2287" y="2578"/>
            <a:chExt cx="478" cy="478"/>
          </a:xfrm>
        </p:grpSpPr>
        <p:sp>
          <p:nvSpPr>
            <p:cNvPr id="323" name="AutoShape 281">
              <a:extLst>
                <a:ext uri="{FF2B5EF4-FFF2-40B4-BE49-F238E27FC236}">
                  <a16:creationId xmlns:a16="http://schemas.microsoft.com/office/drawing/2014/main" id="{30114D3E-86D8-4B48-A6DB-643BC1039C9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7" y="25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83">
              <a:extLst>
                <a:ext uri="{FF2B5EF4-FFF2-40B4-BE49-F238E27FC236}">
                  <a16:creationId xmlns:a16="http://schemas.microsoft.com/office/drawing/2014/main" id="{9FEFAA2B-A0E3-4F7A-A560-2C69054ED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" y="25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84">
              <a:extLst>
                <a:ext uri="{FF2B5EF4-FFF2-40B4-BE49-F238E27FC236}">
                  <a16:creationId xmlns:a16="http://schemas.microsoft.com/office/drawing/2014/main" id="{D74C9D40-14B1-4469-89DB-9B7D774A84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0" y="2848"/>
              <a:ext cx="54" cy="56"/>
            </a:xfrm>
            <a:custGeom>
              <a:avLst/>
              <a:gdLst>
                <a:gd name="T0" fmla="*/ 11 w 22"/>
                <a:gd name="T1" fmla="*/ 23 h 23"/>
                <a:gd name="T2" fmla="*/ 22 w 22"/>
                <a:gd name="T3" fmla="*/ 11 h 23"/>
                <a:gd name="T4" fmla="*/ 11 w 22"/>
                <a:gd name="T5" fmla="*/ 0 h 23"/>
                <a:gd name="T6" fmla="*/ 0 w 22"/>
                <a:gd name="T7" fmla="*/ 11 h 23"/>
                <a:gd name="T8" fmla="*/ 11 w 22"/>
                <a:gd name="T9" fmla="*/ 23 h 23"/>
                <a:gd name="T10" fmla="*/ 11 w 22"/>
                <a:gd name="T11" fmla="*/ 3 h 23"/>
                <a:gd name="T12" fmla="*/ 19 w 22"/>
                <a:gd name="T13" fmla="*/ 11 h 23"/>
                <a:gd name="T14" fmla="*/ 11 w 22"/>
                <a:gd name="T15" fmla="*/ 19 h 23"/>
                <a:gd name="T16" fmla="*/ 3 w 22"/>
                <a:gd name="T17" fmla="*/ 11 h 23"/>
                <a:gd name="T18" fmla="*/ 11 w 22"/>
                <a:gd name="T1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3">
                  <a:moveTo>
                    <a:pt x="11" y="23"/>
                  </a:moveTo>
                  <a:cubicBezTo>
                    <a:pt x="17" y="23"/>
                    <a:pt x="22" y="17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3"/>
                    <a:pt x="11" y="23"/>
                  </a:cubicBezTo>
                  <a:close/>
                  <a:moveTo>
                    <a:pt x="11" y="3"/>
                  </a:moveTo>
                  <a:cubicBezTo>
                    <a:pt x="15" y="3"/>
                    <a:pt x="19" y="7"/>
                    <a:pt x="19" y="11"/>
                  </a:cubicBezTo>
                  <a:cubicBezTo>
                    <a:pt x="19" y="16"/>
                    <a:pt x="15" y="19"/>
                    <a:pt x="11" y="19"/>
                  </a:cubicBezTo>
                  <a:cubicBezTo>
                    <a:pt x="7" y="19"/>
                    <a:pt x="3" y="16"/>
                    <a:pt x="3" y="11"/>
                  </a:cubicBezTo>
                  <a:cubicBezTo>
                    <a:pt x="3" y="7"/>
                    <a:pt x="7" y="3"/>
                    <a:pt x="11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85">
              <a:extLst>
                <a:ext uri="{FF2B5EF4-FFF2-40B4-BE49-F238E27FC236}">
                  <a16:creationId xmlns:a16="http://schemas.microsoft.com/office/drawing/2014/main" id="{6A8794A9-E8C7-4D7E-ADD5-881EA0864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642"/>
              <a:ext cx="309" cy="333"/>
            </a:xfrm>
            <a:custGeom>
              <a:avLst/>
              <a:gdLst>
                <a:gd name="T0" fmla="*/ 125 w 126"/>
                <a:gd name="T1" fmla="*/ 67 h 136"/>
                <a:gd name="T2" fmla="*/ 65 w 126"/>
                <a:gd name="T3" fmla="*/ 10 h 136"/>
                <a:gd name="T4" fmla="*/ 65 w 126"/>
                <a:gd name="T5" fmla="*/ 2 h 136"/>
                <a:gd name="T6" fmla="*/ 61 w 126"/>
                <a:gd name="T7" fmla="*/ 2 h 136"/>
                <a:gd name="T8" fmla="*/ 61 w 126"/>
                <a:gd name="T9" fmla="*/ 10 h 136"/>
                <a:gd name="T10" fmla="*/ 1 w 126"/>
                <a:gd name="T11" fmla="*/ 67 h 136"/>
                <a:gd name="T12" fmla="*/ 19 w 126"/>
                <a:gd name="T13" fmla="*/ 62 h 136"/>
                <a:gd name="T14" fmla="*/ 37 w 126"/>
                <a:gd name="T15" fmla="*/ 67 h 136"/>
                <a:gd name="T16" fmla="*/ 61 w 126"/>
                <a:gd name="T17" fmla="*/ 60 h 136"/>
                <a:gd name="T18" fmla="*/ 27 w 126"/>
                <a:gd name="T19" fmla="*/ 74 h 136"/>
                <a:gd name="T20" fmla="*/ 25 w 126"/>
                <a:gd name="T21" fmla="*/ 115 h 136"/>
                <a:gd name="T22" fmla="*/ 61 w 126"/>
                <a:gd name="T23" fmla="*/ 116 h 136"/>
                <a:gd name="T24" fmla="*/ 53 w 126"/>
                <a:gd name="T25" fmla="*/ 133 h 136"/>
                <a:gd name="T26" fmla="*/ 44 w 126"/>
                <a:gd name="T27" fmla="*/ 123 h 136"/>
                <a:gd name="T28" fmla="*/ 53 w 126"/>
                <a:gd name="T29" fmla="*/ 136 h 136"/>
                <a:gd name="T30" fmla="*/ 65 w 126"/>
                <a:gd name="T31" fmla="*/ 116 h 136"/>
                <a:gd name="T32" fmla="*/ 101 w 126"/>
                <a:gd name="T33" fmla="*/ 115 h 136"/>
                <a:gd name="T34" fmla="*/ 100 w 126"/>
                <a:gd name="T35" fmla="*/ 74 h 136"/>
                <a:gd name="T36" fmla="*/ 65 w 126"/>
                <a:gd name="T37" fmla="*/ 60 h 136"/>
                <a:gd name="T38" fmla="*/ 89 w 126"/>
                <a:gd name="T39" fmla="*/ 67 h 136"/>
                <a:gd name="T40" fmla="*/ 107 w 126"/>
                <a:gd name="T41" fmla="*/ 62 h 136"/>
                <a:gd name="T42" fmla="*/ 35 w 126"/>
                <a:gd name="T43" fmla="*/ 62 h 136"/>
                <a:gd name="T44" fmla="*/ 34 w 126"/>
                <a:gd name="T45" fmla="*/ 62 h 136"/>
                <a:gd name="T46" fmla="*/ 5 w 126"/>
                <a:gd name="T47" fmla="*/ 62 h 136"/>
                <a:gd name="T48" fmla="*/ 4 w 126"/>
                <a:gd name="T49" fmla="*/ 61 h 136"/>
                <a:gd name="T50" fmla="*/ 51 w 126"/>
                <a:gd name="T51" fmla="*/ 14 h 136"/>
                <a:gd name="T52" fmla="*/ 35 w 126"/>
                <a:gd name="T53" fmla="*/ 62 h 136"/>
                <a:gd name="T54" fmla="*/ 34 w 126"/>
                <a:gd name="T55" fmla="*/ 77 h 136"/>
                <a:gd name="T56" fmla="*/ 29 w 126"/>
                <a:gd name="T57" fmla="*/ 83 h 136"/>
                <a:gd name="T58" fmla="*/ 28 w 126"/>
                <a:gd name="T59" fmla="*/ 77 h 136"/>
                <a:gd name="T60" fmla="*/ 28 w 126"/>
                <a:gd name="T61" fmla="*/ 107 h 136"/>
                <a:gd name="T62" fmla="*/ 34 w 126"/>
                <a:gd name="T63" fmla="*/ 112 h 136"/>
                <a:gd name="T64" fmla="*/ 28 w 126"/>
                <a:gd name="T65" fmla="*/ 113 h 136"/>
                <a:gd name="T66" fmla="*/ 92 w 126"/>
                <a:gd name="T67" fmla="*/ 113 h 136"/>
                <a:gd name="T68" fmla="*/ 97 w 126"/>
                <a:gd name="T69" fmla="*/ 107 h 136"/>
                <a:gd name="T70" fmla="*/ 98 w 126"/>
                <a:gd name="T71" fmla="*/ 113 h 136"/>
                <a:gd name="T72" fmla="*/ 98 w 126"/>
                <a:gd name="T73" fmla="*/ 83 h 136"/>
                <a:gd name="T74" fmla="*/ 92 w 126"/>
                <a:gd name="T75" fmla="*/ 78 h 136"/>
                <a:gd name="T76" fmla="*/ 98 w 126"/>
                <a:gd name="T77" fmla="*/ 77 h 136"/>
                <a:gd name="T78" fmla="*/ 88 w 126"/>
                <a:gd name="T79" fmla="*/ 78 h 136"/>
                <a:gd name="T80" fmla="*/ 98 w 126"/>
                <a:gd name="T81" fmla="*/ 87 h 136"/>
                <a:gd name="T82" fmla="*/ 97 w 126"/>
                <a:gd name="T83" fmla="*/ 103 h 136"/>
                <a:gd name="T84" fmla="*/ 88 w 126"/>
                <a:gd name="T85" fmla="*/ 113 h 136"/>
                <a:gd name="T86" fmla="*/ 38 w 126"/>
                <a:gd name="T87" fmla="*/ 112 h 136"/>
                <a:gd name="T88" fmla="*/ 28 w 126"/>
                <a:gd name="T89" fmla="*/ 103 h 136"/>
                <a:gd name="T90" fmla="*/ 29 w 126"/>
                <a:gd name="T91" fmla="*/ 87 h 136"/>
                <a:gd name="T92" fmla="*/ 38 w 126"/>
                <a:gd name="T93" fmla="*/ 77 h 136"/>
                <a:gd name="T94" fmla="*/ 87 w 126"/>
                <a:gd name="T95" fmla="*/ 62 h 136"/>
                <a:gd name="T96" fmla="*/ 39 w 126"/>
                <a:gd name="T97" fmla="*/ 62 h 136"/>
                <a:gd name="T98" fmla="*/ 38 w 126"/>
                <a:gd name="T99" fmla="*/ 61 h 136"/>
                <a:gd name="T100" fmla="*/ 88 w 126"/>
                <a:gd name="T101" fmla="*/ 61 h 136"/>
                <a:gd name="T102" fmla="*/ 87 w 126"/>
                <a:gd name="T103" fmla="*/ 62 h 136"/>
                <a:gd name="T104" fmla="*/ 91 w 126"/>
                <a:gd name="T105" fmla="*/ 62 h 136"/>
                <a:gd name="T106" fmla="*/ 75 w 126"/>
                <a:gd name="T107" fmla="*/ 14 h 136"/>
                <a:gd name="T108" fmla="*/ 122 w 126"/>
                <a:gd name="T109" fmla="*/ 61 h 136"/>
                <a:gd name="T110" fmla="*/ 121 w 126"/>
                <a:gd name="T111" fmla="*/ 62 h 136"/>
                <a:gd name="T112" fmla="*/ 92 w 126"/>
                <a:gd name="T113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" h="136">
                  <a:moveTo>
                    <a:pt x="123" y="67"/>
                  </a:moveTo>
                  <a:cubicBezTo>
                    <a:pt x="123" y="67"/>
                    <a:pt x="124" y="67"/>
                    <a:pt x="125" y="67"/>
                  </a:cubicBezTo>
                  <a:cubicBezTo>
                    <a:pt x="125" y="67"/>
                    <a:pt x="126" y="66"/>
                    <a:pt x="126" y="66"/>
                  </a:cubicBezTo>
                  <a:cubicBezTo>
                    <a:pt x="126" y="37"/>
                    <a:pt x="97" y="11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1"/>
                    <a:pt x="64" y="0"/>
                    <a:pt x="63" y="0"/>
                  </a:cubicBezTo>
                  <a:cubicBezTo>
                    <a:pt x="62" y="0"/>
                    <a:pt x="61" y="1"/>
                    <a:pt x="61" y="2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29" y="11"/>
                    <a:pt x="0" y="37"/>
                    <a:pt x="0" y="66"/>
                  </a:cubicBezTo>
                  <a:cubicBezTo>
                    <a:pt x="0" y="66"/>
                    <a:pt x="1" y="67"/>
                    <a:pt x="1" y="67"/>
                  </a:cubicBezTo>
                  <a:cubicBezTo>
                    <a:pt x="2" y="67"/>
                    <a:pt x="2" y="67"/>
                    <a:pt x="3" y="67"/>
                  </a:cubicBezTo>
                  <a:cubicBezTo>
                    <a:pt x="4" y="66"/>
                    <a:pt x="11" y="62"/>
                    <a:pt x="19" y="62"/>
                  </a:cubicBezTo>
                  <a:cubicBezTo>
                    <a:pt x="28" y="62"/>
                    <a:pt x="35" y="67"/>
                    <a:pt x="35" y="67"/>
                  </a:cubicBezTo>
                  <a:cubicBezTo>
                    <a:pt x="36" y="67"/>
                    <a:pt x="37" y="67"/>
                    <a:pt x="37" y="67"/>
                  </a:cubicBezTo>
                  <a:cubicBezTo>
                    <a:pt x="39" y="66"/>
                    <a:pt x="49" y="61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6" y="74"/>
                    <a:pt x="25" y="74"/>
                    <a:pt x="25" y="7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5" y="116"/>
                    <a:pt x="26" y="116"/>
                    <a:pt x="27" y="116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1" y="125"/>
                    <a:pt x="61" y="125"/>
                    <a:pt x="61" y="125"/>
                  </a:cubicBezTo>
                  <a:cubicBezTo>
                    <a:pt x="61" y="129"/>
                    <a:pt x="58" y="133"/>
                    <a:pt x="53" y="133"/>
                  </a:cubicBezTo>
                  <a:cubicBezTo>
                    <a:pt x="49" y="133"/>
                    <a:pt x="45" y="129"/>
                    <a:pt x="45" y="125"/>
                  </a:cubicBezTo>
                  <a:cubicBezTo>
                    <a:pt x="45" y="124"/>
                    <a:pt x="44" y="123"/>
                    <a:pt x="44" y="123"/>
                  </a:cubicBezTo>
                  <a:cubicBezTo>
                    <a:pt x="43" y="123"/>
                    <a:pt x="42" y="124"/>
                    <a:pt x="42" y="125"/>
                  </a:cubicBezTo>
                  <a:cubicBezTo>
                    <a:pt x="42" y="131"/>
                    <a:pt x="47" y="136"/>
                    <a:pt x="53" y="136"/>
                  </a:cubicBezTo>
                  <a:cubicBezTo>
                    <a:pt x="60" y="136"/>
                    <a:pt x="65" y="131"/>
                    <a:pt x="65" y="125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100" y="116"/>
                    <a:pt x="100" y="116"/>
                    <a:pt x="100" y="116"/>
                  </a:cubicBezTo>
                  <a:cubicBezTo>
                    <a:pt x="100" y="116"/>
                    <a:pt x="101" y="116"/>
                    <a:pt x="101" y="11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4"/>
                    <a:pt x="100" y="74"/>
                    <a:pt x="100" y="74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77" y="61"/>
                    <a:pt x="87" y="66"/>
                    <a:pt x="89" y="67"/>
                  </a:cubicBezTo>
                  <a:cubicBezTo>
                    <a:pt x="89" y="67"/>
                    <a:pt x="90" y="67"/>
                    <a:pt x="91" y="67"/>
                  </a:cubicBezTo>
                  <a:cubicBezTo>
                    <a:pt x="92" y="66"/>
                    <a:pt x="99" y="62"/>
                    <a:pt x="107" y="62"/>
                  </a:cubicBezTo>
                  <a:cubicBezTo>
                    <a:pt x="115" y="62"/>
                    <a:pt x="122" y="66"/>
                    <a:pt x="123" y="67"/>
                  </a:cubicBezTo>
                  <a:close/>
                  <a:moveTo>
                    <a:pt x="35" y="62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0" y="61"/>
                    <a:pt x="25" y="59"/>
                    <a:pt x="19" y="59"/>
                  </a:cubicBezTo>
                  <a:cubicBezTo>
                    <a:pt x="13" y="59"/>
                    <a:pt x="8" y="61"/>
                    <a:pt x="5" y="62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6" y="40"/>
                    <a:pt x="25" y="21"/>
                    <a:pt x="48" y="15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1" y="25"/>
                    <a:pt x="35" y="42"/>
                    <a:pt x="35" y="62"/>
                  </a:cubicBezTo>
                  <a:close/>
                  <a:moveTo>
                    <a:pt x="28" y="77"/>
                  </a:moveTo>
                  <a:cubicBezTo>
                    <a:pt x="34" y="77"/>
                    <a:pt x="34" y="77"/>
                    <a:pt x="34" y="77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3" y="80"/>
                    <a:pt x="32" y="82"/>
                    <a:pt x="29" y="83"/>
                  </a:cubicBezTo>
                  <a:cubicBezTo>
                    <a:pt x="28" y="83"/>
                    <a:pt x="28" y="83"/>
                    <a:pt x="28" y="83"/>
                  </a:cubicBezTo>
                  <a:lnTo>
                    <a:pt x="28" y="77"/>
                  </a:lnTo>
                  <a:close/>
                  <a:moveTo>
                    <a:pt x="28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31" y="108"/>
                    <a:pt x="33" y="110"/>
                    <a:pt x="34" y="112"/>
                  </a:cubicBezTo>
                  <a:cubicBezTo>
                    <a:pt x="34" y="113"/>
                    <a:pt x="34" y="113"/>
                    <a:pt x="34" y="113"/>
                  </a:cubicBezTo>
                  <a:lnTo>
                    <a:pt x="28" y="113"/>
                  </a:lnTo>
                  <a:close/>
                  <a:moveTo>
                    <a:pt x="98" y="113"/>
                  </a:moveTo>
                  <a:cubicBezTo>
                    <a:pt x="92" y="113"/>
                    <a:pt x="92" y="113"/>
                    <a:pt x="92" y="113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3" y="110"/>
                    <a:pt x="95" y="108"/>
                    <a:pt x="97" y="107"/>
                  </a:cubicBezTo>
                  <a:cubicBezTo>
                    <a:pt x="98" y="107"/>
                    <a:pt x="98" y="107"/>
                    <a:pt x="98" y="107"/>
                  </a:cubicBezTo>
                  <a:lnTo>
                    <a:pt x="98" y="113"/>
                  </a:lnTo>
                  <a:close/>
                  <a:moveTo>
                    <a:pt x="98" y="77"/>
                  </a:moveTo>
                  <a:cubicBezTo>
                    <a:pt x="98" y="83"/>
                    <a:pt x="98" y="83"/>
                    <a:pt x="98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5" y="82"/>
                    <a:pt x="93" y="80"/>
                    <a:pt x="92" y="78"/>
                  </a:cubicBezTo>
                  <a:cubicBezTo>
                    <a:pt x="92" y="77"/>
                    <a:pt x="92" y="77"/>
                    <a:pt x="92" y="77"/>
                  </a:cubicBezTo>
                  <a:lnTo>
                    <a:pt x="98" y="77"/>
                  </a:lnTo>
                  <a:close/>
                  <a:moveTo>
                    <a:pt x="88" y="77"/>
                  </a:moveTo>
                  <a:cubicBezTo>
                    <a:pt x="88" y="78"/>
                    <a:pt x="88" y="78"/>
                    <a:pt x="88" y="78"/>
                  </a:cubicBezTo>
                  <a:cubicBezTo>
                    <a:pt x="89" y="82"/>
                    <a:pt x="93" y="86"/>
                    <a:pt x="97" y="87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7" y="103"/>
                    <a:pt x="97" y="103"/>
                    <a:pt x="97" y="103"/>
                  </a:cubicBezTo>
                  <a:cubicBezTo>
                    <a:pt x="93" y="104"/>
                    <a:pt x="89" y="108"/>
                    <a:pt x="88" y="11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7" y="108"/>
                    <a:pt x="33" y="104"/>
                    <a:pt x="29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33" y="86"/>
                    <a:pt x="37" y="82"/>
                    <a:pt x="38" y="78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88" y="77"/>
                  </a:lnTo>
                  <a:close/>
                  <a:moveTo>
                    <a:pt x="87" y="62"/>
                  </a:moveTo>
                  <a:cubicBezTo>
                    <a:pt x="83" y="60"/>
                    <a:pt x="74" y="57"/>
                    <a:pt x="63" y="57"/>
                  </a:cubicBezTo>
                  <a:cubicBezTo>
                    <a:pt x="53" y="57"/>
                    <a:pt x="44" y="60"/>
                    <a:pt x="39" y="62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9" y="33"/>
                    <a:pt x="49" y="13"/>
                    <a:pt x="63" y="13"/>
                  </a:cubicBezTo>
                  <a:cubicBezTo>
                    <a:pt x="77" y="13"/>
                    <a:pt x="87" y="33"/>
                    <a:pt x="88" y="61"/>
                  </a:cubicBezTo>
                  <a:cubicBezTo>
                    <a:pt x="88" y="63"/>
                    <a:pt x="88" y="63"/>
                    <a:pt x="88" y="63"/>
                  </a:cubicBezTo>
                  <a:lnTo>
                    <a:pt x="87" y="62"/>
                  </a:lnTo>
                  <a:close/>
                  <a:moveTo>
                    <a:pt x="91" y="63"/>
                  </a:moveTo>
                  <a:cubicBezTo>
                    <a:pt x="91" y="62"/>
                    <a:pt x="91" y="62"/>
                    <a:pt x="91" y="62"/>
                  </a:cubicBezTo>
                  <a:cubicBezTo>
                    <a:pt x="91" y="42"/>
                    <a:pt x="85" y="25"/>
                    <a:pt x="77" y="16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101" y="21"/>
                    <a:pt x="120" y="40"/>
                    <a:pt x="122" y="61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18" y="61"/>
                    <a:pt x="113" y="59"/>
                    <a:pt x="107" y="59"/>
                  </a:cubicBezTo>
                  <a:cubicBezTo>
                    <a:pt x="102" y="59"/>
                    <a:pt x="97" y="60"/>
                    <a:pt x="92" y="62"/>
                  </a:cubicBezTo>
                  <a:lnTo>
                    <a:pt x="91" y="6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288">
            <a:extLst>
              <a:ext uri="{FF2B5EF4-FFF2-40B4-BE49-F238E27FC236}">
                <a16:creationId xmlns:a16="http://schemas.microsoft.com/office/drawing/2014/main" id="{72955029-CAF2-4C49-A86F-D826995E3A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2825" y="4107286"/>
            <a:ext cx="841375" cy="841375"/>
            <a:chOff x="3038" y="2552"/>
            <a:chExt cx="530" cy="530"/>
          </a:xfrm>
        </p:grpSpPr>
        <p:sp>
          <p:nvSpPr>
            <p:cNvPr id="328" name="AutoShape 287">
              <a:extLst>
                <a:ext uri="{FF2B5EF4-FFF2-40B4-BE49-F238E27FC236}">
                  <a16:creationId xmlns:a16="http://schemas.microsoft.com/office/drawing/2014/main" id="{189395F8-AFFC-47B3-9C33-6476B917D4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8" y="255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Oval 289">
              <a:extLst>
                <a:ext uri="{FF2B5EF4-FFF2-40B4-BE49-F238E27FC236}">
                  <a16:creationId xmlns:a16="http://schemas.microsoft.com/office/drawing/2014/main" id="{6AF1985D-2C8A-4D52-8AA3-0B594F264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8" y="255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90">
              <a:extLst>
                <a:ext uri="{FF2B5EF4-FFF2-40B4-BE49-F238E27FC236}">
                  <a16:creationId xmlns:a16="http://schemas.microsoft.com/office/drawing/2014/main" id="{9AA3C085-0339-49A8-A0F6-4D36D5C70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6" y="257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91">
              <a:extLst>
                <a:ext uri="{FF2B5EF4-FFF2-40B4-BE49-F238E27FC236}">
                  <a16:creationId xmlns:a16="http://schemas.microsoft.com/office/drawing/2014/main" id="{43E81F0F-C283-462E-858D-7E6CAD1A0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2" y="2846"/>
              <a:ext cx="10" cy="11"/>
            </a:xfrm>
            <a:custGeom>
              <a:avLst/>
              <a:gdLst>
                <a:gd name="T0" fmla="*/ 0 w 10"/>
                <a:gd name="T1" fmla="*/ 8 h 11"/>
                <a:gd name="T2" fmla="*/ 5 w 10"/>
                <a:gd name="T3" fmla="*/ 11 h 11"/>
                <a:gd name="T4" fmla="*/ 5 w 10"/>
                <a:gd name="T5" fmla="*/ 11 h 11"/>
                <a:gd name="T6" fmla="*/ 8 w 10"/>
                <a:gd name="T7" fmla="*/ 8 h 11"/>
                <a:gd name="T8" fmla="*/ 10 w 10"/>
                <a:gd name="T9" fmla="*/ 5 h 11"/>
                <a:gd name="T10" fmla="*/ 10 w 10"/>
                <a:gd name="T11" fmla="*/ 5 h 11"/>
                <a:gd name="T12" fmla="*/ 8 w 10"/>
                <a:gd name="T13" fmla="*/ 0 h 11"/>
                <a:gd name="T14" fmla="*/ 5 w 10"/>
                <a:gd name="T15" fmla="*/ 0 h 11"/>
                <a:gd name="T16" fmla="*/ 5 w 10"/>
                <a:gd name="T17" fmla="*/ 0 h 11"/>
                <a:gd name="T18" fmla="*/ 5 w 10"/>
                <a:gd name="T19" fmla="*/ 0 h 11"/>
                <a:gd name="T20" fmla="*/ 2 w 10"/>
                <a:gd name="T21" fmla="*/ 0 h 11"/>
                <a:gd name="T22" fmla="*/ 0 w 10"/>
                <a:gd name="T23" fmla="*/ 3 h 11"/>
                <a:gd name="T24" fmla="*/ 0 w 10"/>
                <a:gd name="T25" fmla="*/ 3 h 11"/>
                <a:gd name="T26" fmla="*/ 0 w 10"/>
                <a:gd name="T27" fmla="*/ 5 h 11"/>
                <a:gd name="T28" fmla="*/ 0 w 10"/>
                <a:gd name="T2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1">
                  <a:moveTo>
                    <a:pt x="0" y="8"/>
                  </a:moveTo>
                  <a:lnTo>
                    <a:pt x="5" y="11"/>
                  </a:lnTo>
                  <a:lnTo>
                    <a:pt x="5" y="11"/>
                  </a:lnTo>
                  <a:lnTo>
                    <a:pt x="8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292">
              <a:extLst>
                <a:ext uri="{FF2B5EF4-FFF2-40B4-BE49-F238E27FC236}">
                  <a16:creationId xmlns:a16="http://schemas.microsoft.com/office/drawing/2014/main" id="{4975931D-C7DC-4EA8-AB6A-EBE84B627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9" y="2688"/>
              <a:ext cx="251" cy="240"/>
            </a:xfrm>
            <a:custGeom>
              <a:avLst/>
              <a:gdLst>
                <a:gd name="T0" fmla="*/ 251 w 251"/>
                <a:gd name="T1" fmla="*/ 140 h 240"/>
                <a:gd name="T2" fmla="*/ 236 w 251"/>
                <a:gd name="T3" fmla="*/ 105 h 240"/>
                <a:gd name="T4" fmla="*/ 218 w 251"/>
                <a:gd name="T5" fmla="*/ 38 h 240"/>
                <a:gd name="T6" fmla="*/ 215 w 251"/>
                <a:gd name="T7" fmla="*/ 35 h 240"/>
                <a:gd name="T8" fmla="*/ 156 w 251"/>
                <a:gd name="T9" fmla="*/ 12 h 240"/>
                <a:gd name="T10" fmla="*/ 84 w 251"/>
                <a:gd name="T11" fmla="*/ 35 h 240"/>
                <a:gd name="T12" fmla="*/ 10 w 251"/>
                <a:gd name="T13" fmla="*/ 43 h 240"/>
                <a:gd name="T14" fmla="*/ 0 w 251"/>
                <a:gd name="T15" fmla="*/ 61 h 240"/>
                <a:gd name="T16" fmla="*/ 13 w 251"/>
                <a:gd name="T17" fmla="*/ 238 h 240"/>
                <a:gd name="T18" fmla="*/ 28 w 251"/>
                <a:gd name="T19" fmla="*/ 240 h 240"/>
                <a:gd name="T20" fmla="*/ 220 w 251"/>
                <a:gd name="T21" fmla="*/ 235 h 240"/>
                <a:gd name="T22" fmla="*/ 230 w 251"/>
                <a:gd name="T23" fmla="*/ 187 h 240"/>
                <a:gd name="T24" fmla="*/ 251 w 251"/>
                <a:gd name="T25" fmla="*/ 146 h 240"/>
                <a:gd name="T26" fmla="*/ 207 w 251"/>
                <a:gd name="T27" fmla="*/ 76 h 240"/>
                <a:gd name="T28" fmla="*/ 207 w 251"/>
                <a:gd name="T29" fmla="*/ 46 h 240"/>
                <a:gd name="T30" fmla="*/ 56 w 251"/>
                <a:gd name="T31" fmla="*/ 76 h 240"/>
                <a:gd name="T32" fmla="*/ 136 w 251"/>
                <a:gd name="T33" fmla="*/ 23 h 240"/>
                <a:gd name="T34" fmla="*/ 13 w 251"/>
                <a:gd name="T35" fmla="*/ 56 h 240"/>
                <a:gd name="T36" fmla="*/ 20 w 251"/>
                <a:gd name="T37" fmla="*/ 48 h 240"/>
                <a:gd name="T38" fmla="*/ 74 w 251"/>
                <a:gd name="T39" fmla="*/ 46 h 240"/>
                <a:gd name="T40" fmla="*/ 18 w 251"/>
                <a:gd name="T41" fmla="*/ 74 h 240"/>
                <a:gd name="T42" fmla="*/ 10 w 251"/>
                <a:gd name="T43" fmla="*/ 61 h 240"/>
                <a:gd name="T44" fmla="*/ 23 w 251"/>
                <a:gd name="T45" fmla="*/ 230 h 240"/>
                <a:gd name="T46" fmla="*/ 13 w 251"/>
                <a:gd name="T47" fmla="*/ 222 h 240"/>
                <a:gd name="T48" fmla="*/ 10 w 251"/>
                <a:gd name="T49" fmla="*/ 84 h 240"/>
                <a:gd name="T50" fmla="*/ 207 w 251"/>
                <a:gd name="T51" fmla="*/ 87 h 240"/>
                <a:gd name="T52" fmla="*/ 202 w 251"/>
                <a:gd name="T53" fmla="*/ 128 h 240"/>
                <a:gd name="T54" fmla="*/ 120 w 251"/>
                <a:gd name="T55" fmla="*/ 130 h 240"/>
                <a:gd name="T56" fmla="*/ 97 w 251"/>
                <a:gd name="T57" fmla="*/ 148 h 240"/>
                <a:gd name="T58" fmla="*/ 95 w 251"/>
                <a:gd name="T59" fmla="*/ 171 h 240"/>
                <a:gd name="T60" fmla="*/ 110 w 251"/>
                <a:gd name="T61" fmla="*/ 192 h 240"/>
                <a:gd name="T62" fmla="*/ 128 w 251"/>
                <a:gd name="T63" fmla="*/ 197 h 240"/>
                <a:gd name="T64" fmla="*/ 238 w 251"/>
                <a:gd name="T65" fmla="*/ 151 h 240"/>
                <a:gd name="T66" fmla="*/ 230 w 251"/>
                <a:gd name="T67" fmla="*/ 174 h 240"/>
                <a:gd name="T68" fmla="*/ 205 w 251"/>
                <a:gd name="T69" fmla="*/ 184 h 240"/>
                <a:gd name="T70" fmla="*/ 120 w 251"/>
                <a:gd name="T71" fmla="*/ 184 h 240"/>
                <a:gd name="T72" fmla="*/ 105 w 251"/>
                <a:gd name="T73" fmla="*/ 166 h 240"/>
                <a:gd name="T74" fmla="*/ 110 w 251"/>
                <a:gd name="T75" fmla="*/ 148 h 240"/>
                <a:gd name="T76" fmla="*/ 128 w 251"/>
                <a:gd name="T77" fmla="*/ 140 h 240"/>
                <a:gd name="T78" fmla="*/ 215 w 251"/>
                <a:gd name="T79" fmla="*/ 130 h 240"/>
                <a:gd name="T80" fmla="*/ 220 w 251"/>
                <a:gd name="T81" fmla="*/ 107 h 240"/>
                <a:gd name="T82" fmla="*/ 236 w 251"/>
                <a:gd name="T83" fmla="*/ 122 h 240"/>
                <a:gd name="T84" fmla="*/ 238 w 251"/>
                <a:gd name="T85" fmla="*/ 15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1" h="240">
                  <a:moveTo>
                    <a:pt x="251" y="146"/>
                  </a:moveTo>
                  <a:lnTo>
                    <a:pt x="251" y="143"/>
                  </a:lnTo>
                  <a:lnTo>
                    <a:pt x="251" y="140"/>
                  </a:lnTo>
                  <a:lnTo>
                    <a:pt x="248" y="125"/>
                  </a:lnTo>
                  <a:lnTo>
                    <a:pt x="243" y="112"/>
                  </a:lnTo>
                  <a:lnTo>
                    <a:pt x="236" y="105"/>
                  </a:lnTo>
                  <a:lnTo>
                    <a:pt x="228" y="99"/>
                  </a:lnTo>
                  <a:lnTo>
                    <a:pt x="220" y="97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5" y="35"/>
                  </a:lnTo>
                  <a:lnTo>
                    <a:pt x="212" y="35"/>
                  </a:lnTo>
                  <a:lnTo>
                    <a:pt x="169" y="35"/>
                  </a:lnTo>
                  <a:lnTo>
                    <a:pt x="156" y="12"/>
                  </a:lnTo>
                  <a:lnTo>
                    <a:pt x="141" y="20"/>
                  </a:lnTo>
                  <a:lnTo>
                    <a:pt x="120" y="0"/>
                  </a:lnTo>
                  <a:lnTo>
                    <a:pt x="84" y="35"/>
                  </a:lnTo>
                  <a:lnTo>
                    <a:pt x="28" y="35"/>
                  </a:lnTo>
                  <a:lnTo>
                    <a:pt x="18" y="38"/>
                  </a:lnTo>
                  <a:lnTo>
                    <a:pt x="10" y="43"/>
                  </a:lnTo>
                  <a:lnTo>
                    <a:pt x="3" y="48"/>
                  </a:lnTo>
                  <a:lnTo>
                    <a:pt x="0" y="56"/>
                  </a:lnTo>
                  <a:lnTo>
                    <a:pt x="0" y="61"/>
                  </a:lnTo>
                  <a:lnTo>
                    <a:pt x="3" y="222"/>
                  </a:lnTo>
                  <a:lnTo>
                    <a:pt x="8" y="233"/>
                  </a:lnTo>
                  <a:lnTo>
                    <a:pt x="13" y="238"/>
                  </a:lnTo>
                  <a:lnTo>
                    <a:pt x="20" y="240"/>
                  </a:lnTo>
                  <a:lnTo>
                    <a:pt x="26" y="240"/>
                  </a:lnTo>
                  <a:lnTo>
                    <a:pt x="28" y="240"/>
                  </a:lnTo>
                  <a:lnTo>
                    <a:pt x="218" y="240"/>
                  </a:lnTo>
                  <a:lnTo>
                    <a:pt x="218" y="238"/>
                  </a:lnTo>
                  <a:lnTo>
                    <a:pt x="220" y="235"/>
                  </a:lnTo>
                  <a:lnTo>
                    <a:pt x="220" y="235"/>
                  </a:lnTo>
                  <a:lnTo>
                    <a:pt x="220" y="194"/>
                  </a:lnTo>
                  <a:lnTo>
                    <a:pt x="230" y="187"/>
                  </a:lnTo>
                  <a:lnTo>
                    <a:pt x="241" y="179"/>
                  </a:lnTo>
                  <a:lnTo>
                    <a:pt x="246" y="166"/>
                  </a:lnTo>
                  <a:lnTo>
                    <a:pt x="251" y="146"/>
                  </a:lnTo>
                  <a:lnTo>
                    <a:pt x="251" y="146"/>
                  </a:lnTo>
                  <a:close/>
                  <a:moveTo>
                    <a:pt x="207" y="46"/>
                  </a:moveTo>
                  <a:lnTo>
                    <a:pt x="207" y="76"/>
                  </a:lnTo>
                  <a:lnTo>
                    <a:pt x="195" y="76"/>
                  </a:lnTo>
                  <a:lnTo>
                    <a:pt x="177" y="46"/>
                  </a:lnTo>
                  <a:lnTo>
                    <a:pt x="207" y="46"/>
                  </a:lnTo>
                  <a:close/>
                  <a:moveTo>
                    <a:pt x="154" y="20"/>
                  </a:moveTo>
                  <a:lnTo>
                    <a:pt x="187" y="76"/>
                  </a:lnTo>
                  <a:lnTo>
                    <a:pt x="56" y="76"/>
                  </a:lnTo>
                  <a:lnTo>
                    <a:pt x="154" y="20"/>
                  </a:lnTo>
                  <a:close/>
                  <a:moveTo>
                    <a:pt x="120" y="10"/>
                  </a:moveTo>
                  <a:lnTo>
                    <a:pt x="136" y="23"/>
                  </a:lnTo>
                  <a:lnTo>
                    <a:pt x="64" y="64"/>
                  </a:lnTo>
                  <a:lnTo>
                    <a:pt x="120" y="10"/>
                  </a:lnTo>
                  <a:close/>
                  <a:moveTo>
                    <a:pt x="13" y="56"/>
                  </a:moveTo>
                  <a:lnTo>
                    <a:pt x="13" y="53"/>
                  </a:lnTo>
                  <a:lnTo>
                    <a:pt x="15" y="51"/>
                  </a:lnTo>
                  <a:lnTo>
                    <a:pt x="20" y="48"/>
                  </a:lnTo>
                  <a:lnTo>
                    <a:pt x="23" y="46"/>
                  </a:lnTo>
                  <a:lnTo>
                    <a:pt x="26" y="46"/>
                  </a:lnTo>
                  <a:lnTo>
                    <a:pt x="74" y="46"/>
                  </a:lnTo>
                  <a:lnTo>
                    <a:pt x="41" y="76"/>
                  </a:lnTo>
                  <a:lnTo>
                    <a:pt x="23" y="76"/>
                  </a:lnTo>
                  <a:lnTo>
                    <a:pt x="18" y="74"/>
                  </a:lnTo>
                  <a:lnTo>
                    <a:pt x="15" y="71"/>
                  </a:lnTo>
                  <a:lnTo>
                    <a:pt x="13" y="66"/>
                  </a:lnTo>
                  <a:lnTo>
                    <a:pt x="10" y="61"/>
                  </a:lnTo>
                  <a:lnTo>
                    <a:pt x="13" y="56"/>
                  </a:lnTo>
                  <a:close/>
                  <a:moveTo>
                    <a:pt x="207" y="230"/>
                  </a:moveTo>
                  <a:lnTo>
                    <a:pt x="23" y="230"/>
                  </a:lnTo>
                  <a:lnTo>
                    <a:pt x="18" y="227"/>
                  </a:lnTo>
                  <a:lnTo>
                    <a:pt x="15" y="225"/>
                  </a:lnTo>
                  <a:lnTo>
                    <a:pt x="13" y="222"/>
                  </a:lnTo>
                  <a:lnTo>
                    <a:pt x="13" y="217"/>
                  </a:lnTo>
                  <a:lnTo>
                    <a:pt x="10" y="215"/>
                  </a:lnTo>
                  <a:lnTo>
                    <a:pt x="10" y="84"/>
                  </a:lnTo>
                  <a:lnTo>
                    <a:pt x="23" y="87"/>
                  </a:lnTo>
                  <a:lnTo>
                    <a:pt x="28" y="87"/>
                  </a:lnTo>
                  <a:lnTo>
                    <a:pt x="207" y="87"/>
                  </a:lnTo>
                  <a:lnTo>
                    <a:pt x="207" y="122"/>
                  </a:lnTo>
                  <a:lnTo>
                    <a:pt x="205" y="125"/>
                  </a:lnTo>
                  <a:lnTo>
                    <a:pt x="202" y="128"/>
                  </a:lnTo>
                  <a:lnTo>
                    <a:pt x="200" y="128"/>
                  </a:lnTo>
                  <a:lnTo>
                    <a:pt x="195" y="130"/>
                  </a:lnTo>
                  <a:lnTo>
                    <a:pt x="120" y="130"/>
                  </a:lnTo>
                  <a:lnTo>
                    <a:pt x="110" y="135"/>
                  </a:lnTo>
                  <a:lnTo>
                    <a:pt x="102" y="140"/>
                  </a:lnTo>
                  <a:lnTo>
                    <a:pt x="97" y="148"/>
                  </a:lnTo>
                  <a:lnTo>
                    <a:pt x="95" y="158"/>
                  </a:lnTo>
                  <a:lnTo>
                    <a:pt x="95" y="163"/>
                  </a:lnTo>
                  <a:lnTo>
                    <a:pt x="95" y="171"/>
                  </a:lnTo>
                  <a:lnTo>
                    <a:pt x="97" y="179"/>
                  </a:lnTo>
                  <a:lnTo>
                    <a:pt x="105" y="187"/>
                  </a:lnTo>
                  <a:lnTo>
                    <a:pt x="110" y="192"/>
                  </a:lnTo>
                  <a:lnTo>
                    <a:pt x="118" y="194"/>
                  </a:lnTo>
                  <a:lnTo>
                    <a:pt x="125" y="197"/>
                  </a:lnTo>
                  <a:lnTo>
                    <a:pt x="128" y="197"/>
                  </a:lnTo>
                  <a:lnTo>
                    <a:pt x="207" y="197"/>
                  </a:lnTo>
                  <a:lnTo>
                    <a:pt x="207" y="230"/>
                  </a:lnTo>
                  <a:close/>
                  <a:moveTo>
                    <a:pt x="238" y="151"/>
                  </a:moveTo>
                  <a:lnTo>
                    <a:pt x="236" y="163"/>
                  </a:lnTo>
                  <a:lnTo>
                    <a:pt x="233" y="169"/>
                  </a:lnTo>
                  <a:lnTo>
                    <a:pt x="230" y="174"/>
                  </a:lnTo>
                  <a:lnTo>
                    <a:pt x="223" y="179"/>
                  </a:lnTo>
                  <a:lnTo>
                    <a:pt x="215" y="181"/>
                  </a:lnTo>
                  <a:lnTo>
                    <a:pt x="205" y="184"/>
                  </a:lnTo>
                  <a:lnTo>
                    <a:pt x="195" y="184"/>
                  </a:lnTo>
                  <a:lnTo>
                    <a:pt x="128" y="184"/>
                  </a:lnTo>
                  <a:lnTo>
                    <a:pt x="120" y="184"/>
                  </a:lnTo>
                  <a:lnTo>
                    <a:pt x="115" y="181"/>
                  </a:lnTo>
                  <a:lnTo>
                    <a:pt x="107" y="174"/>
                  </a:lnTo>
                  <a:lnTo>
                    <a:pt x="105" y="166"/>
                  </a:lnTo>
                  <a:lnTo>
                    <a:pt x="105" y="163"/>
                  </a:lnTo>
                  <a:lnTo>
                    <a:pt x="105" y="158"/>
                  </a:lnTo>
                  <a:lnTo>
                    <a:pt x="110" y="148"/>
                  </a:lnTo>
                  <a:lnTo>
                    <a:pt x="118" y="143"/>
                  </a:lnTo>
                  <a:lnTo>
                    <a:pt x="125" y="140"/>
                  </a:lnTo>
                  <a:lnTo>
                    <a:pt x="128" y="140"/>
                  </a:lnTo>
                  <a:lnTo>
                    <a:pt x="205" y="138"/>
                  </a:lnTo>
                  <a:lnTo>
                    <a:pt x="210" y="135"/>
                  </a:lnTo>
                  <a:lnTo>
                    <a:pt x="215" y="130"/>
                  </a:lnTo>
                  <a:lnTo>
                    <a:pt x="218" y="125"/>
                  </a:lnTo>
                  <a:lnTo>
                    <a:pt x="220" y="117"/>
                  </a:lnTo>
                  <a:lnTo>
                    <a:pt x="220" y="107"/>
                  </a:lnTo>
                  <a:lnTo>
                    <a:pt x="228" y="112"/>
                  </a:lnTo>
                  <a:lnTo>
                    <a:pt x="233" y="117"/>
                  </a:lnTo>
                  <a:lnTo>
                    <a:pt x="236" y="122"/>
                  </a:lnTo>
                  <a:lnTo>
                    <a:pt x="238" y="133"/>
                  </a:lnTo>
                  <a:lnTo>
                    <a:pt x="238" y="140"/>
                  </a:lnTo>
                  <a:lnTo>
                    <a:pt x="238" y="1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3" name="Group 295">
            <a:extLst>
              <a:ext uri="{FF2B5EF4-FFF2-40B4-BE49-F238E27FC236}">
                <a16:creationId xmlns:a16="http://schemas.microsoft.com/office/drawing/2014/main" id="{1939C44F-EC39-44F4-AE87-B5A7F36392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13438" y="4148561"/>
            <a:ext cx="758825" cy="758825"/>
            <a:chOff x="3725" y="2578"/>
            <a:chExt cx="478" cy="478"/>
          </a:xfrm>
        </p:grpSpPr>
        <p:sp>
          <p:nvSpPr>
            <p:cNvPr id="334" name="AutoShape 294">
              <a:extLst>
                <a:ext uri="{FF2B5EF4-FFF2-40B4-BE49-F238E27FC236}">
                  <a16:creationId xmlns:a16="http://schemas.microsoft.com/office/drawing/2014/main" id="{B8512E88-3799-4EB1-B1DE-0A801287869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25" y="25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296">
              <a:extLst>
                <a:ext uri="{FF2B5EF4-FFF2-40B4-BE49-F238E27FC236}">
                  <a16:creationId xmlns:a16="http://schemas.microsoft.com/office/drawing/2014/main" id="{9B2F205A-D004-4E2C-A3D5-566596953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" y="25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297">
              <a:extLst>
                <a:ext uri="{FF2B5EF4-FFF2-40B4-BE49-F238E27FC236}">
                  <a16:creationId xmlns:a16="http://schemas.microsoft.com/office/drawing/2014/main" id="{569A6EA2-1DAD-4281-A708-176434A02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3" y="2845"/>
              <a:ext cx="9" cy="10"/>
            </a:xfrm>
            <a:custGeom>
              <a:avLst/>
              <a:gdLst>
                <a:gd name="T0" fmla="*/ 0 w 9"/>
                <a:gd name="T1" fmla="*/ 8 h 10"/>
                <a:gd name="T2" fmla="*/ 4 w 9"/>
                <a:gd name="T3" fmla="*/ 10 h 10"/>
                <a:gd name="T4" fmla="*/ 4 w 9"/>
                <a:gd name="T5" fmla="*/ 10 h 10"/>
                <a:gd name="T6" fmla="*/ 7 w 9"/>
                <a:gd name="T7" fmla="*/ 8 h 10"/>
                <a:gd name="T8" fmla="*/ 9 w 9"/>
                <a:gd name="T9" fmla="*/ 5 h 10"/>
                <a:gd name="T10" fmla="*/ 9 w 9"/>
                <a:gd name="T11" fmla="*/ 5 h 10"/>
                <a:gd name="T12" fmla="*/ 7 w 9"/>
                <a:gd name="T13" fmla="*/ 0 h 10"/>
                <a:gd name="T14" fmla="*/ 4 w 9"/>
                <a:gd name="T15" fmla="*/ 0 h 10"/>
                <a:gd name="T16" fmla="*/ 4 w 9"/>
                <a:gd name="T17" fmla="*/ 0 h 10"/>
                <a:gd name="T18" fmla="*/ 4 w 9"/>
                <a:gd name="T19" fmla="*/ 0 h 10"/>
                <a:gd name="T20" fmla="*/ 2 w 9"/>
                <a:gd name="T21" fmla="*/ 0 h 10"/>
                <a:gd name="T22" fmla="*/ 0 w 9"/>
                <a:gd name="T23" fmla="*/ 3 h 10"/>
                <a:gd name="T24" fmla="*/ 0 w 9"/>
                <a:gd name="T25" fmla="*/ 3 h 10"/>
                <a:gd name="T26" fmla="*/ 0 w 9"/>
                <a:gd name="T27" fmla="*/ 5 h 10"/>
                <a:gd name="T28" fmla="*/ 0 w 9"/>
                <a:gd name="T2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0" y="8"/>
                  </a:moveTo>
                  <a:lnTo>
                    <a:pt x="4" y="10"/>
                  </a:lnTo>
                  <a:lnTo>
                    <a:pt x="4" y="10"/>
                  </a:lnTo>
                  <a:lnTo>
                    <a:pt x="7" y="8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298">
              <a:extLst>
                <a:ext uri="{FF2B5EF4-FFF2-40B4-BE49-F238E27FC236}">
                  <a16:creationId xmlns:a16="http://schemas.microsoft.com/office/drawing/2014/main" id="{02AA95A9-B02C-4C78-BBCF-26739113A4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5" y="2693"/>
              <a:ext cx="240" cy="231"/>
            </a:xfrm>
            <a:custGeom>
              <a:avLst/>
              <a:gdLst>
                <a:gd name="T0" fmla="*/ 240 w 240"/>
                <a:gd name="T1" fmla="*/ 135 h 231"/>
                <a:gd name="T2" fmla="*/ 225 w 240"/>
                <a:gd name="T3" fmla="*/ 101 h 231"/>
                <a:gd name="T4" fmla="*/ 208 w 240"/>
                <a:gd name="T5" fmla="*/ 37 h 231"/>
                <a:gd name="T6" fmla="*/ 206 w 240"/>
                <a:gd name="T7" fmla="*/ 35 h 231"/>
                <a:gd name="T8" fmla="*/ 149 w 240"/>
                <a:gd name="T9" fmla="*/ 12 h 231"/>
                <a:gd name="T10" fmla="*/ 81 w 240"/>
                <a:gd name="T11" fmla="*/ 35 h 231"/>
                <a:gd name="T12" fmla="*/ 10 w 240"/>
                <a:gd name="T13" fmla="*/ 42 h 231"/>
                <a:gd name="T14" fmla="*/ 0 w 240"/>
                <a:gd name="T15" fmla="*/ 59 h 231"/>
                <a:gd name="T16" fmla="*/ 12 w 240"/>
                <a:gd name="T17" fmla="*/ 228 h 231"/>
                <a:gd name="T18" fmla="*/ 27 w 240"/>
                <a:gd name="T19" fmla="*/ 231 h 231"/>
                <a:gd name="T20" fmla="*/ 211 w 240"/>
                <a:gd name="T21" fmla="*/ 226 h 231"/>
                <a:gd name="T22" fmla="*/ 221 w 240"/>
                <a:gd name="T23" fmla="*/ 179 h 231"/>
                <a:gd name="T24" fmla="*/ 240 w 240"/>
                <a:gd name="T25" fmla="*/ 140 h 231"/>
                <a:gd name="T26" fmla="*/ 198 w 240"/>
                <a:gd name="T27" fmla="*/ 74 h 231"/>
                <a:gd name="T28" fmla="*/ 198 w 240"/>
                <a:gd name="T29" fmla="*/ 44 h 231"/>
                <a:gd name="T30" fmla="*/ 54 w 240"/>
                <a:gd name="T31" fmla="*/ 74 h 231"/>
                <a:gd name="T32" fmla="*/ 130 w 240"/>
                <a:gd name="T33" fmla="*/ 22 h 231"/>
                <a:gd name="T34" fmla="*/ 12 w 240"/>
                <a:gd name="T35" fmla="*/ 54 h 231"/>
                <a:gd name="T36" fmla="*/ 20 w 240"/>
                <a:gd name="T37" fmla="*/ 47 h 231"/>
                <a:gd name="T38" fmla="*/ 71 w 240"/>
                <a:gd name="T39" fmla="*/ 44 h 231"/>
                <a:gd name="T40" fmla="*/ 17 w 240"/>
                <a:gd name="T41" fmla="*/ 71 h 231"/>
                <a:gd name="T42" fmla="*/ 10 w 240"/>
                <a:gd name="T43" fmla="*/ 59 h 231"/>
                <a:gd name="T44" fmla="*/ 22 w 240"/>
                <a:gd name="T45" fmla="*/ 221 h 231"/>
                <a:gd name="T46" fmla="*/ 12 w 240"/>
                <a:gd name="T47" fmla="*/ 213 h 231"/>
                <a:gd name="T48" fmla="*/ 10 w 240"/>
                <a:gd name="T49" fmla="*/ 81 h 231"/>
                <a:gd name="T50" fmla="*/ 198 w 240"/>
                <a:gd name="T51" fmla="*/ 84 h 231"/>
                <a:gd name="T52" fmla="*/ 194 w 240"/>
                <a:gd name="T53" fmla="*/ 123 h 231"/>
                <a:gd name="T54" fmla="*/ 115 w 240"/>
                <a:gd name="T55" fmla="*/ 125 h 231"/>
                <a:gd name="T56" fmla="*/ 93 w 240"/>
                <a:gd name="T57" fmla="*/ 142 h 231"/>
                <a:gd name="T58" fmla="*/ 91 w 240"/>
                <a:gd name="T59" fmla="*/ 164 h 231"/>
                <a:gd name="T60" fmla="*/ 105 w 240"/>
                <a:gd name="T61" fmla="*/ 184 h 231"/>
                <a:gd name="T62" fmla="*/ 122 w 240"/>
                <a:gd name="T63" fmla="*/ 189 h 231"/>
                <a:gd name="T64" fmla="*/ 228 w 240"/>
                <a:gd name="T65" fmla="*/ 145 h 231"/>
                <a:gd name="T66" fmla="*/ 221 w 240"/>
                <a:gd name="T67" fmla="*/ 167 h 231"/>
                <a:gd name="T68" fmla="*/ 196 w 240"/>
                <a:gd name="T69" fmla="*/ 177 h 231"/>
                <a:gd name="T70" fmla="*/ 115 w 240"/>
                <a:gd name="T71" fmla="*/ 177 h 231"/>
                <a:gd name="T72" fmla="*/ 100 w 240"/>
                <a:gd name="T73" fmla="*/ 160 h 231"/>
                <a:gd name="T74" fmla="*/ 105 w 240"/>
                <a:gd name="T75" fmla="*/ 142 h 231"/>
                <a:gd name="T76" fmla="*/ 122 w 240"/>
                <a:gd name="T77" fmla="*/ 135 h 231"/>
                <a:gd name="T78" fmla="*/ 206 w 240"/>
                <a:gd name="T79" fmla="*/ 125 h 231"/>
                <a:gd name="T80" fmla="*/ 211 w 240"/>
                <a:gd name="T81" fmla="*/ 103 h 231"/>
                <a:gd name="T82" fmla="*/ 225 w 240"/>
                <a:gd name="T83" fmla="*/ 118 h 231"/>
                <a:gd name="T84" fmla="*/ 228 w 240"/>
                <a:gd name="T85" fmla="*/ 14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31">
                  <a:moveTo>
                    <a:pt x="240" y="140"/>
                  </a:moveTo>
                  <a:lnTo>
                    <a:pt x="240" y="137"/>
                  </a:lnTo>
                  <a:lnTo>
                    <a:pt x="240" y="135"/>
                  </a:lnTo>
                  <a:lnTo>
                    <a:pt x="238" y="120"/>
                  </a:lnTo>
                  <a:lnTo>
                    <a:pt x="233" y="108"/>
                  </a:lnTo>
                  <a:lnTo>
                    <a:pt x="225" y="101"/>
                  </a:lnTo>
                  <a:lnTo>
                    <a:pt x="218" y="96"/>
                  </a:lnTo>
                  <a:lnTo>
                    <a:pt x="211" y="93"/>
                  </a:lnTo>
                  <a:lnTo>
                    <a:pt x="208" y="37"/>
                  </a:lnTo>
                  <a:lnTo>
                    <a:pt x="208" y="37"/>
                  </a:lnTo>
                  <a:lnTo>
                    <a:pt x="208" y="37"/>
                  </a:lnTo>
                  <a:lnTo>
                    <a:pt x="206" y="35"/>
                  </a:lnTo>
                  <a:lnTo>
                    <a:pt x="203" y="35"/>
                  </a:lnTo>
                  <a:lnTo>
                    <a:pt x="162" y="35"/>
                  </a:lnTo>
                  <a:lnTo>
                    <a:pt x="149" y="12"/>
                  </a:lnTo>
                  <a:lnTo>
                    <a:pt x="135" y="20"/>
                  </a:lnTo>
                  <a:lnTo>
                    <a:pt x="115" y="0"/>
                  </a:lnTo>
                  <a:lnTo>
                    <a:pt x="81" y="35"/>
                  </a:lnTo>
                  <a:lnTo>
                    <a:pt x="27" y="35"/>
                  </a:lnTo>
                  <a:lnTo>
                    <a:pt x="17" y="37"/>
                  </a:lnTo>
                  <a:lnTo>
                    <a:pt x="10" y="42"/>
                  </a:lnTo>
                  <a:lnTo>
                    <a:pt x="2" y="47"/>
                  </a:lnTo>
                  <a:lnTo>
                    <a:pt x="0" y="54"/>
                  </a:lnTo>
                  <a:lnTo>
                    <a:pt x="0" y="59"/>
                  </a:lnTo>
                  <a:lnTo>
                    <a:pt x="2" y="213"/>
                  </a:lnTo>
                  <a:lnTo>
                    <a:pt x="7" y="223"/>
                  </a:lnTo>
                  <a:lnTo>
                    <a:pt x="12" y="228"/>
                  </a:lnTo>
                  <a:lnTo>
                    <a:pt x="20" y="231"/>
                  </a:lnTo>
                  <a:lnTo>
                    <a:pt x="24" y="231"/>
                  </a:lnTo>
                  <a:lnTo>
                    <a:pt x="27" y="231"/>
                  </a:lnTo>
                  <a:lnTo>
                    <a:pt x="208" y="231"/>
                  </a:lnTo>
                  <a:lnTo>
                    <a:pt x="208" y="228"/>
                  </a:lnTo>
                  <a:lnTo>
                    <a:pt x="211" y="226"/>
                  </a:lnTo>
                  <a:lnTo>
                    <a:pt x="211" y="226"/>
                  </a:lnTo>
                  <a:lnTo>
                    <a:pt x="211" y="187"/>
                  </a:lnTo>
                  <a:lnTo>
                    <a:pt x="221" y="179"/>
                  </a:lnTo>
                  <a:lnTo>
                    <a:pt x="230" y="172"/>
                  </a:lnTo>
                  <a:lnTo>
                    <a:pt x="235" y="160"/>
                  </a:lnTo>
                  <a:lnTo>
                    <a:pt x="240" y="140"/>
                  </a:lnTo>
                  <a:lnTo>
                    <a:pt x="240" y="140"/>
                  </a:lnTo>
                  <a:close/>
                  <a:moveTo>
                    <a:pt x="198" y="44"/>
                  </a:moveTo>
                  <a:lnTo>
                    <a:pt x="198" y="74"/>
                  </a:lnTo>
                  <a:lnTo>
                    <a:pt x="186" y="74"/>
                  </a:lnTo>
                  <a:lnTo>
                    <a:pt x="169" y="44"/>
                  </a:lnTo>
                  <a:lnTo>
                    <a:pt x="198" y="44"/>
                  </a:lnTo>
                  <a:close/>
                  <a:moveTo>
                    <a:pt x="147" y="20"/>
                  </a:moveTo>
                  <a:lnTo>
                    <a:pt x="179" y="74"/>
                  </a:lnTo>
                  <a:lnTo>
                    <a:pt x="54" y="74"/>
                  </a:lnTo>
                  <a:lnTo>
                    <a:pt x="147" y="20"/>
                  </a:lnTo>
                  <a:close/>
                  <a:moveTo>
                    <a:pt x="115" y="10"/>
                  </a:moveTo>
                  <a:lnTo>
                    <a:pt x="130" y="22"/>
                  </a:lnTo>
                  <a:lnTo>
                    <a:pt x="61" y="61"/>
                  </a:lnTo>
                  <a:lnTo>
                    <a:pt x="115" y="10"/>
                  </a:lnTo>
                  <a:close/>
                  <a:moveTo>
                    <a:pt x="12" y="54"/>
                  </a:moveTo>
                  <a:lnTo>
                    <a:pt x="12" y="52"/>
                  </a:lnTo>
                  <a:lnTo>
                    <a:pt x="15" y="49"/>
                  </a:lnTo>
                  <a:lnTo>
                    <a:pt x="20" y="47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71" y="44"/>
                  </a:lnTo>
                  <a:lnTo>
                    <a:pt x="39" y="74"/>
                  </a:lnTo>
                  <a:lnTo>
                    <a:pt x="22" y="74"/>
                  </a:lnTo>
                  <a:lnTo>
                    <a:pt x="17" y="71"/>
                  </a:lnTo>
                  <a:lnTo>
                    <a:pt x="15" y="69"/>
                  </a:lnTo>
                  <a:lnTo>
                    <a:pt x="12" y="64"/>
                  </a:lnTo>
                  <a:lnTo>
                    <a:pt x="10" y="59"/>
                  </a:lnTo>
                  <a:lnTo>
                    <a:pt x="12" y="54"/>
                  </a:lnTo>
                  <a:close/>
                  <a:moveTo>
                    <a:pt x="198" y="221"/>
                  </a:moveTo>
                  <a:lnTo>
                    <a:pt x="22" y="221"/>
                  </a:lnTo>
                  <a:lnTo>
                    <a:pt x="17" y="218"/>
                  </a:lnTo>
                  <a:lnTo>
                    <a:pt x="15" y="216"/>
                  </a:lnTo>
                  <a:lnTo>
                    <a:pt x="12" y="213"/>
                  </a:lnTo>
                  <a:lnTo>
                    <a:pt x="12" y="209"/>
                  </a:lnTo>
                  <a:lnTo>
                    <a:pt x="10" y="206"/>
                  </a:lnTo>
                  <a:lnTo>
                    <a:pt x="10" y="81"/>
                  </a:lnTo>
                  <a:lnTo>
                    <a:pt x="22" y="84"/>
                  </a:lnTo>
                  <a:lnTo>
                    <a:pt x="27" y="84"/>
                  </a:lnTo>
                  <a:lnTo>
                    <a:pt x="198" y="84"/>
                  </a:lnTo>
                  <a:lnTo>
                    <a:pt x="198" y="118"/>
                  </a:lnTo>
                  <a:lnTo>
                    <a:pt x="196" y="120"/>
                  </a:lnTo>
                  <a:lnTo>
                    <a:pt x="194" y="123"/>
                  </a:lnTo>
                  <a:lnTo>
                    <a:pt x="191" y="123"/>
                  </a:lnTo>
                  <a:lnTo>
                    <a:pt x="186" y="125"/>
                  </a:lnTo>
                  <a:lnTo>
                    <a:pt x="115" y="125"/>
                  </a:lnTo>
                  <a:lnTo>
                    <a:pt x="105" y="130"/>
                  </a:lnTo>
                  <a:lnTo>
                    <a:pt x="98" y="135"/>
                  </a:lnTo>
                  <a:lnTo>
                    <a:pt x="93" y="142"/>
                  </a:lnTo>
                  <a:lnTo>
                    <a:pt x="91" y="152"/>
                  </a:lnTo>
                  <a:lnTo>
                    <a:pt x="91" y="157"/>
                  </a:lnTo>
                  <a:lnTo>
                    <a:pt x="91" y="164"/>
                  </a:lnTo>
                  <a:lnTo>
                    <a:pt x="93" y="172"/>
                  </a:lnTo>
                  <a:lnTo>
                    <a:pt x="100" y="179"/>
                  </a:lnTo>
                  <a:lnTo>
                    <a:pt x="105" y="184"/>
                  </a:lnTo>
                  <a:lnTo>
                    <a:pt x="113" y="187"/>
                  </a:lnTo>
                  <a:lnTo>
                    <a:pt x="120" y="189"/>
                  </a:lnTo>
                  <a:lnTo>
                    <a:pt x="122" y="189"/>
                  </a:lnTo>
                  <a:lnTo>
                    <a:pt x="198" y="189"/>
                  </a:lnTo>
                  <a:lnTo>
                    <a:pt x="198" y="221"/>
                  </a:lnTo>
                  <a:close/>
                  <a:moveTo>
                    <a:pt x="228" y="145"/>
                  </a:moveTo>
                  <a:lnTo>
                    <a:pt x="225" y="157"/>
                  </a:lnTo>
                  <a:lnTo>
                    <a:pt x="223" y="162"/>
                  </a:lnTo>
                  <a:lnTo>
                    <a:pt x="221" y="167"/>
                  </a:lnTo>
                  <a:lnTo>
                    <a:pt x="213" y="172"/>
                  </a:lnTo>
                  <a:lnTo>
                    <a:pt x="206" y="174"/>
                  </a:lnTo>
                  <a:lnTo>
                    <a:pt x="196" y="177"/>
                  </a:lnTo>
                  <a:lnTo>
                    <a:pt x="186" y="177"/>
                  </a:lnTo>
                  <a:lnTo>
                    <a:pt x="122" y="177"/>
                  </a:lnTo>
                  <a:lnTo>
                    <a:pt x="115" y="177"/>
                  </a:lnTo>
                  <a:lnTo>
                    <a:pt x="110" y="174"/>
                  </a:lnTo>
                  <a:lnTo>
                    <a:pt x="103" y="167"/>
                  </a:lnTo>
                  <a:lnTo>
                    <a:pt x="100" y="160"/>
                  </a:lnTo>
                  <a:lnTo>
                    <a:pt x="100" y="157"/>
                  </a:lnTo>
                  <a:lnTo>
                    <a:pt x="100" y="152"/>
                  </a:lnTo>
                  <a:lnTo>
                    <a:pt x="105" y="142"/>
                  </a:lnTo>
                  <a:lnTo>
                    <a:pt x="113" y="137"/>
                  </a:lnTo>
                  <a:lnTo>
                    <a:pt x="120" y="135"/>
                  </a:lnTo>
                  <a:lnTo>
                    <a:pt x="122" y="135"/>
                  </a:lnTo>
                  <a:lnTo>
                    <a:pt x="196" y="133"/>
                  </a:lnTo>
                  <a:lnTo>
                    <a:pt x="201" y="130"/>
                  </a:lnTo>
                  <a:lnTo>
                    <a:pt x="206" y="125"/>
                  </a:lnTo>
                  <a:lnTo>
                    <a:pt x="208" y="120"/>
                  </a:lnTo>
                  <a:lnTo>
                    <a:pt x="211" y="113"/>
                  </a:lnTo>
                  <a:lnTo>
                    <a:pt x="211" y="103"/>
                  </a:lnTo>
                  <a:lnTo>
                    <a:pt x="218" y="108"/>
                  </a:lnTo>
                  <a:lnTo>
                    <a:pt x="223" y="113"/>
                  </a:lnTo>
                  <a:lnTo>
                    <a:pt x="225" y="118"/>
                  </a:lnTo>
                  <a:lnTo>
                    <a:pt x="228" y="128"/>
                  </a:lnTo>
                  <a:lnTo>
                    <a:pt x="228" y="135"/>
                  </a:lnTo>
                  <a:lnTo>
                    <a:pt x="228" y="1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8" name="Group 301">
            <a:extLst>
              <a:ext uri="{FF2B5EF4-FFF2-40B4-BE49-F238E27FC236}">
                <a16:creationId xmlns:a16="http://schemas.microsoft.com/office/drawing/2014/main" id="{D8F86CAA-5822-4130-B246-14419ECC19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8500" y="4107286"/>
            <a:ext cx="841375" cy="841375"/>
            <a:chOff x="4440" y="2552"/>
            <a:chExt cx="530" cy="530"/>
          </a:xfrm>
        </p:grpSpPr>
        <p:sp>
          <p:nvSpPr>
            <p:cNvPr id="339" name="AutoShape 300">
              <a:extLst>
                <a:ext uri="{FF2B5EF4-FFF2-40B4-BE49-F238E27FC236}">
                  <a16:creationId xmlns:a16="http://schemas.microsoft.com/office/drawing/2014/main" id="{D7092F13-5B47-4FC4-93FA-84B51555A6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0" y="255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Oval 302">
              <a:extLst>
                <a:ext uri="{FF2B5EF4-FFF2-40B4-BE49-F238E27FC236}">
                  <a16:creationId xmlns:a16="http://schemas.microsoft.com/office/drawing/2014/main" id="{4AF3366D-54F1-42E3-9956-7F56DD53F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0" y="255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303">
              <a:extLst>
                <a:ext uri="{FF2B5EF4-FFF2-40B4-BE49-F238E27FC236}">
                  <a16:creationId xmlns:a16="http://schemas.microsoft.com/office/drawing/2014/main" id="{C45B93CF-96E9-4BF7-954C-4879931E85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8" y="257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304">
              <a:extLst>
                <a:ext uri="{FF2B5EF4-FFF2-40B4-BE49-F238E27FC236}">
                  <a16:creationId xmlns:a16="http://schemas.microsoft.com/office/drawing/2014/main" id="{66B83C62-FE86-4170-BEB7-08E780DCED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0" y="2685"/>
              <a:ext cx="292" cy="246"/>
            </a:xfrm>
            <a:custGeom>
              <a:avLst/>
              <a:gdLst>
                <a:gd name="T0" fmla="*/ 62 w 114"/>
                <a:gd name="T1" fmla="*/ 35 h 96"/>
                <a:gd name="T2" fmla="*/ 74 w 114"/>
                <a:gd name="T3" fmla="*/ 49 h 96"/>
                <a:gd name="T4" fmla="*/ 77 w 114"/>
                <a:gd name="T5" fmla="*/ 49 h 96"/>
                <a:gd name="T6" fmla="*/ 101 w 114"/>
                <a:gd name="T7" fmla="*/ 23 h 96"/>
                <a:gd name="T8" fmla="*/ 75 w 114"/>
                <a:gd name="T9" fmla="*/ 45 h 96"/>
                <a:gd name="T10" fmla="*/ 110 w 114"/>
                <a:gd name="T11" fmla="*/ 42 h 96"/>
                <a:gd name="T12" fmla="*/ 53 w 114"/>
                <a:gd name="T13" fmla="*/ 42 h 96"/>
                <a:gd name="T14" fmla="*/ 81 w 114"/>
                <a:gd name="T15" fmla="*/ 4 h 96"/>
                <a:gd name="T16" fmla="*/ 110 w 114"/>
                <a:gd name="T17" fmla="*/ 42 h 96"/>
                <a:gd name="T18" fmla="*/ 77 w 114"/>
                <a:gd name="T19" fmla="*/ 92 h 96"/>
                <a:gd name="T20" fmla="*/ 4 w 114"/>
                <a:gd name="T21" fmla="*/ 88 h 96"/>
                <a:gd name="T22" fmla="*/ 8 w 114"/>
                <a:gd name="T23" fmla="*/ 40 h 96"/>
                <a:gd name="T24" fmla="*/ 49 w 114"/>
                <a:gd name="T25" fmla="*/ 42 h 96"/>
                <a:gd name="T26" fmla="*/ 63 w 114"/>
                <a:gd name="T27" fmla="*/ 72 h 96"/>
                <a:gd name="T28" fmla="*/ 63 w 114"/>
                <a:gd name="T29" fmla="*/ 76 h 96"/>
                <a:gd name="T30" fmla="*/ 72 w 114"/>
                <a:gd name="T31" fmla="*/ 76 h 96"/>
                <a:gd name="T32" fmla="*/ 81 w 114"/>
                <a:gd name="T33" fmla="*/ 80 h 96"/>
                <a:gd name="T34" fmla="*/ 113 w 114"/>
                <a:gd name="T35" fmla="*/ 8 h 96"/>
                <a:gd name="T36" fmla="*/ 50 w 114"/>
                <a:gd name="T37" fmla="*/ 8 h 96"/>
                <a:gd name="T38" fmla="*/ 49 w 114"/>
                <a:gd name="T39" fmla="*/ 36 h 96"/>
                <a:gd name="T40" fmla="*/ 0 w 114"/>
                <a:gd name="T41" fmla="*/ 44 h 96"/>
                <a:gd name="T42" fmla="*/ 8 w 114"/>
                <a:gd name="T43" fmla="*/ 96 h 96"/>
                <a:gd name="T44" fmla="*/ 85 w 114"/>
                <a:gd name="T45" fmla="*/ 88 h 96"/>
                <a:gd name="T46" fmla="*/ 114 w 114"/>
                <a:gd name="T47" fmla="*/ 42 h 96"/>
                <a:gd name="T48" fmla="*/ 113 w 114"/>
                <a:gd name="T49" fmla="*/ 8 h 96"/>
                <a:gd name="T50" fmla="*/ 47 w 114"/>
                <a:gd name="T51" fmla="*/ 72 h 96"/>
                <a:gd name="T52" fmla="*/ 47 w 114"/>
                <a:gd name="T53" fmla="*/ 76 h 96"/>
                <a:gd name="T54" fmla="*/ 57 w 114"/>
                <a:gd name="T55" fmla="*/ 74 h 96"/>
                <a:gd name="T56" fmla="*/ 39 w 114"/>
                <a:gd name="T57" fmla="*/ 72 h 96"/>
                <a:gd name="T58" fmla="*/ 29 w 114"/>
                <a:gd name="T59" fmla="*/ 74 h 96"/>
                <a:gd name="T60" fmla="*/ 39 w 114"/>
                <a:gd name="T61" fmla="*/ 76 h 96"/>
                <a:gd name="T62" fmla="*/ 39 w 114"/>
                <a:gd name="T63" fmla="*/ 72 h 96"/>
                <a:gd name="T64" fmla="*/ 14 w 114"/>
                <a:gd name="T65" fmla="*/ 80 h 96"/>
                <a:gd name="T66" fmla="*/ 14 w 114"/>
                <a:gd name="T67" fmla="*/ 84 h 96"/>
                <a:gd name="T68" fmla="*/ 41 w 114"/>
                <a:gd name="T69" fmla="*/ 82 h 96"/>
                <a:gd name="T70" fmla="*/ 14 w 114"/>
                <a:gd name="T71" fmla="*/ 76 h 96"/>
                <a:gd name="T72" fmla="*/ 24 w 114"/>
                <a:gd name="T73" fmla="*/ 74 h 96"/>
                <a:gd name="T74" fmla="*/ 14 w 114"/>
                <a:gd name="T75" fmla="*/ 72 h 96"/>
                <a:gd name="T76" fmla="*/ 14 w 114"/>
                <a:gd name="T77" fmla="*/ 76 h 96"/>
                <a:gd name="T78" fmla="*/ 24 w 114"/>
                <a:gd name="T79" fmla="*/ 52 h 96"/>
                <a:gd name="T80" fmla="*/ 16 w 114"/>
                <a:gd name="T81" fmla="*/ 60 h 96"/>
                <a:gd name="T82" fmla="*/ 14 w 114"/>
                <a:gd name="T83" fmla="*/ 64 h 96"/>
                <a:gd name="T84" fmla="*/ 29 w 114"/>
                <a:gd name="T85" fmla="*/ 62 h 96"/>
                <a:gd name="T86" fmla="*/ 26 w 114"/>
                <a:gd name="T87" fmla="*/ 48 h 96"/>
                <a:gd name="T88" fmla="*/ 12 w 114"/>
                <a:gd name="T89" fmla="*/ 50 h 96"/>
                <a:gd name="T90" fmla="*/ 14 w 114"/>
                <a:gd name="T9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4" h="96">
                  <a:moveTo>
                    <a:pt x="65" y="35"/>
                  </a:moveTo>
                  <a:cubicBezTo>
                    <a:pt x="64" y="34"/>
                    <a:pt x="62" y="34"/>
                    <a:pt x="62" y="35"/>
                  </a:cubicBezTo>
                  <a:cubicBezTo>
                    <a:pt x="61" y="35"/>
                    <a:pt x="61" y="37"/>
                    <a:pt x="62" y="37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6" y="50"/>
                    <a:pt x="76" y="50"/>
                    <a:pt x="77" y="49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2" y="25"/>
                    <a:pt x="102" y="23"/>
                    <a:pt x="101" y="23"/>
                  </a:cubicBezTo>
                  <a:cubicBezTo>
                    <a:pt x="100" y="22"/>
                    <a:pt x="99" y="22"/>
                    <a:pt x="98" y="23"/>
                  </a:cubicBezTo>
                  <a:cubicBezTo>
                    <a:pt x="75" y="45"/>
                    <a:pt x="75" y="45"/>
                    <a:pt x="75" y="45"/>
                  </a:cubicBezTo>
                  <a:lnTo>
                    <a:pt x="65" y="35"/>
                  </a:lnTo>
                  <a:close/>
                  <a:moveTo>
                    <a:pt x="110" y="42"/>
                  </a:moveTo>
                  <a:cubicBezTo>
                    <a:pt x="110" y="62"/>
                    <a:pt x="86" y="74"/>
                    <a:pt x="81" y="76"/>
                  </a:cubicBezTo>
                  <a:cubicBezTo>
                    <a:pt x="77" y="74"/>
                    <a:pt x="53" y="62"/>
                    <a:pt x="53" y="42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7" y="9"/>
                    <a:pt x="69" y="4"/>
                    <a:pt x="81" y="4"/>
                  </a:cubicBezTo>
                  <a:cubicBezTo>
                    <a:pt x="94" y="4"/>
                    <a:pt x="106" y="9"/>
                    <a:pt x="110" y="11"/>
                  </a:cubicBezTo>
                  <a:lnTo>
                    <a:pt x="110" y="42"/>
                  </a:lnTo>
                  <a:close/>
                  <a:moveTo>
                    <a:pt x="81" y="88"/>
                  </a:moveTo>
                  <a:cubicBezTo>
                    <a:pt x="81" y="90"/>
                    <a:pt x="80" y="92"/>
                    <a:pt x="77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6" y="92"/>
                    <a:pt x="4" y="90"/>
                    <a:pt x="4" y="88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2"/>
                    <a:pt x="6" y="40"/>
                    <a:pt x="8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56"/>
                    <a:pt x="58" y="66"/>
                    <a:pt x="67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2"/>
                    <a:pt x="61" y="73"/>
                    <a:pt x="61" y="74"/>
                  </a:cubicBezTo>
                  <a:cubicBezTo>
                    <a:pt x="61" y="75"/>
                    <a:pt x="62" y="76"/>
                    <a:pt x="63" y="76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7" y="78"/>
                    <a:pt x="80" y="80"/>
                    <a:pt x="81" y="80"/>
                  </a:cubicBezTo>
                  <a:cubicBezTo>
                    <a:pt x="81" y="80"/>
                    <a:pt x="81" y="80"/>
                    <a:pt x="81" y="80"/>
                  </a:cubicBezTo>
                  <a:lnTo>
                    <a:pt x="81" y="88"/>
                  </a:lnTo>
                  <a:close/>
                  <a:moveTo>
                    <a:pt x="113" y="8"/>
                  </a:moveTo>
                  <a:cubicBezTo>
                    <a:pt x="112" y="8"/>
                    <a:pt x="97" y="0"/>
                    <a:pt x="81" y="0"/>
                  </a:cubicBezTo>
                  <a:cubicBezTo>
                    <a:pt x="66" y="0"/>
                    <a:pt x="51" y="8"/>
                    <a:pt x="50" y="8"/>
                  </a:cubicBezTo>
                  <a:cubicBezTo>
                    <a:pt x="49" y="9"/>
                    <a:pt x="49" y="9"/>
                    <a:pt x="49" y="10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40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82" y="96"/>
                    <a:pt x="85" y="92"/>
                    <a:pt x="85" y="8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94" y="74"/>
                    <a:pt x="114" y="62"/>
                    <a:pt x="114" y="42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9"/>
                    <a:pt x="113" y="9"/>
                    <a:pt x="113" y="8"/>
                  </a:cubicBezTo>
                  <a:moveTo>
                    <a:pt x="55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5" y="73"/>
                    <a:pt x="45" y="74"/>
                  </a:cubicBezTo>
                  <a:cubicBezTo>
                    <a:pt x="45" y="75"/>
                    <a:pt x="46" y="76"/>
                    <a:pt x="47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6" y="76"/>
                    <a:pt x="57" y="75"/>
                    <a:pt x="57" y="74"/>
                  </a:cubicBezTo>
                  <a:cubicBezTo>
                    <a:pt x="57" y="73"/>
                    <a:pt x="56" y="72"/>
                    <a:pt x="55" y="72"/>
                  </a:cubicBezTo>
                  <a:moveTo>
                    <a:pt x="39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29" y="72"/>
                    <a:pt x="29" y="73"/>
                    <a:pt x="29" y="74"/>
                  </a:cubicBezTo>
                  <a:cubicBezTo>
                    <a:pt x="29" y="75"/>
                    <a:pt x="29" y="76"/>
                    <a:pt x="31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40" y="76"/>
                    <a:pt x="41" y="75"/>
                    <a:pt x="41" y="74"/>
                  </a:cubicBezTo>
                  <a:cubicBezTo>
                    <a:pt x="41" y="73"/>
                    <a:pt x="40" y="72"/>
                    <a:pt x="39" y="72"/>
                  </a:cubicBezTo>
                  <a:moveTo>
                    <a:pt x="39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3" y="80"/>
                    <a:pt x="12" y="81"/>
                    <a:pt x="12" y="82"/>
                  </a:cubicBezTo>
                  <a:cubicBezTo>
                    <a:pt x="12" y="83"/>
                    <a:pt x="13" y="84"/>
                    <a:pt x="14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40" y="84"/>
                    <a:pt x="41" y="83"/>
                    <a:pt x="41" y="82"/>
                  </a:cubicBezTo>
                  <a:cubicBezTo>
                    <a:pt x="41" y="81"/>
                    <a:pt x="40" y="80"/>
                    <a:pt x="39" y="80"/>
                  </a:cubicBezTo>
                  <a:moveTo>
                    <a:pt x="14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4" y="76"/>
                    <a:pt x="24" y="75"/>
                    <a:pt x="24" y="74"/>
                  </a:cubicBezTo>
                  <a:cubicBezTo>
                    <a:pt x="24" y="73"/>
                    <a:pt x="24" y="72"/>
                    <a:pt x="22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2"/>
                    <a:pt x="12" y="73"/>
                    <a:pt x="12" y="74"/>
                  </a:cubicBezTo>
                  <a:cubicBezTo>
                    <a:pt x="12" y="75"/>
                    <a:pt x="13" y="76"/>
                    <a:pt x="14" y="76"/>
                  </a:cubicBezTo>
                  <a:moveTo>
                    <a:pt x="16" y="52"/>
                  </a:moveTo>
                  <a:cubicBezTo>
                    <a:pt x="24" y="52"/>
                    <a:pt x="24" y="52"/>
                    <a:pt x="24" y="52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6" y="60"/>
                    <a:pt x="16" y="60"/>
                    <a:pt x="16" y="60"/>
                  </a:cubicBezTo>
                  <a:lnTo>
                    <a:pt x="16" y="52"/>
                  </a:lnTo>
                  <a:close/>
                  <a:moveTo>
                    <a:pt x="14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8" y="64"/>
                    <a:pt x="29" y="63"/>
                    <a:pt x="29" y="6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49"/>
                    <a:pt x="28" y="48"/>
                    <a:pt x="26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2" y="5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3"/>
                    <a:pt x="13" y="64"/>
                    <a:pt x="14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3" name="Group 307">
            <a:extLst>
              <a:ext uri="{FF2B5EF4-FFF2-40B4-BE49-F238E27FC236}">
                <a16:creationId xmlns:a16="http://schemas.microsoft.com/office/drawing/2014/main" id="{5C788389-ABDA-4807-98D1-4DA6EF5568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6563" y="4148561"/>
            <a:ext cx="758825" cy="758825"/>
            <a:chOff x="5075" y="2578"/>
            <a:chExt cx="478" cy="478"/>
          </a:xfrm>
        </p:grpSpPr>
        <p:sp>
          <p:nvSpPr>
            <p:cNvPr id="344" name="AutoShape 306">
              <a:extLst>
                <a:ext uri="{FF2B5EF4-FFF2-40B4-BE49-F238E27FC236}">
                  <a16:creationId xmlns:a16="http://schemas.microsoft.com/office/drawing/2014/main" id="{A1202C94-3FDC-4849-B676-D601DAD61F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75" y="25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308">
              <a:extLst>
                <a:ext uri="{FF2B5EF4-FFF2-40B4-BE49-F238E27FC236}">
                  <a16:creationId xmlns:a16="http://schemas.microsoft.com/office/drawing/2014/main" id="{2941E13E-E375-4D00-99B3-4545FF952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7" y="25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309">
              <a:extLst>
                <a:ext uri="{FF2B5EF4-FFF2-40B4-BE49-F238E27FC236}">
                  <a16:creationId xmlns:a16="http://schemas.microsoft.com/office/drawing/2014/main" id="{8C9149D0-DA8F-417B-9438-808379C414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5" y="2691"/>
              <a:ext cx="280" cy="235"/>
            </a:xfrm>
            <a:custGeom>
              <a:avLst/>
              <a:gdLst>
                <a:gd name="T0" fmla="*/ 62 w 114"/>
                <a:gd name="T1" fmla="*/ 35 h 96"/>
                <a:gd name="T2" fmla="*/ 74 w 114"/>
                <a:gd name="T3" fmla="*/ 49 h 96"/>
                <a:gd name="T4" fmla="*/ 77 w 114"/>
                <a:gd name="T5" fmla="*/ 49 h 96"/>
                <a:gd name="T6" fmla="*/ 101 w 114"/>
                <a:gd name="T7" fmla="*/ 23 h 96"/>
                <a:gd name="T8" fmla="*/ 75 w 114"/>
                <a:gd name="T9" fmla="*/ 45 h 96"/>
                <a:gd name="T10" fmla="*/ 110 w 114"/>
                <a:gd name="T11" fmla="*/ 42 h 96"/>
                <a:gd name="T12" fmla="*/ 53 w 114"/>
                <a:gd name="T13" fmla="*/ 42 h 96"/>
                <a:gd name="T14" fmla="*/ 81 w 114"/>
                <a:gd name="T15" fmla="*/ 4 h 96"/>
                <a:gd name="T16" fmla="*/ 110 w 114"/>
                <a:gd name="T17" fmla="*/ 42 h 96"/>
                <a:gd name="T18" fmla="*/ 77 w 114"/>
                <a:gd name="T19" fmla="*/ 92 h 96"/>
                <a:gd name="T20" fmla="*/ 4 w 114"/>
                <a:gd name="T21" fmla="*/ 88 h 96"/>
                <a:gd name="T22" fmla="*/ 8 w 114"/>
                <a:gd name="T23" fmla="*/ 40 h 96"/>
                <a:gd name="T24" fmla="*/ 49 w 114"/>
                <a:gd name="T25" fmla="*/ 42 h 96"/>
                <a:gd name="T26" fmla="*/ 63 w 114"/>
                <a:gd name="T27" fmla="*/ 72 h 96"/>
                <a:gd name="T28" fmla="*/ 63 w 114"/>
                <a:gd name="T29" fmla="*/ 76 h 96"/>
                <a:gd name="T30" fmla="*/ 72 w 114"/>
                <a:gd name="T31" fmla="*/ 76 h 96"/>
                <a:gd name="T32" fmla="*/ 81 w 114"/>
                <a:gd name="T33" fmla="*/ 80 h 96"/>
                <a:gd name="T34" fmla="*/ 113 w 114"/>
                <a:gd name="T35" fmla="*/ 8 h 96"/>
                <a:gd name="T36" fmla="*/ 50 w 114"/>
                <a:gd name="T37" fmla="*/ 8 h 96"/>
                <a:gd name="T38" fmla="*/ 49 w 114"/>
                <a:gd name="T39" fmla="*/ 36 h 96"/>
                <a:gd name="T40" fmla="*/ 0 w 114"/>
                <a:gd name="T41" fmla="*/ 44 h 96"/>
                <a:gd name="T42" fmla="*/ 8 w 114"/>
                <a:gd name="T43" fmla="*/ 96 h 96"/>
                <a:gd name="T44" fmla="*/ 85 w 114"/>
                <a:gd name="T45" fmla="*/ 88 h 96"/>
                <a:gd name="T46" fmla="*/ 114 w 114"/>
                <a:gd name="T47" fmla="*/ 42 h 96"/>
                <a:gd name="T48" fmla="*/ 113 w 114"/>
                <a:gd name="T49" fmla="*/ 8 h 96"/>
                <a:gd name="T50" fmla="*/ 47 w 114"/>
                <a:gd name="T51" fmla="*/ 72 h 96"/>
                <a:gd name="T52" fmla="*/ 47 w 114"/>
                <a:gd name="T53" fmla="*/ 76 h 96"/>
                <a:gd name="T54" fmla="*/ 57 w 114"/>
                <a:gd name="T55" fmla="*/ 74 h 96"/>
                <a:gd name="T56" fmla="*/ 39 w 114"/>
                <a:gd name="T57" fmla="*/ 72 h 96"/>
                <a:gd name="T58" fmla="*/ 29 w 114"/>
                <a:gd name="T59" fmla="*/ 74 h 96"/>
                <a:gd name="T60" fmla="*/ 39 w 114"/>
                <a:gd name="T61" fmla="*/ 76 h 96"/>
                <a:gd name="T62" fmla="*/ 39 w 114"/>
                <a:gd name="T63" fmla="*/ 72 h 96"/>
                <a:gd name="T64" fmla="*/ 14 w 114"/>
                <a:gd name="T65" fmla="*/ 80 h 96"/>
                <a:gd name="T66" fmla="*/ 14 w 114"/>
                <a:gd name="T67" fmla="*/ 84 h 96"/>
                <a:gd name="T68" fmla="*/ 41 w 114"/>
                <a:gd name="T69" fmla="*/ 82 h 96"/>
                <a:gd name="T70" fmla="*/ 14 w 114"/>
                <a:gd name="T71" fmla="*/ 76 h 96"/>
                <a:gd name="T72" fmla="*/ 24 w 114"/>
                <a:gd name="T73" fmla="*/ 74 h 96"/>
                <a:gd name="T74" fmla="*/ 14 w 114"/>
                <a:gd name="T75" fmla="*/ 72 h 96"/>
                <a:gd name="T76" fmla="*/ 14 w 114"/>
                <a:gd name="T77" fmla="*/ 76 h 96"/>
                <a:gd name="T78" fmla="*/ 24 w 114"/>
                <a:gd name="T79" fmla="*/ 52 h 96"/>
                <a:gd name="T80" fmla="*/ 16 w 114"/>
                <a:gd name="T81" fmla="*/ 60 h 96"/>
                <a:gd name="T82" fmla="*/ 14 w 114"/>
                <a:gd name="T83" fmla="*/ 64 h 96"/>
                <a:gd name="T84" fmla="*/ 29 w 114"/>
                <a:gd name="T85" fmla="*/ 62 h 96"/>
                <a:gd name="T86" fmla="*/ 26 w 114"/>
                <a:gd name="T87" fmla="*/ 48 h 96"/>
                <a:gd name="T88" fmla="*/ 12 w 114"/>
                <a:gd name="T89" fmla="*/ 50 h 96"/>
                <a:gd name="T90" fmla="*/ 14 w 114"/>
                <a:gd name="T91" fmla="*/ 6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4" h="96">
                  <a:moveTo>
                    <a:pt x="65" y="35"/>
                  </a:moveTo>
                  <a:cubicBezTo>
                    <a:pt x="64" y="34"/>
                    <a:pt x="62" y="34"/>
                    <a:pt x="62" y="35"/>
                  </a:cubicBezTo>
                  <a:cubicBezTo>
                    <a:pt x="61" y="35"/>
                    <a:pt x="61" y="37"/>
                    <a:pt x="62" y="37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6" y="50"/>
                    <a:pt x="76" y="50"/>
                    <a:pt x="77" y="49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2" y="25"/>
                    <a:pt x="102" y="23"/>
                    <a:pt x="101" y="23"/>
                  </a:cubicBezTo>
                  <a:cubicBezTo>
                    <a:pt x="100" y="22"/>
                    <a:pt x="99" y="22"/>
                    <a:pt x="98" y="23"/>
                  </a:cubicBezTo>
                  <a:cubicBezTo>
                    <a:pt x="75" y="45"/>
                    <a:pt x="75" y="45"/>
                    <a:pt x="75" y="45"/>
                  </a:cubicBezTo>
                  <a:lnTo>
                    <a:pt x="65" y="35"/>
                  </a:lnTo>
                  <a:close/>
                  <a:moveTo>
                    <a:pt x="110" y="42"/>
                  </a:moveTo>
                  <a:cubicBezTo>
                    <a:pt x="110" y="62"/>
                    <a:pt x="86" y="74"/>
                    <a:pt x="81" y="76"/>
                  </a:cubicBezTo>
                  <a:cubicBezTo>
                    <a:pt x="77" y="74"/>
                    <a:pt x="53" y="62"/>
                    <a:pt x="53" y="42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7" y="9"/>
                    <a:pt x="69" y="4"/>
                    <a:pt x="81" y="4"/>
                  </a:cubicBezTo>
                  <a:cubicBezTo>
                    <a:pt x="94" y="4"/>
                    <a:pt x="106" y="9"/>
                    <a:pt x="110" y="11"/>
                  </a:cubicBezTo>
                  <a:lnTo>
                    <a:pt x="110" y="42"/>
                  </a:lnTo>
                  <a:close/>
                  <a:moveTo>
                    <a:pt x="81" y="88"/>
                  </a:moveTo>
                  <a:cubicBezTo>
                    <a:pt x="81" y="90"/>
                    <a:pt x="80" y="92"/>
                    <a:pt x="77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6" y="92"/>
                    <a:pt x="4" y="90"/>
                    <a:pt x="4" y="88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2"/>
                    <a:pt x="6" y="40"/>
                    <a:pt x="8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56"/>
                    <a:pt x="58" y="66"/>
                    <a:pt x="67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2"/>
                    <a:pt x="61" y="73"/>
                    <a:pt x="61" y="74"/>
                  </a:cubicBezTo>
                  <a:cubicBezTo>
                    <a:pt x="61" y="75"/>
                    <a:pt x="62" y="76"/>
                    <a:pt x="63" y="76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7" y="78"/>
                    <a:pt x="80" y="80"/>
                    <a:pt x="81" y="80"/>
                  </a:cubicBezTo>
                  <a:cubicBezTo>
                    <a:pt x="81" y="80"/>
                    <a:pt x="81" y="80"/>
                    <a:pt x="81" y="80"/>
                  </a:cubicBezTo>
                  <a:lnTo>
                    <a:pt x="81" y="88"/>
                  </a:lnTo>
                  <a:close/>
                  <a:moveTo>
                    <a:pt x="113" y="8"/>
                  </a:moveTo>
                  <a:cubicBezTo>
                    <a:pt x="112" y="8"/>
                    <a:pt x="97" y="0"/>
                    <a:pt x="81" y="0"/>
                  </a:cubicBezTo>
                  <a:cubicBezTo>
                    <a:pt x="66" y="0"/>
                    <a:pt x="51" y="8"/>
                    <a:pt x="50" y="8"/>
                  </a:cubicBezTo>
                  <a:cubicBezTo>
                    <a:pt x="49" y="9"/>
                    <a:pt x="49" y="9"/>
                    <a:pt x="49" y="10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4" y="36"/>
                    <a:pt x="0" y="40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82" y="96"/>
                    <a:pt x="85" y="92"/>
                    <a:pt x="85" y="8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94" y="74"/>
                    <a:pt x="114" y="62"/>
                    <a:pt x="114" y="42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9"/>
                    <a:pt x="113" y="9"/>
                    <a:pt x="113" y="8"/>
                  </a:cubicBezTo>
                  <a:moveTo>
                    <a:pt x="55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5" y="73"/>
                    <a:pt x="45" y="74"/>
                  </a:cubicBezTo>
                  <a:cubicBezTo>
                    <a:pt x="45" y="75"/>
                    <a:pt x="46" y="76"/>
                    <a:pt x="47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6" y="76"/>
                    <a:pt x="57" y="75"/>
                    <a:pt x="57" y="74"/>
                  </a:cubicBezTo>
                  <a:cubicBezTo>
                    <a:pt x="57" y="73"/>
                    <a:pt x="56" y="72"/>
                    <a:pt x="55" y="72"/>
                  </a:cubicBezTo>
                  <a:moveTo>
                    <a:pt x="39" y="72"/>
                  </a:moveTo>
                  <a:cubicBezTo>
                    <a:pt x="31" y="72"/>
                    <a:pt x="31" y="72"/>
                    <a:pt x="31" y="72"/>
                  </a:cubicBezTo>
                  <a:cubicBezTo>
                    <a:pt x="29" y="72"/>
                    <a:pt x="29" y="73"/>
                    <a:pt x="29" y="74"/>
                  </a:cubicBezTo>
                  <a:cubicBezTo>
                    <a:pt x="29" y="75"/>
                    <a:pt x="29" y="76"/>
                    <a:pt x="31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40" y="76"/>
                    <a:pt x="41" y="75"/>
                    <a:pt x="41" y="74"/>
                  </a:cubicBezTo>
                  <a:cubicBezTo>
                    <a:pt x="41" y="73"/>
                    <a:pt x="40" y="72"/>
                    <a:pt x="39" y="72"/>
                  </a:cubicBezTo>
                  <a:moveTo>
                    <a:pt x="39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3" y="80"/>
                    <a:pt x="12" y="81"/>
                    <a:pt x="12" y="82"/>
                  </a:cubicBezTo>
                  <a:cubicBezTo>
                    <a:pt x="12" y="83"/>
                    <a:pt x="13" y="84"/>
                    <a:pt x="14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40" y="84"/>
                    <a:pt x="41" y="83"/>
                    <a:pt x="41" y="82"/>
                  </a:cubicBezTo>
                  <a:cubicBezTo>
                    <a:pt x="41" y="81"/>
                    <a:pt x="40" y="80"/>
                    <a:pt x="39" y="80"/>
                  </a:cubicBezTo>
                  <a:moveTo>
                    <a:pt x="14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4" y="76"/>
                    <a:pt x="24" y="75"/>
                    <a:pt x="24" y="74"/>
                  </a:cubicBezTo>
                  <a:cubicBezTo>
                    <a:pt x="24" y="73"/>
                    <a:pt x="24" y="72"/>
                    <a:pt x="22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2"/>
                    <a:pt x="12" y="73"/>
                    <a:pt x="12" y="74"/>
                  </a:cubicBezTo>
                  <a:cubicBezTo>
                    <a:pt x="12" y="75"/>
                    <a:pt x="13" y="76"/>
                    <a:pt x="14" y="76"/>
                  </a:cubicBezTo>
                  <a:moveTo>
                    <a:pt x="16" y="52"/>
                  </a:moveTo>
                  <a:cubicBezTo>
                    <a:pt x="24" y="52"/>
                    <a:pt x="24" y="52"/>
                    <a:pt x="24" y="52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6" y="60"/>
                    <a:pt x="16" y="60"/>
                    <a:pt x="16" y="60"/>
                  </a:cubicBezTo>
                  <a:lnTo>
                    <a:pt x="16" y="52"/>
                  </a:lnTo>
                  <a:close/>
                  <a:moveTo>
                    <a:pt x="14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8" y="64"/>
                    <a:pt x="29" y="63"/>
                    <a:pt x="29" y="6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49"/>
                    <a:pt x="28" y="48"/>
                    <a:pt x="26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8"/>
                    <a:pt x="12" y="49"/>
                    <a:pt x="12" y="5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3"/>
                    <a:pt x="13" y="64"/>
                    <a:pt x="14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3" name="Group 312">
            <a:extLst>
              <a:ext uri="{FF2B5EF4-FFF2-40B4-BE49-F238E27FC236}">
                <a16:creationId xmlns:a16="http://schemas.microsoft.com/office/drawing/2014/main" id="{9D4DA088-B8B3-4743-8A42-E0A55C07F9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7663" y="5414963"/>
            <a:ext cx="841375" cy="841375"/>
            <a:chOff x="219" y="3411"/>
            <a:chExt cx="530" cy="530"/>
          </a:xfrm>
        </p:grpSpPr>
        <p:sp>
          <p:nvSpPr>
            <p:cNvPr id="364" name="AutoShape 311">
              <a:extLst>
                <a:ext uri="{FF2B5EF4-FFF2-40B4-BE49-F238E27FC236}">
                  <a16:creationId xmlns:a16="http://schemas.microsoft.com/office/drawing/2014/main" id="{42D27833-C457-4A96-B091-24CD01462A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9" y="341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Oval 313">
              <a:extLst>
                <a:ext uri="{FF2B5EF4-FFF2-40B4-BE49-F238E27FC236}">
                  <a16:creationId xmlns:a16="http://schemas.microsoft.com/office/drawing/2014/main" id="{BA045B60-2C50-47B8-BAD0-47D42F5A1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" y="341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314">
              <a:extLst>
                <a:ext uri="{FF2B5EF4-FFF2-40B4-BE49-F238E27FC236}">
                  <a16:creationId xmlns:a16="http://schemas.microsoft.com/office/drawing/2014/main" id="{297EE98E-AB94-494C-A41C-8B74EE7C6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" y="342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15">
              <a:extLst>
                <a:ext uri="{FF2B5EF4-FFF2-40B4-BE49-F238E27FC236}">
                  <a16:creationId xmlns:a16="http://schemas.microsoft.com/office/drawing/2014/main" id="{95DFDD9E-DB97-43F3-958E-64C677B759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" y="3541"/>
              <a:ext cx="95" cy="98"/>
            </a:xfrm>
            <a:custGeom>
              <a:avLst/>
              <a:gdLst>
                <a:gd name="T0" fmla="*/ 19 w 37"/>
                <a:gd name="T1" fmla="*/ 4 h 38"/>
                <a:gd name="T2" fmla="*/ 34 w 37"/>
                <a:gd name="T3" fmla="*/ 19 h 38"/>
                <a:gd name="T4" fmla="*/ 19 w 37"/>
                <a:gd name="T5" fmla="*/ 34 h 38"/>
                <a:gd name="T6" fmla="*/ 3 w 37"/>
                <a:gd name="T7" fmla="*/ 19 h 38"/>
                <a:gd name="T8" fmla="*/ 19 w 37"/>
                <a:gd name="T9" fmla="*/ 4 h 38"/>
                <a:gd name="T10" fmla="*/ 19 w 37"/>
                <a:gd name="T11" fmla="*/ 38 h 38"/>
                <a:gd name="T12" fmla="*/ 37 w 37"/>
                <a:gd name="T13" fmla="*/ 19 h 38"/>
                <a:gd name="T14" fmla="*/ 19 w 37"/>
                <a:gd name="T15" fmla="*/ 0 h 38"/>
                <a:gd name="T16" fmla="*/ 0 w 37"/>
                <a:gd name="T17" fmla="*/ 19 h 38"/>
                <a:gd name="T18" fmla="*/ 19 w 37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19" y="4"/>
                  </a:moveTo>
                  <a:cubicBezTo>
                    <a:pt x="27" y="4"/>
                    <a:pt x="34" y="11"/>
                    <a:pt x="34" y="19"/>
                  </a:cubicBezTo>
                  <a:cubicBezTo>
                    <a:pt x="34" y="27"/>
                    <a:pt x="27" y="34"/>
                    <a:pt x="19" y="34"/>
                  </a:cubicBezTo>
                  <a:cubicBezTo>
                    <a:pt x="10" y="34"/>
                    <a:pt x="3" y="27"/>
                    <a:pt x="3" y="19"/>
                  </a:cubicBezTo>
                  <a:cubicBezTo>
                    <a:pt x="3" y="11"/>
                    <a:pt x="10" y="4"/>
                    <a:pt x="19" y="4"/>
                  </a:cubicBezTo>
                  <a:moveTo>
                    <a:pt x="19" y="38"/>
                  </a:moveTo>
                  <a:cubicBezTo>
                    <a:pt x="29" y="38"/>
                    <a:pt x="37" y="29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9"/>
                    <a:pt x="8" y="38"/>
                    <a:pt x="19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16">
              <a:extLst>
                <a:ext uri="{FF2B5EF4-FFF2-40B4-BE49-F238E27FC236}">
                  <a16:creationId xmlns:a16="http://schemas.microsoft.com/office/drawing/2014/main" id="{885B026A-554F-412B-8B3C-23054BA4C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" y="3516"/>
              <a:ext cx="322" cy="322"/>
            </a:xfrm>
            <a:custGeom>
              <a:avLst/>
              <a:gdLst>
                <a:gd name="T0" fmla="*/ 50 w 126"/>
                <a:gd name="T1" fmla="*/ 122 h 126"/>
                <a:gd name="T2" fmla="*/ 83 w 126"/>
                <a:gd name="T3" fmla="*/ 83 h 126"/>
                <a:gd name="T4" fmla="*/ 115 w 126"/>
                <a:gd name="T5" fmla="*/ 44 h 126"/>
                <a:gd name="T6" fmla="*/ 115 w 126"/>
                <a:gd name="T7" fmla="*/ 43 h 126"/>
                <a:gd name="T8" fmla="*/ 116 w 126"/>
                <a:gd name="T9" fmla="*/ 41 h 126"/>
                <a:gd name="T10" fmla="*/ 122 w 126"/>
                <a:gd name="T11" fmla="*/ 64 h 126"/>
                <a:gd name="T12" fmla="*/ 21 w 126"/>
                <a:gd name="T13" fmla="*/ 105 h 126"/>
                <a:gd name="T14" fmla="*/ 47 w 126"/>
                <a:gd name="T15" fmla="*/ 83 h 126"/>
                <a:gd name="T16" fmla="*/ 21 w 126"/>
                <a:gd name="T17" fmla="*/ 105 h 126"/>
                <a:gd name="T18" fmla="*/ 17 w 126"/>
                <a:gd name="T19" fmla="*/ 83 h 126"/>
                <a:gd name="T20" fmla="*/ 7 w 126"/>
                <a:gd name="T21" fmla="*/ 83 h 126"/>
                <a:gd name="T22" fmla="*/ 17 w 126"/>
                <a:gd name="T23" fmla="*/ 50 h 126"/>
                <a:gd name="T24" fmla="*/ 6 w 126"/>
                <a:gd name="T25" fmla="*/ 79 h 126"/>
                <a:gd name="T26" fmla="*/ 5 w 126"/>
                <a:gd name="T27" fmla="*/ 50 h 126"/>
                <a:gd name="T28" fmla="*/ 6 w 126"/>
                <a:gd name="T29" fmla="*/ 46 h 126"/>
                <a:gd name="T30" fmla="*/ 17 w 126"/>
                <a:gd name="T31" fmla="*/ 46 h 126"/>
                <a:gd name="T32" fmla="*/ 47 w 126"/>
                <a:gd name="T33" fmla="*/ 46 h 126"/>
                <a:gd name="T34" fmla="*/ 21 w 126"/>
                <a:gd name="T35" fmla="*/ 22 h 126"/>
                <a:gd name="T36" fmla="*/ 71 w 126"/>
                <a:gd name="T37" fmla="*/ 5 h 126"/>
                <a:gd name="T38" fmla="*/ 59 w 126"/>
                <a:gd name="T39" fmla="*/ 29 h 126"/>
                <a:gd name="T40" fmla="*/ 61 w 126"/>
                <a:gd name="T41" fmla="*/ 41 h 126"/>
                <a:gd name="T42" fmla="*/ 62 w 126"/>
                <a:gd name="T43" fmla="*/ 43 h 126"/>
                <a:gd name="T44" fmla="*/ 64 w 126"/>
                <a:gd name="T45" fmla="*/ 46 h 126"/>
                <a:gd name="T46" fmla="*/ 50 w 126"/>
                <a:gd name="T47" fmla="*/ 6 h 126"/>
                <a:gd name="T48" fmla="*/ 71 w 126"/>
                <a:gd name="T49" fmla="*/ 5 h 126"/>
                <a:gd name="T50" fmla="*/ 115 w 126"/>
                <a:gd name="T51" fmla="*/ 32 h 126"/>
                <a:gd name="T52" fmla="*/ 112 w 126"/>
                <a:gd name="T53" fmla="*/ 42 h 126"/>
                <a:gd name="T54" fmla="*/ 110 w 126"/>
                <a:gd name="T55" fmla="*/ 44 h 126"/>
                <a:gd name="T56" fmla="*/ 67 w 126"/>
                <a:gd name="T57" fmla="*/ 44 h 126"/>
                <a:gd name="T58" fmla="*/ 65 w 126"/>
                <a:gd name="T59" fmla="*/ 42 h 126"/>
                <a:gd name="T60" fmla="*/ 89 w 126"/>
                <a:gd name="T61" fmla="*/ 3 h 126"/>
                <a:gd name="T62" fmla="*/ 47 w 126"/>
                <a:gd name="T63" fmla="*/ 79 h 126"/>
                <a:gd name="T64" fmla="*/ 21 w 126"/>
                <a:gd name="T65" fmla="*/ 50 h 126"/>
                <a:gd name="T66" fmla="*/ 47 w 126"/>
                <a:gd name="T67" fmla="*/ 79 h 126"/>
                <a:gd name="T68" fmla="*/ 65 w 126"/>
                <a:gd name="T69" fmla="*/ 50 h 126"/>
                <a:gd name="T70" fmla="*/ 50 w 126"/>
                <a:gd name="T71" fmla="*/ 79 h 126"/>
                <a:gd name="T72" fmla="*/ 118 w 126"/>
                <a:gd name="T73" fmla="*/ 33 h 126"/>
                <a:gd name="T74" fmla="*/ 89 w 126"/>
                <a:gd name="T75" fmla="*/ 0 h 126"/>
                <a:gd name="T76" fmla="*/ 76 w 126"/>
                <a:gd name="T77" fmla="*/ 2 h 126"/>
                <a:gd name="T78" fmla="*/ 0 w 126"/>
                <a:gd name="T79" fmla="*/ 64 h 126"/>
                <a:gd name="T80" fmla="*/ 17 w 126"/>
                <a:gd name="T81" fmla="*/ 107 h 126"/>
                <a:gd name="T82" fmla="*/ 63 w 126"/>
                <a:gd name="T83" fmla="*/ 126 h 126"/>
                <a:gd name="T84" fmla="*/ 118 w 126"/>
                <a:gd name="T85" fmla="*/ 3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6" h="126">
                  <a:moveTo>
                    <a:pt x="63" y="123"/>
                  </a:moveTo>
                  <a:cubicBezTo>
                    <a:pt x="59" y="123"/>
                    <a:pt x="54" y="122"/>
                    <a:pt x="50" y="12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83" y="83"/>
                    <a:pt x="83" y="83"/>
                    <a:pt x="83" y="83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7" y="40"/>
                    <a:pt x="117" y="39"/>
                  </a:cubicBezTo>
                  <a:cubicBezTo>
                    <a:pt x="120" y="46"/>
                    <a:pt x="122" y="55"/>
                    <a:pt x="122" y="64"/>
                  </a:cubicBezTo>
                  <a:cubicBezTo>
                    <a:pt x="122" y="96"/>
                    <a:pt x="96" y="123"/>
                    <a:pt x="63" y="123"/>
                  </a:cubicBezTo>
                  <a:moveTo>
                    <a:pt x="21" y="105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121"/>
                    <a:pt x="47" y="121"/>
                    <a:pt x="47" y="121"/>
                  </a:cubicBezTo>
                  <a:cubicBezTo>
                    <a:pt x="37" y="118"/>
                    <a:pt x="28" y="113"/>
                    <a:pt x="21" y="105"/>
                  </a:cubicBezTo>
                  <a:moveTo>
                    <a:pt x="7" y="83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3" y="96"/>
                    <a:pt x="9" y="90"/>
                    <a:pt x="7" y="83"/>
                  </a:cubicBezTo>
                  <a:moveTo>
                    <a:pt x="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4" y="74"/>
                    <a:pt x="4" y="69"/>
                    <a:pt x="4" y="64"/>
                  </a:cubicBezTo>
                  <a:cubicBezTo>
                    <a:pt x="4" y="59"/>
                    <a:pt x="4" y="54"/>
                    <a:pt x="5" y="50"/>
                  </a:cubicBezTo>
                  <a:moveTo>
                    <a:pt x="17" y="46"/>
                  </a:moveTo>
                  <a:cubicBezTo>
                    <a:pt x="6" y="46"/>
                    <a:pt x="6" y="46"/>
                    <a:pt x="6" y="46"/>
                  </a:cubicBezTo>
                  <a:cubicBezTo>
                    <a:pt x="9" y="39"/>
                    <a:pt x="12" y="32"/>
                    <a:pt x="17" y="26"/>
                  </a:cubicBezTo>
                  <a:lnTo>
                    <a:pt x="17" y="46"/>
                  </a:lnTo>
                  <a:close/>
                  <a:moveTo>
                    <a:pt x="47" y="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8" y="15"/>
                    <a:pt x="37" y="9"/>
                    <a:pt x="47" y="6"/>
                  </a:cubicBezTo>
                  <a:moveTo>
                    <a:pt x="71" y="5"/>
                  </a:moveTo>
                  <a:cubicBezTo>
                    <a:pt x="63" y="10"/>
                    <a:pt x="59" y="19"/>
                    <a:pt x="59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34"/>
                    <a:pt x="60" y="38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4" y="5"/>
                    <a:pt x="59" y="4"/>
                    <a:pt x="63" y="4"/>
                  </a:cubicBezTo>
                  <a:cubicBezTo>
                    <a:pt x="66" y="4"/>
                    <a:pt x="68" y="4"/>
                    <a:pt x="71" y="5"/>
                  </a:cubicBezTo>
                  <a:moveTo>
                    <a:pt x="115" y="29"/>
                  </a:moveTo>
                  <a:cubicBezTo>
                    <a:pt x="115" y="30"/>
                    <a:pt x="115" y="31"/>
                    <a:pt x="115" y="32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4" y="36"/>
                    <a:pt x="113" y="39"/>
                    <a:pt x="112" y="42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3" y="38"/>
                    <a:pt x="62" y="34"/>
                    <a:pt x="62" y="29"/>
                  </a:cubicBezTo>
                  <a:cubicBezTo>
                    <a:pt x="62" y="15"/>
                    <a:pt x="74" y="3"/>
                    <a:pt x="89" y="3"/>
                  </a:cubicBezTo>
                  <a:cubicBezTo>
                    <a:pt x="103" y="3"/>
                    <a:pt x="115" y="15"/>
                    <a:pt x="115" y="29"/>
                  </a:cubicBezTo>
                  <a:moveTo>
                    <a:pt x="47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47" y="50"/>
                    <a:pt x="47" y="50"/>
                    <a:pt x="47" y="50"/>
                  </a:cubicBezTo>
                  <a:lnTo>
                    <a:pt x="47" y="79"/>
                  </a:lnTo>
                  <a:close/>
                  <a:moveTo>
                    <a:pt x="50" y="50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50" y="79"/>
                    <a:pt x="50" y="79"/>
                    <a:pt x="50" y="79"/>
                  </a:cubicBezTo>
                  <a:lnTo>
                    <a:pt x="50" y="50"/>
                  </a:lnTo>
                  <a:close/>
                  <a:moveTo>
                    <a:pt x="118" y="33"/>
                  </a:moveTo>
                  <a:cubicBezTo>
                    <a:pt x="118" y="32"/>
                    <a:pt x="118" y="31"/>
                    <a:pt x="118" y="29"/>
                  </a:cubicBezTo>
                  <a:cubicBezTo>
                    <a:pt x="118" y="13"/>
                    <a:pt x="105" y="0"/>
                    <a:pt x="89" y="0"/>
                  </a:cubicBezTo>
                  <a:cubicBezTo>
                    <a:pt x="84" y="0"/>
                    <a:pt x="80" y="1"/>
                    <a:pt x="76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2" y="1"/>
                    <a:pt x="67" y="1"/>
                    <a:pt x="63" y="1"/>
                  </a:cubicBezTo>
                  <a:cubicBezTo>
                    <a:pt x="28" y="1"/>
                    <a:pt x="0" y="29"/>
                    <a:pt x="0" y="64"/>
                  </a:cubicBezTo>
                  <a:cubicBezTo>
                    <a:pt x="0" y="80"/>
                    <a:pt x="7" y="95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29" y="119"/>
                    <a:pt x="45" y="126"/>
                    <a:pt x="63" y="126"/>
                  </a:cubicBezTo>
                  <a:cubicBezTo>
                    <a:pt x="98" y="126"/>
                    <a:pt x="126" y="98"/>
                    <a:pt x="126" y="64"/>
                  </a:cubicBezTo>
                  <a:cubicBezTo>
                    <a:pt x="126" y="53"/>
                    <a:pt x="123" y="43"/>
                    <a:pt x="118" y="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17">
              <a:extLst>
                <a:ext uri="{FF2B5EF4-FFF2-40B4-BE49-F238E27FC236}">
                  <a16:creationId xmlns:a16="http://schemas.microsoft.com/office/drawing/2014/main" id="{1B7FB579-0B79-46E3-B010-4D07B8F0A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20 w 20"/>
                <a:gd name="T11" fmla="*/ 0 h 20"/>
                <a:gd name="T12" fmla="*/ 0 w 20"/>
                <a:gd name="T13" fmla="*/ 0 h 20"/>
                <a:gd name="T14" fmla="*/ 0 w 20"/>
                <a:gd name="T15" fmla="*/ 20 h 20"/>
                <a:gd name="T16" fmla="*/ 20 w 20"/>
                <a:gd name="T17" fmla="*/ 20 h 20"/>
                <a:gd name="T18" fmla="*/ 20 w 2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0" y="0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20" y="2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18">
              <a:extLst>
                <a:ext uri="{FF2B5EF4-FFF2-40B4-BE49-F238E27FC236}">
                  <a16:creationId xmlns:a16="http://schemas.microsoft.com/office/drawing/2014/main" id="{F275ADD2-48EB-4FA0-BF8B-8B65986A2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0 w 20"/>
                <a:gd name="T11" fmla="*/ 20 h 20"/>
                <a:gd name="T12" fmla="*/ 20 w 20"/>
                <a:gd name="T13" fmla="*/ 20 h 20"/>
                <a:gd name="T14" fmla="*/ 20 w 20"/>
                <a:gd name="T15" fmla="*/ 0 h 20"/>
                <a:gd name="T16" fmla="*/ 0 w 20"/>
                <a:gd name="T17" fmla="*/ 0 h 20"/>
                <a:gd name="T18" fmla="*/ 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0" y="20"/>
                  </a:moveTo>
                  <a:lnTo>
                    <a:pt x="20" y="2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19">
              <a:extLst>
                <a:ext uri="{FF2B5EF4-FFF2-40B4-BE49-F238E27FC236}">
                  <a16:creationId xmlns:a16="http://schemas.microsoft.com/office/drawing/2014/main" id="{29A3E910-C3A1-4DCB-A930-4004D26BC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0 w 20"/>
                <a:gd name="T11" fmla="*/ 20 h 20"/>
                <a:gd name="T12" fmla="*/ 20 w 20"/>
                <a:gd name="T13" fmla="*/ 20 h 20"/>
                <a:gd name="T14" fmla="*/ 20 w 20"/>
                <a:gd name="T15" fmla="*/ 0 h 20"/>
                <a:gd name="T16" fmla="*/ 0 w 20"/>
                <a:gd name="T17" fmla="*/ 0 h 20"/>
                <a:gd name="T18" fmla="*/ 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0" y="20"/>
                  </a:moveTo>
                  <a:lnTo>
                    <a:pt x="20" y="2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2" name="Group 322">
            <a:extLst>
              <a:ext uri="{FF2B5EF4-FFF2-40B4-BE49-F238E27FC236}">
                <a16:creationId xmlns:a16="http://schemas.microsoft.com/office/drawing/2014/main" id="{0A939F46-B8FA-49ED-B78C-212F8AC947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33513" y="5456238"/>
            <a:ext cx="758825" cy="758825"/>
            <a:chOff x="903" y="3437"/>
            <a:chExt cx="478" cy="478"/>
          </a:xfrm>
        </p:grpSpPr>
        <p:sp>
          <p:nvSpPr>
            <p:cNvPr id="373" name="AutoShape 321">
              <a:extLst>
                <a:ext uri="{FF2B5EF4-FFF2-40B4-BE49-F238E27FC236}">
                  <a16:creationId xmlns:a16="http://schemas.microsoft.com/office/drawing/2014/main" id="{5BB0E80E-E125-4862-A1B4-DF136404F5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3" y="343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323">
              <a:extLst>
                <a:ext uri="{FF2B5EF4-FFF2-40B4-BE49-F238E27FC236}">
                  <a16:creationId xmlns:a16="http://schemas.microsoft.com/office/drawing/2014/main" id="{4DEB454C-163A-42AB-BEBD-80EEFC1E3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" y="343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324">
              <a:extLst>
                <a:ext uri="{FF2B5EF4-FFF2-40B4-BE49-F238E27FC236}">
                  <a16:creationId xmlns:a16="http://schemas.microsoft.com/office/drawing/2014/main" id="{14DB61B7-CCBB-429B-B60D-FF9A8C71AD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0" y="3547"/>
              <a:ext cx="91" cy="93"/>
            </a:xfrm>
            <a:custGeom>
              <a:avLst/>
              <a:gdLst>
                <a:gd name="T0" fmla="*/ 19 w 37"/>
                <a:gd name="T1" fmla="*/ 4 h 38"/>
                <a:gd name="T2" fmla="*/ 34 w 37"/>
                <a:gd name="T3" fmla="*/ 19 h 38"/>
                <a:gd name="T4" fmla="*/ 19 w 37"/>
                <a:gd name="T5" fmla="*/ 34 h 38"/>
                <a:gd name="T6" fmla="*/ 3 w 37"/>
                <a:gd name="T7" fmla="*/ 19 h 38"/>
                <a:gd name="T8" fmla="*/ 19 w 37"/>
                <a:gd name="T9" fmla="*/ 4 h 38"/>
                <a:gd name="T10" fmla="*/ 19 w 37"/>
                <a:gd name="T11" fmla="*/ 38 h 38"/>
                <a:gd name="T12" fmla="*/ 37 w 37"/>
                <a:gd name="T13" fmla="*/ 19 h 38"/>
                <a:gd name="T14" fmla="*/ 19 w 37"/>
                <a:gd name="T15" fmla="*/ 0 h 38"/>
                <a:gd name="T16" fmla="*/ 0 w 37"/>
                <a:gd name="T17" fmla="*/ 19 h 38"/>
                <a:gd name="T18" fmla="*/ 19 w 37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8">
                  <a:moveTo>
                    <a:pt x="19" y="4"/>
                  </a:moveTo>
                  <a:cubicBezTo>
                    <a:pt x="27" y="4"/>
                    <a:pt x="34" y="11"/>
                    <a:pt x="34" y="19"/>
                  </a:cubicBezTo>
                  <a:cubicBezTo>
                    <a:pt x="34" y="27"/>
                    <a:pt x="27" y="34"/>
                    <a:pt x="19" y="34"/>
                  </a:cubicBezTo>
                  <a:cubicBezTo>
                    <a:pt x="10" y="34"/>
                    <a:pt x="3" y="27"/>
                    <a:pt x="3" y="19"/>
                  </a:cubicBezTo>
                  <a:cubicBezTo>
                    <a:pt x="3" y="11"/>
                    <a:pt x="10" y="4"/>
                    <a:pt x="19" y="4"/>
                  </a:cubicBezTo>
                  <a:moveTo>
                    <a:pt x="19" y="38"/>
                  </a:moveTo>
                  <a:cubicBezTo>
                    <a:pt x="29" y="38"/>
                    <a:pt x="37" y="29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9"/>
                    <a:pt x="8" y="38"/>
                    <a:pt x="19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25">
              <a:extLst>
                <a:ext uri="{FF2B5EF4-FFF2-40B4-BE49-F238E27FC236}">
                  <a16:creationId xmlns:a16="http://schemas.microsoft.com/office/drawing/2014/main" id="{5F66C2E5-0745-48D2-B1BB-4BFA8E810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" y="3523"/>
              <a:ext cx="309" cy="309"/>
            </a:xfrm>
            <a:custGeom>
              <a:avLst/>
              <a:gdLst>
                <a:gd name="T0" fmla="*/ 50 w 126"/>
                <a:gd name="T1" fmla="*/ 122 h 126"/>
                <a:gd name="T2" fmla="*/ 83 w 126"/>
                <a:gd name="T3" fmla="*/ 83 h 126"/>
                <a:gd name="T4" fmla="*/ 115 w 126"/>
                <a:gd name="T5" fmla="*/ 44 h 126"/>
                <a:gd name="T6" fmla="*/ 115 w 126"/>
                <a:gd name="T7" fmla="*/ 43 h 126"/>
                <a:gd name="T8" fmla="*/ 116 w 126"/>
                <a:gd name="T9" fmla="*/ 41 h 126"/>
                <a:gd name="T10" fmla="*/ 122 w 126"/>
                <a:gd name="T11" fmla="*/ 64 h 126"/>
                <a:gd name="T12" fmla="*/ 21 w 126"/>
                <a:gd name="T13" fmla="*/ 105 h 126"/>
                <a:gd name="T14" fmla="*/ 47 w 126"/>
                <a:gd name="T15" fmla="*/ 83 h 126"/>
                <a:gd name="T16" fmla="*/ 21 w 126"/>
                <a:gd name="T17" fmla="*/ 105 h 126"/>
                <a:gd name="T18" fmla="*/ 17 w 126"/>
                <a:gd name="T19" fmla="*/ 83 h 126"/>
                <a:gd name="T20" fmla="*/ 7 w 126"/>
                <a:gd name="T21" fmla="*/ 83 h 126"/>
                <a:gd name="T22" fmla="*/ 17 w 126"/>
                <a:gd name="T23" fmla="*/ 50 h 126"/>
                <a:gd name="T24" fmla="*/ 6 w 126"/>
                <a:gd name="T25" fmla="*/ 79 h 126"/>
                <a:gd name="T26" fmla="*/ 5 w 126"/>
                <a:gd name="T27" fmla="*/ 50 h 126"/>
                <a:gd name="T28" fmla="*/ 6 w 126"/>
                <a:gd name="T29" fmla="*/ 46 h 126"/>
                <a:gd name="T30" fmla="*/ 17 w 126"/>
                <a:gd name="T31" fmla="*/ 46 h 126"/>
                <a:gd name="T32" fmla="*/ 47 w 126"/>
                <a:gd name="T33" fmla="*/ 46 h 126"/>
                <a:gd name="T34" fmla="*/ 21 w 126"/>
                <a:gd name="T35" fmla="*/ 22 h 126"/>
                <a:gd name="T36" fmla="*/ 71 w 126"/>
                <a:gd name="T37" fmla="*/ 5 h 126"/>
                <a:gd name="T38" fmla="*/ 59 w 126"/>
                <a:gd name="T39" fmla="*/ 29 h 126"/>
                <a:gd name="T40" fmla="*/ 61 w 126"/>
                <a:gd name="T41" fmla="*/ 41 h 126"/>
                <a:gd name="T42" fmla="*/ 62 w 126"/>
                <a:gd name="T43" fmla="*/ 43 h 126"/>
                <a:gd name="T44" fmla="*/ 64 w 126"/>
                <a:gd name="T45" fmla="*/ 46 h 126"/>
                <a:gd name="T46" fmla="*/ 50 w 126"/>
                <a:gd name="T47" fmla="*/ 6 h 126"/>
                <a:gd name="T48" fmla="*/ 71 w 126"/>
                <a:gd name="T49" fmla="*/ 5 h 126"/>
                <a:gd name="T50" fmla="*/ 115 w 126"/>
                <a:gd name="T51" fmla="*/ 32 h 126"/>
                <a:gd name="T52" fmla="*/ 112 w 126"/>
                <a:gd name="T53" fmla="*/ 42 h 126"/>
                <a:gd name="T54" fmla="*/ 110 w 126"/>
                <a:gd name="T55" fmla="*/ 44 h 126"/>
                <a:gd name="T56" fmla="*/ 67 w 126"/>
                <a:gd name="T57" fmla="*/ 44 h 126"/>
                <a:gd name="T58" fmla="*/ 65 w 126"/>
                <a:gd name="T59" fmla="*/ 42 h 126"/>
                <a:gd name="T60" fmla="*/ 89 w 126"/>
                <a:gd name="T61" fmla="*/ 3 h 126"/>
                <a:gd name="T62" fmla="*/ 47 w 126"/>
                <a:gd name="T63" fmla="*/ 79 h 126"/>
                <a:gd name="T64" fmla="*/ 21 w 126"/>
                <a:gd name="T65" fmla="*/ 50 h 126"/>
                <a:gd name="T66" fmla="*/ 47 w 126"/>
                <a:gd name="T67" fmla="*/ 79 h 126"/>
                <a:gd name="T68" fmla="*/ 65 w 126"/>
                <a:gd name="T69" fmla="*/ 50 h 126"/>
                <a:gd name="T70" fmla="*/ 50 w 126"/>
                <a:gd name="T71" fmla="*/ 79 h 126"/>
                <a:gd name="T72" fmla="*/ 118 w 126"/>
                <a:gd name="T73" fmla="*/ 33 h 126"/>
                <a:gd name="T74" fmla="*/ 89 w 126"/>
                <a:gd name="T75" fmla="*/ 0 h 126"/>
                <a:gd name="T76" fmla="*/ 76 w 126"/>
                <a:gd name="T77" fmla="*/ 2 h 126"/>
                <a:gd name="T78" fmla="*/ 0 w 126"/>
                <a:gd name="T79" fmla="*/ 64 h 126"/>
                <a:gd name="T80" fmla="*/ 17 w 126"/>
                <a:gd name="T81" fmla="*/ 107 h 126"/>
                <a:gd name="T82" fmla="*/ 63 w 126"/>
                <a:gd name="T83" fmla="*/ 126 h 126"/>
                <a:gd name="T84" fmla="*/ 118 w 126"/>
                <a:gd name="T85" fmla="*/ 3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6" h="126">
                  <a:moveTo>
                    <a:pt x="63" y="123"/>
                  </a:moveTo>
                  <a:cubicBezTo>
                    <a:pt x="59" y="123"/>
                    <a:pt x="54" y="122"/>
                    <a:pt x="50" y="12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83" y="83"/>
                    <a:pt x="83" y="83"/>
                    <a:pt x="83" y="83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7" y="40"/>
                    <a:pt x="117" y="39"/>
                  </a:cubicBezTo>
                  <a:cubicBezTo>
                    <a:pt x="120" y="46"/>
                    <a:pt x="122" y="55"/>
                    <a:pt x="122" y="64"/>
                  </a:cubicBezTo>
                  <a:cubicBezTo>
                    <a:pt x="122" y="96"/>
                    <a:pt x="96" y="123"/>
                    <a:pt x="63" y="123"/>
                  </a:cubicBezTo>
                  <a:moveTo>
                    <a:pt x="21" y="105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121"/>
                    <a:pt x="47" y="121"/>
                    <a:pt x="47" y="121"/>
                  </a:cubicBezTo>
                  <a:cubicBezTo>
                    <a:pt x="37" y="118"/>
                    <a:pt x="28" y="113"/>
                    <a:pt x="21" y="105"/>
                  </a:cubicBezTo>
                  <a:moveTo>
                    <a:pt x="7" y="83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3" y="96"/>
                    <a:pt x="9" y="90"/>
                    <a:pt x="7" y="83"/>
                  </a:cubicBezTo>
                  <a:moveTo>
                    <a:pt x="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4" y="74"/>
                    <a:pt x="4" y="69"/>
                    <a:pt x="4" y="64"/>
                  </a:cubicBezTo>
                  <a:cubicBezTo>
                    <a:pt x="4" y="59"/>
                    <a:pt x="4" y="54"/>
                    <a:pt x="5" y="50"/>
                  </a:cubicBezTo>
                  <a:moveTo>
                    <a:pt x="17" y="46"/>
                  </a:moveTo>
                  <a:cubicBezTo>
                    <a:pt x="6" y="46"/>
                    <a:pt x="6" y="46"/>
                    <a:pt x="6" y="46"/>
                  </a:cubicBezTo>
                  <a:cubicBezTo>
                    <a:pt x="9" y="39"/>
                    <a:pt x="12" y="32"/>
                    <a:pt x="17" y="26"/>
                  </a:cubicBezTo>
                  <a:lnTo>
                    <a:pt x="17" y="46"/>
                  </a:lnTo>
                  <a:close/>
                  <a:moveTo>
                    <a:pt x="47" y="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8" y="15"/>
                    <a:pt x="37" y="9"/>
                    <a:pt x="47" y="6"/>
                  </a:cubicBezTo>
                  <a:moveTo>
                    <a:pt x="71" y="5"/>
                  </a:moveTo>
                  <a:cubicBezTo>
                    <a:pt x="63" y="10"/>
                    <a:pt x="59" y="19"/>
                    <a:pt x="59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34"/>
                    <a:pt x="60" y="38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4" y="5"/>
                    <a:pt x="59" y="4"/>
                    <a:pt x="63" y="4"/>
                  </a:cubicBezTo>
                  <a:cubicBezTo>
                    <a:pt x="66" y="4"/>
                    <a:pt x="68" y="4"/>
                    <a:pt x="71" y="5"/>
                  </a:cubicBezTo>
                  <a:moveTo>
                    <a:pt x="115" y="29"/>
                  </a:moveTo>
                  <a:cubicBezTo>
                    <a:pt x="115" y="30"/>
                    <a:pt x="115" y="31"/>
                    <a:pt x="115" y="32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4" y="36"/>
                    <a:pt x="113" y="39"/>
                    <a:pt x="112" y="42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3" y="38"/>
                    <a:pt x="62" y="34"/>
                    <a:pt x="62" y="29"/>
                  </a:cubicBezTo>
                  <a:cubicBezTo>
                    <a:pt x="62" y="15"/>
                    <a:pt x="74" y="3"/>
                    <a:pt x="89" y="3"/>
                  </a:cubicBezTo>
                  <a:cubicBezTo>
                    <a:pt x="103" y="3"/>
                    <a:pt x="115" y="15"/>
                    <a:pt x="115" y="29"/>
                  </a:cubicBezTo>
                  <a:moveTo>
                    <a:pt x="47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47" y="50"/>
                    <a:pt x="47" y="50"/>
                    <a:pt x="47" y="50"/>
                  </a:cubicBezTo>
                  <a:lnTo>
                    <a:pt x="47" y="79"/>
                  </a:lnTo>
                  <a:close/>
                  <a:moveTo>
                    <a:pt x="50" y="50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50" y="79"/>
                    <a:pt x="50" y="79"/>
                    <a:pt x="50" y="79"/>
                  </a:cubicBezTo>
                  <a:lnTo>
                    <a:pt x="50" y="50"/>
                  </a:lnTo>
                  <a:close/>
                  <a:moveTo>
                    <a:pt x="118" y="33"/>
                  </a:moveTo>
                  <a:cubicBezTo>
                    <a:pt x="118" y="32"/>
                    <a:pt x="118" y="31"/>
                    <a:pt x="118" y="29"/>
                  </a:cubicBezTo>
                  <a:cubicBezTo>
                    <a:pt x="118" y="13"/>
                    <a:pt x="105" y="0"/>
                    <a:pt x="89" y="0"/>
                  </a:cubicBezTo>
                  <a:cubicBezTo>
                    <a:pt x="84" y="0"/>
                    <a:pt x="80" y="1"/>
                    <a:pt x="76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2" y="1"/>
                    <a:pt x="67" y="1"/>
                    <a:pt x="63" y="1"/>
                  </a:cubicBezTo>
                  <a:cubicBezTo>
                    <a:pt x="28" y="1"/>
                    <a:pt x="0" y="29"/>
                    <a:pt x="0" y="64"/>
                  </a:cubicBezTo>
                  <a:cubicBezTo>
                    <a:pt x="0" y="80"/>
                    <a:pt x="7" y="95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29" y="119"/>
                    <a:pt x="45" y="126"/>
                    <a:pt x="63" y="126"/>
                  </a:cubicBezTo>
                  <a:cubicBezTo>
                    <a:pt x="98" y="126"/>
                    <a:pt x="126" y="98"/>
                    <a:pt x="126" y="64"/>
                  </a:cubicBezTo>
                  <a:cubicBezTo>
                    <a:pt x="126" y="53"/>
                    <a:pt x="123" y="43"/>
                    <a:pt x="118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26">
              <a:extLst>
                <a:ext uri="{FF2B5EF4-FFF2-40B4-BE49-F238E27FC236}">
                  <a16:creationId xmlns:a16="http://schemas.microsoft.com/office/drawing/2014/main" id="{D707D269-2678-46EB-A40C-E031799D6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20 w 20"/>
                <a:gd name="T11" fmla="*/ 0 h 20"/>
                <a:gd name="T12" fmla="*/ 0 w 20"/>
                <a:gd name="T13" fmla="*/ 0 h 20"/>
                <a:gd name="T14" fmla="*/ 0 w 20"/>
                <a:gd name="T15" fmla="*/ 20 h 20"/>
                <a:gd name="T16" fmla="*/ 20 w 20"/>
                <a:gd name="T17" fmla="*/ 20 h 20"/>
                <a:gd name="T18" fmla="*/ 20 w 20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0" y="0"/>
                  </a:moveTo>
                  <a:lnTo>
                    <a:pt x="0" y="0"/>
                  </a:lnTo>
                  <a:lnTo>
                    <a:pt x="0" y="20"/>
                  </a:lnTo>
                  <a:lnTo>
                    <a:pt x="20" y="2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27">
              <a:extLst>
                <a:ext uri="{FF2B5EF4-FFF2-40B4-BE49-F238E27FC236}">
                  <a16:creationId xmlns:a16="http://schemas.microsoft.com/office/drawing/2014/main" id="{6A4E3C36-C6AF-470A-83E7-C7A8961E7D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0 w 20"/>
                <a:gd name="T11" fmla="*/ 20 h 20"/>
                <a:gd name="T12" fmla="*/ 20 w 20"/>
                <a:gd name="T13" fmla="*/ 20 h 20"/>
                <a:gd name="T14" fmla="*/ 20 w 20"/>
                <a:gd name="T15" fmla="*/ 0 h 20"/>
                <a:gd name="T16" fmla="*/ 0 w 20"/>
                <a:gd name="T17" fmla="*/ 0 h 20"/>
                <a:gd name="T18" fmla="*/ 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0" y="20"/>
                  </a:moveTo>
                  <a:lnTo>
                    <a:pt x="20" y="2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28">
              <a:extLst>
                <a:ext uri="{FF2B5EF4-FFF2-40B4-BE49-F238E27FC236}">
                  <a16:creationId xmlns:a16="http://schemas.microsoft.com/office/drawing/2014/main" id="{1F5ED3AD-BC75-4392-B50F-56D57E3B9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" y="3667"/>
              <a:ext cx="20" cy="20"/>
            </a:xfrm>
            <a:custGeom>
              <a:avLst/>
              <a:gdLst>
                <a:gd name="T0" fmla="*/ 10 w 20"/>
                <a:gd name="T1" fmla="*/ 10 h 20"/>
                <a:gd name="T2" fmla="*/ 10 w 20"/>
                <a:gd name="T3" fmla="*/ 10 h 20"/>
                <a:gd name="T4" fmla="*/ 10 w 20"/>
                <a:gd name="T5" fmla="*/ 10 h 20"/>
                <a:gd name="T6" fmla="*/ 10 w 20"/>
                <a:gd name="T7" fmla="*/ 10 h 20"/>
                <a:gd name="T8" fmla="*/ 10 w 20"/>
                <a:gd name="T9" fmla="*/ 10 h 20"/>
                <a:gd name="T10" fmla="*/ 0 w 20"/>
                <a:gd name="T11" fmla="*/ 20 h 20"/>
                <a:gd name="T12" fmla="*/ 20 w 20"/>
                <a:gd name="T13" fmla="*/ 20 h 20"/>
                <a:gd name="T14" fmla="*/ 20 w 20"/>
                <a:gd name="T15" fmla="*/ 0 h 20"/>
                <a:gd name="T16" fmla="*/ 0 w 20"/>
                <a:gd name="T17" fmla="*/ 0 h 20"/>
                <a:gd name="T18" fmla="*/ 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0" y="20"/>
                  </a:moveTo>
                  <a:lnTo>
                    <a:pt x="20" y="2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31">
            <a:extLst>
              <a:ext uri="{FF2B5EF4-FFF2-40B4-BE49-F238E27FC236}">
                <a16:creationId xmlns:a16="http://schemas.microsoft.com/office/drawing/2014/main" id="{41DFAED6-E328-4C31-ADAC-796A79D735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54288" y="5414963"/>
            <a:ext cx="842962" cy="841375"/>
            <a:chOff x="1609" y="3411"/>
            <a:chExt cx="531" cy="530"/>
          </a:xfrm>
        </p:grpSpPr>
        <p:sp>
          <p:nvSpPr>
            <p:cNvPr id="381" name="AutoShape 330">
              <a:extLst>
                <a:ext uri="{FF2B5EF4-FFF2-40B4-BE49-F238E27FC236}">
                  <a16:creationId xmlns:a16="http://schemas.microsoft.com/office/drawing/2014/main" id="{8EB2E357-A88C-4556-A1ED-BA2E5A3E750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09" y="3411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Oval 332">
              <a:extLst>
                <a:ext uri="{FF2B5EF4-FFF2-40B4-BE49-F238E27FC236}">
                  <a16:creationId xmlns:a16="http://schemas.microsoft.com/office/drawing/2014/main" id="{72A0CC6A-A90A-489B-90B9-A9316FEF1F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9" y="3411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333">
              <a:extLst>
                <a:ext uri="{FF2B5EF4-FFF2-40B4-BE49-F238E27FC236}">
                  <a16:creationId xmlns:a16="http://schemas.microsoft.com/office/drawing/2014/main" id="{E0AB4A96-4DE1-487A-8D07-A1804EF7D1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7" y="3429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334">
              <a:extLst>
                <a:ext uri="{FF2B5EF4-FFF2-40B4-BE49-F238E27FC236}">
                  <a16:creationId xmlns:a16="http://schemas.microsoft.com/office/drawing/2014/main" id="{BA40B93F-7067-4895-87F3-8102494D2D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5" y="3774"/>
              <a:ext cx="33" cy="31"/>
            </a:xfrm>
            <a:custGeom>
              <a:avLst/>
              <a:gdLst>
                <a:gd name="T0" fmla="*/ 7 w 13"/>
                <a:gd name="T1" fmla="*/ 9 h 12"/>
                <a:gd name="T2" fmla="*/ 4 w 13"/>
                <a:gd name="T3" fmla="*/ 6 h 12"/>
                <a:gd name="T4" fmla="*/ 7 w 13"/>
                <a:gd name="T5" fmla="*/ 3 h 12"/>
                <a:gd name="T6" fmla="*/ 10 w 13"/>
                <a:gd name="T7" fmla="*/ 6 h 12"/>
                <a:gd name="T8" fmla="*/ 7 w 13"/>
                <a:gd name="T9" fmla="*/ 9 h 12"/>
                <a:gd name="T10" fmla="*/ 7 w 13"/>
                <a:gd name="T11" fmla="*/ 0 h 12"/>
                <a:gd name="T12" fmla="*/ 0 w 13"/>
                <a:gd name="T13" fmla="*/ 6 h 12"/>
                <a:gd name="T14" fmla="*/ 7 w 13"/>
                <a:gd name="T15" fmla="*/ 12 h 12"/>
                <a:gd name="T16" fmla="*/ 13 w 13"/>
                <a:gd name="T17" fmla="*/ 6 h 12"/>
                <a:gd name="T18" fmla="*/ 7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7" y="9"/>
                  </a:moveTo>
                  <a:cubicBezTo>
                    <a:pt x="5" y="9"/>
                    <a:pt x="4" y="7"/>
                    <a:pt x="4" y="6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8" y="3"/>
                    <a:pt x="10" y="4"/>
                    <a:pt x="10" y="6"/>
                  </a:cubicBezTo>
                  <a:cubicBezTo>
                    <a:pt x="10" y="7"/>
                    <a:pt x="8" y="9"/>
                    <a:pt x="7" y="9"/>
                  </a:cubicBezTo>
                  <a:moveTo>
                    <a:pt x="7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0" y="12"/>
                    <a:pt x="13" y="9"/>
                    <a:pt x="13" y="6"/>
                  </a:cubicBezTo>
                  <a:cubicBezTo>
                    <a:pt x="13" y="2"/>
                    <a:pt x="10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335">
              <a:extLst>
                <a:ext uri="{FF2B5EF4-FFF2-40B4-BE49-F238E27FC236}">
                  <a16:creationId xmlns:a16="http://schemas.microsoft.com/office/drawing/2014/main" id="{F06613E8-5EB2-4896-9A88-5DBBFF3B2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0" y="3774"/>
              <a:ext cx="34" cy="31"/>
            </a:xfrm>
            <a:custGeom>
              <a:avLst/>
              <a:gdLst>
                <a:gd name="T0" fmla="*/ 6 w 13"/>
                <a:gd name="T1" fmla="*/ 9 h 12"/>
                <a:gd name="T2" fmla="*/ 4 w 13"/>
                <a:gd name="T3" fmla="*/ 6 h 12"/>
                <a:gd name="T4" fmla="*/ 6 w 13"/>
                <a:gd name="T5" fmla="*/ 3 h 12"/>
                <a:gd name="T6" fmla="*/ 9 w 13"/>
                <a:gd name="T7" fmla="*/ 6 h 12"/>
                <a:gd name="T8" fmla="*/ 6 w 13"/>
                <a:gd name="T9" fmla="*/ 9 h 12"/>
                <a:gd name="T10" fmla="*/ 6 w 13"/>
                <a:gd name="T11" fmla="*/ 0 h 12"/>
                <a:gd name="T12" fmla="*/ 0 w 13"/>
                <a:gd name="T13" fmla="*/ 6 h 12"/>
                <a:gd name="T14" fmla="*/ 6 w 13"/>
                <a:gd name="T15" fmla="*/ 12 h 12"/>
                <a:gd name="T16" fmla="*/ 13 w 13"/>
                <a:gd name="T17" fmla="*/ 6 h 12"/>
                <a:gd name="T18" fmla="*/ 6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6" y="9"/>
                  </a:moveTo>
                  <a:cubicBezTo>
                    <a:pt x="5" y="9"/>
                    <a:pt x="4" y="7"/>
                    <a:pt x="4" y="6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8" y="3"/>
                    <a:pt x="9" y="4"/>
                    <a:pt x="9" y="6"/>
                  </a:cubicBezTo>
                  <a:cubicBezTo>
                    <a:pt x="9" y="7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0" y="12"/>
                    <a:pt x="13" y="9"/>
                    <a:pt x="13" y="6"/>
                  </a:cubicBezTo>
                  <a:cubicBezTo>
                    <a:pt x="13" y="2"/>
                    <a:pt x="10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336">
              <a:extLst>
                <a:ext uri="{FF2B5EF4-FFF2-40B4-BE49-F238E27FC236}">
                  <a16:creationId xmlns:a16="http://schemas.microsoft.com/office/drawing/2014/main" id="{F8176BA6-6A38-46BF-B3C4-CC50CCA30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" y="3516"/>
              <a:ext cx="323" cy="279"/>
            </a:xfrm>
            <a:custGeom>
              <a:avLst/>
              <a:gdLst>
                <a:gd name="T0" fmla="*/ 100 w 126"/>
                <a:gd name="T1" fmla="*/ 55 h 109"/>
                <a:gd name="T2" fmla="*/ 84 w 126"/>
                <a:gd name="T3" fmla="*/ 99 h 109"/>
                <a:gd name="T4" fmla="*/ 72 w 126"/>
                <a:gd name="T5" fmla="*/ 105 h 109"/>
                <a:gd name="T6" fmla="*/ 51 w 126"/>
                <a:gd name="T7" fmla="*/ 105 h 109"/>
                <a:gd name="T8" fmla="*/ 17 w 126"/>
                <a:gd name="T9" fmla="*/ 96 h 109"/>
                <a:gd name="T10" fmla="*/ 3 w 126"/>
                <a:gd name="T11" fmla="*/ 105 h 109"/>
                <a:gd name="T12" fmla="*/ 52 w 126"/>
                <a:gd name="T13" fmla="*/ 95 h 109"/>
                <a:gd name="T14" fmla="*/ 76 w 126"/>
                <a:gd name="T15" fmla="*/ 95 h 109"/>
                <a:gd name="T16" fmla="*/ 3 w 126"/>
                <a:gd name="T17" fmla="*/ 63 h 109"/>
                <a:gd name="T18" fmla="*/ 52 w 126"/>
                <a:gd name="T19" fmla="*/ 73 h 109"/>
                <a:gd name="T20" fmla="*/ 3 w 126"/>
                <a:gd name="T21" fmla="*/ 91 h 109"/>
                <a:gd name="T22" fmla="*/ 26 w 126"/>
                <a:gd name="T23" fmla="*/ 55 h 109"/>
                <a:gd name="T24" fmla="*/ 45 w 126"/>
                <a:gd name="T25" fmla="*/ 60 h 109"/>
                <a:gd name="T26" fmla="*/ 26 w 126"/>
                <a:gd name="T27" fmla="*/ 55 h 109"/>
                <a:gd name="T28" fmla="*/ 71 w 126"/>
                <a:gd name="T29" fmla="*/ 7 h 109"/>
                <a:gd name="T30" fmla="*/ 54 w 126"/>
                <a:gd name="T31" fmla="*/ 26 h 109"/>
                <a:gd name="T32" fmla="*/ 66 w 126"/>
                <a:gd name="T33" fmla="*/ 8 h 109"/>
                <a:gd name="T34" fmla="*/ 74 w 126"/>
                <a:gd name="T35" fmla="*/ 32 h 109"/>
                <a:gd name="T36" fmla="*/ 94 w 126"/>
                <a:gd name="T37" fmla="*/ 36 h 109"/>
                <a:gd name="T38" fmla="*/ 74 w 126"/>
                <a:gd name="T39" fmla="*/ 52 h 109"/>
                <a:gd name="T40" fmla="*/ 63 w 126"/>
                <a:gd name="T41" fmla="*/ 76 h 109"/>
                <a:gd name="T42" fmla="*/ 76 w 126"/>
                <a:gd name="T43" fmla="*/ 91 h 109"/>
                <a:gd name="T44" fmla="*/ 55 w 126"/>
                <a:gd name="T45" fmla="*/ 76 h 109"/>
                <a:gd name="T46" fmla="*/ 104 w 126"/>
                <a:gd name="T47" fmla="*/ 20 h 109"/>
                <a:gd name="T48" fmla="*/ 85 w 126"/>
                <a:gd name="T49" fmla="*/ 9 h 109"/>
                <a:gd name="T50" fmla="*/ 74 w 126"/>
                <a:gd name="T51" fmla="*/ 28 h 109"/>
                <a:gd name="T52" fmla="*/ 80 w 126"/>
                <a:gd name="T53" fmla="*/ 8 h 109"/>
                <a:gd name="T54" fmla="*/ 53 w 126"/>
                <a:gd name="T55" fmla="*/ 29 h 109"/>
                <a:gd name="T56" fmla="*/ 71 w 126"/>
                <a:gd name="T57" fmla="*/ 52 h 109"/>
                <a:gd name="T58" fmla="*/ 53 w 126"/>
                <a:gd name="T59" fmla="*/ 29 h 109"/>
                <a:gd name="T60" fmla="*/ 60 w 126"/>
                <a:gd name="T61" fmla="*/ 9 h 109"/>
                <a:gd name="T62" fmla="*/ 40 w 126"/>
                <a:gd name="T63" fmla="*/ 20 h 109"/>
                <a:gd name="T64" fmla="*/ 38 w 126"/>
                <a:gd name="T65" fmla="*/ 23 h 109"/>
                <a:gd name="T66" fmla="*/ 45 w 126"/>
                <a:gd name="T67" fmla="*/ 52 h 109"/>
                <a:gd name="T68" fmla="*/ 48 w 126"/>
                <a:gd name="T69" fmla="*/ 60 h 109"/>
                <a:gd name="T70" fmla="*/ 71 w 126"/>
                <a:gd name="T71" fmla="*/ 55 h 109"/>
                <a:gd name="T72" fmla="*/ 63 w 126"/>
                <a:gd name="T73" fmla="*/ 73 h 109"/>
                <a:gd name="T74" fmla="*/ 55 w 126"/>
                <a:gd name="T75" fmla="*/ 60 h 109"/>
                <a:gd name="T76" fmla="*/ 79 w 126"/>
                <a:gd name="T77" fmla="*/ 100 h 109"/>
                <a:gd name="T78" fmla="*/ 79 w 126"/>
                <a:gd name="T79" fmla="*/ 91 h 109"/>
                <a:gd name="T80" fmla="*/ 74 w 126"/>
                <a:gd name="T81" fmla="*/ 77 h 109"/>
                <a:gd name="T82" fmla="*/ 97 w 126"/>
                <a:gd name="T83" fmla="*/ 55 h 109"/>
                <a:gd name="T84" fmla="*/ 119 w 126"/>
                <a:gd name="T85" fmla="*/ 52 h 109"/>
                <a:gd name="T86" fmla="*/ 98 w 126"/>
                <a:gd name="T87" fmla="*/ 35 h 109"/>
                <a:gd name="T88" fmla="*/ 107 w 126"/>
                <a:gd name="T89" fmla="*/ 22 h 109"/>
                <a:gd name="T90" fmla="*/ 119 w 126"/>
                <a:gd name="T91" fmla="*/ 52 h 109"/>
                <a:gd name="T92" fmla="*/ 65 w 126"/>
                <a:gd name="T93" fmla="*/ 4 h 109"/>
                <a:gd name="T94" fmla="*/ 0 w 126"/>
                <a:gd name="T95" fmla="*/ 60 h 109"/>
                <a:gd name="T96" fmla="*/ 0 w 126"/>
                <a:gd name="T97" fmla="*/ 95 h 109"/>
                <a:gd name="T98" fmla="*/ 10 w 126"/>
                <a:gd name="T99" fmla="*/ 109 h 109"/>
                <a:gd name="T100" fmla="*/ 17 w 126"/>
                <a:gd name="T101" fmla="*/ 100 h 109"/>
                <a:gd name="T102" fmla="*/ 24 w 126"/>
                <a:gd name="T103" fmla="*/ 109 h 109"/>
                <a:gd name="T104" fmla="*/ 54 w 126"/>
                <a:gd name="T105" fmla="*/ 107 h 109"/>
                <a:gd name="T106" fmla="*/ 69 w 126"/>
                <a:gd name="T107" fmla="*/ 107 h 109"/>
                <a:gd name="T108" fmla="*/ 79 w 126"/>
                <a:gd name="T109" fmla="*/ 109 h 109"/>
                <a:gd name="T110" fmla="*/ 79 w 126"/>
                <a:gd name="T111" fmla="*/ 103 h 109"/>
                <a:gd name="T112" fmla="*/ 81 w 126"/>
                <a:gd name="T113" fmla="*/ 103 h 109"/>
                <a:gd name="T114" fmla="*/ 122 w 126"/>
                <a:gd name="T115" fmla="*/ 4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9">
                  <a:moveTo>
                    <a:pt x="84" y="99"/>
                  </a:moveTo>
                  <a:cubicBezTo>
                    <a:pt x="96" y="83"/>
                    <a:pt x="100" y="68"/>
                    <a:pt x="100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8" y="76"/>
                    <a:pt x="104" y="94"/>
                    <a:pt x="84" y="99"/>
                  </a:cubicBezTo>
                  <a:moveTo>
                    <a:pt x="76" y="105"/>
                  </a:moveTo>
                  <a:cubicBezTo>
                    <a:pt x="72" y="105"/>
                    <a:pt x="72" y="105"/>
                    <a:pt x="72" y="105"/>
                  </a:cubicBezTo>
                  <a:cubicBezTo>
                    <a:pt x="71" y="100"/>
                    <a:pt x="67" y="96"/>
                    <a:pt x="61" y="96"/>
                  </a:cubicBezTo>
                  <a:cubicBezTo>
                    <a:pt x="56" y="96"/>
                    <a:pt x="52" y="100"/>
                    <a:pt x="51" y="105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6" y="100"/>
                    <a:pt x="22" y="96"/>
                    <a:pt x="17" y="96"/>
                  </a:cubicBezTo>
                  <a:cubicBezTo>
                    <a:pt x="11" y="96"/>
                    <a:pt x="7" y="100"/>
                    <a:pt x="6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76" y="95"/>
                    <a:pt x="76" y="95"/>
                    <a:pt x="76" y="95"/>
                  </a:cubicBezTo>
                  <a:lnTo>
                    <a:pt x="76" y="105"/>
                  </a:lnTo>
                  <a:close/>
                  <a:moveTo>
                    <a:pt x="3" y="63"/>
                  </a:moveTo>
                  <a:cubicBezTo>
                    <a:pt x="52" y="63"/>
                    <a:pt x="52" y="63"/>
                    <a:pt x="52" y="6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3" y="91"/>
                    <a:pt x="3" y="91"/>
                    <a:pt x="3" y="91"/>
                  </a:cubicBezTo>
                  <a:lnTo>
                    <a:pt x="3" y="63"/>
                  </a:lnTo>
                  <a:close/>
                  <a:moveTo>
                    <a:pt x="26" y="55"/>
                  </a:moveTo>
                  <a:cubicBezTo>
                    <a:pt x="45" y="55"/>
                    <a:pt x="45" y="55"/>
                    <a:pt x="45" y="55"/>
                  </a:cubicBezTo>
                  <a:cubicBezTo>
                    <a:pt x="45" y="57"/>
                    <a:pt x="45" y="58"/>
                    <a:pt x="45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moveTo>
                    <a:pt x="66" y="8"/>
                  </a:moveTo>
                  <a:cubicBezTo>
                    <a:pt x="68" y="7"/>
                    <a:pt x="69" y="7"/>
                    <a:pt x="71" y="7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65" y="28"/>
                    <a:pt x="59" y="27"/>
                    <a:pt x="54" y="26"/>
                  </a:cubicBezTo>
                  <a:cubicBezTo>
                    <a:pt x="58" y="16"/>
                    <a:pt x="63" y="10"/>
                    <a:pt x="65" y="8"/>
                  </a:cubicBezTo>
                  <a:cubicBezTo>
                    <a:pt x="65" y="8"/>
                    <a:pt x="66" y="8"/>
                    <a:pt x="66" y="8"/>
                  </a:cubicBezTo>
                  <a:moveTo>
                    <a:pt x="74" y="52"/>
                  </a:moveTo>
                  <a:cubicBezTo>
                    <a:pt x="74" y="32"/>
                    <a:pt x="74" y="32"/>
                    <a:pt x="74" y="32"/>
                  </a:cubicBezTo>
                  <a:cubicBezTo>
                    <a:pt x="80" y="32"/>
                    <a:pt x="86" y="31"/>
                    <a:pt x="92" y="29"/>
                  </a:cubicBezTo>
                  <a:cubicBezTo>
                    <a:pt x="93" y="31"/>
                    <a:pt x="94" y="34"/>
                    <a:pt x="94" y="36"/>
                  </a:cubicBezTo>
                  <a:cubicBezTo>
                    <a:pt x="96" y="42"/>
                    <a:pt x="97" y="47"/>
                    <a:pt x="97" y="52"/>
                  </a:cubicBezTo>
                  <a:lnTo>
                    <a:pt x="74" y="52"/>
                  </a:lnTo>
                  <a:close/>
                  <a:moveTo>
                    <a:pt x="55" y="76"/>
                  </a:moveTo>
                  <a:cubicBezTo>
                    <a:pt x="63" y="76"/>
                    <a:pt x="63" y="76"/>
                    <a:pt x="63" y="76"/>
                  </a:cubicBezTo>
                  <a:cubicBezTo>
                    <a:pt x="70" y="76"/>
                    <a:pt x="76" y="82"/>
                    <a:pt x="76" y="89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55" y="91"/>
                    <a:pt x="55" y="91"/>
                    <a:pt x="55" y="91"/>
                  </a:cubicBezTo>
                  <a:lnTo>
                    <a:pt x="55" y="76"/>
                  </a:lnTo>
                  <a:close/>
                  <a:moveTo>
                    <a:pt x="85" y="9"/>
                  </a:moveTo>
                  <a:cubicBezTo>
                    <a:pt x="92" y="11"/>
                    <a:pt x="99" y="15"/>
                    <a:pt x="104" y="20"/>
                  </a:cubicBezTo>
                  <a:cubicBezTo>
                    <a:pt x="101" y="22"/>
                    <a:pt x="97" y="24"/>
                    <a:pt x="94" y="25"/>
                  </a:cubicBezTo>
                  <a:cubicBezTo>
                    <a:pt x="91" y="18"/>
                    <a:pt x="87" y="12"/>
                    <a:pt x="85" y="9"/>
                  </a:cubicBezTo>
                  <a:moveTo>
                    <a:pt x="91" y="26"/>
                  </a:moveTo>
                  <a:cubicBezTo>
                    <a:pt x="85" y="28"/>
                    <a:pt x="79" y="28"/>
                    <a:pt x="74" y="2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7"/>
                    <a:pt x="78" y="7"/>
                    <a:pt x="80" y="8"/>
                  </a:cubicBezTo>
                  <a:cubicBezTo>
                    <a:pt x="82" y="10"/>
                    <a:pt x="86" y="16"/>
                    <a:pt x="91" y="26"/>
                  </a:cubicBezTo>
                  <a:moveTo>
                    <a:pt x="53" y="29"/>
                  </a:moveTo>
                  <a:cubicBezTo>
                    <a:pt x="58" y="30"/>
                    <a:pt x="64" y="32"/>
                    <a:pt x="71" y="3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43"/>
                    <a:pt x="50" y="36"/>
                    <a:pt x="53" y="29"/>
                  </a:cubicBezTo>
                  <a:moveTo>
                    <a:pt x="40" y="20"/>
                  </a:moveTo>
                  <a:cubicBezTo>
                    <a:pt x="45" y="15"/>
                    <a:pt x="52" y="11"/>
                    <a:pt x="60" y="9"/>
                  </a:cubicBezTo>
                  <a:cubicBezTo>
                    <a:pt x="57" y="12"/>
                    <a:pt x="54" y="18"/>
                    <a:pt x="51" y="25"/>
                  </a:cubicBezTo>
                  <a:cubicBezTo>
                    <a:pt x="46" y="23"/>
                    <a:pt x="42" y="21"/>
                    <a:pt x="40" y="20"/>
                  </a:cubicBezTo>
                  <a:moveTo>
                    <a:pt x="26" y="52"/>
                  </a:moveTo>
                  <a:cubicBezTo>
                    <a:pt x="26" y="41"/>
                    <a:pt x="31" y="31"/>
                    <a:pt x="38" y="23"/>
                  </a:cubicBezTo>
                  <a:cubicBezTo>
                    <a:pt x="40" y="24"/>
                    <a:pt x="44" y="26"/>
                    <a:pt x="50" y="28"/>
                  </a:cubicBezTo>
                  <a:cubicBezTo>
                    <a:pt x="47" y="35"/>
                    <a:pt x="45" y="43"/>
                    <a:pt x="45" y="52"/>
                  </a:cubicBezTo>
                  <a:lnTo>
                    <a:pt x="26" y="52"/>
                  </a:lnTo>
                  <a:close/>
                  <a:moveTo>
                    <a:pt x="48" y="60"/>
                  </a:moveTo>
                  <a:cubicBezTo>
                    <a:pt x="48" y="58"/>
                    <a:pt x="48" y="57"/>
                    <a:pt x="48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68" y="74"/>
                    <a:pt x="66" y="73"/>
                    <a:pt x="63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60"/>
                    <a:pt x="55" y="60"/>
                    <a:pt x="55" y="60"/>
                  </a:cubicBezTo>
                  <a:lnTo>
                    <a:pt x="48" y="60"/>
                  </a:lnTo>
                  <a:close/>
                  <a:moveTo>
                    <a:pt x="79" y="100"/>
                  </a:moveTo>
                  <a:cubicBezTo>
                    <a:pt x="79" y="95"/>
                    <a:pt x="79" y="95"/>
                    <a:pt x="79" y="95"/>
                  </a:cubicBezTo>
                  <a:cubicBezTo>
                    <a:pt x="79" y="91"/>
                    <a:pt x="79" y="91"/>
                    <a:pt x="79" y="91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79" y="84"/>
                    <a:pt x="77" y="80"/>
                    <a:pt x="74" y="77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71"/>
                    <a:pt x="91" y="86"/>
                    <a:pt x="79" y="100"/>
                  </a:cubicBezTo>
                  <a:moveTo>
                    <a:pt x="119" y="52"/>
                  </a:moveTo>
                  <a:cubicBezTo>
                    <a:pt x="100" y="52"/>
                    <a:pt x="100" y="52"/>
                    <a:pt x="100" y="52"/>
                  </a:cubicBezTo>
                  <a:cubicBezTo>
                    <a:pt x="100" y="46"/>
                    <a:pt x="99" y="40"/>
                    <a:pt x="98" y="35"/>
                  </a:cubicBezTo>
                  <a:cubicBezTo>
                    <a:pt x="97" y="33"/>
                    <a:pt x="96" y="30"/>
                    <a:pt x="95" y="28"/>
                  </a:cubicBezTo>
                  <a:cubicBezTo>
                    <a:pt x="99" y="27"/>
                    <a:pt x="103" y="25"/>
                    <a:pt x="107" y="22"/>
                  </a:cubicBezTo>
                  <a:cubicBezTo>
                    <a:pt x="113" y="29"/>
                    <a:pt x="117" y="38"/>
                    <a:pt x="119" y="47"/>
                  </a:cubicBezTo>
                  <a:cubicBezTo>
                    <a:pt x="119" y="49"/>
                    <a:pt x="119" y="50"/>
                    <a:pt x="119" y="52"/>
                  </a:cubicBezTo>
                  <a:moveTo>
                    <a:pt x="122" y="47"/>
                  </a:moveTo>
                  <a:cubicBezTo>
                    <a:pt x="118" y="19"/>
                    <a:pt x="93" y="0"/>
                    <a:pt x="65" y="4"/>
                  </a:cubicBezTo>
                  <a:cubicBezTo>
                    <a:pt x="38" y="8"/>
                    <a:pt x="19" y="33"/>
                    <a:pt x="23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3"/>
                    <a:pt x="13" y="100"/>
                    <a:pt x="17" y="100"/>
                  </a:cubicBezTo>
                  <a:cubicBezTo>
                    <a:pt x="21" y="100"/>
                    <a:pt x="24" y="103"/>
                    <a:pt x="24" y="107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4" y="103"/>
                    <a:pt x="57" y="100"/>
                    <a:pt x="61" y="100"/>
                  </a:cubicBezTo>
                  <a:cubicBezTo>
                    <a:pt x="65" y="100"/>
                    <a:pt x="69" y="103"/>
                    <a:pt x="69" y="107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80" y="103"/>
                    <a:pt x="80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107" y="99"/>
                    <a:pt x="126" y="74"/>
                    <a:pt x="122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7" name="Group 339">
            <a:extLst>
              <a:ext uri="{FF2B5EF4-FFF2-40B4-BE49-F238E27FC236}">
                <a16:creationId xmlns:a16="http://schemas.microsoft.com/office/drawing/2014/main" id="{49B274B8-B732-43F0-AD0E-E74B0B7A5E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4738" y="5456238"/>
            <a:ext cx="760412" cy="758825"/>
            <a:chOff x="2277" y="3437"/>
            <a:chExt cx="479" cy="478"/>
          </a:xfrm>
        </p:grpSpPr>
        <p:sp>
          <p:nvSpPr>
            <p:cNvPr id="388" name="AutoShape 338">
              <a:extLst>
                <a:ext uri="{FF2B5EF4-FFF2-40B4-BE49-F238E27FC236}">
                  <a16:creationId xmlns:a16="http://schemas.microsoft.com/office/drawing/2014/main" id="{3DD5B731-D3A2-4559-8B69-96B6B0A7AE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7" y="343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340">
              <a:extLst>
                <a:ext uri="{FF2B5EF4-FFF2-40B4-BE49-F238E27FC236}">
                  <a16:creationId xmlns:a16="http://schemas.microsoft.com/office/drawing/2014/main" id="{71FA60EC-07AD-4D51-9300-78A48941F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" y="343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341">
              <a:extLst>
                <a:ext uri="{FF2B5EF4-FFF2-40B4-BE49-F238E27FC236}">
                  <a16:creationId xmlns:a16="http://schemas.microsoft.com/office/drawing/2014/main" id="{027E62D7-E03C-4A59-85CC-FA94B58F3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2" y="3770"/>
              <a:ext cx="32" cy="30"/>
            </a:xfrm>
            <a:custGeom>
              <a:avLst/>
              <a:gdLst>
                <a:gd name="T0" fmla="*/ 7 w 13"/>
                <a:gd name="T1" fmla="*/ 9 h 12"/>
                <a:gd name="T2" fmla="*/ 4 w 13"/>
                <a:gd name="T3" fmla="*/ 6 h 12"/>
                <a:gd name="T4" fmla="*/ 7 w 13"/>
                <a:gd name="T5" fmla="*/ 3 h 12"/>
                <a:gd name="T6" fmla="*/ 10 w 13"/>
                <a:gd name="T7" fmla="*/ 6 h 12"/>
                <a:gd name="T8" fmla="*/ 7 w 13"/>
                <a:gd name="T9" fmla="*/ 9 h 12"/>
                <a:gd name="T10" fmla="*/ 7 w 13"/>
                <a:gd name="T11" fmla="*/ 0 h 12"/>
                <a:gd name="T12" fmla="*/ 0 w 13"/>
                <a:gd name="T13" fmla="*/ 6 h 12"/>
                <a:gd name="T14" fmla="*/ 7 w 13"/>
                <a:gd name="T15" fmla="*/ 12 h 12"/>
                <a:gd name="T16" fmla="*/ 13 w 13"/>
                <a:gd name="T17" fmla="*/ 6 h 12"/>
                <a:gd name="T18" fmla="*/ 7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7" y="9"/>
                  </a:moveTo>
                  <a:cubicBezTo>
                    <a:pt x="5" y="9"/>
                    <a:pt x="4" y="7"/>
                    <a:pt x="4" y="6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8" y="3"/>
                    <a:pt x="10" y="4"/>
                    <a:pt x="10" y="6"/>
                  </a:cubicBezTo>
                  <a:cubicBezTo>
                    <a:pt x="10" y="7"/>
                    <a:pt x="8" y="9"/>
                    <a:pt x="7" y="9"/>
                  </a:cubicBezTo>
                  <a:moveTo>
                    <a:pt x="7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0" y="12"/>
                    <a:pt x="13" y="9"/>
                    <a:pt x="13" y="6"/>
                  </a:cubicBezTo>
                  <a:cubicBezTo>
                    <a:pt x="13" y="2"/>
                    <a:pt x="10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342">
              <a:extLst>
                <a:ext uri="{FF2B5EF4-FFF2-40B4-BE49-F238E27FC236}">
                  <a16:creationId xmlns:a16="http://schemas.microsoft.com/office/drawing/2014/main" id="{D13C3B16-FACF-4C78-8201-57C6EAFB2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3" y="3770"/>
              <a:ext cx="32" cy="30"/>
            </a:xfrm>
            <a:custGeom>
              <a:avLst/>
              <a:gdLst>
                <a:gd name="T0" fmla="*/ 6 w 13"/>
                <a:gd name="T1" fmla="*/ 9 h 12"/>
                <a:gd name="T2" fmla="*/ 4 w 13"/>
                <a:gd name="T3" fmla="*/ 6 h 12"/>
                <a:gd name="T4" fmla="*/ 6 w 13"/>
                <a:gd name="T5" fmla="*/ 3 h 12"/>
                <a:gd name="T6" fmla="*/ 9 w 13"/>
                <a:gd name="T7" fmla="*/ 6 h 12"/>
                <a:gd name="T8" fmla="*/ 6 w 13"/>
                <a:gd name="T9" fmla="*/ 9 h 12"/>
                <a:gd name="T10" fmla="*/ 6 w 13"/>
                <a:gd name="T11" fmla="*/ 0 h 12"/>
                <a:gd name="T12" fmla="*/ 0 w 13"/>
                <a:gd name="T13" fmla="*/ 6 h 12"/>
                <a:gd name="T14" fmla="*/ 6 w 13"/>
                <a:gd name="T15" fmla="*/ 12 h 12"/>
                <a:gd name="T16" fmla="*/ 13 w 13"/>
                <a:gd name="T17" fmla="*/ 6 h 12"/>
                <a:gd name="T18" fmla="*/ 6 w 13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6" y="9"/>
                  </a:moveTo>
                  <a:cubicBezTo>
                    <a:pt x="5" y="9"/>
                    <a:pt x="4" y="7"/>
                    <a:pt x="4" y="6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8" y="3"/>
                    <a:pt x="9" y="4"/>
                    <a:pt x="9" y="6"/>
                  </a:cubicBezTo>
                  <a:cubicBezTo>
                    <a:pt x="9" y="7"/>
                    <a:pt x="8" y="9"/>
                    <a:pt x="6" y="9"/>
                  </a:cubicBezTo>
                  <a:moveTo>
                    <a:pt x="6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0" y="12"/>
                    <a:pt x="13" y="9"/>
                    <a:pt x="13" y="6"/>
                  </a:cubicBezTo>
                  <a:cubicBezTo>
                    <a:pt x="13" y="2"/>
                    <a:pt x="10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343">
              <a:extLst>
                <a:ext uri="{FF2B5EF4-FFF2-40B4-BE49-F238E27FC236}">
                  <a16:creationId xmlns:a16="http://schemas.microsoft.com/office/drawing/2014/main" id="{FBE8C59A-4194-42E2-88A1-21BF5CB52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8" y="3523"/>
              <a:ext cx="309" cy="267"/>
            </a:xfrm>
            <a:custGeom>
              <a:avLst/>
              <a:gdLst>
                <a:gd name="T0" fmla="*/ 100 w 126"/>
                <a:gd name="T1" fmla="*/ 55 h 109"/>
                <a:gd name="T2" fmla="*/ 84 w 126"/>
                <a:gd name="T3" fmla="*/ 99 h 109"/>
                <a:gd name="T4" fmla="*/ 72 w 126"/>
                <a:gd name="T5" fmla="*/ 105 h 109"/>
                <a:gd name="T6" fmla="*/ 51 w 126"/>
                <a:gd name="T7" fmla="*/ 105 h 109"/>
                <a:gd name="T8" fmla="*/ 17 w 126"/>
                <a:gd name="T9" fmla="*/ 96 h 109"/>
                <a:gd name="T10" fmla="*/ 3 w 126"/>
                <a:gd name="T11" fmla="*/ 105 h 109"/>
                <a:gd name="T12" fmla="*/ 52 w 126"/>
                <a:gd name="T13" fmla="*/ 95 h 109"/>
                <a:gd name="T14" fmla="*/ 76 w 126"/>
                <a:gd name="T15" fmla="*/ 95 h 109"/>
                <a:gd name="T16" fmla="*/ 3 w 126"/>
                <a:gd name="T17" fmla="*/ 63 h 109"/>
                <a:gd name="T18" fmla="*/ 52 w 126"/>
                <a:gd name="T19" fmla="*/ 73 h 109"/>
                <a:gd name="T20" fmla="*/ 3 w 126"/>
                <a:gd name="T21" fmla="*/ 91 h 109"/>
                <a:gd name="T22" fmla="*/ 26 w 126"/>
                <a:gd name="T23" fmla="*/ 55 h 109"/>
                <a:gd name="T24" fmla="*/ 45 w 126"/>
                <a:gd name="T25" fmla="*/ 60 h 109"/>
                <a:gd name="T26" fmla="*/ 26 w 126"/>
                <a:gd name="T27" fmla="*/ 55 h 109"/>
                <a:gd name="T28" fmla="*/ 71 w 126"/>
                <a:gd name="T29" fmla="*/ 7 h 109"/>
                <a:gd name="T30" fmla="*/ 54 w 126"/>
                <a:gd name="T31" fmla="*/ 26 h 109"/>
                <a:gd name="T32" fmla="*/ 66 w 126"/>
                <a:gd name="T33" fmla="*/ 8 h 109"/>
                <a:gd name="T34" fmla="*/ 74 w 126"/>
                <a:gd name="T35" fmla="*/ 32 h 109"/>
                <a:gd name="T36" fmla="*/ 94 w 126"/>
                <a:gd name="T37" fmla="*/ 36 h 109"/>
                <a:gd name="T38" fmla="*/ 74 w 126"/>
                <a:gd name="T39" fmla="*/ 52 h 109"/>
                <a:gd name="T40" fmla="*/ 63 w 126"/>
                <a:gd name="T41" fmla="*/ 76 h 109"/>
                <a:gd name="T42" fmla="*/ 76 w 126"/>
                <a:gd name="T43" fmla="*/ 91 h 109"/>
                <a:gd name="T44" fmla="*/ 55 w 126"/>
                <a:gd name="T45" fmla="*/ 76 h 109"/>
                <a:gd name="T46" fmla="*/ 104 w 126"/>
                <a:gd name="T47" fmla="*/ 20 h 109"/>
                <a:gd name="T48" fmla="*/ 85 w 126"/>
                <a:gd name="T49" fmla="*/ 9 h 109"/>
                <a:gd name="T50" fmla="*/ 74 w 126"/>
                <a:gd name="T51" fmla="*/ 28 h 109"/>
                <a:gd name="T52" fmla="*/ 80 w 126"/>
                <a:gd name="T53" fmla="*/ 8 h 109"/>
                <a:gd name="T54" fmla="*/ 53 w 126"/>
                <a:gd name="T55" fmla="*/ 29 h 109"/>
                <a:gd name="T56" fmla="*/ 71 w 126"/>
                <a:gd name="T57" fmla="*/ 52 h 109"/>
                <a:gd name="T58" fmla="*/ 53 w 126"/>
                <a:gd name="T59" fmla="*/ 29 h 109"/>
                <a:gd name="T60" fmla="*/ 60 w 126"/>
                <a:gd name="T61" fmla="*/ 9 h 109"/>
                <a:gd name="T62" fmla="*/ 40 w 126"/>
                <a:gd name="T63" fmla="*/ 20 h 109"/>
                <a:gd name="T64" fmla="*/ 38 w 126"/>
                <a:gd name="T65" fmla="*/ 23 h 109"/>
                <a:gd name="T66" fmla="*/ 45 w 126"/>
                <a:gd name="T67" fmla="*/ 52 h 109"/>
                <a:gd name="T68" fmla="*/ 48 w 126"/>
                <a:gd name="T69" fmla="*/ 60 h 109"/>
                <a:gd name="T70" fmla="*/ 71 w 126"/>
                <a:gd name="T71" fmla="*/ 55 h 109"/>
                <a:gd name="T72" fmla="*/ 63 w 126"/>
                <a:gd name="T73" fmla="*/ 73 h 109"/>
                <a:gd name="T74" fmla="*/ 55 w 126"/>
                <a:gd name="T75" fmla="*/ 60 h 109"/>
                <a:gd name="T76" fmla="*/ 79 w 126"/>
                <a:gd name="T77" fmla="*/ 100 h 109"/>
                <a:gd name="T78" fmla="*/ 79 w 126"/>
                <a:gd name="T79" fmla="*/ 91 h 109"/>
                <a:gd name="T80" fmla="*/ 74 w 126"/>
                <a:gd name="T81" fmla="*/ 77 h 109"/>
                <a:gd name="T82" fmla="*/ 97 w 126"/>
                <a:gd name="T83" fmla="*/ 55 h 109"/>
                <a:gd name="T84" fmla="*/ 119 w 126"/>
                <a:gd name="T85" fmla="*/ 52 h 109"/>
                <a:gd name="T86" fmla="*/ 98 w 126"/>
                <a:gd name="T87" fmla="*/ 35 h 109"/>
                <a:gd name="T88" fmla="*/ 107 w 126"/>
                <a:gd name="T89" fmla="*/ 22 h 109"/>
                <a:gd name="T90" fmla="*/ 119 w 126"/>
                <a:gd name="T91" fmla="*/ 52 h 109"/>
                <a:gd name="T92" fmla="*/ 65 w 126"/>
                <a:gd name="T93" fmla="*/ 4 h 109"/>
                <a:gd name="T94" fmla="*/ 0 w 126"/>
                <a:gd name="T95" fmla="*/ 60 h 109"/>
                <a:gd name="T96" fmla="*/ 0 w 126"/>
                <a:gd name="T97" fmla="*/ 95 h 109"/>
                <a:gd name="T98" fmla="*/ 10 w 126"/>
                <a:gd name="T99" fmla="*/ 109 h 109"/>
                <a:gd name="T100" fmla="*/ 17 w 126"/>
                <a:gd name="T101" fmla="*/ 100 h 109"/>
                <a:gd name="T102" fmla="*/ 24 w 126"/>
                <a:gd name="T103" fmla="*/ 109 h 109"/>
                <a:gd name="T104" fmla="*/ 54 w 126"/>
                <a:gd name="T105" fmla="*/ 107 h 109"/>
                <a:gd name="T106" fmla="*/ 69 w 126"/>
                <a:gd name="T107" fmla="*/ 107 h 109"/>
                <a:gd name="T108" fmla="*/ 79 w 126"/>
                <a:gd name="T109" fmla="*/ 109 h 109"/>
                <a:gd name="T110" fmla="*/ 79 w 126"/>
                <a:gd name="T111" fmla="*/ 103 h 109"/>
                <a:gd name="T112" fmla="*/ 81 w 126"/>
                <a:gd name="T113" fmla="*/ 103 h 109"/>
                <a:gd name="T114" fmla="*/ 122 w 126"/>
                <a:gd name="T115" fmla="*/ 4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9">
                  <a:moveTo>
                    <a:pt x="84" y="99"/>
                  </a:moveTo>
                  <a:cubicBezTo>
                    <a:pt x="96" y="83"/>
                    <a:pt x="100" y="68"/>
                    <a:pt x="100" y="55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8" y="76"/>
                    <a:pt x="104" y="94"/>
                    <a:pt x="84" y="99"/>
                  </a:cubicBezTo>
                  <a:moveTo>
                    <a:pt x="76" y="105"/>
                  </a:moveTo>
                  <a:cubicBezTo>
                    <a:pt x="72" y="105"/>
                    <a:pt x="72" y="105"/>
                    <a:pt x="72" y="105"/>
                  </a:cubicBezTo>
                  <a:cubicBezTo>
                    <a:pt x="71" y="100"/>
                    <a:pt x="67" y="96"/>
                    <a:pt x="61" y="96"/>
                  </a:cubicBezTo>
                  <a:cubicBezTo>
                    <a:pt x="56" y="96"/>
                    <a:pt x="52" y="100"/>
                    <a:pt x="51" y="105"/>
                  </a:cubicBezTo>
                  <a:cubicBezTo>
                    <a:pt x="27" y="105"/>
                    <a:pt x="27" y="105"/>
                    <a:pt x="27" y="105"/>
                  </a:cubicBezTo>
                  <a:cubicBezTo>
                    <a:pt x="26" y="100"/>
                    <a:pt x="22" y="96"/>
                    <a:pt x="17" y="96"/>
                  </a:cubicBezTo>
                  <a:cubicBezTo>
                    <a:pt x="11" y="96"/>
                    <a:pt x="7" y="100"/>
                    <a:pt x="6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76" y="95"/>
                    <a:pt x="76" y="95"/>
                    <a:pt x="76" y="95"/>
                  </a:cubicBezTo>
                  <a:lnTo>
                    <a:pt x="76" y="105"/>
                  </a:lnTo>
                  <a:close/>
                  <a:moveTo>
                    <a:pt x="3" y="63"/>
                  </a:moveTo>
                  <a:cubicBezTo>
                    <a:pt x="52" y="63"/>
                    <a:pt x="52" y="63"/>
                    <a:pt x="52" y="6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3" y="91"/>
                    <a:pt x="3" y="91"/>
                    <a:pt x="3" y="91"/>
                  </a:cubicBezTo>
                  <a:lnTo>
                    <a:pt x="3" y="63"/>
                  </a:lnTo>
                  <a:close/>
                  <a:moveTo>
                    <a:pt x="26" y="55"/>
                  </a:moveTo>
                  <a:cubicBezTo>
                    <a:pt x="45" y="55"/>
                    <a:pt x="45" y="55"/>
                    <a:pt x="45" y="55"/>
                  </a:cubicBezTo>
                  <a:cubicBezTo>
                    <a:pt x="45" y="57"/>
                    <a:pt x="45" y="58"/>
                    <a:pt x="45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moveTo>
                    <a:pt x="66" y="8"/>
                  </a:moveTo>
                  <a:cubicBezTo>
                    <a:pt x="68" y="7"/>
                    <a:pt x="69" y="7"/>
                    <a:pt x="71" y="7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65" y="28"/>
                    <a:pt x="59" y="27"/>
                    <a:pt x="54" y="26"/>
                  </a:cubicBezTo>
                  <a:cubicBezTo>
                    <a:pt x="58" y="16"/>
                    <a:pt x="63" y="10"/>
                    <a:pt x="65" y="8"/>
                  </a:cubicBezTo>
                  <a:cubicBezTo>
                    <a:pt x="65" y="8"/>
                    <a:pt x="66" y="8"/>
                    <a:pt x="66" y="8"/>
                  </a:cubicBezTo>
                  <a:moveTo>
                    <a:pt x="74" y="52"/>
                  </a:moveTo>
                  <a:cubicBezTo>
                    <a:pt x="74" y="32"/>
                    <a:pt x="74" y="32"/>
                    <a:pt x="74" y="32"/>
                  </a:cubicBezTo>
                  <a:cubicBezTo>
                    <a:pt x="80" y="32"/>
                    <a:pt x="86" y="31"/>
                    <a:pt x="92" y="29"/>
                  </a:cubicBezTo>
                  <a:cubicBezTo>
                    <a:pt x="93" y="31"/>
                    <a:pt x="94" y="34"/>
                    <a:pt x="94" y="36"/>
                  </a:cubicBezTo>
                  <a:cubicBezTo>
                    <a:pt x="96" y="42"/>
                    <a:pt x="97" y="47"/>
                    <a:pt x="97" y="52"/>
                  </a:cubicBezTo>
                  <a:lnTo>
                    <a:pt x="74" y="52"/>
                  </a:lnTo>
                  <a:close/>
                  <a:moveTo>
                    <a:pt x="55" y="76"/>
                  </a:moveTo>
                  <a:cubicBezTo>
                    <a:pt x="63" y="76"/>
                    <a:pt x="63" y="76"/>
                    <a:pt x="63" y="76"/>
                  </a:cubicBezTo>
                  <a:cubicBezTo>
                    <a:pt x="70" y="76"/>
                    <a:pt x="76" y="82"/>
                    <a:pt x="76" y="89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55" y="91"/>
                    <a:pt x="55" y="91"/>
                    <a:pt x="55" y="91"/>
                  </a:cubicBezTo>
                  <a:lnTo>
                    <a:pt x="55" y="76"/>
                  </a:lnTo>
                  <a:close/>
                  <a:moveTo>
                    <a:pt x="85" y="9"/>
                  </a:moveTo>
                  <a:cubicBezTo>
                    <a:pt x="92" y="11"/>
                    <a:pt x="99" y="15"/>
                    <a:pt x="104" y="20"/>
                  </a:cubicBezTo>
                  <a:cubicBezTo>
                    <a:pt x="101" y="22"/>
                    <a:pt x="97" y="24"/>
                    <a:pt x="94" y="25"/>
                  </a:cubicBezTo>
                  <a:cubicBezTo>
                    <a:pt x="91" y="18"/>
                    <a:pt x="87" y="12"/>
                    <a:pt x="85" y="9"/>
                  </a:cubicBezTo>
                  <a:moveTo>
                    <a:pt x="91" y="26"/>
                  </a:moveTo>
                  <a:cubicBezTo>
                    <a:pt x="85" y="28"/>
                    <a:pt x="79" y="28"/>
                    <a:pt x="74" y="2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7"/>
                    <a:pt x="78" y="7"/>
                    <a:pt x="80" y="8"/>
                  </a:cubicBezTo>
                  <a:cubicBezTo>
                    <a:pt x="82" y="10"/>
                    <a:pt x="86" y="16"/>
                    <a:pt x="91" y="26"/>
                  </a:cubicBezTo>
                  <a:moveTo>
                    <a:pt x="53" y="29"/>
                  </a:moveTo>
                  <a:cubicBezTo>
                    <a:pt x="58" y="30"/>
                    <a:pt x="64" y="32"/>
                    <a:pt x="71" y="3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43"/>
                    <a:pt x="50" y="36"/>
                    <a:pt x="53" y="29"/>
                  </a:cubicBezTo>
                  <a:moveTo>
                    <a:pt x="40" y="20"/>
                  </a:moveTo>
                  <a:cubicBezTo>
                    <a:pt x="45" y="15"/>
                    <a:pt x="52" y="11"/>
                    <a:pt x="60" y="9"/>
                  </a:cubicBezTo>
                  <a:cubicBezTo>
                    <a:pt x="57" y="12"/>
                    <a:pt x="54" y="18"/>
                    <a:pt x="51" y="25"/>
                  </a:cubicBezTo>
                  <a:cubicBezTo>
                    <a:pt x="46" y="23"/>
                    <a:pt x="42" y="21"/>
                    <a:pt x="40" y="20"/>
                  </a:cubicBezTo>
                  <a:moveTo>
                    <a:pt x="26" y="52"/>
                  </a:moveTo>
                  <a:cubicBezTo>
                    <a:pt x="26" y="41"/>
                    <a:pt x="31" y="31"/>
                    <a:pt x="38" y="23"/>
                  </a:cubicBezTo>
                  <a:cubicBezTo>
                    <a:pt x="40" y="24"/>
                    <a:pt x="44" y="26"/>
                    <a:pt x="50" y="28"/>
                  </a:cubicBezTo>
                  <a:cubicBezTo>
                    <a:pt x="47" y="35"/>
                    <a:pt x="45" y="43"/>
                    <a:pt x="45" y="52"/>
                  </a:cubicBezTo>
                  <a:lnTo>
                    <a:pt x="26" y="52"/>
                  </a:lnTo>
                  <a:close/>
                  <a:moveTo>
                    <a:pt x="48" y="60"/>
                  </a:moveTo>
                  <a:cubicBezTo>
                    <a:pt x="48" y="58"/>
                    <a:pt x="48" y="57"/>
                    <a:pt x="48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68" y="74"/>
                    <a:pt x="66" y="73"/>
                    <a:pt x="63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60"/>
                    <a:pt x="55" y="60"/>
                    <a:pt x="55" y="60"/>
                  </a:cubicBezTo>
                  <a:lnTo>
                    <a:pt x="48" y="60"/>
                  </a:lnTo>
                  <a:close/>
                  <a:moveTo>
                    <a:pt x="79" y="100"/>
                  </a:moveTo>
                  <a:cubicBezTo>
                    <a:pt x="79" y="95"/>
                    <a:pt x="79" y="95"/>
                    <a:pt x="79" y="95"/>
                  </a:cubicBezTo>
                  <a:cubicBezTo>
                    <a:pt x="79" y="91"/>
                    <a:pt x="79" y="91"/>
                    <a:pt x="79" y="91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79" y="84"/>
                    <a:pt x="77" y="80"/>
                    <a:pt x="74" y="77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71"/>
                    <a:pt x="91" y="86"/>
                    <a:pt x="79" y="100"/>
                  </a:cubicBezTo>
                  <a:moveTo>
                    <a:pt x="119" y="52"/>
                  </a:moveTo>
                  <a:cubicBezTo>
                    <a:pt x="100" y="52"/>
                    <a:pt x="100" y="52"/>
                    <a:pt x="100" y="52"/>
                  </a:cubicBezTo>
                  <a:cubicBezTo>
                    <a:pt x="100" y="46"/>
                    <a:pt x="99" y="40"/>
                    <a:pt x="98" y="35"/>
                  </a:cubicBezTo>
                  <a:cubicBezTo>
                    <a:pt x="97" y="33"/>
                    <a:pt x="96" y="30"/>
                    <a:pt x="95" y="28"/>
                  </a:cubicBezTo>
                  <a:cubicBezTo>
                    <a:pt x="99" y="27"/>
                    <a:pt x="103" y="25"/>
                    <a:pt x="107" y="22"/>
                  </a:cubicBezTo>
                  <a:cubicBezTo>
                    <a:pt x="113" y="29"/>
                    <a:pt x="117" y="38"/>
                    <a:pt x="119" y="47"/>
                  </a:cubicBezTo>
                  <a:cubicBezTo>
                    <a:pt x="119" y="49"/>
                    <a:pt x="119" y="50"/>
                    <a:pt x="119" y="52"/>
                  </a:cubicBezTo>
                  <a:moveTo>
                    <a:pt x="122" y="47"/>
                  </a:moveTo>
                  <a:cubicBezTo>
                    <a:pt x="118" y="19"/>
                    <a:pt x="93" y="0"/>
                    <a:pt x="65" y="4"/>
                  </a:cubicBezTo>
                  <a:cubicBezTo>
                    <a:pt x="38" y="8"/>
                    <a:pt x="19" y="33"/>
                    <a:pt x="23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3"/>
                    <a:pt x="13" y="100"/>
                    <a:pt x="17" y="100"/>
                  </a:cubicBezTo>
                  <a:cubicBezTo>
                    <a:pt x="21" y="100"/>
                    <a:pt x="24" y="103"/>
                    <a:pt x="24" y="107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4" y="103"/>
                    <a:pt x="57" y="100"/>
                    <a:pt x="61" y="100"/>
                  </a:cubicBezTo>
                  <a:cubicBezTo>
                    <a:pt x="65" y="100"/>
                    <a:pt x="69" y="103"/>
                    <a:pt x="69" y="107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80" y="103"/>
                    <a:pt x="80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107" y="99"/>
                    <a:pt x="126" y="74"/>
                    <a:pt x="122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3" name="Group 346">
            <a:extLst>
              <a:ext uri="{FF2B5EF4-FFF2-40B4-BE49-F238E27FC236}">
                <a16:creationId xmlns:a16="http://schemas.microsoft.com/office/drawing/2014/main" id="{5B1BBF81-E854-4D87-A730-37E423A28A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6000" y="5414963"/>
            <a:ext cx="841375" cy="841375"/>
            <a:chOff x="3040" y="3411"/>
            <a:chExt cx="530" cy="530"/>
          </a:xfrm>
        </p:grpSpPr>
        <p:sp>
          <p:nvSpPr>
            <p:cNvPr id="394" name="AutoShape 345">
              <a:extLst>
                <a:ext uri="{FF2B5EF4-FFF2-40B4-BE49-F238E27FC236}">
                  <a16:creationId xmlns:a16="http://schemas.microsoft.com/office/drawing/2014/main" id="{CED105D8-69FD-422A-80DC-6A0E5E2D4F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40" y="341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Oval 347">
              <a:extLst>
                <a:ext uri="{FF2B5EF4-FFF2-40B4-BE49-F238E27FC236}">
                  <a16:creationId xmlns:a16="http://schemas.microsoft.com/office/drawing/2014/main" id="{02B55591-E3AA-4365-9A1D-42C140C6D0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341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348">
              <a:extLst>
                <a:ext uri="{FF2B5EF4-FFF2-40B4-BE49-F238E27FC236}">
                  <a16:creationId xmlns:a16="http://schemas.microsoft.com/office/drawing/2014/main" id="{BF61E210-2166-4714-8708-3454ABFD6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8" y="342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349">
              <a:extLst>
                <a:ext uri="{FF2B5EF4-FFF2-40B4-BE49-F238E27FC236}">
                  <a16:creationId xmlns:a16="http://schemas.microsoft.com/office/drawing/2014/main" id="{2DDAC50F-3B7E-4BB8-B972-61D1D8BD79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1" y="3536"/>
              <a:ext cx="151" cy="157"/>
            </a:xfrm>
            <a:custGeom>
              <a:avLst/>
              <a:gdLst>
                <a:gd name="T0" fmla="*/ 56 w 59"/>
                <a:gd name="T1" fmla="*/ 7 h 61"/>
                <a:gd name="T2" fmla="*/ 50 w 59"/>
                <a:gd name="T3" fmla="*/ 36 h 61"/>
                <a:gd name="T4" fmla="*/ 49 w 59"/>
                <a:gd name="T5" fmla="*/ 37 h 61"/>
                <a:gd name="T6" fmla="*/ 46 w 59"/>
                <a:gd name="T7" fmla="*/ 37 h 61"/>
                <a:gd name="T8" fmla="*/ 38 w 59"/>
                <a:gd name="T9" fmla="*/ 37 h 61"/>
                <a:gd name="T10" fmla="*/ 19 w 59"/>
                <a:gd name="T11" fmla="*/ 57 h 61"/>
                <a:gd name="T12" fmla="*/ 17 w 59"/>
                <a:gd name="T13" fmla="*/ 58 h 61"/>
                <a:gd name="T14" fmla="*/ 15 w 59"/>
                <a:gd name="T15" fmla="*/ 57 h 61"/>
                <a:gd name="T16" fmla="*/ 4 w 59"/>
                <a:gd name="T17" fmla="*/ 46 h 61"/>
                <a:gd name="T18" fmla="*/ 3 w 59"/>
                <a:gd name="T19" fmla="*/ 44 h 61"/>
                <a:gd name="T20" fmla="*/ 4 w 59"/>
                <a:gd name="T21" fmla="*/ 42 h 61"/>
                <a:gd name="T22" fmla="*/ 23 w 59"/>
                <a:gd name="T23" fmla="*/ 23 h 61"/>
                <a:gd name="T24" fmla="*/ 23 w 59"/>
                <a:gd name="T25" fmla="*/ 14 h 61"/>
                <a:gd name="T26" fmla="*/ 22 w 59"/>
                <a:gd name="T27" fmla="*/ 12 h 61"/>
                <a:gd name="T28" fmla="*/ 24 w 59"/>
                <a:gd name="T29" fmla="*/ 10 h 61"/>
                <a:gd name="T30" fmla="*/ 53 w 59"/>
                <a:gd name="T31" fmla="*/ 4 h 61"/>
                <a:gd name="T32" fmla="*/ 55 w 59"/>
                <a:gd name="T33" fmla="*/ 5 h 61"/>
                <a:gd name="T34" fmla="*/ 56 w 59"/>
                <a:gd name="T35" fmla="*/ 7 h 61"/>
                <a:gd name="T36" fmla="*/ 57 w 59"/>
                <a:gd name="T37" fmla="*/ 2 h 61"/>
                <a:gd name="T38" fmla="*/ 52 w 59"/>
                <a:gd name="T39" fmla="*/ 1 h 61"/>
                <a:gd name="T40" fmla="*/ 23 w 59"/>
                <a:gd name="T41" fmla="*/ 7 h 61"/>
                <a:gd name="T42" fmla="*/ 19 w 59"/>
                <a:gd name="T43" fmla="*/ 11 h 61"/>
                <a:gd name="T44" fmla="*/ 21 w 59"/>
                <a:gd name="T45" fmla="*/ 17 h 61"/>
                <a:gd name="T46" fmla="*/ 21 w 59"/>
                <a:gd name="T47" fmla="*/ 20 h 61"/>
                <a:gd name="T48" fmla="*/ 1 w 59"/>
                <a:gd name="T49" fmla="*/ 40 h 61"/>
                <a:gd name="T50" fmla="*/ 0 w 59"/>
                <a:gd name="T51" fmla="*/ 44 h 61"/>
                <a:gd name="T52" fmla="*/ 2 w 59"/>
                <a:gd name="T53" fmla="*/ 48 h 61"/>
                <a:gd name="T54" fmla="*/ 13 w 59"/>
                <a:gd name="T55" fmla="*/ 59 h 61"/>
                <a:gd name="T56" fmla="*/ 17 w 59"/>
                <a:gd name="T57" fmla="*/ 61 h 61"/>
                <a:gd name="T58" fmla="*/ 17 w 59"/>
                <a:gd name="T59" fmla="*/ 61 h 61"/>
                <a:gd name="T60" fmla="*/ 21 w 59"/>
                <a:gd name="T61" fmla="*/ 59 h 61"/>
                <a:gd name="T62" fmla="*/ 40 w 59"/>
                <a:gd name="T63" fmla="*/ 39 h 61"/>
                <a:gd name="T64" fmla="*/ 44 w 59"/>
                <a:gd name="T65" fmla="*/ 39 h 61"/>
                <a:gd name="T66" fmla="*/ 50 w 59"/>
                <a:gd name="T67" fmla="*/ 41 h 61"/>
                <a:gd name="T68" fmla="*/ 54 w 59"/>
                <a:gd name="T69" fmla="*/ 36 h 61"/>
                <a:gd name="T70" fmla="*/ 59 w 59"/>
                <a:gd name="T71" fmla="*/ 7 h 61"/>
                <a:gd name="T72" fmla="*/ 57 w 59"/>
                <a:gd name="T7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61">
                  <a:moveTo>
                    <a:pt x="56" y="7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49" y="37"/>
                    <a:pt x="49" y="37"/>
                  </a:cubicBezTo>
                  <a:cubicBezTo>
                    <a:pt x="48" y="38"/>
                    <a:pt x="47" y="37"/>
                    <a:pt x="46" y="37"/>
                  </a:cubicBezTo>
                  <a:cubicBezTo>
                    <a:pt x="44" y="35"/>
                    <a:pt x="40" y="35"/>
                    <a:pt x="38" y="3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8" y="57"/>
                    <a:pt x="18" y="58"/>
                    <a:pt x="17" y="58"/>
                  </a:cubicBezTo>
                  <a:cubicBezTo>
                    <a:pt x="16" y="58"/>
                    <a:pt x="16" y="57"/>
                    <a:pt x="15" y="57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3" y="46"/>
                    <a:pt x="3" y="45"/>
                    <a:pt x="3" y="44"/>
                  </a:cubicBezTo>
                  <a:cubicBezTo>
                    <a:pt x="3" y="44"/>
                    <a:pt x="3" y="43"/>
                    <a:pt x="4" y="4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5" y="20"/>
                    <a:pt x="25" y="17"/>
                    <a:pt x="23" y="14"/>
                  </a:cubicBezTo>
                  <a:cubicBezTo>
                    <a:pt x="22" y="14"/>
                    <a:pt x="22" y="13"/>
                    <a:pt x="22" y="12"/>
                  </a:cubicBezTo>
                  <a:cubicBezTo>
                    <a:pt x="23" y="11"/>
                    <a:pt x="23" y="10"/>
                    <a:pt x="24" y="10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4" y="4"/>
                    <a:pt x="55" y="5"/>
                  </a:cubicBezTo>
                  <a:cubicBezTo>
                    <a:pt x="55" y="5"/>
                    <a:pt x="56" y="6"/>
                    <a:pt x="56" y="7"/>
                  </a:cubicBezTo>
                  <a:moveTo>
                    <a:pt x="57" y="2"/>
                  </a:moveTo>
                  <a:cubicBezTo>
                    <a:pt x="56" y="1"/>
                    <a:pt x="54" y="0"/>
                    <a:pt x="52" y="1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1" y="7"/>
                    <a:pt x="20" y="9"/>
                    <a:pt x="19" y="11"/>
                  </a:cubicBezTo>
                  <a:cubicBezTo>
                    <a:pt x="18" y="13"/>
                    <a:pt x="19" y="15"/>
                    <a:pt x="21" y="17"/>
                  </a:cubicBezTo>
                  <a:cubicBezTo>
                    <a:pt x="22" y="18"/>
                    <a:pt x="22" y="19"/>
                    <a:pt x="21" y="2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3"/>
                    <a:pt x="0" y="44"/>
                  </a:cubicBezTo>
                  <a:cubicBezTo>
                    <a:pt x="0" y="46"/>
                    <a:pt x="0" y="47"/>
                    <a:pt x="2" y="4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60"/>
                    <a:pt x="15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1"/>
                    <a:pt x="20" y="60"/>
                    <a:pt x="21" y="5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1" y="38"/>
                    <a:pt x="43" y="38"/>
                    <a:pt x="44" y="39"/>
                  </a:cubicBezTo>
                  <a:cubicBezTo>
                    <a:pt x="45" y="41"/>
                    <a:pt x="48" y="41"/>
                    <a:pt x="50" y="41"/>
                  </a:cubicBezTo>
                  <a:cubicBezTo>
                    <a:pt x="52" y="40"/>
                    <a:pt x="53" y="38"/>
                    <a:pt x="54" y="36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6"/>
                    <a:pt x="59" y="4"/>
                    <a:pt x="57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350">
              <a:extLst>
                <a:ext uri="{FF2B5EF4-FFF2-40B4-BE49-F238E27FC236}">
                  <a16:creationId xmlns:a16="http://schemas.microsoft.com/office/drawing/2014/main" id="{24A28F3D-EB87-41ED-9D59-820C81BFF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8" y="3559"/>
              <a:ext cx="256" cy="256"/>
            </a:xfrm>
            <a:custGeom>
              <a:avLst/>
              <a:gdLst>
                <a:gd name="T0" fmla="*/ 98 w 100"/>
                <a:gd name="T1" fmla="*/ 36 h 100"/>
                <a:gd name="T2" fmla="*/ 97 w 100"/>
                <a:gd name="T3" fmla="*/ 38 h 100"/>
                <a:gd name="T4" fmla="*/ 97 w 100"/>
                <a:gd name="T5" fmla="*/ 83 h 100"/>
                <a:gd name="T6" fmla="*/ 82 w 100"/>
                <a:gd name="T7" fmla="*/ 97 h 100"/>
                <a:gd name="T8" fmla="*/ 17 w 100"/>
                <a:gd name="T9" fmla="*/ 97 h 100"/>
                <a:gd name="T10" fmla="*/ 3 w 100"/>
                <a:gd name="T11" fmla="*/ 83 h 100"/>
                <a:gd name="T12" fmla="*/ 3 w 100"/>
                <a:gd name="T13" fmla="*/ 18 h 100"/>
                <a:gd name="T14" fmla="*/ 17 w 100"/>
                <a:gd name="T15" fmla="*/ 3 h 100"/>
                <a:gd name="T16" fmla="*/ 62 w 100"/>
                <a:gd name="T17" fmla="*/ 3 h 100"/>
                <a:gd name="T18" fmla="*/ 64 w 100"/>
                <a:gd name="T19" fmla="*/ 2 h 100"/>
                <a:gd name="T20" fmla="*/ 62 w 100"/>
                <a:gd name="T21" fmla="*/ 0 h 100"/>
                <a:gd name="T22" fmla="*/ 17 w 100"/>
                <a:gd name="T23" fmla="*/ 0 h 100"/>
                <a:gd name="T24" fmla="*/ 0 w 100"/>
                <a:gd name="T25" fmla="*/ 18 h 100"/>
                <a:gd name="T26" fmla="*/ 0 w 100"/>
                <a:gd name="T27" fmla="*/ 83 h 100"/>
                <a:gd name="T28" fmla="*/ 17 w 100"/>
                <a:gd name="T29" fmla="*/ 100 h 100"/>
                <a:gd name="T30" fmla="*/ 82 w 100"/>
                <a:gd name="T31" fmla="*/ 100 h 100"/>
                <a:gd name="T32" fmla="*/ 100 w 100"/>
                <a:gd name="T33" fmla="*/ 83 h 100"/>
                <a:gd name="T34" fmla="*/ 100 w 100"/>
                <a:gd name="T35" fmla="*/ 38 h 100"/>
                <a:gd name="T36" fmla="*/ 98 w 100"/>
                <a:gd name="T37" fmla="*/ 3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" h="100">
                  <a:moveTo>
                    <a:pt x="98" y="36"/>
                  </a:moveTo>
                  <a:cubicBezTo>
                    <a:pt x="97" y="36"/>
                    <a:pt x="97" y="37"/>
                    <a:pt x="97" y="38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91"/>
                    <a:pt x="90" y="97"/>
                    <a:pt x="82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9" y="97"/>
                    <a:pt x="3" y="91"/>
                    <a:pt x="3" y="83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0"/>
                    <a:pt x="9" y="3"/>
                    <a:pt x="17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3" y="3"/>
                    <a:pt x="64" y="3"/>
                    <a:pt x="64" y="2"/>
                  </a:cubicBezTo>
                  <a:cubicBezTo>
                    <a:pt x="64" y="1"/>
                    <a:pt x="63" y="0"/>
                    <a:pt x="6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2"/>
                    <a:pt x="8" y="100"/>
                    <a:pt x="17" y="100"/>
                  </a:cubicBezTo>
                  <a:cubicBezTo>
                    <a:pt x="82" y="100"/>
                    <a:pt x="82" y="100"/>
                    <a:pt x="82" y="100"/>
                  </a:cubicBezTo>
                  <a:cubicBezTo>
                    <a:pt x="92" y="100"/>
                    <a:pt x="100" y="92"/>
                    <a:pt x="100" y="83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7"/>
                    <a:pt x="99" y="36"/>
                    <a:pt x="98" y="3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9" name="Group 353">
            <a:extLst>
              <a:ext uri="{FF2B5EF4-FFF2-40B4-BE49-F238E27FC236}">
                <a16:creationId xmlns:a16="http://schemas.microsoft.com/office/drawing/2014/main" id="{ADC5E764-24E1-4FBD-AB82-7A82BDAFDF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13438" y="5456238"/>
            <a:ext cx="758825" cy="758825"/>
            <a:chOff x="3725" y="3437"/>
            <a:chExt cx="478" cy="478"/>
          </a:xfrm>
        </p:grpSpPr>
        <p:sp>
          <p:nvSpPr>
            <p:cNvPr id="400" name="AutoShape 352">
              <a:extLst>
                <a:ext uri="{FF2B5EF4-FFF2-40B4-BE49-F238E27FC236}">
                  <a16:creationId xmlns:a16="http://schemas.microsoft.com/office/drawing/2014/main" id="{D4F550ED-C5A3-46B7-B492-D83BCD1C94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25" y="343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354">
              <a:extLst>
                <a:ext uri="{FF2B5EF4-FFF2-40B4-BE49-F238E27FC236}">
                  <a16:creationId xmlns:a16="http://schemas.microsoft.com/office/drawing/2014/main" id="{C737F7C9-9E1A-41B8-83D0-783E13B14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" y="343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355">
              <a:extLst>
                <a:ext uri="{FF2B5EF4-FFF2-40B4-BE49-F238E27FC236}">
                  <a16:creationId xmlns:a16="http://schemas.microsoft.com/office/drawing/2014/main" id="{BF5AE78F-14A3-483E-8368-AA1FE7672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0" y="3542"/>
              <a:ext cx="145" cy="150"/>
            </a:xfrm>
            <a:custGeom>
              <a:avLst/>
              <a:gdLst>
                <a:gd name="T0" fmla="*/ 56 w 59"/>
                <a:gd name="T1" fmla="*/ 7 h 61"/>
                <a:gd name="T2" fmla="*/ 50 w 59"/>
                <a:gd name="T3" fmla="*/ 36 h 61"/>
                <a:gd name="T4" fmla="*/ 49 w 59"/>
                <a:gd name="T5" fmla="*/ 37 h 61"/>
                <a:gd name="T6" fmla="*/ 46 w 59"/>
                <a:gd name="T7" fmla="*/ 37 h 61"/>
                <a:gd name="T8" fmla="*/ 38 w 59"/>
                <a:gd name="T9" fmla="*/ 37 h 61"/>
                <a:gd name="T10" fmla="*/ 19 w 59"/>
                <a:gd name="T11" fmla="*/ 57 h 61"/>
                <a:gd name="T12" fmla="*/ 17 w 59"/>
                <a:gd name="T13" fmla="*/ 58 h 61"/>
                <a:gd name="T14" fmla="*/ 15 w 59"/>
                <a:gd name="T15" fmla="*/ 57 h 61"/>
                <a:gd name="T16" fmla="*/ 4 w 59"/>
                <a:gd name="T17" fmla="*/ 46 h 61"/>
                <a:gd name="T18" fmla="*/ 3 w 59"/>
                <a:gd name="T19" fmla="*/ 44 h 61"/>
                <a:gd name="T20" fmla="*/ 4 w 59"/>
                <a:gd name="T21" fmla="*/ 42 h 61"/>
                <a:gd name="T22" fmla="*/ 23 w 59"/>
                <a:gd name="T23" fmla="*/ 23 h 61"/>
                <a:gd name="T24" fmla="*/ 23 w 59"/>
                <a:gd name="T25" fmla="*/ 14 h 61"/>
                <a:gd name="T26" fmla="*/ 22 w 59"/>
                <a:gd name="T27" fmla="*/ 12 h 61"/>
                <a:gd name="T28" fmla="*/ 24 w 59"/>
                <a:gd name="T29" fmla="*/ 10 h 61"/>
                <a:gd name="T30" fmla="*/ 53 w 59"/>
                <a:gd name="T31" fmla="*/ 4 h 61"/>
                <a:gd name="T32" fmla="*/ 55 w 59"/>
                <a:gd name="T33" fmla="*/ 5 h 61"/>
                <a:gd name="T34" fmla="*/ 56 w 59"/>
                <a:gd name="T35" fmla="*/ 7 h 61"/>
                <a:gd name="T36" fmla="*/ 57 w 59"/>
                <a:gd name="T37" fmla="*/ 2 h 61"/>
                <a:gd name="T38" fmla="*/ 52 w 59"/>
                <a:gd name="T39" fmla="*/ 1 h 61"/>
                <a:gd name="T40" fmla="*/ 23 w 59"/>
                <a:gd name="T41" fmla="*/ 7 h 61"/>
                <a:gd name="T42" fmla="*/ 19 w 59"/>
                <a:gd name="T43" fmla="*/ 11 h 61"/>
                <a:gd name="T44" fmla="*/ 21 w 59"/>
                <a:gd name="T45" fmla="*/ 17 h 61"/>
                <a:gd name="T46" fmla="*/ 21 w 59"/>
                <a:gd name="T47" fmla="*/ 20 h 61"/>
                <a:gd name="T48" fmla="*/ 1 w 59"/>
                <a:gd name="T49" fmla="*/ 40 h 61"/>
                <a:gd name="T50" fmla="*/ 0 w 59"/>
                <a:gd name="T51" fmla="*/ 44 h 61"/>
                <a:gd name="T52" fmla="*/ 2 w 59"/>
                <a:gd name="T53" fmla="*/ 48 h 61"/>
                <a:gd name="T54" fmla="*/ 13 w 59"/>
                <a:gd name="T55" fmla="*/ 59 h 61"/>
                <a:gd name="T56" fmla="*/ 17 w 59"/>
                <a:gd name="T57" fmla="*/ 61 h 61"/>
                <a:gd name="T58" fmla="*/ 17 w 59"/>
                <a:gd name="T59" fmla="*/ 61 h 61"/>
                <a:gd name="T60" fmla="*/ 21 w 59"/>
                <a:gd name="T61" fmla="*/ 59 h 61"/>
                <a:gd name="T62" fmla="*/ 40 w 59"/>
                <a:gd name="T63" fmla="*/ 39 h 61"/>
                <a:gd name="T64" fmla="*/ 44 w 59"/>
                <a:gd name="T65" fmla="*/ 39 h 61"/>
                <a:gd name="T66" fmla="*/ 50 w 59"/>
                <a:gd name="T67" fmla="*/ 41 h 61"/>
                <a:gd name="T68" fmla="*/ 54 w 59"/>
                <a:gd name="T69" fmla="*/ 36 h 61"/>
                <a:gd name="T70" fmla="*/ 59 w 59"/>
                <a:gd name="T71" fmla="*/ 7 h 61"/>
                <a:gd name="T72" fmla="*/ 57 w 59"/>
                <a:gd name="T7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61">
                  <a:moveTo>
                    <a:pt x="56" y="7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49" y="37"/>
                    <a:pt x="49" y="37"/>
                  </a:cubicBezTo>
                  <a:cubicBezTo>
                    <a:pt x="48" y="38"/>
                    <a:pt x="47" y="37"/>
                    <a:pt x="46" y="37"/>
                  </a:cubicBezTo>
                  <a:cubicBezTo>
                    <a:pt x="44" y="35"/>
                    <a:pt x="40" y="35"/>
                    <a:pt x="38" y="3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8" y="57"/>
                    <a:pt x="18" y="58"/>
                    <a:pt x="17" y="58"/>
                  </a:cubicBezTo>
                  <a:cubicBezTo>
                    <a:pt x="16" y="58"/>
                    <a:pt x="16" y="57"/>
                    <a:pt x="15" y="57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3" y="46"/>
                    <a:pt x="3" y="45"/>
                    <a:pt x="3" y="44"/>
                  </a:cubicBezTo>
                  <a:cubicBezTo>
                    <a:pt x="3" y="44"/>
                    <a:pt x="3" y="43"/>
                    <a:pt x="4" y="4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5" y="20"/>
                    <a:pt x="25" y="17"/>
                    <a:pt x="23" y="14"/>
                  </a:cubicBezTo>
                  <a:cubicBezTo>
                    <a:pt x="22" y="14"/>
                    <a:pt x="22" y="13"/>
                    <a:pt x="22" y="12"/>
                  </a:cubicBezTo>
                  <a:cubicBezTo>
                    <a:pt x="23" y="11"/>
                    <a:pt x="23" y="10"/>
                    <a:pt x="24" y="10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4" y="4"/>
                    <a:pt x="55" y="5"/>
                  </a:cubicBezTo>
                  <a:cubicBezTo>
                    <a:pt x="55" y="5"/>
                    <a:pt x="56" y="6"/>
                    <a:pt x="56" y="7"/>
                  </a:cubicBezTo>
                  <a:moveTo>
                    <a:pt x="57" y="2"/>
                  </a:moveTo>
                  <a:cubicBezTo>
                    <a:pt x="56" y="1"/>
                    <a:pt x="54" y="0"/>
                    <a:pt x="52" y="1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1" y="7"/>
                    <a:pt x="20" y="9"/>
                    <a:pt x="19" y="11"/>
                  </a:cubicBezTo>
                  <a:cubicBezTo>
                    <a:pt x="18" y="13"/>
                    <a:pt x="19" y="15"/>
                    <a:pt x="21" y="17"/>
                  </a:cubicBezTo>
                  <a:cubicBezTo>
                    <a:pt x="22" y="18"/>
                    <a:pt x="22" y="19"/>
                    <a:pt x="21" y="2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3"/>
                    <a:pt x="0" y="44"/>
                  </a:cubicBezTo>
                  <a:cubicBezTo>
                    <a:pt x="0" y="46"/>
                    <a:pt x="0" y="47"/>
                    <a:pt x="2" y="4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60"/>
                    <a:pt x="15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61"/>
                    <a:pt x="20" y="60"/>
                    <a:pt x="21" y="5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1" y="38"/>
                    <a:pt x="43" y="38"/>
                    <a:pt x="44" y="39"/>
                  </a:cubicBezTo>
                  <a:cubicBezTo>
                    <a:pt x="45" y="41"/>
                    <a:pt x="48" y="41"/>
                    <a:pt x="50" y="41"/>
                  </a:cubicBezTo>
                  <a:cubicBezTo>
                    <a:pt x="52" y="40"/>
                    <a:pt x="53" y="38"/>
                    <a:pt x="54" y="36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6"/>
                    <a:pt x="59" y="4"/>
                    <a:pt x="57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Freeform 356">
              <a:extLst>
                <a:ext uri="{FF2B5EF4-FFF2-40B4-BE49-F238E27FC236}">
                  <a16:creationId xmlns:a16="http://schemas.microsoft.com/office/drawing/2014/main" id="{DDF1B077-2005-42C3-84A2-5F8A75F32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" y="3564"/>
              <a:ext cx="245" cy="246"/>
            </a:xfrm>
            <a:custGeom>
              <a:avLst/>
              <a:gdLst>
                <a:gd name="T0" fmla="*/ 98 w 100"/>
                <a:gd name="T1" fmla="*/ 36 h 100"/>
                <a:gd name="T2" fmla="*/ 97 w 100"/>
                <a:gd name="T3" fmla="*/ 38 h 100"/>
                <a:gd name="T4" fmla="*/ 97 w 100"/>
                <a:gd name="T5" fmla="*/ 83 h 100"/>
                <a:gd name="T6" fmla="*/ 82 w 100"/>
                <a:gd name="T7" fmla="*/ 97 h 100"/>
                <a:gd name="T8" fmla="*/ 17 w 100"/>
                <a:gd name="T9" fmla="*/ 97 h 100"/>
                <a:gd name="T10" fmla="*/ 3 w 100"/>
                <a:gd name="T11" fmla="*/ 83 h 100"/>
                <a:gd name="T12" fmla="*/ 3 w 100"/>
                <a:gd name="T13" fmla="*/ 18 h 100"/>
                <a:gd name="T14" fmla="*/ 17 w 100"/>
                <a:gd name="T15" fmla="*/ 3 h 100"/>
                <a:gd name="T16" fmla="*/ 62 w 100"/>
                <a:gd name="T17" fmla="*/ 3 h 100"/>
                <a:gd name="T18" fmla="*/ 64 w 100"/>
                <a:gd name="T19" fmla="*/ 2 h 100"/>
                <a:gd name="T20" fmla="*/ 62 w 100"/>
                <a:gd name="T21" fmla="*/ 0 h 100"/>
                <a:gd name="T22" fmla="*/ 17 w 100"/>
                <a:gd name="T23" fmla="*/ 0 h 100"/>
                <a:gd name="T24" fmla="*/ 0 w 100"/>
                <a:gd name="T25" fmla="*/ 18 h 100"/>
                <a:gd name="T26" fmla="*/ 0 w 100"/>
                <a:gd name="T27" fmla="*/ 83 h 100"/>
                <a:gd name="T28" fmla="*/ 17 w 100"/>
                <a:gd name="T29" fmla="*/ 100 h 100"/>
                <a:gd name="T30" fmla="*/ 82 w 100"/>
                <a:gd name="T31" fmla="*/ 100 h 100"/>
                <a:gd name="T32" fmla="*/ 100 w 100"/>
                <a:gd name="T33" fmla="*/ 83 h 100"/>
                <a:gd name="T34" fmla="*/ 100 w 100"/>
                <a:gd name="T35" fmla="*/ 38 h 100"/>
                <a:gd name="T36" fmla="*/ 98 w 100"/>
                <a:gd name="T37" fmla="*/ 3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" h="100">
                  <a:moveTo>
                    <a:pt x="98" y="36"/>
                  </a:moveTo>
                  <a:cubicBezTo>
                    <a:pt x="97" y="36"/>
                    <a:pt x="97" y="37"/>
                    <a:pt x="97" y="38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91"/>
                    <a:pt x="90" y="97"/>
                    <a:pt x="82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9" y="97"/>
                    <a:pt x="3" y="91"/>
                    <a:pt x="3" y="83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0"/>
                    <a:pt x="9" y="3"/>
                    <a:pt x="17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3" y="3"/>
                    <a:pt x="64" y="3"/>
                    <a:pt x="64" y="2"/>
                  </a:cubicBezTo>
                  <a:cubicBezTo>
                    <a:pt x="64" y="1"/>
                    <a:pt x="63" y="0"/>
                    <a:pt x="6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2"/>
                    <a:pt x="8" y="100"/>
                    <a:pt x="17" y="100"/>
                  </a:cubicBezTo>
                  <a:cubicBezTo>
                    <a:pt x="82" y="100"/>
                    <a:pt x="82" y="100"/>
                    <a:pt x="82" y="100"/>
                  </a:cubicBezTo>
                  <a:cubicBezTo>
                    <a:pt x="92" y="100"/>
                    <a:pt x="100" y="92"/>
                    <a:pt x="100" y="83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7"/>
                    <a:pt x="99" y="36"/>
                    <a:pt x="98" y="3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4" name="Group 359">
            <a:extLst>
              <a:ext uri="{FF2B5EF4-FFF2-40B4-BE49-F238E27FC236}">
                <a16:creationId xmlns:a16="http://schemas.microsoft.com/office/drawing/2014/main" id="{9D311A8D-F7C8-4F3D-A950-B408522E27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1675" y="5414963"/>
            <a:ext cx="841375" cy="841375"/>
            <a:chOff x="4442" y="3411"/>
            <a:chExt cx="530" cy="530"/>
          </a:xfrm>
        </p:grpSpPr>
        <p:sp>
          <p:nvSpPr>
            <p:cNvPr id="405" name="AutoShape 358">
              <a:extLst>
                <a:ext uri="{FF2B5EF4-FFF2-40B4-BE49-F238E27FC236}">
                  <a16:creationId xmlns:a16="http://schemas.microsoft.com/office/drawing/2014/main" id="{EEE859EC-6D57-43C7-BEEB-6AC9C6BF4A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2" y="341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Oval 360">
              <a:extLst>
                <a:ext uri="{FF2B5EF4-FFF2-40B4-BE49-F238E27FC236}">
                  <a16:creationId xmlns:a16="http://schemas.microsoft.com/office/drawing/2014/main" id="{8658CC52-58FA-4757-9E59-E13980641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2" y="341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361">
              <a:extLst>
                <a:ext uri="{FF2B5EF4-FFF2-40B4-BE49-F238E27FC236}">
                  <a16:creationId xmlns:a16="http://schemas.microsoft.com/office/drawing/2014/main" id="{13B043BE-35C2-4A96-823D-AE82BE672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0" y="342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362">
              <a:extLst>
                <a:ext uri="{FF2B5EF4-FFF2-40B4-BE49-F238E27FC236}">
                  <a16:creationId xmlns:a16="http://schemas.microsoft.com/office/drawing/2014/main" id="{FA4A93AD-FCA7-4EFD-9F0F-5C5C82C41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8" y="3680"/>
              <a:ext cx="223" cy="100"/>
            </a:xfrm>
            <a:custGeom>
              <a:avLst/>
              <a:gdLst>
                <a:gd name="T0" fmla="*/ 81 w 87"/>
                <a:gd name="T1" fmla="*/ 19 h 39"/>
                <a:gd name="T2" fmla="*/ 53 w 87"/>
                <a:gd name="T3" fmla="*/ 34 h 39"/>
                <a:gd name="T4" fmla="*/ 29 w 87"/>
                <a:gd name="T5" fmla="*/ 31 h 39"/>
                <a:gd name="T6" fmla="*/ 13 w 87"/>
                <a:gd name="T7" fmla="*/ 34 h 39"/>
                <a:gd name="T8" fmla="*/ 4 w 87"/>
                <a:gd name="T9" fmla="*/ 15 h 39"/>
                <a:gd name="T10" fmla="*/ 27 w 87"/>
                <a:gd name="T11" fmla="*/ 3 h 39"/>
                <a:gd name="T12" fmla="*/ 36 w 87"/>
                <a:gd name="T13" fmla="*/ 4 h 39"/>
                <a:gd name="T14" fmla="*/ 56 w 87"/>
                <a:gd name="T15" fmla="*/ 8 h 39"/>
                <a:gd name="T16" fmla="*/ 58 w 87"/>
                <a:gd name="T17" fmla="*/ 9 h 39"/>
                <a:gd name="T18" fmla="*/ 58 w 87"/>
                <a:gd name="T19" fmla="*/ 11 h 39"/>
                <a:gd name="T20" fmla="*/ 54 w 87"/>
                <a:gd name="T21" fmla="*/ 14 h 39"/>
                <a:gd name="T22" fmla="*/ 34 w 87"/>
                <a:gd name="T23" fmla="*/ 10 h 39"/>
                <a:gd name="T24" fmla="*/ 34 w 87"/>
                <a:gd name="T25" fmla="*/ 12 h 39"/>
                <a:gd name="T26" fmla="*/ 40 w 87"/>
                <a:gd name="T27" fmla="*/ 21 h 39"/>
                <a:gd name="T28" fmla="*/ 57 w 87"/>
                <a:gd name="T29" fmla="*/ 23 h 39"/>
                <a:gd name="T30" fmla="*/ 77 w 87"/>
                <a:gd name="T31" fmla="*/ 12 h 39"/>
                <a:gd name="T32" fmla="*/ 82 w 87"/>
                <a:gd name="T33" fmla="*/ 13 h 39"/>
                <a:gd name="T34" fmla="*/ 81 w 87"/>
                <a:gd name="T35" fmla="*/ 19 h 39"/>
                <a:gd name="T36" fmla="*/ 76 w 87"/>
                <a:gd name="T37" fmla="*/ 9 h 39"/>
                <a:gd name="T38" fmla="*/ 57 w 87"/>
                <a:gd name="T39" fmla="*/ 20 h 39"/>
                <a:gd name="T40" fmla="*/ 41 w 87"/>
                <a:gd name="T41" fmla="*/ 18 h 39"/>
                <a:gd name="T42" fmla="*/ 37 w 87"/>
                <a:gd name="T43" fmla="*/ 14 h 39"/>
                <a:gd name="T44" fmla="*/ 54 w 87"/>
                <a:gd name="T45" fmla="*/ 17 h 39"/>
                <a:gd name="T46" fmla="*/ 55 w 87"/>
                <a:gd name="T47" fmla="*/ 17 h 39"/>
                <a:gd name="T48" fmla="*/ 61 w 87"/>
                <a:gd name="T49" fmla="*/ 12 h 39"/>
                <a:gd name="T50" fmla="*/ 60 w 87"/>
                <a:gd name="T51" fmla="*/ 7 h 39"/>
                <a:gd name="T52" fmla="*/ 56 w 87"/>
                <a:gd name="T53" fmla="*/ 5 h 39"/>
                <a:gd name="T54" fmla="*/ 37 w 87"/>
                <a:gd name="T55" fmla="*/ 1 h 39"/>
                <a:gd name="T56" fmla="*/ 26 w 87"/>
                <a:gd name="T57" fmla="*/ 0 h 39"/>
                <a:gd name="T58" fmla="*/ 0 w 87"/>
                <a:gd name="T59" fmla="*/ 14 h 39"/>
                <a:gd name="T60" fmla="*/ 13 w 87"/>
                <a:gd name="T61" fmla="*/ 39 h 39"/>
                <a:gd name="T62" fmla="*/ 14 w 87"/>
                <a:gd name="T63" fmla="*/ 38 h 39"/>
                <a:gd name="T64" fmla="*/ 28 w 87"/>
                <a:gd name="T65" fmla="*/ 34 h 39"/>
                <a:gd name="T66" fmla="*/ 54 w 87"/>
                <a:gd name="T67" fmla="*/ 36 h 39"/>
                <a:gd name="T68" fmla="*/ 54 w 87"/>
                <a:gd name="T69" fmla="*/ 36 h 39"/>
                <a:gd name="T70" fmla="*/ 82 w 87"/>
                <a:gd name="T71" fmla="*/ 21 h 39"/>
                <a:gd name="T72" fmla="*/ 85 w 87"/>
                <a:gd name="T73" fmla="*/ 12 h 39"/>
                <a:gd name="T74" fmla="*/ 76 w 87"/>
                <a:gd name="T75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39">
                  <a:moveTo>
                    <a:pt x="81" y="19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45" y="35"/>
                    <a:pt x="38" y="33"/>
                    <a:pt x="29" y="31"/>
                  </a:cubicBezTo>
                  <a:cubicBezTo>
                    <a:pt x="21" y="29"/>
                    <a:pt x="16" y="32"/>
                    <a:pt x="13" y="3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7" y="8"/>
                    <a:pt x="58" y="9"/>
                  </a:cubicBezTo>
                  <a:cubicBezTo>
                    <a:pt x="58" y="10"/>
                    <a:pt x="58" y="10"/>
                    <a:pt x="58" y="11"/>
                  </a:cubicBezTo>
                  <a:cubicBezTo>
                    <a:pt x="58" y="13"/>
                    <a:pt x="56" y="14"/>
                    <a:pt x="54" y="14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8"/>
                    <a:pt x="38" y="20"/>
                    <a:pt x="40" y="21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9" y="11"/>
                    <a:pt x="81" y="12"/>
                    <a:pt x="82" y="13"/>
                  </a:cubicBezTo>
                  <a:cubicBezTo>
                    <a:pt x="83" y="15"/>
                    <a:pt x="83" y="18"/>
                    <a:pt x="81" y="19"/>
                  </a:cubicBezTo>
                  <a:moveTo>
                    <a:pt x="76" y="9"/>
                  </a:moveTo>
                  <a:cubicBezTo>
                    <a:pt x="57" y="20"/>
                    <a:pt x="57" y="20"/>
                    <a:pt x="57" y="20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0" y="18"/>
                    <a:pt x="37" y="17"/>
                    <a:pt x="37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5" y="17"/>
                    <a:pt x="55" y="17"/>
                  </a:cubicBezTo>
                  <a:cubicBezTo>
                    <a:pt x="58" y="17"/>
                    <a:pt x="61" y="15"/>
                    <a:pt x="61" y="12"/>
                  </a:cubicBezTo>
                  <a:cubicBezTo>
                    <a:pt x="61" y="10"/>
                    <a:pt x="61" y="9"/>
                    <a:pt x="60" y="7"/>
                  </a:cubicBezTo>
                  <a:cubicBezTo>
                    <a:pt x="59" y="6"/>
                    <a:pt x="58" y="5"/>
                    <a:pt x="56" y="5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9" y="32"/>
                    <a:pt x="28" y="34"/>
                  </a:cubicBezTo>
                  <a:cubicBezTo>
                    <a:pt x="37" y="36"/>
                    <a:pt x="46" y="38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6" y="20"/>
                    <a:pt x="87" y="15"/>
                    <a:pt x="85" y="12"/>
                  </a:cubicBezTo>
                  <a:cubicBezTo>
                    <a:pt x="83" y="9"/>
                    <a:pt x="79" y="8"/>
                    <a:pt x="76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Freeform 363">
              <a:extLst>
                <a:ext uri="{FF2B5EF4-FFF2-40B4-BE49-F238E27FC236}">
                  <a16:creationId xmlns:a16="http://schemas.microsoft.com/office/drawing/2014/main" id="{36C1D23C-77FD-4BA4-89CA-523A85066A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7" y="3562"/>
              <a:ext cx="343" cy="113"/>
            </a:xfrm>
            <a:custGeom>
              <a:avLst/>
              <a:gdLst>
                <a:gd name="T0" fmla="*/ 327 w 343"/>
                <a:gd name="T1" fmla="*/ 102 h 113"/>
                <a:gd name="T2" fmla="*/ 171 w 343"/>
                <a:gd name="T3" fmla="*/ 26 h 113"/>
                <a:gd name="T4" fmla="*/ 15 w 343"/>
                <a:gd name="T5" fmla="*/ 102 h 113"/>
                <a:gd name="T6" fmla="*/ 7 w 343"/>
                <a:gd name="T7" fmla="*/ 90 h 113"/>
                <a:gd name="T8" fmla="*/ 171 w 343"/>
                <a:gd name="T9" fmla="*/ 8 h 113"/>
                <a:gd name="T10" fmla="*/ 335 w 343"/>
                <a:gd name="T11" fmla="*/ 90 h 113"/>
                <a:gd name="T12" fmla="*/ 327 w 343"/>
                <a:gd name="T13" fmla="*/ 102 h 113"/>
                <a:gd name="T14" fmla="*/ 248 w 343"/>
                <a:gd name="T15" fmla="*/ 15 h 113"/>
                <a:gd name="T16" fmla="*/ 299 w 343"/>
                <a:gd name="T17" fmla="*/ 15 h 113"/>
                <a:gd name="T18" fmla="*/ 299 w 343"/>
                <a:gd name="T19" fmla="*/ 56 h 113"/>
                <a:gd name="T20" fmla="*/ 248 w 343"/>
                <a:gd name="T21" fmla="*/ 31 h 113"/>
                <a:gd name="T22" fmla="*/ 248 w 343"/>
                <a:gd name="T23" fmla="*/ 15 h 113"/>
                <a:gd name="T24" fmla="*/ 307 w 343"/>
                <a:gd name="T25" fmla="*/ 69 h 113"/>
                <a:gd name="T26" fmla="*/ 307 w 343"/>
                <a:gd name="T27" fmla="*/ 8 h 113"/>
                <a:gd name="T28" fmla="*/ 240 w 343"/>
                <a:gd name="T29" fmla="*/ 8 h 113"/>
                <a:gd name="T30" fmla="*/ 240 w 343"/>
                <a:gd name="T31" fmla="*/ 36 h 113"/>
                <a:gd name="T32" fmla="*/ 171 w 343"/>
                <a:gd name="T33" fmla="*/ 0 h 113"/>
                <a:gd name="T34" fmla="*/ 0 w 343"/>
                <a:gd name="T35" fmla="*/ 87 h 113"/>
                <a:gd name="T36" fmla="*/ 12 w 343"/>
                <a:gd name="T37" fmla="*/ 113 h 113"/>
                <a:gd name="T38" fmla="*/ 171 w 343"/>
                <a:gd name="T39" fmla="*/ 33 h 113"/>
                <a:gd name="T40" fmla="*/ 330 w 343"/>
                <a:gd name="T41" fmla="*/ 113 h 113"/>
                <a:gd name="T42" fmla="*/ 343 w 343"/>
                <a:gd name="T43" fmla="*/ 87 h 113"/>
                <a:gd name="T44" fmla="*/ 307 w 343"/>
                <a:gd name="T45" fmla="*/ 6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3" h="113">
                  <a:moveTo>
                    <a:pt x="327" y="102"/>
                  </a:moveTo>
                  <a:lnTo>
                    <a:pt x="171" y="26"/>
                  </a:lnTo>
                  <a:lnTo>
                    <a:pt x="15" y="102"/>
                  </a:lnTo>
                  <a:lnTo>
                    <a:pt x="7" y="90"/>
                  </a:lnTo>
                  <a:lnTo>
                    <a:pt x="171" y="8"/>
                  </a:lnTo>
                  <a:lnTo>
                    <a:pt x="335" y="90"/>
                  </a:lnTo>
                  <a:lnTo>
                    <a:pt x="327" y="102"/>
                  </a:lnTo>
                  <a:close/>
                  <a:moveTo>
                    <a:pt x="248" y="15"/>
                  </a:moveTo>
                  <a:lnTo>
                    <a:pt x="299" y="15"/>
                  </a:lnTo>
                  <a:lnTo>
                    <a:pt x="299" y="56"/>
                  </a:lnTo>
                  <a:lnTo>
                    <a:pt x="248" y="31"/>
                  </a:lnTo>
                  <a:lnTo>
                    <a:pt x="248" y="15"/>
                  </a:lnTo>
                  <a:close/>
                  <a:moveTo>
                    <a:pt x="307" y="69"/>
                  </a:moveTo>
                  <a:lnTo>
                    <a:pt x="307" y="8"/>
                  </a:lnTo>
                  <a:lnTo>
                    <a:pt x="240" y="8"/>
                  </a:lnTo>
                  <a:lnTo>
                    <a:pt x="240" y="36"/>
                  </a:lnTo>
                  <a:lnTo>
                    <a:pt x="171" y="0"/>
                  </a:lnTo>
                  <a:lnTo>
                    <a:pt x="0" y="87"/>
                  </a:lnTo>
                  <a:lnTo>
                    <a:pt x="12" y="113"/>
                  </a:lnTo>
                  <a:lnTo>
                    <a:pt x="171" y="33"/>
                  </a:lnTo>
                  <a:lnTo>
                    <a:pt x="330" y="113"/>
                  </a:lnTo>
                  <a:lnTo>
                    <a:pt x="343" y="87"/>
                  </a:lnTo>
                  <a:lnTo>
                    <a:pt x="307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364">
              <a:extLst>
                <a:ext uri="{FF2B5EF4-FFF2-40B4-BE49-F238E27FC236}">
                  <a16:creationId xmlns:a16="http://schemas.microsoft.com/office/drawing/2014/main" id="{516DD862-88B0-483E-8A93-8841A10CE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5" y="3603"/>
              <a:ext cx="307" cy="184"/>
            </a:xfrm>
            <a:custGeom>
              <a:avLst/>
              <a:gdLst>
                <a:gd name="T0" fmla="*/ 0 w 307"/>
                <a:gd name="T1" fmla="*/ 77 h 184"/>
                <a:gd name="T2" fmla="*/ 2 w 307"/>
                <a:gd name="T3" fmla="*/ 82 h 184"/>
                <a:gd name="T4" fmla="*/ 15 w 307"/>
                <a:gd name="T5" fmla="*/ 77 h 184"/>
                <a:gd name="T6" fmla="*/ 15 w 307"/>
                <a:gd name="T7" fmla="*/ 184 h 184"/>
                <a:gd name="T8" fmla="*/ 23 w 307"/>
                <a:gd name="T9" fmla="*/ 184 h 184"/>
                <a:gd name="T10" fmla="*/ 23 w 307"/>
                <a:gd name="T11" fmla="*/ 72 h 184"/>
                <a:gd name="T12" fmla="*/ 153 w 307"/>
                <a:gd name="T13" fmla="*/ 8 h 184"/>
                <a:gd name="T14" fmla="*/ 281 w 307"/>
                <a:gd name="T15" fmla="*/ 72 h 184"/>
                <a:gd name="T16" fmla="*/ 281 w 307"/>
                <a:gd name="T17" fmla="*/ 184 h 184"/>
                <a:gd name="T18" fmla="*/ 289 w 307"/>
                <a:gd name="T19" fmla="*/ 184 h 184"/>
                <a:gd name="T20" fmla="*/ 289 w 307"/>
                <a:gd name="T21" fmla="*/ 77 h 184"/>
                <a:gd name="T22" fmla="*/ 304 w 307"/>
                <a:gd name="T23" fmla="*/ 82 h 184"/>
                <a:gd name="T24" fmla="*/ 307 w 307"/>
                <a:gd name="T25" fmla="*/ 77 h 184"/>
                <a:gd name="T26" fmla="*/ 153 w 307"/>
                <a:gd name="T27" fmla="*/ 0 h 184"/>
                <a:gd name="T28" fmla="*/ 0 w 307"/>
                <a:gd name="T29" fmla="*/ 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184">
                  <a:moveTo>
                    <a:pt x="0" y="77"/>
                  </a:moveTo>
                  <a:lnTo>
                    <a:pt x="2" y="82"/>
                  </a:lnTo>
                  <a:lnTo>
                    <a:pt x="15" y="77"/>
                  </a:lnTo>
                  <a:lnTo>
                    <a:pt x="15" y="184"/>
                  </a:lnTo>
                  <a:lnTo>
                    <a:pt x="23" y="184"/>
                  </a:lnTo>
                  <a:lnTo>
                    <a:pt x="23" y="72"/>
                  </a:lnTo>
                  <a:lnTo>
                    <a:pt x="153" y="8"/>
                  </a:lnTo>
                  <a:lnTo>
                    <a:pt x="281" y="72"/>
                  </a:lnTo>
                  <a:lnTo>
                    <a:pt x="281" y="184"/>
                  </a:lnTo>
                  <a:lnTo>
                    <a:pt x="289" y="184"/>
                  </a:lnTo>
                  <a:lnTo>
                    <a:pt x="289" y="77"/>
                  </a:lnTo>
                  <a:lnTo>
                    <a:pt x="304" y="82"/>
                  </a:lnTo>
                  <a:lnTo>
                    <a:pt x="307" y="77"/>
                  </a:lnTo>
                  <a:lnTo>
                    <a:pt x="153" y="0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1" name="Group 367">
            <a:extLst>
              <a:ext uri="{FF2B5EF4-FFF2-40B4-BE49-F238E27FC236}">
                <a16:creationId xmlns:a16="http://schemas.microsoft.com/office/drawing/2014/main" id="{723A0B76-E8E1-4509-A5C9-5211A87873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66088" y="5456238"/>
            <a:ext cx="758825" cy="758825"/>
            <a:chOff x="5081" y="3437"/>
            <a:chExt cx="478" cy="478"/>
          </a:xfrm>
        </p:grpSpPr>
        <p:sp>
          <p:nvSpPr>
            <p:cNvPr id="412" name="AutoShape 366">
              <a:extLst>
                <a:ext uri="{FF2B5EF4-FFF2-40B4-BE49-F238E27FC236}">
                  <a16:creationId xmlns:a16="http://schemas.microsoft.com/office/drawing/2014/main" id="{D545AB06-5B65-4D84-B8B1-9C2709FCC7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1" y="343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Freeform 368">
              <a:extLst>
                <a:ext uri="{FF2B5EF4-FFF2-40B4-BE49-F238E27FC236}">
                  <a16:creationId xmlns:a16="http://schemas.microsoft.com/office/drawing/2014/main" id="{B3AF31E7-91BC-4232-A338-5EE6BFFA7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" y="343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369">
              <a:extLst>
                <a:ext uri="{FF2B5EF4-FFF2-40B4-BE49-F238E27FC236}">
                  <a16:creationId xmlns:a16="http://schemas.microsoft.com/office/drawing/2014/main" id="{379FC48C-5BE1-439F-B02D-1710156A6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6" y="3680"/>
              <a:ext cx="213" cy="95"/>
            </a:xfrm>
            <a:custGeom>
              <a:avLst/>
              <a:gdLst>
                <a:gd name="T0" fmla="*/ 81 w 87"/>
                <a:gd name="T1" fmla="*/ 19 h 39"/>
                <a:gd name="T2" fmla="*/ 53 w 87"/>
                <a:gd name="T3" fmla="*/ 34 h 39"/>
                <a:gd name="T4" fmla="*/ 29 w 87"/>
                <a:gd name="T5" fmla="*/ 31 h 39"/>
                <a:gd name="T6" fmla="*/ 13 w 87"/>
                <a:gd name="T7" fmla="*/ 34 h 39"/>
                <a:gd name="T8" fmla="*/ 4 w 87"/>
                <a:gd name="T9" fmla="*/ 15 h 39"/>
                <a:gd name="T10" fmla="*/ 27 w 87"/>
                <a:gd name="T11" fmla="*/ 3 h 39"/>
                <a:gd name="T12" fmla="*/ 36 w 87"/>
                <a:gd name="T13" fmla="*/ 4 h 39"/>
                <a:gd name="T14" fmla="*/ 56 w 87"/>
                <a:gd name="T15" fmla="*/ 8 h 39"/>
                <a:gd name="T16" fmla="*/ 58 w 87"/>
                <a:gd name="T17" fmla="*/ 9 h 39"/>
                <a:gd name="T18" fmla="*/ 58 w 87"/>
                <a:gd name="T19" fmla="*/ 11 h 39"/>
                <a:gd name="T20" fmla="*/ 54 w 87"/>
                <a:gd name="T21" fmla="*/ 14 h 39"/>
                <a:gd name="T22" fmla="*/ 34 w 87"/>
                <a:gd name="T23" fmla="*/ 10 h 39"/>
                <a:gd name="T24" fmla="*/ 34 w 87"/>
                <a:gd name="T25" fmla="*/ 12 h 39"/>
                <a:gd name="T26" fmla="*/ 40 w 87"/>
                <a:gd name="T27" fmla="*/ 21 h 39"/>
                <a:gd name="T28" fmla="*/ 57 w 87"/>
                <a:gd name="T29" fmla="*/ 23 h 39"/>
                <a:gd name="T30" fmla="*/ 77 w 87"/>
                <a:gd name="T31" fmla="*/ 12 h 39"/>
                <a:gd name="T32" fmla="*/ 82 w 87"/>
                <a:gd name="T33" fmla="*/ 13 h 39"/>
                <a:gd name="T34" fmla="*/ 81 w 87"/>
                <a:gd name="T35" fmla="*/ 19 h 39"/>
                <a:gd name="T36" fmla="*/ 76 w 87"/>
                <a:gd name="T37" fmla="*/ 9 h 39"/>
                <a:gd name="T38" fmla="*/ 57 w 87"/>
                <a:gd name="T39" fmla="*/ 20 h 39"/>
                <a:gd name="T40" fmla="*/ 41 w 87"/>
                <a:gd name="T41" fmla="*/ 18 h 39"/>
                <a:gd name="T42" fmla="*/ 37 w 87"/>
                <a:gd name="T43" fmla="*/ 14 h 39"/>
                <a:gd name="T44" fmla="*/ 54 w 87"/>
                <a:gd name="T45" fmla="*/ 17 h 39"/>
                <a:gd name="T46" fmla="*/ 55 w 87"/>
                <a:gd name="T47" fmla="*/ 17 h 39"/>
                <a:gd name="T48" fmla="*/ 61 w 87"/>
                <a:gd name="T49" fmla="*/ 12 h 39"/>
                <a:gd name="T50" fmla="*/ 60 w 87"/>
                <a:gd name="T51" fmla="*/ 7 h 39"/>
                <a:gd name="T52" fmla="*/ 56 w 87"/>
                <a:gd name="T53" fmla="*/ 5 h 39"/>
                <a:gd name="T54" fmla="*/ 37 w 87"/>
                <a:gd name="T55" fmla="*/ 1 h 39"/>
                <a:gd name="T56" fmla="*/ 26 w 87"/>
                <a:gd name="T57" fmla="*/ 0 h 39"/>
                <a:gd name="T58" fmla="*/ 0 w 87"/>
                <a:gd name="T59" fmla="*/ 14 h 39"/>
                <a:gd name="T60" fmla="*/ 13 w 87"/>
                <a:gd name="T61" fmla="*/ 39 h 39"/>
                <a:gd name="T62" fmla="*/ 14 w 87"/>
                <a:gd name="T63" fmla="*/ 38 h 39"/>
                <a:gd name="T64" fmla="*/ 28 w 87"/>
                <a:gd name="T65" fmla="*/ 34 h 39"/>
                <a:gd name="T66" fmla="*/ 54 w 87"/>
                <a:gd name="T67" fmla="*/ 36 h 39"/>
                <a:gd name="T68" fmla="*/ 54 w 87"/>
                <a:gd name="T69" fmla="*/ 36 h 39"/>
                <a:gd name="T70" fmla="*/ 82 w 87"/>
                <a:gd name="T71" fmla="*/ 21 h 39"/>
                <a:gd name="T72" fmla="*/ 85 w 87"/>
                <a:gd name="T73" fmla="*/ 12 h 39"/>
                <a:gd name="T74" fmla="*/ 76 w 87"/>
                <a:gd name="T75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39">
                  <a:moveTo>
                    <a:pt x="81" y="19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45" y="35"/>
                    <a:pt x="38" y="33"/>
                    <a:pt x="29" y="31"/>
                  </a:cubicBezTo>
                  <a:cubicBezTo>
                    <a:pt x="21" y="29"/>
                    <a:pt x="16" y="32"/>
                    <a:pt x="13" y="3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7" y="8"/>
                    <a:pt x="58" y="9"/>
                  </a:cubicBezTo>
                  <a:cubicBezTo>
                    <a:pt x="58" y="10"/>
                    <a:pt x="58" y="10"/>
                    <a:pt x="58" y="11"/>
                  </a:cubicBezTo>
                  <a:cubicBezTo>
                    <a:pt x="58" y="13"/>
                    <a:pt x="56" y="14"/>
                    <a:pt x="54" y="14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8"/>
                    <a:pt x="38" y="20"/>
                    <a:pt x="40" y="21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9" y="11"/>
                    <a:pt x="81" y="12"/>
                    <a:pt x="82" y="13"/>
                  </a:cubicBezTo>
                  <a:cubicBezTo>
                    <a:pt x="83" y="15"/>
                    <a:pt x="83" y="18"/>
                    <a:pt x="81" y="19"/>
                  </a:cubicBezTo>
                  <a:moveTo>
                    <a:pt x="76" y="9"/>
                  </a:moveTo>
                  <a:cubicBezTo>
                    <a:pt x="57" y="20"/>
                    <a:pt x="57" y="20"/>
                    <a:pt x="57" y="20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0" y="18"/>
                    <a:pt x="37" y="17"/>
                    <a:pt x="37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5" y="17"/>
                    <a:pt x="55" y="17"/>
                  </a:cubicBezTo>
                  <a:cubicBezTo>
                    <a:pt x="58" y="17"/>
                    <a:pt x="61" y="15"/>
                    <a:pt x="61" y="12"/>
                  </a:cubicBezTo>
                  <a:cubicBezTo>
                    <a:pt x="61" y="10"/>
                    <a:pt x="61" y="9"/>
                    <a:pt x="60" y="7"/>
                  </a:cubicBezTo>
                  <a:cubicBezTo>
                    <a:pt x="59" y="6"/>
                    <a:pt x="58" y="5"/>
                    <a:pt x="56" y="5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9" y="32"/>
                    <a:pt x="28" y="34"/>
                  </a:cubicBezTo>
                  <a:cubicBezTo>
                    <a:pt x="37" y="36"/>
                    <a:pt x="46" y="38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6" y="20"/>
                    <a:pt x="87" y="15"/>
                    <a:pt x="85" y="12"/>
                  </a:cubicBezTo>
                  <a:cubicBezTo>
                    <a:pt x="83" y="9"/>
                    <a:pt x="79" y="8"/>
                    <a:pt x="76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370">
              <a:extLst>
                <a:ext uri="{FF2B5EF4-FFF2-40B4-BE49-F238E27FC236}">
                  <a16:creationId xmlns:a16="http://schemas.microsoft.com/office/drawing/2014/main" id="{036A4F40-E015-4F6B-8277-F4D98DC3E1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7" y="3567"/>
              <a:ext cx="328" cy="108"/>
            </a:xfrm>
            <a:custGeom>
              <a:avLst/>
              <a:gdLst>
                <a:gd name="T0" fmla="*/ 314 w 328"/>
                <a:gd name="T1" fmla="*/ 98 h 108"/>
                <a:gd name="T2" fmla="*/ 164 w 328"/>
                <a:gd name="T3" fmla="*/ 24 h 108"/>
                <a:gd name="T4" fmla="*/ 15 w 328"/>
                <a:gd name="T5" fmla="*/ 98 h 108"/>
                <a:gd name="T6" fmla="*/ 7 w 328"/>
                <a:gd name="T7" fmla="*/ 86 h 108"/>
                <a:gd name="T8" fmla="*/ 164 w 328"/>
                <a:gd name="T9" fmla="*/ 7 h 108"/>
                <a:gd name="T10" fmla="*/ 321 w 328"/>
                <a:gd name="T11" fmla="*/ 86 h 108"/>
                <a:gd name="T12" fmla="*/ 314 w 328"/>
                <a:gd name="T13" fmla="*/ 98 h 108"/>
                <a:gd name="T14" fmla="*/ 238 w 328"/>
                <a:gd name="T15" fmla="*/ 15 h 108"/>
                <a:gd name="T16" fmla="*/ 287 w 328"/>
                <a:gd name="T17" fmla="*/ 15 h 108"/>
                <a:gd name="T18" fmla="*/ 287 w 328"/>
                <a:gd name="T19" fmla="*/ 54 h 108"/>
                <a:gd name="T20" fmla="*/ 238 w 328"/>
                <a:gd name="T21" fmla="*/ 29 h 108"/>
                <a:gd name="T22" fmla="*/ 238 w 328"/>
                <a:gd name="T23" fmla="*/ 15 h 108"/>
                <a:gd name="T24" fmla="*/ 294 w 328"/>
                <a:gd name="T25" fmla="*/ 66 h 108"/>
                <a:gd name="T26" fmla="*/ 294 w 328"/>
                <a:gd name="T27" fmla="*/ 7 h 108"/>
                <a:gd name="T28" fmla="*/ 230 w 328"/>
                <a:gd name="T29" fmla="*/ 7 h 108"/>
                <a:gd name="T30" fmla="*/ 230 w 328"/>
                <a:gd name="T31" fmla="*/ 34 h 108"/>
                <a:gd name="T32" fmla="*/ 164 w 328"/>
                <a:gd name="T33" fmla="*/ 0 h 108"/>
                <a:gd name="T34" fmla="*/ 0 w 328"/>
                <a:gd name="T35" fmla="*/ 83 h 108"/>
                <a:gd name="T36" fmla="*/ 12 w 328"/>
                <a:gd name="T37" fmla="*/ 108 h 108"/>
                <a:gd name="T38" fmla="*/ 164 w 328"/>
                <a:gd name="T39" fmla="*/ 32 h 108"/>
                <a:gd name="T40" fmla="*/ 316 w 328"/>
                <a:gd name="T41" fmla="*/ 108 h 108"/>
                <a:gd name="T42" fmla="*/ 328 w 328"/>
                <a:gd name="T43" fmla="*/ 83 h 108"/>
                <a:gd name="T44" fmla="*/ 294 w 328"/>
                <a:gd name="T45" fmla="*/ 6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8" h="108">
                  <a:moveTo>
                    <a:pt x="314" y="98"/>
                  </a:moveTo>
                  <a:lnTo>
                    <a:pt x="164" y="24"/>
                  </a:lnTo>
                  <a:lnTo>
                    <a:pt x="15" y="98"/>
                  </a:lnTo>
                  <a:lnTo>
                    <a:pt x="7" y="86"/>
                  </a:lnTo>
                  <a:lnTo>
                    <a:pt x="164" y="7"/>
                  </a:lnTo>
                  <a:lnTo>
                    <a:pt x="321" y="86"/>
                  </a:lnTo>
                  <a:lnTo>
                    <a:pt x="314" y="98"/>
                  </a:lnTo>
                  <a:close/>
                  <a:moveTo>
                    <a:pt x="238" y="15"/>
                  </a:moveTo>
                  <a:lnTo>
                    <a:pt x="287" y="15"/>
                  </a:lnTo>
                  <a:lnTo>
                    <a:pt x="287" y="54"/>
                  </a:lnTo>
                  <a:lnTo>
                    <a:pt x="238" y="29"/>
                  </a:lnTo>
                  <a:lnTo>
                    <a:pt x="238" y="15"/>
                  </a:lnTo>
                  <a:close/>
                  <a:moveTo>
                    <a:pt x="294" y="66"/>
                  </a:moveTo>
                  <a:lnTo>
                    <a:pt x="294" y="7"/>
                  </a:lnTo>
                  <a:lnTo>
                    <a:pt x="230" y="7"/>
                  </a:lnTo>
                  <a:lnTo>
                    <a:pt x="230" y="34"/>
                  </a:lnTo>
                  <a:lnTo>
                    <a:pt x="164" y="0"/>
                  </a:lnTo>
                  <a:lnTo>
                    <a:pt x="0" y="83"/>
                  </a:lnTo>
                  <a:lnTo>
                    <a:pt x="12" y="108"/>
                  </a:lnTo>
                  <a:lnTo>
                    <a:pt x="164" y="32"/>
                  </a:lnTo>
                  <a:lnTo>
                    <a:pt x="316" y="108"/>
                  </a:lnTo>
                  <a:lnTo>
                    <a:pt x="328" y="83"/>
                  </a:lnTo>
                  <a:lnTo>
                    <a:pt x="294" y="6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371">
              <a:extLst>
                <a:ext uri="{FF2B5EF4-FFF2-40B4-BE49-F238E27FC236}">
                  <a16:creationId xmlns:a16="http://schemas.microsoft.com/office/drawing/2014/main" id="{B1DA12A5-AE32-440B-ACD5-9E3A46CF6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" y="3606"/>
              <a:ext cx="294" cy="177"/>
            </a:xfrm>
            <a:custGeom>
              <a:avLst/>
              <a:gdLst>
                <a:gd name="T0" fmla="*/ 0 w 294"/>
                <a:gd name="T1" fmla="*/ 74 h 177"/>
                <a:gd name="T2" fmla="*/ 3 w 294"/>
                <a:gd name="T3" fmla="*/ 79 h 177"/>
                <a:gd name="T4" fmla="*/ 15 w 294"/>
                <a:gd name="T5" fmla="*/ 74 h 177"/>
                <a:gd name="T6" fmla="*/ 15 w 294"/>
                <a:gd name="T7" fmla="*/ 177 h 177"/>
                <a:gd name="T8" fmla="*/ 22 w 294"/>
                <a:gd name="T9" fmla="*/ 177 h 177"/>
                <a:gd name="T10" fmla="*/ 22 w 294"/>
                <a:gd name="T11" fmla="*/ 69 h 177"/>
                <a:gd name="T12" fmla="*/ 147 w 294"/>
                <a:gd name="T13" fmla="*/ 7 h 177"/>
                <a:gd name="T14" fmla="*/ 270 w 294"/>
                <a:gd name="T15" fmla="*/ 69 h 177"/>
                <a:gd name="T16" fmla="*/ 270 w 294"/>
                <a:gd name="T17" fmla="*/ 177 h 177"/>
                <a:gd name="T18" fmla="*/ 277 w 294"/>
                <a:gd name="T19" fmla="*/ 177 h 177"/>
                <a:gd name="T20" fmla="*/ 277 w 294"/>
                <a:gd name="T21" fmla="*/ 74 h 177"/>
                <a:gd name="T22" fmla="*/ 292 w 294"/>
                <a:gd name="T23" fmla="*/ 79 h 177"/>
                <a:gd name="T24" fmla="*/ 294 w 294"/>
                <a:gd name="T25" fmla="*/ 74 h 177"/>
                <a:gd name="T26" fmla="*/ 147 w 294"/>
                <a:gd name="T27" fmla="*/ 0 h 177"/>
                <a:gd name="T28" fmla="*/ 0 w 294"/>
                <a:gd name="T29" fmla="*/ 7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4" h="177">
                  <a:moveTo>
                    <a:pt x="0" y="74"/>
                  </a:moveTo>
                  <a:lnTo>
                    <a:pt x="3" y="79"/>
                  </a:lnTo>
                  <a:lnTo>
                    <a:pt x="15" y="74"/>
                  </a:lnTo>
                  <a:lnTo>
                    <a:pt x="15" y="177"/>
                  </a:lnTo>
                  <a:lnTo>
                    <a:pt x="22" y="177"/>
                  </a:lnTo>
                  <a:lnTo>
                    <a:pt x="22" y="69"/>
                  </a:lnTo>
                  <a:lnTo>
                    <a:pt x="147" y="7"/>
                  </a:lnTo>
                  <a:lnTo>
                    <a:pt x="270" y="69"/>
                  </a:lnTo>
                  <a:lnTo>
                    <a:pt x="270" y="177"/>
                  </a:lnTo>
                  <a:lnTo>
                    <a:pt x="277" y="177"/>
                  </a:lnTo>
                  <a:lnTo>
                    <a:pt x="277" y="74"/>
                  </a:lnTo>
                  <a:lnTo>
                    <a:pt x="292" y="79"/>
                  </a:lnTo>
                  <a:lnTo>
                    <a:pt x="294" y="74"/>
                  </a:lnTo>
                  <a:lnTo>
                    <a:pt x="147" y="0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69427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56" name="Group 4"/>
          <p:cNvGrpSpPr>
            <a:grpSpLocks noChangeAspect="1"/>
          </p:cNvGrpSpPr>
          <p:nvPr/>
        </p:nvGrpSpPr>
        <p:grpSpPr bwMode="auto">
          <a:xfrm>
            <a:off x="334963" y="246063"/>
            <a:ext cx="827087" cy="828675"/>
            <a:chOff x="211" y="155"/>
            <a:chExt cx="521" cy="522"/>
          </a:xfrm>
        </p:grpSpPr>
        <p:sp>
          <p:nvSpPr>
            <p:cNvPr id="49157" name="Oval 5"/>
            <p:cNvSpPr>
              <a:spLocks noChangeArrowheads="1"/>
            </p:cNvSpPr>
            <p:nvPr/>
          </p:nvSpPr>
          <p:spPr bwMode="auto">
            <a:xfrm>
              <a:off x="211" y="155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58" name="Freeform 6"/>
            <p:cNvSpPr>
              <a:spLocks noEditPoints="1"/>
            </p:cNvSpPr>
            <p:nvPr/>
          </p:nvSpPr>
          <p:spPr bwMode="auto">
            <a:xfrm>
              <a:off x="230" y="174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59" name="Freeform 7"/>
            <p:cNvSpPr>
              <a:spLocks/>
            </p:cNvSpPr>
            <p:nvPr/>
          </p:nvSpPr>
          <p:spPr bwMode="auto">
            <a:xfrm>
              <a:off x="378" y="452"/>
              <a:ext cx="22" cy="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25"/>
                </a:cxn>
                <a:cxn ang="0">
                  <a:pos x="9" y="25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0" y="5"/>
                </a:cxn>
              </a:cxnLst>
              <a:rect l="0" t="0" r="r" b="b"/>
              <a:pathLst>
                <a:path w="9" h="25">
                  <a:moveTo>
                    <a:pt x="0" y="5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0" name="Freeform 8"/>
            <p:cNvSpPr>
              <a:spLocks/>
            </p:cNvSpPr>
            <p:nvPr/>
          </p:nvSpPr>
          <p:spPr bwMode="auto">
            <a:xfrm>
              <a:off x="412" y="452"/>
              <a:ext cx="45" cy="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5"/>
                </a:cxn>
                <a:cxn ang="0">
                  <a:pos x="5" y="25"/>
                </a:cxn>
                <a:cxn ang="0">
                  <a:pos x="10" y="25"/>
                </a:cxn>
                <a:cxn ang="0">
                  <a:pos x="19" y="5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19" h="25">
                  <a:moveTo>
                    <a:pt x="0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5" y="13"/>
                    <a:pt x="5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13"/>
                    <a:pt x="19" y="5"/>
                    <a:pt x="19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1" name="Freeform 9"/>
            <p:cNvSpPr>
              <a:spLocks noEditPoints="1"/>
            </p:cNvSpPr>
            <p:nvPr/>
          </p:nvSpPr>
          <p:spPr bwMode="auto">
            <a:xfrm>
              <a:off x="345" y="430"/>
              <a:ext cx="148" cy="99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148" y="99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99"/>
                </a:cxn>
                <a:cxn ang="0">
                  <a:pos x="7" y="10"/>
                </a:cxn>
                <a:cxn ang="0">
                  <a:pos x="138" y="10"/>
                </a:cxn>
                <a:cxn ang="0">
                  <a:pos x="138" y="89"/>
                </a:cxn>
                <a:cxn ang="0">
                  <a:pos x="7" y="89"/>
                </a:cxn>
                <a:cxn ang="0">
                  <a:pos x="7" y="10"/>
                </a:cxn>
              </a:cxnLst>
              <a:rect l="0" t="0" r="r" b="b"/>
              <a:pathLst>
                <a:path w="148" h="99">
                  <a:moveTo>
                    <a:pt x="0" y="99"/>
                  </a:moveTo>
                  <a:lnTo>
                    <a:pt x="148" y="99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99"/>
                  </a:lnTo>
                  <a:close/>
                  <a:moveTo>
                    <a:pt x="7" y="10"/>
                  </a:moveTo>
                  <a:lnTo>
                    <a:pt x="138" y="10"/>
                  </a:lnTo>
                  <a:lnTo>
                    <a:pt x="138" y="89"/>
                  </a:lnTo>
                  <a:lnTo>
                    <a:pt x="7" y="89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2" name="Freeform 10"/>
            <p:cNvSpPr>
              <a:spLocks noEditPoints="1"/>
            </p:cNvSpPr>
            <p:nvPr/>
          </p:nvSpPr>
          <p:spPr bwMode="auto">
            <a:xfrm>
              <a:off x="326" y="382"/>
              <a:ext cx="186" cy="166"/>
            </a:xfrm>
            <a:custGeom>
              <a:avLst/>
              <a:gdLst/>
              <a:ahLst/>
              <a:cxnLst>
                <a:cxn ang="0">
                  <a:pos x="155" y="0"/>
                </a:cxn>
                <a:cxn ang="0">
                  <a:pos x="148" y="0"/>
                </a:cxn>
                <a:cxn ang="0">
                  <a:pos x="148" y="8"/>
                </a:cxn>
                <a:cxn ang="0">
                  <a:pos x="35" y="8"/>
                </a:cxn>
                <a:cxn ang="0">
                  <a:pos x="35" y="0"/>
                </a:cxn>
                <a:cxn ang="0">
                  <a:pos x="26" y="0"/>
                </a:cxn>
                <a:cxn ang="0">
                  <a:pos x="26" y="8"/>
                </a:cxn>
                <a:cxn ang="0">
                  <a:pos x="0" y="8"/>
                </a:cxn>
                <a:cxn ang="0">
                  <a:pos x="0" y="166"/>
                </a:cxn>
                <a:cxn ang="0">
                  <a:pos x="186" y="166"/>
                </a:cxn>
                <a:cxn ang="0">
                  <a:pos x="186" y="8"/>
                </a:cxn>
                <a:cxn ang="0">
                  <a:pos x="155" y="8"/>
                </a:cxn>
                <a:cxn ang="0">
                  <a:pos x="155" y="0"/>
                </a:cxn>
                <a:cxn ang="0">
                  <a:pos x="177" y="17"/>
                </a:cxn>
                <a:cxn ang="0">
                  <a:pos x="177" y="156"/>
                </a:cxn>
                <a:cxn ang="0">
                  <a:pos x="9" y="156"/>
                </a:cxn>
                <a:cxn ang="0">
                  <a:pos x="9" y="17"/>
                </a:cxn>
                <a:cxn ang="0">
                  <a:pos x="26" y="17"/>
                </a:cxn>
                <a:cxn ang="0">
                  <a:pos x="26" y="29"/>
                </a:cxn>
                <a:cxn ang="0">
                  <a:pos x="35" y="29"/>
                </a:cxn>
                <a:cxn ang="0">
                  <a:pos x="35" y="17"/>
                </a:cxn>
                <a:cxn ang="0">
                  <a:pos x="148" y="17"/>
                </a:cxn>
                <a:cxn ang="0">
                  <a:pos x="148" y="29"/>
                </a:cxn>
                <a:cxn ang="0">
                  <a:pos x="155" y="29"/>
                </a:cxn>
                <a:cxn ang="0">
                  <a:pos x="155" y="17"/>
                </a:cxn>
                <a:cxn ang="0">
                  <a:pos x="177" y="17"/>
                </a:cxn>
              </a:cxnLst>
              <a:rect l="0" t="0" r="r" b="b"/>
              <a:pathLst>
                <a:path w="186" h="166">
                  <a:moveTo>
                    <a:pt x="155" y="0"/>
                  </a:moveTo>
                  <a:lnTo>
                    <a:pt x="148" y="0"/>
                  </a:lnTo>
                  <a:lnTo>
                    <a:pt x="148" y="8"/>
                  </a:lnTo>
                  <a:lnTo>
                    <a:pt x="35" y="8"/>
                  </a:lnTo>
                  <a:lnTo>
                    <a:pt x="35" y="0"/>
                  </a:lnTo>
                  <a:lnTo>
                    <a:pt x="26" y="0"/>
                  </a:lnTo>
                  <a:lnTo>
                    <a:pt x="26" y="8"/>
                  </a:lnTo>
                  <a:lnTo>
                    <a:pt x="0" y="8"/>
                  </a:lnTo>
                  <a:lnTo>
                    <a:pt x="0" y="166"/>
                  </a:lnTo>
                  <a:lnTo>
                    <a:pt x="186" y="166"/>
                  </a:lnTo>
                  <a:lnTo>
                    <a:pt x="186" y="8"/>
                  </a:lnTo>
                  <a:lnTo>
                    <a:pt x="155" y="8"/>
                  </a:lnTo>
                  <a:lnTo>
                    <a:pt x="155" y="0"/>
                  </a:lnTo>
                  <a:close/>
                  <a:moveTo>
                    <a:pt x="177" y="17"/>
                  </a:moveTo>
                  <a:lnTo>
                    <a:pt x="177" y="156"/>
                  </a:lnTo>
                  <a:lnTo>
                    <a:pt x="9" y="156"/>
                  </a:lnTo>
                  <a:lnTo>
                    <a:pt x="9" y="17"/>
                  </a:lnTo>
                  <a:lnTo>
                    <a:pt x="26" y="17"/>
                  </a:lnTo>
                  <a:lnTo>
                    <a:pt x="26" y="29"/>
                  </a:lnTo>
                  <a:lnTo>
                    <a:pt x="35" y="29"/>
                  </a:lnTo>
                  <a:lnTo>
                    <a:pt x="35" y="17"/>
                  </a:lnTo>
                  <a:lnTo>
                    <a:pt x="148" y="17"/>
                  </a:lnTo>
                  <a:lnTo>
                    <a:pt x="148" y="29"/>
                  </a:lnTo>
                  <a:lnTo>
                    <a:pt x="155" y="29"/>
                  </a:lnTo>
                  <a:lnTo>
                    <a:pt x="155" y="17"/>
                  </a:lnTo>
                  <a:lnTo>
                    <a:pt x="177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3" name="Freeform 11"/>
            <p:cNvSpPr>
              <a:spLocks/>
            </p:cNvSpPr>
            <p:nvPr/>
          </p:nvSpPr>
          <p:spPr bwMode="auto">
            <a:xfrm>
              <a:off x="416" y="267"/>
              <a:ext cx="221" cy="22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46" y="3"/>
                </a:cxn>
                <a:cxn ang="0">
                  <a:pos x="88" y="46"/>
                </a:cxn>
                <a:cxn ang="0">
                  <a:pos x="46" y="88"/>
                </a:cxn>
                <a:cxn ang="0">
                  <a:pos x="46" y="92"/>
                </a:cxn>
                <a:cxn ang="0">
                  <a:pos x="92" y="46"/>
                </a:cxn>
                <a:cxn ang="0">
                  <a:pos x="46" y="0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21" y="0"/>
                    <a:pt x="0" y="20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22"/>
                    <a:pt x="23" y="3"/>
                    <a:pt x="46" y="3"/>
                  </a:cubicBezTo>
                  <a:cubicBezTo>
                    <a:pt x="69" y="3"/>
                    <a:pt x="88" y="22"/>
                    <a:pt x="88" y="46"/>
                  </a:cubicBezTo>
                  <a:cubicBezTo>
                    <a:pt x="88" y="69"/>
                    <a:pt x="69" y="88"/>
                    <a:pt x="46" y="88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71" y="92"/>
                    <a:pt x="92" y="71"/>
                    <a:pt x="92" y="46"/>
                  </a:cubicBezTo>
                  <a:cubicBezTo>
                    <a:pt x="92" y="20"/>
                    <a:pt x="71" y="0"/>
                    <a:pt x="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4" name="Freeform 12"/>
            <p:cNvSpPr>
              <a:spLocks/>
            </p:cNvSpPr>
            <p:nvPr/>
          </p:nvSpPr>
          <p:spPr bwMode="auto">
            <a:xfrm>
              <a:off x="522" y="298"/>
              <a:ext cx="48" cy="1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7"/>
                </a:cxn>
                <a:cxn ang="0">
                  <a:pos x="43" y="130"/>
                </a:cxn>
                <a:cxn ang="0">
                  <a:pos x="48" y="123"/>
                </a:cxn>
                <a:cxn ang="0">
                  <a:pos x="9" y="84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48" h="130">
                  <a:moveTo>
                    <a:pt x="0" y="0"/>
                  </a:moveTo>
                  <a:lnTo>
                    <a:pt x="0" y="87"/>
                  </a:lnTo>
                  <a:lnTo>
                    <a:pt x="43" y="130"/>
                  </a:lnTo>
                  <a:lnTo>
                    <a:pt x="48" y="123"/>
                  </a:lnTo>
                  <a:lnTo>
                    <a:pt x="9" y="84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167" name="Group 15"/>
          <p:cNvGrpSpPr>
            <a:grpSpLocks noChangeAspect="1"/>
          </p:cNvGrpSpPr>
          <p:nvPr/>
        </p:nvGrpSpPr>
        <p:grpSpPr bwMode="auto">
          <a:xfrm>
            <a:off x="1468436" y="276225"/>
            <a:ext cx="768350" cy="768350"/>
            <a:chOff x="918" y="174"/>
            <a:chExt cx="484" cy="484"/>
          </a:xfrm>
        </p:grpSpPr>
        <p:sp>
          <p:nvSpPr>
            <p:cNvPr id="49168" name="Freeform 16"/>
            <p:cNvSpPr>
              <a:spLocks noEditPoints="1"/>
            </p:cNvSpPr>
            <p:nvPr/>
          </p:nvSpPr>
          <p:spPr bwMode="auto">
            <a:xfrm>
              <a:off x="918" y="1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69" name="Freeform 17"/>
            <p:cNvSpPr>
              <a:spLocks/>
            </p:cNvSpPr>
            <p:nvPr/>
          </p:nvSpPr>
          <p:spPr bwMode="auto">
            <a:xfrm>
              <a:off x="1067" y="452"/>
              <a:ext cx="21" cy="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25"/>
                </a:cxn>
                <a:cxn ang="0">
                  <a:pos x="9" y="25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0" y="5"/>
                </a:cxn>
              </a:cxnLst>
              <a:rect l="0" t="0" r="r" b="b"/>
              <a:pathLst>
                <a:path w="9" h="25">
                  <a:moveTo>
                    <a:pt x="0" y="5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4" y="5"/>
                    <a:pt x="0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70" name="Freeform 18"/>
            <p:cNvSpPr>
              <a:spLocks/>
            </p:cNvSpPr>
            <p:nvPr/>
          </p:nvSpPr>
          <p:spPr bwMode="auto">
            <a:xfrm>
              <a:off x="1100" y="452"/>
              <a:ext cx="46" cy="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5"/>
                </a:cxn>
                <a:cxn ang="0">
                  <a:pos x="5" y="25"/>
                </a:cxn>
                <a:cxn ang="0">
                  <a:pos x="10" y="25"/>
                </a:cxn>
                <a:cxn ang="0">
                  <a:pos x="19" y="5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19" h="25">
                  <a:moveTo>
                    <a:pt x="0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5" y="13"/>
                    <a:pt x="5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13"/>
                    <a:pt x="19" y="5"/>
                    <a:pt x="19" y="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71" name="Freeform 19"/>
            <p:cNvSpPr>
              <a:spLocks noEditPoints="1"/>
            </p:cNvSpPr>
            <p:nvPr/>
          </p:nvSpPr>
          <p:spPr bwMode="auto">
            <a:xfrm>
              <a:off x="1033" y="431"/>
              <a:ext cx="149" cy="98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149" y="98"/>
                </a:cxn>
                <a:cxn ang="0">
                  <a:pos x="149" y="0"/>
                </a:cxn>
                <a:cxn ang="0">
                  <a:pos x="0" y="0"/>
                </a:cxn>
                <a:cxn ang="0">
                  <a:pos x="0" y="98"/>
                </a:cxn>
                <a:cxn ang="0">
                  <a:pos x="8" y="9"/>
                </a:cxn>
                <a:cxn ang="0">
                  <a:pos x="139" y="9"/>
                </a:cxn>
                <a:cxn ang="0">
                  <a:pos x="139" y="88"/>
                </a:cxn>
                <a:cxn ang="0">
                  <a:pos x="8" y="88"/>
                </a:cxn>
                <a:cxn ang="0">
                  <a:pos x="8" y="9"/>
                </a:cxn>
              </a:cxnLst>
              <a:rect l="0" t="0" r="r" b="b"/>
              <a:pathLst>
                <a:path w="149" h="98">
                  <a:moveTo>
                    <a:pt x="0" y="98"/>
                  </a:moveTo>
                  <a:lnTo>
                    <a:pt x="149" y="98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98"/>
                  </a:lnTo>
                  <a:close/>
                  <a:moveTo>
                    <a:pt x="8" y="9"/>
                  </a:moveTo>
                  <a:lnTo>
                    <a:pt x="139" y="9"/>
                  </a:lnTo>
                  <a:lnTo>
                    <a:pt x="139" y="88"/>
                  </a:lnTo>
                  <a:lnTo>
                    <a:pt x="8" y="88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72" name="Freeform 20"/>
            <p:cNvSpPr>
              <a:spLocks noEditPoints="1"/>
            </p:cNvSpPr>
            <p:nvPr/>
          </p:nvSpPr>
          <p:spPr bwMode="auto">
            <a:xfrm>
              <a:off x="1014" y="383"/>
              <a:ext cx="187" cy="165"/>
            </a:xfrm>
            <a:custGeom>
              <a:avLst/>
              <a:gdLst/>
              <a:ahLst/>
              <a:cxnLst>
                <a:cxn ang="0">
                  <a:pos x="156" y="0"/>
                </a:cxn>
                <a:cxn ang="0">
                  <a:pos x="149" y="0"/>
                </a:cxn>
                <a:cxn ang="0">
                  <a:pos x="149" y="7"/>
                </a:cxn>
                <a:cxn ang="0">
                  <a:pos x="36" y="7"/>
                </a:cxn>
                <a:cxn ang="0">
                  <a:pos x="36" y="0"/>
                </a:cxn>
                <a:cxn ang="0">
                  <a:pos x="27" y="0"/>
                </a:cxn>
                <a:cxn ang="0">
                  <a:pos x="27" y="7"/>
                </a:cxn>
                <a:cxn ang="0">
                  <a:pos x="0" y="7"/>
                </a:cxn>
                <a:cxn ang="0">
                  <a:pos x="0" y="165"/>
                </a:cxn>
                <a:cxn ang="0">
                  <a:pos x="187" y="165"/>
                </a:cxn>
                <a:cxn ang="0">
                  <a:pos x="187" y="7"/>
                </a:cxn>
                <a:cxn ang="0">
                  <a:pos x="156" y="7"/>
                </a:cxn>
                <a:cxn ang="0">
                  <a:pos x="156" y="0"/>
                </a:cxn>
                <a:cxn ang="0">
                  <a:pos x="178" y="17"/>
                </a:cxn>
                <a:cxn ang="0">
                  <a:pos x="178" y="156"/>
                </a:cxn>
                <a:cxn ang="0">
                  <a:pos x="10" y="156"/>
                </a:cxn>
                <a:cxn ang="0">
                  <a:pos x="10" y="17"/>
                </a:cxn>
                <a:cxn ang="0">
                  <a:pos x="27" y="17"/>
                </a:cxn>
                <a:cxn ang="0">
                  <a:pos x="27" y="29"/>
                </a:cxn>
                <a:cxn ang="0">
                  <a:pos x="36" y="29"/>
                </a:cxn>
                <a:cxn ang="0">
                  <a:pos x="36" y="17"/>
                </a:cxn>
                <a:cxn ang="0">
                  <a:pos x="149" y="17"/>
                </a:cxn>
                <a:cxn ang="0">
                  <a:pos x="149" y="29"/>
                </a:cxn>
                <a:cxn ang="0">
                  <a:pos x="156" y="29"/>
                </a:cxn>
                <a:cxn ang="0">
                  <a:pos x="156" y="17"/>
                </a:cxn>
                <a:cxn ang="0">
                  <a:pos x="178" y="17"/>
                </a:cxn>
              </a:cxnLst>
              <a:rect l="0" t="0" r="r" b="b"/>
              <a:pathLst>
                <a:path w="187" h="165">
                  <a:moveTo>
                    <a:pt x="156" y="0"/>
                  </a:moveTo>
                  <a:lnTo>
                    <a:pt x="149" y="0"/>
                  </a:lnTo>
                  <a:lnTo>
                    <a:pt x="149" y="7"/>
                  </a:lnTo>
                  <a:lnTo>
                    <a:pt x="36" y="7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27" y="7"/>
                  </a:lnTo>
                  <a:lnTo>
                    <a:pt x="0" y="7"/>
                  </a:lnTo>
                  <a:lnTo>
                    <a:pt x="0" y="165"/>
                  </a:lnTo>
                  <a:lnTo>
                    <a:pt x="187" y="165"/>
                  </a:lnTo>
                  <a:lnTo>
                    <a:pt x="187" y="7"/>
                  </a:lnTo>
                  <a:lnTo>
                    <a:pt x="156" y="7"/>
                  </a:lnTo>
                  <a:lnTo>
                    <a:pt x="156" y="0"/>
                  </a:lnTo>
                  <a:close/>
                  <a:moveTo>
                    <a:pt x="178" y="17"/>
                  </a:moveTo>
                  <a:lnTo>
                    <a:pt x="178" y="156"/>
                  </a:lnTo>
                  <a:lnTo>
                    <a:pt x="10" y="156"/>
                  </a:lnTo>
                  <a:lnTo>
                    <a:pt x="10" y="17"/>
                  </a:lnTo>
                  <a:lnTo>
                    <a:pt x="27" y="17"/>
                  </a:lnTo>
                  <a:lnTo>
                    <a:pt x="27" y="29"/>
                  </a:lnTo>
                  <a:lnTo>
                    <a:pt x="36" y="29"/>
                  </a:lnTo>
                  <a:lnTo>
                    <a:pt x="36" y="17"/>
                  </a:lnTo>
                  <a:lnTo>
                    <a:pt x="149" y="17"/>
                  </a:lnTo>
                  <a:lnTo>
                    <a:pt x="149" y="29"/>
                  </a:lnTo>
                  <a:lnTo>
                    <a:pt x="156" y="29"/>
                  </a:lnTo>
                  <a:lnTo>
                    <a:pt x="156" y="17"/>
                  </a:lnTo>
                  <a:lnTo>
                    <a:pt x="178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73" name="Freeform 21"/>
            <p:cNvSpPr>
              <a:spLocks/>
            </p:cNvSpPr>
            <p:nvPr/>
          </p:nvSpPr>
          <p:spPr bwMode="auto">
            <a:xfrm>
              <a:off x="1105" y="268"/>
              <a:ext cx="221" cy="220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46" y="3"/>
                </a:cxn>
                <a:cxn ang="0">
                  <a:pos x="88" y="46"/>
                </a:cxn>
                <a:cxn ang="0">
                  <a:pos x="46" y="88"/>
                </a:cxn>
                <a:cxn ang="0">
                  <a:pos x="46" y="92"/>
                </a:cxn>
                <a:cxn ang="0">
                  <a:pos x="92" y="46"/>
                </a:cxn>
                <a:cxn ang="0">
                  <a:pos x="46" y="0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21" y="0"/>
                    <a:pt x="0" y="20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22"/>
                    <a:pt x="23" y="3"/>
                    <a:pt x="46" y="3"/>
                  </a:cubicBezTo>
                  <a:cubicBezTo>
                    <a:pt x="69" y="3"/>
                    <a:pt x="88" y="22"/>
                    <a:pt x="88" y="46"/>
                  </a:cubicBezTo>
                  <a:cubicBezTo>
                    <a:pt x="88" y="69"/>
                    <a:pt x="69" y="88"/>
                    <a:pt x="46" y="88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71" y="92"/>
                    <a:pt x="92" y="71"/>
                    <a:pt x="92" y="46"/>
                  </a:cubicBezTo>
                  <a:cubicBezTo>
                    <a:pt x="92" y="20"/>
                    <a:pt x="71" y="0"/>
                    <a:pt x="46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74" name="Freeform 22"/>
            <p:cNvSpPr>
              <a:spLocks/>
            </p:cNvSpPr>
            <p:nvPr/>
          </p:nvSpPr>
          <p:spPr bwMode="auto">
            <a:xfrm>
              <a:off x="1211" y="299"/>
              <a:ext cx="48" cy="1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6"/>
                </a:cxn>
                <a:cxn ang="0">
                  <a:pos x="43" y="129"/>
                </a:cxn>
                <a:cxn ang="0">
                  <a:pos x="48" y="122"/>
                </a:cxn>
                <a:cxn ang="0">
                  <a:pos x="9" y="84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48" h="129">
                  <a:moveTo>
                    <a:pt x="0" y="0"/>
                  </a:moveTo>
                  <a:lnTo>
                    <a:pt x="0" y="86"/>
                  </a:lnTo>
                  <a:lnTo>
                    <a:pt x="43" y="129"/>
                  </a:lnTo>
                  <a:lnTo>
                    <a:pt x="48" y="122"/>
                  </a:lnTo>
                  <a:lnTo>
                    <a:pt x="9" y="84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177" name="Group 25"/>
          <p:cNvGrpSpPr>
            <a:grpSpLocks noChangeAspect="1"/>
          </p:cNvGrpSpPr>
          <p:nvPr/>
        </p:nvGrpSpPr>
        <p:grpSpPr bwMode="auto">
          <a:xfrm>
            <a:off x="2530634" y="246063"/>
            <a:ext cx="828675" cy="828675"/>
            <a:chOff x="1588" y="155"/>
            <a:chExt cx="522" cy="522"/>
          </a:xfrm>
        </p:grpSpPr>
        <p:sp>
          <p:nvSpPr>
            <p:cNvPr id="49178" name="Oval 26"/>
            <p:cNvSpPr>
              <a:spLocks noChangeArrowheads="1"/>
            </p:cNvSpPr>
            <p:nvPr/>
          </p:nvSpPr>
          <p:spPr bwMode="auto">
            <a:xfrm>
              <a:off x="1588" y="155"/>
              <a:ext cx="522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79" name="Freeform 27"/>
            <p:cNvSpPr>
              <a:spLocks noEditPoints="1"/>
            </p:cNvSpPr>
            <p:nvPr/>
          </p:nvSpPr>
          <p:spPr bwMode="auto">
            <a:xfrm>
              <a:off x="1607" y="1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0" name="Freeform 28"/>
            <p:cNvSpPr>
              <a:spLocks/>
            </p:cNvSpPr>
            <p:nvPr/>
          </p:nvSpPr>
          <p:spPr bwMode="auto">
            <a:xfrm>
              <a:off x="1767" y="385"/>
              <a:ext cx="46" cy="11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9" y="47"/>
                </a:cxn>
                <a:cxn ang="0">
                  <a:pos x="19" y="47"/>
                </a:cxn>
                <a:cxn ang="0">
                  <a:pos x="19" y="0"/>
                </a:cxn>
                <a:cxn ang="0">
                  <a:pos x="11" y="0"/>
                </a:cxn>
                <a:cxn ang="0">
                  <a:pos x="0" y="9"/>
                </a:cxn>
              </a:cxnLst>
              <a:rect l="0" t="0" r="r" b="b"/>
              <a:pathLst>
                <a:path w="19" h="47">
                  <a:moveTo>
                    <a:pt x="0" y="9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8" y="9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1" name="Freeform 29"/>
            <p:cNvSpPr>
              <a:spLocks/>
            </p:cNvSpPr>
            <p:nvPr/>
          </p:nvSpPr>
          <p:spPr bwMode="auto">
            <a:xfrm>
              <a:off x="1835" y="385"/>
              <a:ext cx="91" cy="1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9" y="8"/>
                </a:cxn>
                <a:cxn ang="0">
                  <a:pos x="10" y="47"/>
                </a:cxn>
                <a:cxn ang="0">
                  <a:pos x="19" y="47"/>
                </a:cxn>
                <a:cxn ang="0">
                  <a:pos x="38" y="9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0" y="8"/>
                </a:cxn>
              </a:cxnLst>
              <a:rect l="0" t="0" r="r" b="b"/>
              <a:pathLst>
                <a:path w="38" h="47">
                  <a:moveTo>
                    <a:pt x="0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10" y="24"/>
                    <a:pt x="10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25"/>
                    <a:pt x="38" y="9"/>
                    <a:pt x="38" y="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2" name="Freeform 30"/>
            <p:cNvSpPr>
              <a:spLocks noEditPoints="1"/>
            </p:cNvSpPr>
            <p:nvPr/>
          </p:nvSpPr>
          <p:spPr bwMode="auto">
            <a:xfrm>
              <a:off x="1717" y="351"/>
              <a:ext cx="259" cy="173"/>
            </a:xfrm>
            <a:custGeom>
              <a:avLst/>
              <a:gdLst/>
              <a:ahLst/>
              <a:cxnLst>
                <a:cxn ang="0">
                  <a:pos x="0" y="173"/>
                </a:cxn>
                <a:cxn ang="0">
                  <a:pos x="259" y="173"/>
                </a:cxn>
                <a:cxn ang="0">
                  <a:pos x="259" y="0"/>
                </a:cxn>
                <a:cxn ang="0">
                  <a:pos x="0" y="0"/>
                </a:cxn>
                <a:cxn ang="0">
                  <a:pos x="0" y="173"/>
                </a:cxn>
                <a:cxn ang="0">
                  <a:pos x="10" y="10"/>
                </a:cxn>
                <a:cxn ang="0">
                  <a:pos x="252" y="10"/>
                </a:cxn>
                <a:cxn ang="0">
                  <a:pos x="252" y="163"/>
                </a:cxn>
                <a:cxn ang="0">
                  <a:pos x="10" y="163"/>
                </a:cxn>
                <a:cxn ang="0">
                  <a:pos x="10" y="10"/>
                </a:cxn>
              </a:cxnLst>
              <a:rect l="0" t="0" r="r" b="b"/>
              <a:pathLst>
                <a:path w="259" h="173">
                  <a:moveTo>
                    <a:pt x="0" y="173"/>
                  </a:moveTo>
                  <a:lnTo>
                    <a:pt x="259" y="173"/>
                  </a:lnTo>
                  <a:lnTo>
                    <a:pt x="259" y="0"/>
                  </a:lnTo>
                  <a:lnTo>
                    <a:pt x="0" y="0"/>
                  </a:lnTo>
                  <a:lnTo>
                    <a:pt x="0" y="173"/>
                  </a:lnTo>
                  <a:close/>
                  <a:moveTo>
                    <a:pt x="10" y="10"/>
                  </a:moveTo>
                  <a:lnTo>
                    <a:pt x="252" y="10"/>
                  </a:lnTo>
                  <a:lnTo>
                    <a:pt x="252" y="163"/>
                  </a:lnTo>
                  <a:lnTo>
                    <a:pt x="10" y="163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3" name="Freeform 31"/>
            <p:cNvSpPr>
              <a:spLocks noEditPoints="1"/>
            </p:cNvSpPr>
            <p:nvPr/>
          </p:nvSpPr>
          <p:spPr bwMode="auto">
            <a:xfrm>
              <a:off x="1695" y="270"/>
              <a:ext cx="305" cy="278"/>
            </a:xfrm>
            <a:custGeom>
              <a:avLst/>
              <a:gdLst/>
              <a:ahLst/>
              <a:cxnLst>
                <a:cxn ang="0">
                  <a:pos x="259" y="0"/>
                </a:cxn>
                <a:cxn ang="0">
                  <a:pos x="226" y="0"/>
                </a:cxn>
                <a:cxn ang="0">
                  <a:pos x="226" y="21"/>
                </a:cxn>
                <a:cxn ang="0">
                  <a:pos x="75" y="21"/>
                </a:cxn>
                <a:cxn ang="0">
                  <a:pos x="75" y="0"/>
                </a:cxn>
                <a:cxn ang="0">
                  <a:pos x="44" y="0"/>
                </a:cxn>
                <a:cxn ang="0">
                  <a:pos x="44" y="21"/>
                </a:cxn>
                <a:cxn ang="0">
                  <a:pos x="0" y="21"/>
                </a:cxn>
                <a:cxn ang="0">
                  <a:pos x="0" y="278"/>
                </a:cxn>
                <a:cxn ang="0">
                  <a:pos x="305" y="278"/>
                </a:cxn>
                <a:cxn ang="0">
                  <a:pos x="305" y="21"/>
                </a:cxn>
                <a:cxn ang="0">
                  <a:pos x="259" y="21"/>
                </a:cxn>
                <a:cxn ang="0">
                  <a:pos x="259" y="0"/>
                </a:cxn>
                <a:cxn ang="0">
                  <a:pos x="236" y="7"/>
                </a:cxn>
                <a:cxn ang="0">
                  <a:pos x="250" y="7"/>
                </a:cxn>
                <a:cxn ang="0">
                  <a:pos x="250" y="48"/>
                </a:cxn>
                <a:cxn ang="0">
                  <a:pos x="236" y="48"/>
                </a:cxn>
                <a:cxn ang="0">
                  <a:pos x="236" y="7"/>
                </a:cxn>
                <a:cxn ang="0">
                  <a:pos x="53" y="7"/>
                </a:cxn>
                <a:cxn ang="0">
                  <a:pos x="68" y="7"/>
                </a:cxn>
                <a:cxn ang="0">
                  <a:pos x="68" y="48"/>
                </a:cxn>
                <a:cxn ang="0">
                  <a:pos x="53" y="48"/>
                </a:cxn>
                <a:cxn ang="0">
                  <a:pos x="53" y="7"/>
                </a:cxn>
                <a:cxn ang="0">
                  <a:pos x="295" y="31"/>
                </a:cxn>
                <a:cxn ang="0">
                  <a:pos x="295" y="271"/>
                </a:cxn>
                <a:cxn ang="0">
                  <a:pos x="8" y="271"/>
                </a:cxn>
                <a:cxn ang="0">
                  <a:pos x="8" y="31"/>
                </a:cxn>
                <a:cxn ang="0">
                  <a:pos x="44" y="31"/>
                </a:cxn>
                <a:cxn ang="0">
                  <a:pos x="44" y="57"/>
                </a:cxn>
                <a:cxn ang="0">
                  <a:pos x="75" y="57"/>
                </a:cxn>
                <a:cxn ang="0">
                  <a:pos x="75" y="31"/>
                </a:cxn>
                <a:cxn ang="0">
                  <a:pos x="226" y="31"/>
                </a:cxn>
                <a:cxn ang="0">
                  <a:pos x="226" y="57"/>
                </a:cxn>
                <a:cxn ang="0">
                  <a:pos x="259" y="57"/>
                </a:cxn>
                <a:cxn ang="0">
                  <a:pos x="259" y="31"/>
                </a:cxn>
                <a:cxn ang="0">
                  <a:pos x="295" y="31"/>
                </a:cxn>
              </a:cxnLst>
              <a:rect l="0" t="0" r="r" b="b"/>
              <a:pathLst>
                <a:path w="305" h="278">
                  <a:moveTo>
                    <a:pt x="259" y="0"/>
                  </a:moveTo>
                  <a:lnTo>
                    <a:pt x="226" y="0"/>
                  </a:lnTo>
                  <a:lnTo>
                    <a:pt x="226" y="21"/>
                  </a:lnTo>
                  <a:lnTo>
                    <a:pt x="75" y="21"/>
                  </a:lnTo>
                  <a:lnTo>
                    <a:pt x="75" y="0"/>
                  </a:lnTo>
                  <a:lnTo>
                    <a:pt x="44" y="0"/>
                  </a:lnTo>
                  <a:lnTo>
                    <a:pt x="44" y="21"/>
                  </a:lnTo>
                  <a:lnTo>
                    <a:pt x="0" y="21"/>
                  </a:lnTo>
                  <a:lnTo>
                    <a:pt x="0" y="278"/>
                  </a:lnTo>
                  <a:lnTo>
                    <a:pt x="305" y="278"/>
                  </a:lnTo>
                  <a:lnTo>
                    <a:pt x="305" y="21"/>
                  </a:lnTo>
                  <a:lnTo>
                    <a:pt x="259" y="21"/>
                  </a:lnTo>
                  <a:lnTo>
                    <a:pt x="259" y="0"/>
                  </a:lnTo>
                  <a:close/>
                  <a:moveTo>
                    <a:pt x="236" y="7"/>
                  </a:moveTo>
                  <a:lnTo>
                    <a:pt x="250" y="7"/>
                  </a:lnTo>
                  <a:lnTo>
                    <a:pt x="250" y="48"/>
                  </a:lnTo>
                  <a:lnTo>
                    <a:pt x="236" y="48"/>
                  </a:lnTo>
                  <a:lnTo>
                    <a:pt x="236" y="7"/>
                  </a:lnTo>
                  <a:close/>
                  <a:moveTo>
                    <a:pt x="53" y="7"/>
                  </a:moveTo>
                  <a:lnTo>
                    <a:pt x="68" y="7"/>
                  </a:lnTo>
                  <a:lnTo>
                    <a:pt x="68" y="48"/>
                  </a:lnTo>
                  <a:lnTo>
                    <a:pt x="53" y="48"/>
                  </a:lnTo>
                  <a:lnTo>
                    <a:pt x="53" y="7"/>
                  </a:lnTo>
                  <a:close/>
                  <a:moveTo>
                    <a:pt x="295" y="31"/>
                  </a:moveTo>
                  <a:lnTo>
                    <a:pt x="295" y="271"/>
                  </a:lnTo>
                  <a:lnTo>
                    <a:pt x="8" y="271"/>
                  </a:lnTo>
                  <a:lnTo>
                    <a:pt x="8" y="31"/>
                  </a:lnTo>
                  <a:lnTo>
                    <a:pt x="44" y="31"/>
                  </a:lnTo>
                  <a:lnTo>
                    <a:pt x="44" y="57"/>
                  </a:lnTo>
                  <a:lnTo>
                    <a:pt x="75" y="57"/>
                  </a:lnTo>
                  <a:lnTo>
                    <a:pt x="75" y="31"/>
                  </a:lnTo>
                  <a:lnTo>
                    <a:pt x="226" y="31"/>
                  </a:lnTo>
                  <a:lnTo>
                    <a:pt x="226" y="57"/>
                  </a:lnTo>
                  <a:lnTo>
                    <a:pt x="259" y="57"/>
                  </a:lnTo>
                  <a:lnTo>
                    <a:pt x="259" y="31"/>
                  </a:lnTo>
                  <a:lnTo>
                    <a:pt x="295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186" name="Group 34"/>
          <p:cNvGrpSpPr>
            <a:grpSpLocks noChangeAspect="1"/>
          </p:cNvGrpSpPr>
          <p:nvPr/>
        </p:nvGrpSpPr>
        <p:grpSpPr bwMode="auto">
          <a:xfrm>
            <a:off x="3664746" y="276225"/>
            <a:ext cx="768350" cy="768350"/>
            <a:chOff x="2295" y="174"/>
            <a:chExt cx="484" cy="484"/>
          </a:xfrm>
        </p:grpSpPr>
        <p:sp>
          <p:nvSpPr>
            <p:cNvPr id="49187" name="Freeform 35"/>
            <p:cNvSpPr>
              <a:spLocks noEditPoints="1"/>
            </p:cNvSpPr>
            <p:nvPr/>
          </p:nvSpPr>
          <p:spPr bwMode="auto">
            <a:xfrm>
              <a:off x="2295" y="1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8" name="Freeform 36"/>
            <p:cNvSpPr>
              <a:spLocks/>
            </p:cNvSpPr>
            <p:nvPr/>
          </p:nvSpPr>
          <p:spPr bwMode="auto">
            <a:xfrm>
              <a:off x="2456" y="385"/>
              <a:ext cx="45" cy="11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9" y="47"/>
                </a:cxn>
                <a:cxn ang="0">
                  <a:pos x="19" y="47"/>
                </a:cxn>
                <a:cxn ang="0">
                  <a:pos x="19" y="0"/>
                </a:cxn>
                <a:cxn ang="0">
                  <a:pos x="11" y="0"/>
                </a:cxn>
                <a:cxn ang="0">
                  <a:pos x="0" y="9"/>
                </a:cxn>
              </a:cxnLst>
              <a:rect l="0" t="0" r="r" b="b"/>
              <a:pathLst>
                <a:path w="19" h="47">
                  <a:moveTo>
                    <a:pt x="0" y="9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8" y="9"/>
                    <a:pt x="0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89" name="Freeform 37"/>
            <p:cNvSpPr>
              <a:spLocks/>
            </p:cNvSpPr>
            <p:nvPr/>
          </p:nvSpPr>
          <p:spPr bwMode="auto">
            <a:xfrm>
              <a:off x="2523" y="385"/>
              <a:ext cx="91" cy="1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9" y="8"/>
                </a:cxn>
                <a:cxn ang="0">
                  <a:pos x="10" y="47"/>
                </a:cxn>
                <a:cxn ang="0">
                  <a:pos x="19" y="47"/>
                </a:cxn>
                <a:cxn ang="0">
                  <a:pos x="38" y="9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0" y="8"/>
                </a:cxn>
              </a:cxnLst>
              <a:rect l="0" t="0" r="r" b="b"/>
              <a:pathLst>
                <a:path w="38" h="47">
                  <a:moveTo>
                    <a:pt x="0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10" y="24"/>
                    <a:pt x="10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25"/>
                    <a:pt x="38" y="9"/>
                    <a:pt x="38" y="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90" name="Freeform 38"/>
            <p:cNvSpPr>
              <a:spLocks noEditPoints="1"/>
            </p:cNvSpPr>
            <p:nvPr/>
          </p:nvSpPr>
          <p:spPr bwMode="auto">
            <a:xfrm>
              <a:off x="2406" y="352"/>
              <a:ext cx="258" cy="172"/>
            </a:xfrm>
            <a:custGeom>
              <a:avLst/>
              <a:gdLst/>
              <a:ahLst/>
              <a:cxnLst>
                <a:cxn ang="0">
                  <a:pos x="0" y="172"/>
                </a:cxn>
                <a:cxn ang="0">
                  <a:pos x="258" y="172"/>
                </a:cxn>
                <a:cxn ang="0">
                  <a:pos x="258" y="0"/>
                </a:cxn>
                <a:cxn ang="0">
                  <a:pos x="0" y="0"/>
                </a:cxn>
                <a:cxn ang="0">
                  <a:pos x="0" y="172"/>
                </a:cxn>
                <a:cxn ang="0">
                  <a:pos x="9" y="9"/>
                </a:cxn>
                <a:cxn ang="0">
                  <a:pos x="251" y="9"/>
                </a:cxn>
                <a:cxn ang="0">
                  <a:pos x="251" y="163"/>
                </a:cxn>
                <a:cxn ang="0">
                  <a:pos x="9" y="163"/>
                </a:cxn>
                <a:cxn ang="0">
                  <a:pos x="9" y="9"/>
                </a:cxn>
              </a:cxnLst>
              <a:rect l="0" t="0" r="r" b="b"/>
              <a:pathLst>
                <a:path w="258" h="172">
                  <a:moveTo>
                    <a:pt x="0" y="172"/>
                  </a:moveTo>
                  <a:lnTo>
                    <a:pt x="258" y="172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72"/>
                  </a:lnTo>
                  <a:close/>
                  <a:moveTo>
                    <a:pt x="9" y="9"/>
                  </a:moveTo>
                  <a:lnTo>
                    <a:pt x="251" y="9"/>
                  </a:lnTo>
                  <a:lnTo>
                    <a:pt x="251" y="163"/>
                  </a:lnTo>
                  <a:lnTo>
                    <a:pt x="9" y="163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91" name="Freeform 39"/>
            <p:cNvSpPr>
              <a:spLocks noEditPoints="1"/>
            </p:cNvSpPr>
            <p:nvPr/>
          </p:nvSpPr>
          <p:spPr bwMode="auto">
            <a:xfrm>
              <a:off x="2384" y="270"/>
              <a:ext cx="304" cy="278"/>
            </a:xfrm>
            <a:custGeom>
              <a:avLst/>
              <a:gdLst/>
              <a:ahLst/>
              <a:cxnLst>
                <a:cxn ang="0">
                  <a:pos x="259" y="0"/>
                </a:cxn>
                <a:cxn ang="0">
                  <a:pos x="225" y="0"/>
                </a:cxn>
                <a:cxn ang="0">
                  <a:pos x="225" y="22"/>
                </a:cxn>
                <a:cxn ang="0">
                  <a:pos x="74" y="22"/>
                </a:cxn>
                <a:cxn ang="0">
                  <a:pos x="74" y="0"/>
                </a:cxn>
                <a:cxn ang="0">
                  <a:pos x="43" y="0"/>
                </a:cxn>
                <a:cxn ang="0">
                  <a:pos x="43" y="22"/>
                </a:cxn>
                <a:cxn ang="0">
                  <a:pos x="0" y="22"/>
                </a:cxn>
                <a:cxn ang="0">
                  <a:pos x="0" y="278"/>
                </a:cxn>
                <a:cxn ang="0">
                  <a:pos x="304" y="278"/>
                </a:cxn>
                <a:cxn ang="0">
                  <a:pos x="304" y="22"/>
                </a:cxn>
                <a:cxn ang="0">
                  <a:pos x="259" y="22"/>
                </a:cxn>
                <a:cxn ang="0">
                  <a:pos x="259" y="0"/>
                </a:cxn>
                <a:cxn ang="0">
                  <a:pos x="235" y="7"/>
                </a:cxn>
                <a:cxn ang="0">
                  <a:pos x="249" y="7"/>
                </a:cxn>
                <a:cxn ang="0">
                  <a:pos x="249" y="48"/>
                </a:cxn>
                <a:cxn ang="0">
                  <a:pos x="235" y="48"/>
                </a:cxn>
                <a:cxn ang="0">
                  <a:pos x="235" y="7"/>
                </a:cxn>
                <a:cxn ang="0">
                  <a:pos x="53" y="7"/>
                </a:cxn>
                <a:cxn ang="0">
                  <a:pos x="67" y="7"/>
                </a:cxn>
                <a:cxn ang="0">
                  <a:pos x="67" y="48"/>
                </a:cxn>
                <a:cxn ang="0">
                  <a:pos x="53" y="48"/>
                </a:cxn>
                <a:cxn ang="0">
                  <a:pos x="53" y="7"/>
                </a:cxn>
                <a:cxn ang="0">
                  <a:pos x="295" y="31"/>
                </a:cxn>
                <a:cxn ang="0">
                  <a:pos x="295" y="271"/>
                </a:cxn>
                <a:cxn ang="0">
                  <a:pos x="7" y="271"/>
                </a:cxn>
                <a:cxn ang="0">
                  <a:pos x="7" y="31"/>
                </a:cxn>
                <a:cxn ang="0">
                  <a:pos x="43" y="31"/>
                </a:cxn>
                <a:cxn ang="0">
                  <a:pos x="43" y="58"/>
                </a:cxn>
                <a:cxn ang="0">
                  <a:pos x="74" y="58"/>
                </a:cxn>
                <a:cxn ang="0">
                  <a:pos x="74" y="31"/>
                </a:cxn>
                <a:cxn ang="0">
                  <a:pos x="225" y="31"/>
                </a:cxn>
                <a:cxn ang="0">
                  <a:pos x="225" y="58"/>
                </a:cxn>
                <a:cxn ang="0">
                  <a:pos x="259" y="58"/>
                </a:cxn>
                <a:cxn ang="0">
                  <a:pos x="259" y="31"/>
                </a:cxn>
                <a:cxn ang="0">
                  <a:pos x="295" y="31"/>
                </a:cxn>
              </a:cxnLst>
              <a:rect l="0" t="0" r="r" b="b"/>
              <a:pathLst>
                <a:path w="304" h="278">
                  <a:moveTo>
                    <a:pt x="259" y="0"/>
                  </a:moveTo>
                  <a:lnTo>
                    <a:pt x="225" y="0"/>
                  </a:lnTo>
                  <a:lnTo>
                    <a:pt x="225" y="22"/>
                  </a:lnTo>
                  <a:lnTo>
                    <a:pt x="74" y="22"/>
                  </a:lnTo>
                  <a:lnTo>
                    <a:pt x="74" y="0"/>
                  </a:lnTo>
                  <a:lnTo>
                    <a:pt x="43" y="0"/>
                  </a:lnTo>
                  <a:lnTo>
                    <a:pt x="43" y="22"/>
                  </a:lnTo>
                  <a:lnTo>
                    <a:pt x="0" y="22"/>
                  </a:lnTo>
                  <a:lnTo>
                    <a:pt x="0" y="278"/>
                  </a:lnTo>
                  <a:lnTo>
                    <a:pt x="304" y="278"/>
                  </a:lnTo>
                  <a:lnTo>
                    <a:pt x="304" y="22"/>
                  </a:lnTo>
                  <a:lnTo>
                    <a:pt x="259" y="22"/>
                  </a:lnTo>
                  <a:lnTo>
                    <a:pt x="259" y="0"/>
                  </a:lnTo>
                  <a:close/>
                  <a:moveTo>
                    <a:pt x="235" y="7"/>
                  </a:moveTo>
                  <a:lnTo>
                    <a:pt x="249" y="7"/>
                  </a:lnTo>
                  <a:lnTo>
                    <a:pt x="249" y="48"/>
                  </a:lnTo>
                  <a:lnTo>
                    <a:pt x="235" y="48"/>
                  </a:lnTo>
                  <a:lnTo>
                    <a:pt x="235" y="7"/>
                  </a:lnTo>
                  <a:close/>
                  <a:moveTo>
                    <a:pt x="53" y="7"/>
                  </a:moveTo>
                  <a:lnTo>
                    <a:pt x="67" y="7"/>
                  </a:lnTo>
                  <a:lnTo>
                    <a:pt x="67" y="48"/>
                  </a:lnTo>
                  <a:lnTo>
                    <a:pt x="53" y="48"/>
                  </a:lnTo>
                  <a:lnTo>
                    <a:pt x="53" y="7"/>
                  </a:lnTo>
                  <a:close/>
                  <a:moveTo>
                    <a:pt x="295" y="31"/>
                  </a:moveTo>
                  <a:lnTo>
                    <a:pt x="295" y="271"/>
                  </a:lnTo>
                  <a:lnTo>
                    <a:pt x="7" y="271"/>
                  </a:lnTo>
                  <a:lnTo>
                    <a:pt x="7" y="31"/>
                  </a:lnTo>
                  <a:lnTo>
                    <a:pt x="43" y="31"/>
                  </a:lnTo>
                  <a:lnTo>
                    <a:pt x="43" y="58"/>
                  </a:lnTo>
                  <a:lnTo>
                    <a:pt x="74" y="58"/>
                  </a:lnTo>
                  <a:lnTo>
                    <a:pt x="74" y="31"/>
                  </a:lnTo>
                  <a:lnTo>
                    <a:pt x="225" y="31"/>
                  </a:lnTo>
                  <a:lnTo>
                    <a:pt x="225" y="58"/>
                  </a:lnTo>
                  <a:lnTo>
                    <a:pt x="259" y="58"/>
                  </a:lnTo>
                  <a:lnTo>
                    <a:pt x="259" y="31"/>
                  </a:lnTo>
                  <a:lnTo>
                    <a:pt x="295" y="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194" name="Group 42"/>
          <p:cNvGrpSpPr>
            <a:grpSpLocks noChangeAspect="1"/>
          </p:cNvGrpSpPr>
          <p:nvPr/>
        </p:nvGrpSpPr>
        <p:grpSpPr bwMode="auto">
          <a:xfrm>
            <a:off x="4717257" y="241300"/>
            <a:ext cx="842963" cy="841375"/>
            <a:chOff x="2968" y="152"/>
            <a:chExt cx="531" cy="530"/>
          </a:xfrm>
        </p:grpSpPr>
        <p:sp>
          <p:nvSpPr>
            <p:cNvPr id="49195" name="Oval 43"/>
            <p:cNvSpPr>
              <a:spLocks noChangeArrowheads="1"/>
            </p:cNvSpPr>
            <p:nvPr/>
          </p:nvSpPr>
          <p:spPr bwMode="auto">
            <a:xfrm>
              <a:off x="2968" y="152"/>
              <a:ext cx="531" cy="53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96" name="Freeform 44"/>
            <p:cNvSpPr>
              <a:spLocks noEditPoints="1"/>
            </p:cNvSpPr>
            <p:nvPr/>
          </p:nvSpPr>
          <p:spPr bwMode="auto">
            <a:xfrm>
              <a:off x="3233" y="171"/>
              <a:ext cx="1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97" name="Freeform 45"/>
            <p:cNvSpPr>
              <a:spLocks noEditPoints="1"/>
            </p:cNvSpPr>
            <p:nvPr/>
          </p:nvSpPr>
          <p:spPr bwMode="auto">
            <a:xfrm>
              <a:off x="3233" y="171"/>
              <a:ext cx="1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moveTo>
                    <a:pt x="0" y="12"/>
                  </a:moveTo>
                  <a:lnTo>
                    <a:pt x="0" y="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98" name="Freeform 46"/>
            <p:cNvSpPr>
              <a:spLocks noEditPoints="1"/>
            </p:cNvSpPr>
            <p:nvPr/>
          </p:nvSpPr>
          <p:spPr bwMode="auto">
            <a:xfrm>
              <a:off x="2987" y="169"/>
              <a:ext cx="493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99" name="Rectangle 47"/>
            <p:cNvSpPr>
              <a:spLocks noChangeArrowheads="1"/>
            </p:cNvSpPr>
            <p:nvPr/>
          </p:nvSpPr>
          <p:spPr bwMode="auto">
            <a:xfrm>
              <a:off x="3200" y="426"/>
              <a:ext cx="12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0" name="Rectangle 48"/>
            <p:cNvSpPr>
              <a:spLocks noChangeArrowheads="1"/>
            </p:cNvSpPr>
            <p:nvPr/>
          </p:nvSpPr>
          <p:spPr bwMode="auto">
            <a:xfrm>
              <a:off x="3257" y="462"/>
              <a:ext cx="10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1" name="Rectangle 49"/>
            <p:cNvSpPr>
              <a:spLocks noChangeArrowheads="1"/>
            </p:cNvSpPr>
            <p:nvPr/>
          </p:nvSpPr>
          <p:spPr bwMode="auto">
            <a:xfrm>
              <a:off x="3229" y="462"/>
              <a:ext cx="12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2" name="Rectangle 50"/>
            <p:cNvSpPr>
              <a:spLocks noChangeArrowheads="1"/>
            </p:cNvSpPr>
            <p:nvPr/>
          </p:nvSpPr>
          <p:spPr bwMode="auto">
            <a:xfrm>
              <a:off x="3200" y="462"/>
              <a:ext cx="12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3" name="Rectangle 51"/>
            <p:cNvSpPr>
              <a:spLocks noChangeArrowheads="1"/>
            </p:cNvSpPr>
            <p:nvPr/>
          </p:nvSpPr>
          <p:spPr bwMode="auto">
            <a:xfrm>
              <a:off x="3257" y="426"/>
              <a:ext cx="10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4" name="Rectangle 52"/>
            <p:cNvSpPr>
              <a:spLocks noChangeArrowheads="1"/>
            </p:cNvSpPr>
            <p:nvPr/>
          </p:nvSpPr>
          <p:spPr bwMode="auto">
            <a:xfrm>
              <a:off x="3229" y="426"/>
              <a:ext cx="12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5" name="Rectangle 53"/>
            <p:cNvSpPr>
              <a:spLocks noChangeArrowheads="1"/>
            </p:cNvSpPr>
            <p:nvPr/>
          </p:nvSpPr>
          <p:spPr bwMode="auto">
            <a:xfrm>
              <a:off x="3107" y="426"/>
              <a:ext cx="9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6" name="Rectangle 54"/>
            <p:cNvSpPr>
              <a:spLocks noChangeArrowheads="1"/>
            </p:cNvSpPr>
            <p:nvPr/>
          </p:nvSpPr>
          <p:spPr bwMode="auto">
            <a:xfrm>
              <a:off x="3162" y="426"/>
              <a:ext cx="9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7" name="Rectangle 55"/>
            <p:cNvSpPr>
              <a:spLocks noChangeArrowheads="1"/>
            </p:cNvSpPr>
            <p:nvPr/>
          </p:nvSpPr>
          <p:spPr bwMode="auto">
            <a:xfrm>
              <a:off x="3135" y="426"/>
              <a:ext cx="10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8" name="Rectangle 56"/>
            <p:cNvSpPr>
              <a:spLocks noChangeArrowheads="1"/>
            </p:cNvSpPr>
            <p:nvPr/>
          </p:nvSpPr>
          <p:spPr bwMode="auto">
            <a:xfrm>
              <a:off x="3107" y="387"/>
              <a:ext cx="12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09" name="Rectangle 57"/>
            <p:cNvSpPr>
              <a:spLocks noChangeArrowheads="1"/>
            </p:cNvSpPr>
            <p:nvPr/>
          </p:nvSpPr>
          <p:spPr bwMode="auto">
            <a:xfrm>
              <a:off x="3162" y="387"/>
              <a:ext cx="12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0" name="Rectangle 58"/>
            <p:cNvSpPr>
              <a:spLocks noChangeArrowheads="1"/>
            </p:cNvSpPr>
            <p:nvPr/>
          </p:nvSpPr>
          <p:spPr bwMode="auto">
            <a:xfrm>
              <a:off x="3135" y="387"/>
              <a:ext cx="12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1" name="Freeform 59"/>
            <p:cNvSpPr>
              <a:spLocks noEditPoints="1"/>
            </p:cNvSpPr>
            <p:nvPr/>
          </p:nvSpPr>
          <p:spPr bwMode="auto">
            <a:xfrm>
              <a:off x="3083" y="325"/>
              <a:ext cx="294" cy="177"/>
            </a:xfrm>
            <a:custGeom>
              <a:avLst/>
              <a:gdLst/>
              <a:ahLst/>
              <a:cxnLst>
                <a:cxn ang="0">
                  <a:pos x="215" y="43"/>
                </a:cxn>
                <a:cxn ang="0">
                  <a:pos x="174" y="43"/>
                </a:cxn>
                <a:cxn ang="0">
                  <a:pos x="174" y="79"/>
                </a:cxn>
                <a:cxn ang="0">
                  <a:pos x="119" y="79"/>
                </a:cxn>
                <a:cxn ang="0">
                  <a:pos x="103" y="38"/>
                </a:cxn>
                <a:cxn ang="0">
                  <a:pos x="0" y="38"/>
                </a:cxn>
                <a:cxn ang="0">
                  <a:pos x="0" y="177"/>
                </a:cxn>
                <a:cxn ang="0">
                  <a:pos x="201" y="177"/>
                </a:cxn>
                <a:cxn ang="0">
                  <a:pos x="205" y="177"/>
                </a:cxn>
                <a:cxn ang="0">
                  <a:pos x="294" y="177"/>
                </a:cxn>
                <a:cxn ang="0">
                  <a:pos x="294" y="0"/>
                </a:cxn>
                <a:cxn ang="0">
                  <a:pos x="215" y="0"/>
                </a:cxn>
                <a:cxn ang="0">
                  <a:pos x="215" y="43"/>
                </a:cxn>
                <a:cxn ang="0">
                  <a:pos x="74" y="168"/>
                </a:cxn>
                <a:cxn ang="0">
                  <a:pos x="62" y="168"/>
                </a:cxn>
                <a:cxn ang="0">
                  <a:pos x="62" y="141"/>
                </a:cxn>
                <a:cxn ang="0">
                  <a:pos x="74" y="141"/>
                </a:cxn>
                <a:cxn ang="0">
                  <a:pos x="74" y="168"/>
                </a:cxn>
                <a:cxn ang="0">
                  <a:pos x="52" y="168"/>
                </a:cxn>
                <a:cxn ang="0">
                  <a:pos x="38" y="168"/>
                </a:cxn>
                <a:cxn ang="0">
                  <a:pos x="38" y="141"/>
                </a:cxn>
                <a:cxn ang="0">
                  <a:pos x="52" y="141"/>
                </a:cxn>
                <a:cxn ang="0">
                  <a:pos x="52" y="168"/>
                </a:cxn>
                <a:cxn ang="0">
                  <a:pos x="198" y="168"/>
                </a:cxn>
                <a:cxn ang="0">
                  <a:pos x="83" y="168"/>
                </a:cxn>
                <a:cxn ang="0">
                  <a:pos x="83" y="132"/>
                </a:cxn>
                <a:cxn ang="0">
                  <a:pos x="28" y="132"/>
                </a:cxn>
                <a:cxn ang="0">
                  <a:pos x="28" y="168"/>
                </a:cxn>
                <a:cxn ang="0">
                  <a:pos x="9" y="168"/>
                </a:cxn>
                <a:cxn ang="0">
                  <a:pos x="9" y="45"/>
                </a:cxn>
                <a:cxn ang="0">
                  <a:pos x="98" y="45"/>
                </a:cxn>
                <a:cxn ang="0">
                  <a:pos x="112" y="89"/>
                </a:cxn>
                <a:cxn ang="0">
                  <a:pos x="198" y="89"/>
                </a:cxn>
                <a:cxn ang="0">
                  <a:pos x="198" y="168"/>
                </a:cxn>
                <a:cxn ang="0">
                  <a:pos x="225" y="9"/>
                </a:cxn>
                <a:cxn ang="0">
                  <a:pos x="287" y="9"/>
                </a:cxn>
                <a:cxn ang="0">
                  <a:pos x="287" y="168"/>
                </a:cxn>
                <a:cxn ang="0">
                  <a:pos x="205" y="168"/>
                </a:cxn>
                <a:cxn ang="0">
                  <a:pos x="205" y="79"/>
                </a:cxn>
                <a:cxn ang="0">
                  <a:pos x="184" y="79"/>
                </a:cxn>
                <a:cxn ang="0">
                  <a:pos x="184" y="53"/>
                </a:cxn>
                <a:cxn ang="0">
                  <a:pos x="225" y="53"/>
                </a:cxn>
                <a:cxn ang="0">
                  <a:pos x="225" y="9"/>
                </a:cxn>
              </a:cxnLst>
              <a:rect l="0" t="0" r="r" b="b"/>
              <a:pathLst>
                <a:path w="294" h="177">
                  <a:moveTo>
                    <a:pt x="215" y="43"/>
                  </a:moveTo>
                  <a:lnTo>
                    <a:pt x="174" y="43"/>
                  </a:lnTo>
                  <a:lnTo>
                    <a:pt x="174" y="79"/>
                  </a:lnTo>
                  <a:lnTo>
                    <a:pt x="119" y="79"/>
                  </a:lnTo>
                  <a:lnTo>
                    <a:pt x="103" y="38"/>
                  </a:lnTo>
                  <a:lnTo>
                    <a:pt x="0" y="38"/>
                  </a:lnTo>
                  <a:lnTo>
                    <a:pt x="0" y="177"/>
                  </a:lnTo>
                  <a:lnTo>
                    <a:pt x="201" y="177"/>
                  </a:lnTo>
                  <a:lnTo>
                    <a:pt x="205" y="177"/>
                  </a:lnTo>
                  <a:lnTo>
                    <a:pt x="294" y="177"/>
                  </a:lnTo>
                  <a:lnTo>
                    <a:pt x="294" y="0"/>
                  </a:lnTo>
                  <a:lnTo>
                    <a:pt x="215" y="0"/>
                  </a:lnTo>
                  <a:lnTo>
                    <a:pt x="215" y="43"/>
                  </a:lnTo>
                  <a:close/>
                  <a:moveTo>
                    <a:pt x="74" y="168"/>
                  </a:moveTo>
                  <a:lnTo>
                    <a:pt x="62" y="168"/>
                  </a:lnTo>
                  <a:lnTo>
                    <a:pt x="62" y="141"/>
                  </a:lnTo>
                  <a:lnTo>
                    <a:pt x="74" y="141"/>
                  </a:lnTo>
                  <a:lnTo>
                    <a:pt x="74" y="168"/>
                  </a:lnTo>
                  <a:close/>
                  <a:moveTo>
                    <a:pt x="52" y="168"/>
                  </a:moveTo>
                  <a:lnTo>
                    <a:pt x="38" y="168"/>
                  </a:lnTo>
                  <a:lnTo>
                    <a:pt x="38" y="141"/>
                  </a:lnTo>
                  <a:lnTo>
                    <a:pt x="52" y="141"/>
                  </a:lnTo>
                  <a:lnTo>
                    <a:pt x="52" y="168"/>
                  </a:lnTo>
                  <a:close/>
                  <a:moveTo>
                    <a:pt x="198" y="168"/>
                  </a:moveTo>
                  <a:lnTo>
                    <a:pt x="83" y="168"/>
                  </a:lnTo>
                  <a:lnTo>
                    <a:pt x="83" y="132"/>
                  </a:lnTo>
                  <a:lnTo>
                    <a:pt x="28" y="132"/>
                  </a:lnTo>
                  <a:lnTo>
                    <a:pt x="28" y="168"/>
                  </a:lnTo>
                  <a:lnTo>
                    <a:pt x="9" y="168"/>
                  </a:lnTo>
                  <a:lnTo>
                    <a:pt x="9" y="45"/>
                  </a:lnTo>
                  <a:lnTo>
                    <a:pt x="98" y="45"/>
                  </a:lnTo>
                  <a:lnTo>
                    <a:pt x="112" y="89"/>
                  </a:lnTo>
                  <a:lnTo>
                    <a:pt x="198" y="89"/>
                  </a:lnTo>
                  <a:lnTo>
                    <a:pt x="198" y="168"/>
                  </a:lnTo>
                  <a:close/>
                  <a:moveTo>
                    <a:pt x="225" y="9"/>
                  </a:moveTo>
                  <a:lnTo>
                    <a:pt x="287" y="9"/>
                  </a:lnTo>
                  <a:lnTo>
                    <a:pt x="287" y="168"/>
                  </a:lnTo>
                  <a:lnTo>
                    <a:pt x="205" y="168"/>
                  </a:lnTo>
                  <a:lnTo>
                    <a:pt x="205" y="79"/>
                  </a:lnTo>
                  <a:lnTo>
                    <a:pt x="184" y="79"/>
                  </a:lnTo>
                  <a:lnTo>
                    <a:pt x="184" y="53"/>
                  </a:lnTo>
                  <a:lnTo>
                    <a:pt x="225" y="53"/>
                  </a:lnTo>
                  <a:lnTo>
                    <a:pt x="225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2" name="Rectangle 60"/>
            <p:cNvSpPr>
              <a:spLocks noChangeArrowheads="1"/>
            </p:cNvSpPr>
            <p:nvPr/>
          </p:nvSpPr>
          <p:spPr bwMode="auto">
            <a:xfrm>
              <a:off x="3346" y="382"/>
              <a:ext cx="9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3" name="Rectangle 61"/>
            <p:cNvSpPr>
              <a:spLocks noChangeArrowheads="1"/>
            </p:cNvSpPr>
            <p:nvPr/>
          </p:nvSpPr>
          <p:spPr bwMode="auto">
            <a:xfrm>
              <a:off x="3317" y="382"/>
              <a:ext cx="12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4" name="Rectangle 62"/>
            <p:cNvSpPr>
              <a:spLocks noChangeArrowheads="1"/>
            </p:cNvSpPr>
            <p:nvPr/>
          </p:nvSpPr>
          <p:spPr bwMode="auto">
            <a:xfrm>
              <a:off x="3346" y="346"/>
              <a:ext cx="9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5" name="Rectangle 63"/>
            <p:cNvSpPr>
              <a:spLocks noChangeArrowheads="1"/>
            </p:cNvSpPr>
            <p:nvPr/>
          </p:nvSpPr>
          <p:spPr bwMode="auto">
            <a:xfrm>
              <a:off x="3317" y="346"/>
              <a:ext cx="12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6" name="Rectangle 64"/>
            <p:cNvSpPr>
              <a:spLocks noChangeArrowheads="1"/>
            </p:cNvSpPr>
            <p:nvPr/>
          </p:nvSpPr>
          <p:spPr bwMode="auto">
            <a:xfrm>
              <a:off x="3346" y="457"/>
              <a:ext cx="9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7" name="Rectangle 65"/>
            <p:cNvSpPr>
              <a:spLocks noChangeArrowheads="1"/>
            </p:cNvSpPr>
            <p:nvPr/>
          </p:nvSpPr>
          <p:spPr bwMode="auto">
            <a:xfrm>
              <a:off x="3317" y="457"/>
              <a:ext cx="12" cy="2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8" name="Rectangle 66"/>
            <p:cNvSpPr>
              <a:spLocks noChangeArrowheads="1"/>
            </p:cNvSpPr>
            <p:nvPr/>
          </p:nvSpPr>
          <p:spPr bwMode="auto">
            <a:xfrm>
              <a:off x="3346" y="423"/>
              <a:ext cx="9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19" name="Rectangle 67"/>
            <p:cNvSpPr>
              <a:spLocks noChangeArrowheads="1"/>
            </p:cNvSpPr>
            <p:nvPr/>
          </p:nvSpPr>
          <p:spPr bwMode="auto">
            <a:xfrm>
              <a:off x="3317" y="423"/>
              <a:ext cx="12" cy="2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222" name="Group 70"/>
          <p:cNvGrpSpPr>
            <a:grpSpLocks noChangeAspect="1"/>
          </p:cNvGrpSpPr>
          <p:nvPr/>
        </p:nvGrpSpPr>
        <p:grpSpPr bwMode="auto">
          <a:xfrm>
            <a:off x="5843591" y="263525"/>
            <a:ext cx="784226" cy="785813"/>
            <a:chOff x="3681" y="166"/>
            <a:chExt cx="494" cy="495"/>
          </a:xfrm>
        </p:grpSpPr>
        <p:sp>
          <p:nvSpPr>
            <p:cNvPr id="49223" name="Freeform 71"/>
            <p:cNvSpPr>
              <a:spLocks noEditPoints="1"/>
            </p:cNvSpPr>
            <p:nvPr/>
          </p:nvSpPr>
          <p:spPr bwMode="auto">
            <a:xfrm>
              <a:off x="3928" y="168"/>
              <a:ext cx="1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4" name="Freeform 72"/>
            <p:cNvSpPr>
              <a:spLocks noEditPoints="1"/>
            </p:cNvSpPr>
            <p:nvPr/>
          </p:nvSpPr>
          <p:spPr bwMode="auto">
            <a:xfrm>
              <a:off x="3928" y="168"/>
              <a:ext cx="1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moveTo>
                    <a:pt x="0" y="12"/>
                  </a:moveTo>
                  <a:lnTo>
                    <a:pt x="0" y="1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5" name="Freeform 73"/>
            <p:cNvSpPr>
              <a:spLocks noEditPoints="1"/>
            </p:cNvSpPr>
            <p:nvPr/>
          </p:nvSpPr>
          <p:spPr bwMode="auto">
            <a:xfrm>
              <a:off x="3681" y="166"/>
              <a:ext cx="494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6" name="Rectangle 74"/>
            <p:cNvSpPr>
              <a:spLocks noChangeArrowheads="1"/>
            </p:cNvSpPr>
            <p:nvPr/>
          </p:nvSpPr>
          <p:spPr bwMode="auto">
            <a:xfrm>
              <a:off x="3895" y="422"/>
              <a:ext cx="12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7" name="Rectangle 75"/>
            <p:cNvSpPr>
              <a:spLocks noChangeArrowheads="1"/>
            </p:cNvSpPr>
            <p:nvPr/>
          </p:nvSpPr>
          <p:spPr bwMode="auto">
            <a:xfrm>
              <a:off x="3952" y="458"/>
              <a:ext cx="10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8" name="Rectangle 76"/>
            <p:cNvSpPr>
              <a:spLocks noChangeArrowheads="1"/>
            </p:cNvSpPr>
            <p:nvPr/>
          </p:nvSpPr>
          <p:spPr bwMode="auto">
            <a:xfrm>
              <a:off x="3924" y="458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29" name="Rectangle 77"/>
            <p:cNvSpPr>
              <a:spLocks noChangeArrowheads="1"/>
            </p:cNvSpPr>
            <p:nvPr/>
          </p:nvSpPr>
          <p:spPr bwMode="auto">
            <a:xfrm>
              <a:off x="3895" y="458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0" name="Rectangle 78"/>
            <p:cNvSpPr>
              <a:spLocks noChangeArrowheads="1"/>
            </p:cNvSpPr>
            <p:nvPr/>
          </p:nvSpPr>
          <p:spPr bwMode="auto">
            <a:xfrm>
              <a:off x="3952" y="422"/>
              <a:ext cx="10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1" name="Rectangle 79"/>
            <p:cNvSpPr>
              <a:spLocks noChangeArrowheads="1"/>
            </p:cNvSpPr>
            <p:nvPr/>
          </p:nvSpPr>
          <p:spPr bwMode="auto">
            <a:xfrm>
              <a:off x="3924" y="422"/>
              <a:ext cx="12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2" name="Rectangle 80"/>
            <p:cNvSpPr>
              <a:spLocks noChangeArrowheads="1"/>
            </p:cNvSpPr>
            <p:nvPr/>
          </p:nvSpPr>
          <p:spPr bwMode="auto">
            <a:xfrm>
              <a:off x="3801" y="422"/>
              <a:ext cx="10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3" name="Rectangle 81"/>
            <p:cNvSpPr>
              <a:spLocks noChangeArrowheads="1"/>
            </p:cNvSpPr>
            <p:nvPr/>
          </p:nvSpPr>
          <p:spPr bwMode="auto">
            <a:xfrm>
              <a:off x="3856" y="422"/>
              <a:ext cx="10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4" name="Rectangle 82"/>
            <p:cNvSpPr>
              <a:spLocks noChangeArrowheads="1"/>
            </p:cNvSpPr>
            <p:nvPr/>
          </p:nvSpPr>
          <p:spPr bwMode="auto">
            <a:xfrm>
              <a:off x="3830" y="422"/>
              <a:ext cx="10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5" name="Rectangle 83"/>
            <p:cNvSpPr>
              <a:spLocks noChangeArrowheads="1"/>
            </p:cNvSpPr>
            <p:nvPr/>
          </p:nvSpPr>
          <p:spPr bwMode="auto">
            <a:xfrm>
              <a:off x="3801" y="384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6" name="Rectangle 84"/>
            <p:cNvSpPr>
              <a:spLocks noChangeArrowheads="1"/>
            </p:cNvSpPr>
            <p:nvPr/>
          </p:nvSpPr>
          <p:spPr bwMode="auto">
            <a:xfrm>
              <a:off x="3856" y="384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7" name="Rectangle 85"/>
            <p:cNvSpPr>
              <a:spLocks noChangeArrowheads="1"/>
            </p:cNvSpPr>
            <p:nvPr/>
          </p:nvSpPr>
          <p:spPr bwMode="auto">
            <a:xfrm>
              <a:off x="3830" y="384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38" name="Freeform 86"/>
            <p:cNvSpPr>
              <a:spLocks noEditPoints="1"/>
            </p:cNvSpPr>
            <p:nvPr/>
          </p:nvSpPr>
          <p:spPr bwMode="auto">
            <a:xfrm>
              <a:off x="3777" y="321"/>
              <a:ext cx="295" cy="178"/>
            </a:xfrm>
            <a:custGeom>
              <a:avLst/>
              <a:gdLst/>
              <a:ahLst/>
              <a:cxnLst>
                <a:cxn ang="0">
                  <a:pos x="216" y="43"/>
                </a:cxn>
                <a:cxn ang="0">
                  <a:pos x="175" y="43"/>
                </a:cxn>
                <a:cxn ang="0">
                  <a:pos x="175" y="79"/>
                </a:cxn>
                <a:cxn ang="0">
                  <a:pos x="120" y="79"/>
                </a:cxn>
                <a:cxn ang="0">
                  <a:pos x="103" y="39"/>
                </a:cxn>
                <a:cxn ang="0">
                  <a:pos x="0" y="39"/>
                </a:cxn>
                <a:cxn ang="0">
                  <a:pos x="0" y="178"/>
                </a:cxn>
                <a:cxn ang="0">
                  <a:pos x="202" y="178"/>
                </a:cxn>
                <a:cxn ang="0">
                  <a:pos x="207" y="178"/>
                </a:cxn>
                <a:cxn ang="0">
                  <a:pos x="295" y="178"/>
                </a:cxn>
                <a:cxn ang="0">
                  <a:pos x="295" y="0"/>
                </a:cxn>
                <a:cxn ang="0">
                  <a:pos x="216" y="0"/>
                </a:cxn>
                <a:cxn ang="0">
                  <a:pos x="216" y="43"/>
                </a:cxn>
                <a:cxn ang="0">
                  <a:pos x="75" y="168"/>
                </a:cxn>
                <a:cxn ang="0">
                  <a:pos x="63" y="168"/>
                </a:cxn>
                <a:cxn ang="0">
                  <a:pos x="63" y="142"/>
                </a:cxn>
                <a:cxn ang="0">
                  <a:pos x="75" y="142"/>
                </a:cxn>
                <a:cxn ang="0">
                  <a:pos x="75" y="168"/>
                </a:cxn>
                <a:cxn ang="0">
                  <a:pos x="53" y="168"/>
                </a:cxn>
                <a:cxn ang="0">
                  <a:pos x="39" y="168"/>
                </a:cxn>
                <a:cxn ang="0">
                  <a:pos x="39" y="142"/>
                </a:cxn>
                <a:cxn ang="0">
                  <a:pos x="53" y="142"/>
                </a:cxn>
                <a:cxn ang="0">
                  <a:pos x="53" y="168"/>
                </a:cxn>
                <a:cxn ang="0">
                  <a:pos x="199" y="168"/>
                </a:cxn>
                <a:cxn ang="0">
                  <a:pos x="84" y="168"/>
                </a:cxn>
                <a:cxn ang="0">
                  <a:pos x="84" y="132"/>
                </a:cxn>
                <a:cxn ang="0">
                  <a:pos x="29" y="132"/>
                </a:cxn>
                <a:cxn ang="0">
                  <a:pos x="29" y="168"/>
                </a:cxn>
                <a:cxn ang="0">
                  <a:pos x="10" y="168"/>
                </a:cxn>
                <a:cxn ang="0">
                  <a:pos x="10" y="46"/>
                </a:cxn>
                <a:cxn ang="0">
                  <a:pos x="99" y="46"/>
                </a:cxn>
                <a:cxn ang="0">
                  <a:pos x="113" y="89"/>
                </a:cxn>
                <a:cxn ang="0">
                  <a:pos x="199" y="89"/>
                </a:cxn>
                <a:cxn ang="0">
                  <a:pos x="199" y="168"/>
                </a:cxn>
                <a:cxn ang="0">
                  <a:pos x="226" y="10"/>
                </a:cxn>
                <a:cxn ang="0">
                  <a:pos x="288" y="10"/>
                </a:cxn>
                <a:cxn ang="0">
                  <a:pos x="288" y="168"/>
                </a:cxn>
                <a:cxn ang="0">
                  <a:pos x="207" y="168"/>
                </a:cxn>
                <a:cxn ang="0">
                  <a:pos x="207" y="79"/>
                </a:cxn>
                <a:cxn ang="0">
                  <a:pos x="185" y="79"/>
                </a:cxn>
                <a:cxn ang="0">
                  <a:pos x="185" y="53"/>
                </a:cxn>
                <a:cxn ang="0">
                  <a:pos x="226" y="53"/>
                </a:cxn>
                <a:cxn ang="0">
                  <a:pos x="226" y="10"/>
                </a:cxn>
              </a:cxnLst>
              <a:rect l="0" t="0" r="r" b="b"/>
              <a:pathLst>
                <a:path w="295" h="178">
                  <a:moveTo>
                    <a:pt x="216" y="43"/>
                  </a:moveTo>
                  <a:lnTo>
                    <a:pt x="175" y="43"/>
                  </a:lnTo>
                  <a:lnTo>
                    <a:pt x="175" y="79"/>
                  </a:lnTo>
                  <a:lnTo>
                    <a:pt x="120" y="79"/>
                  </a:lnTo>
                  <a:lnTo>
                    <a:pt x="103" y="39"/>
                  </a:lnTo>
                  <a:lnTo>
                    <a:pt x="0" y="39"/>
                  </a:lnTo>
                  <a:lnTo>
                    <a:pt x="0" y="178"/>
                  </a:lnTo>
                  <a:lnTo>
                    <a:pt x="202" y="178"/>
                  </a:lnTo>
                  <a:lnTo>
                    <a:pt x="207" y="178"/>
                  </a:lnTo>
                  <a:lnTo>
                    <a:pt x="295" y="178"/>
                  </a:lnTo>
                  <a:lnTo>
                    <a:pt x="295" y="0"/>
                  </a:lnTo>
                  <a:lnTo>
                    <a:pt x="216" y="0"/>
                  </a:lnTo>
                  <a:lnTo>
                    <a:pt x="216" y="43"/>
                  </a:lnTo>
                  <a:close/>
                  <a:moveTo>
                    <a:pt x="75" y="168"/>
                  </a:moveTo>
                  <a:lnTo>
                    <a:pt x="63" y="168"/>
                  </a:lnTo>
                  <a:lnTo>
                    <a:pt x="63" y="142"/>
                  </a:lnTo>
                  <a:lnTo>
                    <a:pt x="75" y="142"/>
                  </a:lnTo>
                  <a:lnTo>
                    <a:pt x="75" y="168"/>
                  </a:lnTo>
                  <a:close/>
                  <a:moveTo>
                    <a:pt x="53" y="168"/>
                  </a:moveTo>
                  <a:lnTo>
                    <a:pt x="39" y="168"/>
                  </a:lnTo>
                  <a:lnTo>
                    <a:pt x="39" y="142"/>
                  </a:lnTo>
                  <a:lnTo>
                    <a:pt x="53" y="142"/>
                  </a:lnTo>
                  <a:lnTo>
                    <a:pt x="53" y="168"/>
                  </a:lnTo>
                  <a:close/>
                  <a:moveTo>
                    <a:pt x="199" y="168"/>
                  </a:moveTo>
                  <a:lnTo>
                    <a:pt x="84" y="168"/>
                  </a:lnTo>
                  <a:lnTo>
                    <a:pt x="84" y="132"/>
                  </a:lnTo>
                  <a:lnTo>
                    <a:pt x="29" y="132"/>
                  </a:lnTo>
                  <a:lnTo>
                    <a:pt x="29" y="168"/>
                  </a:lnTo>
                  <a:lnTo>
                    <a:pt x="10" y="168"/>
                  </a:lnTo>
                  <a:lnTo>
                    <a:pt x="10" y="46"/>
                  </a:lnTo>
                  <a:lnTo>
                    <a:pt x="99" y="46"/>
                  </a:lnTo>
                  <a:lnTo>
                    <a:pt x="113" y="89"/>
                  </a:lnTo>
                  <a:lnTo>
                    <a:pt x="199" y="89"/>
                  </a:lnTo>
                  <a:lnTo>
                    <a:pt x="199" y="168"/>
                  </a:lnTo>
                  <a:close/>
                  <a:moveTo>
                    <a:pt x="226" y="10"/>
                  </a:moveTo>
                  <a:lnTo>
                    <a:pt x="288" y="10"/>
                  </a:lnTo>
                  <a:lnTo>
                    <a:pt x="288" y="168"/>
                  </a:lnTo>
                  <a:lnTo>
                    <a:pt x="207" y="168"/>
                  </a:lnTo>
                  <a:lnTo>
                    <a:pt x="207" y="79"/>
                  </a:lnTo>
                  <a:lnTo>
                    <a:pt x="185" y="79"/>
                  </a:lnTo>
                  <a:lnTo>
                    <a:pt x="185" y="53"/>
                  </a:lnTo>
                  <a:lnTo>
                    <a:pt x="226" y="53"/>
                  </a:lnTo>
                  <a:lnTo>
                    <a:pt x="226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239" name="Rectangle 87"/>
            <p:cNvSpPr>
              <a:spLocks noChangeArrowheads="1"/>
            </p:cNvSpPr>
            <p:nvPr/>
          </p:nvSpPr>
          <p:spPr bwMode="auto">
            <a:xfrm>
              <a:off x="4041" y="379"/>
              <a:ext cx="10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0" name="Rectangle 88"/>
            <p:cNvSpPr>
              <a:spLocks noChangeArrowheads="1"/>
            </p:cNvSpPr>
            <p:nvPr/>
          </p:nvSpPr>
          <p:spPr bwMode="auto">
            <a:xfrm>
              <a:off x="4012" y="379"/>
              <a:ext cx="12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1" name="Rectangle 89"/>
            <p:cNvSpPr>
              <a:spLocks noChangeArrowheads="1"/>
            </p:cNvSpPr>
            <p:nvPr/>
          </p:nvSpPr>
          <p:spPr bwMode="auto">
            <a:xfrm>
              <a:off x="4041" y="343"/>
              <a:ext cx="10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2" name="Rectangle 90"/>
            <p:cNvSpPr>
              <a:spLocks noChangeArrowheads="1"/>
            </p:cNvSpPr>
            <p:nvPr/>
          </p:nvSpPr>
          <p:spPr bwMode="auto">
            <a:xfrm>
              <a:off x="4012" y="343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3" name="Rectangle 91"/>
            <p:cNvSpPr>
              <a:spLocks noChangeArrowheads="1"/>
            </p:cNvSpPr>
            <p:nvPr/>
          </p:nvSpPr>
          <p:spPr bwMode="auto">
            <a:xfrm>
              <a:off x="4041" y="453"/>
              <a:ext cx="10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4" name="Rectangle 92"/>
            <p:cNvSpPr>
              <a:spLocks noChangeArrowheads="1"/>
            </p:cNvSpPr>
            <p:nvPr/>
          </p:nvSpPr>
          <p:spPr bwMode="auto">
            <a:xfrm>
              <a:off x="4012" y="453"/>
              <a:ext cx="12" cy="2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5" name="Rectangle 93"/>
            <p:cNvSpPr>
              <a:spLocks noChangeArrowheads="1"/>
            </p:cNvSpPr>
            <p:nvPr/>
          </p:nvSpPr>
          <p:spPr bwMode="auto">
            <a:xfrm>
              <a:off x="4041" y="420"/>
              <a:ext cx="10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46" name="Rectangle 94"/>
            <p:cNvSpPr>
              <a:spLocks noChangeArrowheads="1"/>
            </p:cNvSpPr>
            <p:nvPr/>
          </p:nvSpPr>
          <p:spPr bwMode="auto">
            <a:xfrm>
              <a:off x="4012" y="420"/>
              <a:ext cx="12" cy="2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249" name="Group 97"/>
          <p:cNvGrpSpPr>
            <a:grpSpLocks noChangeAspect="1"/>
          </p:cNvGrpSpPr>
          <p:nvPr/>
        </p:nvGrpSpPr>
        <p:grpSpPr bwMode="auto">
          <a:xfrm>
            <a:off x="6917531" y="246063"/>
            <a:ext cx="828675" cy="828675"/>
            <a:chOff x="4361" y="155"/>
            <a:chExt cx="522" cy="522"/>
          </a:xfrm>
        </p:grpSpPr>
        <p:sp>
          <p:nvSpPr>
            <p:cNvPr id="49250" name="Oval 98"/>
            <p:cNvSpPr>
              <a:spLocks noChangeArrowheads="1"/>
            </p:cNvSpPr>
            <p:nvPr/>
          </p:nvSpPr>
          <p:spPr bwMode="auto">
            <a:xfrm>
              <a:off x="4361" y="155"/>
              <a:ext cx="522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251" name="Freeform 99"/>
            <p:cNvSpPr>
              <a:spLocks noEditPoints="1"/>
            </p:cNvSpPr>
            <p:nvPr/>
          </p:nvSpPr>
          <p:spPr bwMode="auto">
            <a:xfrm>
              <a:off x="4380" y="1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52" name="Freeform 100"/>
            <p:cNvSpPr>
              <a:spLocks noEditPoints="1"/>
            </p:cNvSpPr>
            <p:nvPr/>
          </p:nvSpPr>
          <p:spPr bwMode="auto">
            <a:xfrm>
              <a:off x="4529" y="260"/>
              <a:ext cx="184" cy="309"/>
            </a:xfrm>
            <a:custGeom>
              <a:avLst/>
              <a:gdLst/>
              <a:ahLst/>
              <a:cxnLst>
                <a:cxn ang="0">
                  <a:pos x="49" y="50"/>
                </a:cxn>
                <a:cxn ang="0">
                  <a:pos x="35" y="43"/>
                </a:cxn>
                <a:cxn ang="0">
                  <a:pos x="42" y="40"/>
                </a:cxn>
                <a:cxn ang="0">
                  <a:pos x="60" y="44"/>
                </a:cxn>
                <a:cxn ang="0">
                  <a:pos x="66" y="47"/>
                </a:cxn>
                <a:cxn ang="0">
                  <a:pos x="68" y="41"/>
                </a:cxn>
                <a:cxn ang="0">
                  <a:pos x="74" y="20"/>
                </a:cxn>
                <a:cxn ang="0">
                  <a:pos x="70" y="18"/>
                </a:cxn>
                <a:cxn ang="0">
                  <a:pos x="52" y="13"/>
                </a:cxn>
                <a:cxn ang="0">
                  <a:pos x="52" y="0"/>
                </a:cxn>
                <a:cxn ang="0">
                  <a:pos x="26" y="0"/>
                </a:cxn>
                <a:cxn ang="0">
                  <a:pos x="26" y="15"/>
                </a:cxn>
                <a:cxn ang="0">
                  <a:pos x="2" y="45"/>
                </a:cxn>
                <a:cxn ang="0">
                  <a:pos x="32" y="77"/>
                </a:cxn>
                <a:cxn ang="0">
                  <a:pos x="43" y="84"/>
                </a:cxn>
                <a:cxn ang="0">
                  <a:pos x="35" y="88"/>
                </a:cxn>
                <a:cxn ang="0">
                  <a:pos x="13" y="82"/>
                </a:cxn>
                <a:cxn ang="0">
                  <a:pos x="7" y="78"/>
                </a:cxn>
                <a:cxn ang="0">
                  <a:pos x="0" y="107"/>
                </a:cxn>
                <a:cxn ang="0">
                  <a:pos x="4" y="109"/>
                </a:cxn>
                <a:cxn ang="0">
                  <a:pos x="25" y="115"/>
                </a:cxn>
                <a:cxn ang="0">
                  <a:pos x="25" y="129"/>
                </a:cxn>
                <a:cxn ang="0">
                  <a:pos x="51" y="129"/>
                </a:cxn>
                <a:cxn ang="0">
                  <a:pos x="51" y="113"/>
                </a:cxn>
                <a:cxn ang="0">
                  <a:pos x="77" y="82"/>
                </a:cxn>
                <a:cxn ang="0">
                  <a:pos x="49" y="50"/>
                </a:cxn>
                <a:cxn ang="0">
                  <a:pos x="49" y="110"/>
                </a:cxn>
                <a:cxn ang="0">
                  <a:pos x="47" y="110"/>
                </a:cxn>
                <a:cxn ang="0">
                  <a:pos x="47" y="126"/>
                </a:cxn>
                <a:cxn ang="0">
                  <a:pos x="29" y="126"/>
                </a:cxn>
                <a:cxn ang="0">
                  <a:pos x="29" y="112"/>
                </a:cxn>
                <a:cxn ang="0">
                  <a:pos x="27" y="112"/>
                </a:cxn>
                <a:cxn ang="0">
                  <a:pos x="5" y="106"/>
                </a:cxn>
                <a:cxn ang="0">
                  <a:pos x="4" y="105"/>
                </a:cxn>
                <a:cxn ang="0">
                  <a:pos x="9" y="84"/>
                </a:cxn>
                <a:cxn ang="0">
                  <a:pos x="12" y="85"/>
                </a:cxn>
                <a:cxn ang="0">
                  <a:pos x="35" y="91"/>
                </a:cxn>
                <a:cxn ang="0">
                  <a:pos x="47" y="84"/>
                </a:cxn>
                <a:cxn ang="0">
                  <a:pos x="33" y="73"/>
                </a:cxn>
                <a:cxn ang="0">
                  <a:pos x="5" y="45"/>
                </a:cxn>
                <a:cxn ang="0">
                  <a:pos x="28" y="18"/>
                </a:cxn>
                <a:cxn ang="0">
                  <a:pos x="30" y="18"/>
                </a:cxn>
                <a:cxn ang="0">
                  <a:pos x="30" y="4"/>
                </a:cxn>
                <a:cxn ang="0">
                  <a:pos x="48" y="4"/>
                </a:cxn>
                <a:cxn ang="0">
                  <a:pos x="48" y="16"/>
                </a:cxn>
                <a:cxn ang="0">
                  <a:pos x="50" y="17"/>
                </a:cxn>
                <a:cxn ang="0">
                  <a:pos x="68" y="21"/>
                </a:cxn>
                <a:cxn ang="0">
                  <a:pos x="70" y="22"/>
                </a:cxn>
                <a:cxn ang="0">
                  <a:pos x="65" y="40"/>
                </a:cxn>
                <a:cxn ang="0">
                  <a:pos x="64" y="42"/>
                </a:cxn>
                <a:cxn ang="0">
                  <a:pos x="62" y="41"/>
                </a:cxn>
                <a:cxn ang="0">
                  <a:pos x="42" y="36"/>
                </a:cxn>
                <a:cxn ang="0">
                  <a:pos x="31" y="43"/>
                </a:cxn>
                <a:cxn ang="0">
                  <a:pos x="48" y="53"/>
                </a:cxn>
                <a:cxn ang="0">
                  <a:pos x="73" y="82"/>
                </a:cxn>
                <a:cxn ang="0">
                  <a:pos x="49" y="110"/>
                </a:cxn>
              </a:cxnLst>
              <a:rect l="0" t="0" r="r" b="b"/>
              <a:pathLst>
                <a:path w="77" h="129">
                  <a:moveTo>
                    <a:pt x="49" y="50"/>
                  </a:moveTo>
                  <a:cubicBezTo>
                    <a:pt x="36" y="45"/>
                    <a:pt x="35" y="43"/>
                    <a:pt x="35" y="43"/>
                  </a:cubicBezTo>
                  <a:cubicBezTo>
                    <a:pt x="35" y="40"/>
                    <a:pt x="40" y="40"/>
                    <a:pt x="42" y="40"/>
                  </a:cubicBezTo>
                  <a:cubicBezTo>
                    <a:pt x="51" y="40"/>
                    <a:pt x="57" y="43"/>
                    <a:pt x="60" y="44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4" y="15"/>
                    <a:pt x="58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11" y="19"/>
                    <a:pt x="2" y="31"/>
                    <a:pt x="2" y="45"/>
                  </a:cubicBezTo>
                  <a:cubicBezTo>
                    <a:pt x="2" y="64"/>
                    <a:pt x="18" y="72"/>
                    <a:pt x="32" y="77"/>
                  </a:cubicBezTo>
                  <a:cubicBezTo>
                    <a:pt x="43" y="81"/>
                    <a:pt x="43" y="83"/>
                    <a:pt x="43" y="84"/>
                  </a:cubicBezTo>
                  <a:cubicBezTo>
                    <a:pt x="43" y="86"/>
                    <a:pt x="39" y="88"/>
                    <a:pt x="35" y="88"/>
                  </a:cubicBezTo>
                  <a:cubicBezTo>
                    <a:pt x="25" y="88"/>
                    <a:pt x="17" y="84"/>
                    <a:pt x="13" y="82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9" y="112"/>
                    <a:pt x="17" y="114"/>
                    <a:pt x="25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13"/>
                    <a:pt x="51" y="113"/>
                    <a:pt x="51" y="113"/>
                  </a:cubicBezTo>
                  <a:cubicBezTo>
                    <a:pt x="67" y="109"/>
                    <a:pt x="77" y="97"/>
                    <a:pt x="77" y="82"/>
                  </a:cubicBezTo>
                  <a:cubicBezTo>
                    <a:pt x="77" y="66"/>
                    <a:pt x="68" y="56"/>
                    <a:pt x="49" y="50"/>
                  </a:cubicBezTo>
                  <a:close/>
                  <a:moveTo>
                    <a:pt x="49" y="110"/>
                  </a:moveTo>
                  <a:cubicBezTo>
                    <a:pt x="47" y="110"/>
                    <a:pt x="47" y="110"/>
                    <a:pt x="47" y="110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19" y="111"/>
                    <a:pt x="11" y="109"/>
                    <a:pt x="5" y="106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6" y="87"/>
                    <a:pt x="25" y="91"/>
                    <a:pt x="35" y="91"/>
                  </a:cubicBezTo>
                  <a:cubicBezTo>
                    <a:pt x="42" y="91"/>
                    <a:pt x="47" y="88"/>
                    <a:pt x="47" y="84"/>
                  </a:cubicBezTo>
                  <a:cubicBezTo>
                    <a:pt x="47" y="80"/>
                    <a:pt x="43" y="77"/>
                    <a:pt x="33" y="73"/>
                  </a:cubicBezTo>
                  <a:cubicBezTo>
                    <a:pt x="20" y="69"/>
                    <a:pt x="5" y="62"/>
                    <a:pt x="5" y="45"/>
                  </a:cubicBezTo>
                  <a:cubicBezTo>
                    <a:pt x="5" y="32"/>
                    <a:pt x="14" y="22"/>
                    <a:pt x="28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7" y="17"/>
                    <a:pt x="63" y="19"/>
                    <a:pt x="68" y="21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39"/>
                    <a:pt x="52" y="36"/>
                    <a:pt x="42" y="36"/>
                  </a:cubicBezTo>
                  <a:cubicBezTo>
                    <a:pt x="33" y="36"/>
                    <a:pt x="31" y="40"/>
                    <a:pt x="31" y="43"/>
                  </a:cubicBezTo>
                  <a:cubicBezTo>
                    <a:pt x="31" y="46"/>
                    <a:pt x="36" y="49"/>
                    <a:pt x="48" y="53"/>
                  </a:cubicBezTo>
                  <a:cubicBezTo>
                    <a:pt x="66" y="59"/>
                    <a:pt x="73" y="68"/>
                    <a:pt x="73" y="82"/>
                  </a:cubicBezTo>
                  <a:cubicBezTo>
                    <a:pt x="73" y="96"/>
                    <a:pt x="64" y="106"/>
                    <a:pt x="49" y="1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255" name="Group 103"/>
          <p:cNvGrpSpPr>
            <a:grpSpLocks noChangeAspect="1"/>
          </p:cNvGrpSpPr>
          <p:nvPr/>
        </p:nvGrpSpPr>
        <p:grpSpPr bwMode="auto">
          <a:xfrm>
            <a:off x="8047038" y="276225"/>
            <a:ext cx="768350" cy="768350"/>
            <a:chOff x="5069" y="174"/>
            <a:chExt cx="484" cy="484"/>
          </a:xfrm>
        </p:grpSpPr>
        <p:sp>
          <p:nvSpPr>
            <p:cNvPr id="49256" name="Freeform 104"/>
            <p:cNvSpPr>
              <a:spLocks noEditPoints="1"/>
            </p:cNvSpPr>
            <p:nvPr/>
          </p:nvSpPr>
          <p:spPr bwMode="auto">
            <a:xfrm>
              <a:off x="5069" y="1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57" name="Freeform 105"/>
            <p:cNvSpPr>
              <a:spLocks noEditPoints="1"/>
            </p:cNvSpPr>
            <p:nvPr/>
          </p:nvSpPr>
          <p:spPr bwMode="auto">
            <a:xfrm>
              <a:off x="5218" y="261"/>
              <a:ext cx="184" cy="309"/>
            </a:xfrm>
            <a:custGeom>
              <a:avLst/>
              <a:gdLst/>
              <a:ahLst/>
              <a:cxnLst>
                <a:cxn ang="0">
                  <a:pos x="49" y="50"/>
                </a:cxn>
                <a:cxn ang="0">
                  <a:pos x="35" y="43"/>
                </a:cxn>
                <a:cxn ang="0">
                  <a:pos x="42" y="40"/>
                </a:cxn>
                <a:cxn ang="0">
                  <a:pos x="60" y="44"/>
                </a:cxn>
                <a:cxn ang="0">
                  <a:pos x="66" y="47"/>
                </a:cxn>
                <a:cxn ang="0">
                  <a:pos x="68" y="41"/>
                </a:cxn>
                <a:cxn ang="0">
                  <a:pos x="74" y="20"/>
                </a:cxn>
                <a:cxn ang="0">
                  <a:pos x="70" y="18"/>
                </a:cxn>
                <a:cxn ang="0">
                  <a:pos x="52" y="13"/>
                </a:cxn>
                <a:cxn ang="0">
                  <a:pos x="52" y="0"/>
                </a:cxn>
                <a:cxn ang="0">
                  <a:pos x="26" y="0"/>
                </a:cxn>
                <a:cxn ang="0">
                  <a:pos x="26" y="15"/>
                </a:cxn>
                <a:cxn ang="0">
                  <a:pos x="2" y="45"/>
                </a:cxn>
                <a:cxn ang="0">
                  <a:pos x="32" y="77"/>
                </a:cxn>
                <a:cxn ang="0">
                  <a:pos x="43" y="84"/>
                </a:cxn>
                <a:cxn ang="0">
                  <a:pos x="35" y="88"/>
                </a:cxn>
                <a:cxn ang="0">
                  <a:pos x="13" y="82"/>
                </a:cxn>
                <a:cxn ang="0">
                  <a:pos x="7" y="78"/>
                </a:cxn>
                <a:cxn ang="0">
                  <a:pos x="0" y="107"/>
                </a:cxn>
                <a:cxn ang="0">
                  <a:pos x="4" y="109"/>
                </a:cxn>
                <a:cxn ang="0">
                  <a:pos x="25" y="115"/>
                </a:cxn>
                <a:cxn ang="0">
                  <a:pos x="25" y="129"/>
                </a:cxn>
                <a:cxn ang="0">
                  <a:pos x="51" y="129"/>
                </a:cxn>
                <a:cxn ang="0">
                  <a:pos x="51" y="113"/>
                </a:cxn>
                <a:cxn ang="0">
                  <a:pos x="77" y="82"/>
                </a:cxn>
                <a:cxn ang="0">
                  <a:pos x="49" y="50"/>
                </a:cxn>
                <a:cxn ang="0">
                  <a:pos x="49" y="110"/>
                </a:cxn>
                <a:cxn ang="0">
                  <a:pos x="47" y="110"/>
                </a:cxn>
                <a:cxn ang="0">
                  <a:pos x="47" y="126"/>
                </a:cxn>
                <a:cxn ang="0">
                  <a:pos x="29" y="126"/>
                </a:cxn>
                <a:cxn ang="0">
                  <a:pos x="29" y="112"/>
                </a:cxn>
                <a:cxn ang="0">
                  <a:pos x="27" y="112"/>
                </a:cxn>
                <a:cxn ang="0">
                  <a:pos x="5" y="106"/>
                </a:cxn>
                <a:cxn ang="0">
                  <a:pos x="4" y="105"/>
                </a:cxn>
                <a:cxn ang="0">
                  <a:pos x="9" y="84"/>
                </a:cxn>
                <a:cxn ang="0">
                  <a:pos x="12" y="85"/>
                </a:cxn>
                <a:cxn ang="0">
                  <a:pos x="35" y="91"/>
                </a:cxn>
                <a:cxn ang="0">
                  <a:pos x="47" y="84"/>
                </a:cxn>
                <a:cxn ang="0">
                  <a:pos x="33" y="73"/>
                </a:cxn>
                <a:cxn ang="0">
                  <a:pos x="5" y="45"/>
                </a:cxn>
                <a:cxn ang="0">
                  <a:pos x="28" y="18"/>
                </a:cxn>
                <a:cxn ang="0">
                  <a:pos x="30" y="18"/>
                </a:cxn>
                <a:cxn ang="0">
                  <a:pos x="30" y="4"/>
                </a:cxn>
                <a:cxn ang="0">
                  <a:pos x="48" y="4"/>
                </a:cxn>
                <a:cxn ang="0">
                  <a:pos x="48" y="16"/>
                </a:cxn>
                <a:cxn ang="0">
                  <a:pos x="50" y="17"/>
                </a:cxn>
                <a:cxn ang="0">
                  <a:pos x="68" y="21"/>
                </a:cxn>
                <a:cxn ang="0">
                  <a:pos x="70" y="22"/>
                </a:cxn>
                <a:cxn ang="0">
                  <a:pos x="65" y="40"/>
                </a:cxn>
                <a:cxn ang="0">
                  <a:pos x="64" y="42"/>
                </a:cxn>
                <a:cxn ang="0">
                  <a:pos x="62" y="41"/>
                </a:cxn>
                <a:cxn ang="0">
                  <a:pos x="42" y="36"/>
                </a:cxn>
                <a:cxn ang="0">
                  <a:pos x="31" y="43"/>
                </a:cxn>
                <a:cxn ang="0">
                  <a:pos x="48" y="53"/>
                </a:cxn>
                <a:cxn ang="0">
                  <a:pos x="73" y="82"/>
                </a:cxn>
                <a:cxn ang="0">
                  <a:pos x="49" y="110"/>
                </a:cxn>
              </a:cxnLst>
              <a:rect l="0" t="0" r="r" b="b"/>
              <a:pathLst>
                <a:path w="77" h="129">
                  <a:moveTo>
                    <a:pt x="49" y="50"/>
                  </a:moveTo>
                  <a:cubicBezTo>
                    <a:pt x="36" y="45"/>
                    <a:pt x="35" y="43"/>
                    <a:pt x="35" y="43"/>
                  </a:cubicBezTo>
                  <a:cubicBezTo>
                    <a:pt x="35" y="40"/>
                    <a:pt x="40" y="40"/>
                    <a:pt x="42" y="40"/>
                  </a:cubicBezTo>
                  <a:cubicBezTo>
                    <a:pt x="51" y="40"/>
                    <a:pt x="57" y="43"/>
                    <a:pt x="60" y="44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4" y="15"/>
                    <a:pt x="58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11" y="19"/>
                    <a:pt x="2" y="31"/>
                    <a:pt x="2" y="45"/>
                  </a:cubicBezTo>
                  <a:cubicBezTo>
                    <a:pt x="2" y="64"/>
                    <a:pt x="18" y="72"/>
                    <a:pt x="32" y="77"/>
                  </a:cubicBezTo>
                  <a:cubicBezTo>
                    <a:pt x="43" y="81"/>
                    <a:pt x="43" y="83"/>
                    <a:pt x="43" y="84"/>
                  </a:cubicBezTo>
                  <a:cubicBezTo>
                    <a:pt x="43" y="86"/>
                    <a:pt x="39" y="88"/>
                    <a:pt x="35" y="88"/>
                  </a:cubicBezTo>
                  <a:cubicBezTo>
                    <a:pt x="25" y="88"/>
                    <a:pt x="17" y="84"/>
                    <a:pt x="13" y="82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9" y="112"/>
                    <a:pt x="17" y="114"/>
                    <a:pt x="25" y="115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13"/>
                    <a:pt x="51" y="113"/>
                    <a:pt x="51" y="113"/>
                  </a:cubicBezTo>
                  <a:cubicBezTo>
                    <a:pt x="67" y="109"/>
                    <a:pt x="77" y="97"/>
                    <a:pt x="77" y="82"/>
                  </a:cubicBezTo>
                  <a:cubicBezTo>
                    <a:pt x="77" y="66"/>
                    <a:pt x="68" y="56"/>
                    <a:pt x="49" y="50"/>
                  </a:cubicBezTo>
                  <a:close/>
                  <a:moveTo>
                    <a:pt x="49" y="110"/>
                  </a:moveTo>
                  <a:cubicBezTo>
                    <a:pt x="47" y="110"/>
                    <a:pt x="47" y="110"/>
                    <a:pt x="47" y="110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19" y="111"/>
                    <a:pt x="11" y="109"/>
                    <a:pt x="5" y="106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6" y="87"/>
                    <a:pt x="25" y="91"/>
                    <a:pt x="35" y="91"/>
                  </a:cubicBezTo>
                  <a:cubicBezTo>
                    <a:pt x="42" y="91"/>
                    <a:pt x="47" y="88"/>
                    <a:pt x="47" y="84"/>
                  </a:cubicBezTo>
                  <a:cubicBezTo>
                    <a:pt x="47" y="80"/>
                    <a:pt x="43" y="77"/>
                    <a:pt x="33" y="73"/>
                  </a:cubicBezTo>
                  <a:cubicBezTo>
                    <a:pt x="20" y="69"/>
                    <a:pt x="5" y="62"/>
                    <a:pt x="5" y="45"/>
                  </a:cubicBezTo>
                  <a:cubicBezTo>
                    <a:pt x="5" y="32"/>
                    <a:pt x="14" y="22"/>
                    <a:pt x="28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7" y="17"/>
                    <a:pt x="63" y="19"/>
                    <a:pt x="68" y="21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39"/>
                    <a:pt x="52" y="36"/>
                    <a:pt x="42" y="36"/>
                  </a:cubicBezTo>
                  <a:cubicBezTo>
                    <a:pt x="33" y="36"/>
                    <a:pt x="31" y="40"/>
                    <a:pt x="31" y="43"/>
                  </a:cubicBezTo>
                  <a:cubicBezTo>
                    <a:pt x="31" y="46"/>
                    <a:pt x="36" y="49"/>
                    <a:pt x="48" y="53"/>
                  </a:cubicBezTo>
                  <a:cubicBezTo>
                    <a:pt x="66" y="59"/>
                    <a:pt x="73" y="68"/>
                    <a:pt x="73" y="82"/>
                  </a:cubicBezTo>
                  <a:cubicBezTo>
                    <a:pt x="73" y="96"/>
                    <a:pt x="64" y="106"/>
                    <a:pt x="49" y="1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260" name="Group 108"/>
          <p:cNvGrpSpPr>
            <a:grpSpLocks noChangeAspect="1"/>
          </p:cNvGrpSpPr>
          <p:nvPr/>
        </p:nvGrpSpPr>
        <p:grpSpPr bwMode="auto">
          <a:xfrm>
            <a:off x="334963" y="1506538"/>
            <a:ext cx="827087" cy="828675"/>
            <a:chOff x="211" y="949"/>
            <a:chExt cx="521" cy="522"/>
          </a:xfrm>
        </p:grpSpPr>
        <p:sp>
          <p:nvSpPr>
            <p:cNvPr id="49261" name="Oval 109"/>
            <p:cNvSpPr>
              <a:spLocks noChangeArrowheads="1"/>
            </p:cNvSpPr>
            <p:nvPr/>
          </p:nvSpPr>
          <p:spPr bwMode="auto">
            <a:xfrm>
              <a:off x="211" y="949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262" name="Freeform 110"/>
            <p:cNvSpPr>
              <a:spLocks noEditPoints="1"/>
            </p:cNvSpPr>
            <p:nvPr/>
          </p:nvSpPr>
          <p:spPr bwMode="auto">
            <a:xfrm>
              <a:off x="230" y="968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3" name="Freeform 111"/>
            <p:cNvSpPr>
              <a:spLocks noEditPoints="1"/>
            </p:cNvSpPr>
            <p:nvPr/>
          </p:nvSpPr>
          <p:spPr bwMode="auto">
            <a:xfrm>
              <a:off x="333" y="1138"/>
              <a:ext cx="270" cy="216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174" y="0"/>
                </a:cxn>
                <a:cxn ang="0">
                  <a:pos x="174" y="10"/>
                </a:cxn>
                <a:cxn ang="0">
                  <a:pos x="174" y="31"/>
                </a:cxn>
                <a:cxn ang="0">
                  <a:pos x="174" y="31"/>
                </a:cxn>
                <a:cxn ang="0">
                  <a:pos x="95" y="31"/>
                </a:cxn>
                <a:cxn ang="0">
                  <a:pos x="88" y="31"/>
                </a:cxn>
                <a:cxn ang="0">
                  <a:pos x="88" y="38"/>
                </a:cxn>
                <a:cxn ang="0">
                  <a:pos x="88" y="60"/>
                </a:cxn>
                <a:cxn ang="0">
                  <a:pos x="88" y="60"/>
                </a:cxn>
                <a:cxn ang="0">
                  <a:pos x="9" y="60"/>
                </a:cxn>
                <a:cxn ang="0">
                  <a:pos x="0" y="60"/>
                </a:cxn>
                <a:cxn ang="0">
                  <a:pos x="0" y="70"/>
                </a:cxn>
                <a:cxn ang="0">
                  <a:pos x="0" y="206"/>
                </a:cxn>
                <a:cxn ang="0">
                  <a:pos x="0" y="216"/>
                </a:cxn>
                <a:cxn ang="0">
                  <a:pos x="9" y="216"/>
                </a:cxn>
                <a:cxn ang="0">
                  <a:pos x="88" y="216"/>
                </a:cxn>
                <a:cxn ang="0">
                  <a:pos x="88" y="216"/>
                </a:cxn>
                <a:cxn ang="0">
                  <a:pos x="95" y="216"/>
                </a:cxn>
                <a:cxn ang="0">
                  <a:pos x="95" y="216"/>
                </a:cxn>
                <a:cxn ang="0">
                  <a:pos x="174" y="216"/>
                </a:cxn>
                <a:cxn ang="0">
                  <a:pos x="174" y="216"/>
                </a:cxn>
                <a:cxn ang="0">
                  <a:pos x="184" y="216"/>
                </a:cxn>
                <a:cxn ang="0">
                  <a:pos x="184" y="216"/>
                </a:cxn>
                <a:cxn ang="0">
                  <a:pos x="263" y="216"/>
                </a:cxn>
                <a:cxn ang="0">
                  <a:pos x="270" y="216"/>
                </a:cxn>
                <a:cxn ang="0">
                  <a:pos x="270" y="206"/>
                </a:cxn>
                <a:cxn ang="0">
                  <a:pos x="270" y="10"/>
                </a:cxn>
                <a:cxn ang="0">
                  <a:pos x="270" y="0"/>
                </a:cxn>
                <a:cxn ang="0">
                  <a:pos x="263" y="0"/>
                </a:cxn>
                <a:cxn ang="0">
                  <a:pos x="184" y="0"/>
                </a:cxn>
                <a:cxn ang="0">
                  <a:pos x="88" y="206"/>
                </a:cxn>
                <a:cxn ang="0">
                  <a:pos x="9" y="206"/>
                </a:cxn>
                <a:cxn ang="0">
                  <a:pos x="9" y="70"/>
                </a:cxn>
                <a:cxn ang="0">
                  <a:pos x="88" y="70"/>
                </a:cxn>
                <a:cxn ang="0">
                  <a:pos x="88" y="206"/>
                </a:cxn>
                <a:cxn ang="0">
                  <a:pos x="174" y="206"/>
                </a:cxn>
                <a:cxn ang="0">
                  <a:pos x="95" y="206"/>
                </a:cxn>
                <a:cxn ang="0">
                  <a:pos x="95" y="38"/>
                </a:cxn>
                <a:cxn ang="0">
                  <a:pos x="174" y="38"/>
                </a:cxn>
                <a:cxn ang="0">
                  <a:pos x="174" y="206"/>
                </a:cxn>
                <a:cxn ang="0">
                  <a:pos x="263" y="206"/>
                </a:cxn>
                <a:cxn ang="0">
                  <a:pos x="184" y="206"/>
                </a:cxn>
                <a:cxn ang="0">
                  <a:pos x="184" y="10"/>
                </a:cxn>
                <a:cxn ang="0">
                  <a:pos x="263" y="10"/>
                </a:cxn>
                <a:cxn ang="0">
                  <a:pos x="263" y="206"/>
                </a:cxn>
              </a:cxnLst>
              <a:rect l="0" t="0" r="r" b="b"/>
              <a:pathLst>
                <a:path w="270" h="216">
                  <a:moveTo>
                    <a:pt x="184" y="0"/>
                  </a:moveTo>
                  <a:lnTo>
                    <a:pt x="174" y="0"/>
                  </a:lnTo>
                  <a:lnTo>
                    <a:pt x="174" y="10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95" y="31"/>
                  </a:lnTo>
                  <a:lnTo>
                    <a:pt x="88" y="31"/>
                  </a:lnTo>
                  <a:lnTo>
                    <a:pt x="88" y="38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9" y="60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0" y="206"/>
                  </a:lnTo>
                  <a:lnTo>
                    <a:pt x="0" y="216"/>
                  </a:lnTo>
                  <a:lnTo>
                    <a:pt x="9" y="216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95" y="216"/>
                  </a:lnTo>
                  <a:lnTo>
                    <a:pt x="95" y="216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263" y="216"/>
                  </a:lnTo>
                  <a:lnTo>
                    <a:pt x="270" y="216"/>
                  </a:lnTo>
                  <a:lnTo>
                    <a:pt x="270" y="206"/>
                  </a:lnTo>
                  <a:lnTo>
                    <a:pt x="270" y="10"/>
                  </a:lnTo>
                  <a:lnTo>
                    <a:pt x="270" y="0"/>
                  </a:lnTo>
                  <a:lnTo>
                    <a:pt x="263" y="0"/>
                  </a:lnTo>
                  <a:lnTo>
                    <a:pt x="184" y="0"/>
                  </a:lnTo>
                  <a:close/>
                  <a:moveTo>
                    <a:pt x="88" y="206"/>
                  </a:moveTo>
                  <a:lnTo>
                    <a:pt x="9" y="206"/>
                  </a:lnTo>
                  <a:lnTo>
                    <a:pt x="9" y="70"/>
                  </a:lnTo>
                  <a:lnTo>
                    <a:pt x="88" y="70"/>
                  </a:lnTo>
                  <a:lnTo>
                    <a:pt x="88" y="206"/>
                  </a:lnTo>
                  <a:close/>
                  <a:moveTo>
                    <a:pt x="174" y="206"/>
                  </a:moveTo>
                  <a:lnTo>
                    <a:pt x="95" y="206"/>
                  </a:lnTo>
                  <a:lnTo>
                    <a:pt x="95" y="38"/>
                  </a:lnTo>
                  <a:lnTo>
                    <a:pt x="174" y="38"/>
                  </a:lnTo>
                  <a:lnTo>
                    <a:pt x="174" y="206"/>
                  </a:lnTo>
                  <a:close/>
                  <a:moveTo>
                    <a:pt x="263" y="206"/>
                  </a:moveTo>
                  <a:lnTo>
                    <a:pt x="184" y="206"/>
                  </a:lnTo>
                  <a:lnTo>
                    <a:pt x="184" y="10"/>
                  </a:lnTo>
                  <a:lnTo>
                    <a:pt x="263" y="10"/>
                  </a:lnTo>
                  <a:lnTo>
                    <a:pt x="263" y="2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4" name="Rectangle 112"/>
            <p:cNvSpPr>
              <a:spLocks noChangeArrowheads="1"/>
            </p:cNvSpPr>
            <p:nvPr/>
          </p:nvSpPr>
          <p:spPr bwMode="auto">
            <a:xfrm>
              <a:off x="562" y="1256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5" name="Rectangle 113"/>
            <p:cNvSpPr>
              <a:spLocks noChangeArrowheads="1"/>
            </p:cNvSpPr>
            <p:nvPr/>
          </p:nvSpPr>
          <p:spPr bwMode="auto">
            <a:xfrm>
              <a:off x="562" y="1284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6" name="Rectangle 114"/>
            <p:cNvSpPr>
              <a:spLocks noChangeArrowheads="1"/>
            </p:cNvSpPr>
            <p:nvPr/>
          </p:nvSpPr>
          <p:spPr bwMode="auto">
            <a:xfrm>
              <a:off x="562" y="1227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7" name="Rectangle 115"/>
            <p:cNvSpPr>
              <a:spLocks noChangeArrowheads="1"/>
            </p:cNvSpPr>
            <p:nvPr/>
          </p:nvSpPr>
          <p:spPr bwMode="auto">
            <a:xfrm>
              <a:off x="531" y="1256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8" name="Rectangle 116"/>
            <p:cNvSpPr>
              <a:spLocks noChangeArrowheads="1"/>
            </p:cNvSpPr>
            <p:nvPr/>
          </p:nvSpPr>
          <p:spPr bwMode="auto">
            <a:xfrm>
              <a:off x="531" y="1284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69" name="Rectangle 117"/>
            <p:cNvSpPr>
              <a:spLocks noChangeArrowheads="1"/>
            </p:cNvSpPr>
            <p:nvPr/>
          </p:nvSpPr>
          <p:spPr bwMode="auto">
            <a:xfrm>
              <a:off x="531" y="1227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0" name="Rectangle 118"/>
            <p:cNvSpPr>
              <a:spLocks noChangeArrowheads="1"/>
            </p:cNvSpPr>
            <p:nvPr/>
          </p:nvSpPr>
          <p:spPr bwMode="auto">
            <a:xfrm>
              <a:off x="562" y="1167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1" name="Rectangle 119"/>
            <p:cNvSpPr>
              <a:spLocks noChangeArrowheads="1"/>
            </p:cNvSpPr>
            <p:nvPr/>
          </p:nvSpPr>
          <p:spPr bwMode="auto">
            <a:xfrm>
              <a:off x="531" y="1167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2" name="Rectangle 120"/>
            <p:cNvSpPr>
              <a:spLocks noChangeArrowheads="1"/>
            </p:cNvSpPr>
            <p:nvPr/>
          </p:nvSpPr>
          <p:spPr bwMode="auto">
            <a:xfrm>
              <a:off x="562" y="1196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3" name="Rectangle 121"/>
            <p:cNvSpPr>
              <a:spLocks noChangeArrowheads="1"/>
            </p:cNvSpPr>
            <p:nvPr/>
          </p:nvSpPr>
          <p:spPr bwMode="auto">
            <a:xfrm>
              <a:off x="531" y="1196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4" name="Rectangle 122"/>
            <p:cNvSpPr>
              <a:spLocks noChangeArrowheads="1"/>
            </p:cNvSpPr>
            <p:nvPr/>
          </p:nvSpPr>
          <p:spPr bwMode="auto">
            <a:xfrm>
              <a:off x="476" y="1284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5" name="Rectangle 123"/>
            <p:cNvSpPr>
              <a:spLocks noChangeArrowheads="1"/>
            </p:cNvSpPr>
            <p:nvPr/>
          </p:nvSpPr>
          <p:spPr bwMode="auto">
            <a:xfrm>
              <a:off x="476" y="1256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6" name="Rectangle 124"/>
            <p:cNvSpPr>
              <a:spLocks noChangeArrowheads="1"/>
            </p:cNvSpPr>
            <p:nvPr/>
          </p:nvSpPr>
          <p:spPr bwMode="auto">
            <a:xfrm>
              <a:off x="445" y="1284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7" name="Rectangle 125"/>
            <p:cNvSpPr>
              <a:spLocks noChangeArrowheads="1"/>
            </p:cNvSpPr>
            <p:nvPr/>
          </p:nvSpPr>
          <p:spPr bwMode="auto">
            <a:xfrm>
              <a:off x="445" y="1256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8" name="Rectangle 126"/>
            <p:cNvSpPr>
              <a:spLocks noChangeArrowheads="1"/>
            </p:cNvSpPr>
            <p:nvPr/>
          </p:nvSpPr>
          <p:spPr bwMode="auto">
            <a:xfrm>
              <a:off x="476" y="1196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79" name="Rectangle 127"/>
            <p:cNvSpPr>
              <a:spLocks noChangeArrowheads="1"/>
            </p:cNvSpPr>
            <p:nvPr/>
          </p:nvSpPr>
          <p:spPr bwMode="auto">
            <a:xfrm>
              <a:off x="445" y="1196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0" name="Rectangle 128"/>
            <p:cNvSpPr>
              <a:spLocks noChangeArrowheads="1"/>
            </p:cNvSpPr>
            <p:nvPr/>
          </p:nvSpPr>
          <p:spPr bwMode="auto">
            <a:xfrm>
              <a:off x="476" y="1224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1" name="Rectangle 129"/>
            <p:cNvSpPr>
              <a:spLocks noChangeArrowheads="1"/>
            </p:cNvSpPr>
            <p:nvPr/>
          </p:nvSpPr>
          <p:spPr bwMode="auto">
            <a:xfrm>
              <a:off x="445" y="1224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2" name="Rectangle 130"/>
            <p:cNvSpPr>
              <a:spLocks noChangeArrowheads="1"/>
            </p:cNvSpPr>
            <p:nvPr/>
          </p:nvSpPr>
          <p:spPr bwMode="auto">
            <a:xfrm>
              <a:off x="388" y="1284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3" name="Rectangle 131"/>
            <p:cNvSpPr>
              <a:spLocks noChangeArrowheads="1"/>
            </p:cNvSpPr>
            <p:nvPr/>
          </p:nvSpPr>
          <p:spPr bwMode="auto">
            <a:xfrm>
              <a:off x="388" y="1256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4" name="Rectangle 132"/>
            <p:cNvSpPr>
              <a:spLocks noChangeArrowheads="1"/>
            </p:cNvSpPr>
            <p:nvPr/>
          </p:nvSpPr>
          <p:spPr bwMode="auto">
            <a:xfrm>
              <a:off x="357" y="1284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5" name="Rectangle 133"/>
            <p:cNvSpPr>
              <a:spLocks noChangeArrowheads="1"/>
            </p:cNvSpPr>
            <p:nvPr/>
          </p:nvSpPr>
          <p:spPr bwMode="auto">
            <a:xfrm>
              <a:off x="357" y="1256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6" name="Rectangle 134"/>
            <p:cNvSpPr>
              <a:spLocks noChangeArrowheads="1"/>
            </p:cNvSpPr>
            <p:nvPr/>
          </p:nvSpPr>
          <p:spPr bwMode="auto">
            <a:xfrm>
              <a:off x="388" y="1224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7" name="Rectangle 135"/>
            <p:cNvSpPr>
              <a:spLocks noChangeArrowheads="1"/>
            </p:cNvSpPr>
            <p:nvPr/>
          </p:nvSpPr>
          <p:spPr bwMode="auto">
            <a:xfrm>
              <a:off x="357" y="1224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88" name="Freeform 136"/>
            <p:cNvSpPr>
              <a:spLocks/>
            </p:cNvSpPr>
            <p:nvPr/>
          </p:nvSpPr>
          <p:spPr bwMode="auto">
            <a:xfrm>
              <a:off x="340" y="1049"/>
              <a:ext cx="222" cy="108"/>
            </a:xfrm>
            <a:custGeom>
              <a:avLst/>
              <a:gdLst/>
              <a:ahLst/>
              <a:cxnLst>
                <a:cxn ang="0">
                  <a:pos x="52" y="37"/>
                </a:cxn>
                <a:cxn ang="0">
                  <a:pos x="88" y="6"/>
                </a:cxn>
                <a:cxn ang="0">
                  <a:pos x="90" y="16"/>
                </a:cxn>
                <a:cxn ang="0">
                  <a:pos x="93" y="16"/>
                </a:cxn>
                <a:cxn ang="0">
                  <a:pos x="90" y="1"/>
                </a:cxn>
                <a:cxn ang="0">
                  <a:pos x="88" y="0"/>
                </a:cxn>
                <a:cxn ang="0">
                  <a:pos x="74" y="2"/>
                </a:cxn>
                <a:cxn ang="0">
                  <a:pos x="74" y="6"/>
                </a:cxn>
                <a:cxn ang="0">
                  <a:pos x="85" y="4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13" y="45"/>
                </a:cxn>
                <a:cxn ang="0">
                  <a:pos x="52" y="37"/>
                </a:cxn>
              </a:cxnLst>
              <a:rect l="0" t="0" r="r" b="b"/>
              <a:pathLst>
                <a:path w="93" h="45">
                  <a:moveTo>
                    <a:pt x="52" y="37"/>
                  </a:moveTo>
                  <a:cubicBezTo>
                    <a:pt x="66" y="30"/>
                    <a:pt x="78" y="20"/>
                    <a:pt x="88" y="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3" y="16"/>
                    <a:pt x="93" y="16"/>
                    <a:pt x="93" y="16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65" y="31"/>
                    <a:pt x="35" y="45"/>
                    <a:pt x="1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5"/>
                    <a:pt x="9" y="45"/>
                    <a:pt x="13" y="45"/>
                  </a:cubicBezTo>
                  <a:cubicBezTo>
                    <a:pt x="27" y="45"/>
                    <a:pt x="40" y="42"/>
                    <a:pt x="52" y="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291" name="Group 139"/>
          <p:cNvGrpSpPr>
            <a:grpSpLocks noChangeAspect="1"/>
          </p:cNvGrpSpPr>
          <p:nvPr/>
        </p:nvGrpSpPr>
        <p:grpSpPr bwMode="auto">
          <a:xfrm>
            <a:off x="1631954" y="1666874"/>
            <a:ext cx="430213" cy="482600"/>
            <a:chOff x="1020" y="1050"/>
            <a:chExt cx="271" cy="304"/>
          </a:xfrm>
        </p:grpSpPr>
        <p:sp>
          <p:nvSpPr>
            <p:cNvPr id="49293" name="Freeform 141"/>
            <p:cNvSpPr>
              <a:spLocks noEditPoints="1"/>
            </p:cNvSpPr>
            <p:nvPr/>
          </p:nvSpPr>
          <p:spPr bwMode="auto">
            <a:xfrm>
              <a:off x="1020" y="1138"/>
              <a:ext cx="271" cy="216"/>
            </a:xfrm>
            <a:custGeom>
              <a:avLst/>
              <a:gdLst/>
              <a:ahLst/>
              <a:cxnLst>
                <a:cxn ang="0">
                  <a:pos x="185" y="0"/>
                </a:cxn>
                <a:cxn ang="0">
                  <a:pos x="175" y="0"/>
                </a:cxn>
                <a:cxn ang="0">
                  <a:pos x="175" y="10"/>
                </a:cxn>
                <a:cxn ang="0">
                  <a:pos x="175" y="32"/>
                </a:cxn>
                <a:cxn ang="0">
                  <a:pos x="175" y="32"/>
                </a:cxn>
                <a:cxn ang="0">
                  <a:pos x="96" y="32"/>
                </a:cxn>
                <a:cxn ang="0">
                  <a:pos x="89" y="32"/>
                </a:cxn>
                <a:cxn ang="0">
                  <a:pos x="89" y="39"/>
                </a:cxn>
                <a:cxn ang="0">
                  <a:pos x="89" y="60"/>
                </a:cxn>
                <a:cxn ang="0">
                  <a:pos x="89" y="60"/>
                </a:cxn>
                <a:cxn ang="0">
                  <a:pos x="10" y="60"/>
                </a:cxn>
                <a:cxn ang="0">
                  <a:pos x="0" y="60"/>
                </a:cxn>
                <a:cxn ang="0">
                  <a:pos x="0" y="70"/>
                </a:cxn>
                <a:cxn ang="0">
                  <a:pos x="0" y="207"/>
                </a:cxn>
                <a:cxn ang="0">
                  <a:pos x="0" y="216"/>
                </a:cxn>
                <a:cxn ang="0">
                  <a:pos x="10" y="216"/>
                </a:cxn>
                <a:cxn ang="0">
                  <a:pos x="89" y="216"/>
                </a:cxn>
                <a:cxn ang="0">
                  <a:pos x="89" y="216"/>
                </a:cxn>
                <a:cxn ang="0">
                  <a:pos x="96" y="216"/>
                </a:cxn>
                <a:cxn ang="0">
                  <a:pos x="96" y="216"/>
                </a:cxn>
                <a:cxn ang="0">
                  <a:pos x="175" y="216"/>
                </a:cxn>
                <a:cxn ang="0">
                  <a:pos x="175" y="216"/>
                </a:cxn>
                <a:cxn ang="0">
                  <a:pos x="185" y="216"/>
                </a:cxn>
                <a:cxn ang="0">
                  <a:pos x="185" y="216"/>
                </a:cxn>
                <a:cxn ang="0">
                  <a:pos x="264" y="216"/>
                </a:cxn>
                <a:cxn ang="0">
                  <a:pos x="271" y="216"/>
                </a:cxn>
                <a:cxn ang="0">
                  <a:pos x="271" y="207"/>
                </a:cxn>
                <a:cxn ang="0">
                  <a:pos x="271" y="10"/>
                </a:cxn>
                <a:cxn ang="0">
                  <a:pos x="271" y="0"/>
                </a:cxn>
                <a:cxn ang="0">
                  <a:pos x="264" y="0"/>
                </a:cxn>
                <a:cxn ang="0">
                  <a:pos x="185" y="0"/>
                </a:cxn>
                <a:cxn ang="0">
                  <a:pos x="89" y="207"/>
                </a:cxn>
                <a:cxn ang="0">
                  <a:pos x="10" y="207"/>
                </a:cxn>
                <a:cxn ang="0">
                  <a:pos x="10" y="70"/>
                </a:cxn>
                <a:cxn ang="0">
                  <a:pos x="89" y="70"/>
                </a:cxn>
                <a:cxn ang="0">
                  <a:pos x="89" y="207"/>
                </a:cxn>
                <a:cxn ang="0">
                  <a:pos x="175" y="207"/>
                </a:cxn>
                <a:cxn ang="0">
                  <a:pos x="96" y="207"/>
                </a:cxn>
                <a:cxn ang="0">
                  <a:pos x="96" y="39"/>
                </a:cxn>
                <a:cxn ang="0">
                  <a:pos x="175" y="39"/>
                </a:cxn>
                <a:cxn ang="0">
                  <a:pos x="175" y="207"/>
                </a:cxn>
                <a:cxn ang="0">
                  <a:pos x="264" y="207"/>
                </a:cxn>
                <a:cxn ang="0">
                  <a:pos x="185" y="207"/>
                </a:cxn>
                <a:cxn ang="0">
                  <a:pos x="185" y="10"/>
                </a:cxn>
                <a:cxn ang="0">
                  <a:pos x="264" y="10"/>
                </a:cxn>
                <a:cxn ang="0">
                  <a:pos x="264" y="207"/>
                </a:cxn>
              </a:cxnLst>
              <a:rect l="0" t="0" r="r" b="b"/>
              <a:pathLst>
                <a:path w="271" h="216">
                  <a:moveTo>
                    <a:pt x="185" y="0"/>
                  </a:moveTo>
                  <a:lnTo>
                    <a:pt x="175" y="0"/>
                  </a:lnTo>
                  <a:lnTo>
                    <a:pt x="175" y="10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96" y="32"/>
                  </a:lnTo>
                  <a:lnTo>
                    <a:pt x="89" y="32"/>
                  </a:lnTo>
                  <a:lnTo>
                    <a:pt x="89" y="39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10" y="60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0" y="207"/>
                  </a:lnTo>
                  <a:lnTo>
                    <a:pt x="0" y="216"/>
                  </a:lnTo>
                  <a:lnTo>
                    <a:pt x="10" y="216"/>
                  </a:lnTo>
                  <a:lnTo>
                    <a:pt x="89" y="216"/>
                  </a:lnTo>
                  <a:lnTo>
                    <a:pt x="89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264" y="216"/>
                  </a:lnTo>
                  <a:lnTo>
                    <a:pt x="271" y="216"/>
                  </a:lnTo>
                  <a:lnTo>
                    <a:pt x="271" y="207"/>
                  </a:lnTo>
                  <a:lnTo>
                    <a:pt x="271" y="10"/>
                  </a:lnTo>
                  <a:lnTo>
                    <a:pt x="271" y="0"/>
                  </a:lnTo>
                  <a:lnTo>
                    <a:pt x="264" y="0"/>
                  </a:lnTo>
                  <a:lnTo>
                    <a:pt x="185" y="0"/>
                  </a:lnTo>
                  <a:close/>
                  <a:moveTo>
                    <a:pt x="89" y="207"/>
                  </a:moveTo>
                  <a:lnTo>
                    <a:pt x="10" y="207"/>
                  </a:lnTo>
                  <a:lnTo>
                    <a:pt x="10" y="70"/>
                  </a:lnTo>
                  <a:lnTo>
                    <a:pt x="89" y="70"/>
                  </a:lnTo>
                  <a:lnTo>
                    <a:pt x="89" y="207"/>
                  </a:lnTo>
                  <a:close/>
                  <a:moveTo>
                    <a:pt x="175" y="207"/>
                  </a:moveTo>
                  <a:lnTo>
                    <a:pt x="96" y="207"/>
                  </a:lnTo>
                  <a:lnTo>
                    <a:pt x="96" y="39"/>
                  </a:lnTo>
                  <a:lnTo>
                    <a:pt x="175" y="39"/>
                  </a:lnTo>
                  <a:lnTo>
                    <a:pt x="175" y="207"/>
                  </a:lnTo>
                  <a:close/>
                  <a:moveTo>
                    <a:pt x="264" y="207"/>
                  </a:moveTo>
                  <a:lnTo>
                    <a:pt x="185" y="207"/>
                  </a:lnTo>
                  <a:lnTo>
                    <a:pt x="185" y="10"/>
                  </a:lnTo>
                  <a:lnTo>
                    <a:pt x="264" y="10"/>
                  </a:lnTo>
                  <a:lnTo>
                    <a:pt x="264" y="20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4" name="Rectangle 142"/>
            <p:cNvSpPr>
              <a:spLocks noChangeArrowheads="1"/>
            </p:cNvSpPr>
            <p:nvPr/>
          </p:nvSpPr>
          <p:spPr bwMode="auto">
            <a:xfrm>
              <a:off x="1250" y="1256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5" name="Rectangle 143"/>
            <p:cNvSpPr>
              <a:spLocks noChangeArrowheads="1"/>
            </p:cNvSpPr>
            <p:nvPr/>
          </p:nvSpPr>
          <p:spPr bwMode="auto">
            <a:xfrm>
              <a:off x="1250" y="1285"/>
              <a:ext cx="2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6" name="Rectangle 144"/>
            <p:cNvSpPr>
              <a:spLocks noChangeArrowheads="1"/>
            </p:cNvSpPr>
            <p:nvPr/>
          </p:nvSpPr>
          <p:spPr bwMode="auto">
            <a:xfrm>
              <a:off x="1250" y="1227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7" name="Rectangle 145"/>
            <p:cNvSpPr>
              <a:spLocks noChangeArrowheads="1"/>
            </p:cNvSpPr>
            <p:nvPr/>
          </p:nvSpPr>
          <p:spPr bwMode="auto">
            <a:xfrm>
              <a:off x="1219" y="1256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8" name="Rectangle 146"/>
            <p:cNvSpPr>
              <a:spLocks noChangeArrowheads="1"/>
            </p:cNvSpPr>
            <p:nvPr/>
          </p:nvSpPr>
          <p:spPr bwMode="auto">
            <a:xfrm>
              <a:off x="1219" y="1285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99" name="Rectangle 147"/>
            <p:cNvSpPr>
              <a:spLocks noChangeArrowheads="1"/>
            </p:cNvSpPr>
            <p:nvPr/>
          </p:nvSpPr>
          <p:spPr bwMode="auto">
            <a:xfrm>
              <a:off x="1219" y="1227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0" name="Rectangle 148"/>
            <p:cNvSpPr>
              <a:spLocks noChangeArrowheads="1"/>
            </p:cNvSpPr>
            <p:nvPr/>
          </p:nvSpPr>
          <p:spPr bwMode="auto">
            <a:xfrm>
              <a:off x="1250" y="1167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1" name="Rectangle 149"/>
            <p:cNvSpPr>
              <a:spLocks noChangeArrowheads="1"/>
            </p:cNvSpPr>
            <p:nvPr/>
          </p:nvSpPr>
          <p:spPr bwMode="auto">
            <a:xfrm>
              <a:off x="1219" y="1167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2" name="Rectangle 150"/>
            <p:cNvSpPr>
              <a:spLocks noChangeArrowheads="1"/>
            </p:cNvSpPr>
            <p:nvPr/>
          </p:nvSpPr>
          <p:spPr bwMode="auto">
            <a:xfrm>
              <a:off x="1250" y="1196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3" name="Rectangle 151"/>
            <p:cNvSpPr>
              <a:spLocks noChangeArrowheads="1"/>
            </p:cNvSpPr>
            <p:nvPr/>
          </p:nvSpPr>
          <p:spPr bwMode="auto">
            <a:xfrm>
              <a:off x="1219" y="1196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4" name="Rectangle 152"/>
            <p:cNvSpPr>
              <a:spLocks noChangeArrowheads="1"/>
            </p:cNvSpPr>
            <p:nvPr/>
          </p:nvSpPr>
          <p:spPr bwMode="auto">
            <a:xfrm>
              <a:off x="1164" y="1285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5" name="Rectangle 153"/>
            <p:cNvSpPr>
              <a:spLocks noChangeArrowheads="1"/>
            </p:cNvSpPr>
            <p:nvPr/>
          </p:nvSpPr>
          <p:spPr bwMode="auto">
            <a:xfrm>
              <a:off x="1164" y="1256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6" name="Rectangle 154"/>
            <p:cNvSpPr>
              <a:spLocks noChangeArrowheads="1"/>
            </p:cNvSpPr>
            <p:nvPr/>
          </p:nvSpPr>
          <p:spPr bwMode="auto">
            <a:xfrm>
              <a:off x="1133" y="1285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7" name="Rectangle 155"/>
            <p:cNvSpPr>
              <a:spLocks noChangeArrowheads="1"/>
            </p:cNvSpPr>
            <p:nvPr/>
          </p:nvSpPr>
          <p:spPr bwMode="auto">
            <a:xfrm>
              <a:off x="1133" y="1256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8" name="Rectangle 156"/>
            <p:cNvSpPr>
              <a:spLocks noChangeArrowheads="1"/>
            </p:cNvSpPr>
            <p:nvPr/>
          </p:nvSpPr>
          <p:spPr bwMode="auto">
            <a:xfrm>
              <a:off x="1164" y="1196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09" name="Rectangle 157"/>
            <p:cNvSpPr>
              <a:spLocks noChangeArrowheads="1"/>
            </p:cNvSpPr>
            <p:nvPr/>
          </p:nvSpPr>
          <p:spPr bwMode="auto">
            <a:xfrm>
              <a:off x="1133" y="1196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10" name="Rectangle 158"/>
            <p:cNvSpPr>
              <a:spLocks noChangeArrowheads="1"/>
            </p:cNvSpPr>
            <p:nvPr/>
          </p:nvSpPr>
          <p:spPr bwMode="auto">
            <a:xfrm>
              <a:off x="1164" y="1225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1" name="Rectangle 159"/>
            <p:cNvSpPr>
              <a:spLocks noChangeArrowheads="1"/>
            </p:cNvSpPr>
            <p:nvPr/>
          </p:nvSpPr>
          <p:spPr bwMode="auto">
            <a:xfrm>
              <a:off x="1133" y="1225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2" name="Rectangle 160"/>
            <p:cNvSpPr>
              <a:spLocks noChangeArrowheads="1"/>
            </p:cNvSpPr>
            <p:nvPr/>
          </p:nvSpPr>
          <p:spPr bwMode="auto">
            <a:xfrm>
              <a:off x="1075" y="1285"/>
              <a:ext cx="2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3" name="Rectangle 161"/>
            <p:cNvSpPr>
              <a:spLocks noChangeArrowheads="1"/>
            </p:cNvSpPr>
            <p:nvPr/>
          </p:nvSpPr>
          <p:spPr bwMode="auto">
            <a:xfrm>
              <a:off x="1075" y="1256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4" name="Rectangle 162"/>
            <p:cNvSpPr>
              <a:spLocks noChangeArrowheads="1"/>
            </p:cNvSpPr>
            <p:nvPr/>
          </p:nvSpPr>
          <p:spPr bwMode="auto">
            <a:xfrm>
              <a:off x="1044" y="1285"/>
              <a:ext cx="2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5" name="Rectangle 163"/>
            <p:cNvSpPr>
              <a:spLocks noChangeArrowheads="1"/>
            </p:cNvSpPr>
            <p:nvPr/>
          </p:nvSpPr>
          <p:spPr bwMode="auto">
            <a:xfrm>
              <a:off x="1044" y="1256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6" name="Rectangle 164"/>
            <p:cNvSpPr>
              <a:spLocks noChangeArrowheads="1"/>
            </p:cNvSpPr>
            <p:nvPr/>
          </p:nvSpPr>
          <p:spPr bwMode="auto">
            <a:xfrm>
              <a:off x="1075" y="1225"/>
              <a:ext cx="2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7" name="Rectangle 165"/>
            <p:cNvSpPr>
              <a:spLocks noChangeArrowheads="1"/>
            </p:cNvSpPr>
            <p:nvPr/>
          </p:nvSpPr>
          <p:spPr bwMode="auto">
            <a:xfrm>
              <a:off x="1044" y="1225"/>
              <a:ext cx="2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18" name="Freeform 166"/>
            <p:cNvSpPr>
              <a:spLocks/>
            </p:cNvSpPr>
            <p:nvPr/>
          </p:nvSpPr>
          <p:spPr bwMode="auto">
            <a:xfrm>
              <a:off x="1028" y="1050"/>
              <a:ext cx="222" cy="108"/>
            </a:xfrm>
            <a:custGeom>
              <a:avLst/>
              <a:gdLst/>
              <a:ahLst/>
              <a:cxnLst>
                <a:cxn ang="0">
                  <a:pos x="52" y="37"/>
                </a:cxn>
                <a:cxn ang="0">
                  <a:pos x="88" y="6"/>
                </a:cxn>
                <a:cxn ang="0">
                  <a:pos x="90" y="16"/>
                </a:cxn>
                <a:cxn ang="0">
                  <a:pos x="93" y="16"/>
                </a:cxn>
                <a:cxn ang="0">
                  <a:pos x="90" y="1"/>
                </a:cxn>
                <a:cxn ang="0">
                  <a:pos x="88" y="0"/>
                </a:cxn>
                <a:cxn ang="0">
                  <a:pos x="74" y="2"/>
                </a:cxn>
                <a:cxn ang="0">
                  <a:pos x="74" y="6"/>
                </a:cxn>
                <a:cxn ang="0">
                  <a:pos x="85" y="4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13" y="45"/>
                </a:cxn>
                <a:cxn ang="0">
                  <a:pos x="52" y="37"/>
                </a:cxn>
              </a:cxnLst>
              <a:rect l="0" t="0" r="r" b="b"/>
              <a:pathLst>
                <a:path w="93" h="45">
                  <a:moveTo>
                    <a:pt x="52" y="37"/>
                  </a:moveTo>
                  <a:cubicBezTo>
                    <a:pt x="66" y="30"/>
                    <a:pt x="78" y="20"/>
                    <a:pt x="88" y="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3" y="16"/>
                    <a:pt x="93" y="16"/>
                    <a:pt x="93" y="16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65" y="31"/>
                    <a:pt x="35" y="45"/>
                    <a:pt x="1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5"/>
                    <a:pt x="9" y="45"/>
                    <a:pt x="13" y="45"/>
                  </a:cubicBezTo>
                  <a:cubicBezTo>
                    <a:pt x="27" y="45"/>
                    <a:pt x="40" y="42"/>
                    <a:pt x="52" y="3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21" name="Group 169"/>
          <p:cNvGrpSpPr>
            <a:grpSpLocks noChangeAspect="1"/>
          </p:cNvGrpSpPr>
          <p:nvPr/>
        </p:nvGrpSpPr>
        <p:grpSpPr bwMode="auto">
          <a:xfrm>
            <a:off x="2530634" y="1506538"/>
            <a:ext cx="828675" cy="828675"/>
            <a:chOff x="1586" y="949"/>
            <a:chExt cx="522" cy="522"/>
          </a:xfrm>
        </p:grpSpPr>
        <p:sp>
          <p:nvSpPr>
            <p:cNvPr id="49322" name="Oval 170"/>
            <p:cNvSpPr>
              <a:spLocks noChangeArrowheads="1"/>
            </p:cNvSpPr>
            <p:nvPr/>
          </p:nvSpPr>
          <p:spPr bwMode="auto">
            <a:xfrm>
              <a:off x="1586" y="949"/>
              <a:ext cx="522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23" name="Freeform 171"/>
            <p:cNvSpPr>
              <a:spLocks noEditPoints="1"/>
            </p:cNvSpPr>
            <p:nvPr/>
          </p:nvSpPr>
          <p:spPr bwMode="auto">
            <a:xfrm>
              <a:off x="1605" y="96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24" name="Freeform 172"/>
            <p:cNvSpPr>
              <a:spLocks noEditPoints="1"/>
            </p:cNvSpPr>
            <p:nvPr/>
          </p:nvSpPr>
          <p:spPr bwMode="auto">
            <a:xfrm>
              <a:off x="1981" y="1138"/>
              <a:ext cx="24" cy="4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6" y="16"/>
                </a:cxn>
                <a:cxn ang="0">
                  <a:pos x="8" y="17"/>
                </a:cxn>
                <a:cxn ang="0">
                  <a:pos x="9" y="15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3" y="5"/>
                </a:cxn>
                <a:cxn ang="0">
                  <a:pos x="3" y="4"/>
                </a:cxn>
                <a:cxn ang="0">
                  <a:pos x="5" y="7"/>
                </a:cxn>
                <a:cxn ang="0">
                  <a:pos x="6" y="11"/>
                </a:cxn>
                <a:cxn ang="0">
                  <a:pos x="3" y="5"/>
                </a:cxn>
              </a:cxnLst>
              <a:rect l="0" t="0" r="r" b="b"/>
              <a:pathLst>
                <a:path w="10" h="17">
                  <a:moveTo>
                    <a:pt x="4" y="0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12"/>
                    <a:pt x="6" y="16"/>
                    <a:pt x="6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2"/>
                    <a:pt x="9" y="7"/>
                    <a:pt x="8" y="4"/>
                  </a:cubicBezTo>
                  <a:cubicBezTo>
                    <a:pt x="7" y="2"/>
                    <a:pt x="5" y="0"/>
                    <a:pt x="4" y="0"/>
                  </a:cubicBezTo>
                  <a:close/>
                  <a:moveTo>
                    <a:pt x="3" y="5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5"/>
                    <a:pt x="5" y="7"/>
                  </a:cubicBezTo>
                  <a:cubicBezTo>
                    <a:pt x="5" y="8"/>
                    <a:pt x="6" y="10"/>
                    <a:pt x="6" y="11"/>
                  </a:cubicBezTo>
                  <a:cubicBezTo>
                    <a:pt x="5" y="9"/>
                    <a:pt x="3" y="7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25" name="Freeform 173"/>
            <p:cNvSpPr>
              <a:spLocks noEditPoints="1"/>
            </p:cNvSpPr>
            <p:nvPr/>
          </p:nvSpPr>
          <p:spPr bwMode="auto">
            <a:xfrm>
              <a:off x="1813" y="1164"/>
              <a:ext cx="68" cy="108"/>
            </a:xfrm>
            <a:custGeom>
              <a:avLst/>
              <a:gdLst/>
              <a:ahLst/>
              <a:cxnLst>
                <a:cxn ang="0">
                  <a:pos x="18" y="16"/>
                </a:cxn>
                <a:cxn ang="0">
                  <a:pos x="16" y="16"/>
                </a:cxn>
                <a:cxn ang="0">
                  <a:pos x="21" y="17"/>
                </a:cxn>
                <a:cxn ang="0">
                  <a:pos x="24" y="19"/>
                </a:cxn>
                <a:cxn ang="0">
                  <a:pos x="25" y="15"/>
                </a:cxn>
                <a:cxn ang="0">
                  <a:pos x="27" y="7"/>
                </a:cxn>
                <a:cxn ang="0">
                  <a:pos x="25" y="6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9" y="0"/>
                </a:cxn>
                <a:cxn ang="0">
                  <a:pos x="9" y="5"/>
                </a:cxn>
                <a:cxn ang="0">
                  <a:pos x="1" y="16"/>
                </a:cxn>
                <a:cxn ang="0">
                  <a:pos x="12" y="28"/>
                </a:cxn>
                <a:cxn ang="0">
                  <a:pos x="14" y="29"/>
                </a:cxn>
                <a:cxn ang="0">
                  <a:pos x="13" y="29"/>
                </a:cxn>
                <a:cxn ang="0">
                  <a:pos x="7" y="27"/>
                </a:cxn>
                <a:cxn ang="0">
                  <a:pos x="3" y="25"/>
                </a:cxn>
                <a:cxn ang="0">
                  <a:pos x="0" y="37"/>
                </a:cxn>
                <a:cxn ang="0">
                  <a:pos x="2" y="38"/>
                </a:cxn>
                <a:cxn ang="0">
                  <a:pos x="9" y="40"/>
                </a:cxn>
                <a:cxn ang="0">
                  <a:pos x="9" y="45"/>
                </a:cxn>
                <a:cxn ang="0">
                  <a:pos x="20" y="45"/>
                </a:cxn>
                <a:cxn ang="0">
                  <a:pos x="20" y="40"/>
                </a:cxn>
                <a:cxn ang="0">
                  <a:pos x="28" y="28"/>
                </a:cxn>
                <a:cxn ang="0">
                  <a:pos x="18" y="16"/>
                </a:cxn>
                <a:cxn ang="0">
                  <a:pos x="17" y="36"/>
                </a:cxn>
                <a:cxn ang="0">
                  <a:pos x="16" y="37"/>
                </a:cxn>
                <a:cxn ang="0">
                  <a:pos x="16" y="42"/>
                </a:cxn>
                <a:cxn ang="0">
                  <a:pos x="12" y="42"/>
                </a:cxn>
                <a:cxn ang="0">
                  <a:pos x="12" y="37"/>
                </a:cxn>
                <a:cxn ang="0">
                  <a:pos x="11" y="37"/>
                </a:cxn>
                <a:cxn ang="0">
                  <a:pos x="4" y="35"/>
                </a:cxn>
                <a:cxn ang="0">
                  <a:pos x="5" y="31"/>
                </a:cxn>
                <a:cxn ang="0">
                  <a:pos x="13" y="33"/>
                </a:cxn>
                <a:cxn ang="0">
                  <a:pos x="18" y="29"/>
                </a:cxn>
                <a:cxn ang="0">
                  <a:pos x="13" y="24"/>
                </a:cxn>
                <a:cxn ang="0">
                  <a:pos x="4" y="16"/>
                </a:cxn>
                <a:cxn ang="0">
                  <a:pos x="11" y="8"/>
                </a:cxn>
                <a:cxn ang="0">
                  <a:pos x="13" y="8"/>
                </a:cxn>
                <a:cxn ang="0">
                  <a:pos x="13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8" y="8"/>
                </a:cxn>
                <a:cxn ang="0">
                  <a:pos x="23" y="9"/>
                </a:cxn>
                <a:cxn ang="0">
                  <a:pos x="22" y="13"/>
                </a:cxn>
                <a:cxn ang="0">
                  <a:pos x="15" y="12"/>
                </a:cxn>
                <a:cxn ang="0">
                  <a:pos x="11" y="15"/>
                </a:cxn>
                <a:cxn ang="0">
                  <a:pos x="17" y="20"/>
                </a:cxn>
                <a:cxn ang="0">
                  <a:pos x="25" y="28"/>
                </a:cxn>
                <a:cxn ang="0">
                  <a:pos x="17" y="36"/>
                </a:cxn>
              </a:cxnLst>
              <a:rect l="0" t="0" r="r" b="b"/>
              <a:pathLst>
                <a:path w="28" h="45">
                  <a:moveTo>
                    <a:pt x="18" y="16"/>
                  </a:moveTo>
                  <a:cubicBezTo>
                    <a:pt x="17" y="16"/>
                    <a:pt x="16" y="16"/>
                    <a:pt x="16" y="16"/>
                  </a:cubicBezTo>
                  <a:cubicBezTo>
                    <a:pt x="18" y="16"/>
                    <a:pt x="20" y="16"/>
                    <a:pt x="21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3" y="5"/>
                    <a:pt x="22" y="5"/>
                    <a:pt x="20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4" y="7"/>
                    <a:pt x="1" y="11"/>
                    <a:pt x="1" y="16"/>
                  </a:cubicBezTo>
                  <a:cubicBezTo>
                    <a:pt x="1" y="24"/>
                    <a:pt x="9" y="27"/>
                    <a:pt x="12" y="28"/>
                  </a:cubicBezTo>
                  <a:cubicBezTo>
                    <a:pt x="13" y="28"/>
                    <a:pt x="14" y="29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4" y="39"/>
                    <a:pt x="6" y="40"/>
                    <a:pt x="9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5" y="38"/>
                    <a:pt x="28" y="34"/>
                    <a:pt x="28" y="28"/>
                  </a:cubicBezTo>
                  <a:cubicBezTo>
                    <a:pt x="28" y="23"/>
                    <a:pt x="25" y="19"/>
                    <a:pt x="18" y="16"/>
                  </a:cubicBezTo>
                  <a:close/>
                  <a:moveTo>
                    <a:pt x="17" y="36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8" y="37"/>
                    <a:pt x="6" y="36"/>
                    <a:pt x="4" y="35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7" y="32"/>
                    <a:pt x="10" y="33"/>
                    <a:pt x="13" y="33"/>
                  </a:cubicBezTo>
                  <a:cubicBezTo>
                    <a:pt x="16" y="33"/>
                    <a:pt x="18" y="31"/>
                    <a:pt x="18" y="29"/>
                  </a:cubicBezTo>
                  <a:cubicBezTo>
                    <a:pt x="18" y="27"/>
                    <a:pt x="16" y="25"/>
                    <a:pt x="13" y="24"/>
                  </a:cubicBezTo>
                  <a:cubicBezTo>
                    <a:pt x="7" y="22"/>
                    <a:pt x="4" y="20"/>
                    <a:pt x="4" y="16"/>
                  </a:cubicBezTo>
                  <a:cubicBezTo>
                    <a:pt x="4" y="12"/>
                    <a:pt x="7" y="9"/>
                    <a:pt x="11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8"/>
                    <a:pt x="22" y="8"/>
                    <a:pt x="23" y="9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18" y="12"/>
                    <a:pt x="15" y="12"/>
                  </a:cubicBezTo>
                  <a:cubicBezTo>
                    <a:pt x="11" y="12"/>
                    <a:pt x="11" y="14"/>
                    <a:pt x="11" y="15"/>
                  </a:cubicBezTo>
                  <a:cubicBezTo>
                    <a:pt x="11" y="17"/>
                    <a:pt x="13" y="18"/>
                    <a:pt x="17" y="20"/>
                  </a:cubicBezTo>
                  <a:cubicBezTo>
                    <a:pt x="23" y="22"/>
                    <a:pt x="25" y="25"/>
                    <a:pt x="25" y="28"/>
                  </a:cubicBezTo>
                  <a:cubicBezTo>
                    <a:pt x="25" y="32"/>
                    <a:pt x="22" y="35"/>
                    <a:pt x="17" y="3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26" name="Freeform 174"/>
            <p:cNvSpPr>
              <a:spLocks noEditPoints="1"/>
            </p:cNvSpPr>
            <p:nvPr/>
          </p:nvSpPr>
          <p:spPr bwMode="auto">
            <a:xfrm>
              <a:off x="1741" y="1172"/>
              <a:ext cx="34" cy="3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7" y="13"/>
                </a:cxn>
                <a:cxn ang="0">
                  <a:pos x="14" y="7"/>
                </a:cxn>
                <a:cxn ang="0">
                  <a:pos x="7" y="0"/>
                </a:cxn>
                <a:cxn ang="0">
                  <a:pos x="7" y="10"/>
                </a:cxn>
                <a:cxn ang="0">
                  <a:pos x="4" y="7"/>
                </a:cxn>
                <a:cxn ang="0">
                  <a:pos x="7" y="4"/>
                </a:cxn>
                <a:cxn ang="0">
                  <a:pos x="10" y="7"/>
                </a:cxn>
                <a:cxn ang="0">
                  <a:pos x="7" y="10"/>
                </a:cxn>
              </a:cxnLst>
              <a:rect l="0" t="0" r="r" b="b"/>
              <a:pathLst>
                <a:path w="14" h="13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ubicBezTo>
                    <a:pt x="11" y="13"/>
                    <a:pt x="14" y="10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lose/>
                  <a:moveTo>
                    <a:pt x="7" y="10"/>
                  </a:moveTo>
                  <a:cubicBezTo>
                    <a:pt x="5" y="10"/>
                    <a:pt x="4" y="8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9" y="4"/>
                    <a:pt x="10" y="5"/>
                    <a:pt x="10" y="7"/>
                  </a:cubicBezTo>
                  <a:cubicBezTo>
                    <a:pt x="10" y="8"/>
                    <a:pt x="9" y="10"/>
                    <a:pt x="7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27" name="Freeform 175"/>
            <p:cNvSpPr>
              <a:spLocks noEditPoints="1"/>
            </p:cNvSpPr>
            <p:nvPr/>
          </p:nvSpPr>
          <p:spPr bwMode="auto">
            <a:xfrm>
              <a:off x="1677" y="1052"/>
              <a:ext cx="362" cy="292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40" y="36"/>
                </a:cxn>
                <a:cxn ang="0">
                  <a:pos x="130" y="31"/>
                </a:cxn>
                <a:cxn ang="0">
                  <a:pos x="124" y="53"/>
                </a:cxn>
                <a:cxn ang="0">
                  <a:pos x="100" y="29"/>
                </a:cxn>
                <a:cxn ang="0">
                  <a:pos x="87" y="16"/>
                </a:cxn>
                <a:cxn ang="0">
                  <a:pos x="55" y="16"/>
                </a:cxn>
                <a:cxn ang="0">
                  <a:pos x="53" y="23"/>
                </a:cxn>
                <a:cxn ang="0">
                  <a:pos x="28" y="14"/>
                </a:cxn>
                <a:cxn ang="0">
                  <a:pos x="25" y="19"/>
                </a:cxn>
                <a:cxn ang="0">
                  <a:pos x="13" y="54"/>
                </a:cxn>
                <a:cxn ang="0">
                  <a:pos x="5" y="53"/>
                </a:cxn>
                <a:cxn ang="0">
                  <a:pos x="1" y="57"/>
                </a:cxn>
                <a:cxn ang="0">
                  <a:pos x="1" y="79"/>
                </a:cxn>
                <a:cxn ang="0">
                  <a:pos x="5" y="84"/>
                </a:cxn>
                <a:cxn ang="0">
                  <a:pos x="12" y="84"/>
                </a:cxn>
                <a:cxn ang="0">
                  <a:pos x="22" y="99"/>
                </a:cxn>
                <a:cxn ang="0">
                  <a:pos x="23" y="102"/>
                </a:cxn>
                <a:cxn ang="0">
                  <a:pos x="23" y="118"/>
                </a:cxn>
                <a:cxn ang="0">
                  <a:pos x="26" y="121"/>
                </a:cxn>
                <a:cxn ang="0">
                  <a:pos x="51" y="114"/>
                </a:cxn>
                <a:cxn ang="0">
                  <a:pos x="82" y="114"/>
                </a:cxn>
                <a:cxn ang="0">
                  <a:pos x="107" y="121"/>
                </a:cxn>
                <a:cxn ang="0">
                  <a:pos x="110" y="118"/>
                </a:cxn>
                <a:cxn ang="0">
                  <a:pos x="126" y="65"/>
                </a:cxn>
                <a:cxn ang="0">
                  <a:pos x="138" y="60"/>
                </a:cxn>
                <a:cxn ang="0">
                  <a:pos x="146" y="47"/>
                </a:cxn>
                <a:cxn ang="0">
                  <a:pos x="84" y="16"/>
                </a:cxn>
                <a:cxn ang="0">
                  <a:pos x="59" y="16"/>
                </a:cxn>
                <a:cxn ang="0">
                  <a:pos x="84" y="33"/>
                </a:cxn>
                <a:cxn ang="0">
                  <a:pos x="84" y="34"/>
                </a:cxn>
                <a:cxn ang="0">
                  <a:pos x="77" y="34"/>
                </a:cxn>
                <a:cxn ang="0">
                  <a:pos x="71" y="33"/>
                </a:cxn>
                <a:cxn ang="0">
                  <a:pos x="63" y="34"/>
                </a:cxn>
                <a:cxn ang="0">
                  <a:pos x="59" y="34"/>
                </a:cxn>
                <a:cxn ang="0">
                  <a:pos x="65" y="32"/>
                </a:cxn>
                <a:cxn ang="0">
                  <a:pos x="70" y="32"/>
                </a:cxn>
                <a:cxn ang="0">
                  <a:pos x="79" y="33"/>
                </a:cxn>
                <a:cxn ang="0">
                  <a:pos x="138" y="57"/>
                </a:cxn>
                <a:cxn ang="0">
                  <a:pos x="122" y="62"/>
                </a:cxn>
                <a:cxn ang="0">
                  <a:pos x="106" y="118"/>
                </a:cxn>
                <a:cxn ang="0">
                  <a:pos x="85" y="110"/>
                </a:cxn>
                <a:cxn ang="0">
                  <a:pos x="48" y="109"/>
                </a:cxn>
                <a:cxn ang="0">
                  <a:pos x="27" y="118"/>
                </a:cxn>
                <a:cxn ang="0">
                  <a:pos x="27" y="99"/>
                </a:cxn>
                <a:cxn ang="0">
                  <a:pos x="14" y="81"/>
                </a:cxn>
                <a:cxn ang="0">
                  <a:pos x="5" y="80"/>
                </a:cxn>
                <a:cxn ang="0">
                  <a:pos x="15" y="57"/>
                </a:cxn>
                <a:cxn ang="0">
                  <a:pos x="28" y="17"/>
                </a:cxn>
                <a:cxn ang="0">
                  <a:pos x="51" y="27"/>
                </a:cxn>
                <a:cxn ang="0">
                  <a:pos x="62" y="29"/>
                </a:cxn>
                <a:cxn ang="0">
                  <a:pos x="56" y="36"/>
                </a:cxn>
                <a:cxn ang="0">
                  <a:pos x="64" y="37"/>
                </a:cxn>
                <a:cxn ang="0">
                  <a:pos x="71" y="37"/>
                </a:cxn>
                <a:cxn ang="0">
                  <a:pos x="77" y="37"/>
                </a:cxn>
                <a:cxn ang="0">
                  <a:pos x="88" y="34"/>
                </a:cxn>
                <a:cxn ang="0">
                  <a:pos x="80" y="29"/>
                </a:cxn>
                <a:cxn ang="0">
                  <a:pos x="98" y="32"/>
                </a:cxn>
                <a:cxn ang="0">
                  <a:pos x="130" y="54"/>
                </a:cxn>
                <a:cxn ang="0">
                  <a:pos x="130" y="34"/>
                </a:cxn>
                <a:cxn ang="0">
                  <a:pos x="139" y="52"/>
                </a:cxn>
                <a:cxn ang="0">
                  <a:pos x="145" y="51"/>
                </a:cxn>
                <a:cxn ang="0">
                  <a:pos x="148" y="53"/>
                </a:cxn>
              </a:cxnLst>
              <a:rect l="0" t="0" r="r" b="b"/>
              <a:pathLst>
                <a:path w="151" h="122">
                  <a:moveTo>
                    <a:pt x="146" y="47"/>
                  </a:moveTo>
                  <a:cubicBezTo>
                    <a:pt x="146" y="47"/>
                    <a:pt x="146" y="47"/>
                    <a:pt x="145" y="47"/>
                  </a:cubicBezTo>
                  <a:cubicBezTo>
                    <a:pt x="144" y="47"/>
                    <a:pt x="144" y="47"/>
                    <a:pt x="143" y="47"/>
                  </a:cubicBezTo>
                  <a:cubicBezTo>
                    <a:pt x="143" y="43"/>
                    <a:pt x="142" y="39"/>
                    <a:pt x="140" y="36"/>
                  </a:cubicBezTo>
                  <a:cubicBezTo>
                    <a:pt x="138" y="33"/>
                    <a:pt x="136" y="31"/>
                    <a:pt x="133" y="31"/>
                  </a:cubicBezTo>
                  <a:cubicBezTo>
                    <a:pt x="132" y="31"/>
                    <a:pt x="131" y="31"/>
                    <a:pt x="130" y="31"/>
                  </a:cubicBezTo>
                  <a:cubicBezTo>
                    <a:pt x="126" y="31"/>
                    <a:pt x="122" y="33"/>
                    <a:pt x="121" y="36"/>
                  </a:cubicBezTo>
                  <a:cubicBezTo>
                    <a:pt x="118" y="41"/>
                    <a:pt x="121" y="48"/>
                    <a:pt x="124" y="53"/>
                  </a:cubicBezTo>
                  <a:cubicBezTo>
                    <a:pt x="124" y="53"/>
                    <a:pt x="124" y="53"/>
                    <a:pt x="123" y="53"/>
                  </a:cubicBezTo>
                  <a:cubicBezTo>
                    <a:pt x="119" y="43"/>
                    <a:pt x="111" y="35"/>
                    <a:pt x="100" y="29"/>
                  </a:cubicBezTo>
                  <a:cubicBezTo>
                    <a:pt x="96" y="27"/>
                    <a:pt x="91" y="25"/>
                    <a:pt x="85" y="24"/>
                  </a:cubicBezTo>
                  <a:cubicBezTo>
                    <a:pt x="86" y="22"/>
                    <a:pt x="87" y="19"/>
                    <a:pt x="87" y="16"/>
                  </a:cubicBezTo>
                  <a:cubicBezTo>
                    <a:pt x="87" y="7"/>
                    <a:pt x="80" y="0"/>
                    <a:pt x="71" y="0"/>
                  </a:cubicBezTo>
                  <a:cubicBezTo>
                    <a:pt x="62" y="0"/>
                    <a:pt x="55" y="7"/>
                    <a:pt x="55" y="16"/>
                  </a:cubicBezTo>
                  <a:cubicBezTo>
                    <a:pt x="55" y="18"/>
                    <a:pt x="56" y="21"/>
                    <a:pt x="57" y="23"/>
                  </a:cubicBezTo>
                  <a:cubicBezTo>
                    <a:pt x="55" y="23"/>
                    <a:pt x="54" y="23"/>
                    <a:pt x="53" y="23"/>
                  </a:cubicBezTo>
                  <a:cubicBezTo>
                    <a:pt x="48" y="17"/>
                    <a:pt x="43" y="14"/>
                    <a:pt x="31" y="13"/>
                  </a:cubicBezTo>
                  <a:cubicBezTo>
                    <a:pt x="30" y="13"/>
                    <a:pt x="29" y="14"/>
                    <a:pt x="28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0" y="27"/>
                    <a:pt x="31" y="28"/>
                    <a:pt x="31" y="32"/>
                  </a:cubicBezTo>
                  <a:cubicBezTo>
                    <a:pt x="25" y="37"/>
                    <a:pt x="17" y="46"/>
                    <a:pt x="13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0" y="53"/>
                    <a:pt x="8" y="53"/>
                    <a:pt x="5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9"/>
                    <a:pt x="2" y="61"/>
                    <a:pt x="2" y="62"/>
                  </a:cubicBezTo>
                  <a:cubicBezTo>
                    <a:pt x="3" y="68"/>
                    <a:pt x="4" y="71"/>
                    <a:pt x="1" y="7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6" y="84"/>
                    <a:pt x="7" y="84"/>
                  </a:cubicBezTo>
                  <a:cubicBezTo>
                    <a:pt x="9" y="84"/>
                    <a:pt x="10" y="84"/>
                    <a:pt x="12" y="84"/>
                  </a:cubicBezTo>
                  <a:cubicBezTo>
                    <a:pt x="14" y="89"/>
                    <a:pt x="18" y="95"/>
                    <a:pt x="21" y="98"/>
                  </a:cubicBezTo>
                  <a:cubicBezTo>
                    <a:pt x="21" y="99"/>
                    <a:pt x="22" y="99"/>
                    <a:pt x="22" y="99"/>
                  </a:cubicBezTo>
                  <a:cubicBezTo>
                    <a:pt x="22" y="100"/>
                    <a:pt x="23" y="100"/>
                    <a:pt x="23" y="100"/>
                  </a:cubicBezTo>
                  <a:cubicBezTo>
                    <a:pt x="23" y="101"/>
                    <a:pt x="23" y="101"/>
                    <a:pt x="23" y="102"/>
                  </a:cubicBezTo>
                  <a:cubicBezTo>
                    <a:pt x="23" y="103"/>
                    <a:pt x="23" y="103"/>
                    <a:pt x="23" y="104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9" y="122"/>
                    <a:pt x="32" y="122"/>
                    <a:pt x="34" y="122"/>
                  </a:cubicBezTo>
                  <a:cubicBezTo>
                    <a:pt x="43" y="122"/>
                    <a:pt x="49" y="119"/>
                    <a:pt x="51" y="114"/>
                  </a:cubicBezTo>
                  <a:cubicBezTo>
                    <a:pt x="56" y="115"/>
                    <a:pt x="62" y="115"/>
                    <a:pt x="69" y="115"/>
                  </a:cubicBezTo>
                  <a:cubicBezTo>
                    <a:pt x="74" y="115"/>
                    <a:pt x="79" y="115"/>
                    <a:pt x="82" y="114"/>
                  </a:cubicBezTo>
                  <a:cubicBezTo>
                    <a:pt x="85" y="119"/>
                    <a:pt x="90" y="122"/>
                    <a:pt x="98" y="122"/>
                  </a:cubicBezTo>
                  <a:cubicBezTo>
                    <a:pt x="101" y="122"/>
                    <a:pt x="104" y="122"/>
                    <a:pt x="107" y="121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22" y="92"/>
                    <a:pt x="128" y="80"/>
                    <a:pt x="126" y="65"/>
                  </a:cubicBezTo>
                  <a:cubicBezTo>
                    <a:pt x="130" y="64"/>
                    <a:pt x="133" y="62"/>
                    <a:pt x="136" y="60"/>
                  </a:cubicBezTo>
                  <a:cubicBezTo>
                    <a:pt x="137" y="60"/>
                    <a:pt x="137" y="60"/>
                    <a:pt x="138" y="60"/>
                  </a:cubicBezTo>
                  <a:cubicBezTo>
                    <a:pt x="144" y="60"/>
                    <a:pt x="151" y="58"/>
                    <a:pt x="151" y="53"/>
                  </a:cubicBezTo>
                  <a:cubicBezTo>
                    <a:pt x="151" y="50"/>
                    <a:pt x="149" y="48"/>
                    <a:pt x="146" y="47"/>
                  </a:cubicBezTo>
                  <a:close/>
                  <a:moveTo>
                    <a:pt x="71" y="4"/>
                  </a:moveTo>
                  <a:cubicBezTo>
                    <a:pt x="78" y="4"/>
                    <a:pt x="84" y="9"/>
                    <a:pt x="84" y="16"/>
                  </a:cubicBezTo>
                  <a:cubicBezTo>
                    <a:pt x="84" y="23"/>
                    <a:pt x="78" y="28"/>
                    <a:pt x="71" y="28"/>
                  </a:cubicBezTo>
                  <a:cubicBezTo>
                    <a:pt x="64" y="28"/>
                    <a:pt x="59" y="23"/>
                    <a:pt x="59" y="16"/>
                  </a:cubicBezTo>
                  <a:cubicBezTo>
                    <a:pt x="59" y="9"/>
                    <a:pt x="64" y="4"/>
                    <a:pt x="71" y="4"/>
                  </a:cubicBezTo>
                  <a:close/>
                  <a:moveTo>
                    <a:pt x="84" y="33"/>
                  </a:moveTo>
                  <a:cubicBezTo>
                    <a:pt x="84" y="34"/>
                    <a:pt x="84" y="34"/>
                    <a:pt x="84" y="34"/>
                  </a:cubicBezTo>
                  <a:cubicBezTo>
                    <a:pt x="84" y="34"/>
                    <a:pt x="84" y="34"/>
                    <a:pt x="84" y="34"/>
                  </a:cubicBezTo>
                  <a:cubicBezTo>
                    <a:pt x="84" y="34"/>
                    <a:pt x="84" y="34"/>
                    <a:pt x="82" y="34"/>
                  </a:cubicBezTo>
                  <a:cubicBezTo>
                    <a:pt x="81" y="34"/>
                    <a:pt x="79" y="34"/>
                    <a:pt x="77" y="34"/>
                  </a:cubicBezTo>
                  <a:cubicBezTo>
                    <a:pt x="76" y="34"/>
                    <a:pt x="74" y="33"/>
                    <a:pt x="73" y="33"/>
                  </a:cubicBezTo>
                  <a:cubicBezTo>
                    <a:pt x="72" y="33"/>
                    <a:pt x="72" y="33"/>
                    <a:pt x="71" y="33"/>
                  </a:cubicBezTo>
                  <a:cubicBezTo>
                    <a:pt x="69" y="33"/>
                    <a:pt x="67" y="33"/>
                    <a:pt x="65" y="33"/>
                  </a:cubicBezTo>
                  <a:cubicBezTo>
                    <a:pt x="65" y="34"/>
                    <a:pt x="64" y="34"/>
                    <a:pt x="63" y="34"/>
                  </a:cubicBezTo>
                  <a:cubicBezTo>
                    <a:pt x="62" y="34"/>
                    <a:pt x="61" y="34"/>
                    <a:pt x="60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4"/>
                    <a:pt x="58" y="33"/>
                  </a:cubicBezTo>
                  <a:cubicBezTo>
                    <a:pt x="59" y="32"/>
                    <a:pt x="63" y="32"/>
                    <a:pt x="65" y="32"/>
                  </a:cubicBezTo>
                  <a:cubicBezTo>
                    <a:pt x="66" y="32"/>
                    <a:pt x="66" y="32"/>
                    <a:pt x="67" y="32"/>
                  </a:cubicBezTo>
                  <a:cubicBezTo>
                    <a:pt x="68" y="32"/>
                    <a:pt x="69" y="32"/>
                    <a:pt x="70" y="32"/>
                  </a:cubicBezTo>
                  <a:cubicBezTo>
                    <a:pt x="72" y="32"/>
                    <a:pt x="75" y="32"/>
                    <a:pt x="77" y="32"/>
                  </a:cubicBezTo>
                  <a:cubicBezTo>
                    <a:pt x="78" y="33"/>
                    <a:pt x="79" y="33"/>
                    <a:pt x="79" y="33"/>
                  </a:cubicBezTo>
                  <a:cubicBezTo>
                    <a:pt x="81" y="33"/>
                    <a:pt x="83" y="33"/>
                    <a:pt x="84" y="33"/>
                  </a:cubicBezTo>
                  <a:close/>
                  <a:moveTo>
                    <a:pt x="138" y="57"/>
                  </a:moveTo>
                  <a:cubicBezTo>
                    <a:pt x="137" y="57"/>
                    <a:pt x="136" y="57"/>
                    <a:pt x="135" y="56"/>
                  </a:cubicBezTo>
                  <a:cubicBezTo>
                    <a:pt x="132" y="58"/>
                    <a:pt x="128" y="61"/>
                    <a:pt x="122" y="62"/>
                  </a:cubicBezTo>
                  <a:cubicBezTo>
                    <a:pt x="126" y="81"/>
                    <a:pt x="116" y="94"/>
                    <a:pt x="106" y="102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4" y="118"/>
                    <a:pt x="101" y="119"/>
                    <a:pt x="98" y="119"/>
                  </a:cubicBezTo>
                  <a:cubicBezTo>
                    <a:pt x="91" y="119"/>
                    <a:pt x="86" y="116"/>
                    <a:pt x="85" y="110"/>
                  </a:cubicBezTo>
                  <a:cubicBezTo>
                    <a:pt x="81" y="111"/>
                    <a:pt x="75" y="111"/>
                    <a:pt x="69" y="111"/>
                  </a:cubicBezTo>
                  <a:cubicBezTo>
                    <a:pt x="61" y="111"/>
                    <a:pt x="53" y="111"/>
                    <a:pt x="48" y="109"/>
                  </a:cubicBezTo>
                  <a:cubicBezTo>
                    <a:pt x="48" y="116"/>
                    <a:pt x="42" y="119"/>
                    <a:pt x="34" y="119"/>
                  </a:cubicBezTo>
                  <a:cubicBezTo>
                    <a:pt x="32" y="119"/>
                    <a:pt x="29" y="118"/>
                    <a:pt x="27" y="118"/>
                  </a:cubicBezTo>
                  <a:cubicBezTo>
                    <a:pt x="27" y="104"/>
                    <a:pt x="27" y="104"/>
                    <a:pt x="27" y="104"/>
                  </a:cubicBezTo>
                  <a:cubicBezTo>
                    <a:pt x="27" y="102"/>
                    <a:pt x="27" y="101"/>
                    <a:pt x="27" y="99"/>
                  </a:cubicBezTo>
                  <a:cubicBezTo>
                    <a:pt x="26" y="98"/>
                    <a:pt x="25" y="97"/>
                    <a:pt x="24" y="96"/>
                  </a:cubicBezTo>
                  <a:cubicBezTo>
                    <a:pt x="21" y="93"/>
                    <a:pt x="16" y="85"/>
                    <a:pt x="14" y="81"/>
                  </a:cubicBezTo>
                  <a:cubicBezTo>
                    <a:pt x="14" y="81"/>
                    <a:pt x="13" y="81"/>
                    <a:pt x="13" y="81"/>
                  </a:cubicBezTo>
                  <a:cubicBezTo>
                    <a:pt x="10" y="81"/>
                    <a:pt x="7" y="80"/>
                    <a:pt x="5" y="80"/>
                  </a:cubicBezTo>
                  <a:cubicBezTo>
                    <a:pt x="8" y="69"/>
                    <a:pt x="6" y="66"/>
                    <a:pt x="5" y="57"/>
                  </a:cubicBezTo>
                  <a:cubicBezTo>
                    <a:pt x="8" y="57"/>
                    <a:pt x="12" y="57"/>
                    <a:pt x="15" y="57"/>
                  </a:cubicBezTo>
                  <a:cubicBezTo>
                    <a:pt x="18" y="49"/>
                    <a:pt x="28" y="39"/>
                    <a:pt x="34" y="34"/>
                  </a:cubicBezTo>
                  <a:cubicBezTo>
                    <a:pt x="35" y="28"/>
                    <a:pt x="34" y="26"/>
                    <a:pt x="28" y="17"/>
                  </a:cubicBezTo>
                  <a:cubicBezTo>
                    <a:pt x="29" y="17"/>
                    <a:pt x="30" y="17"/>
                    <a:pt x="31" y="17"/>
                  </a:cubicBezTo>
                  <a:cubicBezTo>
                    <a:pt x="43" y="17"/>
                    <a:pt x="46" y="20"/>
                    <a:pt x="51" y="27"/>
                  </a:cubicBezTo>
                  <a:cubicBezTo>
                    <a:pt x="54" y="27"/>
                    <a:pt x="56" y="26"/>
                    <a:pt x="59" y="26"/>
                  </a:cubicBezTo>
                  <a:cubicBezTo>
                    <a:pt x="60" y="27"/>
                    <a:pt x="61" y="28"/>
                    <a:pt x="62" y="29"/>
                  </a:cubicBezTo>
                  <a:cubicBezTo>
                    <a:pt x="58" y="29"/>
                    <a:pt x="55" y="30"/>
                    <a:pt x="55" y="32"/>
                  </a:cubicBezTo>
                  <a:cubicBezTo>
                    <a:pt x="55" y="34"/>
                    <a:pt x="55" y="35"/>
                    <a:pt x="56" y="36"/>
                  </a:cubicBezTo>
                  <a:cubicBezTo>
                    <a:pt x="57" y="37"/>
                    <a:pt x="59" y="38"/>
                    <a:pt x="60" y="38"/>
                  </a:cubicBezTo>
                  <a:cubicBezTo>
                    <a:pt x="61" y="38"/>
                    <a:pt x="63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7" y="37"/>
                    <a:pt x="69" y="37"/>
                    <a:pt x="71" y="37"/>
                  </a:cubicBezTo>
                  <a:cubicBezTo>
                    <a:pt x="72" y="37"/>
                    <a:pt x="72" y="37"/>
                    <a:pt x="73" y="37"/>
                  </a:cubicBezTo>
                  <a:cubicBezTo>
                    <a:pt x="74" y="37"/>
                    <a:pt x="75" y="37"/>
                    <a:pt x="77" y="37"/>
                  </a:cubicBezTo>
                  <a:cubicBezTo>
                    <a:pt x="78" y="38"/>
                    <a:pt x="80" y="38"/>
                    <a:pt x="82" y="38"/>
                  </a:cubicBezTo>
                  <a:cubicBezTo>
                    <a:pt x="87" y="38"/>
                    <a:pt x="88" y="36"/>
                    <a:pt x="88" y="34"/>
                  </a:cubicBezTo>
                  <a:cubicBezTo>
                    <a:pt x="88" y="33"/>
                    <a:pt x="87" y="32"/>
                    <a:pt x="87" y="31"/>
                  </a:cubicBezTo>
                  <a:cubicBezTo>
                    <a:pt x="85" y="29"/>
                    <a:pt x="83" y="29"/>
                    <a:pt x="80" y="29"/>
                  </a:cubicBezTo>
                  <a:cubicBezTo>
                    <a:pt x="81" y="28"/>
                    <a:pt x="82" y="28"/>
                    <a:pt x="83" y="27"/>
                  </a:cubicBezTo>
                  <a:cubicBezTo>
                    <a:pt x="89" y="28"/>
                    <a:pt x="94" y="30"/>
                    <a:pt x="98" y="32"/>
                  </a:cubicBezTo>
                  <a:cubicBezTo>
                    <a:pt x="109" y="38"/>
                    <a:pt x="117" y="46"/>
                    <a:pt x="121" y="58"/>
                  </a:cubicBezTo>
                  <a:cubicBezTo>
                    <a:pt x="124" y="58"/>
                    <a:pt x="128" y="55"/>
                    <a:pt x="130" y="54"/>
                  </a:cubicBezTo>
                  <a:cubicBezTo>
                    <a:pt x="127" y="51"/>
                    <a:pt x="121" y="43"/>
                    <a:pt x="124" y="37"/>
                  </a:cubicBezTo>
                  <a:cubicBezTo>
                    <a:pt x="125" y="35"/>
                    <a:pt x="127" y="34"/>
                    <a:pt x="130" y="34"/>
                  </a:cubicBezTo>
                  <a:cubicBezTo>
                    <a:pt x="131" y="34"/>
                    <a:pt x="131" y="34"/>
                    <a:pt x="132" y="34"/>
                  </a:cubicBezTo>
                  <a:cubicBezTo>
                    <a:pt x="138" y="35"/>
                    <a:pt x="141" y="45"/>
                    <a:pt x="139" y="52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41" y="52"/>
                    <a:pt x="144" y="51"/>
                    <a:pt x="145" y="51"/>
                  </a:cubicBezTo>
                  <a:cubicBezTo>
                    <a:pt x="145" y="51"/>
                    <a:pt x="145" y="51"/>
                    <a:pt x="146" y="51"/>
                  </a:cubicBezTo>
                  <a:cubicBezTo>
                    <a:pt x="147" y="51"/>
                    <a:pt x="148" y="52"/>
                    <a:pt x="148" y="53"/>
                  </a:cubicBezTo>
                  <a:cubicBezTo>
                    <a:pt x="148" y="56"/>
                    <a:pt x="142" y="57"/>
                    <a:pt x="138" y="5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30" name="Group 178"/>
          <p:cNvGrpSpPr>
            <a:grpSpLocks noChangeAspect="1"/>
          </p:cNvGrpSpPr>
          <p:nvPr/>
        </p:nvGrpSpPr>
        <p:grpSpPr bwMode="auto">
          <a:xfrm>
            <a:off x="3664741" y="1536699"/>
            <a:ext cx="768350" cy="768350"/>
            <a:chOff x="2292" y="968"/>
            <a:chExt cx="484" cy="484"/>
          </a:xfrm>
        </p:grpSpPr>
        <p:sp>
          <p:nvSpPr>
            <p:cNvPr id="49331" name="Freeform 179"/>
            <p:cNvSpPr>
              <a:spLocks noEditPoints="1"/>
            </p:cNvSpPr>
            <p:nvPr/>
          </p:nvSpPr>
          <p:spPr bwMode="auto">
            <a:xfrm>
              <a:off x="2292" y="96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32" name="Freeform 180"/>
            <p:cNvSpPr>
              <a:spLocks noEditPoints="1"/>
            </p:cNvSpPr>
            <p:nvPr/>
          </p:nvSpPr>
          <p:spPr bwMode="auto">
            <a:xfrm>
              <a:off x="2669" y="1138"/>
              <a:ext cx="24" cy="4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6" y="16"/>
                </a:cxn>
                <a:cxn ang="0">
                  <a:pos x="8" y="17"/>
                </a:cxn>
                <a:cxn ang="0">
                  <a:pos x="9" y="15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3" y="5"/>
                </a:cxn>
                <a:cxn ang="0">
                  <a:pos x="3" y="4"/>
                </a:cxn>
                <a:cxn ang="0">
                  <a:pos x="5" y="7"/>
                </a:cxn>
                <a:cxn ang="0">
                  <a:pos x="6" y="11"/>
                </a:cxn>
                <a:cxn ang="0">
                  <a:pos x="3" y="5"/>
                </a:cxn>
              </a:cxnLst>
              <a:rect l="0" t="0" r="r" b="b"/>
              <a:pathLst>
                <a:path w="10" h="17">
                  <a:moveTo>
                    <a:pt x="4" y="0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3"/>
                    <a:pt x="0" y="5"/>
                  </a:cubicBezTo>
                  <a:cubicBezTo>
                    <a:pt x="0" y="12"/>
                    <a:pt x="6" y="16"/>
                    <a:pt x="6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2"/>
                    <a:pt x="9" y="7"/>
                    <a:pt x="8" y="4"/>
                  </a:cubicBezTo>
                  <a:cubicBezTo>
                    <a:pt x="7" y="2"/>
                    <a:pt x="5" y="0"/>
                    <a:pt x="4" y="0"/>
                  </a:cubicBezTo>
                  <a:close/>
                  <a:moveTo>
                    <a:pt x="3" y="5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5"/>
                    <a:pt x="5" y="7"/>
                  </a:cubicBezTo>
                  <a:cubicBezTo>
                    <a:pt x="5" y="8"/>
                    <a:pt x="6" y="10"/>
                    <a:pt x="6" y="11"/>
                  </a:cubicBezTo>
                  <a:cubicBezTo>
                    <a:pt x="5" y="9"/>
                    <a:pt x="3" y="7"/>
                    <a:pt x="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33" name="Freeform 181"/>
            <p:cNvSpPr>
              <a:spLocks noEditPoints="1"/>
            </p:cNvSpPr>
            <p:nvPr/>
          </p:nvSpPr>
          <p:spPr bwMode="auto">
            <a:xfrm>
              <a:off x="2501" y="1165"/>
              <a:ext cx="67" cy="108"/>
            </a:xfrm>
            <a:custGeom>
              <a:avLst/>
              <a:gdLst/>
              <a:ahLst/>
              <a:cxnLst>
                <a:cxn ang="0">
                  <a:pos x="18" y="16"/>
                </a:cxn>
                <a:cxn ang="0">
                  <a:pos x="16" y="16"/>
                </a:cxn>
                <a:cxn ang="0">
                  <a:pos x="21" y="17"/>
                </a:cxn>
                <a:cxn ang="0">
                  <a:pos x="24" y="19"/>
                </a:cxn>
                <a:cxn ang="0">
                  <a:pos x="25" y="15"/>
                </a:cxn>
                <a:cxn ang="0">
                  <a:pos x="27" y="7"/>
                </a:cxn>
                <a:cxn ang="0">
                  <a:pos x="25" y="6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9" y="0"/>
                </a:cxn>
                <a:cxn ang="0">
                  <a:pos x="9" y="5"/>
                </a:cxn>
                <a:cxn ang="0">
                  <a:pos x="1" y="16"/>
                </a:cxn>
                <a:cxn ang="0">
                  <a:pos x="12" y="28"/>
                </a:cxn>
                <a:cxn ang="0">
                  <a:pos x="14" y="29"/>
                </a:cxn>
                <a:cxn ang="0">
                  <a:pos x="13" y="29"/>
                </a:cxn>
                <a:cxn ang="0">
                  <a:pos x="7" y="27"/>
                </a:cxn>
                <a:cxn ang="0">
                  <a:pos x="3" y="25"/>
                </a:cxn>
                <a:cxn ang="0">
                  <a:pos x="0" y="37"/>
                </a:cxn>
                <a:cxn ang="0">
                  <a:pos x="2" y="38"/>
                </a:cxn>
                <a:cxn ang="0">
                  <a:pos x="9" y="40"/>
                </a:cxn>
                <a:cxn ang="0">
                  <a:pos x="9" y="45"/>
                </a:cxn>
                <a:cxn ang="0">
                  <a:pos x="20" y="45"/>
                </a:cxn>
                <a:cxn ang="0">
                  <a:pos x="20" y="40"/>
                </a:cxn>
                <a:cxn ang="0">
                  <a:pos x="28" y="28"/>
                </a:cxn>
                <a:cxn ang="0">
                  <a:pos x="18" y="16"/>
                </a:cxn>
                <a:cxn ang="0">
                  <a:pos x="17" y="36"/>
                </a:cxn>
                <a:cxn ang="0">
                  <a:pos x="16" y="37"/>
                </a:cxn>
                <a:cxn ang="0">
                  <a:pos x="16" y="42"/>
                </a:cxn>
                <a:cxn ang="0">
                  <a:pos x="12" y="42"/>
                </a:cxn>
                <a:cxn ang="0">
                  <a:pos x="12" y="37"/>
                </a:cxn>
                <a:cxn ang="0">
                  <a:pos x="11" y="37"/>
                </a:cxn>
                <a:cxn ang="0">
                  <a:pos x="4" y="35"/>
                </a:cxn>
                <a:cxn ang="0">
                  <a:pos x="5" y="31"/>
                </a:cxn>
                <a:cxn ang="0">
                  <a:pos x="13" y="33"/>
                </a:cxn>
                <a:cxn ang="0">
                  <a:pos x="18" y="29"/>
                </a:cxn>
                <a:cxn ang="0">
                  <a:pos x="13" y="24"/>
                </a:cxn>
                <a:cxn ang="0">
                  <a:pos x="4" y="16"/>
                </a:cxn>
                <a:cxn ang="0">
                  <a:pos x="11" y="8"/>
                </a:cxn>
                <a:cxn ang="0">
                  <a:pos x="13" y="8"/>
                </a:cxn>
                <a:cxn ang="0">
                  <a:pos x="13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8" y="8"/>
                </a:cxn>
                <a:cxn ang="0">
                  <a:pos x="23" y="9"/>
                </a:cxn>
                <a:cxn ang="0">
                  <a:pos x="22" y="13"/>
                </a:cxn>
                <a:cxn ang="0">
                  <a:pos x="15" y="12"/>
                </a:cxn>
                <a:cxn ang="0">
                  <a:pos x="11" y="15"/>
                </a:cxn>
                <a:cxn ang="0">
                  <a:pos x="17" y="20"/>
                </a:cxn>
                <a:cxn ang="0">
                  <a:pos x="25" y="28"/>
                </a:cxn>
                <a:cxn ang="0">
                  <a:pos x="17" y="36"/>
                </a:cxn>
              </a:cxnLst>
              <a:rect l="0" t="0" r="r" b="b"/>
              <a:pathLst>
                <a:path w="28" h="45">
                  <a:moveTo>
                    <a:pt x="18" y="16"/>
                  </a:moveTo>
                  <a:cubicBezTo>
                    <a:pt x="17" y="16"/>
                    <a:pt x="16" y="16"/>
                    <a:pt x="16" y="16"/>
                  </a:cubicBezTo>
                  <a:cubicBezTo>
                    <a:pt x="18" y="16"/>
                    <a:pt x="20" y="16"/>
                    <a:pt x="21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3" y="5"/>
                    <a:pt x="22" y="5"/>
                    <a:pt x="20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4" y="7"/>
                    <a:pt x="1" y="11"/>
                    <a:pt x="1" y="16"/>
                  </a:cubicBezTo>
                  <a:cubicBezTo>
                    <a:pt x="1" y="24"/>
                    <a:pt x="9" y="27"/>
                    <a:pt x="12" y="28"/>
                  </a:cubicBezTo>
                  <a:cubicBezTo>
                    <a:pt x="13" y="28"/>
                    <a:pt x="14" y="29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4" y="39"/>
                    <a:pt x="6" y="40"/>
                    <a:pt x="9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5" y="38"/>
                    <a:pt x="28" y="34"/>
                    <a:pt x="28" y="28"/>
                  </a:cubicBezTo>
                  <a:cubicBezTo>
                    <a:pt x="28" y="23"/>
                    <a:pt x="25" y="19"/>
                    <a:pt x="18" y="16"/>
                  </a:cubicBezTo>
                  <a:close/>
                  <a:moveTo>
                    <a:pt x="17" y="36"/>
                  </a:moveTo>
                  <a:cubicBezTo>
                    <a:pt x="16" y="37"/>
                    <a:pt x="16" y="37"/>
                    <a:pt x="16" y="37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8" y="37"/>
                    <a:pt x="6" y="36"/>
                    <a:pt x="4" y="35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7" y="32"/>
                    <a:pt x="10" y="33"/>
                    <a:pt x="13" y="33"/>
                  </a:cubicBezTo>
                  <a:cubicBezTo>
                    <a:pt x="16" y="33"/>
                    <a:pt x="18" y="31"/>
                    <a:pt x="18" y="29"/>
                  </a:cubicBezTo>
                  <a:cubicBezTo>
                    <a:pt x="18" y="27"/>
                    <a:pt x="16" y="25"/>
                    <a:pt x="13" y="24"/>
                  </a:cubicBezTo>
                  <a:cubicBezTo>
                    <a:pt x="7" y="22"/>
                    <a:pt x="4" y="20"/>
                    <a:pt x="4" y="16"/>
                  </a:cubicBezTo>
                  <a:cubicBezTo>
                    <a:pt x="4" y="12"/>
                    <a:pt x="7" y="9"/>
                    <a:pt x="11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8"/>
                    <a:pt x="22" y="8"/>
                    <a:pt x="23" y="9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18" y="12"/>
                    <a:pt x="15" y="12"/>
                  </a:cubicBezTo>
                  <a:cubicBezTo>
                    <a:pt x="11" y="12"/>
                    <a:pt x="11" y="14"/>
                    <a:pt x="11" y="15"/>
                  </a:cubicBezTo>
                  <a:cubicBezTo>
                    <a:pt x="11" y="17"/>
                    <a:pt x="13" y="18"/>
                    <a:pt x="17" y="20"/>
                  </a:cubicBezTo>
                  <a:cubicBezTo>
                    <a:pt x="23" y="22"/>
                    <a:pt x="25" y="25"/>
                    <a:pt x="25" y="28"/>
                  </a:cubicBezTo>
                  <a:cubicBezTo>
                    <a:pt x="25" y="32"/>
                    <a:pt x="22" y="35"/>
                    <a:pt x="17" y="3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34" name="Freeform 182"/>
            <p:cNvSpPr>
              <a:spLocks noEditPoints="1"/>
            </p:cNvSpPr>
            <p:nvPr/>
          </p:nvSpPr>
          <p:spPr bwMode="auto">
            <a:xfrm>
              <a:off x="2429" y="1172"/>
              <a:ext cx="33" cy="3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7" y="13"/>
                </a:cxn>
                <a:cxn ang="0">
                  <a:pos x="14" y="7"/>
                </a:cxn>
                <a:cxn ang="0">
                  <a:pos x="7" y="0"/>
                </a:cxn>
                <a:cxn ang="0">
                  <a:pos x="7" y="10"/>
                </a:cxn>
                <a:cxn ang="0">
                  <a:pos x="4" y="7"/>
                </a:cxn>
                <a:cxn ang="0">
                  <a:pos x="7" y="4"/>
                </a:cxn>
                <a:cxn ang="0">
                  <a:pos x="10" y="7"/>
                </a:cxn>
                <a:cxn ang="0">
                  <a:pos x="7" y="10"/>
                </a:cxn>
              </a:cxnLst>
              <a:rect l="0" t="0" r="r" b="b"/>
              <a:pathLst>
                <a:path w="14" h="13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ubicBezTo>
                    <a:pt x="11" y="13"/>
                    <a:pt x="14" y="10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lose/>
                  <a:moveTo>
                    <a:pt x="7" y="10"/>
                  </a:moveTo>
                  <a:cubicBezTo>
                    <a:pt x="5" y="10"/>
                    <a:pt x="4" y="8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9" y="4"/>
                    <a:pt x="10" y="5"/>
                    <a:pt x="10" y="7"/>
                  </a:cubicBezTo>
                  <a:cubicBezTo>
                    <a:pt x="10" y="8"/>
                    <a:pt x="9" y="10"/>
                    <a:pt x="7" y="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35" name="Freeform 183"/>
            <p:cNvSpPr>
              <a:spLocks noEditPoints="1"/>
            </p:cNvSpPr>
            <p:nvPr/>
          </p:nvSpPr>
          <p:spPr bwMode="auto">
            <a:xfrm>
              <a:off x="2364" y="1052"/>
              <a:ext cx="362" cy="29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40" y="36"/>
                </a:cxn>
                <a:cxn ang="0">
                  <a:pos x="130" y="31"/>
                </a:cxn>
                <a:cxn ang="0">
                  <a:pos x="124" y="53"/>
                </a:cxn>
                <a:cxn ang="0">
                  <a:pos x="100" y="29"/>
                </a:cxn>
                <a:cxn ang="0">
                  <a:pos x="87" y="16"/>
                </a:cxn>
                <a:cxn ang="0">
                  <a:pos x="55" y="16"/>
                </a:cxn>
                <a:cxn ang="0">
                  <a:pos x="53" y="23"/>
                </a:cxn>
                <a:cxn ang="0">
                  <a:pos x="28" y="14"/>
                </a:cxn>
                <a:cxn ang="0">
                  <a:pos x="25" y="19"/>
                </a:cxn>
                <a:cxn ang="0">
                  <a:pos x="13" y="54"/>
                </a:cxn>
                <a:cxn ang="0">
                  <a:pos x="5" y="53"/>
                </a:cxn>
                <a:cxn ang="0">
                  <a:pos x="1" y="57"/>
                </a:cxn>
                <a:cxn ang="0">
                  <a:pos x="1" y="79"/>
                </a:cxn>
                <a:cxn ang="0">
                  <a:pos x="5" y="84"/>
                </a:cxn>
                <a:cxn ang="0">
                  <a:pos x="12" y="84"/>
                </a:cxn>
                <a:cxn ang="0">
                  <a:pos x="22" y="99"/>
                </a:cxn>
                <a:cxn ang="0">
                  <a:pos x="23" y="102"/>
                </a:cxn>
                <a:cxn ang="0">
                  <a:pos x="23" y="118"/>
                </a:cxn>
                <a:cxn ang="0">
                  <a:pos x="26" y="121"/>
                </a:cxn>
                <a:cxn ang="0">
                  <a:pos x="51" y="114"/>
                </a:cxn>
                <a:cxn ang="0">
                  <a:pos x="82" y="114"/>
                </a:cxn>
                <a:cxn ang="0">
                  <a:pos x="107" y="121"/>
                </a:cxn>
                <a:cxn ang="0">
                  <a:pos x="110" y="118"/>
                </a:cxn>
                <a:cxn ang="0">
                  <a:pos x="126" y="65"/>
                </a:cxn>
                <a:cxn ang="0">
                  <a:pos x="138" y="60"/>
                </a:cxn>
                <a:cxn ang="0">
                  <a:pos x="146" y="47"/>
                </a:cxn>
                <a:cxn ang="0">
                  <a:pos x="84" y="16"/>
                </a:cxn>
                <a:cxn ang="0">
                  <a:pos x="59" y="16"/>
                </a:cxn>
                <a:cxn ang="0">
                  <a:pos x="84" y="33"/>
                </a:cxn>
                <a:cxn ang="0">
                  <a:pos x="84" y="34"/>
                </a:cxn>
                <a:cxn ang="0">
                  <a:pos x="77" y="34"/>
                </a:cxn>
                <a:cxn ang="0">
                  <a:pos x="71" y="33"/>
                </a:cxn>
                <a:cxn ang="0">
                  <a:pos x="63" y="34"/>
                </a:cxn>
                <a:cxn ang="0">
                  <a:pos x="59" y="34"/>
                </a:cxn>
                <a:cxn ang="0">
                  <a:pos x="65" y="32"/>
                </a:cxn>
                <a:cxn ang="0">
                  <a:pos x="70" y="32"/>
                </a:cxn>
                <a:cxn ang="0">
                  <a:pos x="79" y="33"/>
                </a:cxn>
                <a:cxn ang="0">
                  <a:pos x="138" y="57"/>
                </a:cxn>
                <a:cxn ang="0">
                  <a:pos x="122" y="62"/>
                </a:cxn>
                <a:cxn ang="0">
                  <a:pos x="106" y="118"/>
                </a:cxn>
                <a:cxn ang="0">
                  <a:pos x="85" y="110"/>
                </a:cxn>
                <a:cxn ang="0">
                  <a:pos x="48" y="109"/>
                </a:cxn>
                <a:cxn ang="0">
                  <a:pos x="27" y="118"/>
                </a:cxn>
                <a:cxn ang="0">
                  <a:pos x="27" y="99"/>
                </a:cxn>
                <a:cxn ang="0">
                  <a:pos x="14" y="81"/>
                </a:cxn>
                <a:cxn ang="0">
                  <a:pos x="5" y="80"/>
                </a:cxn>
                <a:cxn ang="0">
                  <a:pos x="15" y="57"/>
                </a:cxn>
                <a:cxn ang="0">
                  <a:pos x="28" y="17"/>
                </a:cxn>
                <a:cxn ang="0">
                  <a:pos x="51" y="27"/>
                </a:cxn>
                <a:cxn ang="0">
                  <a:pos x="62" y="29"/>
                </a:cxn>
                <a:cxn ang="0">
                  <a:pos x="56" y="36"/>
                </a:cxn>
                <a:cxn ang="0">
                  <a:pos x="64" y="37"/>
                </a:cxn>
                <a:cxn ang="0">
                  <a:pos x="71" y="37"/>
                </a:cxn>
                <a:cxn ang="0">
                  <a:pos x="77" y="37"/>
                </a:cxn>
                <a:cxn ang="0">
                  <a:pos x="88" y="34"/>
                </a:cxn>
                <a:cxn ang="0">
                  <a:pos x="80" y="29"/>
                </a:cxn>
                <a:cxn ang="0">
                  <a:pos x="98" y="32"/>
                </a:cxn>
                <a:cxn ang="0">
                  <a:pos x="130" y="54"/>
                </a:cxn>
                <a:cxn ang="0">
                  <a:pos x="130" y="34"/>
                </a:cxn>
                <a:cxn ang="0">
                  <a:pos x="139" y="52"/>
                </a:cxn>
                <a:cxn ang="0">
                  <a:pos x="145" y="51"/>
                </a:cxn>
                <a:cxn ang="0">
                  <a:pos x="148" y="53"/>
                </a:cxn>
              </a:cxnLst>
              <a:rect l="0" t="0" r="r" b="b"/>
              <a:pathLst>
                <a:path w="151" h="122">
                  <a:moveTo>
                    <a:pt x="146" y="47"/>
                  </a:moveTo>
                  <a:cubicBezTo>
                    <a:pt x="146" y="47"/>
                    <a:pt x="146" y="47"/>
                    <a:pt x="145" y="47"/>
                  </a:cubicBezTo>
                  <a:cubicBezTo>
                    <a:pt x="144" y="47"/>
                    <a:pt x="144" y="47"/>
                    <a:pt x="143" y="47"/>
                  </a:cubicBezTo>
                  <a:cubicBezTo>
                    <a:pt x="143" y="43"/>
                    <a:pt x="142" y="39"/>
                    <a:pt x="140" y="36"/>
                  </a:cubicBezTo>
                  <a:cubicBezTo>
                    <a:pt x="138" y="33"/>
                    <a:pt x="136" y="31"/>
                    <a:pt x="133" y="31"/>
                  </a:cubicBezTo>
                  <a:cubicBezTo>
                    <a:pt x="132" y="31"/>
                    <a:pt x="131" y="31"/>
                    <a:pt x="130" y="31"/>
                  </a:cubicBezTo>
                  <a:cubicBezTo>
                    <a:pt x="126" y="31"/>
                    <a:pt x="122" y="33"/>
                    <a:pt x="121" y="36"/>
                  </a:cubicBezTo>
                  <a:cubicBezTo>
                    <a:pt x="118" y="41"/>
                    <a:pt x="121" y="48"/>
                    <a:pt x="124" y="53"/>
                  </a:cubicBezTo>
                  <a:cubicBezTo>
                    <a:pt x="124" y="53"/>
                    <a:pt x="124" y="53"/>
                    <a:pt x="123" y="53"/>
                  </a:cubicBezTo>
                  <a:cubicBezTo>
                    <a:pt x="119" y="43"/>
                    <a:pt x="111" y="35"/>
                    <a:pt x="100" y="29"/>
                  </a:cubicBezTo>
                  <a:cubicBezTo>
                    <a:pt x="96" y="27"/>
                    <a:pt x="91" y="25"/>
                    <a:pt x="85" y="24"/>
                  </a:cubicBezTo>
                  <a:cubicBezTo>
                    <a:pt x="86" y="22"/>
                    <a:pt x="87" y="19"/>
                    <a:pt x="87" y="16"/>
                  </a:cubicBezTo>
                  <a:cubicBezTo>
                    <a:pt x="87" y="7"/>
                    <a:pt x="80" y="0"/>
                    <a:pt x="71" y="0"/>
                  </a:cubicBezTo>
                  <a:cubicBezTo>
                    <a:pt x="62" y="0"/>
                    <a:pt x="55" y="7"/>
                    <a:pt x="55" y="16"/>
                  </a:cubicBezTo>
                  <a:cubicBezTo>
                    <a:pt x="55" y="18"/>
                    <a:pt x="56" y="21"/>
                    <a:pt x="57" y="23"/>
                  </a:cubicBezTo>
                  <a:cubicBezTo>
                    <a:pt x="55" y="23"/>
                    <a:pt x="54" y="23"/>
                    <a:pt x="53" y="23"/>
                  </a:cubicBezTo>
                  <a:cubicBezTo>
                    <a:pt x="48" y="17"/>
                    <a:pt x="43" y="14"/>
                    <a:pt x="31" y="13"/>
                  </a:cubicBezTo>
                  <a:cubicBezTo>
                    <a:pt x="30" y="13"/>
                    <a:pt x="29" y="14"/>
                    <a:pt x="28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0" y="27"/>
                    <a:pt x="31" y="28"/>
                    <a:pt x="31" y="32"/>
                  </a:cubicBezTo>
                  <a:cubicBezTo>
                    <a:pt x="25" y="37"/>
                    <a:pt x="17" y="46"/>
                    <a:pt x="13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0" y="53"/>
                    <a:pt x="8" y="53"/>
                    <a:pt x="5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" y="59"/>
                    <a:pt x="2" y="61"/>
                    <a:pt x="2" y="62"/>
                  </a:cubicBezTo>
                  <a:cubicBezTo>
                    <a:pt x="3" y="68"/>
                    <a:pt x="4" y="71"/>
                    <a:pt x="1" y="7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6" y="84"/>
                    <a:pt x="7" y="84"/>
                  </a:cubicBezTo>
                  <a:cubicBezTo>
                    <a:pt x="9" y="84"/>
                    <a:pt x="10" y="84"/>
                    <a:pt x="12" y="84"/>
                  </a:cubicBezTo>
                  <a:cubicBezTo>
                    <a:pt x="14" y="89"/>
                    <a:pt x="18" y="95"/>
                    <a:pt x="21" y="98"/>
                  </a:cubicBezTo>
                  <a:cubicBezTo>
                    <a:pt x="21" y="99"/>
                    <a:pt x="22" y="99"/>
                    <a:pt x="22" y="99"/>
                  </a:cubicBezTo>
                  <a:cubicBezTo>
                    <a:pt x="22" y="100"/>
                    <a:pt x="23" y="100"/>
                    <a:pt x="23" y="100"/>
                  </a:cubicBezTo>
                  <a:cubicBezTo>
                    <a:pt x="23" y="101"/>
                    <a:pt x="23" y="101"/>
                    <a:pt x="23" y="102"/>
                  </a:cubicBezTo>
                  <a:cubicBezTo>
                    <a:pt x="23" y="103"/>
                    <a:pt x="23" y="103"/>
                    <a:pt x="23" y="104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9" y="122"/>
                    <a:pt x="32" y="122"/>
                    <a:pt x="34" y="122"/>
                  </a:cubicBezTo>
                  <a:cubicBezTo>
                    <a:pt x="43" y="122"/>
                    <a:pt x="49" y="119"/>
                    <a:pt x="51" y="114"/>
                  </a:cubicBezTo>
                  <a:cubicBezTo>
                    <a:pt x="56" y="115"/>
                    <a:pt x="62" y="115"/>
                    <a:pt x="69" y="115"/>
                  </a:cubicBezTo>
                  <a:cubicBezTo>
                    <a:pt x="74" y="115"/>
                    <a:pt x="79" y="115"/>
                    <a:pt x="82" y="114"/>
                  </a:cubicBezTo>
                  <a:cubicBezTo>
                    <a:pt x="85" y="119"/>
                    <a:pt x="90" y="122"/>
                    <a:pt x="98" y="122"/>
                  </a:cubicBezTo>
                  <a:cubicBezTo>
                    <a:pt x="101" y="122"/>
                    <a:pt x="104" y="122"/>
                    <a:pt x="107" y="121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22" y="92"/>
                    <a:pt x="128" y="80"/>
                    <a:pt x="126" y="65"/>
                  </a:cubicBezTo>
                  <a:cubicBezTo>
                    <a:pt x="130" y="64"/>
                    <a:pt x="133" y="62"/>
                    <a:pt x="136" y="60"/>
                  </a:cubicBezTo>
                  <a:cubicBezTo>
                    <a:pt x="137" y="60"/>
                    <a:pt x="137" y="60"/>
                    <a:pt x="138" y="60"/>
                  </a:cubicBezTo>
                  <a:cubicBezTo>
                    <a:pt x="144" y="60"/>
                    <a:pt x="151" y="58"/>
                    <a:pt x="151" y="53"/>
                  </a:cubicBezTo>
                  <a:cubicBezTo>
                    <a:pt x="151" y="50"/>
                    <a:pt x="149" y="48"/>
                    <a:pt x="146" y="47"/>
                  </a:cubicBezTo>
                  <a:close/>
                  <a:moveTo>
                    <a:pt x="71" y="4"/>
                  </a:moveTo>
                  <a:cubicBezTo>
                    <a:pt x="78" y="4"/>
                    <a:pt x="84" y="9"/>
                    <a:pt x="84" y="16"/>
                  </a:cubicBezTo>
                  <a:cubicBezTo>
                    <a:pt x="84" y="23"/>
                    <a:pt x="78" y="28"/>
                    <a:pt x="71" y="28"/>
                  </a:cubicBezTo>
                  <a:cubicBezTo>
                    <a:pt x="64" y="28"/>
                    <a:pt x="59" y="23"/>
                    <a:pt x="59" y="16"/>
                  </a:cubicBezTo>
                  <a:cubicBezTo>
                    <a:pt x="59" y="9"/>
                    <a:pt x="64" y="4"/>
                    <a:pt x="71" y="4"/>
                  </a:cubicBezTo>
                  <a:close/>
                  <a:moveTo>
                    <a:pt x="84" y="33"/>
                  </a:moveTo>
                  <a:cubicBezTo>
                    <a:pt x="84" y="34"/>
                    <a:pt x="84" y="34"/>
                    <a:pt x="84" y="34"/>
                  </a:cubicBezTo>
                  <a:cubicBezTo>
                    <a:pt x="84" y="34"/>
                    <a:pt x="84" y="34"/>
                    <a:pt x="84" y="34"/>
                  </a:cubicBezTo>
                  <a:cubicBezTo>
                    <a:pt x="84" y="34"/>
                    <a:pt x="84" y="34"/>
                    <a:pt x="82" y="34"/>
                  </a:cubicBezTo>
                  <a:cubicBezTo>
                    <a:pt x="81" y="34"/>
                    <a:pt x="79" y="34"/>
                    <a:pt x="77" y="34"/>
                  </a:cubicBezTo>
                  <a:cubicBezTo>
                    <a:pt x="76" y="34"/>
                    <a:pt x="74" y="33"/>
                    <a:pt x="73" y="33"/>
                  </a:cubicBezTo>
                  <a:cubicBezTo>
                    <a:pt x="72" y="33"/>
                    <a:pt x="72" y="33"/>
                    <a:pt x="71" y="33"/>
                  </a:cubicBezTo>
                  <a:cubicBezTo>
                    <a:pt x="69" y="33"/>
                    <a:pt x="67" y="33"/>
                    <a:pt x="65" y="33"/>
                  </a:cubicBezTo>
                  <a:cubicBezTo>
                    <a:pt x="65" y="34"/>
                    <a:pt x="64" y="34"/>
                    <a:pt x="63" y="34"/>
                  </a:cubicBezTo>
                  <a:cubicBezTo>
                    <a:pt x="62" y="34"/>
                    <a:pt x="61" y="34"/>
                    <a:pt x="60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4"/>
                    <a:pt x="58" y="33"/>
                  </a:cubicBezTo>
                  <a:cubicBezTo>
                    <a:pt x="59" y="32"/>
                    <a:pt x="63" y="32"/>
                    <a:pt x="65" y="32"/>
                  </a:cubicBezTo>
                  <a:cubicBezTo>
                    <a:pt x="66" y="32"/>
                    <a:pt x="66" y="32"/>
                    <a:pt x="67" y="32"/>
                  </a:cubicBezTo>
                  <a:cubicBezTo>
                    <a:pt x="68" y="32"/>
                    <a:pt x="69" y="32"/>
                    <a:pt x="70" y="32"/>
                  </a:cubicBezTo>
                  <a:cubicBezTo>
                    <a:pt x="72" y="32"/>
                    <a:pt x="75" y="32"/>
                    <a:pt x="77" y="32"/>
                  </a:cubicBezTo>
                  <a:cubicBezTo>
                    <a:pt x="78" y="33"/>
                    <a:pt x="79" y="33"/>
                    <a:pt x="79" y="33"/>
                  </a:cubicBezTo>
                  <a:cubicBezTo>
                    <a:pt x="81" y="33"/>
                    <a:pt x="83" y="33"/>
                    <a:pt x="84" y="33"/>
                  </a:cubicBezTo>
                  <a:close/>
                  <a:moveTo>
                    <a:pt x="138" y="57"/>
                  </a:moveTo>
                  <a:cubicBezTo>
                    <a:pt x="137" y="57"/>
                    <a:pt x="136" y="57"/>
                    <a:pt x="135" y="56"/>
                  </a:cubicBezTo>
                  <a:cubicBezTo>
                    <a:pt x="132" y="58"/>
                    <a:pt x="128" y="61"/>
                    <a:pt x="122" y="62"/>
                  </a:cubicBezTo>
                  <a:cubicBezTo>
                    <a:pt x="126" y="81"/>
                    <a:pt x="116" y="94"/>
                    <a:pt x="106" y="102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4" y="118"/>
                    <a:pt x="101" y="119"/>
                    <a:pt x="98" y="119"/>
                  </a:cubicBezTo>
                  <a:cubicBezTo>
                    <a:pt x="91" y="119"/>
                    <a:pt x="86" y="116"/>
                    <a:pt x="85" y="110"/>
                  </a:cubicBezTo>
                  <a:cubicBezTo>
                    <a:pt x="81" y="111"/>
                    <a:pt x="75" y="111"/>
                    <a:pt x="69" y="111"/>
                  </a:cubicBezTo>
                  <a:cubicBezTo>
                    <a:pt x="61" y="111"/>
                    <a:pt x="53" y="111"/>
                    <a:pt x="48" y="109"/>
                  </a:cubicBezTo>
                  <a:cubicBezTo>
                    <a:pt x="48" y="116"/>
                    <a:pt x="42" y="119"/>
                    <a:pt x="34" y="119"/>
                  </a:cubicBezTo>
                  <a:cubicBezTo>
                    <a:pt x="32" y="119"/>
                    <a:pt x="29" y="118"/>
                    <a:pt x="27" y="118"/>
                  </a:cubicBezTo>
                  <a:cubicBezTo>
                    <a:pt x="27" y="104"/>
                    <a:pt x="27" y="104"/>
                    <a:pt x="27" y="104"/>
                  </a:cubicBezTo>
                  <a:cubicBezTo>
                    <a:pt x="27" y="102"/>
                    <a:pt x="27" y="101"/>
                    <a:pt x="27" y="99"/>
                  </a:cubicBezTo>
                  <a:cubicBezTo>
                    <a:pt x="26" y="98"/>
                    <a:pt x="25" y="97"/>
                    <a:pt x="24" y="96"/>
                  </a:cubicBezTo>
                  <a:cubicBezTo>
                    <a:pt x="21" y="93"/>
                    <a:pt x="16" y="85"/>
                    <a:pt x="14" y="81"/>
                  </a:cubicBezTo>
                  <a:cubicBezTo>
                    <a:pt x="14" y="81"/>
                    <a:pt x="13" y="81"/>
                    <a:pt x="13" y="81"/>
                  </a:cubicBezTo>
                  <a:cubicBezTo>
                    <a:pt x="10" y="81"/>
                    <a:pt x="7" y="80"/>
                    <a:pt x="5" y="80"/>
                  </a:cubicBezTo>
                  <a:cubicBezTo>
                    <a:pt x="8" y="69"/>
                    <a:pt x="6" y="66"/>
                    <a:pt x="5" y="57"/>
                  </a:cubicBezTo>
                  <a:cubicBezTo>
                    <a:pt x="8" y="57"/>
                    <a:pt x="12" y="57"/>
                    <a:pt x="15" y="57"/>
                  </a:cubicBezTo>
                  <a:cubicBezTo>
                    <a:pt x="18" y="49"/>
                    <a:pt x="28" y="39"/>
                    <a:pt x="34" y="34"/>
                  </a:cubicBezTo>
                  <a:cubicBezTo>
                    <a:pt x="35" y="28"/>
                    <a:pt x="34" y="26"/>
                    <a:pt x="28" y="17"/>
                  </a:cubicBezTo>
                  <a:cubicBezTo>
                    <a:pt x="29" y="17"/>
                    <a:pt x="30" y="17"/>
                    <a:pt x="31" y="17"/>
                  </a:cubicBezTo>
                  <a:cubicBezTo>
                    <a:pt x="43" y="17"/>
                    <a:pt x="46" y="20"/>
                    <a:pt x="51" y="27"/>
                  </a:cubicBezTo>
                  <a:cubicBezTo>
                    <a:pt x="54" y="27"/>
                    <a:pt x="56" y="26"/>
                    <a:pt x="59" y="26"/>
                  </a:cubicBezTo>
                  <a:cubicBezTo>
                    <a:pt x="60" y="27"/>
                    <a:pt x="61" y="28"/>
                    <a:pt x="62" y="29"/>
                  </a:cubicBezTo>
                  <a:cubicBezTo>
                    <a:pt x="58" y="29"/>
                    <a:pt x="55" y="30"/>
                    <a:pt x="55" y="32"/>
                  </a:cubicBezTo>
                  <a:cubicBezTo>
                    <a:pt x="55" y="34"/>
                    <a:pt x="55" y="35"/>
                    <a:pt x="56" y="36"/>
                  </a:cubicBezTo>
                  <a:cubicBezTo>
                    <a:pt x="57" y="37"/>
                    <a:pt x="59" y="38"/>
                    <a:pt x="60" y="38"/>
                  </a:cubicBezTo>
                  <a:cubicBezTo>
                    <a:pt x="61" y="38"/>
                    <a:pt x="63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7" y="37"/>
                    <a:pt x="69" y="37"/>
                    <a:pt x="71" y="37"/>
                  </a:cubicBezTo>
                  <a:cubicBezTo>
                    <a:pt x="72" y="37"/>
                    <a:pt x="72" y="37"/>
                    <a:pt x="73" y="37"/>
                  </a:cubicBezTo>
                  <a:cubicBezTo>
                    <a:pt x="74" y="37"/>
                    <a:pt x="75" y="37"/>
                    <a:pt x="77" y="37"/>
                  </a:cubicBezTo>
                  <a:cubicBezTo>
                    <a:pt x="78" y="38"/>
                    <a:pt x="80" y="38"/>
                    <a:pt x="82" y="38"/>
                  </a:cubicBezTo>
                  <a:cubicBezTo>
                    <a:pt x="87" y="38"/>
                    <a:pt x="88" y="36"/>
                    <a:pt x="88" y="34"/>
                  </a:cubicBezTo>
                  <a:cubicBezTo>
                    <a:pt x="88" y="33"/>
                    <a:pt x="87" y="32"/>
                    <a:pt x="87" y="31"/>
                  </a:cubicBezTo>
                  <a:cubicBezTo>
                    <a:pt x="85" y="29"/>
                    <a:pt x="83" y="29"/>
                    <a:pt x="80" y="29"/>
                  </a:cubicBezTo>
                  <a:cubicBezTo>
                    <a:pt x="81" y="28"/>
                    <a:pt x="82" y="28"/>
                    <a:pt x="83" y="27"/>
                  </a:cubicBezTo>
                  <a:cubicBezTo>
                    <a:pt x="89" y="28"/>
                    <a:pt x="94" y="30"/>
                    <a:pt x="98" y="32"/>
                  </a:cubicBezTo>
                  <a:cubicBezTo>
                    <a:pt x="109" y="38"/>
                    <a:pt x="117" y="46"/>
                    <a:pt x="121" y="58"/>
                  </a:cubicBezTo>
                  <a:cubicBezTo>
                    <a:pt x="124" y="58"/>
                    <a:pt x="128" y="55"/>
                    <a:pt x="130" y="54"/>
                  </a:cubicBezTo>
                  <a:cubicBezTo>
                    <a:pt x="127" y="51"/>
                    <a:pt x="121" y="43"/>
                    <a:pt x="124" y="37"/>
                  </a:cubicBezTo>
                  <a:cubicBezTo>
                    <a:pt x="125" y="35"/>
                    <a:pt x="127" y="34"/>
                    <a:pt x="130" y="34"/>
                  </a:cubicBezTo>
                  <a:cubicBezTo>
                    <a:pt x="131" y="34"/>
                    <a:pt x="131" y="34"/>
                    <a:pt x="132" y="34"/>
                  </a:cubicBezTo>
                  <a:cubicBezTo>
                    <a:pt x="138" y="35"/>
                    <a:pt x="141" y="45"/>
                    <a:pt x="139" y="52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41" y="52"/>
                    <a:pt x="144" y="51"/>
                    <a:pt x="145" y="51"/>
                  </a:cubicBezTo>
                  <a:cubicBezTo>
                    <a:pt x="145" y="51"/>
                    <a:pt x="145" y="51"/>
                    <a:pt x="146" y="51"/>
                  </a:cubicBezTo>
                  <a:cubicBezTo>
                    <a:pt x="147" y="51"/>
                    <a:pt x="148" y="52"/>
                    <a:pt x="148" y="53"/>
                  </a:cubicBezTo>
                  <a:cubicBezTo>
                    <a:pt x="148" y="56"/>
                    <a:pt x="142" y="57"/>
                    <a:pt x="138" y="5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38" name="Group 186"/>
          <p:cNvGrpSpPr>
            <a:grpSpLocks noChangeAspect="1"/>
          </p:cNvGrpSpPr>
          <p:nvPr/>
        </p:nvGrpSpPr>
        <p:grpSpPr bwMode="auto">
          <a:xfrm>
            <a:off x="4716463" y="1495425"/>
            <a:ext cx="844550" cy="844550"/>
            <a:chOff x="2963" y="942"/>
            <a:chExt cx="532" cy="532"/>
          </a:xfrm>
        </p:grpSpPr>
        <p:sp>
          <p:nvSpPr>
            <p:cNvPr id="49339" name="Oval 187"/>
            <p:cNvSpPr>
              <a:spLocks noChangeArrowheads="1"/>
            </p:cNvSpPr>
            <p:nvPr/>
          </p:nvSpPr>
          <p:spPr bwMode="auto">
            <a:xfrm>
              <a:off x="2963" y="942"/>
              <a:ext cx="532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40" name="Freeform 188"/>
            <p:cNvSpPr>
              <a:spLocks noEditPoints="1"/>
            </p:cNvSpPr>
            <p:nvPr/>
          </p:nvSpPr>
          <p:spPr bwMode="auto">
            <a:xfrm>
              <a:off x="2982" y="958"/>
              <a:ext cx="494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1" name="Freeform 189"/>
            <p:cNvSpPr>
              <a:spLocks noEditPoints="1"/>
            </p:cNvSpPr>
            <p:nvPr/>
          </p:nvSpPr>
          <p:spPr bwMode="auto">
            <a:xfrm>
              <a:off x="3123" y="1215"/>
              <a:ext cx="53" cy="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8"/>
                </a:cxn>
                <a:cxn ang="0">
                  <a:pos x="11" y="16"/>
                </a:cxn>
                <a:cxn ang="0">
                  <a:pos x="22" y="8"/>
                </a:cxn>
                <a:cxn ang="0">
                  <a:pos x="11" y="0"/>
                </a:cxn>
                <a:cxn ang="0">
                  <a:pos x="11" y="12"/>
                </a:cxn>
                <a:cxn ang="0">
                  <a:pos x="3" y="8"/>
                </a:cxn>
                <a:cxn ang="0">
                  <a:pos x="11" y="4"/>
                </a:cxn>
                <a:cxn ang="0">
                  <a:pos x="18" y="8"/>
                </a:cxn>
                <a:cxn ang="0">
                  <a:pos x="11" y="12"/>
                </a:cxn>
              </a:cxnLst>
              <a:rect l="0" t="0" r="r" b="b"/>
              <a:pathLst>
                <a:path w="22" h="16">
                  <a:moveTo>
                    <a:pt x="11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6"/>
                    <a:pt x="11" y="16"/>
                  </a:cubicBezTo>
                  <a:cubicBezTo>
                    <a:pt x="17" y="16"/>
                    <a:pt x="22" y="12"/>
                    <a:pt x="22" y="8"/>
                  </a:cubicBezTo>
                  <a:cubicBezTo>
                    <a:pt x="22" y="3"/>
                    <a:pt x="17" y="0"/>
                    <a:pt x="11" y="0"/>
                  </a:cubicBezTo>
                  <a:close/>
                  <a:moveTo>
                    <a:pt x="11" y="12"/>
                  </a:moveTo>
                  <a:cubicBezTo>
                    <a:pt x="6" y="12"/>
                    <a:pt x="3" y="10"/>
                    <a:pt x="3" y="8"/>
                  </a:cubicBezTo>
                  <a:cubicBezTo>
                    <a:pt x="3" y="6"/>
                    <a:pt x="6" y="4"/>
                    <a:pt x="11" y="4"/>
                  </a:cubicBezTo>
                  <a:cubicBezTo>
                    <a:pt x="15" y="4"/>
                    <a:pt x="18" y="6"/>
                    <a:pt x="18" y="8"/>
                  </a:cubicBezTo>
                  <a:cubicBezTo>
                    <a:pt x="18" y="10"/>
                    <a:pt x="15" y="12"/>
                    <a:pt x="11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2" name="Freeform 190"/>
            <p:cNvSpPr>
              <a:spLocks noEditPoints="1"/>
            </p:cNvSpPr>
            <p:nvPr/>
          </p:nvSpPr>
          <p:spPr bwMode="auto">
            <a:xfrm>
              <a:off x="3097" y="1105"/>
              <a:ext cx="261" cy="208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25" y="0"/>
                </a:cxn>
                <a:cxn ang="0">
                  <a:pos x="1" y="36"/>
                </a:cxn>
                <a:cxn ang="0">
                  <a:pos x="0" y="67"/>
                </a:cxn>
                <a:cxn ang="0">
                  <a:pos x="9" y="69"/>
                </a:cxn>
                <a:cxn ang="0">
                  <a:pos x="18" y="87"/>
                </a:cxn>
                <a:cxn ang="0">
                  <a:pos x="34" y="77"/>
                </a:cxn>
                <a:cxn ang="0">
                  <a:pos x="76" y="69"/>
                </a:cxn>
                <a:cxn ang="0">
                  <a:pos x="85" y="87"/>
                </a:cxn>
                <a:cxn ang="0">
                  <a:pos x="100" y="77"/>
                </a:cxn>
                <a:cxn ang="0">
                  <a:pos x="107" y="69"/>
                </a:cxn>
                <a:cxn ang="0">
                  <a:pos x="109" y="39"/>
                </a:cxn>
                <a:cxn ang="0">
                  <a:pos x="90" y="4"/>
                </a:cxn>
                <a:cxn ang="0">
                  <a:pos x="22" y="6"/>
                </a:cxn>
                <a:cxn ang="0">
                  <a:pos x="25" y="3"/>
                </a:cxn>
                <a:cxn ang="0">
                  <a:pos x="84" y="3"/>
                </a:cxn>
                <a:cxn ang="0">
                  <a:pos x="87" y="6"/>
                </a:cxn>
                <a:cxn ang="0">
                  <a:pos x="102" y="33"/>
                </a:cxn>
                <a:cxn ang="0">
                  <a:pos x="85" y="33"/>
                </a:cxn>
                <a:cxn ang="0">
                  <a:pos x="60" y="33"/>
                </a:cxn>
                <a:cxn ang="0">
                  <a:pos x="7" y="33"/>
                </a:cxn>
                <a:cxn ang="0">
                  <a:pos x="82" y="33"/>
                </a:cxn>
                <a:cxn ang="0">
                  <a:pos x="73" y="25"/>
                </a:cxn>
                <a:cxn ang="0">
                  <a:pos x="30" y="77"/>
                </a:cxn>
                <a:cxn ang="0">
                  <a:pos x="18" y="84"/>
                </a:cxn>
                <a:cxn ang="0">
                  <a:pos x="13" y="69"/>
                </a:cxn>
                <a:cxn ang="0">
                  <a:pos x="30" y="77"/>
                </a:cxn>
                <a:cxn ang="0">
                  <a:pos x="92" y="84"/>
                </a:cxn>
                <a:cxn ang="0">
                  <a:pos x="80" y="77"/>
                </a:cxn>
                <a:cxn ang="0">
                  <a:pos x="97" y="69"/>
                </a:cxn>
                <a:cxn ang="0">
                  <a:pos x="106" y="65"/>
                </a:cxn>
                <a:cxn ang="0">
                  <a:pos x="4" y="39"/>
                </a:cxn>
                <a:cxn ang="0">
                  <a:pos x="4" y="38"/>
                </a:cxn>
                <a:cxn ang="0">
                  <a:pos x="8" y="37"/>
                </a:cxn>
                <a:cxn ang="0">
                  <a:pos x="105" y="38"/>
                </a:cxn>
                <a:cxn ang="0">
                  <a:pos x="105" y="39"/>
                </a:cxn>
                <a:cxn ang="0">
                  <a:pos x="106" y="65"/>
                </a:cxn>
              </a:cxnLst>
              <a:rect l="0" t="0" r="r" b="b"/>
              <a:pathLst>
                <a:path w="109" h="87">
                  <a:moveTo>
                    <a:pt x="90" y="4"/>
                  </a:moveTo>
                  <a:cubicBezTo>
                    <a:pt x="90" y="2"/>
                    <a:pt x="87" y="0"/>
                    <a:pt x="8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20" y="2"/>
                    <a:pt x="19" y="4"/>
                  </a:cubicBezTo>
                  <a:cubicBezTo>
                    <a:pt x="9" y="22"/>
                    <a:pt x="3" y="33"/>
                    <a:pt x="1" y="36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8"/>
                    <a:pt x="1" y="69"/>
                    <a:pt x="2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9" y="83"/>
                    <a:pt x="13" y="87"/>
                    <a:pt x="18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0" y="87"/>
                    <a:pt x="34" y="83"/>
                    <a:pt x="34" y="77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6" y="83"/>
                    <a:pt x="80" y="87"/>
                    <a:pt x="85" y="87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6" y="87"/>
                    <a:pt x="100" y="83"/>
                    <a:pt x="100" y="77"/>
                  </a:cubicBezTo>
                  <a:cubicBezTo>
                    <a:pt x="100" y="69"/>
                    <a:pt x="100" y="69"/>
                    <a:pt x="100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8" y="69"/>
                    <a:pt x="109" y="68"/>
                    <a:pt x="109" y="67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8"/>
                    <a:pt x="109" y="37"/>
                    <a:pt x="108" y="36"/>
                  </a:cubicBezTo>
                  <a:cubicBezTo>
                    <a:pt x="106" y="33"/>
                    <a:pt x="100" y="22"/>
                    <a:pt x="90" y="4"/>
                  </a:cubicBezTo>
                  <a:close/>
                  <a:moveTo>
                    <a:pt x="22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3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3"/>
                    <a:pt x="87" y="5"/>
                    <a:pt x="87" y="6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94" y="19"/>
                    <a:pt x="99" y="28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27"/>
                    <a:pt x="79" y="22"/>
                    <a:pt x="73" y="22"/>
                  </a:cubicBezTo>
                  <a:cubicBezTo>
                    <a:pt x="66" y="22"/>
                    <a:pt x="61" y="27"/>
                    <a:pt x="60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0" y="28"/>
                    <a:pt x="15" y="19"/>
                    <a:pt x="22" y="6"/>
                  </a:cubicBezTo>
                  <a:close/>
                  <a:moveTo>
                    <a:pt x="82" y="33"/>
                  </a:moveTo>
                  <a:cubicBezTo>
                    <a:pt x="64" y="33"/>
                    <a:pt x="64" y="33"/>
                    <a:pt x="64" y="33"/>
                  </a:cubicBezTo>
                  <a:cubicBezTo>
                    <a:pt x="64" y="29"/>
                    <a:pt x="68" y="25"/>
                    <a:pt x="73" y="25"/>
                  </a:cubicBezTo>
                  <a:cubicBezTo>
                    <a:pt x="77" y="25"/>
                    <a:pt x="81" y="29"/>
                    <a:pt x="82" y="33"/>
                  </a:cubicBezTo>
                  <a:close/>
                  <a:moveTo>
                    <a:pt x="30" y="77"/>
                  </a:moveTo>
                  <a:cubicBezTo>
                    <a:pt x="30" y="80"/>
                    <a:pt x="28" y="84"/>
                    <a:pt x="25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5" y="84"/>
                    <a:pt x="13" y="80"/>
                    <a:pt x="13" y="77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30" y="69"/>
                    <a:pt x="30" y="69"/>
                    <a:pt x="30" y="69"/>
                  </a:cubicBezTo>
                  <a:lnTo>
                    <a:pt x="30" y="77"/>
                  </a:lnTo>
                  <a:close/>
                  <a:moveTo>
                    <a:pt x="97" y="77"/>
                  </a:moveTo>
                  <a:cubicBezTo>
                    <a:pt x="97" y="80"/>
                    <a:pt x="94" y="84"/>
                    <a:pt x="92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2" y="84"/>
                    <a:pt x="80" y="80"/>
                    <a:pt x="80" y="77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97" y="69"/>
                    <a:pt x="97" y="69"/>
                    <a:pt x="97" y="69"/>
                  </a:cubicBezTo>
                  <a:lnTo>
                    <a:pt x="97" y="77"/>
                  </a:lnTo>
                  <a:close/>
                  <a:moveTo>
                    <a:pt x="106" y="65"/>
                  </a:moveTo>
                  <a:cubicBezTo>
                    <a:pt x="4" y="65"/>
                    <a:pt x="4" y="65"/>
                    <a:pt x="4" y="65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6" y="37"/>
                    <a:pt x="8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3" y="37"/>
                    <a:pt x="104" y="37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9"/>
                    <a:pt x="105" y="39"/>
                  </a:cubicBezTo>
                  <a:cubicBezTo>
                    <a:pt x="106" y="39"/>
                    <a:pt x="106" y="39"/>
                    <a:pt x="106" y="39"/>
                  </a:cubicBezTo>
                  <a:lnTo>
                    <a:pt x="106" y="6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3" name="Freeform 191"/>
            <p:cNvSpPr>
              <a:spLocks noEditPoints="1"/>
            </p:cNvSpPr>
            <p:nvPr/>
          </p:nvSpPr>
          <p:spPr bwMode="auto">
            <a:xfrm>
              <a:off x="3282" y="1215"/>
              <a:ext cx="52" cy="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8"/>
                </a:cxn>
                <a:cxn ang="0">
                  <a:pos x="11" y="16"/>
                </a:cxn>
                <a:cxn ang="0">
                  <a:pos x="22" y="8"/>
                </a:cxn>
                <a:cxn ang="0">
                  <a:pos x="11" y="0"/>
                </a:cxn>
                <a:cxn ang="0">
                  <a:pos x="11" y="12"/>
                </a:cxn>
                <a:cxn ang="0">
                  <a:pos x="4" y="8"/>
                </a:cxn>
                <a:cxn ang="0">
                  <a:pos x="11" y="4"/>
                </a:cxn>
                <a:cxn ang="0">
                  <a:pos x="18" y="8"/>
                </a:cxn>
                <a:cxn ang="0">
                  <a:pos x="11" y="12"/>
                </a:cxn>
              </a:cxnLst>
              <a:rect l="0" t="0" r="r" b="b"/>
              <a:pathLst>
                <a:path w="22" h="16">
                  <a:moveTo>
                    <a:pt x="11" y="0"/>
                  </a:moveTo>
                  <a:cubicBezTo>
                    <a:pt x="5" y="0"/>
                    <a:pt x="0" y="3"/>
                    <a:pt x="0" y="8"/>
                  </a:cubicBezTo>
                  <a:cubicBezTo>
                    <a:pt x="0" y="12"/>
                    <a:pt x="5" y="16"/>
                    <a:pt x="11" y="16"/>
                  </a:cubicBezTo>
                  <a:cubicBezTo>
                    <a:pt x="17" y="16"/>
                    <a:pt x="22" y="12"/>
                    <a:pt x="22" y="8"/>
                  </a:cubicBezTo>
                  <a:cubicBezTo>
                    <a:pt x="22" y="3"/>
                    <a:pt x="17" y="0"/>
                    <a:pt x="11" y="0"/>
                  </a:cubicBezTo>
                  <a:close/>
                  <a:moveTo>
                    <a:pt x="11" y="12"/>
                  </a:moveTo>
                  <a:cubicBezTo>
                    <a:pt x="7" y="12"/>
                    <a:pt x="4" y="10"/>
                    <a:pt x="4" y="8"/>
                  </a:cubicBezTo>
                  <a:cubicBezTo>
                    <a:pt x="4" y="6"/>
                    <a:pt x="7" y="4"/>
                    <a:pt x="11" y="4"/>
                  </a:cubicBezTo>
                  <a:cubicBezTo>
                    <a:pt x="15" y="4"/>
                    <a:pt x="18" y="6"/>
                    <a:pt x="18" y="8"/>
                  </a:cubicBezTo>
                  <a:cubicBezTo>
                    <a:pt x="18" y="10"/>
                    <a:pt x="15" y="12"/>
                    <a:pt x="11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4" name="Freeform 192"/>
            <p:cNvSpPr>
              <a:spLocks noEditPoints="1"/>
            </p:cNvSpPr>
            <p:nvPr/>
          </p:nvSpPr>
          <p:spPr bwMode="auto">
            <a:xfrm>
              <a:off x="3356" y="1162"/>
              <a:ext cx="50" cy="3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7" y="0"/>
                </a:cxn>
                <a:cxn ang="0">
                  <a:pos x="0" y="8"/>
                </a:cxn>
                <a:cxn ang="0">
                  <a:pos x="7" y="15"/>
                </a:cxn>
                <a:cxn ang="0">
                  <a:pos x="13" y="15"/>
                </a:cxn>
                <a:cxn ang="0">
                  <a:pos x="21" y="8"/>
                </a:cxn>
                <a:cxn ang="0">
                  <a:pos x="13" y="0"/>
                </a:cxn>
                <a:cxn ang="0">
                  <a:pos x="13" y="11"/>
                </a:cxn>
                <a:cxn ang="0">
                  <a:pos x="7" y="11"/>
                </a:cxn>
                <a:cxn ang="0">
                  <a:pos x="3" y="8"/>
                </a:cxn>
                <a:cxn ang="0">
                  <a:pos x="7" y="4"/>
                </a:cxn>
                <a:cxn ang="0">
                  <a:pos x="13" y="4"/>
                </a:cxn>
                <a:cxn ang="0">
                  <a:pos x="17" y="8"/>
                </a:cxn>
                <a:cxn ang="0">
                  <a:pos x="13" y="11"/>
                </a:cxn>
              </a:cxnLst>
              <a:rect l="0" t="0" r="r" b="b"/>
              <a:pathLst>
                <a:path w="21" h="15">
                  <a:moveTo>
                    <a:pt x="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5"/>
                    <a:pt x="7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21" y="12"/>
                    <a:pt x="21" y="8"/>
                  </a:cubicBezTo>
                  <a:cubicBezTo>
                    <a:pt x="21" y="4"/>
                    <a:pt x="17" y="0"/>
                    <a:pt x="13" y="0"/>
                  </a:cubicBezTo>
                  <a:close/>
                  <a:moveTo>
                    <a:pt x="13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5" y="11"/>
                    <a:pt x="3" y="10"/>
                    <a:pt x="3" y="8"/>
                  </a:cubicBezTo>
                  <a:cubicBezTo>
                    <a:pt x="3" y="6"/>
                    <a:pt x="5" y="4"/>
                    <a:pt x="7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7" y="6"/>
                    <a:pt x="17" y="8"/>
                  </a:cubicBezTo>
                  <a:cubicBezTo>
                    <a:pt x="17" y="10"/>
                    <a:pt x="15" y="11"/>
                    <a:pt x="13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5" name="Freeform 193"/>
            <p:cNvSpPr>
              <a:spLocks noEditPoints="1"/>
            </p:cNvSpPr>
            <p:nvPr/>
          </p:nvSpPr>
          <p:spPr bwMode="auto">
            <a:xfrm>
              <a:off x="3052" y="1162"/>
              <a:ext cx="48" cy="3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7" y="0"/>
                </a:cxn>
                <a:cxn ang="0">
                  <a:pos x="0" y="8"/>
                </a:cxn>
                <a:cxn ang="0">
                  <a:pos x="7" y="15"/>
                </a:cxn>
                <a:cxn ang="0">
                  <a:pos x="13" y="15"/>
                </a:cxn>
                <a:cxn ang="0">
                  <a:pos x="20" y="8"/>
                </a:cxn>
                <a:cxn ang="0">
                  <a:pos x="13" y="0"/>
                </a:cxn>
                <a:cxn ang="0">
                  <a:pos x="13" y="11"/>
                </a:cxn>
                <a:cxn ang="0">
                  <a:pos x="7" y="11"/>
                </a:cxn>
                <a:cxn ang="0">
                  <a:pos x="3" y="8"/>
                </a:cxn>
                <a:cxn ang="0">
                  <a:pos x="7" y="4"/>
                </a:cxn>
                <a:cxn ang="0">
                  <a:pos x="13" y="4"/>
                </a:cxn>
                <a:cxn ang="0">
                  <a:pos x="17" y="8"/>
                </a:cxn>
                <a:cxn ang="0">
                  <a:pos x="13" y="11"/>
                </a:cxn>
              </a:cxnLst>
              <a:rect l="0" t="0" r="r" b="b"/>
              <a:pathLst>
                <a:path w="20" h="15">
                  <a:moveTo>
                    <a:pt x="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5"/>
                    <a:pt x="7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20" y="12"/>
                    <a:pt x="20" y="8"/>
                  </a:cubicBezTo>
                  <a:cubicBezTo>
                    <a:pt x="20" y="4"/>
                    <a:pt x="17" y="0"/>
                    <a:pt x="13" y="0"/>
                  </a:cubicBezTo>
                  <a:close/>
                  <a:moveTo>
                    <a:pt x="13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5" y="11"/>
                    <a:pt x="3" y="10"/>
                    <a:pt x="3" y="8"/>
                  </a:cubicBezTo>
                  <a:cubicBezTo>
                    <a:pt x="3" y="6"/>
                    <a:pt x="5" y="4"/>
                    <a:pt x="7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7" y="6"/>
                    <a:pt x="17" y="8"/>
                  </a:cubicBezTo>
                  <a:cubicBezTo>
                    <a:pt x="17" y="10"/>
                    <a:pt x="15" y="11"/>
                    <a:pt x="13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46" name="Freeform 194"/>
            <p:cNvSpPr>
              <a:spLocks noEditPoints="1"/>
            </p:cNvSpPr>
            <p:nvPr/>
          </p:nvSpPr>
          <p:spPr bwMode="auto">
            <a:xfrm>
              <a:off x="3179" y="1224"/>
              <a:ext cx="98" cy="29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0"/>
                </a:cxn>
                <a:cxn ang="0">
                  <a:pos x="2" y="12"/>
                </a:cxn>
                <a:cxn ang="0">
                  <a:pos x="39" y="12"/>
                </a:cxn>
                <a:cxn ang="0">
                  <a:pos x="41" y="10"/>
                </a:cxn>
                <a:cxn ang="0">
                  <a:pos x="41" y="2"/>
                </a:cxn>
                <a:cxn ang="0">
                  <a:pos x="39" y="0"/>
                </a:cxn>
                <a:cxn ang="0">
                  <a:pos x="37" y="9"/>
                </a:cxn>
                <a:cxn ang="0">
                  <a:pos x="4" y="9"/>
                </a:cxn>
                <a:cxn ang="0">
                  <a:pos x="4" y="4"/>
                </a:cxn>
                <a:cxn ang="0">
                  <a:pos x="37" y="4"/>
                </a:cxn>
                <a:cxn ang="0">
                  <a:pos x="37" y="9"/>
                </a:cxn>
              </a:cxnLst>
              <a:rect l="0" t="0" r="r" b="b"/>
              <a:pathLst>
                <a:path w="41" h="12">
                  <a:moveTo>
                    <a:pt x="3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1" y="11"/>
                    <a:pt x="41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lose/>
                  <a:moveTo>
                    <a:pt x="3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7" y="4"/>
                    <a:pt x="37" y="4"/>
                    <a:pt x="37" y="4"/>
                  </a:cubicBezTo>
                  <a:lnTo>
                    <a:pt x="3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49" name="Group 197"/>
          <p:cNvGrpSpPr>
            <a:grpSpLocks noChangeAspect="1"/>
          </p:cNvGrpSpPr>
          <p:nvPr/>
        </p:nvGrpSpPr>
        <p:grpSpPr bwMode="auto">
          <a:xfrm>
            <a:off x="5845176" y="1527175"/>
            <a:ext cx="788987" cy="787400"/>
            <a:chOff x="3681" y="962"/>
            <a:chExt cx="497" cy="496"/>
          </a:xfrm>
        </p:grpSpPr>
        <p:sp>
          <p:nvSpPr>
            <p:cNvPr id="49350" name="Freeform 198"/>
            <p:cNvSpPr>
              <a:spLocks noEditPoints="1"/>
            </p:cNvSpPr>
            <p:nvPr/>
          </p:nvSpPr>
          <p:spPr bwMode="auto">
            <a:xfrm>
              <a:off x="3681" y="962"/>
              <a:ext cx="497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51" name="Freeform 199"/>
            <p:cNvSpPr>
              <a:spLocks noEditPoints="1"/>
            </p:cNvSpPr>
            <p:nvPr/>
          </p:nvSpPr>
          <p:spPr bwMode="auto">
            <a:xfrm>
              <a:off x="3823" y="1218"/>
              <a:ext cx="53" cy="3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8"/>
                </a:cxn>
                <a:cxn ang="0">
                  <a:pos x="11" y="16"/>
                </a:cxn>
                <a:cxn ang="0">
                  <a:pos x="22" y="8"/>
                </a:cxn>
                <a:cxn ang="0">
                  <a:pos x="11" y="0"/>
                </a:cxn>
                <a:cxn ang="0">
                  <a:pos x="11" y="12"/>
                </a:cxn>
                <a:cxn ang="0">
                  <a:pos x="4" y="8"/>
                </a:cxn>
                <a:cxn ang="0">
                  <a:pos x="11" y="4"/>
                </a:cxn>
                <a:cxn ang="0">
                  <a:pos x="19" y="8"/>
                </a:cxn>
                <a:cxn ang="0">
                  <a:pos x="11" y="12"/>
                </a:cxn>
              </a:cxnLst>
              <a:rect l="0" t="0" r="r" b="b"/>
              <a:pathLst>
                <a:path w="22" h="16">
                  <a:moveTo>
                    <a:pt x="11" y="0"/>
                  </a:moveTo>
                  <a:cubicBezTo>
                    <a:pt x="5" y="0"/>
                    <a:pt x="0" y="3"/>
                    <a:pt x="0" y="8"/>
                  </a:cubicBezTo>
                  <a:cubicBezTo>
                    <a:pt x="0" y="12"/>
                    <a:pt x="5" y="16"/>
                    <a:pt x="11" y="16"/>
                  </a:cubicBezTo>
                  <a:cubicBezTo>
                    <a:pt x="17" y="16"/>
                    <a:pt x="22" y="12"/>
                    <a:pt x="22" y="8"/>
                  </a:cubicBezTo>
                  <a:cubicBezTo>
                    <a:pt x="22" y="3"/>
                    <a:pt x="17" y="0"/>
                    <a:pt x="11" y="0"/>
                  </a:cubicBezTo>
                  <a:close/>
                  <a:moveTo>
                    <a:pt x="11" y="12"/>
                  </a:moveTo>
                  <a:cubicBezTo>
                    <a:pt x="7" y="12"/>
                    <a:pt x="4" y="10"/>
                    <a:pt x="4" y="8"/>
                  </a:cubicBezTo>
                  <a:cubicBezTo>
                    <a:pt x="4" y="6"/>
                    <a:pt x="7" y="4"/>
                    <a:pt x="11" y="4"/>
                  </a:cubicBezTo>
                  <a:cubicBezTo>
                    <a:pt x="16" y="4"/>
                    <a:pt x="19" y="6"/>
                    <a:pt x="19" y="8"/>
                  </a:cubicBezTo>
                  <a:cubicBezTo>
                    <a:pt x="19" y="10"/>
                    <a:pt x="16" y="12"/>
                    <a:pt x="11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52" name="Freeform 200"/>
            <p:cNvSpPr>
              <a:spLocks noEditPoints="1"/>
            </p:cNvSpPr>
            <p:nvPr/>
          </p:nvSpPr>
          <p:spPr bwMode="auto">
            <a:xfrm>
              <a:off x="3799" y="1108"/>
              <a:ext cx="262" cy="209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25" y="0"/>
                </a:cxn>
                <a:cxn ang="0">
                  <a:pos x="1" y="36"/>
                </a:cxn>
                <a:cxn ang="0">
                  <a:pos x="0" y="67"/>
                </a:cxn>
                <a:cxn ang="0">
                  <a:pos x="9" y="69"/>
                </a:cxn>
                <a:cxn ang="0">
                  <a:pos x="18" y="87"/>
                </a:cxn>
                <a:cxn ang="0">
                  <a:pos x="33" y="77"/>
                </a:cxn>
                <a:cxn ang="0">
                  <a:pos x="76" y="69"/>
                </a:cxn>
                <a:cxn ang="0">
                  <a:pos x="84" y="87"/>
                </a:cxn>
                <a:cxn ang="0">
                  <a:pos x="100" y="77"/>
                </a:cxn>
                <a:cxn ang="0">
                  <a:pos x="107" y="69"/>
                </a:cxn>
                <a:cxn ang="0">
                  <a:pos x="109" y="39"/>
                </a:cxn>
                <a:cxn ang="0">
                  <a:pos x="90" y="4"/>
                </a:cxn>
                <a:cxn ang="0">
                  <a:pos x="22" y="6"/>
                </a:cxn>
                <a:cxn ang="0">
                  <a:pos x="25" y="3"/>
                </a:cxn>
                <a:cxn ang="0">
                  <a:pos x="84" y="3"/>
                </a:cxn>
                <a:cxn ang="0">
                  <a:pos x="87" y="6"/>
                </a:cxn>
                <a:cxn ang="0">
                  <a:pos x="102" y="33"/>
                </a:cxn>
                <a:cxn ang="0">
                  <a:pos x="85" y="33"/>
                </a:cxn>
                <a:cxn ang="0">
                  <a:pos x="60" y="33"/>
                </a:cxn>
                <a:cxn ang="0">
                  <a:pos x="7" y="33"/>
                </a:cxn>
                <a:cxn ang="0">
                  <a:pos x="82" y="33"/>
                </a:cxn>
                <a:cxn ang="0">
                  <a:pos x="72" y="25"/>
                </a:cxn>
                <a:cxn ang="0">
                  <a:pos x="30" y="77"/>
                </a:cxn>
                <a:cxn ang="0">
                  <a:pos x="18" y="84"/>
                </a:cxn>
                <a:cxn ang="0">
                  <a:pos x="13" y="69"/>
                </a:cxn>
                <a:cxn ang="0">
                  <a:pos x="30" y="77"/>
                </a:cxn>
                <a:cxn ang="0">
                  <a:pos x="91" y="84"/>
                </a:cxn>
                <a:cxn ang="0">
                  <a:pos x="79" y="77"/>
                </a:cxn>
                <a:cxn ang="0">
                  <a:pos x="96" y="69"/>
                </a:cxn>
                <a:cxn ang="0">
                  <a:pos x="105" y="65"/>
                </a:cxn>
                <a:cxn ang="0">
                  <a:pos x="3" y="39"/>
                </a:cxn>
                <a:cxn ang="0">
                  <a:pos x="4" y="38"/>
                </a:cxn>
                <a:cxn ang="0">
                  <a:pos x="7" y="37"/>
                </a:cxn>
                <a:cxn ang="0">
                  <a:pos x="105" y="38"/>
                </a:cxn>
                <a:cxn ang="0">
                  <a:pos x="105" y="39"/>
                </a:cxn>
                <a:cxn ang="0">
                  <a:pos x="105" y="65"/>
                </a:cxn>
              </a:cxnLst>
              <a:rect l="0" t="0" r="r" b="b"/>
              <a:pathLst>
                <a:path w="109" h="87">
                  <a:moveTo>
                    <a:pt x="90" y="4"/>
                  </a:moveTo>
                  <a:cubicBezTo>
                    <a:pt x="89" y="2"/>
                    <a:pt x="87" y="0"/>
                    <a:pt x="8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1" y="0"/>
                    <a:pt x="19" y="2"/>
                    <a:pt x="19" y="4"/>
                  </a:cubicBezTo>
                  <a:cubicBezTo>
                    <a:pt x="9" y="22"/>
                    <a:pt x="3" y="33"/>
                    <a:pt x="1" y="36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8"/>
                    <a:pt x="0" y="69"/>
                    <a:pt x="1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9" y="83"/>
                    <a:pt x="13" y="87"/>
                    <a:pt x="18" y="87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0" y="87"/>
                    <a:pt x="33" y="83"/>
                    <a:pt x="33" y="77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6" y="83"/>
                    <a:pt x="80" y="87"/>
                    <a:pt x="84" y="87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6" y="87"/>
                    <a:pt x="100" y="83"/>
                    <a:pt x="100" y="77"/>
                  </a:cubicBezTo>
                  <a:cubicBezTo>
                    <a:pt x="100" y="69"/>
                    <a:pt x="100" y="69"/>
                    <a:pt x="100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8" y="69"/>
                    <a:pt x="109" y="68"/>
                    <a:pt x="109" y="67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8"/>
                    <a:pt x="108" y="37"/>
                    <a:pt x="107" y="36"/>
                  </a:cubicBezTo>
                  <a:cubicBezTo>
                    <a:pt x="106" y="33"/>
                    <a:pt x="100" y="22"/>
                    <a:pt x="90" y="4"/>
                  </a:cubicBezTo>
                  <a:close/>
                  <a:moveTo>
                    <a:pt x="22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3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3"/>
                    <a:pt x="87" y="5"/>
                    <a:pt x="87" y="6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94" y="19"/>
                    <a:pt x="99" y="28"/>
                    <a:pt x="102" y="33"/>
                  </a:cubicBezTo>
                  <a:cubicBezTo>
                    <a:pt x="102" y="33"/>
                    <a:pt x="102" y="33"/>
                    <a:pt x="101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27"/>
                    <a:pt x="79" y="22"/>
                    <a:pt x="72" y="22"/>
                  </a:cubicBezTo>
                  <a:cubicBezTo>
                    <a:pt x="66" y="22"/>
                    <a:pt x="60" y="27"/>
                    <a:pt x="60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0" y="28"/>
                    <a:pt x="15" y="19"/>
                    <a:pt x="22" y="6"/>
                  </a:cubicBezTo>
                  <a:close/>
                  <a:moveTo>
                    <a:pt x="82" y="33"/>
                  </a:moveTo>
                  <a:cubicBezTo>
                    <a:pt x="63" y="33"/>
                    <a:pt x="63" y="33"/>
                    <a:pt x="63" y="33"/>
                  </a:cubicBezTo>
                  <a:cubicBezTo>
                    <a:pt x="64" y="29"/>
                    <a:pt x="68" y="25"/>
                    <a:pt x="72" y="25"/>
                  </a:cubicBezTo>
                  <a:cubicBezTo>
                    <a:pt x="77" y="25"/>
                    <a:pt x="81" y="29"/>
                    <a:pt x="82" y="33"/>
                  </a:cubicBezTo>
                  <a:close/>
                  <a:moveTo>
                    <a:pt x="30" y="77"/>
                  </a:moveTo>
                  <a:cubicBezTo>
                    <a:pt x="30" y="80"/>
                    <a:pt x="27" y="84"/>
                    <a:pt x="25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5" y="84"/>
                    <a:pt x="13" y="80"/>
                    <a:pt x="13" y="77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30" y="69"/>
                    <a:pt x="30" y="69"/>
                    <a:pt x="30" y="69"/>
                  </a:cubicBezTo>
                  <a:lnTo>
                    <a:pt x="30" y="77"/>
                  </a:lnTo>
                  <a:close/>
                  <a:moveTo>
                    <a:pt x="96" y="77"/>
                  </a:moveTo>
                  <a:cubicBezTo>
                    <a:pt x="96" y="80"/>
                    <a:pt x="94" y="84"/>
                    <a:pt x="91" y="84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2" y="84"/>
                    <a:pt x="79" y="80"/>
                    <a:pt x="79" y="7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96" y="69"/>
                    <a:pt x="96" y="69"/>
                    <a:pt x="96" y="69"/>
                  </a:cubicBezTo>
                  <a:lnTo>
                    <a:pt x="96" y="77"/>
                  </a:lnTo>
                  <a:close/>
                  <a:moveTo>
                    <a:pt x="105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6" y="37"/>
                    <a:pt x="7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3" y="37"/>
                    <a:pt x="104" y="37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lnTo>
                    <a:pt x="105" y="6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53" name="Freeform 201"/>
            <p:cNvSpPr>
              <a:spLocks noEditPoints="1"/>
            </p:cNvSpPr>
            <p:nvPr/>
          </p:nvSpPr>
          <p:spPr bwMode="auto">
            <a:xfrm>
              <a:off x="3984" y="1218"/>
              <a:ext cx="53" cy="39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8"/>
                </a:cxn>
                <a:cxn ang="0">
                  <a:pos x="11" y="16"/>
                </a:cxn>
                <a:cxn ang="0">
                  <a:pos x="22" y="8"/>
                </a:cxn>
                <a:cxn ang="0">
                  <a:pos x="11" y="0"/>
                </a:cxn>
                <a:cxn ang="0">
                  <a:pos x="11" y="12"/>
                </a:cxn>
                <a:cxn ang="0">
                  <a:pos x="3" y="8"/>
                </a:cxn>
                <a:cxn ang="0">
                  <a:pos x="11" y="4"/>
                </a:cxn>
                <a:cxn ang="0">
                  <a:pos x="18" y="8"/>
                </a:cxn>
                <a:cxn ang="0">
                  <a:pos x="11" y="12"/>
                </a:cxn>
              </a:cxnLst>
              <a:rect l="0" t="0" r="r" b="b"/>
              <a:pathLst>
                <a:path w="22" h="16">
                  <a:moveTo>
                    <a:pt x="11" y="0"/>
                  </a:moveTo>
                  <a:cubicBezTo>
                    <a:pt x="5" y="0"/>
                    <a:pt x="0" y="3"/>
                    <a:pt x="0" y="8"/>
                  </a:cubicBezTo>
                  <a:cubicBezTo>
                    <a:pt x="0" y="12"/>
                    <a:pt x="5" y="16"/>
                    <a:pt x="11" y="16"/>
                  </a:cubicBezTo>
                  <a:cubicBezTo>
                    <a:pt x="17" y="16"/>
                    <a:pt x="22" y="12"/>
                    <a:pt x="22" y="8"/>
                  </a:cubicBezTo>
                  <a:cubicBezTo>
                    <a:pt x="22" y="3"/>
                    <a:pt x="17" y="0"/>
                    <a:pt x="11" y="0"/>
                  </a:cubicBezTo>
                  <a:close/>
                  <a:moveTo>
                    <a:pt x="11" y="12"/>
                  </a:moveTo>
                  <a:cubicBezTo>
                    <a:pt x="6" y="12"/>
                    <a:pt x="3" y="10"/>
                    <a:pt x="3" y="8"/>
                  </a:cubicBezTo>
                  <a:cubicBezTo>
                    <a:pt x="3" y="6"/>
                    <a:pt x="6" y="4"/>
                    <a:pt x="11" y="4"/>
                  </a:cubicBezTo>
                  <a:cubicBezTo>
                    <a:pt x="15" y="4"/>
                    <a:pt x="18" y="6"/>
                    <a:pt x="18" y="8"/>
                  </a:cubicBezTo>
                  <a:cubicBezTo>
                    <a:pt x="18" y="10"/>
                    <a:pt x="15" y="12"/>
                    <a:pt x="11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54" name="Freeform 202"/>
            <p:cNvSpPr>
              <a:spLocks noEditPoints="1"/>
            </p:cNvSpPr>
            <p:nvPr/>
          </p:nvSpPr>
          <p:spPr bwMode="auto">
            <a:xfrm>
              <a:off x="4058" y="1166"/>
              <a:ext cx="48" cy="3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7" y="0"/>
                </a:cxn>
                <a:cxn ang="0">
                  <a:pos x="0" y="8"/>
                </a:cxn>
                <a:cxn ang="0">
                  <a:pos x="7" y="15"/>
                </a:cxn>
                <a:cxn ang="0">
                  <a:pos x="13" y="15"/>
                </a:cxn>
                <a:cxn ang="0">
                  <a:pos x="20" y="8"/>
                </a:cxn>
                <a:cxn ang="0">
                  <a:pos x="13" y="0"/>
                </a:cxn>
                <a:cxn ang="0">
                  <a:pos x="13" y="11"/>
                </a:cxn>
                <a:cxn ang="0">
                  <a:pos x="7" y="11"/>
                </a:cxn>
                <a:cxn ang="0">
                  <a:pos x="3" y="8"/>
                </a:cxn>
                <a:cxn ang="0">
                  <a:pos x="7" y="4"/>
                </a:cxn>
                <a:cxn ang="0">
                  <a:pos x="13" y="4"/>
                </a:cxn>
                <a:cxn ang="0">
                  <a:pos x="17" y="8"/>
                </a:cxn>
                <a:cxn ang="0">
                  <a:pos x="13" y="11"/>
                </a:cxn>
              </a:cxnLst>
              <a:rect l="0" t="0" r="r" b="b"/>
              <a:pathLst>
                <a:path w="20" h="15">
                  <a:moveTo>
                    <a:pt x="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"/>
                    <a:pt x="3" y="15"/>
                    <a:pt x="7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20" y="12"/>
                    <a:pt x="20" y="8"/>
                  </a:cubicBezTo>
                  <a:cubicBezTo>
                    <a:pt x="20" y="4"/>
                    <a:pt x="17" y="0"/>
                    <a:pt x="13" y="0"/>
                  </a:cubicBezTo>
                  <a:close/>
                  <a:moveTo>
                    <a:pt x="13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5" y="11"/>
                    <a:pt x="3" y="10"/>
                    <a:pt x="3" y="8"/>
                  </a:cubicBezTo>
                  <a:cubicBezTo>
                    <a:pt x="3" y="6"/>
                    <a:pt x="5" y="4"/>
                    <a:pt x="7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7" y="6"/>
                    <a:pt x="17" y="8"/>
                  </a:cubicBezTo>
                  <a:cubicBezTo>
                    <a:pt x="17" y="10"/>
                    <a:pt x="15" y="11"/>
                    <a:pt x="13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55" name="Freeform 203"/>
            <p:cNvSpPr>
              <a:spLocks noEditPoints="1"/>
            </p:cNvSpPr>
            <p:nvPr/>
          </p:nvSpPr>
          <p:spPr bwMode="auto">
            <a:xfrm>
              <a:off x="3751" y="1166"/>
              <a:ext cx="50" cy="3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15"/>
                </a:cxn>
                <a:cxn ang="0">
                  <a:pos x="14" y="15"/>
                </a:cxn>
                <a:cxn ang="0">
                  <a:pos x="21" y="8"/>
                </a:cxn>
                <a:cxn ang="0">
                  <a:pos x="14" y="0"/>
                </a:cxn>
                <a:cxn ang="0">
                  <a:pos x="14" y="11"/>
                </a:cxn>
                <a:cxn ang="0">
                  <a:pos x="8" y="11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14" y="4"/>
                </a:cxn>
                <a:cxn ang="0">
                  <a:pos x="17" y="8"/>
                </a:cxn>
                <a:cxn ang="0">
                  <a:pos x="14" y="11"/>
                </a:cxn>
              </a:cxnLst>
              <a:rect l="0" t="0" r="r" b="b"/>
              <a:pathLst>
                <a:path w="21" h="15">
                  <a:moveTo>
                    <a:pt x="1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8" y="15"/>
                    <a:pt x="21" y="12"/>
                    <a:pt x="21" y="8"/>
                  </a:cubicBezTo>
                  <a:cubicBezTo>
                    <a:pt x="21" y="4"/>
                    <a:pt x="18" y="0"/>
                    <a:pt x="14" y="0"/>
                  </a:cubicBezTo>
                  <a:close/>
                  <a:moveTo>
                    <a:pt x="14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6" y="11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6" y="4"/>
                    <a:pt x="17" y="6"/>
                    <a:pt x="17" y="8"/>
                  </a:cubicBezTo>
                  <a:cubicBezTo>
                    <a:pt x="17" y="10"/>
                    <a:pt x="16" y="11"/>
                    <a:pt x="14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56" name="Freeform 204"/>
            <p:cNvSpPr>
              <a:spLocks noEditPoints="1"/>
            </p:cNvSpPr>
            <p:nvPr/>
          </p:nvSpPr>
          <p:spPr bwMode="auto">
            <a:xfrm>
              <a:off x="3881" y="1228"/>
              <a:ext cx="98" cy="29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10"/>
                </a:cxn>
                <a:cxn ang="0">
                  <a:pos x="2" y="12"/>
                </a:cxn>
                <a:cxn ang="0">
                  <a:pos x="39" y="12"/>
                </a:cxn>
                <a:cxn ang="0">
                  <a:pos x="41" y="10"/>
                </a:cxn>
                <a:cxn ang="0">
                  <a:pos x="41" y="2"/>
                </a:cxn>
                <a:cxn ang="0">
                  <a:pos x="39" y="0"/>
                </a:cxn>
                <a:cxn ang="0">
                  <a:pos x="37" y="9"/>
                </a:cxn>
                <a:cxn ang="0">
                  <a:pos x="3" y="9"/>
                </a:cxn>
                <a:cxn ang="0">
                  <a:pos x="3" y="4"/>
                </a:cxn>
                <a:cxn ang="0">
                  <a:pos x="37" y="4"/>
                </a:cxn>
                <a:cxn ang="0">
                  <a:pos x="37" y="9"/>
                </a:cxn>
              </a:cxnLst>
              <a:rect l="0" t="0" r="r" b="b"/>
              <a:pathLst>
                <a:path w="41" h="12">
                  <a:moveTo>
                    <a:pt x="3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1" y="11"/>
                    <a:pt x="41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0" y="0"/>
                    <a:pt x="39" y="0"/>
                  </a:cubicBezTo>
                  <a:close/>
                  <a:moveTo>
                    <a:pt x="37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7" y="4"/>
                    <a:pt x="37" y="4"/>
                    <a:pt x="37" y="4"/>
                  </a:cubicBezTo>
                  <a:lnTo>
                    <a:pt x="37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59" name="Group 207"/>
          <p:cNvGrpSpPr>
            <a:grpSpLocks noChangeAspect="1"/>
          </p:cNvGrpSpPr>
          <p:nvPr/>
        </p:nvGrpSpPr>
        <p:grpSpPr bwMode="auto">
          <a:xfrm>
            <a:off x="6916737" y="1506538"/>
            <a:ext cx="827088" cy="828675"/>
            <a:chOff x="4358" y="949"/>
            <a:chExt cx="521" cy="522"/>
          </a:xfrm>
        </p:grpSpPr>
        <p:sp>
          <p:nvSpPr>
            <p:cNvPr id="49360" name="Oval 208"/>
            <p:cNvSpPr>
              <a:spLocks noChangeArrowheads="1"/>
            </p:cNvSpPr>
            <p:nvPr/>
          </p:nvSpPr>
          <p:spPr bwMode="auto">
            <a:xfrm>
              <a:off x="4358" y="949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61" name="Freeform 209"/>
            <p:cNvSpPr>
              <a:spLocks noEditPoints="1"/>
            </p:cNvSpPr>
            <p:nvPr/>
          </p:nvSpPr>
          <p:spPr bwMode="auto">
            <a:xfrm>
              <a:off x="4377" y="968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62" name="Freeform 210"/>
            <p:cNvSpPr>
              <a:spLocks noEditPoints="1"/>
            </p:cNvSpPr>
            <p:nvPr/>
          </p:nvSpPr>
          <p:spPr bwMode="auto">
            <a:xfrm>
              <a:off x="4480" y="1109"/>
              <a:ext cx="308" cy="159"/>
            </a:xfrm>
            <a:custGeom>
              <a:avLst/>
              <a:gdLst/>
              <a:ahLst/>
              <a:cxnLst>
                <a:cxn ang="0">
                  <a:pos x="308" y="123"/>
                </a:cxn>
                <a:cxn ang="0">
                  <a:pos x="256" y="0"/>
                </a:cxn>
                <a:cxn ang="0">
                  <a:pos x="0" y="27"/>
                </a:cxn>
                <a:cxn ang="0">
                  <a:pos x="21" y="159"/>
                </a:cxn>
                <a:cxn ang="0">
                  <a:pos x="308" y="123"/>
                </a:cxn>
                <a:cxn ang="0">
                  <a:pos x="251" y="10"/>
                </a:cxn>
                <a:cxn ang="0">
                  <a:pos x="296" y="115"/>
                </a:cxn>
                <a:cxn ang="0">
                  <a:pos x="28" y="149"/>
                </a:cxn>
                <a:cxn ang="0">
                  <a:pos x="9" y="36"/>
                </a:cxn>
                <a:cxn ang="0">
                  <a:pos x="251" y="10"/>
                </a:cxn>
              </a:cxnLst>
              <a:rect l="0" t="0" r="r" b="b"/>
              <a:pathLst>
                <a:path w="308" h="159">
                  <a:moveTo>
                    <a:pt x="308" y="123"/>
                  </a:moveTo>
                  <a:lnTo>
                    <a:pt x="256" y="0"/>
                  </a:lnTo>
                  <a:lnTo>
                    <a:pt x="0" y="27"/>
                  </a:lnTo>
                  <a:lnTo>
                    <a:pt x="21" y="159"/>
                  </a:lnTo>
                  <a:lnTo>
                    <a:pt x="308" y="123"/>
                  </a:lnTo>
                  <a:close/>
                  <a:moveTo>
                    <a:pt x="251" y="10"/>
                  </a:moveTo>
                  <a:lnTo>
                    <a:pt x="296" y="115"/>
                  </a:lnTo>
                  <a:lnTo>
                    <a:pt x="28" y="149"/>
                  </a:lnTo>
                  <a:lnTo>
                    <a:pt x="9" y="36"/>
                  </a:lnTo>
                  <a:lnTo>
                    <a:pt x="251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63" name="Freeform 211"/>
            <p:cNvSpPr>
              <a:spLocks noEditPoints="1"/>
            </p:cNvSpPr>
            <p:nvPr/>
          </p:nvSpPr>
          <p:spPr bwMode="auto">
            <a:xfrm>
              <a:off x="4599" y="1138"/>
              <a:ext cx="65" cy="94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2" y="33"/>
                </a:cxn>
                <a:cxn ang="0">
                  <a:pos x="5" y="34"/>
                </a:cxn>
                <a:cxn ang="0">
                  <a:pos x="9" y="35"/>
                </a:cxn>
                <a:cxn ang="0">
                  <a:pos x="13" y="39"/>
                </a:cxn>
                <a:cxn ang="0">
                  <a:pos x="22" y="37"/>
                </a:cxn>
                <a:cxn ang="0">
                  <a:pos x="21" y="33"/>
                </a:cxn>
                <a:cxn ang="0">
                  <a:pos x="22" y="15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4" y="6"/>
                </a:cxn>
                <a:cxn ang="0">
                  <a:pos x="20" y="5"/>
                </a:cxn>
                <a:cxn ang="0">
                  <a:pos x="18" y="4"/>
                </a:cxn>
                <a:cxn ang="0">
                  <a:pos x="13" y="1"/>
                </a:cxn>
                <a:cxn ang="0">
                  <a:pos x="5" y="2"/>
                </a:cxn>
                <a:cxn ang="0">
                  <a:pos x="5" y="7"/>
                </a:cxn>
                <a:cxn ang="0">
                  <a:pos x="3" y="22"/>
                </a:cxn>
                <a:cxn ang="0">
                  <a:pos x="9" y="5"/>
                </a:cxn>
                <a:cxn ang="0">
                  <a:pos x="14" y="8"/>
                </a:cxn>
                <a:cxn ang="0">
                  <a:pos x="19" y="8"/>
                </a:cxn>
                <a:cxn ang="0">
                  <a:pos x="19" y="13"/>
                </a:cxn>
                <a:cxn ang="0">
                  <a:pos x="18" y="14"/>
                </a:cxn>
                <a:cxn ang="0">
                  <a:pos x="13" y="13"/>
                </a:cxn>
                <a:cxn ang="0">
                  <a:pos x="15" y="16"/>
                </a:cxn>
                <a:cxn ang="0">
                  <a:pos x="17" y="31"/>
                </a:cxn>
                <a:cxn ang="0">
                  <a:pos x="12" y="35"/>
                </a:cxn>
                <a:cxn ang="0">
                  <a:pos x="11" y="32"/>
                </a:cxn>
                <a:cxn ang="0">
                  <a:pos x="6" y="31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2" y="22"/>
                </a:cxn>
                <a:cxn ang="0">
                  <a:pos x="9" y="9"/>
                </a:cxn>
              </a:cxnLst>
              <a:rect l="0" t="0" r="r" b="b"/>
              <a:pathLst>
                <a:path w="27" h="39">
                  <a:moveTo>
                    <a:pt x="3" y="22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5" y="30"/>
                    <a:pt x="27" y="26"/>
                    <a:pt x="26" y="22"/>
                  </a:cubicBezTo>
                  <a:cubicBezTo>
                    <a:pt x="26" y="19"/>
                    <a:pt x="24" y="17"/>
                    <a:pt x="2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2" y="9"/>
                    <a:pt x="0" y="13"/>
                    <a:pt x="1" y="17"/>
                  </a:cubicBezTo>
                  <a:cubicBezTo>
                    <a:pt x="1" y="19"/>
                    <a:pt x="2" y="21"/>
                    <a:pt x="3" y="22"/>
                  </a:cubicBezTo>
                  <a:close/>
                  <a:moveTo>
                    <a:pt x="9" y="9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7"/>
                    <a:pt x="18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6" y="13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11" y="14"/>
                    <a:pt x="11" y="15"/>
                  </a:cubicBezTo>
                  <a:cubicBezTo>
                    <a:pt x="11" y="15"/>
                    <a:pt x="13" y="16"/>
                    <a:pt x="15" y="16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3" y="26"/>
                    <a:pt x="21" y="29"/>
                    <a:pt x="17" y="31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2"/>
                    <a:pt x="11" y="32"/>
                  </a:cubicBezTo>
                  <a:cubicBezTo>
                    <a:pt x="10" y="32"/>
                    <a:pt x="8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10" y="26"/>
                    <a:pt x="12" y="26"/>
                  </a:cubicBezTo>
                  <a:cubicBezTo>
                    <a:pt x="12" y="26"/>
                    <a:pt x="13" y="26"/>
                    <a:pt x="13" y="26"/>
                  </a:cubicBezTo>
                  <a:cubicBezTo>
                    <a:pt x="14" y="25"/>
                    <a:pt x="15" y="25"/>
                    <a:pt x="15" y="24"/>
                  </a:cubicBezTo>
                  <a:cubicBezTo>
                    <a:pt x="15" y="24"/>
                    <a:pt x="15" y="23"/>
                    <a:pt x="12" y="22"/>
                  </a:cubicBezTo>
                  <a:cubicBezTo>
                    <a:pt x="9" y="22"/>
                    <a:pt x="5" y="20"/>
                    <a:pt x="4" y="16"/>
                  </a:cubicBezTo>
                  <a:cubicBezTo>
                    <a:pt x="4" y="13"/>
                    <a:pt x="6" y="10"/>
                    <a:pt x="9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64" name="Freeform 212"/>
            <p:cNvSpPr>
              <a:spLocks/>
            </p:cNvSpPr>
            <p:nvPr/>
          </p:nvSpPr>
          <p:spPr bwMode="auto">
            <a:xfrm>
              <a:off x="4465" y="1169"/>
              <a:ext cx="316" cy="123"/>
            </a:xfrm>
            <a:custGeom>
              <a:avLst/>
              <a:gdLst/>
              <a:ahLst/>
              <a:cxnLst>
                <a:cxn ang="0">
                  <a:pos x="27" y="113"/>
                </a:cxn>
                <a:cxn ang="0">
                  <a:pos x="10" y="0"/>
                </a:cxn>
                <a:cxn ang="0">
                  <a:pos x="0" y="3"/>
                </a:cxn>
                <a:cxn ang="0">
                  <a:pos x="19" y="123"/>
                </a:cxn>
                <a:cxn ang="0">
                  <a:pos x="316" y="87"/>
                </a:cxn>
                <a:cxn ang="0">
                  <a:pos x="316" y="77"/>
                </a:cxn>
                <a:cxn ang="0">
                  <a:pos x="27" y="113"/>
                </a:cxn>
              </a:cxnLst>
              <a:rect l="0" t="0" r="r" b="b"/>
              <a:pathLst>
                <a:path w="316" h="123">
                  <a:moveTo>
                    <a:pt x="27" y="113"/>
                  </a:moveTo>
                  <a:lnTo>
                    <a:pt x="10" y="0"/>
                  </a:lnTo>
                  <a:lnTo>
                    <a:pt x="0" y="3"/>
                  </a:lnTo>
                  <a:lnTo>
                    <a:pt x="19" y="123"/>
                  </a:lnTo>
                  <a:lnTo>
                    <a:pt x="316" y="87"/>
                  </a:lnTo>
                  <a:lnTo>
                    <a:pt x="316" y="77"/>
                  </a:lnTo>
                  <a:lnTo>
                    <a:pt x="27" y="1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65" name="Freeform 213"/>
            <p:cNvSpPr>
              <a:spLocks/>
            </p:cNvSpPr>
            <p:nvPr/>
          </p:nvSpPr>
          <p:spPr bwMode="auto">
            <a:xfrm>
              <a:off x="4451" y="1186"/>
              <a:ext cx="323" cy="129"/>
            </a:xfrm>
            <a:custGeom>
              <a:avLst/>
              <a:gdLst/>
              <a:ahLst/>
              <a:cxnLst>
                <a:cxn ang="0">
                  <a:pos x="26" y="120"/>
                </a:cxn>
                <a:cxn ang="0">
                  <a:pos x="7" y="0"/>
                </a:cxn>
                <a:cxn ang="0">
                  <a:pos x="0" y="2"/>
                </a:cxn>
                <a:cxn ang="0">
                  <a:pos x="19" y="129"/>
                </a:cxn>
                <a:cxn ang="0">
                  <a:pos x="323" y="91"/>
                </a:cxn>
                <a:cxn ang="0">
                  <a:pos x="321" y="84"/>
                </a:cxn>
                <a:cxn ang="0">
                  <a:pos x="26" y="120"/>
                </a:cxn>
              </a:cxnLst>
              <a:rect l="0" t="0" r="r" b="b"/>
              <a:pathLst>
                <a:path w="323" h="129">
                  <a:moveTo>
                    <a:pt x="26" y="120"/>
                  </a:moveTo>
                  <a:lnTo>
                    <a:pt x="7" y="0"/>
                  </a:lnTo>
                  <a:lnTo>
                    <a:pt x="0" y="2"/>
                  </a:lnTo>
                  <a:lnTo>
                    <a:pt x="19" y="129"/>
                  </a:lnTo>
                  <a:lnTo>
                    <a:pt x="323" y="91"/>
                  </a:lnTo>
                  <a:lnTo>
                    <a:pt x="321" y="84"/>
                  </a:lnTo>
                  <a:lnTo>
                    <a:pt x="26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68" name="Group 216"/>
          <p:cNvGrpSpPr>
            <a:grpSpLocks noChangeAspect="1"/>
          </p:cNvGrpSpPr>
          <p:nvPr/>
        </p:nvGrpSpPr>
        <p:grpSpPr bwMode="auto">
          <a:xfrm>
            <a:off x="8050218" y="1536699"/>
            <a:ext cx="768350" cy="768350"/>
            <a:chOff x="5071" y="968"/>
            <a:chExt cx="484" cy="484"/>
          </a:xfrm>
        </p:grpSpPr>
        <p:sp>
          <p:nvSpPr>
            <p:cNvPr id="49369" name="Freeform 217"/>
            <p:cNvSpPr>
              <a:spLocks noEditPoints="1"/>
            </p:cNvSpPr>
            <p:nvPr/>
          </p:nvSpPr>
          <p:spPr bwMode="auto">
            <a:xfrm>
              <a:off x="5071" y="96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70" name="Freeform 218"/>
            <p:cNvSpPr>
              <a:spLocks noEditPoints="1"/>
            </p:cNvSpPr>
            <p:nvPr/>
          </p:nvSpPr>
          <p:spPr bwMode="auto">
            <a:xfrm>
              <a:off x="5174" y="1110"/>
              <a:ext cx="310" cy="158"/>
            </a:xfrm>
            <a:custGeom>
              <a:avLst/>
              <a:gdLst/>
              <a:ahLst/>
              <a:cxnLst>
                <a:cxn ang="0">
                  <a:pos x="310" y="122"/>
                </a:cxn>
                <a:cxn ang="0">
                  <a:pos x="257" y="0"/>
                </a:cxn>
                <a:cxn ang="0">
                  <a:pos x="0" y="26"/>
                </a:cxn>
                <a:cxn ang="0">
                  <a:pos x="22" y="158"/>
                </a:cxn>
                <a:cxn ang="0">
                  <a:pos x="310" y="122"/>
                </a:cxn>
                <a:cxn ang="0">
                  <a:pos x="252" y="9"/>
                </a:cxn>
                <a:cxn ang="0">
                  <a:pos x="298" y="115"/>
                </a:cxn>
                <a:cxn ang="0">
                  <a:pos x="29" y="148"/>
                </a:cxn>
                <a:cxn ang="0">
                  <a:pos x="10" y="36"/>
                </a:cxn>
                <a:cxn ang="0">
                  <a:pos x="252" y="9"/>
                </a:cxn>
              </a:cxnLst>
              <a:rect l="0" t="0" r="r" b="b"/>
              <a:pathLst>
                <a:path w="310" h="158">
                  <a:moveTo>
                    <a:pt x="310" y="122"/>
                  </a:moveTo>
                  <a:lnTo>
                    <a:pt x="257" y="0"/>
                  </a:lnTo>
                  <a:lnTo>
                    <a:pt x="0" y="26"/>
                  </a:lnTo>
                  <a:lnTo>
                    <a:pt x="22" y="158"/>
                  </a:lnTo>
                  <a:lnTo>
                    <a:pt x="310" y="122"/>
                  </a:lnTo>
                  <a:close/>
                  <a:moveTo>
                    <a:pt x="252" y="9"/>
                  </a:moveTo>
                  <a:lnTo>
                    <a:pt x="298" y="115"/>
                  </a:lnTo>
                  <a:lnTo>
                    <a:pt x="29" y="148"/>
                  </a:lnTo>
                  <a:lnTo>
                    <a:pt x="10" y="36"/>
                  </a:lnTo>
                  <a:lnTo>
                    <a:pt x="252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71" name="Freeform 219"/>
            <p:cNvSpPr>
              <a:spLocks noEditPoints="1"/>
            </p:cNvSpPr>
            <p:nvPr/>
          </p:nvSpPr>
          <p:spPr bwMode="auto">
            <a:xfrm>
              <a:off x="5294" y="1138"/>
              <a:ext cx="65" cy="94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2" y="33"/>
                </a:cxn>
                <a:cxn ang="0">
                  <a:pos x="5" y="34"/>
                </a:cxn>
                <a:cxn ang="0">
                  <a:pos x="9" y="35"/>
                </a:cxn>
                <a:cxn ang="0">
                  <a:pos x="13" y="39"/>
                </a:cxn>
                <a:cxn ang="0">
                  <a:pos x="22" y="37"/>
                </a:cxn>
                <a:cxn ang="0">
                  <a:pos x="21" y="33"/>
                </a:cxn>
                <a:cxn ang="0">
                  <a:pos x="22" y="15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4" y="6"/>
                </a:cxn>
                <a:cxn ang="0">
                  <a:pos x="20" y="5"/>
                </a:cxn>
                <a:cxn ang="0">
                  <a:pos x="18" y="4"/>
                </a:cxn>
                <a:cxn ang="0">
                  <a:pos x="13" y="1"/>
                </a:cxn>
                <a:cxn ang="0">
                  <a:pos x="5" y="2"/>
                </a:cxn>
                <a:cxn ang="0">
                  <a:pos x="5" y="7"/>
                </a:cxn>
                <a:cxn ang="0">
                  <a:pos x="3" y="22"/>
                </a:cxn>
                <a:cxn ang="0">
                  <a:pos x="9" y="5"/>
                </a:cxn>
                <a:cxn ang="0">
                  <a:pos x="14" y="8"/>
                </a:cxn>
                <a:cxn ang="0">
                  <a:pos x="19" y="8"/>
                </a:cxn>
                <a:cxn ang="0">
                  <a:pos x="19" y="13"/>
                </a:cxn>
                <a:cxn ang="0">
                  <a:pos x="18" y="14"/>
                </a:cxn>
                <a:cxn ang="0">
                  <a:pos x="13" y="13"/>
                </a:cxn>
                <a:cxn ang="0">
                  <a:pos x="15" y="16"/>
                </a:cxn>
                <a:cxn ang="0">
                  <a:pos x="17" y="31"/>
                </a:cxn>
                <a:cxn ang="0">
                  <a:pos x="12" y="35"/>
                </a:cxn>
                <a:cxn ang="0">
                  <a:pos x="11" y="32"/>
                </a:cxn>
                <a:cxn ang="0">
                  <a:pos x="6" y="31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2" y="22"/>
                </a:cxn>
                <a:cxn ang="0">
                  <a:pos x="9" y="9"/>
                </a:cxn>
              </a:cxnLst>
              <a:rect l="0" t="0" r="r" b="b"/>
              <a:pathLst>
                <a:path w="27" h="39">
                  <a:moveTo>
                    <a:pt x="3" y="22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7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5" y="30"/>
                    <a:pt x="27" y="26"/>
                    <a:pt x="26" y="22"/>
                  </a:cubicBezTo>
                  <a:cubicBezTo>
                    <a:pt x="26" y="19"/>
                    <a:pt x="24" y="17"/>
                    <a:pt x="2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2" y="9"/>
                    <a:pt x="0" y="13"/>
                    <a:pt x="1" y="17"/>
                  </a:cubicBezTo>
                  <a:cubicBezTo>
                    <a:pt x="1" y="19"/>
                    <a:pt x="2" y="21"/>
                    <a:pt x="3" y="22"/>
                  </a:cubicBezTo>
                  <a:close/>
                  <a:moveTo>
                    <a:pt x="9" y="9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7"/>
                    <a:pt x="18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6" y="13"/>
                    <a:pt x="15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11" y="14"/>
                    <a:pt x="11" y="15"/>
                  </a:cubicBezTo>
                  <a:cubicBezTo>
                    <a:pt x="11" y="15"/>
                    <a:pt x="13" y="16"/>
                    <a:pt x="15" y="16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3" y="26"/>
                    <a:pt x="21" y="29"/>
                    <a:pt x="17" y="31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2"/>
                    <a:pt x="11" y="32"/>
                  </a:cubicBezTo>
                  <a:cubicBezTo>
                    <a:pt x="10" y="32"/>
                    <a:pt x="8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10" y="26"/>
                    <a:pt x="12" y="26"/>
                  </a:cubicBezTo>
                  <a:cubicBezTo>
                    <a:pt x="12" y="26"/>
                    <a:pt x="13" y="26"/>
                    <a:pt x="13" y="26"/>
                  </a:cubicBezTo>
                  <a:cubicBezTo>
                    <a:pt x="14" y="25"/>
                    <a:pt x="15" y="25"/>
                    <a:pt x="15" y="24"/>
                  </a:cubicBezTo>
                  <a:cubicBezTo>
                    <a:pt x="15" y="24"/>
                    <a:pt x="15" y="23"/>
                    <a:pt x="12" y="22"/>
                  </a:cubicBezTo>
                  <a:cubicBezTo>
                    <a:pt x="9" y="22"/>
                    <a:pt x="5" y="20"/>
                    <a:pt x="4" y="16"/>
                  </a:cubicBezTo>
                  <a:cubicBezTo>
                    <a:pt x="4" y="13"/>
                    <a:pt x="6" y="10"/>
                    <a:pt x="9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72" name="Freeform 220"/>
            <p:cNvSpPr>
              <a:spLocks/>
            </p:cNvSpPr>
            <p:nvPr/>
          </p:nvSpPr>
          <p:spPr bwMode="auto">
            <a:xfrm>
              <a:off x="5160" y="1170"/>
              <a:ext cx="316" cy="122"/>
            </a:xfrm>
            <a:custGeom>
              <a:avLst/>
              <a:gdLst/>
              <a:ahLst/>
              <a:cxnLst>
                <a:cxn ang="0">
                  <a:pos x="26" y="112"/>
                </a:cxn>
                <a:cxn ang="0">
                  <a:pos x="10" y="0"/>
                </a:cxn>
                <a:cxn ang="0">
                  <a:pos x="0" y="2"/>
                </a:cxn>
                <a:cxn ang="0">
                  <a:pos x="19" y="122"/>
                </a:cxn>
                <a:cxn ang="0">
                  <a:pos x="316" y="86"/>
                </a:cxn>
                <a:cxn ang="0">
                  <a:pos x="316" y="76"/>
                </a:cxn>
                <a:cxn ang="0">
                  <a:pos x="26" y="112"/>
                </a:cxn>
              </a:cxnLst>
              <a:rect l="0" t="0" r="r" b="b"/>
              <a:pathLst>
                <a:path w="316" h="122">
                  <a:moveTo>
                    <a:pt x="26" y="112"/>
                  </a:moveTo>
                  <a:lnTo>
                    <a:pt x="10" y="0"/>
                  </a:lnTo>
                  <a:lnTo>
                    <a:pt x="0" y="2"/>
                  </a:lnTo>
                  <a:lnTo>
                    <a:pt x="19" y="122"/>
                  </a:lnTo>
                  <a:lnTo>
                    <a:pt x="316" y="86"/>
                  </a:lnTo>
                  <a:lnTo>
                    <a:pt x="316" y="76"/>
                  </a:lnTo>
                  <a:lnTo>
                    <a:pt x="26" y="1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73" name="Freeform 221"/>
            <p:cNvSpPr>
              <a:spLocks/>
            </p:cNvSpPr>
            <p:nvPr/>
          </p:nvSpPr>
          <p:spPr bwMode="auto">
            <a:xfrm>
              <a:off x="5146" y="1186"/>
              <a:ext cx="323" cy="130"/>
            </a:xfrm>
            <a:custGeom>
              <a:avLst/>
              <a:gdLst/>
              <a:ahLst/>
              <a:cxnLst>
                <a:cxn ang="0">
                  <a:pos x="26" y="120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19" y="130"/>
                </a:cxn>
                <a:cxn ang="0">
                  <a:pos x="323" y="92"/>
                </a:cxn>
                <a:cxn ang="0">
                  <a:pos x="321" y="84"/>
                </a:cxn>
                <a:cxn ang="0">
                  <a:pos x="26" y="120"/>
                </a:cxn>
              </a:cxnLst>
              <a:rect l="0" t="0" r="r" b="b"/>
              <a:pathLst>
                <a:path w="323" h="130">
                  <a:moveTo>
                    <a:pt x="26" y="120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19" y="130"/>
                  </a:lnTo>
                  <a:lnTo>
                    <a:pt x="323" y="92"/>
                  </a:lnTo>
                  <a:lnTo>
                    <a:pt x="321" y="84"/>
                  </a:lnTo>
                  <a:lnTo>
                    <a:pt x="26" y="12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376" name="Group 224"/>
          <p:cNvGrpSpPr>
            <a:grpSpLocks noChangeAspect="1"/>
          </p:cNvGrpSpPr>
          <p:nvPr/>
        </p:nvGrpSpPr>
        <p:grpSpPr bwMode="auto">
          <a:xfrm>
            <a:off x="341309" y="2768611"/>
            <a:ext cx="830251" cy="828678"/>
            <a:chOff x="215" y="1744"/>
            <a:chExt cx="523" cy="522"/>
          </a:xfrm>
        </p:grpSpPr>
        <p:sp>
          <p:nvSpPr>
            <p:cNvPr id="49377" name="Oval 225"/>
            <p:cNvSpPr>
              <a:spLocks noChangeArrowheads="1"/>
            </p:cNvSpPr>
            <p:nvPr/>
          </p:nvSpPr>
          <p:spPr bwMode="auto">
            <a:xfrm>
              <a:off x="254" y="1782"/>
              <a:ext cx="448" cy="44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78" name="Freeform 226"/>
            <p:cNvSpPr>
              <a:spLocks noEditPoints="1"/>
            </p:cNvSpPr>
            <p:nvPr/>
          </p:nvSpPr>
          <p:spPr bwMode="auto">
            <a:xfrm>
              <a:off x="234" y="1763"/>
              <a:ext cx="487" cy="483"/>
            </a:xfrm>
            <a:custGeom>
              <a:avLst/>
              <a:gdLst/>
              <a:ahLst/>
              <a:cxnLst>
                <a:cxn ang="0">
                  <a:pos x="102" y="194"/>
                </a:cxn>
                <a:cxn ang="0">
                  <a:pos x="8" y="101"/>
                </a:cxn>
                <a:cxn ang="0">
                  <a:pos x="102" y="8"/>
                </a:cxn>
                <a:cxn ang="0">
                  <a:pos x="195" y="101"/>
                </a:cxn>
                <a:cxn ang="0">
                  <a:pos x="102" y="194"/>
                </a:cxn>
                <a:cxn ang="0">
                  <a:pos x="102" y="0"/>
                </a:cxn>
                <a:cxn ang="0">
                  <a:pos x="0" y="101"/>
                </a:cxn>
                <a:cxn ang="0">
                  <a:pos x="102" y="202"/>
                </a:cxn>
                <a:cxn ang="0">
                  <a:pos x="203" y="101"/>
                </a:cxn>
                <a:cxn ang="0">
                  <a:pos x="102" y="0"/>
                </a:cxn>
              </a:cxnLst>
              <a:rect l="0" t="0" r="r" b="b"/>
              <a:pathLst>
                <a:path w="203" h="202">
                  <a:moveTo>
                    <a:pt x="102" y="194"/>
                  </a:moveTo>
                  <a:cubicBezTo>
                    <a:pt x="50" y="194"/>
                    <a:pt x="8" y="153"/>
                    <a:pt x="8" y="101"/>
                  </a:cubicBezTo>
                  <a:cubicBezTo>
                    <a:pt x="8" y="50"/>
                    <a:pt x="50" y="8"/>
                    <a:pt x="102" y="8"/>
                  </a:cubicBezTo>
                  <a:cubicBezTo>
                    <a:pt x="153" y="8"/>
                    <a:pt x="195" y="50"/>
                    <a:pt x="195" y="101"/>
                  </a:cubicBezTo>
                  <a:cubicBezTo>
                    <a:pt x="195" y="153"/>
                    <a:pt x="153" y="194"/>
                    <a:pt x="102" y="194"/>
                  </a:cubicBezTo>
                  <a:moveTo>
                    <a:pt x="102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2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2" y="0"/>
                  </a:cubicBezTo>
                </a:path>
              </a:pathLst>
            </a:custGeom>
            <a:solidFill>
              <a:srgbClr val="8CD5E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79" name="Oval 227"/>
            <p:cNvSpPr>
              <a:spLocks noChangeArrowheads="1"/>
            </p:cNvSpPr>
            <p:nvPr/>
          </p:nvSpPr>
          <p:spPr bwMode="auto">
            <a:xfrm>
              <a:off x="215" y="1744"/>
              <a:ext cx="523" cy="522"/>
            </a:xfrm>
            <a:prstGeom prst="ellipse">
              <a:avLst/>
            </a:prstGeom>
            <a:solidFill>
              <a:srgbClr val="0092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80" name="Freeform 228"/>
            <p:cNvSpPr>
              <a:spLocks noEditPoints="1"/>
            </p:cNvSpPr>
            <p:nvPr/>
          </p:nvSpPr>
          <p:spPr bwMode="auto">
            <a:xfrm>
              <a:off x="232" y="1758"/>
              <a:ext cx="494" cy="496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7" y="202"/>
                    <a:pt x="201" y="158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1" name="Rectangle 229"/>
            <p:cNvSpPr>
              <a:spLocks noChangeArrowheads="1"/>
            </p:cNvSpPr>
            <p:nvPr/>
          </p:nvSpPr>
          <p:spPr bwMode="auto">
            <a:xfrm>
              <a:off x="386" y="2057"/>
              <a:ext cx="134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2" name="Rectangle 230"/>
            <p:cNvSpPr>
              <a:spLocks noChangeArrowheads="1"/>
            </p:cNvSpPr>
            <p:nvPr/>
          </p:nvSpPr>
          <p:spPr bwMode="auto">
            <a:xfrm>
              <a:off x="386" y="2084"/>
              <a:ext cx="134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3" name="Rectangle 231"/>
            <p:cNvSpPr>
              <a:spLocks noChangeArrowheads="1"/>
            </p:cNvSpPr>
            <p:nvPr/>
          </p:nvSpPr>
          <p:spPr bwMode="auto">
            <a:xfrm>
              <a:off x="469" y="2033"/>
              <a:ext cx="51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4" name="Freeform 232"/>
            <p:cNvSpPr>
              <a:spLocks noEditPoints="1"/>
            </p:cNvSpPr>
            <p:nvPr/>
          </p:nvSpPr>
          <p:spPr bwMode="auto">
            <a:xfrm>
              <a:off x="330" y="1935"/>
              <a:ext cx="106" cy="108"/>
            </a:xfrm>
            <a:custGeom>
              <a:avLst/>
              <a:gdLst/>
              <a:ahLst/>
              <a:cxnLst>
                <a:cxn ang="0">
                  <a:pos x="39" y="45"/>
                </a:cxn>
                <a:cxn ang="0">
                  <a:pos x="38" y="44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44" y="38"/>
                </a:cxn>
                <a:cxn ang="0">
                  <a:pos x="44" y="41"/>
                </a:cxn>
                <a:cxn ang="0">
                  <a:pos x="40" y="44"/>
                </a:cxn>
                <a:cxn ang="0">
                  <a:pos x="39" y="45"/>
                </a:cxn>
                <a:cxn ang="0">
                  <a:pos x="4" y="6"/>
                </a:cxn>
                <a:cxn ang="0">
                  <a:pos x="39" y="41"/>
                </a:cxn>
                <a:cxn ang="0">
                  <a:pos x="40" y="40"/>
                </a:cxn>
                <a:cxn ang="0">
                  <a:pos x="5" y="5"/>
                </a:cxn>
                <a:cxn ang="0">
                  <a:pos x="4" y="6"/>
                </a:cxn>
              </a:cxnLst>
              <a:rect l="0" t="0" r="r" b="b"/>
              <a:pathLst>
                <a:path w="44" h="45">
                  <a:moveTo>
                    <a:pt x="39" y="45"/>
                  </a:moveTo>
                  <a:cubicBezTo>
                    <a:pt x="39" y="45"/>
                    <a:pt x="38" y="45"/>
                    <a:pt x="38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9"/>
                    <a:pt x="44" y="40"/>
                    <a:pt x="44" y="41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5"/>
                    <a:pt x="39" y="45"/>
                    <a:pt x="39" y="45"/>
                  </a:cubicBezTo>
                  <a:close/>
                  <a:moveTo>
                    <a:pt x="4" y="6"/>
                  </a:moveTo>
                  <a:cubicBezTo>
                    <a:pt x="39" y="41"/>
                    <a:pt x="39" y="41"/>
                    <a:pt x="39" y="41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5" name="Freeform 233"/>
            <p:cNvSpPr>
              <a:spLocks/>
            </p:cNvSpPr>
            <p:nvPr/>
          </p:nvSpPr>
          <p:spPr bwMode="auto">
            <a:xfrm>
              <a:off x="419" y="2026"/>
              <a:ext cx="31" cy="31"/>
            </a:xfrm>
            <a:custGeom>
              <a:avLst/>
              <a:gdLst/>
              <a:ahLst/>
              <a:cxnLst>
                <a:cxn ang="0">
                  <a:pos x="11" y="13"/>
                </a:cxn>
                <a:cxn ang="0">
                  <a:pos x="10" y="12"/>
                </a:cxn>
                <a:cxn ang="0">
                  <a:pos x="1" y="7"/>
                </a:cxn>
                <a:cxn ang="0">
                  <a:pos x="0" y="4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7" y="1"/>
                </a:cxn>
                <a:cxn ang="0">
                  <a:pos x="13" y="10"/>
                </a:cxn>
                <a:cxn ang="0">
                  <a:pos x="12" y="12"/>
                </a:cxn>
                <a:cxn ang="0">
                  <a:pos x="11" y="13"/>
                </a:cxn>
              </a:cxnLst>
              <a:rect l="0" t="0" r="r" b="b"/>
              <a:pathLst>
                <a:path w="13" h="13">
                  <a:moveTo>
                    <a:pt x="11" y="13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2" y="3"/>
                    <a:pt x="3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4" y="1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2"/>
                    <a:pt x="12" y="12"/>
                  </a:cubicBezTo>
                  <a:cubicBezTo>
                    <a:pt x="12" y="13"/>
                    <a:pt x="12" y="13"/>
                    <a:pt x="11" y="1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6" name="Freeform 234"/>
            <p:cNvSpPr>
              <a:spLocks/>
            </p:cNvSpPr>
            <p:nvPr/>
          </p:nvSpPr>
          <p:spPr bwMode="auto">
            <a:xfrm>
              <a:off x="326" y="1933"/>
              <a:ext cx="19" cy="17"/>
            </a:xfrm>
            <a:custGeom>
              <a:avLst/>
              <a:gdLst/>
              <a:ahLst/>
              <a:cxnLst>
                <a:cxn ang="0">
                  <a:pos x="12" y="17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19" y="12"/>
                </a:cxn>
                <a:cxn ang="0">
                  <a:pos x="12" y="17"/>
                </a:cxn>
              </a:cxnLst>
              <a:rect l="0" t="0" r="r" b="b"/>
              <a:pathLst>
                <a:path w="19" h="17">
                  <a:moveTo>
                    <a:pt x="12" y="17"/>
                  </a:moveTo>
                  <a:lnTo>
                    <a:pt x="0" y="5"/>
                  </a:lnTo>
                  <a:lnTo>
                    <a:pt x="4" y="0"/>
                  </a:lnTo>
                  <a:lnTo>
                    <a:pt x="19" y="12"/>
                  </a:lnTo>
                  <a:lnTo>
                    <a:pt x="12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7" name="Freeform 235"/>
            <p:cNvSpPr>
              <a:spLocks/>
            </p:cNvSpPr>
            <p:nvPr/>
          </p:nvSpPr>
          <p:spPr bwMode="auto">
            <a:xfrm>
              <a:off x="350" y="2010"/>
              <a:ext cx="206" cy="105"/>
            </a:xfrm>
            <a:custGeom>
              <a:avLst/>
              <a:gdLst/>
              <a:ahLst/>
              <a:cxnLst>
                <a:cxn ang="0">
                  <a:pos x="78" y="44"/>
                </a:cxn>
                <a:cxn ang="0">
                  <a:pos x="8" y="44"/>
                </a:cxn>
                <a:cxn ang="0">
                  <a:pos x="0" y="36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21" y="0"/>
                </a:cxn>
                <a:cxn ang="0">
                  <a:pos x="21" y="4"/>
                </a:cxn>
                <a:cxn ang="0">
                  <a:pos x="8" y="4"/>
                </a:cxn>
                <a:cxn ang="0">
                  <a:pos x="4" y="9"/>
                </a:cxn>
                <a:cxn ang="0">
                  <a:pos x="4" y="36"/>
                </a:cxn>
                <a:cxn ang="0">
                  <a:pos x="8" y="41"/>
                </a:cxn>
                <a:cxn ang="0">
                  <a:pos x="78" y="41"/>
                </a:cxn>
                <a:cxn ang="0">
                  <a:pos x="83" y="36"/>
                </a:cxn>
                <a:cxn ang="0">
                  <a:pos x="83" y="9"/>
                </a:cxn>
                <a:cxn ang="0">
                  <a:pos x="7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78" y="0"/>
                </a:cxn>
                <a:cxn ang="0">
                  <a:pos x="86" y="9"/>
                </a:cxn>
                <a:cxn ang="0">
                  <a:pos x="86" y="36"/>
                </a:cxn>
                <a:cxn ang="0">
                  <a:pos x="78" y="44"/>
                </a:cxn>
              </a:cxnLst>
              <a:rect l="0" t="0" r="r" b="b"/>
              <a:pathLst>
                <a:path w="86" h="44">
                  <a:moveTo>
                    <a:pt x="78" y="4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4" y="44"/>
                    <a:pt x="0" y="41"/>
                    <a:pt x="0" y="3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4" y="6"/>
                    <a:pt x="4" y="9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9"/>
                    <a:pt x="6" y="41"/>
                    <a:pt x="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81" y="41"/>
                    <a:pt x="83" y="39"/>
                    <a:pt x="83" y="36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6"/>
                    <a:pt x="81" y="4"/>
                    <a:pt x="7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3" y="0"/>
                    <a:pt x="86" y="4"/>
                    <a:pt x="86" y="9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41"/>
                    <a:pt x="83" y="44"/>
                    <a:pt x="78" y="4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8" name="Freeform 236"/>
            <p:cNvSpPr>
              <a:spLocks/>
            </p:cNvSpPr>
            <p:nvPr/>
          </p:nvSpPr>
          <p:spPr bwMode="auto">
            <a:xfrm>
              <a:off x="549" y="1907"/>
              <a:ext cx="64" cy="129"/>
            </a:xfrm>
            <a:custGeom>
              <a:avLst/>
              <a:gdLst/>
              <a:ahLst/>
              <a:cxnLst>
                <a:cxn ang="0">
                  <a:pos x="64" y="129"/>
                </a:cxn>
                <a:cxn ang="0">
                  <a:pos x="0" y="129"/>
                </a:cxn>
                <a:cxn ang="0">
                  <a:pos x="0" y="122"/>
                </a:cxn>
                <a:cxn ang="0">
                  <a:pos x="55" y="122"/>
                </a:cxn>
                <a:cxn ang="0">
                  <a:pos x="55" y="9"/>
                </a:cxn>
                <a:cxn ang="0">
                  <a:pos x="38" y="9"/>
                </a:cxn>
                <a:cxn ang="0">
                  <a:pos x="38" y="0"/>
                </a:cxn>
                <a:cxn ang="0">
                  <a:pos x="64" y="0"/>
                </a:cxn>
                <a:cxn ang="0">
                  <a:pos x="64" y="129"/>
                </a:cxn>
              </a:cxnLst>
              <a:rect l="0" t="0" r="r" b="b"/>
              <a:pathLst>
                <a:path w="64" h="129">
                  <a:moveTo>
                    <a:pt x="64" y="129"/>
                  </a:moveTo>
                  <a:lnTo>
                    <a:pt x="0" y="129"/>
                  </a:lnTo>
                  <a:lnTo>
                    <a:pt x="0" y="122"/>
                  </a:lnTo>
                  <a:lnTo>
                    <a:pt x="55" y="122"/>
                  </a:lnTo>
                  <a:lnTo>
                    <a:pt x="55" y="9"/>
                  </a:lnTo>
                  <a:lnTo>
                    <a:pt x="38" y="9"/>
                  </a:lnTo>
                  <a:lnTo>
                    <a:pt x="38" y="0"/>
                  </a:lnTo>
                  <a:lnTo>
                    <a:pt x="64" y="0"/>
                  </a:lnTo>
                  <a:lnTo>
                    <a:pt x="64" y="1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89" name="Freeform 237"/>
            <p:cNvSpPr>
              <a:spLocks/>
            </p:cNvSpPr>
            <p:nvPr/>
          </p:nvSpPr>
          <p:spPr bwMode="auto">
            <a:xfrm>
              <a:off x="477" y="1926"/>
              <a:ext cx="122" cy="96"/>
            </a:xfrm>
            <a:custGeom>
              <a:avLst/>
              <a:gdLst/>
              <a:ahLst/>
              <a:cxnLst>
                <a:cxn ang="0">
                  <a:pos x="122" y="96"/>
                </a:cxn>
                <a:cxn ang="0">
                  <a:pos x="69" y="96"/>
                </a:cxn>
                <a:cxn ang="0">
                  <a:pos x="69" y="88"/>
                </a:cxn>
                <a:cxn ang="0">
                  <a:pos x="115" y="88"/>
                </a:cxn>
                <a:cxn ang="0">
                  <a:pos x="115" y="9"/>
                </a:cxn>
                <a:cxn ang="0">
                  <a:pos x="9" y="9"/>
                </a:cxn>
                <a:cxn ang="0">
                  <a:pos x="9" y="88"/>
                </a:cxn>
                <a:cxn ang="0">
                  <a:pos x="0" y="88"/>
                </a:cxn>
                <a:cxn ang="0">
                  <a:pos x="0" y="0"/>
                </a:cxn>
                <a:cxn ang="0">
                  <a:pos x="122" y="0"/>
                </a:cxn>
                <a:cxn ang="0">
                  <a:pos x="122" y="96"/>
                </a:cxn>
              </a:cxnLst>
              <a:rect l="0" t="0" r="r" b="b"/>
              <a:pathLst>
                <a:path w="122" h="96">
                  <a:moveTo>
                    <a:pt x="122" y="96"/>
                  </a:moveTo>
                  <a:lnTo>
                    <a:pt x="69" y="96"/>
                  </a:lnTo>
                  <a:lnTo>
                    <a:pt x="69" y="88"/>
                  </a:lnTo>
                  <a:lnTo>
                    <a:pt x="115" y="88"/>
                  </a:lnTo>
                  <a:lnTo>
                    <a:pt x="115" y="9"/>
                  </a:lnTo>
                  <a:lnTo>
                    <a:pt x="9" y="9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122" y="0"/>
                  </a:lnTo>
                  <a:lnTo>
                    <a:pt x="122" y="9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0" name="Freeform 238"/>
            <p:cNvSpPr>
              <a:spLocks noEditPoints="1"/>
            </p:cNvSpPr>
            <p:nvPr/>
          </p:nvSpPr>
          <p:spPr bwMode="auto">
            <a:xfrm>
              <a:off x="484" y="1892"/>
              <a:ext cx="21" cy="34"/>
            </a:xfrm>
            <a:custGeom>
              <a:avLst/>
              <a:gdLst/>
              <a:ahLst/>
              <a:cxnLst>
                <a:cxn ang="0">
                  <a:pos x="21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21" y="34"/>
                </a:cxn>
                <a:cxn ang="0">
                  <a:pos x="9" y="24"/>
                </a:cxn>
                <a:cxn ang="0">
                  <a:pos x="12" y="24"/>
                </a:cxn>
                <a:cxn ang="0">
                  <a:pos x="12" y="7"/>
                </a:cxn>
                <a:cxn ang="0">
                  <a:pos x="9" y="7"/>
                </a:cxn>
                <a:cxn ang="0">
                  <a:pos x="9" y="24"/>
                </a:cxn>
              </a:cxnLst>
              <a:rect l="0" t="0" r="r" b="b"/>
              <a:pathLst>
                <a:path w="21" h="34">
                  <a:moveTo>
                    <a:pt x="21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34"/>
                  </a:lnTo>
                  <a:close/>
                  <a:moveTo>
                    <a:pt x="9" y="24"/>
                  </a:moveTo>
                  <a:lnTo>
                    <a:pt x="12" y="24"/>
                  </a:lnTo>
                  <a:lnTo>
                    <a:pt x="12" y="7"/>
                  </a:lnTo>
                  <a:lnTo>
                    <a:pt x="9" y="7"/>
                  </a:lnTo>
                  <a:lnTo>
                    <a:pt x="9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1" name="Freeform 239"/>
            <p:cNvSpPr>
              <a:spLocks noEditPoints="1"/>
            </p:cNvSpPr>
            <p:nvPr/>
          </p:nvSpPr>
          <p:spPr bwMode="auto">
            <a:xfrm>
              <a:off x="570" y="1892"/>
              <a:ext cx="22" cy="34"/>
            </a:xfrm>
            <a:custGeom>
              <a:avLst/>
              <a:gdLst/>
              <a:ahLst/>
              <a:cxnLst>
                <a:cxn ang="0">
                  <a:pos x="22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22" y="0"/>
                </a:cxn>
                <a:cxn ang="0">
                  <a:pos x="22" y="34"/>
                </a:cxn>
                <a:cxn ang="0">
                  <a:pos x="10" y="24"/>
                </a:cxn>
                <a:cxn ang="0">
                  <a:pos x="15" y="24"/>
                </a:cxn>
                <a:cxn ang="0">
                  <a:pos x="15" y="7"/>
                </a:cxn>
                <a:cxn ang="0">
                  <a:pos x="10" y="7"/>
                </a:cxn>
                <a:cxn ang="0">
                  <a:pos x="10" y="24"/>
                </a:cxn>
              </a:cxnLst>
              <a:rect l="0" t="0" r="r" b="b"/>
              <a:pathLst>
                <a:path w="22" h="34">
                  <a:moveTo>
                    <a:pt x="22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34"/>
                  </a:lnTo>
                  <a:close/>
                  <a:moveTo>
                    <a:pt x="10" y="24"/>
                  </a:moveTo>
                  <a:lnTo>
                    <a:pt x="15" y="24"/>
                  </a:lnTo>
                  <a:lnTo>
                    <a:pt x="15" y="7"/>
                  </a:lnTo>
                  <a:lnTo>
                    <a:pt x="10" y="7"/>
                  </a:lnTo>
                  <a:lnTo>
                    <a:pt x="10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2" name="Rectangle 240"/>
            <p:cNvSpPr>
              <a:spLocks noChangeArrowheads="1"/>
            </p:cNvSpPr>
            <p:nvPr/>
          </p:nvSpPr>
          <p:spPr bwMode="auto">
            <a:xfrm>
              <a:off x="501" y="1907"/>
              <a:ext cx="74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3" name="Freeform 241"/>
            <p:cNvSpPr>
              <a:spLocks/>
            </p:cNvSpPr>
            <p:nvPr/>
          </p:nvSpPr>
          <p:spPr bwMode="auto">
            <a:xfrm>
              <a:off x="465" y="1907"/>
              <a:ext cx="24" cy="107"/>
            </a:xfrm>
            <a:custGeom>
              <a:avLst/>
              <a:gdLst/>
              <a:ahLst/>
              <a:cxnLst>
                <a:cxn ang="0">
                  <a:pos x="7" y="107"/>
                </a:cxn>
                <a:cxn ang="0">
                  <a:pos x="0" y="107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24" y="9"/>
                </a:cxn>
                <a:cxn ang="0">
                  <a:pos x="7" y="9"/>
                </a:cxn>
                <a:cxn ang="0">
                  <a:pos x="7" y="107"/>
                </a:cxn>
              </a:cxnLst>
              <a:rect l="0" t="0" r="r" b="b"/>
              <a:pathLst>
                <a:path w="24" h="107">
                  <a:moveTo>
                    <a:pt x="7" y="107"/>
                  </a:moveTo>
                  <a:lnTo>
                    <a:pt x="0" y="107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9"/>
                  </a:lnTo>
                  <a:lnTo>
                    <a:pt x="7" y="9"/>
                  </a:lnTo>
                  <a:lnTo>
                    <a:pt x="7" y="10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4" name="Freeform 242"/>
            <p:cNvSpPr>
              <a:spLocks/>
            </p:cNvSpPr>
            <p:nvPr/>
          </p:nvSpPr>
          <p:spPr bwMode="auto">
            <a:xfrm>
              <a:off x="498" y="1945"/>
              <a:ext cx="43" cy="62"/>
            </a:xfrm>
            <a:custGeom>
              <a:avLst/>
              <a:gdLst/>
              <a:ahLst/>
              <a:cxnLst>
                <a:cxn ang="0">
                  <a:pos x="9" y="26"/>
                </a:cxn>
                <a:cxn ang="0">
                  <a:pos x="0" y="24"/>
                </a:cxn>
                <a:cxn ang="0">
                  <a:pos x="1" y="19"/>
                </a:cxn>
                <a:cxn ang="0">
                  <a:pos x="8" y="21"/>
                </a:cxn>
                <a:cxn ang="0">
                  <a:pos x="12" y="18"/>
                </a:cxn>
                <a:cxn ang="0">
                  <a:pos x="7" y="15"/>
                </a:cxn>
                <a:cxn ang="0">
                  <a:pos x="5" y="15"/>
                </a:cxn>
                <a:cxn ang="0">
                  <a:pos x="4" y="10"/>
                </a:cxn>
                <a:cxn ang="0">
                  <a:pos x="7" y="10"/>
                </a:cxn>
                <a:cxn ang="0">
                  <a:pos x="12" y="7"/>
                </a:cxn>
                <a:cxn ang="0">
                  <a:pos x="8" y="5"/>
                </a:cxn>
                <a:cxn ang="0">
                  <a:pos x="2" y="7"/>
                </a:cxn>
                <a:cxn ang="0">
                  <a:pos x="1" y="2"/>
                </a:cxn>
                <a:cxn ang="0">
                  <a:pos x="9" y="0"/>
                </a:cxn>
                <a:cxn ang="0">
                  <a:pos x="18" y="7"/>
                </a:cxn>
                <a:cxn ang="0">
                  <a:pos x="13" y="12"/>
                </a:cxn>
                <a:cxn ang="0">
                  <a:pos x="18" y="18"/>
                </a:cxn>
                <a:cxn ang="0">
                  <a:pos x="9" y="26"/>
                </a:cxn>
              </a:cxnLst>
              <a:rect l="0" t="0" r="r" b="b"/>
              <a:pathLst>
                <a:path w="18" h="26">
                  <a:moveTo>
                    <a:pt x="9" y="26"/>
                  </a:moveTo>
                  <a:cubicBezTo>
                    <a:pt x="5" y="26"/>
                    <a:pt x="3" y="25"/>
                    <a:pt x="0" y="24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3" y="20"/>
                    <a:pt x="6" y="21"/>
                    <a:pt x="8" y="21"/>
                  </a:cubicBezTo>
                  <a:cubicBezTo>
                    <a:pt x="10" y="21"/>
                    <a:pt x="12" y="20"/>
                    <a:pt x="12" y="18"/>
                  </a:cubicBezTo>
                  <a:cubicBezTo>
                    <a:pt x="12" y="16"/>
                    <a:pt x="11" y="15"/>
                    <a:pt x="7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0" y="10"/>
                    <a:pt x="12" y="9"/>
                    <a:pt x="12" y="7"/>
                  </a:cubicBezTo>
                  <a:cubicBezTo>
                    <a:pt x="12" y="6"/>
                    <a:pt x="10" y="5"/>
                    <a:pt x="8" y="5"/>
                  </a:cubicBezTo>
                  <a:cubicBezTo>
                    <a:pt x="6" y="5"/>
                    <a:pt x="3" y="6"/>
                    <a:pt x="2" y="7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14" y="0"/>
                    <a:pt x="18" y="3"/>
                    <a:pt x="18" y="7"/>
                  </a:cubicBezTo>
                  <a:cubicBezTo>
                    <a:pt x="18" y="10"/>
                    <a:pt x="16" y="12"/>
                    <a:pt x="13" y="12"/>
                  </a:cubicBezTo>
                  <a:cubicBezTo>
                    <a:pt x="16" y="13"/>
                    <a:pt x="18" y="15"/>
                    <a:pt x="18" y="18"/>
                  </a:cubicBezTo>
                  <a:cubicBezTo>
                    <a:pt x="18" y="23"/>
                    <a:pt x="14" y="26"/>
                    <a:pt x="9" y="2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95" name="Freeform 243"/>
            <p:cNvSpPr>
              <a:spLocks/>
            </p:cNvSpPr>
            <p:nvPr/>
          </p:nvSpPr>
          <p:spPr bwMode="auto">
            <a:xfrm>
              <a:off x="546" y="1947"/>
              <a:ext cx="29" cy="58"/>
            </a:xfrm>
            <a:custGeom>
              <a:avLst/>
              <a:gdLst/>
              <a:ahLst/>
              <a:cxnLst>
                <a:cxn ang="0">
                  <a:pos x="15" y="58"/>
                </a:cxn>
                <a:cxn ang="0">
                  <a:pos x="15" y="12"/>
                </a:cxn>
                <a:cxn ang="0">
                  <a:pos x="3" y="17"/>
                </a:cxn>
                <a:cxn ang="0">
                  <a:pos x="0" y="5"/>
                </a:cxn>
                <a:cxn ang="0">
                  <a:pos x="15" y="0"/>
                </a:cxn>
                <a:cxn ang="0">
                  <a:pos x="29" y="0"/>
                </a:cxn>
                <a:cxn ang="0">
                  <a:pos x="29" y="58"/>
                </a:cxn>
                <a:cxn ang="0">
                  <a:pos x="15" y="58"/>
                </a:cxn>
              </a:cxnLst>
              <a:rect l="0" t="0" r="r" b="b"/>
              <a:pathLst>
                <a:path w="29" h="58">
                  <a:moveTo>
                    <a:pt x="15" y="58"/>
                  </a:moveTo>
                  <a:lnTo>
                    <a:pt x="15" y="12"/>
                  </a:lnTo>
                  <a:lnTo>
                    <a:pt x="3" y="17"/>
                  </a:lnTo>
                  <a:lnTo>
                    <a:pt x="0" y="5"/>
                  </a:lnTo>
                  <a:lnTo>
                    <a:pt x="15" y="0"/>
                  </a:lnTo>
                  <a:lnTo>
                    <a:pt x="29" y="0"/>
                  </a:lnTo>
                  <a:lnTo>
                    <a:pt x="29" y="58"/>
                  </a:lnTo>
                  <a:lnTo>
                    <a:pt x="15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418" name="Group 266"/>
          <p:cNvGrpSpPr>
            <a:grpSpLocks noChangeAspect="1"/>
          </p:cNvGrpSpPr>
          <p:nvPr/>
        </p:nvGrpSpPr>
        <p:grpSpPr bwMode="auto">
          <a:xfrm>
            <a:off x="2520315" y="2765425"/>
            <a:ext cx="847725" cy="842963"/>
            <a:chOff x="1598" y="1742"/>
            <a:chExt cx="534" cy="531"/>
          </a:xfrm>
        </p:grpSpPr>
        <p:sp>
          <p:nvSpPr>
            <p:cNvPr id="49419" name="Oval 267"/>
            <p:cNvSpPr>
              <a:spLocks noChangeArrowheads="1"/>
            </p:cNvSpPr>
            <p:nvPr/>
          </p:nvSpPr>
          <p:spPr bwMode="auto">
            <a:xfrm>
              <a:off x="1598" y="1742"/>
              <a:ext cx="534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420" name="Freeform 268"/>
            <p:cNvSpPr>
              <a:spLocks noEditPoints="1"/>
            </p:cNvSpPr>
            <p:nvPr/>
          </p:nvSpPr>
          <p:spPr bwMode="auto">
            <a:xfrm>
              <a:off x="1617" y="1761"/>
              <a:ext cx="496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7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2" y="103"/>
                </a:cxn>
                <a:cxn ang="0">
                  <a:pos x="103" y="201"/>
                </a:cxn>
              </a:cxnLst>
              <a:rect l="0" t="0" r="r" b="b"/>
              <a:pathLst>
                <a:path w="207" h="206">
                  <a:moveTo>
                    <a:pt x="103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21" name="Rectangle 269"/>
            <p:cNvSpPr>
              <a:spLocks noChangeArrowheads="1"/>
            </p:cNvSpPr>
            <p:nvPr/>
          </p:nvSpPr>
          <p:spPr bwMode="auto">
            <a:xfrm>
              <a:off x="1929" y="2003"/>
              <a:ext cx="65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22" name="Rectangle 270"/>
            <p:cNvSpPr>
              <a:spLocks noChangeArrowheads="1"/>
            </p:cNvSpPr>
            <p:nvPr/>
          </p:nvSpPr>
          <p:spPr bwMode="auto">
            <a:xfrm>
              <a:off x="1778" y="2032"/>
              <a:ext cx="21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23" name="Rectangle 271"/>
            <p:cNvSpPr>
              <a:spLocks noChangeArrowheads="1"/>
            </p:cNvSpPr>
            <p:nvPr/>
          </p:nvSpPr>
          <p:spPr bwMode="auto">
            <a:xfrm>
              <a:off x="1778" y="2072"/>
              <a:ext cx="21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24" name="Freeform 272"/>
            <p:cNvSpPr>
              <a:spLocks noEditPoints="1"/>
            </p:cNvSpPr>
            <p:nvPr/>
          </p:nvSpPr>
          <p:spPr bwMode="auto">
            <a:xfrm>
              <a:off x="1723" y="1886"/>
              <a:ext cx="309" cy="220"/>
            </a:xfrm>
            <a:custGeom>
              <a:avLst/>
              <a:gdLst/>
              <a:ahLst/>
              <a:cxnLst>
                <a:cxn ang="0">
                  <a:pos x="55" y="15"/>
                </a:cxn>
                <a:cxn ang="0">
                  <a:pos x="40" y="9"/>
                </a:cxn>
                <a:cxn ang="0">
                  <a:pos x="28" y="14"/>
                </a:cxn>
                <a:cxn ang="0">
                  <a:pos x="12" y="3"/>
                </a:cxn>
                <a:cxn ang="0">
                  <a:pos x="8" y="5"/>
                </a:cxn>
                <a:cxn ang="0">
                  <a:pos x="0" y="2"/>
                </a:cxn>
                <a:cxn ang="0">
                  <a:pos x="5" y="8"/>
                </a:cxn>
                <a:cxn ang="0">
                  <a:pos x="5" y="11"/>
                </a:cxn>
                <a:cxn ang="0">
                  <a:pos x="19" y="40"/>
                </a:cxn>
                <a:cxn ang="0">
                  <a:pos x="15" y="83"/>
                </a:cxn>
                <a:cxn ang="0">
                  <a:pos x="113" y="92"/>
                </a:cxn>
                <a:cxn ang="0">
                  <a:pos x="122" y="69"/>
                </a:cxn>
                <a:cxn ang="0">
                  <a:pos x="128" y="47"/>
                </a:cxn>
                <a:cxn ang="0">
                  <a:pos x="31" y="15"/>
                </a:cxn>
                <a:cxn ang="0">
                  <a:pos x="52" y="18"/>
                </a:cxn>
                <a:cxn ang="0">
                  <a:pos x="105" y="39"/>
                </a:cxn>
                <a:cxn ang="0">
                  <a:pos x="30" y="20"/>
                </a:cxn>
                <a:cxn ang="0">
                  <a:pos x="57" y="50"/>
                </a:cxn>
                <a:cxn ang="0">
                  <a:pos x="55" y="52"/>
                </a:cxn>
                <a:cxn ang="0">
                  <a:pos x="55" y="48"/>
                </a:cxn>
                <a:cxn ang="0">
                  <a:pos x="11" y="7"/>
                </a:cxn>
                <a:cxn ang="0">
                  <a:pos x="50" y="48"/>
                </a:cxn>
                <a:cxn ang="0">
                  <a:pos x="11" y="7"/>
                </a:cxn>
                <a:cxn ang="0">
                  <a:pos x="35" y="39"/>
                </a:cxn>
                <a:cxn ang="0">
                  <a:pos x="23" y="39"/>
                </a:cxn>
                <a:cxn ang="0">
                  <a:pos x="119" y="83"/>
                </a:cxn>
                <a:cxn ang="0">
                  <a:pos x="24" y="89"/>
                </a:cxn>
                <a:cxn ang="0">
                  <a:pos x="18" y="48"/>
                </a:cxn>
                <a:cxn ang="0">
                  <a:pos x="39" y="42"/>
                </a:cxn>
                <a:cxn ang="0">
                  <a:pos x="49" y="52"/>
                </a:cxn>
                <a:cxn ang="0">
                  <a:pos x="53" y="55"/>
                </a:cxn>
                <a:cxn ang="0">
                  <a:pos x="64" y="60"/>
                </a:cxn>
                <a:cxn ang="0">
                  <a:pos x="66" y="58"/>
                </a:cxn>
                <a:cxn ang="0">
                  <a:pos x="60" y="47"/>
                </a:cxn>
                <a:cxn ang="0">
                  <a:pos x="56" y="44"/>
                </a:cxn>
                <a:cxn ang="0">
                  <a:pos x="113" y="42"/>
                </a:cxn>
                <a:cxn ang="0">
                  <a:pos x="119" y="83"/>
                </a:cxn>
                <a:cxn ang="0">
                  <a:pos x="122" y="59"/>
                </a:cxn>
                <a:cxn ang="0">
                  <a:pos x="122" y="45"/>
                </a:cxn>
                <a:cxn ang="0">
                  <a:pos x="125" y="53"/>
                </a:cxn>
              </a:cxnLst>
              <a:rect l="0" t="0" r="r" b="b"/>
              <a:pathLst>
                <a:path w="129" h="92">
                  <a:moveTo>
                    <a:pt x="123" y="42"/>
                  </a:move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8" y="8"/>
                    <a:pt x="35" y="8"/>
                    <a:pt x="33" y="9"/>
                  </a:cubicBezTo>
                  <a:cubicBezTo>
                    <a:pt x="31" y="10"/>
                    <a:pt x="29" y="12"/>
                    <a:pt x="28" y="14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0" y="3"/>
                    <a:pt x="9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9"/>
                    <a:pt x="4" y="9"/>
                    <a:pt x="4" y="10"/>
                  </a:cubicBezTo>
                  <a:cubicBezTo>
                    <a:pt x="4" y="10"/>
                    <a:pt x="5" y="11"/>
                    <a:pt x="5" y="11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6" y="42"/>
                    <a:pt x="15" y="45"/>
                    <a:pt x="15" y="48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8"/>
                    <a:pt x="19" y="92"/>
                    <a:pt x="24" y="92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8" y="92"/>
                    <a:pt x="122" y="88"/>
                    <a:pt x="122" y="83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9" y="52"/>
                    <a:pt x="129" y="49"/>
                    <a:pt x="128" y="47"/>
                  </a:cubicBezTo>
                  <a:cubicBezTo>
                    <a:pt x="127" y="45"/>
                    <a:pt x="125" y="43"/>
                    <a:pt x="123" y="42"/>
                  </a:cubicBezTo>
                  <a:close/>
                  <a:moveTo>
                    <a:pt x="31" y="15"/>
                  </a:moveTo>
                  <a:cubicBezTo>
                    <a:pt x="33" y="12"/>
                    <a:pt x="36" y="11"/>
                    <a:pt x="39" y="12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30" y="20"/>
                    <a:pt x="30" y="20"/>
                    <a:pt x="30" y="20"/>
                  </a:cubicBezTo>
                  <a:lnTo>
                    <a:pt x="31" y="15"/>
                  </a:lnTo>
                  <a:close/>
                  <a:moveTo>
                    <a:pt x="57" y="50"/>
                  </a:moveTo>
                  <a:cubicBezTo>
                    <a:pt x="60" y="54"/>
                    <a:pt x="60" y="54"/>
                    <a:pt x="60" y="54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5" y="48"/>
                    <a:pt x="55" y="48"/>
                    <a:pt x="55" y="48"/>
                  </a:cubicBezTo>
                  <a:lnTo>
                    <a:pt x="57" y="50"/>
                  </a:lnTo>
                  <a:close/>
                  <a:moveTo>
                    <a:pt x="11" y="7"/>
                  </a:moveTo>
                  <a:cubicBezTo>
                    <a:pt x="52" y="45"/>
                    <a:pt x="52" y="45"/>
                    <a:pt x="52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9" y="10"/>
                    <a:pt x="9" y="10"/>
                    <a:pt x="9" y="10"/>
                  </a:cubicBezTo>
                  <a:lnTo>
                    <a:pt x="11" y="7"/>
                  </a:lnTo>
                  <a:close/>
                  <a:moveTo>
                    <a:pt x="26" y="30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lnTo>
                    <a:pt x="26" y="30"/>
                  </a:lnTo>
                  <a:close/>
                  <a:moveTo>
                    <a:pt x="119" y="83"/>
                  </a:moveTo>
                  <a:cubicBezTo>
                    <a:pt x="119" y="86"/>
                    <a:pt x="116" y="89"/>
                    <a:pt x="113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1" y="89"/>
                    <a:pt x="18" y="86"/>
                    <a:pt x="18" y="8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5"/>
                    <a:pt x="21" y="42"/>
                    <a:pt x="24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4" y="60"/>
                    <a:pt x="64" y="60"/>
                  </a:cubicBezTo>
                  <a:cubicBezTo>
                    <a:pt x="64" y="60"/>
                    <a:pt x="65" y="60"/>
                    <a:pt x="65" y="60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7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6" y="42"/>
                    <a:pt x="119" y="45"/>
                    <a:pt x="119" y="48"/>
                  </a:cubicBezTo>
                  <a:lnTo>
                    <a:pt x="119" y="83"/>
                  </a:lnTo>
                  <a:close/>
                  <a:moveTo>
                    <a:pt x="125" y="53"/>
                  </a:moveTo>
                  <a:cubicBezTo>
                    <a:pt x="122" y="59"/>
                    <a:pt x="122" y="59"/>
                    <a:pt x="122" y="59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7"/>
                    <a:pt x="122" y="46"/>
                    <a:pt x="122" y="45"/>
                  </a:cubicBezTo>
                  <a:cubicBezTo>
                    <a:pt x="123" y="46"/>
                    <a:pt x="124" y="47"/>
                    <a:pt x="125" y="48"/>
                  </a:cubicBezTo>
                  <a:cubicBezTo>
                    <a:pt x="125" y="50"/>
                    <a:pt x="125" y="51"/>
                    <a:pt x="125" y="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427" name="Group 275"/>
          <p:cNvGrpSpPr>
            <a:grpSpLocks noChangeAspect="1"/>
          </p:cNvGrpSpPr>
          <p:nvPr/>
        </p:nvGrpSpPr>
        <p:grpSpPr bwMode="auto">
          <a:xfrm>
            <a:off x="3656012" y="2790825"/>
            <a:ext cx="787400" cy="784225"/>
            <a:chOff x="2316" y="1758"/>
            <a:chExt cx="496" cy="494"/>
          </a:xfrm>
        </p:grpSpPr>
        <p:sp>
          <p:nvSpPr>
            <p:cNvPr id="49428" name="Freeform 276"/>
            <p:cNvSpPr>
              <a:spLocks noEditPoints="1"/>
            </p:cNvSpPr>
            <p:nvPr/>
          </p:nvSpPr>
          <p:spPr bwMode="auto">
            <a:xfrm>
              <a:off x="2316" y="1758"/>
              <a:ext cx="496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7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2" y="103"/>
                </a:cxn>
                <a:cxn ang="0">
                  <a:pos x="103" y="201"/>
                </a:cxn>
              </a:cxnLst>
              <a:rect l="0" t="0" r="r" b="b"/>
              <a:pathLst>
                <a:path w="207" h="206">
                  <a:moveTo>
                    <a:pt x="103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29" name="Rectangle 277"/>
            <p:cNvSpPr>
              <a:spLocks noChangeArrowheads="1"/>
            </p:cNvSpPr>
            <p:nvPr/>
          </p:nvSpPr>
          <p:spPr bwMode="auto">
            <a:xfrm>
              <a:off x="2627" y="2000"/>
              <a:ext cx="65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30" name="Rectangle 278"/>
            <p:cNvSpPr>
              <a:spLocks noChangeArrowheads="1"/>
            </p:cNvSpPr>
            <p:nvPr/>
          </p:nvSpPr>
          <p:spPr bwMode="auto">
            <a:xfrm>
              <a:off x="2476" y="2029"/>
              <a:ext cx="2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31" name="Rectangle 279"/>
            <p:cNvSpPr>
              <a:spLocks noChangeArrowheads="1"/>
            </p:cNvSpPr>
            <p:nvPr/>
          </p:nvSpPr>
          <p:spPr bwMode="auto">
            <a:xfrm>
              <a:off x="2476" y="2069"/>
              <a:ext cx="2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32" name="Freeform 280"/>
            <p:cNvSpPr>
              <a:spLocks noEditPoints="1"/>
            </p:cNvSpPr>
            <p:nvPr/>
          </p:nvSpPr>
          <p:spPr bwMode="auto">
            <a:xfrm>
              <a:off x="2421" y="1882"/>
              <a:ext cx="309" cy="221"/>
            </a:xfrm>
            <a:custGeom>
              <a:avLst/>
              <a:gdLst/>
              <a:ahLst/>
              <a:cxnLst>
                <a:cxn ang="0">
                  <a:pos x="55" y="15"/>
                </a:cxn>
                <a:cxn ang="0">
                  <a:pos x="40" y="9"/>
                </a:cxn>
                <a:cxn ang="0">
                  <a:pos x="28" y="14"/>
                </a:cxn>
                <a:cxn ang="0">
                  <a:pos x="12" y="3"/>
                </a:cxn>
                <a:cxn ang="0">
                  <a:pos x="8" y="5"/>
                </a:cxn>
                <a:cxn ang="0">
                  <a:pos x="0" y="2"/>
                </a:cxn>
                <a:cxn ang="0">
                  <a:pos x="5" y="8"/>
                </a:cxn>
                <a:cxn ang="0">
                  <a:pos x="5" y="11"/>
                </a:cxn>
                <a:cxn ang="0">
                  <a:pos x="19" y="40"/>
                </a:cxn>
                <a:cxn ang="0">
                  <a:pos x="15" y="83"/>
                </a:cxn>
                <a:cxn ang="0">
                  <a:pos x="113" y="92"/>
                </a:cxn>
                <a:cxn ang="0">
                  <a:pos x="122" y="69"/>
                </a:cxn>
                <a:cxn ang="0">
                  <a:pos x="128" y="47"/>
                </a:cxn>
                <a:cxn ang="0">
                  <a:pos x="31" y="15"/>
                </a:cxn>
                <a:cxn ang="0">
                  <a:pos x="52" y="18"/>
                </a:cxn>
                <a:cxn ang="0">
                  <a:pos x="105" y="39"/>
                </a:cxn>
                <a:cxn ang="0">
                  <a:pos x="30" y="20"/>
                </a:cxn>
                <a:cxn ang="0">
                  <a:pos x="57" y="50"/>
                </a:cxn>
                <a:cxn ang="0">
                  <a:pos x="55" y="52"/>
                </a:cxn>
                <a:cxn ang="0">
                  <a:pos x="55" y="48"/>
                </a:cxn>
                <a:cxn ang="0">
                  <a:pos x="11" y="7"/>
                </a:cxn>
                <a:cxn ang="0">
                  <a:pos x="50" y="48"/>
                </a:cxn>
                <a:cxn ang="0">
                  <a:pos x="11" y="7"/>
                </a:cxn>
                <a:cxn ang="0">
                  <a:pos x="35" y="39"/>
                </a:cxn>
                <a:cxn ang="0">
                  <a:pos x="23" y="39"/>
                </a:cxn>
                <a:cxn ang="0">
                  <a:pos x="119" y="83"/>
                </a:cxn>
                <a:cxn ang="0">
                  <a:pos x="24" y="89"/>
                </a:cxn>
                <a:cxn ang="0">
                  <a:pos x="18" y="48"/>
                </a:cxn>
                <a:cxn ang="0">
                  <a:pos x="39" y="42"/>
                </a:cxn>
                <a:cxn ang="0">
                  <a:pos x="49" y="52"/>
                </a:cxn>
                <a:cxn ang="0">
                  <a:pos x="53" y="55"/>
                </a:cxn>
                <a:cxn ang="0">
                  <a:pos x="64" y="60"/>
                </a:cxn>
                <a:cxn ang="0">
                  <a:pos x="66" y="58"/>
                </a:cxn>
                <a:cxn ang="0">
                  <a:pos x="60" y="47"/>
                </a:cxn>
                <a:cxn ang="0">
                  <a:pos x="56" y="44"/>
                </a:cxn>
                <a:cxn ang="0">
                  <a:pos x="113" y="42"/>
                </a:cxn>
                <a:cxn ang="0">
                  <a:pos x="119" y="83"/>
                </a:cxn>
                <a:cxn ang="0">
                  <a:pos x="122" y="59"/>
                </a:cxn>
                <a:cxn ang="0">
                  <a:pos x="122" y="45"/>
                </a:cxn>
                <a:cxn ang="0">
                  <a:pos x="125" y="53"/>
                </a:cxn>
              </a:cxnLst>
              <a:rect l="0" t="0" r="r" b="b"/>
              <a:pathLst>
                <a:path w="129" h="92">
                  <a:moveTo>
                    <a:pt x="123" y="42"/>
                  </a:moveTo>
                  <a:cubicBezTo>
                    <a:pt x="55" y="15"/>
                    <a:pt x="55" y="15"/>
                    <a:pt x="55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8" y="8"/>
                    <a:pt x="35" y="8"/>
                    <a:pt x="33" y="9"/>
                  </a:cubicBezTo>
                  <a:cubicBezTo>
                    <a:pt x="31" y="10"/>
                    <a:pt x="29" y="12"/>
                    <a:pt x="28" y="14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0" y="3"/>
                    <a:pt x="9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9"/>
                    <a:pt x="4" y="9"/>
                    <a:pt x="4" y="10"/>
                  </a:cubicBezTo>
                  <a:cubicBezTo>
                    <a:pt x="4" y="10"/>
                    <a:pt x="5" y="11"/>
                    <a:pt x="5" y="11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6" y="42"/>
                    <a:pt x="15" y="45"/>
                    <a:pt x="15" y="48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8"/>
                    <a:pt x="19" y="92"/>
                    <a:pt x="24" y="92"/>
                  </a:cubicBezTo>
                  <a:cubicBezTo>
                    <a:pt x="113" y="92"/>
                    <a:pt x="113" y="92"/>
                    <a:pt x="113" y="92"/>
                  </a:cubicBezTo>
                  <a:cubicBezTo>
                    <a:pt x="118" y="92"/>
                    <a:pt x="122" y="88"/>
                    <a:pt x="122" y="83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9" y="52"/>
                    <a:pt x="129" y="49"/>
                    <a:pt x="128" y="47"/>
                  </a:cubicBezTo>
                  <a:cubicBezTo>
                    <a:pt x="127" y="45"/>
                    <a:pt x="125" y="43"/>
                    <a:pt x="123" y="42"/>
                  </a:cubicBezTo>
                  <a:close/>
                  <a:moveTo>
                    <a:pt x="31" y="15"/>
                  </a:moveTo>
                  <a:cubicBezTo>
                    <a:pt x="33" y="12"/>
                    <a:pt x="36" y="11"/>
                    <a:pt x="39" y="12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30" y="20"/>
                    <a:pt x="30" y="20"/>
                    <a:pt x="30" y="20"/>
                  </a:cubicBezTo>
                  <a:lnTo>
                    <a:pt x="31" y="15"/>
                  </a:lnTo>
                  <a:close/>
                  <a:moveTo>
                    <a:pt x="57" y="50"/>
                  </a:moveTo>
                  <a:cubicBezTo>
                    <a:pt x="60" y="54"/>
                    <a:pt x="60" y="54"/>
                    <a:pt x="60" y="54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5" y="48"/>
                    <a:pt x="55" y="48"/>
                    <a:pt x="55" y="48"/>
                  </a:cubicBezTo>
                  <a:lnTo>
                    <a:pt x="57" y="50"/>
                  </a:lnTo>
                  <a:close/>
                  <a:moveTo>
                    <a:pt x="11" y="7"/>
                  </a:moveTo>
                  <a:cubicBezTo>
                    <a:pt x="52" y="45"/>
                    <a:pt x="52" y="45"/>
                    <a:pt x="52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9" y="10"/>
                    <a:pt x="9" y="10"/>
                    <a:pt x="9" y="10"/>
                  </a:cubicBezTo>
                  <a:lnTo>
                    <a:pt x="11" y="7"/>
                  </a:lnTo>
                  <a:close/>
                  <a:moveTo>
                    <a:pt x="26" y="30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lnTo>
                    <a:pt x="26" y="30"/>
                  </a:lnTo>
                  <a:close/>
                  <a:moveTo>
                    <a:pt x="119" y="83"/>
                  </a:moveTo>
                  <a:cubicBezTo>
                    <a:pt x="119" y="86"/>
                    <a:pt x="116" y="89"/>
                    <a:pt x="113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1" y="89"/>
                    <a:pt x="18" y="86"/>
                    <a:pt x="18" y="8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5"/>
                    <a:pt x="21" y="42"/>
                    <a:pt x="24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4" y="60"/>
                    <a:pt x="64" y="60"/>
                  </a:cubicBezTo>
                  <a:cubicBezTo>
                    <a:pt x="64" y="60"/>
                    <a:pt x="65" y="60"/>
                    <a:pt x="65" y="60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0" y="47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6" y="42"/>
                    <a:pt x="119" y="45"/>
                    <a:pt x="119" y="48"/>
                  </a:cubicBezTo>
                  <a:lnTo>
                    <a:pt x="119" y="83"/>
                  </a:lnTo>
                  <a:close/>
                  <a:moveTo>
                    <a:pt x="125" y="53"/>
                  </a:moveTo>
                  <a:cubicBezTo>
                    <a:pt x="122" y="59"/>
                    <a:pt x="122" y="59"/>
                    <a:pt x="122" y="59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7"/>
                    <a:pt x="122" y="46"/>
                    <a:pt x="122" y="45"/>
                  </a:cubicBezTo>
                  <a:cubicBezTo>
                    <a:pt x="123" y="46"/>
                    <a:pt x="124" y="47"/>
                    <a:pt x="125" y="48"/>
                  </a:cubicBezTo>
                  <a:cubicBezTo>
                    <a:pt x="125" y="50"/>
                    <a:pt x="125" y="51"/>
                    <a:pt x="125" y="5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35" name="Group 283"/>
          <p:cNvGrpSpPr>
            <a:grpSpLocks noChangeAspect="1"/>
          </p:cNvGrpSpPr>
          <p:nvPr/>
        </p:nvGrpSpPr>
        <p:grpSpPr bwMode="auto">
          <a:xfrm>
            <a:off x="4725194" y="2770188"/>
            <a:ext cx="827088" cy="827087"/>
            <a:chOff x="2992" y="1745"/>
            <a:chExt cx="521" cy="521"/>
          </a:xfrm>
        </p:grpSpPr>
        <p:sp>
          <p:nvSpPr>
            <p:cNvPr id="49436" name="Oval 284"/>
            <p:cNvSpPr>
              <a:spLocks noChangeArrowheads="1"/>
            </p:cNvSpPr>
            <p:nvPr/>
          </p:nvSpPr>
          <p:spPr bwMode="auto">
            <a:xfrm>
              <a:off x="2992" y="1745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437" name="Freeform 285"/>
            <p:cNvSpPr>
              <a:spLocks noEditPoints="1"/>
            </p:cNvSpPr>
            <p:nvPr/>
          </p:nvSpPr>
          <p:spPr bwMode="auto">
            <a:xfrm>
              <a:off x="3011" y="176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38" name="Freeform 286"/>
            <p:cNvSpPr>
              <a:spLocks noEditPoints="1"/>
            </p:cNvSpPr>
            <p:nvPr/>
          </p:nvSpPr>
          <p:spPr bwMode="auto">
            <a:xfrm>
              <a:off x="3138" y="1840"/>
              <a:ext cx="232" cy="314"/>
            </a:xfrm>
            <a:custGeom>
              <a:avLst/>
              <a:gdLst/>
              <a:ahLst/>
              <a:cxnLst>
                <a:cxn ang="0">
                  <a:pos x="167" y="31"/>
                </a:cxn>
                <a:cxn ang="0">
                  <a:pos x="167" y="0"/>
                </a:cxn>
                <a:cxn ang="0">
                  <a:pos x="64" y="0"/>
                </a:cxn>
                <a:cxn ang="0">
                  <a:pos x="64" y="31"/>
                </a:cxn>
                <a:cxn ang="0">
                  <a:pos x="9" y="31"/>
                </a:cxn>
                <a:cxn ang="0">
                  <a:pos x="0" y="31"/>
                </a:cxn>
                <a:cxn ang="0">
                  <a:pos x="0" y="41"/>
                </a:cxn>
                <a:cxn ang="0">
                  <a:pos x="0" y="304"/>
                </a:cxn>
                <a:cxn ang="0">
                  <a:pos x="0" y="314"/>
                </a:cxn>
                <a:cxn ang="0">
                  <a:pos x="9" y="314"/>
                </a:cxn>
                <a:cxn ang="0">
                  <a:pos x="222" y="314"/>
                </a:cxn>
                <a:cxn ang="0">
                  <a:pos x="232" y="314"/>
                </a:cxn>
                <a:cxn ang="0">
                  <a:pos x="232" y="304"/>
                </a:cxn>
                <a:cxn ang="0">
                  <a:pos x="232" y="41"/>
                </a:cxn>
                <a:cxn ang="0">
                  <a:pos x="232" y="31"/>
                </a:cxn>
                <a:cxn ang="0">
                  <a:pos x="222" y="31"/>
                </a:cxn>
                <a:cxn ang="0">
                  <a:pos x="167" y="31"/>
                </a:cxn>
                <a:cxn ang="0">
                  <a:pos x="222" y="53"/>
                </a:cxn>
                <a:cxn ang="0">
                  <a:pos x="9" y="53"/>
                </a:cxn>
                <a:cxn ang="0">
                  <a:pos x="9" y="63"/>
                </a:cxn>
                <a:cxn ang="0">
                  <a:pos x="222" y="63"/>
                </a:cxn>
                <a:cxn ang="0">
                  <a:pos x="222" y="304"/>
                </a:cxn>
                <a:cxn ang="0">
                  <a:pos x="9" y="304"/>
                </a:cxn>
                <a:cxn ang="0">
                  <a:pos x="9" y="41"/>
                </a:cxn>
                <a:cxn ang="0">
                  <a:pos x="71" y="41"/>
                </a:cxn>
                <a:cxn ang="0">
                  <a:pos x="71" y="10"/>
                </a:cxn>
                <a:cxn ang="0">
                  <a:pos x="160" y="10"/>
                </a:cxn>
                <a:cxn ang="0">
                  <a:pos x="160" y="41"/>
                </a:cxn>
                <a:cxn ang="0">
                  <a:pos x="222" y="41"/>
                </a:cxn>
                <a:cxn ang="0">
                  <a:pos x="222" y="53"/>
                </a:cxn>
              </a:cxnLst>
              <a:rect l="0" t="0" r="r" b="b"/>
              <a:pathLst>
                <a:path w="232" h="314">
                  <a:moveTo>
                    <a:pt x="167" y="31"/>
                  </a:moveTo>
                  <a:lnTo>
                    <a:pt x="167" y="0"/>
                  </a:lnTo>
                  <a:lnTo>
                    <a:pt x="64" y="0"/>
                  </a:lnTo>
                  <a:lnTo>
                    <a:pt x="64" y="31"/>
                  </a:lnTo>
                  <a:lnTo>
                    <a:pt x="9" y="31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0" y="304"/>
                  </a:lnTo>
                  <a:lnTo>
                    <a:pt x="0" y="314"/>
                  </a:lnTo>
                  <a:lnTo>
                    <a:pt x="9" y="314"/>
                  </a:lnTo>
                  <a:lnTo>
                    <a:pt x="222" y="314"/>
                  </a:lnTo>
                  <a:lnTo>
                    <a:pt x="232" y="314"/>
                  </a:lnTo>
                  <a:lnTo>
                    <a:pt x="232" y="304"/>
                  </a:lnTo>
                  <a:lnTo>
                    <a:pt x="232" y="41"/>
                  </a:lnTo>
                  <a:lnTo>
                    <a:pt x="232" y="31"/>
                  </a:lnTo>
                  <a:lnTo>
                    <a:pt x="222" y="31"/>
                  </a:lnTo>
                  <a:lnTo>
                    <a:pt x="167" y="31"/>
                  </a:lnTo>
                  <a:close/>
                  <a:moveTo>
                    <a:pt x="222" y="53"/>
                  </a:moveTo>
                  <a:lnTo>
                    <a:pt x="9" y="53"/>
                  </a:lnTo>
                  <a:lnTo>
                    <a:pt x="9" y="63"/>
                  </a:lnTo>
                  <a:lnTo>
                    <a:pt x="222" y="63"/>
                  </a:lnTo>
                  <a:lnTo>
                    <a:pt x="222" y="304"/>
                  </a:lnTo>
                  <a:lnTo>
                    <a:pt x="9" y="304"/>
                  </a:lnTo>
                  <a:lnTo>
                    <a:pt x="9" y="41"/>
                  </a:lnTo>
                  <a:lnTo>
                    <a:pt x="71" y="41"/>
                  </a:lnTo>
                  <a:lnTo>
                    <a:pt x="71" y="10"/>
                  </a:lnTo>
                  <a:lnTo>
                    <a:pt x="160" y="10"/>
                  </a:lnTo>
                  <a:lnTo>
                    <a:pt x="160" y="41"/>
                  </a:lnTo>
                  <a:lnTo>
                    <a:pt x="222" y="41"/>
                  </a:lnTo>
                  <a:lnTo>
                    <a:pt x="222" y="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39" name="Rectangle 287"/>
            <p:cNvSpPr>
              <a:spLocks noChangeArrowheads="1"/>
            </p:cNvSpPr>
            <p:nvPr/>
          </p:nvSpPr>
          <p:spPr bwMode="auto">
            <a:xfrm>
              <a:off x="3226" y="1862"/>
              <a:ext cx="55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0" name="Freeform 288"/>
            <p:cNvSpPr>
              <a:spLocks/>
            </p:cNvSpPr>
            <p:nvPr/>
          </p:nvSpPr>
          <p:spPr bwMode="auto">
            <a:xfrm>
              <a:off x="3169" y="2070"/>
              <a:ext cx="45" cy="41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29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4" y="41"/>
                </a:cxn>
                <a:cxn ang="0">
                  <a:pos x="21" y="38"/>
                </a:cxn>
              </a:cxnLst>
              <a:rect l="0" t="0" r="r" b="b"/>
              <a:pathLst>
                <a:path w="45" h="41">
                  <a:moveTo>
                    <a:pt x="21" y="38"/>
                  </a:moveTo>
                  <a:lnTo>
                    <a:pt x="45" y="5"/>
                  </a:lnTo>
                  <a:lnTo>
                    <a:pt x="38" y="0"/>
                  </a:lnTo>
                  <a:lnTo>
                    <a:pt x="17" y="29"/>
                  </a:lnTo>
                  <a:lnTo>
                    <a:pt x="7" y="17"/>
                  </a:lnTo>
                  <a:lnTo>
                    <a:pt x="0" y="24"/>
                  </a:lnTo>
                  <a:lnTo>
                    <a:pt x="14" y="41"/>
                  </a:lnTo>
                  <a:lnTo>
                    <a:pt x="21" y="3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1" name="Rectangle 289"/>
            <p:cNvSpPr>
              <a:spLocks noChangeArrowheads="1"/>
            </p:cNvSpPr>
            <p:nvPr/>
          </p:nvSpPr>
          <p:spPr bwMode="auto">
            <a:xfrm>
              <a:off x="3221" y="2096"/>
              <a:ext cx="1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2" name="Freeform 290"/>
            <p:cNvSpPr>
              <a:spLocks/>
            </p:cNvSpPr>
            <p:nvPr/>
          </p:nvSpPr>
          <p:spPr bwMode="auto">
            <a:xfrm>
              <a:off x="3169" y="2001"/>
              <a:ext cx="45" cy="40"/>
            </a:xfrm>
            <a:custGeom>
              <a:avLst/>
              <a:gdLst/>
              <a:ahLst/>
              <a:cxnLst>
                <a:cxn ang="0">
                  <a:pos x="21" y="40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31"/>
                </a:cxn>
                <a:cxn ang="0">
                  <a:pos x="7" y="16"/>
                </a:cxn>
                <a:cxn ang="0">
                  <a:pos x="0" y="24"/>
                </a:cxn>
                <a:cxn ang="0">
                  <a:pos x="14" y="40"/>
                </a:cxn>
                <a:cxn ang="0">
                  <a:pos x="21" y="40"/>
                </a:cxn>
              </a:cxnLst>
              <a:rect l="0" t="0" r="r" b="b"/>
              <a:pathLst>
                <a:path w="45" h="40">
                  <a:moveTo>
                    <a:pt x="21" y="40"/>
                  </a:moveTo>
                  <a:lnTo>
                    <a:pt x="45" y="5"/>
                  </a:lnTo>
                  <a:lnTo>
                    <a:pt x="38" y="0"/>
                  </a:lnTo>
                  <a:lnTo>
                    <a:pt x="17" y="31"/>
                  </a:lnTo>
                  <a:lnTo>
                    <a:pt x="7" y="16"/>
                  </a:lnTo>
                  <a:lnTo>
                    <a:pt x="0" y="24"/>
                  </a:lnTo>
                  <a:lnTo>
                    <a:pt x="14" y="40"/>
                  </a:lnTo>
                  <a:lnTo>
                    <a:pt x="21" y="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3" name="Rectangle 291"/>
            <p:cNvSpPr>
              <a:spLocks noChangeArrowheads="1"/>
            </p:cNvSpPr>
            <p:nvPr/>
          </p:nvSpPr>
          <p:spPr bwMode="auto">
            <a:xfrm>
              <a:off x="3221" y="2027"/>
              <a:ext cx="1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4" name="Freeform 292"/>
            <p:cNvSpPr>
              <a:spLocks/>
            </p:cNvSpPr>
            <p:nvPr/>
          </p:nvSpPr>
          <p:spPr bwMode="auto">
            <a:xfrm>
              <a:off x="3169" y="1934"/>
              <a:ext cx="45" cy="38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28"/>
                </a:cxn>
                <a:cxn ang="0">
                  <a:pos x="7" y="16"/>
                </a:cxn>
                <a:cxn ang="0">
                  <a:pos x="0" y="21"/>
                </a:cxn>
                <a:cxn ang="0">
                  <a:pos x="14" y="38"/>
                </a:cxn>
                <a:cxn ang="0">
                  <a:pos x="21" y="38"/>
                </a:cxn>
              </a:cxnLst>
              <a:rect l="0" t="0" r="r" b="b"/>
              <a:pathLst>
                <a:path w="45" h="38">
                  <a:moveTo>
                    <a:pt x="21" y="38"/>
                  </a:moveTo>
                  <a:lnTo>
                    <a:pt x="45" y="5"/>
                  </a:lnTo>
                  <a:lnTo>
                    <a:pt x="38" y="0"/>
                  </a:lnTo>
                  <a:lnTo>
                    <a:pt x="17" y="28"/>
                  </a:lnTo>
                  <a:lnTo>
                    <a:pt x="7" y="16"/>
                  </a:lnTo>
                  <a:lnTo>
                    <a:pt x="0" y="21"/>
                  </a:lnTo>
                  <a:lnTo>
                    <a:pt x="14" y="38"/>
                  </a:lnTo>
                  <a:lnTo>
                    <a:pt x="21" y="3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45" name="Rectangle 293"/>
            <p:cNvSpPr>
              <a:spLocks noChangeArrowheads="1"/>
            </p:cNvSpPr>
            <p:nvPr/>
          </p:nvSpPr>
          <p:spPr bwMode="auto">
            <a:xfrm>
              <a:off x="3221" y="1960"/>
              <a:ext cx="1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448" name="Group 296"/>
          <p:cNvGrpSpPr>
            <a:grpSpLocks noChangeAspect="1"/>
          </p:cNvGrpSpPr>
          <p:nvPr/>
        </p:nvGrpSpPr>
        <p:grpSpPr bwMode="auto">
          <a:xfrm>
            <a:off x="5851530" y="2798765"/>
            <a:ext cx="768350" cy="768350"/>
            <a:chOff x="3695" y="1763"/>
            <a:chExt cx="484" cy="484"/>
          </a:xfrm>
        </p:grpSpPr>
        <p:sp>
          <p:nvSpPr>
            <p:cNvPr id="49449" name="Freeform 297"/>
            <p:cNvSpPr>
              <a:spLocks noEditPoints="1"/>
            </p:cNvSpPr>
            <p:nvPr/>
          </p:nvSpPr>
          <p:spPr bwMode="auto">
            <a:xfrm>
              <a:off x="3695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0" name="Freeform 298"/>
            <p:cNvSpPr>
              <a:spLocks noEditPoints="1"/>
            </p:cNvSpPr>
            <p:nvPr/>
          </p:nvSpPr>
          <p:spPr bwMode="auto">
            <a:xfrm>
              <a:off x="3822" y="1840"/>
              <a:ext cx="233" cy="314"/>
            </a:xfrm>
            <a:custGeom>
              <a:avLst/>
              <a:gdLst/>
              <a:ahLst/>
              <a:cxnLst>
                <a:cxn ang="0">
                  <a:pos x="168" y="31"/>
                </a:cxn>
                <a:cxn ang="0">
                  <a:pos x="168" y="0"/>
                </a:cxn>
                <a:cxn ang="0">
                  <a:pos x="65" y="0"/>
                </a:cxn>
                <a:cxn ang="0">
                  <a:pos x="65" y="31"/>
                </a:cxn>
                <a:cxn ang="0">
                  <a:pos x="10" y="31"/>
                </a:cxn>
                <a:cxn ang="0">
                  <a:pos x="0" y="31"/>
                </a:cxn>
                <a:cxn ang="0">
                  <a:pos x="0" y="41"/>
                </a:cxn>
                <a:cxn ang="0">
                  <a:pos x="0" y="304"/>
                </a:cxn>
                <a:cxn ang="0">
                  <a:pos x="0" y="314"/>
                </a:cxn>
                <a:cxn ang="0">
                  <a:pos x="10" y="314"/>
                </a:cxn>
                <a:cxn ang="0">
                  <a:pos x="223" y="314"/>
                </a:cxn>
                <a:cxn ang="0">
                  <a:pos x="233" y="314"/>
                </a:cxn>
                <a:cxn ang="0">
                  <a:pos x="233" y="304"/>
                </a:cxn>
                <a:cxn ang="0">
                  <a:pos x="233" y="41"/>
                </a:cxn>
                <a:cxn ang="0">
                  <a:pos x="233" y="31"/>
                </a:cxn>
                <a:cxn ang="0">
                  <a:pos x="223" y="31"/>
                </a:cxn>
                <a:cxn ang="0">
                  <a:pos x="168" y="31"/>
                </a:cxn>
                <a:cxn ang="0">
                  <a:pos x="223" y="53"/>
                </a:cxn>
                <a:cxn ang="0">
                  <a:pos x="10" y="53"/>
                </a:cxn>
                <a:cxn ang="0">
                  <a:pos x="10" y="62"/>
                </a:cxn>
                <a:cxn ang="0">
                  <a:pos x="223" y="62"/>
                </a:cxn>
                <a:cxn ang="0">
                  <a:pos x="223" y="304"/>
                </a:cxn>
                <a:cxn ang="0">
                  <a:pos x="10" y="304"/>
                </a:cxn>
                <a:cxn ang="0">
                  <a:pos x="10" y="41"/>
                </a:cxn>
                <a:cxn ang="0">
                  <a:pos x="72" y="41"/>
                </a:cxn>
                <a:cxn ang="0">
                  <a:pos x="72" y="10"/>
                </a:cxn>
                <a:cxn ang="0">
                  <a:pos x="161" y="10"/>
                </a:cxn>
                <a:cxn ang="0">
                  <a:pos x="161" y="41"/>
                </a:cxn>
                <a:cxn ang="0">
                  <a:pos x="223" y="41"/>
                </a:cxn>
                <a:cxn ang="0">
                  <a:pos x="223" y="53"/>
                </a:cxn>
              </a:cxnLst>
              <a:rect l="0" t="0" r="r" b="b"/>
              <a:pathLst>
                <a:path w="233" h="314">
                  <a:moveTo>
                    <a:pt x="168" y="31"/>
                  </a:moveTo>
                  <a:lnTo>
                    <a:pt x="168" y="0"/>
                  </a:lnTo>
                  <a:lnTo>
                    <a:pt x="65" y="0"/>
                  </a:lnTo>
                  <a:lnTo>
                    <a:pt x="65" y="31"/>
                  </a:lnTo>
                  <a:lnTo>
                    <a:pt x="10" y="31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0" y="304"/>
                  </a:lnTo>
                  <a:lnTo>
                    <a:pt x="0" y="314"/>
                  </a:lnTo>
                  <a:lnTo>
                    <a:pt x="10" y="314"/>
                  </a:lnTo>
                  <a:lnTo>
                    <a:pt x="223" y="314"/>
                  </a:lnTo>
                  <a:lnTo>
                    <a:pt x="233" y="314"/>
                  </a:lnTo>
                  <a:lnTo>
                    <a:pt x="233" y="304"/>
                  </a:lnTo>
                  <a:lnTo>
                    <a:pt x="233" y="41"/>
                  </a:lnTo>
                  <a:lnTo>
                    <a:pt x="233" y="31"/>
                  </a:lnTo>
                  <a:lnTo>
                    <a:pt x="223" y="31"/>
                  </a:lnTo>
                  <a:lnTo>
                    <a:pt x="168" y="31"/>
                  </a:lnTo>
                  <a:close/>
                  <a:moveTo>
                    <a:pt x="223" y="53"/>
                  </a:moveTo>
                  <a:lnTo>
                    <a:pt x="10" y="53"/>
                  </a:lnTo>
                  <a:lnTo>
                    <a:pt x="10" y="62"/>
                  </a:lnTo>
                  <a:lnTo>
                    <a:pt x="223" y="62"/>
                  </a:lnTo>
                  <a:lnTo>
                    <a:pt x="223" y="304"/>
                  </a:lnTo>
                  <a:lnTo>
                    <a:pt x="10" y="304"/>
                  </a:lnTo>
                  <a:lnTo>
                    <a:pt x="10" y="41"/>
                  </a:lnTo>
                  <a:lnTo>
                    <a:pt x="72" y="41"/>
                  </a:lnTo>
                  <a:lnTo>
                    <a:pt x="72" y="10"/>
                  </a:lnTo>
                  <a:lnTo>
                    <a:pt x="161" y="10"/>
                  </a:lnTo>
                  <a:lnTo>
                    <a:pt x="161" y="41"/>
                  </a:lnTo>
                  <a:lnTo>
                    <a:pt x="223" y="41"/>
                  </a:lnTo>
                  <a:lnTo>
                    <a:pt x="223" y="5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451" name="Rectangle 299"/>
            <p:cNvSpPr>
              <a:spLocks noChangeArrowheads="1"/>
            </p:cNvSpPr>
            <p:nvPr/>
          </p:nvSpPr>
          <p:spPr bwMode="auto">
            <a:xfrm>
              <a:off x="3911" y="1862"/>
              <a:ext cx="55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2" name="Freeform 300"/>
            <p:cNvSpPr>
              <a:spLocks/>
            </p:cNvSpPr>
            <p:nvPr/>
          </p:nvSpPr>
          <p:spPr bwMode="auto">
            <a:xfrm>
              <a:off x="3853" y="2070"/>
              <a:ext cx="46" cy="41"/>
            </a:xfrm>
            <a:custGeom>
              <a:avLst/>
              <a:gdLst/>
              <a:ahLst/>
              <a:cxnLst>
                <a:cxn ang="0">
                  <a:pos x="22" y="38"/>
                </a:cxn>
                <a:cxn ang="0">
                  <a:pos x="46" y="5"/>
                </a:cxn>
                <a:cxn ang="0">
                  <a:pos x="39" y="0"/>
                </a:cxn>
                <a:cxn ang="0">
                  <a:pos x="17" y="29"/>
                </a:cxn>
                <a:cxn ang="0">
                  <a:pos x="8" y="17"/>
                </a:cxn>
                <a:cxn ang="0">
                  <a:pos x="0" y="24"/>
                </a:cxn>
                <a:cxn ang="0">
                  <a:pos x="15" y="41"/>
                </a:cxn>
                <a:cxn ang="0">
                  <a:pos x="22" y="38"/>
                </a:cxn>
              </a:cxnLst>
              <a:rect l="0" t="0" r="r" b="b"/>
              <a:pathLst>
                <a:path w="46" h="41">
                  <a:moveTo>
                    <a:pt x="22" y="38"/>
                  </a:moveTo>
                  <a:lnTo>
                    <a:pt x="46" y="5"/>
                  </a:lnTo>
                  <a:lnTo>
                    <a:pt x="39" y="0"/>
                  </a:lnTo>
                  <a:lnTo>
                    <a:pt x="17" y="29"/>
                  </a:lnTo>
                  <a:lnTo>
                    <a:pt x="8" y="17"/>
                  </a:lnTo>
                  <a:lnTo>
                    <a:pt x="0" y="24"/>
                  </a:lnTo>
                  <a:lnTo>
                    <a:pt x="15" y="41"/>
                  </a:lnTo>
                  <a:lnTo>
                    <a:pt x="22" y="3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3" name="Rectangle 301"/>
            <p:cNvSpPr>
              <a:spLocks noChangeArrowheads="1"/>
            </p:cNvSpPr>
            <p:nvPr/>
          </p:nvSpPr>
          <p:spPr bwMode="auto">
            <a:xfrm>
              <a:off x="3906" y="2096"/>
              <a:ext cx="115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4" name="Freeform 302"/>
            <p:cNvSpPr>
              <a:spLocks/>
            </p:cNvSpPr>
            <p:nvPr/>
          </p:nvSpPr>
          <p:spPr bwMode="auto">
            <a:xfrm>
              <a:off x="3853" y="2001"/>
              <a:ext cx="46" cy="40"/>
            </a:xfrm>
            <a:custGeom>
              <a:avLst/>
              <a:gdLst/>
              <a:ahLst/>
              <a:cxnLst>
                <a:cxn ang="0">
                  <a:pos x="22" y="40"/>
                </a:cxn>
                <a:cxn ang="0">
                  <a:pos x="46" y="4"/>
                </a:cxn>
                <a:cxn ang="0">
                  <a:pos x="39" y="0"/>
                </a:cxn>
                <a:cxn ang="0">
                  <a:pos x="17" y="31"/>
                </a:cxn>
                <a:cxn ang="0">
                  <a:pos x="8" y="16"/>
                </a:cxn>
                <a:cxn ang="0">
                  <a:pos x="0" y="24"/>
                </a:cxn>
                <a:cxn ang="0">
                  <a:pos x="15" y="40"/>
                </a:cxn>
                <a:cxn ang="0">
                  <a:pos x="22" y="40"/>
                </a:cxn>
              </a:cxnLst>
              <a:rect l="0" t="0" r="r" b="b"/>
              <a:pathLst>
                <a:path w="46" h="40">
                  <a:moveTo>
                    <a:pt x="22" y="40"/>
                  </a:moveTo>
                  <a:lnTo>
                    <a:pt x="46" y="4"/>
                  </a:lnTo>
                  <a:lnTo>
                    <a:pt x="39" y="0"/>
                  </a:lnTo>
                  <a:lnTo>
                    <a:pt x="17" y="31"/>
                  </a:lnTo>
                  <a:lnTo>
                    <a:pt x="8" y="16"/>
                  </a:lnTo>
                  <a:lnTo>
                    <a:pt x="0" y="24"/>
                  </a:lnTo>
                  <a:lnTo>
                    <a:pt x="15" y="40"/>
                  </a:lnTo>
                  <a:lnTo>
                    <a:pt x="22" y="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5" name="Rectangle 303"/>
            <p:cNvSpPr>
              <a:spLocks noChangeArrowheads="1"/>
            </p:cNvSpPr>
            <p:nvPr/>
          </p:nvSpPr>
          <p:spPr bwMode="auto">
            <a:xfrm>
              <a:off x="3906" y="2027"/>
              <a:ext cx="115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6" name="Freeform 304"/>
            <p:cNvSpPr>
              <a:spLocks/>
            </p:cNvSpPr>
            <p:nvPr/>
          </p:nvSpPr>
          <p:spPr bwMode="auto">
            <a:xfrm>
              <a:off x="3853" y="1933"/>
              <a:ext cx="46" cy="39"/>
            </a:xfrm>
            <a:custGeom>
              <a:avLst/>
              <a:gdLst/>
              <a:ahLst/>
              <a:cxnLst>
                <a:cxn ang="0">
                  <a:pos x="22" y="39"/>
                </a:cxn>
                <a:cxn ang="0">
                  <a:pos x="46" y="5"/>
                </a:cxn>
                <a:cxn ang="0">
                  <a:pos x="39" y="0"/>
                </a:cxn>
                <a:cxn ang="0">
                  <a:pos x="17" y="29"/>
                </a:cxn>
                <a:cxn ang="0">
                  <a:pos x="8" y="17"/>
                </a:cxn>
                <a:cxn ang="0">
                  <a:pos x="0" y="22"/>
                </a:cxn>
                <a:cxn ang="0">
                  <a:pos x="15" y="39"/>
                </a:cxn>
                <a:cxn ang="0">
                  <a:pos x="22" y="39"/>
                </a:cxn>
              </a:cxnLst>
              <a:rect l="0" t="0" r="r" b="b"/>
              <a:pathLst>
                <a:path w="46" h="39">
                  <a:moveTo>
                    <a:pt x="22" y="39"/>
                  </a:moveTo>
                  <a:lnTo>
                    <a:pt x="46" y="5"/>
                  </a:lnTo>
                  <a:lnTo>
                    <a:pt x="39" y="0"/>
                  </a:lnTo>
                  <a:lnTo>
                    <a:pt x="17" y="29"/>
                  </a:lnTo>
                  <a:lnTo>
                    <a:pt x="8" y="17"/>
                  </a:lnTo>
                  <a:lnTo>
                    <a:pt x="0" y="22"/>
                  </a:lnTo>
                  <a:lnTo>
                    <a:pt x="15" y="39"/>
                  </a:lnTo>
                  <a:lnTo>
                    <a:pt x="22" y="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57" name="Rectangle 305"/>
            <p:cNvSpPr>
              <a:spLocks noChangeArrowheads="1"/>
            </p:cNvSpPr>
            <p:nvPr/>
          </p:nvSpPr>
          <p:spPr bwMode="auto">
            <a:xfrm>
              <a:off x="3906" y="1960"/>
              <a:ext cx="115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460" name="Group 308"/>
          <p:cNvGrpSpPr>
            <a:grpSpLocks noChangeAspect="1"/>
          </p:cNvGrpSpPr>
          <p:nvPr/>
        </p:nvGrpSpPr>
        <p:grpSpPr bwMode="auto">
          <a:xfrm>
            <a:off x="6917531" y="2768600"/>
            <a:ext cx="828675" cy="828675"/>
            <a:chOff x="4365" y="1744"/>
            <a:chExt cx="522" cy="522"/>
          </a:xfrm>
        </p:grpSpPr>
        <p:sp>
          <p:nvSpPr>
            <p:cNvPr id="49461" name="Oval 309"/>
            <p:cNvSpPr>
              <a:spLocks noChangeArrowheads="1"/>
            </p:cNvSpPr>
            <p:nvPr/>
          </p:nvSpPr>
          <p:spPr bwMode="auto">
            <a:xfrm>
              <a:off x="4365" y="1744"/>
              <a:ext cx="522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62" name="Freeform 310"/>
            <p:cNvSpPr>
              <a:spLocks noEditPoints="1"/>
            </p:cNvSpPr>
            <p:nvPr/>
          </p:nvSpPr>
          <p:spPr bwMode="auto">
            <a:xfrm>
              <a:off x="4384" y="1763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6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63" name="Freeform 311"/>
            <p:cNvSpPr>
              <a:spLocks noEditPoints="1"/>
            </p:cNvSpPr>
            <p:nvPr/>
          </p:nvSpPr>
          <p:spPr bwMode="auto">
            <a:xfrm>
              <a:off x="4492" y="1885"/>
              <a:ext cx="304" cy="239"/>
            </a:xfrm>
            <a:custGeom>
              <a:avLst/>
              <a:gdLst/>
              <a:ahLst/>
              <a:cxnLst>
                <a:cxn ang="0">
                  <a:pos x="275" y="0"/>
                </a:cxn>
                <a:cxn ang="0">
                  <a:pos x="242" y="36"/>
                </a:cxn>
                <a:cxn ang="0">
                  <a:pos x="242" y="7"/>
                </a:cxn>
                <a:cxn ang="0">
                  <a:pos x="0" y="7"/>
                </a:cxn>
                <a:cxn ang="0">
                  <a:pos x="0" y="239"/>
                </a:cxn>
                <a:cxn ang="0">
                  <a:pos x="242" y="239"/>
                </a:cxn>
                <a:cxn ang="0">
                  <a:pos x="242" y="96"/>
                </a:cxn>
                <a:cxn ang="0">
                  <a:pos x="304" y="36"/>
                </a:cxn>
                <a:cxn ang="0">
                  <a:pos x="275" y="0"/>
                </a:cxn>
                <a:cxn ang="0">
                  <a:pos x="292" y="34"/>
                </a:cxn>
                <a:cxn ang="0">
                  <a:pos x="125" y="196"/>
                </a:cxn>
                <a:cxn ang="0">
                  <a:pos x="43" y="127"/>
                </a:cxn>
                <a:cxn ang="0">
                  <a:pos x="62" y="108"/>
                </a:cxn>
                <a:cxn ang="0">
                  <a:pos x="127" y="172"/>
                </a:cxn>
                <a:cxn ang="0">
                  <a:pos x="275" y="14"/>
                </a:cxn>
                <a:cxn ang="0">
                  <a:pos x="292" y="34"/>
                </a:cxn>
                <a:cxn ang="0">
                  <a:pos x="232" y="230"/>
                </a:cxn>
                <a:cxn ang="0">
                  <a:pos x="7" y="230"/>
                </a:cxn>
                <a:cxn ang="0">
                  <a:pos x="7" y="14"/>
                </a:cxn>
                <a:cxn ang="0">
                  <a:pos x="232" y="14"/>
                </a:cxn>
                <a:cxn ang="0">
                  <a:pos x="232" y="46"/>
                </a:cxn>
                <a:cxn ang="0">
                  <a:pos x="235" y="46"/>
                </a:cxn>
                <a:cxn ang="0">
                  <a:pos x="127" y="160"/>
                </a:cxn>
                <a:cxn ang="0">
                  <a:pos x="62" y="96"/>
                </a:cxn>
                <a:cxn ang="0">
                  <a:pos x="29" y="127"/>
                </a:cxn>
                <a:cxn ang="0">
                  <a:pos x="127" y="208"/>
                </a:cxn>
                <a:cxn ang="0">
                  <a:pos x="232" y="103"/>
                </a:cxn>
                <a:cxn ang="0">
                  <a:pos x="232" y="230"/>
                </a:cxn>
              </a:cxnLst>
              <a:rect l="0" t="0" r="r" b="b"/>
              <a:pathLst>
                <a:path w="304" h="239">
                  <a:moveTo>
                    <a:pt x="275" y="0"/>
                  </a:moveTo>
                  <a:lnTo>
                    <a:pt x="242" y="36"/>
                  </a:lnTo>
                  <a:lnTo>
                    <a:pt x="242" y="7"/>
                  </a:lnTo>
                  <a:lnTo>
                    <a:pt x="0" y="7"/>
                  </a:lnTo>
                  <a:lnTo>
                    <a:pt x="0" y="239"/>
                  </a:lnTo>
                  <a:lnTo>
                    <a:pt x="242" y="239"/>
                  </a:lnTo>
                  <a:lnTo>
                    <a:pt x="242" y="96"/>
                  </a:lnTo>
                  <a:lnTo>
                    <a:pt x="304" y="36"/>
                  </a:lnTo>
                  <a:lnTo>
                    <a:pt x="275" y="0"/>
                  </a:lnTo>
                  <a:close/>
                  <a:moveTo>
                    <a:pt x="292" y="34"/>
                  </a:moveTo>
                  <a:lnTo>
                    <a:pt x="125" y="196"/>
                  </a:lnTo>
                  <a:lnTo>
                    <a:pt x="43" y="127"/>
                  </a:lnTo>
                  <a:lnTo>
                    <a:pt x="62" y="108"/>
                  </a:lnTo>
                  <a:lnTo>
                    <a:pt x="127" y="172"/>
                  </a:lnTo>
                  <a:lnTo>
                    <a:pt x="275" y="14"/>
                  </a:lnTo>
                  <a:lnTo>
                    <a:pt x="292" y="34"/>
                  </a:lnTo>
                  <a:close/>
                  <a:moveTo>
                    <a:pt x="232" y="230"/>
                  </a:moveTo>
                  <a:lnTo>
                    <a:pt x="7" y="230"/>
                  </a:lnTo>
                  <a:lnTo>
                    <a:pt x="7" y="14"/>
                  </a:lnTo>
                  <a:lnTo>
                    <a:pt x="232" y="14"/>
                  </a:lnTo>
                  <a:lnTo>
                    <a:pt x="232" y="46"/>
                  </a:lnTo>
                  <a:lnTo>
                    <a:pt x="235" y="46"/>
                  </a:lnTo>
                  <a:lnTo>
                    <a:pt x="127" y="160"/>
                  </a:lnTo>
                  <a:lnTo>
                    <a:pt x="62" y="96"/>
                  </a:lnTo>
                  <a:lnTo>
                    <a:pt x="29" y="127"/>
                  </a:lnTo>
                  <a:lnTo>
                    <a:pt x="127" y="208"/>
                  </a:lnTo>
                  <a:lnTo>
                    <a:pt x="232" y="103"/>
                  </a:lnTo>
                  <a:lnTo>
                    <a:pt x="232" y="23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66" name="Group 314"/>
          <p:cNvGrpSpPr>
            <a:grpSpLocks noChangeAspect="1"/>
          </p:cNvGrpSpPr>
          <p:nvPr/>
        </p:nvGrpSpPr>
        <p:grpSpPr bwMode="auto">
          <a:xfrm>
            <a:off x="8047038" y="2798765"/>
            <a:ext cx="768350" cy="768350"/>
            <a:chOff x="5069" y="1763"/>
            <a:chExt cx="484" cy="484"/>
          </a:xfrm>
        </p:grpSpPr>
        <p:sp>
          <p:nvSpPr>
            <p:cNvPr id="49467" name="Freeform 315"/>
            <p:cNvSpPr>
              <a:spLocks noEditPoints="1"/>
            </p:cNvSpPr>
            <p:nvPr/>
          </p:nvSpPr>
          <p:spPr bwMode="auto">
            <a:xfrm>
              <a:off x="5069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68" name="Freeform 316"/>
            <p:cNvSpPr>
              <a:spLocks noEditPoints="1"/>
            </p:cNvSpPr>
            <p:nvPr/>
          </p:nvSpPr>
          <p:spPr bwMode="auto">
            <a:xfrm>
              <a:off x="5177" y="1886"/>
              <a:ext cx="304" cy="237"/>
            </a:xfrm>
            <a:custGeom>
              <a:avLst/>
              <a:gdLst/>
              <a:ahLst/>
              <a:cxnLst>
                <a:cxn ang="0">
                  <a:pos x="276" y="0"/>
                </a:cxn>
                <a:cxn ang="0">
                  <a:pos x="242" y="35"/>
                </a:cxn>
                <a:cxn ang="0">
                  <a:pos x="242" y="4"/>
                </a:cxn>
                <a:cxn ang="0">
                  <a:pos x="0" y="4"/>
                </a:cxn>
                <a:cxn ang="0">
                  <a:pos x="0" y="237"/>
                </a:cxn>
                <a:cxn ang="0">
                  <a:pos x="242" y="237"/>
                </a:cxn>
                <a:cxn ang="0">
                  <a:pos x="242" y="93"/>
                </a:cxn>
                <a:cxn ang="0">
                  <a:pos x="304" y="33"/>
                </a:cxn>
                <a:cxn ang="0">
                  <a:pos x="276" y="0"/>
                </a:cxn>
                <a:cxn ang="0">
                  <a:pos x="292" y="33"/>
                </a:cxn>
                <a:cxn ang="0">
                  <a:pos x="125" y="196"/>
                </a:cxn>
                <a:cxn ang="0">
                  <a:pos x="43" y="127"/>
                </a:cxn>
                <a:cxn ang="0">
                  <a:pos x="62" y="107"/>
                </a:cxn>
                <a:cxn ang="0">
                  <a:pos x="127" y="170"/>
                </a:cxn>
                <a:cxn ang="0">
                  <a:pos x="276" y="14"/>
                </a:cxn>
                <a:cxn ang="0">
                  <a:pos x="292" y="33"/>
                </a:cxn>
                <a:cxn ang="0">
                  <a:pos x="233" y="230"/>
                </a:cxn>
                <a:cxn ang="0">
                  <a:pos x="7" y="230"/>
                </a:cxn>
                <a:cxn ang="0">
                  <a:pos x="7" y="14"/>
                </a:cxn>
                <a:cxn ang="0">
                  <a:pos x="233" y="14"/>
                </a:cxn>
                <a:cxn ang="0">
                  <a:pos x="233" y="43"/>
                </a:cxn>
                <a:cxn ang="0">
                  <a:pos x="235" y="43"/>
                </a:cxn>
                <a:cxn ang="0">
                  <a:pos x="127" y="158"/>
                </a:cxn>
                <a:cxn ang="0">
                  <a:pos x="62" y="95"/>
                </a:cxn>
                <a:cxn ang="0">
                  <a:pos x="29" y="127"/>
                </a:cxn>
                <a:cxn ang="0">
                  <a:pos x="127" y="206"/>
                </a:cxn>
                <a:cxn ang="0">
                  <a:pos x="233" y="103"/>
                </a:cxn>
                <a:cxn ang="0">
                  <a:pos x="233" y="230"/>
                </a:cxn>
              </a:cxnLst>
              <a:rect l="0" t="0" r="r" b="b"/>
              <a:pathLst>
                <a:path w="304" h="237">
                  <a:moveTo>
                    <a:pt x="276" y="0"/>
                  </a:moveTo>
                  <a:lnTo>
                    <a:pt x="242" y="35"/>
                  </a:lnTo>
                  <a:lnTo>
                    <a:pt x="242" y="4"/>
                  </a:lnTo>
                  <a:lnTo>
                    <a:pt x="0" y="4"/>
                  </a:lnTo>
                  <a:lnTo>
                    <a:pt x="0" y="237"/>
                  </a:lnTo>
                  <a:lnTo>
                    <a:pt x="242" y="237"/>
                  </a:lnTo>
                  <a:lnTo>
                    <a:pt x="242" y="93"/>
                  </a:lnTo>
                  <a:lnTo>
                    <a:pt x="304" y="33"/>
                  </a:lnTo>
                  <a:lnTo>
                    <a:pt x="276" y="0"/>
                  </a:lnTo>
                  <a:close/>
                  <a:moveTo>
                    <a:pt x="292" y="33"/>
                  </a:moveTo>
                  <a:lnTo>
                    <a:pt x="125" y="196"/>
                  </a:lnTo>
                  <a:lnTo>
                    <a:pt x="43" y="127"/>
                  </a:lnTo>
                  <a:lnTo>
                    <a:pt x="62" y="107"/>
                  </a:lnTo>
                  <a:lnTo>
                    <a:pt x="127" y="170"/>
                  </a:lnTo>
                  <a:lnTo>
                    <a:pt x="276" y="14"/>
                  </a:lnTo>
                  <a:lnTo>
                    <a:pt x="292" y="33"/>
                  </a:lnTo>
                  <a:close/>
                  <a:moveTo>
                    <a:pt x="233" y="230"/>
                  </a:moveTo>
                  <a:lnTo>
                    <a:pt x="7" y="230"/>
                  </a:lnTo>
                  <a:lnTo>
                    <a:pt x="7" y="14"/>
                  </a:lnTo>
                  <a:lnTo>
                    <a:pt x="233" y="14"/>
                  </a:lnTo>
                  <a:lnTo>
                    <a:pt x="233" y="43"/>
                  </a:lnTo>
                  <a:lnTo>
                    <a:pt x="235" y="43"/>
                  </a:lnTo>
                  <a:lnTo>
                    <a:pt x="127" y="158"/>
                  </a:lnTo>
                  <a:lnTo>
                    <a:pt x="62" y="95"/>
                  </a:lnTo>
                  <a:lnTo>
                    <a:pt x="29" y="127"/>
                  </a:lnTo>
                  <a:lnTo>
                    <a:pt x="127" y="206"/>
                  </a:lnTo>
                  <a:lnTo>
                    <a:pt x="233" y="103"/>
                  </a:lnTo>
                  <a:lnTo>
                    <a:pt x="233" y="2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71" name="Group 319"/>
          <p:cNvGrpSpPr>
            <a:grpSpLocks noChangeAspect="1"/>
          </p:cNvGrpSpPr>
          <p:nvPr/>
        </p:nvGrpSpPr>
        <p:grpSpPr bwMode="auto">
          <a:xfrm>
            <a:off x="341313" y="4073525"/>
            <a:ext cx="844550" cy="842963"/>
            <a:chOff x="215" y="2566"/>
            <a:chExt cx="532" cy="531"/>
          </a:xfrm>
        </p:grpSpPr>
        <p:sp>
          <p:nvSpPr>
            <p:cNvPr id="49472" name="Oval 320"/>
            <p:cNvSpPr>
              <a:spLocks noChangeArrowheads="1"/>
            </p:cNvSpPr>
            <p:nvPr/>
          </p:nvSpPr>
          <p:spPr bwMode="auto">
            <a:xfrm>
              <a:off x="215" y="2566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73" name="Freeform 321"/>
            <p:cNvSpPr>
              <a:spLocks noEditPoints="1"/>
            </p:cNvSpPr>
            <p:nvPr/>
          </p:nvSpPr>
          <p:spPr bwMode="auto">
            <a:xfrm>
              <a:off x="232" y="2583"/>
              <a:ext cx="496" cy="497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74" name="Freeform 322"/>
            <p:cNvSpPr>
              <a:spLocks noEditPoints="1"/>
            </p:cNvSpPr>
            <p:nvPr/>
          </p:nvSpPr>
          <p:spPr bwMode="auto">
            <a:xfrm>
              <a:off x="347" y="2683"/>
              <a:ext cx="271" cy="290"/>
            </a:xfrm>
            <a:custGeom>
              <a:avLst/>
              <a:gdLst/>
              <a:ahLst/>
              <a:cxnLst>
                <a:cxn ang="0">
                  <a:pos x="99" y="95"/>
                </a:cxn>
                <a:cxn ang="0">
                  <a:pos x="78" y="71"/>
                </a:cxn>
                <a:cxn ang="0">
                  <a:pos x="85" y="71"/>
                </a:cxn>
                <a:cxn ang="0">
                  <a:pos x="70" y="54"/>
                </a:cxn>
                <a:cxn ang="0">
                  <a:pos x="58" y="17"/>
                </a:cxn>
                <a:cxn ang="0">
                  <a:pos x="25" y="0"/>
                </a:cxn>
                <a:cxn ang="0">
                  <a:pos x="9" y="6"/>
                </a:cxn>
                <a:cxn ang="0">
                  <a:pos x="1" y="29"/>
                </a:cxn>
                <a:cxn ang="0">
                  <a:pos x="14" y="56"/>
                </a:cxn>
                <a:cxn ang="0">
                  <a:pos x="47" y="73"/>
                </a:cxn>
                <a:cxn ang="0">
                  <a:pos x="50" y="73"/>
                </a:cxn>
                <a:cxn ang="0">
                  <a:pos x="65" y="89"/>
                </a:cxn>
                <a:cxn ang="0">
                  <a:pos x="66" y="82"/>
                </a:cxn>
                <a:cxn ang="0">
                  <a:pos x="86" y="106"/>
                </a:cxn>
                <a:cxn ang="0">
                  <a:pos x="91" y="119"/>
                </a:cxn>
                <a:cxn ang="0">
                  <a:pos x="95" y="121"/>
                </a:cxn>
                <a:cxn ang="0">
                  <a:pos x="100" y="119"/>
                </a:cxn>
                <a:cxn ang="0">
                  <a:pos x="103" y="113"/>
                </a:cxn>
                <a:cxn ang="0">
                  <a:pos x="109" y="111"/>
                </a:cxn>
                <a:cxn ang="0">
                  <a:pos x="111" y="102"/>
                </a:cxn>
                <a:cxn ang="0">
                  <a:pos x="99" y="95"/>
                </a:cxn>
                <a:cxn ang="0">
                  <a:pos x="51" y="69"/>
                </a:cxn>
                <a:cxn ang="0">
                  <a:pos x="50" y="69"/>
                </a:cxn>
                <a:cxn ang="0">
                  <a:pos x="47" y="69"/>
                </a:cxn>
                <a:cxn ang="0">
                  <a:pos x="17" y="54"/>
                </a:cxn>
                <a:cxn ang="0">
                  <a:pos x="5" y="29"/>
                </a:cxn>
                <a:cxn ang="0">
                  <a:pos x="11" y="9"/>
                </a:cxn>
                <a:cxn ang="0">
                  <a:pos x="25" y="4"/>
                </a:cxn>
                <a:cxn ang="0">
                  <a:pos x="55" y="19"/>
                </a:cxn>
                <a:cxn ang="0">
                  <a:pos x="67" y="55"/>
                </a:cxn>
                <a:cxn ang="0">
                  <a:pos x="66" y="55"/>
                </a:cxn>
                <a:cxn ang="0">
                  <a:pos x="77" y="67"/>
                </a:cxn>
                <a:cxn ang="0">
                  <a:pos x="63" y="67"/>
                </a:cxn>
                <a:cxn ang="0">
                  <a:pos x="62" y="81"/>
                </a:cxn>
                <a:cxn ang="0">
                  <a:pos x="51" y="69"/>
                </a:cxn>
                <a:cxn ang="0">
                  <a:pos x="107" y="108"/>
                </a:cxn>
                <a:cxn ang="0">
                  <a:pos x="102" y="109"/>
                </a:cxn>
                <a:cxn ang="0">
                  <a:pos x="97" y="106"/>
                </a:cxn>
                <a:cxn ang="0">
                  <a:pos x="100" y="112"/>
                </a:cxn>
                <a:cxn ang="0">
                  <a:pos x="98" y="116"/>
                </a:cxn>
                <a:cxn ang="0">
                  <a:pos x="93" y="116"/>
                </a:cxn>
                <a:cxn ang="0">
                  <a:pos x="90" y="106"/>
                </a:cxn>
                <a:cxn ang="0">
                  <a:pos x="91" y="105"/>
                </a:cxn>
                <a:cxn ang="0">
                  <a:pos x="66" y="77"/>
                </a:cxn>
                <a:cxn ang="0">
                  <a:pos x="67" y="71"/>
                </a:cxn>
                <a:cxn ang="0">
                  <a:pos x="73" y="71"/>
                </a:cxn>
                <a:cxn ang="0">
                  <a:pos x="98" y="99"/>
                </a:cxn>
                <a:cxn ang="0">
                  <a:pos x="99" y="99"/>
                </a:cxn>
                <a:cxn ang="0">
                  <a:pos x="108" y="103"/>
                </a:cxn>
                <a:cxn ang="0">
                  <a:pos x="107" y="108"/>
                </a:cxn>
              </a:cxnLst>
              <a:rect l="0" t="0" r="r" b="b"/>
              <a:pathLst>
                <a:path w="113" h="121">
                  <a:moveTo>
                    <a:pt x="99" y="95"/>
                  </a:moveTo>
                  <a:cubicBezTo>
                    <a:pt x="78" y="71"/>
                    <a:pt x="78" y="71"/>
                    <a:pt x="78" y="71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3" y="43"/>
                    <a:pt x="68" y="28"/>
                    <a:pt x="58" y="17"/>
                  </a:cubicBezTo>
                  <a:cubicBezTo>
                    <a:pt x="49" y="6"/>
                    <a:pt x="36" y="0"/>
                    <a:pt x="25" y="0"/>
                  </a:cubicBezTo>
                  <a:cubicBezTo>
                    <a:pt x="19" y="0"/>
                    <a:pt x="13" y="2"/>
                    <a:pt x="9" y="6"/>
                  </a:cubicBezTo>
                  <a:cubicBezTo>
                    <a:pt x="3" y="11"/>
                    <a:pt x="0" y="19"/>
                    <a:pt x="1" y="29"/>
                  </a:cubicBezTo>
                  <a:cubicBezTo>
                    <a:pt x="2" y="38"/>
                    <a:pt x="7" y="48"/>
                    <a:pt x="14" y="56"/>
                  </a:cubicBezTo>
                  <a:cubicBezTo>
                    <a:pt x="23" y="67"/>
                    <a:pt x="36" y="73"/>
                    <a:pt x="47" y="73"/>
                  </a:cubicBezTo>
                  <a:cubicBezTo>
                    <a:pt x="48" y="73"/>
                    <a:pt x="49" y="73"/>
                    <a:pt x="50" y="73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5" y="110"/>
                    <a:pt x="85" y="116"/>
                    <a:pt x="91" y="119"/>
                  </a:cubicBezTo>
                  <a:cubicBezTo>
                    <a:pt x="93" y="120"/>
                    <a:pt x="94" y="121"/>
                    <a:pt x="95" y="121"/>
                  </a:cubicBezTo>
                  <a:cubicBezTo>
                    <a:pt x="97" y="121"/>
                    <a:pt x="99" y="120"/>
                    <a:pt x="100" y="119"/>
                  </a:cubicBezTo>
                  <a:cubicBezTo>
                    <a:pt x="102" y="117"/>
                    <a:pt x="103" y="115"/>
                    <a:pt x="103" y="113"/>
                  </a:cubicBezTo>
                  <a:cubicBezTo>
                    <a:pt x="105" y="113"/>
                    <a:pt x="108" y="112"/>
                    <a:pt x="109" y="111"/>
                  </a:cubicBezTo>
                  <a:cubicBezTo>
                    <a:pt x="112" y="109"/>
                    <a:pt x="113" y="105"/>
                    <a:pt x="111" y="102"/>
                  </a:cubicBezTo>
                  <a:cubicBezTo>
                    <a:pt x="109" y="95"/>
                    <a:pt x="103" y="95"/>
                    <a:pt x="99" y="95"/>
                  </a:cubicBezTo>
                  <a:close/>
                  <a:moveTo>
                    <a:pt x="51" y="69"/>
                  </a:moveTo>
                  <a:cubicBezTo>
                    <a:pt x="50" y="69"/>
                    <a:pt x="50" y="69"/>
                    <a:pt x="50" y="69"/>
                  </a:cubicBezTo>
                  <a:cubicBezTo>
                    <a:pt x="49" y="69"/>
                    <a:pt x="48" y="69"/>
                    <a:pt x="47" y="69"/>
                  </a:cubicBezTo>
                  <a:cubicBezTo>
                    <a:pt x="37" y="69"/>
                    <a:pt x="26" y="63"/>
                    <a:pt x="17" y="54"/>
                  </a:cubicBezTo>
                  <a:cubicBezTo>
                    <a:pt x="10" y="46"/>
                    <a:pt x="6" y="37"/>
                    <a:pt x="5" y="29"/>
                  </a:cubicBezTo>
                  <a:cubicBezTo>
                    <a:pt x="4" y="20"/>
                    <a:pt x="6" y="13"/>
                    <a:pt x="11" y="9"/>
                  </a:cubicBezTo>
                  <a:cubicBezTo>
                    <a:pt x="15" y="5"/>
                    <a:pt x="20" y="4"/>
                    <a:pt x="25" y="4"/>
                  </a:cubicBezTo>
                  <a:cubicBezTo>
                    <a:pt x="35" y="4"/>
                    <a:pt x="47" y="10"/>
                    <a:pt x="55" y="19"/>
                  </a:cubicBezTo>
                  <a:cubicBezTo>
                    <a:pt x="65" y="30"/>
                    <a:pt x="69" y="44"/>
                    <a:pt x="67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81"/>
                    <a:pt x="62" y="81"/>
                    <a:pt x="62" y="81"/>
                  </a:cubicBezTo>
                  <a:lnTo>
                    <a:pt x="51" y="69"/>
                  </a:lnTo>
                  <a:close/>
                  <a:moveTo>
                    <a:pt x="107" y="108"/>
                  </a:moveTo>
                  <a:cubicBezTo>
                    <a:pt x="106" y="109"/>
                    <a:pt x="103" y="110"/>
                    <a:pt x="102" y="109"/>
                  </a:cubicBezTo>
                  <a:cubicBezTo>
                    <a:pt x="97" y="106"/>
                    <a:pt x="97" y="106"/>
                    <a:pt x="97" y="106"/>
                  </a:cubicBezTo>
                  <a:cubicBezTo>
                    <a:pt x="100" y="112"/>
                    <a:pt x="100" y="112"/>
                    <a:pt x="100" y="112"/>
                  </a:cubicBezTo>
                  <a:cubicBezTo>
                    <a:pt x="100" y="112"/>
                    <a:pt x="99" y="115"/>
                    <a:pt x="98" y="116"/>
                  </a:cubicBezTo>
                  <a:cubicBezTo>
                    <a:pt x="96" y="117"/>
                    <a:pt x="95" y="117"/>
                    <a:pt x="93" y="116"/>
                  </a:cubicBezTo>
                  <a:cubicBezTo>
                    <a:pt x="87" y="113"/>
                    <a:pt x="90" y="107"/>
                    <a:pt x="90" y="106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98" y="99"/>
                    <a:pt x="98" y="99"/>
                    <a:pt x="98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99" y="99"/>
                    <a:pt x="105" y="97"/>
                    <a:pt x="108" y="103"/>
                  </a:cubicBezTo>
                  <a:cubicBezTo>
                    <a:pt x="109" y="105"/>
                    <a:pt x="108" y="107"/>
                    <a:pt x="107" y="10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77" name="Group 325"/>
          <p:cNvGrpSpPr>
            <a:grpSpLocks noChangeAspect="1"/>
          </p:cNvGrpSpPr>
          <p:nvPr/>
        </p:nvGrpSpPr>
        <p:grpSpPr bwMode="auto">
          <a:xfrm>
            <a:off x="1456532" y="4098925"/>
            <a:ext cx="785813" cy="792163"/>
            <a:chOff x="922" y="2582"/>
            <a:chExt cx="495" cy="499"/>
          </a:xfrm>
        </p:grpSpPr>
        <p:sp>
          <p:nvSpPr>
            <p:cNvPr id="49478" name="Freeform 326"/>
            <p:cNvSpPr>
              <a:spLocks noEditPoints="1"/>
            </p:cNvSpPr>
            <p:nvPr/>
          </p:nvSpPr>
          <p:spPr bwMode="auto">
            <a:xfrm>
              <a:off x="922" y="2582"/>
              <a:ext cx="495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79" name="Freeform 327"/>
            <p:cNvSpPr>
              <a:spLocks noEditPoints="1"/>
            </p:cNvSpPr>
            <p:nvPr/>
          </p:nvSpPr>
          <p:spPr bwMode="auto">
            <a:xfrm>
              <a:off x="1037" y="2683"/>
              <a:ext cx="270" cy="290"/>
            </a:xfrm>
            <a:custGeom>
              <a:avLst/>
              <a:gdLst/>
              <a:ahLst/>
              <a:cxnLst>
                <a:cxn ang="0">
                  <a:pos x="99" y="95"/>
                </a:cxn>
                <a:cxn ang="0">
                  <a:pos x="78" y="71"/>
                </a:cxn>
                <a:cxn ang="0">
                  <a:pos x="85" y="71"/>
                </a:cxn>
                <a:cxn ang="0">
                  <a:pos x="70" y="54"/>
                </a:cxn>
                <a:cxn ang="0">
                  <a:pos x="58" y="17"/>
                </a:cxn>
                <a:cxn ang="0">
                  <a:pos x="25" y="0"/>
                </a:cxn>
                <a:cxn ang="0">
                  <a:pos x="9" y="6"/>
                </a:cxn>
                <a:cxn ang="0">
                  <a:pos x="1" y="29"/>
                </a:cxn>
                <a:cxn ang="0">
                  <a:pos x="14" y="56"/>
                </a:cxn>
                <a:cxn ang="0">
                  <a:pos x="47" y="73"/>
                </a:cxn>
                <a:cxn ang="0">
                  <a:pos x="50" y="73"/>
                </a:cxn>
                <a:cxn ang="0">
                  <a:pos x="65" y="89"/>
                </a:cxn>
                <a:cxn ang="0">
                  <a:pos x="66" y="82"/>
                </a:cxn>
                <a:cxn ang="0">
                  <a:pos x="86" y="106"/>
                </a:cxn>
                <a:cxn ang="0">
                  <a:pos x="91" y="119"/>
                </a:cxn>
                <a:cxn ang="0">
                  <a:pos x="95" y="121"/>
                </a:cxn>
                <a:cxn ang="0">
                  <a:pos x="100" y="119"/>
                </a:cxn>
                <a:cxn ang="0">
                  <a:pos x="103" y="113"/>
                </a:cxn>
                <a:cxn ang="0">
                  <a:pos x="109" y="111"/>
                </a:cxn>
                <a:cxn ang="0">
                  <a:pos x="111" y="102"/>
                </a:cxn>
                <a:cxn ang="0">
                  <a:pos x="99" y="95"/>
                </a:cxn>
                <a:cxn ang="0">
                  <a:pos x="51" y="69"/>
                </a:cxn>
                <a:cxn ang="0">
                  <a:pos x="50" y="69"/>
                </a:cxn>
                <a:cxn ang="0">
                  <a:pos x="47" y="69"/>
                </a:cxn>
                <a:cxn ang="0">
                  <a:pos x="17" y="54"/>
                </a:cxn>
                <a:cxn ang="0">
                  <a:pos x="5" y="29"/>
                </a:cxn>
                <a:cxn ang="0">
                  <a:pos x="11" y="9"/>
                </a:cxn>
                <a:cxn ang="0">
                  <a:pos x="25" y="4"/>
                </a:cxn>
                <a:cxn ang="0">
                  <a:pos x="55" y="19"/>
                </a:cxn>
                <a:cxn ang="0">
                  <a:pos x="67" y="55"/>
                </a:cxn>
                <a:cxn ang="0">
                  <a:pos x="66" y="55"/>
                </a:cxn>
                <a:cxn ang="0">
                  <a:pos x="77" y="67"/>
                </a:cxn>
                <a:cxn ang="0">
                  <a:pos x="63" y="67"/>
                </a:cxn>
                <a:cxn ang="0">
                  <a:pos x="62" y="81"/>
                </a:cxn>
                <a:cxn ang="0">
                  <a:pos x="51" y="69"/>
                </a:cxn>
                <a:cxn ang="0">
                  <a:pos x="107" y="108"/>
                </a:cxn>
                <a:cxn ang="0">
                  <a:pos x="102" y="109"/>
                </a:cxn>
                <a:cxn ang="0">
                  <a:pos x="97" y="106"/>
                </a:cxn>
                <a:cxn ang="0">
                  <a:pos x="100" y="112"/>
                </a:cxn>
                <a:cxn ang="0">
                  <a:pos x="98" y="116"/>
                </a:cxn>
                <a:cxn ang="0">
                  <a:pos x="93" y="116"/>
                </a:cxn>
                <a:cxn ang="0">
                  <a:pos x="90" y="106"/>
                </a:cxn>
                <a:cxn ang="0">
                  <a:pos x="91" y="105"/>
                </a:cxn>
                <a:cxn ang="0">
                  <a:pos x="66" y="77"/>
                </a:cxn>
                <a:cxn ang="0">
                  <a:pos x="67" y="71"/>
                </a:cxn>
                <a:cxn ang="0">
                  <a:pos x="73" y="71"/>
                </a:cxn>
                <a:cxn ang="0">
                  <a:pos x="98" y="99"/>
                </a:cxn>
                <a:cxn ang="0">
                  <a:pos x="99" y="99"/>
                </a:cxn>
                <a:cxn ang="0">
                  <a:pos x="108" y="103"/>
                </a:cxn>
                <a:cxn ang="0">
                  <a:pos x="107" y="108"/>
                </a:cxn>
              </a:cxnLst>
              <a:rect l="0" t="0" r="r" b="b"/>
              <a:pathLst>
                <a:path w="113" h="121">
                  <a:moveTo>
                    <a:pt x="99" y="95"/>
                  </a:moveTo>
                  <a:cubicBezTo>
                    <a:pt x="78" y="71"/>
                    <a:pt x="78" y="71"/>
                    <a:pt x="78" y="71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3" y="43"/>
                    <a:pt x="68" y="28"/>
                    <a:pt x="58" y="17"/>
                  </a:cubicBezTo>
                  <a:cubicBezTo>
                    <a:pt x="49" y="6"/>
                    <a:pt x="36" y="0"/>
                    <a:pt x="25" y="0"/>
                  </a:cubicBezTo>
                  <a:cubicBezTo>
                    <a:pt x="19" y="0"/>
                    <a:pt x="13" y="2"/>
                    <a:pt x="9" y="6"/>
                  </a:cubicBezTo>
                  <a:cubicBezTo>
                    <a:pt x="3" y="11"/>
                    <a:pt x="0" y="19"/>
                    <a:pt x="1" y="29"/>
                  </a:cubicBezTo>
                  <a:cubicBezTo>
                    <a:pt x="2" y="38"/>
                    <a:pt x="7" y="48"/>
                    <a:pt x="14" y="56"/>
                  </a:cubicBezTo>
                  <a:cubicBezTo>
                    <a:pt x="23" y="67"/>
                    <a:pt x="36" y="73"/>
                    <a:pt x="47" y="73"/>
                  </a:cubicBezTo>
                  <a:cubicBezTo>
                    <a:pt x="48" y="73"/>
                    <a:pt x="49" y="73"/>
                    <a:pt x="50" y="73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5" y="110"/>
                    <a:pt x="85" y="116"/>
                    <a:pt x="91" y="119"/>
                  </a:cubicBezTo>
                  <a:cubicBezTo>
                    <a:pt x="93" y="120"/>
                    <a:pt x="94" y="121"/>
                    <a:pt x="95" y="121"/>
                  </a:cubicBezTo>
                  <a:cubicBezTo>
                    <a:pt x="97" y="121"/>
                    <a:pt x="99" y="120"/>
                    <a:pt x="100" y="119"/>
                  </a:cubicBezTo>
                  <a:cubicBezTo>
                    <a:pt x="102" y="117"/>
                    <a:pt x="103" y="115"/>
                    <a:pt x="103" y="113"/>
                  </a:cubicBezTo>
                  <a:cubicBezTo>
                    <a:pt x="105" y="113"/>
                    <a:pt x="108" y="112"/>
                    <a:pt x="109" y="111"/>
                  </a:cubicBezTo>
                  <a:cubicBezTo>
                    <a:pt x="112" y="109"/>
                    <a:pt x="113" y="105"/>
                    <a:pt x="111" y="102"/>
                  </a:cubicBezTo>
                  <a:cubicBezTo>
                    <a:pt x="109" y="95"/>
                    <a:pt x="103" y="95"/>
                    <a:pt x="99" y="95"/>
                  </a:cubicBezTo>
                  <a:close/>
                  <a:moveTo>
                    <a:pt x="51" y="69"/>
                  </a:moveTo>
                  <a:cubicBezTo>
                    <a:pt x="50" y="69"/>
                    <a:pt x="50" y="69"/>
                    <a:pt x="50" y="69"/>
                  </a:cubicBezTo>
                  <a:cubicBezTo>
                    <a:pt x="49" y="69"/>
                    <a:pt x="48" y="69"/>
                    <a:pt x="47" y="69"/>
                  </a:cubicBezTo>
                  <a:cubicBezTo>
                    <a:pt x="37" y="69"/>
                    <a:pt x="26" y="63"/>
                    <a:pt x="17" y="54"/>
                  </a:cubicBezTo>
                  <a:cubicBezTo>
                    <a:pt x="10" y="46"/>
                    <a:pt x="6" y="37"/>
                    <a:pt x="5" y="29"/>
                  </a:cubicBezTo>
                  <a:cubicBezTo>
                    <a:pt x="4" y="20"/>
                    <a:pt x="6" y="13"/>
                    <a:pt x="11" y="9"/>
                  </a:cubicBezTo>
                  <a:cubicBezTo>
                    <a:pt x="15" y="5"/>
                    <a:pt x="20" y="4"/>
                    <a:pt x="25" y="4"/>
                  </a:cubicBezTo>
                  <a:cubicBezTo>
                    <a:pt x="35" y="4"/>
                    <a:pt x="47" y="10"/>
                    <a:pt x="55" y="19"/>
                  </a:cubicBezTo>
                  <a:cubicBezTo>
                    <a:pt x="65" y="30"/>
                    <a:pt x="69" y="44"/>
                    <a:pt x="67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81"/>
                    <a:pt x="62" y="81"/>
                    <a:pt x="62" y="81"/>
                  </a:cubicBezTo>
                  <a:lnTo>
                    <a:pt x="51" y="69"/>
                  </a:lnTo>
                  <a:close/>
                  <a:moveTo>
                    <a:pt x="107" y="108"/>
                  </a:moveTo>
                  <a:cubicBezTo>
                    <a:pt x="106" y="109"/>
                    <a:pt x="103" y="110"/>
                    <a:pt x="102" y="109"/>
                  </a:cubicBezTo>
                  <a:cubicBezTo>
                    <a:pt x="97" y="106"/>
                    <a:pt x="97" y="106"/>
                    <a:pt x="97" y="106"/>
                  </a:cubicBezTo>
                  <a:cubicBezTo>
                    <a:pt x="100" y="112"/>
                    <a:pt x="100" y="112"/>
                    <a:pt x="100" y="112"/>
                  </a:cubicBezTo>
                  <a:cubicBezTo>
                    <a:pt x="100" y="112"/>
                    <a:pt x="99" y="115"/>
                    <a:pt x="98" y="116"/>
                  </a:cubicBezTo>
                  <a:cubicBezTo>
                    <a:pt x="96" y="117"/>
                    <a:pt x="95" y="117"/>
                    <a:pt x="93" y="116"/>
                  </a:cubicBezTo>
                  <a:cubicBezTo>
                    <a:pt x="87" y="113"/>
                    <a:pt x="90" y="107"/>
                    <a:pt x="90" y="106"/>
                  </a:cubicBezTo>
                  <a:cubicBezTo>
                    <a:pt x="91" y="105"/>
                    <a:pt x="91" y="105"/>
                    <a:pt x="91" y="105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98" y="99"/>
                    <a:pt x="98" y="99"/>
                    <a:pt x="98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99" y="99"/>
                    <a:pt x="105" y="97"/>
                    <a:pt x="108" y="103"/>
                  </a:cubicBezTo>
                  <a:cubicBezTo>
                    <a:pt x="109" y="105"/>
                    <a:pt x="108" y="107"/>
                    <a:pt x="107" y="10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82" name="Group 330"/>
          <p:cNvGrpSpPr>
            <a:grpSpLocks noChangeAspect="1"/>
          </p:cNvGrpSpPr>
          <p:nvPr/>
        </p:nvGrpSpPr>
        <p:grpSpPr bwMode="auto">
          <a:xfrm>
            <a:off x="2530634" y="4081463"/>
            <a:ext cx="828675" cy="827087"/>
            <a:chOff x="1597" y="2571"/>
            <a:chExt cx="522" cy="521"/>
          </a:xfrm>
        </p:grpSpPr>
        <p:sp>
          <p:nvSpPr>
            <p:cNvPr id="49483" name="Oval 331"/>
            <p:cNvSpPr>
              <a:spLocks noChangeArrowheads="1"/>
            </p:cNvSpPr>
            <p:nvPr/>
          </p:nvSpPr>
          <p:spPr bwMode="auto">
            <a:xfrm>
              <a:off x="1597" y="2571"/>
              <a:ext cx="522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484" name="Freeform 332"/>
            <p:cNvSpPr>
              <a:spLocks noEditPoints="1"/>
            </p:cNvSpPr>
            <p:nvPr/>
          </p:nvSpPr>
          <p:spPr bwMode="auto">
            <a:xfrm>
              <a:off x="1616" y="2590"/>
              <a:ext cx="484" cy="483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85" name="Freeform 333"/>
            <p:cNvSpPr>
              <a:spLocks noEditPoints="1"/>
            </p:cNvSpPr>
            <p:nvPr/>
          </p:nvSpPr>
          <p:spPr bwMode="auto">
            <a:xfrm>
              <a:off x="1740" y="2681"/>
              <a:ext cx="235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86" name="Freeform 334"/>
            <p:cNvSpPr>
              <a:spLocks noEditPoints="1"/>
            </p:cNvSpPr>
            <p:nvPr/>
          </p:nvSpPr>
          <p:spPr bwMode="auto">
            <a:xfrm>
              <a:off x="1793" y="2724"/>
              <a:ext cx="130" cy="134"/>
            </a:xfrm>
            <a:custGeom>
              <a:avLst/>
              <a:gdLst/>
              <a:ahLst/>
              <a:cxnLst>
                <a:cxn ang="0">
                  <a:pos x="36" y="29"/>
                </a:cxn>
                <a:cxn ang="0">
                  <a:pos x="43" y="15"/>
                </a:cxn>
                <a:cxn ang="0">
                  <a:pos x="27" y="0"/>
                </a:cxn>
                <a:cxn ang="0">
                  <a:pos x="11" y="15"/>
                </a:cxn>
                <a:cxn ang="0">
                  <a:pos x="18" y="29"/>
                </a:cxn>
                <a:cxn ang="0">
                  <a:pos x="0" y="49"/>
                </a:cxn>
                <a:cxn ang="0">
                  <a:pos x="0" y="56"/>
                </a:cxn>
                <a:cxn ang="0">
                  <a:pos x="54" y="56"/>
                </a:cxn>
                <a:cxn ang="0">
                  <a:pos x="54" y="49"/>
                </a:cxn>
                <a:cxn ang="0">
                  <a:pos x="36" y="29"/>
                </a:cxn>
                <a:cxn ang="0">
                  <a:pos x="14" y="15"/>
                </a:cxn>
                <a:cxn ang="0">
                  <a:pos x="27" y="2"/>
                </a:cxn>
                <a:cxn ang="0">
                  <a:pos x="40" y="15"/>
                </a:cxn>
                <a:cxn ang="0">
                  <a:pos x="27" y="29"/>
                </a:cxn>
                <a:cxn ang="0">
                  <a:pos x="14" y="15"/>
                </a:cxn>
                <a:cxn ang="0">
                  <a:pos x="51" y="53"/>
                </a:cxn>
                <a:cxn ang="0">
                  <a:pos x="3" y="53"/>
                </a:cxn>
                <a:cxn ang="0">
                  <a:pos x="3" y="49"/>
                </a:cxn>
                <a:cxn ang="0">
                  <a:pos x="19" y="31"/>
                </a:cxn>
                <a:cxn ang="0">
                  <a:pos x="35" y="31"/>
                </a:cxn>
                <a:cxn ang="0">
                  <a:pos x="51" y="49"/>
                </a:cxn>
                <a:cxn ang="0">
                  <a:pos x="51" y="53"/>
                </a:cxn>
              </a:cxnLst>
              <a:rect l="0" t="0" r="r" b="b"/>
              <a:pathLst>
                <a:path w="54" h="56">
                  <a:moveTo>
                    <a:pt x="36" y="29"/>
                  </a:moveTo>
                  <a:cubicBezTo>
                    <a:pt x="40" y="26"/>
                    <a:pt x="43" y="21"/>
                    <a:pt x="43" y="15"/>
                  </a:cubicBezTo>
                  <a:cubicBezTo>
                    <a:pt x="43" y="7"/>
                    <a:pt x="36" y="0"/>
                    <a:pt x="27" y="0"/>
                  </a:cubicBezTo>
                  <a:cubicBezTo>
                    <a:pt x="18" y="0"/>
                    <a:pt x="11" y="7"/>
                    <a:pt x="11" y="15"/>
                  </a:cubicBezTo>
                  <a:cubicBezTo>
                    <a:pt x="11" y="21"/>
                    <a:pt x="14" y="26"/>
                    <a:pt x="18" y="29"/>
                  </a:cubicBezTo>
                  <a:cubicBezTo>
                    <a:pt x="8" y="29"/>
                    <a:pt x="0" y="38"/>
                    <a:pt x="0" y="4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38"/>
                    <a:pt x="46" y="29"/>
                    <a:pt x="36" y="29"/>
                  </a:cubicBezTo>
                  <a:close/>
                  <a:moveTo>
                    <a:pt x="14" y="15"/>
                  </a:moveTo>
                  <a:cubicBezTo>
                    <a:pt x="14" y="8"/>
                    <a:pt x="20" y="2"/>
                    <a:pt x="27" y="2"/>
                  </a:cubicBezTo>
                  <a:cubicBezTo>
                    <a:pt x="34" y="2"/>
                    <a:pt x="40" y="8"/>
                    <a:pt x="40" y="15"/>
                  </a:cubicBezTo>
                  <a:cubicBezTo>
                    <a:pt x="40" y="23"/>
                    <a:pt x="34" y="29"/>
                    <a:pt x="27" y="29"/>
                  </a:cubicBezTo>
                  <a:cubicBezTo>
                    <a:pt x="20" y="29"/>
                    <a:pt x="14" y="23"/>
                    <a:pt x="14" y="15"/>
                  </a:cubicBezTo>
                  <a:close/>
                  <a:moveTo>
                    <a:pt x="51" y="53"/>
                  </a:moveTo>
                  <a:cubicBezTo>
                    <a:pt x="3" y="53"/>
                    <a:pt x="3" y="53"/>
                    <a:pt x="3" y="5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39"/>
                    <a:pt x="10" y="31"/>
                    <a:pt x="19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44" y="31"/>
                    <a:pt x="51" y="39"/>
                    <a:pt x="51" y="49"/>
                  </a:cubicBezTo>
                  <a:lnTo>
                    <a:pt x="51" y="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489" name="Group 337"/>
          <p:cNvGrpSpPr>
            <a:grpSpLocks noChangeAspect="1"/>
          </p:cNvGrpSpPr>
          <p:nvPr/>
        </p:nvGrpSpPr>
        <p:grpSpPr bwMode="auto">
          <a:xfrm>
            <a:off x="3664741" y="4110041"/>
            <a:ext cx="768350" cy="768350"/>
            <a:chOff x="2298" y="2589"/>
            <a:chExt cx="484" cy="484"/>
          </a:xfrm>
        </p:grpSpPr>
        <p:sp>
          <p:nvSpPr>
            <p:cNvPr id="49490" name="Freeform 338"/>
            <p:cNvSpPr>
              <a:spLocks noEditPoints="1"/>
            </p:cNvSpPr>
            <p:nvPr/>
          </p:nvSpPr>
          <p:spPr bwMode="auto">
            <a:xfrm>
              <a:off x="2298" y="2589"/>
              <a:ext cx="484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91" name="Freeform 339"/>
            <p:cNvSpPr>
              <a:spLocks noEditPoints="1"/>
            </p:cNvSpPr>
            <p:nvPr/>
          </p:nvSpPr>
          <p:spPr bwMode="auto">
            <a:xfrm>
              <a:off x="2423" y="2680"/>
              <a:ext cx="235" cy="305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92" name="Freeform 340"/>
            <p:cNvSpPr>
              <a:spLocks noEditPoints="1"/>
            </p:cNvSpPr>
            <p:nvPr/>
          </p:nvSpPr>
          <p:spPr bwMode="auto">
            <a:xfrm>
              <a:off x="2476" y="2724"/>
              <a:ext cx="129" cy="134"/>
            </a:xfrm>
            <a:custGeom>
              <a:avLst/>
              <a:gdLst/>
              <a:ahLst/>
              <a:cxnLst>
                <a:cxn ang="0">
                  <a:pos x="36" y="29"/>
                </a:cxn>
                <a:cxn ang="0">
                  <a:pos x="43" y="15"/>
                </a:cxn>
                <a:cxn ang="0">
                  <a:pos x="27" y="0"/>
                </a:cxn>
                <a:cxn ang="0">
                  <a:pos x="11" y="15"/>
                </a:cxn>
                <a:cxn ang="0">
                  <a:pos x="18" y="29"/>
                </a:cxn>
                <a:cxn ang="0">
                  <a:pos x="0" y="49"/>
                </a:cxn>
                <a:cxn ang="0">
                  <a:pos x="0" y="56"/>
                </a:cxn>
                <a:cxn ang="0">
                  <a:pos x="54" y="56"/>
                </a:cxn>
                <a:cxn ang="0">
                  <a:pos x="54" y="49"/>
                </a:cxn>
                <a:cxn ang="0">
                  <a:pos x="36" y="29"/>
                </a:cxn>
                <a:cxn ang="0">
                  <a:pos x="14" y="15"/>
                </a:cxn>
                <a:cxn ang="0">
                  <a:pos x="27" y="2"/>
                </a:cxn>
                <a:cxn ang="0">
                  <a:pos x="40" y="15"/>
                </a:cxn>
                <a:cxn ang="0">
                  <a:pos x="27" y="29"/>
                </a:cxn>
                <a:cxn ang="0">
                  <a:pos x="14" y="15"/>
                </a:cxn>
                <a:cxn ang="0">
                  <a:pos x="51" y="53"/>
                </a:cxn>
                <a:cxn ang="0">
                  <a:pos x="3" y="53"/>
                </a:cxn>
                <a:cxn ang="0">
                  <a:pos x="3" y="49"/>
                </a:cxn>
                <a:cxn ang="0">
                  <a:pos x="19" y="31"/>
                </a:cxn>
                <a:cxn ang="0">
                  <a:pos x="35" y="31"/>
                </a:cxn>
                <a:cxn ang="0">
                  <a:pos x="51" y="49"/>
                </a:cxn>
                <a:cxn ang="0">
                  <a:pos x="51" y="53"/>
                </a:cxn>
              </a:cxnLst>
              <a:rect l="0" t="0" r="r" b="b"/>
              <a:pathLst>
                <a:path w="54" h="56">
                  <a:moveTo>
                    <a:pt x="36" y="29"/>
                  </a:moveTo>
                  <a:cubicBezTo>
                    <a:pt x="40" y="26"/>
                    <a:pt x="43" y="21"/>
                    <a:pt x="43" y="15"/>
                  </a:cubicBezTo>
                  <a:cubicBezTo>
                    <a:pt x="43" y="7"/>
                    <a:pt x="36" y="0"/>
                    <a:pt x="27" y="0"/>
                  </a:cubicBezTo>
                  <a:cubicBezTo>
                    <a:pt x="18" y="0"/>
                    <a:pt x="11" y="7"/>
                    <a:pt x="11" y="15"/>
                  </a:cubicBezTo>
                  <a:cubicBezTo>
                    <a:pt x="11" y="21"/>
                    <a:pt x="14" y="26"/>
                    <a:pt x="18" y="29"/>
                  </a:cubicBezTo>
                  <a:cubicBezTo>
                    <a:pt x="8" y="29"/>
                    <a:pt x="0" y="38"/>
                    <a:pt x="0" y="4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38"/>
                    <a:pt x="46" y="29"/>
                    <a:pt x="36" y="29"/>
                  </a:cubicBezTo>
                  <a:close/>
                  <a:moveTo>
                    <a:pt x="14" y="15"/>
                  </a:moveTo>
                  <a:cubicBezTo>
                    <a:pt x="14" y="8"/>
                    <a:pt x="20" y="2"/>
                    <a:pt x="27" y="2"/>
                  </a:cubicBezTo>
                  <a:cubicBezTo>
                    <a:pt x="34" y="2"/>
                    <a:pt x="40" y="8"/>
                    <a:pt x="40" y="15"/>
                  </a:cubicBezTo>
                  <a:cubicBezTo>
                    <a:pt x="40" y="23"/>
                    <a:pt x="34" y="29"/>
                    <a:pt x="27" y="29"/>
                  </a:cubicBezTo>
                  <a:cubicBezTo>
                    <a:pt x="20" y="29"/>
                    <a:pt x="14" y="23"/>
                    <a:pt x="14" y="15"/>
                  </a:cubicBezTo>
                  <a:close/>
                  <a:moveTo>
                    <a:pt x="51" y="53"/>
                  </a:moveTo>
                  <a:cubicBezTo>
                    <a:pt x="3" y="53"/>
                    <a:pt x="3" y="53"/>
                    <a:pt x="3" y="5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39"/>
                    <a:pt x="10" y="31"/>
                    <a:pt x="19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44" y="31"/>
                    <a:pt x="51" y="39"/>
                    <a:pt x="51" y="49"/>
                  </a:cubicBezTo>
                  <a:lnTo>
                    <a:pt x="51" y="5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495" name="Group 343"/>
          <p:cNvGrpSpPr>
            <a:grpSpLocks noChangeAspect="1"/>
          </p:cNvGrpSpPr>
          <p:nvPr/>
        </p:nvGrpSpPr>
        <p:grpSpPr bwMode="auto">
          <a:xfrm>
            <a:off x="4717257" y="4068765"/>
            <a:ext cx="846137" cy="847726"/>
            <a:chOff x="2965" y="2563"/>
            <a:chExt cx="533" cy="534"/>
          </a:xfrm>
        </p:grpSpPr>
        <p:sp>
          <p:nvSpPr>
            <p:cNvPr id="49496" name="Oval 344"/>
            <p:cNvSpPr>
              <a:spLocks noChangeArrowheads="1"/>
            </p:cNvSpPr>
            <p:nvPr/>
          </p:nvSpPr>
          <p:spPr bwMode="auto">
            <a:xfrm>
              <a:off x="2965" y="2563"/>
              <a:ext cx="533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97" name="Freeform 345"/>
            <p:cNvSpPr>
              <a:spLocks noEditPoints="1"/>
            </p:cNvSpPr>
            <p:nvPr/>
          </p:nvSpPr>
          <p:spPr bwMode="auto">
            <a:xfrm>
              <a:off x="2984" y="2583"/>
              <a:ext cx="495" cy="495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2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4" y="0"/>
                  </a:cubicBezTo>
                  <a:cubicBezTo>
                    <a:pt x="161" y="0"/>
                    <a:pt x="207" y="46"/>
                    <a:pt x="207" y="103"/>
                  </a:cubicBezTo>
                  <a:cubicBezTo>
                    <a:pt x="207" y="160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98" name="Freeform 346"/>
            <p:cNvSpPr>
              <a:spLocks noEditPoints="1"/>
            </p:cNvSpPr>
            <p:nvPr/>
          </p:nvSpPr>
          <p:spPr bwMode="auto">
            <a:xfrm>
              <a:off x="3171" y="2671"/>
              <a:ext cx="129" cy="93"/>
            </a:xfrm>
            <a:custGeom>
              <a:avLst/>
              <a:gdLst/>
              <a:ahLst/>
              <a:cxnLst>
                <a:cxn ang="0">
                  <a:pos x="3" y="39"/>
                </a:cxn>
                <a:cxn ang="0">
                  <a:pos x="1" y="37"/>
                </a:cxn>
                <a:cxn ang="0">
                  <a:pos x="0" y="37"/>
                </a:cxn>
                <a:cxn ang="0">
                  <a:pos x="1" y="36"/>
                </a:cxn>
                <a:cxn ang="0">
                  <a:pos x="5" y="16"/>
                </a:cxn>
                <a:cxn ang="0">
                  <a:pos x="2" y="16"/>
                </a:cxn>
                <a:cxn ang="0">
                  <a:pos x="2" y="0"/>
                </a:cxn>
                <a:cxn ang="0">
                  <a:pos x="43" y="0"/>
                </a:cxn>
                <a:cxn ang="0">
                  <a:pos x="44" y="0"/>
                </a:cxn>
                <a:cxn ang="0">
                  <a:pos x="51" y="23"/>
                </a:cxn>
                <a:cxn ang="0">
                  <a:pos x="50" y="24"/>
                </a:cxn>
                <a:cxn ang="0">
                  <a:pos x="17" y="24"/>
                </a:cxn>
                <a:cxn ang="0">
                  <a:pos x="16" y="23"/>
                </a:cxn>
                <a:cxn ang="0">
                  <a:pos x="14" y="20"/>
                </a:cxn>
                <a:cxn ang="0">
                  <a:pos x="3" y="39"/>
                </a:cxn>
                <a:cxn ang="0">
                  <a:pos x="6" y="12"/>
                </a:cxn>
                <a:cxn ang="0">
                  <a:pos x="7" y="12"/>
                </a:cxn>
                <a:cxn ang="0">
                  <a:pos x="8" y="13"/>
                </a:cxn>
                <a:cxn ang="0">
                  <a:pos x="7" y="30"/>
                </a:cxn>
                <a:cxn ang="0">
                  <a:pos x="11" y="17"/>
                </a:cxn>
                <a:cxn ang="0">
                  <a:pos x="12" y="15"/>
                </a:cxn>
                <a:cxn ang="0">
                  <a:pos x="14" y="16"/>
                </a:cxn>
                <a:cxn ang="0">
                  <a:pos x="19" y="21"/>
                </a:cxn>
                <a:cxn ang="0">
                  <a:pos x="47" y="21"/>
                </a:cxn>
                <a:cxn ang="0">
                  <a:pos x="42" y="4"/>
                </a:cxn>
                <a:cxn ang="0">
                  <a:pos x="6" y="4"/>
                </a:cxn>
                <a:cxn ang="0">
                  <a:pos x="6" y="12"/>
                </a:cxn>
              </a:cxnLst>
              <a:rect l="0" t="0" r="r" b="b"/>
              <a:pathLst>
                <a:path w="54" h="39">
                  <a:moveTo>
                    <a:pt x="3" y="39"/>
                  </a:moveTo>
                  <a:cubicBezTo>
                    <a:pt x="2" y="39"/>
                    <a:pt x="1" y="38"/>
                    <a:pt x="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6" y="25"/>
                    <a:pt x="5" y="18"/>
                    <a:pt x="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4" y="10"/>
                    <a:pt x="51" y="23"/>
                    <a:pt x="51" y="23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2"/>
                    <a:pt x="15" y="21"/>
                    <a:pt x="14" y="20"/>
                  </a:cubicBezTo>
                  <a:cubicBezTo>
                    <a:pt x="9" y="37"/>
                    <a:pt x="6" y="39"/>
                    <a:pt x="3" y="39"/>
                  </a:cubicBezTo>
                  <a:close/>
                  <a:moveTo>
                    <a:pt x="6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10" y="20"/>
                    <a:pt x="7" y="30"/>
                  </a:cubicBezTo>
                  <a:cubicBezTo>
                    <a:pt x="8" y="27"/>
                    <a:pt x="10" y="23"/>
                    <a:pt x="11" y="17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7" y="17"/>
                    <a:pt x="19" y="21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8" y="18"/>
                    <a:pt x="48" y="10"/>
                    <a:pt x="42" y="4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6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99" name="Freeform 347"/>
            <p:cNvSpPr>
              <a:spLocks noEditPoints="1"/>
            </p:cNvSpPr>
            <p:nvPr/>
          </p:nvSpPr>
          <p:spPr bwMode="auto">
            <a:xfrm>
              <a:off x="3147" y="2671"/>
              <a:ext cx="26" cy="38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0" y="3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6" y="38"/>
                </a:cxn>
                <a:cxn ang="0">
                  <a:pos x="9" y="29"/>
                </a:cxn>
                <a:cxn ang="0">
                  <a:pos x="16" y="29"/>
                </a:cxn>
                <a:cxn ang="0">
                  <a:pos x="16" y="10"/>
                </a:cxn>
                <a:cxn ang="0">
                  <a:pos x="9" y="10"/>
                </a:cxn>
                <a:cxn ang="0">
                  <a:pos x="9" y="29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38"/>
                  </a:lnTo>
                  <a:close/>
                  <a:moveTo>
                    <a:pt x="9" y="29"/>
                  </a:moveTo>
                  <a:lnTo>
                    <a:pt x="16" y="29"/>
                  </a:lnTo>
                  <a:lnTo>
                    <a:pt x="16" y="10"/>
                  </a:lnTo>
                  <a:lnTo>
                    <a:pt x="9" y="10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00" name="Freeform 348"/>
            <p:cNvSpPr>
              <a:spLocks noEditPoints="1"/>
            </p:cNvSpPr>
            <p:nvPr/>
          </p:nvSpPr>
          <p:spPr bwMode="auto">
            <a:xfrm>
              <a:off x="3218" y="2733"/>
              <a:ext cx="51" cy="24"/>
            </a:xfrm>
            <a:custGeom>
              <a:avLst/>
              <a:gdLst/>
              <a:ahLst/>
              <a:cxnLst>
                <a:cxn ang="0">
                  <a:pos x="51" y="24"/>
                </a:cxn>
                <a:cxn ang="0">
                  <a:pos x="0" y="24"/>
                </a:cxn>
                <a:cxn ang="0">
                  <a:pos x="0" y="0"/>
                </a:cxn>
                <a:cxn ang="0">
                  <a:pos x="51" y="0"/>
                </a:cxn>
                <a:cxn ang="0">
                  <a:pos x="51" y="24"/>
                </a:cxn>
                <a:cxn ang="0">
                  <a:pos x="8" y="15"/>
                </a:cxn>
                <a:cxn ang="0">
                  <a:pos x="41" y="15"/>
                </a:cxn>
                <a:cxn ang="0">
                  <a:pos x="41" y="8"/>
                </a:cxn>
                <a:cxn ang="0">
                  <a:pos x="8" y="8"/>
                </a:cxn>
                <a:cxn ang="0">
                  <a:pos x="8" y="15"/>
                </a:cxn>
              </a:cxnLst>
              <a:rect l="0" t="0" r="r" b="b"/>
              <a:pathLst>
                <a:path w="51" h="24">
                  <a:moveTo>
                    <a:pt x="51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51" y="0"/>
                  </a:lnTo>
                  <a:lnTo>
                    <a:pt x="51" y="24"/>
                  </a:lnTo>
                  <a:close/>
                  <a:moveTo>
                    <a:pt x="8" y="15"/>
                  </a:moveTo>
                  <a:lnTo>
                    <a:pt x="41" y="15"/>
                  </a:lnTo>
                  <a:lnTo>
                    <a:pt x="41" y="8"/>
                  </a:lnTo>
                  <a:lnTo>
                    <a:pt x="8" y="8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01" name="Freeform 349"/>
            <p:cNvSpPr>
              <a:spLocks noEditPoints="1"/>
            </p:cNvSpPr>
            <p:nvPr/>
          </p:nvSpPr>
          <p:spPr bwMode="auto">
            <a:xfrm>
              <a:off x="3142" y="2760"/>
              <a:ext cx="179" cy="234"/>
            </a:xfrm>
            <a:custGeom>
              <a:avLst/>
              <a:gdLst/>
              <a:ahLst/>
              <a:cxnLst>
                <a:cxn ang="0">
                  <a:pos x="65" y="98"/>
                </a:cxn>
                <a:cxn ang="0">
                  <a:pos x="15" y="98"/>
                </a:cxn>
                <a:cxn ang="0">
                  <a:pos x="14" y="97"/>
                </a:cxn>
                <a:cxn ang="0">
                  <a:pos x="14" y="49"/>
                </a:cxn>
                <a:cxn ang="0">
                  <a:pos x="14" y="49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26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33" y="17"/>
                </a:cxn>
                <a:cxn ang="0">
                  <a:pos x="28" y="14"/>
                </a:cxn>
                <a:cxn ang="0">
                  <a:pos x="27" y="5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9" y="0"/>
                </a:cxn>
                <a:cxn ang="0">
                  <a:pos x="52" y="0"/>
                </a:cxn>
                <a:cxn ang="0">
                  <a:pos x="52" y="0"/>
                </a:cxn>
                <a:cxn ang="0">
                  <a:pos x="52" y="0"/>
                </a:cxn>
                <a:cxn ang="0">
                  <a:pos x="71" y="35"/>
                </a:cxn>
                <a:cxn ang="0">
                  <a:pos x="71" y="35"/>
                </a:cxn>
                <a:cxn ang="0">
                  <a:pos x="66" y="97"/>
                </a:cxn>
                <a:cxn ang="0">
                  <a:pos x="65" y="98"/>
                </a:cxn>
                <a:cxn ang="0">
                  <a:pos x="17" y="95"/>
                </a:cxn>
                <a:cxn ang="0">
                  <a:pos x="62" y="95"/>
                </a:cxn>
                <a:cxn ang="0">
                  <a:pos x="68" y="35"/>
                </a:cxn>
                <a:cxn ang="0">
                  <a:pos x="51" y="4"/>
                </a:cxn>
                <a:cxn ang="0">
                  <a:pos x="39" y="4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0" y="6"/>
                </a:cxn>
                <a:cxn ang="0">
                  <a:pos x="30" y="6"/>
                </a:cxn>
                <a:cxn ang="0">
                  <a:pos x="31" y="12"/>
                </a:cxn>
                <a:cxn ang="0">
                  <a:pos x="33" y="13"/>
                </a:cxn>
                <a:cxn ang="0">
                  <a:pos x="34" y="13"/>
                </a:cxn>
                <a:cxn ang="0">
                  <a:pos x="44" y="21"/>
                </a:cxn>
                <a:cxn ang="0">
                  <a:pos x="44" y="27"/>
                </a:cxn>
                <a:cxn ang="0">
                  <a:pos x="44" y="27"/>
                </a:cxn>
                <a:cxn ang="0">
                  <a:pos x="33" y="36"/>
                </a:cxn>
                <a:cxn ang="0">
                  <a:pos x="17" y="51"/>
                </a:cxn>
                <a:cxn ang="0">
                  <a:pos x="17" y="95"/>
                </a:cxn>
              </a:cxnLst>
              <a:rect l="0" t="0" r="r" b="b"/>
              <a:pathLst>
                <a:path w="75" h="98">
                  <a:moveTo>
                    <a:pt x="65" y="98"/>
                  </a:moveTo>
                  <a:cubicBezTo>
                    <a:pt x="15" y="98"/>
                    <a:pt x="15" y="98"/>
                    <a:pt x="15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3" y="96"/>
                    <a:pt x="0" y="76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8"/>
                    <a:pt x="21" y="37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4" y="32"/>
                    <a:pt x="39" y="30"/>
                    <a:pt x="40" y="26"/>
                  </a:cubicBezTo>
                  <a:cubicBezTo>
                    <a:pt x="41" y="26"/>
                    <a:pt x="41" y="24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39" y="18"/>
                    <a:pt x="33" y="17"/>
                  </a:cubicBezTo>
                  <a:cubicBezTo>
                    <a:pt x="32" y="17"/>
                    <a:pt x="30" y="16"/>
                    <a:pt x="28" y="14"/>
                  </a:cubicBezTo>
                  <a:cubicBezTo>
                    <a:pt x="26" y="12"/>
                    <a:pt x="26" y="9"/>
                    <a:pt x="27" y="5"/>
                  </a:cubicBezTo>
                  <a:cubicBezTo>
                    <a:pt x="27" y="4"/>
                    <a:pt x="28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6" y="0"/>
                    <a:pt x="39" y="0"/>
                  </a:cubicBezTo>
                  <a:cubicBezTo>
                    <a:pt x="45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66" y="6"/>
                    <a:pt x="71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2" y="35"/>
                    <a:pt x="75" y="64"/>
                    <a:pt x="66" y="97"/>
                  </a:cubicBezTo>
                  <a:lnTo>
                    <a:pt x="65" y="98"/>
                  </a:lnTo>
                  <a:close/>
                  <a:moveTo>
                    <a:pt x="17" y="95"/>
                  </a:moveTo>
                  <a:cubicBezTo>
                    <a:pt x="62" y="95"/>
                    <a:pt x="62" y="95"/>
                    <a:pt x="62" y="95"/>
                  </a:cubicBezTo>
                  <a:cubicBezTo>
                    <a:pt x="71" y="64"/>
                    <a:pt x="68" y="36"/>
                    <a:pt x="68" y="35"/>
                  </a:cubicBezTo>
                  <a:cubicBezTo>
                    <a:pt x="63" y="11"/>
                    <a:pt x="53" y="5"/>
                    <a:pt x="51" y="4"/>
                  </a:cubicBezTo>
                  <a:cubicBezTo>
                    <a:pt x="50" y="4"/>
                    <a:pt x="44" y="4"/>
                    <a:pt x="39" y="4"/>
                  </a:cubicBezTo>
                  <a:cubicBezTo>
                    <a:pt x="36" y="4"/>
                    <a:pt x="33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1" y="4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9"/>
                    <a:pt x="30" y="11"/>
                    <a:pt x="31" y="12"/>
                  </a:cubicBezTo>
                  <a:cubicBezTo>
                    <a:pt x="32" y="13"/>
                    <a:pt x="33" y="13"/>
                    <a:pt x="33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42" y="15"/>
                    <a:pt x="44" y="20"/>
                    <a:pt x="44" y="21"/>
                  </a:cubicBezTo>
                  <a:cubicBezTo>
                    <a:pt x="45" y="24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2" y="33"/>
                    <a:pt x="34" y="36"/>
                    <a:pt x="33" y="36"/>
                  </a:cubicBezTo>
                  <a:cubicBezTo>
                    <a:pt x="24" y="39"/>
                    <a:pt x="18" y="50"/>
                    <a:pt x="17" y="51"/>
                  </a:cubicBezTo>
                  <a:cubicBezTo>
                    <a:pt x="6" y="73"/>
                    <a:pt x="14" y="91"/>
                    <a:pt x="17" y="9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04" name="Group 352"/>
          <p:cNvGrpSpPr>
            <a:grpSpLocks noChangeAspect="1"/>
          </p:cNvGrpSpPr>
          <p:nvPr/>
        </p:nvGrpSpPr>
        <p:grpSpPr bwMode="auto">
          <a:xfrm>
            <a:off x="5839623" y="4103688"/>
            <a:ext cx="785813" cy="787400"/>
            <a:chOff x="3673" y="2585"/>
            <a:chExt cx="495" cy="496"/>
          </a:xfrm>
        </p:grpSpPr>
        <p:sp>
          <p:nvSpPr>
            <p:cNvPr id="49505" name="Freeform 353"/>
            <p:cNvSpPr>
              <a:spLocks noEditPoints="1"/>
            </p:cNvSpPr>
            <p:nvPr/>
          </p:nvSpPr>
          <p:spPr bwMode="auto">
            <a:xfrm>
              <a:off x="3673" y="2585"/>
              <a:ext cx="495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06" name="Freeform 354"/>
            <p:cNvSpPr>
              <a:spLocks noEditPoints="1"/>
            </p:cNvSpPr>
            <p:nvPr/>
          </p:nvSpPr>
          <p:spPr bwMode="auto">
            <a:xfrm>
              <a:off x="3859" y="2674"/>
              <a:ext cx="130" cy="94"/>
            </a:xfrm>
            <a:custGeom>
              <a:avLst/>
              <a:gdLst/>
              <a:ahLst/>
              <a:cxnLst>
                <a:cxn ang="0">
                  <a:pos x="1" y="36"/>
                </a:cxn>
                <a:cxn ang="0">
                  <a:pos x="0" y="37"/>
                </a:cxn>
                <a:cxn ang="0">
                  <a:pos x="1" y="37"/>
                </a:cxn>
                <a:cxn ang="0">
                  <a:pos x="3" y="39"/>
                </a:cxn>
                <a:cxn ang="0">
                  <a:pos x="14" y="20"/>
                </a:cxn>
                <a:cxn ang="0">
                  <a:pos x="16" y="23"/>
                </a:cxn>
                <a:cxn ang="0">
                  <a:pos x="17" y="24"/>
                </a:cxn>
                <a:cxn ang="0">
                  <a:pos x="50" y="24"/>
                </a:cxn>
                <a:cxn ang="0">
                  <a:pos x="51" y="23"/>
                </a:cxn>
                <a:cxn ang="0">
                  <a:pos x="44" y="0"/>
                </a:cxn>
                <a:cxn ang="0">
                  <a:pos x="43" y="0"/>
                </a:cxn>
                <a:cxn ang="0">
                  <a:pos x="2" y="0"/>
                </a:cxn>
                <a:cxn ang="0">
                  <a:pos x="2" y="16"/>
                </a:cxn>
                <a:cxn ang="0">
                  <a:pos x="5" y="16"/>
                </a:cxn>
                <a:cxn ang="0">
                  <a:pos x="1" y="36"/>
                </a:cxn>
                <a:cxn ang="0">
                  <a:pos x="6" y="4"/>
                </a:cxn>
                <a:cxn ang="0">
                  <a:pos x="42" y="4"/>
                </a:cxn>
                <a:cxn ang="0">
                  <a:pos x="47" y="21"/>
                </a:cxn>
                <a:cxn ang="0">
                  <a:pos x="19" y="21"/>
                </a:cxn>
                <a:cxn ang="0">
                  <a:pos x="14" y="16"/>
                </a:cxn>
                <a:cxn ang="0">
                  <a:pos x="12" y="15"/>
                </a:cxn>
                <a:cxn ang="0">
                  <a:pos x="11" y="17"/>
                </a:cxn>
                <a:cxn ang="0">
                  <a:pos x="7" y="30"/>
                </a:cxn>
                <a:cxn ang="0">
                  <a:pos x="8" y="13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6" y="4"/>
                </a:cxn>
              </a:cxnLst>
              <a:rect l="0" t="0" r="r" b="b"/>
              <a:pathLst>
                <a:path w="54" h="39">
                  <a:moveTo>
                    <a:pt x="1" y="36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2" y="39"/>
                    <a:pt x="3" y="39"/>
                  </a:cubicBezTo>
                  <a:cubicBezTo>
                    <a:pt x="6" y="39"/>
                    <a:pt x="9" y="37"/>
                    <a:pt x="14" y="20"/>
                  </a:cubicBezTo>
                  <a:cubicBezTo>
                    <a:pt x="15" y="21"/>
                    <a:pt x="16" y="22"/>
                    <a:pt x="16" y="23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4" y="1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8"/>
                    <a:pt x="6" y="25"/>
                    <a:pt x="1" y="36"/>
                  </a:cubicBezTo>
                  <a:close/>
                  <a:moveTo>
                    <a:pt x="6" y="4"/>
                  </a:moveTo>
                  <a:cubicBezTo>
                    <a:pt x="42" y="4"/>
                    <a:pt x="42" y="4"/>
                    <a:pt x="42" y="4"/>
                  </a:cubicBezTo>
                  <a:cubicBezTo>
                    <a:pt x="48" y="10"/>
                    <a:pt x="48" y="18"/>
                    <a:pt x="47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7" y="17"/>
                    <a:pt x="14" y="16"/>
                    <a:pt x="14" y="1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23"/>
                    <a:pt x="8" y="27"/>
                    <a:pt x="7" y="30"/>
                  </a:cubicBezTo>
                  <a:cubicBezTo>
                    <a:pt x="10" y="20"/>
                    <a:pt x="8" y="14"/>
                    <a:pt x="8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6" y="12"/>
                    <a:pt x="6" y="12"/>
                  </a:cubicBezTo>
                  <a:lnTo>
                    <a:pt x="6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07" name="Freeform 355"/>
            <p:cNvSpPr>
              <a:spLocks noEditPoints="1"/>
            </p:cNvSpPr>
            <p:nvPr/>
          </p:nvSpPr>
          <p:spPr bwMode="auto">
            <a:xfrm>
              <a:off x="3836" y="2674"/>
              <a:ext cx="26" cy="38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26" y="38"/>
                </a:cxn>
                <a:cxn ang="0">
                  <a:pos x="26" y="0"/>
                </a:cxn>
                <a:cxn ang="0">
                  <a:pos x="16" y="29"/>
                </a:cxn>
                <a:cxn ang="0">
                  <a:pos x="9" y="29"/>
                </a:cxn>
                <a:cxn ang="0">
                  <a:pos x="9" y="10"/>
                </a:cxn>
                <a:cxn ang="0">
                  <a:pos x="16" y="10"/>
                </a:cxn>
                <a:cxn ang="0">
                  <a:pos x="16" y="29"/>
                </a:cxn>
              </a:cxnLst>
              <a:rect l="0" t="0" r="r" b="b"/>
              <a:pathLst>
                <a:path w="26" h="38">
                  <a:moveTo>
                    <a:pt x="26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26" y="38"/>
                  </a:lnTo>
                  <a:lnTo>
                    <a:pt x="26" y="0"/>
                  </a:lnTo>
                  <a:close/>
                  <a:moveTo>
                    <a:pt x="16" y="29"/>
                  </a:moveTo>
                  <a:lnTo>
                    <a:pt x="9" y="29"/>
                  </a:lnTo>
                  <a:lnTo>
                    <a:pt x="9" y="10"/>
                  </a:lnTo>
                  <a:lnTo>
                    <a:pt x="16" y="10"/>
                  </a:lnTo>
                  <a:lnTo>
                    <a:pt x="16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08" name="Freeform 356"/>
            <p:cNvSpPr>
              <a:spLocks noEditPoints="1"/>
            </p:cNvSpPr>
            <p:nvPr/>
          </p:nvSpPr>
          <p:spPr bwMode="auto">
            <a:xfrm>
              <a:off x="3907" y="2736"/>
              <a:ext cx="51" cy="24"/>
            </a:xfrm>
            <a:custGeom>
              <a:avLst/>
              <a:gdLst/>
              <a:ahLst/>
              <a:cxnLst>
                <a:cxn ang="0">
                  <a:pos x="51" y="24"/>
                </a:cxn>
                <a:cxn ang="0">
                  <a:pos x="51" y="0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51" y="24"/>
                </a:cxn>
                <a:cxn ang="0">
                  <a:pos x="8" y="8"/>
                </a:cxn>
                <a:cxn ang="0">
                  <a:pos x="41" y="8"/>
                </a:cxn>
                <a:cxn ang="0">
                  <a:pos x="41" y="15"/>
                </a:cxn>
                <a:cxn ang="0">
                  <a:pos x="8" y="15"/>
                </a:cxn>
                <a:cxn ang="0">
                  <a:pos x="8" y="8"/>
                </a:cxn>
              </a:cxnLst>
              <a:rect l="0" t="0" r="r" b="b"/>
              <a:pathLst>
                <a:path w="51" h="24">
                  <a:moveTo>
                    <a:pt x="51" y="24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51" y="24"/>
                  </a:lnTo>
                  <a:close/>
                  <a:moveTo>
                    <a:pt x="8" y="8"/>
                  </a:moveTo>
                  <a:lnTo>
                    <a:pt x="41" y="8"/>
                  </a:lnTo>
                  <a:lnTo>
                    <a:pt x="41" y="15"/>
                  </a:lnTo>
                  <a:lnTo>
                    <a:pt x="8" y="15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09" name="Freeform 357"/>
            <p:cNvSpPr>
              <a:spLocks noEditPoints="1"/>
            </p:cNvSpPr>
            <p:nvPr/>
          </p:nvSpPr>
          <p:spPr bwMode="auto">
            <a:xfrm>
              <a:off x="3831" y="2763"/>
              <a:ext cx="179" cy="235"/>
            </a:xfrm>
            <a:custGeom>
              <a:avLst/>
              <a:gdLst/>
              <a:ahLst/>
              <a:cxnLst>
                <a:cxn ang="0">
                  <a:pos x="71" y="35"/>
                </a:cxn>
                <a:cxn ang="0">
                  <a:pos x="52" y="0"/>
                </a:cxn>
                <a:cxn ang="0">
                  <a:pos x="52" y="0"/>
                </a:cxn>
                <a:cxn ang="0">
                  <a:pos x="52" y="0"/>
                </a:cxn>
                <a:cxn ang="0">
                  <a:pos x="39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27" y="5"/>
                </a:cxn>
                <a:cxn ang="0">
                  <a:pos x="28" y="14"/>
                </a:cxn>
                <a:cxn ang="0">
                  <a:pos x="33" y="17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40" y="26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14" y="49"/>
                </a:cxn>
                <a:cxn ang="0">
                  <a:pos x="14" y="49"/>
                </a:cxn>
                <a:cxn ang="0">
                  <a:pos x="14" y="97"/>
                </a:cxn>
                <a:cxn ang="0">
                  <a:pos x="15" y="98"/>
                </a:cxn>
                <a:cxn ang="0">
                  <a:pos x="65" y="98"/>
                </a:cxn>
                <a:cxn ang="0">
                  <a:pos x="66" y="97"/>
                </a:cxn>
                <a:cxn ang="0">
                  <a:pos x="71" y="35"/>
                </a:cxn>
                <a:cxn ang="0">
                  <a:pos x="62" y="95"/>
                </a:cxn>
                <a:cxn ang="0">
                  <a:pos x="17" y="95"/>
                </a:cxn>
                <a:cxn ang="0">
                  <a:pos x="17" y="51"/>
                </a:cxn>
                <a:cxn ang="0">
                  <a:pos x="33" y="36"/>
                </a:cxn>
                <a:cxn ang="0">
                  <a:pos x="44" y="27"/>
                </a:cxn>
                <a:cxn ang="0">
                  <a:pos x="44" y="27"/>
                </a:cxn>
                <a:cxn ang="0">
                  <a:pos x="44" y="21"/>
                </a:cxn>
                <a:cxn ang="0">
                  <a:pos x="34" y="13"/>
                </a:cxn>
                <a:cxn ang="0">
                  <a:pos x="33" y="13"/>
                </a:cxn>
                <a:cxn ang="0">
                  <a:pos x="31" y="12"/>
                </a:cxn>
                <a:cxn ang="0">
                  <a:pos x="30" y="6"/>
                </a:cxn>
                <a:cxn ang="0">
                  <a:pos x="30" y="6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9" y="4"/>
                </a:cxn>
                <a:cxn ang="0">
                  <a:pos x="51" y="4"/>
                </a:cxn>
                <a:cxn ang="0">
                  <a:pos x="68" y="35"/>
                </a:cxn>
                <a:cxn ang="0">
                  <a:pos x="62" y="95"/>
                </a:cxn>
              </a:cxnLst>
              <a:rect l="0" t="0" r="r" b="b"/>
              <a:pathLst>
                <a:path w="75" h="98">
                  <a:moveTo>
                    <a:pt x="71" y="35"/>
                  </a:moveTo>
                  <a:cubicBezTo>
                    <a:pt x="66" y="6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45" y="0"/>
                    <a:pt x="39" y="0"/>
                  </a:cubicBezTo>
                  <a:cubicBezTo>
                    <a:pt x="36" y="0"/>
                    <a:pt x="34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7" y="4"/>
                    <a:pt x="27" y="5"/>
                  </a:cubicBezTo>
                  <a:cubicBezTo>
                    <a:pt x="26" y="9"/>
                    <a:pt x="26" y="12"/>
                    <a:pt x="28" y="14"/>
                  </a:cubicBezTo>
                  <a:cubicBezTo>
                    <a:pt x="30" y="16"/>
                    <a:pt x="32" y="17"/>
                    <a:pt x="33" y="17"/>
                  </a:cubicBezTo>
                  <a:cubicBezTo>
                    <a:pt x="39" y="18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1" y="24"/>
                    <a:pt x="41" y="26"/>
                    <a:pt x="40" y="26"/>
                  </a:cubicBezTo>
                  <a:cubicBezTo>
                    <a:pt x="39" y="30"/>
                    <a:pt x="34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1" y="37"/>
                    <a:pt x="14" y="48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0" y="76"/>
                    <a:pt x="13" y="96"/>
                    <a:pt x="14" y="97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75" y="64"/>
                    <a:pt x="72" y="35"/>
                    <a:pt x="71" y="35"/>
                  </a:cubicBezTo>
                  <a:close/>
                  <a:moveTo>
                    <a:pt x="62" y="95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4" y="91"/>
                    <a:pt x="6" y="73"/>
                    <a:pt x="17" y="51"/>
                  </a:cubicBezTo>
                  <a:cubicBezTo>
                    <a:pt x="18" y="50"/>
                    <a:pt x="24" y="39"/>
                    <a:pt x="33" y="36"/>
                  </a:cubicBezTo>
                  <a:cubicBezTo>
                    <a:pt x="34" y="36"/>
                    <a:pt x="42" y="33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4"/>
                    <a:pt x="44" y="21"/>
                  </a:cubicBezTo>
                  <a:cubicBezTo>
                    <a:pt x="44" y="20"/>
                    <a:pt x="42" y="15"/>
                    <a:pt x="34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2" y="13"/>
                    <a:pt x="31" y="12"/>
                  </a:cubicBezTo>
                  <a:cubicBezTo>
                    <a:pt x="30" y="11"/>
                    <a:pt x="30" y="9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1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6" y="4"/>
                    <a:pt x="39" y="4"/>
                  </a:cubicBezTo>
                  <a:cubicBezTo>
                    <a:pt x="44" y="4"/>
                    <a:pt x="50" y="4"/>
                    <a:pt x="51" y="4"/>
                  </a:cubicBezTo>
                  <a:cubicBezTo>
                    <a:pt x="53" y="5"/>
                    <a:pt x="63" y="11"/>
                    <a:pt x="68" y="35"/>
                  </a:cubicBezTo>
                  <a:cubicBezTo>
                    <a:pt x="68" y="36"/>
                    <a:pt x="71" y="64"/>
                    <a:pt x="62" y="9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12" name="Group 360"/>
          <p:cNvGrpSpPr>
            <a:grpSpLocks noChangeAspect="1"/>
          </p:cNvGrpSpPr>
          <p:nvPr/>
        </p:nvGrpSpPr>
        <p:grpSpPr bwMode="auto">
          <a:xfrm>
            <a:off x="6911181" y="4075113"/>
            <a:ext cx="838200" cy="839787"/>
            <a:chOff x="4349" y="2567"/>
            <a:chExt cx="528" cy="529"/>
          </a:xfrm>
        </p:grpSpPr>
        <p:sp>
          <p:nvSpPr>
            <p:cNvPr id="49513" name="Oval 361"/>
            <p:cNvSpPr>
              <a:spLocks noChangeArrowheads="1"/>
            </p:cNvSpPr>
            <p:nvPr/>
          </p:nvSpPr>
          <p:spPr bwMode="auto">
            <a:xfrm>
              <a:off x="4349" y="2567"/>
              <a:ext cx="528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14" name="Freeform 362"/>
            <p:cNvSpPr>
              <a:spLocks noEditPoints="1"/>
            </p:cNvSpPr>
            <p:nvPr/>
          </p:nvSpPr>
          <p:spPr bwMode="auto">
            <a:xfrm>
              <a:off x="4365" y="2583"/>
              <a:ext cx="496" cy="497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4"/>
                </a:cxn>
                <a:cxn ang="0">
                  <a:pos x="103" y="0"/>
                </a:cxn>
                <a:cxn ang="0">
                  <a:pos x="207" y="104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4"/>
                </a:cxn>
                <a:cxn ang="0">
                  <a:pos x="103" y="202"/>
                </a:cxn>
                <a:cxn ang="0">
                  <a:pos x="202" y="104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1"/>
                    <a:pt x="0" y="104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7" y="47"/>
                    <a:pt x="207" y="104"/>
                  </a:cubicBezTo>
                  <a:cubicBezTo>
                    <a:pt x="207" y="161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15" name="Freeform 363"/>
            <p:cNvSpPr>
              <a:spLocks noEditPoints="1"/>
            </p:cNvSpPr>
            <p:nvPr/>
          </p:nvSpPr>
          <p:spPr bwMode="auto">
            <a:xfrm>
              <a:off x="4447" y="2715"/>
              <a:ext cx="337" cy="218"/>
            </a:xfrm>
            <a:custGeom>
              <a:avLst/>
              <a:gdLst/>
              <a:ahLst/>
              <a:cxnLst>
                <a:cxn ang="0">
                  <a:pos x="123" y="91"/>
                </a:cxn>
                <a:cxn ang="0">
                  <a:pos x="22" y="91"/>
                </a:cxn>
                <a:cxn ang="0">
                  <a:pos x="6" y="83"/>
                </a:cxn>
                <a:cxn ang="0">
                  <a:pos x="1" y="64"/>
                </a:cxn>
                <a:cxn ang="0">
                  <a:pos x="1" y="64"/>
                </a:cxn>
                <a:cxn ang="0">
                  <a:pos x="9" y="52"/>
                </a:cxn>
                <a:cxn ang="0">
                  <a:pos x="13" y="31"/>
                </a:cxn>
                <a:cxn ang="0">
                  <a:pos x="34" y="21"/>
                </a:cxn>
                <a:cxn ang="0">
                  <a:pos x="58" y="0"/>
                </a:cxn>
                <a:cxn ang="0">
                  <a:pos x="63" y="0"/>
                </a:cxn>
                <a:cxn ang="0">
                  <a:pos x="94" y="19"/>
                </a:cxn>
                <a:cxn ang="0">
                  <a:pos x="96" y="19"/>
                </a:cxn>
                <a:cxn ang="0">
                  <a:pos x="114" y="26"/>
                </a:cxn>
                <a:cxn ang="0">
                  <a:pos x="122" y="46"/>
                </a:cxn>
                <a:cxn ang="0">
                  <a:pos x="141" y="71"/>
                </a:cxn>
                <a:cxn ang="0">
                  <a:pos x="141" y="71"/>
                </a:cxn>
                <a:cxn ang="0">
                  <a:pos x="123" y="91"/>
                </a:cxn>
                <a:cxn ang="0">
                  <a:pos x="22" y="87"/>
                </a:cxn>
                <a:cxn ang="0">
                  <a:pos x="122" y="87"/>
                </a:cxn>
                <a:cxn ang="0">
                  <a:pos x="138" y="71"/>
                </a:cxn>
                <a:cxn ang="0">
                  <a:pos x="120" y="49"/>
                </a:cxn>
                <a:cxn ang="0">
                  <a:pos x="118" y="49"/>
                </a:cxn>
                <a:cxn ang="0">
                  <a:pos x="118" y="47"/>
                </a:cxn>
                <a:cxn ang="0">
                  <a:pos x="112" y="28"/>
                </a:cxn>
                <a:cxn ang="0">
                  <a:pos x="96" y="22"/>
                </a:cxn>
                <a:cxn ang="0">
                  <a:pos x="93" y="22"/>
                </a:cxn>
                <a:cxn ang="0">
                  <a:pos x="92" y="23"/>
                </a:cxn>
                <a:cxn ang="0">
                  <a:pos x="91" y="21"/>
                </a:cxn>
                <a:cxn ang="0">
                  <a:pos x="63" y="3"/>
                </a:cxn>
                <a:cxn ang="0">
                  <a:pos x="59" y="4"/>
                </a:cxn>
                <a:cxn ang="0">
                  <a:pos x="37" y="23"/>
                </a:cxn>
                <a:cxn ang="0">
                  <a:pos x="37" y="25"/>
                </a:cxn>
                <a:cxn ang="0">
                  <a:pos x="36" y="25"/>
                </a:cxn>
                <a:cxn ang="0">
                  <a:pos x="16" y="33"/>
                </a:cxn>
                <a:cxn ang="0">
                  <a:pos x="13" y="52"/>
                </a:cxn>
                <a:cxn ang="0">
                  <a:pos x="13" y="54"/>
                </a:cxn>
                <a:cxn ang="0">
                  <a:pos x="12" y="54"/>
                </a:cxn>
                <a:cxn ang="0">
                  <a:pos x="5" y="65"/>
                </a:cxn>
                <a:cxn ang="0">
                  <a:pos x="8" y="80"/>
                </a:cxn>
                <a:cxn ang="0">
                  <a:pos x="22" y="87"/>
                </a:cxn>
              </a:cxnLst>
              <a:rect l="0" t="0" r="r" b="b"/>
              <a:pathLst>
                <a:path w="141" h="91">
                  <a:moveTo>
                    <a:pt x="123" y="91"/>
                  </a:moveTo>
                  <a:cubicBezTo>
                    <a:pt x="22" y="91"/>
                    <a:pt x="22" y="91"/>
                    <a:pt x="22" y="91"/>
                  </a:cubicBezTo>
                  <a:cubicBezTo>
                    <a:pt x="21" y="91"/>
                    <a:pt x="12" y="90"/>
                    <a:pt x="6" y="83"/>
                  </a:cubicBezTo>
                  <a:cubicBezTo>
                    <a:pt x="2" y="78"/>
                    <a:pt x="0" y="72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2" y="56"/>
                    <a:pt x="9" y="52"/>
                  </a:cubicBezTo>
                  <a:cubicBezTo>
                    <a:pt x="8" y="48"/>
                    <a:pt x="7" y="38"/>
                    <a:pt x="13" y="31"/>
                  </a:cubicBezTo>
                  <a:cubicBezTo>
                    <a:pt x="17" y="25"/>
                    <a:pt x="24" y="22"/>
                    <a:pt x="34" y="21"/>
                  </a:cubicBezTo>
                  <a:cubicBezTo>
                    <a:pt x="36" y="17"/>
                    <a:pt x="43" y="3"/>
                    <a:pt x="58" y="0"/>
                  </a:cubicBezTo>
                  <a:cubicBezTo>
                    <a:pt x="58" y="0"/>
                    <a:pt x="60" y="0"/>
                    <a:pt x="63" y="0"/>
                  </a:cubicBezTo>
                  <a:cubicBezTo>
                    <a:pt x="71" y="0"/>
                    <a:pt x="86" y="2"/>
                    <a:pt x="94" y="19"/>
                  </a:cubicBezTo>
                  <a:cubicBezTo>
                    <a:pt x="94" y="19"/>
                    <a:pt x="95" y="19"/>
                    <a:pt x="96" y="19"/>
                  </a:cubicBezTo>
                  <a:cubicBezTo>
                    <a:pt x="100" y="19"/>
                    <a:pt x="109" y="19"/>
                    <a:pt x="114" y="26"/>
                  </a:cubicBezTo>
                  <a:cubicBezTo>
                    <a:pt x="119" y="30"/>
                    <a:pt x="121" y="37"/>
                    <a:pt x="122" y="46"/>
                  </a:cubicBezTo>
                  <a:cubicBezTo>
                    <a:pt x="127" y="47"/>
                    <a:pt x="141" y="5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88"/>
                    <a:pt x="123" y="91"/>
                  </a:cubicBezTo>
                  <a:close/>
                  <a:moveTo>
                    <a:pt x="22" y="87"/>
                  </a:moveTo>
                  <a:cubicBezTo>
                    <a:pt x="122" y="87"/>
                    <a:pt x="122" y="87"/>
                    <a:pt x="122" y="87"/>
                  </a:cubicBezTo>
                  <a:cubicBezTo>
                    <a:pt x="137" y="85"/>
                    <a:pt x="138" y="72"/>
                    <a:pt x="138" y="71"/>
                  </a:cubicBezTo>
                  <a:cubicBezTo>
                    <a:pt x="138" y="51"/>
                    <a:pt x="120" y="49"/>
                    <a:pt x="120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39"/>
                    <a:pt x="116" y="32"/>
                    <a:pt x="112" y="28"/>
                  </a:cubicBezTo>
                  <a:cubicBezTo>
                    <a:pt x="107" y="23"/>
                    <a:pt x="100" y="22"/>
                    <a:pt x="96" y="22"/>
                  </a:cubicBezTo>
                  <a:cubicBezTo>
                    <a:pt x="94" y="22"/>
                    <a:pt x="93" y="22"/>
                    <a:pt x="93" y="22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84" y="6"/>
                    <a:pt x="71" y="3"/>
                    <a:pt x="63" y="3"/>
                  </a:cubicBezTo>
                  <a:cubicBezTo>
                    <a:pt x="61" y="3"/>
                    <a:pt x="59" y="4"/>
                    <a:pt x="59" y="4"/>
                  </a:cubicBezTo>
                  <a:cubicBezTo>
                    <a:pt x="43" y="7"/>
                    <a:pt x="37" y="23"/>
                    <a:pt x="37" y="23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6" y="25"/>
                    <a:pt x="20" y="28"/>
                    <a:pt x="16" y="33"/>
                  </a:cubicBezTo>
                  <a:cubicBezTo>
                    <a:pt x="10" y="41"/>
                    <a:pt x="13" y="52"/>
                    <a:pt x="13" y="52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6" y="58"/>
                    <a:pt x="5" y="64"/>
                    <a:pt x="5" y="65"/>
                  </a:cubicBezTo>
                  <a:cubicBezTo>
                    <a:pt x="4" y="71"/>
                    <a:pt x="5" y="76"/>
                    <a:pt x="8" y="80"/>
                  </a:cubicBezTo>
                  <a:cubicBezTo>
                    <a:pt x="13" y="86"/>
                    <a:pt x="21" y="87"/>
                    <a:pt x="22" y="8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518" name="Group 366"/>
          <p:cNvGrpSpPr>
            <a:grpSpLocks noChangeAspect="1"/>
          </p:cNvGrpSpPr>
          <p:nvPr/>
        </p:nvGrpSpPr>
        <p:grpSpPr bwMode="auto">
          <a:xfrm>
            <a:off x="8047038" y="4100513"/>
            <a:ext cx="787400" cy="787400"/>
            <a:chOff x="5069" y="2583"/>
            <a:chExt cx="496" cy="496"/>
          </a:xfrm>
        </p:grpSpPr>
        <p:sp>
          <p:nvSpPr>
            <p:cNvPr id="49519" name="Freeform 367"/>
            <p:cNvSpPr>
              <a:spLocks noEditPoints="1"/>
            </p:cNvSpPr>
            <p:nvPr/>
          </p:nvSpPr>
          <p:spPr bwMode="auto">
            <a:xfrm>
              <a:off x="5069" y="2583"/>
              <a:ext cx="496" cy="496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4"/>
                </a:cxn>
                <a:cxn ang="0">
                  <a:pos x="103" y="0"/>
                </a:cxn>
                <a:cxn ang="0">
                  <a:pos x="207" y="104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4"/>
                </a:cxn>
                <a:cxn ang="0">
                  <a:pos x="103" y="202"/>
                </a:cxn>
                <a:cxn ang="0">
                  <a:pos x="202" y="104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1"/>
                    <a:pt x="0" y="104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7" y="47"/>
                    <a:pt x="207" y="104"/>
                  </a:cubicBezTo>
                  <a:cubicBezTo>
                    <a:pt x="207" y="161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20" name="Freeform 368"/>
            <p:cNvSpPr>
              <a:spLocks noEditPoints="1"/>
            </p:cNvSpPr>
            <p:nvPr/>
          </p:nvSpPr>
          <p:spPr bwMode="auto">
            <a:xfrm>
              <a:off x="5150" y="2715"/>
              <a:ext cx="338" cy="218"/>
            </a:xfrm>
            <a:custGeom>
              <a:avLst/>
              <a:gdLst/>
              <a:ahLst/>
              <a:cxnLst>
                <a:cxn ang="0">
                  <a:pos x="123" y="91"/>
                </a:cxn>
                <a:cxn ang="0">
                  <a:pos x="22" y="91"/>
                </a:cxn>
                <a:cxn ang="0">
                  <a:pos x="6" y="83"/>
                </a:cxn>
                <a:cxn ang="0">
                  <a:pos x="1" y="64"/>
                </a:cxn>
                <a:cxn ang="0">
                  <a:pos x="1" y="64"/>
                </a:cxn>
                <a:cxn ang="0">
                  <a:pos x="9" y="52"/>
                </a:cxn>
                <a:cxn ang="0">
                  <a:pos x="13" y="31"/>
                </a:cxn>
                <a:cxn ang="0">
                  <a:pos x="34" y="21"/>
                </a:cxn>
                <a:cxn ang="0">
                  <a:pos x="58" y="0"/>
                </a:cxn>
                <a:cxn ang="0">
                  <a:pos x="63" y="0"/>
                </a:cxn>
                <a:cxn ang="0">
                  <a:pos x="94" y="19"/>
                </a:cxn>
                <a:cxn ang="0">
                  <a:pos x="96" y="19"/>
                </a:cxn>
                <a:cxn ang="0">
                  <a:pos x="114" y="26"/>
                </a:cxn>
                <a:cxn ang="0">
                  <a:pos x="122" y="46"/>
                </a:cxn>
                <a:cxn ang="0">
                  <a:pos x="141" y="71"/>
                </a:cxn>
                <a:cxn ang="0">
                  <a:pos x="141" y="71"/>
                </a:cxn>
                <a:cxn ang="0">
                  <a:pos x="123" y="91"/>
                </a:cxn>
                <a:cxn ang="0">
                  <a:pos x="22" y="87"/>
                </a:cxn>
                <a:cxn ang="0">
                  <a:pos x="122" y="87"/>
                </a:cxn>
                <a:cxn ang="0">
                  <a:pos x="138" y="71"/>
                </a:cxn>
                <a:cxn ang="0">
                  <a:pos x="120" y="49"/>
                </a:cxn>
                <a:cxn ang="0">
                  <a:pos x="118" y="49"/>
                </a:cxn>
                <a:cxn ang="0">
                  <a:pos x="118" y="47"/>
                </a:cxn>
                <a:cxn ang="0">
                  <a:pos x="112" y="28"/>
                </a:cxn>
                <a:cxn ang="0">
                  <a:pos x="96" y="22"/>
                </a:cxn>
                <a:cxn ang="0">
                  <a:pos x="93" y="22"/>
                </a:cxn>
                <a:cxn ang="0">
                  <a:pos x="92" y="23"/>
                </a:cxn>
                <a:cxn ang="0">
                  <a:pos x="91" y="21"/>
                </a:cxn>
                <a:cxn ang="0">
                  <a:pos x="63" y="3"/>
                </a:cxn>
                <a:cxn ang="0">
                  <a:pos x="59" y="4"/>
                </a:cxn>
                <a:cxn ang="0">
                  <a:pos x="37" y="23"/>
                </a:cxn>
                <a:cxn ang="0">
                  <a:pos x="37" y="25"/>
                </a:cxn>
                <a:cxn ang="0">
                  <a:pos x="36" y="25"/>
                </a:cxn>
                <a:cxn ang="0">
                  <a:pos x="16" y="33"/>
                </a:cxn>
                <a:cxn ang="0">
                  <a:pos x="13" y="52"/>
                </a:cxn>
                <a:cxn ang="0">
                  <a:pos x="13" y="54"/>
                </a:cxn>
                <a:cxn ang="0">
                  <a:pos x="12" y="54"/>
                </a:cxn>
                <a:cxn ang="0">
                  <a:pos x="5" y="65"/>
                </a:cxn>
                <a:cxn ang="0">
                  <a:pos x="8" y="80"/>
                </a:cxn>
                <a:cxn ang="0">
                  <a:pos x="22" y="87"/>
                </a:cxn>
              </a:cxnLst>
              <a:rect l="0" t="0" r="r" b="b"/>
              <a:pathLst>
                <a:path w="141" h="91">
                  <a:moveTo>
                    <a:pt x="123" y="91"/>
                  </a:moveTo>
                  <a:cubicBezTo>
                    <a:pt x="22" y="91"/>
                    <a:pt x="22" y="91"/>
                    <a:pt x="22" y="91"/>
                  </a:cubicBezTo>
                  <a:cubicBezTo>
                    <a:pt x="21" y="91"/>
                    <a:pt x="12" y="90"/>
                    <a:pt x="6" y="83"/>
                  </a:cubicBezTo>
                  <a:cubicBezTo>
                    <a:pt x="2" y="78"/>
                    <a:pt x="0" y="72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2" y="56"/>
                    <a:pt x="9" y="52"/>
                  </a:cubicBezTo>
                  <a:cubicBezTo>
                    <a:pt x="8" y="48"/>
                    <a:pt x="7" y="38"/>
                    <a:pt x="13" y="31"/>
                  </a:cubicBezTo>
                  <a:cubicBezTo>
                    <a:pt x="17" y="25"/>
                    <a:pt x="24" y="22"/>
                    <a:pt x="34" y="21"/>
                  </a:cubicBezTo>
                  <a:cubicBezTo>
                    <a:pt x="36" y="17"/>
                    <a:pt x="43" y="3"/>
                    <a:pt x="58" y="0"/>
                  </a:cubicBezTo>
                  <a:cubicBezTo>
                    <a:pt x="58" y="0"/>
                    <a:pt x="60" y="0"/>
                    <a:pt x="63" y="0"/>
                  </a:cubicBezTo>
                  <a:cubicBezTo>
                    <a:pt x="71" y="0"/>
                    <a:pt x="86" y="2"/>
                    <a:pt x="94" y="19"/>
                  </a:cubicBezTo>
                  <a:cubicBezTo>
                    <a:pt x="94" y="19"/>
                    <a:pt x="95" y="19"/>
                    <a:pt x="96" y="19"/>
                  </a:cubicBezTo>
                  <a:cubicBezTo>
                    <a:pt x="100" y="19"/>
                    <a:pt x="109" y="19"/>
                    <a:pt x="114" y="26"/>
                  </a:cubicBezTo>
                  <a:cubicBezTo>
                    <a:pt x="119" y="30"/>
                    <a:pt x="121" y="37"/>
                    <a:pt x="122" y="46"/>
                  </a:cubicBezTo>
                  <a:cubicBezTo>
                    <a:pt x="127" y="47"/>
                    <a:pt x="141" y="5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88"/>
                    <a:pt x="123" y="91"/>
                  </a:cubicBezTo>
                  <a:close/>
                  <a:moveTo>
                    <a:pt x="22" y="87"/>
                  </a:moveTo>
                  <a:cubicBezTo>
                    <a:pt x="122" y="87"/>
                    <a:pt x="122" y="87"/>
                    <a:pt x="122" y="87"/>
                  </a:cubicBezTo>
                  <a:cubicBezTo>
                    <a:pt x="137" y="85"/>
                    <a:pt x="138" y="72"/>
                    <a:pt x="138" y="71"/>
                  </a:cubicBezTo>
                  <a:cubicBezTo>
                    <a:pt x="138" y="51"/>
                    <a:pt x="120" y="49"/>
                    <a:pt x="120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39"/>
                    <a:pt x="116" y="32"/>
                    <a:pt x="112" y="28"/>
                  </a:cubicBezTo>
                  <a:cubicBezTo>
                    <a:pt x="107" y="23"/>
                    <a:pt x="100" y="22"/>
                    <a:pt x="96" y="22"/>
                  </a:cubicBezTo>
                  <a:cubicBezTo>
                    <a:pt x="94" y="22"/>
                    <a:pt x="93" y="22"/>
                    <a:pt x="93" y="22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84" y="6"/>
                    <a:pt x="71" y="3"/>
                    <a:pt x="63" y="3"/>
                  </a:cubicBezTo>
                  <a:cubicBezTo>
                    <a:pt x="61" y="3"/>
                    <a:pt x="59" y="4"/>
                    <a:pt x="59" y="4"/>
                  </a:cubicBezTo>
                  <a:cubicBezTo>
                    <a:pt x="43" y="7"/>
                    <a:pt x="37" y="23"/>
                    <a:pt x="37" y="23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6" y="25"/>
                    <a:pt x="20" y="28"/>
                    <a:pt x="16" y="33"/>
                  </a:cubicBezTo>
                  <a:cubicBezTo>
                    <a:pt x="10" y="41"/>
                    <a:pt x="13" y="52"/>
                    <a:pt x="13" y="52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6" y="58"/>
                    <a:pt x="5" y="64"/>
                    <a:pt x="5" y="65"/>
                  </a:cubicBezTo>
                  <a:cubicBezTo>
                    <a:pt x="4" y="71"/>
                    <a:pt x="5" y="76"/>
                    <a:pt x="8" y="80"/>
                  </a:cubicBezTo>
                  <a:cubicBezTo>
                    <a:pt x="13" y="86"/>
                    <a:pt x="21" y="87"/>
                    <a:pt x="22" y="8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523" name="Group 371"/>
          <p:cNvGrpSpPr>
            <a:grpSpLocks noChangeAspect="1"/>
          </p:cNvGrpSpPr>
          <p:nvPr/>
        </p:nvGrpSpPr>
        <p:grpSpPr bwMode="auto">
          <a:xfrm>
            <a:off x="341313" y="5402264"/>
            <a:ext cx="841375" cy="841375"/>
            <a:chOff x="215" y="3403"/>
            <a:chExt cx="530" cy="530"/>
          </a:xfrm>
        </p:grpSpPr>
        <p:sp>
          <p:nvSpPr>
            <p:cNvPr id="49524" name="Oval 372"/>
            <p:cNvSpPr>
              <a:spLocks noChangeArrowheads="1"/>
            </p:cNvSpPr>
            <p:nvPr/>
          </p:nvSpPr>
          <p:spPr bwMode="auto">
            <a:xfrm>
              <a:off x="215" y="3403"/>
              <a:ext cx="530" cy="53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25" name="Freeform 373"/>
            <p:cNvSpPr>
              <a:spLocks noEditPoints="1"/>
            </p:cNvSpPr>
            <p:nvPr/>
          </p:nvSpPr>
          <p:spPr bwMode="auto">
            <a:xfrm>
              <a:off x="232" y="3420"/>
              <a:ext cx="496" cy="496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2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4" y="0"/>
                  </a:cubicBezTo>
                  <a:cubicBezTo>
                    <a:pt x="161" y="0"/>
                    <a:pt x="207" y="46"/>
                    <a:pt x="207" y="103"/>
                  </a:cubicBezTo>
                  <a:cubicBezTo>
                    <a:pt x="207" y="160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26" name="Freeform 374"/>
            <p:cNvSpPr>
              <a:spLocks noEditPoints="1"/>
            </p:cNvSpPr>
            <p:nvPr/>
          </p:nvSpPr>
          <p:spPr bwMode="auto">
            <a:xfrm>
              <a:off x="400" y="3616"/>
              <a:ext cx="148" cy="39"/>
            </a:xfrm>
            <a:custGeom>
              <a:avLst/>
              <a:gdLst/>
              <a:ahLst/>
              <a:cxnLst>
                <a:cxn ang="0">
                  <a:pos x="31" y="16"/>
                </a:cxn>
                <a:cxn ang="0">
                  <a:pos x="0" y="8"/>
                </a:cxn>
                <a:cxn ang="0">
                  <a:pos x="31" y="0"/>
                </a:cxn>
                <a:cxn ang="0">
                  <a:pos x="62" y="8"/>
                </a:cxn>
                <a:cxn ang="0">
                  <a:pos x="31" y="16"/>
                </a:cxn>
                <a:cxn ang="0">
                  <a:pos x="4" y="8"/>
                </a:cxn>
                <a:cxn ang="0">
                  <a:pos x="31" y="12"/>
                </a:cxn>
                <a:cxn ang="0">
                  <a:pos x="58" y="8"/>
                </a:cxn>
                <a:cxn ang="0">
                  <a:pos x="31" y="4"/>
                </a:cxn>
                <a:cxn ang="0">
                  <a:pos x="4" y="8"/>
                </a:cxn>
              </a:cxnLst>
              <a:rect l="0" t="0" r="r" b="b"/>
              <a:pathLst>
                <a:path w="62" h="16">
                  <a:moveTo>
                    <a:pt x="31" y="16"/>
                  </a:moveTo>
                  <a:cubicBezTo>
                    <a:pt x="28" y="16"/>
                    <a:pt x="0" y="16"/>
                    <a:pt x="0" y="8"/>
                  </a:cubicBezTo>
                  <a:cubicBezTo>
                    <a:pt x="0" y="0"/>
                    <a:pt x="28" y="0"/>
                    <a:pt x="31" y="0"/>
                  </a:cubicBezTo>
                  <a:cubicBezTo>
                    <a:pt x="34" y="0"/>
                    <a:pt x="62" y="0"/>
                    <a:pt x="62" y="8"/>
                  </a:cubicBezTo>
                  <a:cubicBezTo>
                    <a:pt x="62" y="16"/>
                    <a:pt x="34" y="16"/>
                    <a:pt x="31" y="16"/>
                  </a:cubicBezTo>
                  <a:close/>
                  <a:moveTo>
                    <a:pt x="4" y="8"/>
                  </a:moveTo>
                  <a:cubicBezTo>
                    <a:pt x="5" y="10"/>
                    <a:pt x="15" y="12"/>
                    <a:pt x="31" y="12"/>
                  </a:cubicBezTo>
                  <a:cubicBezTo>
                    <a:pt x="47" y="12"/>
                    <a:pt x="57" y="10"/>
                    <a:pt x="58" y="8"/>
                  </a:cubicBezTo>
                  <a:cubicBezTo>
                    <a:pt x="57" y="6"/>
                    <a:pt x="47" y="4"/>
                    <a:pt x="31" y="4"/>
                  </a:cubicBezTo>
                  <a:cubicBezTo>
                    <a:pt x="15" y="4"/>
                    <a:pt x="5" y="6"/>
                    <a:pt x="4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27" name="Rectangle 375"/>
            <p:cNvSpPr>
              <a:spLocks noChangeArrowheads="1"/>
            </p:cNvSpPr>
            <p:nvPr/>
          </p:nvSpPr>
          <p:spPr bwMode="auto">
            <a:xfrm>
              <a:off x="400" y="3635"/>
              <a:ext cx="9" cy="16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28" name="Freeform 376"/>
            <p:cNvSpPr>
              <a:spLocks/>
            </p:cNvSpPr>
            <p:nvPr/>
          </p:nvSpPr>
          <p:spPr bwMode="auto">
            <a:xfrm>
              <a:off x="400" y="3635"/>
              <a:ext cx="148" cy="187"/>
            </a:xfrm>
            <a:custGeom>
              <a:avLst/>
              <a:gdLst/>
              <a:ahLst/>
              <a:cxnLst>
                <a:cxn ang="0">
                  <a:pos x="31" y="78"/>
                </a:cxn>
                <a:cxn ang="0">
                  <a:pos x="0" y="70"/>
                </a:cxn>
                <a:cxn ang="0">
                  <a:pos x="4" y="70"/>
                </a:cxn>
                <a:cxn ang="0">
                  <a:pos x="4" y="70"/>
                </a:cxn>
                <a:cxn ang="0">
                  <a:pos x="31" y="74"/>
                </a:cxn>
                <a:cxn ang="0">
                  <a:pos x="58" y="70"/>
                </a:cxn>
                <a:cxn ang="0">
                  <a:pos x="58" y="0"/>
                </a:cxn>
                <a:cxn ang="0">
                  <a:pos x="62" y="0"/>
                </a:cxn>
                <a:cxn ang="0">
                  <a:pos x="62" y="70"/>
                </a:cxn>
                <a:cxn ang="0">
                  <a:pos x="31" y="78"/>
                </a:cxn>
              </a:cxnLst>
              <a:rect l="0" t="0" r="r" b="b"/>
              <a:pathLst>
                <a:path w="62" h="78">
                  <a:moveTo>
                    <a:pt x="31" y="78"/>
                  </a:moveTo>
                  <a:cubicBezTo>
                    <a:pt x="28" y="78"/>
                    <a:pt x="0" y="78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72"/>
                    <a:pt x="14" y="74"/>
                    <a:pt x="31" y="74"/>
                  </a:cubicBezTo>
                  <a:cubicBezTo>
                    <a:pt x="47" y="74"/>
                    <a:pt x="57" y="72"/>
                    <a:pt x="58" y="7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8"/>
                    <a:pt x="34" y="78"/>
                    <a:pt x="31" y="7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29" name="Freeform 377"/>
            <p:cNvSpPr>
              <a:spLocks/>
            </p:cNvSpPr>
            <p:nvPr/>
          </p:nvSpPr>
          <p:spPr bwMode="auto">
            <a:xfrm>
              <a:off x="544" y="3664"/>
              <a:ext cx="62" cy="118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45"/>
                </a:cxn>
                <a:cxn ang="0">
                  <a:pos x="22" y="2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6" y="24"/>
                </a:cxn>
                <a:cxn ang="0">
                  <a:pos x="0" y="49"/>
                </a:cxn>
              </a:cxnLst>
              <a:rect l="0" t="0" r="r" b="b"/>
              <a:pathLst>
                <a:path w="26" h="49">
                  <a:moveTo>
                    <a:pt x="0" y="49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12" y="45"/>
                    <a:pt x="22" y="36"/>
                    <a:pt x="22" y="24"/>
                  </a:cubicBezTo>
                  <a:cubicBezTo>
                    <a:pt x="22" y="13"/>
                    <a:pt x="12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26" y="11"/>
                    <a:pt x="26" y="24"/>
                  </a:cubicBezTo>
                  <a:cubicBezTo>
                    <a:pt x="26" y="38"/>
                    <a:pt x="14" y="49"/>
                    <a:pt x="0" y="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30" name="Freeform 378"/>
            <p:cNvSpPr>
              <a:spLocks/>
            </p:cNvSpPr>
            <p:nvPr/>
          </p:nvSpPr>
          <p:spPr bwMode="auto">
            <a:xfrm>
              <a:off x="544" y="3679"/>
              <a:ext cx="45" cy="88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0" y="33"/>
                </a:cxn>
                <a:cxn ang="0">
                  <a:pos x="16" y="18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19" y="18"/>
                </a:cxn>
                <a:cxn ang="0">
                  <a:pos x="0" y="37"/>
                </a:cxn>
              </a:cxnLst>
              <a:rect l="0" t="0" r="r" b="b"/>
              <a:pathLst>
                <a:path w="19" h="37">
                  <a:moveTo>
                    <a:pt x="0" y="37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9" y="33"/>
                    <a:pt x="16" y="26"/>
                    <a:pt x="16" y="18"/>
                  </a:cubicBezTo>
                  <a:cubicBezTo>
                    <a:pt x="16" y="11"/>
                    <a:pt x="9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9" y="9"/>
                    <a:pt x="19" y="18"/>
                  </a:cubicBezTo>
                  <a:cubicBezTo>
                    <a:pt x="19" y="28"/>
                    <a:pt x="11" y="37"/>
                    <a:pt x="0" y="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31" name="Freeform 379"/>
            <p:cNvSpPr>
              <a:spLocks/>
            </p:cNvSpPr>
            <p:nvPr/>
          </p:nvSpPr>
          <p:spPr bwMode="auto">
            <a:xfrm>
              <a:off x="433" y="3508"/>
              <a:ext cx="36" cy="99"/>
            </a:xfrm>
            <a:custGeom>
              <a:avLst/>
              <a:gdLst/>
              <a:ahLst/>
              <a:cxnLst>
                <a:cxn ang="0">
                  <a:pos x="3" y="41"/>
                </a:cxn>
                <a:cxn ang="0">
                  <a:pos x="1" y="40"/>
                </a:cxn>
                <a:cxn ang="0">
                  <a:pos x="2" y="37"/>
                </a:cxn>
                <a:cxn ang="0">
                  <a:pos x="10" y="30"/>
                </a:cxn>
                <a:cxn ang="0">
                  <a:pos x="7" y="22"/>
                </a:cxn>
                <a:cxn ang="0">
                  <a:pos x="7" y="22"/>
                </a:cxn>
                <a:cxn ang="0">
                  <a:pos x="1" y="9"/>
                </a:cxn>
                <a:cxn ang="0">
                  <a:pos x="9" y="0"/>
                </a:cxn>
                <a:cxn ang="0">
                  <a:pos x="11" y="1"/>
                </a:cxn>
                <a:cxn ang="0">
                  <a:pos x="10" y="4"/>
                </a:cxn>
                <a:cxn ang="0">
                  <a:pos x="4" y="10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14" y="31"/>
                </a:cxn>
                <a:cxn ang="0">
                  <a:pos x="4" y="41"/>
                </a:cxn>
                <a:cxn ang="0">
                  <a:pos x="3" y="41"/>
                </a:cxn>
              </a:cxnLst>
              <a:rect l="0" t="0" r="r" b="b"/>
              <a:pathLst>
                <a:path w="15" h="41">
                  <a:moveTo>
                    <a:pt x="3" y="41"/>
                  </a:moveTo>
                  <a:cubicBezTo>
                    <a:pt x="2" y="41"/>
                    <a:pt x="2" y="40"/>
                    <a:pt x="1" y="40"/>
                  </a:cubicBezTo>
                  <a:cubicBezTo>
                    <a:pt x="1" y="39"/>
                    <a:pt x="2" y="38"/>
                    <a:pt x="2" y="37"/>
                  </a:cubicBezTo>
                  <a:cubicBezTo>
                    <a:pt x="7" y="35"/>
                    <a:pt x="10" y="33"/>
                    <a:pt x="10" y="30"/>
                  </a:cubicBezTo>
                  <a:cubicBezTo>
                    <a:pt x="11" y="26"/>
                    <a:pt x="7" y="23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2" y="18"/>
                    <a:pt x="0" y="13"/>
                    <a:pt x="1" y="9"/>
                  </a:cubicBezTo>
                  <a:cubicBezTo>
                    <a:pt x="2" y="3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2"/>
                    <a:pt x="11" y="3"/>
                    <a:pt x="10" y="4"/>
                  </a:cubicBezTo>
                  <a:cubicBezTo>
                    <a:pt x="10" y="4"/>
                    <a:pt x="5" y="6"/>
                    <a:pt x="4" y="10"/>
                  </a:cubicBezTo>
                  <a:cubicBezTo>
                    <a:pt x="4" y="13"/>
                    <a:pt x="5" y="16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0"/>
                    <a:pt x="15" y="25"/>
                    <a:pt x="14" y="31"/>
                  </a:cubicBezTo>
                  <a:cubicBezTo>
                    <a:pt x="13" y="35"/>
                    <a:pt x="10" y="38"/>
                    <a:pt x="4" y="41"/>
                  </a:cubicBezTo>
                  <a:cubicBezTo>
                    <a:pt x="4" y="41"/>
                    <a:pt x="3" y="41"/>
                    <a:pt x="3" y="4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32" name="Freeform 380"/>
            <p:cNvSpPr>
              <a:spLocks/>
            </p:cNvSpPr>
            <p:nvPr/>
          </p:nvSpPr>
          <p:spPr bwMode="auto">
            <a:xfrm>
              <a:off x="481" y="3508"/>
              <a:ext cx="36" cy="99"/>
            </a:xfrm>
            <a:custGeom>
              <a:avLst/>
              <a:gdLst/>
              <a:ahLst/>
              <a:cxnLst>
                <a:cxn ang="0">
                  <a:pos x="4" y="41"/>
                </a:cxn>
                <a:cxn ang="0">
                  <a:pos x="2" y="40"/>
                </a:cxn>
                <a:cxn ang="0">
                  <a:pos x="3" y="37"/>
                </a:cxn>
                <a:cxn ang="0">
                  <a:pos x="11" y="30"/>
                </a:cxn>
                <a:cxn ang="0">
                  <a:pos x="7" y="22"/>
                </a:cxn>
                <a:cxn ang="0">
                  <a:pos x="7" y="22"/>
                </a:cxn>
                <a:cxn ang="0">
                  <a:pos x="1" y="9"/>
                </a:cxn>
                <a:cxn ang="0">
                  <a:pos x="9" y="0"/>
                </a:cxn>
                <a:cxn ang="0">
                  <a:pos x="12" y="1"/>
                </a:cxn>
                <a:cxn ang="0">
                  <a:pos x="11" y="4"/>
                </a:cxn>
                <a:cxn ang="0">
                  <a:pos x="5" y="10"/>
                </a:cxn>
                <a:cxn ang="0">
                  <a:pos x="10" y="19"/>
                </a:cxn>
                <a:cxn ang="0">
                  <a:pos x="10" y="19"/>
                </a:cxn>
                <a:cxn ang="0">
                  <a:pos x="14" y="31"/>
                </a:cxn>
                <a:cxn ang="0">
                  <a:pos x="4" y="41"/>
                </a:cxn>
                <a:cxn ang="0">
                  <a:pos x="4" y="41"/>
                </a:cxn>
              </a:cxnLst>
              <a:rect l="0" t="0" r="r" b="b"/>
              <a:pathLst>
                <a:path w="15" h="41">
                  <a:moveTo>
                    <a:pt x="4" y="41"/>
                  </a:moveTo>
                  <a:cubicBezTo>
                    <a:pt x="3" y="41"/>
                    <a:pt x="2" y="40"/>
                    <a:pt x="2" y="40"/>
                  </a:cubicBezTo>
                  <a:cubicBezTo>
                    <a:pt x="1" y="39"/>
                    <a:pt x="2" y="38"/>
                    <a:pt x="3" y="37"/>
                  </a:cubicBezTo>
                  <a:cubicBezTo>
                    <a:pt x="8" y="35"/>
                    <a:pt x="10" y="33"/>
                    <a:pt x="11" y="30"/>
                  </a:cubicBezTo>
                  <a:cubicBezTo>
                    <a:pt x="12" y="26"/>
                    <a:pt x="8" y="23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2" y="18"/>
                    <a:pt x="0" y="13"/>
                    <a:pt x="1" y="9"/>
                  </a:cubicBezTo>
                  <a:cubicBezTo>
                    <a:pt x="2" y="3"/>
                    <a:pt x="9" y="0"/>
                    <a:pt x="9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2"/>
                    <a:pt x="12" y="3"/>
                    <a:pt x="11" y="4"/>
                  </a:cubicBezTo>
                  <a:cubicBezTo>
                    <a:pt x="11" y="4"/>
                    <a:pt x="5" y="6"/>
                    <a:pt x="5" y="10"/>
                  </a:cubicBezTo>
                  <a:cubicBezTo>
                    <a:pt x="4" y="13"/>
                    <a:pt x="6" y="16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20"/>
                    <a:pt x="15" y="25"/>
                    <a:pt x="14" y="31"/>
                  </a:cubicBezTo>
                  <a:cubicBezTo>
                    <a:pt x="14" y="35"/>
                    <a:pt x="10" y="38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35" name="Group 383"/>
          <p:cNvGrpSpPr>
            <a:grpSpLocks noChangeAspect="1"/>
          </p:cNvGrpSpPr>
          <p:nvPr/>
        </p:nvGrpSpPr>
        <p:grpSpPr bwMode="auto">
          <a:xfrm>
            <a:off x="1456532" y="5434013"/>
            <a:ext cx="785813" cy="787400"/>
            <a:chOff x="918" y="3423"/>
            <a:chExt cx="495" cy="496"/>
          </a:xfrm>
        </p:grpSpPr>
        <p:sp>
          <p:nvSpPr>
            <p:cNvPr id="49536" name="Freeform 384"/>
            <p:cNvSpPr>
              <a:spLocks noEditPoints="1"/>
            </p:cNvSpPr>
            <p:nvPr/>
          </p:nvSpPr>
          <p:spPr bwMode="auto">
            <a:xfrm>
              <a:off x="918" y="3423"/>
              <a:ext cx="495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37" name="Freeform 385"/>
            <p:cNvSpPr>
              <a:spLocks noEditPoints="1"/>
            </p:cNvSpPr>
            <p:nvPr/>
          </p:nvSpPr>
          <p:spPr bwMode="auto">
            <a:xfrm>
              <a:off x="1085" y="3620"/>
              <a:ext cx="206" cy="206"/>
            </a:xfrm>
            <a:custGeom>
              <a:avLst/>
              <a:gdLst/>
              <a:ahLst/>
              <a:cxnLst>
                <a:cxn ang="0">
                  <a:pos x="62" y="20"/>
                </a:cxn>
                <a:cxn ang="0">
                  <a:pos x="62" y="8"/>
                </a:cxn>
                <a:cxn ang="0">
                  <a:pos x="31" y="0"/>
                </a:cxn>
                <a:cxn ang="0">
                  <a:pos x="0" y="8"/>
                </a:cxn>
                <a:cxn ang="0">
                  <a:pos x="0" y="78"/>
                </a:cxn>
                <a:cxn ang="0">
                  <a:pos x="31" y="86"/>
                </a:cxn>
                <a:cxn ang="0">
                  <a:pos x="62" y="78"/>
                </a:cxn>
                <a:cxn ang="0">
                  <a:pos x="62" y="69"/>
                </a:cxn>
                <a:cxn ang="0">
                  <a:pos x="86" y="44"/>
                </a:cxn>
                <a:cxn ang="0">
                  <a:pos x="62" y="20"/>
                </a:cxn>
                <a:cxn ang="0">
                  <a:pos x="62" y="30"/>
                </a:cxn>
                <a:cxn ang="0">
                  <a:pos x="76" y="44"/>
                </a:cxn>
                <a:cxn ang="0">
                  <a:pos x="62" y="59"/>
                </a:cxn>
                <a:cxn ang="0">
                  <a:pos x="62" y="30"/>
                </a:cxn>
                <a:cxn ang="0">
                  <a:pos x="31" y="4"/>
                </a:cxn>
                <a:cxn ang="0">
                  <a:pos x="58" y="8"/>
                </a:cxn>
                <a:cxn ang="0">
                  <a:pos x="31" y="12"/>
                </a:cxn>
                <a:cxn ang="0">
                  <a:pos x="4" y="8"/>
                </a:cxn>
                <a:cxn ang="0">
                  <a:pos x="31" y="4"/>
                </a:cxn>
                <a:cxn ang="0">
                  <a:pos x="31" y="82"/>
                </a:cxn>
                <a:cxn ang="0">
                  <a:pos x="4" y="78"/>
                </a:cxn>
                <a:cxn ang="0">
                  <a:pos x="4" y="12"/>
                </a:cxn>
                <a:cxn ang="0">
                  <a:pos x="31" y="16"/>
                </a:cxn>
                <a:cxn ang="0">
                  <a:pos x="58" y="12"/>
                </a:cxn>
                <a:cxn ang="0">
                  <a:pos x="58" y="78"/>
                </a:cxn>
                <a:cxn ang="0">
                  <a:pos x="31" y="82"/>
                </a:cxn>
                <a:cxn ang="0">
                  <a:pos x="62" y="65"/>
                </a:cxn>
                <a:cxn ang="0">
                  <a:pos x="62" y="62"/>
                </a:cxn>
                <a:cxn ang="0">
                  <a:pos x="79" y="44"/>
                </a:cxn>
                <a:cxn ang="0">
                  <a:pos x="62" y="27"/>
                </a:cxn>
                <a:cxn ang="0">
                  <a:pos x="62" y="24"/>
                </a:cxn>
                <a:cxn ang="0">
                  <a:pos x="82" y="44"/>
                </a:cxn>
                <a:cxn ang="0">
                  <a:pos x="62" y="65"/>
                </a:cxn>
              </a:cxnLst>
              <a:rect l="0" t="0" r="r" b="b"/>
              <a:pathLst>
                <a:path w="86" h="86">
                  <a:moveTo>
                    <a:pt x="62" y="20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62" y="0"/>
                    <a:pt x="34" y="0"/>
                    <a:pt x="31" y="0"/>
                  </a:cubicBezTo>
                  <a:cubicBezTo>
                    <a:pt x="28" y="0"/>
                    <a:pt x="0" y="0"/>
                    <a:pt x="0" y="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6"/>
                    <a:pt x="28" y="86"/>
                    <a:pt x="31" y="86"/>
                  </a:cubicBezTo>
                  <a:cubicBezTo>
                    <a:pt x="34" y="86"/>
                    <a:pt x="62" y="86"/>
                    <a:pt x="62" y="78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75" y="68"/>
                    <a:pt x="86" y="57"/>
                    <a:pt x="86" y="44"/>
                  </a:cubicBezTo>
                  <a:cubicBezTo>
                    <a:pt x="86" y="32"/>
                    <a:pt x="75" y="21"/>
                    <a:pt x="62" y="20"/>
                  </a:cubicBezTo>
                  <a:close/>
                  <a:moveTo>
                    <a:pt x="62" y="30"/>
                  </a:moveTo>
                  <a:cubicBezTo>
                    <a:pt x="70" y="31"/>
                    <a:pt x="76" y="37"/>
                    <a:pt x="76" y="44"/>
                  </a:cubicBezTo>
                  <a:cubicBezTo>
                    <a:pt x="76" y="52"/>
                    <a:pt x="70" y="58"/>
                    <a:pt x="62" y="59"/>
                  </a:cubicBezTo>
                  <a:lnTo>
                    <a:pt x="62" y="30"/>
                  </a:lnTo>
                  <a:close/>
                  <a:moveTo>
                    <a:pt x="31" y="4"/>
                  </a:moveTo>
                  <a:cubicBezTo>
                    <a:pt x="47" y="4"/>
                    <a:pt x="57" y="6"/>
                    <a:pt x="58" y="8"/>
                  </a:cubicBezTo>
                  <a:cubicBezTo>
                    <a:pt x="57" y="10"/>
                    <a:pt x="47" y="12"/>
                    <a:pt x="31" y="12"/>
                  </a:cubicBezTo>
                  <a:cubicBezTo>
                    <a:pt x="15" y="12"/>
                    <a:pt x="5" y="10"/>
                    <a:pt x="4" y="8"/>
                  </a:cubicBezTo>
                  <a:cubicBezTo>
                    <a:pt x="5" y="6"/>
                    <a:pt x="15" y="4"/>
                    <a:pt x="31" y="4"/>
                  </a:cubicBezTo>
                  <a:close/>
                  <a:moveTo>
                    <a:pt x="31" y="82"/>
                  </a:moveTo>
                  <a:cubicBezTo>
                    <a:pt x="15" y="82"/>
                    <a:pt x="5" y="80"/>
                    <a:pt x="4" y="7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1" y="16"/>
                    <a:pt x="29" y="16"/>
                    <a:pt x="31" y="16"/>
                  </a:cubicBezTo>
                  <a:cubicBezTo>
                    <a:pt x="33" y="16"/>
                    <a:pt x="51" y="16"/>
                    <a:pt x="58" y="12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7" y="80"/>
                    <a:pt x="47" y="82"/>
                    <a:pt x="31" y="82"/>
                  </a:cubicBezTo>
                  <a:close/>
                  <a:moveTo>
                    <a:pt x="62" y="65"/>
                  </a:moveTo>
                  <a:cubicBezTo>
                    <a:pt x="62" y="62"/>
                    <a:pt x="62" y="62"/>
                    <a:pt x="62" y="62"/>
                  </a:cubicBezTo>
                  <a:cubicBezTo>
                    <a:pt x="72" y="62"/>
                    <a:pt x="79" y="54"/>
                    <a:pt x="79" y="44"/>
                  </a:cubicBezTo>
                  <a:cubicBezTo>
                    <a:pt x="79" y="35"/>
                    <a:pt x="72" y="27"/>
                    <a:pt x="62" y="27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73" y="25"/>
                    <a:pt x="82" y="34"/>
                    <a:pt x="82" y="44"/>
                  </a:cubicBezTo>
                  <a:cubicBezTo>
                    <a:pt x="82" y="55"/>
                    <a:pt x="73" y="64"/>
                    <a:pt x="62" y="6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38" name="Freeform 386"/>
            <p:cNvSpPr>
              <a:spLocks/>
            </p:cNvSpPr>
            <p:nvPr/>
          </p:nvSpPr>
          <p:spPr bwMode="auto">
            <a:xfrm>
              <a:off x="1119" y="3512"/>
              <a:ext cx="36" cy="98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7" y="22"/>
                </a:cxn>
                <a:cxn ang="0">
                  <a:pos x="10" y="30"/>
                </a:cxn>
                <a:cxn ang="0">
                  <a:pos x="2" y="37"/>
                </a:cxn>
                <a:cxn ang="0">
                  <a:pos x="1" y="40"/>
                </a:cxn>
                <a:cxn ang="0">
                  <a:pos x="3" y="41"/>
                </a:cxn>
                <a:cxn ang="0">
                  <a:pos x="4" y="41"/>
                </a:cxn>
                <a:cxn ang="0">
                  <a:pos x="14" y="31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4" y="10"/>
                </a:cxn>
                <a:cxn ang="0">
                  <a:pos x="10" y="4"/>
                </a:cxn>
                <a:cxn ang="0">
                  <a:pos x="11" y="1"/>
                </a:cxn>
                <a:cxn ang="0">
                  <a:pos x="9" y="0"/>
                </a:cxn>
                <a:cxn ang="0">
                  <a:pos x="1" y="9"/>
                </a:cxn>
                <a:cxn ang="0">
                  <a:pos x="7" y="22"/>
                </a:cxn>
              </a:cxnLst>
              <a:rect l="0" t="0" r="r" b="b"/>
              <a:pathLst>
                <a:path w="15" h="41">
                  <a:moveTo>
                    <a:pt x="7" y="22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11" y="26"/>
                    <a:pt x="10" y="30"/>
                  </a:cubicBezTo>
                  <a:cubicBezTo>
                    <a:pt x="10" y="33"/>
                    <a:pt x="7" y="35"/>
                    <a:pt x="2" y="37"/>
                  </a:cubicBezTo>
                  <a:cubicBezTo>
                    <a:pt x="2" y="38"/>
                    <a:pt x="1" y="39"/>
                    <a:pt x="1" y="40"/>
                  </a:cubicBezTo>
                  <a:cubicBezTo>
                    <a:pt x="2" y="40"/>
                    <a:pt x="2" y="41"/>
                    <a:pt x="3" y="41"/>
                  </a:cubicBezTo>
                  <a:cubicBezTo>
                    <a:pt x="3" y="41"/>
                    <a:pt x="4" y="41"/>
                    <a:pt x="4" y="41"/>
                  </a:cubicBezTo>
                  <a:cubicBezTo>
                    <a:pt x="10" y="38"/>
                    <a:pt x="13" y="35"/>
                    <a:pt x="14" y="31"/>
                  </a:cubicBezTo>
                  <a:cubicBezTo>
                    <a:pt x="15" y="25"/>
                    <a:pt x="10" y="20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5" y="16"/>
                    <a:pt x="4" y="13"/>
                    <a:pt x="4" y="10"/>
                  </a:cubicBezTo>
                  <a:cubicBezTo>
                    <a:pt x="5" y="6"/>
                    <a:pt x="10" y="4"/>
                    <a:pt x="10" y="4"/>
                  </a:cubicBezTo>
                  <a:cubicBezTo>
                    <a:pt x="11" y="3"/>
                    <a:pt x="12" y="2"/>
                    <a:pt x="11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9" y="0"/>
                    <a:pt x="2" y="3"/>
                    <a:pt x="1" y="9"/>
                  </a:cubicBezTo>
                  <a:cubicBezTo>
                    <a:pt x="0" y="13"/>
                    <a:pt x="2" y="18"/>
                    <a:pt x="7" y="2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39" name="Freeform 387"/>
            <p:cNvSpPr>
              <a:spLocks/>
            </p:cNvSpPr>
            <p:nvPr/>
          </p:nvSpPr>
          <p:spPr bwMode="auto">
            <a:xfrm>
              <a:off x="1167" y="3512"/>
              <a:ext cx="36" cy="98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7" y="22"/>
                </a:cxn>
                <a:cxn ang="0">
                  <a:pos x="11" y="30"/>
                </a:cxn>
                <a:cxn ang="0">
                  <a:pos x="3" y="37"/>
                </a:cxn>
                <a:cxn ang="0">
                  <a:pos x="2" y="40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14" y="31"/>
                </a:cxn>
                <a:cxn ang="0">
                  <a:pos x="10" y="19"/>
                </a:cxn>
                <a:cxn ang="0">
                  <a:pos x="10" y="19"/>
                </a:cxn>
                <a:cxn ang="0">
                  <a:pos x="5" y="10"/>
                </a:cxn>
                <a:cxn ang="0">
                  <a:pos x="11" y="4"/>
                </a:cxn>
                <a:cxn ang="0">
                  <a:pos x="12" y="1"/>
                </a:cxn>
                <a:cxn ang="0">
                  <a:pos x="9" y="0"/>
                </a:cxn>
                <a:cxn ang="0">
                  <a:pos x="1" y="9"/>
                </a:cxn>
                <a:cxn ang="0">
                  <a:pos x="7" y="22"/>
                </a:cxn>
              </a:cxnLst>
              <a:rect l="0" t="0" r="r" b="b"/>
              <a:pathLst>
                <a:path w="15" h="41">
                  <a:moveTo>
                    <a:pt x="7" y="22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8" y="23"/>
                    <a:pt x="12" y="26"/>
                    <a:pt x="11" y="30"/>
                  </a:cubicBezTo>
                  <a:cubicBezTo>
                    <a:pt x="10" y="33"/>
                    <a:pt x="8" y="35"/>
                    <a:pt x="3" y="37"/>
                  </a:cubicBezTo>
                  <a:cubicBezTo>
                    <a:pt x="2" y="38"/>
                    <a:pt x="1" y="39"/>
                    <a:pt x="2" y="40"/>
                  </a:cubicBezTo>
                  <a:cubicBezTo>
                    <a:pt x="2" y="40"/>
                    <a:pt x="3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10" y="38"/>
                    <a:pt x="14" y="35"/>
                    <a:pt x="14" y="31"/>
                  </a:cubicBezTo>
                  <a:cubicBezTo>
                    <a:pt x="15" y="25"/>
                    <a:pt x="10" y="20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6" y="16"/>
                    <a:pt x="4" y="13"/>
                    <a:pt x="5" y="10"/>
                  </a:cubicBezTo>
                  <a:cubicBezTo>
                    <a:pt x="5" y="6"/>
                    <a:pt x="11" y="4"/>
                    <a:pt x="11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9" y="0"/>
                    <a:pt x="2" y="3"/>
                    <a:pt x="1" y="9"/>
                  </a:cubicBezTo>
                  <a:cubicBezTo>
                    <a:pt x="0" y="13"/>
                    <a:pt x="2" y="18"/>
                    <a:pt x="7" y="2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42" name="Group 390"/>
          <p:cNvGrpSpPr>
            <a:grpSpLocks noChangeAspect="1"/>
          </p:cNvGrpSpPr>
          <p:nvPr/>
        </p:nvGrpSpPr>
        <p:grpSpPr bwMode="auto">
          <a:xfrm>
            <a:off x="2522697" y="5402263"/>
            <a:ext cx="844550" cy="844550"/>
            <a:chOff x="1591" y="3403"/>
            <a:chExt cx="532" cy="532"/>
          </a:xfrm>
        </p:grpSpPr>
        <p:sp>
          <p:nvSpPr>
            <p:cNvPr id="49543" name="Oval 391"/>
            <p:cNvSpPr>
              <a:spLocks noChangeArrowheads="1"/>
            </p:cNvSpPr>
            <p:nvPr/>
          </p:nvSpPr>
          <p:spPr bwMode="auto">
            <a:xfrm>
              <a:off x="1591" y="3403"/>
              <a:ext cx="532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44" name="Freeform 392"/>
            <p:cNvSpPr>
              <a:spLocks noEditPoints="1"/>
            </p:cNvSpPr>
            <p:nvPr/>
          </p:nvSpPr>
          <p:spPr bwMode="auto">
            <a:xfrm>
              <a:off x="1608" y="3422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45" name="Freeform 393"/>
            <p:cNvSpPr>
              <a:spLocks noEditPoints="1"/>
            </p:cNvSpPr>
            <p:nvPr/>
          </p:nvSpPr>
          <p:spPr bwMode="auto">
            <a:xfrm>
              <a:off x="1692" y="3506"/>
              <a:ext cx="328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46" name="Freeform 394"/>
            <p:cNvSpPr>
              <a:spLocks noEditPoints="1"/>
            </p:cNvSpPr>
            <p:nvPr/>
          </p:nvSpPr>
          <p:spPr bwMode="auto">
            <a:xfrm>
              <a:off x="1790" y="3588"/>
              <a:ext cx="134" cy="167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53" y="0"/>
                </a:cxn>
                <a:cxn ang="0">
                  <a:pos x="25" y="21"/>
                </a:cxn>
                <a:cxn ang="0">
                  <a:pos x="16" y="26"/>
                </a:cxn>
                <a:cxn ang="0">
                  <a:pos x="13" y="36"/>
                </a:cxn>
                <a:cxn ang="0">
                  <a:pos x="0" y="68"/>
                </a:cxn>
                <a:cxn ang="0">
                  <a:pos x="0" y="70"/>
                </a:cxn>
                <a:cxn ang="0">
                  <a:pos x="1" y="70"/>
                </a:cxn>
                <a:cxn ang="0">
                  <a:pos x="3" y="70"/>
                </a:cxn>
                <a:cxn ang="0">
                  <a:pos x="30" y="49"/>
                </a:cxn>
                <a:cxn ang="0">
                  <a:pos x="39" y="44"/>
                </a:cxn>
                <a:cxn ang="0">
                  <a:pos x="42" y="35"/>
                </a:cxn>
                <a:cxn ang="0">
                  <a:pos x="55" y="2"/>
                </a:cxn>
                <a:cxn ang="0">
                  <a:pos x="55" y="0"/>
                </a:cxn>
                <a:cxn ang="0">
                  <a:pos x="38" y="34"/>
                </a:cxn>
                <a:cxn ang="0">
                  <a:pos x="38" y="34"/>
                </a:cxn>
                <a:cxn ang="0">
                  <a:pos x="36" y="42"/>
                </a:cxn>
                <a:cxn ang="0">
                  <a:pos x="29" y="46"/>
                </a:cxn>
                <a:cxn ang="0">
                  <a:pos x="29" y="46"/>
                </a:cxn>
                <a:cxn ang="0">
                  <a:pos x="6" y="63"/>
                </a:cxn>
                <a:cxn ang="0">
                  <a:pos x="17" y="37"/>
                </a:cxn>
                <a:cxn ang="0">
                  <a:pos x="17" y="36"/>
                </a:cxn>
                <a:cxn ang="0">
                  <a:pos x="19" y="28"/>
                </a:cxn>
                <a:cxn ang="0">
                  <a:pos x="26" y="24"/>
                </a:cxn>
                <a:cxn ang="0">
                  <a:pos x="27" y="24"/>
                </a:cxn>
                <a:cxn ang="0">
                  <a:pos x="49" y="7"/>
                </a:cxn>
                <a:cxn ang="0">
                  <a:pos x="38" y="34"/>
                </a:cxn>
              </a:cxnLst>
              <a:rect l="0" t="0" r="r" b="b"/>
              <a:pathLst>
                <a:path w="56" h="70">
                  <a:moveTo>
                    <a:pt x="55" y="0"/>
                  </a:moveTo>
                  <a:cubicBezTo>
                    <a:pt x="54" y="0"/>
                    <a:pt x="53" y="0"/>
                    <a:pt x="53" y="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1" y="22"/>
                    <a:pt x="18" y="23"/>
                    <a:pt x="16" y="26"/>
                  </a:cubicBezTo>
                  <a:cubicBezTo>
                    <a:pt x="14" y="29"/>
                    <a:pt x="13" y="32"/>
                    <a:pt x="13" y="3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0" y="69"/>
                    <a:pt x="0" y="70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2" y="70"/>
                    <a:pt x="2" y="70"/>
                    <a:pt x="3" y="7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4" y="49"/>
                    <a:pt x="37" y="47"/>
                    <a:pt x="39" y="44"/>
                  </a:cubicBezTo>
                  <a:cubicBezTo>
                    <a:pt x="41" y="41"/>
                    <a:pt x="42" y="38"/>
                    <a:pt x="42" y="35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6" y="2"/>
                    <a:pt x="55" y="1"/>
                    <a:pt x="55" y="0"/>
                  </a:cubicBezTo>
                  <a:close/>
                  <a:moveTo>
                    <a:pt x="38" y="34"/>
                  </a:moveTo>
                  <a:cubicBezTo>
                    <a:pt x="38" y="34"/>
                    <a:pt x="38" y="34"/>
                    <a:pt x="38" y="34"/>
                  </a:cubicBezTo>
                  <a:cubicBezTo>
                    <a:pt x="39" y="37"/>
                    <a:pt x="38" y="40"/>
                    <a:pt x="36" y="42"/>
                  </a:cubicBezTo>
                  <a:cubicBezTo>
                    <a:pt x="34" y="44"/>
                    <a:pt x="32" y="45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3"/>
                    <a:pt x="17" y="30"/>
                    <a:pt x="19" y="28"/>
                  </a:cubicBezTo>
                  <a:cubicBezTo>
                    <a:pt x="21" y="26"/>
                    <a:pt x="23" y="25"/>
                    <a:pt x="26" y="24"/>
                  </a:cubicBezTo>
                  <a:cubicBezTo>
                    <a:pt x="26" y="24"/>
                    <a:pt x="26" y="24"/>
                    <a:pt x="27" y="24"/>
                  </a:cubicBezTo>
                  <a:cubicBezTo>
                    <a:pt x="49" y="7"/>
                    <a:pt x="49" y="7"/>
                    <a:pt x="49" y="7"/>
                  </a:cubicBezTo>
                  <a:lnTo>
                    <a:pt x="38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47" name="Freeform 395"/>
            <p:cNvSpPr>
              <a:spLocks/>
            </p:cNvSpPr>
            <p:nvPr/>
          </p:nvSpPr>
          <p:spPr bwMode="auto">
            <a:xfrm>
              <a:off x="1840" y="3530"/>
              <a:ext cx="34" cy="41"/>
            </a:xfrm>
            <a:custGeom>
              <a:avLst/>
              <a:gdLst/>
              <a:ahLst/>
              <a:cxnLst>
                <a:cxn ang="0">
                  <a:pos x="10" y="17"/>
                </a:cxn>
                <a:cxn ang="0">
                  <a:pos x="24" y="41"/>
                </a:cxn>
                <a:cxn ang="0">
                  <a:pos x="34" y="41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24" y="24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41"/>
                </a:cxn>
                <a:cxn ang="0">
                  <a:pos x="10" y="41"/>
                </a:cxn>
                <a:cxn ang="0">
                  <a:pos x="10" y="17"/>
                </a:cxn>
              </a:cxnLst>
              <a:rect l="0" t="0" r="r" b="b"/>
              <a:pathLst>
                <a:path w="34" h="41">
                  <a:moveTo>
                    <a:pt x="10" y="17"/>
                  </a:moveTo>
                  <a:lnTo>
                    <a:pt x="24" y="41"/>
                  </a:lnTo>
                  <a:lnTo>
                    <a:pt x="34" y="41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24" y="24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10" y="41"/>
                  </a:lnTo>
                  <a:lnTo>
                    <a:pt x="10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50" name="Group 398"/>
          <p:cNvGrpSpPr>
            <a:grpSpLocks noChangeAspect="1"/>
          </p:cNvGrpSpPr>
          <p:nvPr/>
        </p:nvGrpSpPr>
        <p:grpSpPr bwMode="auto">
          <a:xfrm>
            <a:off x="3659187" y="5430841"/>
            <a:ext cx="787400" cy="784226"/>
            <a:chOff x="2300" y="3421"/>
            <a:chExt cx="496" cy="494"/>
          </a:xfrm>
        </p:grpSpPr>
        <p:sp>
          <p:nvSpPr>
            <p:cNvPr id="49551" name="Freeform 399"/>
            <p:cNvSpPr>
              <a:spLocks noEditPoints="1"/>
            </p:cNvSpPr>
            <p:nvPr/>
          </p:nvSpPr>
          <p:spPr bwMode="auto">
            <a:xfrm>
              <a:off x="2300" y="3421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52" name="Freeform 400"/>
            <p:cNvSpPr>
              <a:spLocks noEditPoints="1"/>
            </p:cNvSpPr>
            <p:nvPr/>
          </p:nvSpPr>
          <p:spPr bwMode="auto">
            <a:xfrm>
              <a:off x="2384" y="3505"/>
              <a:ext cx="329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53" name="Freeform 401"/>
            <p:cNvSpPr>
              <a:spLocks noEditPoints="1"/>
            </p:cNvSpPr>
            <p:nvPr/>
          </p:nvSpPr>
          <p:spPr bwMode="auto">
            <a:xfrm>
              <a:off x="2483" y="3587"/>
              <a:ext cx="134" cy="168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53" y="0"/>
                </a:cxn>
                <a:cxn ang="0">
                  <a:pos x="25" y="21"/>
                </a:cxn>
                <a:cxn ang="0">
                  <a:pos x="16" y="26"/>
                </a:cxn>
                <a:cxn ang="0">
                  <a:pos x="13" y="36"/>
                </a:cxn>
                <a:cxn ang="0">
                  <a:pos x="0" y="68"/>
                </a:cxn>
                <a:cxn ang="0">
                  <a:pos x="0" y="70"/>
                </a:cxn>
                <a:cxn ang="0">
                  <a:pos x="1" y="70"/>
                </a:cxn>
                <a:cxn ang="0">
                  <a:pos x="3" y="70"/>
                </a:cxn>
                <a:cxn ang="0">
                  <a:pos x="30" y="49"/>
                </a:cxn>
                <a:cxn ang="0">
                  <a:pos x="39" y="44"/>
                </a:cxn>
                <a:cxn ang="0">
                  <a:pos x="42" y="35"/>
                </a:cxn>
                <a:cxn ang="0">
                  <a:pos x="55" y="2"/>
                </a:cxn>
                <a:cxn ang="0">
                  <a:pos x="55" y="0"/>
                </a:cxn>
                <a:cxn ang="0">
                  <a:pos x="38" y="34"/>
                </a:cxn>
                <a:cxn ang="0">
                  <a:pos x="38" y="34"/>
                </a:cxn>
                <a:cxn ang="0">
                  <a:pos x="36" y="42"/>
                </a:cxn>
                <a:cxn ang="0">
                  <a:pos x="29" y="46"/>
                </a:cxn>
                <a:cxn ang="0">
                  <a:pos x="29" y="46"/>
                </a:cxn>
                <a:cxn ang="0">
                  <a:pos x="6" y="63"/>
                </a:cxn>
                <a:cxn ang="0">
                  <a:pos x="17" y="37"/>
                </a:cxn>
                <a:cxn ang="0">
                  <a:pos x="17" y="36"/>
                </a:cxn>
                <a:cxn ang="0">
                  <a:pos x="19" y="28"/>
                </a:cxn>
                <a:cxn ang="0">
                  <a:pos x="26" y="24"/>
                </a:cxn>
                <a:cxn ang="0">
                  <a:pos x="27" y="24"/>
                </a:cxn>
                <a:cxn ang="0">
                  <a:pos x="49" y="7"/>
                </a:cxn>
                <a:cxn ang="0">
                  <a:pos x="38" y="34"/>
                </a:cxn>
              </a:cxnLst>
              <a:rect l="0" t="0" r="r" b="b"/>
              <a:pathLst>
                <a:path w="56" h="70">
                  <a:moveTo>
                    <a:pt x="55" y="0"/>
                  </a:moveTo>
                  <a:cubicBezTo>
                    <a:pt x="54" y="0"/>
                    <a:pt x="53" y="0"/>
                    <a:pt x="53" y="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1" y="22"/>
                    <a:pt x="18" y="23"/>
                    <a:pt x="16" y="26"/>
                  </a:cubicBezTo>
                  <a:cubicBezTo>
                    <a:pt x="14" y="29"/>
                    <a:pt x="13" y="32"/>
                    <a:pt x="13" y="3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0" y="69"/>
                    <a:pt x="0" y="70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2" y="70"/>
                    <a:pt x="2" y="70"/>
                    <a:pt x="3" y="7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4" y="49"/>
                    <a:pt x="37" y="47"/>
                    <a:pt x="39" y="44"/>
                  </a:cubicBezTo>
                  <a:cubicBezTo>
                    <a:pt x="41" y="41"/>
                    <a:pt x="42" y="38"/>
                    <a:pt x="42" y="35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6" y="2"/>
                    <a:pt x="55" y="1"/>
                    <a:pt x="55" y="0"/>
                  </a:cubicBezTo>
                  <a:close/>
                  <a:moveTo>
                    <a:pt x="38" y="34"/>
                  </a:moveTo>
                  <a:cubicBezTo>
                    <a:pt x="38" y="34"/>
                    <a:pt x="38" y="34"/>
                    <a:pt x="38" y="34"/>
                  </a:cubicBezTo>
                  <a:cubicBezTo>
                    <a:pt x="39" y="37"/>
                    <a:pt x="38" y="40"/>
                    <a:pt x="36" y="42"/>
                  </a:cubicBezTo>
                  <a:cubicBezTo>
                    <a:pt x="34" y="44"/>
                    <a:pt x="32" y="45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3"/>
                    <a:pt x="17" y="30"/>
                    <a:pt x="19" y="28"/>
                  </a:cubicBezTo>
                  <a:cubicBezTo>
                    <a:pt x="21" y="26"/>
                    <a:pt x="23" y="25"/>
                    <a:pt x="26" y="24"/>
                  </a:cubicBezTo>
                  <a:cubicBezTo>
                    <a:pt x="26" y="24"/>
                    <a:pt x="26" y="24"/>
                    <a:pt x="27" y="24"/>
                  </a:cubicBezTo>
                  <a:cubicBezTo>
                    <a:pt x="49" y="7"/>
                    <a:pt x="49" y="7"/>
                    <a:pt x="49" y="7"/>
                  </a:cubicBezTo>
                  <a:lnTo>
                    <a:pt x="38" y="3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54" name="Freeform 402"/>
            <p:cNvSpPr>
              <a:spLocks/>
            </p:cNvSpPr>
            <p:nvPr/>
          </p:nvSpPr>
          <p:spPr bwMode="auto">
            <a:xfrm>
              <a:off x="2533" y="3529"/>
              <a:ext cx="33" cy="41"/>
            </a:xfrm>
            <a:custGeom>
              <a:avLst/>
              <a:gdLst/>
              <a:ahLst/>
              <a:cxnLst>
                <a:cxn ang="0">
                  <a:pos x="9" y="17"/>
                </a:cxn>
                <a:cxn ang="0">
                  <a:pos x="24" y="41"/>
                </a:cxn>
                <a:cxn ang="0">
                  <a:pos x="33" y="41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24" y="24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41"/>
                </a:cxn>
                <a:cxn ang="0">
                  <a:pos x="9" y="41"/>
                </a:cxn>
                <a:cxn ang="0">
                  <a:pos x="9" y="17"/>
                </a:cxn>
              </a:cxnLst>
              <a:rect l="0" t="0" r="r" b="b"/>
              <a:pathLst>
                <a:path w="33" h="41">
                  <a:moveTo>
                    <a:pt x="9" y="17"/>
                  </a:moveTo>
                  <a:lnTo>
                    <a:pt x="24" y="41"/>
                  </a:lnTo>
                  <a:lnTo>
                    <a:pt x="33" y="41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24" y="24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9" y="41"/>
                  </a:lnTo>
                  <a:lnTo>
                    <a:pt x="9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57" name="Group 405"/>
          <p:cNvGrpSpPr>
            <a:grpSpLocks noChangeAspect="1"/>
          </p:cNvGrpSpPr>
          <p:nvPr/>
        </p:nvGrpSpPr>
        <p:grpSpPr bwMode="auto">
          <a:xfrm>
            <a:off x="4717257" y="5408613"/>
            <a:ext cx="839788" cy="835025"/>
            <a:chOff x="2970" y="3407"/>
            <a:chExt cx="529" cy="526"/>
          </a:xfrm>
        </p:grpSpPr>
        <p:sp>
          <p:nvSpPr>
            <p:cNvPr id="49558" name="Oval 406"/>
            <p:cNvSpPr>
              <a:spLocks noChangeArrowheads="1"/>
            </p:cNvSpPr>
            <p:nvPr/>
          </p:nvSpPr>
          <p:spPr bwMode="auto">
            <a:xfrm>
              <a:off x="2970" y="3407"/>
              <a:ext cx="529" cy="52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59" name="Freeform 407"/>
            <p:cNvSpPr>
              <a:spLocks noEditPoints="1"/>
            </p:cNvSpPr>
            <p:nvPr/>
          </p:nvSpPr>
          <p:spPr bwMode="auto">
            <a:xfrm>
              <a:off x="2987" y="3424"/>
              <a:ext cx="495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60" name="Freeform 408"/>
            <p:cNvSpPr>
              <a:spLocks noEditPoints="1"/>
            </p:cNvSpPr>
            <p:nvPr/>
          </p:nvSpPr>
          <p:spPr bwMode="auto">
            <a:xfrm>
              <a:off x="3070" y="3507"/>
              <a:ext cx="328" cy="32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9"/>
                </a:cxn>
                <a:cxn ang="0">
                  <a:pos x="69" y="137"/>
                </a:cxn>
                <a:cxn ang="0">
                  <a:pos x="137" y="69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2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4" y="68"/>
                </a:cxn>
                <a:cxn ang="0">
                  <a:pos x="69" y="4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70"/>
                </a:cxn>
                <a:cxn ang="0">
                  <a:pos x="133" y="70"/>
                </a:cxn>
                <a:cxn ang="0">
                  <a:pos x="70" y="133"/>
                </a:cxn>
              </a:cxnLst>
              <a:rect l="0" t="0" r="r" b="b"/>
              <a:pathLst>
                <a:path w="137" h="137"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106"/>
                    <a:pt x="31" y="137"/>
                    <a:pt x="69" y="137"/>
                  </a:cubicBezTo>
                  <a:cubicBezTo>
                    <a:pt x="106" y="137"/>
                    <a:pt x="137" y="106"/>
                    <a:pt x="137" y="69"/>
                  </a:cubicBezTo>
                  <a:cubicBezTo>
                    <a:pt x="137" y="31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33"/>
                    <a:pt x="33" y="4"/>
                    <a:pt x="69" y="4"/>
                  </a:cubicBezTo>
                  <a:cubicBezTo>
                    <a:pt x="104" y="4"/>
                    <a:pt x="132" y="32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33" y="70"/>
                    <a:pt x="133" y="70"/>
                    <a:pt x="133" y="70"/>
                  </a:cubicBezTo>
                  <a:cubicBezTo>
                    <a:pt x="133" y="105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61" name="Freeform 409"/>
            <p:cNvSpPr>
              <a:spLocks/>
            </p:cNvSpPr>
            <p:nvPr/>
          </p:nvSpPr>
          <p:spPr bwMode="auto">
            <a:xfrm>
              <a:off x="3118" y="3613"/>
              <a:ext cx="98" cy="117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0"/>
                </a:cxn>
                <a:cxn ang="0">
                  <a:pos x="31" y="0"/>
                </a:cxn>
                <a:cxn ang="0">
                  <a:pos x="50" y="79"/>
                </a:cxn>
                <a:cxn ang="0">
                  <a:pos x="67" y="0"/>
                </a:cxn>
                <a:cxn ang="0">
                  <a:pos x="98" y="0"/>
                </a:cxn>
                <a:cxn ang="0">
                  <a:pos x="98" y="117"/>
                </a:cxn>
                <a:cxn ang="0">
                  <a:pos x="79" y="117"/>
                </a:cxn>
                <a:cxn ang="0">
                  <a:pos x="79" y="24"/>
                </a:cxn>
                <a:cxn ang="0">
                  <a:pos x="60" y="117"/>
                </a:cxn>
                <a:cxn ang="0">
                  <a:pos x="41" y="117"/>
                </a:cxn>
                <a:cxn ang="0">
                  <a:pos x="19" y="24"/>
                </a:cxn>
                <a:cxn ang="0">
                  <a:pos x="19" y="117"/>
                </a:cxn>
                <a:cxn ang="0">
                  <a:pos x="0" y="117"/>
                </a:cxn>
              </a:cxnLst>
              <a:rect l="0" t="0" r="r" b="b"/>
              <a:pathLst>
                <a:path w="98" h="117">
                  <a:moveTo>
                    <a:pt x="0" y="117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50" y="79"/>
                  </a:lnTo>
                  <a:lnTo>
                    <a:pt x="67" y="0"/>
                  </a:lnTo>
                  <a:lnTo>
                    <a:pt x="98" y="0"/>
                  </a:lnTo>
                  <a:lnTo>
                    <a:pt x="98" y="117"/>
                  </a:lnTo>
                  <a:lnTo>
                    <a:pt x="79" y="117"/>
                  </a:lnTo>
                  <a:lnTo>
                    <a:pt x="79" y="24"/>
                  </a:lnTo>
                  <a:lnTo>
                    <a:pt x="60" y="117"/>
                  </a:lnTo>
                  <a:lnTo>
                    <a:pt x="41" y="117"/>
                  </a:lnTo>
                  <a:lnTo>
                    <a:pt x="19" y="24"/>
                  </a:lnTo>
                  <a:lnTo>
                    <a:pt x="19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62" name="Freeform 410"/>
            <p:cNvSpPr>
              <a:spLocks/>
            </p:cNvSpPr>
            <p:nvPr/>
          </p:nvSpPr>
          <p:spPr bwMode="auto">
            <a:xfrm>
              <a:off x="3226" y="3613"/>
              <a:ext cx="134" cy="117"/>
            </a:xfrm>
            <a:custGeom>
              <a:avLst/>
              <a:gdLst/>
              <a:ahLst/>
              <a:cxnLst>
                <a:cxn ang="0">
                  <a:pos x="26" y="117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38" y="79"/>
                </a:cxn>
                <a:cxn ang="0">
                  <a:pos x="55" y="0"/>
                </a:cxn>
                <a:cxn ang="0">
                  <a:pos x="79" y="0"/>
                </a:cxn>
                <a:cxn ang="0">
                  <a:pos x="98" y="81"/>
                </a:cxn>
                <a:cxn ang="0">
                  <a:pos x="112" y="0"/>
                </a:cxn>
                <a:cxn ang="0">
                  <a:pos x="134" y="0"/>
                </a:cxn>
                <a:cxn ang="0">
                  <a:pos x="110" y="117"/>
                </a:cxn>
                <a:cxn ang="0">
                  <a:pos x="88" y="117"/>
                </a:cxn>
                <a:cxn ang="0">
                  <a:pos x="67" y="28"/>
                </a:cxn>
                <a:cxn ang="0">
                  <a:pos x="48" y="117"/>
                </a:cxn>
                <a:cxn ang="0">
                  <a:pos x="26" y="117"/>
                </a:cxn>
              </a:cxnLst>
              <a:rect l="0" t="0" r="r" b="b"/>
              <a:pathLst>
                <a:path w="134" h="117">
                  <a:moveTo>
                    <a:pt x="26" y="11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38" y="79"/>
                  </a:lnTo>
                  <a:lnTo>
                    <a:pt x="55" y="0"/>
                  </a:lnTo>
                  <a:lnTo>
                    <a:pt x="79" y="0"/>
                  </a:lnTo>
                  <a:lnTo>
                    <a:pt x="98" y="81"/>
                  </a:lnTo>
                  <a:lnTo>
                    <a:pt x="112" y="0"/>
                  </a:lnTo>
                  <a:lnTo>
                    <a:pt x="134" y="0"/>
                  </a:lnTo>
                  <a:lnTo>
                    <a:pt x="110" y="117"/>
                  </a:lnTo>
                  <a:lnTo>
                    <a:pt x="88" y="117"/>
                  </a:lnTo>
                  <a:lnTo>
                    <a:pt x="67" y="28"/>
                  </a:lnTo>
                  <a:lnTo>
                    <a:pt x="48" y="117"/>
                  </a:lnTo>
                  <a:lnTo>
                    <a:pt x="26" y="1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63" name="Freeform 411"/>
            <p:cNvSpPr>
              <a:spLocks/>
            </p:cNvSpPr>
            <p:nvPr/>
          </p:nvSpPr>
          <p:spPr bwMode="auto">
            <a:xfrm>
              <a:off x="3207" y="3460"/>
              <a:ext cx="50" cy="112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24" y="0"/>
                </a:cxn>
                <a:cxn ang="0">
                  <a:pos x="50" y="112"/>
                </a:cxn>
                <a:cxn ang="0">
                  <a:pos x="0" y="112"/>
                </a:cxn>
              </a:cxnLst>
              <a:rect l="0" t="0" r="r" b="b"/>
              <a:pathLst>
                <a:path w="50" h="112">
                  <a:moveTo>
                    <a:pt x="0" y="112"/>
                  </a:moveTo>
                  <a:lnTo>
                    <a:pt x="24" y="0"/>
                  </a:lnTo>
                  <a:lnTo>
                    <a:pt x="50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66" name="Group 414"/>
          <p:cNvGrpSpPr>
            <a:grpSpLocks noChangeAspect="1"/>
          </p:cNvGrpSpPr>
          <p:nvPr/>
        </p:nvGrpSpPr>
        <p:grpSpPr bwMode="auto">
          <a:xfrm>
            <a:off x="5845969" y="5430841"/>
            <a:ext cx="787400" cy="784226"/>
            <a:chOff x="3678" y="3421"/>
            <a:chExt cx="496" cy="494"/>
          </a:xfrm>
        </p:grpSpPr>
        <p:sp>
          <p:nvSpPr>
            <p:cNvPr id="49567" name="Freeform 415"/>
            <p:cNvSpPr>
              <a:spLocks noEditPoints="1"/>
            </p:cNvSpPr>
            <p:nvPr/>
          </p:nvSpPr>
          <p:spPr bwMode="auto">
            <a:xfrm>
              <a:off x="3678" y="3421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68" name="Freeform 416"/>
            <p:cNvSpPr>
              <a:spLocks noEditPoints="1"/>
            </p:cNvSpPr>
            <p:nvPr/>
          </p:nvSpPr>
          <p:spPr bwMode="auto">
            <a:xfrm>
              <a:off x="3762" y="3505"/>
              <a:ext cx="329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69" name="Freeform 417"/>
            <p:cNvSpPr>
              <a:spLocks/>
            </p:cNvSpPr>
            <p:nvPr/>
          </p:nvSpPr>
          <p:spPr bwMode="auto">
            <a:xfrm>
              <a:off x="3810" y="3608"/>
              <a:ext cx="98" cy="118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0"/>
                </a:cxn>
                <a:cxn ang="0">
                  <a:pos x="31" y="0"/>
                </a:cxn>
                <a:cxn ang="0">
                  <a:pos x="51" y="80"/>
                </a:cxn>
                <a:cxn ang="0">
                  <a:pos x="67" y="0"/>
                </a:cxn>
                <a:cxn ang="0">
                  <a:pos x="98" y="0"/>
                </a:cxn>
                <a:cxn ang="0">
                  <a:pos x="98" y="118"/>
                </a:cxn>
                <a:cxn ang="0">
                  <a:pos x="79" y="118"/>
                </a:cxn>
                <a:cxn ang="0">
                  <a:pos x="79" y="24"/>
                </a:cxn>
                <a:cxn ang="0">
                  <a:pos x="60" y="118"/>
                </a:cxn>
                <a:cxn ang="0">
                  <a:pos x="41" y="118"/>
                </a:cxn>
                <a:cxn ang="0">
                  <a:pos x="19" y="24"/>
                </a:cxn>
                <a:cxn ang="0">
                  <a:pos x="19" y="118"/>
                </a:cxn>
                <a:cxn ang="0">
                  <a:pos x="0" y="118"/>
                </a:cxn>
              </a:cxnLst>
              <a:rect l="0" t="0" r="r" b="b"/>
              <a:pathLst>
                <a:path w="98" h="118">
                  <a:moveTo>
                    <a:pt x="0" y="118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51" y="80"/>
                  </a:lnTo>
                  <a:lnTo>
                    <a:pt x="67" y="0"/>
                  </a:lnTo>
                  <a:lnTo>
                    <a:pt x="98" y="0"/>
                  </a:lnTo>
                  <a:lnTo>
                    <a:pt x="98" y="118"/>
                  </a:lnTo>
                  <a:lnTo>
                    <a:pt x="79" y="118"/>
                  </a:lnTo>
                  <a:lnTo>
                    <a:pt x="79" y="24"/>
                  </a:lnTo>
                  <a:lnTo>
                    <a:pt x="60" y="118"/>
                  </a:lnTo>
                  <a:lnTo>
                    <a:pt x="41" y="118"/>
                  </a:lnTo>
                  <a:lnTo>
                    <a:pt x="19" y="24"/>
                  </a:lnTo>
                  <a:lnTo>
                    <a:pt x="19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70" name="Freeform 418"/>
            <p:cNvSpPr>
              <a:spLocks/>
            </p:cNvSpPr>
            <p:nvPr/>
          </p:nvSpPr>
          <p:spPr bwMode="auto">
            <a:xfrm>
              <a:off x="3918" y="3608"/>
              <a:ext cx="134" cy="118"/>
            </a:xfrm>
            <a:custGeom>
              <a:avLst/>
              <a:gdLst/>
              <a:ahLst/>
              <a:cxnLst>
                <a:cxn ang="0">
                  <a:pos x="26" y="118"/>
                </a:cxn>
                <a:cxn ang="0">
                  <a:pos x="0" y="0"/>
                </a:cxn>
                <a:cxn ang="0">
                  <a:pos x="22" y="0"/>
                </a:cxn>
                <a:cxn ang="0">
                  <a:pos x="38" y="82"/>
                </a:cxn>
                <a:cxn ang="0">
                  <a:pos x="55" y="0"/>
                </a:cxn>
                <a:cxn ang="0">
                  <a:pos x="79" y="0"/>
                </a:cxn>
                <a:cxn ang="0">
                  <a:pos x="98" y="82"/>
                </a:cxn>
                <a:cxn ang="0">
                  <a:pos x="113" y="0"/>
                </a:cxn>
                <a:cxn ang="0">
                  <a:pos x="134" y="0"/>
                </a:cxn>
                <a:cxn ang="0">
                  <a:pos x="110" y="118"/>
                </a:cxn>
                <a:cxn ang="0">
                  <a:pos x="89" y="118"/>
                </a:cxn>
                <a:cxn ang="0">
                  <a:pos x="67" y="29"/>
                </a:cxn>
                <a:cxn ang="0">
                  <a:pos x="48" y="118"/>
                </a:cxn>
                <a:cxn ang="0">
                  <a:pos x="26" y="118"/>
                </a:cxn>
              </a:cxnLst>
              <a:rect l="0" t="0" r="r" b="b"/>
              <a:pathLst>
                <a:path w="134" h="118">
                  <a:moveTo>
                    <a:pt x="26" y="118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38" y="82"/>
                  </a:lnTo>
                  <a:lnTo>
                    <a:pt x="55" y="0"/>
                  </a:lnTo>
                  <a:lnTo>
                    <a:pt x="79" y="0"/>
                  </a:lnTo>
                  <a:lnTo>
                    <a:pt x="98" y="82"/>
                  </a:lnTo>
                  <a:lnTo>
                    <a:pt x="113" y="0"/>
                  </a:lnTo>
                  <a:lnTo>
                    <a:pt x="134" y="0"/>
                  </a:lnTo>
                  <a:lnTo>
                    <a:pt x="110" y="118"/>
                  </a:lnTo>
                  <a:lnTo>
                    <a:pt x="89" y="118"/>
                  </a:lnTo>
                  <a:lnTo>
                    <a:pt x="67" y="29"/>
                  </a:lnTo>
                  <a:lnTo>
                    <a:pt x="48" y="118"/>
                  </a:lnTo>
                  <a:lnTo>
                    <a:pt x="26" y="1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71" name="Freeform 419"/>
            <p:cNvSpPr>
              <a:spLocks/>
            </p:cNvSpPr>
            <p:nvPr/>
          </p:nvSpPr>
          <p:spPr bwMode="auto">
            <a:xfrm>
              <a:off x="3899" y="3455"/>
              <a:ext cx="50" cy="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24" y="0"/>
                </a:cxn>
                <a:cxn ang="0">
                  <a:pos x="50" y="113"/>
                </a:cxn>
                <a:cxn ang="0">
                  <a:pos x="0" y="113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24" y="0"/>
                  </a:lnTo>
                  <a:lnTo>
                    <a:pt x="50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74" name="Group 422"/>
          <p:cNvGrpSpPr>
            <a:grpSpLocks noChangeAspect="1"/>
          </p:cNvGrpSpPr>
          <p:nvPr/>
        </p:nvGrpSpPr>
        <p:grpSpPr bwMode="auto">
          <a:xfrm>
            <a:off x="6908800" y="5405438"/>
            <a:ext cx="839788" cy="838200"/>
            <a:chOff x="4348" y="3405"/>
            <a:chExt cx="529" cy="528"/>
          </a:xfrm>
        </p:grpSpPr>
        <p:sp>
          <p:nvSpPr>
            <p:cNvPr id="49575" name="Oval 423"/>
            <p:cNvSpPr>
              <a:spLocks noChangeArrowheads="1"/>
            </p:cNvSpPr>
            <p:nvPr/>
          </p:nvSpPr>
          <p:spPr bwMode="auto">
            <a:xfrm>
              <a:off x="4348" y="3405"/>
              <a:ext cx="529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76" name="Freeform 424"/>
            <p:cNvSpPr>
              <a:spLocks noEditPoints="1"/>
            </p:cNvSpPr>
            <p:nvPr/>
          </p:nvSpPr>
          <p:spPr bwMode="auto">
            <a:xfrm>
              <a:off x="4365" y="3422"/>
              <a:ext cx="495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77" name="Freeform 425"/>
            <p:cNvSpPr>
              <a:spLocks noEditPoints="1"/>
            </p:cNvSpPr>
            <p:nvPr/>
          </p:nvSpPr>
          <p:spPr bwMode="auto">
            <a:xfrm>
              <a:off x="4448" y="3506"/>
              <a:ext cx="328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78" name="Freeform 426"/>
            <p:cNvSpPr>
              <a:spLocks/>
            </p:cNvSpPr>
            <p:nvPr/>
          </p:nvSpPr>
          <p:spPr bwMode="auto">
            <a:xfrm>
              <a:off x="4513" y="3609"/>
              <a:ext cx="86" cy="118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0"/>
                </a:cxn>
                <a:cxn ang="0">
                  <a:pos x="19" y="0"/>
                </a:cxn>
                <a:cxn ang="0">
                  <a:pos x="65" y="79"/>
                </a:cxn>
                <a:cxn ang="0">
                  <a:pos x="65" y="0"/>
                </a:cxn>
                <a:cxn ang="0">
                  <a:pos x="86" y="0"/>
                </a:cxn>
                <a:cxn ang="0">
                  <a:pos x="86" y="118"/>
                </a:cxn>
                <a:cxn ang="0">
                  <a:pos x="62" y="118"/>
                </a:cxn>
                <a:cxn ang="0">
                  <a:pos x="19" y="41"/>
                </a:cxn>
                <a:cxn ang="0">
                  <a:pos x="19" y="118"/>
                </a:cxn>
                <a:cxn ang="0">
                  <a:pos x="0" y="118"/>
                </a:cxn>
              </a:cxnLst>
              <a:rect l="0" t="0" r="r" b="b"/>
              <a:pathLst>
                <a:path w="86" h="118">
                  <a:moveTo>
                    <a:pt x="0" y="118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65" y="79"/>
                  </a:lnTo>
                  <a:lnTo>
                    <a:pt x="65" y="0"/>
                  </a:lnTo>
                  <a:lnTo>
                    <a:pt x="86" y="0"/>
                  </a:lnTo>
                  <a:lnTo>
                    <a:pt x="86" y="118"/>
                  </a:lnTo>
                  <a:lnTo>
                    <a:pt x="62" y="118"/>
                  </a:lnTo>
                  <a:lnTo>
                    <a:pt x="19" y="41"/>
                  </a:lnTo>
                  <a:lnTo>
                    <a:pt x="19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79" name="Freeform 427"/>
            <p:cNvSpPr>
              <a:spLocks/>
            </p:cNvSpPr>
            <p:nvPr/>
          </p:nvSpPr>
          <p:spPr bwMode="auto">
            <a:xfrm>
              <a:off x="4621" y="3609"/>
              <a:ext cx="83" cy="118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0"/>
                </a:cxn>
                <a:cxn ang="0">
                  <a:pos x="81" y="0"/>
                </a:cxn>
                <a:cxn ang="0">
                  <a:pos x="81" y="19"/>
                </a:cxn>
                <a:cxn ang="0">
                  <a:pos x="21" y="19"/>
                </a:cxn>
                <a:cxn ang="0">
                  <a:pos x="21" y="46"/>
                </a:cxn>
                <a:cxn ang="0">
                  <a:pos x="76" y="46"/>
                </a:cxn>
                <a:cxn ang="0">
                  <a:pos x="76" y="65"/>
                </a:cxn>
                <a:cxn ang="0">
                  <a:pos x="21" y="65"/>
                </a:cxn>
                <a:cxn ang="0">
                  <a:pos x="21" y="98"/>
                </a:cxn>
                <a:cxn ang="0">
                  <a:pos x="83" y="98"/>
                </a:cxn>
                <a:cxn ang="0">
                  <a:pos x="83" y="118"/>
                </a:cxn>
                <a:cxn ang="0">
                  <a:pos x="0" y="118"/>
                </a:cxn>
              </a:cxnLst>
              <a:rect l="0" t="0" r="r" b="b"/>
              <a:pathLst>
                <a:path w="83" h="118">
                  <a:moveTo>
                    <a:pt x="0" y="118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19"/>
                  </a:lnTo>
                  <a:lnTo>
                    <a:pt x="21" y="19"/>
                  </a:lnTo>
                  <a:lnTo>
                    <a:pt x="21" y="46"/>
                  </a:lnTo>
                  <a:lnTo>
                    <a:pt x="76" y="46"/>
                  </a:lnTo>
                  <a:lnTo>
                    <a:pt x="76" y="65"/>
                  </a:lnTo>
                  <a:lnTo>
                    <a:pt x="21" y="65"/>
                  </a:lnTo>
                  <a:lnTo>
                    <a:pt x="21" y="98"/>
                  </a:lnTo>
                  <a:lnTo>
                    <a:pt x="83" y="98"/>
                  </a:lnTo>
                  <a:lnTo>
                    <a:pt x="83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80" name="Freeform 428"/>
            <p:cNvSpPr>
              <a:spLocks/>
            </p:cNvSpPr>
            <p:nvPr/>
          </p:nvSpPr>
          <p:spPr bwMode="auto">
            <a:xfrm>
              <a:off x="4585" y="3456"/>
              <a:ext cx="50" cy="112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24" y="0"/>
                </a:cxn>
                <a:cxn ang="0">
                  <a:pos x="50" y="112"/>
                </a:cxn>
                <a:cxn ang="0">
                  <a:pos x="0" y="112"/>
                </a:cxn>
              </a:cxnLst>
              <a:rect l="0" t="0" r="r" b="b"/>
              <a:pathLst>
                <a:path w="50" h="112">
                  <a:moveTo>
                    <a:pt x="0" y="112"/>
                  </a:moveTo>
                  <a:lnTo>
                    <a:pt x="24" y="0"/>
                  </a:lnTo>
                  <a:lnTo>
                    <a:pt x="50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583" name="Group 431"/>
          <p:cNvGrpSpPr>
            <a:grpSpLocks noChangeAspect="1"/>
          </p:cNvGrpSpPr>
          <p:nvPr/>
        </p:nvGrpSpPr>
        <p:grpSpPr bwMode="auto">
          <a:xfrm>
            <a:off x="8050213" y="5430841"/>
            <a:ext cx="787400" cy="784226"/>
            <a:chOff x="5071" y="3421"/>
            <a:chExt cx="496" cy="494"/>
          </a:xfrm>
        </p:grpSpPr>
        <p:sp>
          <p:nvSpPr>
            <p:cNvPr id="49584" name="Freeform 432"/>
            <p:cNvSpPr>
              <a:spLocks noEditPoints="1"/>
            </p:cNvSpPr>
            <p:nvPr/>
          </p:nvSpPr>
          <p:spPr bwMode="auto">
            <a:xfrm>
              <a:off x="5071" y="3421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85" name="Freeform 433"/>
            <p:cNvSpPr>
              <a:spLocks noEditPoints="1"/>
            </p:cNvSpPr>
            <p:nvPr/>
          </p:nvSpPr>
          <p:spPr bwMode="auto">
            <a:xfrm>
              <a:off x="5155" y="3505"/>
              <a:ext cx="329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86" name="Freeform 434"/>
            <p:cNvSpPr>
              <a:spLocks/>
            </p:cNvSpPr>
            <p:nvPr/>
          </p:nvSpPr>
          <p:spPr bwMode="auto">
            <a:xfrm>
              <a:off x="5220" y="3608"/>
              <a:ext cx="86" cy="118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0"/>
                </a:cxn>
                <a:cxn ang="0">
                  <a:pos x="19" y="0"/>
                </a:cxn>
                <a:cxn ang="0">
                  <a:pos x="65" y="80"/>
                </a:cxn>
                <a:cxn ang="0">
                  <a:pos x="65" y="0"/>
                </a:cxn>
                <a:cxn ang="0">
                  <a:pos x="86" y="0"/>
                </a:cxn>
                <a:cxn ang="0">
                  <a:pos x="86" y="118"/>
                </a:cxn>
                <a:cxn ang="0">
                  <a:pos x="62" y="118"/>
                </a:cxn>
                <a:cxn ang="0">
                  <a:pos x="19" y="41"/>
                </a:cxn>
                <a:cxn ang="0">
                  <a:pos x="19" y="118"/>
                </a:cxn>
                <a:cxn ang="0">
                  <a:pos x="0" y="118"/>
                </a:cxn>
              </a:cxnLst>
              <a:rect l="0" t="0" r="r" b="b"/>
              <a:pathLst>
                <a:path w="86" h="118">
                  <a:moveTo>
                    <a:pt x="0" y="118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65" y="80"/>
                  </a:lnTo>
                  <a:lnTo>
                    <a:pt x="65" y="0"/>
                  </a:lnTo>
                  <a:lnTo>
                    <a:pt x="86" y="0"/>
                  </a:lnTo>
                  <a:lnTo>
                    <a:pt x="86" y="118"/>
                  </a:lnTo>
                  <a:lnTo>
                    <a:pt x="62" y="118"/>
                  </a:lnTo>
                  <a:lnTo>
                    <a:pt x="19" y="41"/>
                  </a:lnTo>
                  <a:lnTo>
                    <a:pt x="19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87" name="Freeform 435"/>
            <p:cNvSpPr>
              <a:spLocks/>
            </p:cNvSpPr>
            <p:nvPr/>
          </p:nvSpPr>
          <p:spPr bwMode="auto">
            <a:xfrm>
              <a:off x="5328" y="3608"/>
              <a:ext cx="84" cy="118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0"/>
                </a:cxn>
                <a:cxn ang="0">
                  <a:pos x="81" y="0"/>
                </a:cxn>
                <a:cxn ang="0">
                  <a:pos x="81" y="20"/>
                </a:cxn>
                <a:cxn ang="0">
                  <a:pos x="21" y="20"/>
                </a:cxn>
                <a:cxn ang="0">
                  <a:pos x="21" y="46"/>
                </a:cxn>
                <a:cxn ang="0">
                  <a:pos x="76" y="46"/>
                </a:cxn>
                <a:cxn ang="0">
                  <a:pos x="76" y="65"/>
                </a:cxn>
                <a:cxn ang="0">
                  <a:pos x="21" y="65"/>
                </a:cxn>
                <a:cxn ang="0">
                  <a:pos x="21" y="99"/>
                </a:cxn>
                <a:cxn ang="0">
                  <a:pos x="84" y="99"/>
                </a:cxn>
                <a:cxn ang="0">
                  <a:pos x="84" y="118"/>
                </a:cxn>
                <a:cxn ang="0">
                  <a:pos x="0" y="118"/>
                </a:cxn>
              </a:cxnLst>
              <a:rect l="0" t="0" r="r" b="b"/>
              <a:pathLst>
                <a:path w="84" h="118">
                  <a:moveTo>
                    <a:pt x="0" y="118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20"/>
                  </a:lnTo>
                  <a:lnTo>
                    <a:pt x="21" y="20"/>
                  </a:lnTo>
                  <a:lnTo>
                    <a:pt x="21" y="46"/>
                  </a:lnTo>
                  <a:lnTo>
                    <a:pt x="76" y="46"/>
                  </a:lnTo>
                  <a:lnTo>
                    <a:pt x="76" y="65"/>
                  </a:lnTo>
                  <a:lnTo>
                    <a:pt x="21" y="65"/>
                  </a:lnTo>
                  <a:lnTo>
                    <a:pt x="21" y="99"/>
                  </a:lnTo>
                  <a:lnTo>
                    <a:pt x="84" y="99"/>
                  </a:lnTo>
                  <a:lnTo>
                    <a:pt x="84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88" name="Freeform 436"/>
            <p:cNvSpPr>
              <a:spLocks/>
            </p:cNvSpPr>
            <p:nvPr/>
          </p:nvSpPr>
          <p:spPr bwMode="auto">
            <a:xfrm>
              <a:off x="5292" y="3455"/>
              <a:ext cx="50" cy="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24" y="0"/>
                </a:cxn>
                <a:cxn ang="0">
                  <a:pos x="50" y="113"/>
                </a:cxn>
                <a:cxn ang="0">
                  <a:pos x="0" y="113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24" y="0"/>
                  </a:lnTo>
                  <a:lnTo>
                    <a:pt x="50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290FDA-6197-4371-990A-3AF03CD4174E}"/>
              </a:ext>
            </a:extLst>
          </p:cNvPr>
          <p:cNvGrpSpPr/>
          <p:nvPr/>
        </p:nvGrpSpPr>
        <p:grpSpPr>
          <a:xfrm>
            <a:off x="1490663" y="2835275"/>
            <a:ext cx="766762" cy="768350"/>
            <a:chOff x="1490663" y="2835275"/>
            <a:chExt cx="766762" cy="768350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A8077698-1136-4426-A6CC-8712CCDE52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90663" y="2835275"/>
              <a:ext cx="766762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CA88B5EB-32D6-4E50-A160-0F2D639C6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7013" y="2843213"/>
              <a:ext cx="752475" cy="752475"/>
            </a:xfrm>
            <a:custGeom>
              <a:avLst/>
              <a:gdLst>
                <a:gd name="T0" fmla="*/ 723 w 1446"/>
                <a:gd name="T1" fmla="*/ 1438 h 1446"/>
                <a:gd name="T2" fmla="*/ 445 w 1446"/>
                <a:gd name="T3" fmla="*/ 1381 h 1446"/>
                <a:gd name="T4" fmla="*/ 218 w 1446"/>
                <a:gd name="T5" fmla="*/ 1228 h 1446"/>
                <a:gd name="T6" fmla="*/ 65 w 1446"/>
                <a:gd name="T7" fmla="*/ 1001 h 1446"/>
                <a:gd name="T8" fmla="*/ 8 w 1446"/>
                <a:gd name="T9" fmla="*/ 723 h 1446"/>
                <a:gd name="T10" fmla="*/ 65 w 1446"/>
                <a:gd name="T11" fmla="*/ 445 h 1446"/>
                <a:gd name="T12" fmla="*/ 218 w 1446"/>
                <a:gd name="T13" fmla="*/ 218 h 1446"/>
                <a:gd name="T14" fmla="*/ 445 w 1446"/>
                <a:gd name="T15" fmla="*/ 65 h 1446"/>
                <a:gd name="T16" fmla="*/ 723 w 1446"/>
                <a:gd name="T17" fmla="*/ 8 h 1446"/>
                <a:gd name="T18" fmla="*/ 1001 w 1446"/>
                <a:gd name="T19" fmla="*/ 65 h 1446"/>
                <a:gd name="T20" fmla="*/ 1228 w 1446"/>
                <a:gd name="T21" fmla="*/ 218 h 1446"/>
                <a:gd name="T22" fmla="*/ 1381 w 1446"/>
                <a:gd name="T23" fmla="*/ 445 h 1446"/>
                <a:gd name="T24" fmla="*/ 1438 w 1446"/>
                <a:gd name="T25" fmla="*/ 723 h 1446"/>
                <a:gd name="T26" fmla="*/ 1381 w 1446"/>
                <a:gd name="T27" fmla="*/ 1001 h 1446"/>
                <a:gd name="T28" fmla="*/ 1228 w 1446"/>
                <a:gd name="T29" fmla="*/ 1228 h 1446"/>
                <a:gd name="T30" fmla="*/ 1001 w 1446"/>
                <a:gd name="T31" fmla="*/ 1381 h 1446"/>
                <a:gd name="T32" fmla="*/ 723 w 1446"/>
                <a:gd name="T33" fmla="*/ 1438 h 1446"/>
                <a:gd name="T34" fmla="*/ 723 w 1446"/>
                <a:gd name="T35" fmla="*/ 0 h 1446"/>
                <a:gd name="T36" fmla="*/ 0 w 1446"/>
                <a:gd name="T37" fmla="*/ 723 h 1446"/>
                <a:gd name="T38" fmla="*/ 723 w 1446"/>
                <a:gd name="T39" fmla="*/ 1446 h 1446"/>
                <a:gd name="T40" fmla="*/ 1446 w 1446"/>
                <a:gd name="T41" fmla="*/ 723 h 1446"/>
                <a:gd name="T42" fmla="*/ 723 w 1446"/>
                <a:gd name="T43" fmla="*/ 0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6" h="1446">
                  <a:moveTo>
                    <a:pt x="723" y="1438"/>
                  </a:moveTo>
                  <a:cubicBezTo>
                    <a:pt x="627" y="1438"/>
                    <a:pt x="533" y="1419"/>
                    <a:pt x="445" y="1381"/>
                  </a:cubicBezTo>
                  <a:cubicBezTo>
                    <a:pt x="360" y="1346"/>
                    <a:pt x="283" y="1294"/>
                    <a:pt x="218" y="1228"/>
                  </a:cubicBezTo>
                  <a:cubicBezTo>
                    <a:pt x="152" y="1163"/>
                    <a:pt x="100" y="1086"/>
                    <a:pt x="65" y="1001"/>
                  </a:cubicBezTo>
                  <a:cubicBezTo>
                    <a:pt x="27" y="913"/>
                    <a:pt x="8" y="819"/>
                    <a:pt x="8" y="723"/>
                  </a:cubicBezTo>
                  <a:cubicBezTo>
                    <a:pt x="8" y="627"/>
                    <a:pt x="27" y="533"/>
                    <a:pt x="65" y="445"/>
                  </a:cubicBezTo>
                  <a:cubicBezTo>
                    <a:pt x="100" y="360"/>
                    <a:pt x="152" y="283"/>
                    <a:pt x="218" y="218"/>
                  </a:cubicBezTo>
                  <a:cubicBezTo>
                    <a:pt x="283" y="152"/>
                    <a:pt x="360" y="100"/>
                    <a:pt x="445" y="65"/>
                  </a:cubicBezTo>
                  <a:cubicBezTo>
                    <a:pt x="533" y="27"/>
                    <a:pt x="627" y="8"/>
                    <a:pt x="723" y="8"/>
                  </a:cubicBezTo>
                  <a:cubicBezTo>
                    <a:pt x="819" y="8"/>
                    <a:pt x="913" y="27"/>
                    <a:pt x="1001" y="65"/>
                  </a:cubicBezTo>
                  <a:cubicBezTo>
                    <a:pt x="1086" y="100"/>
                    <a:pt x="1163" y="152"/>
                    <a:pt x="1228" y="218"/>
                  </a:cubicBezTo>
                  <a:cubicBezTo>
                    <a:pt x="1294" y="283"/>
                    <a:pt x="1346" y="360"/>
                    <a:pt x="1381" y="445"/>
                  </a:cubicBezTo>
                  <a:cubicBezTo>
                    <a:pt x="1419" y="533"/>
                    <a:pt x="1438" y="627"/>
                    <a:pt x="1438" y="723"/>
                  </a:cubicBezTo>
                  <a:cubicBezTo>
                    <a:pt x="1438" y="819"/>
                    <a:pt x="1419" y="913"/>
                    <a:pt x="1381" y="1001"/>
                  </a:cubicBezTo>
                  <a:cubicBezTo>
                    <a:pt x="1346" y="1086"/>
                    <a:pt x="1294" y="1163"/>
                    <a:pt x="1228" y="1228"/>
                  </a:cubicBezTo>
                  <a:cubicBezTo>
                    <a:pt x="1163" y="1294"/>
                    <a:pt x="1086" y="1346"/>
                    <a:pt x="1001" y="1381"/>
                  </a:cubicBezTo>
                  <a:cubicBezTo>
                    <a:pt x="913" y="1419"/>
                    <a:pt x="819" y="1438"/>
                    <a:pt x="723" y="1438"/>
                  </a:cubicBezTo>
                  <a:moveTo>
                    <a:pt x="723" y="0"/>
                  </a:moveTo>
                  <a:cubicBezTo>
                    <a:pt x="324" y="0"/>
                    <a:pt x="0" y="324"/>
                    <a:pt x="0" y="723"/>
                  </a:cubicBezTo>
                  <a:cubicBezTo>
                    <a:pt x="0" y="1122"/>
                    <a:pt x="324" y="1446"/>
                    <a:pt x="723" y="1446"/>
                  </a:cubicBezTo>
                  <a:cubicBezTo>
                    <a:pt x="1122" y="1446"/>
                    <a:pt x="1446" y="1122"/>
                    <a:pt x="1446" y="723"/>
                  </a:cubicBezTo>
                  <a:cubicBezTo>
                    <a:pt x="1446" y="324"/>
                    <a:pt x="1122" y="0"/>
                    <a:pt x="723" y="0"/>
                  </a:cubicBezTo>
                </a:path>
              </a:pathLst>
            </a:custGeom>
            <a:solidFill>
              <a:srgbClr val="8CD5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ABB2393F-29B2-4E2F-B686-A2A8A7375A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0663" y="2835275"/>
              <a:ext cx="766762" cy="768350"/>
            </a:xfrm>
            <a:custGeom>
              <a:avLst/>
              <a:gdLst>
                <a:gd name="T0" fmla="*/ 737 w 1475"/>
                <a:gd name="T1" fmla="*/ 1476 h 1476"/>
                <a:gd name="T2" fmla="*/ 0 w 1475"/>
                <a:gd name="T3" fmla="*/ 738 h 1476"/>
                <a:gd name="T4" fmla="*/ 737 w 1475"/>
                <a:gd name="T5" fmla="*/ 0 h 1476"/>
                <a:gd name="T6" fmla="*/ 1475 w 1475"/>
                <a:gd name="T7" fmla="*/ 738 h 1476"/>
                <a:gd name="T8" fmla="*/ 737 w 1475"/>
                <a:gd name="T9" fmla="*/ 1476 h 1476"/>
                <a:gd name="T10" fmla="*/ 737 w 1475"/>
                <a:gd name="T11" fmla="*/ 36 h 1476"/>
                <a:gd name="T12" fmla="*/ 36 w 1475"/>
                <a:gd name="T13" fmla="*/ 738 h 1476"/>
                <a:gd name="T14" fmla="*/ 737 w 1475"/>
                <a:gd name="T15" fmla="*/ 1440 h 1476"/>
                <a:gd name="T16" fmla="*/ 1439 w 1475"/>
                <a:gd name="T17" fmla="*/ 738 h 1476"/>
                <a:gd name="T18" fmla="*/ 737 w 1475"/>
                <a:gd name="T19" fmla="*/ 36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5" h="1476">
                  <a:moveTo>
                    <a:pt x="737" y="1476"/>
                  </a:moveTo>
                  <a:cubicBezTo>
                    <a:pt x="331" y="1476"/>
                    <a:pt x="0" y="1145"/>
                    <a:pt x="0" y="738"/>
                  </a:cubicBezTo>
                  <a:cubicBezTo>
                    <a:pt x="0" y="331"/>
                    <a:pt x="331" y="0"/>
                    <a:pt x="737" y="0"/>
                  </a:cubicBezTo>
                  <a:cubicBezTo>
                    <a:pt x="1144" y="0"/>
                    <a:pt x="1475" y="331"/>
                    <a:pt x="1475" y="738"/>
                  </a:cubicBezTo>
                  <a:cubicBezTo>
                    <a:pt x="1475" y="1145"/>
                    <a:pt x="1144" y="1476"/>
                    <a:pt x="737" y="1476"/>
                  </a:cubicBezTo>
                  <a:close/>
                  <a:moveTo>
                    <a:pt x="737" y="36"/>
                  </a:moveTo>
                  <a:cubicBezTo>
                    <a:pt x="351" y="36"/>
                    <a:pt x="36" y="351"/>
                    <a:pt x="36" y="738"/>
                  </a:cubicBezTo>
                  <a:cubicBezTo>
                    <a:pt x="36" y="1125"/>
                    <a:pt x="351" y="1440"/>
                    <a:pt x="737" y="1440"/>
                  </a:cubicBezTo>
                  <a:cubicBezTo>
                    <a:pt x="1124" y="1440"/>
                    <a:pt x="1439" y="1125"/>
                    <a:pt x="1439" y="738"/>
                  </a:cubicBezTo>
                  <a:cubicBezTo>
                    <a:pt x="1439" y="351"/>
                    <a:pt x="1124" y="36"/>
                    <a:pt x="737" y="36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7">
              <a:extLst>
                <a:ext uri="{FF2B5EF4-FFF2-40B4-BE49-F238E27FC236}">
                  <a16:creationId xmlns:a16="http://schemas.microsoft.com/office/drawing/2014/main" id="{F3631EE5-8A9D-48CC-839C-1C63B9996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5" y="3300413"/>
              <a:ext cx="209550" cy="12700"/>
            </a:xfrm>
            <a:prstGeom prst="rect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C7B70ED9-74BC-41AF-8BF6-4CD5FD805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5" y="3343275"/>
              <a:ext cx="209550" cy="12700"/>
            </a:xfrm>
            <a:prstGeom prst="rect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29B9CFD7-101B-404C-AE95-55A5154EE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8963" y="3262313"/>
              <a:ext cx="80962" cy="12700"/>
            </a:xfrm>
            <a:prstGeom prst="rect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2ED97D21-8442-4FE0-AF77-F1DF40575F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3063" y="3111500"/>
              <a:ext cx="166687" cy="166688"/>
            </a:xfrm>
            <a:custGeom>
              <a:avLst/>
              <a:gdLst>
                <a:gd name="T0" fmla="*/ 282 w 321"/>
                <a:gd name="T1" fmla="*/ 321 h 321"/>
                <a:gd name="T2" fmla="*/ 272 w 321"/>
                <a:gd name="T3" fmla="*/ 317 h 321"/>
                <a:gd name="T4" fmla="*/ 4 w 321"/>
                <a:gd name="T5" fmla="*/ 48 h 321"/>
                <a:gd name="T6" fmla="*/ 0 w 321"/>
                <a:gd name="T7" fmla="*/ 39 h 321"/>
                <a:gd name="T8" fmla="*/ 4 w 321"/>
                <a:gd name="T9" fmla="*/ 30 h 321"/>
                <a:gd name="T10" fmla="*/ 29 w 321"/>
                <a:gd name="T11" fmla="*/ 5 h 321"/>
                <a:gd name="T12" fmla="*/ 47 w 321"/>
                <a:gd name="T13" fmla="*/ 5 h 321"/>
                <a:gd name="T14" fmla="*/ 316 w 321"/>
                <a:gd name="T15" fmla="*/ 274 h 321"/>
                <a:gd name="T16" fmla="*/ 316 w 321"/>
                <a:gd name="T17" fmla="*/ 292 h 321"/>
                <a:gd name="T18" fmla="*/ 291 w 321"/>
                <a:gd name="T19" fmla="*/ 317 h 321"/>
                <a:gd name="T20" fmla="*/ 282 w 321"/>
                <a:gd name="T21" fmla="*/ 321 h 321"/>
                <a:gd name="T22" fmla="*/ 32 w 321"/>
                <a:gd name="T23" fmla="*/ 39 h 321"/>
                <a:gd name="T24" fmla="*/ 282 w 321"/>
                <a:gd name="T25" fmla="*/ 289 h 321"/>
                <a:gd name="T26" fmla="*/ 288 w 321"/>
                <a:gd name="T27" fmla="*/ 283 h 321"/>
                <a:gd name="T28" fmla="*/ 38 w 321"/>
                <a:gd name="T29" fmla="*/ 33 h 321"/>
                <a:gd name="T30" fmla="*/ 32 w 321"/>
                <a:gd name="T31" fmla="*/ 39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1" h="321">
                  <a:moveTo>
                    <a:pt x="282" y="321"/>
                  </a:moveTo>
                  <a:cubicBezTo>
                    <a:pt x="278" y="321"/>
                    <a:pt x="275" y="319"/>
                    <a:pt x="272" y="31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6"/>
                    <a:pt x="0" y="43"/>
                    <a:pt x="0" y="39"/>
                  </a:cubicBezTo>
                  <a:cubicBezTo>
                    <a:pt x="0" y="36"/>
                    <a:pt x="2" y="32"/>
                    <a:pt x="4" y="30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4" y="0"/>
                    <a:pt x="42" y="0"/>
                    <a:pt x="47" y="5"/>
                  </a:cubicBezTo>
                  <a:cubicBezTo>
                    <a:pt x="316" y="274"/>
                    <a:pt x="316" y="274"/>
                    <a:pt x="316" y="274"/>
                  </a:cubicBezTo>
                  <a:cubicBezTo>
                    <a:pt x="321" y="279"/>
                    <a:pt x="321" y="287"/>
                    <a:pt x="316" y="292"/>
                  </a:cubicBezTo>
                  <a:cubicBezTo>
                    <a:pt x="291" y="317"/>
                    <a:pt x="291" y="317"/>
                    <a:pt x="291" y="317"/>
                  </a:cubicBezTo>
                  <a:cubicBezTo>
                    <a:pt x="288" y="319"/>
                    <a:pt x="285" y="321"/>
                    <a:pt x="282" y="321"/>
                  </a:cubicBezTo>
                  <a:close/>
                  <a:moveTo>
                    <a:pt x="32" y="39"/>
                  </a:moveTo>
                  <a:cubicBezTo>
                    <a:pt x="282" y="289"/>
                    <a:pt x="282" y="289"/>
                    <a:pt x="282" y="289"/>
                  </a:cubicBezTo>
                  <a:cubicBezTo>
                    <a:pt x="288" y="283"/>
                    <a:pt x="288" y="283"/>
                    <a:pt x="288" y="283"/>
                  </a:cubicBezTo>
                  <a:cubicBezTo>
                    <a:pt x="38" y="33"/>
                    <a:pt x="38" y="33"/>
                    <a:pt x="38" y="33"/>
                  </a:cubicBezTo>
                  <a:lnTo>
                    <a:pt x="32" y="39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F10D7094-9A1D-4C61-B61E-40570EC59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3251200"/>
              <a:ext cx="49212" cy="47625"/>
            </a:xfrm>
            <a:custGeom>
              <a:avLst/>
              <a:gdLst>
                <a:gd name="T0" fmla="*/ 80 w 94"/>
                <a:gd name="T1" fmla="*/ 93 h 93"/>
                <a:gd name="T2" fmla="*/ 73 w 94"/>
                <a:gd name="T3" fmla="*/ 91 h 93"/>
                <a:gd name="T4" fmla="*/ 8 w 94"/>
                <a:gd name="T5" fmla="*/ 51 h 93"/>
                <a:gd name="T6" fmla="*/ 4 w 94"/>
                <a:gd name="T7" fmla="*/ 33 h 93"/>
                <a:gd name="T8" fmla="*/ 21 w 94"/>
                <a:gd name="T9" fmla="*/ 28 h 93"/>
                <a:gd name="T10" fmla="*/ 39 w 94"/>
                <a:gd name="T11" fmla="*/ 40 h 93"/>
                <a:gd name="T12" fmla="*/ 28 w 94"/>
                <a:gd name="T13" fmla="*/ 22 h 93"/>
                <a:gd name="T14" fmla="*/ 32 w 94"/>
                <a:gd name="T15" fmla="*/ 4 h 93"/>
                <a:gd name="T16" fmla="*/ 50 w 94"/>
                <a:gd name="T17" fmla="*/ 8 h 93"/>
                <a:gd name="T18" fmla="*/ 91 w 94"/>
                <a:gd name="T19" fmla="*/ 73 h 93"/>
                <a:gd name="T20" fmla="*/ 89 w 94"/>
                <a:gd name="T21" fmla="*/ 89 h 93"/>
                <a:gd name="T22" fmla="*/ 80 w 94"/>
                <a:gd name="T2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93">
                  <a:moveTo>
                    <a:pt x="80" y="93"/>
                  </a:moveTo>
                  <a:cubicBezTo>
                    <a:pt x="78" y="93"/>
                    <a:pt x="75" y="92"/>
                    <a:pt x="73" y="9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" y="47"/>
                    <a:pt x="0" y="39"/>
                    <a:pt x="4" y="33"/>
                  </a:cubicBezTo>
                  <a:cubicBezTo>
                    <a:pt x="7" y="27"/>
                    <a:pt x="15" y="25"/>
                    <a:pt x="21" y="28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5" y="16"/>
                    <a:pt x="26" y="8"/>
                    <a:pt x="32" y="4"/>
                  </a:cubicBezTo>
                  <a:cubicBezTo>
                    <a:pt x="39" y="0"/>
                    <a:pt x="47" y="2"/>
                    <a:pt x="50" y="8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4" y="78"/>
                    <a:pt x="93" y="85"/>
                    <a:pt x="89" y="89"/>
                  </a:cubicBezTo>
                  <a:cubicBezTo>
                    <a:pt x="87" y="92"/>
                    <a:pt x="83" y="93"/>
                    <a:pt x="80" y="93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4BF66896-B463-40BD-A8AA-BE5C0F5B4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713" y="3105150"/>
              <a:ext cx="28575" cy="30163"/>
            </a:xfrm>
            <a:custGeom>
              <a:avLst/>
              <a:gdLst>
                <a:gd name="T0" fmla="*/ 12 w 18"/>
                <a:gd name="T1" fmla="*/ 19 h 19"/>
                <a:gd name="T2" fmla="*/ 0 w 18"/>
                <a:gd name="T3" fmla="*/ 6 h 19"/>
                <a:gd name="T4" fmla="*/ 6 w 18"/>
                <a:gd name="T5" fmla="*/ 0 h 19"/>
                <a:gd name="T6" fmla="*/ 18 w 18"/>
                <a:gd name="T7" fmla="*/ 13 h 19"/>
                <a:gd name="T8" fmla="*/ 12 w 1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2" y="19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8" y="13"/>
                  </a:lnTo>
                  <a:lnTo>
                    <a:pt x="12" y="19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314D98F9-97FE-4D9E-A145-450F6DCA6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3225" y="3227388"/>
              <a:ext cx="322262" cy="163513"/>
            </a:xfrm>
            <a:custGeom>
              <a:avLst/>
              <a:gdLst>
                <a:gd name="T0" fmla="*/ 559 w 617"/>
                <a:gd name="T1" fmla="*/ 313 h 313"/>
                <a:gd name="T2" fmla="*/ 58 w 617"/>
                <a:gd name="T3" fmla="*/ 313 h 313"/>
                <a:gd name="T4" fmla="*/ 0 w 617"/>
                <a:gd name="T5" fmla="*/ 255 h 313"/>
                <a:gd name="T6" fmla="*/ 0 w 617"/>
                <a:gd name="T7" fmla="*/ 58 h 313"/>
                <a:gd name="T8" fmla="*/ 58 w 617"/>
                <a:gd name="T9" fmla="*/ 0 h 313"/>
                <a:gd name="T10" fmla="*/ 151 w 617"/>
                <a:gd name="T11" fmla="*/ 0 h 313"/>
                <a:gd name="T12" fmla="*/ 151 w 617"/>
                <a:gd name="T13" fmla="*/ 26 h 313"/>
                <a:gd name="T14" fmla="*/ 58 w 617"/>
                <a:gd name="T15" fmla="*/ 26 h 313"/>
                <a:gd name="T16" fmla="*/ 26 w 617"/>
                <a:gd name="T17" fmla="*/ 58 h 313"/>
                <a:gd name="T18" fmla="*/ 26 w 617"/>
                <a:gd name="T19" fmla="*/ 255 h 313"/>
                <a:gd name="T20" fmla="*/ 58 w 617"/>
                <a:gd name="T21" fmla="*/ 287 h 313"/>
                <a:gd name="T22" fmla="*/ 559 w 617"/>
                <a:gd name="T23" fmla="*/ 287 h 313"/>
                <a:gd name="T24" fmla="*/ 591 w 617"/>
                <a:gd name="T25" fmla="*/ 255 h 313"/>
                <a:gd name="T26" fmla="*/ 591 w 617"/>
                <a:gd name="T27" fmla="*/ 58 h 313"/>
                <a:gd name="T28" fmla="*/ 559 w 617"/>
                <a:gd name="T29" fmla="*/ 26 h 313"/>
                <a:gd name="T30" fmla="*/ 199 w 617"/>
                <a:gd name="T31" fmla="*/ 26 h 313"/>
                <a:gd name="T32" fmla="*/ 199 w 617"/>
                <a:gd name="T33" fmla="*/ 0 h 313"/>
                <a:gd name="T34" fmla="*/ 559 w 617"/>
                <a:gd name="T35" fmla="*/ 0 h 313"/>
                <a:gd name="T36" fmla="*/ 617 w 617"/>
                <a:gd name="T37" fmla="*/ 58 h 313"/>
                <a:gd name="T38" fmla="*/ 617 w 617"/>
                <a:gd name="T39" fmla="*/ 255 h 313"/>
                <a:gd name="T40" fmla="*/ 559 w 617"/>
                <a:gd name="T41" fmla="*/ 31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7" h="313">
                  <a:moveTo>
                    <a:pt x="559" y="313"/>
                  </a:moveTo>
                  <a:cubicBezTo>
                    <a:pt x="58" y="313"/>
                    <a:pt x="58" y="313"/>
                    <a:pt x="58" y="313"/>
                  </a:cubicBezTo>
                  <a:cubicBezTo>
                    <a:pt x="26" y="313"/>
                    <a:pt x="0" y="287"/>
                    <a:pt x="0" y="25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8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40" y="26"/>
                    <a:pt x="26" y="40"/>
                    <a:pt x="26" y="58"/>
                  </a:cubicBezTo>
                  <a:cubicBezTo>
                    <a:pt x="26" y="255"/>
                    <a:pt x="26" y="255"/>
                    <a:pt x="26" y="255"/>
                  </a:cubicBezTo>
                  <a:cubicBezTo>
                    <a:pt x="26" y="273"/>
                    <a:pt x="40" y="287"/>
                    <a:pt x="58" y="287"/>
                  </a:cubicBezTo>
                  <a:cubicBezTo>
                    <a:pt x="559" y="287"/>
                    <a:pt x="559" y="287"/>
                    <a:pt x="559" y="287"/>
                  </a:cubicBezTo>
                  <a:cubicBezTo>
                    <a:pt x="577" y="287"/>
                    <a:pt x="591" y="273"/>
                    <a:pt x="591" y="255"/>
                  </a:cubicBezTo>
                  <a:cubicBezTo>
                    <a:pt x="591" y="58"/>
                    <a:pt x="591" y="58"/>
                    <a:pt x="591" y="58"/>
                  </a:cubicBezTo>
                  <a:cubicBezTo>
                    <a:pt x="591" y="40"/>
                    <a:pt x="577" y="26"/>
                    <a:pt x="559" y="26"/>
                  </a:cubicBezTo>
                  <a:cubicBezTo>
                    <a:pt x="199" y="26"/>
                    <a:pt x="199" y="26"/>
                    <a:pt x="199" y="26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559" y="0"/>
                    <a:pt x="559" y="0"/>
                    <a:pt x="559" y="0"/>
                  </a:cubicBezTo>
                  <a:cubicBezTo>
                    <a:pt x="591" y="0"/>
                    <a:pt x="617" y="26"/>
                    <a:pt x="617" y="58"/>
                  </a:cubicBezTo>
                  <a:cubicBezTo>
                    <a:pt x="617" y="255"/>
                    <a:pt x="617" y="255"/>
                    <a:pt x="617" y="255"/>
                  </a:cubicBezTo>
                  <a:cubicBezTo>
                    <a:pt x="617" y="287"/>
                    <a:pt x="591" y="313"/>
                    <a:pt x="559" y="313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B1EC255-9778-45C6-ABCE-B69B0B584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788" y="3067050"/>
              <a:ext cx="100012" cy="200025"/>
            </a:xfrm>
            <a:custGeom>
              <a:avLst/>
              <a:gdLst>
                <a:gd name="T0" fmla="*/ 63 w 63"/>
                <a:gd name="T1" fmla="*/ 126 h 126"/>
                <a:gd name="T2" fmla="*/ 0 w 63"/>
                <a:gd name="T3" fmla="*/ 126 h 126"/>
                <a:gd name="T4" fmla="*/ 0 w 63"/>
                <a:gd name="T5" fmla="*/ 118 h 126"/>
                <a:gd name="T6" fmla="*/ 55 w 63"/>
                <a:gd name="T7" fmla="*/ 118 h 126"/>
                <a:gd name="T8" fmla="*/ 55 w 63"/>
                <a:gd name="T9" fmla="*/ 8 h 126"/>
                <a:gd name="T10" fmla="*/ 38 w 63"/>
                <a:gd name="T11" fmla="*/ 8 h 126"/>
                <a:gd name="T12" fmla="*/ 38 w 63"/>
                <a:gd name="T13" fmla="*/ 0 h 126"/>
                <a:gd name="T14" fmla="*/ 63 w 63"/>
                <a:gd name="T15" fmla="*/ 0 h 126"/>
                <a:gd name="T16" fmla="*/ 63 w 63"/>
                <a:gd name="T1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26">
                  <a:moveTo>
                    <a:pt x="63" y="126"/>
                  </a:moveTo>
                  <a:lnTo>
                    <a:pt x="0" y="126"/>
                  </a:lnTo>
                  <a:lnTo>
                    <a:pt x="0" y="118"/>
                  </a:lnTo>
                  <a:lnTo>
                    <a:pt x="55" y="118"/>
                  </a:lnTo>
                  <a:lnTo>
                    <a:pt x="55" y="8"/>
                  </a:lnTo>
                  <a:lnTo>
                    <a:pt x="38" y="8"/>
                  </a:lnTo>
                  <a:lnTo>
                    <a:pt x="38" y="0"/>
                  </a:lnTo>
                  <a:lnTo>
                    <a:pt x="63" y="0"/>
                  </a:lnTo>
                  <a:lnTo>
                    <a:pt x="63" y="126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432C2CB8-2DDA-43EC-9DCF-83232094D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1663" y="3097213"/>
              <a:ext cx="190500" cy="149225"/>
            </a:xfrm>
            <a:custGeom>
              <a:avLst/>
              <a:gdLst>
                <a:gd name="T0" fmla="*/ 120 w 120"/>
                <a:gd name="T1" fmla="*/ 94 h 94"/>
                <a:gd name="T2" fmla="*/ 68 w 120"/>
                <a:gd name="T3" fmla="*/ 94 h 94"/>
                <a:gd name="T4" fmla="*/ 68 w 120"/>
                <a:gd name="T5" fmla="*/ 85 h 94"/>
                <a:gd name="T6" fmla="*/ 112 w 120"/>
                <a:gd name="T7" fmla="*/ 85 h 94"/>
                <a:gd name="T8" fmla="*/ 112 w 120"/>
                <a:gd name="T9" fmla="*/ 8 h 94"/>
                <a:gd name="T10" fmla="*/ 8 w 120"/>
                <a:gd name="T11" fmla="*/ 8 h 94"/>
                <a:gd name="T12" fmla="*/ 8 w 120"/>
                <a:gd name="T13" fmla="*/ 85 h 94"/>
                <a:gd name="T14" fmla="*/ 0 w 120"/>
                <a:gd name="T15" fmla="*/ 85 h 94"/>
                <a:gd name="T16" fmla="*/ 0 w 120"/>
                <a:gd name="T17" fmla="*/ 0 h 94"/>
                <a:gd name="T18" fmla="*/ 120 w 120"/>
                <a:gd name="T19" fmla="*/ 0 h 94"/>
                <a:gd name="T20" fmla="*/ 120 w 120"/>
                <a:gd name="T2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94">
                  <a:moveTo>
                    <a:pt x="120" y="94"/>
                  </a:moveTo>
                  <a:lnTo>
                    <a:pt x="68" y="94"/>
                  </a:lnTo>
                  <a:lnTo>
                    <a:pt x="68" y="85"/>
                  </a:lnTo>
                  <a:lnTo>
                    <a:pt x="112" y="85"/>
                  </a:lnTo>
                  <a:lnTo>
                    <a:pt x="112" y="8"/>
                  </a:lnTo>
                  <a:lnTo>
                    <a:pt x="8" y="8"/>
                  </a:lnTo>
                  <a:lnTo>
                    <a:pt x="8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94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6CB927D3-D767-444C-948E-27441D3F5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4363" y="3043238"/>
              <a:ext cx="31750" cy="50800"/>
            </a:xfrm>
            <a:custGeom>
              <a:avLst/>
              <a:gdLst>
                <a:gd name="T0" fmla="*/ 20 w 20"/>
                <a:gd name="T1" fmla="*/ 32 h 32"/>
                <a:gd name="T2" fmla="*/ 0 w 20"/>
                <a:gd name="T3" fmla="*/ 32 h 32"/>
                <a:gd name="T4" fmla="*/ 0 w 20"/>
                <a:gd name="T5" fmla="*/ 0 h 32"/>
                <a:gd name="T6" fmla="*/ 20 w 20"/>
                <a:gd name="T7" fmla="*/ 0 h 32"/>
                <a:gd name="T8" fmla="*/ 20 w 20"/>
                <a:gd name="T9" fmla="*/ 32 h 32"/>
                <a:gd name="T10" fmla="*/ 8 w 20"/>
                <a:gd name="T11" fmla="*/ 23 h 32"/>
                <a:gd name="T12" fmla="*/ 11 w 20"/>
                <a:gd name="T13" fmla="*/ 23 h 32"/>
                <a:gd name="T14" fmla="*/ 11 w 20"/>
                <a:gd name="T15" fmla="*/ 8 h 32"/>
                <a:gd name="T16" fmla="*/ 8 w 20"/>
                <a:gd name="T17" fmla="*/ 8 h 32"/>
                <a:gd name="T18" fmla="*/ 8 w 20"/>
                <a:gd name="T19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32">
                  <a:moveTo>
                    <a:pt x="20" y="32"/>
                  </a:moveTo>
                  <a:lnTo>
                    <a:pt x="0" y="32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0" y="32"/>
                  </a:lnTo>
                  <a:close/>
                  <a:moveTo>
                    <a:pt x="8" y="23"/>
                  </a:moveTo>
                  <a:lnTo>
                    <a:pt x="11" y="23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23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993EDD5F-B662-40AD-AAC2-AD4E1FDD3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7713" y="3043238"/>
              <a:ext cx="33337" cy="50800"/>
            </a:xfrm>
            <a:custGeom>
              <a:avLst/>
              <a:gdLst>
                <a:gd name="T0" fmla="*/ 21 w 21"/>
                <a:gd name="T1" fmla="*/ 32 h 32"/>
                <a:gd name="T2" fmla="*/ 0 w 21"/>
                <a:gd name="T3" fmla="*/ 32 h 32"/>
                <a:gd name="T4" fmla="*/ 0 w 21"/>
                <a:gd name="T5" fmla="*/ 0 h 32"/>
                <a:gd name="T6" fmla="*/ 21 w 21"/>
                <a:gd name="T7" fmla="*/ 0 h 32"/>
                <a:gd name="T8" fmla="*/ 21 w 21"/>
                <a:gd name="T9" fmla="*/ 32 h 32"/>
                <a:gd name="T10" fmla="*/ 9 w 21"/>
                <a:gd name="T11" fmla="*/ 23 h 32"/>
                <a:gd name="T12" fmla="*/ 12 w 21"/>
                <a:gd name="T13" fmla="*/ 23 h 32"/>
                <a:gd name="T14" fmla="*/ 12 w 21"/>
                <a:gd name="T15" fmla="*/ 8 h 32"/>
                <a:gd name="T16" fmla="*/ 9 w 21"/>
                <a:gd name="T17" fmla="*/ 8 h 32"/>
                <a:gd name="T18" fmla="*/ 9 w 21"/>
                <a:gd name="T19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2">
                  <a:moveTo>
                    <a:pt x="21" y="32"/>
                  </a:moveTo>
                  <a:lnTo>
                    <a:pt x="0" y="32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32"/>
                  </a:lnTo>
                  <a:close/>
                  <a:moveTo>
                    <a:pt x="9" y="23"/>
                  </a:moveTo>
                  <a:lnTo>
                    <a:pt x="12" y="23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09710409-7016-477D-AF65-7B3BE35F0B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9763" y="3067050"/>
              <a:ext cx="114300" cy="12700"/>
            </a:xfrm>
            <a:prstGeom prst="rect">
              <a:avLst/>
            </a:pr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49EFFAEC-F282-48BA-9764-27C650639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025" y="3067050"/>
              <a:ext cx="39687" cy="168275"/>
            </a:xfrm>
            <a:custGeom>
              <a:avLst/>
              <a:gdLst>
                <a:gd name="T0" fmla="*/ 8 w 25"/>
                <a:gd name="T1" fmla="*/ 106 h 106"/>
                <a:gd name="T2" fmla="*/ 0 w 25"/>
                <a:gd name="T3" fmla="*/ 106 h 106"/>
                <a:gd name="T4" fmla="*/ 0 w 25"/>
                <a:gd name="T5" fmla="*/ 0 h 106"/>
                <a:gd name="T6" fmla="*/ 25 w 25"/>
                <a:gd name="T7" fmla="*/ 0 h 106"/>
                <a:gd name="T8" fmla="*/ 25 w 25"/>
                <a:gd name="T9" fmla="*/ 8 h 106"/>
                <a:gd name="T10" fmla="*/ 8 w 25"/>
                <a:gd name="T11" fmla="*/ 8 h 106"/>
                <a:gd name="T12" fmla="*/ 8 w 25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06">
                  <a:moveTo>
                    <a:pt x="8" y="106"/>
                  </a:moveTo>
                  <a:lnTo>
                    <a:pt x="0" y="106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8" y="8"/>
                  </a:lnTo>
                  <a:lnTo>
                    <a:pt x="8" y="106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B28426EA-D7CE-4A0D-AEC4-4711203AD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6588" y="3125788"/>
              <a:ext cx="65087" cy="95250"/>
            </a:xfrm>
            <a:custGeom>
              <a:avLst/>
              <a:gdLst>
                <a:gd name="T0" fmla="*/ 58 w 125"/>
                <a:gd name="T1" fmla="*/ 184 h 184"/>
                <a:gd name="T2" fmla="*/ 0 w 125"/>
                <a:gd name="T3" fmla="*/ 170 h 184"/>
                <a:gd name="T4" fmla="*/ 5 w 125"/>
                <a:gd name="T5" fmla="*/ 136 h 184"/>
                <a:gd name="T6" fmla="*/ 54 w 125"/>
                <a:gd name="T7" fmla="*/ 149 h 184"/>
                <a:gd name="T8" fmla="*/ 82 w 125"/>
                <a:gd name="T9" fmla="*/ 129 h 184"/>
                <a:gd name="T10" fmla="*/ 48 w 125"/>
                <a:gd name="T11" fmla="*/ 106 h 184"/>
                <a:gd name="T12" fmla="*/ 33 w 125"/>
                <a:gd name="T13" fmla="*/ 106 h 184"/>
                <a:gd name="T14" fmla="*/ 27 w 125"/>
                <a:gd name="T15" fmla="*/ 74 h 184"/>
                <a:gd name="T16" fmla="*/ 46 w 125"/>
                <a:gd name="T17" fmla="*/ 74 h 184"/>
                <a:gd name="T18" fmla="*/ 79 w 125"/>
                <a:gd name="T19" fmla="*/ 53 h 184"/>
                <a:gd name="T20" fmla="*/ 53 w 125"/>
                <a:gd name="T21" fmla="*/ 35 h 184"/>
                <a:gd name="T22" fmla="*/ 8 w 125"/>
                <a:gd name="T23" fmla="*/ 50 h 184"/>
                <a:gd name="T24" fmla="*/ 2 w 125"/>
                <a:gd name="T25" fmla="*/ 16 h 184"/>
                <a:gd name="T26" fmla="*/ 60 w 125"/>
                <a:gd name="T27" fmla="*/ 0 h 184"/>
                <a:gd name="T28" fmla="*/ 122 w 125"/>
                <a:gd name="T29" fmla="*/ 47 h 184"/>
                <a:gd name="T30" fmla="*/ 91 w 125"/>
                <a:gd name="T31" fmla="*/ 89 h 184"/>
                <a:gd name="T32" fmla="*/ 125 w 125"/>
                <a:gd name="T33" fmla="*/ 131 h 184"/>
                <a:gd name="T34" fmla="*/ 58 w 125"/>
                <a:gd name="T35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84">
                  <a:moveTo>
                    <a:pt x="58" y="184"/>
                  </a:moveTo>
                  <a:cubicBezTo>
                    <a:pt x="35" y="184"/>
                    <a:pt x="15" y="179"/>
                    <a:pt x="0" y="170"/>
                  </a:cubicBezTo>
                  <a:cubicBezTo>
                    <a:pt x="5" y="136"/>
                    <a:pt x="5" y="136"/>
                    <a:pt x="5" y="136"/>
                  </a:cubicBezTo>
                  <a:cubicBezTo>
                    <a:pt x="20" y="144"/>
                    <a:pt x="36" y="149"/>
                    <a:pt x="54" y="149"/>
                  </a:cubicBezTo>
                  <a:cubicBezTo>
                    <a:pt x="71" y="149"/>
                    <a:pt x="82" y="142"/>
                    <a:pt x="82" y="129"/>
                  </a:cubicBezTo>
                  <a:cubicBezTo>
                    <a:pt x="82" y="115"/>
                    <a:pt x="72" y="106"/>
                    <a:pt x="48" y="106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69" y="74"/>
                    <a:pt x="79" y="66"/>
                    <a:pt x="79" y="53"/>
                  </a:cubicBezTo>
                  <a:cubicBezTo>
                    <a:pt x="79" y="42"/>
                    <a:pt x="70" y="35"/>
                    <a:pt x="53" y="35"/>
                  </a:cubicBezTo>
                  <a:cubicBezTo>
                    <a:pt x="37" y="35"/>
                    <a:pt x="21" y="40"/>
                    <a:pt x="8" y="5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6" y="7"/>
                    <a:pt x="36" y="0"/>
                    <a:pt x="60" y="0"/>
                  </a:cubicBezTo>
                  <a:cubicBezTo>
                    <a:pt x="99" y="0"/>
                    <a:pt x="122" y="19"/>
                    <a:pt x="122" y="47"/>
                  </a:cubicBezTo>
                  <a:cubicBezTo>
                    <a:pt x="122" y="70"/>
                    <a:pt x="109" y="82"/>
                    <a:pt x="91" y="89"/>
                  </a:cubicBezTo>
                  <a:cubicBezTo>
                    <a:pt x="112" y="96"/>
                    <a:pt x="125" y="108"/>
                    <a:pt x="125" y="131"/>
                  </a:cubicBezTo>
                  <a:cubicBezTo>
                    <a:pt x="125" y="166"/>
                    <a:pt x="96" y="184"/>
                    <a:pt x="58" y="184"/>
                  </a:cubicBez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97D94DE0-1BDD-4451-A2FA-EA3CC7EB6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9613" y="3127375"/>
              <a:ext cx="42862" cy="92075"/>
            </a:xfrm>
            <a:custGeom>
              <a:avLst/>
              <a:gdLst>
                <a:gd name="T0" fmla="*/ 13 w 27"/>
                <a:gd name="T1" fmla="*/ 58 h 58"/>
                <a:gd name="T2" fmla="*/ 13 w 27"/>
                <a:gd name="T3" fmla="*/ 13 h 58"/>
                <a:gd name="T4" fmla="*/ 1 w 27"/>
                <a:gd name="T5" fmla="*/ 18 h 58"/>
                <a:gd name="T6" fmla="*/ 0 w 27"/>
                <a:gd name="T7" fmla="*/ 7 h 58"/>
                <a:gd name="T8" fmla="*/ 14 w 27"/>
                <a:gd name="T9" fmla="*/ 0 h 58"/>
                <a:gd name="T10" fmla="*/ 27 w 27"/>
                <a:gd name="T11" fmla="*/ 0 h 58"/>
                <a:gd name="T12" fmla="*/ 27 w 27"/>
                <a:gd name="T13" fmla="*/ 58 h 58"/>
                <a:gd name="T14" fmla="*/ 13 w 27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58">
                  <a:moveTo>
                    <a:pt x="13" y="58"/>
                  </a:moveTo>
                  <a:lnTo>
                    <a:pt x="13" y="13"/>
                  </a:lnTo>
                  <a:lnTo>
                    <a:pt x="1" y="18"/>
                  </a:lnTo>
                  <a:lnTo>
                    <a:pt x="0" y="7"/>
                  </a:lnTo>
                  <a:lnTo>
                    <a:pt x="14" y="0"/>
                  </a:lnTo>
                  <a:lnTo>
                    <a:pt x="27" y="0"/>
                  </a:lnTo>
                  <a:lnTo>
                    <a:pt x="27" y="58"/>
                  </a:lnTo>
                  <a:lnTo>
                    <a:pt x="13" y="58"/>
                  </a:lnTo>
                  <a:close/>
                </a:path>
              </a:pathLst>
            </a:custGeom>
            <a:solidFill>
              <a:srgbClr val="009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9C3F8F2-FB85-4034-9E20-1975295CA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78468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ble Property Marke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tigious Addres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ear Top School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cellent Central Locatio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siest Por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r Cargo Hub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rec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dical Locatio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enter of Excellenc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count Tea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tervie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ent Data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ent Globall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ve Presen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Helmet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Goggl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ring Protec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 Visibility Ves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ti Corrosive Glov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3" name="Group 4">
            <a:extLst>
              <a:ext uri="{FF2B5EF4-FFF2-40B4-BE49-F238E27FC236}">
                <a16:creationId xmlns:a16="http://schemas.microsoft.com/office/drawing/2014/main" id="{E9EAD3FE-02CA-44D8-9427-32FFE521FB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293688"/>
            <a:ext cx="841375" cy="841375"/>
            <a:chOff x="225" y="185"/>
            <a:chExt cx="530" cy="530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388AAB62-D3B0-4174-B506-FB59AF785B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1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5E4E5642-D16A-474F-964B-31820C486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18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3FDA0DE-9B22-4B96-99CA-8913A259B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20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BAA00F4-503F-491A-BB02-1185624AB8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" y="292"/>
              <a:ext cx="292" cy="346"/>
            </a:xfrm>
            <a:custGeom>
              <a:avLst/>
              <a:gdLst>
                <a:gd name="T0" fmla="*/ 20 w 114"/>
                <a:gd name="T1" fmla="*/ 107 h 135"/>
                <a:gd name="T2" fmla="*/ 5 w 114"/>
                <a:gd name="T3" fmla="*/ 110 h 135"/>
                <a:gd name="T4" fmla="*/ 55 w 114"/>
                <a:gd name="T5" fmla="*/ 90 h 135"/>
                <a:gd name="T6" fmla="*/ 70 w 114"/>
                <a:gd name="T7" fmla="*/ 102 h 135"/>
                <a:gd name="T8" fmla="*/ 38 w 114"/>
                <a:gd name="T9" fmla="*/ 94 h 135"/>
                <a:gd name="T10" fmla="*/ 32 w 114"/>
                <a:gd name="T11" fmla="*/ 103 h 135"/>
                <a:gd name="T12" fmla="*/ 77 w 114"/>
                <a:gd name="T13" fmla="*/ 110 h 135"/>
                <a:gd name="T14" fmla="*/ 80 w 114"/>
                <a:gd name="T15" fmla="*/ 98 h 135"/>
                <a:gd name="T16" fmla="*/ 109 w 114"/>
                <a:gd name="T17" fmla="*/ 96 h 135"/>
                <a:gd name="T18" fmla="*/ 68 w 114"/>
                <a:gd name="T19" fmla="*/ 92 h 135"/>
                <a:gd name="T20" fmla="*/ 46 w 114"/>
                <a:gd name="T21" fmla="*/ 82 h 135"/>
                <a:gd name="T22" fmla="*/ 68 w 114"/>
                <a:gd name="T23" fmla="*/ 51 h 135"/>
                <a:gd name="T24" fmla="*/ 17 w 114"/>
                <a:gd name="T25" fmla="*/ 57 h 135"/>
                <a:gd name="T26" fmla="*/ 95 w 114"/>
                <a:gd name="T27" fmla="*/ 54 h 135"/>
                <a:gd name="T28" fmla="*/ 80 w 114"/>
                <a:gd name="T29" fmla="*/ 94 h 135"/>
                <a:gd name="T30" fmla="*/ 77 w 114"/>
                <a:gd name="T31" fmla="*/ 94 h 135"/>
                <a:gd name="T32" fmla="*/ 76 w 114"/>
                <a:gd name="T33" fmla="*/ 106 h 135"/>
                <a:gd name="T34" fmla="*/ 36 w 114"/>
                <a:gd name="T35" fmla="*/ 101 h 135"/>
                <a:gd name="T36" fmla="*/ 73 w 114"/>
                <a:gd name="T37" fmla="*/ 104 h 135"/>
                <a:gd name="T38" fmla="*/ 74 w 114"/>
                <a:gd name="T39" fmla="*/ 94 h 135"/>
                <a:gd name="T40" fmla="*/ 71 w 114"/>
                <a:gd name="T41" fmla="*/ 93 h 135"/>
                <a:gd name="T42" fmla="*/ 43 w 114"/>
                <a:gd name="T43" fmla="*/ 48 h 135"/>
                <a:gd name="T44" fmla="*/ 17 w 114"/>
                <a:gd name="T45" fmla="*/ 78 h 135"/>
                <a:gd name="T46" fmla="*/ 5 w 114"/>
                <a:gd name="T47" fmla="*/ 56 h 135"/>
                <a:gd name="T48" fmla="*/ 109 w 114"/>
                <a:gd name="T49" fmla="*/ 56 h 135"/>
                <a:gd name="T50" fmla="*/ 57 w 114"/>
                <a:gd name="T51" fmla="*/ 12 h 135"/>
                <a:gd name="T52" fmla="*/ 5 w 114"/>
                <a:gd name="T53" fmla="*/ 56 h 135"/>
                <a:gd name="T54" fmla="*/ 98 w 114"/>
                <a:gd name="T55" fmla="*/ 90 h 135"/>
                <a:gd name="T56" fmla="*/ 105 w 114"/>
                <a:gd name="T57" fmla="*/ 65 h 135"/>
                <a:gd name="T58" fmla="*/ 57 w 114"/>
                <a:gd name="T59" fmla="*/ 0 h 135"/>
                <a:gd name="T60" fmla="*/ 9 w 114"/>
                <a:gd name="T61" fmla="*/ 65 h 135"/>
                <a:gd name="T62" fmla="*/ 14 w 114"/>
                <a:gd name="T63" fmla="*/ 80 h 135"/>
                <a:gd name="T64" fmla="*/ 1 w 114"/>
                <a:gd name="T65" fmla="*/ 88 h 135"/>
                <a:gd name="T66" fmla="*/ 4 w 114"/>
                <a:gd name="T67" fmla="*/ 115 h 135"/>
                <a:gd name="T68" fmla="*/ 23 w 114"/>
                <a:gd name="T69" fmla="*/ 113 h 135"/>
                <a:gd name="T70" fmla="*/ 112 w 114"/>
                <a:gd name="T71" fmla="*/ 98 h 135"/>
                <a:gd name="T72" fmla="*/ 109 w 114"/>
                <a:gd name="T73" fmla="*/ 8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4" h="135">
                  <a:moveTo>
                    <a:pt x="24" y="110"/>
                  </a:moveTo>
                  <a:cubicBezTo>
                    <a:pt x="22" y="108"/>
                    <a:pt x="21" y="108"/>
                    <a:pt x="20" y="107"/>
                  </a:cubicBezTo>
                  <a:cubicBezTo>
                    <a:pt x="18" y="107"/>
                    <a:pt x="17" y="106"/>
                    <a:pt x="16" y="106"/>
                  </a:cubicBezTo>
                  <a:cubicBezTo>
                    <a:pt x="11" y="106"/>
                    <a:pt x="7" y="109"/>
                    <a:pt x="5" y="11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21" y="74"/>
                    <a:pt x="38" y="82"/>
                    <a:pt x="55" y="90"/>
                  </a:cubicBezTo>
                  <a:cubicBezTo>
                    <a:pt x="60" y="93"/>
                    <a:pt x="65" y="95"/>
                    <a:pt x="70" y="97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54" y="107"/>
                    <a:pt x="39" y="96"/>
                    <a:pt x="39" y="95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3"/>
                    <a:pt x="45" y="113"/>
                    <a:pt x="61" y="113"/>
                  </a:cubicBezTo>
                  <a:cubicBezTo>
                    <a:pt x="67" y="113"/>
                    <a:pt x="72" y="112"/>
                    <a:pt x="77" y="110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95" y="96"/>
                    <a:pt x="103" y="92"/>
                    <a:pt x="107" y="89"/>
                  </a:cubicBezTo>
                  <a:cubicBezTo>
                    <a:pt x="109" y="96"/>
                    <a:pt x="109" y="96"/>
                    <a:pt x="109" y="96"/>
                  </a:cubicBezTo>
                  <a:cubicBezTo>
                    <a:pt x="67" y="135"/>
                    <a:pt x="37" y="117"/>
                    <a:pt x="24" y="110"/>
                  </a:cubicBezTo>
                  <a:moveTo>
                    <a:pt x="68" y="92"/>
                  </a:moveTo>
                  <a:cubicBezTo>
                    <a:pt x="64" y="91"/>
                    <a:pt x="60" y="89"/>
                    <a:pt x="56" y="87"/>
                  </a:cubicBezTo>
                  <a:cubicBezTo>
                    <a:pt x="53" y="85"/>
                    <a:pt x="50" y="84"/>
                    <a:pt x="46" y="82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68" y="51"/>
                    <a:pt x="68" y="51"/>
                    <a:pt x="68" y="51"/>
                  </a:cubicBezTo>
                  <a:lnTo>
                    <a:pt x="68" y="92"/>
                  </a:lnTo>
                  <a:close/>
                  <a:moveTo>
                    <a:pt x="17" y="57"/>
                  </a:moveTo>
                  <a:cubicBezTo>
                    <a:pt x="57" y="16"/>
                    <a:pt x="57" y="16"/>
                    <a:pt x="57" y="16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1" y="93"/>
                    <a:pt x="86" y="94"/>
                    <a:pt x="80" y="94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71" y="109"/>
                    <a:pt x="66" y="110"/>
                    <a:pt x="61" y="110"/>
                  </a:cubicBezTo>
                  <a:cubicBezTo>
                    <a:pt x="49" y="110"/>
                    <a:pt x="39" y="104"/>
                    <a:pt x="36" y="101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42" y="102"/>
                    <a:pt x="57" y="111"/>
                    <a:pt x="73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3"/>
                    <a:pt x="72" y="93"/>
                    <a:pt x="71" y="93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34" y="78"/>
                    <a:pt x="26" y="76"/>
                    <a:pt x="17" y="78"/>
                  </a:cubicBezTo>
                  <a:lnTo>
                    <a:pt x="17" y="57"/>
                  </a:lnTo>
                  <a:close/>
                  <a:moveTo>
                    <a:pt x="5" y="56"/>
                  </a:moveTo>
                  <a:cubicBezTo>
                    <a:pt x="57" y="4"/>
                    <a:pt x="57" y="4"/>
                    <a:pt x="57" y="4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9" y="60"/>
                    <a:pt x="9" y="60"/>
                    <a:pt x="9" y="60"/>
                  </a:cubicBezTo>
                  <a:lnTo>
                    <a:pt x="5" y="56"/>
                  </a:lnTo>
                  <a:close/>
                  <a:moveTo>
                    <a:pt x="107" y="85"/>
                  </a:moveTo>
                  <a:cubicBezTo>
                    <a:pt x="107" y="85"/>
                    <a:pt x="104" y="87"/>
                    <a:pt x="98" y="90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0" y="81"/>
                    <a:pt x="6" y="84"/>
                    <a:pt x="2" y="88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2" y="108"/>
                    <a:pt x="18" y="110"/>
                  </a:cubicBezTo>
                  <a:cubicBezTo>
                    <a:pt x="19" y="111"/>
                    <a:pt x="21" y="112"/>
                    <a:pt x="23" y="113"/>
                  </a:cubicBezTo>
                  <a:cubicBezTo>
                    <a:pt x="29" y="116"/>
                    <a:pt x="41" y="124"/>
                    <a:pt x="58" y="124"/>
                  </a:cubicBezTo>
                  <a:cubicBezTo>
                    <a:pt x="72" y="124"/>
                    <a:pt x="91" y="118"/>
                    <a:pt x="112" y="98"/>
                  </a:cubicBezTo>
                  <a:cubicBezTo>
                    <a:pt x="113" y="97"/>
                    <a:pt x="113" y="97"/>
                    <a:pt x="113" y="97"/>
                  </a:cubicBezTo>
                  <a:cubicBezTo>
                    <a:pt x="109" y="82"/>
                    <a:pt x="109" y="82"/>
                    <a:pt x="109" y="82"/>
                  </a:cubicBezTo>
                  <a:lnTo>
                    <a:pt x="107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0">
            <a:extLst>
              <a:ext uri="{FF2B5EF4-FFF2-40B4-BE49-F238E27FC236}">
                <a16:creationId xmlns:a16="http://schemas.microsoft.com/office/drawing/2014/main" id="{7733D536-FF7D-4B54-849C-B12A28A9F0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3038" y="334963"/>
            <a:ext cx="758825" cy="758825"/>
            <a:chOff x="909" y="211"/>
            <a:chExt cx="478" cy="478"/>
          </a:xfrm>
        </p:grpSpPr>
        <p:sp>
          <p:nvSpPr>
            <p:cNvPr id="15" name="AutoShape 9">
              <a:extLst>
                <a:ext uri="{FF2B5EF4-FFF2-40B4-BE49-F238E27FC236}">
                  <a16:creationId xmlns:a16="http://schemas.microsoft.com/office/drawing/2014/main" id="{23514E37-592C-4E78-85FD-0990C39644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9" y="21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75BD1295-EB46-48F7-90AE-285C8EAAD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1" y="21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14258CC3-9708-49A5-9AF7-D62328738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" y="299"/>
              <a:ext cx="280" cy="331"/>
            </a:xfrm>
            <a:custGeom>
              <a:avLst/>
              <a:gdLst>
                <a:gd name="T0" fmla="*/ 20 w 114"/>
                <a:gd name="T1" fmla="*/ 107 h 135"/>
                <a:gd name="T2" fmla="*/ 5 w 114"/>
                <a:gd name="T3" fmla="*/ 110 h 135"/>
                <a:gd name="T4" fmla="*/ 55 w 114"/>
                <a:gd name="T5" fmla="*/ 90 h 135"/>
                <a:gd name="T6" fmla="*/ 70 w 114"/>
                <a:gd name="T7" fmla="*/ 102 h 135"/>
                <a:gd name="T8" fmla="*/ 38 w 114"/>
                <a:gd name="T9" fmla="*/ 94 h 135"/>
                <a:gd name="T10" fmla="*/ 32 w 114"/>
                <a:gd name="T11" fmla="*/ 103 h 135"/>
                <a:gd name="T12" fmla="*/ 77 w 114"/>
                <a:gd name="T13" fmla="*/ 110 h 135"/>
                <a:gd name="T14" fmla="*/ 80 w 114"/>
                <a:gd name="T15" fmla="*/ 98 h 135"/>
                <a:gd name="T16" fmla="*/ 109 w 114"/>
                <a:gd name="T17" fmla="*/ 96 h 135"/>
                <a:gd name="T18" fmla="*/ 68 w 114"/>
                <a:gd name="T19" fmla="*/ 92 h 135"/>
                <a:gd name="T20" fmla="*/ 46 w 114"/>
                <a:gd name="T21" fmla="*/ 82 h 135"/>
                <a:gd name="T22" fmla="*/ 68 w 114"/>
                <a:gd name="T23" fmla="*/ 51 h 135"/>
                <a:gd name="T24" fmla="*/ 17 w 114"/>
                <a:gd name="T25" fmla="*/ 57 h 135"/>
                <a:gd name="T26" fmla="*/ 95 w 114"/>
                <a:gd name="T27" fmla="*/ 54 h 135"/>
                <a:gd name="T28" fmla="*/ 80 w 114"/>
                <a:gd name="T29" fmla="*/ 94 h 135"/>
                <a:gd name="T30" fmla="*/ 77 w 114"/>
                <a:gd name="T31" fmla="*/ 94 h 135"/>
                <a:gd name="T32" fmla="*/ 76 w 114"/>
                <a:gd name="T33" fmla="*/ 106 h 135"/>
                <a:gd name="T34" fmla="*/ 36 w 114"/>
                <a:gd name="T35" fmla="*/ 101 h 135"/>
                <a:gd name="T36" fmla="*/ 73 w 114"/>
                <a:gd name="T37" fmla="*/ 104 h 135"/>
                <a:gd name="T38" fmla="*/ 74 w 114"/>
                <a:gd name="T39" fmla="*/ 94 h 135"/>
                <a:gd name="T40" fmla="*/ 71 w 114"/>
                <a:gd name="T41" fmla="*/ 93 h 135"/>
                <a:gd name="T42" fmla="*/ 43 w 114"/>
                <a:gd name="T43" fmla="*/ 48 h 135"/>
                <a:gd name="T44" fmla="*/ 17 w 114"/>
                <a:gd name="T45" fmla="*/ 78 h 135"/>
                <a:gd name="T46" fmla="*/ 5 w 114"/>
                <a:gd name="T47" fmla="*/ 56 h 135"/>
                <a:gd name="T48" fmla="*/ 109 w 114"/>
                <a:gd name="T49" fmla="*/ 56 h 135"/>
                <a:gd name="T50" fmla="*/ 57 w 114"/>
                <a:gd name="T51" fmla="*/ 12 h 135"/>
                <a:gd name="T52" fmla="*/ 5 w 114"/>
                <a:gd name="T53" fmla="*/ 56 h 135"/>
                <a:gd name="T54" fmla="*/ 98 w 114"/>
                <a:gd name="T55" fmla="*/ 90 h 135"/>
                <a:gd name="T56" fmla="*/ 105 w 114"/>
                <a:gd name="T57" fmla="*/ 65 h 135"/>
                <a:gd name="T58" fmla="*/ 57 w 114"/>
                <a:gd name="T59" fmla="*/ 0 h 135"/>
                <a:gd name="T60" fmla="*/ 9 w 114"/>
                <a:gd name="T61" fmla="*/ 65 h 135"/>
                <a:gd name="T62" fmla="*/ 14 w 114"/>
                <a:gd name="T63" fmla="*/ 80 h 135"/>
                <a:gd name="T64" fmla="*/ 1 w 114"/>
                <a:gd name="T65" fmla="*/ 88 h 135"/>
                <a:gd name="T66" fmla="*/ 4 w 114"/>
                <a:gd name="T67" fmla="*/ 115 h 135"/>
                <a:gd name="T68" fmla="*/ 23 w 114"/>
                <a:gd name="T69" fmla="*/ 113 h 135"/>
                <a:gd name="T70" fmla="*/ 112 w 114"/>
                <a:gd name="T71" fmla="*/ 98 h 135"/>
                <a:gd name="T72" fmla="*/ 109 w 114"/>
                <a:gd name="T73" fmla="*/ 8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4" h="135">
                  <a:moveTo>
                    <a:pt x="24" y="110"/>
                  </a:moveTo>
                  <a:cubicBezTo>
                    <a:pt x="22" y="108"/>
                    <a:pt x="21" y="108"/>
                    <a:pt x="20" y="107"/>
                  </a:cubicBezTo>
                  <a:cubicBezTo>
                    <a:pt x="18" y="107"/>
                    <a:pt x="17" y="106"/>
                    <a:pt x="16" y="106"/>
                  </a:cubicBezTo>
                  <a:cubicBezTo>
                    <a:pt x="11" y="106"/>
                    <a:pt x="7" y="109"/>
                    <a:pt x="5" y="11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21" y="74"/>
                    <a:pt x="38" y="82"/>
                    <a:pt x="55" y="90"/>
                  </a:cubicBezTo>
                  <a:cubicBezTo>
                    <a:pt x="60" y="93"/>
                    <a:pt x="65" y="95"/>
                    <a:pt x="70" y="97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54" y="107"/>
                    <a:pt x="39" y="96"/>
                    <a:pt x="39" y="95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3" y="103"/>
                    <a:pt x="45" y="113"/>
                    <a:pt x="61" y="113"/>
                  </a:cubicBezTo>
                  <a:cubicBezTo>
                    <a:pt x="67" y="113"/>
                    <a:pt x="72" y="112"/>
                    <a:pt x="77" y="110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95" y="96"/>
                    <a:pt x="103" y="92"/>
                    <a:pt x="107" y="89"/>
                  </a:cubicBezTo>
                  <a:cubicBezTo>
                    <a:pt x="109" y="96"/>
                    <a:pt x="109" y="96"/>
                    <a:pt x="109" y="96"/>
                  </a:cubicBezTo>
                  <a:cubicBezTo>
                    <a:pt x="67" y="135"/>
                    <a:pt x="37" y="117"/>
                    <a:pt x="24" y="110"/>
                  </a:cubicBezTo>
                  <a:moveTo>
                    <a:pt x="68" y="92"/>
                  </a:moveTo>
                  <a:cubicBezTo>
                    <a:pt x="64" y="91"/>
                    <a:pt x="60" y="89"/>
                    <a:pt x="56" y="87"/>
                  </a:cubicBezTo>
                  <a:cubicBezTo>
                    <a:pt x="53" y="85"/>
                    <a:pt x="50" y="84"/>
                    <a:pt x="46" y="82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68" y="51"/>
                    <a:pt x="68" y="51"/>
                    <a:pt x="68" y="51"/>
                  </a:cubicBezTo>
                  <a:lnTo>
                    <a:pt x="68" y="92"/>
                  </a:lnTo>
                  <a:close/>
                  <a:moveTo>
                    <a:pt x="17" y="57"/>
                  </a:moveTo>
                  <a:cubicBezTo>
                    <a:pt x="57" y="16"/>
                    <a:pt x="57" y="16"/>
                    <a:pt x="57" y="16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1" y="93"/>
                    <a:pt x="86" y="94"/>
                    <a:pt x="80" y="94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71" y="109"/>
                    <a:pt x="66" y="110"/>
                    <a:pt x="61" y="110"/>
                  </a:cubicBezTo>
                  <a:cubicBezTo>
                    <a:pt x="49" y="110"/>
                    <a:pt x="39" y="104"/>
                    <a:pt x="36" y="101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42" y="102"/>
                    <a:pt x="57" y="111"/>
                    <a:pt x="73" y="104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2" y="93"/>
                    <a:pt x="72" y="93"/>
                    <a:pt x="71" y="93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34" y="78"/>
                    <a:pt x="26" y="76"/>
                    <a:pt x="17" y="78"/>
                  </a:cubicBezTo>
                  <a:lnTo>
                    <a:pt x="17" y="57"/>
                  </a:lnTo>
                  <a:close/>
                  <a:moveTo>
                    <a:pt x="5" y="56"/>
                  </a:moveTo>
                  <a:cubicBezTo>
                    <a:pt x="57" y="4"/>
                    <a:pt x="57" y="4"/>
                    <a:pt x="57" y="4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9" y="60"/>
                    <a:pt x="9" y="60"/>
                    <a:pt x="9" y="60"/>
                  </a:cubicBezTo>
                  <a:lnTo>
                    <a:pt x="5" y="56"/>
                  </a:lnTo>
                  <a:close/>
                  <a:moveTo>
                    <a:pt x="107" y="85"/>
                  </a:moveTo>
                  <a:cubicBezTo>
                    <a:pt x="107" y="85"/>
                    <a:pt x="104" y="87"/>
                    <a:pt x="98" y="90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0" y="81"/>
                    <a:pt x="6" y="84"/>
                    <a:pt x="2" y="88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12" y="108"/>
                    <a:pt x="18" y="110"/>
                  </a:cubicBezTo>
                  <a:cubicBezTo>
                    <a:pt x="19" y="111"/>
                    <a:pt x="21" y="112"/>
                    <a:pt x="23" y="113"/>
                  </a:cubicBezTo>
                  <a:cubicBezTo>
                    <a:pt x="29" y="116"/>
                    <a:pt x="41" y="124"/>
                    <a:pt x="58" y="124"/>
                  </a:cubicBezTo>
                  <a:cubicBezTo>
                    <a:pt x="72" y="124"/>
                    <a:pt x="91" y="118"/>
                    <a:pt x="112" y="98"/>
                  </a:cubicBezTo>
                  <a:cubicBezTo>
                    <a:pt x="113" y="97"/>
                    <a:pt x="113" y="97"/>
                    <a:pt x="113" y="97"/>
                  </a:cubicBezTo>
                  <a:cubicBezTo>
                    <a:pt x="109" y="82"/>
                    <a:pt x="109" y="82"/>
                    <a:pt x="109" y="82"/>
                  </a:cubicBezTo>
                  <a:lnTo>
                    <a:pt x="107" y="8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15">
            <a:extLst>
              <a:ext uri="{FF2B5EF4-FFF2-40B4-BE49-F238E27FC236}">
                <a16:creationId xmlns:a16="http://schemas.microsoft.com/office/drawing/2014/main" id="{FE9F7465-8F94-4AB2-B1B5-5DE1F62530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293688"/>
            <a:ext cx="841375" cy="841375"/>
            <a:chOff x="1626" y="185"/>
            <a:chExt cx="530" cy="530"/>
          </a:xfrm>
        </p:grpSpPr>
        <p:sp>
          <p:nvSpPr>
            <p:cNvPr id="23" name="AutoShape 14">
              <a:extLst>
                <a:ext uri="{FF2B5EF4-FFF2-40B4-BE49-F238E27FC236}">
                  <a16:creationId xmlns:a16="http://schemas.microsoft.com/office/drawing/2014/main" id="{E1D59DD5-D2FC-45F6-B9F3-717198822D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1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6">
              <a:extLst>
                <a:ext uri="{FF2B5EF4-FFF2-40B4-BE49-F238E27FC236}">
                  <a16:creationId xmlns:a16="http://schemas.microsoft.com/office/drawing/2014/main" id="{3216DE50-C792-41B5-88E2-757E4AD97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18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A99ACE10-44C4-4B5E-9737-6684E50A55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20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2460991F-CD31-40B0-A5F9-157BBE5F2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6" y="385"/>
              <a:ext cx="92" cy="94"/>
            </a:xfrm>
            <a:custGeom>
              <a:avLst/>
              <a:gdLst>
                <a:gd name="T0" fmla="*/ 18 w 36"/>
                <a:gd name="T1" fmla="*/ 3 h 37"/>
                <a:gd name="T2" fmla="*/ 34 w 36"/>
                <a:gd name="T3" fmla="*/ 18 h 37"/>
                <a:gd name="T4" fmla="*/ 18 w 36"/>
                <a:gd name="T5" fmla="*/ 34 h 37"/>
                <a:gd name="T6" fmla="*/ 2 w 36"/>
                <a:gd name="T7" fmla="*/ 18 h 37"/>
                <a:gd name="T8" fmla="*/ 18 w 36"/>
                <a:gd name="T9" fmla="*/ 3 h 37"/>
                <a:gd name="T10" fmla="*/ 18 w 36"/>
                <a:gd name="T11" fmla="*/ 37 h 37"/>
                <a:gd name="T12" fmla="*/ 36 w 36"/>
                <a:gd name="T13" fmla="*/ 18 h 37"/>
                <a:gd name="T14" fmla="*/ 18 w 36"/>
                <a:gd name="T15" fmla="*/ 0 h 37"/>
                <a:gd name="T16" fmla="*/ 0 w 36"/>
                <a:gd name="T17" fmla="*/ 18 h 37"/>
                <a:gd name="T18" fmla="*/ 18 w 36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3"/>
                  </a:moveTo>
                  <a:cubicBezTo>
                    <a:pt x="27" y="3"/>
                    <a:pt x="34" y="10"/>
                    <a:pt x="34" y="18"/>
                  </a:cubicBezTo>
                  <a:cubicBezTo>
                    <a:pt x="34" y="27"/>
                    <a:pt x="27" y="34"/>
                    <a:pt x="18" y="34"/>
                  </a:cubicBezTo>
                  <a:cubicBezTo>
                    <a:pt x="9" y="34"/>
                    <a:pt x="2" y="27"/>
                    <a:pt x="2" y="18"/>
                  </a:cubicBezTo>
                  <a:cubicBezTo>
                    <a:pt x="2" y="10"/>
                    <a:pt x="9" y="3"/>
                    <a:pt x="18" y="3"/>
                  </a:cubicBezTo>
                  <a:moveTo>
                    <a:pt x="18" y="37"/>
                  </a:moveTo>
                  <a:cubicBezTo>
                    <a:pt x="28" y="37"/>
                    <a:pt x="36" y="28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7"/>
                    <a:pt x="18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488E036F-5804-4585-A9A5-8E0904C01A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3" y="315"/>
              <a:ext cx="358" cy="254"/>
            </a:xfrm>
            <a:custGeom>
              <a:avLst/>
              <a:gdLst>
                <a:gd name="T0" fmla="*/ 120 w 140"/>
                <a:gd name="T1" fmla="*/ 92 h 99"/>
                <a:gd name="T2" fmla="*/ 120 w 140"/>
                <a:gd name="T3" fmla="*/ 41 h 99"/>
                <a:gd name="T4" fmla="*/ 129 w 140"/>
                <a:gd name="T5" fmla="*/ 35 h 99"/>
                <a:gd name="T6" fmla="*/ 123 w 140"/>
                <a:gd name="T7" fmla="*/ 92 h 99"/>
                <a:gd name="T8" fmla="*/ 122 w 140"/>
                <a:gd name="T9" fmla="*/ 96 h 99"/>
                <a:gd name="T10" fmla="*/ 63 w 140"/>
                <a:gd name="T11" fmla="*/ 69 h 99"/>
                <a:gd name="T12" fmla="*/ 65 w 140"/>
                <a:gd name="T13" fmla="*/ 71 h 99"/>
                <a:gd name="T14" fmla="*/ 87 w 140"/>
                <a:gd name="T15" fmla="*/ 75 h 99"/>
                <a:gd name="T16" fmla="*/ 90 w 140"/>
                <a:gd name="T17" fmla="*/ 60 h 99"/>
                <a:gd name="T18" fmla="*/ 3 w 140"/>
                <a:gd name="T19" fmla="*/ 94 h 99"/>
                <a:gd name="T20" fmla="*/ 17 w 140"/>
                <a:gd name="T21" fmla="*/ 41 h 99"/>
                <a:gd name="T22" fmla="*/ 18 w 140"/>
                <a:gd name="T23" fmla="*/ 29 h 99"/>
                <a:gd name="T24" fmla="*/ 18 w 140"/>
                <a:gd name="T25" fmla="*/ 41 h 99"/>
                <a:gd name="T26" fmla="*/ 33 w 140"/>
                <a:gd name="T27" fmla="*/ 94 h 99"/>
                <a:gd name="T28" fmla="*/ 30 w 140"/>
                <a:gd name="T29" fmla="*/ 42 h 99"/>
                <a:gd name="T30" fmla="*/ 26 w 140"/>
                <a:gd name="T31" fmla="*/ 51 h 99"/>
                <a:gd name="T32" fmla="*/ 48 w 140"/>
                <a:gd name="T33" fmla="*/ 57 h 99"/>
                <a:gd name="T34" fmla="*/ 21 w 140"/>
                <a:gd name="T35" fmla="*/ 44 h 99"/>
                <a:gd name="T36" fmla="*/ 40 w 140"/>
                <a:gd name="T37" fmla="*/ 3 h 99"/>
                <a:gd name="T38" fmla="*/ 40 w 140"/>
                <a:gd name="T39" fmla="*/ 11 h 99"/>
                <a:gd name="T40" fmla="*/ 46 w 140"/>
                <a:gd name="T41" fmla="*/ 50 h 99"/>
                <a:gd name="T42" fmla="*/ 46 w 140"/>
                <a:gd name="T43" fmla="*/ 52 h 99"/>
                <a:gd name="T44" fmla="*/ 38 w 140"/>
                <a:gd name="T45" fmla="*/ 50 h 99"/>
                <a:gd name="T46" fmla="*/ 39 w 140"/>
                <a:gd name="T47" fmla="*/ 11 h 99"/>
                <a:gd name="T48" fmla="*/ 70 w 140"/>
                <a:gd name="T49" fmla="*/ 23 h 99"/>
                <a:gd name="T50" fmla="*/ 91 w 140"/>
                <a:gd name="T51" fmla="*/ 51 h 99"/>
                <a:gd name="T52" fmla="*/ 89 w 140"/>
                <a:gd name="T53" fmla="*/ 56 h 99"/>
                <a:gd name="T54" fmla="*/ 81 w 140"/>
                <a:gd name="T55" fmla="*/ 64 h 99"/>
                <a:gd name="T56" fmla="*/ 79 w 140"/>
                <a:gd name="T57" fmla="*/ 65 h 99"/>
                <a:gd name="T58" fmla="*/ 76 w 140"/>
                <a:gd name="T59" fmla="*/ 66 h 99"/>
                <a:gd name="T60" fmla="*/ 72 w 140"/>
                <a:gd name="T61" fmla="*/ 71 h 99"/>
                <a:gd name="T62" fmla="*/ 68 w 140"/>
                <a:gd name="T63" fmla="*/ 71 h 99"/>
                <a:gd name="T64" fmla="*/ 64 w 140"/>
                <a:gd name="T65" fmla="*/ 66 h 99"/>
                <a:gd name="T66" fmla="*/ 60 w 140"/>
                <a:gd name="T67" fmla="*/ 65 h 99"/>
                <a:gd name="T68" fmla="*/ 58 w 140"/>
                <a:gd name="T69" fmla="*/ 64 h 99"/>
                <a:gd name="T70" fmla="*/ 51 w 140"/>
                <a:gd name="T71" fmla="*/ 56 h 99"/>
                <a:gd name="T72" fmla="*/ 49 w 140"/>
                <a:gd name="T73" fmla="*/ 51 h 99"/>
                <a:gd name="T74" fmla="*/ 70 w 140"/>
                <a:gd name="T75" fmla="*/ 23 h 99"/>
                <a:gd name="T76" fmla="*/ 100 w 140"/>
                <a:gd name="T77" fmla="*/ 50 h 99"/>
                <a:gd name="T78" fmla="*/ 96 w 140"/>
                <a:gd name="T79" fmla="*/ 7 h 99"/>
                <a:gd name="T80" fmla="*/ 101 w 140"/>
                <a:gd name="T81" fmla="*/ 11 h 99"/>
                <a:gd name="T82" fmla="*/ 102 w 140"/>
                <a:gd name="T83" fmla="*/ 50 h 99"/>
                <a:gd name="T84" fmla="*/ 94 w 140"/>
                <a:gd name="T85" fmla="*/ 52 h 99"/>
                <a:gd name="T86" fmla="*/ 94 w 140"/>
                <a:gd name="T87" fmla="*/ 50 h 99"/>
                <a:gd name="T88" fmla="*/ 71 w 140"/>
                <a:gd name="T89" fmla="*/ 77 h 99"/>
                <a:gd name="T90" fmla="*/ 57 w 140"/>
                <a:gd name="T91" fmla="*/ 76 h 99"/>
                <a:gd name="T92" fmla="*/ 110 w 140"/>
                <a:gd name="T93" fmla="*/ 42 h 99"/>
                <a:gd name="T94" fmla="*/ 119 w 140"/>
                <a:gd name="T95" fmla="*/ 89 h 99"/>
                <a:gd name="T96" fmla="*/ 93 w 140"/>
                <a:gd name="T97" fmla="*/ 54 h 99"/>
                <a:gd name="T98" fmla="*/ 103 w 140"/>
                <a:gd name="T99" fmla="*/ 47 h 99"/>
                <a:gd name="T100" fmla="*/ 126 w 140"/>
                <a:gd name="T101" fmla="*/ 89 h 99"/>
                <a:gd name="T102" fmla="*/ 122 w 140"/>
                <a:gd name="T103" fmla="*/ 26 h 99"/>
                <a:gd name="T104" fmla="*/ 111 w 140"/>
                <a:gd name="T105" fmla="*/ 40 h 99"/>
                <a:gd name="T106" fmla="*/ 100 w 140"/>
                <a:gd name="T107" fmla="*/ 0 h 99"/>
                <a:gd name="T108" fmla="*/ 97 w 140"/>
                <a:gd name="T109" fmla="*/ 47 h 99"/>
                <a:gd name="T110" fmla="*/ 70 w 140"/>
                <a:gd name="T111" fmla="*/ 20 h 99"/>
                <a:gd name="T112" fmla="*/ 43 w 140"/>
                <a:gd name="T113" fmla="*/ 47 h 99"/>
                <a:gd name="T114" fmla="*/ 40 w 140"/>
                <a:gd name="T115" fmla="*/ 0 h 99"/>
                <a:gd name="T116" fmla="*/ 29 w 140"/>
                <a:gd name="T117" fmla="*/ 40 h 99"/>
                <a:gd name="T118" fmla="*/ 18 w 140"/>
                <a:gd name="T119" fmla="*/ 26 h 99"/>
                <a:gd name="T120" fmla="*/ 14 w 140"/>
                <a:gd name="T121" fmla="*/ 89 h 99"/>
                <a:gd name="T122" fmla="*/ 35 w 140"/>
                <a:gd name="T123" fmla="*/ 95 h 99"/>
                <a:gd name="T124" fmla="*/ 140 w 140"/>
                <a:gd name="T125" fmla="*/ 9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99">
                  <a:moveTo>
                    <a:pt x="122" y="96"/>
                  </a:moveTo>
                  <a:cubicBezTo>
                    <a:pt x="114" y="96"/>
                    <a:pt x="109" y="95"/>
                    <a:pt x="107" y="94"/>
                  </a:cubicBezTo>
                  <a:cubicBezTo>
                    <a:pt x="109" y="93"/>
                    <a:pt x="113" y="92"/>
                    <a:pt x="120" y="92"/>
                  </a:cubicBezTo>
                  <a:cubicBezTo>
                    <a:pt x="122" y="92"/>
                    <a:pt x="122" y="92"/>
                    <a:pt x="122" y="92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18" y="40"/>
                    <a:pt x="116" y="38"/>
                    <a:pt x="116" y="35"/>
                  </a:cubicBezTo>
                  <a:cubicBezTo>
                    <a:pt x="116" y="31"/>
                    <a:pt x="119" y="29"/>
                    <a:pt x="122" y="29"/>
                  </a:cubicBezTo>
                  <a:cubicBezTo>
                    <a:pt x="126" y="29"/>
                    <a:pt x="129" y="31"/>
                    <a:pt x="129" y="35"/>
                  </a:cubicBezTo>
                  <a:cubicBezTo>
                    <a:pt x="129" y="38"/>
                    <a:pt x="127" y="40"/>
                    <a:pt x="124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32" y="92"/>
                    <a:pt x="136" y="93"/>
                    <a:pt x="137" y="94"/>
                  </a:cubicBezTo>
                  <a:cubicBezTo>
                    <a:pt x="135" y="95"/>
                    <a:pt x="130" y="96"/>
                    <a:pt x="122" y="96"/>
                  </a:cubicBezTo>
                  <a:moveTo>
                    <a:pt x="37" y="93"/>
                  </a:moveTo>
                  <a:cubicBezTo>
                    <a:pt x="50" y="60"/>
                    <a:pt x="50" y="60"/>
                    <a:pt x="50" y="60"/>
                  </a:cubicBezTo>
                  <a:cubicBezTo>
                    <a:pt x="53" y="64"/>
                    <a:pt x="58" y="67"/>
                    <a:pt x="63" y="69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59" y="72"/>
                    <a:pt x="53" y="73"/>
                    <a:pt x="53" y="75"/>
                  </a:cubicBezTo>
                  <a:cubicBezTo>
                    <a:pt x="53" y="80"/>
                    <a:pt x="66" y="80"/>
                    <a:pt x="70" y="80"/>
                  </a:cubicBezTo>
                  <a:cubicBezTo>
                    <a:pt x="74" y="80"/>
                    <a:pt x="87" y="80"/>
                    <a:pt x="87" y="75"/>
                  </a:cubicBezTo>
                  <a:cubicBezTo>
                    <a:pt x="87" y="73"/>
                    <a:pt x="81" y="72"/>
                    <a:pt x="75" y="71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82" y="67"/>
                    <a:pt x="87" y="64"/>
                    <a:pt x="90" y="60"/>
                  </a:cubicBezTo>
                  <a:cubicBezTo>
                    <a:pt x="103" y="93"/>
                    <a:pt x="103" y="93"/>
                    <a:pt x="103" y="93"/>
                  </a:cubicBezTo>
                  <a:lnTo>
                    <a:pt x="37" y="93"/>
                  </a:lnTo>
                  <a:close/>
                  <a:moveTo>
                    <a:pt x="3" y="94"/>
                  </a:moveTo>
                  <a:cubicBezTo>
                    <a:pt x="4" y="93"/>
                    <a:pt x="8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3" y="40"/>
                    <a:pt x="11" y="38"/>
                    <a:pt x="11" y="35"/>
                  </a:cubicBezTo>
                  <a:cubicBezTo>
                    <a:pt x="11" y="31"/>
                    <a:pt x="14" y="29"/>
                    <a:pt x="18" y="29"/>
                  </a:cubicBezTo>
                  <a:cubicBezTo>
                    <a:pt x="21" y="29"/>
                    <a:pt x="24" y="31"/>
                    <a:pt x="24" y="35"/>
                  </a:cubicBezTo>
                  <a:cubicBezTo>
                    <a:pt x="24" y="38"/>
                    <a:pt x="22" y="40"/>
                    <a:pt x="20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7" y="92"/>
                    <a:pt x="31" y="93"/>
                    <a:pt x="33" y="94"/>
                  </a:cubicBezTo>
                  <a:cubicBezTo>
                    <a:pt x="31" y="95"/>
                    <a:pt x="26" y="96"/>
                    <a:pt x="18" y="96"/>
                  </a:cubicBezTo>
                  <a:cubicBezTo>
                    <a:pt x="10" y="96"/>
                    <a:pt x="5" y="95"/>
                    <a:pt x="3" y="94"/>
                  </a:cubicBezTo>
                  <a:moveTo>
                    <a:pt x="30" y="42"/>
                  </a:moveTo>
                  <a:cubicBezTo>
                    <a:pt x="33" y="40"/>
                    <a:pt x="35" y="37"/>
                    <a:pt x="37" y="33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1" y="48"/>
                    <a:pt x="26" y="48"/>
                    <a:pt x="26" y="51"/>
                  </a:cubicBezTo>
                  <a:cubicBezTo>
                    <a:pt x="26" y="54"/>
                    <a:pt x="35" y="55"/>
                    <a:pt x="40" y="55"/>
                  </a:cubicBezTo>
                  <a:cubicBezTo>
                    <a:pt x="42" y="55"/>
                    <a:pt x="45" y="55"/>
                    <a:pt x="47" y="54"/>
                  </a:cubicBezTo>
                  <a:cubicBezTo>
                    <a:pt x="48" y="55"/>
                    <a:pt x="48" y="56"/>
                    <a:pt x="48" y="57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31" y="90"/>
                    <a:pt x="26" y="90"/>
                    <a:pt x="21" y="8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5" y="44"/>
                    <a:pt x="28" y="44"/>
                    <a:pt x="30" y="42"/>
                  </a:cubicBezTo>
                  <a:moveTo>
                    <a:pt x="40" y="3"/>
                  </a:moveTo>
                  <a:cubicBezTo>
                    <a:pt x="42" y="3"/>
                    <a:pt x="44" y="5"/>
                    <a:pt x="44" y="7"/>
                  </a:cubicBezTo>
                  <a:cubicBezTo>
                    <a:pt x="44" y="9"/>
                    <a:pt x="43" y="11"/>
                    <a:pt x="41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3" y="50"/>
                    <a:pt x="45" y="50"/>
                    <a:pt x="46" y="50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2"/>
                    <a:pt x="46" y="52"/>
                  </a:cubicBezTo>
                  <a:cubicBezTo>
                    <a:pt x="44" y="52"/>
                    <a:pt x="42" y="52"/>
                    <a:pt x="40" y="52"/>
                  </a:cubicBezTo>
                  <a:cubicBezTo>
                    <a:pt x="35" y="52"/>
                    <a:pt x="32" y="52"/>
                    <a:pt x="30" y="51"/>
                  </a:cubicBezTo>
                  <a:cubicBezTo>
                    <a:pt x="31" y="51"/>
                    <a:pt x="34" y="50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11"/>
                    <a:pt x="35" y="9"/>
                    <a:pt x="35" y="7"/>
                  </a:cubicBezTo>
                  <a:cubicBezTo>
                    <a:pt x="35" y="5"/>
                    <a:pt x="37" y="3"/>
                    <a:pt x="40" y="3"/>
                  </a:cubicBezTo>
                  <a:moveTo>
                    <a:pt x="70" y="23"/>
                  </a:moveTo>
                  <a:cubicBezTo>
                    <a:pt x="82" y="23"/>
                    <a:pt x="92" y="33"/>
                    <a:pt x="92" y="45"/>
                  </a:cubicBezTo>
                  <a:cubicBezTo>
                    <a:pt x="92" y="47"/>
                    <a:pt x="92" y="48"/>
                    <a:pt x="91" y="50"/>
                  </a:cubicBezTo>
                  <a:cubicBezTo>
                    <a:pt x="91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4"/>
                    <a:pt x="89" y="55"/>
                    <a:pt x="89" y="56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6" y="60"/>
                    <a:pt x="84" y="62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0" y="64"/>
                    <a:pt x="80" y="65"/>
                  </a:cubicBezTo>
                  <a:cubicBezTo>
                    <a:pt x="80" y="65"/>
                    <a:pt x="80" y="65"/>
                    <a:pt x="79" y="65"/>
                  </a:cubicBezTo>
                  <a:cubicBezTo>
                    <a:pt x="79" y="65"/>
                    <a:pt x="78" y="65"/>
                    <a:pt x="78" y="65"/>
                  </a:cubicBezTo>
                  <a:cubicBezTo>
                    <a:pt x="78" y="65"/>
                    <a:pt x="78" y="65"/>
                    <a:pt x="78" y="66"/>
                  </a:cubicBezTo>
                  <a:cubicBezTo>
                    <a:pt x="77" y="66"/>
                    <a:pt x="76" y="66"/>
                    <a:pt x="76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3" y="66"/>
                    <a:pt x="62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5"/>
                    <a:pt x="61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4"/>
                    <a:pt x="59" y="64"/>
                    <a:pt x="59" y="64"/>
                  </a:cubicBezTo>
                  <a:cubicBezTo>
                    <a:pt x="59" y="64"/>
                    <a:pt x="59" y="64"/>
                    <a:pt x="58" y="64"/>
                  </a:cubicBezTo>
                  <a:cubicBezTo>
                    <a:pt x="56" y="62"/>
                    <a:pt x="54" y="60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7"/>
                    <a:pt x="52" y="57"/>
                    <a:pt x="51" y="56"/>
                  </a:cubicBezTo>
                  <a:cubicBezTo>
                    <a:pt x="51" y="55"/>
                    <a:pt x="50" y="54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48"/>
                    <a:pt x="48" y="47"/>
                    <a:pt x="48" y="45"/>
                  </a:cubicBezTo>
                  <a:cubicBezTo>
                    <a:pt x="48" y="33"/>
                    <a:pt x="58" y="23"/>
                    <a:pt x="70" y="23"/>
                  </a:cubicBezTo>
                  <a:moveTo>
                    <a:pt x="94" y="50"/>
                  </a:moveTo>
                  <a:cubicBezTo>
                    <a:pt x="96" y="50"/>
                    <a:pt x="97" y="50"/>
                    <a:pt x="99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7" y="11"/>
                    <a:pt x="96" y="9"/>
                    <a:pt x="96" y="7"/>
                  </a:cubicBezTo>
                  <a:cubicBezTo>
                    <a:pt x="96" y="5"/>
                    <a:pt x="98" y="3"/>
                    <a:pt x="100" y="3"/>
                  </a:cubicBezTo>
                  <a:cubicBezTo>
                    <a:pt x="103" y="3"/>
                    <a:pt x="105" y="5"/>
                    <a:pt x="105" y="7"/>
                  </a:cubicBezTo>
                  <a:cubicBezTo>
                    <a:pt x="105" y="9"/>
                    <a:pt x="103" y="11"/>
                    <a:pt x="101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6" y="50"/>
                    <a:pt x="109" y="51"/>
                    <a:pt x="110" y="51"/>
                  </a:cubicBezTo>
                  <a:cubicBezTo>
                    <a:pt x="108" y="52"/>
                    <a:pt x="105" y="52"/>
                    <a:pt x="100" y="52"/>
                  </a:cubicBezTo>
                  <a:cubicBezTo>
                    <a:pt x="98" y="52"/>
                    <a:pt x="96" y="52"/>
                    <a:pt x="94" y="52"/>
                  </a:cubicBezTo>
                  <a:cubicBezTo>
                    <a:pt x="94" y="52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moveTo>
                    <a:pt x="73" y="74"/>
                  </a:moveTo>
                  <a:cubicBezTo>
                    <a:pt x="78" y="74"/>
                    <a:pt x="82" y="75"/>
                    <a:pt x="83" y="76"/>
                  </a:cubicBezTo>
                  <a:cubicBezTo>
                    <a:pt x="81" y="76"/>
                    <a:pt x="77" y="77"/>
                    <a:pt x="71" y="77"/>
                  </a:cubicBezTo>
                  <a:lnTo>
                    <a:pt x="73" y="74"/>
                  </a:lnTo>
                  <a:close/>
                  <a:moveTo>
                    <a:pt x="69" y="77"/>
                  </a:moveTo>
                  <a:cubicBezTo>
                    <a:pt x="63" y="77"/>
                    <a:pt x="59" y="76"/>
                    <a:pt x="57" y="76"/>
                  </a:cubicBezTo>
                  <a:cubicBezTo>
                    <a:pt x="58" y="75"/>
                    <a:pt x="62" y="74"/>
                    <a:pt x="67" y="74"/>
                  </a:cubicBezTo>
                  <a:lnTo>
                    <a:pt x="69" y="77"/>
                  </a:lnTo>
                  <a:close/>
                  <a:moveTo>
                    <a:pt x="110" y="42"/>
                  </a:moveTo>
                  <a:cubicBezTo>
                    <a:pt x="112" y="44"/>
                    <a:pt x="115" y="44"/>
                    <a:pt x="117" y="44"/>
                  </a:cubicBezTo>
                  <a:cubicBezTo>
                    <a:pt x="118" y="44"/>
                    <a:pt x="118" y="44"/>
                    <a:pt x="119" y="44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4" y="90"/>
                    <a:pt x="109" y="90"/>
                    <a:pt x="106" y="92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6"/>
                    <a:pt x="92" y="55"/>
                    <a:pt x="93" y="54"/>
                  </a:cubicBezTo>
                  <a:cubicBezTo>
                    <a:pt x="95" y="55"/>
                    <a:pt x="98" y="55"/>
                    <a:pt x="100" y="55"/>
                  </a:cubicBezTo>
                  <a:cubicBezTo>
                    <a:pt x="105" y="55"/>
                    <a:pt x="114" y="54"/>
                    <a:pt x="114" y="51"/>
                  </a:cubicBezTo>
                  <a:cubicBezTo>
                    <a:pt x="114" y="48"/>
                    <a:pt x="109" y="48"/>
                    <a:pt x="103" y="47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5" y="37"/>
                    <a:pt x="107" y="40"/>
                    <a:pt x="110" y="42"/>
                  </a:cubicBezTo>
                  <a:moveTo>
                    <a:pt x="126" y="89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9" y="42"/>
                    <a:pt x="131" y="39"/>
                    <a:pt x="131" y="35"/>
                  </a:cubicBezTo>
                  <a:cubicBezTo>
                    <a:pt x="131" y="30"/>
                    <a:pt x="127" y="26"/>
                    <a:pt x="122" y="26"/>
                  </a:cubicBezTo>
                  <a:cubicBezTo>
                    <a:pt x="117" y="26"/>
                    <a:pt x="113" y="30"/>
                    <a:pt x="113" y="35"/>
                  </a:cubicBezTo>
                  <a:cubicBezTo>
                    <a:pt x="113" y="37"/>
                    <a:pt x="114" y="40"/>
                    <a:pt x="116" y="41"/>
                  </a:cubicBezTo>
                  <a:cubicBezTo>
                    <a:pt x="114" y="41"/>
                    <a:pt x="113" y="41"/>
                    <a:pt x="111" y="40"/>
                  </a:cubicBezTo>
                  <a:cubicBezTo>
                    <a:pt x="108" y="37"/>
                    <a:pt x="103" y="30"/>
                    <a:pt x="103" y="13"/>
                  </a:cubicBezTo>
                  <a:cubicBezTo>
                    <a:pt x="106" y="12"/>
                    <a:pt x="107" y="10"/>
                    <a:pt x="107" y="7"/>
                  </a:cubicBezTo>
                  <a:cubicBezTo>
                    <a:pt x="107" y="3"/>
                    <a:pt x="104" y="0"/>
                    <a:pt x="100" y="0"/>
                  </a:cubicBezTo>
                  <a:cubicBezTo>
                    <a:pt x="96" y="0"/>
                    <a:pt x="93" y="3"/>
                    <a:pt x="93" y="7"/>
                  </a:cubicBezTo>
                  <a:cubicBezTo>
                    <a:pt x="93" y="10"/>
                    <a:pt x="95" y="12"/>
                    <a:pt x="97" y="1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6" y="47"/>
                    <a:pt x="95" y="47"/>
                    <a:pt x="95" y="47"/>
                  </a:cubicBezTo>
                  <a:cubicBezTo>
                    <a:pt x="95" y="47"/>
                    <a:pt x="95" y="46"/>
                    <a:pt x="95" y="45"/>
                  </a:cubicBezTo>
                  <a:cubicBezTo>
                    <a:pt x="95" y="32"/>
                    <a:pt x="84" y="20"/>
                    <a:pt x="70" y="20"/>
                  </a:cubicBezTo>
                  <a:cubicBezTo>
                    <a:pt x="56" y="20"/>
                    <a:pt x="45" y="32"/>
                    <a:pt x="45" y="45"/>
                  </a:cubicBezTo>
                  <a:cubicBezTo>
                    <a:pt x="45" y="46"/>
                    <a:pt x="45" y="47"/>
                    <a:pt x="45" y="47"/>
                  </a:cubicBezTo>
                  <a:cubicBezTo>
                    <a:pt x="45" y="47"/>
                    <a:pt x="44" y="47"/>
                    <a:pt x="43" y="47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5" y="12"/>
                    <a:pt x="47" y="10"/>
                    <a:pt x="47" y="7"/>
                  </a:cubicBezTo>
                  <a:cubicBezTo>
                    <a:pt x="47" y="3"/>
                    <a:pt x="44" y="0"/>
                    <a:pt x="40" y="0"/>
                  </a:cubicBezTo>
                  <a:cubicBezTo>
                    <a:pt x="36" y="0"/>
                    <a:pt x="33" y="3"/>
                    <a:pt x="33" y="7"/>
                  </a:cubicBezTo>
                  <a:cubicBezTo>
                    <a:pt x="33" y="10"/>
                    <a:pt x="34" y="12"/>
                    <a:pt x="37" y="13"/>
                  </a:cubicBezTo>
                  <a:cubicBezTo>
                    <a:pt x="37" y="30"/>
                    <a:pt x="32" y="37"/>
                    <a:pt x="29" y="40"/>
                  </a:cubicBezTo>
                  <a:cubicBezTo>
                    <a:pt x="27" y="41"/>
                    <a:pt x="26" y="41"/>
                    <a:pt x="24" y="41"/>
                  </a:cubicBezTo>
                  <a:cubicBezTo>
                    <a:pt x="26" y="40"/>
                    <a:pt x="27" y="37"/>
                    <a:pt x="27" y="35"/>
                  </a:cubicBezTo>
                  <a:cubicBezTo>
                    <a:pt x="27" y="30"/>
                    <a:pt x="23" y="26"/>
                    <a:pt x="18" y="26"/>
                  </a:cubicBezTo>
                  <a:cubicBezTo>
                    <a:pt x="13" y="26"/>
                    <a:pt x="9" y="30"/>
                    <a:pt x="9" y="35"/>
                  </a:cubicBezTo>
                  <a:cubicBezTo>
                    <a:pt x="9" y="39"/>
                    <a:pt x="11" y="42"/>
                    <a:pt x="14" y="43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8" y="90"/>
                    <a:pt x="0" y="91"/>
                    <a:pt x="0" y="94"/>
                  </a:cubicBezTo>
                  <a:cubicBezTo>
                    <a:pt x="0" y="98"/>
                    <a:pt x="13" y="99"/>
                    <a:pt x="18" y="99"/>
                  </a:cubicBezTo>
                  <a:cubicBezTo>
                    <a:pt x="22" y="99"/>
                    <a:pt x="33" y="98"/>
                    <a:pt x="35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7" y="98"/>
                    <a:pt x="118" y="99"/>
                    <a:pt x="122" y="99"/>
                  </a:cubicBezTo>
                  <a:cubicBezTo>
                    <a:pt x="127" y="99"/>
                    <a:pt x="140" y="98"/>
                    <a:pt x="140" y="94"/>
                  </a:cubicBezTo>
                  <a:cubicBezTo>
                    <a:pt x="140" y="91"/>
                    <a:pt x="132" y="90"/>
                    <a:pt x="126" y="8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2">
            <a:extLst>
              <a:ext uri="{FF2B5EF4-FFF2-40B4-BE49-F238E27FC236}">
                <a16:creationId xmlns:a16="http://schemas.microsoft.com/office/drawing/2014/main" id="{230CCF24-D74A-49CA-B9E1-B50772106A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52838" y="334963"/>
            <a:ext cx="758825" cy="758825"/>
            <a:chOff x="2301" y="211"/>
            <a:chExt cx="478" cy="478"/>
          </a:xfrm>
        </p:grpSpPr>
        <p:sp>
          <p:nvSpPr>
            <p:cNvPr id="35" name="AutoShape 21">
              <a:extLst>
                <a:ext uri="{FF2B5EF4-FFF2-40B4-BE49-F238E27FC236}">
                  <a16:creationId xmlns:a16="http://schemas.microsoft.com/office/drawing/2014/main" id="{C93FA1D8-BEB3-41FC-8B6D-4C29C77A16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21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507C6357-A1C7-4B65-BE30-B2B8A6B9F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21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54C79C81-F5A6-4CF0-AFA8-C1AECC027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7" y="387"/>
              <a:ext cx="88" cy="91"/>
            </a:xfrm>
            <a:custGeom>
              <a:avLst/>
              <a:gdLst>
                <a:gd name="T0" fmla="*/ 18 w 36"/>
                <a:gd name="T1" fmla="*/ 3 h 37"/>
                <a:gd name="T2" fmla="*/ 34 w 36"/>
                <a:gd name="T3" fmla="*/ 18 h 37"/>
                <a:gd name="T4" fmla="*/ 18 w 36"/>
                <a:gd name="T5" fmla="*/ 34 h 37"/>
                <a:gd name="T6" fmla="*/ 2 w 36"/>
                <a:gd name="T7" fmla="*/ 18 h 37"/>
                <a:gd name="T8" fmla="*/ 18 w 36"/>
                <a:gd name="T9" fmla="*/ 3 h 37"/>
                <a:gd name="T10" fmla="*/ 18 w 36"/>
                <a:gd name="T11" fmla="*/ 37 h 37"/>
                <a:gd name="T12" fmla="*/ 36 w 36"/>
                <a:gd name="T13" fmla="*/ 18 h 37"/>
                <a:gd name="T14" fmla="*/ 18 w 36"/>
                <a:gd name="T15" fmla="*/ 0 h 37"/>
                <a:gd name="T16" fmla="*/ 0 w 36"/>
                <a:gd name="T17" fmla="*/ 18 h 37"/>
                <a:gd name="T18" fmla="*/ 18 w 36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7">
                  <a:moveTo>
                    <a:pt x="18" y="3"/>
                  </a:moveTo>
                  <a:cubicBezTo>
                    <a:pt x="27" y="3"/>
                    <a:pt x="34" y="10"/>
                    <a:pt x="34" y="18"/>
                  </a:cubicBezTo>
                  <a:cubicBezTo>
                    <a:pt x="34" y="27"/>
                    <a:pt x="27" y="34"/>
                    <a:pt x="18" y="34"/>
                  </a:cubicBezTo>
                  <a:cubicBezTo>
                    <a:pt x="9" y="34"/>
                    <a:pt x="2" y="27"/>
                    <a:pt x="2" y="18"/>
                  </a:cubicBezTo>
                  <a:cubicBezTo>
                    <a:pt x="2" y="10"/>
                    <a:pt x="9" y="3"/>
                    <a:pt x="18" y="3"/>
                  </a:cubicBezTo>
                  <a:moveTo>
                    <a:pt x="18" y="37"/>
                  </a:moveTo>
                  <a:cubicBezTo>
                    <a:pt x="28" y="37"/>
                    <a:pt x="36" y="28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7"/>
                    <a:pt x="18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id="{A89E7D4D-8984-4473-9AF3-C99E48C4D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0" y="321"/>
              <a:ext cx="343" cy="243"/>
            </a:xfrm>
            <a:custGeom>
              <a:avLst/>
              <a:gdLst>
                <a:gd name="T0" fmla="*/ 120 w 140"/>
                <a:gd name="T1" fmla="*/ 92 h 99"/>
                <a:gd name="T2" fmla="*/ 120 w 140"/>
                <a:gd name="T3" fmla="*/ 41 h 99"/>
                <a:gd name="T4" fmla="*/ 129 w 140"/>
                <a:gd name="T5" fmla="*/ 35 h 99"/>
                <a:gd name="T6" fmla="*/ 123 w 140"/>
                <a:gd name="T7" fmla="*/ 92 h 99"/>
                <a:gd name="T8" fmla="*/ 122 w 140"/>
                <a:gd name="T9" fmla="*/ 96 h 99"/>
                <a:gd name="T10" fmla="*/ 63 w 140"/>
                <a:gd name="T11" fmla="*/ 69 h 99"/>
                <a:gd name="T12" fmla="*/ 65 w 140"/>
                <a:gd name="T13" fmla="*/ 71 h 99"/>
                <a:gd name="T14" fmla="*/ 87 w 140"/>
                <a:gd name="T15" fmla="*/ 75 h 99"/>
                <a:gd name="T16" fmla="*/ 90 w 140"/>
                <a:gd name="T17" fmla="*/ 60 h 99"/>
                <a:gd name="T18" fmla="*/ 3 w 140"/>
                <a:gd name="T19" fmla="*/ 94 h 99"/>
                <a:gd name="T20" fmla="*/ 17 w 140"/>
                <a:gd name="T21" fmla="*/ 41 h 99"/>
                <a:gd name="T22" fmla="*/ 18 w 140"/>
                <a:gd name="T23" fmla="*/ 29 h 99"/>
                <a:gd name="T24" fmla="*/ 18 w 140"/>
                <a:gd name="T25" fmla="*/ 41 h 99"/>
                <a:gd name="T26" fmla="*/ 33 w 140"/>
                <a:gd name="T27" fmla="*/ 94 h 99"/>
                <a:gd name="T28" fmla="*/ 30 w 140"/>
                <a:gd name="T29" fmla="*/ 42 h 99"/>
                <a:gd name="T30" fmla="*/ 26 w 140"/>
                <a:gd name="T31" fmla="*/ 51 h 99"/>
                <a:gd name="T32" fmla="*/ 48 w 140"/>
                <a:gd name="T33" fmla="*/ 57 h 99"/>
                <a:gd name="T34" fmla="*/ 21 w 140"/>
                <a:gd name="T35" fmla="*/ 44 h 99"/>
                <a:gd name="T36" fmla="*/ 40 w 140"/>
                <a:gd name="T37" fmla="*/ 3 h 99"/>
                <a:gd name="T38" fmla="*/ 40 w 140"/>
                <a:gd name="T39" fmla="*/ 11 h 99"/>
                <a:gd name="T40" fmla="*/ 46 w 140"/>
                <a:gd name="T41" fmla="*/ 50 h 99"/>
                <a:gd name="T42" fmla="*/ 46 w 140"/>
                <a:gd name="T43" fmla="*/ 52 h 99"/>
                <a:gd name="T44" fmla="*/ 38 w 140"/>
                <a:gd name="T45" fmla="*/ 50 h 99"/>
                <a:gd name="T46" fmla="*/ 39 w 140"/>
                <a:gd name="T47" fmla="*/ 11 h 99"/>
                <a:gd name="T48" fmla="*/ 70 w 140"/>
                <a:gd name="T49" fmla="*/ 23 h 99"/>
                <a:gd name="T50" fmla="*/ 91 w 140"/>
                <a:gd name="T51" fmla="*/ 51 h 99"/>
                <a:gd name="T52" fmla="*/ 89 w 140"/>
                <a:gd name="T53" fmla="*/ 56 h 99"/>
                <a:gd name="T54" fmla="*/ 81 w 140"/>
                <a:gd name="T55" fmla="*/ 64 h 99"/>
                <a:gd name="T56" fmla="*/ 79 w 140"/>
                <a:gd name="T57" fmla="*/ 65 h 99"/>
                <a:gd name="T58" fmla="*/ 76 w 140"/>
                <a:gd name="T59" fmla="*/ 66 h 99"/>
                <a:gd name="T60" fmla="*/ 72 w 140"/>
                <a:gd name="T61" fmla="*/ 71 h 99"/>
                <a:gd name="T62" fmla="*/ 68 w 140"/>
                <a:gd name="T63" fmla="*/ 71 h 99"/>
                <a:gd name="T64" fmla="*/ 64 w 140"/>
                <a:gd name="T65" fmla="*/ 66 h 99"/>
                <a:gd name="T66" fmla="*/ 60 w 140"/>
                <a:gd name="T67" fmla="*/ 65 h 99"/>
                <a:gd name="T68" fmla="*/ 58 w 140"/>
                <a:gd name="T69" fmla="*/ 64 h 99"/>
                <a:gd name="T70" fmla="*/ 51 w 140"/>
                <a:gd name="T71" fmla="*/ 56 h 99"/>
                <a:gd name="T72" fmla="*/ 49 w 140"/>
                <a:gd name="T73" fmla="*/ 51 h 99"/>
                <a:gd name="T74" fmla="*/ 70 w 140"/>
                <a:gd name="T75" fmla="*/ 23 h 99"/>
                <a:gd name="T76" fmla="*/ 100 w 140"/>
                <a:gd name="T77" fmla="*/ 50 h 99"/>
                <a:gd name="T78" fmla="*/ 96 w 140"/>
                <a:gd name="T79" fmla="*/ 7 h 99"/>
                <a:gd name="T80" fmla="*/ 101 w 140"/>
                <a:gd name="T81" fmla="*/ 11 h 99"/>
                <a:gd name="T82" fmla="*/ 102 w 140"/>
                <a:gd name="T83" fmla="*/ 50 h 99"/>
                <a:gd name="T84" fmla="*/ 94 w 140"/>
                <a:gd name="T85" fmla="*/ 52 h 99"/>
                <a:gd name="T86" fmla="*/ 94 w 140"/>
                <a:gd name="T87" fmla="*/ 50 h 99"/>
                <a:gd name="T88" fmla="*/ 71 w 140"/>
                <a:gd name="T89" fmla="*/ 77 h 99"/>
                <a:gd name="T90" fmla="*/ 57 w 140"/>
                <a:gd name="T91" fmla="*/ 76 h 99"/>
                <a:gd name="T92" fmla="*/ 110 w 140"/>
                <a:gd name="T93" fmla="*/ 42 h 99"/>
                <a:gd name="T94" fmla="*/ 119 w 140"/>
                <a:gd name="T95" fmla="*/ 89 h 99"/>
                <a:gd name="T96" fmla="*/ 93 w 140"/>
                <a:gd name="T97" fmla="*/ 54 h 99"/>
                <a:gd name="T98" fmla="*/ 103 w 140"/>
                <a:gd name="T99" fmla="*/ 47 h 99"/>
                <a:gd name="T100" fmla="*/ 126 w 140"/>
                <a:gd name="T101" fmla="*/ 89 h 99"/>
                <a:gd name="T102" fmla="*/ 122 w 140"/>
                <a:gd name="T103" fmla="*/ 26 h 99"/>
                <a:gd name="T104" fmla="*/ 111 w 140"/>
                <a:gd name="T105" fmla="*/ 40 h 99"/>
                <a:gd name="T106" fmla="*/ 100 w 140"/>
                <a:gd name="T107" fmla="*/ 0 h 99"/>
                <a:gd name="T108" fmla="*/ 97 w 140"/>
                <a:gd name="T109" fmla="*/ 47 h 99"/>
                <a:gd name="T110" fmla="*/ 70 w 140"/>
                <a:gd name="T111" fmla="*/ 20 h 99"/>
                <a:gd name="T112" fmla="*/ 43 w 140"/>
                <a:gd name="T113" fmla="*/ 47 h 99"/>
                <a:gd name="T114" fmla="*/ 40 w 140"/>
                <a:gd name="T115" fmla="*/ 0 h 99"/>
                <a:gd name="T116" fmla="*/ 29 w 140"/>
                <a:gd name="T117" fmla="*/ 40 h 99"/>
                <a:gd name="T118" fmla="*/ 18 w 140"/>
                <a:gd name="T119" fmla="*/ 26 h 99"/>
                <a:gd name="T120" fmla="*/ 14 w 140"/>
                <a:gd name="T121" fmla="*/ 89 h 99"/>
                <a:gd name="T122" fmla="*/ 35 w 140"/>
                <a:gd name="T123" fmla="*/ 95 h 99"/>
                <a:gd name="T124" fmla="*/ 140 w 140"/>
                <a:gd name="T125" fmla="*/ 9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99">
                  <a:moveTo>
                    <a:pt x="122" y="96"/>
                  </a:moveTo>
                  <a:cubicBezTo>
                    <a:pt x="114" y="96"/>
                    <a:pt x="109" y="95"/>
                    <a:pt x="107" y="94"/>
                  </a:cubicBezTo>
                  <a:cubicBezTo>
                    <a:pt x="109" y="93"/>
                    <a:pt x="113" y="92"/>
                    <a:pt x="120" y="92"/>
                  </a:cubicBezTo>
                  <a:cubicBezTo>
                    <a:pt x="122" y="92"/>
                    <a:pt x="122" y="92"/>
                    <a:pt x="122" y="92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18" y="40"/>
                    <a:pt x="116" y="38"/>
                    <a:pt x="116" y="35"/>
                  </a:cubicBezTo>
                  <a:cubicBezTo>
                    <a:pt x="116" y="31"/>
                    <a:pt x="119" y="29"/>
                    <a:pt x="122" y="29"/>
                  </a:cubicBezTo>
                  <a:cubicBezTo>
                    <a:pt x="126" y="29"/>
                    <a:pt x="129" y="31"/>
                    <a:pt x="129" y="35"/>
                  </a:cubicBezTo>
                  <a:cubicBezTo>
                    <a:pt x="129" y="38"/>
                    <a:pt x="127" y="40"/>
                    <a:pt x="124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32" y="92"/>
                    <a:pt x="136" y="93"/>
                    <a:pt x="137" y="94"/>
                  </a:cubicBezTo>
                  <a:cubicBezTo>
                    <a:pt x="135" y="95"/>
                    <a:pt x="130" y="96"/>
                    <a:pt x="122" y="96"/>
                  </a:cubicBezTo>
                  <a:moveTo>
                    <a:pt x="37" y="93"/>
                  </a:moveTo>
                  <a:cubicBezTo>
                    <a:pt x="50" y="60"/>
                    <a:pt x="50" y="60"/>
                    <a:pt x="50" y="60"/>
                  </a:cubicBezTo>
                  <a:cubicBezTo>
                    <a:pt x="53" y="64"/>
                    <a:pt x="58" y="67"/>
                    <a:pt x="63" y="69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59" y="72"/>
                    <a:pt x="53" y="73"/>
                    <a:pt x="53" y="75"/>
                  </a:cubicBezTo>
                  <a:cubicBezTo>
                    <a:pt x="53" y="80"/>
                    <a:pt x="66" y="80"/>
                    <a:pt x="70" y="80"/>
                  </a:cubicBezTo>
                  <a:cubicBezTo>
                    <a:pt x="74" y="80"/>
                    <a:pt x="87" y="80"/>
                    <a:pt x="87" y="75"/>
                  </a:cubicBezTo>
                  <a:cubicBezTo>
                    <a:pt x="87" y="73"/>
                    <a:pt x="81" y="72"/>
                    <a:pt x="75" y="71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82" y="67"/>
                    <a:pt x="87" y="64"/>
                    <a:pt x="90" y="60"/>
                  </a:cubicBezTo>
                  <a:cubicBezTo>
                    <a:pt x="103" y="93"/>
                    <a:pt x="103" y="93"/>
                    <a:pt x="103" y="93"/>
                  </a:cubicBezTo>
                  <a:lnTo>
                    <a:pt x="37" y="93"/>
                  </a:lnTo>
                  <a:close/>
                  <a:moveTo>
                    <a:pt x="3" y="94"/>
                  </a:moveTo>
                  <a:cubicBezTo>
                    <a:pt x="4" y="93"/>
                    <a:pt x="8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3" y="40"/>
                    <a:pt x="11" y="38"/>
                    <a:pt x="11" y="35"/>
                  </a:cubicBezTo>
                  <a:cubicBezTo>
                    <a:pt x="11" y="31"/>
                    <a:pt x="14" y="29"/>
                    <a:pt x="18" y="29"/>
                  </a:cubicBezTo>
                  <a:cubicBezTo>
                    <a:pt x="21" y="29"/>
                    <a:pt x="24" y="31"/>
                    <a:pt x="24" y="35"/>
                  </a:cubicBezTo>
                  <a:cubicBezTo>
                    <a:pt x="24" y="38"/>
                    <a:pt x="22" y="40"/>
                    <a:pt x="20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7" y="92"/>
                    <a:pt x="31" y="93"/>
                    <a:pt x="33" y="94"/>
                  </a:cubicBezTo>
                  <a:cubicBezTo>
                    <a:pt x="31" y="95"/>
                    <a:pt x="26" y="96"/>
                    <a:pt x="18" y="96"/>
                  </a:cubicBezTo>
                  <a:cubicBezTo>
                    <a:pt x="10" y="96"/>
                    <a:pt x="5" y="95"/>
                    <a:pt x="3" y="94"/>
                  </a:cubicBezTo>
                  <a:moveTo>
                    <a:pt x="30" y="42"/>
                  </a:moveTo>
                  <a:cubicBezTo>
                    <a:pt x="33" y="40"/>
                    <a:pt x="35" y="37"/>
                    <a:pt x="37" y="33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1" y="48"/>
                    <a:pt x="26" y="48"/>
                    <a:pt x="26" y="51"/>
                  </a:cubicBezTo>
                  <a:cubicBezTo>
                    <a:pt x="26" y="54"/>
                    <a:pt x="35" y="55"/>
                    <a:pt x="40" y="55"/>
                  </a:cubicBezTo>
                  <a:cubicBezTo>
                    <a:pt x="42" y="55"/>
                    <a:pt x="45" y="55"/>
                    <a:pt x="47" y="54"/>
                  </a:cubicBezTo>
                  <a:cubicBezTo>
                    <a:pt x="48" y="55"/>
                    <a:pt x="48" y="56"/>
                    <a:pt x="48" y="57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31" y="90"/>
                    <a:pt x="26" y="90"/>
                    <a:pt x="21" y="8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5" y="44"/>
                    <a:pt x="28" y="44"/>
                    <a:pt x="30" y="42"/>
                  </a:cubicBezTo>
                  <a:moveTo>
                    <a:pt x="40" y="3"/>
                  </a:moveTo>
                  <a:cubicBezTo>
                    <a:pt x="42" y="3"/>
                    <a:pt x="44" y="5"/>
                    <a:pt x="44" y="7"/>
                  </a:cubicBezTo>
                  <a:cubicBezTo>
                    <a:pt x="44" y="9"/>
                    <a:pt x="43" y="11"/>
                    <a:pt x="41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3" y="50"/>
                    <a:pt x="45" y="50"/>
                    <a:pt x="46" y="50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2"/>
                    <a:pt x="46" y="52"/>
                  </a:cubicBezTo>
                  <a:cubicBezTo>
                    <a:pt x="44" y="52"/>
                    <a:pt x="42" y="52"/>
                    <a:pt x="40" y="52"/>
                  </a:cubicBezTo>
                  <a:cubicBezTo>
                    <a:pt x="35" y="52"/>
                    <a:pt x="32" y="52"/>
                    <a:pt x="30" y="51"/>
                  </a:cubicBezTo>
                  <a:cubicBezTo>
                    <a:pt x="31" y="51"/>
                    <a:pt x="34" y="50"/>
                    <a:pt x="38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11"/>
                    <a:pt x="35" y="9"/>
                    <a:pt x="35" y="7"/>
                  </a:cubicBezTo>
                  <a:cubicBezTo>
                    <a:pt x="35" y="5"/>
                    <a:pt x="37" y="3"/>
                    <a:pt x="40" y="3"/>
                  </a:cubicBezTo>
                  <a:moveTo>
                    <a:pt x="70" y="23"/>
                  </a:moveTo>
                  <a:cubicBezTo>
                    <a:pt x="82" y="23"/>
                    <a:pt x="92" y="33"/>
                    <a:pt x="92" y="45"/>
                  </a:cubicBezTo>
                  <a:cubicBezTo>
                    <a:pt x="92" y="47"/>
                    <a:pt x="92" y="48"/>
                    <a:pt x="91" y="50"/>
                  </a:cubicBezTo>
                  <a:cubicBezTo>
                    <a:pt x="91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4"/>
                    <a:pt x="89" y="55"/>
                    <a:pt x="89" y="56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6" y="60"/>
                    <a:pt x="84" y="62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0" y="64"/>
                    <a:pt x="80" y="65"/>
                  </a:cubicBezTo>
                  <a:cubicBezTo>
                    <a:pt x="80" y="65"/>
                    <a:pt x="80" y="65"/>
                    <a:pt x="79" y="65"/>
                  </a:cubicBezTo>
                  <a:cubicBezTo>
                    <a:pt x="79" y="65"/>
                    <a:pt x="78" y="65"/>
                    <a:pt x="78" y="65"/>
                  </a:cubicBezTo>
                  <a:cubicBezTo>
                    <a:pt x="78" y="65"/>
                    <a:pt x="78" y="65"/>
                    <a:pt x="78" y="66"/>
                  </a:cubicBezTo>
                  <a:cubicBezTo>
                    <a:pt x="77" y="66"/>
                    <a:pt x="76" y="66"/>
                    <a:pt x="76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3" y="66"/>
                    <a:pt x="62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5"/>
                    <a:pt x="61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4"/>
                    <a:pt x="59" y="64"/>
                    <a:pt x="59" y="64"/>
                  </a:cubicBezTo>
                  <a:cubicBezTo>
                    <a:pt x="59" y="64"/>
                    <a:pt x="59" y="64"/>
                    <a:pt x="58" y="64"/>
                  </a:cubicBezTo>
                  <a:cubicBezTo>
                    <a:pt x="56" y="62"/>
                    <a:pt x="54" y="60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7"/>
                    <a:pt x="52" y="57"/>
                    <a:pt x="51" y="56"/>
                  </a:cubicBezTo>
                  <a:cubicBezTo>
                    <a:pt x="51" y="55"/>
                    <a:pt x="50" y="54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48"/>
                    <a:pt x="48" y="47"/>
                    <a:pt x="48" y="45"/>
                  </a:cubicBezTo>
                  <a:cubicBezTo>
                    <a:pt x="48" y="33"/>
                    <a:pt x="58" y="23"/>
                    <a:pt x="70" y="23"/>
                  </a:cubicBezTo>
                  <a:moveTo>
                    <a:pt x="94" y="50"/>
                  </a:moveTo>
                  <a:cubicBezTo>
                    <a:pt x="96" y="50"/>
                    <a:pt x="97" y="50"/>
                    <a:pt x="99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7" y="11"/>
                    <a:pt x="96" y="9"/>
                    <a:pt x="96" y="7"/>
                  </a:cubicBezTo>
                  <a:cubicBezTo>
                    <a:pt x="96" y="5"/>
                    <a:pt x="98" y="3"/>
                    <a:pt x="100" y="3"/>
                  </a:cubicBezTo>
                  <a:cubicBezTo>
                    <a:pt x="103" y="3"/>
                    <a:pt x="105" y="5"/>
                    <a:pt x="105" y="7"/>
                  </a:cubicBezTo>
                  <a:cubicBezTo>
                    <a:pt x="105" y="9"/>
                    <a:pt x="103" y="11"/>
                    <a:pt x="101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6" y="50"/>
                    <a:pt x="109" y="51"/>
                    <a:pt x="110" y="51"/>
                  </a:cubicBezTo>
                  <a:cubicBezTo>
                    <a:pt x="108" y="52"/>
                    <a:pt x="105" y="52"/>
                    <a:pt x="100" y="52"/>
                  </a:cubicBezTo>
                  <a:cubicBezTo>
                    <a:pt x="98" y="52"/>
                    <a:pt x="96" y="52"/>
                    <a:pt x="94" y="52"/>
                  </a:cubicBezTo>
                  <a:cubicBezTo>
                    <a:pt x="94" y="52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moveTo>
                    <a:pt x="73" y="74"/>
                  </a:moveTo>
                  <a:cubicBezTo>
                    <a:pt x="78" y="74"/>
                    <a:pt x="82" y="75"/>
                    <a:pt x="83" y="76"/>
                  </a:cubicBezTo>
                  <a:cubicBezTo>
                    <a:pt x="81" y="76"/>
                    <a:pt x="77" y="77"/>
                    <a:pt x="71" y="77"/>
                  </a:cubicBezTo>
                  <a:lnTo>
                    <a:pt x="73" y="74"/>
                  </a:lnTo>
                  <a:close/>
                  <a:moveTo>
                    <a:pt x="69" y="77"/>
                  </a:moveTo>
                  <a:cubicBezTo>
                    <a:pt x="63" y="77"/>
                    <a:pt x="59" y="76"/>
                    <a:pt x="57" y="76"/>
                  </a:cubicBezTo>
                  <a:cubicBezTo>
                    <a:pt x="58" y="75"/>
                    <a:pt x="62" y="74"/>
                    <a:pt x="67" y="74"/>
                  </a:cubicBezTo>
                  <a:lnTo>
                    <a:pt x="69" y="77"/>
                  </a:lnTo>
                  <a:close/>
                  <a:moveTo>
                    <a:pt x="110" y="42"/>
                  </a:moveTo>
                  <a:cubicBezTo>
                    <a:pt x="112" y="44"/>
                    <a:pt x="115" y="44"/>
                    <a:pt x="117" y="44"/>
                  </a:cubicBezTo>
                  <a:cubicBezTo>
                    <a:pt x="118" y="44"/>
                    <a:pt x="118" y="44"/>
                    <a:pt x="119" y="44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4" y="90"/>
                    <a:pt x="109" y="90"/>
                    <a:pt x="106" y="92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6"/>
                    <a:pt x="92" y="55"/>
                    <a:pt x="93" y="54"/>
                  </a:cubicBezTo>
                  <a:cubicBezTo>
                    <a:pt x="95" y="55"/>
                    <a:pt x="98" y="55"/>
                    <a:pt x="100" y="55"/>
                  </a:cubicBezTo>
                  <a:cubicBezTo>
                    <a:pt x="105" y="55"/>
                    <a:pt x="114" y="54"/>
                    <a:pt x="114" y="51"/>
                  </a:cubicBezTo>
                  <a:cubicBezTo>
                    <a:pt x="114" y="48"/>
                    <a:pt x="109" y="48"/>
                    <a:pt x="103" y="47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5" y="37"/>
                    <a:pt x="107" y="40"/>
                    <a:pt x="110" y="42"/>
                  </a:cubicBezTo>
                  <a:moveTo>
                    <a:pt x="126" y="89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9" y="42"/>
                    <a:pt x="131" y="39"/>
                    <a:pt x="131" y="35"/>
                  </a:cubicBezTo>
                  <a:cubicBezTo>
                    <a:pt x="131" y="30"/>
                    <a:pt x="127" y="26"/>
                    <a:pt x="122" y="26"/>
                  </a:cubicBezTo>
                  <a:cubicBezTo>
                    <a:pt x="117" y="26"/>
                    <a:pt x="113" y="30"/>
                    <a:pt x="113" y="35"/>
                  </a:cubicBezTo>
                  <a:cubicBezTo>
                    <a:pt x="113" y="37"/>
                    <a:pt x="114" y="40"/>
                    <a:pt x="116" y="41"/>
                  </a:cubicBezTo>
                  <a:cubicBezTo>
                    <a:pt x="114" y="41"/>
                    <a:pt x="113" y="41"/>
                    <a:pt x="111" y="40"/>
                  </a:cubicBezTo>
                  <a:cubicBezTo>
                    <a:pt x="108" y="37"/>
                    <a:pt x="103" y="30"/>
                    <a:pt x="103" y="13"/>
                  </a:cubicBezTo>
                  <a:cubicBezTo>
                    <a:pt x="106" y="12"/>
                    <a:pt x="107" y="10"/>
                    <a:pt x="107" y="7"/>
                  </a:cubicBezTo>
                  <a:cubicBezTo>
                    <a:pt x="107" y="3"/>
                    <a:pt x="104" y="0"/>
                    <a:pt x="100" y="0"/>
                  </a:cubicBezTo>
                  <a:cubicBezTo>
                    <a:pt x="96" y="0"/>
                    <a:pt x="93" y="3"/>
                    <a:pt x="93" y="7"/>
                  </a:cubicBezTo>
                  <a:cubicBezTo>
                    <a:pt x="93" y="10"/>
                    <a:pt x="95" y="12"/>
                    <a:pt x="97" y="1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6" y="47"/>
                    <a:pt x="95" y="47"/>
                    <a:pt x="95" y="47"/>
                  </a:cubicBezTo>
                  <a:cubicBezTo>
                    <a:pt x="95" y="47"/>
                    <a:pt x="95" y="46"/>
                    <a:pt x="95" y="45"/>
                  </a:cubicBezTo>
                  <a:cubicBezTo>
                    <a:pt x="95" y="32"/>
                    <a:pt x="84" y="20"/>
                    <a:pt x="70" y="20"/>
                  </a:cubicBezTo>
                  <a:cubicBezTo>
                    <a:pt x="56" y="20"/>
                    <a:pt x="45" y="32"/>
                    <a:pt x="45" y="45"/>
                  </a:cubicBezTo>
                  <a:cubicBezTo>
                    <a:pt x="45" y="46"/>
                    <a:pt x="45" y="47"/>
                    <a:pt x="45" y="47"/>
                  </a:cubicBezTo>
                  <a:cubicBezTo>
                    <a:pt x="45" y="47"/>
                    <a:pt x="44" y="47"/>
                    <a:pt x="43" y="47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5" y="12"/>
                    <a:pt x="47" y="10"/>
                    <a:pt x="47" y="7"/>
                  </a:cubicBezTo>
                  <a:cubicBezTo>
                    <a:pt x="47" y="3"/>
                    <a:pt x="44" y="0"/>
                    <a:pt x="40" y="0"/>
                  </a:cubicBezTo>
                  <a:cubicBezTo>
                    <a:pt x="36" y="0"/>
                    <a:pt x="33" y="3"/>
                    <a:pt x="33" y="7"/>
                  </a:cubicBezTo>
                  <a:cubicBezTo>
                    <a:pt x="33" y="10"/>
                    <a:pt x="34" y="12"/>
                    <a:pt x="37" y="13"/>
                  </a:cubicBezTo>
                  <a:cubicBezTo>
                    <a:pt x="37" y="30"/>
                    <a:pt x="32" y="37"/>
                    <a:pt x="29" y="40"/>
                  </a:cubicBezTo>
                  <a:cubicBezTo>
                    <a:pt x="27" y="41"/>
                    <a:pt x="26" y="41"/>
                    <a:pt x="24" y="41"/>
                  </a:cubicBezTo>
                  <a:cubicBezTo>
                    <a:pt x="26" y="40"/>
                    <a:pt x="27" y="37"/>
                    <a:pt x="27" y="35"/>
                  </a:cubicBezTo>
                  <a:cubicBezTo>
                    <a:pt x="27" y="30"/>
                    <a:pt x="23" y="26"/>
                    <a:pt x="18" y="26"/>
                  </a:cubicBezTo>
                  <a:cubicBezTo>
                    <a:pt x="13" y="26"/>
                    <a:pt x="9" y="30"/>
                    <a:pt x="9" y="35"/>
                  </a:cubicBezTo>
                  <a:cubicBezTo>
                    <a:pt x="9" y="39"/>
                    <a:pt x="11" y="42"/>
                    <a:pt x="14" y="43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8" y="90"/>
                    <a:pt x="0" y="91"/>
                    <a:pt x="0" y="94"/>
                  </a:cubicBezTo>
                  <a:cubicBezTo>
                    <a:pt x="0" y="98"/>
                    <a:pt x="13" y="99"/>
                    <a:pt x="18" y="99"/>
                  </a:cubicBezTo>
                  <a:cubicBezTo>
                    <a:pt x="22" y="99"/>
                    <a:pt x="33" y="98"/>
                    <a:pt x="35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7" y="98"/>
                    <a:pt x="118" y="99"/>
                    <a:pt x="122" y="99"/>
                  </a:cubicBezTo>
                  <a:cubicBezTo>
                    <a:pt x="127" y="99"/>
                    <a:pt x="140" y="98"/>
                    <a:pt x="140" y="94"/>
                  </a:cubicBezTo>
                  <a:cubicBezTo>
                    <a:pt x="140" y="91"/>
                    <a:pt x="132" y="90"/>
                    <a:pt x="126" y="8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28">
            <a:extLst>
              <a:ext uri="{FF2B5EF4-FFF2-40B4-BE49-F238E27FC236}">
                <a16:creationId xmlns:a16="http://schemas.microsoft.com/office/drawing/2014/main" id="{373F990B-BD9A-44F4-BF55-D34D28B527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5838" y="293688"/>
            <a:ext cx="841375" cy="841375"/>
            <a:chOff x="3021" y="185"/>
            <a:chExt cx="530" cy="530"/>
          </a:xfrm>
        </p:grpSpPr>
        <p:sp>
          <p:nvSpPr>
            <p:cNvPr id="45" name="AutoShape 27">
              <a:extLst>
                <a:ext uri="{FF2B5EF4-FFF2-40B4-BE49-F238E27FC236}">
                  <a16:creationId xmlns:a16="http://schemas.microsoft.com/office/drawing/2014/main" id="{6FEE68C6-1B7D-4D04-B558-CE946A6655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1" y="1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29">
              <a:extLst>
                <a:ext uri="{FF2B5EF4-FFF2-40B4-BE49-F238E27FC236}">
                  <a16:creationId xmlns:a16="http://schemas.microsoft.com/office/drawing/2014/main" id="{B55A1F07-703B-4CF1-97CB-D1071FE38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18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F724F430-9B14-4635-A731-C8A86BBF8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" y="20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1AFA5CD0-BB39-4C6E-BD59-9E5CC30953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6" y="467"/>
              <a:ext cx="41" cy="48"/>
            </a:xfrm>
            <a:custGeom>
              <a:avLst/>
              <a:gdLst>
                <a:gd name="T0" fmla="*/ 8 w 41"/>
                <a:gd name="T1" fmla="*/ 7 h 48"/>
                <a:gd name="T2" fmla="*/ 34 w 41"/>
                <a:gd name="T3" fmla="*/ 7 h 48"/>
                <a:gd name="T4" fmla="*/ 34 w 41"/>
                <a:gd name="T5" fmla="*/ 41 h 48"/>
                <a:gd name="T6" fmla="*/ 8 w 41"/>
                <a:gd name="T7" fmla="*/ 41 h 48"/>
                <a:gd name="T8" fmla="*/ 8 w 41"/>
                <a:gd name="T9" fmla="*/ 7 h 48"/>
                <a:gd name="T10" fmla="*/ 0 w 41"/>
                <a:gd name="T11" fmla="*/ 48 h 48"/>
                <a:gd name="T12" fmla="*/ 41 w 41"/>
                <a:gd name="T13" fmla="*/ 48 h 48"/>
                <a:gd name="T14" fmla="*/ 41 w 41"/>
                <a:gd name="T15" fmla="*/ 0 h 48"/>
                <a:gd name="T16" fmla="*/ 0 w 41"/>
                <a:gd name="T17" fmla="*/ 0 h 48"/>
                <a:gd name="T18" fmla="*/ 0 w 41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8">
                  <a:moveTo>
                    <a:pt x="8" y="7"/>
                  </a:moveTo>
                  <a:lnTo>
                    <a:pt x="34" y="7"/>
                  </a:lnTo>
                  <a:lnTo>
                    <a:pt x="34" y="41"/>
                  </a:lnTo>
                  <a:lnTo>
                    <a:pt x="8" y="41"/>
                  </a:lnTo>
                  <a:lnTo>
                    <a:pt x="8" y="7"/>
                  </a:lnTo>
                  <a:close/>
                  <a:moveTo>
                    <a:pt x="0" y="48"/>
                  </a:moveTo>
                  <a:lnTo>
                    <a:pt x="41" y="48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B8C6F53A-E526-4200-82EC-1A83EEDBB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3" y="469"/>
              <a:ext cx="118" cy="97"/>
            </a:xfrm>
            <a:custGeom>
              <a:avLst/>
              <a:gdLst>
                <a:gd name="T0" fmla="*/ 46 w 118"/>
                <a:gd name="T1" fmla="*/ 74 h 97"/>
                <a:gd name="T2" fmla="*/ 51 w 118"/>
                <a:gd name="T3" fmla="*/ 49 h 97"/>
                <a:gd name="T4" fmla="*/ 25 w 118"/>
                <a:gd name="T5" fmla="*/ 46 h 97"/>
                <a:gd name="T6" fmla="*/ 92 w 118"/>
                <a:gd name="T7" fmla="*/ 18 h 97"/>
                <a:gd name="T8" fmla="*/ 46 w 118"/>
                <a:gd name="T9" fmla="*/ 74 h 97"/>
                <a:gd name="T10" fmla="*/ 41 w 118"/>
                <a:gd name="T11" fmla="*/ 56 h 97"/>
                <a:gd name="T12" fmla="*/ 36 w 118"/>
                <a:gd name="T13" fmla="*/ 97 h 97"/>
                <a:gd name="T14" fmla="*/ 118 w 118"/>
                <a:gd name="T15" fmla="*/ 0 h 97"/>
                <a:gd name="T16" fmla="*/ 0 w 118"/>
                <a:gd name="T17" fmla="*/ 49 h 97"/>
                <a:gd name="T18" fmla="*/ 41 w 118"/>
                <a:gd name="T19" fmla="*/ 5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97">
                  <a:moveTo>
                    <a:pt x="46" y="74"/>
                  </a:moveTo>
                  <a:lnTo>
                    <a:pt x="51" y="49"/>
                  </a:lnTo>
                  <a:lnTo>
                    <a:pt x="25" y="46"/>
                  </a:lnTo>
                  <a:lnTo>
                    <a:pt x="92" y="18"/>
                  </a:lnTo>
                  <a:lnTo>
                    <a:pt x="46" y="74"/>
                  </a:lnTo>
                  <a:close/>
                  <a:moveTo>
                    <a:pt x="41" y="56"/>
                  </a:moveTo>
                  <a:lnTo>
                    <a:pt x="36" y="97"/>
                  </a:lnTo>
                  <a:lnTo>
                    <a:pt x="118" y="0"/>
                  </a:lnTo>
                  <a:lnTo>
                    <a:pt x="0" y="49"/>
                  </a:lnTo>
                  <a:lnTo>
                    <a:pt x="41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6CCAFF1F-76BA-403A-8CAF-2E745B2BC9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3" y="282"/>
              <a:ext cx="351" cy="320"/>
            </a:xfrm>
            <a:custGeom>
              <a:avLst/>
              <a:gdLst>
                <a:gd name="T0" fmla="*/ 72 w 137"/>
                <a:gd name="T1" fmla="*/ 101 h 125"/>
                <a:gd name="T2" fmla="*/ 72 w 137"/>
                <a:gd name="T3" fmla="*/ 99 h 125"/>
                <a:gd name="T4" fmla="*/ 70 w 137"/>
                <a:gd name="T5" fmla="*/ 89 h 125"/>
                <a:gd name="T6" fmla="*/ 91 w 137"/>
                <a:gd name="T7" fmla="*/ 60 h 125"/>
                <a:gd name="T8" fmla="*/ 93 w 137"/>
                <a:gd name="T9" fmla="*/ 59 h 125"/>
                <a:gd name="T10" fmla="*/ 102 w 137"/>
                <a:gd name="T11" fmla="*/ 58 h 125"/>
                <a:gd name="T12" fmla="*/ 102 w 137"/>
                <a:gd name="T13" fmla="*/ 122 h 125"/>
                <a:gd name="T14" fmla="*/ 19 w 137"/>
                <a:gd name="T15" fmla="*/ 56 h 125"/>
                <a:gd name="T16" fmla="*/ 83 w 137"/>
                <a:gd name="T17" fmla="*/ 41 h 125"/>
                <a:gd name="T18" fmla="*/ 62 w 137"/>
                <a:gd name="T19" fmla="*/ 98 h 125"/>
                <a:gd name="T20" fmla="*/ 51 w 137"/>
                <a:gd name="T21" fmla="*/ 61 h 125"/>
                <a:gd name="T22" fmla="*/ 39 w 137"/>
                <a:gd name="T23" fmla="*/ 98 h 125"/>
                <a:gd name="T24" fmla="*/ 8 w 137"/>
                <a:gd name="T25" fmla="*/ 36 h 125"/>
                <a:gd name="T26" fmla="*/ 83 w 137"/>
                <a:gd name="T27" fmla="*/ 36 h 125"/>
                <a:gd name="T28" fmla="*/ 93 w 137"/>
                <a:gd name="T29" fmla="*/ 56 h 125"/>
                <a:gd name="T30" fmla="*/ 91 w 137"/>
                <a:gd name="T31" fmla="*/ 57 h 125"/>
                <a:gd name="T32" fmla="*/ 85 w 137"/>
                <a:gd name="T33" fmla="*/ 38 h 125"/>
                <a:gd name="T34" fmla="*/ 16 w 137"/>
                <a:gd name="T35" fmla="*/ 59 h 125"/>
                <a:gd name="T36" fmla="*/ 67 w 137"/>
                <a:gd name="T37" fmla="*/ 88 h 125"/>
                <a:gd name="T38" fmla="*/ 67 w 137"/>
                <a:gd name="T39" fmla="*/ 89 h 125"/>
                <a:gd name="T40" fmla="*/ 67 w 137"/>
                <a:gd name="T41" fmla="*/ 90 h 125"/>
                <a:gd name="T42" fmla="*/ 62 w 137"/>
                <a:gd name="T43" fmla="*/ 98 h 125"/>
                <a:gd name="T44" fmla="*/ 42 w 137"/>
                <a:gd name="T45" fmla="*/ 72 h 125"/>
                <a:gd name="T46" fmla="*/ 59 w 137"/>
                <a:gd name="T47" fmla="*/ 72 h 125"/>
                <a:gd name="T48" fmla="*/ 42 w 137"/>
                <a:gd name="T49" fmla="*/ 98 h 125"/>
                <a:gd name="T50" fmla="*/ 81 w 137"/>
                <a:gd name="T51" fmla="*/ 25 h 125"/>
                <a:gd name="T52" fmla="*/ 21 w 137"/>
                <a:gd name="T53" fmla="*/ 33 h 125"/>
                <a:gd name="T54" fmla="*/ 67 w 137"/>
                <a:gd name="T55" fmla="*/ 12 h 125"/>
                <a:gd name="T56" fmla="*/ 52 w 137"/>
                <a:gd name="T57" fmla="*/ 3 h 125"/>
                <a:gd name="T58" fmla="*/ 67 w 137"/>
                <a:gd name="T59" fmla="*/ 12 h 125"/>
                <a:gd name="T60" fmla="*/ 96 w 137"/>
                <a:gd name="T61" fmla="*/ 55 h 125"/>
                <a:gd name="T62" fmla="*/ 101 w 137"/>
                <a:gd name="T63" fmla="*/ 36 h 125"/>
                <a:gd name="T64" fmla="*/ 96 w 137"/>
                <a:gd name="T65" fmla="*/ 33 h 125"/>
                <a:gd name="T66" fmla="*/ 83 w 137"/>
                <a:gd name="T67" fmla="*/ 22 h 125"/>
                <a:gd name="T68" fmla="*/ 52 w 137"/>
                <a:gd name="T69" fmla="*/ 15 h 125"/>
                <a:gd name="T70" fmla="*/ 70 w 137"/>
                <a:gd name="T71" fmla="*/ 0 h 125"/>
                <a:gd name="T72" fmla="*/ 49 w 137"/>
                <a:gd name="T73" fmla="*/ 2 h 125"/>
                <a:gd name="T74" fmla="*/ 49 w 137"/>
                <a:gd name="T75" fmla="*/ 22 h 125"/>
                <a:gd name="T76" fmla="*/ 18 w 137"/>
                <a:gd name="T77" fmla="*/ 33 h 125"/>
                <a:gd name="T78" fmla="*/ 0 w 137"/>
                <a:gd name="T79" fmla="*/ 33 h 125"/>
                <a:gd name="T80" fmla="*/ 5 w 137"/>
                <a:gd name="T81" fmla="*/ 36 h 125"/>
                <a:gd name="T82" fmla="*/ 0 w 137"/>
                <a:gd name="T83" fmla="*/ 98 h 125"/>
                <a:gd name="T84" fmla="*/ 5 w 137"/>
                <a:gd name="T85" fmla="*/ 101 h 125"/>
                <a:gd name="T86" fmla="*/ 62 w 137"/>
                <a:gd name="T87" fmla="*/ 101 h 125"/>
                <a:gd name="T88" fmla="*/ 102 w 137"/>
                <a:gd name="T89" fmla="*/ 125 h 125"/>
                <a:gd name="T90" fmla="*/ 102 w 137"/>
                <a:gd name="T91" fmla="*/ 5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7" h="125">
                  <a:moveTo>
                    <a:pt x="102" y="122"/>
                  </a:moveTo>
                  <a:cubicBezTo>
                    <a:pt x="89" y="122"/>
                    <a:pt x="77" y="113"/>
                    <a:pt x="72" y="101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1" y="96"/>
                    <a:pt x="70" y="93"/>
                    <a:pt x="70" y="9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1" y="75"/>
                    <a:pt x="79" y="64"/>
                    <a:pt x="91" y="60"/>
                  </a:cubicBezTo>
                  <a:cubicBezTo>
                    <a:pt x="91" y="60"/>
                    <a:pt x="91" y="60"/>
                    <a:pt x="92" y="60"/>
                  </a:cubicBezTo>
                  <a:cubicBezTo>
                    <a:pt x="92" y="59"/>
                    <a:pt x="92" y="59"/>
                    <a:pt x="93" y="59"/>
                  </a:cubicBezTo>
                  <a:cubicBezTo>
                    <a:pt x="93" y="59"/>
                    <a:pt x="94" y="59"/>
                    <a:pt x="95" y="59"/>
                  </a:cubicBezTo>
                  <a:cubicBezTo>
                    <a:pt x="97" y="58"/>
                    <a:pt x="100" y="58"/>
                    <a:pt x="102" y="58"/>
                  </a:cubicBezTo>
                  <a:cubicBezTo>
                    <a:pt x="120" y="58"/>
                    <a:pt x="134" y="72"/>
                    <a:pt x="134" y="90"/>
                  </a:cubicBezTo>
                  <a:cubicBezTo>
                    <a:pt x="134" y="108"/>
                    <a:pt x="120" y="122"/>
                    <a:pt x="102" y="122"/>
                  </a:cubicBezTo>
                  <a:moveTo>
                    <a:pt x="8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83" y="41"/>
                    <a:pt x="83" y="41"/>
                    <a:pt x="83" y="41"/>
                  </a:cubicBezTo>
                  <a:lnTo>
                    <a:pt x="83" y="56"/>
                  </a:lnTo>
                  <a:close/>
                  <a:moveTo>
                    <a:pt x="62" y="98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62" y="66"/>
                    <a:pt x="57" y="61"/>
                    <a:pt x="51" y="61"/>
                  </a:cubicBezTo>
                  <a:cubicBezTo>
                    <a:pt x="44" y="61"/>
                    <a:pt x="39" y="66"/>
                    <a:pt x="39" y="72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2" y="56"/>
                    <a:pt x="92" y="57"/>
                    <a:pt x="91" y="57"/>
                  </a:cubicBezTo>
                  <a:cubicBezTo>
                    <a:pt x="89" y="57"/>
                    <a:pt x="87" y="58"/>
                    <a:pt x="85" y="59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5" y="65"/>
                    <a:pt x="68" y="76"/>
                    <a:pt x="67" y="88"/>
                  </a:cubicBezTo>
                  <a:cubicBezTo>
                    <a:pt x="67" y="88"/>
                    <a:pt x="67" y="88"/>
                    <a:pt x="67" y="89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67" y="89"/>
                    <a:pt x="67" y="89"/>
                    <a:pt x="67" y="90"/>
                  </a:cubicBezTo>
                  <a:cubicBezTo>
                    <a:pt x="67" y="90"/>
                    <a:pt x="67" y="90"/>
                    <a:pt x="67" y="90"/>
                  </a:cubicBezTo>
                  <a:cubicBezTo>
                    <a:pt x="67" y="93"/>
                    <a:pt x="68" y="96"/>
                    <a:pt x="68" y="98"/>
                  </a:cubicBezTo>
                  <a:lnTo>
                    <a:pt x="62" y="98"/>
                  </a:lnTo>
                  <a:close/>
                  <a:moveTo>
                    <a:pt x="42" y="98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67"/>
                    <a:pt x="46" y="63"/>
                    <a:pt x="51" y="63"/>
                  </a:cubicBezTo>
                  <a:cubicBezTo>
                    <a:pt x="56" y="63"/>
                    <a:pt x="59" y="67"/>
                    <a:pt x="59" y="72"/>
                  </a:cubicBezTo>
                  <a:cubicBezTo>
                    <a:pt x="59" y="98"/>
                    <a:pt x="59" y="98"/>
                    <a:pt x="59" y="98"/>
                  </a:cubicBezTo>
                  <a:lnTo>
                    <a:pt x="42" y="98"/>
                  </a:lnTo>
                  <a:close/>
                  <a:moveTo>
                    <a:pt x="21" y="25"/>
                  </a:moveTo>
                  <a:cubicBezTo>
                    <a:pt x="81" y="25"/>
                    <a:pt x="81" y="25"/>
                    <a:pt x="81" y="25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21" y="33"/>
                    <a:pt x="21" y="33"/>
                    <a:pt x="21" y="33"/>
                  </a:cubicBezTo>
                  <a:lnTo>
                    <a:pt x="21" y="25"/>
                  </a:lnTo>
                  <a:close/>
                  <a:moveTo>
                    <a:pt x="67" y="12"/>
                  </a:moveTo>
                  <a:cubicBezTo>
                    <a:pt x="52" y="12"/>
                    <a:pt x="52" y="12"/>
                    <a:pt x="52" y="12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67" y="3"/>
                    <a:pt x="67" y="3"/>
                    <a:pt x="67" y="3"/>
                  </a:cubicBezTo>
                  <a:lnTo>
                    <a:pt x="67" y="12"/>
                  </a:lnTo>
                  <a:close/>
                  <a:moveTo>
                    <a:pt x="102" y="55"/>
                  </a:moveTo>
                  <a:cubicBezTo>
                    <a:pt x="100" y="55"/>
                    <a:pt x="98" y="55"/>
                    <a:pt x="96" y="55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74" y="115"/>
                    <a:pt x="87" y="125"/>
                    <a:pt x="102" y="125"/>
                  </a:cubicBezTo>
                  <a:cubicBezTo>
                    <a:pt x="121" y="125"/>
                    <a:pt x="137" y="109"/>
                    <a:pt x="137" y="90"/>
                  </a:cubicBezTo>
                  <a:cubicBezTo>
                    <a:pt x="137" y="71"/>
                    <a:pt x="121" y="55"/>
                    <a:pt x="102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36">
            <a:extLst>
              <a:ext uri="{FF2B5EF4-FFF2-40B4-BE49-F238E27FC236}">
                <a16:creationId xmlns:a16="http://schemas.microsoft.com/office/drawing/2014/main" id="{72EEA1C3-2589-4A20-A72D-6ACB17C31A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6763" y="334963"/>
            <a:ext cx="758825" cy="758825"/>
            <a:chOff x="3683" y="211"/>
            <a:chExt cx="478" cy="478"/>
          </a:xfrm>
        </p:grpSpPr>
        <p:sp>
          <p:nvSpPr>
            <p:cNvPr id="59" name="AutoShape 35">
              <a:extLst>
                <a:ext uri="{FF2B5EF4-FFF2-40B4-BE49-F238E27FC236}">
                  <a16:creationId xmlns:a16="http://schemas.microsoft.com/office/drawing/2014/main" id="{E58005A0-09FD-42DE-BE1C-92C6873DF9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3" y="21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5EA7070F-E4E9-4CCD-9921-7B986CF2B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" y="21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D6009F45-911F-48E3-850D-CF705EDFC5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8" y="466"/>
              <a:ext cx="40" cy="47"/>
            </a:xfrm>
            <a:custGeom>
              <a:avLst/>
              <a:gdLst>
                <a:gd name="T0" fmla="*/ 8 w 40"/>
                <a:gd name="T1" fmla="*/ 7 h 47"/>
                <a:gd name="T2" fmla="*/ 32 w 40"/>
                <a:gd name="T3" fmla="*/ 7 h 47"/>
                <a:gd name="T4" fmla="*/ 32 w 40"/>
                <a:gd name="T5" fmla="*/ 39 h 47"/>
                <a:gd name="T6" fmla="*/ 8 w 40"/>
                <a:gd name="T7" fmla="*/ 39 h 47"/>
                <a:gd name="T8" fmla="*/ 8 w 40"/>
                <a:gd name="T9" fmla="*/ 7 h 47"/>
                <a:gd name="T10" fmla="*/ 0 w 40"/>
                <a:gd name="T11" fmla="*/ 47 h 47"/>
                <a:gd name="T12" fmla="*/ 40 w 40"/>
                <a:gd name="T13" fmla="*/ 47 h 47"/>
                <a:gd name="T14" fmla="*/ 40 w 40"/>
                <a:gd name="T15" fmla="*/ 0 h 47"/>
                <a:gd name="T16" fmla="*/ 0 w 40"/>
                <a:gd name="T17" fmla="*/ 0 h 47"/>
                <a:gd name="T18" fmla="*/ 0 w 40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7">
                  <a:moveTo>
                    <a:pt x="8" y="7"/>
                  </a:moveTo>
                  <a:lnTo>
                    <a:pt x="32" y="7"/>
                  </a:lnTo>
                  <a:lnTo>
                    <a:pt x="32" y="39"/>
                  </a:lnTo>
                  <a:lnTo>
                    <a:pt x="8" y="39"/>
                  </a:lnTo>
                  <a:lnTo>
                    <a:pt x="8" y="7"/>
                  </a:lnTo>
                  <a:close/>
                  <a:moveTo>
                    <a:pt x="0" y="47"/>
                  </a:moveTo>
                  <a:lnTo>
                    <a:pt x="40" y="4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0CACFB1E-97D3-4350-8E30-3FEF7BE26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8" y="468"/>
              <a:ext cx="113" cy="94"/>
            </a:xfrm>
            <a:custGeom>
              <a:avLst/>
              <a:gdLst>
                <a:gd name="T0" fmla="*/ 44 w 113"/>
                <a:gd name="T1" fmla="*/ 71 h 94"/>
                <a:gd name="T2" fmla="*/ 49 w 113"/>
                <a:gd name="T3" fmla="*/ 47 h 94"/>
                <a:gd name="T4" fmla="*/ 24 w 113"/>
                <a:gd name="T5" fmla="*/ 45 h 94"/>
                <a:gd name="T6" fmla="*/ 88 w 113"/>
                <a:gd name="T7" fmla="*/ 18 h 94"/>
                <a:gd name="T8" fmla="*/ 44 w 113"/>
                <a:gd name="T9" fmla="*/ 71 h 94"/>
                <a:gd name="T10" fmla="*/ 39 w 113"/>
                <a:gd name="T11" fmla="*/ 54 h 94"/>
                <a:gd name="T12" fmla="*/ 34 w 113"/>
                <a:gd name="T13" fmla="*/ 94 h 94"/>
                <a:gd name="T14" fmla="*/ 113 w 113"/>
                <a:gd name="T15" fmla="*/ 0 h 94"/>
                <a:gd name="T16" fmla="*/ 0 w 113"/>
                <a:gd name="T17" fmla="*/ 47 h 94"/>
                <a:gd name="T18" fmla="*/ 39 w 113"/>
                <a:gd name="T19" fmla="*/ 5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94">
                  <a:moveTo>
                    <a:pt x="44" y="71"/>
                  </a:moveTo>
                  <a:lnTo>
                    <a:pt x="49" y="47"/>
                  </a:lnTo>
                  <a:lnTo>
                    <a:pt x="24" y="45"/>
                  </a:lnTo>
                  <a:lnTo>
                    <a:pt x="88" y="18"/>
                  </a:lnTo>
                  <a:lnTo>
                    <a:pt x="44" y="71"/>
                  </a:lnTo>
                  <a:close/>
                  <a:moveTo>
                    <a:pt x="39" y="54"/>
                  </a:moveTo>
                  <a:lnTo>
                    <a:pt x="34" y="94"/>
                  </a:lnTo>
                  <a:lnTo>
                    <a:pt x="113" y="0"/>
                  </a:lnTo>
                  <a:lnTo>
                    <a:pt x="0" y="47"/>
                  </a:lnTo>
                  <a:lnTo>
                    <a:pt x="39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355FE864-3F4E-41B2-B59C-49366ACA50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7" y="289"/>
              <a:ext cx="335" cy="307"/>
            </a:xfrm>
            <a:custGeom>
              <a:avLst/>
              <a:gdLst>
                <a:gd name="T0" fmla="*/ 72 w 137"/>
                <a:gd name="T1" fmla="*/ 101 h 125"/>
                <a:gd name="T2" fmla="*/ 72 w 137"/>
                <a:gd name="T3" fmla="*/ 99 h 125"/>
                <a:gd name="T4" fmla="*/ 70 w 137"/>
                <a:gd name="T5" fmla="*/ 89 h 125"/>
                <a:gd name="T6" fmla="*/ 91 w 137"/>
                <a:gd name="T7" fmla="*/ 60 h 125"/>
                <a:gd name="T8" fmla="*/ 93 w 137"/>
                <a:gd name="T9" fmla="*/ 59 h 125"/>
                <a:gd name="T10" fmla="*/ 102 w 137"/>
                <a:gd name="T11" fmla="*/ 58 h 125"/>
                <a:gd name="T12" fmla="*/ 102 w 137"/>
                <a:gd name="T13" fmla="*/ 122 h 125"/>
                <a:gd name="T14" fmla="*/ 19 w 137"/>
                <a:gd name="T15" fmla="*/ 56 h 125"/>
                <a:gd name="T16" fmla="*/ 83 w 137"/>
                <a:gd name="T17" fmla="*/ 41 h 125"/>
                <a:gd name="T18" fmla="*/ 62 w 137"/>
                <a:gd name="T19" fmla="*/ 98 h 125"/>
                <a:gd name="T20" fmla="*/ 51 w 137"/>
                <a:gd name="T21" fmla="*/ 61 h 125"/>
                <a:gd name="T22" fmla="*/ 39 w 137"/>
                <a:gd name="T23" fmla="*/ 98 h 125"/>
                <a:gd name="T24" fmla="*/ 8 w 137"/>
                <a:gd name="T25" fmla="*/ 36 h 125"/>
                <a:gd name="T26" fmla="*/ 83 w 137"/>
                <a:gd name="T27" fmla="*/ 36 h 125"/>
                <a:gd name="T28" fmla="*/ 93 w 137"/>
                <a:gd name="T29" fmla="*/ 56 h 125"/>
                <a:gd name="T30" fmla="*/ 91 w 137"/>
                <a:gd name="T31" fmla="*/ 57 h 125"/>
                <a:gd name="T32" fmla="*/ 85 w 137"/>
                <a:gd name="T33" fmla="*/ 38 h 125"/>
                <a:gd name="T34" fmla="*/ 16 w 137"/>
                <a:gd name="T35" fmla="*/ 59 h 125"/>
                <a:gd name="T36" fmla="*/ 67 w 137"/>
                <a:gd name="T37" fmla="*/ 88 h 125"/>
                <a:gd name="T38" fmla="*/ 67 w 137"/>
                <a:gd name="T39" fmla="*/ 89 h 125"/>
                <a:gd name="T40" fmla="*/ 67 w 137"/>
                <a:gd name="T41" fmla="*/ 90 h 125"/>
                <a:gd name="T42" fmla="*/ 62 w 137"/>
                <a:gd name="T43" fmla="*/ 98 h 125"/>
                <a:gd name="T44" fmla="*/ 42 w 137"/>
                <a:gd name="T45" fmla="*/ 72 h 125"/>
                <a:gd name="T46" fmla="*/ 59 w 137"/>
                <a:gd name="T47" fmla="*/ 72 h 125"/>
                <a:gd name="T48" fmla="*/ 42 w 137"/>
                <a:gd name="T49" fmla="*/ 98 h 125"/>
                <a:gd name="T50" fmla="*/ 81 w 137"/>
                <a:gd name="T51" fmla="*/ 25 h 125"/>
                <a:gd name="T52" fmla="*/ 21 w 137"/>
                <a:gd name="T53" fmla="*/ 33 h 125"/>
                <a:gd name="T54" fmla="*/ 67 w 137"/>
                <a:gd name="T55" fmla="*/ 12 h 125"/>
                <a:gd name="T56" fmla="*/ 52 w 137"/>
                <a:gd name="T57" fmla="*/ 3 h 125"/>
                <a:gd name="T58" fmla="*/ 67 w 137"/>
                <a:gd name="T59" fmla="*/ 12 h 125"/>
                <a:gd name="T60" fmla="*/ 96 w 137"/>
                <a:gd name="T61" fmla="*/ 55 h 125"/>
                <a:gd name="T62" fmla="*/ 101 w 137"/>
                <a:gd name="T63" fmla="*/ 36 h 125"/>
                <a:gd name="T64" fmla="*/ 96 w 137"/>
                <a:gd name="T65" fmla="*/ 33 h 125"/>
                <a:gd name="T66" fmla="*/ 83 w 137"/>
                <a:gd name="T67" fmla="*/ 22 h 125"/>
                <a:gd name="T68" fmla="*/ 52 w 137"/>
                <a:gd name="T69" fmla="*/ 15 h 125"/>
                <a:gd name="T70" fmla="*/ 70 w 137"/>
                <a:gd name="T71" fmla="*/ 0 h 125"/>
                <a:gd name="T72" fmla="*/ 49 w 137"/>
                <a:gd name="T73" fmla="*/ 2 h 125"/>
                <a:gd name="T74" fmla="*/ 49 w 137"/>
                <a:gd name="T75" fmla="*/ 22 h 125"/>
                <a:gd name="T76" fmla="*/ 18 w 137"/>
                <a:gd name="T77" fmla="*/ 33 h 125"/>
                <a:gd name="T78" fmla="*/ 0 w 137"/>
                <a:gd name="T79" fmla="*/ 33 h 125"/>
                <a:gd name="T80" fmla="*/ 5 w 137"/>
                <a:gd name="T81" fmla="*/ 36 h 125"/>
                <a:gd name="T82" fmla="*/ 0 w 137"/>
                <a:gd name="T83" fmla="*/ 98 h 125"/>
                <a:gd name="T84" fmla="*/ 5 w 137"/>
                <a:gd name="T85" fmla="*/ 101 h 125"/>
                <a:gd name="T86" fmla="*/ 62 w 137"/>
                <a:gd name="T87" fmla="*/ 101 h 125"/>
                <a:gd name="T88" fmla="*/ 102 w 137"/>
                <a:gd name="T89" fmla="*/ 125 h 125"/>
                <a:gd name="T90" fmla="*/ 102 w 137"/>
                <a:gd name="T91" fmla="*/ 5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7" h="125">
                  <a:moveTo>
                    <a:pt x="102" y="122"/>
                  </a:moveTo>
                  <a:cubicBezTo>
                    <a:pt x="89" y="122"/>
                    <a:pt x="77" y="113"/>
                    <a:pt x="72" y="101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1" y="96"/>
                    <a:pt x="70" y="93"/>
                    <a:pt x="70" y="9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1" y="75"/>
                    <a:pt x="79" y="64"/>
                    <a:pt x="91" y="60"/>
                  </a:cubicBezTo>
                  <a:cubicBezTo>
                    <a:pt x="91" y="60"/>
                    <a:pt x="91" y="60"/>
                    <a:pt x="92" y="60"/>
                  </a:cubicBezTo>
                  <a:cubicBezTo>
                    <a:pt x="92" y="59"/>
                    <a:pt x="92" y="59"/>
                    <a:pt x="93" y="59"/>
                  </a:cubicBezTo>
                  <a:cubicBezTo>
                    <a:pt x="93" y="59"/>
                    <a:pt x="94" y="59"/>
                    <a:pt x="95" y="59"/>
                  </a:cubicBezTo>
                  <a:cubicBezTo>
                    <a:pt x="97" y="58"/>
                    <a:pt x="100" y="58"/>
                    <a:pt x="102" y="58"/>
                  </a:cubicBezTo>
                  <a:cubicBezTo>
                    <a:pt x="120" y="58"/>
                    <a:pt x="134" y="72"/>
                    <a:pt x="134" y="90"/>
                  </a:cubicBezTo>
                  <a:cubicBezTo>
                    <a:pt x="134" y="108"/>
                    <a:pt x="120" y="122"/>
                    <a:pt x="102" y="122"/>
                  </a:cubicBezTo>
                  <a:moveTo>
                    <a:pt x="8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83" y="41"/>
                    <a:pt x="83" y="41"/>
                    <a:pt x="83" y="41"/>
                  </a:cubicBezTo>
                  <a:lnTo>
                    <a:pt x="83" y="56"/>
                  </a:lnTo>
                  <a:close/>
                  <a:moveTo>
                    <a:pt x="62" y="98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62" y="66"/>
                    <a:pt x="57" y="61"/>
                    <a:pt x="51" y="61"/>
                  </a:cubicBezTo>
                  <a:cubicBezTo>
                    <a:pt x="44" y="61"/>
                    <a:pt x="39" y="66"/>
                    <a:pt x="39" y="72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2" y="56"/>
                    <a:pt x="92" y="57"/>
                    <a:pt x="91" y="57"/>
                  </a:cubicBezTo>
                  <a:cubicBezTo>
                    <a:pt x="89" y="57"/>
                    <a:pt x="87" y="58"/>
                    <a:pt x="85" y="59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5" y="65"/>
                    <a:pt x="68" y="76"/>
                    <a:pt x="67" y="88"/>
                  </a:cubicBezTo>
                  <a:cubicBezTo>
                    <a:pt x="67" y="88"/>
                    <a:pt x="67" y="88"/>
                    <a:pt x="67" y="89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67" y="89"/>
                    <a:pt x="67" y="89"/>
                    <a:pt x="67" y="90"/>
                  </a:cubicBezTo>
                  <a:cubicBezTo>
                    <a:pt x="67" y="90"/>
                    <a:pt x="67" y="90"/>
                    <a:pt x="67" y="90"/>
                  </a:cubicBezTo>
                  <a:cubicBezTo>
                    <a:pt x="67" y="93"/>
                    <a:pt x="68" y="96"/>
                    <a:pt x="68" y="98"/>
                  </a:cubicBezTo>
                  <a:lnTo>
                    <a:pt x="62" y="98"/>
                  </a:lnTo>
                  <a:close/>
                  <a:moveTo>
                    <a:pt x="42" y="98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67"/>
                    <a:pt x="46" y="63"/>
                    <a:pt x="51" y="63"/>
                  </a:cubicBezTo>
                  <a:cubicBezTo>
                    <a:pt x="56" y="63"/>
                    <a:pt x="59" y="67"/>
                    <a:pt x="59" y="72"/>
                  </a:cubicBezTo>
                  <a:cubicBezTo>
                    <a:pt x="59" y="98"/>
                    <a:pt x="59" y="98"/>
                    <a:pt x="59" y="98"/>
                  </a:cubicBezTo>
                  <a:lnTo>
                    <a:pt x="42" y="98"/>
                  </a:lnTo>
                  <a:close/>
                  <a:moveTo>
                    <a:pt x="21" y="25"/>
                  </a:moveTo>
                  <a:cubicBezTo>
                    <a:pt x="81" y="25"/>
                    <a:pt x="81" y="25"/>
                    <a:pt x="81" y="25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21" y="33"/>
                    <a:pt x="21" y="33"/>
                    <a:pt x="21" y="33"/>
                  </a:cubicBezTo>
                  <a:lnTo>
                    <a:pt x="21" y="25"/>
                  </a:lnTo>
                  <a:close/>
                  <a:moveTo>
                    <a:pt x="67" y="12"/>
                  </a:moveTo>
                  <a:cubicBezTo>
                    <a:pt x="52" y="12"/>
                    <a:pt x="52" y="12"/>
                    <a:pt x="52" y="12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67" y="3"/>
                    <a:pt x="67" y="3"/>
                    <a:pt x="67" y="3"/>
                  </a:cubicBezTo>
                  <a:lnTo>
                    <a:pt x="67" y="12"/>
                  </a:lnTo>
                  <a:close/>
                  <a:moveTo>
                    <a:pt x="102" y="55"/>
                  </a:moveTo>
                  <a:cubicBezTo>
                    <a:pt x="100" y="55"/>
                    <a:pt x="98" y="55"/>
                    <a:pt x="96" y="55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74" y="115"/>
                    <a:pt x="87" y="125"/>
                    <a:pt x="102" y="125"/>
                  </a:cubicBezTo>
                  <a:cubicBezTo>
                    <a:pt x="121" y="125"/>
                    <a:pt x="137" y="109"/>
                    <a:pt x="137" y="90"/>
                  </a:cubicBezTo>
                  <a:cubicBezTo>
                    <a:pt x="137" y="71"/>
                    <a:pt x="121" y="55"/>
                    <a:pt x="102" y="5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43">
            <a:extLst>
              <a:ext uri="{FF2B5EF4-FFF2-40B4-BE49-F238E27FC236}">
                <a16:creationId xmlns:a16="http://schemas.microsoft.com/office/drawing/2014/main" id="{599DAA0E-546D-4FDD-8D97-78414017EB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0088" y="293688"/>
            <a:ext cx="841375" cy="841375"/>
            <a:chOff x="4441" y="185"/>
            <a:chExt cx="530" cy="530"/>
          </a:xfrm>
        </p:grpSpPr>
        <p:sp>
          <p:nvSpPr>
            <p:cNvPr id="67" name="AutoShape 42">
              <a:extLst>
                <a:ext uri="{FF2B5EF4-FFF2-40B4-BE49-F238E27FC236}">
                  <a16:creationId xmlns:a16="http://schemas.microsoft.com/office/drawing/2014/main" id="{812E7EDC-4A79-4529-83EB-FC0C0D2DA3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1" y="1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44">
              <a:extLst>
                <a:ext uri="{FF2B5EF4-FFF2-40B4-BE49-F238E27FC236}">
                  <a16:creationId xmlns:a16="http://schemas.microsoft.com/office/drawing/2014/main" id="{F84F6057-A16B-4E44-B03A-E35DAEE35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" y="18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5">
              <a:extLst>
                <a:ext uri="{FF2B5EF4-FFF2-40B4-BE49-F238E27FC236}">
                  <a16:creationId xmlns:a16="http://schemas.microsoft.com/office/drawing/2014/main" id="{C06F3447-DF85-42E5-9A46-1462C2ADB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9" y="20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6">
              <a:extLst>
                <a:ext uri="{FF2B5EF4-FFF2-40B4-BE49-F238E27FC236}">
                  <a16:creationId xmlns:a16="http://schemas.microsoft.com/office/drawing/2014/main" id="{551AF88E-8CF8-4085-A639-8F0439ECC5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390"/>
              <a:ext cx="90" cy="115"/>
            </a:xfrm>
            <a:custGeom>
              <a:avLst/>
              <a:gdLst>
                <a:gd name="T0" fmla="*/ 3 w 35"/>
                <a:gd name="T1" fmla="*/ 42 h 45"/>
                <a:gd name="T2" fmla="*/ 3 w 35"/>
                <a:gd name="T3" fmla="*/ 3 h 45"/>
                <a:gd name="T4" fmla="*/ 12 w 35"/>
                <a:gd name="T5" fmla="*/ 3 h 45"/>
                <a:gd name="T6" fmla="*/ 31 w 35"/>
                <a:gd name="T7" fmla="*/ 19 h 45"/>
                <a:gd name="T8" fmla="*/ 25 w 35"/>
                <a:gd name="T9" fmla="*/ 42 h 45"/>
                <a:gd name="T10" fmla="*/ 3 w 35"/>
                <a:gd name="T11" fmla="*/ 42 h 45"/>
                <a:gd name="T12" fmla="*/ 35 w 35"/>
                <a:gd name="T13" fmla="*/ 17 h 45"/>
                <a:gd name="T14" fmla="*/ 33 w 35"/>
                <a:gd name="T15" fmla="*/ 17 h 45"/>
                <a:gd name="T16" fmla="*/ 14 w 35"/>
                <a:gd name="T17" fmla="*/ 1 h 45"/>
                <a:gd name="T18" fmla="*/ 13 w 35"/>
                <a:gd name="T19" fmla="*/ 0 h 45"/>
                <a:gd name="T20" fmla="*/ 0 w 35"/>
                <a:gd name="T21" fmla="*/ 0 h 45"/>
                <a:gd name="T22" fmla="*/ 0 w 35"/>
                <a:gd name="T23" fmla="*/ 45 h 45"/>
                <a:gd name="T24" fmla="*/ 27 w 35"/>
                <a:gd name="T25" fmla="*/ 45 h 45"/>
                <a:gd name="T26" fmla="*/ 35 w 35"/>
                <a:gd name="T27" fmla="*/ 1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45">
                  <a:moveTo>
                    <a:pt x="3" y="4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4" y="6"/>
                    <a:pt x="20" y="15"/>
                    <a:pt x="31" y="19"/>
                  </a:cubicBezTo>
                  <a:cubicBezTo>
                    <a:pt x="25" y="42"/>
                    <a:pt x="25" y="42"/>
                    <a:pt x="25" y="42"/>
                  </a:cubicBezTo>
                  <a:lnTo>
                    <a:pt x="3" y="42"/>
                  </a:lnTo>
                  <a:close/>
                  <a:moveTo>
                    <a:pt x="35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21" y="13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7" y="45"/>
                    <a:pt x="27" y="45"/>
                    <a:pt x="27" y="45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7">
              <a:extLst>
                <a:ext uri="{FF2B5EF4-FFF2-40B4-BE49-F238E27FC236}">
                  <a16:creationId xmlns:a16="http://schemas.microsoft.com/office/drawing/2014/main" id="{EC3B4A86-39CB-4B3D-AA07-08E4718E56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5" y="328"/>
              <a:ext cx="230" cy="231"/>
            </a:xfrm>
            <a:custGeom>
              <a:avLst/>
              <a:gdLst>
                <a:gd name="T0" fmla="*/ 3 w 90"/>
                <a:gd name="T1" fmla="*/ 87 h 90"/>
                <a:gd name="T2" fmla="*/ 3 w 90"/>
                <a:gd name="T3" fmla="*/ 18 h 90"/>
                <a:gd name="T4" fmla="*/ 38 w 90"/>
                <a:gd name="T5" fmla="*/ 18 h 90"/>
                <a:gd name="T6" fmla="*/ 62 w 90"/>
                <a:gd name="T7" fmla="*/ 40 h 90"/>
                <a:gd name="T8" fmla="*/ 49 w 90"/>
                <a:gd name="T9" fmla="*/ 87 h 90"/>
                <a:gd name="T10" fmla="*/ 3 w 90"/>
                <a:gd name="T11" fmla="*/ 87 h 90"/>
                <a:gd name="T12" fmla="*/ 3 w 90"/>
                <a:gd name="T13" fmla="*/ 3 h 90"/>
                <a:gd name="T14" fmla="*/ 34 w 90"/>
                <a:gd name="T15" fmla="*/ 3 h 90"/>
                <a:gd name="T16" fmla="*/ 35 w 90"/>
                <a:gd name="T17" fmla="*/ 10 h 90"/>
                <a:gd name="T18" fmla="*/ 3 w 90"/>
                <a:gd name="T19" fmla="*/ 10 h 90"/>
                <a:gd name="T20" fmla="*/ 3 w 90"/>
                <a:gd name="T21" fmla="*/ 3 h 90"/>
                <a:gd name="T22" fmla="*/ 88 w 90"/>
                <a:gd name="T23" fmla="*/ 37 h 90"/>
                <a:gd name="T24" fmla="*/ 41 w 90"/>
                <a:gd name="T25" fmla="*/ 3 h 90"/>
                <a:gd name="T26" fmla="*/ 88 w 90"/>
                <a:gd name="T27" fmla="*/ 3 h 90"/>
                <a:gd name="T28" fmla="*/ 88 w 90"/>
                <a:gd name="T29" fmla="*/ 37 h 90"/>
                <a:gd name="T30" fmla="*/ 57 w 90"/>
                <a:gd name="T31" fmla="*/ 87 h 90"/>
                <a:gd name="T32" fmla="*/ 70 w 90"/>
                <a:gd name="T33" fmla="*/ 43 h 90"/>
                <a:gd name="T34" fmla="*/ 88 w 90"/>
                <a:gd name="T35" fmla="*/ 45 h 90"/>
                <a:gd name="T36" fmla="*/ 88 w 90"/>
                <a:gd name="T37" fmla="*/ 87 h 90"/>
                <a:gd name="T38" fmla="*/ 57 w 90"/>
                <a:gd name="T39" fmla="*/ 87 h 90"/>
                <a:gd name="T40" fmla="*/ 52 w 90"/>
                <a:gd name="T41" fmla="*/ 87 h 90"/>
                <a:gd name="T42" fmla="*/ 66 w 90"/>
                <a:gd name="T43" fmla="*/ 39 h 90"/>
                <a:gd name="T44" fmla="*/ 65 w 90"/>
                <a:gd name="T45" fmla="*/ 38 h 90"/>
                <a:gd name="T46" fmla="*/ 40 w 90"/>
                <a:gd name="T47" fmla="*/ 16 h 90"/>
                <a:gd name="T48" fmla="*/ 40 w 90"/>
                <a:gd name="T49" fmla="*/ 15 h 90"/>
                <a:gd name="T50" fmla="*/ 3 w 90"/>
                <a:gd name="T51" fmla="*/ 15 h 90"/>
                <a:gd name="T52" fmla="*/ 3 w 90"/>
                <a:gd name="T53" fmla="*/ 13 h 90"/>
                <a:gd name="T54" fmla="*/ 39 w 90"/>
                <a:gd name="T55" fmla="*/ 13 h 90"/>
                <a:gd name="T56" fmla="*/ 38 w 90"/>
                <a:gd name="T57" fmla="*/ 11 h 90"/>
                <a:gd name="T58" fmla="*/ 37 w 90"/>
                <a:gd name="T59" fmla="*/ 3 h 90"/>
                <a:gd name="T60" fmla="*/ 39 w 90"/>
                <a:gd name="T61" fmla="*/ 3 h 90"/>
                <a:gd name="T62" fmla="*/ 88 w 90"/>
                <a:gd name="T63" fmla="*/ 40 h 90"/>
                <a:gd name="T64" fmla="*/ 88 w 90"/>
                <a:gd name="T65" fmla="*/ 42 h 90"/>
                <a:gd name="T66" fmla="*/ 69 w 90"/>
                <a:gd name="T67" fmla="*/ 40 h 90"/>
                <a:gd name="T68" fmla="*/ 68 w 90"/>
                <a:gd name="T69" fmla="*/ 39 h 90"/>
                <a:gd name="T70" fmla="*/ 54 w 90"/>
                <a:gd name="T71" fmla="*/ 87 h 90"/>
                <a:gd name="T72" fmla="*/ 52 w 90"/>
                <a:gd name="T73" fmla="*/ 87 h 90"/>
                <a:gd name="T74" fmla="*/ 56 w 90"/>
                <a:gd name="T75" fmla="*/ 90 h 90"/>
                <a:gd name="T76" fmla="*/ 90 w 90"/>
                <a:gd name="T77" fmla="*/ 90 h 90"/>
                <a:gd name="T78" fmla="*/ 90 w 90"/>
                <a:gd name="T79" fmla="*/ 45 h 90"/>
                <a:gd name="T80" fmla="*/ 90 w 90"/>
                <a:gd name="T81" fmla="*/ 37 h 90"/>
                <a:gd name="T82" fmla="*/ 90 w 90"/>
                <a:gd name="T83" fmla="*/ 0 h 90"/>
                <a:gd name="T84" fmla="*/ 41 w 90"/>
                <a:gd name="T85" fmla="*/ 0 h 90"/>
                <a:gd name="T86" fmla="*/ 41 w 90"/>
                <a:gd name="T87" fmla="*/ 0 h 90"/>
                <a:gd name="T88" fmla="*/ 34 w 90"/>
                <a:gd name="T89" fmla="*/ 0 h 90"/>
                <a:gd name="T90" fmla="*/ 0 w 90"/>
                <a:gd name="T91" fmla="*/ 0 h 90"/>
                <a:gd name="T92" fmla="*/ 0 w 90"/>
                <a:gd name="T93" fmla="*/ 10 h 90"/>
                <a:gd name="T94" fmla="*/ 0 w 90"/>
                <a:gd name="T95" fmla="*/ 18 h 90"/>
                <a:gd name="T96" fmla="*/ 0 w 90"/>
                <a:gd name="T97" fmla="*/ 90 h 90"/>
                <a:gd name="T98" fmla="*/ 48 w 90"/>
                <a:gd name="T99" fmla="*/ 90 h 90"/>
                <a:gd name="T100" fmla="*/ 56 w 90"/>
                <a:gd name="T10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" h="90">
                  <a:moveTo>
                    <a:pt x="3" y="87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5"/>
                    <a:pt x="48" y="35"/>
                    <a:pt x="62" y="40"/>
                  </a:cubicBezTo>
                  <a:cubicBezTo>
                    <a:pt x="49" y="87"/>
                    <a:pt x="49" y="87"/>
                    <a:pt x="49" y="87"/>
                  </a:cubicBezTo>
                  <a:lnTo>
                    <a:pt x="3" y="87"/>
                  </a:lnTo>
                  <a:close/>
                  <a:moveTo>
                    <a:pt x="3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4" y="4"/>
                    <a:pt x="34" y="7"/>
                    <a:pt x="35" y="10"/>
                  </a:cubicBezTo>
                  <a:cubicBezTo>
                    <a:pt x="3" y="10"/>
                    <a:pt x="3" y="10"/>
                    <a:pt x="3" y="10"/>
                  </a:cubicBezTo>
                  <a:lnTo>
                    <a:pt x="3" y="3"/>
                  </a:lnTo>
                  <a:close/>
                  <a:moveTo>
                    <a:pt x="88" y="37"/>
                  </a:moveTo>
                  <a:cubicBezTo>
                    <a:pt x="47" y="37"/>
                    <a:pt x="42" y="9"/>
                    <a:pt x="41" y="3"/>
                  </a:cubicBezTo>
                  <a:cubicBezTo>
                    <a:pt x="88" y="3"/>
                    <a:pt x="88" y="3"/>
                    <a:pt x="88" y="3"/>
                  </a:cubicBezTo>
                  <a:lnTo>
                    <a:pt x="88" y="37"/>
                  </a:lnTo>
                  <a:close/>
                  <a:moveTo>
                    <a:pt x="57" y="87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5" y="44"/>
                    <a:pt x="81" y="45"/>
                    <a:pt x="88" y="45"/>
                  </a:cubicBezTo>
                  <a:cubicBezTo>
                    <a:pt x="88" y="87"/>
                    <a:pt x="88" y="87"/>
                    <a:pt x="88" y="87"/>
                  </a:cubicBezTo>
                  <a:lnTo>
                    <a:pt x="57" y="87"/>
                  </a:lnTo>
                  <a:close/>
                  <a:moveTo>
                    <a:pt x="52" y="87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53" y="34"/>
                    <a:pt x="45" y="26"/>
                    <a:pt x="40" y="1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7"/>
                    <a:pt x="37" y="4"/>
                    <a:pt x="37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0"/>
                    <a:pt x="44" y="39"/>
                    <a:pt x="88" y="40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1" y="42"/>
                    <a:pt x="75" y="41"/>
                    <a:pt x="69" y="40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54" y="87"/>
                    <a:pt x="54" y="87"/>
                    <a:pt x="54" y="87"/>
                  </a:cubicBezTo>
                  <a:lnTo>
                    <a:pt x="52" y="87"/>
                  </a:lnTo>
                  <a:close/>
                  <a:moveTo>
                    <a:pt x="56" y="90"/>
                  </a:moveTo>
                  <a:cubicBezTo>
                    <a:pt x="90" y="90"/>
                    <a:pt x="90" y="90"/>
                    <a:pt x="90" y="90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8" y="90"/>
                    <a:pt x="48" y="90"/>
                    <a:pt x="48" y="90"/>
                  </a:cubicBezTo>
                  <a:lnTo>
                    <a:pt x="56" y="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8">
              <a:extLst>
                <a:ext uri="{FF2B5EF4-FFF2-40B4-BE49-F238E27FC236}">
                  <a16:creationId xmlns:a16="http://schemas.microsoft.com/office/drawing/2014/main" id="{EB354682-C107-40D3-AA3A-B947EC11A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1" y="326"/>
              <a:ext cx="36" cy="235"/>
            </a:xfrm>
            <a:custGeom>
              <a:avLst/>
              <a:gdLst>
                <a:gd name="T0" fmla="*/ 31 w 36"/>
                <a:gd name="T1" fmla="*/ 23 h 235"/>
                <a:gd name="T2" fmla="*/ 36 w 36"/>
                <a:gd name="T3" fmla="*/ 18 h 235"/>
                <a:gd name="T4" fmla="*/ 18 w 36"/>
                <a:gd name="T5" fmla="*/ 0 h 235"/>
                <a:gd name="T6" fmla="*/ 0 w 36"/>
                <a:gd name="T7" fmla="*/ 18 h 235"/>
                <a:gd name="T8" fmla="*/ 5 w 36"/>
                <a:gd name="T9" fmla="*/ 23 h 235"/>
                <a:gd name="T10" fmla="*/ 16 w 36"/>
                <a:gd name="T11" fmla="*/ 15 h 235"/>
                <a:gd name="T12" fmla="*/ 16 w 36"/>
                <a:gd name="T13" fmla="*/ 220 h 235"/>
                <a:gd name="T14" fmla="*/ 5 w 36"/>
                <a:gd name="T15" fmla="*/ 212 h 235"/>
                <a:gd name="T16" fmla="*/ 0 w 36"/>
                <a:gd name="T17" fmla="*/ 217 h 235"/>
                <a:gd name="T18" fmla="*/ 18 w 36"/>
                <a:gd name="T19" fmla="*/ 235 h 235"/>
                <a:gd name="T20" fmla="*/ 36 w 36"/>
                <a:gd name="T21" fmla="*/ 217 h 235"/>
                <a:gd name="T22" fmla="*/ 31 w 36"/>
                <a:gd name="T23" fmla="*/ 212 h 235"/>
                <a:gd name="T24" fmla="*/ 23 w 36"/>
                <a:gd name="T25" fmla="*/ 220 h 235"/>
                <a:gd name="T26" fmla="*/ 23 w 36"/>
                <a:gd name="T27" fmla="*/ 15 h 235"/>
                <a:gd name="T28" fmla="*/ 31 w 36"/>
                <a:gd name="T29" fmla="*/ 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235">
                  <a:moveTo>
                    <a:pt x="31" y="23"/>
                  </a:moveTo>
                  <a:lnTo>
                    <a:pt x="36" y="18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5" y="23"/>
                  </a:lnTo>
                  <a:lnTo>
                    <a:pt x="16" y="15"/>
                  </a:lnTo>
                  <a:lnTo>
                    <a:pt x="16" y="220"/>
                  </a:lnTo>
                  <a:lnTo>
                    <a:pt x="5" y="212"/>
                  </a:lnTo>
                  <a:lnTo>
                    <a:pt x="0" y="217"/>
                  </a:lnTo>
                  <a:lnTo>
                    <a:pt x="18" y="235"/>
                  </a:lnTo>
                  <a:lnTo>
                    <a:pt x="36" y="217"/>
                  </a:lnTo>
                  <a:lnTo>
                    <a:pt x="31" y="212"/>
                  </a:lnTo>
                  <a:lnTo>
                    <a:pt x="23" y="220"/>
                  </a:lnTo>
                  <a:lnTo>
                    <a:pt x="23" y="15"/>
                  </a:lnTo>
                  <a:lnTo>
                    <a:pt x="31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>
              <a:extLst>
                <a:ext uri="{FF2B5EF4-FFF2-40B4-BE49-F238E27FC236}">
                  <a16:creationId xmlns:a16="http://schemas.microsoft.com/office/drawing/2014/main" id="{DDF3071A-8FD3-442B-8C47-9BA0099A8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" y="566"/>
              <a:ext cx="233" cy="36"/>
            </a:xfrm>
            <a:custGeom>
              <a:avLst/>
              <a:gdLst>
                <a:gd name="T0" fmla="*/ 215 w 233"/>
                <a:gd name="T1" fmla="*/ 0 h 36"/>
                <a:gd name="T2" fmla="*/ 210 w 233"/>
                <a:gd name="T3" fmla="*/ 6 h 36"/>
                <a:gd name="T4" fmla="*/ 217 w 233"/>
                <a:gd name="T5" fmla="*/ 16 h 36"/>
                <a:gd name="T6" fmla="*/ 13 w 233"/>
                <a:gd name="T7" fmla="*/ 16 h 36"/>
                <a:gd name="T8" fmla="*/ 23 w 233"/>
                <a:gd name="T9" fmla="*/ 6 h 36"/>
                <a:gd name="T10" fmla="*/ 18 w 233"/>
                <a:gd name="T11" fmla="*/ 0 h 36"/>
                <a:gd name="T12" fmla="*/ 0 w 233"/>
                <a:gd name="T13" fmla="*/ 18 h 36"/>
                <a:gd name="T14" fmla="*/ 18 w 233"/>
                <a:gd name="T15" fmla="*/ 36 h 36"/>
                <a:gd name="T16" fmla="*/ 23 w 233"/>
                <a:gd name="T17" fmla="*/ 31 h 36"/>
                <a:gd name="T18" fmla="*/ 13 w 233"/>
                <a:gd name="T19" fmla="*/ 21 h 36"/>
                <a:gd name="T20" fmla="*/ 217 w 233"/>
                <a:gd name="T21" fmla="*/ 21 h 36"/>
                <a:gd name="T22" fmla="*/ 210 w 233"/>
                <a:gd name="T23" fmla="*/ 31 h 36"/>
                <a:gd name="T24" fmla="*/ 215 w 233"/>
                <a:gd name="T25" fmla="*/ 36 h 36"/>
                <a:gd name="T26" fmla="*/ 233 w 233"/>
                <a:gd name="T27" fmla="*/ 18 h 36"/>
                <a:gd name="T28" fmla="*/ 215 w 233"/>
                <a:gd name="T2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3" h="36">
                  <a:moveTo>
                    <a:pt x="215" y="0"/>
                  </a:moveTo>
                  <a:lnTo>
                    <a:pt x="210" y="6"/>
                  </a:lnTo>
                  <a:lnTo>
                    <a:pt x="217" y="16"/>
                  </a:lnTo>
                  <a:lnTo>
                    <a:pt x="13" y="16"/>
                  </a:lnTo>
                  <a:lnTo>
                    <a:pt x="23" y="6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18" y="36"/>
                  </a:lnTo>
                  <a:lnTo>
                    <a:pt x="23" y="31"/>
                  </a:lnTo>
                  <a:lnTo>
                    <a:pt x="13" y="21"/>
                  </a:lnTo>
                  <a:lnTo>
                    <a:pt x="217" y="21"/>
                  </a:lnTo>
                  <a:lnTo>
                    <a:pt x="210" y="31"/>
                  </a:lnTo>
                  <a:lnTo>
                    <a:pt x="215" y="36"/>
                  </a:lnTo>
                  <a:lnTo>
                    <a:pt x="233" y="18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52">
            <a:extLst>
              <a:ext uri="{FF2B5EF4-FFF2-40B4-BE49-F238E27FC236}">
                <a16:creationId xmlns:a16="http://schemas.microsoft.com/office/drawing/2014/main" id="{1955EA6E-60B3-4BAE-9391-38C7B25696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8775" y="334963"/>
            <a:ext cx="758825" cy="758825"/>
            <a:chOff x="5026" y="211"/>
            <a:chExt cx="478" cy="478"/>
          </a:xfrm>
        </p:grpSpPr>
        <p:sp>
          <p:nvSpPr>
            <p:cNvPr id="83" name="AutoShape 51">
              <a:extLst>
                <a:ext uri="{FF2B5EF4-FFF2-40B4-BE49-F238E27FC236}">
                  <a16:creationId xmlns:a16="http://schemas.microsoft.com/office/drawing/2014/main" id="{B818DCB6-2636-4412-A44C-F203AF3630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26" y="21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D8E84D9B-980D-412E-8FF4-93EB7040B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8" y="21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AE768415-C397-4F6F-A111-B4E9D7671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2" y="392"/>
              <a:ext cx="86" cy="111"/>
            </a:xfrm>
            <a:custGeom>
              <a:avLst/>
              <a:gdLst>
                <a:gd name="T0" fmla="*/ 3 w 35"/>
                <a:gd name="T1" fmla="*/ 42 h 45"/>
                <a:gd name="T2" fmla="*/ 3 w 35"/>
                <a:gd name="T3" fmla="*/ 3 h 45"/>
                <a:gd name="T4" fmla="*/ 12 w 35"/>
                <a:gd name="T5" fmla="*/ 3 h 45"/>
                <a:gd name="T6" fmla="*/ 31 w 35"/>
                <a:gd name="T7" fmla="*/ 19 h 45"/>
                <a:gd name="T8" fmla="*/ 25 w 35"/>
                <a:gd name="T9" fmla="*/ 42 h 45"/>
                <a:gd name="T10" fmla="*/ 3 w 35"/>
                <a:gd name="T11" fmla="*/ 42 h 45"/>
                <a:gd name="T12" fmla="*/ 35 w 35"/>
                <a:gd name="T13" fmla="*/ 17 h 45"/>
                <a:gd name="T14" fmla="*/ 33 w 35"/>
                <a:gd name="T15" fmla="*/ 17 h 45"/>
                <a:gd name="T16" fmla="*/ 14 w 35"/>
                <a:gd name="T17" fmla="*/ 1 h 45"/>
                <a:gd name="T18" fmla="*/ 13 w 35"/>
                <a:gd name="T19" fmla="*/ 0 h 45"/>
                <a:gd name="T20" fmla="*/ 0 w 35"/>
                <a:gd name="T21" fmla="*/ 0 h 45"/>
                <a:gd name="T22" fmla="*/ 0 w 35"/>
                <a:gd name="T23" fmla="*/ 45 h 45"/>
                <a:gd name="T24" fmla="*/ 27 w 35"/>
                <a:gd name="T25" fmla="*/ 45 h 45"/>
                <a:gd name="T26" fmla="*/ 35 w 35"/>
                <a:gd name="T27" fmla="*/ 1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45">
                  <a:moveTo>
                    <a:pt x="3" y="4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4" y="6"/>
                    <a:pt x="20" y="15"/>
                    <a:pt x="31" y="19"/>
                  </a:cubicBezTo>
                  <a:cubicBezTo>
                    <a:pt x="25" y="42"/>
                    <a:pt x="25" y="42"/>
                    <a:pt x="25" y="42"/>
                  </a:cubicBezTo>
                  <a:lnTo>
                    <a:pt x="3" y="42"/>
                  </a:lnTo>
                  <a:close/>
                  <a:moveTo>
                    <a:pt x="35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21" y="13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7" y="45"/>
                    <a:pt x="27" y="45"/>
                    <a:pt x="27" y="45"/>
                  </a:cubicBezTo>
                  <a:lnTo>
                    <a:pt x="35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F817F3AB-A2CC-41DF-8505-2244BDF4E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8" y="334"/>
              <a:ext cx="221" cy="220"/>
            </a:xfrm>
            <a:custGeom>
              <a:avLst/>
              <a:gdLst>
                <a:gd name="T0" fmla="*/ 3 w 90"/>
                <a:gd name="T1" fmla="*/ 87 h 90"/>
                <a:gd name="T2" fmla="*/ 3 w 90"/>
                <a:gd name="T3" fmla="*/ 18 h 90"/>
                <a:gd name="T4" fmla="*/ 38 w 90"/>
                <a:gd name="T5" fmla="*/ 18 h 90"/>
                <a:gd name="T6" fmla="*/ 62 w 90"/>
                <a:gd name="T7" fmla="*/ 40 h 90"/>
                <a:gd name="T8" fmla="*/ 49 w 90"/>
                <a:gd name="T9" fmla="*/ 87 h 90"/>
                <a:gd name="T10" fmla="*/ 3 w 90"/>
                <a:gd name="T11" fmla="*/ 87 h 90"/>
                <a:gd name="T12" fmla="*/ 3 w 90"/>
                <a:gd name="T13" fmla="*/ 3 h 90"/>
                <a:gd name="T14" fmla="*/ 34 w 90"/>
                <a:gd name="T15" fmla="*/ 3 h 90"/>
                <a:gd name="T16" fmla="*/ 35 w 90"/>
                <a:gd name="T17" fmla="*/ 10 h 90"/>
                <a:gd name="T18" fmla="*/ 3 w 90"/>
                <a:gd name="T19" fmla="*/ 10 h 90"/>
                <a:gd name="T20" fmla="*/ 3 w 90"/>
                <a:gd name="T21" fmla="*/ 3 h 90"/>
                <a:gd name="T22" fmla="*/ 88 w 90"/>
                <a:gd name="T23" fmla="*/ 37 h 90"/>
                <a:gd name="T24" fmla="*/ 41 w 90"/>
                <a:gd name="T25" fmla="*/ 3 h 90"/>
                <a:gd name="T26" fmla="*/ 88 w 90"/>
                <a:gd name="T27" fmla="*/ 3 h 90"/>
                <a:gd name="T28" fmla="*/ 88 w 90"/>
                <a:gd name="T29" fmla="*/ 37 h 90"/>
                <a:gd name="T30" fmla="*/ 57 w 90"/>
                <a:gd name="T31" fmla="*/ 87 h 90"/>
                <a:gd name="T32" fmla="*/ 70 w 90"/>
                <a:gd name="T33" fmla="*/ 43 h 90"/>
                <a:gd name="T34" fmla="*/ 88 w 90"/>
                <a:gd name="T35" fmla="*/ 45 h 90"/>
                <a:gd name="T36" fmla="*/ 88 w 90"/>
                <a:gd name="T37" fmla="*/ 87 h 90"/>
                <a:gd name="T38" fmla="*/ 57 w 90"/>
                <a:gd name="T39" fmla="*/ 87 h 90"/>
                <a:gd name="T40" fmla="*/ 52 w 90"/>
                <a:gd name="T41" fmla="*/ 87 h 90"/>
                <a:gd name="T42" fmla="*/ 66 w 90"/>
                <a:gd name="T43" fmla="*/ 39 h 90"/>
                <a:gd name="T44" fmla="*/ 65 w 90"/>
                <a:gd name="T45" fmla="*/ 38 h 90"/>
                <a:gd name="T46" fmla="*/ 40 w 90"/>
                <a:gd name="T47" fmla="*/ 16 h 90"/>
                <a:gd name="T48" fmla="*/ 40 w 90"/>
                <a:gd name="T49" fmla="*/ 15 h 90"/>
                <a:gd name="T50" fmla="*/ 3 w 90"/>
                <a:gd name="T51" fmla="*/ 15 h 90"/>
                <a:gd name="T52" fmla="*/ 3 w 90"/>
                <a:gd name="T53" fmla="*/ 13 h 90"/>
                <a:gd name="T54" fmla="*/ 39 w 90"/>
                <a:gd name="T55" fmla="*/ 13 h 90"/>
                <a:gd name="T56" fmla="*/ 38 w 90"/>
                <a:gd name="T57" fmla="*/ 11 h 90"/>
                <a:gd name="T58" fmla="*/ 37 w 90"/>
                <a:gd name="T59" fmla="*/ 3 h 90"/>
                <a:gd name="T60" fmla="*/ 39 w 90"/>
                <a:gd name="T61" fmla="*/ 3 h 90"/>
                <a:gd name="T62" fmla="*/ 88 w 90"/>
                <a:gd name="T63" fmla="*/ 40 h 90"/>
                <a:gd name="T64" fmla="*/ 88 w 90"/>
                <a:gd name="T65" fmla="*/ 42 h 90"/>
                <a:gd name="T66" fmla="*/ 69 w 90"/>
                <a:gd name="T67" fmla="*/ 40 h 90"/>
                <a:gd name="T68" fmla="*/ 68 w 90"/>
                <a:gd name="T69" fmla="*/ 39 h 90"/>
                <a:gd name="T70" fmla="*/ 54 w 90"/>
                <a:gd name="T71" fmla="*/ 87 h 90"/>
                <a:gd name="T72" fmla="*/ 52 w 90"/>
                <a:gd name="T73" fmla="*/ 87 h 90"/>
                <a:gd name="T74" fmla="*/ 56 w 90"/>
                <a:gd name="T75" fmla="*/ 90 h 90"/>
                <a:gd name="T76" fmla="*/ 90 w 90"/>
                <a:gd name="T77" fmla="*/ 90 h 90"/>
                <a:gd name="T78" fmla="*/ 90 w 90"/>
                <a:gd name="T79" fmla="*/ 45 h 90"/>
                <a:gd name="T80" fmla="*/ 90 w 90"/>
                <a:gd name="T81" fmla="*/ 37 h 90"/>
                <a:gd name="T82" fmla="*/ 90 w 90"/>
                <a:gd name="T83" fmla="*/ 0 h 90"/>
                <a:gd name="T84" fmla="*/ 41 w 90"/>
                <a:gd name="T85" fmla="*/ 0 h 90"/>
                <a:gd name="T86" fmla="*/ 41 w 90"/>
                <a:gd name="T87" fmla="*/ 0 h 90"/>
                <a:gd name="T88" fmla="*/ 34 w 90"/>
                <a:gd name="T89" fmla="*/ 0 h 90"/>
                <a:gd name="T90" fmla="*/ 0 w 90"/>
                <a:gd name="T91" fmla="*/ 0 h 90"/>
                <a:gd name="T92" fmla="*/ 0 w 90"/>
                <a:gd name="T93" fmla="*/ 10 h 90"/>
                <a:gd name="T94" fmla="*/ 0 w 90"/>
                <a:gd name="T95" fmla="*/ 18 h 90"/>
                <a:gd name="T96" fmla="*/ 0 w 90"/>
                <a:gd name="T97" fmla="*/ 90 h 90"/>
                <a:gd name="T98" fmla="*/ 48 w 90"/>
                <a:gd name="T99" fmla="*/ 90 h 90"/>
                <a:gd name="T100" fmla="*/ 56 w 90"/>
                <a:gd name="T101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" h="90">
                  <a:moveTo>
                    <a:pt x="3" y="87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1" y="25"/>
                    <a:pt x="48" y="35"/>
                    <a:pt x="62" y="40"/>
                  </a:cubicBezTo>
                  <a:cubicBezTo>
                    <a:pt x="49" y="87"/>
                    <a:pt x="49" y="87"/>
                    <a:pt x="49" y="87"/>
                  </a:cubicBezTo>
                  <a:lnTo>
                    <a:pt x="3" y="87"/>
                  </a:lnTo>
                  <a:close/>
                  <a:moveTo>
                    <a:pt x="3" y="3"/>
                  </a:moveTo>
                  <a:cubicBezTo>
                    <a:pt x="34" y="3"/>
                    <a:pt x="34" y="3"/>
                    <a:pt x="34" y="3"/>
                  </a:cubicBezTo>
                  <a:cubicBezTo>
                    <a:pt x="34" y="4"/>
                    <a:pt x="34" y="7"/>
                    <a:pt x="35" y="10"/>
                  </a:cubicBezTo>
                  <a:cubicBezTo>
                    <a:pt x="3" y="10"/>
                    <a:pt x="3" y="10"/>
                    <a:pt x="3" y="10"/>
                  </a:cubicBezTo>
                  <a:lnTo>
                    <a:pt x="3" y="3"/>
                  </a:lnTo>
                  <a:close/>
                  <a:moveTo>
                    <a:pt x="88" y="37"/>
                  </a:moveTo>
                  <a:cubicBezTo>
                    <a:pt x="47" y="37"/>
                    <a:pt x="42" y="9"/>
                    <a:pt x="41" y="3"/>
                  </a:cubicBezTo>
                  <a:cubicBezTo>
                    <a:pt x="88" y="3"/>
                    <a:pt x="88" y="3"/>
                    <a:pt x="88" y="3"/>
                  </a:cubicBezTo>
                  <a:lnTo>
                    <a:pt x="88" y="37"/>
                  </a:lnTo>
                  <a:close/>
                  <a:moveTo>
                    <a:pt x="57" y="87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5" y="44"/>
                    <a:pt x="81" y="45"/>
                    <a:pt x="88" y="45"/>
                  </a:cubicBezTo>
                  <a:cubicBezTo>
                    <a:pt x="88" y="87"/>
                    <a:pt x="88" y="87"/>
                    <a:pt x="88" y="87"/>
                  </a:cubicBezTo>
                  <a:lnTo>
                    <a:pt x="57" y="87"/>
                  </a:lnTo>
                  <a:close/>
                  <a:moveTo>
                    <a:pt x="52" y="87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53" y="34"/>
                    <a:pt x="45" y="26"/>
                    <a:pt x="40" y="16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7"/>
                    <a:pt x="37" y="4"/>
                    <a:pt x="37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10"/>
                    <a:pt x="44" y="39"/>
                    <a:pt x="88" y="40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1" y="42"/>
                    <a:pt x="75" y="41"/>
                    <a:pt x="69" y="40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54" y="87"/>
                    <a:pt x="54" y="87"/>
                    <a:pt x="54" y="87"/>
                  </a:cubicBezTo>
                  <a:lnTo>
                    <a:pt x="52" y="87"/>
                  </a:lnTo>
                  <a:close/>
                  <a:moveTo>
                    <a:pt x="56" y="90"/>
                  </a:moveTo>
                  <a:cubicBezTo>
                    <a:pt x="90" y="90"/>
                    <a:pt x="90" y="90"/>
                    <a:pt x="90" y="90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8" y="90"/>
                    <a:pt x="48" y="90"/>
                    <a:pt x="48" y="90"/>
                  </a:cubicBezTo>
                  <a:lnTo>
                    <a:pt x="56" y="9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06D93CFC-CDAE-429F-9EC9-E4B6B3F3B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6" y="331"/>
              <a:ext cx="35" cy="226"/>
            </a:xfrm>
            <a:custGeom>
              <a:avLst/>
              <a:gdLst>
                <a:gd name="T0" fmla="*/ 30 w 35"/>
                <a:gd name="T1" fmla="*/ 22 h 226"/>
                <a:gd name="T2" fmla="*/ 35 w 35"/>
                <a:gd name="T3" fmla="*/ 17 h 226"/>
                <a:gd name="T4" fmla="*/ 18 w 35"/>
                <a:gd name="T5" fmla="*/ 0 h 226"/>
                <a:gd name="T6" fmla="*/ 0 w 35"/>
                <a:gd name="T7" fmla="*/ 17 h 226"/>
                <a:gd name="T8" fmla="*/ 5 w 35"/>
                <a:gd name="T9" fmla="*/ 22 h 226"/>
                <a:gd name="T10" fmla="*/ 15 w 35"/>
                <a:gd name="T11" fmla="*/ 15 h 226"/>
                <a:gd name="T12" fmla="*/ 15 w 35"/>
                <a:gd name="T13" fmla="*/ 211 h 226"/>
                <a:gd name="T14" fmla="*/ 5 w 35"/>
                <a:gd name="T15" fmla="*/ 204 h 226"/>
                <a:gd name="T16" fmla="*/ 0 w 35"/>
                <a:gd name="T17" fmla="*/ 208 h 226"/>
                <a:gd name="T18" fmla="*/ 18 w 35"/>
                <a:gd name="T19" fmla="*/ 226 h 226"/>
                <a:gd name="T20" fmla="*/ 35 w 35"/>
                <a:gd name="T21" fmla="*/ 208 h 226"/>
                <a:gd name="T22" fmla="*/ 30 w 35"/>
                <a:gd name="T23" fmla="*/ 204 h 226"/>
                <a:gd name="T24" fmla="*/ 23 w 35"/>
                <a:gd name="T25" fmla="*/ 211 h 226"/>
                <a:gd name="T26" fmla="*/ 23 w 35"/>
                <a:gd name="T27" fmla="*/ 15 h 226"/>
                <a:gd name="T28" fmla="*/ 30 w 35"/>
                <a:gd name="T29" fmla="*/ 22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226">
                  <a:moveTo>
                    <a:pt x="30" y="22"/>
                  </a:moveTo>
                  <a:lnTo>
                    <a:pt x="35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5" y="22"/>
                  </a:lnTo>
                  <a:lnTo>
                    <a:pt x="15" y="15"/>
                  </a:lnTo>
                  <a:lnTo>
                    <a:pt x="15" y="211"/>
                  </a:lnTo>
                  <a:lnTo>
                    <a:pt x="5" y="204"/>
                  </a:lnTo>
                  <a:lnTo>
                    <a:pt x="0" y="208"/>
                  </a:lnTo>
                  <a:lnTo>
                    <a:pt x="18" y="226"/>
                  </a:lnTo>
                  <a:lnTo>
                    <a:pt x="35" y="208"/>
                  </a:lnTo>
                  <a:lnTo>
                    <a:pt x="30" y="204"/>
                  </a:lnTo>
                  <a:lnTo>
                    <a:pt x="23" y="211"/>
                  </a:lnTo>
                  <a:lnTo>
                    <a:pt x="23" y="15"/>
                  </a:lnTo>
                  <a:lnTo>
                    <a:pt x="30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87F09A05-993A-4057-8321-BCB424225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" y="562"/>
              <a:ext cx="223" cy="34"/>
            </a:xfrm>
            <a:custGeom>
              <a:avLst/>
              <a:gdLst>
                <a:gd name="T0" fmla="*/ 206 w 223"/>
                <a:gd name="T1" fmla="*/ 0 h 34"/>
                <a:gd name="T2" fmla="*/ 201 w 223"/>
                <a:gd name="T3" fmla="*/ 4 h 34"/>
                <a:gd name="T4" fmla="*/ 209 w 223"/>
                <a:gd name="T5" fmla="*/ 14 h 34"/>
                <a:gd name="T6" fmla="*/ 12 w 223"/>
                <a:gd name="T7" fmla="*/ 14 h 34"/>
                <a:gd name="T8" fmla="*/ 22 w 223"/>
                <a:gd name="T9" fmla="*/ 4 h 34"/>
                <a:gd name="T10" fmla="*/ 17 w 223"/>
                <a:gd name="T11" fmla="*/ 0 h 34"/>
                <a:gd name="T12" fmla="*/ 0 w 223"/>
                <a:gd name="T13" fmla="*/ 17 h 34"/>
                <a:gd name="T14" fmla="*/ 17 w 223"/>
                <a:gd name="T15" fmla="*/ 34 h 34"/>
                <a:gd name="T16" fmla="*/ 22 w 223"/>
                <a:gd name="T17" fmla="*/ 29 h 34"/>
                <a:gd name="T18" fmla="*/ 12 w 223"/>
                <a:gd name="T19" fmla="*/ 19 h 34"/>
                <a:gd name="T20" fmla="*/ 209 w 223"/>
                <a:gd name="T21" fmla="*/ 19 h 34"/>
                <a:gd name="T22" fmla="*/ 201 w 223"/>
                <a:gd name="T23" fmla="*/ 29 h 34"/>
                <a:gd name="T24" fmla="*/ 206 w 223"/>
                <a:gd name="T25" fmla="*/ 34 h 34"/>
                <a:gd name="T26" fmla="*/ 223 w 223"/>
                <a:gd name="T27" fmla="*/ 17 h 34"/>
                <a:gd name="T28" fmla="*/ 206 w 223"/>
                <a:gd name="T2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3" h="34">
                  <a:moveTo>
                    <a:pt x="206" y="0"/>
                  </a:moveTo>
                  <a:lnTo>
                    <a:pt x="201" y="4"/>
                  </a:lnTo>
                  <a:lnTo>
                    <a:pt x="209" y="14"/>
                  </a:lnTo>
                  <a:lnTo>
                    <a:pt x="12" y="14"/>
                  </a:lnTo>
                  <a:lnTo>
                    <a:pt x="22" y="4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4"/>
                  </a:lnTo>
                  <a:lnTo>
                    <a:pt x="22" y="29"/>
                  </a:lnTo>
                  <a:lnTo>
                    <a:pt x="12" y="19"/>
                  </a:lnTo>
                  <a:lnTo>
                    <a:pt x="209" y="19"/>
                  </a:lnTo>
                  <a:lnTo>
                    <a:pt x="201" y="29"/>
                  </a:lnTo>
                  <a:lnTo>
                    <a:pt x="206" y="34"/>
                  </a:lnTo>
                  <a:lnTo>
                    <a:pt x="223" y="17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9" name="Group 60">
            <a:extLst>
              <a:ext uri="{FF2B5EF4-FFF2-40B4-BE49-F238E27FC236}">
                <a16:creationId xmlns:a16="http://schemas.microsoft.com/office/drawing/2014/main" id="{4DD52450-9C45-4E01-93A4-535CF053C4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363" y="1595438"/>
            <a:ext cx="758825" cy="758825"/>
            <a:chOff x="5027" y="1005"/>
            <a:chExt cx="478" cy="478"/>
          </a:xfrm>
        </p:grpSpPr>
        <p:sp>
          <p:nvSpPr>
            <p:cNvPr id="90" name="AutoShape 59">
              <a:extLst>
                <a:ext uri="{FF2B5EF4-FFF2-40B4-BE49-F238E27FC236}">
                  <a16:creationId xmlns:a16="http://schemas.microsoft.com/office/drawing/2014/main" id="{C65874DF-35AA-40B6-89DC-5B26A0BBD29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27" y="10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1">
              <a:extLst>
                <a:ext uri="{FF2B5EF4-FFF2-40B4-BE49-F238E27FC236}">
                  <a16:creationId xmlns:a16="http://schemas.microsoft.com/office/drawing/2014/main" id="{94347295-E30D-4461-B046-52CF2D478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9" y="10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2">
              <a:extLst>
                <a:ext uri="{FF2B5EF4-FFF2-40B4-BE49-F238E27FC236}">
                  <a16:creationId xmlns:a16="http://schemas.microsoft.com/office/drawing/2014/main" id="{FCA6A422-0E13-4B39-B4C1-24D080F4B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2" y="1096"/>
              <a:ext cx="230" cy="299"/>
            </a:xfrm>
            <a:custGeom>
              <a:avLst/>
              <a:gdLst>
                <a:gd name="T0" fmla="*/ 52 w 94"/>
                <a:gd name="T1" fmla="*/ 49 h 122"/>
                <a:gd name="T2" fmla="*/ 49 w 94"/>
                <a:gd name="T3" fmla="*/ 52 h 122"/>
                <a:gd name="T4" fmla="*/ 45 w 94"/>
                <a:gd name="T5" fmla="*/ 61 h 122"/>
                <a:gd name="T6" fmla="*/ 44 w 94"/>
                <a:gd name="T7" fmla="*/ 50 h 122"/>
                <a:gd name="T8" fmla="*/ 33 w 94"/>
                <a:gd name="T9" fmla="*/ 49 h 122"/>
                <a:gd name="T10" fmla="*/ 42 w 94"/>
                <a:gd name="T11" fmla="*/ 45 h 122"/>
                <a:gd name="T12" fmla="*/ 45 w 94"/>
                <a:gd name="T13" fmla="*/ 42 h 122"/>
                <a:gd name="T14" fmla="*/ 49 w 94"/>
                <a:gd name="T15" fmla="*/ 33 h 122"/>
                <a:gd name="T16" fmla="*/ 50 w 94"/>
                <a:gd name="T17" fmla="*/ 44 h 122"/>
                <a:gd name="T18" fmla="*/ 61 w 94"/>
                <a:gd name="T19" fmla="*/ 45 h 122"/>
                <a:gd name="T20" fmla="*/ 63 w 94"/>
                <a:gd name="T21" fmla="*/ 40 h 122"/>
                <a:gd name="T22" fmla="*/ 54 w 94"/>
                <a:gd name="T23" fmla="*/ 31 h 122"/>
                <a:gd name="T24" fmla="*/ 52 w 94"/>
                <a:gd name="T25" fmla="*/ 28 h 122"/>
                <a:gd name="T26" fmla="*/ 41 w 94"/>
                <a:gd name="T27" fmla="*/ 29 h 122"/>
                <a:gd name="T28" fmla="*/ 40 w 94"/>
                <a:gd name="T29" fmla="*/ 40 h 122"/>
                <a:gd name="T30" fmla="*/ 29 w 94"/>
                <a:gd name="T31" fmla="*/ 41 h 122"/>
                <a:gd name="T32" fmla="*/ 28 w 94"/>
                <a:gd name="T33" fmla="*/ 52 h 122"/>
                <a:gd name="T34" fmla="*/ 31 w 94"/>
                <a:gd name="T35" fmla="*/ 54 h 122"/>
                <a:gd name="T36" fmla="*/ 40 w 94"/>
                <a:gd name="T37" fmla="*/ 63 h 122"/>
                <a:gd name="T38" fmla="*/ 42 w 94"/>
                <a:gd name="T39" fmla="*/ 66 h 122"/>
                <a:gd name="T40" fmla="*/ 53 w 94"/>
                <a:gd name="T41" fmla="*/ 65 h 122"/>
                <a:gd name="T42" fmla="*/ 54 w 94"/>
                <a:gd name="T43" fmla="*/ 54 h 122"/>
                <a:gd name="T44" fmla="*/ 65 w 94"/>
                <a:gd name="T45" fmla="*/ 53 h 122"/>
                <a:gd name="T46" fmla="*/ 66 w 94"/>
                <a:gd name="T47" fmla="*/ 42 h 122"/>
                <a:gd name="T48" fmla="*/ 63 w 94"/>
                <a:gd name="T49" fmla="*/ 40 h 122"/>
                <a:gd name="T50" fmla="*/ 19 w 94"/>
                <a:gd name="T51" fmla="*/ 47 h 122"/>
                <a:gd name="T52" fmla="*/ 75 w 94"/>
                <a:gd name="T53" fmla="*/ 47 h 122"/>
                <a:gd name="T54" fmla="*/ 47 w 94"/>
                <a:gd name="T55" fmla="*/ 14 h 122"/>
                <a:gd name="T56" fmla="*/ 47 w 94"/>
                <a:gd name="T57" fmla="*/ 80 h 122"/>
                <a:gd name="T58" fmla="*/ 47 w 94"/>
                <a:gd name="T59" fmla="*/ 14 h 122"/>
                <a:gd name="T60" fmla="*/ 52 w 94"/>
                <a:gd name="T61" fmla="*/ 111 h 122"/>
                <a:gd name="T62" fmla="*/ 42 w 94"/>
                <a:gd name="T63" fmla="*/ 111 h 122"/>
                <a:gd name="T64" fmla="*/ 47 w 94"/>
                <a:gd name="T65" fmla="*/ 5 h 122"/>
                <a:gd name="T66" fmla="*/ 67 w 94"/>
                <a:gd name="T67" fmla="*/ 93 h 122"/>
                <a:gd name="T68" fmla="*/ 0 w 94"/>
                <a:gd name="T69" fmla="*/ 47 h 122"/>
                <a:gd name="T70" fmla="*/ 45 w 94"/>
                <a:gd name="T71" fmla="*/ 121 h 122"/>
                <a:gd name="T72" fmla="*/ 49 w 94"/>
                <a:gd name="T73" fmla="*/ 121 h 122"/>
                <a:gd name="T74" fmla="*/ 94 w 94"/>
                <a:gd name="T75" fmla="*/ 4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4" h="122">
                  <a:moveTo>
                    <a:pt x="61" y="49"/>
                  </a:moveTo>
                  <a:cubicBezTo>
                    <a:pt x="52" y="49"/>
                    <a:pt x="52" y="49"/>
                    <a:pt x="52" y="49"/>
                  </a:cubicBezTo>
                  <a:cubicBezTo>
                    <a:pt x="51" y="49"/>
                    <a:pt x="50" y="50"/>
                    <a:pt x="50" y="50"/>
                  </a:cubicBezTo>
                  <a:cubicBezTo>
                    <a:pt x="50" y="50"/>
                    <a:pt x="49" y="51"/>
                    <a:pt x="49" y="52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51"/>
                    <a:pt x="44" y="50"/>
                    <a:pt x="44" y="50"/>
                  </a:cubicBezTo>
                  <a:cubicBezTo>
                    <a:pt x="44" y="50"/>
                    <a:pt x="43" y="49"/>
                    <a:pt x="42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3" y="45"/>
                    <a:pt x="44" y="44"/>
                    <a:pt x="44" y="44"/>
                  </a:cubicBezTo>
                  <a:cubicBezTo>
                    <a:pt x="44" y="44"/>
                    <a:pt x="45" y="43"/>
                    <a:pt x="45" y="4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3"/>
                    <a:pt x="50" y="44"/>
                    <a:pt x="50" y="44"/>
                  </a:cubicBezTo>
                  <a:cubicBezTo>
                    <a:pt x="51" y="44"/>
                    <a:pt x="51" y="45"/>
                    <a:pt x="52" y="45"/>
                  </a:cubicBezTo>
                  <a:cubicBezTo>
                    <a:pt x="61" y="45"/>
                    <a:pt x="61" y="45"/>
                    <a:pt x="61" y="45"/>
                  </a:cubicBezTo>
                  <a:lnTo>
                    <a:pt x="61" y="49"/>
                  </a:lnTo>
                  <a:close/>
                  <a:moveTo>
                    <a:pt x="63" y="40"/>
                  </a:moveTo>
                  <a:cubicBezTo>
                    <a:pt x="54" y="40"/>
                    <a:pt x="54" y="40"/>
                    <a:pt x="54" y="4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9"/>
                    <a:pt x="52" y="28"/>
                    <a:pt x="5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0" y="40"/>
                    <a:pt x="29" y="40"/>
                    <a:pt x="29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3"/>
                    <a:pt x="29" y="53"/>
                  </a:cubicBezTo>
                  <a:cubicBezTo>
                    <a:pt x="29" y="54"/>
                    <a:pt x="30" y="54"/>
                    <a:pt x="31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4"/>
                    <a:pt x="40" y="65"/>
                    <a:pt x="41" y="65"/>
                  </a:cubicBezTo>
                  <a:cubicBezTo>
                    <a:pt x="41" y="65"/>
                    <a:pt x="42" y="66"/>
                    <a:pt x="42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3" y="65"/>
                    <a:pt x="53" y="65"/>
                  </a:cubicBezTo>
                  <a:cubicBezTo>
                    <a:pt x="54" y="65"/>
                    <a:pt x="54" y="64"/>
                    <a:pt x="54" y="63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4" y="54"/>
                    <a:pt x="65" y="54"/>
                    <a:pt x="65" y="53"/>
                  </a:cubicBezTo>
                  <a:cubicBezTo>
                    <a:pt x="66" y="53"/>
                    <a:pt x="66" y="52"/>
                    <a:pt x="66" y="5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1"/>
                    <a:pt x="65" y="41"/>
                  </a:cubicBezTo>
                  <a:cubicBezTo>
                    <a:pt x="65" y="40"/>
                    <a:pt x="64" y="40"/>
                    <a:pt x="63" y="40"/>
                  </a:cubicBezTo>
                  <a:moveTo>
                    <a:pt x="47" y="75"/>
                  </a:moveTo>
                  <a:cubicBezTo>
                    <a:pt x="31" y="75"/>
                    <a:pt x="19" y="62"/>
                    <a:pt x="19" y="47"/>
                  </a:cubicBezTo>
                  <a:cubicBezTo>
                    <a:pt x="19" y="32"/>
                    <a:pt x="31" y="19"/>
                    <a:pt x="47" y="19"/>
                  </a:cubicBezTo>
                  <a:cubicBezTo>
                    <a:pt x="63" y="19"/>
                    <a:pt x="75" y="32"/>
                    <a:pt x="75" y="47"/>
                  </a:cubicBezTo>
                  <a:cubicBezTo>
                    <a:pt x="75" y="62"/>
                    <a:pt x="63" y="75"/>
                    <a:pt x="47" y="75"/>
                  </a:cubicBezTo>
                  <a:moveTo>
                    <a:pt x="47" y="14"/>
                  </a:moveTo>
                  <a:cubicBezTo>
                    <a:pt x="29" y="14"/>
                    <a:pt x="14" y="29"/>
                    <a:pt x="14" y="47"/>
                  </a:cubicBezTo>
                  <a:cubicBezTo>
                    <a:pt x="14" y="65"/>
                    <a:pt x="29" y="80"/>
                    <a:pt x="47" y="80"/>
                  </a:cubicBezTo>
                  <a:cubicBezTo>
                    <a:pt x="65" y="80"/>
                    <a:pt x="80" y="65"/>
                    <a:pt x="80" y="47"/>
                  </a:cubicBezTo>
                  <a:cubicBezTo>
                    <a:pt x="80" y="29"/>
                    <a:pt x="65" y="14"/>
                    <a:pt x="47" y="14"/>
                  </a:cubicBezTo>
                  <a:moveTo>
                    <a:pt x="67" y="93"/>
                  </a:moveTo>
                  <a:cubicBezTo>
                    <a:pt x="62" y="100"/>
                    <a:pt x="56" y="106"/>
                    <a:pt x="52" y="111"/>
                  </a:cubicBezTo>
                  <a:cubicBezTo>
                    <a:pt x="50" y="113"/>
                    <a:pt x="48" y="115"/>
                    <a:pt x="47" y="116"/>
                  </a:cubicBezTo>
                  <a:cubicBezTo>
                    <a:pt x="46" y="115"/>
                    <a:pt x="44" y="113"/>
                    <a:pt x="42" y="111"/>
                  </a:cubicBezTo>
                  <a:cubicBezTo>
                    <a:pt x="29" y="98"/>
                    <a:pt x="5" y="68"/>
                    <a:pt x="5" y="47"/>
                  </a:cubicBezTo>
                  <a:cubicBezTo>
                    <a:pt x="5" y="24"/>
                    <a:pt x="24" y="5"/>
                    <a:pt x="47" y="5"/>
                  </a:cubicBezTo>
                  <a:cubicBezTo>
                    <a:pt x="70" y="5"/>
                    <a:pt x="89" y="24"/>
                    <a:pt x="89" y="47"/>
                  </a:cubicBezTo>
                  <a:cubicBezTo>
                    <a:pt x="89" y="61"/>
                    <a:pt x="79" y="79"/>
                    <a:pt x="67" y="93"/>
                  </a:cubicBezTo>
                  <a:moveTo>
                    <a:pt x="47" y="0"/>
                  </a:moveTo>
                  <a:cubicBezTo>
                    <a:pt x="21" y="0"/>
                    <a:pt x="0" y="21"/>
                    <a:pt x="0" y="47"/>
                  </a:cubicBezTo>
                  <a:cubicBezTo>
                    <a:pt x="0" y="63"/>
                    <a:pt x="12" y="81"/>
                    <a:pt x="23" y="96"/>
                  </a:cubicBezTo>
                  <a:cubicBezTo>
                    <a:pt x="34" y="110"/>
                    <a:pt x="45" y="121"/>
                    <a:pt x="45" y="121"/>
                  </a:cubicBezTo>
                  <a:cubicBezTo>
                    <a:pt x="46" y="121"/>
                    <a:pt x="46" y="122"/>
                    <a:pt x="47" y="122"/>
                  </a:cubicBezTo>
                  <a:cubicBezTo>
                    <a:pt x="48" y="122"/>
                    <a:pt x="48" y="121"/>
                    <a:pt x="49" y="121"/>
                  </a:cubicBezTo>
                  <a:cubicBezTo>
                    <a:pt x="49" y="121"/>
                    <a:pt x="60" y="110"/>
                    <a:pt x="71" y="96"/>
                  </a:cubicBezTo>
                  <a:cubicBezTo>
                    <a:pt x="82" y="81"/>
                    <a:pt x="94" y="63"/>
                    <a:pt x="94" y="47"/>
                  </a:cubicBezTo>
                  <a:cubicBezTo>
                    <a:pt x="94" y="21"/>
                    <a:pt x="73" y="0"/>
                    <a:pt x="4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65">
            <a:extLst>
              <a:ext uri="{FF2B5EF4-FFF2-40B4-BE49-F238E27FC236}">
                <a16:creationId xmlns:a16="http://schemas.microsoft.com/office/drawing/2014/main" id="{6DDC45AA-050C-46EE-BB21-7FDBDA2204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0088" y="1554163"/>
            <a:ext cx="841375" cy="841375"/>
            <a:chOff x="4441" y="979"/>
            <a:chExt cx="530" cy="530"/>
          </a:xfrm>
        </p:grpSpPr>
        <p:sp>
          <p:nvSpPr>
            <p:cNvPr id="94" name="AutoShape 64">
              <a:extLst>
                <a:ext uri="{FF2B5EF4-FFF2-40B4-BE49-F238E27FC236}">
                  <a16:creationId xmlns:a16="http://schemas.microsoft.com/office/drawing/2014/main" id="{035CD44F-837A-47DE-9D70-E81FB1C348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1" y="9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Oval 66">
              <a:extLst>
                <a:ext uri="{FF2B5EF4-FFF2-40B4-BE49-F238E27FC236}">
                  <a16:creationId xmlns:a16="http://schemas.microsoft.com/office/drawing/2014/main" id="{9A28B3B7-8AE5-406E-9DCD-1EB08F679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" y="9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7">
              <a:extLst>
                <a:ext uri="{FF2B5EF4-FFF2-40B4-BE49-F238E27FC236}">
                  <a16:creationId xmlns:a16="http://schemas.microsoft.com/office/drawing/2014/main" id="{4D93B846-A660-409B-918A-B13FBF159D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9" y="9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8">
              <a:extLst>
                <a:ext uri="{FF2B5EF4-FFF2-40B4-BE49-F238E27FC236}">
                  <a16:creationId xmlns:a16="http://schemas.microsoft.com/office/drawing/2014/main" id="{4D38E6D0-BC40-4EE4-9DCD-C97A55B6E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7" y="1089"/>
              <a:ext cx="241" cy="312"/>
            </a:xfrm>
            <a:custGeom>
              <a:avLst/>
              <a:gdLst>
                <a:gd name="T0" fmla="*/ 52 w 94"/>
                <a:gd name="T1" fmla="*/ 49 h 122"/>
                <a:gd name="T2" fmla="*/ 49 w 94"/>
                <a:gd name="T3" fmla="*/ 52 h 122"/>
                <a:gd name="T4" fmla="*/ 45 w 94"/>
                <a:gd name="T5" fmla="*/ 61 h 122"/>
                <a:gd name="T6" fmla="*/ 44 w 94"/>
                <a:gd name="T7" fmla="*/ 50 h 122"/>
                <a:gd name="T8" fmla="*/ 33 w 94"/>
                <a:gd name="T9" fmla="*/ 49 h 122"/>
                <a:gd name="T10" fmla="*/ 42 w 94"/>
                <a:gd name="T11" fmla="*/ 45 h 122"/>
                <a:gd name="T12" fmla="*/ 45 w 94"/>
                <a:gd name="T13" fmla="*/ 42 h 122"/>
                <a:gd name="T14" fmla="*/ 49 w 94"/>
                <a:gd name="T15" fmla="*/ 33 h 122"/>
                <a:gd name="T16" fmla="*/ 50 w 94"/>
                <a:gd name="T17" fmla="*/ 44 h 122"/>
                <a:gd name="T18" fmla="*/ 61 w 94"/>
                <a:gd name="T19" fmla="*/ 45 h 122"/>
                <a:gd name="T20" fmla="*/ 63 w 94"/>
                <a:gd name="T21" fmla="*/ 40 h 122"/>
                <a:gd name="T22" fmla="*/ 54 w 94"/>
                <a:gd name="T23" fmla="*/ 31 h 122"/>
                <a:gd name="T24" fmla="*/ 52 w 94"/>
                <a:gd name="T25" fmla="*/ 28 h 122"/>
                <a:gd name="T26" fmla="*/ 41 w 94"/>
                <a:gd name="T27" fmla="*/ 29 h 122"/>
                <a:gd name="T28" fmla="*/ 40 w 94"/>
                <a:gd name="T29" fmla="*/ 40 h 122"/>
                <a:gd name="T30" fmla="*/ 29 w 94"/>
                <a:gd name="T31" fmla="*/ 41 h 122"/>
                <a:gd name="T32" fmla="*/ 28 w 94"/>
                <a:gd name="T33" fmla="*/ 52 h 122"/>
                <a:gd name="T34" fmla="*/ 31 w 94"/>
                <a:gd name="T35" fmla="*/ 54 h 122"/>
                <a:gd name="T36" fmla="*/ 40 w 94"/>
                <a:gd name="T37" fmla="*/ 63 h 122"/>
                <a:gd name="T38" fmla="*/ 42 w 94"/>
                <a:gd name="T39" fmla="*/ 66 h 122"/>
                <a:gd name="T40" fmla="*/ 53 w 94"/>
                <a:gd name="T41" fmla="*/ 65 h 122"/>
                <a:gd name="T42" fmla="*/ 54 w 94"/>
                <a:gd name="T43" fmla="*/ 54 h 122"/>
                <a:gd name="T44" fmla="*/ 65 w 94"/>
                <a:gd name="T45" fmla="*/ 53 h 122"/>
                <a:gd name="T46" fmla="*/ 66 w 94"/>
                <a:gd name="T47" fmla="*/ 42 h 122"/>
                <a:gd name="T48" fmla="*/ 63 w 94"/>
                <a:gd name="T49" fmla="*/ 40 h 122"/>
                <a:gd name="T50" fmla="*/ 19 w 94"/>
                <a:gd name="T51" fmla="*/ 47 h 122"/>
                <a:gd name="T52" fmla="*/ 75 w 94"/>
                <a:gd name="T53" fmla="*/ 47 h 122"/>
                <a:gd name="T54" fmla="*/ 47 w 94"/>
                <a:gd name="T55" fmla="*/ 14 h 122"/>
                <a:gd name="T56" fmla="*/ 47 w 94"/>
                <a:gd name="T57" fmla="*/ 80 h 122"/>
                <a:gd name="T58" fmla="*/ 47 w 94"/>
                <a:gd name="T59" fmla="*/ 14 h 122"/>
                <a:gd name="T60" fmla="*/ 52 w 94"/>
                <a:gd name="T61" fmla="*/ 111 h 122"/>
                <a:gd name="T62" fmla="*/ 42 w 94"/>
                <a:gd name="T63" fmla="*/ 111 h 122"/>
                <a:gd name="T64" fmla="*/ 47 w 94"/>
                <a:gd name="T65" fmla="*/ 5 h 122"/>
                <a:gd name="T66" fmla="*/ 67 w 94"/>
                <a:gd name="T67" fmla="*/ 93 h 122"/>
                <a:gd name="T68" fmla="*/ 0 w 94"/>
                <a:gd name="T69" fmla="*/ 47 h 122"/>
                <a:gd name="T70" fmla="*/ 45 w 94"/>
                <a:gd name="T71" fmla="*/ 121 h 122"/>
                <a:gd name="T72" fmla="*/ 49 w 94"/>
                <a:gd name="T73" fmla="*/ 121 h 122"/>
                <a:gd name="T74" fmla="*/ 94 w 94"/>
                <a:gd name="T75" fmla="*/ 4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4" h="122">
                  <a:moveTo>
                    <a:pt x="61" y="49"/>
                  </a:moveTo>
                  <a:cubicBezTo>
                    <a:pt x="52" y="49"/>
                    <a:pt x="52" y="49"/>
                    <a:pt x="52" y="49"/>
                  </a:cubicBezTo>
                  <a:cubicBezTo>
                    <a:pt x="51" y="49"/>
                    <a:pt x="50" y="50"/>
                    <a:pt x="50" y="50"/>
                  </a:cubicBezTo>
                  <a:cubicBezTo>
                    <a:pt x="50" y="50"/>
                    <a:pt x="49" y="51"/>
                    <a:pt x="49" y="52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51"/>
                    <a:pt x="44" y="50"/>
                    <a:pt x="44" y="50"/>
                  </a:cubicBezTo>
                  <a:cubicBezTo>
                    <a:pt x="44" y="50"/>
                    <a:pt x="43" y="49"/>
                    <a:pt x="42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3" y="45"/>
                    <a:pt x="44" y="44"/>
                    <a:pt x="44" y="44"/>
                  </a:cubicBezTo>
                  <a:cubicBezTo>
                    <a:pt x="44" y="44"/>
                    <a:pt x="45" y="43"/>
                    <a:pt x="45" y="4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3"/>
                    <a:pt x="50" y="44"/>
                    <a:pt x="50" y="44"/>
                  </a:cubicBezTo>
                  <a:cubicBezTo>
                    <a:pt x="51" y="44"/>
                    <a:pt x="51" y="45"/>
                    <a:pt x="52" y="45"/>
                  </a:cubicBezTo>
                  <a:cubicBezTo>
                    <a:pt x="61" y="45"/>
                    <a:pt x="61" y="45"/>
                    <a:pt x="61" y="45"/>
                  </a:cubicBezTo>
                  <a:lnTo>
                    <a:pt x="61" y="49"/>
                  </a:lnTo>
                  <a:close/>
                  <a:moveTo>
                    <a:pt x="63" y="40"/>
                  </a:moveTo>
                  <a:cubicBezTo>
                    <a:pt x="54" y="40"/>
                    <a:pt x="54" y="40"/>
                    <a:pt x="54" y="4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9"/>
                    <a:pt x="52" y="28"/>
                    <a:pt x="5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0" y="40"/>
                    <a:pt x="29" y="40"/>
                    <a:pt x="29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3"/>
                    <a:pt x="29" y="53"/>
                  </a:cubicBezTo>
                  <a:cubicBezTo>
                    <a:pt x="29" y="54"/>
                    <a:pt x="30" y="54"/>
                    <a:pt x="31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4"/>
                    <a:pt x="40" y="65"/>
                    <a:pt x="41" y="65"/>
                  </a:cubicBezTo>
                  <a:cubicBezTo>
                    <a:pt x="41" y="65"/>
                    <a:pt x="42" y="66"/>
                    <a:pt x="42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3" y="65"/>
                    <a:pt x="53" y="65"/>
                  </a:cubicBezTo>
                  <a:cubicBezTo>
                    <a:pt x="54" y="65"/>
                    <a:pt x="54" y="64"/>
                    <a:pt x="54" y="63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4" y="54"/>
                    <a:pt x="65" y="54"/>
                    <a:pt x="65" y="53"/>
                  </a:cubicBezTo>
                  <a:cubicBezTo>
                    <a:pt x="66" y="53"/>
                    <a:pt x="66" y="52"/>
                    <a:pt x="66" y="5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1"/>
                    <a:pt x="65" y="41"/>
                  </a:cubicBezTo>
                  <a:cubicBezTo>
                    <a:pt x="65" y="40"/>
                    <a:pt x="64" y="40"/>
                    <a:pt x="63" y="40"/>
                  </a:cubicBezTo>
                  <a:moveTo>
                    <a:pt x="47" y="75"/>
                  </a:moveTo>
                  <a:cubicBezTo>
                    <a:pt x="31" y="75"/>
                    <a:pt x="19" y="62"/>
                    <a:pt x="19" y="47"/>
                  </a:cubicBezTo>
                  <a:cubicBezTo>
                    <a:pt x="19" y="32"/>
                    <a:pt x="31" y="19"/>
                    <a:pt x="47" y="19"/>
                  </a:cubicBezTo>
                  <a:cubicBezTo>
                    <a:pt x="63" y="19"/>
                    <a:pt x="75" y="32"/>
                    <a:pt x="75" y="47"/>
                  </a:cubicBezTo>
                  <a:cubicBezTo>
                    <a:pt x="75" y="62"/>
                    <a:pt x="63" y="75"/>
                    <a:pt x="47" y="75"/>
                  </a:cubicBezTo>
                  <a:moveTo>
                    <a:pt x="47" y="14"/>
                  </a:moveTo>
                  <a:cubicBezTo>
                    <a:pt x="29" y="14"/>
                    <a:pt x="14" y="29"/>
                    <a:pt x="14" y="47"/>
                  </a:cubicBezTo>
                  <a:cubicBezTo>
                    <a:pt x="14" y="65"/>
                    <a:pt x="29" y="80"/>
                    <a:pt x="47" y="80"/>
                  </a:cubicBezTo>
                  <a:cubicBezTo>
                    <a:pt x="65" y="80"/>
                    <a:pt x="80" y="65"/>
                    <a:pt x="80" y="47"/>
                  </a:cubicBezTo>
                  <a:cubicBezTo>
                    <a:pt x="80" y="29"/>
                    <a:pt x="65" y="14"/>
                    <a:pt x="47" y="14"/>
                  </a:cubicBezTo>
                  <a:moveTo>
                    <a:pt x="67" y="93"/>
                  </a:moveTo>
                  <a:cubicBezTo>
                    <a:pt x="62" y="100"/>
                    <a:pt x="56" y="106"/>
                    <a:pt x="52" y="111"/>
                  </a:cubicBezTo>
                  <a:cubicBezTo>
                    <a:pt x="50" y="113"/>
                    <a:pt x="48" y="115"/>
                    <a:pt x="47" y="116"/>
                  </a:cubicBezTo>
                  <a:cubicBezTo>
                    <a:pt x="46" y="115"/>
                    <a:pt x="44" y="113"/>
                    <a:pt x="42" y="111"/>
                  </a:cubicBezTo>
                  <a:cubicBezTo>
                    <a:pt x="29" y="98"/>
                    <a:pt x="5" y="68"/>
                    <a:pt x="5" y="47"/>
                  </a:cubicBezTo>
                  <a:cubicBezTo>
                    <a:pt x="5" y="24"/>
                    <a:pt x="24" y="5"/>
                    <a:pt x="47" y="5"/>
                  </a:cubicBezTo>
                  <a:cubicBezTo>
                    <a:pt x="70" y="5"/>
                    <a:pt x="89" y="24"/>
                    <a:pt x="89" y="47"/>
                  </a:cubicBezTo>
                  <a:cubicBezTo>
                    <a:pt x="89" y="61"/>
                    <a:pt x="79" y="79"/>
                    <a:pt x="67" y="93"/>
                  </a:cubicBezTo>
                  <a:moveTo>
                    <a:pt x="47" y="0"/>
                  </a:moveTo>
                  <a:cubicBezTo>
                    <a:pt x="21" y="0"/>
                    <a:pt x="0" y="21"/>
                    <a:pt x="0" y="47"/>
                  </a:cubicBezTo>
                  <a:cubicBezTo>
                    <a:pt x="0" y="63"/>
                    <a:pt x="12" y="81"/>
                    <a:pt x="23" y="96"/>
                  </a:cubicBezTo>
                  <a:cubicBezTo>
                    <a:pt x="34" y="110"/>
                    <a:pt x="45" y="121"/>
                    <a:pt x="45" y="121"/>
                  </a:cubicBezTo>
                  <a:cubicBezTo>
                    <a:pt x="46" y="121"/>
                    <a:pt x="46" y="122"/>
                    <a:pt x="47" y="122"/>
                  </a:cubicBezTo>
                  <a:cubicBezTo>
                    <a:pt x="48" y="122"/>
                    <a:pt x="48" y="121"/>
                    <a:pt x="49" y="121"/>
                  </a:cubicBezTo>
                  <a:cubicBezTo>
                    <a:pt x="49" y="121"/>
                    <a:pt x="60" y="110"/>
                    <a:pt x="71" y="96"/>
                  </a:cubicBezTo>
                  <a:cubicBezTo>
                    <a:pt x="82" y="81"/>
                    <a:pt x="94" y="63"/>
                    <a:pt x="94" y="47"/>
                  </a:cubicBezTo>
                  <a:cubicBezTo>
                    <a:pt x="94" y="21"/>
                    <a:pt x="73" y="0"/>
                    <a:pt x="4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71">
            <a:extLst>
              <a:ext uri="{FF2B5EF4-FFF2-40B4-BE49-F238E27FC236}">
                <a16:creationId xmlns:a16="http://schemas.microsoft.com/office/drawing/2014/main" id="{24AABA0B-B637-4016-A669-376E947C38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6763" y="1595438"/>
            <a:ext cx="758825" cy="758825"/>
            <a:chOff x="3683" y="1005"/>
            <a:chExt cx="478" cy="478"/>
          </a:xfrm>
        </p:grpSpPr>
        <p:sp>
          <p:nvSpPr>
            <p:cNvPr id="99" name="AutoShape 70">
              <a:extLst>
                <a:ext uri="{FF2B5EF4-FFF2-40B4-BE49-F238E27FC236}">
                  <a16:creationId xmlns:a16="http://schemas.microsoft.com/office/drawing/2014/main" id="{8F9C970D-8C3A-4F23-BC3F-8206A76DBC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3" y="10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72">
              <a:extLst>
                <a:ext uri="{FF2B5EF4-FFF2-40B4-BE49-F238E27FC236}">
                  <a16:creationId xmlns:a16="http://schemas.microsoft.com/office/drawing/2014/main" id="{F739652E-90CF-4236-83C1-D3AAE24A1B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" y="10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3">
              <a:extLst>
                <a:ext uri="{FF2B5EF4-FFF2-40B4-BE49-F238E27FC236}">
                  <a16:creationId xmlns:a16="http://schemas.microsoft.com/office/drawing/2014/main" id="{2BB17C31-D995-4F81-A7FE-31FB6FEA3E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" y="1101"/>
              <a:ext cx="304" cy="269"/>
            </a:xfrm>
            <a:custGeom>
              <a:avLst/>
              <a:gdLst>
                <a:gd name="T0" fmla="*/ 42 w 304"/>
                <a:gd name="T1" fmla="*/ 36 h 269"/>
                <a:gd name="T2" fmla="*/ 35 w 304"/>
                <a:gd name="T3" fmla="*/ 54 h 269"/>
                <a:gd name="T4" fmla="*/ 44 w 304"/>
                <a:gd name="T5" fmla="*/ 51 h 269"/>
                <a:gd name="T6" fmla="*/ 64 w 304"/>
                <a:gd name="T7" fmla="*/ 36 h 269"/>
                <a:gd name="T8" fmla="*/ 93 w 304"/>
                <a:gd name="T9" fmla="*/ 46 h 269"/>
                <a:gd name="T10" fmla="*/ 101 w 304"/>
                <a:gd name="T11" fmla="*/ 80 h 269"/>
                <a:gd name="T12" fmla="*/ 74 w 304"/>
                <a:gd name="T13" fmla="*/ 100 h 269"/>
                <a:gd name="T14" fmla="*/ 47 w 304"/>
                <a:gd name="T15" fmla="*/ 90 h 269"/>
                <a:gd name="T16" fmla="*/ 37 w 304"/>
                <a:gd name="T17" fmla="*/ 71 h 269"/>
                <a:gd name="T18" fmla="*/ 27 w 304"/>
                <a:gd name="T19" fmla="*/ 76 h 269"/>
                <a:gd name="T20" fmla="*/ 52 w 304"/>
                <a:gd name="T21" fmla="*/ 107 h 269"/>
                <a:gd name="T22" fmla="*/ 91 w 304"/>
                <a:gd name="T23" fmla="*/ 105 h 269"/>
                <a:gd name="T24" fmla="*/ 111 w 304"/>
                <a:gd name="T25" fmla="*/ 85 h 269"/>
                <a:gd name="T26" fmla="*/ 113 w 304"/>
                <a:gd name="T27" fmla="*/ 61 h 269"/>
                <a:gd name="T28" fmla="*/ 103 w 304"/>
                <a:gd name="T29" fmla="*/ 39 h 269"/>
                <a:gd name="T30" fmla="*/ 81 w 304"/>
                <a:gd name="T31" fmla="*/ 27 h 269"/>
                <a:gd name="T32" fmla="*/ 86 w 304"/>
                <a:gd name="T33" fmla="*/ 193 h 269"/>
                <a:gd name="T34" fmla="*/ 69 w 304"/>
                <a:gd name="T35" fmla="*/ 213 h 269"/>
                <a:gd name="T36" fmla="*/ 125 w 304"/>
                <a:gd name="T37" fmla="*/ 125 h 269"/>
                <a:gd name="T38" fmla="*/ 187 w 304"/>
                <a:gd name="T39" fmla="*/ 125 h 269"/>
                <a:gd name="T40" fmla="*/ 160 w 304"/>
                <a:gd name="T41" fmla="*/ 149 h 269"/>
                <a:gd name="T42" fmla="*/ 164 w 304"/>
                <a:gd name="T43" fmla="*/ 223 h 269"/>
                <a:gd name="T44" fmla="*/ 172 w 304"/>
                <a:gd name="T45" fmla="*/ 149 h 269"/>
                <a:gd name="T46" fmla="*/ 191 w 304"/>
                <a:gd name="T47" fmla="*/ 134 h 269"/>
                <a:gd name="T48" fmla="*/ 182 w 304"/>
                <a:gd name="T49" fmla="*/ 142 h 269"/>
                <a:gd name="T50" fmla="*/ 150 w 304"/>
                <a:gd name="T51" fmla="*/ 147 h 269"/>
                <a:gd name="T52" fmla="*/ 236 w 304"/>
                <a:gd name="T53" fmla="*/ 132 h 269"/>
                <a:gd name="T54" fmla="*/ 236 w 304"/>
                <a:gd name="T55" fmla="*/ 122 h 269"/>
                <a:gd name="T56" fmla="*/ 270 w 304"/>
                <a:gd name="T57" fmla="*/ 105 h 269"/>
                <a:gd name="T58" fmla="*/ 20 w 304"/>
                <a:gd name="T59" fmla="*/ 103 h 269"/>
                <a:gd name="T60" fmla="*/ 12 w 304"/>
                <a:gd name="T61" fmla="*/ 61 h 269"/>
                <a:gd name="T62" fmla="*/ 27 w 304"/>
                <a:gd name="T63" fmla="*/ 29 h 269"/>
                <a:gd name="T64" fmla="*/ 57 w 304"/>
                <a:gd name="T65" fmla="*/ 12 h 269"/>
                <a:gd name="T66" fmla="*/ 88 w 304"/>
                <a:gd name="T67" fmla="*/ 12 h 269"/>
                <a:gd name="T68" fmla="*/ 113 w 304"/>
                <a:gd name="T69" fmla="*/ 27 h 269"/>
                <a:gd name="T70" fmla="*/ 128 w 304"/>
                <a:gd name="T71" fmla="*/ 54 h 269"/>
                <a:gd name="T72" fmla="*/ 125 w 304"/>
                <a:gd name="T73" fmla="*/ 93 h 269"/>
                <a:gd name="T74" fmla="*/ 71 w 304"/>
                <a:gd name="T75" fmla="*/ 198 h 269"/>
                <a:gd name="T76" fmla="*/ 35 w 304"/>
                <a:gd name="T77" fmla="*/ 9 h 269"/>
                <a:gd name="T78" fmla="*/ 8 w 304"/>
                <a:gd name="T79" fmla="*/ 39 h 269"/>
                <a:gd name="T80" fmla="*/ 0 w 304"/>
                <a:gd name="T81" fmla="*/ 80 h 269"/>
                <a:gd name="T82" fmla="*/ 35 w 304"/>
                <a:gd name="T83" fmla="*/ 159 h 269"/>
                <a:gd name="T84" fmla="*/ 54 w 304"/>
                <a:gd name="T85" fmla="*/ 206 h 269"/>
                <a:gd name="T86" fmla="*/ 275 w 304"/>
                <a:gd name="T87" fmla="*/ 242 h 269"/>
                <a:gd name="T88" fmla="*/ 280 w 304"/>
                <a:gd name="T89" fmla="*/ 80 h 269"/>
                <a:gd name="T90" fmla="*/ 270 w 304"/>
                <a:gd name="T91" fmla="*/ 63 h 269"/>
                <a:gd name="T92" fmla="*/ 292 w 304"/>
                <a:gd name="T93" fmla="*/ 78 h 269"/>
                <a:gd name="T94" fmla="*/ 290 w 304"/>
                <a:gd name="T95" fmla="*/ 250 h 269"/>
                <a:gd name="T96" fmla="*/ 59 w 304"/>
                <a:gd name="T97" fmla="*/ 259 h 269"/>
                <a:gd name="T98" fmla="*/ 42 w 304"/>
                <a:gd name="T99" fmla="*/ 240 h 269"/>
                <a:gd name="T100" fmla="*/ 35 w 304"/>
                <a:gd name="T101" fmla="*/ 174 h 269"/>
                <a:gd name="T102" fmla="*/ 32 w 304"/>
                <a:gd name="T103" fmla="*/ 247 h 269"/>
                <a:gd name="T104" fmla="*/ 59 w 304"/>
                <a:gd name="T105" fmla="*/ 269 h 269"/>
                <a:gd name="T106" fmla="*/ 294 w 304"/>
                <a:gd name="T107" fmla="*/ 259 h 269"/>
                <a:gd name="T108" fmla="*/ 304 w 304"/>
                <a:gd name="T109" fmla="*/ 76 h 269"/>
                <a:gd name="T110" fmla="*/ 275 w 304"/>
                <a:gd name="T111" fmla="*/ 51 h 269"/>
                <a:gd name="T112" fmla="*/ 128 w 304"/>
                <a:gd name="T113" fmla="*/ 29 h 269"/>
                <a:gd name="T114" fmla="*/ 103 w 304"/>
                <a:gd name="T115" fmla="*/ 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4" h="269">
                  <a:moveTo>
                    <a:pt x="71" y="24"/>
                  </a:moveTo>
                  <a:lnTo>
                    <a:pt x="66" y="24"/>
                  </a:lnTo>
                  <a:lnTo>
                    <a:pt x="64" y="24"/>
                  </a:lnTo>
                  <a:lnTo>
                    <a:pt x="62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4" y="29"/>
                  </a:lnTo>
                  <a:lnTo>
                    <a:pt x="52" y="29"/>
                  </a:lnTo>
                  <a:lnTo>
                    <a:pt x="49" y="31"/>
                  </a:lnTo>
                  <a:lnTo>
                    <a:pt x="47" y="31"/>
                  </a:lnTo>
                  <a:lnTo>
                    <a:pt x="44" y="34"/>
                  </a:lnTo>
                  <a:lnTo>
                    <a:pt x="42" y="36"/>
                  </a:lnTo>
                  <a:lnTo>
                    <a:pt x="39" y="39"/>
                  </a:lnTo>
                  <a:lnTo>
                    <a:pt x="37" y="41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5" y="54"/>
                  </a:lnTo>
                  <a:lnTo>
                    <a:pt x="35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4" y="51"/>
                  </a:lnTo>
                  <a:lnTo>
                    <a:pt x="44" y="49"/>
                  </a:lnTo>
                  <a:lnTo>
                    <a:pt x="47" y="49"/>
                  </a:lnTo>
                  <a:lnTo>
                    <a:pt x="47" y="46"/>
                  </a:lnTo>
                  <a:lnTo>
                    <a:pt x="49" y="44"/>
                  </a:lnTo>
                  <a:lnTo>
                    <a:pt x="52" y="44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9" y="39"/>
                  </a:lnTo>
                  <a:lnTo>
                    <a:pt x="62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9" y="36"/>
                  </a:lnTo>
                  <a:lnTo>
                    <a:pt x="81" y="39"/>
                  </a:lnTo>
                  <a:lnTo>
                    <a:pt x="84" y="39"/>
                  </a:lnTo>
                  <a:lnTo>
                    <a:pt x="86" y="41"/>
                  </a:lnTo>
                  <a:lnTo>
                    <a:pt x="88" y="41"/>
                  </a:lnTo>
                  <a:lnTo>
                    <a:pt x="91" y="44"/>
                  </a:lnTo>
                  <a:lnTo>
                    <a:pt x="93" y="46"/>
                  </a:lnTo>
                  <a:lnTo>
                    <a:pt x="96" y="49"/>
                  </a:lnTo>
                  <a:lnTo>
                    <a:pt x="98" y="51"/>
                  </a:lnTo>
                  <a:lnTo>
                    <a:pt x="98" y="54"/>
                  </a:lnTo>
                  <a:lnTo>
                    <a:pt x="101" y="56"/>
                  </a:lnTo>
                  <a:lnTo>
                    <a:pt x="101" y="61"/>
                  </a:lnTo>
                  <a:lnTo>
                    <a:pt x="103" y="63"/>
                  </a:lnTo>
                  <a:lnTo>
                    <a:pt x="103" y="66"/>
                  </a:lnTo>
                  <a:lnTo>
                    <a:pt x="103" y="68"/>
                  </a:lnTo>
                  <a:lnTo>
                    <a:pt x="103" y="73"/>
                  </a:lnTo>
                  <a:lnTo>
                    <a:pt x="101" y="76"/>
                  </a:lnTo>
                  <a:lnTo>
                    <a:pt x="101" y="78"/>
                  </a:lnTo>
                  <a:lnTo>
                    <a:pt x="101" y="80"/>
                  </a:lnTo>
                  <a:lnTo>
                    <a:pt x="98" y="85"/>
                  </a:lnTo>
                  <a:lnTo>
                    <a:pt x="96" y="88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1" y="93"/>
                  </a:lnTo>
                  <a:lnTo>
                    <a:pt x="88" y="95"/>
                  </a:lnTo>
                  <a:lnTo>
                    <a:pt x="86" y="95"/>
                  </a:lnTo>
                  <a:lnTo>
                    <a:pt x="84" y="98"/>
                  </a:lnTo>
                  <a:lnTo>
                    <a:pt x="81" y="98"/>
                  </a:lnTo>
                  <a:lnTo>
                    <a:pt x="79" y="100"/>
                  </a:lnTo>
                  <a:lnTo>
                    <a:pt x="76" y="100"/>
                  </a:lnTo>
                  <a:lnTo>
                    <a:pt x="74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6" y="100"/>
                  </a:lnTo>
                  <a:lnTo>
                    <a:pt x="64" y="100"/>
                  </a:lnTo>
                  <a:lnTo>
                    <a:pt x="62" y="98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49" y="90"/>
                  </a:lnTo>
                  <a:lnTo>
                    <a:pt x="47" y="90"/>
                  </a:lnTo>
                  <a:lnTo>
                    <a:pt x="44" y="88"/>
                  </a:lnTo>
                  <a:lnTo>
                    <a:pt x="44" y="85"/>
                  </a:lnTo>
                  <a:lnTo>
                    <a:pt x="42" y="83"/>
                  </a:lnTo>
                  <a:lnTo>
                    <a:pt x="42" y="80"/>
                  </a:lnTo>
                  <a:lnTo>
                    <a:pt x="39" y="78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27" y="73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2" y="85"/>
                  </a:lnTo>
                  <a:lnTo>
                    <a:pt x="32" y="88"/>
                  </a:lnTo>
                  <a:lnTo>
                    <a:pt x="35" y="93"/>
                  </a:lnTo>
                  <a:lnTo>
                    <a:pt x="37" y="95"/>
                  </a:lnTo>
                  <a:lnTo>
                    <a:pt x="39" y="98"/>
                  </a:lnTo>
                  <a:lnTo>
                    <a:pt x="42" y="100"/>
                  </a:lnTo>
                  <a:lnTo>
                    <a:pt x="44" y="103"/>
                  </a:lnTo>
                  <a:lnTo>
                    <a:pt x="47" y="103"/>
                  </a:lnTo>
                  <a:lnTo>
                    <a:pt x="49" y="105"/>
                  </a:lnTo>
                  <a:lnTo>
                    <a:pt x="52" y="107"/>
                  </a:lnTo>
                  <a:lnTo>
                    <a:pt x="54" y="107"/>
                  </a:lnTo>
                  <a:lnTo>
                    <a:pt x="59" y="110"/>
                  </a:lnTo>
                  <a:lnTo>
                    <a:pt x="62" y="110"/>
                  </a:lnTo>
                  <a:lnTo>
                    <a:pt x="64" y="110"/>
                  </a:lnTo>
                  <a:lnTo>
                    <a:pt x="66" y="110"/>
                  </a:lnTo>
                  <a:lnTo>
                    <a:pt x="71" y="110"/>
                  </a:lnTo>
                  <a:lnTo>
                    <a:pt x="74" y="110"/>
                  </a:lnTo>
                  <a:lnTo>
                    <a:pt x="79" y="110"/>
                  </a:lnTo>
                  <a:lnTo>
                    <a:pt x="81" y="110"/>
                  </a:lnTo>
                  <a:lnTo>
                    <a:pt x="84" y="110"/>
                  </a:lnTo>
                  <a:lnTo>
                    <a:pt x="88" y="107"/>
                  </a:lnTo>
                  <a:lnTo>
                    <a:pt x="91" y="105"/>
                  </a:lnTo>
                  <a:lnTo>
                    <a:pt x="93" y="105"/>
                  </a:lnTo>
                  <a:lnTo>
                    <a:pt x="96" y="103"/>
                  </a:lnTo>
                  <a:lnTo>
                    <a:pt x="98" y="100"/>
                  </a:lnTo>
                  <a:lnTo>
                    <a:pt x="101" y="100"/>
                  </a:lnTo>
                  <a:lnTo>
                    <a:pt x="101" y="98"/>
                  </a:lnTo>
                  <a:lnTo>
                    <a:pt x="103" y="98"/>
                  </a:lnTo>
                  <a:lnTo>
                    <a:pt x="103" y="95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8" y="90"/>
                  </a:lnTo>
                  <a:lnTo>
                    <a:pt x="108" y="88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11" y="83"/>
                  </a:lnTo>
                  <a:lnTo>
                    <a:pt x="113" y="80"/>
                  </a:lnTo>
                  <a:lnTo>
                    <a:pt x="113" y="78"/>
                  </a:lnTo>
                  <a:lnTo>
                    <a:pt x="113" y="76"/>
                  </a:lnTo>
                  <a:lnTo>
                    <a:pt x="113" y="73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3" y="68"/>
                  </a:lnTo>
                  <a:lnTo>
                    <a:pt x="113" y="66"/>
                  </a:lnTo>
                  <a:lnTo>
                    <a:pt x="113" y="63"/>
                  </a:lnTo>
                  <a:lnTo>
                    <a:pt x="113" y="61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4"/>
                  </a:lnTo>
                  <a:lnTo>
                    <a:pt x="111" y="51"/>
                  </a:lnTo>
                  <a:lnTo>
                    <a:pt x="108" y="49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06" y="44"/>
                  </a:lnTo>
                  <a:lnTo>
                    <a:pt x="106" y="41"/>
                  </a:lnTo>
                  <a:lnTo>
                    <a:pt x="103" y="41"/>
                  </a:lnTo>
                  <a:lnTo>
                    <a:pt x="103" y="39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1" y="29"/>
                  </a:lnTo>
                  <a:lnTo>
                    <a:pt x="88" y="29"/>
                  </a:lnTo>
                  <a:lnTo>
                    <a:pt x="86" y="29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1" y="27"/>
                  </a:lnTo>
                  <a:lnTo>
                    <a:pt x="79" y="27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1" y="24"/>
                  </a:lnTo>
                  <a:close/>
                  <a:moveTo>
                    <a:pt x="71" y="215"/>
                  </a:moveTo>
                  <a:lnTo>
                    <a:pt x="71" y="215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79" y="208"/>
                  </a:lnTo>
                  <a:lnTo>
                    <a:pt x="86" y="193"/>
                  </a:lnTo>
                  <a:lnTo>
                    <a:pt x="91" y="186"/>
                  </a:lnTo>
                  <a:lnTo>
                    <a:pt x="98" y="176"/>
                  </a:lnTo>
                  <a:lnTo>
                    <a:pt x="103" y="164"/>
                  </a:lnTo>
                  <a:lnTo>
                    <a:pt x="111" y="154"/>
                  </a:lnTo>
                  <a:lnTo>
                    <a:pt x="138" y="154"/>
                  </a:lnTo>
                  <a:lnTo>
                    <a:pt x="118" y="232"/>
                  </a:lnTo>
                  <a:lnTo>
                    <a:pt x="64" y="232"/>
                  </a:lnTo>
                  <a:lnTo>
                    <a:pt x="64" y="208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9" y="213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71" y="215"/>
                  </a:lnTo>
                  <a:lnTo>
                    <a:pt x="71" y="215"/>
                  </a:lnTo>
                  <a:close/>
                  <a:moveTo>
                    <a:pt x="191" y="152"/>
                  </a:moveTo>
                  <a:lnTo>
                    <a:pt x="270" y="152"/>
                  </a:lnTo>
                  <a:lnTo>
                    <a:pt x="270" y="232"/>
                  </a:lnTo>
                  <a:lnTo>
                    <a:pt x="216" y="232"/>
                  </a:lnTo>
                  <a:lnTo>
                    <a:pt x="191" y="152"/>
                  </a:lnTo>
                  <a:close/>
                  <a:moveTo>
                    <a:pt x="118" y="137"/>
                  </a:moveTo>
                  <a:lnTo>
                    <a:pt x="120" y="130"/>
                  </a:lnTo>
                  <a:lnTo>
                    <a:pt x="125" y="125"/>
                  </a:lnTo>
                  <a:lnTo>
                    <a:pt x="128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194" y="122"/>
                  </a:lnTo>
                  <a:lnTo>
                    <a:pt x="191" y="122"/>
                  </a:lnTo>
                  <a:lnTo>
                    <a:pt x="189" y="122"/>
                  </a:lnTo>
                  <a:lnTo>
                    <a:pt x="187" y="125"/>
                  </a:lnTo>
                  <a:lnTo>
                    <a:pt x="184" y="125"/>
                  </a:lnTo>
                  <a:lnTo>
                    <a:pt x="179" y="125"/>
                  </a:lnTo>
                  <a:lnTo>
                    <a:pt x="177" y="127"/>
                  </a:lnTo>
                  <a:lnTo>
                    <a:pt x="174" y="130"/>
                  </a:lnTo>
                  <a:lnTo>
                    <a:pt x="172" y="130"/>
                  </a:lnTo>
                  <a:lnTo>
                    <a:pt x="169" y="132"/>
                  </a:lnTo>
                  <a:lnTo>
                    <a:pt x="167" y="134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2" y="144"/>
                  </a:lnTo>
                  <a:lnTo>
                    <a:pt x="160" y="147"/>
                  </a:lnTo>
                  <a:lnTo>
                    <a:pt x="160" y="149"/>
                  </a:lnTo>
                  <a:lnTo>
                    <a:pt x="160" y="154"/>
                  </a:lnTo>
                  <a:lnTo>
                    <a:pt x="160" y="154"/>
                  </a:lnTo>
                  <a:lnTo>
                    <a:pt x="160" y="156"/>
                  </a:lnTo>
                  <a:lnTo>
                    <a:pt x="160" y="215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0" y="220"/>
                  </a:lnTo>
                  <a:lnTo>
                    <a:pt x="160" y="220"/>
                  </a:lnTo>
                  <a:lnTo>
                    <a:pt x="162" y="220"/>
                  </a:lnTo>
                  <a:lnTo>
                    <a:pt x="162" y="220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7" y="223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9" y="220"/>
                  </a:lnTo>
                  <a:lnTo>
                    <a:pt x="169" y="220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9" y="215"/>
                  </a:lnTo>
                  <a:lnTo>
                    <a:pt x="169" y="156"/>
                  </a:lnTo>
                  <a:lnTo>
                    <a:pt x="169" y="154"/>
                  </a:lnTo>
                  <a:lnTo>
                    <a:pt x="172" y="152"/>
                  </a:lnTo>
                  <a:lnTo>
                    <a:pt x="172" y="149"/>
                  </a:lnTo>
                  <a:lnTo>
                    <a:pt x="172" y="147"/>
                  </a:lnTo>
                  <a:lnTo>
                    <a:pt x="172" y="147"/>
                  </a:lnTo>
                  <a:lnTo>
                    <a:pt x="174" y="144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9" y="139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4" y="137"/>
                  </a:lnTo>
                  <a:lnTo>
                    <a:pt x="187" y="134"/>
                  </a:lnTo>
                  <a:lnTo>
                    <a:pt x="189" y="134"/>
                  </a:lnTo>
                  <a:lnTo>
                    <a:pt x="191" y="134"/>
                  </a:lnTo>
                  <a:lnTo>
                    <a:pt x="194" y="134"/>
                  </a:lnTo>
                  <a:lnTo>
                    <a:pt x="204" y="134"/>
                  </a:lnTo>
                  <a:lnTo>
                    <a:pt x="204" y="134"/>
                  </a:lnTo>
                  <a:lnTo>
                    <a:pt x="204" y="137"/>
                  </a:lnTo>
                  <a:lnTo>
                    <a:pt x="204" y="137"/>
                  </a:lnTo>
                  <a:lnTo>
                    <a:pt x="204" y="137"/>
                  </a:lnTo>
                  <a:lnTo>
                    <a:pt x="204" y="139"/>
                  </a:lnTo>
                  <a:lnTo>
                    <a:pt x="204" y="139"/>
                  </a:lnTo>
                  <a:lnTo>
                    <a:pt x="206" y="139"/>
                  </a:lnTo>
                  <a:lnTo>
                    <a:pt x="206" y="139"/>
                  </a:lnTo>
                  <a:lnTo>
                    <a:pt x="184" y="139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204" y="232"/>
                  </a:lnTo>
                  <a:lnTo>
                    <a:pt x="130" y="232"/>
                  </a:lnTo>
                  <a:lnTo>
                    <a:pt x="150" y="149"/>
                  </a:lnTo>
                  <a:lnTo>
                    <a:pt x="150" y="149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5" y="142"/>
                  </a:lnTo>
                  <a:lnTo>
                    <a:pt x="115" y="142"/>
                  </a:lnTo>
                  <a:lnTo>
                    <a:pt x="118" y="137"/>
                  </a:lnTo>
                  <a:close/>
                  <a:moveTo>
                    <a:pt x="233" y="134"/>
                  </a:moveTo>
                  <a:lnTo>
                    <a:pt x="236" y="132"/>
                  </a:lnTo>
                  <a:lnTo>
                    <a:pt x="236" y="132"/>
                  </a:lnTo>
                  <a:lnTo>
                    <a:pt x="236" y="132"/>
                  </a:lnTo>
                  <a:lnTo>
                    <a:pt x="236" y="132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30"/>
                  </a:lnTo>
                  <a:lnTo>
                    <a:pt x="238" y="127"/>
                  </a:lnTo>
                  <a:lnTo>
                    <a:pt x="238" y="127"/>
                  </a:lnTo>
                  <a:lnTo>
                    <a:pt x="238" y="127"/>
                  </a:lnTo>
                  <a:lnTo>
                    <a:pt x="238" y="125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6" y="122"/>
                  </a:lnTo>
                  <a:lnTo>
                    <a:pt x="233" y="122"/>
                  </a:lnTo>
                  <a:lnTo>
                    <a:pt x="216" y="117"/>
                  </a:lnTo>
                  <a:lnTo>
                    <a:pt x="270" y="117"/>
                  </a:lnTo>
                  <a:lnTo>
                    <a:pt x="270" y="139"/>
                  </a:lnTo>
                  <a:lnTo>
                    <a:pt x="214" y="139"/>
                  </a:lnTo>
                  <a:lnTo>
                    <a:pt x="233" y="134"/>
                  </a:lnTo>
                  <a:close/>
                  <a:moveTo>
                    <a:pt x="135" y="103"/>
                  </a:moveTo>
                  <a:lnTo>
                    <a:pt x="135" y="98"/>
                  </a:lnTo>
                  <a:lnTo>
                    <a:pt x="138" y="93"/>
                  </a:lnTo>
                  <a:lnTo>
                    <a:pt x="138" y="88"/>
                  </a:lnTo>
                  <a:lnTo>
                    <a:pt x="270" y="88"/>
                  </a:lnTo>
                  <a:lnTo>
                    <a:pt x="270" y="105"/>
                  </a:lnTo>
                  <a:lnTo>
                    <a:pt x="133" y="105"/>
                  </a:lnTo>
                  <a:lnTo>
                    <a:pt x="135" y="103"/>
                  </a:lnTo>
                  <a:close/>
                  <a:moveTo>
                    <a:pt x="64" y="186"/>
                  </a:moveTo>
                  <a:lnTo>
                    <a:pt x="54" y="171"/>
                  </a:lnTo>
                  <a:lnTo>
                    <a:pt x="49" y="164"/>
                  </a:lnTo>
                  <a:lnTo>
                    <a:pt x="44" y="154"/>
                  </a:lnTo>
                  <a:lnTo>
                    <a:pt x="39" y="144"/>
                  </a:lnTo>
                  <a:lnTo>
                    <a:pt x="35" y="134"/>
                  </a:lnTo>
                  <a:lnTo>
                    <a:pt x="30" y="127"/>
                  </a:lnTo>
                  <a:lnTo>
                    <a:pt x="25" y="117"/>
                  </a:lnTo>
                  <a:lnTo>
                    <a:pt x="22" y="107"/>
                  </a:lnTo>
                  <a:lnTo>
                    <a:pt x="20" y="103"/>
                  </a:lnTo>
                  <a:lnTo>
                    <a:pt x="17" y="98"/>
                  </a:lnTo>
                  <a:lnTo>
                    <a:pt x="17" y="95"/>
                  </a:lnTo>
                  <a:lnTo>
                    <a:pt x="15" y="90"/>
                  </a:lnTo>
                  <a:lnTo>
                    <a:pt x="15" y="85"/>
                  </a:lnTo>
                  <a:lnTo>
                    <a:pt x="12" y="83"/>
                  </a:lnTo>
                  <a:lnTo>
                    <a:pt x="12" y="78"/>
                  </a:lnTo>
                  <a:lnTo>
                    <a:pt x="10" y="76"/>
                  </a:lnTo>
                  <a:lnTo>
                    <a:pt x="10" y="73"/>
                  </a:lnTo>
                  <a:lnTo>
                    <a:pt x="10" y="71"/>
                  </a:lnTo>
                  <a:lnTo>
                    <a:pt x="10" y="66"/>
                  </a:lnTo>
                  <a:lnTo>
                    <a:pt x="10" y="63"/>
                  </a:lnTo>
                  <a:lnTo>
                    <a:pt x="12" y="61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1"/>
                  </a:lnTo>
                  <a:lnTo>
                    <a:pt x="15" y="49"/>
                  </a:lnTo>
                  <a:lnTo>
                    <a:pt x="15" y="46"/>
                  </a:lnTo>
                  <a:lnTo>
                    <a:pt x="17" y="44"/>
                  </a:lnTo>
                  <a:lnTo>
                    <a:pt x="17" y="41"/>
                  </a:lnTo>
                  <a:lnTo>
                    <a:pt x="20" y="39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5" y="22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7" y="14"/>
                  </a:lnTo>
                  <a:lnTo>
                    <a:pt x="49" y="14"/>
                  </a:lnTo>
                  <a:lnTo>
                    <a:pt x="54" y="12"/>
                  </a:lnTo>
                  <a:lnTo>
                    <a:pt x="57" y="12"/>
                  </a:lnTo>
                  <a:lnTo>
                    <a:pt x="59" y="12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9" y="9"/>
                  </a:lnTo>
                  <a:lnTo>
                    <a:pt x="71" y="9"/>
                  </a:lnTo>
                  <a:lnTo>
                    <a:pt x="74" y="9"/>
                  </a:lnTo>
                  <a:lnTo>
                    <a:pt x="76" y="9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4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91" y="14"/>
                  </a:lnTo>
                  <a:lnTo>
                    <a:pt x="93" y="14"/>
                  </a:lnTo>
                  <a:lnTo>
                    <a:pt x="96" y="14"/>
                  </a:lnTo>
                  <a:lnTo>
                    <a:pt x="98" y="17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11" y="24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5" y="29"/>
                  </a:lnTo>
                  <a:lnTo>
                    <a:pt x="118" y="31"/>
                  </a:lnTo>
                  <a:lnTo>
                    <a:pt x="118" y="34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3" y="39"/>
                  </a:lnTo>
                  <a:lnTo>
                    <a:pt x="123" y="41"/>
                  </a:lnTo>
                  <a:lnTo>
                    <a:pt x="125" y="44"/>
                  </a:lnTo>
                  <a:lnTo>
                    <a:pt x="125" y="46"/>
                  </a:lnTo>
                  <a:lnTo>
                    <a:pt x="128" y="49"/>
                  </a:lnTo>
                  <a:lnTo>
                    <a:pt x="128" y="51"/>
                  </a:lnTo>
                  <a:lnTo>
                    <a:pt x="128" y="54"/>
                  </a:lnTo>
                  <a:lnTo>
                    <a:pt x="130" y="56"/>
                  </a:lnTo>
                  <a:lnTo>
                    <a:pt x="130" y="61"/>
                  </a:lnTo>
                  <a:lnTo>
                    <a:pt x="130" y="63"/>
                  </a:lnTo>
                  <a:lnTo>
                    <a:pt x="130" y="66"/>
                  </a:lnTo>
                  <a:lnTo>
                    <a:pt x="130" y="71"/>
                  </a:lnTo>
                  <a:lnTo>
                    <a:pt x="130" y="73"/>
                  </a:lnTo>
                  <a:lnTo>
                    <a:pt x="130" y="73"/>
                  </a:lnTo>
                  <a:lnTo>
                    <a:pt x="130" y="76"/>
                  </a:lnTo>
                  <a:lnTo>
                    <a:pt x="130" y="80"/>
                  </a:lnTo>
                  <a:lnTo>
                    <a:pt x="128" y="83"/>
                  </a:lnTo>
                  <a:lnTo>
                    <a:pt x="128" y="88"/>
                  </a:lnTo>
                  <a:lnTo>
                    <a:pt x="125" y="93"/>
                  </a:lnTo>
                  <a:lnTo>
                    <a:pt x="123" y="100"/>
                  </a:lnTo>
                  <a:lnTo>
                    <a:pt x="120" y="105"/>
                  </a:lnTo>
                  <a:lnTo>
                    <a:pt x="118" y="112"/>
                  </a:lnTo>
                  <a:lnTo>
                    <a:pt x="115" y="117"/>
                  </a:lnTo>
                  <a:lnTo>
                    <a:pt x="111" y="125"/>
                  </a:lnTo>
                  <a:lnTo>
                    <a:pt x="106" y="137"/>
                  </a:lnTo>
                  <a:lnTo>
                    <a:pt x="101" y="147"/>
                  </a:lnTo>
                  <a:lnTo>
                    <a:pt x="93" y="156"/>
                  </a:lnTo>
                  <a:lnTo>
                    <a:pt x="88" y="169"/>
                  </a:lnTo>
                  <a:lnTo>
                    <a:pt x="84" y="176"/>
                  </a:lnTo>
                  <a:lnTo>
                    <a:pt x="79" y="186"/>
                  </a:lnTo>
                  <a:lnTo>
                    <a:pt x="71" y="198"/>
                  </a:lnTo>
                  <a:lnTo>
                    <a:pt x="64" y="186"/>
                  </a:lnTo>
                  <a:close/>
                  <a:moveTo>
                    <a:pt x="66" y="0"/>
                  </a:moveTo>
                  <a:lnTo>
                    <a:pt x="64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4" y="4"/>
                  </a:lnTo>
                  <a:lnTo>
                    <a:pt x="39" y="4"/>
                  </a:lnTo>
                  <a:lnTo>
                    <a:pt x="37" y="7"/>
                  </a:lnTo>
                  <a:lnTo>
                    <a:pt x="35" y="9"/>
                  </a:lnTo>
                  <a:lnTo>
                    <a:pt x="32" y="12"/>
                  </a:lnTo>
                  <a:lnTo>
                    <a:pt x="27" y="12"/>
                  </a:lnTo>
                  <a:lnTo>
                    <a:pt x="25" y="14"/>
                  </a:lnTo>
                  <a:lnTo>
                    <a:pt x="22" y="17"/>
                  </a:lnTo>
                  <a:lnTo>
                    <a:pt x="20" y="19"/>
                  </a:lnTo>
                  <a:lnTo>
                    <a:pt x="17" y="22"/>
                  </a:lnTo>
                  <a:lnTo>
                    <a:pt x="15" y="24"/>
                  </a:lnTo>
                  <a:lnTo>
                    <a:pt x="15" y="27"/>
                  </a:lnTo>
                  <a:lnTo>
                    <a:pt x="12" y="29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8" y="39"/>
                  </a:lnTo>
                  <a:lnTo>
                    <a:pt x="5" y="41"/>
                  </a:lnTo>
                  <a:lnTo>
                    <a:pt x="5" y="46"/>
                  </a:lnTo>
                  <a:lnTo>
                    <a:pt x="3" y="49"/>
                  </a:lnTo>
                  <a:lnTo>
                    <a:pt x="3" y="51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3" y="83"/>
                  </a:lnTo>
                  <a:lnTo>
                    <a:pt x="3" y="88"/>
                  </a:lnTo>
                  <a:lnTo>
                    <a:pt x="5" y="93"/>
                  </a:lnTo>
                  <a:lnTo>
                    <a:pt x="5" y="95"/>
                  </a:lnTo>
                  <a:lnTo>
                    <a:pt x="8" y="100"/>
                  </a:lnTo>
                  <a:lnTo>
                    <a:pt x="10" y="105"/>
                  </a:lnTo>
                  <a:lnTo>
                    <a:pt x="10" y="110"/>
                  </a:lnTo>
                  <a:lnTo>
                    <a:pt x="15" y="120"/>
                  </a:lnTo>
                  <a:lnTo>
                    <a:pt x="20" y="130"/>
                  </a:lnTo>
                  <a:lnTo>
                    <a:pt x="25" y="139"/>
                  </a:lnTo>
                  <a:lnTo>
                    <a:pt x="30" y="149"/>
                  </a:lnTo>
                  <a:lnTo>
                    <a:pt x="35" y="159"/>
                  </a:lnTo>
                  <a:lnTo>
                    <a:pt x="39" y="166"/>
                  </a:lnTo>
                  <a:lnTo>
                    <a:pt x="44" y="176"/>
                  </a:lnTo>
                  <a:lnTo>
                    <a:pt x="54" y="191"/>
                  </a:lnTo>
                  <a:lnTo>
                    <a:pt x="62" y="203"/>
                  </a:lnTo>
                  <a:lnTo>
                    <a:pt x="59" y="203"/>
                  </a:lnTo>
                  <a:lnTo>
                    <a:pt x="59" y="203"/>
                  </a:lnTo>
                  <a:lnTo>
                    <a:pt x="57" y="203"/>
                  </a:lnTo>
                  <a:lnTo>
                    <a:pt x="57" y="203"/>
                  </a:lnTo>
                  <a:lnTo>
                    <a:pt x="57" y="203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37"/>
                  </a:lnTo>
                  <a:lnTo>
                    <a:pt x="54" y="237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2"/>
                  </a:lnTo>
                  <a:lnTo>
                    <a:pt x="57" y="242"/>
                  </a:lnTo>
                  <a:lnTo>
                    <a:pt x="57" y="242"/>
                  </a:lnTo>
                  <a:lnTo>
                    <a:pt x="57" y="242"/>
                  </a:lnTo>
                  <a:lnTo>
                    <a:pt x="59" y="242"/>
                  </a:lnTo>
                  <a:lnTo>
                    <a:pt x="275" y="242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2"/>
                  </a:lnTo>
                  <a:lnTo>
                    <a:pt x="280" y="242"/>
                  </a:lnTo>
                  <a:lnTo>
                    <a:pt x="280" y="240"/>
                  </a:lnTo>
                  <a:lnTo>
                    <a:pt x="280" y="240"/>
                  </a:lnTo>
                  <a:lnTo>
                    <a:pt x="280" y="237"/>
                  </a:lnTo>
                  <a:lnTo>
                    <a:pt x="280" y="237"/>
                  </a:lnTo>
                  <a:lnTo>
                    <a:pt x="280" y="83"/>
                  </a:lnTo>
                  <a:lnTo>
                    <a:pt x="280" y="83"/>
                  </a:lnTo>
                  <a:lnTo>
                    <a:pt x="280" y="80"/>
                  </a:lnTo>
                  <a:lnTo>
                    <a:pt x="280" y="80"/>
                  </a:lnTo>
                  <a:lnTo>
                    <a:pt x="280" y="80"/>
                  </a:lnTo>
                  <a:lnTo>
                    <a:pt x="277" y="78"/>
                  </a:lnTo>
                  <a:lnTo>
                    <a:pt x="277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140" y="78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66"/>
                  </a:lnTo>
                  <a:lnTo>
                    <a:pt x="142" y="63"/>
                  </a:lnTo>
                  <a:lnTo>
                    <a:pt x="270" y="63"/>
                  </a:lnTo>
                  <a:lnTo>
                    <a:pt x="272" y="63"/>
                  </a:lnTo>
                  <a:lnTo>
                    <a:pt x="275" y="63"/>
                  </a:lnTo>
                  <a:lnTo>
                    <a:pt x="277" y="63"/>
                  </a:lnTo>
                  <a:lnTo>
                    <a:pt x="280" y="66"/>
                  </a:lnTo>
                  <a:lnTo>
                    <a:pt x="282" y="66"/>
                  </a:lnTo>
                  <a:lnTo>
                    <a:pt x="285" y="66"/>
                  </a:lnTo>
                  <a:lnTo>
                    <a:pt x="285" y="68"/>
                  </a:lnTo>
                  <a:lnTo>
                    <a:pt x="287" y="71"/>
                  </a:lnTo>
                  <a:lnTo>
                    <a:pt x="290" y="71"/>
                  </a:lnTo>
                  <a:lnTo>
                    <a:pt x="290" y="73"/>
                  </a:lnTo>
                  <a:lnTo>
                    <a:pt x="292" y="76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4" y="80"/>
                  </a:lnTo>
                  <a:lnTo>
                    <a:pt x="294" y="83"/>
                  </a:lnTo>
                  <a:lnTo>
                    <a:pt x="294" y="85"/>
                  </a:lnTo>
                  <a:lnTo>
                    <a:pt x="294" y="235"/>
                  </a:lnTo>
                  <a:lnTo>
                    <a:pt x="294" y="237"/>
                  </a:lnTo>
                  <a:lnTo>
                    <a:pt x="294" y="240"/>
                  </a:lnTo>
                  <a:lnTo>
                    <a:pt x="292" y="242"/>
                  </a:lnTo>
                  <a:lnTo>
                    <a:pt x="292" y="245"/>
                  </a:lnTo>
                  <a:lnTo>
                    <a:pt x="292" y="247"/>
                  </a:lnTo>
                  <a:lnTo>
                    <a:pt x="290" y="250"/>
                  </a:lnTo>
                  <a:lnTo>
                    <a:pt x="290" y="250"/>
                  </a:lnTo>
                  <a:lnTo>
                    <a:pt x="287" y="252"/>
                  </a:lnTo>
                  <a:lnTo>
                    <a:pt x="285" y="255"/>
                  </a:lnTo>
                  <a:lnTo>
                    <a:pt x="285" y="255"/>
                  </a:lnTo>
                  <a:lnTo>
                    <a:pt x="282" y="257"/>
                  </a:lnTo>
                  <a:lnTo>
                    <a:pt x="280" y="257"/>
                  </a:lnTo>
                  <a:lnTo>
                    <a:pt x="277" y="257"/>
                  </a:lnTo>
                  <a:lnTo>
                    <a:pt x="275" y="259"/>
                  </a:lnTo>
                  <a:lnTo>
                    <a:pt x="272" y="259"/>
                  </a:lnTo>
                  <a:lnTo>
                    <a:pt x="270" y="259"/>
                  </a:lnTo>
                  <a:lnTo>
                    <a:pt x="64" y="259"/>
                  </a:lnTo>
                  <a:lnTo>
                    <a:pt x="62" y="259"/>
                  </a:lnTo>
                  <a:lnTo>
                    <a:pt x="59" y="259"/>
                  </a:lnTo>
                  <a:lnTo>
                    <a:pt x="57" y="257"/>
                  </a:lnTo>
                  <a:lnTo>
                    <a:pt x="54" y="257"/>
                  </a:lnTo>
                  <a:lnTo>
                    <a:pt x="52" y="257"/>
                  </a:lnTo>
                  <a:lnTo>
                    <a:pt x="52" y="255"/>
                  </a:lnTo>
                  <a:lnTo>
                    <a:pt x="49" y="255"/>
                  </a:lnTo>
                  <a:lnTo>
                    <a:pt x="47" y="252"/>
                  </a:lnTo>
                  <a:lnTo>
                    <a:pt x="47" y="250"/>
                  </a:lnTo>
                  <a:lnTo>
                    <a:pt x="44" y="250"/>
                  </a:lnTo>
                  <a:lnTo>
                    <a:pt x="44" y="247"/>
                  </a:lnTo>
                  <a:lnTo>
                    <a:pt x="42" y="245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39" y="237"/>
                  </a:lnTo>
                  <a:lnTo>
                    <a:pt x="39" y="235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9" y="176"/>
                  </a:lnTo>
                  <a:lnTo>
                    <a:pt x="39" y="176"/>
                  </a:lnTo>
                  <a:lnTo>
                    <a:pt x="39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5" y="174"/>
                  </a:lnTo>
                  <a:lnTo>
                    <a:pt x="35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30" y="179"/>
                  </a:lnTo>
                  <a:lnTo>
                    <a:pt x="30" y="179"/>
                  </a:lnTo>
                  <a:lnTo>
                    <a:pt x="30" y="235"/>
                  </a:lnTo>
                  <a:lnTo>
                    <a:pt x="30" y="237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2" y="247"/>
                  </a:lnTo>
                  <a:lnTo>
                    <a:pt x="32" y="250"/>
                  </a:lnTo>
                  <a:lnTo>
                    <a:pt x="35" y="252"/>
                  </a:lnTo>
                  <a:lnTo>
                    <a:pt x="35" y="255"/>
                  </a:lnTo>
                  <a:lnTo>
                    <a:pt x="37" y="257"/>
                  </a:lnTo>
                  <a:lnTo>
                    <a:pt x="39" y="259"/>
                  </a:lnTo>
                  <a:lnTo>
                    <a:pt x="42" y="262"/>
                  </a:lnTo>
                  <a:lnTo>
                    <a:pt x="44" y="264"/>
                  </a:lnTo>
                  <a:lnTo>
                    <a:pt x="47" y="267"/>
                  </a:lnTo>
                  <a:lnTo>
                    <a:pt x="49" y="267"/>
                  </a:lnTo>
                  <a:lnTo>
                    <a:pt x="54" y="269"/>
                  </a:lnTo>
                  <a:lnTo>
                    <a:pt x="57" y="269"/>
                  </a:lnTo>
                  <a:lnTo>
                    <a:pt x="59" y="269"/>
                  </a:lnTo>
                  <a:lnTo>
                    <a:pt x="62" y="269"/>
                  </a:lnTo>
                  <a:lnTo>
                    <a:pt x="64" y="269"/>
                  </a:lnTo>
                  <a:lnTo>
                    <a:pt x="270" y="269"/>
                  </a:lnTo>
                  <a:lnTo>
                    <a:pt x="272" y="269"/>
                  </a:lnTo>
                  <a:lnTo>
                    <a:pt x="275" y="269"/>
                  </a:lnTo>
                  <a:lnTo>
                    <a:pt x="277" y="269"/>
                  </a:lnTo>
                  <a:lnTo>
                    <a:pt x="280" y="269"/>
                  </a:lnTo>
                  <a:lnTo>
                    <a:pt x="285" y="267"/>
                  </a:lnTo>
                  <a:lnTo>
                    <a:pt x="287" y="267"/>
                  </a:lnTo>
                  <a:lnTo>
                    <a:pt x="290" y="264"/>
                  </a:lnTo>
                  <a:lnTo>
                    <a:pt x="292" y="262"/>
                  </a:lnTo>
                  <a:lnTo>
                    <a:pt x="294" y="259"/>
                  </a:lnTo>
                  <a:lnTo>
                    <a:pt x="297" y="257"/>
                  </a:lnTo>
                  <a:lnTo>
                    <a:pt x="299" y="255"/>
                  </a:lnTo>
                  <a:lnTo>
                    <a:pt x="302" y="252"/>
                  </a:lnTo>
                  <a:lnTo>
                    <a:pt x="302" y="250"/>
                  </a:lnTo>
                  <a:lnTo>
                    <a:pt x="304" y="247"/>
                  </a:lnTo>
                  <a:lnTo>
                    <a:pt x="304" y="242"/>
                  </a:lnTo>
                  <a:lnTo>
                    <a:pt x="304" y="240"/>
                  </a:lnTo>
                  <a:lnTo>
                    <a:pt x="304" y="237"/>
                  </a:lnTo>
                  <a:lnTo>
                    <a:pt x="304" y="85"/>
                  </a:lnTo>
                  <a:lnTo>
                    <a:pt x="304" y="83"/>
                  </a:lnTo>
                  <a:lnTo>
                    <a:pt x="304" y="78"/>
                  </a:lnTo>
                  <a:lnTo>
                    <a:pt x="304" y="76"/>
                  </a:lnTo>
                  <a:lnTo>
                    <a:pt x="302" y="73"/>
                  </a:lnTo>
                  <a:lnTo>
                    <a:pt x="302" y="71"/>
                  </a:lnTo>
                  <a:lnTo>
                    <a:pt x="299" y="66"/>
                  </a:lnTo>
                  <a:lnTo>
                    <a:pt x="297" y="63"/>
                  </a:lnTo>
                  <a:lnTo>
                    <a:pt x="294" y="61"/>
                  </a:lnTo>
                  <a:lnTo>
                    <a:pt x="292" y="61"/>
                  </a:lnTo>
                  <a:lnTo>
                    <a:pt x="290" y="58"/>
                  </a:lnTo>
                  <a:lnTo>
                    <a:pt x="287" y="56"/>
                  </a:lnTo>
                  <a:lnTo>
                    <a:pt x="285" y="54"/>
                  </a:lnTo>
                  <a:lnTo>
                    <a:pt x="280" y="54"/>
                  </a:lnTo>
                  <a:lnTo>
                    <a:pt x="277" y="54"/>
                  </a:lnTo>
                  <a:lnTo>
                    <a:pt x="275" y="51"/>
                  </a:lnTo>
                  <a:lnTo>
                    <a:pt x="272" y="51"/>
                  </a:lnTo>
                  <a:lnTo>
                    <a:pt x="270" y="51"/>
                  </a:lnTo>
                  <a:lnTo>
                    <a:pt x="140" y="51"/>
                  </a:lnTo>
                  <a:lnTo>
                    <a:pt x="140" y="49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5" y="41"/>
                  </a:lnTo>
                  <a:lnTo>
                    <a:pt x="135" y="39"/>
                  </a:lnTo>
                  <a:lnTo>
                    <a:pt x="133" y="36"/>
                  </a:lnTo>
                  <a:lnTo>
                    <a:pt x="133" y="34"/>
                  </a:lnTo>
                  <a:lnTo>
                    <a:pt x="130" y="31"/>
                  </a:lnTo>
                  <a:lnTo>
                    <a:pt x="128" y="29"/>
                  </a:lnTo>
                  <a:lnTo>
                    <a:pt x="128" y="27"/>
                  </a:lnTo>
                  <a:lnTo>
                    <a:pt x="125" y="24"/>
                  </a:lnTo>
                  <a:lnTo>
                    <a:pt x="123" y="22"/>
                  </a:lnTo>
                  <a:lnTo>
                    <a:pt x="120" y="19"/>
                  </a:lnTo>
                  <a:lnTo>
                    <a:pt x="118" y="17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3" y="12"/>
                  </a:lnTo>
                  <a:lnTo>
                    <a:pt x="111" y="9"/>
                  </a:lnTo>
                  <a:lnTo>
                    <a:pt x="108" y="9"/>
                  </a:lnTo>
                  <a:lnTo>
                    <a:pt x="106" y="7"/>
                  </a:lnTo>
                  <a:lnTo>
                    <a:pt x="103" y="7"/>
                  </a:lnTo>
                  <a:lnTo>
                    <a:pt x="101" y="4"/>
                  </a:lnTo>
                  <a:lnTo>
                    <a:pt x="96" y="4"/>
                  </a:lnTo>
                  <a:lnTo>
                    <a:pt x="93" y="2"/>
                  </a:lnTo>
                  <a:lnTo>
                    <a:pt x="91" y="2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4" y="0"/>
                  </a:lnTo>
                  <a:lnTo>
                    <a:pt x="79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76">
            <a:extLst>
              <a:ext uri="{FF2B5EF4-FFF2-40B4-BE49-F238E27FC236}">
                <a16:creationId xmlns:a16="http://schemas.microsoft.com/office/drawing/2014/main" id="{A3F07279-26DF-468D-9B9F-D86103B005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3775" y="1554163"/>
            <a:ext cx="841375" cy="841375"/>
            <a:chOff x="3026" y="979"/>
            <a:chExt cx="530" cy="530"/>
          </a:xfrm>
        </p:grpSpPr>
        <p:sp>
          <p:nvSpPr>
            <p:cNvPr id="103" name="AutoShape 75">
              <a:extLst>
                <a:ext uri="{FF2B5EF4-FFF2-40B4-BE49-F238E27FC236}">
                  <a16:creationId xmlns:a16="http://schemas.microsoft.com/office/drawing/2014/main" id="{B024AFAC-49DA-4D2F-8DEE-AEECA99F77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6" y="9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77">
              <a:extLst>
                <a:ext uri="{FF2B5EF4-FFF2-40B4-BE49-F238E27FC236}">
                  <a16:creationId xmlns:a16="http://schemas.microsoft.com/office/drawing/2014/main" id="{D30F345E-3E8E-4E30-B003-A8F46AB217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6" y="9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8">
              <a:extLst>
                <a:ext uri="{FF2B5EF4-FFF2-40B4-BE49-F238E27FC236}">
                  <a16:creationId xmlns:a16="http://schemas.microsoft.com/office/drawing/2014/main" id="{9E45B4DD-E156-445A-8F7E-640DE25663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" y="9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9">
              <a:extLst>
                <a:ext uri="{FF2B5EF4-FFF2-40B4-BE49-F238E27FC236}">
                  <a16:creationId xmlns:a16="http://schemas.microsoft.com/office/drawing/2014/main" id="{9C97218F-0E00-428E-AE88-93D7A422D8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3" y="1094"/>
              <a:ext cx="318" cy="282"/>
            </a:xfrm>
            <a:custGeom>
              <a:avLst/>
              <a:gdLst>
                <a:gd name="T0" fmla="*/ 44 w 318"/>
                <a:gd name="T1" fmla="*/ 39 h 282"/>
                <a:gd name="T2" fmla="*/ 36 w 318"/>
                <a:gd name="T3" fmla="*/ 56 h 282"/>
                <a:gd name="T4" fmla="*/ 47 w 318"/>
                <a:gd name="T5" fmla="*/ 54 h 282"/>
                <a:gd name="T6" fmla="*/ 67 w 318"/>
                <a:gd name="T7" fmla="*/ 39 h 282"/>
                <a:gd name="T8" fmla="*/ 98 w 318"/>
                <a:gd name="T9" fmla="*/ 49 h 282"/>
                <a:gd name="T10" fmla="*/ 105 w 318"/>
                <a:gd name="T11" fmla="*/ 85 h 282"/>
                <a:gd name="T12" fmla="*/ 77 w 318"/>
                <a:gd name="T13" fmla="*/ 105 h 282"/>
                <a:gd name="T14" fmla="*/ 49 w 318"/>
                <a:gd name="T15" fmla="*/ 95 h 282"/>
                <a:gd name="T16" fmla="*/ 39 w 318"/>
                <a:gd name="T17" fmla="*/ 74 h 282"/>
                <a:gd name="T18" fmla="*/ 29 w 318"/>
                <a:gd name="T19" fmla="*/ 79 h 282"/>
                <a:gd name="T20" fmla="*/ 54 w 318"/>
                <a:gd name="T21" fmla="*/ 113 h 282"/>
                <a:gd name="T22" fmla="*/ 95 w 318"/>
                <a:gd name="T23" fmla="*/ 110 h 282"/>
                <a:gd name="T24" fmla="*/ 116 w 318"/>
                <a:gd name="T25" fmla="*/ 90 h 282"/>
                <a:gd name="T26" fmla="*/ 118 w 318"/>
                <a:gd name="T27" fmla="*/ 64 h 282"/>
                <a:gd name="T28" fmla="*/ 108 w 318"/>
                <a:gd name="T29" fmla="*/ 41 h 282"/>
                <a:gd name="T30" fmla="*/ 85 w 318"/>
                <a:gd name="T31" fmla="*/ 28 h 282"/>
                <a:gd name="T32" fmla="*/ 90 w 318"/>
                <a:gd name="T33" fmla="*/ 202 h 282"/>
                <a:gd name="T34" fmla="*/ 72 w 318"/>
                <a:gd name="T35" fmla="*/ 223 h 282"/>
                <a:gd name="T36" fmla="*/ 131 w 318"/>
                <a:gd name="T37" fmla="*/ 131 h 282"/>
                <a:gd name="T38" fmla="*/ 195 w 318"/>
                <a:gd name="T39" fmla="*/ 131 h 282"/>
                <a:gd name="T40" fmla="*/ 167 w 318"/>
                <a:gd name="T41" fmla="*/ 156 h 282"/>
                <a:gd name="T42" fmla="*/ 172 w 318"/>
                <a:gd name="T43" fmla="*/ 233 h 282"/>
                <a:gd name="T44" fmla="*/ 180 w 318"/>
                <a:gd name="T45" fmla="*/ 156 h 282"/>
                <a:gd name="T46" fmla="*/ 200 w 318"/>
                <a:gd name="T47" fmla="*/ 141 h 282"/>
                <a:gd name="T48" fmla="*/ 190 w 318"/>
                <a:gd name="T49" fmla="*/ 149 h 282"/>
                <a:gd name="T50" fmla="*/ 157 w 318"/>
                <a:gd name="T51" fmla="*/ 154 h 282"/>
                <a:gd name="T52" fmla="*/ 246 w 318"/>
                <a:gd name="T53" fmla="*/ 138 h 282"/>
                <a:gd name="T54" fmla="*/ 246 w 318"/>
                <a:gd name="T55" fmla="*/ 128 h 282"/>
                <a:gd name="T56" fmla="*/ 282 w 318"/>
                <a:gd name="T57" fmla="*/ 110 h 282"/>
                <a:gd name="T58" fmla="*/ 21 w 318"/>
                <a:gd name="T59" fmla="*/ 108 h 282"/>
                <a:gd name="T60" fmla="*/ 13 w 318"/>
                <a:gd name="T61" fmla="*/ 64 h 282"/>
                <a:gd name="T62" fmla="*/ 29 w 318"/>
                <a:gd name="T63" fmla="*/ 31 h 282"/>
                <a:gd name="T64" fmla="*/ 59 w 318"/>
                <a:gd name="T65" fmla="*/ 13 h 282"/>
                <a:gd name="T66" fmla="*/ 93 w 318"/>
                <a:gd name="T67" fmla="*/ 13 h 282"/>
                <a:gd name="T68" fmla="*/ 118 w 318"/>
                <a:gd name="T69" fmla="*/ 28 h 282"/>
                <a:gd name="T70" fmla="*/ 134 w 318"/>
                <a:gd name="T71" fmla="*/ 56 h 282"/>
                <a:gd name="T72" fmla="*/ 131 w 318"/>
                <a:gd name="T73" fmla="*/ 97 h 282"/>
                <a:gd name="T74" fmla="*/ 75 w 318"/>
                <a:gd name="T75" fmla="*/ 208 h 282"/>
                <a:gd name="T76" fmla="*/ 36 w 318"/>
                <a:gd name="T77" fmla="*/ 10 h 282"/>
                <a:gd name="T78" fmla="*/ 8 w 318"/>
                <a:gd name="T79" fmla="*/ 41 h 282"/>
                <a:gd name="T80" fmla="*/ 0 w 318"/>
                <a:gd name="T81" fmla="*/ 85 h 282"/>
                <a:gd name="T82" fmla="*/ 36 w 318"/>
                <a:gd name="T83" fmla="*/ 167 h 282"/>
                <a:gd name="T84" fmla="*/ 57 w 318"/>
                <a:gd name="T85" fmla="*/ 215 h 282"/>
                <a:gd name="T86" fmla="*/ 287 w 318"/>
                <a:gd name="T87" fmla="*/ 254 h 282"/>
                <a:gd name="T88" fmla="*/ 292 w 318"/>
                <a:gd name="T89" fmla="*/ 85 h 282"/>
                <a:gd name="T90" fmla="*/ 282 w 318"/>
                <a:gd name="T91" fmla="*/ 67 h 282"/>
                <a:gd name="T92" fmla="*/ 305 w 318"/>
                <a:gd name="T93" fmla="*/ 82 h 282"/>
                <a:gd name="T94" fmla="*/ 303 w 318"/>
                <a:gd name="T95" fmla="*/ 261 h 282"/>
                <a:gd name="T96" fmla="*/ 62 w 318"/>
                <a:gd name="T97" fmla="*/ 272 h 282"/>
                <a:gd name="T98" fmla="*/ 44 w 318"/>
                <a:gd name="T99" fmla="*/ 251 h 282"/>
                <a:gd name="T100" fmla="*/ 36 w 318"/>
                <a:gd name="T101" fmla="*/ 182 h 282"/>
                <a:gd name="T102" fmla="*/ 34 w 318"/>
                <a:gd name="T103" fmla="*/ 259 h 282"/>
                <a:gd name="T104" fmla="*/ 62 w 318"/>
                <a:gd name="T105" fmla="*/ 282 h 282"/>
                <a:gd name="T106" fmla="*/ 308 w 318"/>
                <a:gd name="T107" fmla="*/ 272 h 282"/>
                <a:gd name="T108" fmla="*/ 318 w 318"/>
                <a:gd name="T109" fmla="*/ 79 h 282"/>
                <a:gd name="T110" fmla="*/ 287 w 318"/>
                <a:gd name="T111" fmla="*/ 54 h 282"/>
                <a:gd name="T112" fmla="*/ 134 w 318"/>
                <a:gd name="T113" fmla="*/ 31 h 282"/>
                <a:gd name="T114" fmla="*/ 108 w 318"/>
                <a:gd name="T115" fmla="*/ 8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8" h="282">
                  <a:moveTo>
                    <a:pt x="75" y="26"/>
                  </a:moveTo>
                  <a:lnTo>
                    <a:pt x="70" y="26"/>
                  </a:lnTo>
                  <a:lnTo>
                    <a:pt x="67" y="26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59" y="28"/>
                  </a:lnTo>
                  <a:lnTo>
                    <a:pt x="57" y="31"/>
                  </a:lnTo>
                  <a:lnTo>
                    <a:pt x="54" y="31"/>
                  </a:lnTo>
                  <a:lnTo>
                    <a:pt x="52" y="33"/>
                  </a:lnTo>
                  <a:lnTo>
                    <a:pt x="49" y="33"/>
                  </a:lnTo>
                  <a:lnTo>
                    <a:pt x="47" y="36"/>
                  </a:lnTo>
                  <a:lnTo>
                    <a:pt x="44" y="39"/>
                  </a:lnTo>
                  <a:lnTo>
                    <a:pt x="41" y="41"/>
                  </a:lnTo>
                  <a:lnTo>
                    <a:pt x="39" y="44"/>
                  </a:lnTo>
                  <a:lnTo>
                    <a:pt x="36" y="46"/>
                  </a:lnTo>
                  <a:lnTo>
                    <a:pt x="36" y="49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6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7" y="54"/>
                  </a:lnTo>
                  <a:lnTo>
                    <a:pt x="47" y="51"/>
                  </a:lnTo>
                  <a:lnTo>
                    <a:pt x="49" y="51"/>
                  </a:lnTo>
                  <a:lnTo>
                    <a:pt x="49" y="49"/>
                  </a:lnTo>
                  <a:lnTo>
                    <a:pt x="52" y="46"/>
                  </a:lnTo>
                  <a:lnTo>
                    <a:pt x="54" y="46"/>
                  </a:lnTo>
                  <a:lnTo>
                    <a:pt x="54" y="44"/>
                  </a:lnTo>
                  <a:lnTo>
                    <a:pt x="57" y="44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4" y="39"/>
                  </a:lnTo>
                  <a:lnTo>
                    <a:pt x="67" y="39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7" y="39"/>
                  </a:lnTo>
                  <a:lnTo>
                    <a:pt x="80" y="39"/>
                  </a:lnTo>
                  <a:lnTo>
                    <a:pt x="82" y="39"/>
                  </a:lnTo>
                  <a:lnTo>
                    <a:pt x="85" y="41"/>
                  </a:lnTo>
                  <a:lnTo>
                    <a:pt x="87" y="41"/>
                  </a:lnTo>
                  <a:lnTo>
                    <a:pt x="90" y="44"/>
                  </a:lnTo>
                  <a:lnTo>
                    <a:pt x="93" y="44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100" y="51"/>
                  </a:lnTo>
                  <a:lnTo>
                    <a:pt x="103" y="54"/>
                  </a:lnTo>
                  <a:lnTo>
                    <a:pt x="103" y="56"/>
                  </a:lnTo>
                  <a:lnTo>
                    <a:pt x="105" y="59"/>
                  </a:lnTo>
                  <a:lnTo>
                    <a:pt x="105" y="64"/>
                  </a:lnTo>
                  <a:lnTo>
                    <a:pt x="108" y="67"/>
                  </a:lnTo>
                  <a:lnTo>
                    <a:pt x="108" y="69"/>
                  </a:lnTo>
                  <a:lnTo>
                    <a:pt x="108" y="72"/>
                  </a:lnTo>
                  <a:lnTo>
                    <a:pt x="108" y="77"/>
                  </a:lnTo>
                  <a:lnTo>
                    <a:pt x="105" y="79"/>
                  </a:lnTo>
                  <a:lnTo>
                    <a:pt x="105" y="82"/>
                  </a:lnTo>
                  <a:lnTo>
                    <a:pt x="105" y="85"/>
                  </a:lnTo>
                  <a:lnTo>
                    <a:pt x="103" y="90"/>
                  </a:lnTo>
                  <a:lnTo>
                    <a:pt x="100" y="92"/>
                  </a:lnTo>
                  <a:lnTo>
                    <a:pt x="98" y="95"/>
                  </a:lnTo>
                  <a:lnTo>
                    <a:pt x="98" y="95"/>
                  </a:lnTo>
                  <a:lnTo>
                    <a:pt x="95" y="97"/>
                  </a:lnTo>
                  <a:lnTo>
                    <a:pt x="93" y="100"/>
                  </a:lnTo>
                  <a:lnTo>
                    <a:pt x="90" y="100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2" y="105"/>
                  </a:lnTo>
                  <a:lnTo>
                    <a:pt x="80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2" y="105"/>
                  </a:lnTo>
                  <a:lnTo>
                    <a:pt x="70" y="105"/>
                  </a:lnTo>
                  <a:lnTo>
                    <a:pt x="67" y="105"/>
                  </a:lnTo>
                  <a:lnTo>
                    <a:pt x="64" y="103"/>
                  </a:lnTo>
                  <a:lnTo>
                    <a:pt x="62" y="103"/>
                  </a:lnTo>
                  <a:lnTo>
                    <a:pt x="59" y="103"/>
                  </a:lnTo>
                  <a:lnTo>
                    <a:pt x="57" y="100"/>
                  </a:lnTo>
                  <a:lnTo>
                    <a:pt x="54" y="100"/>
                  </a:lnTo>
                  <a:lnTo>
                    <a:pt x="54" y="97"/>
                  </a:lnTo>
                  <a:lnTo>
                    <a:pt x="52" y="95"/>
                  </a:lnTo>
                  <a:lnTo>
                    <a:pt x="49" y="95"/>
                  </a:lnTo>
                  <a:lnTo>
                    <a:pt x="47" y="92"/>
                  </a:lnTo>
                  <a:lnTo>
                    <a:pt x="47" y="90"/>
                  </a:lnTo>
                  <a:lnTo>
                    <a:pt x="44" y="87"/>
                  </a:lnTo>
                  <a:lnTo>
                    <a:pt x="44" y="85"/>
                  </a:lnTo>
                  <a:lnTo>
                    <a:pt x="41" y="82"/>
                  </a:lnTo>
                  <a:lnTo>
                    <a:pt x="41" y="79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1" y="85"/>
                  </a:lnTo>
                  <a:lnTo>
                    <a:pt x="31" y="87"/>
                  </a:lnTo>
                  <a:lnTo>
                    <a:pt x="34" y="90"/>
                  </a:lnTo>
                  <a:lnTo>
                    <a:pt x="34" y="92"/>
                  </a:lnTo>
                  <a:lnTo>
                    <a:pt x="36" y="97"/>
                  </a:lnTo>
                  <a:lnTo>
                    <a:pt x="39" y="100"/>
                  </a:lnTo>
                  <a:lnTo>
                    <a:pt x="41" y="103"/>
                  </a:lnTo>
                  <a:lnTo>
                    <a:pt x="44" y="105"/>
                  </a:lnTo>
                  <a:lnTo>
                    <a:pt x="47" y="108"/>
                  </a:lnTo>
                  <a:lnTo>
                    <a:pt x="49" y="108"/>
                  </a:lnTo>
                  <a:lnTo>
                    <a:pt x="52" y="110"/>
                  </a:lnTo>
                  <a:lnTo>
                    <a:pt x="54" y="113"/>
                  </a:lnTo>
                  <a:lnTo>
                    <a:pt x="57" y="113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7" y="115"/>
                  </a:lnTo>
                  <a:lnTo>
                    <a:pt x="70" y="115"/>
                  </a:lnTo>
                  <a:lnTo>
                    <a:pt x="75" y="115"/>
                  </a:lnTo>
                  <a:lnTo>
                    <a:pt x="77" y="115"/>
                  </a:lnTo>
                  <a:lnTo>
                    <a:pt x="82" y="115"/>
                  </a:lnTo>
                  <a:lnTo>
                    <a:pt x="85" y="115"/>
                  </a:lnTo>
                  <a:lnTo>
                    <a:pt x="87" y="115"/>
                  </a:lnTo>
                  <a:lnTo>
                    <a:pt x="93" y="113"/>
                  </a:lnTo>
                  <a:lnTo>
                    <a:pt x="95" y="110"/>
                  </a:lnTo>
                  <a:lnTo>
                    <a:pt x="98" y="110"/>
                  </a:lnTo>
                  <a:lnTo>
                    <a:pt x="100" y="108"/>
                  </a:lnTo>
                  <a:lnTo>
                    <a:pt x="103" y="105"/>
                  </a:lnTo>
                  <a:lnTo>
                    <a:pt x="105" y="105"/>
                  </a:lnTo>
                  <a:lnTo>
                    <a:pt x="105" y="103"/>
                  </a:lnTo>
                  <a:lnTo>
                    <a:pt x="108" y="103"/>
                  </a:lnTo>
                  <a:lnTo>
                    <a:pt x="108" y="100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3" y="95"/>
                  </a:lnTo>
                  <a:lnTo>
                    <a:pt x="113" y="92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87"/>
                  </a:lnTo>
                  <a:lnTo>
                    <a:pt x="118" y="85"/>
                  </a:lnTo>
                  <a:lnTo>
                    <a:pt x="118" y="82"/>
                  </a:lnTo>
                  <a:lnTo>
                    <a:pt x="118" y="79"/>
                  </a:lnTo>
                  <a:lnTo>
                    <a:pt x="118" y="77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2"/>
                  </a:lnTo>
                  <a:lnTo>
                    <a:pt x="118" y="69"/>
                  </a:lnTo>
                  <a:lnTo>
                    <a:pt x="118" y="67"/>
                  </a:lnTo>
                  <a:lnTo>
                    <a:pt x="118" y="64"/>
                  </a:lnTo>
                  <a:lnTo>
                    <a:pt x="118" y="62"/>
                  </a:lnTo>
                  <a:lnTo>
                    <a:pt x="118" y="59"/>
                  </a:lnTo>
                  <a:lnTo>
                    <a:pt x="116" y="59"/>
                  </a:lnTo>
                  <a:lnTo>
                    <a:pt x="116" y="56"/>
                  </a:lnTo>
                  <a:lnTo>
                    <a:pt x="116" y="54"/>
                  </a:lnTo>
                  <a:lnTo>
                    <a:pt x="113" y="51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1" y="46"/>
                  </a:lnTo>
                  <a:lnTo>
                    <a:pt x="111" y="44"/>
                  </a:lnTo>
                  <a:lnTo>
                    <a:pt x="108" y="44"/>
                  </a:lnTo>
                  <a:lnTo>
                    <a:pt x="108" y="41"/>
                  </a:lnTo>
                  <a:lnTo>
                    <a:pt x="105" y="39"/>
                  </a:lnTo>
                  <a:lnTo>
                    <a:pt x="105" y="39"/>
                  </a:lnTo>
                  <a:lnTo>
                    <a:pt x="103" y="36"/>
                  </a:lnTo>
                  <a:lnTo>
                    <a:pt x="100" y="36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5" y="31"/>
                  </a:lnTo>
                  <a:lnTo>
                    <a:pt x="93" y="31"/>
                  </a:lnTo>
                  <a:lnTo>
                    <a:pt x="90" y="31"/>
                  </a:lnTo>
                  <a:lnTo>
                    <a:pt x="90" y="28"/>
                  </a:lnTo>
                  <a:lnTo>
                    <a:pt x="87" y="28"/>
                  </a:lnTo>
                  <a:lnTo>
                    <a:pt x="85" y="28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77" y="26"/>
                  </a:lnTo>
                  <a:lnTo>
                    <a:pt x="75" y="26"/>
                  </a:lnTo>
                  <a:close/>
                  <a:moveTo>
                    <a:pt x="75" y="225"/>
                  </a:moveTo>
                  <a:lnTo>
                    <a:pt x="75" y="225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2" y="218"/>
                  </a:lnTo>
                  <a:lnTo>
                    <a:pt x="90" y="202"/>
                  </a:lnTo>
                  <a:lnTo>
                    <a:pt x="95" y="195"/>
                  </a:lnTo>
                  <a:lnTo>
                    <a:pt x="103" y="184"/>
                  </a:lnTo>
                  <a:lnTo>
                    <a:pt x="108" y="172"/>
                  </a:lnTo>
                  <a:lnTo>
                    <a:pt x="116" y="161"/>
                  </a:lnTo>
                  <a:lnTo>
                    <a:pt x="144" y="161"/>
                  </a:lnTo>
                  <a:lnTo>
                    <a:pt x="123" y="243"/>
                  </a:lnTo>
                  <a:lnTo>
                    <a:pt x="67" y="243"/>
                  </a:lnTo>
                  <a:lnTo>
                    <a:pt x="67" y="218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2" y="223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5" y="225"/>
                  </a:lnTo>
                  <a:lnTo>
                    <a:pt x="75" y="225"/>
                  </a:lnTo>
                  <a:close/>
                  <a:moveTo>
                    <a:pt x="200" y="159"/>
                  </a:moveTo>
                  <a:lnTo>
                    <a:pt x="282" y="159"/>
                  </a:lnTo>
                  <a:lnTo>
                    <a:pt x="282" y="243"/>
                  </a:lnTo>
                  <a:lnTo>
                    <a:pt x="226" y="243"/>
                  </a:lnTo>
                  <a:lnTo>
                    <a:pt x="200" y="159"/>
                  </a:lnTo>
                  <a:close/>
                  <a:moveTo>
                    <a:pt x="123" y="143"/>
                  </a:moveTo>
                  <a:lnTo>
                    <a:pt x="126" y="136"/>
                  </a:lnTo>
                  <a:lnTo>
                    <a:pt x="131" y="131"/>
                  </a:lnTo>
                  <a:lnTo>
                    <a:pt x="134" y="123"/>
                  </a:lnTo>
                  <a:lnTo>
                    <a:pt x="213" y="123"/>
                  </a:lnTo>
                  <a:lnTo>
                    <a:pt x="213" y="123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03" y="128"/>
                  </a:lnTo>
                  <a:lnTo>
                    <a:pt x="200" y="128"/>
                  </a:lnTo>
                  <a:lnTo>
                    <a:pt x="198" y="128"/>
                  </a:lnTo>
                  <a:lnTo>
                    <a:pt x="195" y="131"/>
                  </a:lnTo>
                  <a:lnTo>
                    <a:pt x="192" y="131"/>
                  </a:lnTo>
                  <a:lnTo>
                    <a:pt x="187" y="131"/>
                  </a:lnTo>
                  <a:lnTo>
                    <a:pt x="185" y="133"/>
                  </a:lnTo>
                  <a:lnTo>
                    <a:pt x="182" y="136"/>
                  </a:lnTo>
                  <a:lnTo>
                    <a:pt x="180" y="136"/>
                  </a:lnTo>
                  <a:lnTo>
                    <a:pt x="177" y="138"/>
                  </a:lnTo>
                  <a:lnTo>
                    <a:pt x="175" y="141"/>
                  </a:lnTo>
                  <a:lnTo>
                    <a:pt x="172" y="143"/>
                  </a:lnTo>
                  <a:lnTo>
                    <a:pt x="172" y="149"/>
                  </a:lnTo>
                  <a:lnTo>
                    <a:pt x="169" y="151"/>
                  </a:lnTo>
                  <a:lnTo>
                    <a:pt x="167" y="154"/>
                  </a:lnTo>
                  <a:lnTo>
                    <a:pt x="167" y="156"/>
                  </a:lnTo>
                  <a:lnTo>
                    <a:pt x="167" y="161"/>
                  </a:lnTo>
                  <a:lnTo>
                    <a:pt x="167" y="161"/>
                  </a:lnTo>
                  <a:lnTo>
                    <a:pt x="167" y="164"/>
                  </a:lnTo>
                  <a:lnTo>
                    <a:pt x="167" y="225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31"/>
                  </a:lnTo>
                  <a:lnTo>
                    <a:pt x="167" y="231"/>
                  </a:lnTo>
                  <a:lnTo>
                    <a:pt x="169" y="231"/>
                  </a:lnTo>
                  <a:lnTo>
                    <a:pt x="169" y="231"/>
                  </a:lnTo>
                  <a:lnTo>
                    <a:pt x="172" y="233"/>
                  </a:lnTo>
                  <a:lnTo>
                    <a:pt x="172" y="233"/>
                  </a:lnTo>
                  <a:lnTo>
                    <a:pt x="175" y="233"/>
                  </a:lnTo>
                  <a:lnTo>
                    <a:pt x="175" y="231"/>
                  </a:lnTo>
                  <a:lnTo>
                    <a:pt x="175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28"/>
                  </a:lnTo>
                  <a:lnTo>
                    <a:pt x="177" y="228"/>
                  </a:lnTo>
                  <a:lnTo>
                    <a:pt x="177" y="225"/>
                  </a:lnTo>
                  <a:lnTo>
                    <a:pt x="177" y="164"/>
                  </a:lnTo>
                  <a:lnTo>
                    <a:pt x="177" y="161"/>
                  </a:lnTo>
                  <a:lnTo>
                    <a:pt x="180" y="159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80" y="154"/>
                  </a:lnTo>
                  <a:lnTo>
                    <a:pt x="182" y="151"/>
                  </a:lnTo>
                  <a:lnTo>
                    <a:pt x="185" y="149"/>
                  </a:lnTo>
                  <a:lnTo>
                    <a:pt x="185" y="149"/>
                  </a:lnTo>
                  <a:lnTo>
                    <a:pt x="187" y="146"/>
                  </a:lnTo>
                  <a:lnTo>
                    <a:pt x="190" y="143"/>
                  </a:lnTo>
                  <a:lnTo>
                    <a:pt x="190" y="143"/>
                  </a:lnTo>
                  <a:lnTo>
                    <a:pt x="192" y="143"/>
                  </a:lnTo>
                  <a:lnTo>
                    <a:pt x="195" y="141"/>
                  </a:lnTo>
                  <a:lnTo>
                    <a:pt x="198" y="141"/>
                  </a:lnTo>
                  <a:lnTo>
                    <a:pt x="200" y="141"/>
                  </a:lnTo>
                  <a:lnTo>
                    <a:pt x="20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3"/>
                  </a:lnTo>
                  <a:lnTo>
                    <a:pt x="213" y="143"/>
                  </a:lnTo>
                  <a:lnTo>
                    <a:pt x="213" y="143"/>
                  </a:lnTo>
                  <a:lnTo>
                    <a:pt x="213" y="146"/>
                  </a:lnTo>
                  <a:lnTo>
                    <a:pt x="213" y="146"/>
                  </a:lnTo>
                  <a:lnTo>
                    <a:pt x="216" y="146"/>
                  </a:lnTo>
                  <a:lnTo>
                    <a:pt x="216" y="146"/>
                  </a:lnTo>
                  <a:lnTo>
                    <a:pt x="192" y="146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5" y="151"/>
                  </a:lnTo>
                  <a:lnTo>
                    <a:pt x="185" y="151"/>
                  </a:lnTo>
                  <a:lnTo>
                    <a:pt x="185" y="154"/>
                  </a:lnTo>
                  <a:lnTo>
                    <a:pt x="185" y="154"/>
                  </a:lnTo>
                  <a:lnTo>
                    <a:pt x="213" y="243"/>
                  </a:lnTo>
                  <a:lnTo>
                    <a:pt x="136" y="243"/>
                  </a:lnTo>
                  <a:lnTo>
                    <a:pt x="157" y="156"/>
                  </a:lnTo>
                  <a:lnTo>
                    <a:pt x="157" y="156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1"/>
                  </a:lnTo>
                  <a:lnTo>
                    <a:pt x="157" y="151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1" y="149"/>
                  </a:lnTo>
                  <a:lnTo>
                    <a:pt x="121" y="149"/>
                  </a:lnTo>
                  <a:lnTo>
                    <a:pt x="123" y="143"/>
                  </a:lnTo>
                  <a:close/>
                  <a:moveTo>
                    <a:pt x="244" y="141"/>
                  </a:moveTo>
                  <a:lnTo>
                    <a:pt x="246" y="138"/>
                  </a:lnTo>
                  <a:lnTo>
                    <a:pt x="246" y="138"/>
                  </a:lnTo>
                  <a:lnTo>
                    <a:pt x="246" y="138"/>
                  </a:lnTo>
                  <a:lnTo>
                    <a:pt x="246" y="138"/>
                  </a:lnTo>
                  <a:lnTo>
                    <a:pt x="249" y="136"/>
                  </a:lnTo>
                  <a:lnTo>
                    <a:pt x="249" y="136"/>
                  </a:lnTo>
                  <a:lnTo>
                    <a:pt x="249" y="136"/>
                  </a:lnTo>
                  <a:lnTo>
                    <a:pt x="249" y="133"/>
                  </a:lnTo>
                  <a:lnTo>
                    <a:pt x="249" y="133"/>
                  </a:lnTo>
                  <a:lnTo>
                    <a:pt x="249" y="133"/>
                  </a:lnTo>
                  <a:lnTo>
                    <a:pt x="249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6" y="128"/>
                  </a:lnTo>
                  <a:lnTo>
                    <a:pt x="244" y="128"/>
                  </a:lnTo>
                  <a:lnTo>
                    <a:pt x="226" y="123"/>
                  </a:lnTo>
                  <a:lnTo>
                    <a:pt x="282" y="123"/>
                  </a:lnTo>
                  <a:lnTo>
                    <a:pt x="282" y="146"/>
                  </a:lnTo>
                  <a:lnTo>
                    <a:pt x="223" y="146"/>
                  </a:lnTo>
                  <a:lnTo>
                    <a:pt x="244" y="141"/>
                  </a:lnTo>
                  <a:close/>
                  <a:moveTo>
                    <a:pt x="141" y="108"/>
                  </a:moveTo>
                  <a:lnTo>
                    <a:pt x="141" y="103"/>
                  </a:lnTo>
                  <a:lnTo>
                    <a:pt x="144" y="97"/>
                  </a:lnTo>
                  <a:lnTo>
                    <a:pt x="144" y="92"/>
                  </a:lnTo>
                  <a:lnTo>
                    <a:pt x="282" y="92"/>
                  </a:lnTo>
                  <a:lnTo>
                    <a:pt x="282" y="110"/>
                  </a:lnTo>
                  <a:lnTo>
                    <a:pt x="139" y="110"/>
                  </a:lnTo>
                  <a:lnTo>
                    <a:pt x="141" y="108"/>
                  </a:lnTo>
                  <a:close/>
                  <a:moveTo>
                    <a:pt x="67" y="195"/>
                  </a:moveTo>
                  <a:lnTo>
                    <a:pt x="57" y="179"/>
                  </a:lnTo>
                  <a:lnTo>
                    <a:pt x="52" y="172"/>
                  </a:lnTo>
                  <a:lnTo>
                    <a:pt x="47" y="161"/>
                  </a:lnTo>
                  <a:lnTo>
                    <a:pt x="41" y="151"/>
                  </a:lnTo>
                  <a:lnTo>
                    <a:pt x="36" y="141"/>
                  </a:lnTo>
                  <a:lnTo>
                    <a:pt x="31" y="133"/>
                  </a:lnTo>
                  <a:lnTo>
                    <a:pt x="26" y="123"/>
                  </a:lnTo>
                  <a:lnTo>
                    <a:pt x="23" y="113"/>
                  </a:lnTo>
                  <a:lnTo>
                    <a:pt x="21" y="108"/>
                  </a:lnTo>
                  <a:lnTo>
                    <a:pt x="18" y="103"/>
                  </a:lnTo>
                  <a:lnTo>
                    <a:pt x="18" y="100"/>
                  </a:lnTo>
                  <a:lnTo>
                    <a:pt x="16" y="95"/>
                  </a:lnTo>
                  <a:lnTo>
                    <a:pt x="16" y="90"/>
                  </a:lnTo>
                  <a:lnTo>
                    <a:pt x="13" y="87"/>
                  </a:lnTo>
                  <a:lnTo>
                    <a:pt x="13" y="82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1" y="74"/>
                  </a:lnTo>
                  <a:lnTo>
                    <a:pt x="11" y="69"/>
                  </a:lnTo>
                  <a:lnTo>
                    <a:pt x="11" y="67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3" y="54"/>
                  </a:lnTo>
                  <a:lnTo>
                    <a:pt x="16" y="51"/>
                  </a:lnTo>
                  <a:lnTo>
                    <a:pt x="16" y="49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1" y="41"/>
                  </a:lnTo>
                  <a:lnTo>
                    <a:pt x="23" y="39"/>
                  </a:lnTo>
                  <a:lnTo>
                    <a:pt x="23" y="36"/>
                  </a:lnTo>
                  <a:lnTo>
                    <a:pt x="26" y="33"/>
                  </a:lnTo>
                  <a:lnTo>
                    <a:pt x="29" y="31"/>
                  </a:lnTo>
                  <a:lnTo>
                    <a:pt x="31" y="28"/>
                  </a:lnTo>
                  <a:lnTo>
                    <a:pt x="31" y="26"/>
                  </a:lnTo>
                  <a:lnTo>
                    <a:pt x="34" y="26"/>
                  </a:lnTo>
                  <a:lnTo>
                    <a:pt x="36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4" y="18"/>
                  </a:lnTo>
                  <a:lnTo>
                    <a:pt x="47" y="18"/>
                  </a:lnTo>
                  <a:lnTo>
                    <a:pt x="49" y="15"/>
                  </a:lnTo>
                  <a:lnTo>
                    <a:pt x="52" y="15"/>
                  </a:lnTo>
                  <a:lnTo>
                    <a:pt x="57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4" y="10"/>
                  </a:lnTo>
                  <a:lnTo>
                    <a:pt x="67" y="10"/>
                  </a:lnTo>
                  <a:lnTo>
                    <a:pt x="72" y="10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5" y="10"/>
                  </a:lnTo>
                  <a:lnTo>
                    <a:pt x="87" y="13"/>
                  </a:lnTo>
                  <a:lnTo>
                    <a:pt x="90" y="13"/>
                  </a:lnTo>
                  <a:lnTo>
                    <a:pt x="93" y="13"/>
                  </a:lnTo>
                  <a:lnTo>
                    <a:pt x="95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3" y="18"/>
                  </a:lnTo>
                  <a:lnTo>
                    <a:pt x="105" y="18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6" y="26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21" y="31"/>
                  </a:lnTo>
                  <a:lnTo>
                    <a:pt x="123" y="33"/>
                  </a:lnTo>
                  <a:lnTo>
                    <a:pt x="123" y="36"/>
                  </a:lnTo>
                  <a:lnTo>
                    <a:pt x="126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44"/>
                  </a:lnTo>
                  <a:lnTo>
                    <a:pt x="131" y="46"/>
                  </a:lnTo>
                  <a:lnTo>
                    <a:pt x="131" y="49"/>
                  </a:lnTo>
                  <a:lnTo>
                    <a:pt x="134" y="51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6" y="59"/>
                  </a:lnTo>
                  <a:lnTo>
                    <a:pt x="136" y="64"/>
                  </a:lnTo>
                  <a:lnTo>
                    <a:pt x="136" y="67"/>
                  </a:lnTo>
                  <a:lnTo>
                    <a:pt x="136" y="69"/>
                  </a:lnTo>
                  <a:lnTo>
                    <a:pt x="136" y="74"/>
                  </a:lnTo>
                  <a:lnTo>
                    <a:pt x="136" y="77"/>
                  </a:lnTo>
                  <a:lnTo>
                    <a:pt x="136" y="77"/>
                  </a:lnTo>
                  <a:lnTo>
                    <a:pt x="136" y="79"/>
                  </a:lnTo>
                  <a:lnTo>
                    <a:pt x="136" y="85"/>
                  </a:lnTo>
                  <a:lnTo>
                    <a:pt x="134" y="87"/>
                  </a:lnTo>
                  <a:lnTo>
                    <a:pt x="134" y="92"/>
                  </a:lnTo>
                  <a:lnTo>
                    <a:pt x="131" y="97"/>
                  </a:lnTo>
                  <a:lnTo>
                    <a:pt x="128" y="105"/>
                  </a:lnTo>
                  <a:lnTo>
                    <a:pt x="126" y="110"/>
                  </a:lnTo>
                  <a:lnTo>
                    <a:pt x="123" y="118"/>
                  </a:lnTo>
                  <a:lnTo>
                    <a:pt x="121" y="123"/>
                  </a:lnTo>
                  <a:lnTo>
                    <a:pt x="116" y="131"/>
                  </a:lnTo>
                  <a:lnTo>
                    <a:pt x="111" y="143"/>
                  </a:lnTo>
                  <a:lnTo>
                    <a:pt x="105" y="154"/>
                  </a:lnTo>
                  <a:lnTo>
                    <a:pt x="98" y="164"/>
                  </a:lnTo>
                  <a:lnTo>
                    <a:pt x="93" y="177"/>
                  </a:lnTo>
                  <a:lnTo>
                    <a:pt x="87" y="184"/>
                  </a:lnTo>
                  <a:lnTo>
                    <a:pt x="82" y="195"/>
                  </a:lnTo>
                  <a:lnTo>
                    <a:pt x="75" y="208"/>
                  </a:lnTo>
                  <a:lnTo>
                    <a:pt x="67" y="195"/>
                  </a:lnTo>
                  <a:close/>
                  <a:moveTo>
                    <a:pt x="70" y="0"/>
                  </a:moveTo>
                  <a:lnTo>
                    <a:pt x="67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7" y="5"/>
                  </a:lnTo>
                  <a:lnTo>
                    <a:pt x="41" y="5"/>
                  </a:lnTo>
                  <a:lnTo>
                    <a:pt x="39" y="8"/>
                  </a:lnTo>
                  <a:lnTo>
                    <a:pt x="36" y="10"/>
                  </a:lnTo>
                  <a:lnTo>
                    <a:pt x="34" y="13"/>
                  </a:lnTo>
                  <a:lnTo>
                    <a:pt x="29" y="13"/>
                  </a:lnTo>
                  <a:lnTo>
                    <a:pt x="26" y="15"/>
                  </a:lnTo>
                  <a:lnTo>
                    <a:pt x="23" y="18"/>
                  </a:lnTo>
                  <a:lnTo>
                    <a:pt x="21" y="21"/>
                  </a:lnTo>
                  <a:lnTo>
                    <a:pt x="18" y="23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3" y="31"/>
                  </a:lnTo>
                  <a:lnTo>
                    <a:pt x="11" y="36"/>
                  </a:lnTo>
                  <a:lnTo>
                    <a:pt x="8" y="39"/>
                  </a:lnTo>
                  <a:lnTo>
                    <a:pt x="8" y="41"/>
                  </a:lnTo>
                  <a:lnTo>
                    <a:pt x="6" y="44"/>
                  </a:lnTo>
                  <a:lnTo>
                    <a:pt x="6" y="49"/>
                  </a:lnTo>
                  <a:lnTo>
                    <a:pt x="3" y="51"/>
                  </a:lnTo>
                  <a:lnTo>
                    <a:pt x="3" y="54"/>
                  </a:lnTo>
                  <a:lnTo>
                    <a:pt x="0" y="59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4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0" y="85"/>
                  </a:lnTo>
                  <a:lnTo>
                    <a:pt x="3" y="87"/>
                  </a:lnTo>
                  <a:lnTo>
                    <a:pt x="3" y="92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8" y="105"/>
                  </a:lnTo>
                  <a:lnTo>
                    <a:pt x="11" y="110"/>
                  </a:lnTo>
                  <a:lnTo>
                    <a:pt x="11" y="115"/>
                  </a:lnTo>
                  <a:lnTo>
                    <a:pt x="16" y="126"/>
                  </a:lnTo>
                  <a:lnTo>
                    <a:pt x="21" y="136"/>
                  </a:lnTo>
                  <a:lnTo>
                    <a:pt x="26" y="146"/>
                  </a:lnTo>
                  <a:lnTo>
                    <a:pt x="31" y="156"/>
                  </a:lnTo>
                  <a:lnTo>
                    <a:pt x="36" y="167"/>
                  </a:lnTo>
                  <a:lnTo>
                    <a:pt x="41" y="174"/>
                  </a:lnTo>
                  <a:lnTo>
                    <a:pt x="47" y="184"/>
                  </a:lnTo>
                  <a:lnTo>
                    <a:pt x="57" y="200"/>
                  </a:lnTo>
                  <a:lnTo>
                    <a:pt x="64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7" y="215"/>
                  </a:lnTo>
                  <a:lnTo>
                    <a:pt x="57" y="215"/>
                  </a:lnTo>
                  <a:lnTo>
                    <a:pt x="57" y="215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57" y="251"/>
                  </a:lnTo>
                  <a:lnTo>
                    <a:pt x="57" y="251"/>
                  </a:lnTo>
                  <a:lnTo>
                    <a:pt x="57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62" y="254"/>
                  </a:lnTo>
                  <a:lnTo>
                    <a:pt x="287" y="254"/>
                  </a:lnTo>
                  <a:lnTo>
                    <a:pt x="287" y="254"/>
                  </a:lnTo>
                  <a:lnTo>
                    <a:pt x="290" y="254"/>
                  </a:lnTo>
                  <a:lnTo>
                    <a:pt x="290" y="254"/>
                  </a:lnTo>
                  <a:lnTo>
                    <a:pt x="292" y="254"/>
                  </a:lnTo>
                  <a:lnTo>
                    <a:pt x="292" y="251"/>
                  </a:lnTo>
                  <a:lnTo>
                    <a:pt x="292" y="251"/>
                  </a:lnTo>
                  <a:lnTo>
                    <a:pt x="292" y="248"/>
                  </a:lnTo>
                  <a:lnTo>
                    <a:pt x="292" y="248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87" y="82"/>
                  </a:lnTo>
                  <a:lnTo>
                    <a:pt x="287" y="82"/>
                  </a:lnTo>
                  <a:lnTo>
                    <a:pt x="146" y="82"/>
                  </a:lnTo>
                  <a:lnTo>
                    <a:pt x="149" y="7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9" y="69"/>
                  </a:lnTo>
                  <a:lnTo>
                    <a:pt x="149" y="67"/>
                  </a:lnTo>
                  <a:lnTo>
                    <a:pt x="282" y="67"/>
                  </a:lnTo>
                  <a:lnTo>
                    <a:pt x="285" y="67"/>
                  </a:lnTo>
                  <a:lnTo>
                    <a:pt x="287" y="67"/>
                  </a:lnTo>
                  <a:lnTo>
                    <a:pt x="290" y="67"/>
                  </a:lnTo>
                  <a:lnTo>
                    <a:pt x="292" y="69"/>
                  </a:lnTo>
                  <a:lnTo>
                    <a:pt x="295" y="69"/>
                  </a:lnTo>
                  <a:lnTo>
                    <a:pt x="297" y="69"/>
                  </a:lnTo>
                  <a:lnTo>
                    <a:pt x="297" y="72"/>
                  </a:lnTo>
                  <a:lnTo>
                    <a:pt x="300" y="74"/>
                  </a:lnTo>
                  <a:lnTo>
                    <a:pt x="303" y="74"/>
                  </a:lnTo>
                  <a:lnTo>
                    <a:pt x="303" y="77"/>
                  </a:lnTo>
                  <a:lnTo>
                    <a:pt x="305" y="79"/>
                  </a:lnTo>
                  <a:lnTo>
                    <a:pt x="305" y="82"/>
                  </a:lnTo>
                  <a:lnTo>
                    <a:pt x="305" y="82"/>
                  </a:lnTo>
                  <a:lnTo>
                    <a:pt x="308" y="85"/>
                  </a:lnTo>
                  <a:lnTo>
                    <a:pt x="308" y="87"/>
                  </a:lnTo>
                  <a:lnTo>
                    <a:pt x="308" y="90"/>
                  </a:lnTo>
                  <a:lnTo>
                    <a:pt x="308" y="246"/>
                  </a:lnTo>
                  <a:lnTo>
                    <a:pt x="308" y="248"/>
                  </a:lnTo>
                  <a:lnTo>
                    <a:pt x="308" y="251"/>
                  </a:lnTo>
                  <a:lnTo>
                    <a:pt x="305" y="254"/>
                  </a:lnTo>
                  <a:lnTo>
                    <a:pt x="305" y="256"/>
                  </a:lnTo>
                  <a:lnTo>
                    <a:pt x="305" y="259"/>
                  </a:lnTo>
                  <a:lnTo>
                    <a:pt x="303" y="261"/>
                  </a:lnTo>
                  <a:lnTo>
                    <a:pt x="303" y="261"/>
                  </a:lnTo>
                  <a:lnTo>
                    <a:pt x="300" y="264"/>
                  </a:lnTo>
                  <a:lnTo>
                    <a:pt x="297" y="266"/>
                  </a:lnTo>
                  <a:lnTo>
                    <a:pt x="297" y="266"/>
                  </a:lnTo>
                  <a:lnTo>
                    <a:pt x="295" y="269"/>
                  </a:lnTo>
                  <a:lnTo>
                    <a:pt x="292" y="269"/>
                  </a:lnTo>
                  <a:lnTo>
                    <a:pt x="290" y="269"/>
                  </a:lnTo>
                  <a:lnTo>
                    <a:pt x="287" y="272"/>
                  </a:lnTo>
                  <a:lnTo>
                    <a:pt x="285" y="272"/>
                  </a:lnTo>
                  <a:lnTo>
                    <a:pt x="282" y="272"/>
                  </a:lnTo>
                  <a:lnTo>
                    <a:pt x="67" y="272"/>
                  </a:lnTo>
                  <a:lnTo>
                    <a:pt x="64" y="272"/>
                  </a:lnTo>
                  <a:lnTo>
                    <a:pt x="62" y="272"/>
                  </a:lnTo>
                  <a:lnTo>
                    <a:pt x="59" y="269"/>
                  </a:lnTo>
                  <a:lnTo>
                    <a:pt x="57" y="269"/>
                  </a:lnTo>
                  <a:lnTo>
                    <a:pt x="54" y="269"/>
                  </a:lnTo>
                  <a:lnTo>
                    <a:pt x="54" y="266"/>
                  </a:lnTo>
                  <a:lnTo>
                    <a:pt x="52" y="266"/>
                  </a:lnTo>
                  <a:lnTo>
                    <a:pt x="49" y="264"/>
                  </a:lnTo>
                  <a:lnTo>
                    <a:pt x="49" y="261"/>
                  </a:lnTo>
                  <a:lnTo>
                    <a:pt x="47" y="261"/>
                  </a:lnTo>
                  <a:lnTo>
                    <a:pt x="47" y="259"/>
                  </a:lnTo>
                  <a:lnTo>
                    <a:pt x="44" y="256"/>
                  </a:lnTo>
                  <a:lnTo>
                    <a:pt x="44" y="254"/>
                  </a:lnTo>
                  <a:lnTo>
                    <a:pt x="44" y="251"/>
                  </a:lnTo>
                  <a:lnTo>
                    <a:pt x="41" y="248"/>
                  </a:lnTo>
                  <a:lnTo>
                    <a:pt x="41" y="246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31" y="187"/>
                  </a:lnTo>
                  <a:lnTo>
                    <a:pt x="31" y="187"/>
                  </a:lnTo>
                  <a:lnTo>
                    <a:pt x="31" y="246"/>
                  </a:lnTo>
                  <a:lnTo>
                    <a:pt x="31" y="248"/>
                  </a:lnTo>
                  <a:lnTo>
                    <a:pt x="31" y="251"/>
                  </a:lnTo>
                  <a:lnTo>
                    <a:pt x="31" y="254"/>
                  </a:lnTo>
                  <a:lnTo>
                    <a:pt x="34" y="259"/>
                  </a:lnTo>
                  <a:lnTo>
                    <a:pt x="34" y="261"/>
                  </a:lnTo>
                  <a:lnTo>
                    <a:pt x="36" y="264"/>
                  </a:lnTo>
                  <a:lnTo>
                    <a:pt x="36" y="266"/>
                  </a:lnTo>
                  <a:lnTo>
                    <a:pt x="39" y="269"/>
                  </a:lnTo>
                  <a:lnTo>
                    <a:pt x="41" y="272"/>
                  </a:lnTo>
                  <a:lnTo>
                    <a:pt x="44" y="274"/>
                  </a:lnTo>
                  <a:lnTo>
                    <a:pt x="47" y="277"/>
                  </a:lnTo>
                  <a:lnTo>
                    <a:pt x="49" y="279"/>
                  </a:lnTo>
                  <a:lnTo>
                    <a:pt x="52" y="279"/>
                  </a:lnTo>
                  <a:lnTo>
                    <a:pt x="57" y="282"/>
                  </a:lnTo>
                  <a:lnTo>
                    <a:pt x="59" y="282"/>
                  </a:lnTo>
                  <a:lnTo>
                    <a:pt x="62" y="282"/>
                  </a:lnTo>
                  <a:lnTo>
                    <a:pt x="64" y="282"/>
                  </a:lnTo>
                  <a:lnTo>
                    <a:pt x="67" y="282"/>
                  </a:lnTo>
                  <a:lnTo>
                    <a:pt x="282" y="282"/>
                  </a:lnTo>
                  <a:lnTo>
                    <a:pt x="285" y="282"/>
                  </a:lnTo>
                  <a:lnTo>
                    <a:pt x="287" y="282"/>
                  </a:lnTo>
                  <a:lnTo>
                    <a:pt x="290" y="282"/>
                  </a:lnTo>
                  <a:lnTo>
                    <a:pt x="292" y="282"/>
                  </a:lnTo>
                  <a:lnTo>
                    <a:pt x="297" y="279"/>
                  </a:lnTo>
                  <a:lnTo>
                    <a:pt x="300" y="279"/>
                  </a:lnTo>
                  <a:lnTo>
                    <a:pt x="303" y="277"/>
                  </a:lnTo>
                  <a:lnTo>
                    <a:pt x="305" y="274"/>
                  </a:lnTo>
                  <a:lnTo>
                    <a:pt x="308" y="272"/>
                  </a:lnTo>
                  <a:lnTo>
                    <a:pt x="310" y="269"/>
                  </a:lnTo>
                  <a:lnTo>
                    <a:pt x="313" y="266"/>
                  </a:lnTo>
                  <a:lnTo>
                    <a:pt x="315" y="264"/>
                  </a:lnTo>
                  <a:lnTo>
                    <a:pt x="315" y="261"/>
                  </a:lnTo>
                  <a:lnTo>
                    <a:pt x="318" y="259"/>
                  </a:lnTo>
                  <a:lnTo>
                    <a:pt x="318" y="254"/>
                  </a:lnTo>
                  <a:lnTo>
                    <a:pt x="318" y="251"/>
                  </a:lnTo>
                  <a:lnTo>
                    <a:pt x="318" y="248"/>
                  </a:lnTo>
                  <a:lnTo>
                    <a:pt x="318" y="90"/>
                  </a:lnTo>
                  <a:lnTo>
                    <a:pt x="318" y="87"/>
                  </a:lnTo>
                  <a:lnTo>
                    <a:pt x="318" y="82"/>
                  </a:lnTo>
                  <a:lnTo>
                    <a:pt x="318" y="79"/>
                  </a:lnTo>
                  <a:lnTo>
                    <a:pt x="315" y="77"/>
                  </a:lnTo>
                  <a:lnTo>
                    <a:pt x="315" y="74"/>
                  </a:lnTo>
                  <a:lnTo>
                    <a:pt x="313" y="69"/>
                  </a:lnTo>
                  <a:lnTo>
                    <a:pt x="310" y="67"/>
                  </a:lnTo>
                  <a:lnTo>
                    <a:pt x="308" y="64"/>
                  </a:lnTo>
                  <a:lnTo>
                    <a:pt x="305" y="64"/>
                  </a:lnTo>
                  <a:lnTo>
                    <a:pt x="303" y="62"/>
                  </a:lnTo>
                  <a:lnTo>
                    <a:pt x="300" y="59"/>
                  </a:lnTo>
                  <a:lnTo>
                    <a:pt x="297" y="56"/>
                  </a:lnTo>
                  <a:lnTo>
                    <a:pt x="292" y="56"/>
                  </a:lnTo>
                  <a:lnTo>
                    <a:pt x="290" y="56"/>
                  </a:lnTo>
                  <a:lnTo>
                    <a:pt x="287" y="54"/>
                  </a:lnTo>
                  <a:lnTo>
                    <a:pt x="285" y="54"/>
                  </a:lnTo>
                  <a:lnTo>
                    <a:pt x="282" y="54"/>
                  </a:lnTo>
                  <a:lnTo>
                    <a:pt x="146" y="54"/>
                  </a:lnTo>
                  <a:lnTo>
                    <a:pt x="146" y="51"/>
                  </a:lnTo>
                  <a:lnTo>
                    <a:pt x="144" y="49"/>
                  </a:lnTo>
                  <a:lnTo>
                    <a:pt x="144" y="46"/>
                  </a:lnTo>
                  <a:lnTo>
                    <a:pt x="141" y="44"/>
                  </a:lnTo>
                  <a:lnTo>
                    <a:pt x="141" y="41"/>
                  </a:lnTo>
                  <a:lnTo>
                    <a:pt x="139" y="39"/>
                  </a:lnTo>
                  <a:lnTo>
                    <a:pt x="139" y="36"/>
                  </a:lnTo>
                  <a:lnTo>
                    <a:pt x="136" y="33"/>
                  </a:lnTo>
                  <a:lnTo>
                    <a:pt x="134" y="31"/>
                  </a:lnTo>
                  <a:lnTo>
                    <a:pt x="134" y="28"/>
                  </a:lnTo>
                  <a:lnTo>
                    <a:pt x="131" y="26"/>
                  </a:lnTo>
                  <a:lnTo>
                    <a:pt x="128" y="23"/>
                  </a:lnTo>
                  <a:lnTo>
                    <a:pt x="126" y="21"/>
                  </a:lnTo>
                  <a:lnTo>
                    <a:pt x="123" y="18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18" y="13"/>
                  </a:lnTo>
                  <a:lnTo>
                    <a:pt x="116" y="10"/>
                  </a:lnTo>
                  <a:lnTo>
                    <a:pt x="113" y="10"/>
                  </a:lnTo>
                  <a:lnTo>
                    <a:pt x="111" y="8"/>
                  </a:lnTo>
                  <a:lnTo>
                    <a:pt x="108" y="8"/>
                  </a:lnTo>
                  <a:lnTo>
                    <a:pt x="105" y="5"/>
                  </a:lnTo>
                  <a:lnTo>
                    <a:pt x="100" y="5"/>
                  </a:lnTo>
                  <a:lnTo>
                    <a:pt x="98" y="3"/>
                  </a:lnTo>
                  <a:lnTo>
                    <a:pt x="95" y="3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87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82">
            <a:extLst>
              <a:ext uri="{FF2B5EF4-FFF2-40B4-BE49-F238E27FC236}">
                <a16:creationId xmlns:a16="http://schemas.microsoft.com/office/drawing/2014/main" id="{8EE70156-78F2-4545-B373-5FE91F2FDB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52838" y="1595438"/>
            <a:ext cx="758825" cy="758825"/>
            <a:chOff x="2301" y="1005"/>
            <a:chExt cx="478" cy="478"/>
          </a:xfrm>
        </p:grpSpPr>
        <p:sp>
          <p:nvSpPr>
            <p:cNvPr id="108" name="AutoShape 81">
              <a:extLst>
                <a:ext uri="{FF2B5EF4-FFF2-40B4-BE49-F238E27FC236}">
                  <a16:creationId xmlns:a16="http://schemas.microsoft.com/office/drawing/2014/main" id="{232FCDAB-946D-4AC3-A0FE-FDE7B3ACC1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10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3">
              <a:extLst>
                <a:ext uri="{FF2B5EF4-FFF2-40B4-BE49-F238E27FC236}">
                  <a16:creationId xmlns:a16="http://schemas.microsoft.com/office/drawing/2014/main" id="{5BE2BA06-0781-46D6-B513-9E1076291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10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84">
              <a:extLst>
                <a:ext uri="{FF2B5EF4-FFF2-40B4-BE49-F238E27FC236}">
                  <a16:creationId xmlns:a16="http://schemas.microsoft.com/office/drawing/2014/main" id="{68B93907-5243-4F15-8DF7-5A034BD59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7" y="1233"/>
              <a:ext cx="145" cy="100"/>
            </a:xfrm>
            <a:custGeom>
              <a:avLst/>
              <a:gdLst>
                <a:gd name="T0" fmla="*/ 20 w 145"/>
                <a:gd name="T1" fmla="*/ 0 h 100"/>
                <a:gd name="T2" fmla="*/ 0 w 145"/>
                <a:gd name="T3" fmla="*/ 0 h 100"/>
                <a:gd name="T4" fmla="*/ 0 w 145"/>
                <a:gd name="T5" fmla="*/ 7 h 100"/>
                <a:gd name="T6" fmla="*/ 13 w 145"/>
                <a:gd name="T7" fmla="*/ 7 h 100"/>
                <a:gd name="T8" fmla="*/ 13 w 145"/>
                <a:gd name="T9" fmla="*/ 100 h 100"/>
                <a:gd name="T10" fmla="*/ 145 w 145"/>
                <a:gd name="T11" fmla="*/ 100 h 100"/>
                <a:gd name="T12" fmla="*/ 145 w 145"/>
                <a:gd name="T13" fmla="*/ 93 h 100"/>
                <a:gd name="T14" fmla="*/ 20 w 145"/>
                <a:gd name="T15" fmla="*/ 93 h 100"/>
                <a:gd name="T16" fmla="*/ 20 w 145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00">
                  <a:moveTo>
                    <a:pt x="20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3" y="7"/>
                  </a:lnTo>
                  <a:lnTo>
                    <a:pt x="13" y="100"/>
                  </a:lnTo>
                  <a:lnTo>
                    <a:pt x="145" y="100"/>
                  </a:lnTo>
                  <a:lnTo>
                    <a:pt x="145" y="93"/>
                  </a:lnTo>
                  <a:lnTo>
                    <a:pt x="20" y="9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5">
              <a:extLst>
                <a:ext uri="{FF2B5EF4-FFF2-40B4-BE49-F238E27FC236}">
                  <a16:creationId xmlns:a16="http://schemas.microsoft.com/office/drawing/2014/main" id="{8F2C3E64-ECDA-488F-928C-9F5BE3FE5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0" y="1343"/>
              <a:ext cx="34" cy="35"/>
            </a:xfrm>
            <a:custGeom>
              <a:avLst/>
              <a:gdLst>
                <a:gd name="T0" fmla="*/ 7 w 14"/>
                <a:gd name="T1" fmla="*/ 10 h 14"/>
                <a:gd name="T2" fmla="*/ 4 w 14"/>
                <a:gd name="T3" fmla="*/ 7 h 14"/>
                <a:gd name="T4" fmla="*/ 7 w 14"/>
                <a:gd name="T5" fmla="*/ 3 h 14"/>
                <a:gd name="T6" fmla="*/ 11 w 14"/>
                <a:gd name="T7" fmla="*/ 7 h 14"/>
                <a:gd name="T8" fmla="*/ 7 w 14"/>
                <a:gd name="T9" fmla="*/ 10 h 14"/>
                <a:gd name="T10" fmla="*/ 7 w 14"/>
                <a:gd name="T11" fmla="*/ 0 h 14"/>
                <a:gd name="T12" fmla="*/ 0 w 14"/>
                <a:gd name="T13" fmla="*/ 7 h 14"/>
                <a:gd name="T14" fmla="*/ 7 w 14"/>
                <a:gd name="T15" fmla="*/ 14 h 14"/>
                <a:gd name="T16" fmla="*/ 14 w 14"/>
                <a:gd name="T17" fmla="*/ 7 h 14"/>
                <a:gd name="T18" fmla="*/ 7 w 1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0"/>
                  </a:moveTo>
                  <a:cubicBezTo>
                    <a:pt x="5" y="10"/>
                    <a:pt x="4" y="9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6">
              <a:extLst>
                <a:ext uri="{FF2B5EF4-FFF2-40B4-BE49-F238E27FC236}">
                  <a16:creationId xmlns:a16="http://schemas.microsoft.com/office/drawing/2014/main" id="{7B29B872-7878-48EE-9B39-B494D5B03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3" y="1343"/>
              <a:ext cx="34" cy="35"/>
            </a:xfrm>
            <a:custGeom>
              <a:avLst/>
              <a:gdLst>
                <a:gd name="T0" fmla="*/ 7 w 14"/>
                <a:gd name="T1" fmla="*/ 10 h 14"/>
                <a:gd name="T2" fmla="*/ 3 w 14"/>
                <a:gd name="T3" fmla="*/ 7 h 14"/>
                <a:gd name="T4" fmla="*/ 7 w 14"/>
                <a:gd name="T5" fmla="*/ 3 h 14"/>
                <a:gd name="T6" fmla="*/ 11 w 14"/>
                <a:gd name="T7" fmla="*/ 7 h 14"/>
                <a:gd name="T8" fmla="*/ 7 w 14"/>
                <a:gd name="T9" fmla="*/ 10 h 14"/>
                <a:gd name="T10" fmla="*/ 7 w 14"/>
                <a:gd name="T11" fmla="*/ 0 h 14"/>
                <a:gd name="T12" fmla="*/ 0 w 14"/>
                <a:gd name="T13" fmla="*/ 7 h 14"/>
                <a:gd name="T14" fmla="*/ 7 w 14"/>
                <a:gd name="T15" fmla="*/ 14 h 14"/>
                <a:gd name="T16" fmla="*/ 14 w 14"/>
                <a:gd name="T17" fmla="*/ 7 h 14"/>
                <a:gd name="T18" fmla="*/ 7 w 1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0"/>
                  </a:moveTo>
                  <a:cubicBezTo>
                    <a:pt x="5" y="10"/>
                    <a:pt x="3" y="9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7">
              <a:extLst>
                <a:ext uri="{FF2B5EF4-FFF2-40B4-BE49-F238E27FC236}">
                  <a16:creationId xmlns:a16="http://schemas.microsoft.com/office/drawing/2014/main" id="{8C39725E-FEDC-4DA1-A2A4-D88CECC3C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1267"/>
              <a:ext cx="49" cy="52"/>
            </a:xfrm>
            <a:custGeom>
              <a:avLst/>
              <a:gdLst>
                <a:gd name="T0" fmla="*/ 7 w 49"/>
                <a:gd name="T1" fmla="*/ 8 h 52"/>
                <a:gd name="T2" fmla="*/ 42 w 49"/>
                <a:gd name="T3" fmla="*/ 8 h 52"/>
                <a:gd name="T4" fmla="*/ 42 w 49"/>
                <a:gd name="T5" fmla="*/ 42 h 52"/>
                <a:gd name="T6" fmla="*/ 7 w 49"/>
                <a:gd name="T7" fmla="*/ 42 h 52"/>
                <a:gd name="T8" fmla="*/ 7 w 49"/>
                <a:gd name="T9" fmla="*/ 8 h 52"/>
                <a:gd name="T10" fmla="*/ 0 w 49"/>
                <a:gd name="T11" fmla="*/ 52 h 52"/>
                <a:gd name="T12" fmla="*/ 49 w 49"/>
                <a:gd name="T13" fmla="*/ 52 h 52"/>
                <a:gd name="T14" fmla="*/ 49 w 49"/>
                <a:gd name="T15" fmla="*/ 0 h 52"/>
                <a:gd name="T16" fmla="*/ 0 w 49"/>
                <a:gd name="T17" fmla="*/ 0 h 52"/>
                <a:gd name="T18" fmla="*/ 0 w 49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2">
                  <a:moveTo>
                    <a:pt x="7" y="8"/>
                  </a:moveTo>
                  <a:lnTo>
                    <a:pt x="42" y="8"/>
                  </a:lnTo>
                  <a:lnTo>
                    <a:pt x="42" y="42"/>
                  </a:lnTo>
                  <a:lnTo>
                    <a:pt x="7" y="42"/>
                  </a:lnTo>
                  <a:lnTo>
                    <a:pt x="7" y="8"/>
                  </a:lnTo>
                  <a:close/>
                  <a:moveTo>
                    <a:pt x="0" y="52"/>
                  </a:moveTo>
                  <a:lnTo>
                    <a:pt x="49" y="52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88">
              <a:extLst>
                <a:ext uri="{FF2B5EF4-FFF2-40B4-BE49-F238E27FC236}">
                  <a16:creationId xmlns:a16="http://schemas.microsoft.com/office/drawing/2014/main" id="{BA2C8BE3-9821-433C-9A25-E3D07012B3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" y="1267"/>
              <a:ext cx="49" cy="52"/>
            </a:xfrm>
            <a:custGeom>
              <a:avLst/>
              <a:gdLst>
                <a:gd name="T0" fmla="*/ 41 w 49"/>
                <a:gd name="T1" fmla="*/ 42 h 52"/>
                <a:gd name="T2" fmla="*/ 7 w 49"/>
                <a:gd name="T3" fmla="*/ 42 h 52"/>
                <a:gd name="T4" fmla="*/ 7 w 49"/>
                <a:gd name="T5" fmla="*/ 8 h 52"/>
                <a:gd name="T6" fmla="*/ 41 w 49"/>
                <a:gd name="T7" fmla="*/ 8 h 52"/>
                <a:gd name="T8" fmla="*/ 41 w 49"/>
                <a:gd name="T9" fmla="*/ 42 h 52"/>
                <a:gd name="T10" fmla="*/ 49 w 49"/>
                <a:gd name="T11" fmla="*/ 0 h 52"/>
                <a:gd name="T12" fmla="*/ 0 w 49"/>
                <a:gd name="T13" fmla="*/ 0 h 52"/>
                <a:gd name="T14" fmla="*/ 0 w 49"/>
                <a:gd name="T15" fmla="*/ 52 h 52"/>
                <a:gd name="T16" fmla="*/ 49 w 49"/>
                <a:gd name="T17" fmla="*/ 52 h 52"/>
                <a:gd name="T18" fmla="*/ 49 w 49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2">
                  <a:moveTo>
                    <a:pt x="41" y="42"/>
                  </a:moveTo>
                  <a:lnTo>
                    <a:pt x="7" y="42"/>
                  </a:lnTo>
                  <a:lnTo>
                    <a:pt x="7" y="8"/>
                  </a:lnTo>
                  <a:lnTo>
                    <a:pt x="41" y="8"/>
                  </a:lnTo>
                  <a:lnTo>
                    <a:pt x="41" y="42"/>
                  </a:lnTo>
                  <a:close/>
                  <a:moveTo>
                    <a:pt x="49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49" y="52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89">
              <a:extLst>
                <a:ext uri="{FF2B5EF4-FFF2-40B4-BE49-F238E27FC236}">
                  <a16:creationId xmlns:a16="http://schemas.microsoft.com/office/drawing/2014/main" id="{7327EEC8-1F71-4E3B-9FF6-A31C5B4C73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1206"/>
              <a:ext cx="49" cy="51"/>
            </a:xfrm>
            <a:custGeom>
              <a:avLst/>
              <a:gdLst>
                <a:gd name="T0" fmla="*/ 42 w 49"/>
                <a:gd name="T1" fmla="*/ 44 h 51"/>
                <a:gd name="T2" fmla="*/ 7 w 49"/>
                <a:gd name="T3" fmla="*/ 44 h 51"/>
                <a:gd name="T4" fmla="*/ 7 w 49"/>
                <a:gd name="T5" fmla="*/ 10 h 51"/>
                <a:gd name="T6" fmla="*/ 42 w 49"/>
                <a:gd name="T7" fmla="*/ 10 h 51"/>
                <a:gd name="T8" fmla="*/ 42 w 49"/>
                <a:gd name="T9" fmla="*/ 44 h 51"/>
                <a:gd name="T10" fmla="*/ 49 w 49"/>
                <a:gd name="T11" fmla="*/ 0 h 51"/>
                <a:gd name="T12" fmla="*/ 0 w 49"/>
                <a:gd name="T13" fmla="*/ 0 h 51"/>
                <a:gd name="T14" fmla="*/ 0 w 49"/>
                <a:gd name="T15" fmla="*/ 51 h 51"/>
                <a:gd name="T16" fmla="*/ 49 w 49"/>
                <a:gd name="T17" fmla="*/ 51 h 51"/>
                <a:gd name="T18" fmla="*/ 49 w 49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1">
                  <a:moveTo>
                    <a:pt x="42" y="44"/>
                  </a:moveTo>
                  <a:lnTo>
                    <a:pt x="7" y="44"/>
                  </a:lnTo>
                  <a:lnTo>
                    <a:pt x="7" y="10"/>
                  </a:lnTo>
                  <a:lnTo>
                    <a:pt x="42" y="10"/>
                  </a:lnTo>
                  <a:lnTo>
                    <a:pt x="42" y="44"/>
                  </a:lnTo>
                  <a:close/>
                  <a:moveTo>
                    <a:pt x="49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49" y="5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0">
              <a:extLst>
                <a:ext uri="{FF2B5EF4-FFF2-40B4-BE49-F238E27FC236}">
                  <a16:creationId xmlns:a16="http://schemas.microsoft.com/office/drawing/2014/main" id="{774E177A-FBFF-413B-91C5-542564B29A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1113"/>
              <a:ext cx="49" cy="49"/>
            </a:xfrm>
            <a:custGeom>
              <a:avLst/>
              <a:gdLst>
                <a:gd name="T0" fmla="*/ 10 w 20"/>
                <a:gd name="T1" fmla="*/ 4 h 20"/>
                <a:gd name="T2" fmla="*/ 17 w 20"/>
                <a:gd name="T3" fmla="*/ 10 h 20"/>
                <a:gd name="T4" fmla="*/ 10 w 20"/>
                <a:gd name="T5" fmla="*/ 17 h 20"/>
                <a:gd name="T6" fmla="*/ 4 w 20"/>
                <a:gd name="T7" fmla="*/ 10 h 20"/>
                <a:gd name="T8" fmla="*/ 10 w 20"/>
                <a:gd name="T9" fmla="*/ 4 h 20"/>
                <a:gd name="T10" fmla="*/ 10 w 20"/>
                <a:gd name="T11" fmla="*/ 20 h 20"/>
                <a:gd name="T12" fmla="*/ 20 w 20"/>
                <a:gd name="T13" fmla="*/ 10 h 20"/>
                <a:gd name="T14" fmla="*/ 10 w 20"/>
                <a:gd name="T15" fmla="*/ 0 h 20"/>
                <a:gd name="T16" fmla="*/ 0 w 20"/>
                <a:gd name="T17" fmla="*/ 10 h 20"/>
                <a:gd name="T18" fmla="*/ 1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4"/>
                  </a:moveTo>
                  <a:cubicBezTo>
                    <a:pt x="14" y="4"/>
                    <a:pt x="17" y="7"/>
                    <a:pt x="17" y="10"/>
                  </a:cubicBezTo>
                  <a:cubicBezTo>
                    <a:pt x="17" y="14"/>
                    <a:pt x="14" y="17"/>
                    <a:pt x="10" y="17"/>
                  </a:cubicBezTo>
                  <a:cubicBezTo>
                    <a:pt x="7" y="17"/>
                    <a:pt x="4" y="14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moveTo>
                    <a:pt x="10" y="20"/>
                  </a:move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91">
              <a:extLst>
                <a:ext uri="{FF2B5EF4-FFF2-40B4-BE49-F238E27FC236}">
                  <a16:creationId xmlns:a16="http://schemas.microsoft.com/office/drawing/2014/main" id="{2530DF53-2A63-4267-9D31-94D66C03AE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4" y="1167"/>
              <a:ext cx="71" cy="206"/>
            </a:xfrm>
            <a:custGeom>
              <a:avLst/>
              <a:gdLst>
                <a:gd name="T0" fmla="*/ 15 w 29"/>
                <a:gd name="T1" fmla="*/ 37 h 84"/>
                <a:gd name="T2" fmla="*/ 12 w 29"/>
                <a:gd name="T3" fmla="*/ 41 h 84"/>
                <a:gd name="T4" fmla="*/ 7 w 29"/>
                <a:gd name="T5" fmla="*/ 41 h 84"/>
                <a:gd name="T6" fmla="*/ 4 w 29"/>
                <a:gd name="T7" fmla="*/ 37 h 84"/>
                <a:gd name="T8" fmla="*/ 4 w 29"/>
                <a:gd name="T9" fmla="*/ 7 h 84"/>
                <a:gd name="T10" fmla="*/ 7 w 29"/>
                <a:gd name="T11" fmla="*/ 3 h 84"/>
                <a:gd name="T12" fmla="*/ 12 w 29"/>
                <a:gd name="T13" fmla="*/ 3 h 84"/>
                <a:gd name="T14" fmla="*/ 15 w 29"/>
                <a:gd name="T15" fmla="*/ 7 h 84"/>
                <a:gd name="T16" fmla="*/ 15 w 29"/>
                <a:gd name="T17" fmla="*/ 11 h 84"/>
                <a:gd name="T18" fmla="*/ 11 w 29"/>
                <a:gd name="T19" fmla="*/ 7 h 84"/>
                <a:gd name="T20" fmla="*/ 9 w 29"/>
                <a:gd name="T21" fmla="*/ 10 h 84"/>
                <a:gd name="T22" fmla="*/ 15 w 29"/>
                <a:gd name="T23" fmla="*/ 16 h 84"/>
                <a:gd name="T24" fmla="*/ 15 w 29"/>
                <a:gd name="T25" fmla="*/ 37 h 84"/>
                <a:gd name="T26" fmla="*/ 19 w 29"/>
                <a:gd name="T27" fmla="*/ 7 h 84"/>
                <a:gd name="T28" fmla="*/ 12 w 29"/>
                <a:gd name="T29" fmla="*/ 0 h 84"/>
                <a:gd name="T30" fmla="*/ 7 w 29"/>
                <a:gd name="T31" fmla="*/ 0 h 84"/>
                <a:gd name="T32" fmla="*/ 0 w 29"/>
                <a:gd name="T33" fmla="*/ 7 h 84"/>
                <a:gd name="T34" fmla="*/ 0 w 29"/>
                <a:gd name="T35" fmla="*/ 37 h 84"/>
                <a:gd name="T36" fmla="*/ 7 w 29"/>
                <a:gd name="T37" fmla="*/ 44 h 84"/>
                <a:gd name="T38" fmla="*/ 7 w 29"/>
                <a:gd name="T39" fmla="*/ 84 h 84"/>
                <a:gd name="T40" fmla="*/ 20 w 29"/>
                <a:gd name="T41" fmla="*/ 84 h 84"/>
                <a:gd name="T42" fmla="*/ 20 w 29"/>
                <a:gd name="T43" fmla="*/ 80 h 84"/>
                <a:gd name="T44" fmla="*/ 11 w 29"/>
                <a:gd name="T45" fmla="*/ 80 h 84"/>
                <a:gd name="T46" fmla="*/ 11 w 29"/>
                <a:gd name="T47" fmla="*/ 44 h 84"/>
                <a:gd name="T48" fmla="*/ 12 w 29"/>
                <a:gd name="T49" fmla="*/ 44 h 84"/>
                <a:gd name="T50" fmla="*/ 19 w 29"/>
                <a:gd name="T51" fmla="*/ 37 h 84"/>
                <a:gd name="T52" fmla="*/ 19 w 29"/>
                <a:gd name="T53" fmla="*/ 20 h 84"/>
                <a:gd name="T54" fmla="*/ 27 w 29"/>
                <a:gd name="T55" fmla="*/ 28 h 84"/>
                <a:gd name="T56" fmla="*/ 29 w 29"/>
                <a:gd name="T57" fmla="*/ 26 h 84"/>
                <a:gd name="T58" fmla="*/ 19 w 29"/>
                <a:gd name="T59" fmla="*/ 15 h 84"/>
                <a:gd name="T60" fmla="*/ 19 w 29"/>
                <a:gd name="T61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" h="84">
                  <a:moveTo>
                    <a:pt x="15" y="37"/>
                  </a:moveTo>
                  <a:cubicBezTo>
                    <a:pt x="15" y="39"/>
                    <a:pt x="14" y="41"/>
                    <a:pt x="12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1"/>
                    <a:pt x="4" y="39"/>
                    <a:pt x="4" y="3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4" y="3"/>
                    <a:pt x="15" y="5"/>
                    <a:pt x="15" y="7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5" y="16"/>
                    <a:pt x="15" y="16"/>
                    <a:pt x="15" y="16"/>
                  </a:cubicBezTo>
                  <a:lnTo>
                    <a:pt x="15" y="37"/>
                  </a:lnTo>
                  <a:close/>
                  <a:moveTo>
                    <a:pt x="19" y="7"/>
                  </a:moveTo>
                  <a:cubicBezTo>
                    <a:pt x="19" y="3"/>
                    <a:pt x="15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3" y="44"/>
                    <a:pt x="7" y="4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5" y="44"/>
                    <a:pt x="19" y="41"/>
                    <a:pt x="19" y="37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19" y="15"/>
                    <a:pt x="19" y="15"/>
                    <a:pt x="19" y="15"/>
                  </a:cubicBezTo>
                  <a:lnTo>
                    <a:pt x="19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92">
              <a:extLst>
                <a:ext uri="{FF2B5EF4-FFF2-40B4-BE49-F238E27FC236}">
                  <a16:creationId xmlns:a16="http://schemas.microsoft.com/office/drawing/2014/main" id="{3D8C408E-0717-4713-9846-69ABF0051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7" y="1113"/>
              <a:ext cx="49" cy="49"/>
            </a:xfrm>
            <a:custGeom>
              <a:avLst/>
              <a:gdLst>
                <a:gd name="T0" fmla="*/ 10 w 20"/>
                <a:gd name="T1" fmla="*/ 4 h 20"/>
                <a:gd name="T2" fmla="*/ 16 w 20"/>
                <a:gd name="T3" fmla="*/ 10 h 20"/>
                <a:gd name="T4" fmla="*/ 10 w 20"/>
                <a:gd name="T5" fmla="*/ 17 h 20"/>
                <a:gd name="T6" fmla="*/ 3 w 20"/>
                <a:gd name="T7" fmla="*/ 10 h 20"/>
                <a:gd name="T8" fmla="*/ 10 w 20"/>
                <a:gd name="T9" fmla="*/ 4 h 20"/>
                <a:gd name="T10" fmla="*/ 10 w 20"/>
                <a:gd name="T11" fmla="*/ 20 h 20"/>
                <a:gd name="T12" fmla="*/ 20 w 20"/>
                <a:gd name="T13" fmla="*/ 10 h 20"/>
                <a:gd name="T14" fmla="*/ 10 w 20"/>
                <a:gd name="T15" fmla="*/ 0 h 20"/>
                <a:gd name="T16" fmla="*/ 0 w 20"/>
                <a:gd name="T17" fmla="*/ 10 h 20"/>
                <a:gd name="T18" fmla="*/ 1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10" y="17"/>
                  </a:cubicBezTo>
                  <a:cubicBezTo>
                    <a:pt x="6" y="17"/>
                    <a:pt x="3" y="14"/>
                    <a:pt x="3" y="10"/>
                  </a:cubicBezTo>
                  <a:cubicBezTo>
                    <a:pt x="3" y="7"/>
                    <a:pt x="6" y="4"/>
                    <a:pt x="10" y="4"/>
                  </a:cubicBezTo>
                  <a:moveTo>
                    <a:pt x="10" y="20"/>
                  </a:moveTo>
                  <a:cubicBezTo>
                    <a:pt x="15" y="20"/>
                    <a:pt x="20" y="16"/>
                    <a:pt x="20" y="10"/>
                  </a:cubicBezTo>
                  <a:cubicBezTo>
                    <a:pt x="20" y="5"/>
                    <a:pt x="15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93">
              <a:extLst>
                <a:ext uri="{FF2B5EF4-FFF2-40B4-BE49-F238E27FC236}">
                  <a16:creationId xmlns:a16="http://schemas.microsoft.com/office/drawing/2014/main" id="{5590B3F6-8E04-463F-8352-8027B1A2D4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" y="1167"/>
              <a:ext cx="113" cy="206"/>
            </a:xfrm>
            <a:custGeom>
              <a:avLst/>
              <a:gdLst>
                <a:gd name="T0" fmla="*/ 42 w 46"/>
                <a:gd name="T1" fmla="*/ 37 h 84"/>
                <a:gd name="T2" fmla="*/ 39 w 46"/>
                <a:gd name="T3" fmla="*/ 41 h 84"/>
                <a:gd name="T4" fmla="*/ 34 w 46"/>
                <a:gd name="T5" fmla="*/ 41 h 84"/>
                <a:gd name="T6" fmla="*/ 31 w 46"/>
                <a:gd name="T7" fmla="*/ 37 h 84"/>
                <a:gd name="T8" fmla="*/ 31 w 46"/>
                <a:gd name="T9" fmla="*/ 16 h 84"/>
                <a:gd name="T10" fmla="*/ 37 w 46"/>
                <a:gd name="T11" fmla="*/ 10 h 84"/>
                <a:gd name="T12" fmla="*/ 35 w 46"/>
                <a:gd name="T13" fmla="*/ 7 h 84"/>
                <a:gd name="T14" fmla="*/ 31 w 46"/>
                <a:gd name="T15" fmla="*/ 11 h 84"/>
                <a:gd name="T16" fmla="*/ 31 w 46"/>
                <a:gd name="T17" fmla="*/ 7 h 84"/>
                <a:gd name="T18" fmla="*/ 34 w 46"/>
                <a:gd name="T19" fmla="*/ 3 h 84"/>
                <a:gd name="T20" fmla="*/ 39 w 46"/>
                <a:gd name="T21" fmla="*/ 3 h 84"/>
                <a:gd name="T22" fmla="*/ 42 w 46"/>
                <a:gd name="T23" fmla="*/ 7 h 84"/>
                <a:gd name="T24" fmla="*/ 42 w 46"/>
                <a:gd name="T25" fmla="*/ 37 h 84"/>
                <a:gd name="T26" fmla="*/ 17 w 46"/>
                <a:gd name="T27" fmla="*/ 29 h 84"/>
                <a:gd name="T28" fmla="*/ 3 w 46"/>
                <a:gd name="T29" fmla="*/ 29 h 84"/>
                <a:gd name="T30" fmla="*/ 3 w 46"/>
                <a:gd name="T31" fmla="*/ 15 h 84"/>
                <a:gd name="T32" fmla="*/ 17 w 46"/>
                <a:gd name="T33" fmla="*/ 15 h 84"/>
                <a:gd name="T34" fmla="*/ 17 w 46"/>
                <a:gd name="T35" fmla="*/ 29 h 84"/>
                <a:gd name="T36" fmla="*/ 39 w 46"/>
                <a:gd name="T37" fmla="*/ 0 h 84"/>
                <a:gd name="T38" fmla="*/ 34 w 46"/>
                <a:gd name="T39" fmla="*/ 0 h 84"/>
                <a:gd name="T40" fmla="*/ 27 w 46"/>
                <a:gd name="T41" fmla="*/ 7 h 84"/>
                <a:gd name="T42" fmla="*/ 27 w 46"/>
                <a:gd name="T43" fmla="*/ 15 h 84"/>
                <a:gd name="T44" fmla="*/ 20 w 46"/>
                <a:gd name="T45" fmla="*/ 22 h 84"/>
                <a:gd name="T46" fmla="*/ 20 w 46"/>
                <a:gd name="T47" fmla="*/ 11 h 84"/>
                <a:gd name="T48" fmla="*/ 0 w 46"/>
                <a:gd name="T49" fmla="*/ 11 h 84"/>
                <a:gd name="T50" fmla="*/ 0 w 46"/>
                <a:gd name="T51" fmla="*/ 33 h 84"/>
                <a:gd name="T52" fmla="*/ 20 w 46"/>
                <a:gd name="T53" fmla="*/ 33 h 84"/>
                <a:gd name="T54" fmla="*/ 20 w 46"/>
                <a:gd name="T55" fmla="*/ 27 h 84"/>
                <a:gd name="T56" fmla="*/ 27 w 46"/>
                <a:gd name="T57" fmla="*/ 20 h 84"/>
                <a:gd name="T58" fmla="*/ 27 w 46"/>
                <a:gd name="T59" fmla="*/ 37 h 84"/>
                <a:gd name="T60" fmla="*/ 34 w 46"/>
                <a:gd name="T61" fmla="*/ 44 h 84"/>
                <a:gd name="T62" fmla="*/ 35 w 46"/>
                <a:gd name="T63" fmla="*/ 44 h 84"/>
                <a:gd name="T64" fmla="*/ 35 w 46"/>
                <a:gd name="T65" fmla="*/ 80 h 84"/>
                <a:gd name="T66" fmla="*/ 26 w 46"/>
                <a:gd name="T67" fmla="*/ 80 h 84"/>
                <a:gd name="T68" fmla="*/ 26 w 46"/>
                <a:gd name="T69" fmla="*/ 84 h 84"/>
                <a:gd name="T70" fmla="*/ 39 w 46"/>
                <a:gd name="T71" fmla="*/ 84 h 84"/>
                <a:gd name="T72" fmla="*/ 39 w 46"/>
                <a:gd name="T73" fmla="*/ 44 h 84"/>
                <a:gd name="T74" fmla="*/ 46 w 46"/>
                <a:gd name="T75" fmla="*/ 37 h 84"/>
                <a:gd name="T76" fmla="*/ 46 w 46"/>
                <a:gd name="T77" fmla="*/ 7 h 84"/>
                <a:gd name="T78" fmla="*/ 39 w 46"/>
                <a:gd name="T7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" h="84">
                  <a:moveTo>
                    <a:pt x="42" y="37"/>
                  </a:moveTo>
                  <a:cubicBezTo>
                    <a:pt x="42" y="39"/>
                    <a:pt x="41" y="41"/>
                    <a:pt x="39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2" y="41"/>
                    <a:pt x="31" y="39"/>
                    <a:pt x="31" y="3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5"/>
                    <a:pt x="32" y="3"/>
                    <a:pt x="34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1" y="3"/>
                    <a:pt x="42" y="5"/>
                    <a:pt x="42" y="7"/>
                  </a:cubicBezTo>
                  <a:lnTo>
                    <a:pt x="42" y="37"/>
                  </a:lnTo>
                  <a:close/>
                  <a:moveTo>
                    <a:pt x="17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7" y="15"/>
                    <a:pt x="17" y="15"/>
                    <a:pt x="17" y="15"/>
                  </a:cubicBezTo>
                  <a:lnTo>
                    <a:pt x="17" y="29"/>
                  </a:lnTo>
                  <a:close/>
                  <a:moveTo>
                    <a:pt x="3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27" y="3"/>
                    <a:pt x="27" y="7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41"/>
                    <a:pt x="31" y="44"/>
                    <a:pt x="34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3" y="44"/>
                    <a:pt x="46" y="41"/>
                    <a:pt x="46" y="3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3"/>
                    <a:pt x="42" y="0"/>
                    <a:pt x="3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4">
              <a:extLst>
                <a:ext uri="{FF2B5EF4-FFF2-40B4-BE49-F238E27FC236}">
                  <a16:creationId xmlns:a16="http://schemas.microsoft.com/office/drawing/2014/main" id="{D8DBFC9D-69D7-438F-8386-E6349222D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" y="1125"/>
              <a:ext cx="98" cy="49"/>
            </a:xfrm>
            <a:custGeom>
              <a:avLst/>
              <a:gdLst>
                <a:gd name="T0" fmla="*/ 98 w 98"/>
                <a:gd name="T1" fmla="*/ 17 h 49"/>
                <a:gd name="T2" fmla="*/ 93 w 98"/>
                <a:gd name="T3" fmla="*/ 10 h 49"/>
                <a:gd name="T4" fmla="*/ 64 w 98"/>
                <a:gd name="T5" fmla="*/ 22 h 49"/>
                <a:gd name="T6" fmla="*/ 27 w 98"/>
                <a:gd name="T7" fmla="*/ 0 h 49"/>
                <a:gd name="T8" fmla="*/ 22 w 98"/>
                <a:gd name="T9" fmla="*/ 7 h 49"/>
                <a:gd name="T10" fmla="*/ 54 w 98"/>
                <a:gd name="T11" fmla="*/ 25 h 49"/>
                <a:gd name="T12" fmla="*/ 20 w 98"/>
                <a:gd name="T13" fmla="*/ 39 h 49"/>
                <a:gd name="T14" fmla="*/ 5 w 98"/>
                <a:gd name="T15" fmla="*/ 30 h 49"/>
                <a:gd name="T16" fmla="*/ 0 w 98"/>
                <a:gd name="T17" fmla="*/ 37 h 49"/>
                <a:gd name="T18" fmla="*/ 20 w 98"/>
                <a:gd name="T19" fmla="*/ 49 h 49"/>
                <a:gd name="T20" fmla="*/ 98 w 98"/>
                <a:gd name="T21" fmla="*/ 1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8" h="49">
                  <a:moveTo>
                    <a:pt x="98" y="17"/>
                  </a:moveTo>
                  <a:lnTo>
                    <a:pt x="93" y="10"/>
                  </a:lnTo>
                  <a:lnTo>
                    <a:pt x="64" y="22"/>
                  </a:lnTo>
                  <a:lnTo>
                    <a:pt x="27" y="0"/>
                  </a:lnTo>
                  <a:lnTo>
                    <a:pt x="22" y="7"/>
                  </a:lnTo>
                  <a:lnTo>
                    <a:pt x="54" y="25"/>
                  </a:lnTo>
                  <a:lnTo>
                    <a:pt x="20" y="39"/>
                  </a:lnTo>
                  <a:lnTo>
                    <a:pt x="5" y="30"/>
                  </a:lnTo>
                  <a:lnTo>
                    <a:pt x="0" y="37"/>
                  </a:lnTo>
                  <a:lnTo>
                    <a:pt x="20" y="49"/>
                  </a:lnTo>
                  <a:lnTo>
                    <a:pt x="98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1" name="Group 97">
            <a:extLst>
              <a:ext uri="{FF2B5EF4-FFF2-40B4-BE49-F238E27FC236}">
                <a16:creationId xmlns:a16="http://schemas.microsoft.com/office/drawing/2014/main" id="{77E32390-E8E5-4654-9A4E-8DA6B9A6A4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1554163"/>
            <a:ext cx="841375" cy="841375"/>
            <a:chOff x="1626" y="979"/>
            <a:chExt cx="530" cy="530"/>
          </a:xfrm>
        </p:grpSpPr>
        <p:sp>
          <p:nvSpPr>
            <p:cNvPr id="122" name="AutoShape 96">
              <a:extLst>
                <a:ext uri="{FF2B5EF4-FFF2-40B4-BE49-F238E27FC236}">
                  <a16:creationId xmlns:a16="http://schemas.microsoft.com/office/drawing/2014/main" id="{0D548183-6118-467E-B9D1-C346CCCFD60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9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98">
              <a:extLst>
                <a:ext uri="{FF2B5EF4-FFF2-40B4-BE49-F238E27FC236}">
                  <a16:creationId xmlns:a16="http://schemas.microsoft.com/office/drawing/2014/main" id="{CA2F56DC-53E4-407D-8ABD-219BC72A10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9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99">
              <a:extLst>
                <a:ext uri="{FF2B5EF4-FFF2-40B4-BE49-F238E27FC236}">
                  <a16:creationId xmlns:a16="http://schemas.microsoft.com/office/drawing/2014/main" id="{A2BEF113-EE65-42A4-AA23-C7050A66CB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9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0">
              <a:extLst>
                <a:ext uri="{FF2B5EF4-FFF2-40B4-BE49-F238E27FC236}">
                  <a16:creationId xmlns:a16="http://schemas.microsoft.com/office/drawing/2014/main" id="{9F63155E-6327-4DC0-9671-C21160860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6" y="1232"/>
              <a:ext cx="151" cy="105"/>
            </a:xfrm>
            <a:custGeom>
              <a:avLst/>
              <a:gdLst>
                <a:gd name="T0" fmla="*/ 20 w 151"/>
                <a:gd name="T1" fmla="*/ 0 h 105"/>
                <a:gd name="T2" fmla="*/ 0 w 151"/>
                <a:gd name="T3" fmla="*/ 0 h 105"/>
                <a:gd name="T4" fmla="*/ 0 w 151"/>
                <a:gd name="T5" fmla="*/ 8 h 105"/>
                <a:gd name="T6" fmla="*/ 12 w 151"/>
                <a:gd name="T7" fmla="*/ 8 h 105"/>
                <a:gd name="T8" fmla="*/ 12 w 151"/>
                <a:gd name="T9" fmla="*/ 105 h 105"/>
                <a:gd name="T10" fmla="*/ 151 w 151"/>
                <a:gd name="T11" fmla="*/ 105 h 105"/>
                <a:gd name="T12" fmla="*/ 151 w 151"/>
                <a:gd name="T13" fmla="*/ 98 h 105"/>
                <a:gd name="T14" fmla="*/ 20 w 151"/>
                <a:gd name="T15" fmla="*/ 98 h 105"/>
                <a:gd name="T16" fmla="*/ 20 w 151"/>
                <a:gd name="T1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105">
                  <a:moveTo>
                    <a:pt x="2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2" y="8"/>
                  </a:lnTo>
                  <a:lnTo>
                    <a:pt x="12" y="105"/>
                  </a:lnTo>
                  <a:lnTo>
                    <a:pt x="151" y="105"/>
                  </a:lnTo>
                  <a:lnTo>
                    <a:pt x="151" y="98"/>
                  </a:lnTo>
                  <a:lnTo>
                    <a:pt x="20" y="98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1">
              <a:extLst>
                <a:ext uri="{FF2B5EF4-FFF2-40B4-BE49-F238E27FC236}">
                  <a16:creationId xmlns:a16="http://schemas.microsoft.com/office/drawing/2014/main" id="{580C085F-A974-4845-9ABA-9E841EA34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9" y="1348"/>
              <a:ext cx="35" cy="35"/>
            </a:xfrm>
            <a:custGeom>
              <a:avLst/>
              <a:gdLst>
                <a:gd name="T0" fmla="*/ 7 w 14"/>
                <a:gd name="T1" fmla="*/ 10 h 14"/>
                <a:gd name="T2" fmla="*/ 4 w 14"/>
                <a:gd name="T3" fmla="*/ 7 h 14"/>
                <a:gd name="T4" fmla="*/ 7 w 14"/>
                <a:gd name="T5" fmla="*/ 3 h 14"/>
                <a:gd name="T6" fmla="*/ 11 w 14"/>
                <a:gd name="T7" fmla="*/ 7 h 14"/>
                <a:gd name="T8" fmla="*/ 7 w 14"/>
                <a:gd name="T9" fmla="*/ 10 h 14"/>
                <a:gd name="T10" fmla="*/ 7 w 14"/>
                <a:gd name="T11" fmla="*/ 0 h 14"/>
                <a:gd name="T12" fmla="*/ 0 w 14"/>
                <a:gd name="T13" fmla="*/ 7 h 14"/>
                <a:gd name="T14" fmla="*/ 7 w 14"/>
                <a:gd name="T15" fmla="*/ 14 h 14"/>
                <a:gd name="T16" fmla="*/ 14 w 14"/>
                <a:gd name="T17" fmla="*/ 7 h 14"/>
                <a:gd name="T18" fmla="*/ 7 w 1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0"/>
                  </a:moveTo>
                  <a:cubicBezTo>
                    <a:pt x="5" y="10"/>
                    <a:pt x="4" y="9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2">
              <a:extLst>
                <a:ext uri="{FF2B5EF4-FFF2-40B4-BE49-F238E27FC236}">
                  <a16:creationId xmlns:a16="http://schemas.microsoft.com/office/drawing/2014/main" id="{B246896F-94A4-413D-8E53-55EABC222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5" y="1348"/>
              <a:ext cx="36" cy="35"/>
            </a:xfrm>
            <a:custGeom>
              <a:avLst/>
              <a:gdLst>
                <a:gd name="T0" fmla="*/ 7 w 14"/>
                <a:gd name="T1" fmla="*/ 10 h 14"/>
                <a:gd name="T2" fmla="*/ 3 w 14"/>
                <a:gd name="T3" fmla="*/ 7 h 14"/>
                <a:gd name="T4" fmla="*/ 7 w 14"/>
                <a:gd name="T5" fmla="*/ 3 h 14"/>
                <a:gd name="T6" fmla="*/ 11 w 14"/>
                <a:gd name="T7" fmla="*/ 7 h 14"/>
                <a:gd name="T8" fmla="*/ 7 w 14"/>
                <a:gd name="T9" fmla="*/ 10 h 14"/>
                <a:gd name="T10" fmla="*/ 7 w 14"/>
                <a:gd name="T11" fmla="*/ 0 h 14"/>
                <a:gd name="T12" fmla="*/ 0 w 14"/>
                <a:gd name="T13" fmla="*/ 7 h 14"/>
                <a:gd name="T14" fmla="*/ 7 w 14"/>
                <a:gd name="T15" fmla="*/ 14 h 14"/>
                <a:gd name="T16" fmla="*/ 14 w 14"/>
                <a:gd name="T17" fmla="*/ 7 h 14"/>
                <a:gd name="T18" fmla="*/ 7 w 1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0"/>
                  </a:moveTo>
                  <a:cubicBezTo>
                    <a:pt x="5" y="10"/>
                    <a:pt x="3" y="9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1" y="14"/>
                    <a:pt x="14" y="11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03">
              <a:extLst>
                <a:ext uri="{FF2B5EF4-FFF2-40B4-BE49-F238E27FC236}">
                  <a16:creationId xmlns:a16="http://schemas.microsoft.com/office/drawing/2014/main" id="{5C31A99D-DD94-4D40-AD21-153ACFBA5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6" y="1268"/>
              <a:ext cx="52" cy="54"/>
            </a:xfrm>
            <a:custGeom>
              <a:avLst/>
              <a:gdLst>
                <a:gd name="T0" fmla="*/ 8 w 52"/>
                <a:gd name="T1" fmla="*/ 8 h 54"/>
                <a:gd name="T2" fmla="*/ 44 w 52"/>
                <a:gd name="T3" fmla="*/ 8 h 54"/>
                <a:gd name="T4" fmla="*/ 44 w 52"/>
                <a:gd name="T5" fmla="*/ 44 h 54"/>
                <a:gd name="T6" fmla="*/ 8 w 52"/>
                <a:gd name="T7" fmla="*/ 44 h 54"/>
                <a:gd name="T8" fmla="*/ 8 w 52"/>
                <a:gd name="T9" fmla="*/ 8 h 54"/>
                <a:gd name="T10" fmla="*/ 0 w 52"/>
                <a:gd name="T11" fmla="*/ 54 h 54"/>
                <a:gd name="T12" fmla="*/ 52 w 52"/>
                <a:gd name="T13" fmla="*/ 54 h 54"/>
                <a:gd name="T14" fmla="*/ 52 w 52"/>
                <a:gd name="T15" fmla="*/ 0 h 54"/>
                <a:gd name="T16" fmla="*/ 0 w 52"/>
                <a:gd name="T17" fmla="*/ 0 h 54"/>
                <a:gd name="T18" fmla="*/ 0 w 52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4">
                  <a:moveTo>
                    <a:pt x="8" y="8"/>
                  </a:moveTo>
                  <a:lnTo>
                    <a:pt x="44" y="8"/>
                  </a:lnTo>
                  <a:lnTo>
                    <a:pt x="44" y="44"/>
                  </a:lnTo>
                  <a:lnTo>
                    <a:pt x="8" y="44"/>
                  </a:lnTo>
                  <a:lnTo>
                    <a:pt x="8" y="8"/>
                  </a:lnTo>
                  <a:close/>
                  <a:moveTo>
                    <a:pt x="0" y="54"/>
                  </a:moveTo>
                  <a:lnTo>
                    <a:pt x="52" y="54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4">
              <a:extLst>
                <a:ext uri="{FF2B5EF4-FFF2-40B4-BE49-F238E27FC236}">
                  <a16:creationId xmlns:a16="http://schemas.microsoft.com/office/drawing/2014/main" id="{D48C7197-D9D5-4025-9EBA-93AA274509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1268"/>
              <a:ext cx="51" cy="54"/>
            </a:xfrm>
            <a:custGeom>
              <a:avLst/>
              <a:gdLst>
                <a:gd name="T0" fmla="*/ 43 w 51"/>
                <a:gd name="T1" fmla="*/ 44 h 54"/>
                <a:gd name="T2" fmla="*/ 7 w 51"/>
                <a:gd name="T3" fmla="*/ 44 h 54"/>
                <a:gd name="T4" fmla="*/ 7 w 51"/>
                <a:gd name="T5" fmla="*/ 8 h 54"/>
                <a:gd name="T6" fmla="*/ 43 w 51"/>
                <a:gd name="T7" fmla="*/ 8 h 54"/>
                <a:gd name="T8" fmla="*/ 43 w 51"/>
                <a:gd name="T9" fmla="*/ 44 h 54"/>
                <a:gd name="T10" fmla="*/ 51 w 51"/>
                <a:gd name="T11" fmla="*/ 0 h 54"/>
                <a:gd name="T12" fmla="*/ 0 w 51"/>
                <a:gd name="T13" fmla="*/ 0 h 54"/>
                <a:gd name="T14" fmla="*/ 0 w 51"/>
                <a:gd name="T15" fmla="*/ 54 h 54"/>
                <a:gd name="T16" fmla="*/ 51 w 51"/>
                <a:gd name="T17" fmla="*/ 54 h 54"/>
                <a:gd name="T18" fmla="*/ 51 w 51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4">
                  <a:moveTo>
                    <a:pt x="43" y="44"/>
                  </a:moveTo>
                  <a:lnTo>
                    <a:pt x="7" y="44"/>
                  </a:lnTo>
                  <a:lnTo>
                    <a:pt x="7" y="8"/>
                  </a:lnTo>
                  <a:lnTo>
                    <a:pt x="43" y="8"/>
                  </a:lnTo>
                  <a:lnTo>
                    <a:pt x="43" y="44"/>
                  </a:lnTo>
                  <a:close/>
                  <a:moveTo>
                    <a:pt x="51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1" y="5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05">
              <a:extLst>
                <a:ext uri="{FF2B5EF4-FFF2-40B4-BE49-F238E27FC236}">
                  <a16:creationId xmlns:a16="http://schemas.microsoft.com/office/drawing/2014/main" id="{B90FB81C-ADFC-42D2-A139-9273216126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6" y="1204"/>
              <a:ext cx="52" cy="54"/>
            </a:xfrm>
            <a:custGeom>
              <a:avLst/>
              <a:gdLst>
                <a:gd name="T0" fmla="*/ 44 w 52"/>
                <a:gd name="T1" fmla="*/ 46 h 54"/>
                <a:gd name="T2" fmla="*/ 8 w 52"/>
                <a:gd name="T3" fmla="*/ 46 h 54"/>
                <a:gd name="T4" fmla="*/ 8 w 52"/>
                <a:gd name="T5" fmla="*/ 10 h 54"/>
                <a:gd name="T6" fmla="*/ 44 w 52"/>
                <a:gd name="T7" fmla="*/ 10 h 54"/>
                <a:gd name="T8" fmla="*/ 44 w 52"/>
                <a:gd name="T9" fmla="*/ 46 h 54"/>
                <a:gd name="T10" fmla="*/ 52 w 52"/>
                <a:gd name="T11" fmla="*/ 0 h 54"/>
                <a:gd name="T12" fmla="*/ 0 w 52"/>
                <a:gd name="T13" fmla="*/ 0 h 54"/>
                <a:gd name="T14" fmla="*/ 0 w 52"/>
                <a:gd name="T15" fmla="*/ 54 h 54"/>
                <a:gd name="T16" fmla="*/ 52 w 52"/>
                <a:gd name="T17" fmla="*/ 54 h 54"/>
                <a:gd name="T18" fmla="*/ 52 w 52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4">
                  <a:moveTo>
                    <a:pt x="44" y="46"/>
                  </a:moveTo>
                  <a:lnTo>
                    <a:pt x="8" y="46"/>
                  </a:lnTo>
                  <a:lnTo>
                    <a:pt x="8" y="10"/>
                  </a:lnTo>
                  <a:lnTo>
                    <a:pt x="44" y="10"/>
                  </a:lnTo>
                  <a:lnTo>
                    <a:pt x="44" y="46"/>
                  </a:lnTo>
                  <a:close/>
                  <a:moveTo>
                    <a:pt x="52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52" y="54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6">
              <a:extLst>
                <a:ext uri="{FF2B5EF4-FFF2-40B4-BE49-F238E27FC236}">
                  <a16:creationId xmlns:a16="http://schemas.microsoft.com/office/drawing/2014/main" id="{048DFBDD-985B-46BE-8F4D-4254926D1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1" y="1107"/>
              <a:ext cx="52" cy="51"/>
            </a:xfrm>
            <a:custGeom>
              <a:avLst/>
              <a:gdLst>
                <a:gd name="T0" fmla="*/ 10 w 20"/>
                <a:gd name="T1" fmla="*/ 4 h 20"/>
                <a:gd name="T2" fmla="*/ 17 w 20"/>
                <a:gd name="T3" fmla="*/ 10 h 20"/>
                <a:gd name="T4" fmla="*/ 10 w 20"/>
                <a:gd name="T5" fmla="*/ 17 h 20"/>
                <a:gd name="T6" fmla="*/ 4 w 20"/>
                <a:gd name="T7" fmla="*/ 10 h 20"/>
                <a:gd name="T8" fmla="*/ 10 w 20"/>
                <a:gd name="T9" fmla="*/ 4 h 20"/>
                <a:gd name="T10" fmla="*/ 10 w 20"/>
                <a:gd name="T11" fmla="*/ 20 h 20"/>
                <a:gd name="T12" fmla="*/ 20 w 20"/>
                <a:gd name="T13" fmla="*/ 10 h 20"/>
                <a:gd name="T14" fmla="*/ 10 w 20"/>
                <a:gd name="T15" fmla="*/ 0 h 20"/>
                <a:gd name="T16" fmla="*/ 0 w 20"/>
                <a:gd name="T17" fmla="*/ 10 h 20"/>
                <a:gd name="T18" fmla="*/ 1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4"/>
                  </a:moveTo>
                  <a:cubicBezTo>
                    <a:pt x="14" y="4"/>
                    <a:pt x="17" y="7"/>
                    <a:pt x="17" y="10"/>
                  </a:cubicBezTo>
                  <a:cubicBezTo>
                    <a:pt x="17" y="14"/>
                    <a:pt x="14" y="17"/>
                    <a:pt x="10" y="17"/>
                  </a:cubicBezTo>
                  <a:cubicBezTo>
                    <a:pt x="7" y="17"/>
                    <a:pt x="4" y="14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moveTo>
                    <a:pt x="10" y="20"/>
                  </a:move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7">
              <a:extLst>
                <a:ext uri="{FF2B5EF4-FFF2-40B4-BE49-F238E27FC236}">
                  <a16:creationId xmlns:a16="http://schemas.microsoft.com/office/drawing/2014/main" id="{72BDBE1E-EAB8-4B03-8B31-A834621DA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9" y="1163"/>
              <a:ext cx="74" cy="215"/>
            </a:xfrm>
            <a:custGeom>
              <a:avLst/>
              <a:gdLst>
                <a:gd name="T0" fmla="*/ 15 w 29"/>
                <a:gd name="T1" fmla="*/ 37 h 84"/>
                <a:gd name="T2" fmla="*/ 12 w 29"/>
                <a:gd name="T3" fmla="*/ 41 h 84"/>
                <a:gd name="T4" fmla="*/ 7 w 29"/>
                <a:gd name="T5" fmla="*/ 41 h 84"/>
                <a:gd name="T6" fmla="*/ 4 w 29"/>
                <a:gd name="T7" fmla="*/ 37 h 84"/>
                <a:gd name="T8" fmla="*/ 4 w 29"/>
                <a:gd name="T9" fmla="*/ 7 h 84"/>
                <a:gd name="T10" fmla="*/ 7 w 29"/>
                <a:gd name="T11" fmla="*/ 3 h 84"/>
                <a:gd name="T12" fmla="*/ 12 w 29"/>
                <a:gd name="T13" fmla="*/ 3 h 84"/>
                <a:gd name="T14" fmla="*/ 15 w 29"/>
                <a:gd name="T15" fmla="*/ 7 h 84"/>
                <a:gd name="T16" fmla="*/ 15 w 29"/>
                <a:gd name="T17" fmla="*/ 11 h 84"/>
                <a:gd name="T18" fmla="*/ 11 w 29"/>
                <a:gd name="T19" fmla="*/ 7 h 84"/>
                <a:gd name="T20" fmla="*/ 9 w 29"/>
                <a:gd name="T21" fmla="*/ 10 h 84"/>
                <a:gd name="T22" fmla="*/ 15 w 29"/>
                <a:gd name="T23" fmla="*/ 16 h 84"/>
                <a:gd name="T24" fmla="*/ 15 w 29"/>
                <a:gd name="T25" fmla="*/ 37 h 84"/>
                <a:gd name="T26" fmla="*/ 19 w 29"/>
                <a:gd name="T27" fmla="*/ 7 h 84"/>
                <a:gd name="T28" fmla="*/ 12 w 29"/>
                <a:gd name="T29" fmla="*/ 0 h 84"/>
                <a:gd name="T30" fmla="*/ 7 w 29"/>
                <a:gd name="T31" fmla="*/ 0 h 84"/>
                <a:gd name="T32" fmla="*/ 0 w 29"/>
                <a:gd name="T33" fmla="*/ 7 h 84"/>
                <a:gd name="T34" fmla="*/ 0 w 29"/>
                <a:gd name="T35" fmla="*/ 37 h 84"/>
                <a:gd name="T36" fmla="*/ 7 w 29"/>
                <a:gd name="T37" fmla="*/ 44 h 84"/>
                <a:gd name="T38" fmla="*/ 7 w 29"/>
                <a:gd name="T39" fmla="*/ 84 h 84"/>
                <a:gd name="T40" fmla="*/ 20 w 29"/>
                <a:gd name="T41" fmla="*/ 84 h 84"/>
                <a:gd name="T42" fmla="*/ 20 w 29"/>
                <a:gd name="T43" fmla="*/ 80 h 84"/>
                <a:gd name="T44" fmla="*/ 11 w 29"/>
                <a:gd name="T45" fmla="*/ 80 h 84"/>
                <a:gd name="T46" fmla="*/ 11 w 29"/>
                <a:gd name="T47" fmla="*/ 44 h 84"/>
                <a:gd name="T48" fmla="*/ 12 w 29"/>
                <a:gd name="T49" fmla="*/ 44 h 84"/>
                <a:gd name="T50" fmla="*/ 19 w 29"/>
                <a:gd name="T51" fmla="*/ 37 h 84"/>
                <a:gd name="T52" fmla="*/ 19 w 29"/>
                <a:gd name="T53" fmla="*/ 20 h 84"/>
                <a:gd name="T54" fmla="*/ 27 w 29"/>
                <a:gd name="T55" fmla="*/ 28 h 84"/>
                <a:gd name="T56" fmla="*/ 29 w 29"/>
                <a:gd name="T57" fmla="*/ 26 h 84"/>
                <a:gd name="T58" fmla="*/ 19 w 29"/>
                <a:gd name="T59" fmla="*/ 15 h 84"/>
                <a:gd name="T60" fmla="*/ 19 w 29"/>
                <a:gd name="T61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" h="84">
                  <a:moveTo>
                    <a:pt x="15" y="37"/>
                  </a:moveTo>
                  <a:cubicBezTo>
                    <a:pt x="15" y="39"/>
                    <a:pt x="14" y="41"/>
                    <a:pt x="12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1"/>
                    <a:pt x="4" y="39"/>
                    <a:pt x="4" y="3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3"/>
                    <a:pt x="7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4" y="3"/>
                    <a:pt x="15" y="5"/>
                    <a:pt x="15" y="7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5" y="16"/>
                    <a:pt x="15" y="16"/>
                    <a:pt x="15" y="16"/>
                  </a:cubicBezTo>
                  <a:lnTo>
                    <a:pt x="15" y="37"/>
                  </a:lnTo>
                  <a:close/>
                  <a:moveTo>
                    <a:pt x="19" y="7"/>
                  </a:moveTo>
                  <a:cubicBezTo>
                    <a:pt x="19" y="3"/>
                    <a:pt x="15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3" y="44"/>
                    <a:pt x="7" y="4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5" y="44"/>
                    <a:pt x="19" y="41"/>
                    <a:pt x="19" y="37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19" y="15"/>
                    <a:pt x="19" y="15"/>
                    <a:pt x="19" y="15"/>
                  </a:cubicBezTo>
                  <a:lnTo>
                    <a:pt x="19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8">
              <a:extLst>
                <a:ext uri="{FF2B5EF4-FFF2-40B4-BE49-F238E27FC236}">
                  <a16:creationId xmlns:a16="http://schemas.microsoft.com/office/drawing/2014/main" id="{883C92BE-42FE-4306-8F91-2BCE298B1B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2" y="1107"/>
              <a:ext cx="51" cy="51"/>
            </a:xfrm>
            <a:custGeom>
              <a:avLst/>
              <a:gdLst>
                <a:gd name="T0" fmla="*/ 10 w 20"/>
                <a:gd name="T1" fmla="*/ 4 h 20"/>
                <a:gd name="T2" fmla="*/ 16 w 20"/>
                <a:gd name="T3" fmla="*/ 10 h 20"/>
                <a:gd name="T4" fmla="*/ 10 w 20"/>
                <a:gd name="T5" fmla="*/ 17 h 20"/>
                <a:gd name="T6" fmla="*/ 3 w 20"/>
                <a:gd name="T7" fmla="*/ 10 h 20"/>
                <a:gd name="T8" fmla="*/ 10 w 20"/>
                <a:gd name="T9" fmla="*/ 4 h 20"/>
                <a:gd name="T10" fmla="*/ 10 w 20"/>
                <a:gd name="T11" fmla="*/ 20 h 20"/>
                <a:gd name="T12" fmla="*/ 20 w 20"/>
                <a:gd name="T13" fmla="*/ 10 h 20"/>
                <a:gd name="T14" fmla="*/ 10 w 20"/>
                <a:gd name="T15" fmla="*/ 0 h 20"/>
                <a:gd name="T16" fmla="*/ 0 w 20"/>
                <a:gd name="T17" fmla="*/ 10 h 20"/>
                <a:gd name="T18" fmla="*/ 10 w 20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4"/>
                  </a:moveTo>
                  <a:cubicBezTo>
                    <a:pt x="13" y="4"/>
                    <a:pt x="16" y="7"/>
                    <a:pt x="16" y="10"/>
                  </a:cubicBezTo>
                  <a:cubicBezTo>
                    <a:pt x="16" y="14"/>
                    <a:pt x="13" y="17"/>
                    <a:pt x="10" y="17"/>
                  </a:cubicBezTo>
                  <a:cubicBezTo>
                    <a:pt x="6" y="17"/>
                    <a:pt x="3" y="14"/>
                    <a:pt x="3" y="10"/>
                  </a:cubicBezTo>
                  <a:cubicBezTo>
                    <a:pt x="3" y="7"/>
                    <a:pt x="6" y="4"/>
                    <a:pt x="10" y="4"/>
                  </a:cubicBezTo>
                  <a:moveTo>
                    <a:pt x="10" y="20"/>
                  </a:moveTo>
                  <a:cubicBezTo>
                    <a:pt x="15" y="20"/>
                    <a:pt x="20" y="16"/>
                    <a:pt x="20" y="10"/>
                  </a:cubicBezTo>
                  <a:cubicBezTo>
                    <a:pt x="20" y="5"/>
                    <a:pt x="15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09">
              <a:extLst>
                <a:ext uri="{FF2B5EF4-FFF2-40B4-BE49-F238E27FC236}">
                  <a16:creationId xmlns:a16="http://schemas.microsoft.com/office/drawing/2014/main" id="{89843DA5-DDC4-46A4-A1B1-3084F8746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1163"/>
              <a:ext cx="118" cy="215"/>
            </a:xfrm>
            <a:custGeom>
              <a:avLst/>
              <a:gdLst>
                <a:gd name="T0" fmla="*/ 42 w 46"/>
                <a:gd name="T1" fmla="*/ 37 h 84"/>
                <a:gd name="T2" fmla="*/ 39 w 46"/>
                <a:gd name="T3" fmla="*/ 41 h 84"/>
                <a:gd name="T4" fmla="*/ 34 w 46"/>
                <a:gd name="T5" fmla="*/ 41 h 84"/>
                <a:gd name="T6" fmla="*/ 31 w 46"/>
                <a:gd name="T7" fmla="*/ 37 h 84"/>
                <a:gd name="T8" fmla="*/ 31 w 46"/>
                <a:gd name="T9" fmla="*/ 16 h 84"/>
                <a:gd name="T10" fmla="*/ 37 w 46"/>
                <a:gd name="T11" fmla="*/ 10 h 84"/>
                <a:gd name="T12" fmla="*/ 35 w 46"/>
                <a:gd name="T13" fmla="*/ 7 h 84"/>
                <a:gd name="T14" fmla="*/ 31 w 46"/>
                <a:gd name="T15" fmla="*/ 11 h 84"/>
                <a:gd name="T16" fmla="*/ 31 w 46"/>
                <a:gd name="T17" fmla="*/ 7 h 84"/>
                <a:gd name="T18" fmla="*/ 34 w 46"/>
                <a:gd name="T19" fmla="*/ 3 h 84"/>
                <a:gd name="T20" fmla="*/ 39 w 46"/>
                <a:gd name="T21" fmla="*/ 3 h 84"/>
                <a:gd name="T22" fmla="*/ 42 w 46"/>
                <a:gd name="T23" fmla="*/ 7 h 84"/>
                <a:gd name="T24" fmla="*/ 42 w 46"/>
                <a:gd name="T25" fmla="*/ 37 h 84"/>
                <a:gd name="T26" fmla="*/ 17 w 46"/>
                <a:gd name="T27" fmla="*/ 29 h 84"/>
                <a:gd name="T28" fmla="*/ 3 w 46"/>
                <a:gd name="T29" fmla="*/ 29 h 84"/>
                <a:gd name="T30" fmla="*/ 3 w 46"/>
                <a:gd name="T31" fmla="*/ 15 h 84"/>
                <a:gd name="T32" fmla="*/ 17 w 46"/>
                <a:gd name="T33" fmla="*/ 15 h 84"/>
                <a:gd name="T34" fmla="*/ 17 w 46"/>
                <a:gd name="T35" fmla="*/ 29 h 84"/>
                <a:gd name="T36" fmla="*/ 39 w 46"/>
                <a:gd name="T37" fmla="*/ 0 h 84"/>
                <a:gd name="T38" fmla="*/ 34 w 46"/>
                <a:gd name="T39" fmla="*/ 0 h 84"/>
                <a:gd name="T40" fmla="*/ 27 w 46"/>
                <a:gd name="T41" fmla="*/ 7 h 84"/>
                <a:gd name="T42" fmla="*/ 27 w 46"/>
                <a:gd name="T43" fmla="*/ 15 h 84"/>
                <a:gd name="T44" fmla="*/ 20 w 46"/>
                <a:gd name="T45" fmla="*/ 22 h 84"/>
                <a:gd name="T46" fmla="*/ 20 w 46"/>
                <a:gd name="T47" fmla="*/ 11 h 84"/>
                <a:gd name="T48" fmla="*/ 0 w 46"/>
                <a:gd name="T49" fmla="*/ 11 h 84"/>
                <a:gd name="T50" fmla="*/ 0 w 46"/>
                <a:gd name="T51" fmla="*/ 33 h 84"/>
                <a:gd name="T52" fmla="*/ 20 w 46"/>
                <a:gd name="T53" fmla="*/ 33 h 84"/>
                <a:gd name="T54" fmla="*/ 20 w 46"/>
                <a:gd name="T55" fmla="*/ 27 h 84"/>
                <a:gd name="T56" fmla="*/ 27 w 46"/>
                <a:gd name="T57" fmla="*/ 20 h 84"/>
                <a:gd name="T58" fmla="*/ 27 w 46"/>
                <a:gd name="T59" fmla="*/ 37 h 84"/>
                <a:gd name="T60" fmla="*/ 34 w 46"/>
                <a:gd name="T61" fmla="*/ 44 h 84"/>
                <a:gd name="T62" fmla="*/ 35 w 46"/>
                <a:gd name="T63" fmla="*/ 44 h 84"/>
                <a:gd name="T64" fmla="*/ 35 w 46"/>
                <a:gd name="T65" fmla="*/ 80 h 84"/>
                <a:gd name="T66" fmla="*/ 26 w 46"/>
                <a:gd name="T67" fmla="*/ 80 h 84"/>
                <a:gd name="T68" fmla="*/ 26 w 46"/>
                <a:gd name="T69" fmla="*/ 84 h 84"/>
                <a:gd name="T70" fmla="*/ 39 w 46"/>
                <a:gd name="T71" fmla="*/ 84 h 84"/>
                <a:gd name="T72" fmla="*/ 39 w 46"/>
                <a:gd name="T73" fmla="*/ 44 h 84"/>
                <a:gd name="T74" fmla="*/ 46 w 46"/>
                <a:gd name="T75" fmla="*/ 37 h 84"/>
                <a:gd name="T76" fmla="*/ 46 w 46"/>
                <a:gd name="T77" fmla="*/ 7 h 84"/>
                <a:gd name="T78" fmla="*/ 39 w 46"/>
                <a:gd name="T7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" h="84">
                  <a:moveTo>
                    <a:pt x="42" y="37"/>
                  </a:moveTo>
                  <a:cubicBezTo>
                    <a:pt x="42" y="39"/>
                    <a:pt x="41" y="41"/>
                    <a:pt x="39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2" y="41"/>
                    <a:pt x="31" y="39"/>
                    <a:pt x="31" y="3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5"/>
                    <a:pt x="32" y="3"/>
                    <a:pt x="34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1" y="3"/>
                    <a:pt x="42" y="5"/>
                    <a:pt x="42" y="7"/>
                  </a:cubicBezTo>
                  <a:lnTo>
                    <a:pt x="42" y="37"/>
                  </a:lnTo>
                  <a:close/>
                  <a:moveTo>
                    <a:pt x="17" y="29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7" y="15"/>
                    <a:pt x="17" y="15"/>
                    <a:pt x="17" y="15"/>
                  </a:cubicBezTo>
                  <a:lnTo>
                    <a:pt x="17" y="29"/>
                  </a:lnTo>
                  <a:close/>
                  <a:moveTo>
                    <a:pt x="3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1" y="0"/>
                    <a:pt x="27" y="3"/>
                    <a:pt x="27" y="7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41"/>
                    <a:pt x="31" y="44"/>
                    <a:pt x="34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3" y="44"/>
                    <a:pt x="46" y="41"/>
                    <a:pt x="46" y="3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3"/>
                    <a:pt x="42" y="0"/>
                    <a:pt x="3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0">
              <a:extLst>
                <a:ext uri="{FF2B5EF4-FFF2-40B4-BE49-F238E27FC236}">
                  <a16:creationId xmlns:a16="http://schemas.microsoft.com/office/drawing/2014/main" id="{E572F2A2-E147-4F1B-961D-00879BC06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" y="1120"/>
              <a:ext cx="102" cy="51"/>
            </a:xfrm>
            <a:custGeom>
              <a:avLst/>
              <a:gdLst>
                <a:gd name="T0" fmla="*/ 102 w 102"/>
                <a:gd name="T1" fmla="*/ 18 h 51"/>
                <a:gd name="T2" fmla="*/ 97 w 102"/>
                <a:gd name="T3" fmla="*/ 10 h 51"/>
                <a:gd name="T4" fmla="*/ 67 w 102"/>
                <a:gd name="T5" fmla="*/ 23 h 51"/>
                <a:gd name="T6" fmla="*/ 28 w 102"/>
                <a:gd name="T7" fmla="*/ 0 h 51"/>
                <a:gd name="T8" fmla="*/ 23 w 102"/>
                <a:gd name="T9" fmla="*/ 7 h 51"/>
                <a:gd name="T10" fmla="*/ 56 w 102"/>
                <a:gd name="T11" fmla="*/ 25 h 51"/>
                <a:gd name="T12" fmla="*/ 20 w 102"/>
                <a:gd name="T13" fmla="*/ 41 h 51"/>
                <a:gd name="T14" fmla="*/ 5 w 102"/>
                <a:gd name="T15" fmla="*/ 30 h 51"/>
                <a:gd name="T16" fmla="*/ 0 w 102"/>
                <a:gd name="T17" fmla="*/ 38 h 51"/>
                <a:gd name="T18" fmla="*/ 20 w 102"/>
                <a:gd name="T19" fmla="*/ 51 h 51"/>
                <a:gd name="T20" fmla="*/ 102 w 102"/>
                <a:gd name="T21" fmla="*/ 1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" h="51">
                  <a:moveTo>
                    <a:pt x="102" y="18"/>
                  </a:moveTo>
                  <a:lnTo>
                    <a:pt x="97" y="10"/>
                  </a:lnTo>
                  <a:lnTo>
                    <a:pt x="67" y="23"/>
                  </a:lnTo>
                  <a:lnTo>
                    <a:pt x="28" y="0"/>
                  </a:lnTo>
                  <a:lnTo>
                    <a:pt x="23" y="7"/>
                  </a:lnTo>
                  <a:lnTo>
                    <a:pt x="56" y="25"/>
                  </a:lnTo>
                  <a:lnTo>
                    <a:pt x="20" y="41"/>
                  </a:lnTo>
                  <a:lnTo>
                    <a:pt x="5" y="30"/>
                  </a:lnTo>
                  <a:lnTo>
                    <a:pt x="0" y="38"/>
                  </a:lnTo>
                  <a:lnTo>
                    <a:pt x="20" y="51"/>
                  </a:lnTo>
                  <a:lnTo>
                    <a:pt x="102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6" name="Group 113">
            <a:extLst>
              <a:ext uri="{FF2B5EF4-FFF2-40B4-BE49-F238E27FC236}">
                <a16:creationId xmlns:a16="http://schemas.microsoft.com/office/drawing/2014/main" id="{8B7556FB-0198-43D8-8E0B-513886E5FB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3038" y="1595438"/>
            <a:ext cx="758825" cy="758825"/>
            <a:chOff x="909" y="1005"/>
            <a:chExt cx="478" cy="478"/>
          </a:xfrm>
        </p:grpSpPr>
        <p:sp>
          <p:nvSpPr>
            <p:cNvPr id="137" name="AutoShape 112">
              <a:extLst>
                <a:ext uri="{FF2B5EF4-FFF2-40B4-BE49-F238E27FC236}">
                  <a16:creationId xmlns:a16="http://schemas.microsoft.com/office/drawing/2014/main" id="{59BD1A48-2565-4513-AD1E-D801CCEEC0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9" y="10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14">
              <a:extLst>
                <a:ext uri="{FF2B5EF4-FFF2-40B4-BE49-F238E27FC236}">
                  <a16:creationId xmlns:a16="http://schemas.microsoft.com/office/drawing/2014/main" id="{25153BD3-74F9-4CEF-8ED9-26215C70B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1" y="10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5">
              <a:extLst>
                <a:ext uri="{FF2B5EF4-FFF2-40B4-BE49-F238E27FC236}">
                  <a16:creationId xmlns:a16="http://schemas.microsoft.com/office/drawing/2014/main" id="{1441D9B1-00E6-4A3E-B95B-51BA65D82D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" y="1083"/>
              <a:ext cx="307" cy="248"/>
            </a:xfrm>
            <a:custGeom>
              <a:avLst/>
              <a:gdLst>
                <a:gd name="T0" fmla="*/ 118 w 125"/>
                <a:gd name="T1" fmla="*/ 98 h 101"/>
                <a:gd name="T2" fmla="*/ 108 w 125"/>
                <a:gd name="T3" fmla="*/ 93 h 101"/>
                <a:gd name="T4" fmla="*/ 98 w 125"/>
                <a:gd name="T5" fmla="*/ 98 h 101"/>
                <a:gd name="T6" fmla="*/ 88 w 125"/>
                <a:gd name="T7" fmla="*/ 93 h 101"/>
                <a:gd name="T8" fmla="*/ 81 w 125"/>
                <a:gd name="T9" fmla="*/ 96 h 101"/>
                <a:gd name="T10" fmla="*/ 81 w 125"/>
                <a:gd name="T11" fmla="*/ 96 h 101"/>
                <a:gd name="T12" fmla="*/ 74 w 125"/>
                <a:gd name="T13" fmla="*/ 96 h 101"/>
                <a:gd name="T14" fmla="*/ 64 w 125"/>
                <a:gd name="T15" fmla="*/ 93 h 101"/>
                <a:gd name="T16" fmla="*/ 77 w 125"/>
                <a:gd name="T17" fmla="*/ 70 h 101"/>
                <a:gd name="T18" fmla="*/ 121 w 125"/>
                <a:gd name="T19" fmla="*/ 70 h 101"/>
                <a:gd name="T20" fmla="*/ 80 w 125"/>
                <a:gd name="T21" fmla="*/ 59 h 101"/>
                <a:gd name="T22" fmla="*/ 94 w 125"/>
                <a:gd name="T23" fmla="*/ 66 h 101"/>
                <a:gd name="T24" fmla="*/ 80 w 125"/>
                <a:gd name="T25" fmla="*/ 59 h 101"/>
                <a:gd name="T26" fmla="*/ 93 w 125"/>
                <a:gd name="T27" fmla="*/ 56 h 101"/>
                <a:gd name="T28" fmla="*/ 87 w 125"/>
                <a:gd name="T29" fmla="*/ 48 h 101"/>
                <a:gd name="T30" fmla="*/ 85 w 125"/>
                <a:gd name="T31" fmla="*/ 45 h 101"/>
                <a:gd name="T32" fmla="*/ 72 w 125"/>
                <a:gd name="T33" fmla="*/ 22 h 101"/>
                <a:gd name="T34" fmla="*/ 98 w 125"/>
                <a:gd name="T35" fmla="*/ 56 h 101"/>
                <a:gd name="T36" fmla="*/ 89 w 125"/>
                <a:gd name="T37" fmla="*/ 44 h 101"/>
                <a:gd name="T38" fmla="*/ 61 w 125"/>
                <a:gd name="T39" fmla="*/ 2 h 101"/>
                <a:gd name="T40" fmla="*/ 62 w 125"/>
                <a:gd name="T41" fmla="*/ 38 h 101"/>
                <a:gd name="T42" fmla="*/ 65 w 125"/>
                <a:gd name="T43" fmla="*/ 9 h 101"/>
                <a:gd name="T44" fmla="*/ 78 w 125"/>
                <a:gd name="T45" fmla="*/ 56 h 101"/>
                <a:gd name="T46" fmla="*/ 77 w 125"/>
                <a:gd name="T47" fmla="*/ 66 h 101"/>
                <a:gd name="T48" fmla="*/ 61 w 125"/>
                <a:gd name="T49" fmla="*/ 96 h 101"/>
                <a:gd name="T50" fmla="*/ 57 w 125"/>
                <a:gd name="T51" fmla="*/ 98 h 101"/>
                <a:gd name="T52" fmla="*/ 47 w 125"/>
                <a:gd name="T53" fmla="*/ 93 h 101"/>
                <a:gd name="T54" fmla="*/ 36 w 125"/>
                <a:gd name="T55" fmla="*/ 98 h 101"/>
                <a:gd name="T56" fmla="*/ 26 w 125"/>
                <a:gd name="T57" fmla="*/ 93 h 101"/>
                <a:gd name="T58" fmla="*/ 16 w 125"/>
                <a:gd name="T59" fmla="*/ 98 h 101"/>
                <a:gd name="T60" fmla="*/ 6 w 125"/>
                <a:gd name="T61" fmla="*/ 93 h 101"/>
                <a:gd name="T62" fmla="*/ 2 w 125"/>
                <a:gd name="T63" fmla="*/ 98 h 101"/>
                <a:gd name="T64" fmla="*/ 10 w 125"/>
                <a:gd name="T65" fmla="*/ 98 h 101"/>
                <a:gd name="T66" fmla="*/ 22 w 125"/>
                <a:gd name="T67" fmla="*/ 98 h 101"/>
                <a:gd name="T68" fmla="*/ 30 w 125"/>
                <a:gd name="T69" fmla="*/ 98 h 101"/>
                <a:gd name="T70" fmla="*/ 43 w 125"/>
                <a:gd name="T71" fmla="*/ 98 h 101"/>
                <a:gd name="T72" fmla="*/ 50 w 125"/>
                <a:gd name="T73" fmla="*/ 98 h 101"/>
                <a:gd name="T74" fmla="*/ 61 w 125"/>
                <a:gd name="T75" fmla="*/ 100 h 101"/>
                <a:gd name="T76" fmla="*/ 64 w 125"/>
                <a:gd name="T77" fmla="*/ 98 h 101"/>
                <a:gd name="T78" fmla="*/ 67 w 125"/>
                <a:gd name="T79" fmla="*/ 96 h 101"/>
                <a:gd name="T80" fmla="*/ 77 w 125"/>
                <a:gd name="T81" fmla="*/ 101 h 101"/>
                <a:gd name="T82" fmla="*/ 84 w 125"/>
                <a:gd name="T83" fmla="*/ 98 h 101"/>
                <a:gd name="T84" fmla="*/ 91 w 125"/>
                <a:gd name="T85" fmla="*/ 98 h 101"/>
                <a:gd name="T86" fmla="*/ 104 w 125"/>
                <a:gd name="T87" fmla="*/ 98 h 101"/>
                <a:gd name="T88" fmla="*/ 112 w 125"/>
                <a:gd name="T89" fmla="*/ 98 h 101"/>
                <a:gd name="T90" fmla="*/ 124 w 125"/>
                <a:gd name="T91" fmla="*/ 98 h 101"/>
                <a:gd name="T92" fmla="*/ 125 w 125"/>
                <a:gd name="T93" fmla="*/ 6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5" h="101">
                  <a:moveTo>
                    <a:pt x="121" y="96"/>
                  </a:moveTo>
                  <a:cubicBezTo>
                    <a:pt x="121" y="97"/>
                    <a:pt x="119" y="98"/>
                    <a:pt x="118" y="98"/>
                  </a:cubicBezTo>
                  <a:cubicBezTo>
                    <a:pt x="117" y="98"/>
                    <a:pt x="115" y="96"/>
                    <a:pt x="114" y="96"/>
                  </a:cubicBezTo>
                  <a:cubicBezTo>
                    <a:pt x="114" y="95"/>
                    <a:pt x="111" y="93"/>
                    <a:pt x="108" y="93"/>
                  </a:cubicBezTo>
                  <a:cubicBezTo>
                    <a:pt x="105" y="93"/>
                    <a:pt x="102" y="95"/>
                    <a:pt x="102" y="96"/>
                  </a:cubicBezTo>
                  <a:cubicBezTo>
                    <a:pt x="101" y="96"/>
                    <a:pt x="99" y="98"/>
                    <a:pt x="98" y="98"/>
                  </a:cubicBezTo>
                  <a:cubicBezTo>
                    <a:pt x="96" y="98"/>
                    <a:pt x="94" y="96"/>
                    <a:pt x="94" y="96"/>
                  </a:cubicBezTo>
                  <a:cubicBezTo>
                    <a:pt x="94" y="95"/>
                    <a:pt x="91" y="93"/>
                    <a:pt x="88" y="93"/>
                  </a:cubicBezTo>
                  <a:cubicBezTo>
                    <a:pt x="84" y="93"/>
                    <a:pt x="82" y="95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4" y="96"/>
                    <a:pt x="74" y="96"/>
                  </a:cubicBezTo>
                  <a:cubicBezTo>
                    <a:pt x="73" y="95"/>
                    <a:pt x="70" y="93"/>
                    <a:pt x="67" y="93"/>
                  </a:cubicBezTo>
                  <a:cubicBezTo>
                    <a:pt x="66" y="93"/>
                    <a:pt x="65" y="93"/>
                    <a:pt x="64" y="9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98" y="70"/>
                    <a:pt x="98" y="70"/>
                    <a:pt x="98" y="70"/>
                  </a:cubicBezTo>
                  <a:cubicBezTo>
                    <a:pt x="121" y="70"/>
                    <a:pt x="121" y="70"/>
                    <a:pt x="121" y="70"/>
                  </a:cubicBezTo>
                  <a:lnTo>
                    <a:pt x="121" y="96"/>
                  </a:lnTo>
                  <a:close/>
                  <a:moveTo>
                    <a:pt x="80" y="59"/>
                  </a:moveTo>
                  <a:cubicBezTo>
                    <a:pt x="94" y="59"/>
                    <a:pt x="94" y="59"/>
                    <a:pt x="94" y="59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80" y="66"/>
                    <a:pt x="80" y="66"/>
                    <a:pt x="80" y="66"/>
                  </a:cubicBezTo>
                  <a:lnTo>
                    <a:pt x="80" y="59"/>
                  </a:lnTo>
                  <a:close/>
                  <a:moveTo>
                    <a:pt x="87" y="48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82" y="56"/>
                    <a:pt x="82" y="56"/>
                    <a:pt x="82" y="56"/>
                  </a:cubicBezTo>
                  <a:lnTo>
                    <a:pt x="87" y="48"/>
                  </a:lnTo>
                  <a:close/>
                  <a:moveTo>
                    <a:pt x="72" y="22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1" y="51"/>
                    <a:pt x="81" y="51"/>
                    <a:pt x="81" y="51"/>
                  </a:cubicBezTo>
                  <a:lnTo>
                    <a:pt x="72" y="22"/>
                  </a:lnTo>
                  <a:close/>
                  <a:moveTo>
                    <a:pt x="98" y="6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0" y="97"/>
                    <a:pt x="58" y="98"/>
                    <a:pt x="57" y="98"/>
                  </a:cubicBezTo>
                  <a:cubicBezTo>
                    <a:pt x="55" y="98"/>
                    <a:pt x="53" y="96"/>
                    <a:pt x="53" y="96"/>
                  </a:cubicBezTo>
                  <a:cubicBezTo>
                    <a:pt x="53" y="96"/>
                    <a:pt x="50" y="93"/>
                    <a:pt x="47" y="93"/>
                  </a:cubicBezTo>
                  <a:cubicBezTo>
                    <a:pt x="43" y="93"/>
                    <a:pt x="41" y="96"/>
                    <a:pt x="40" y="96"/>
                  </a:cubicBezTo>
                  <a:cubicBezTo>
                    <a:pt x="40" y="97"/>
                    <a:pt x="38" y="98"/>
                    <a:pt x="36" y="98"/>
                  </a:cubicBezTo>
                  <a:cubicBezTo>
                    <a:pt x="35" y="98"/>
                    <a:pt x="33" y="96"/>
                    <a:pt x="33" y="96"/>
                  </a:cubicBezTo>
                  <a:cubicBezTo>
                    <a:pt x="32" y="96"/>
                    <a:pt x="29" y="93"/>
                    <a:pt x="26" y="93"/>
                  </a:cubicBezTo>
                  <a:cubicBezTo>
                    <a:pt x="23" y="93"/>
                    <a:pt x="20" y="96"/>
                    <a:pt x="20" y="96"/>
                  </a:cubicBezTo>
                  <a:cubicBezTo>
                    <a:pt x="19" y="96"/>
                    <a:pt x="18" y="98"/>
                    <a:pt x="16" y="98"/>
                  </a:cubicBezTo>
                  <a:cubicBezTo>
                    <a:pt x="15" y="98"/>
                    <a:pt x="13" y="96"/>
                    <a:pt x="12" y="96"/>
                  </a:cubicBezTo>
                  <a:cubicBezTo>
                    <a:pt x="12" y="96"/>
                    <a:pt x="9" y="93"/>
                    <a:pt x="6" y="93"/>
                  </a:cubicBezTo>
                  <a:cubicBezTo>
                    <a:pt x="3" y="93"/>
                    <a:pt x="0" y="96"/>
                    <a:pt x="0" y="96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3" y="98"/>
                    <a:pt x="5" y="96"/>
                    <a:pt x="6" y="96"/>
                  </a:cubicBezTo>
                  <a:cubicBezTo>
                    <a:pt x="7" y="96"/>
                    <a:pt x="9" y="98"/>
                    <a:pt x="10" y="98"/>
                  </a:cubicBezTo>
                  <a:cubicBezTo>
                    <a:pt x="10" y="99"/>
                    <a:pt x="13" y="101"/>
                    <a:pt x="16" y="101"/>
                  </a:cubicBezTo>
                  <a:cubicBezTo>
                    <a:pt x="19" y="101"/>
                    <a:pt x="22" y="99"/>
                    <a:pt x="22" y="98"/>
                  </a:cubicBezTo>
                  <a:cubicBezTo>
                    <a:pt x="23" y="98"/>
                    <a:pt x="25" y="96"/>
                    <a:pt x="26" y="96"/>
                  </a:cubicBezTo>
                  <a:cubicBezTo>
                    <a:pt x="28" y="96"/>
                    <a:pt x="30" y="98"/>
                    <a:pt x="30" y="98"/>
                  </a:cubicBezTo>
                  <a:cubicBezTo>
                    <a:pt x="30" y="99"/>
                    <a:pt x="33" y="101"/>
                    <a:pt x="36" y="101"/>
                  </a:cubicBezTo>
                  <a:cubicBezTo>
                    <a:pt x="40" y="101"/>
                    <a:pt x="42" y="99"/>
                    <a:pt x="43" y="98"/>
                  </a:cubicBezTo>
                  <a:cubicBezTo>
                    <a:pt x="43" y="98"/>
                    <a:pt x="45" y="96"/>
                    <a:pt x="47" y="96"/>
                  </a:cubicBezTo>
                  <a:cubicBezTo>
                    <a:pt x="48" y="96"/>
                    <a:pt x="50" y="98"/>
                    <a:pt x="50" y="98"/>
                  </a:cubicBezTo>
                  <a:cubicBezTo>
                    <a:pt x="51" y="99"/>
                    <a:pt x="54" y="101"/>
                    <a:pt x="57" y="101"/>
                  </a:cubicBezTo>
                  <a:cubicBezTo>
                    <a:pt x="58" y="101"/>
                    <a:pt x="60" y="101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5" y="97"/>
                    <a:pt x="66" y="96"/>
                    <a:pt x="67" y="96"/>
                  </a:cubicBezTo>
                  <a:cubicBezTo>
                    <a:pt x="68" y="96"/>
                    <a:pt x="70" y="98"/>
                    <a:pt x="71" y="98"/>
                  </a:cubicBezTo>
                  <a:cubicBezTo>
                    <a:pt x="71" y="99"/>
                    <a:pt x="74" y="101"/>
                    <a:pt x="77" y="101"/>
                  </a:cubicBezTo>
                  <a:cubicBezTo>
                    <a:pt x="80" y="101"/>
                    <a:pt x="82" y="100"/>
                    <a:pt x="83" y="99"/>
                  </a:cubicBezTo>
                  <a:cubicBezTo>
                    <a:pt x="83" y="98"/>
                    <a:pt x="84" y="98"/>
                    <a:pt x="84" y="98"/>
                  </a:cubicBezTo>
                  <a:cubicBezTo>
                    <a:pt x="84" y="97"/>
                    <a:pt x="86" y="96"/>
                    <a:pt x="88" y="96"/>
                  </a:cubicBezTo>
                  <a:cubicBezTo>
                    <a:pt x="89" y="96"/>
                    <a:pt x="91" y="97"/>
                    <a:pt x="91" y="98"/>
                  </a:cubicBezTo>
                  <a:cubicBezTo>
                    <a:pt x="92" y="98"/>
                    <a:pt x="95" y="101"/>
                    <a:pt x="98" y="101"/>
                  </a:cubicBezTo>
                  <a:cubicBezTo>
                    <a:pt x="101" y="101"/>
                    <a:pt x="104" y="98"/>
                    <a:pt x="104" y="98"/>
                  </a:cubicBezTo>
                  <a:cubicBezTo>
                    <a:pt x="105" y="97"/>
                    <a:pt x="106" y="96"/>
                    <a:pt x="108" y="96"/>
                  </a:cubicBezTo>
                  <a:cubicBezTo>
                    <a:pt x="109" y="96"/>
                    <a:pt x="111" y="97"/>
                    <a:pt x="112" y="98"/>
                  </a:cubicBezTo>
                  <a:cubicBezTo>
                    <a:pt x="112" y="98"/>
                    <a:pt x="115" y="101"/>
                    <a:pt x="118" y="101"/>
                  </a:cubicBezTo>
                  <a:cubicBezTo>
                    <a:pt x="121" y="101"/>
                    <a:pt x="124" y="98"/>
                    <a:pt x="124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66"/>
                    <a:pt x="125" y="66"/>
                    <a:pt x="125" y="66"/>
                  </a:cubicBezTo>
                  <a:lnTo>
                    <a:pt x="98" y="6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id="{414A4964-7095-498C-BF0C-59759F244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" y="1336"/>
              <a:ext cx="304" cy="20"/>
            </a:xfrm>
            <a:custGeom>
              <a:avLst/>
              <a:gdLst>
                <a:gd name="T0" fmla="*/ 118 w 124"/>
                <a:gd name="T1" fmla="*/ 5 h 8"/>
                <a:gd name="T2" fmla="*/ 114 w 124"/>
                <a:gd name="T3" fmla="*/ 3 h 8"/>
                <a:gd name="T4" fmla="*/ 108 w 124"/>
                <a:gd name="T5" fmla="*/ 0 h 8"/>
                <a:gd name="T6" fmla="*/ 102 w 124"/>
                <a:gd name="T7" fmla="*/ 3 h 8"/>
                <a:gd name="T8" fmla="*/ 98 w 124"/>
                <a:gd name="T9" fmla="*/ 5 h 8"/>
                <a:gd name="T10" fmla="*/ 94 w 124"/>
                <a:gd name="T11" fmla="*/ 3 h 8"/>
                <a:gd name="T12" fmla="*/ 88 w 124"/>
                <a:gd name="T13" fmla="*/ 0 h 8"/>
                <a:gd name="T14" fmla="*/ 81 w 124"/>
                <a:gd name="T15" fmla="*/ 3 h 8"/>
                <a:gd name="T16" fmla="*/ 77 w 124"/>
                <a:gd name="T17" fmla="*/ 5 h 8"/>
                <a:gd name="T18" fmla="*/ 74 w 124"/>
                <a:gd name="T19" fmla="*/ 3 h 8"/>
                <a:gd name="T20" fmla="*/ 67 w 124"/>
                <a:gd name="T21" fmla="*/ 0 h 8"/>
                <a:gd name="T22" fmla="*/ 61 w 124"/>
                <a:gd name="T23" fmla="*/ 3 h 8"/>
                <a:gd name="T24" fmla="*/ 57 w 124"/>
                <a:gd name="T25" fmla="*/ 5 h 8"/>
                <a:gd name="T26" fmla="*/ 53 w 124"/>
                <a:gd name="T27" fmla="*/ 3 h 8"/>
                <a:gd name="T28" fmla="*/ 47 w 124"/>
                <a:gd name="T29" fmla="*/ 0 h 8"/>
                <a:gd name="T30" fmla="*/ 41 w 124"/>
                <a:gd name="T31" fmla="*/ 3 h 8"/>
                <a:gd name="T32" fmla="*/ 37 w 124"/>
                <a:gd name="T33" fmla="*/ 5 h 8"/>
                <a:gd name="T34" fmla="*/ 33 w 124"/>
                <a:gd name="T35" fmla="*/ 3 h 8"/>
                <a:gd name="T36" fmla="*/ 27 w 124"/>
                <a:gd name="T37" fmla="*/ 0 h 8"/>
                <a:gd name="T38" fmla="*/ 20 w 124"/>
                <a:gd name="T39" fmla="*/ 3 h 8"/>
                <a:gd name="T40" fmla="*/ 17 w 124"/>
                <a:gd name="T41" fmla="*/ 5 h 8"/>
                <a:gd name="T42" fmla="*/ 13 w 124"/>
                <a:gd name="T43" fmla="*/ 3 h 8"/>
                <a:gd name="T44" fmla="*/ 6 w 124"/>
                <a:gd name="T45" fmla="*/ 0 h 8"/>
                <a:gd name="T46" fmla="*/ 0 w 124"/>
                <a:gd name="T47" fmla="*/ 3 h 8"/>
                <a:gd name="T48" fmla="*/ 3 w 124"/>
                <a:gd name="T49" fmla="*/ 5 h 8"/>
                <a:gd name="T50" fmla="*/ 6 w 124"/>
                <a:gd name="T51" fmla="*/ 3 h 8"/>
                <a:gd name="T52" fmla="*/ 10 w 124"/>
                <a:gd name="T53" fmla="*/ 5 h 8"/>
                <a:gd name="T54" fmla="*/ 17 w 124"/>
                <a:gd name="T55" fmla="*/ 8 h 8"/>
                <a:gd name="T56" fmla="*/ 23 w 124"/>
                <a:gd name="T57" fmla="*/ 5 h 8"/>
                <a:gd name="T58" fmla="*/ 27 w 124"/>
                <a:gd name="T59" fmla="*/ 3 h 8"/>
                <a:gd name="T60" fmla="*/ 31 w 124"/>
                <a:gd name="T61" fmla="*/ 5 h 8"/>
                <a:gd name="T62" fmla="*/ 37 w 124"/>
                <a:gd name="T63" fmla="*/ 8 h 8"/>
                <a:gd name="T64" fmla="*/ 43 w 124"/>
                <a:gd name="T65" fmla="*/ 5 h 8"/>
                <a:gd name="T66" fmla="*/ 47 w 124"/>
                <a:gd name="T67" fmla="*/ 3 h 8"/>
                <a:gd name="T68" fmla="*/ 51 w 124"/>
                <a:gd name="T69" fmla="*/ 5 h 8"/>
                <a:gd name="T70" fmla="*/ 57 w 124"/>
                <a:gd name="T71" fmla="*/ 8 h 8"/>
                <a:gd name="T72" fmla="*/ 63 w 124"/>
                <a:gd name="T73" fmla="*/ 5 h 8"/>
                <a:gd name="T74" fmla="*/ 67 w 124"/>
                <a:gd name="T75" fmla="*/ 3 h 8"/>
                <a:gd name="T76" fmla="*/ 71 w 124"/>
                <a:gd name="T77" fmla="*/ 5 h 8"/>
                <a:gd name="T78" fmla="*/ 77 w 124"/>
                <a:gd name="T79" fmla="*/ 8 h 8"/>
                <a:gd name="T80" fmla="*/ 84 w 124"/>
                <a:gd name="T81" fmla="*/ 5 h 8"/>
                <a:gd name="T82" fmla="*/ 88 w 124"/>
                <a:gd name="T83" fmla="*/ 3 h 8"/>
                <a:gd name="T84" fmla="*/ 91 w 124"/>
                <a:gd name="T85" fmla="*/ 5 h 8"/>
                <a:gd name="T86" fmla="*/ 98 w 124"/>
                <a:gd name="T87" fmla="*/ 8 h 8"/>
                <a:gd name="T88" fmla="*/ 104 w 124"/>
                <a:gd name="T89" fmla="*/ 5 h 8"/>
                <a:gd name="T90" fmla="*/ 108 w 124"/>
                <a:gd name="T91" fmla="*/ 3 h 8"/>
                <a:gd name="T92" fmla="*/ 112 w 124"/>
                <a:gd name="T93" fmla="*/ 5 h 8"/>
                <a:gd name="T94" fmla="*/ 118 w 124"/>
                <a:gd name="T95" fmla="*/ 8 h 8"/>
                <a:gd name="T96" fmla="*/ 124 w 124"/>
                <a:gd name="T97" fmla="*/ 5 h 8"/>
                <a:gd name="T98" fmla="*/ 122 w 124"/>
                <a:gd name="T99" fmla="*/ 3 h 8"/>
                <a:gd name="T100" fmla="*/ 118 w 124"/>
                <a:gd name="T10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4" h="8">
                  <a:moveTo>
                    <a:pt x="118" y="5"/>
                  </a:moveTo>
                  <a:cubicBezTo>
                    <a:pt x="117" y="5"/>
                    <a:pt x="115" y="3"/>
                    <a:pt x="114" y="3"/>
                  </a:cubicBezTo>
                  <a:cubicBezTo>
                    <a:pt x="114" y="2"/>
                    <a:pt x="111" y="0"/>
                    <a:pt x="108" y="0"/>
                  </a:cubicBezTo>
                  <a:cubicBezTo>
                    <a:pt x="105" y="0"/>
                    <a:pt x="102" y="2"/>
                    <a:pt x="102" y="3"/>
                  </a:cubicBezTo>
                  <a:cubicBezTo>
                    <a:pt x="101" y="3"/>
                    <a:pt x="99" y="5"/>
                    <a:pt x="98" y="5"/>
                  </a:cubicBezTo>
                  <a:cubicBezTo>
                    <a:pt x="96" y="5"/>
                    <a:pt x="94" y="3"/>
                    <a:pt x="94" y="3"/>
                  </a:cubicBezTo>
                  <a:cubicBezTo>
                    <a:pt x="94" y="2"/>
                    <a:pt x="91" y="0"/>
                    <a:pt x="88" y="0"/>
                  </a:cubicBezTo>
                  <a:cubicBezTo>
                    <a:pt x="84" y="0"/>
                    <a:pt x="82" y="2"/>
                    <a:pt x="81" y="3"/>
                  </a:cubicBezTo>
                  <a:cubicBezTo>
                    <a:pt x="81" y="3"/>
                    <a:pt x="79" y="5"/>
                    <a:pt x="77" y="5"/>
                  </a:cubicBezTo>
                  <a:cubicBezTo>
                    <a:pt x="76" y="5"/>
                    <a:pt x="74" y="3"/>
                    <a:pt x="74" y="3"/>
                  </a:cubicBezTo>
                  <a:cubicBezTo>
                    <a:pt x="73" y="2"/>
                    <a:pt x="70" y="0"/>
                    <a:pt x="67" y="0"/>
                  </a:cubicBezTo>
                  <a:cubicBezTo>
                    <a:pt x="64" y="0"/>
                    <a:pt x="61" y="2"/>
                    <a:pt x="61" y="3"/>
                  </a:cubicBezTo>
                  <a:cubicBezTo>
                    <a:pt x="60" y="3"/>
                    <a:pt x="59" y="5"/>
                    <a:pt x="57" y="5"/>
                  </a:cubicBezTo>
                  <a:cubicBezTo>
                    <a:pt x="56" y="5"/>
                    <a:pt x="54" y="3"/>
                    <a:pt x="53" y="3"/>
                  </a:cubicBezTo>
                  <a:cubicBezTo>
                    <a:pt x="53" y="2"/>
                    <a:pt x="50" y="0"/>
                    <a:pt x="47" y="0"/>
                  </a:cubicBezTo>
                  <a:cubicBezTo>
                    <a:pt x="44" y="0"/>
                    <a:pt x="41" y="2"/>
                    <a:pt x="41" y="3"/>
                  </a:cubicBezTo>
                  <a:cubicBezTo>
                    <a:pt x="40" y="3"/>
                    <a:pt x="38" y="5"/>
                    <a:pt x="37" y="5"/>
                  </a:cubicBezTo>
                  <a:cubicBezTo>
                    <a:pt x="35" y="5"/>
                    <a:pt x="34" y="3"/>
                    <a:pt x="33" y="3"/>
                  </a:cubicBezTo>
                  <a:cubicBezTo>
                    <a:pt x="33" y="2"/>
                    <a:pt x="30" y="0"/>
                    <a:pt x="27" y="0"/>
                  </a:cubicBezTo>
                  <a:cubicBezTo>
                    <a:pt x="24" y="0"/>
                    <a:pt x="21" y="2"/>
                    <a:pt x="20" y="3"/>
                  </a:cubicBezTo>
                  <a:cubicBezTo>
                    <a:pt x="20" y="3"/>
                    <a:pt x="18" y="5"/>
                    <a:pt x="17" y="5"/>
                  </a:cubicBezTo>
                  <a:cubicBezTo>
                    <a:pt x="15" y="5"/>
                    <a:pt x="13" y="3"/>
                    <a:pt x="13" y="3"/>
                  </a:cubicBezTo>
                  <a:cubicBezTo>
                    <a:pt x="12" y="2"/>
                    <a:pt x="10" y="0"/>
                    <a:pt x="6" y="0"/>
                  </a:cubicBezTo>
                  <a:cubicBezTo>
                    <a:pt x="3" y="0"/>
                    <a:pt x="0" y="2"/>
                    <a:pt x="0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8" y="3"/>
                    <a:pt x="10" y="5"/>
                    <a:pt x="10" y="5"/>
                  </a:cubicBezTo>
                  <a:cubicBezTo>
                    <a:pt x="11" y="5"/>
                    <a:pt x="13" y="8"/>
                    <a:pt x="17" y="8"/>
                  </a:cubicBezTo>
                  <a:cubicBezTo>
                    <a:pt x="20" y="8"/>
                    <a:pt x="23" y="5"/>
                    <a:pt x="23" y="5"/>
                  </a:cubicBezTo>
                  <a:cubicBezTo>
                    <a:pt x="24" y="4"/>
                    <a:pt x="25" y="3"/>
                    <a:pt x="27" y="3"/>
                  </a:cubicBezTo>
                  <a:cubicBezTo>
                    <a:pt x="28" y="3"/>
                    <a:pt x="30" y="5"/>
                    <a:pt x="31" y="5"/>
                  </a:cubicBezTo>
                  <a:cubicBezTo>
                    <a:pt x="31" y="5"/>
                    <a:pt x="34" y="8"/>
                    <a:pt x="37" y="8"/>
                  </a:cubicBezTo>
                  <a:cubicBezTo>
                    <a:pt x="40" y="8"/>
                    <a:pt x="43" y="5"/>
                    <a:pt x="43" y="5"/>
                  </a:cubicBezTo>
                  <a:cubicBezTo>
                    <a:pt x="44" y="5"/>
                    <a:pt x="46" y="3"/>
                    <a:pt x="47" y="3"/>
                  </a:cubicBezTo>
                  <a:cubicBezTo>
                    <a:pt x="48" y="3"/>
                    <a:pt x="50" y="5"/>
                    <a:pt x="51" y="5"/>
                  </a:cubicBezTo>
                  <a:cubicBezTo>
                    <a:pt x="51" y="5"/>
                    <a:pt x="54" y="8"/>
                    <a:pt x="57" y="8"/>
                  </a:cubicBezTo>
                  <a:cubicBezTo>
                    <a:pt x="60" y="8"/>
                    <a:pt x="63" y="5"/>
                    <a:pt x="63" y="5"/>
                  </a:cubicBezTo>
                  <a:cubicBezTo>
                    <a:pt x="64" y="4"/>
                    <a:pt x="66" y="3"/>
                    <a:pt x="67" y="3"/>
                  </a:cubicBezTo>
                  <a:cubicBezTo>
                    <a:pt x="69" y="3"/>
                    <a:pt x="71" y="5"/>
                    <a:pt x="71" y="5"/>
                  </a:cubicBezTo>
                  <a:cubicBezTo>
                    <a:pt x="71" y="5"/>
                    <a:pt x="74" y="8"/>
                    <a:pt x="77" y="8"/>
                  </a:cubicBezTo>
                  <a:cubicBezTo>
                    <a:pt x="81" y="8"/>
                    <a:pt x="83" y="5"/>
                    <a:pt x="84" y="5"/>
                  </a:cubicBezTo>
                  <a:cubicBezTo>
                    <a:pt x="84" y="5"/>
                    <a:pt x="86" y="3"/>
                    <a:pt x="88" y="3"/>
                  </a:cubicBezTo>
                  <a:cubicBezTo>
                    <a:pt x="89" y="3"/>
                    <a:pt x="91" y="5"/>
                    <a:pt x="91" y="5"/>
                  </a:cubicBezTo>
                  <a:cubicBezTo>
                    <a:pt x="92" y="5"/>
                    <a:pt x="95" y="8"/>
                    <a:pt x="98" y="8"/>
                  </a:cubicBezTo>
                  <a:cubicBezTo>
                    <a:pt x="101" y="8"/>
                    <a:pt x="104" y="5"/>
                    <a:pt x="104" y="5"/>
                  </a:cubicBezTo>
                  <a:cubicBezTo>
                    <a:pt x="105" y="4"/>
                    <a:pt x="106" y="3"/>
                    <a:pt x="108" y="3"/>
                  </a:cubicBezTo>
                  <a:cubicBezTo>
                    <a:pt x="109" y="3"/>
                    <a:pt x="111" y="5"/>
                    <a:pt x="112" y="5"/>
                  </a:cubicBezTo>
                  <a:cubicBezTo>
                    <a:pt x="112" y="5"/>
                    <a:pt x="115" y="8"/>
                    <a:pt x="118" y="8"/>
                  </a:cubicBezTo>
                  <a:cubicBezTo>
                    <a:pt x="121" y="8"/>
                    <a:pt x="124" y="5"/>
                    <a:pt x="124" y="5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3"/>
                    <a:pt x="119" y="5"/>
                    <a:pt x="118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7">
              <a:extLst>
                <a:ext uri="{FF2B5EF4-FFF2-40B4-BE49-F238E27FC236}">
                  <a16:creationId xmlns:a16="http://schemas.microsoft.com/office/drawing/2014/main" id="{F0FCEBAC-8274-4E60-A37B-59E2280C7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" y="1360"/>
              <a:ext cx="304" cy="20"/>
            </a:xfrm>
            <a:custGeom>
              <a:avLst/>
              <a:gdLst>
                <a:gd name="T0" fmla="*/ 118 w 124"/>
                <a:gd name="T1" fmla="*/ 5 h 8"/>
                <a:gd name="T2" fmla="*/ 114 w 124"/>
                <a:gd name="T3" fmla="*/ 3 h 8"/>
                <a:gd name="T4" fmla="*/ 108 w 124"/>
                <a:gd name="T5" fmla="*/ 0 h 8"/>
                <a:gd name="T6" fmla="*/ 102 w 124"/>
                <a:gd name="T7" fmla="*/ 3 h 8"/>
                <a:gd name="T8" fmla="*/ 98 w 124"/>
                <a:gd name="T9" fmla="*/ 5 h 8"/>
                <a:gd name="T10" fmla="*/ 94 w 124"/>
                <a:gd name="T11" fmla="*/ 3 h 8"/>
                <a:gd name="T12" fmla="*/ 88 w 124"/>
                <a:gd name="T13" fmla="*/ 0 h 8"/>
                <a:gd name="T14" fmla="*/ 81 w 124"/>
                <a:gd name="T15" fmla="*/ 3 h 8"/>
                <a:gd name="T16" fmla="*/ 77 w 124"/>
                <a:gd name="T17" fmla="*/ 5 h 8"/>
                <a:gd name="T18" fmla="*/ 74 w 124"/>
                <a:gd name="T19" fmla="*/ 3 h 8"/>
                <a:gd name="T20" fmla="*/ 67 w 124"/>
                <a:gd name="T21" fmla="*/ 0 h 8"/>
                <a:gd name="T22" fmla="*/ 61 w 124"/>
                <a:gd name="T23" fmla="*/ 3 h 8"/>
                <a:gd name="T24" fmla="*/ 57 w 124"/>
                <a:gd name="T25" fmla="*/ 5 h 8"/>
                <a:gd name="T26" fmla="*/ 53 w 124"/>
                <a:gd name="T27" fmla="*/ 3 h 8"/>
                <a:gd name="T28" fmla="*/ 47 w 124"/>
                <a:gd name="T29" fmla="*/ 0 h 8"/>
                <a:gd name="T30" fmla="*/ 41 w 124"/>
                <a:gd name="T31" fmla="*/ 3 h 8"/>
                <a:gd name="T32" fmla="*/ 37 w 124"/>
                <a:gd name="T33" fmla="*/ 5 h 8"/>
                <a:gd name="T34" fmla="*/ 33 w 124"/>
                <a:gd name="T35" fmla="*/ 3 h 8"/>
                <a:gd name="T36" fmla="*/ 27 w 124"/>
                <a:gd name="T37" fmla="*/ 0 h 8"/>
                <a:gd name="T38" fmla="*/ 20 w 124"/>
                <a:gd name="T39" fmla="*/ 3 h 8"/>
                <a:gd name="T40" fmla="*/ 17 w 124"/>
                <a:gd name="T41" fmla="*/ 5 h 8"/>
                <a:gd name="T42" fmla="*/ 13 w 124"/>
                <a:gd name="T43" fmla="*/ 3 h 8"/>
                <a:gd name="T44" fmla="*/ 6 w 124"/>
                <a:gd name="T45" fmla="*/ 0 h 8"/>
                <a:gd name="T46" fmla="*/ 0 w 124"/>
                <a:gd name="T47" fmla="*/ 3 h 8"/>
                <a:gd name="T48" fmla="*/ 3 w 124"/>
                <a:gd name="T49" fmla="*/ 5 h 8"/>
                <a:gd name="T50" fmla="*/ 6 w 124"/>
                <a:gd name="T51" fmla="*/ 3 h 8"/>
                <a:gd name="T52" fmla="*/ 10 w 124"/>
                <a:gd name="T53" fmla="*/ 5 h 8"/>
                <a:gd name="T54" fmla="*/ 17 w 124"/>
                <a:gd name="T55" fmla="*/ 8 h 8"/>
                <a:gd name="T56" fmla="*/ 23 w 124"/>
                <a:gd name="T57" fmla="*/ 5 h 8"/>
                <a:gd name="T58" fmla="*/ 27 w 124"/>
                <a:gd name="T59" fmla="*/ 3 h 8"/>
                <a:gd name="T60" fmla="*/ 31 w 124"/>
                <a:gd name="T61" fmla="*/ 5 h 8"/>
                <a:gd name="T62" fmla="*/ 37 w 124"/>
                <a:gd name="T63" fmla="*/ 8 h 8"/>
                <a:gd name="T64" fmla="*/ 43 w 124"/>
                <a:gd name="T65" fmla="*/ 5 h 8"/>
                <a:gd name="T66" fmla="*/ 47 w 124"/>
                <a:gd name="T67" fmla="*/ 3 h 8"/>
                <a:gd name="T68" fmla="*/ 51 w 124"/>
                <a:gd name="T69" fmla="*/ 5 h 8"/>
                <a:gd name="T70" fmla="*/ 57 w 124"/>
                <a:gd name="T71" fmla="*/ 8 h 8"/>
                <a:gd name="T72" fmla="*/ 63 w 124"/>
                <a:gd name="T73" fmla="*/ 5 h 8"/>
                <a:gd name="T74" fmla="*/ 67 w 124"/>
                <a:gd name="T75" fmla="*/ 3 h 8"/>
                <a:gd name="T76" fmla="*/ 71 w 124"/>
                <a:gd name="T77" fmla="*/ 5 h 8"/>
                <a:gd name="T78" fmla="*/ 77 w 124"/>
                <a:gd name="T79" fmla="*/ 8 h 8"/>
                <a:gd name="T80" fmla="*/ 84 w 124"/>
                <a:gd name="T81" fmla="*/ 5 h 8"/>
                <a:gd name="T82" fmla="*/ 88 w 124"/>
                <a:gd name="T83" fmla="*/ 3 h 8"/>
                <a:gd name="T84" fmla="*/ 91 w 124"/>
                <a:gd name="T85" fmla="*/ 5 h 8"/>
                <a:gd name="T86" fmla="*/ 98 w 124"/>
                <a:gd name="T87" fmla="*/ 8 h 8"/>
                <a:gd name="T88" fmla="*/ 104 w 124"/>
                <a:gd name="T89" fmla="*/ 5 h 8"/>
                <a:gd name="T90" fmla="*/ 108 w 124"/>
                <a:gd name="T91" fmla="*/ 3 h 8"/>
                <a:gd name="T92" fmla="*/ 112 w 124"/>
                <a:gd name="T93" fmla="*/ 5 h 8"/>
                <a:gd name="T94" fmla="*/ 118 w 124"/>
                <a:gd name="T95" fmla="*/ 8 h 8"/>
                <a:gd name="T96" fmla="*/ 124 w 124"/>
                <a:gd name="T97" fmla="*/ 5 h 8"/>
                <a:gd name="T98" fmla="*/ 122 w 124"/>
                <a:gd name="T99" fmla="*/ 3 h 8"/>
                <a:gd name="T100" fmla="*/ 118 w 124"/>
                <a:gd name="T10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4" h="8">
                  <a:moveTo>
                    <a:pt x="118" y="5"/>
                  </a:moveTo>
                  <a:cubicBezTo>
                    <a:pt x="117" y="5"/>
                    <a:pt x="115" y="3"/>
                    <a:pt x="114" y="3"/>
                  </a:cubicBezTo>
                  <a:cubicBezTo>
                    <a:pt x="114" y="3"/>
                    <a:pt x="111" y="0"/>
                    <a:pt x="108" y="0"/>
                  </a:cubicBezTo>
                  <a:cubicBezTo>
                    <a:pt x="105" y="0"/>
                    <a:pt x="102" y="3"/>
                    <a:pt x="102" y="3"/>
                  </a:cubicBezTo>
                  <a:cubicBezTo>
                    <a:pt x="101" y="3"/>
                    <a:pt x="99" y="5"/>
                    <a:pt x="98" y="5"/>
                  </a:cubicBezTo>
                  <a:cubicBezTo>
                    <a:pt x="96" y="5"/>
                    <a:pt x="94" y="3"/>
                    <a:pt x="94" y="3"/>
                  </a:cubicBezTo>
                  <a:cubicBezTo>
                    <a:pt x="94" y="3"/>
                    <a:pt x="91" y="0"/>
                    <a:pt x="88" y="0"/>
                  </a:cubicBezTo>
                  <a:cubicBezTo>
                    <a:pt x="84" y="0"/>
                    <a:pt x="82" y="3"/>
                    <a:pt x="81" y="3"/>
                  </a:cubicBezTo>
                  <a:cubicBezTo>
                    <a:pt x="81" y="4"/>
                    <a:pt x="79" y="5"/>
                    <a:pt x="77" y="5"/>
                  </a:cubicBezTo>
                  <a:cubicBezTo>
                    <a:pt x="76" y="5"/>
                    <a:pt x="74" y="3"/>
                    <a:pt x="74" y="3"/>
                  </a:cubicBezTo>
                  <a:cubicBezTo>
                    <a:pt x="73" y="3"/>
                    <a:pt x="70" y="0"/>
                    <a:pt x="67" y="0"/>
                  </a:cubicBezTo>
                  <a:cubicBezTo>
                    <a:pt x="64" y="0"/>
                    <a:pt x="61" y="3"/>
                    <a:pt x="61" y="3"/>
                  </a:cubicBezTo>
                  <a:cubicBezTo>
                    <a:pt x="60" y="3"/>
                    <a:pt x="59" y="5"/>
                    <a:pt x="57" y="5"/>
                  </a:cubicBezTo>
                  <a:cubicBezTo>
                    <a:pt x="56" y="5"/>
                    <a:pt x="54" y="3"/>
                    <a:pt x="53" y="3"/>
                  </a:cubicBezTo>
                  <a:cubicBezTo>
                    <a:pt x="53" y="3"/>
                    <a:pt x="50" y="0"/>
                    <a:pt x="47" y="0"/>
                  </a:cubicBezTo>
                  <a:cubicBezTo>
                    <a:pt x="44" y="0"/>
                    <a:pt x="41" y="3"/>
                    <a:pt x="41" y="3"/>
                  </a:cubicBezTo>
                  <a:cubicBezTo>
                    <a:pt x="40" y="4"/>
                    <a:pt x="38" y="5"/>
                    <a:pt x="37" y="5"/>
                  </a:cubicBezTo>
                  <a:cubicBezTo>
                    <a:pt x="35" y="5"/>
                    <a:pt x="34" y="3"/>
                    <a:pt x="33" y="3"/>
                  </a:cubicBezTo>
                  <a:cubicBezTo>
                    <a:pt x="33" y="3"/>
                    <a:pt x="30" y="0"/>
                    <a:pt x="27" y="0"/>
                  </a:cubicBezTo>
                  <a:cubicBezTo>
                    <a:pt x="24" y="0"/>
                    <a:pt x="21" y="3"/>
                    <a:pt x="20" y="3"/>
                  </a:cubicBezTo>
                  <a:cubicBezTo>
                    <a:pt x="20" y="4"/>
                    <a:pt x="18" y="5"/>
                    <a:pt x="17" y="5"/>
                  </a:cubicBezTo>
                  <a:cubicBezTo>
                    <a:pt x="15" y="5"/>
                    <a:pt x="13" y="3"/>
                    <a:pt x="13" y="3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5" y="3"/>
                    <a:pt x="6" y="3"/>
                  </a:cubicBezTo>
                  <a:cubicBezTo>
                    <a:pt x="8" y="3"/>
                    <a:pt x="10" y="5"/>
                    <a:pt x="10" y="5"/>
                  </a:cubicBezTo>
                  <a:cubicBezTo>
                    <a:pt x="11" y="6"/>
                    <a:pt x="13" y="8"/>
                    <a:pt x="17" y="8"/>
                  </a:cubicBezTo>
                  <a:cubicBezTo>
                    <a:pt x="20" y="8"/>
                    <a:pt x="23" y="6"/>
                    <a:pt x="23" y="5"/>
                  </a:cubicBezTo>
                  <a:cubicBezTo>
                    <a:pt x="24" y="5"/>
                    <a:pt x="25" y="3"/>
                    <a:pt x="27" y="3"/>
                  </a:cubicBezTo>
                  <a:cubicBezTo>
                    <a:pt x="28" y="3"/>
                    <a:pt x="30" y="5"/>
                    <a:pt x="31" y="5"/>
                  </a:cubicBezTo>
                  <a:cubicBezTo>
                    <a:pt x="31" y="6"/>
                    <a:pt x="34" y="8"/>
                    <a:pt x="37" y="8"/>
                  </a:cubicBezTo>
                  <a:cubicBezTo>
                    <a:pt x="40" y="8"/>
                    <a:pt x="43" y="6"/>
                    <a:pt x="43" y="5"/>
                  </a:cubicBezTo>
                  <a:cubicBezTo>
                    <a:pt x="44" y="5"/>
                    <a:pt x="46" y="3"/>
                    <a:pt x="47" y="3"/>
                  </a:cubicBezTo>
                  <a:cubicBezTo>
                    <a:pt x="48" y="3"/>
                    <a:pt x="50" y="5"/>
                    <a:pt x="51" y="5"/>
                  </a:cubicBezTo>
                  <a:cubicBezTo>
                    <a:pt x="51" y="6"/>
                    <a:pt x="54" y="8"/>
                    <a:pt x="57" y="8"/>
                  </a:cubicBezTo>
                  <a:cubicBezTo>
                    <a:pt x="60" y="8"/>
                    <a:pt x="63" y="6"/>
                    <a:pt x="63" y="5"/>
                  </a:cubicBezTo>
                  <a:cubicBezTo>
                    <a:pt x="64" y="5"/>
                    <a:pt x="66" y="3"/>
                    <a:pt x="67" y="3"/>
                  </a:cubicBezTo>
                  <a:cubicBezTo>
                    <a:pt x="69" y="3"/>
                    <a:pt x="71" y="5"/>
                    <a:pt x="71" y="5"/>
                  </a:cubicBezTo>
                  <a:cubicBezTo>
                    <a:pt x="71" y="6"/>
                    <a:pt x="74" y="8"/>
                    <a:pt x="77" y="8"/>
                  </a:cubicBezTo>
                  <a:cubicBezTo>
                    <a:pt x="81" y="8"/>
                    <a:pt x="83" y="6"/>
                    <a:pt x="84" y="5"/>
                  </a:cubicBezTo>
                  <a:cubicBezTo>
                    <a:pt x="84" y="5"/>
                    <a:pt x="86" y="3"/>
                    <a:pt x="88" y="3"/>
                  </a:cubicBezTo>
                  <a:cubicBezTo>
                    <a:pt x="89" y="3"/>
                    <a:pt x="91" y="5"/>
                    <a:pt x="91" y="5"/>
                  </a:cubicBezTo>
                  <a:cubicBezTo>
                    <a:pt x="92" y="6"/>
                    <a:pt x="95" y="8"/>
                    <a:pt x="98" y="8"/>
                  </a:cubicBezTo>
                  <a:cubicBezTo>
                    <a:pt x="101" y="8"/>
                    <a:pt x="104" y="6"/>
                    <a:pt x="104" y="5"/>
                  </a:cubicBezTo>
                  <a:cubicBezTo>
                    <a:pt x="105" y="5"/>
                    <a:pt x="106" y="3"/>
                    <a:pt x="108" y="3"/>
                  </a:cubicBezTo>
                  <a:cubicBezTo>
                    <a:pt x="109" y="3"/>
                    <a:pt x="111" y="5"/>
                    <a:pt x="112" y="5"/>
                  </a:cubicBezTo>
                  <a:cubicBezTo>
                    <a:pt x="112" y="6"/>
                    <a:pt x="115" y="8"/>
                    <a:pt x="118" y="8"/>
                  </a:cubicBezTo>
                  <a:cubicBezTo>
                    <a:pt x="121" y="8"/>
                    <a:pt x="124" y="6"/>
                    <a:pt x="124" y="5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3"/>
                    <a:pt x="119" y="5"/>
                    <a:pt x="118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8">
              <a:extLst>
                <a:ext uri="{FF2B5EF4-FFF2-40B4-BE49-F238E27FC236}">
                  <a16:creationId xmlns:a16="http://schemas.microsoft.com/office/drawing/2014/main" id="{B254EA54-1A96-46C2-94C8-6B1E924D7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7" y="1167"/>
              <a:ext cx="115" cy="140"/>
            </a:xfrm>
            <a:custGeom>
              <a:avLst/>
              <a:gdLst>
                <a:gd name="T0" fmla="*/ 11 w 47"/>
                <a:gd name="T1" fmla="*/ 13 h 57"/>
                <a:gd name="T2" fmla="*/ 16 w 47"/>
                <a:gd name="T3" fmla="*/ 13 h 57"/>
                <a:gd name="T4" fmla="*/ 21 w 47"/>
                <a:gd name="T5" fmla="*/ 13 h 57"/>
                <a:gd name="T6" fmla="*/ 11 w 47"/>
                <a:gd name="T7" fmla="*/ 17 h 57"/>
                <a:gd name="T8" fmla="*/ 11 w 47"/>
                <a:gd name="T9" fmla="*/ 13 h 57"/>
                <a:gd name="T10" fmla="*/ 20 w 47"/>
                <a:gd name="T11" fmla="*/ 4 h 57"/>
                <a:gd name="T12" fmla="*/ 27 w 47"/>
                <a:gd name="T13" fmla="*/ 4 h 57"/>
                <a:gd name="T14" fmla="*/ 27 w 47"/>
                <a:gd name="T15" fmla="*/ 10 h 57"/>
                <a:gd name="T16" fmla="*/ 20 w 47"/>
                <a:gd name="T17" fmla="*/ 10 h 57"/>
                <a:gd name="T18" fmla="*/ 20 w 47"/>
                <a:gd name="T19" fmla="*/ 4 h 57"/>
                <a:gd name="T20" fmla="*/ 35 w 47"/>
                <a:gd name="T21" fmla="*/ 13 h 57"/>
                <a:gd name="T22" fmla="*/ 35 w 47"/>
                <a:gd name="T23" fmla="*/ 17 h 57"/>
                <a:gd name="T24" fmla="*/ 25 w 47"/>
                <a:gd name="T25" fmla="*/ 13 h 57"/>
                <a:gd name="T26" fmla="*/ 30 w 47"/>
                <a:gd name="T27" fmla="*/ 13 h 57"/>
                <a:gd name="T28" fmla="*/ 35 w 47"/>
                <a:gd name="T29" fmla="*/ 13 h 57"/>
                <a:gd name="T30" fmla="*/ 37 w 47"/>
                <a:gd name="T31" fmla="*/ 30 h 57"/>
                <a:gd name="T32" fmla="*/ 37 w 47"/>
                <a:gd name="T33" fmla="*/ 48 h 57"/>
                <a:gd name="T34" fmla="*/ 32 w 47"/>
                <a:gd name="T35" fmla="*/ 51 h 57"/>
                <a:gd name="T36" fmla="*/ 28 w 47"/>
                <a:gd name="T37" fmla="*/ 53 h 57"/>
                <a:gd name="T38" fmla="*/ 25 w 47"/>
                <a:gd name="T39" fmla="*/ 51 h 57"/>
                <a:gd name="T40" fmla="*/ 18 w 47"/>
                <a:gd name="T41" fmla="*/ 48 h 57"/>
                <a:gd name="T42" fmla="*/ 12 w 47"/>
                <a:gd name="T43" fmla="*/ 51 h 57"/>
                <a:gd name="T44" fmla="*/ 9 w 47"/>
                <a:gd name="T45" fmla="*/ 53 h 57"/>
                <a:gd name="T46" fmla="*/ 9 w 47"/>
                <a:gd name="T47" fmla="*/ 30 h 57"/>
                <a:gd name="T48" fmla="*/ 5 w 47"/>
                <a:gd name="T49" fmla="*/ 24 h 57"/>
                <a:gd name="T50" fmla="*/ 21 w 47"/>
                <a:gd name="T51" fmla="*/ 17 h 57"/>
                <a:gd name="T52" fmla="*/ 21 w 47"/>
                <a:gd name="T53" fmla="*/ 31 h 57"/>
                <a:gd name="T54" fmla="*/ 25 w 47"/>
                <a:gd name="T55" fmla="*/ 31 h 57"/>
                <a:gd name="T56" fmla="*/ 25 w 47"/>
                <a:gd name="T57" fmla="*/ 17 h 57"/>
                <a:gd name="T58" fmla="*/ 42 w 47"/>
                <a:gd name="T59" fmla="*/ 24 h 57"/>
                <a:gd name="T60" fmla="*/ 37 w 47"/>
                <a:gd name="T61" fmla="*/ 30 h 57"/>
                <a:gd name="T62" fmla="*/ 6 w 47"/>
                <a:gd name="T63" fmla="*/ 31 h 57"/>
                <a:gd name="T64" fmla="*/ 6 w 47"/>
                <a:gd name="T65" fmla="*/ 56 h 57"/>
                <a:gd name="T66" fmla="*/ 7 w 47"/>
                <a:gd name="T67" fmla="*/ 57 h 57"/>
                <a:gd name="T68" fmla="*/ 8 w 47"/>
                <a:gd name="T69" fmla="*/ 57 h 57"/>
                <a:gd name="T70" fmla="*/ 14 w 47"/>
                <a:gd name="T71" fmla="*/ 54 h 57"/>
                <a:gd name="T72" fmla="*/ 18 w 47"/>
                <a:gd name="T73" fmla="*/ 52 h 57"/>
                <a:gd name="T74" fmla="*/ 22 w 47"/>
                <a:gd name="T75" fmla="*/ 54 h 57"/>
                <a:gd name="T76" fmla="*/ 28 w 47"/>
                <a:gd name="T77" fmla="*/ 57 h 57"/>
                <a:gd name="T78" fmla="*/ 35 w 47"/>
                <a:gd name="T79" fmla="*/ 54 h 57"/>
                <a:gd name="T80" fmla="*/ 39 w 47"/>
                <a:gd name="T81" fmla="*/ 52 h 57"/>
                <a:gd name="T82" fmla="*/ 41 w 47"/>
                <a:gd name="T83" fmla="*/ 52 h 57"/>
                <a:gd name="T84" fmla="*/ 41 w 47"/>
                <a:gd name="T85" fmla="*/ 31 h 57"/>
                <a:gd name="T86" fmla="*/ 47 w 47"/>
                <a:gd name="T87" fmla="*/ 22 h 57"/>
                <a:gd name="T88" fmla="*/ 38 w 47"/>
                <a:gd name="T89" fmla="*/ 19 h 57"/>
                <a:gd name="T90" fmla="*/ 38 w 47"/>
                <a:gd name="T91" fmla="*/ 10 h 57"/>
                <a:gd name="T92" fmla="*/ 30 w 47"/>
                <a:gd name="T93" fmla="*/ 10 h 57"/>
                <a:gd name="T94" fmla="*/ 30 w 47"/>
                <a:gd name="T95" fmla="*/ 0 h 57"/>
                <a:gd name="T96" fmla="*/ 16 w 47"/>
                <a:gd name="T97" fmla="*/ 0 h 57"/>
                <a:gd name="T98" fmla="*/ 16 w 47"/>
                <a:gd name="T99" fmla="*/ 10 h 57"/>
                <a:gd name="T100" fmla="*/ 8 w 47"/>
                <a:gd name="T101" fmla="*/ 10 h 57"/>
                <a:gd name="T102" fmla="*/ 8 w 47"/>
                <a:gd name="T103" fmla="*/ 19 h 57"/>
                <a:gd name="T104" fmla="*/ 0 w 47"/>
                <a:gd name="T105" fmla="*/ 22 h 57"/>
                <a:gd name="T106" fmla="*/ 6 w 47"/>
                <a:gd name="T107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" h="57">
                  <a:moveTo>
                    <a:pt x="11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1" y="17"/>
                    <a:pt x="11" y="17"/>
                    <a:pt x="11" y="17"/>
                  </a:cubicBezTo>
                  <a:lnTo>
                    <a:pt x="11" y="13"/>
                  </a:lnTo>
                  <a:close/>
                  <a:moveTo>
                    <a:pt x="20" y="4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0" y="10"/>
                    <a:pt x="20" y="10"/>
                    <a:pt x="20" y="10"/>
                  </a:cubicBezTo>
                  <a:lnTo>
                    <a:pt x="20" y="4"/>
                  </a:lnTo>
                  <a:close/>
                  <a:moveTo>
                    <a:pt x="35" y="13"/>
                  </a:moveTo>
                  <a:cubicBezTo>
                    <a:pt x="35" y="17"/>
                    <a:pt x="35" y="17"/>
                    <a:pt x="35" y="17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0" y="13"/>
                    <a:pt x="30" y="13"/>
                    <a:pt x="30" y="13"/>
                  </a:cubicBezTo>
                  <a:lnTo>
                    <a:pt x="35" y="13"/>
                  </a:lnTo>
                  <a:close/>
                  <a:moveTo>
                    <a:pt x="37" y="30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35" y="49"/>
                    <a:pt x="33" y="51"/>
                    <a:pt x="32" y="51"/>
                  </a:cubicBezTo>
                  <a:cubicBezTo>
                    <a:pt x="32" y="52"/>
                    <a:pt x="30" y="53"/>
                    <a:pt x="28" y="53"/>
                  </a:cubicBezTo>
                  <a:cubicBezTo>
                    <a:pt x="27" y="53"/>
                    <a:pt x="25" y="52"/>
                    <a:pt x="25" y="51"/>
                  </a:cubicBezTo>
                  <a:cubicBezTo>
                    <a:pt x="24" y="51"/>
                    <a:pt x="21" y="48"/>
                    <a:pt x="18" y="48"/>
                  </a:cubicBezTo>
                  <a:cubicBezTo>
                    <a:pt x="15" y="48"/>
                    <a:pt x="12" y="51"/>
                    <a:pt x="12" y="51"/>
                  </a:cubicBezTo>
                  <a:cubicBezTo>
                    <a:pt x="12" y="52"/>
                    <a:pt x="10" y="53"/>
                    <a:pt x="9" y="53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42" y="24"/>
                    <a:pt x="42" y="24"/>
                    <a:pt x="42" y="24"/>
                  </a:cubicBezTo>
                  <a:lnTo>
                    <a:pt x="37" y="30"/>
                  </a:lnTo>
                  <a:close/>
                  <a:moveTo>
                    <a:pt x="6" y="31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7"/>
                    <a:pt x="8" y="57"/>
                    <a:pt x="8" y="57"/>
                  </a:cubicBezTo>
                  <a:cubicBezTo>
                    <a:pt x="11" y="57"/>
                    <a:pt x="14" y="54"/>
                    <a:pt x="14" y="54"/>
                  </a:cubicBezTo>
                  <a:cubicBezTo>
                    <a:pt x="15" y="53"/>
                    <a:pt x="17" y="52"/>
                    <a:pt x="18" y="52"/>
                  </a:cubicBezTo>
                  <a:cubicBezTo>
                    <a:pt x="20" y="52"/>
                    <a:pt x="22" y="53"/>
                    <a:pt x="22" y="54"/>
                  </a:cubicBezTo>
                  <a:cubicBezTo>
                    <a:pt x="22" y="54"/>
                    <a:pt x="25" y="57"/>
                    <a:pt x="28" y="57"/>
                  </a:cubicBezTo>
                  <a:cubicBezTo>
                    <a:pt x="32" y="57"/>
                    <a:pt x="34" y="54"/>
                    <a:pt x="35" y="54"/>
                  </a:cubicBezTo>
                  <a:cubicBezTo>
                    <a:pt x="35" y="53"/>
                    <a:pt x="37" y="52"/>
                    <a:pt x="39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6" y="3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21">
            <a:extLst>
              <a:ext uri="{FF2B5EF4-FFF2-40B4-BE49-F238E27FC236}">
                <a16:creationId xmlns:a16="http://schemas.microsoft.com/office/drawing/2014/main" id="{0B1DE3A0-4D49-425C-872D-075866A1A4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1554163"/>
            <a:ext cx="841375" cy="841375"/>
            <a:chOff x="225" y="979"/>
            <a:chExt cx="530" cy="530"/>
          </a:xfrm>
        </p:grpSpPr>
        <p:sp>
          <p:nvSpPr>
            <p:cNvPr id="144" name="AutoShape 120">
              <a:extLst>
                <a:ext uri="{FF2B5EF4-FFF2-40B4-BE49-F238E27FC236}">
                  <a16:creationId xmlns:a16="http://schemas.microsoft.com/office/drawing/2014/main" id="{94F3E2FE-0E41-4EE1-AE4D-411A0EB0F1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9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122">
              <a:extLst>
                <a:ext uri="{FF2B5EF4-FFF2-40B4-BE49-F238E27FC236}">
                  <a16:creationId xmlns:a16="http://schemas.microsoft.com/office/drawing/2014/main" id="{67BCD6C7-B8AF-4256-83AF-EB4AC4E40C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9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3">
              <a:extLst>
                <a:ext uri="{FF2B5EF4-FFF2-40B4-BE49-F238E27FC236}">
                  <a16:creationId xmlns:a16="http://schemas.microsoft.com/office/drawing/2014/main" id="{B85BDD95-4B09-45C7-842A-98A4432AC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9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4">
              <a:extLst>
                <a:ext uri="{FF2B5EF4-FFF2-40B4-BE49-F238E27FC236}">
                  <a16:creationId xmlns:a16="http://schemas.microsoft.com/office/drawing/2014/main" id="{660DE0A0-35FF-4161-B5F2-1AEC1DEAF8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" y="1076"/>
              <a:ext cx="320" cy="259"/>
            </a:xfrm>
            <a:custGeom>
              <a:avLst/>
              <a:gdLst>
                <a:gd name="T0" fmla="*/ 118 w 125"/>
                <a:gd name="T1" fmla="*/ 98 h 101"/>
                <a:gd name="T2" fmla="*/ 108 w 125"/>
                <a:gd name="T3" fmla="*/ 93 h 101"/>
                <a:gd name="T4" fmla="*/ 98 w 125"/>
                <a:gd name="T5" fmla="*/ 98 h 101"/>
                <a:gd name="T6" fmla="*/ 88 w 125"/>
                <a:gd name="T7" fmla="*/ 93 h 101"/>
                <a:gd name="T8" fmla="*/ 81 w 125"/>
                <a:gd name="T9" fmla="*/ 96 h 101"/>
                <a:gd name="T10" fmla="*/ 81 w 125"/>
                <a:gd name="T11" fmla="*/ 96 h 101"/>
                <a:gd name="T12" fmla="*/ 74 w 125"/>
                <a:gd name="T13" fmla="*/ 96 h 101"/>
                <a:gd name="T14" fmla="*/ 64 w 125"/>
                <a:gd name="T15" fmla="*/ 93 h 101"/>
                <a:gd name="T16" fmla="*/ 77 w 125"/>
                <a:gd name="T17" fmla="*/ 70 h 101"/>
                <a:gd name="T18" fmla="*/ 121 w 125"/>
                <a:gd name="T19" fmla="*/ 70 h 101"/>
                <a:gd name="T20" fmla="*/ 80 w 125"/>
                <a:gd name="T21" fmla="*/ 59 h 101"/>
                <a:gd name="T22" fmla="*/ 94 w 125"/>
                <a:gd name="T23" fmla="*/ 66 h 101"/>
                <a:gd name="T24" fmla="*/ 80 w 125"/>
                <a:gd name="T25" fmla="*/ 59 h 101"/>
                <a:gd name="T26" fmla="*/ 93 w 125"/>
                <a:gd name="T27" fmla="*/ 56 h 101"/>
                <a:gd name="T28" fmla="*/ 87 w 125"/>
                <a:gd name="T29" fmla="*/ 48 h 101"/>
                <a:gd name="T30" fmla="*/ 85 w 125"/>
                <a:gd name="T31" fmla="*/ 45 h 101"/>
                <a:gd name="T32" fmla="*/ 72 w 125"/>
                <a:gd name="T33" fmla="*/ 22 h 101"/>
                <a:gd name="T34" fmla="*/ 98 w 125"/>
                <a:gd name="T35" fmla="*/ 56 h 101"/>
                <a:gd name="T36" fmla="*/ 89 w 125"/>
                <a:gd name="T37" fmla="*/ 44 h 101"/>
                <a:gd name="T38" fmla="*/ 61 w 125"/>
                <a:gd name="T39" fmla="*/ 2 h 101"/>
                <a:gd name="T40" fmla="*/ 62 w 125"/>
                <a:gd name="T41" fmla="*/ 38 h 101"/>
                <a:gd name="T42" fmla="*/ 65 w 125"/>
                <a:gd name="T43" fmla="*/ 9 h 101"/>
                <a:gd name="T44" fmla="*/ 78 w 125"/>
                <a:gd name="T45" fmla="*/ 56 h 101"/>
                <a:gd name="T46" fmla="*/ 77 w 125"/>
                <a:gd name="T47" fmla="*/ 66 h 101"/>
                <a:gd name="T48" fmla="*/ 61 w 125"/>
                <a:gd name="T49" fmla="*/ 96 h 101"/>
                <a:gd name="T50" fmla="*/ 57 w 125"/>
                <a:gd name="T51" fmla="*/ 98 h 101"/>
                <a:gd name="T52" fmla="*/ 47 w 125"/>
                <a:gd name="T53" fmla="*/ 93 h 101"/>
                <a:gd name="T54" fmla="*/ 36 w 125"/>
                <a:gd name="T55" fmla="*/ 98 h 101"/>
                <a:gd name="T56" fmla="*/ 26 w 125"/>
                <a:gd name="T57" fmla="*/ 93 h 101"/>
                <a:gd name="T58" fmla="*/ 16 w 125"/>
                <a:gd name="T59" fmla="*/ 98 h 101"/>
                <a:gd name="T60" fmla="*/ 6 w 125"/>
                <a:gd name="T61" fmla="*/ 93 h 101"/>
                <a:gd name="T62" fmla="*/ 2 w 125"/>
                <a:gd name="T63" fmla="*/ 98 h 101"/>
                <a:gd name="T64" fmla="*/ 10 w 125"/>
                <a:gd name="T65" fmla="*/ 98 h 101"/>
                <a:gd name="T66" fmla="*/ 22 w 125"/>
                <a:gd name="T67" fmla="*/ 98 h 101"/>
                <a:gd name="T68" fmla="*/ 30 w 125"/>
                <a:gd name="T69" fmla="*/ 98 h 101"/>
                <a:gd name="T70" fmla="*/ 43 w 125"/>
                <a:gd name="T71" fmla="*/ 98 h 101"/>
                <a:gd name="T72" fmla="*/ 50 w 125"/>
                <a:gd name="T73" fmla="*/ 98 h 101"/>
                <a:gd name="T74" fmla="*/ 61 w 125"/>
                <a:gd name="T75" fmla="*/ 100 h 101"/>
                <a:gd name="T76" fmla="*/ 64 w 125"/>
                <a:gd name="T77" fmla="*/ 98 h 101"/>
                <a:gd name="T78" fmla="*/ 67 w 125"/>
                <a:gd name="T79" fmla="*/ 96 h 101"/>
                <a:gd name="T80" fmla="*/ 77 w 125"/>
                <a:gd name="T81" fmla="*/ 101 h 101"/>
                <a:gd name="T82" fmla="*/ 84 w 125"/>
                <a:gd name="T83" fmla="*/ 98 h 101"/>
                <a:gd name="T84" fmla="*/ 91 w 125"/>
                <a:gd name="T85" fmla="*/ 98 h 101"/>
                <a:gd name="T86" fmla="*/ 104 w 125"/>
                <a:gd name="T87" fmla="*/ 98 h 101"/>
                <a:gd name="T88" fmla="*/ 112 w 125"/>
                <a:gd name="T89" fmla="*/ 98 h 101"/>
                <a:gd name="T90" fmla="*/ 124 w 125"/>
                <a:gd name="T91" fmla="*/ 98 h 101"/>
                <a:gd name="T92" fmla="*/ 125 w 125"/>
                <a:gd name="T93" fmla="*/ 6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5" h="101">
                  <a:moveTo>
                    <a:pt x="121" y="96"/>
                  </a:moveTo>
                  <a:cubicBezTo>
                    <a:pt x="121" y="97"/>
                    <a:pt x="119" y="98"/>
                    <a:pt x="118" y="98"/>
                  </a:cubicBezTo>
                  <a:cubicBezTo>
                    <a:pt x="117" y="98"/>
                    <a:pt x="115" y="96"/>
                    <a:pt x="114" y="96"/>
                  </a:cubicBezTo>
                  <a:cubicBezTo>
                    <a:pt x="114" y="95"/>
                    <a:pt x="111" y="93"/>
                    <a:pt x="108" y="93"/>
                  </a:cubicBezTo>
                  <a:cubicBezTo>
                    <a:pt x="105" y="93"/>
                    <a:pt x="102" y="95"/>
                    <a:pt x="102" y="96"/>
                  </a:cubicBezTo>
                  <a:cubicBezTo>
                    <a:pt x="101" y="96"/>
                    <a:pt x="99" y="98"/>
                    <a:pt x="98" y="98"/>
                  </a:cubicBezTo>
                  <a:cubicBezTo>
                    <a:pt x="96" y="98"/>
                    <a:pt x="94" y="96"/>
                    <a:pt x="94" y="96"/>
                  </a:cubicBezTo>
                  <a:cubicBezTo>
                    <a:pt x="94" y="95"/>
                    <a:pt x="91" y="93"/>
                    <a:pt x="88" y="93"/>
                  </a:cubicBezTo>
                  <a:cubicBezTo>
                    <a:pt x="84" y="93"/>
                    <a:pt x="82" y="95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4" y="96"/>
                    <a:pt x="74" y="96"/>
                  </a:cubicBezTo>
                  <a:cubicBezTo>
                    <a:pt x="73" y="95"/>
                    <a:pt x="70" y="93"/>
                    <a:pt x="67" y="93"/>
                  </a:cubicBezTo>
                  <a:cubicBezTo>
                    <a:pt x="66" y="93"/>
                    <a:pt x="65" y="93"/>
                    <a:pt x="64" y="9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98" y="70"/>
                    <a:pt x="98" y="70"/>
                    <a:pt x="98" y="70"/>
                  </a:cubicBezTo>
                  <a:cubicBezTo>
                    <a:pt x="121" y="70"/>
                    <a:pt x="121" y="70"/>
                    <a:pt x="121" y="70"/>
                  </a:cubicBezTo>
                  <a:lnTo>
                    <a:pt x="121" y="96"/>
                  </a:lnTo>
                  <a:close/>
                  <a:moveTo>
                    <a:pt x="80" y="59"/>
                  </a:moveTo>
                  <a:cubicBezTo>
                    <a:pt x="94" y="59"/>
                    <a:pt x="94" y="59"/>
                    <a:pt x="94" y="59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80" y="66"/>
                    <a:pt x="80" y="66"/>
                    <a:pt x="80" y="66"/>
                  </a:cubicBezTo>
                  <a:lnTo>
                    <a:pt x="80" y="59"/>
                  </a:lnTo>
                  <a:close/>
                  <a:moveTo>
                    <a:pt x="87" y="48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82" y="56"/>
                    <a:pt x="82" y="56"/>
                    <a:pt x="82" y="56"/>
                  </a:cubicBezTo>
                  <a:lnTo>
                    <a:pt x="87" y="48"/>
                  </a:lnTo>
                  <a:close/>
                  <a:moveTo>
                    <a:pt x="72" y="22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1" y="51"/>
                    <a:pt x="81" y="51"/>
                    <a:pt x="81" y="51"/>
                  </a:cubicBezTo>
                  <a:lnTo>
                    <a:pt x="72" y="22"/>
                  </a:lnTo>
                  <a:close/>
                  <a:moveTo>
                    <a:pt x="98" y="6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0" y="97"/>
                    <a:pt x="58" y="98"/>
                    <a:pt x="57" y="98"/>
                  </a:cubicBezTo>
                  <a:cubicBezTo>
                    <a:pt x="55" y="98"/>
                    <a:pt x="53" y="96"/>
                    <a:pt x="53" y="96"/>
                  </a:cubicBezTo>
                  <a:cubicBezTo>
                    <a:pt x="53" y="96"/>
                    <a:pt x="50" y="93"/>
                    <a:pt x="47" y="93"/>
                  </a:cubicBezTo>
                  <a:cubicBezTo>
                    <a:pt x="43" y="93"/>
                    <a:pt x="41" y="96"/>
                    <a:pt x="40" y="96"/>
                  </a:cubicBezTo>
                  <a:cubicBezTo>
                    <a:pt x="40" y="97"/>
                    <a:pt x="38" y="98"/>
                    <a:pt x="36" y="98"/>
                  </a:cubicBezTo>
                  <a:cubicBezTo>
                    <a:pt x="35" y="98"/>
                    <a:pt x="33" y="96"/>
                    <a:pt x="33" y="96"/>
                  </a:cubicBezTo>
                  <a:cubicBezTo>
                    <a:pt x="32" y="96"/>
                    <a:pt x="29" y="93"/>
                    <a:pt x="26" y="93"/>
                  </a:cubicBezTo>
                  <a:cubicBezTo>
                    <a:pt x="23" y="93"/>
                    <a:pt x="20" y="96"/>
                    <a:pt x="20" y="96"/>
                  </a:cubicBezTo>
                  <a:cubicBezTo>
                    <a:pt x="19" y="96"/>
                    <a:pt x="18" y="98"/>
                    <a:pt x="16" y="98"/>
                  </a:cubicBezTo>
                  <a:cubicBezTo>
                    <a:pt x="15" y="98"/>
                    <a:pt x="13" y="96"/>
                    <a:pt x="12" y="96"/>
                  </a:cubicBezTo>
                  <a:cubicBezTo>
                    <a:pt x="12" y="96"/>
                    <a:pt x="9" y="93"/>
                    <a:pt x="6" y="93"/>
                  </a:cubicBezTo>
                  <a:cubicBezTo>
                    <a:pt x="3" y="93"/>
                    <a:pt x="0" y="96"/>
                    <a:pt x="0" y="96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3" y="98"/>
                    <a:pt x="5" y="96"/>
                    <a:pt x="6" y="96"/>
                  </a:cubicBezTo>
                  <a:cubicBezTo>
                    <a:pt x="7" y="96"/>
                    <a:pt x="9" y="98"/>
                    <a:pt x="10" y="98"/>
                  </a:cubicBezTo>
                  <a:cubicBezTo>
                    <a:pt x="10" y="99"/>
                    <a:pt x="13" y="101"/>
                    <a:pt x="16" y="101"/>
                  </a:cubicBezTo>
                  <a:cubicBezTo>
                    <a:pt x="19" y="101"/>
                    <a:pt x="22" y="99"/>
                    <a:pt x="22" y="98"/>
                  </a:cubicBezTo>
                  <a:cubicBezTo>
                    <a:pt x="23" y="98"/>
                    <a:pt x="25" y="96"/>
                    <a:pt x="26" y="96"/>
                  </a:cubicBezTo>
                  <a:cubicBezTo>
                    <a:pt x="28" y="96"/>
                    <a:pt x="30" y="98"/>
                    <a:pt x="30" y="98"/>
                  </a:cubicBezTo>
                  <a:cubicBezTo>
                    <a:pt x="30" y="99"/>
                    <a:pt x="33" y="101"/>
                    <a:pt x="36" y="101"/>
                  </a:cubicBezTo>
                  <a:cubicBezTo>
                    <a:pt x="40" y="101"/>
                    <a:pt x="42" y="99"/>
                    <a:pt x="43" y="98"/>
                  </a:cubicBezTo>
                  <a:cubicBezTo>
                    <a:pt x="43" y="98"/>
                    <a:pt x="45" y="96"/>
                    <a:pt x="47" y="96"/>
                  </a:cubicBezTo>
                  <a:cubicBezTo>
                    <a:pt x="48" y="96"/>
                    <a:pt x="50" y="98"/>
                    <a:pt x="50" y="98"/>
                  </a:cubicBezTo>
                  <a:cubicBezTo>
                    <a:pt x="51" y="99"/>
                    <a:pt x="54" y="101"/>
                    <a:pt x="57" y="101"/>
                  </a:cubicBezTo>
                  <a:cubicBezTo>
                    <a:pt x="58" y="101"/>
                    <a:pt x="60" y="101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5" y="97"/>
                    <a:pt x="66" y="96"/>
                    <a:pt x="67" y="96"/>
                  </a:cubicBezTo>
                  <a:cubicBezTo>
                    <a:pt x="68" y="96"/>
                    <a:pt x="70" y="98"/>
                    <a:pt x="71" y="98"/>
                  </a:cubicBezTo>
                  <a:cubicBezTo>
                    <a:pt x="71" y="99"/>
                    <a:pt x="74" y="101"/>
                    <a:pt x="77" y="101"/>
                  </a:cubicBezTo>
                  <a:cubicBezTo>
                    <a:pt x="80" y="101"/>
                    <a:pt x="82" y="100"/>
                    <a:pt x="83" y="99"/>
                  </a:cubicBezTo>
                  <a:cubicBezTo>
                    <a:pt x="83" y="98"/>
                    <a:pt x="84" y="98"/>
                    <a:pt x="84" y="98"/>
                  </a:cubicBezTo>
                  <a:cubicBezTo>
                    <a:pt x="84" y="97"/>
                    <a:pt x="86" y="96"/>
                    <a:pt x="88" y="96"/>
                  </a:cubicBezTo>
                  <a:cubicBezTo>
                    <a:pt x="89" y="96"/>
                    <a:pt x="91" y="97"/>
                    <a:pt x="91" y="98"/>
                  </a:cubicBezTo>
                  <a:cubicBezTo>
                    <a:pt x="92" y="98"/>
                    <a:pt x="95" y="101"/>
                    <a:pt x="98" y="101"/>
                  </a:cubicBezTo>
                  <a:cubicBezTo>
                    <a:pt x="101" y="101"/>
                    <a:pt x="104" y="98"/>
                    <a:pt x="104" y="98"/>
                  </a:cubicBezTo>
                  <a:cubicBezTo>
                    <a:pt x="105" y="97"/>
                    <a:pt x="106" y="96"/>
                    <a:pt x="108" y="96"/>
                  </a:cubicBezTo>
                  <a:cubicBezTo>
                    <a:pt x="109" y="96"/>
                    <a:pt x="111" y="97"/>
                    <a:pt x="112" y="98"/>
                  </a:cubicBezTo>
                  <a:cubicBezTo>
                    <a:pt x="112" y="98"/>
                    <a:pt x="115" y="101"/>
                    <a:pt x="118" y="101"/>
                  </a:cubicBezTo>
                  <a:cubicBezTo>
                    <a:pt x="121" y="101"/>
                    <a:pt x="124" y="98"/>
                    <a:pt x="124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66"/>
                    <a:pt x="125" y="66"/>
                    <a:pt x="125" y="66"/>
                  </a:cubicBezTo>
                  <a:lnTo>
                    <a:pt x="98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5">
              <a:extLst>
                <a:ext uri="{FF2B5EF4-FFF2-40B4-BE49-F238E27FC236}">
                  <a16:creationId xmlns:a16="http://schemas.microsoft.com/office/drawing/2014/main" id="{E75D3472-8B4B-4D08-A66E-8875C70C7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" y="1340"/>
              <a:ext cx="318" cy="20"/>
            </a:xfrm>
            <a:custGeom>
              <a:avLst/>
              <a:gdLst>
                <a:gd name="T0" fmla="*/ 118 w 124"/>
                <a:gd name="T1" fmla="*/ 5 h 8"/>
                <a:gd name="T2" fmla="*/ 114 w 124"/>
                <a:gd name="T3" fmla="*/ 3 h 8"/>
                <a:gd name="T4" fmla="*/ 108 w 124"/>
                <a:gd name="T5" fmla="*/ 0 h 8"/>
                <a:gd name="T6" fmla="*/ 102 w 124"/>
                <a:gd name="T7" fmla="*/ 3 h 8"/>
                <a:gd name="T8" fmla="*/ 98 w 124"/>
                <a:gd name="T9" fmla="*/ 5 h 8"/>
                <a:gd name="T10" fmla="*/ 94 w 124"/>
                <a:gd name="T11" fmla="*/ 3 h 8"/>
                <a:gd name="T12" fmla="*/ 88 w 124"/>
                <a:gd name="T13" fmla="*/ 0 h 8"/>
                <a:gd name="T14" fmla="*/ 81 w 124"/>
                <a:gd name="T15" fmla="*/ 3 h 8"/>
                <a:gd name="T16" fmla="*/ 77 w 124"/>
                <a:gd name="T17" fmla="*/ 5 h 8"/>
                <a:gd name="T18" fmla="*/ 74 w 124"/>
                <a:gd name="T19" fmla="*/ 3 h 8"/>
                <a:gd name="T20" fmla="*/ 67 w 124"/>
                <a:gd name="T21" fmla="*/ 0 h 8"/>
                <a:gd name="T22" fmla="*/ 61 w 124"/>
                <a:gd name="T23" fmla="*/ 3 h 8"/>
                <a:gd name="T24" fmla="*/ 57 w 124"/>
                <a:gd name="T25" fmla="*/ 5 h 8"/>
                <a:gd name="T26" fmla="*/ 53 w 124"/>
                <a:gd name="T27" fmla="*/ 3 h 8"/>
                <a:gd name="T28" fmla="*/ 47 w 124"/>
                <a:gd name="T29" fmla="*/ 0 h 8"/>
                <a:gd name="T30" fmla="*/ 41 w 124"/>
                <a:gd name="T31" fmla="*/ 3 h 8"/>
                <a:gd name="T32" fmla="*/ 37 w 124"/>
                <a:gd name="T33" fmla="*/ 5 h 8"/>
                <a:gd name="T34" fmla="*/ 33 w 124"/>
                <a:gd name="T35" fmla="*/ 3 h 8"/>
                <a:gd name="T36" fmla="*/ 27 w 124"/>
                <a:gd name="T37" fmla="*/ 0 h 8"/>
                <a:gd name="T38" fmla="*/ 20 w 124"/>
                <a:gd name="T39" fmla="*/ 3 h 8"/>
                <a:gd name="T40" fmla="*/ 17 w 124"/>
                <a:gd name="T41" fmla="*/ 5 h 8"/>
                <a:gd name="T42" fmla="*/ 13 w 124"/>
                <a:gd name="T43" fmla="*/ 3 h 8"/>
                <a:gd name="T44" fmla="*/ 6 w 124"/>
                <a:gd name="T45" fmla="*/ 0 h 8"/>
                <a:gd name="T46" fmla="*/ 0 w 124"/>
                <a:gd name="T47" fmla="*/ 3 h 8"/>
                <a:gd name="T48" fmla="*/ 3 w 124"/>
                <a:gd name="T49" fmla="*/ 5 h 8"/>
                <a:gd name="T50" fmla="*/ 6 w 124"/>
                <a:gd name="T51" fmla="*/ 3 h 8"/>
                <a:gd name="T52" fmla="*/ 10 w 124"/>
                <a:gd name="T53" fmla="*/ 5 h 8"/>
                <a:gd name="T54" fmla="*/ 17 w 124"/>
                <a:gd name="T55" fmla="*/ 8 h 8"/>
                <a:gd name="T56" fmla="*/ 23 w 124"/>
                <a:gd name="T57" fmla="*/ 5 h 8"/>
                <a:gd name="T58" fmla="*/ 27 w 124"/>
                <a:gd name="T59" fmla="*/ 3 h 8"/>
                <a:gd name="T60" fmla="*/ 31 w 124"/>
                <a:gd name="T61" fmla="*/ 5 h 8"/>
                <a:gd name="T62" fmla="*/ 37 w 124"/>
                <a:gd name="T63" fmla="*/ 8 h 8"/>
                <a:gd name="T64" fmla="*/ 43 w 124"/>
                <a:gd name="T65" fmla="*/ 5 h 8"/>
                <a:gd name="T66" fmla="*/ 47 w 124"/>
                <a:gd name="T67" fmla="*/ 3 h 8"/>
                <a:gd name="T68" fmla="*/ 51 w 124"/>
                <a:gd name="T69" fmla="*/ 5 h 8"/>
                <a:gd name="T70" fmla="*/ 57 w 124"/>
                <a:gd name="T71" fmla="*/ 8 h 8"/>
                <a:gd name="T72" fmla="*/ 63 w 124"/>
                <a:gd name="T73" fmla="*/ 5 h 8"/>
                <a:gd name="T74" fmla="*/ 67 w 124"/>
                <a:gd name="T75" fmla="*/ 3 h 8"/>
                <a:gd name="T76" fmla="*/ 71 w 124"/>
                <a:gd name="T77" fmla="*/ 5 h 8"/>
                <a:gd name="T78" fmla="*/ 77 w 124"/>
                <a:gd name="T79" fmla="*/ 8 h 8"/>
                <a:gd name="T80" fmla="*/ 84 w 124"/>
                <a:gd name="T81" fmla="*/ 5 h 8"/>
                <a:gd name="T82" fmla="*/ 88 w 124"/>
                <a:gd name="T83" fmla="*/ 3 h 8"/>
                <a:gd name="T84" fmla="*/ 91 w 124"/>
                <a:gd name="T85" fmla="*/ 5 h 8"/>
                <a:gd name="T86" fmla="*/ 98 w 124"/>
                <a:gd name="T87" fmla="*/ 8 h 8"/>
                <a:gd name="T88" fmla="*/ 104 w 124"/>
                <a:gd name="T89" fmla="*/ 5 h 8"/>
                <a:gd name="T90" fmla="*/ 108 w 124"/>
                <a:gd name="T91" fmla="*/ 3 h 8"/>
                <a:gd name="T92" fmla="*/ 112 w 124"/>
                <a:gd name="T93" fmla="*/ 5 h 8"/>
                <a:gd name="T94" fmla="*/ 118 w 124"/>
                <a:gd name="T95" fmla="*/ 8 h 8"/>
                <a:gd name="T96" fmla="*/ 124 w 124"/>
                <a:gd name="T97" fmla="*/ 5 h 8"/>
                <a:gd name="T98" fmla="*/ 122 w 124"/>
                <a:gd name="T99" fmla="*/ 3 h 8"/>
                <a:gd name="T100" fmla="*/ 118 w 124"/>
                <a:gd name="T10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4" h="8">
                  <a:moveTo>
                    <a:pt x="118" y="5"/>
                  </a:moveTo>
                  <a:cubicBezTo>
                    <a:pt x="117" y="5"/>
                    <a:pt x="115" y="3"/>
                    <a:pt x="114" y="3"/>
                  </a:cubicBezTo>
                  <a:cubicBezTo>
                    <a:pt x="114" y="2"/>
                    <a:pt x="111" y="0"/>
                    <a:pt x="108" y="0"/>
                  </a:cubicBezTo>
                  <a:cubicBezTo>
                    <a:pt x="105" y="0"/>
                    <a:pt x="102" y="2"/>
                    <a:pt x="102" y="3"/>
                  </a:cubicBezTo>
                  <a:cubicBezTo>
                    <a:pt x="101" y="3"/>
                    <a:pt x="99" y="5"/>
                    <a:pt x="98" y="5"/>
                  </a:cubicBezTo>
                  <a:cubicBezTo>
                    <a:pt x="96" y="5"/>
                    <a:pt x="94" y="3"/>
                    <a:pt x="94" y="3"/>
                  </a:cubicBezTo>
                  <a:cubicBezTo>
                    <a:pt x="94" y="2"/>
                    <a:pt x="91" y="0"/>
                    <a:pt x="88" y="0"/>
                  </a:cubicBezTo>
                  <a:cubicBezTo>
                    <a:pt x="84" y="0"/>
                    <a:pt x="82" y="2"/>
                    <a:pt x="81" y="3"/>
                  </a:cubicBezTo>
                  <a:cubicBezTo>
                    <a:pt x="81" y="3"/>
                    <a:pt x="79" y="5"/>
                    <a:pt x="77" y="5"/>
                  </a:cubicBezTo>
                  <a:cubicBezTo>
                    <a:pt x="76" y="5"/>
                    <a:pt x="74" y="3"/>
                    <a:pt x="74" y="3"/>
                  </a:cubicBezTo>
                  <a:cubicBezTo>
                    <a:pt x="73" y="2"/>
                    <a:pt x="70" y="0"/>
                    <a:pt x="67" y="0"/>
                  </a:cubicBezTo>
                  <a:cubicBezTo>
                    <a:pt x="64" y="0"/>
                    <a:pt x="61" y="2"/>
                    <a:pt x="61" y="3"/>
                  </a:cubicBezTo>
                  <a:cubicBezTo>
                    <a:pt x="60" y="3"/>
                    <a:pt x="59" y="5"/>
                    <a:pt x="57" y="5"/>
                  </a:cubicBezTo>
                  <a:cubicBezTo>
                    <a:pt x="56" y="5"/>
                    <a:pt x="54" y="3"/>
                    <a:pt x="53" y="3"/>
                  </a:cubicBezTo>
                  <a:cubicBezTo>
                    <a:pt x="53" y="2"/>
                    <a:pt x="50" y="0"/>
                    <a:pt x="47" y="0"/>
                  </a:cubicBezTo>
                  <a:cubicBezTo>
                    <a:pt x="44" y="0"/>
                    <a:pt x="41" y="2"/>
                    <a:pt x="41" y="3"/>
                  </a:cubicBezTo>
                  <a:cubicBezTo>
                    <a:pt x="40" y="3"/>
                    <a:pt x="38" y="5"/>
                    <a:pt x="37" y="5"/>
                  </a:cubicBezTo>
                  <a:cubicBezTo>
                    <a:pt x="35" y="5"/>
                    <a:pt x="34" y="3"/>
                    <a:pt x="33" y="3"/>
                  </a:cubicBezTo>
                  <a:cubicBezTo>
                    <a:pt x="33" y="2"/>
                    <a:pt x="30" y="0"/>
                    <a:pt x="27" y="0"/>
                  </a:cubicBezTo>
                  <a:cubicBezTo>
                    <a:pt x="24" y="0"/>
                    <a:pt x="21" y="2"/>
                    <a:pt x="20" y="3"/>
                  </a:cubicBezTo>
                  <a:cubicBezTo>
                    <a:pt x="20" y="3"/>
                    <a:pt x="18" y="5"/>
                    <a:pt x="17" y="5"/>
                  </a:cubicBezTo>
                  <a:cubicBezTo>
                    <a:pt x="15" y="5"/>
                    <a:pt x="13" y="3"/>
                    <a:pt x="13" y="3"/>
                  </a:cubicBezTo>
                  <a:cubicBezTo>
                    <a:pt x="12" y="2"/>
                    <a:pt x="10" y="0"/>
                    <a:pt x="6" y="0"/>
                  </a:cubicBezTo>
                  <a:cubicBezTo>
                    <a:pt x="3" y="0"/>
                    <a:pt x="0" y="2"/>
                    <a:pt x="0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8" y="3"/>
                    <a:pt x="10" y="5"/>
                    <a:pt x="10" y="5"/>
                  </a:cubicBezTo>
                  <a:cubicBezTo>
                    <a:pt x="11" y="5"/>
                    <a:pt x="13" y="8"/>
                    <a:pt x="17" y="8"/>
                  </a:cubicBezTo>
                  <a:cubicBezTo>
                    <a:pt x="20" y="8"/>
                    <a:pt x="23" y="5"/>
                    <a:pt x="23" y="5"/>
                  </a:cubicBezTo>
                  <a:cubicBezTo>
                    <a:pt x="24" y="4"/>
                    <a:pt x="25" y="3"/>
                    <a:pt x="27" y="3"/>
                  </a:cubicBezTo>
                  <a:cubicBezTo>
                    <a:pt x="28" y="3"/>
                    <a:pt x="30" y="5"/>
                    <a:pt x="31" y="5"/>
                  </a:cubicBezTo>
                  <a:cubicBezTo>
                    <a:pt x="31" y="5"/>
                    <a:pt x="34" y="8"/>
                    <a:pt x="37" y="8"/>
                  </a:cubicBezTo>
                  <a:cubicBezTo>
                    <a:pt x="40" y="8"/>
                    <a:pt x="43" y="5"/>
                    <a:pt x="43" y="5"/>
                  </a:cubicBezTo>
                  <a:cubicBezTo>
                    <a:pt x="44" y="5"/>
                    <a:pt x="46" y="3"/>
                    <a:pt x="47" y="3"/>
                  </a:cubicBezTo>
                  <a:cubicBezTo>
                    <a:pt x="48" y="3"/>
                    <a:pt x="50" y="5"/>
                    <a:pt x="51" y="5"/>
                  </a:cubicBezTo>
                  <a:cubicBezTo>
                    <a:pt x="51" y="5"/>
                    <a:pt x="54" y="8"/>
                    <a:pt x="57" y="8"/>
                  </a:cubicBezTo>
                  <a:cubicBezTo>
                    <a:pt x="60" y="8"/>
                    <a:pt x="63" y="5"/>
                    <a:pt x="63" y="5"/>
                  </a:cubicBezTo>
                  <a:cubicBezTo>
                    <a:pt x="64" y="4"/>
                    <a:pt x="66" y="3"/>
                    <a:pt x="67" y="3"/>
                  </a:cubicBezTo>
                  <a:cubicBezTo>
                    <a:pt x="69" y="3"/>
                    <a:pt x="71" y="5"/>
                    <a:pt x="71" y="5"/>
                  </a:cubicBezTo>
                  <a:cubicBezTo>
                    <a:pt x="71" y="5"/>
                    <a:pt x="74" y="8"/>
                    <a:pt x="77" y="8"/>
                  </a:cubicBezTo>
                  <a:cubicBezTo>
                    <a:pt x="81" y="8"/>
                    <a:pt x="83" y="5"/>
                    <a:pt x="84" y="5"/>
                  </a:cubicBezTo>
                  <a:cubicBezTo>
                    <a:pt x="84" y="5"/>
                    <a:pt x="86" y="3"/>
                    <a:pt x="88" y="3"/>
                  </a:cubicBezTo>
                  <a:cubicBezTo>
                    <a:pt x="89" y="3"/>
                    <a:pt x="91" y="5"/>
                    <a:pt x="91" y="5"/>
                  </a:cubicBezTo>
                  <a:cubicBezTo>
                    <a:pt x="92" y="5"/>
                    <a:pt x="95" y="8"/>
                    <a:pt x="98" y="8"/>
                  </a:cubicBezTo>
                  <a:cubicBezTo>
                    <a:pt x="101" y="8"/>
                    <a:pt x="104" y="5"/>
                    <a:pt x="104" y="5"/>
                  </a:cubicBezTo>
                  <a:cubicBezTo>
                    <a:pt x="105" y="4"/>
                    <a:pt x="106" y="3"/>
                    <a:pt x="108" y="3"/>
                  </a:cubicBezTo>
                  <a:cubicBezTo>
                    <a:pt x="109" y="3"/>
                    <a:pt x="111" y="5"/>
                    <a:pt x="112" y="5"/>
                  </a:cubicBezTo>
                  <a:cubicBezTo>
                    <a:pt x="112" y="5"/>
                    <a:pt x="115" y="8"/>
                    <a:pt x="118" y="8"/>
                  </a:cubicBezTo>
                  <a:cubicBezTo>
                    <a:pt x="121" y="8"/>
                    <a:pt x="124" y="5"/>
                    <a:pt x="124" y="5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3"/>
                    <a:pt x="119" y="5"/>
                    <a:pt x="11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6">
              <a:extLst>
                <a:ext uri="{FF2B5EF4-FFF2-40B4-BE49-F238E27FC236}">
                  <a16:creationId xmlns:a16="http://schemas.microsoft.com/office/drawing/2014/main" id="{E7E0DE1E-942F-4AC7-951D-167043A89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" y="1366"/>
              <a:ext cx="318" cy="20"/>
            </a:xfrm>
            <a:custGeom>
              <a:avLst/>
              <a:gdLst>
                <a:gd name="T0" fmla="*/ 118 w 124"/>
                <a:gd name="T1" fmla="*/ 5 h 8"/>
                <a:gd name="T2" fmla="*/ 114 w 124"/>
                <a:gd name="T3" fmla="*/ 3 h 8"/>
                <a:gd name="T4" fmla="*/ 108 w 124"/>
                <a:gd name="T5" fmla="*/ 0 h 8"/>
                <a:gd name="T6" fmla="*/ 102 w 124"/>
                <a:gd name="T7" fmla="*/ 3 h 8"/>
                <a:gd name="T8" fmla="*/ 98 w 124"/>
                <a:gd name="T9" fmla="*/ 5 h 8"/>
                <a:gd name="T10" fmla="*/ 94 w 124"/>
                <a:gd name="T11" fmla="*/ 3 h 8"/>
                <a:gd name="T12" fmla="*/ 88 w 124"/>
                <a:gd name="T13" fmla="*/ 0 h 8"/>
                <a:gd name="T14" fmla="*/ 81 w 124"/>
                <a:gd name="T15" fmla="*/ 3 h 8"/>
                <a:gd name="T16" fmla="*/ 77 w 124"/>
                <a:gd name="T17" fmla="*/ 5 h 8"/>
                <a:gd name="T18" fmla="*/ 74 w 124"/>
                <a:gd name="T19" fmla="*/ 3 h 8"/>
                <a:gd name="T20" fmla="*/ 67 w 124"/>
                <a:gd name="T21" fmla="*/ 0 h 8"/>
                <a:gd name="T22" fmla="*/ 61 w 124"/>
                <a:gd name="T23" fmla="*/ 3 h 8"/>
                <a:gd name="T24" fmla="*/ 57 w 124"/>
                <a:gd name="T25" fmla="*/ 5 h 8"/>
                <a:gd name="T26" fmla="*/ 53 w 124"/>
                <a:gd name="T27" fmla="*/ 3 h 8"/>
                <a:gd name="T28" fmla="*/ 47 w 124"/>
                <a:gd name="T29" fmla="*/ 0 h 8"/>
                <a:gd name="T30" fmla="*/ 41 w 124"/>
                <a:gd name="T31" fmla="*/ 3 h 8"/>
                <a:gd name="T32" fmla="*/ 37 w 124"/>
                <a:gd name="T33" fmla="*/ 5 h 8"/>
                <a:gd name="T34" fmla="*/ 33 w 124"/>
                <a:gd name="T35" fmla="*/ 3 h 8"/>
                <a:gd name="T36" fmla="*/ 27 w 124"/>
                <a:gd name="T37" fmla="*/ 0 h 8"/>
                <a:gd name="T38" fmla="*/ 20 w 124"/>
                <a:gd name="T39" fmla="*/ 3 h 8"/>
                <a:gd name="T40" fmla="*/ 17 w 124"/>
                <a:gd name="T41" fmla="*/ 5 h 8"/>
                <a:gd name="T42" fmla="*/ 13 w 124"/>
                <a:gd name="T43" fmla="*/ 3 h 8"/>
                <a:gd name="T44" fmla="*/ 6 w 124"/>
                <a:gd name="T45" fmla="*/ 0 h 8"/>
                <a:gd name="T46" fmla="*/ 0 w 124"/>
                <a:gd name="T47" fmla="*/ 3 h 8"/>
                <a:gd name="T48" fmla="*/ 3 w 124"/>
                <a:gd name="T49" fmla="*/ 5 h 8"/>
                <a:gd name="T50" fmla="*/ 6 w 124"/>
                <a:gd name="T51" fmla="*/ 3 h 8"/>
                <a:gd name="T52" fmla="*/ 10 w 124"/>
                <a:gd name="T53" fmla="*/ 5 h 8"/>
                <a:gd name="T54" fmla="*/ 17 w 124"/>
                <a:gd name="T55" fmla="*/ 8 h 8"/>
                <a:gd name="T56" fmla="*/ 23 w 124"/>
                <a:gd name="T57" fmla="*/ 5 h 8"/>
                <a:gd name="T58" fmla="*/ 27 w 124"/>
                <a:gd name="T59" fmla="*/ 3 h 8"/>
                <a:gd name="T60" fmla="*/ 31 w 124"/>
                <a:gd name="T61" fmla="*/ 5 h 8"/>
                <a:gd name="T62" fmla="*/ 37 w 124"/>
                <a:gd name="T63" fmla="*/ 8 h 8"/>
                <a:gd name="T64" fmla="*/ 43 w 124"/>
                <a:gd name="T65" fmla="*/ 5 h 8"/>
                <a:gd name="T66" fmla="*/ 47 w 124"/>
                <a:gd name="T67" fmla="*/ 3 h 8"/>
                <a:gd name="T68" fmla="*/ 51 w 124"/>
                <a:gd name="T69" fmla="*/ 5 h 8"/>
                <a:gd name="T70" fmla="*/ 57 w 124"/>
                <a:gd name="T71" fmla="*/ 8 h 8"/>
                <a:gd name="T72" fmla="*/ 63 w 124"/>
                <a:gd name="T73" fmla="*/ 5 h 8"/>
                <a:gd name="T74" fmla="*/ 67 w 124"/>
                <a:gd name="T75" fmla="*/ 3 h 8"/>
                <a:gd name="T76" fmla="*/ 71 w 124"/>
                <a:gd name="T77" fmla="*/ 5 h 8"/>
                <a:gd name="T78" fmla="*/ 77 w 124"/>
                <a:gd name="T79" fmla="*/ 8 h 8"/>
                <a:gd name="T80" fmla="*/ 84 w 124"/>
                <a:gd name="T81" fmla="*/ 5 h 8"/>
                <a:gd name="T82" fmla="*/ 88 w 124"/>
                <a:gd name="T83" fmla="*/ 3 h 8"/>
                <a:gd name="T84" fmla="*/ 91 w 124"/>
                <a:gd name="T85" fmla="*/ 5 h 8"/>
                <a:gd name="T86" fmla="*/ 98 w 124"/>
                <a:gd name="T87" fmla="*/ 8 h 8"/>
                <a:gd name="T88" fmla="*/ 104 w 124"/>
                <a:gd name="T89" fmla="*/ 5 h 8"/>
                <a:gd name="T90" fmla="*/ 108 w 124"/>
                <a:gd name="T91" fmla="*/ 3 h 8"/>
                <a:gd name="T92" fmla="*/ 112 w 124"/>
                <a:gd name="T93" fmla="*/ 5 h 8"/>
                <a:gd name="T94" fmla="*/ 118 w 124"/>
                <a:gd name="T95" fmla="*/ 8 h 8"/>
                <a:gd name="T96" fmla="*/ 124 w 124"/>
                <a:gd name="T97" fmla="*/ 5 h 8"/>
                <a:gd name="T98" fmla="*/ 122 w 124"/>
                <a:gd name="T99" fmla="*/ 3 h 8"/>
                <a:gd name="T100" fmla="*/ 118 w 124"/>
                <a:gd name="T10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4" h="8">
                  <a:moveTo>
                    <a:pt x="118" y="5"/>
                  </a:moveTo>
                  <a:cubicBezTo>
                    <a:pt x="117" y="5"/>
                    <a:pt x="115" y="3"/>
                    <a:pt x="114" y="3"/>
                  </a:cubicBezTo>
                  <a:cubicBezTo>
                    <a:pt x="114" y="3"/>
                    <a:pt x="111" y="0"/>
                    <a:pt x="108" y="0"/>
                  </a:cubicBezTo>
                  <a:cubicBezTo>
                    <a:pt x="105" y="0"/>
                    <a:pt x="102" y="3"/>
                    <a:pt x="102" y="3"/>
                  </a:cubicBezTo>
                  <a:cubicBezTo>
                    <a:pt x="101" y="3"/>
                    <a:pt x="99" y="5"/>
                    <a:pt x="98" y="5"/>
                  </a:cubicBezTo>
                  <a:cubicBezTo>
                    <a:pt x="96" y="5"/>
                    <a:pt x="94" y="3"/>
                    <a:pt x="94" y="3"/>
                  </a:cubicBezTo>
                  <a:cubicBezTo>
                    <a:pt x="94" y="3"/>
                    <a:pt x="91" y="0"/>
                    <a:pt x="88" y="0"/>
                  </a:cubicBezTo>
                  <a:cubicBezTo>
                    <a:pt x="84" y="0"/>
                    <a:pt x="82" y="3"/>
                    <a:pt x="81" y="3"/>
                  </a:cubicBezTo>
                  <a:cubicBezTo>
                    <a:pt x="81" y="4"/>
                    <a:pt x="79" y="5"/>
                    <a:pt x="77" y="5"/>
                  </a:cubicBezTo>
                  <a:cubicBezTo>
                    <a:pt x="76" y="5"/>
                    <a:pt x="74" y="3"/>
                    <a:pt x="74" y="3"/>
                  </a:cubicBezTo>
                  <a:cubicBezTo>
                    <a:pt x="73" y="3"/>
                    <a:pt x="70" y="0"/>
                    <a:pt x="67" y="0"/>
                  </a:cubicBezTo>
                  <a:cubicBezTo>
                    <a:pt x="64" y="0"/>
                    <a:pt x="61" y="3"/>
                    <a:pt x="61" y="3"/>
                  </a:cubicBezTo>
                  <a:cubicBezTo>
                    <a:pt x="60" y="3"/>
                    <a:pt x="59" y="5"/>
                    <a:pt x="57" y="5"/>
                  </a:cubicBezTo>
                  <a:cubicBezTo>
                    <a:pt x="56" y="5"/>
                    <a:pt x="54" y="3"/>
                    <a:pt x="53" y="3"/>
                  </a:cubicBezTo>
                  <a:cubicBezTo>
                    <a:pt x="53" y="3"/>
                    <a:pt x="50" y="0"/>
                    <a:pt x="47" y="0"/>
                  </a:cubicBezTo>
                  <a:cubicBezTo>
                    <a:pt x="44" y="0"/>
                    <a:pt x="41" y="3"/>
                    <a:pt x="41" y="3"/>
                  </a:cubicBezTo>
                  <a:cubicBezTo>
                    <a:pt x="40" y="4"/>
                    <a:pt x="38" y="5"/>
                    <a:pt x="37" y="5"/>
                  </a:cubicBezTo>
                  <a:cubicBezTo>
                    <a:pt x="35" y="5"/>
                    <a:pt x="34" y="3"/>
                    <a:pt x="33" y="3"/>
                  </a:cubicBezTo>
                  <a:cubicBezTo>
                    <a:pt x="33" y="3"/>
                    <a:pt x="30" y="0"/>
                    <a:pt x="27" y="0"/>
                  </a:cubicBezTo>
                  <a:cubicBezTo>
                    <a:pt x="24" y="0"/>
                    <a:pt x="21" y="3"/>
                    <a:pt x="20" y="3"/>
                  </a:cubicBezTo>
                  <a:cubicBezTo>
                    <a:pt x="20" y="4"/>
                    <a:pt x="18" y="5"/>
                    <a:pt x="17" y="5"/>
                  </a:cubicBezTo>
                  <a:cubicBezTo>
                    <a:pt x="15" y="5"/>
                    <a:pt x="13" y="3"/>
                    <a:pt x="13" y="3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5" y="3"/>
                    <a:pt x="6" y="3"/>
                  </a:cubicBezTo>
                  <a:cubicBezTo>
                    <a:pt x="8" y="3"/>
                    <a:pt x="10" y="5"/>
                    <a:pt x="10" y="5"/>
                  </a:cubicBezTo>
                  <a:cubicBezTo>
                    <a:pt x="11" y="6"/>
                    <a:pt x="13" y="8"/>
                    <a:pt x="17" y="8"/>
                  </a:cubicBezTo>
                  <a:cubicBezTo>
                    <a:pt x="20" y="8"/>
                    <a:pt x="23" y="6"/>
                    <a:pt x="23" y="5"/>
                  </a:cubicBezTo>
                  <a:cubicBezTo>
                    <a:pt x="24" y="5"/>
                    <a:pt x="25" y="3"/>
                    <a:pt x="27" y="3"/>
                  </a:cubicBezTo>
                  <a:cubicBezTo>
                    <a:pt x="28" y="3"/>
                    <a:pt x="30" y="5"/>
                    <a:pt x="31" y="5"/>
                  </a:cubicBezTo>
                  <a:cubicBezTo>
                    <a:pt x="31" y="6"/>
                    <a:pt x="34" y="8"/>
                    <a:pt x="37" y="8"/>
                  </a:cubicBezTo>
                  <a:cubicBezTo>
                    <a:pt x="40" y="8"/>
                    <a:pt x="43" y="6"/>
                    <a:pt x="43" y="5"/>
                  </a:cubicBezTo>
                  <a:cubicBezTo>
                    <a:pt x="44" y="5"/>
                    <a:pt x="46" y="3"/>
                    <a:pt x="47" y="3"/>
                  </a:cubicBezTo>
                  <a:cubicBezTo>
                    <a:pt x="48" y="3"/>
                    <a:pt x="50" y="5"/>
                    <a:pt x="51" y="5"/>
                  </a:cubicBezTo>
                  <a:cubicBezTo>
                    <a:pt x="51" y="6"/>
                    <a:pt x="54" y="8"/>
                    <a:pt x="57" y="8"/>
                  </a:cubicBezTo>
                  <a:cubicBezTo>
                    <a:pt x="60" y="8"/>
                    <a:pt x="63" y="6"/>
                    <a:pt x="63" y="5"/>
                  </a:cubicBezTo>
                  <a:cubicBezTo>
                    <a:pt x="64" y="5"/>
                    <a:pt x="66" y="3"/>
                    <a:pt x="67" y="3"/>
                  </a:cubicBezTo>
                  <a:cubicBezTo>
                    <a:pt x="69" y="3"/>
                    <a:pt x="71" y="5"/>
                    <a:pt x="71" y="5"/>
                  </a:cubicBezTo>
                  <a:cubicBezTo>
                    <a:pt x="71" y="6"/>
                    <a:pt x="74" y="8"/>
                    <a:pt x="77" y="8"/>
                  </a:cubicBezTo>
                  <a:cubicBezTo>
                    <a:pt x="81" y="8"/>
                    <a:pt x="83" y="6"/>
                    <a:pt x="84" y="5"/>
                  </a:cubicBezTo>
                  <a:cubicBezTo>
                    <a:pt x="84" y="5"/>
                    <a:pt x="86" y="3"/>
                    <a:pt x="88" y="3"/>
                  </a:cubicBezTo>
                  <a:cubicBezTo>
                    <a:pt x="89" y="3"/>
                    <a:pt x="91" y="5"/>
                    <a:pt x="91" y="5"/>
                  </a:cubicBezTo>
                  <a:cubicBezTo>
                    <a:pt x="92" y="6"/>
                    <a:pt x="95" y="8"/>
                    <a:pt x="98" y="8"/>
                  </a:cubicBezTo>
                  <a:cubicBezTo>
                    <a:pt x="101" y="8"/>
                    <a:pt x="104" y="6"/>
                    <a:pt x="104" y="5"/>
                  </a:cubicBezTo>
                  <a:cubicBezTo>
                    <a:pt x="105" y="5"/>
                    <a:pt x="106" y="3"/>
                    <a:pt x="108" y="3"/>
                  </a:cubicBezTo>
                  <a:cubicBezTo>
                    <a:pt x="109" y="3"/>
                    <a:pt x="111" y="5"/>
                    <a:pt x="112" y="5"/>
                  </a:cubicBezTo>
                  <a:cubicBezTo>
                    <a:pt x="112" y="6"/>
                    <a:pt x="115" y="8"/>
                    <a:pt x="118" y="8"/>
                  </a:cubicBezTo>
                  <a:cubicBezTo>
                    <a:pt x="121" y="8"/>
                    <a:pt x="124" y="6"/>
                    <a:pt x="124" y="5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3"/>
                    <a:pt x="119" y="5"/>
                    <a:pt x="11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7">
              <a:extLst>
                <a:ext uri="{FF2B5EF4-FFF2-40B4-BE49-F238E27FC236}">
                  <a16:creationId xmlns:a16="http://schemas.microsoft.com/office/drawing/2014/main" id="{2169B4F6-A1C5-4461-8549-95A8D130D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" y="1163"/>
              <a:ext cx="120" cy="146"/>
            </a:xfrm>
            <a:custGeom>
              <a:avLst/>
              <a:gdLst>
                <a:gd name="T0" fmla="*/ 11 w 47"/>
                <a:gd name="T1" fmla="*/ 13 h 57"/>
                <a:gd name="T2" fmla="*/ 16 w 47"/>
                <a:gd name="T3" fmla="*/ 13 h 57"/>
                <a:gd name="T4" fmla="*/ 21 w 47"/>
                <a:gd name="T5" fmla="*/ 13 h 57"/>
                <a:gd name="T6" fmla="*/ 11 w 47"/>
                <a:gd name="T7" fmla="*/ 17 h 57"/>
                <a:gd name="T8" fmla="*/ 11 w 47"/>
                <a:gd name="T9" fmla="*/ 13 h 57"/>
                <a:gd name="T10" fmla="*/ 20 w 47"/>
                <a:gd name="T11" fmla="*/ 4 h 57"/>
                <a:gd name="T12" fmla="*/ 27 w 47"/>
                <a:gd name="T13" fmla="*/ 4 h 57"/>
                <a:gd name="T14" fmla="*/ 27 w 47"/>
                <a:gd name="T15" fmla="*/ 10 h 57"/>
                <a:gd name="T16" fmla="*/ 20 w 47"/>
                <a:gd name="T17" fmla="*/ 10 h 57"/>
                <a:gd name="T18" fmla="*/ 20 w 47"/>
                <a:gd name="T19" fmla="*/ 4 h 57"/>
                <a:gd name="T20" fmla="*/ 35 w 47"/>
                <a:gd name="T21" fmla="*/ 13 h 57"/>
                <a:gd name="T22" fmla="*/ 35 w 47"/>
                <a:gd name="T23" fmla="*/ 17 h 57"/>
                <a:gd name="T24" fmla="*/ 25 w 47"/>
                <a:gd name="T25" fmla="*/ 13 h 57"/>
                <a:gd name="T26" fmla="*/ 30 w 47"/>
                <a:gd name="T27" fmla="*/ 13 h 57"/>
                <a:gd name="T28" fmla="*/ 35 w 47"/>
                <a:gd name="T29" fmla="*/ 13 h 57"/>
                <a:gd name="T30" fmla="*/ 37 w 47"/>
                <a:gd name="T31" fmla="*/ 30 h 57"/>
                <a:gd name="T32" fmla="*/ 37 w 47"/>
                <a:gd name="T33" fmla="*/ 48 h 57"/>
                <a:gd name="T34" fmla="*/ 32 w 47"/>
                <a:gd name="T35" fmla="*/ 51 h 57"/>
                <a:gd name="T36" fmla="*/ 28 w 47"/>
                <a:gd name="T37" fmla="*/ 53 h 57"/>
                <a:gd name="T38" fmla="*/ 25 w 47"/>
                <a:gd name="T39" fmla="*/ 51 h 57"/>
                <a:gd name="T40" fmla="*/ 18 w 47"/>
                <a:gd name="T41" fmla="*/ 48 h 57"/>
                <a:gd name="T42" fmla="*/ 12 w 47"/>
                <a:gd name="T43" fmla="*/ 51 h 57"/>
                <a:gd name="T44" fmla="*/ 9 w 47"/>
                <a:gd name="T45" fmla="*/ 53 h 57"/>
                <a:gd name="T46" fmla="*/ 9 w 47"/>
                <a:gd name="T47" fmla="*/ 30 h 57"/>
                <a:gd name="T48" fmla="*/ 5 w 47"/>
                <a:gd name="T49" fmla="*/ 24 h 57"/>
                <a:gd name="T50" fmla="*/ 21 w 47"/>
                <a:gd name="T51" fmla="*/ 17 h 57"/>
                <a:gd name="T52" fmla="*/ 21 w 47"/>
                <a:gd name="T53" fmla="*/ 31 h 57"/>
                <a:gd name="T54" fmla="*/ 25 w 47"/>
                <a:gd name="T55" fmla="*/ 31 h 57"/>
                <a:gd name="T56" fmla="*/ 25 w 47"/>
                <a:gd name="T57" fmla="*/ 17 h 57"/>
                <a:gd name="T58" fmla="*/ 42 w 47"/>
                <a:gd name="T59" fmla="*/ 24 h 57"/>
                <a:gd name="T60" fmla="*/ 37 w 47"/>
                <a:gd name="T61" fmla="*/ 30 h 57"/>
                <a:gd name="T62" fmla="*/ 6 w 47"/>
                <a:gd name="T63" fmla="*/ 31 h 57"/>
                <a:gd name="T64" fmla="*/ 6 w 47"/>
                <a:gd name="T65" fmla="*/ 56 h 57"/>
                <a:gd name="T66" fmla="*/ 7 w 47"/>
                <a:gd name="T67" fmla="*/ 57 h 57"/>
                <a:gd name="T68" fmla="*/ 8 w 47"/>
                <a:gd name="T69" fmla="*/ 57 h 57"/>
                <a:gd name="T70" fmla="*/ 14 w 47"/>
                <a:gd name="T71" fmla="*/ 54 h 57"/>
                <a:gd name="T72" fmla="*/ 18 w 47"/>
                <a:gd name="T73" fmla="*/ 52 h 57"/>
                <a:gd name="T74" fmla="*/ 22 w 47"/>
                <a:gd name="T75" fmla="*/ 54 h 57"/>
                <a:gd name="T76" fmla="*/ 28 w 47"/>
                <a:gd name="T77" fmla="*/ 57 h 57"/>
                <a:gd name="T78" fmla="*/ 35 w 47"/>
                <a:gd name="T79" fmla="*/ 54 h 57"/>
                <a:gd name="T80" fmla="*/ 39 w 47"/>
                <a:gd name="T81" fmla="*/ 52 h 57"/>
                <a:gd name="T82" fmla="*/ 41 w 47"/>
                <a:gd name="T83" fmla="*/ 52 h 57"/>
                <a:gd name="T84" fmla="*/ 41 w 47"/>
                <a:gd name="T85" fmla="*/ 31 h 57"/>
                <a:gd name="T86" fmla="*/ 47 w 47"/>
                <a:gd name="T87" fmla="*/ 22 h 57"/>
                <a:gd name="T88" fmla="*/ 38 w 47"/>
                <a:gd name="T89" fmla="*/ 19 h 57"/>
                <a:gd name="T90" fmla="*/ 38 w 47"/>
                <a:gd name="T91" fmla="*/ 10 h 57"/>
                <a:gd name="T92" fmla="*/ 30 w 47"/>
                <a:gd name="T93" fmla="*/ 10 h 57"/>
                <a:gd name="T94" fmla="*/ 30 w 47"/>
                <a:gd name="T95" fmla="*/ 0 h 57"/>
                <a:gd name="T96" fmla="*/ 16 w 47"/>
                <a:gd name="T97" fmla="*/ 0 h 57"/>
                <a:gd name="T98" fmla="*/ 16 w 47"/>
                <a:gd name="T99" fmla="*/ 10 h 57"/>
                <a:gd name="T100" fmla="*/ 8 w 47"/>
                <a:gd name="T101" fmla="*/ 10 h 57"/>
                <a:gd name="T102" fmla="*/ 8 w 47"/>
                <a:gd name="T103" fmla="*/ 19 h 57"/>
                <a:gd name="T104" fmla="*/ 0 w 47"/>
                <a:gd name="T105" fmla="*/ 22 h 57"/>
                <a:gd name="T106" fmla="*/ 6 w 47"/>
                <a:gd name="T107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" h="57">
                  <a:moveTo>
                    <a:pt x="11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1" y="17"/>
                    <a:pt x="11" y="17"/>
                    <a:pt x="11" y="17"/>
                  </a:cubicBezTo>
                  <a:lnTo>
                    <a:pt x="11" y="13"/>
                  </a:lnTo>
                  <a:close/>
                  <a:moveTo>
                    <a:pt x="20" y="4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0" y="10"/>
                    <a:pt x="20" y="10"/>
                    <a:pt x="20" y="10"/>
                  </a:cubicBezTo>
                  <a:lnTo>
                    <a:pt x="20" y="4"/>
                  </a:lnTo>
                  <a:close/>
                  <a:moveTo>
                    <a:pt x="35" y="13"/>
                  </a:moveTo>
                  <a:cubicBezTo>
                    <a:pt x="35" y="17"/>
                    <a:pt x="35" y="17"/>
                    <a:pt x="35" y="17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0" y="13"/>
                    <a:pt x="30" y="13"/>
                    <a:pt x="30" y="13"/>
                  </a:cubicBezTo>
                  <a:lnTo>
                    <a:pt x="35" y="13"/>
                  </a:lnTo>
                  <a:close/>
                  <a:moveTo>
                    <a:pt x="37" y="30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35" y="49"/>
                    <a:pt x="33" y="51"/>
                    <a:pt x="32" y="51"/>
                  </a:cubicBezTo>
                  <a:cubicBezTo>
                    <a:pt x="32" y="52"/>
                    <a:pt x="30" y="53"/>
                    <a:pt x="28" y="53"/>
                  </a:cubicBezTo>
                  <a:cubicBezTo>
                    <a:pt x="27" y="53"/>
                    <a:pt x="25" y="52"/>
                    <a:pt x="25" y="51"/>
                  </a:cubicBezTo>
                  <a:cubicBezTo>
                    <a:pt x="24" y="51"/>
                    <a:pt x="21" y="48"/>
                    <a:pt x="18" y="48"/>
                  </a:cubicBezTo>
                  <a:cubicBezTo>
                    <a:pt x="15" y="48"/>
                    <a:pt x="12" y="51"/>
                    <a:pt x="12" y="51"/>
                  </a:cubicBezTo>
                  <a:cubicBezTo>
                    <a:pt x="12" y="52"/>
                    <a:pt x="10" y="53"/>
                    <a:pt x="9" y="53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42" y="24"/>
                    <a:pt x="42" y="24"/>
                    <a:pt x="42" y="24"/>
                  </a:cubicBezTo>
                  <a:lnTo>
                    <a:pt x="37" y="30"/>
                  </a:lnTo>
                  <a:close/>
                  <a:moveTo>
                    <a:pt x="6" y="31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7"/>
                    <a:pt x="8" y="57"/>
                    <a:pt x="8" y="57"/>
                  </a:cubicBezTo>
                  <a:cubicBezTo>
                    <a:pt x="11" y="57"/>
                    <a:pt x="14" y="54"/>
                    <a:pt x="14" y="54"/>
                  </a:cubicBezTo>
                  <a:cubicBezTo>
                    <a:pt x="15" y="53"/>
                    <a:pt x="17" y="52"/>
                    <a:pt x="18" y="52"/>
                  </a:cubicBezTo>
                  <a:cubicBezTo>
                    <a:pt x="20" y="52"/>
                    <a:pt x="22" y="53"/>
                    <a:pt x="22" y="54"/>
                  </a:cubicBezTo>
                  <a:cubicBezTo>
                    <a:pt x="22" y="54"/>
                    <a:pt x="25" y="57"/>
                    <a:pt x="28" y="57"/>
                  </a:cubicBezTo>
                  <a:cubicBezTo>
                    <a:pt x="32" y="57"/>
                    <a:pt x="34" y="54"/>
                    <a:pt x="35" y="54"/>
                  </a:cubicBezTo>
                  <a:cubicBezTo>
                    <a:pt x="35" y="53"/>
                    <a:pt x="37" y="52"/>
                    <a:pt x="39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1" name="Group 130">
            <a:extLst>
              <a:ext uri="{FF2B5EF4-FFF2-40B4-BE49-F238E27FC236}">
                <a16:creationId xmlns:a16="http://schemas.microsoft.com/office/drawing/2014/main" id="{DA51922A-9475-475C-B3E4-3C72B399AD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2847975"/>
            <a:ext cx="841375" cy="841375"/>
            <a:chOff x="225" y="1794"/>
            <a:chExt cx="530" cy="530"/>
          </a:xfrm>
        </p:grpSpPr>
        <p:sp>
          <p:nvSpPr>
            <p:cNvPr id="152" name="AutoShape 129">
              <a:extLst>
                <a:ext uri="{FF2B5EF4-FFF2-40B4-BE49-F238E27FC236}">
                  <a16:creationId xmlns:a16="http://schemas.microsoft.com/office/drawing/2014/main" id="{BE517A6E-9963-4271-922B-B7CED45381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17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131">
              <a:extLst>
                <a:ext uri="{FF2B5EF4-FFF2-40B4-BE49-F238E27FC236}">
                  <a16:creationId xmlns:a16="http://schemas.microsoft.com/office/drawing/2014/main" id="{F1E780F7-A6EA-4670-8753-4F38B5DBA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17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2">
              <a:extLst>
                <a:ext uri="{FF2B5EF4-FFF2-40B4-BE49-F238E27FC236}">
                  <a16:creationId xmlns:a16="http://schemas.microsoft.com/office/drawing/2014/main" id="{159E8E29-739F-497D-95C6-303DCEA6F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18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3">
              <a:extLst>
                <a:ext uri="{FF2B5EF4-FFF2-40B4-BE49-F238E27FC236}">
                  <a16:creationId xmlns:a16="http://schemas.microsoft.com/office/drawing/2014/main" id="{2AB0AFF1-5865-462A-B26C-F3EB5B68F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" y="1924"/>
              <a:ext cx="251" cy="308"/>
            </a:xfrm>
            <a:custGeom>
              <a:avLst/>
              <a:gdLst>
                <a:gd name="T0" fmla="*/ 70 w 98"/>
                <a:gd name="T1" fmla="*/ 14 h 120"/>
                <a:gd name="T2" fmla="*/ 18 w 98"/>
                <a:gd name="T3" fmla="*/ 20 h 120"/>
                <a:gd name="T4" fmla="*/ 9 w 98"/>
                <a:gd name="T5" fmla="*/ 34 h 120"/>
                <a:gd name="T6" fmla="*/ 8 w 98"/>
                <a:gd name="T7" fmla="*/ 50 h 120"/>
                <a:gd name="T8" fmla="*/ 9 w 98"/>
                <a:gd name="T9" fmla="*/ 52 h 120"/>
                <a:gd name="T10" fmla="*/ 9 w 98"/>
                <a:gd name="T11" fmla="*/ 52 h 120"/>
                <a:gd name="T12" fmla="*/ 7 w 98"/>
                <a:gd name="T13" fmla="*/ 62 h 120"/>
                <a:gd name="T14" fmla="*/ 1 w 98"/>
                <a:gd name="T15" fmla="*/ 70 h 120"/>
                <a:gd name="T16" fmla="*/ 1 w 98"/>
                <a:gd name="T17" fmla="*/ 71 h 120"/>
                <a:gd name="T18" fmla="*/ 1 w 98"/>
                <a:gd name="T19" fmla="*/ 75 h 120"/>
                <a:gd name="T20" fmla="*/ 5 w 98"/>
                <a:gd name="T21" fmla="*/ 78 h 120"/>
                <a:gd name="T22" fmla="*/ 5 w 98"/>
                <a:gd name="T23" fmla="*/ 78 h 120"/>
                <a:gd name="T24" fmla="*/ 6 w 98"/>
                <a:gd name="T25" fmla="*/ 78 h 120"/>
                <a:gd name="T26" fmla="*/ 5 w 98"/>
                <a:gd name="T27" fmla="*/ 80 h 120"/>
                <a:gd name="T28" fmla="*/ 7 w 98"/>
                <a:gd name="T29" fmla="*/ 82 h 120"/>
                <a:gd name="T30" fmla="*/ 7 w 98"/>
                <a:gd name="T31" fmla="*/ 85 h 120"/>
                <a:gd name="T32" fmla="*/ 9 w 98"/>
                <a:gd name="T33" fmla="*/ 87 h 120"/>
                <a:gd name="T34" fmla="*/ 11 w 98"/>
                <a:gd name="T35" fmla="*/ 98 h 120"/>
                <a:gd name="T36" fmla="*/ 17 w 98"/>
                <a:gd name="T37" fmla="*/ 100 h 120"/>
                <a:gd name="T38" fmla="*/ 18 w 98"/>
                <a:gd name="T39" fmla="*/ 100 h 120"/>
                <a:gd name="T40" fmla="*/ 24 w 98"/>
                <a:gd name="T41" fmla="*/ 100 h 120"/>
                <a:gd name="T42" fmla="*/ 32 w 98"/>
                <a:gd name="T43" fmla="*/ 106 h 120"/>
                <a:gd name="T44" fmla="*/ 33 w 98"/>
                <a:gd name="T45" fmla="*/ 118 h 120"/>
                <a:gd name="T46" fmla="*/ 35 w 98"/>
                <a:gd name="T47" fmla="*/ 120 h 120"/>
                <a:gd name="T48" fmla="*/ 37 w 98"/>
                <a:gd name="T49" fmla="*/ 118 h 120"/>
                <a:gd name="T50" fmla="*/ 36 w 98"/>
                <a:gd name="T51" fmla="*/ 105 h 120"/>
                <a:gd name="T52" fmla="*/ 24 w 98"/>
                <a:gd name="T53" fmla="*/ 96 h 120"/>
                <a:gd name="T54" fmla="*/ 17 w 98"/>
                <a:gd name="T55" fmla="*/ 97 h 120"/>
                <a:gd name="T56" fmla="*/ 17 w 98"/>
                <a:gd name="T57" fmla="*/ 97 h 120"/>
                <a:gd name="T58" fmla="*/ 14 w 98"/>
                <a:gd name="T59" fmla="*/ 95 h 120"/>
                <a:gd name="T60" fmla="*/ 13 w 98"/>
                <a:gd name="T61" fmla="*/ 87 h 120"/>
                <a:gd name="T62" fmla="*/ 11 w 98"/>
                <a:gd name="T63" fmla="*/ 84 h 120"/>
                <a:gd name="T64" fmla="*/ 10 w 98"/>
                <a:gd name="T65" fmla="*/ 84 h 120"/>
                <a:gd name="T66" fmla="*/ 10 w 98"/>
                <a:gd name="T67" fmla="*/ 83 h 120"/>
                <a:gd name="T68" fmla="*/ 10 w 98"/>
                <a:gd name="T69" fmla="*/ 81 h 120"/>
                <a:gd name="T70" fmla="*/ 9 w 98"/>
                <a:gd name="T71" fmla="*/ 79 h 120"/>
                <a:gd name="T72" fmla="*/ 9 w 98"/>
                <a:gd name="T73" fmla="*/ 79 h 120"/>
                <a:gd name="T74" fmla="*/ 9 w 98"/>
                <a:gd name="T75" fmla="*/ 79 h 120"/>
                <a:gd name="T76" fmla="*/ 10 w 98"/>
                <a:gd name="T77" fmla="*/ 77 h 120"/>
                <a:gd name="T78" fmla="*/ 8 w 98"/>
                <a:gd name="T79" fmla="*/ 75 h 120"/>
                <a:gd name="T80" fmla="*/ 5 w 98"/>
                <a:gd name="T81" fmla="*/ 74 h 120"/>
                <a:gd name="T82" fmla="*/ 4 w 98"/>
                <a:gd name="T83" fmla="*/ 73 h 120"/>
                <a:gd name="T84" fmla="*/ 4 w 98"/>
                <a:gd name="T85" fmla="*/ 72 h 120"/>
                <a:gd name="T86" fmla="*/ 10 w 98"/>
                <a:gd name="T87" fmla="*/ 64 h 120"/>
                <a:gd name="T88" fmla="*/ 12 w 98"/>
                <a:gd name="T89" fmla="*/ 52 h 120"/>
                <a:gd name="T90" fmla="*/ 12 w 98"/>
                <a:gd name="T91" fmla="*/ 52 h 120"/>
                <a:gd name="T92" fmla="*/ 12 w 98"/>
                <a:gd name="T93" fmla="*/ 50 h 120"/>
                <a:gd name="T94" fmla="*/ 13 w 98"/>
                <a:gd name="T95" fmla="*/ 35 h 120"/>
                <a:gd name="T96" fmla="*/ 21 w 98"/>
                <a:gd name="T97" fmla="*/ 22 h 120"/>
                <a:gd name="T98" fmla="*/ 68 w 98"/>
                <a:gd name="T99" fmla="*/ 18 h 120"/>
                <a:gd name="T100" fmla="*/ 86 w 98"/>
                <a:gd name="T101" fmla="*/ 63 h 120"/>
                <a:gd name="T102" fmla="*/ 81 w 98"/>
                <a:gd name="T103" fmla="*/ 73 h 120"/>
                <a:gd name="T104" fmla="*/ 74 w 98"/>
                <a:gd name="T105" fmla="*/ 92 h 120"/>
                <a:gd name="T106" fmla="*/ 74 w 98"/>
                <a:gd name="T107" fmla="*/ 118 h 120"/>
                <a:gd name="T108" fmla="*/ 76 w 98"/>
                <a:gd name="T109" fmla="*/ 120 h 120"/>
                <a:gd name="T110" fmla="*/ 78 w 98"/>
                <a:gd name="T111" fmla="*/ 118 h 120"/>
                <a:gd name="T112" fmla="*/ 78 w 98"/>
                <a:gd name="T113" fmla="*/ 92 h 120"/>
                <a:gd name="T114" fmla="*/ 84 w 98"/>
                <a:gd name="T115" fmla="*/ 75 h 120"/>
                <a:gd name="T116" fmla="*/ 90 w 98"/>
                <a:gd name="T117" fmla="*/ 64 h 120"/>
                <a:gd name="T118" fmla="*/ 70 w 98"/>
                <a:gd name="T119" fmla="*/ 1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8" h="120">
                  <a:moveTo>
                    <a:pt x="70" y="14"/>
                  </a:moveTo>
                  <a:cubicBezTo>
                    <a:pt x="70" y="14"/>
                    <a:pt x="40" y="0"/>
                    <a:pt x="18" y="20"/>
                  </a:cubicBezTo>
                  <a:cubicBezTo>
                    <a:pt x="14" y="24"/>
                    <a:pt x="11" y="29"/>
                    <a:pt x="9" y="34"/>
                  </a:cubicBezTo>
                  <a:cubicBezTo>
                    <a:pt x="8" y="39"/>
                    <a:pt x="8" y="45"/>
                    <a:pt x="8" y="50"/>
                  </a:cubicBezTo>
                  <a:cubicBezTo>
                    <a:pt x="8" y="51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4"/>
                    <a:pt x="9" y="58"/>
                    <a:pt x="7" y="62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0" y="73"/>
                    <a:pt x="1" y="75"/>
                  </a:cubicBezTo>
                  <a:cubicBezTo>
                    <a:pt x="1" y="76"/>
                    <a:pt x="2" y="77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6" y="78"/>
                  </a:cubicBezTo>
                  <a:cubicBezTo>
                    <a:pt x="5" y="79"/>
                    <a:pt x="5" y="79"/>
                    <a:pt x="5" y="80"/>
                  </a:cubicBezTo>
                  <a:cubicBezTo>
                    <a:pt x="5" y="81"/>
                    <a:pt x="6" y="81"/>
                    <a:pt x="7" y="82"/>
                  </a:cubicBezTo>
                  <a:cubicBezTo>
                    <a:pt x="6" y="83"/>
                    <a:pt x="7" y="84"/>
                    <a:pt x="7" y="85"/>
                  </a:cubicBezTo>
                  <a:cubicBezTo>
                    <a:pt x="7" y="86"/>
                    <a:pt x="8" y="87"/>
                    <a:pt x="9" y="87"/>
                  </a:cubicBezTo>
                  <a:cubicBezTo>
                    <a:pt x="9" y="90"/>
                    <a:pt x="8" y="95"/>
                    <a:pt x="11" y="98"/>
                  </a:cubicBezTo>
                  <a:cubicBezTo>
                    <a:pt x="12" y="99"/>
                    <a:pt x="15" y="100"/>
                    <a:pt x="17" y="100"/>
                  </a:cubicBezTo>
                  <a:cubicBezTo>
                    <a:pt x="17" y="100"/>
                    <a:pt x="18" y="100"/>
                    <a:pt x="18" y="100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8" y="99"/>
                    <a:pt x="32" y="102"/>
                    <a:pt x="32" y="106"/>
                  </a:cubicBezTo>
                  <a:cubicBezTo>
                    <a:pt x="33" y="109"/>
                    <a:pt x="33" y="113"/>
                    <a:pt x="33" y="118"/>
                  </a:cubicBezTo>
                  <a:cubicBezTo>
                    <a:pt x="33" y="119"/>
                    <a:pt x="34" y="120"/>
                    <a:pt x="35" y="120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3"/>
                    <a:pt x="36" y="109"/>
                    <a:pt x="36" y="105"/>
                  </a:cubicBezTo>
                  <a:cubicBezTo>
                    <a:pt x="35" y="100"/>
                    <a:pt x="30" y="96"/>
                    <a:pt x="24" y="96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4" y="96"/>
                    <a:pt x="14" y="95"/>
                  </a:cubicBezTo>
                  <a:cubicBezTo>
                    <a:pt x="12" y="93"/>
                    <a:pt x="12" y="89"/>
                    <a:pt x="13" y="87"/>
                  </a:cubicBezTo>
                  <a:cubicBezTo>
                    <a:pt x="13" y="86"/>
                    <a:pt x="12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3"/>
                    <a:pt x="10" y="83"/>
                  </a:cubicBezTo>
                  <a:cubicBezTo>
                    <a:pt x="11" y="83"/>
                    <a:pt x="11" y="82"/>
                    <a:pt x="10" y="81"/>
                  </a:cubicBezTo>
                  <a:cubicBezTo>
                    <a:pt x="10" y="80"/>
                    <a:pt x="10" y="80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10" y="78"/>
                    <a:pt x="10" y="78"/>
                    <a:pt x="10" y="77"/>
                  </a:cubicBezTo>
                  <a:cubicBezTo>
                    <a:pt x="9" y="76"/>
                    <a:pt x="9" y="75"/>
                    <a:pt x="8" y="75"/>
                  </a:cubicBezTo>
                  <a:cubicBezTo>
                    <a:pt x="7" y="74"/>
                    <a:pt x="6" y="74"/>
                    <a:pt x="5" y="74"/>
                  </a:cubicBezTo>
                  <a:cubicBezTo>
                    <a:pt x="5" y="74"/>
                    <a:pt x="4" y="74"/>
                    <a:pt x="4" y="73"/>
                  </a:cubicBezTo>
                  <a:cubicBezTo>
                    <a:pt x="4" y="73"/>
                    <a:pt x="4" y="73"/>
                    <a:pt x="4" y="72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3" y="59"/>
                    <a:pt x="12" y="54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2" y="50"/>
                    <a:pt x="12" y="50"/>
                  </a:cubicBezTo>
                  <a:cubicBezTo>
                    <a:pt x="11" y="45"/>
                    <a:pt x="11" y="40"/>
                    <a:pt x="13" y="35"/>
                  </a:cubicBezTo>
                  <a:cubicBezTo>
                    <a:pt x="14" y="30"/>
                    <a:pt x="17" y="26"/>
                    <a:pt x="21" y="22"/>
                  </a:cubicBezTo>
                  <a:cubicBezTo>
                    <a:pt x="41" y="4"/>
                    <a:pt x="68" y="17"/>
                    <a:pt x="68" y="18"/>
                  </a:cubicBezTo>
                  <a:cubicBezTo>
                    <a:pt x="94" y="31"/>
                    <a:pt x="89" y="54"/>
                    <a:pt x="86" y="63"/>
                  </a:cubicBezTo>
                  <a:cubicBezTo>
                    <a:pt x="85" y="67"/>
                    <a:pt x="83" y="70"/>
                    <a:pt x="81" y="73"/>
                  </a:cubicBezTo>
                  <a:cubicBezTo>
                    <a:pt x="74" y="82"/>
                    <a:pt x="74" y="92"/>
                    <a:pt x="74" y="92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4" y="119"/>
                    <a:pt x="75" y="120"/>
                    <a:pt x="76" y="120"/>
                  </a:cubicBezTo>
                  <a:cubicBezTo>
                    <a:pt x="77" y="120"/>
                    <a:pt x="78" y="119"/>
                    <a:pt x="78" y="118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8" y="92"/>
                    <a:pt x="78" y="83"/>
                    <a:pt x="84" y="75"/>
                  </a:cubicBezTo>
                  <a:cubicBezTo>
                    <a:pt x="86" y="72"/>
                    <a:pt x="88" y="68"/>
                    <a:pt x="90" y="64"/>
                  </a:cubicBezTo>
                  <a:cubicBezTo>
                    <a:pt x="92" y="56"/>
                    <a:pt x="98" y="30"/>
                    <a:pt x="70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4">
              <a:extLst>
                <a:ext uri="{FF2B5EF4-FFF2-40B4-BE49-F238E27FC236}">
                  <a16:creationId xmlns:a16="http://schemas.microsoft.com/office/drawing/2014/main" id="{71AE548C-30D9-4952-976F-6148A7EBF6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" y="1976"/>
              <a:ext cx="146" cy="148"/>
            </a:xfrm>
            <a:custGeom>
              <a:avLst/>
              <a:gdLst>
                <a:gd name="T0" fmla="*/ 50 w 57"/>
                <a:gd name="T1" fmla="*/ 36 h 58"/>
                <a:gd name="T2" fmla="*/ 47 w 57"/>
                <a:gd name="T3" fmla="*/ 44 h 58"/>
                <a:gd name="T4" fmla="*/ 43 w 57"/>
                <a:gd name="T5" fmla="*/ 50 h 58"/>
                <a:gd name="T6" fmla="*/ 39 w 57"/>
                <a:gd name="T7" fmla="*/ 43 h 58"/>
                <a:gd name="T8" fmla="*/ 44 w 57"/>
                <a:gd name="T9" fmla="*/ 42 h 58"/>
                <a:gd name="T10" fmla="*/ 34 w 57"/>
                <a:gd name="T11" fmla="*/ 45 h 58"/>
                <a:gd name="T12" fmla="*/ 30 w 57"/>
                <a:gd name="T13" fmla="*/ 53 h 58"/>
                <a:gd name="T14" fmla="*/ 23 w 57"/>
                <a:gd name="T15" fmla="*/ 54 h 58"/>
                <a:gd name="T16" fmla="*/ 18 w 57"/>
                <a:gd name="T17" fmla="*/ 50 h 58"/>
                <a:gd name="T18" fmla="*/ 26 w 57"/>
                <a:gd name="T19" fmla="*/ 42 h 58"/>
                <a:gd name="T20" fmla="*/ 28 w 57"/>
                <a:gd name="T21" fmla="*/ 49 h 58"/>
                <a:gd name="T22" fmla="*/ 29 w 57"/>
                <a:gd name="T23" fmla="*/ 41 h 58"/>
                <a:gd name="T24" fmla="*/ 44 w 57"/>
                <a:gd name="T25" fmla="*/ 34 h 58"/>
                <a:gd name="T26" fmla="*/ 52 w 57"/>
                <a:gd name="T27" fmla="*/ 28 h 58"/>
                <a:gd name="T28" fmla="*/ 7 w 57"/>
                <a:gd name="T29" fmla="*/ 38 h 58"/>
                <a:gd name="T30" fmla="*/ 3 w 57"/>
                <a:gd name="T31" fmla="*/ 32 h 58"/>
                <a:gd name="T32" fmla="*/ 6 w 57"/>
                <a:gd name="T33" fmla="*/ 25 h 58"/>
                <a:gd name="T34" fmla="*/ 9 w 57"/>
                <a:gd name="T35" fmla="*/ 18 h 58"/>
                <a:gd name="T36" fmla="*/ 14 w 57"/>
                <a:gd name="T37" fmla="*/ 11 h 58"/>
                <a:gd name="T38" fmla="*/ 18 w 57"/>
                <a:gd name="T39" fmla="*/ 6 h 58"/>
                <a:gd name="T40" fmla="*/ 28 w 57"/>
                <a:gd name="T41" fmla="*/ 17 h 58"/>
                <a:gd name="T42" fmla="*/ 20 w 57"/>
                <a:gd name="T43" fmla="*/ 14 h 58"/>
                <a:gd name="T44" fmla="*/ 23 w 57"/>
                <a:gd name="T45" fmla="*/ 22 h 58"/>
                <a:gd name="T46" fmla="*/ 18 w 57"/>
                <a:gd name="T47" fmla="*/ 27 h 58"/>
                <a:gd name="T48" fmla="*/ 11 w 57"/>
                <a:gd name="T49" fmla="*/ 25 h 58"/>
                <a:gd name="T50" fmla="*/ 13 w 57"/>
                <a:gd name="T51" fmla="*/ 34 h 58"/>
                <a:gd name="T52" fmla="*/ 20 w 57"/>
                <a:gd name="T53" fmla="*/ 30 h 58"/>
                <a:gd name="T54" fmla="*/ 24 w 57"/>
                <a:gd name="T55" fmla="*/ 28 h 58"/>
                <a:gd name="T56" fmla="*/ 26 w 57"/>
                <a:gd name="T57" fmla="*/ 39 h 58"/>
                <a:gd name="T58" fmla="*/ 29 w 57"/>
                <a:gd name="T59" fmla="*/ 4 h 58"/>
                <a:gd name="T60" fmla="*/ 35 w 57"/>
                <a:gd name="T61" fmla="*/ 7 h 58"/>
                <a:gd name="T62" fmla="*/ 36 w 57"/>
                <a:gd name="T63" fmla="*/ 15 h 58"/>
                <a:gd name="T64" fmla="*/ 25 w 57"/>
                <a:gd name="T65" fmla="*/ 6 h 58"/>
                <a:gd name="T66" fmla="*/ 36 w 57"/>
                <a:gd name="T67" fmla="*/ 30 h 58"/>
                <a:gd name="T68" fmla="*/ 26 w 57"/>
                <a:gd name="T69" fmla="*/ 25 h 58"/>
                <a:gd name="T70" fmla="*/ 31 w 57"/>
                <a:gd name="T71" fmla="*/ 19 h 58"/>
                <a:gd name="T72" fmla="*/ 44 w 57"/>
                <a:gd name="T73" fmla="*/ 11 h 58"/>
                <a:gd name="T74" fmla="*/ 53 w 57"/>
                <a:gd name="T75" fmla="*/ 21 h 58"/>
                <a:gd name="T76" fmla="*/ 39 w 57"/>
                <a:gd name="T77" fmla="*/ 30 h 58"/>
                <a:gd name="T78" fmla="*/ 53 w 57"/>
                <a:gd name="T79" fmla="*/ 21 h 58"/>
                <a:gd name="T80" fmla="*/ 55 w 57"/>
                <a:gd name="T81" fmla="*/ 26 h 58"/>
                <a:gd name="T82" fmla="*/ 50 w 57"/>
                <a:gd name="T83" fmla="*/ 10 h 58"/>
                <a:gd name="T84" fmla="*/ 34 w 57"/>
                <a:gd name="T85" fmla="*/ 3 h 58"/>
                <a:gd name="T86" fmla="*/ 17 w 57"/>
                <a:gd name="T87" fmla="*/ 3 h 58"/>
                <a:gd name="T88" fmla="*/ 5 w 57"/>
                <a:gd name="T89" fmla="*/ 16 h 58"/>
                <a:gd name="T90" fmla="*/ 0 w 57"/>
                <a:gd name="T91" fmla="*/ 32 h 58"/>
                <a:gd name="T92" fmla="*/ 9 w 57"/>
                <a:gd name="T93" fmla="*/ 47 h 58"/>
                <a:gd name="T94" fmla="*/ 23 w 57"/>
                <a:gd name="T95" fmla="*/ 57 h 58"/>
                <a:gd name="T96" fmla="*/ 35 w 57"/>
                <a:gd name="T97" fmla="*/ 57 h 58"/>
                <a:gd name="T98" fmla="*/ 48 w 57"/>
                <a:gd name="T99" fmla="*/ 4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58">
                  <a:moveTo>
                    <a:pt x="54" y="32"/>
                  </a:moveTo>
                  <a:cubicBezTo>
                    <a:pt x="54" y="33"/>
                    <a:pt x="53" y="35"/>
                    <a:pt x="51" y="35"/>
                  </a:cubicBezTo>
                  <a:cubicBezTo>
                    <a:pt x="51" y="35"/>
                    <a:pt x="50" y="36"/>
                    <a:pt x="50" y="36"/>
                  </a:cubicBezTo>
                  <a:cubicBezTo>
                    <a:pt x="50" y="37"/>
                    <a:pt x="50" y="37"/>
                    <a:pt x="50" y="38"/>
                  </a:cubicBezTo>
                  <a:cubicBezTo>
                    <a:pt x="51" y="39"/>
                    <a:pt x="51" y="41"/>
                    <a:pt x="51" y="42"/>
                  </a:cubicBezTo>
                  <a:cubicBezTo>
                    <a:pt x="50" y="43"/>
                    <a:pt x="48" y="44"/>
                    <a:pt x="47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7"/>
                    <a:pt x="45" y="49"/>
                    <a:pt x="43" y="50"/>
                  </a:cubicBezTo>
                  <a:cubicBezTo>
                    <a:pt x="42" y="51"/>
                    <a:pt x="41" y="51"/>
                    <a:pt x="39" y="50"/>
                  </a:cubicBezTo>
                  <a:cubicBezTo>
                    <a:pt x="39" y="50"/>
                    <a:pt x="37" y="48"/>
                    <a:pt x="37" y="45"/>
                  </a:cubicBezTo>
                  <a:cubicBezTo>
                    <a:pt x="37" y="44"/>
                    <a:pt x="38" y="43"/>
                    <a:pt x="39" y="43"/>
                  </a:cubicBezTo>
                  <a:cubicBezTo>
                    <a:pt x="40" y="42"/>
                    <a:pt x="41" y="42"/>
                    <a:pt x="41" y="43"/>
                  </a:cubicBezTo>
                  <a:cubicBezTo>
                    <a:pt x="41" y="43"/>
                    <a:pt x="42" y="43"/>
                    <a:pt x="42" y="43"/>
                  </a:cubicBezTo>
                  <a:cubicBezTo>
                    <a:pt x="42" y="43"/>
                    <a:pt x="43" y="43"/>
                    <a:pt x="44" y="42"/>
                  </a:cubicBezTo>
                  <a:cubicBezTo>
                    <a:pt x="44" y="41"/>
                    <a:pt x="44" y="40"/>
                    <a:pt x="43" y="40"/>
                  </a:cubicBezTo>
                  <a:cubicBezTo>
                    <a:pt x="41" y="39"/>
                    <a:pt x="39" y="38"/>
                    <a:pt x="37" y="40"/>
                  </a:cubicBezTo>
                  <a:cubicBezTo>
                    <a:pt x="35" y="41"/>
                    <a:pt x="34" y="43"/>
                    <a:pt x="34" y="45"/>
                  </a:cubicBezTo>
                  <a:cubicBezTo>
                    <a:pt x="34" y="49"/>
                    <a:pt x="35" y="51"/>
                    <a:pt x="36" y="52"/>
                  </a:cubicBezTo>
                  <a:cubicBezTo>
                    <a:pt x="36" y="53"/>
                    <a:pt x="35" y="54"/>
                    <a:pt x="34" y="54"/>
                  </a:cubicBezTo>
                  <a:cubicBezTo>
                    <a:pt x="32" y="54"/>
                    <a:pt x="31" y="54"/>
                    <a:pt x="30" y="53"/>
                  </a:cubicBezTo>
                  <a:cubicBezTo>
                    <a:pt x="30" y="52"/>
                    <a:pt x="29" y="52"/>
                    <a:pt x="29" y="52"/>
                  </a:cubicBezTo>
                  <a:cubicBezTo>
                    <a:pt x="28" y="52"/>
                    <a:pt x="27" y="52"/>
                    <a:pt x="27" y="53"/>
                  </a:cubicBezTo>
                  <a:cubicBezTo>
                    <a:pt x="26" y="54"/>
                    <a:pt x="25" y="54"/>
                    <a:pt x="23" y="54"/>
                  </a:cubicBezTo>
                  <a:cubicBezTo>
                    <a:pt x="22" y="54"/>
                    <a:pt x="21" y="53"/>
                    <a:pt x="20" y="51"/>
                  </a:cubicBezTo>
                  <a:cubicBezTo>
                    <a:pt x="20" y="51"/>
                    <a:pt x="20" y="50"/>
                    <a:pt x="19" y="50"/>
                  </a:cubicBezTo>
                  <a:cubicBezTo>
                    <a:pt x="19" y="50"/>
                    <a:pt x="18" y="50"/>
                    <a:pt x="18" y="50"/>
                  </a:cubicBezTo>
                  <a:cubicBezTo>
                    <a:pt x="16" y="51"/>
                    <a:pt x="15" y="51"/>
                    <a:pt x="14" y="50"/>
                  </a:cubicBezTo>
                  <a:cubicBezTo>
                    <a:pt x="13" y="49"/>
                    <a:pt x="12" y="48"/>
                    <a:pt x="12" y="46"/>
                  </a:cubicBezTo>
                  <a:cubicBezTo>
                    <a:pt x="13" y="45"/>
                    <a:pt x="18" y="40"/>
                    <a:pt x="26" y="42"/>
                  </a:cubicBezTo>
                  <a:cubicBezTo>
                    <a:pt x="25" y="44"/>
                    <a:pt x="26" y="46"/>
                    <a:pt x="26" y="48"/>
                  </a:cubicBezTo>
                  <a:cubicBezTo>
                    <a:pt x="27" y="48"/>
                    <a:pt x="27" y="49"/>
                    <a:pt x="28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9" y="48"/>
                    <a:pt x="30" y="47"/>
                    <a:pt x="30" y="46"/>
                  </a:cubicBezTo>
                  <a:cubicBezTo>
                    <a:pt x="29" y="45"/>
                    <a:pt x="29" y="43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40"/>
                    <a:pt x="30" y="38"/>
                    <a:pt x="31" y="37"/>
                  </a:cubicBezTo>
                  <a:cubicBezTo>
                    <a:pt x="32" y="36"/>
                    <a:pt x="33" y="35"/>
                    <a:pt x="34" y="35"/>
                  </a:cubicBezTo>
                  <a:cubicBezTo>
                    <a:pt x="39" y="32"/>
                    <a:pt x="44" y="34"/>
                    <a:pt x="44" y="34"/>
                  </a:cubicBezTo>
                  <a:cubicBezTo>
                    <a:pt x="45" y="35"/>
                    <a:pt x="45" y="35"/>
                    <a:pt x="46" y="35"/>
                  </a:cubicBezTo>
                  <a:cubicBezTo>
                    <a:pt x="46" y="34"/>
                    <a:pt x="47" y="34"/>
                    <a:pt x="47" y="33"/>
                  </a:cubicBezTo>
                  <a:cubicBezTo>
                    <a:pt x="48" y="29"/>
                    <a:pt x="51" y="28"/>
                    <a:pt x="52" y="28"/>
                  </a:cubicBezTo>
                  <a:cubicBezTo>
                    <a:pt x="53" y="29"/>
                    <a:pt x="54" y="31"/>
                    <a:pt x="54" y="32"/>
                  </a:cubicBezTo>
                  <a:moveTo>
                    <a:pt x="7" y="42"/>
                  </a:moveTo>
                  <a:cubicBezTo>
                    <a:pt x="6" y="41"/>
                    <a:pt x="6" y="39"/>
                    <a:pt x="7" y="38"/>
                  </a:cubicBezTo>
                  <a:cubicBezTo>
                    <a:pt x="7" y="37"/>
                    <a:pt x="7" y="37"/>
                    <a:pt x="7" y="36"/>
                  </a:cubicBezTo>
                  <a:cubicBezTo>
                    <a:pt x="7" y="36"/>
                    <a:pt x="6" y="35"/>
                    <a:pt x="6" y="35"/>
                  </a:cubicBezTo>
                  <a:cubicBezTo>
                    <a:pt x="4" y="35"/>
                    <a:pt x="3" y="33"/>
                    <a:pt x="3" y="32"/>
                  </a:cubicBezTo>
                  <a:cubicBezTo>
                    <a:pt x="3" y="30"/>
                    <a:pt x="4" y="29"/>
                    <a:pt x="5" y="28"/>
                  </a:cubicBezTo>
                  <a:cubicBezTo>
                    <a:pt x="6" y="28"/>
                    <a:pt x="6" y="27"/>
                    <a:pt x="6" y="27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4" y="24"/>
                    <a:pt x="4" y="23"/>
                    <a:pt x="4" y="21"/>
                  </a:cubicBezTo>
                  <a:cubicBezTo>
                    <a:pt x="5" y="20"/>
                    <a:pt x="6" y="19"/>
                    <a:pt x="8" y="19"/>
                  </a:cubicBezTo>
                  <a:cubicBezTo>
                    <a:pt x="8" y="19"/>
                    <a:pt x="9" y="18"/>
                    <a:pt x="9" y="18"/>
                  </a:cubicBezTo>
                  <a:cubicBezTo>
                    <a:pt x="9" y="17"/>
                    <a:pt x="9" y="17"/>
                    <a:pt x="9" y="16"/>
                  </a:cubicBezTo>
                  <a:cubicBezTo>
                    <a:pt x="8" y="15"/>
                    <a:pt x="9" y="13"/>
                    <a:pt x="10" y="12"/>
                  </a:cubicBezTo>
                  <a:cubicBezTo>
                    <a:pt x="11" y="11"/>
                    <a:pt x="12" y="11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6" y="8"/>
                    <a:pt x="17" y="7"/>
                    <a:pt x="18" y="6"/>
                  </a:cubicBezTo>
                  <a:cubicBezTo>
                    <a:pt x="19" y="6"/>
                    <a:pt x="21" y="6"/>
                    <a:pt x="22" y="6"/>
                  </a:cubicBezTo>
                  <a:cubicBezTo>
                    <a:pt x="22" y="9"/>
                    <a:pt x="24" y="11"/>
                    <a:pt x="26" y="13"/>
                  </a:cubicBezTo>
                  <a:cubicBezTo>
                    <a:pt x="28" y="14"/>
                    <a:pt x="28" y="15"/>
                    <a:pt x="28" y="17"/>
                  </a:cubicBezTo>
                  <a:cubicBezTo>
                    <a:pt x="28" y="18"/>
                    <a:pt x="27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4" y="19"/>
                    <a:pt x="21" y="17"/>
                    <a:pt x="20" y="14"/>
                  </a:cubicBezTo>
                  <a:cubicBezTo>
                    <a:pt x="19" y="13"/>
                    <a:pt x="18" y="12"/>
                    <a:pt x="17" y="13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8" y="19"/>
                    <a:pt x="21" y="21"/>
                    <a:pt x="23" y="22"/>
                  </a:cubicBezTo>
                  <a:cubicBezTo>
                    <a:pt x="23" y="23"/>
                    <a:pt x="23" y="23"/>
                    <a:pt x="23" y="24"/>
                  </a:cubicBezTo>
                  <a:cubicBezTo>
                    <a:pt x="22" y="25"/>
                    <a:pt x="22" y="26"/>
                    <a:pt x="20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6"/>
                    <a:pt x="16" y="25"/>
                    <a:pt x="14" y="23"/>
                  </a:cubicBezTo>
                  <a:cubicBezTo>
                    <a:pt x="13" y="22"/>
                    <a:pt x="12" y="22"/>
                    <a:pt x="12" y="23"/>
                  </a:cubicBezTo>
                  <a:cubicBezTo>
                    <a:pt x="11" y="23"/>
                    <a:pt x="11" y="25"/>
                    <a:pt x="11" y="25"/>
                  </a:cubicBezTo>
                  <a:cubicBezTo>
                    <a:pt x="13" y="27"/>
                    <a:pt x="15" y="29"/>
                    <a:pt x="16" y="29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2"/>
                    <a:pt x="15" y="34"/>
                    <a:pt x="13" y="34"/>
                  </a:cubicBezTo>
                  <a:cubicBezTo>
                    <a:pt x="12" y="34"/>
                    <a:pt x="12" y="35"/>
                    <a:pt x="12" y="36"/>
                  </a:cubicBezTo>
                  <a:cubicBezTo>
                    <a:pt x="12" y="37"/>
                    <a:pt x="12" y="37"/>
                    <a:pt x="13" y="37"/>
                  </a:cubicBezTo>
                  <a:cubicBezTo>
                    <a:pt x="17" y="37"/>
                    <a:pt x="20" y="34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0"/>
                    <a:pt x="21" y="30"/>
                    <a:pt x="22" y="30"/>
                  </a:cubicBezTo>
                  <a:cubicBezTo>
                    <a:pt x="23" y="29"/>
                    <a:pt x="23" y="29"/>
                    <a:pt x="24" y="28"/>
                  </a:cubicBezTo>
                  <a:cubicBezTo>
                    <a:pt x="25" y="29"/>
                    <a:pt x="28" y="30"/>
                    <a:pt x="29" y="34"/>
                  </a:cubicBezTo>
                  <a:cubicBezTo>
                    <a:pt x="29" y="34"/>
                    <a:pt x="29" y="35"/>
                    <a:pt x="28" y="35"/>
                  </a:cubicBezTo>
                  <a:cubicBezTo>
                    <a:pt x="28" y="36"/>
                    <a:pt x="27" y="37"/>
                    <a:pt x="26" y="39"/>
                  </a:cubicBezTo>
                  <a:cubicBezTo>
                    <a:pt x="18" y="37"/>
                    <a:pt x="12" y="42"/>
                    <a:pt x="10" y="44"/>
                  </a:cubicBezTo>
                  <a:cubicBezTo>
                    <a:pt x="8" y="44"/>
                    <a:pt x="7" y="43"/>
                    <a:pt x="7" y="42"/>
                  </a:cubicBezTo>
                  <a:moveTo>
                    <a:pt x="29" y="4"/>
                  </a:moveTo>
                  <a:cubicBezTo>
                    <a:pt x="30" y="4"/>
                    <a:pt x="31" y="5"/>
                    <a:pt x="32" y="6"/>
                  </a:cubicBezTo>
                  <a:cubicBezTo>
                    <a:pt x="32" y="7"/>
                    <a:pt x="33" y="7"/>
                    <a:pt x="33" y="7"/>
                  </a:cubicBezTo>
                  <a:cubicBezTo>
                    <a:pt x="34" y="7"/>
                    <a:pt x="34" y="7"/>
                    <a:pt x="35" y="7"/>
                  </a:cubicBezTo>
                  <a:cubicBezTo>
                    <a:pt x="36" y="6"/>
                    <a:pt x="38" y="5"/>
                    <a:pt x="39" y="6"/>
                  </a:cubicBezTo>
                  <a:cubicBezTo>
                    <a:pt x="40" y="7"/>
                    <a:pt x="41" y="8"/>
                    <a:pt x="41" y="9"/>
                  </a:cubicBezTo>
                  <a:cubicBezTo>
                    <a:pt x="41" y="10"/>
                    <a:pt x="39" y="14"/>
                    <a:pt x="36" y="15"/>
                  </a:cubicBezTo>
                  <a:cubicBezTo>
                    <a:pt x="35" y="16"/>
                    <a:pt x="33" y="16"/>
                    <a:pt x="32" y="16"/>
                  </a:cubicBezTo>
                  <a:cubicBezTo>
                    <a:pt x="32" y="13"/>
                    <a:pt x="30" y="11"/>
                    <a:pt x="28" y="10"/>
                  </a:cubicBezTo>
                  <a:cubicBezTo>
                    <a:pt x="27" y="9"/>
                    <a:pt x="25" y="7"/>
                    <a:pt x="25" y="6"/>
                  </a:cubicBezTo>
                  <a:cubicBezTo>
                    <a:pt x="26" y="5"/>
                    <a:pt x="27" y="4"/>
                    <a:pt x="29" y="4"/>
                  </a:cubicBezTo>
                  <a:moveTo>
                    <a:pt x="48" y="15"/>
                  </a:moveTo>
                  <a:cubicBezTo>
                    <a:pt x="44" y="17"/>
                    <a:pt x="36" y="21"/>
                    <a:pt x="36" y="30"/>
                  </a:cubicBezTo>
                  <a:cubicBezTo>
                    <a:pt x="34" y="30"/>
                    <a:pt x="33" y="31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28"/>
                    <a:pt x="28" y="26"/>
                    <a:pt x="26" y="25"/>
                  </a:cubicBezTo>
                  <a:cubicBezTo>
                    <a:pt x="26" y="25"/>
                    <a:pt x="26" y="25"/>
                    <a:pt x="26" y="24"/>
                  </a:cubicBezTo>
                  <a:cubicBezTo>
                    <a:pt x="26" y="24"/>
                    <a:pt x="26" y="23"/>
                    <a:pt x="26" y="23"/>
                  </a:cubicBezTo>
                  <a:cubicBezTo>
                    <a:pt x="28" y="22"/>
                    <a:pt x="30" y="21"/>
                    <a:pt x="31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5" y="19"/>
                    <a:pt x="37" y="19"/>
                    <a:pt x="38" y="18"/>
                  </a:cubicBezTo>
                  <a:cubicBezTo>
                    <a:pt x="42" y="16"/>
                    <a:pt x="43" y="13"/>
                    <a:pt x="44" y="11"/>
                  </a:cubicBezTo>
                  <a:cubicBezTo>
                    <a:pt x="45" y="11"/>
                    <a:pt x="47" y="11"/>
                    <a:pt x="47" y="12"/>
                  </a:cubicBezTo>
                  <a:cubicBezTo>
                    <a:pt x="48" y="13"/>
                    <a:pt x="49" y="14"/>
                    <a:pt x="48" y="15"/>
                  </a:cubicBezTo>
                  <a:moveTo>
                    <a:pt x="53" y="21"/>
                  </a:moveTo>
                  <a:cubicBezTo>
                    <a:pt x="53" y="23"/>
                    <a:pt x="53" y="24"/>
                    <a:pt x="52" y="25"/>
                  </a:cubicBezTo>
                  <a:cubicBezTo>
                    <a:pt x="50" y="25"/>
                    <a:pt x="46" y="26"/>
                    <a:pt x="44" y="31"/>
                  </a:cubicBezTo>
                  <a:cubicBezTo>
                    <a:pt x="43" y="30"/>
                    <a:pt x="41" y="30"/>
                    <a:pt x="39" y="30"/>
                  </a:cubicBezTo>
                  <a:cubicBezTo>
                    <a:pt x="40" y="22"/>
                    <a:pt x="47" y="19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9"/>
                    <a:pt x="52" y="20"/>
                    <a:pt x="53" y="21"/>
                  </a:cubicBezTo>
                  <a:moveTo>
                    <a:pt x="54" y="38"/>
                  </a:moveTo>
                  <a:cubicBezTo>
                    <a:pt x="56" y="36"/>
                    <a:pt x="57" y="34"/>
                    <a:pt x="57" y="32"/>
                  </a:cubicBezTo>
                  <a:cubicBezTo>
                    <a:pt x="57" y="30"/>
                    <a:pt x="57" y="28"/>
                    <a:pt x="55" y="26"/>
                  </a:cubicBezTo>
                  <a:cubicBezTo>
                    <a:pt x="56" y="25"/>
                    <a:pt x="57" y="22"/>
                    <a:pt x="56" y="20"/>
                  </a:cubicBezTo>
                  <a:cubicBezTo>
                    <a:pt x="55" y="18"/>
                    <a:pt x="54" y="17"/>
                    <a:pt x="52" y="16"/>
                  </a:cubicBezTo>
                  <a:cubicBezTo>
                    <a:pt x="52" y="14"/>
                    <a:pt x="51" y="12"/>
                    <a:pt x="50" y="10"/>
                  </a:cubicBezTo>
                  <a:cubicBezTo>
                    <a:pt x="49" y="8"/>
                    <a:pt x="46" y="7"/>
                    <a:pt x="44" y="8"/>
                  </a:cubicBezTo>
                  <a:cubicBezTo>
                    <a:pt x="44" y="6"/>
                    <a:pt x="42" y="4"/>
                    <a:pt x="40" y="3"/>
                  </a:cubicBezTo>
                  <a:cubicBezTo>
                    <a:pt x="38" y="2"/>
                    <a:pt x="36" y="2"/>
                    <a:pt x="34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6" y="0"/>
                    <a:pt x="24" y="1"/>
                    <a:pt x="23" y="3"/>
                  </a:cubicBezTo>
                  <a:cubicBezTo>
                    <a:pt x="21" y="2"/>
                    <a:pt x="19" y="2"/>
                    <a:pt x="17" y="3"/>
                  </a:cubicBezTo>
                  <a:cubicBezTo>
                    <a:pt x="15" y="4"/>
                    <a:pt x="13" y="6"/>
                    <a:pt x="13" y="8"/>
                  </a:cubicBezTo>
                  <a:cubicBezTo>
                    <a:pt x="11" y="7"/>
                    <a:pt x="9" y="8"/>
                    <a:pt x="7" y="10"/>
                  </a:cubicBezTo>
                  <a:cubicBezTo>
                    <a:pt x="6" y="12"/>
                    <a:pt x="5" y="14"/>
                    <a:pt x="5" y="16"/>
                  </a:cubicBezTo>
                  <a:cubicBezTo>
                    <a:pt x="3" y="17"/>
                    <a:pt x="2" y="18"/>
                    <a:pt x="1" y="20"/>
                  </a:cubicBezTo>
                  <a:cubicBezTo>
                    <a:pt x="0" y="22"/>
                    <a:pt x="1" y="25"/>
                    <a:pt x="2" y="26"/>
                  </a:cubicBezTo>
                  <a:cubicBezTo>
                    <a:pt x="0" y="28"/>
                    <a:pt x="0" y="30"/>
                    <a:pt x="0" y="32"/>
                  </a:cubicBezTo>
                  <a:cubicBezTo>
                    <a:pt x="0" y="34"/>
                    <a:pt x="1" y="36"/>
                    <a:pt x="3" y="38"/>
                  </a:cubicBezTo>
                  <a:cubicBezTo>
                    <a:pt x="2" y="40"/>
                    <a:pt x="2" y="42"/>
                    <a:pt x="4" y="44"/>
                  </a:cubicBezTo>
                  <a:cubicBezTo>
                    <a:pt x="5" y="46"/>
                    <a:pt x="7" y="47"/>
                    <a:pt x="9" y="47"/>
                  </a:cubicBezTo>
                  <a:cubicBezTo>
                    <a:pt x="9" y="49"/>
                    <a:pt x="10" y="51"/>
                    <a:pt x="12" y="53"/>
                  </a:cubicBezTo>
                  <a:cubicBezTo>
                    <a:pt x="13" y="54"/>
                    <a:pt x="16" y="54"/>
                    <a:pt x="18" y="54"/>
                  </a:cubicBezTo>
                  <a:cubicBezTo>
                    <a:pt x="19" y="56"/>
                    <a:pt x="20" y="57"/>
                    <a:pt x="23" y="57"/>
                  </a:cubicBezTo>
                  <a:cubicBezTo>
                    <a:pt x="25" y="58"/>
                    <a:pt x="27" y="57"/>
                    <a:pt x="29" y="56"/>
                  </a:cubicBezTo>
                  <a:cubicBezTo>
                    <a:pt x="30" y="57"/>
                    <a:pt x="31" y="58"/>
                    <a:pt x="33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7" y="57"/>
                    <a:pt x="38" y="56"/>
                    <a:pt x="39" y="54"/>
                  </a:cubicBezTo>
                  <a:cubicBezTo>
                    <a:pt x="42" y="54"/>
                    <a:pt x="44" y="54"/>
                    <a:pt x="46" y="53"/>
                  </a:cubicBezTo>
                  <a:cubicBezTo>
                    <a:pt x="47" y="51"/>
                    <a:pt x="48" y="49"/>
                    <a:pt x="48" y="47"/>
                  </a:cubicBezTo>
                  <a:cubicBezTo>
                    <a:pt x="51" y="47"/>
                    <a:pt x="52" y="46"/>
                    <a:pt x="54" y="44"/>
                  </a:cubicBezTo>
                  <a:cubicBezTo>
                    <a:pt x="55" y="42"/>
                    <a:pt x="55" y="40"/>
                    <a:pt x="54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5">
              <a:extLst>
                <a:ext uri="{FF2B5EF4-FFF2-40B4-BE49-F238E27FC236}">
                  <a16:creationId xmlns:a16="http://schemas.microsoft.com/office/drawing/2014/main" id="{90FA9C5A-C14F-4581-8F20-D682B144B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" y="1889"/>
              <a:ext cx="10" cy="38"/>
            </a:xfrm>
            <a:custGeom>
              <a:avLst/>
              <a:gdLst>
                <a:gd name="T0" fmla="*/ 2 w 4"/>
                <a:gd name="T1" fmla="*/ 15 h 15"/>
                <a:gd name="T2" fmla="*/ 4 w 4"/>
                <a:gd name="T3" fmla="*/ 14 h 15"/>
                <a:gd name="T4" fmla="*/ 4 w 4"/>
                <a:gd name="T5" fmla="*/ 2 h 15"/>
                <a:gd name="T6" fmla="*/ 2 w 4"/>
                <a:gd name="T7" fmla="*/ 0 h 15"/>
                <a:gd name="T8" fmla="*/ 0 w 4"/>
                <a:gd name="T9" fmla="*/ 2 h 15"/>
                <a:gd name="T10" fmla="*/ 0 w 4"/>
                <a:gd name="T11" fmla="*/ 14 h 15"/>
                <a:gd name="T12" fmla="*/ 2 w 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2" y="15"/>
                  </a:moveTo>
                  <a:cubicBezTo>
                    <a:pt x="3" y="15"/>
                    <a:pt x="4" y="14"/>
                    <a:pt x="4" y="1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15"/>
                    <a:pt x="2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6">
              <a:extLst>
                <a:ext uri="{FF2B5EF4-FFF2-40B4-BE49-F238E27FC236}">
                  <a16:creationId xmlns:a16="http://schemas.microsoft.com/office/drawing/2014/main" id="{A6DE6741-C342-4F0B-A212-58AA916B1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" y="1894"/>
              <a:ext cx="23" cy="41"/>
            </a:xfrm>
            <a:custGeom>
              <a:avLst/>
              <a:gdLst>
                <a:gd name="T0" fmla="*/ 5 w 9"/>
                <a:gd name="T1" fmla="*/ 15 h 16"/>
                <a:gd name="T2" fmla="*/ 7 w 9"/>
                <a:gd name="T3" fmla="*/ 16 h 16"/>
                <a:gd name="T4" fmla="*/ 7 w 9"/>
                <a:gd name="T5" fmla="*/ 16 h 16"/>
                <a:gd name="T6" fmla="*/ 8 w 9"/>
                <a:gd name="T7" fmla="*/ 14 h 16"/>
                <a:gd name="T8" fmla="*/ 4 w 9"/>
                <a:gd name="T9" fmla="*/ 2 h 16"/>
                <a:gd name="T10" fmla="*/ 2 w 9"/>
                <a:gd name="T11" fmla="*/ 1 h 16"/>
                <a:gd name="T12" fmla="*/ 1 w 9"/>
                <a:gd name="T13" fmla="*/ 3 h 16"/>
                <a:gd name="T14" fmla="*/ 5 w 9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6">
                  <a:moveTo>
                    <a:pt x="5" y="15"/>
                  </a:moveTo>
                  <a:cubicBezTo>
                    <a:pt x="5" y="16"/>
                    <a:pt x="6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9" y="15"/>
                    <a:pt x="8" y="1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0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lnTo>
                    <a:pt x="5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7">
              <a:extLst>
                <a:ext uri="{FF2B5EF4-FFF2-40B4-BE49-F238E27FC236}">
                  <a16:creationId xmlns:a16="http://schemas.microsoft.com/office/drawing/2014/main" id="{6C7986B2-D60F-4197-BFBB-BACA433FA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1919"/>
              <a:ext cx="30" cy="36"/>
            </a:xfrm>
            <a:custGeom>
              <a:avLst/>
              <a:gdLst>
                <a:gd name="T0" fmla="*/ 9 w 12"/>
                <a:gd name="T1" fmla="*/ 13 h 14"/>
                <a:gd name="T2" fmla="*/ 10 w 12"/>
                <a:gd name="T3" fmla="*/ 14 h 14"/>
                <a:gd name="T4" fmla="*/ 11 w 12"/>
                <a:gd name="T5" fmla="*/ 13 h 14"/>
                <a:gd name="T6" fmla="*/ 12 w 12"/>
                <a:gd name="T7" fmla="*/ 11 h 14"/>
                <a:gd name="T8" fmla="*/ 4 w 12"/>
                <a:gd name="T9" fmla="*/ 1 h 14"/>
                <a:gd name="T10" fmla="*/ 1 w 12"/>
                <a:gd name="T11" fmla="*/ 1 h 14"/>
                <a:gd name="T12" fmla="*/ 1 w 12"/>
                <a:gd name="T13" fmla="*/ 3 h 14"/>
                <a:gd name="T14" fmla="*/ 9 w 12"/>
                <a:gd name="T1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9" y="13"/>
                  </a:moveTo>
                  <a:cubicBezTo>
                    <a:pt x="9" y="13"/>
                    <a:pt x="10" y="14"/>
                    <a:pt x="10" y="14"/>
                  </a:cubicBezTo>
                  <a:cubicBezTo>
                    <a:pt x="11" y="14"/>
                    <a:pt x="11" y="13"/>
                    <a:pt x="11" y="13"/>
                  </a:cubicBezTo>
                  <a:cubicBezTo>
                    <a:pt x="12" y="13"/>
                    <a:pt x="12" y="11"/>
                    <a:pt x="12" y="1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lnTo>
                    <a:pt x="9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8">
              <a:extLst>
                <a:ext uri="{FF2B5EF4-FFF2-40B4-BE49-F238E27FC236}">
                  <a16:creationId xmlns:a16="http://schemas.microsoft.com/office/drawing/2014/main" id="{9FE59F67-847D-4A24-A40A-7FD650724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" y="1953"/>
              <a:ext cx="39" cy="28"/>
            </a:xfrm>
            <a:custGeom>
              <a:avLst/>
              <a:gdLst>
                <a:gd name="T0" fmla="*/ 13 w 15"/>
                <a:gd name="T1" fmla="*/ 11 h 11"/>
                <a:gd name="T2" fmla="*/ 15 w 15"/>
                <a:gd name="T3" fmla="*/ 10 h 11"/>
                <a:gd name="T4" fmla="*/ 14 w 15"/>
                <a:gd name="T5" fmla="*/ 7 h 11"/>
                <a:gd name="T6" fmla="*/ 3 w 15"/>
                <a:gd name="T7" fmla="*/ 1 h 11"/>
                <a:gd name="T8" fmla="*/ 1 w 15"/>
                <a:gd name="T9" fmla="*/ 2 h 11"/>
                <a:gd name="T10" fmla="*/ 1 w 15"/>
                <a:gd name="T11" fmla="*/ 4 h 11"/>
                <a:gd name="T12" fmla="*/ 13 w 15"/>
                <a:gd name="T13" fmla="*/ 10 h 11"/>
                <a:gd name="T14" fmla="*/ 13 w 15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3" y="11"/>
                  </a:moveTo>
                  <a:cubicBezTo>
                    <a:pt x="14" y="11"/>
                    <a:pt x="15" y="10"/>
                    <a:pt x="15" y="10"/>
                  </a:cubicBezTo>
                  <a:cubicBezTo>
                    <a:pt x="15" y="9"/>
                    <a:pt x="15" y="8"/>
                    <a:pt x="14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9">
              <a:extLst>
                <a:ext uri="{FF2B5EF4-FFF2-40B4-BE49-F238E27FC236}">
                  <a16:creationId xmlns:a16="http://schemas.microsoft.com/office/drawing/2014/main" id="{27E287C8-CBFB-47E2-B232-C554BB6FA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" y="1963"/>
              <a:ext cx="36" cy="23"/>
            </a:xfrm>
            <a:custGeom>
              <a:avLst/>
              <a:gdLst>
                <a:gd name="T0" fmla="*/ 13 w 14"/>
                <a:gd name="T1" fmla="*/ 1 h 9"/>
                <a:gd name="T2" fmla="*/ 11 w 14"/>
                <a:gd name="T3" fmla="*/ 0 h 9"/>
                <a:gd name="T4" fmla="*/ 1 w 14"/>
                <a:gd name="T5" fmla="*/ 6 h 9"/>
                <a:gd name="T6" fmla="*/ 1 w 14"/>
                <a:gd name="T7" fmla="*/ 8 h 9"/>
                <a:gd name="T8" fmla="*/ 2 w 14"/>
                <a:gd name="T9" fmla="*/ 9 h 9"/>
                <a:gd name="T10" fmla="*/ 3 w 14"/>
                <a:gd name="T11" fmla="*/ 9 h 9"/>
                <a:gd name="T12" fmla="*/ 13 w 14"/>
                <a:gd name="T13" fmla="*/ 3 h 9"/>
                <a:gd name="T14" fmla="*/ 13 w 14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13" y="1"/>
                  </a:moveTo>
                  <a:cubicBezTo>
                    <a:pt x="13" y="0"/>
                    <a:pt x="12" y="0"/>
                    <a:pt x="11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8"/>
                    <a:pt x="1" y="8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2"/>
                    <a:pt x="1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0">
              <a:extLst>
                <a:ext uri="{FF2B5EF4-FFF2-40B4-BE49-F238E27FC236}">
                  <a16:creationId xmlns:a16="http://schemas.microsoft.com/office/drawing/2014/main" id="{D5EA245B-FE66-497B-8C72-6D68EB019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" y="1924"/>
              <a:ext cx="28" cy="34"/>
            </a:xfrm>
            <a:custGeom>
              <a:avLst/>
              <a:gdLst>
                <a:gd name="T0" fmla="*/ 2 w 11"/>
                <a:gd name="T1" fmla="*/ 13 h 13"/>
                <a:gd name="T2" fmla="*/ 3 w 11"/>
                <a:gd name="T3" fmla="*/ 12 h 13"/>
                <a:gd name="T4" fmla="*/ 11 w 11"/>
                <a:gd name="T5" fmla="*/ 3 h 13"/>
                <a:gd name="T6" fmla="*/ 10 w 11"/>
                <a:gd name="T7" fmla="*/ 0 h 13"/>
                <a:gd name="T8" fmla="*/ 8 w 11"/>
                <a:gd name="T9" fmla="*/ 0 h 13"/>
                <a:gd name="T10" fmla="*/ 0 w 11"/>
                <a:gd name="T11" fmla="*/ 10 h 13"/>
                <a:gd name="T12" fmla="*/ 0 w 11"/>
                <a:gd name="T13" fmla="*/ 12 h 13"/>
                <a:gd name="T14" fmla="*/ 2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2" y="13"/>
                  </a:moveTo>
                  <a:cubicBezTo>
                    <a:pt x="2" y="13"/>
                    <a:pt x="3" y="12"/>
                    <a:pt x="3" y="1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2"/>
                    <a:pt x="0" y="12"/>
                  </a:cubicBezTo>
                  <a:cubicBezTo>
                    <a:pt x="1" y="12"/>
                    <a:pt x="1" y="13"/>
                    <a:pt x="2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41">
              <a:extLst>
                <a:ext uri="{FF2B5EF4-FFF2-40B4-BE49-F238E27FC236}">
                  <a16:creationId xmlns:a16="http://schemas.microsoft.com/office/drawing/2014/main" id="{39C5C154-97A3-437E-B73C-D5CA94B01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896"/>
              <a:ext cx="23" cy="41"/>
            </a:xfrm>
            <a:custGeom>
              <a:avLst/>
              <a:gdLst>
                <a:gd name="T0" fmla="*/ 2 w 9"/>
                <a:gd name="T1" fmla="*/ 16 h 16"/>
                <a:gd name="T2" fmla="*/ 2 w 9"/>
                <a:gd name="T3" fmla="*/ 16 h 16"/>
                <a:gd name="T4" fmla="*/ 4 w 9"/>
                <a:gd name="T5" fmla="*/ 15 h 16"/>
                <a:gd name="T6" fmla="*/ 8 w 9"/>
                <a:gd name="T7" fmla="*/ 3 h 16"/>
                <a:gd name="T8" fmla="*/ 7 w 9"/>
                <a:gd name="T9" fmla="*/ 1 h 16"/>
                <a:gd name="T10" fmla="*/ 5 w 9"/>
                <a:gd name="T11" fmla="*/ 2 h 16"/>
                <a:gd name="T12" fmla="*/ 1 w 9"/>
                <a:gd name="T13" fmla="*/ 14 h 16"/>
                <a:gd name="T14" fmla="*/ 2 w 9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6"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8" y="1"/>
                    <a:pt x="7" y="1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1" y="16"/>
                    <a:pt x="2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4" name="Group 144">
            <a:extLst>
              <a:ext uri="{FF2B5EF4-FFF2-40B4-BE49-F238E27FC236}">
                <a16:creationId xmlns:a16="http://schemas.microsoft.com/office/drawing/2014/main" id="{041269CE-7D9A-4F51-9854-57AFCD3B4D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0975" y="2889250"/>
            <a:ext cx="758825" cy="758825"/>
            <a:chOff x="914" y="1820"/>
            <a:chExt cx="478" cy="478"/>
          </a:xfrm>
        </p:grpSpPr>
        <p:sp>
          <p:nvSpPr>
            <p:cNvPr id="165" name="AutoShape 143">
              <a:extLst>
                <a:ext uri="{FF2B5EF4-FFF2-40B4-BE49-F238E27FC236}">
                  <a16:creationId xmlns:a16="http://schemas.microsoft.com/office/drawing/2014/main" id="{4B07B44E-026B-4015-8CA0-A1148D0CA6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4" y="182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5">
              <a:extLst>
                <a:ext uri="{FF2B5EF4-FFF2-40B4-BE49-F238E27FC236}">
                  <a16:creationId xmlns:a16="http://schemas.microsoft.com/office/drawing/2014/main" id="{935B4B3A-1F66-4FA7-9D67-282CBB88C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" y="182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6">
              <a:extLst>
                <a:ext uri="{FF2B5EF4-FFF2-40B4-BE49-F238E27FC236}">
                  <a16:creationId xmlns:a16="http://schemas.microsoft.com/office/drawing/2014/main" id="{6DABA231-C498-450B-A7EB-909BB3A8A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1930"/>
              <a:ext cx="240" cy="294"/>
            </a:xfrm>
            <a:custGeom>
              <a:avLst/>
              <a:gdLst>
                <a:gd name="T0" fmla="*/ 70 w 98"/>
                <a:gd name="T1" fmla="*/ 14 h 120"/>
                <a:gd name="T2" fmla="*/ 18 w 98"/>
                <a:gd name="T3" fmla="*/ 20 h 120"/>
                <a:gd name="T4" fmla="*/ 9 w 98"/>
                <a:gd name="T5" fmla="*/ 34 h 120"/>
                <a:gd name="T6" fmla="*/ 8 w 98"/>
                <a:gd name="T7" fmla="*/ 50 h 120"/>
                <a:gd name="T8" fmla="*/ 9 w 98"/>
                <a:gd name="T9" fmla="*/ 52 h 120"/>
                <a:gd name="T10" fmla="*/ 9 w 98"/>
                <a:gd name="T11" fmla="*/ 52 h 120"/>
                <a:gd name="T12" fmla="*/ 7 w 98"/>
                <a:gd name="T13" fmla="*/ 62 h 120"/>
                <a:gd name="T14" fmla="*/ 1 w 98"/>
                <a:gd name="T15" fmla="*/ 70 h 120"/>
                <a:gd name="T16" fmla="*/ 1 w 98"/>
                <a:gd name="T17" fmla="*/ 71 h 120"/>
                <a:gd name="T18" fmla="*/ 1 w 98"/>
                <a:gd name="T19" fmla="*/ 75 h 120"/>
                <a:gd name="T20" fmla="*/ 5 w 98"/>
                <a:gd name="T21" fmla="*/ 78 h 120"/>
                <a:gd name="T22" fmla="*/ 5 w 98"/>
                <a:gd name="T23" fmla="*/ 78 h 120"/>
                <a:gd name="T24" fmla="*/ 6 w 98"/>
                <a:gd name="T25" fmla="*/ 78 h 120"/>
                <a:gd name="T26" fmla="*/ 5 w 98"/>
                <a:gd name="T27" fmla="*/ 80 h 120"/>
                <a:gd name="T28" fmla="*/ 7 w 98"/>
                <a:gd name="T29" fmla="*/ 82 h 120"/>
                <a:gd name="T30" fmla="*/ 7 w 98"/>
                <a:gd name="T31" fmla="*/ 85 h 120"/>
                <a:gd name="T32" fmla="*/ 9 w 98"/>
                <a:gd name="T33" fmla="*/ 87 h 120"/>
                <a:gd name="T34" fmla="*/ 11 w 98"/>
                <a:gd name="T35" fmla="*/ 98 h 120"/>
                <a:gd name="T36" fmla="*/ 17 w 98"/>
                <a:gd name="T37" fmla="*/ 100 h 120"/>
                <a:gd name="T38" fmla="*/ 18 w 98"/>
                <a:gd name="T39" fmla="*/ 100 h 120"/>
                <a:gd name="T40" fmla="*/ 24 w 98"/>
                <a:gd name="T41" fmla="*/ 100 h 120"/>
                <a:gd name="T42" fmla="*/ 32 w 98"/>
                <a:gd name="T43" fmla="*/ 106 h 120"/>
                <a:gd name="T44" fmla="*/ 33 w 98"/>
                <a:gd name="T45" fmla="*/ 118 h 120"/>
                <a:gd name="T46" fmla="*/ 35 w 98"/>
                <a:gd name="T47" fmla="*/ 120 h 120"/>
                <a:gd name="T48" fmla="*/ 37 w 98"/>
                <a:gd name="T49" fmla="*/ 118 h 120"/>
                <a:gd name="T50" fmla="*/ 36 w 98"/>
                <a:gd name="T51" fmla="*/ 105 h 120"/>
                <a:gd name="T52" fmla="*/ 24 w 98"/>
                <a:gd name="T53" fmla="*/ 96 h 120"/>
                <a:gd name="T54" fmla="*/ 17 w 98"/>
                <a:gd name="T55" fmla="*/ 97 h 120"/>
                <a:gd name="T56" fmla="*/ 17 w 98"/>
                <a:gd name="T57" fmla="*/ 97 h 120"/>
                <a:gd name="T58" fmla="*/ 14 w 98"/>
                <a:gd name="T59" fmla="*/ 95 h 120"/>
                <a:gd name="T60" fmla="*/ 13 w 98"/>
                <a:gd name="T61" fmla="*/ 87 h 120"/>
                <a:gd name="T62" fmla="*/ 11 w 98"/>
                <a:gd name="T63" fmla="*/ 84 h 120"/>
                <a:gd name="T64" fmla="*/ 10 w 98"/>
                <a:gd name="T65" fmla="*/ 84 h 120"/>
                <a:gd name="T66" fmla="*/ 10 w 98"/>
                <a:gd name="T67" fmla="*/ 83 h 120"/>
                <a:gd name="T68" fmla="*/ 10 w 98"/>
                <a:gd name="T69" fmla="*/ 81 h 120"/>
                <a:gd name="T70" fmla="*/ 9 w 98"/>
                <a:gd name="T71" fmla="*/ 79 h 120"/>
                <a:gd name="T72" fmla="*/ 9 w 98"/>
                <a:gd name="T73" fmla="*/ 79 h 120"/>
                <a:gd name="T74" fmla="*/ 9 w 98"/>
                <a:gd name="T75" fmla="*/ 79 h 120"/>
                <a:gd name="T76" fmla="*/ 10 w 98"/>
                <a:gd name="T77" fmla="*/ 77 h 120"/>
                <a:gd name="T78" fmla="*/ 8 w 98"/>
                <a:gd name="T79" fmla="*/ 75 h 120"/>
                <a:gd name="T80" fmla="*/ 5 w 98"/>
                <a:gd name="T81" fmla="*/ 74 h 120"/>
                <a:gd name="T82" fmla="*/ 4 w 98"/>
                <a:gd name="T83" fmla="*/ 73 h 120"/>
                <a:gd name="T84" fmla="*/ 4 w 98"/>
                <a:gd name="T85" fmla="*/ 72 h 120"/>
                <a:gd name="T86" fmla="*/ 10 w 98"/>
                <a:gd name="T87" fmla="*/ 64 h 120"/>
                <a:gd name="T88" fmla="*/ 12 w 98"/>
                <a:gd name="T89" fmla="*/ 52 h 120"/>
                <a:gd name="T90" fmla="*/ 12 w 98"/>
                <a:gd name="T91" fmla="*/ 52 h 120"/>
                <a:gd name="T92" fmla="*/ 12 w 98"/>
                <a:gd name="T93" fmla="*/ 50 h 120"/>
                <a:gd name="T94" fmla="*/ 13 w 98"/>
                <a:gd name="T95" fmla="*/ 35 h 120"/>
                <a:gd name="T96" fmla="*/ 21 w 98"/>
                <a:gd name="T97" fmla="*/ 22 h 120"/>
                <a:gd name="T98" fmla="*/ 68 w 98"/>
                <a:gd name="T99" fmla="*/ 18 h 120"/>
                <a:gd name="T100" fmla="*/ 86 w 98"/>
                <a:gd name="T101" fmla="*/ 63 h 120"/>
                <a:gd name="T102" fmla="*/ 81 w 98"/>
                <a:gd name="T103" fmla="*/ 73 h 120"/>
                <a:gd name="T104" fmla="*/ 74 w 98"/>
                <a:gd name="T105" fmla="*/ 92 h 120"/>
                <a:gd name="T106" fmla="*/ 74 w 98"/>
                <a:gd name="T107" fmla="*/ 118 h 120"/>
                <a:gd name="T108" fmla="*/ 76 w 98"/>
                <a:gd name="T109" fmla="*/ 120 h 120"/>
                <a:gd name="T110" fmla="*/ 78 w 98"/>
                <a:gd name="T111" fmla="*/ 118 h 120"/>
                <a:gd name="T112" fmla="*/ 78 w 98"/>
                <a:gd name="T113" fmla="*/ 92 h 120"/>
                <a:gd name="T114" fmla="*/ 84 w 98"/>
                <a:gd name="T115" fmla="*/ 75 h 120"/>
                <a:gd name="T116" fmla="*/ 90 w 98"/>
                <a:gd name="T117" fmla="*/ 64 h 120"/>
                <a:gd name="T118" fmla="*/ 70 w 98"/>
                <a:gd name="T119" fmla="*/ 1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8" h="120">
                  <a:moveTo>
                    <a:pt x="70" y="14"/>
                  </a:moveTo>
                  <a:cubicBezTo>
                    <a:pt x="70" y="14"/>
                    <a:pt x="40" y="0"/>
                    <a:pt x="18" y="20"/>
                  </a:cubicBezTo>
                  <a:cubicBezTo>
                    <a:pt x="14" y="24"/>
                    <a:pt x="11" y="29"/>
                    <a:pt x="9" y="34"/>
                  </a:cubicBezTo>
                  <a:cubicBezTo>
                    <a:pt x="8" y="39"/>
                    <a:pt x="8" y="45"/>
                    <a:pt x="8" y="50"/>
                  </a:cubicBezTo>
                  <a:cubicBezTo>
                    <a:pt x="8" y="51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4"/>
                    <a:pt x="9" y="58"/>
                    <a:pt x="7" y="62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0" y="73"/>
                    <a:pt x="1" y="75"/>
                  </a:cubicBezTo>
                  <a:cubicBezTo>
                    <a:pt x="1" y="76"/>
                    <a:pt x="2" y="77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6" y="78"/>
                  </a:cubicBezTo>
                  <a:cubicBezTo>
                    <a:pt x="5" y="79"/>
                    <a:pt x="5" y="79"/>
                    <a:pt x="5" y="80"/>
                  </a:cubicBezTo>
                  <a:cubicBezTo>
                    <a:pt x="5" y="81"/>
                    <a:pt x="6" y="81"/>
                    <a:pt x="7" y="82"/>
                  </a:cubicBezTo>
                  <a:cubicBezTo>
                    <a:pt x="6" y="83"/>
                    <a:pt x="7" y="84"/>
                    <a:pt x="7" y="85"/>
                  </a:cubicBezTo>
                  <a:cubicBezTo>
                    <a:pt x="7" y="86"/>
                    <a:pt x="8" y="87"/>
                    <a:pt x="9" y="87"/>
                  </a:cubicBezTo>
                  <a:cubicBezTo>
                    <a:pt x="9" y="90"/>
                    <a:pt x="8" y="95"/>
                    <a:pt x="11" y="98"/>
                  </a:cubicBezTo>
                  <a:cubicBezTo>
                    <a:pt x="12" y="99"/>
                    <a:pt x="15" y="100"/>
                    <a:pt x="17" y="100"/>
                  </a:cubicBezTo>
                  <a:cubicBezTo>
                    <a:pt x="17" y="100"/>
                    <a:pt x="18" y="100"/>
                    <a:pt x="18" y="100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8" y="99"/>
                    <a:pt x="32" y="102"/>
                    <a:pt x="32" y="106"/>
                  </a:cubicBezTo>
                  <a:cubicBezTo>
                    <a:pt x="33" y="109"/>
                    <a:pt x="33" y="113"/>
                    <a:pt x="33" y="118"/>
                  </a:cubicBezTo>
                  <a:cubicBezTo>
                    <a:pt x="33" y="119"/>
                    <a:pt x="34" y="120"/>
                    <a:pt x="35" y="120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3"/>
                    <a:pt x="36" y="109"/>
                    <a:pt x="36" y="105"/>
                  </a:cubicBezTo>
                  <a:cubicBezTo>
                    <a:pt x="35" y="100"/>
                    <a:pt x="30" y="96"/>
                    <a:pt x="24" y="96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4" y="96"/>
                    <a:pt x="14" y="95"/>
                  </a:cubicBezTo>
                  <a:cubicBezTo>
                    <a:pt x="12" y="93"/>
                    <a:pt x="12" y="89"/>
                    <a:pt x="13" y="87"/>
                  </a:cubicBezTo>
                  <a:cubicBezTo>
                    <a:pt x="13" y="86"/>
                    <a:pt x="12" y="84"/>
                    <a:pt x="11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3"/>
                    <a:pt x="10" y="83"/>
                  </a:cubicBezTo>
                  <a:cubicBezTo>
                    <a:pt x="11" y="83"/>
                    <a:pt x="11" y="82"/>
                    <a:pt x="10" y="81"/>
                  </a:cubicBezTo>
                  <a:cubicBezTo>
                    <a:pt x="10" y="80"/>
                    <a:pt x="10" y="80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10" y="78"/>
                    <a:pt x="10" y="78"/>
                    <a:pt x="10" y="77"/>
                  </a:cubicBezTo>
                  <a:cubicBezTo>
                    <a:pt x="9" y="76"/>
                    <a:pt x="9" y="75"/>
                    <a:pt x="8" y="75"/>
                  </a:cubicBezTo>
                  <a:cubicBezTo>
                    <a:pt x="7" y="74"/>
                    <a:pt x="6" y="74"/>
                    <a:pt x="5" y="74"/>
                  </a:cubicBezTo>
                  <a:cubicBezTo>
                    <a:pt x="5" y="74"/>
                    <a:pt x="4" y="74"/>
                    <a:pt x="4" y="73"/>
                  </a:cubicBezTo>
                  <a:cubicBezTo>
                    <a:pt x="4" y="73"/>
                    <a:pt x="4" y="73"/>
                    <a:pt x="4" y="72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3" y="59"/>
                    <a:pt x="12" y="54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2" y="50"/>
                    <a:pt x="12" y="50"/>
                  </a:cubicBezTo>
                  <a:cubicBezTo>
                    <a:pt x="11" y="45"/>
                    <a:pt x="11" y="40"/>
                    <a:pt x="13" y="35"/>
                  </a:cubicBezTo>
                  <a:cubicBezTo>
                    <a:pt x="14" y="30"/>
                    <a:pt x="17" y="26"/>
                    <a:pt x="21" y="22"/>
                  </a:cubicBezTo>
                  <a:cubicBezTo>
                    <a:pt x="41" y="4"/>
                    <a:pt x="68" y="17"/>
                    <a:pt x="68" y="18"/>
                  </a:cubicBezTo>
                  <a:cubicBezTo>
                    <a:pt x="94" y="31"/>
                    <a:pt x="89" y="54"/>
                    <a:pt x="86" y="63"/>
                  </a:cubicBezTo>
                  <a:cubicBezTo>
                    <a:pt x="85" y="67"/>
                    <a:pt x="83" y="70"/>
                    <a:pt x="81" y="73"/>
                  </a:cubicBezTo>
                  <a:cubicBezTo>
                    <a:pt x="74" y="82"/>
                    <a:pt x="74" y="92"/>
                    <a:pt x="74" y="92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4" y="119"/>
                    <a:pt x="75" y="120"/>
                    <a:pt x="76" y="120"/>
                  </a:cubicBezTo>
                  <a:cubicBezTo>
                    <a:pt x="77" y="120"/>
                    <a:pt x="78" y="119"/>
                    <a:pt x="78" y="118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8" y="92"/>
                    <a:pt x="78" y="83"/>
                    <a:pt x="84" y="75"/>
                  </a:cubicBezTo>
                  <a:cubicBezTo>
                    <a:pt x="86" y="72"/>
                    <a:pt x="88" y="68"/>
                    <a:pt x="90" y="64"/>
                  </a:cubicBezTo>
                  <a:cubicBezTo>
                    <a:pt x="92" y="56"/>
                    <a:pt x="98" y="30"/>
                    <a:pt x="70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7">
              <a:extLst>
                <a:ext uri="{FF2B5EF4-FFF2-40B4-BE49-F238E27FC236}">
                  <a16:creationId xmlns:a16="http://schemas.microsoft.com/office/drawing/2014/main" id="{234B2F73-055B-473D-BC26-516A11A198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1" y="1979"/>
              <a:ext cx="139" cy="143"/>
            </a:xfrm>
            <a:custGeom>
              <a:avLst/>
              <a:gdLst>
                <a:gd name="T0" fmla="*/ 50 w 57"/>
                <a:gd name="T1" fmla="*/ 36 h 58"/>
                <a:gd name="T2" fmla="*/ 47 w 57"/>
                <a:gd name="T3" fmla="*/ 44 h 58"/>
                <a:gd name="T4" fmla="*/ 43 w 57"/>
                <a:gd name="T5" fmla="*/ 50 h 58"/>
                <a:gd name="T6" fmla="*/ 39 w 57"/>
                <a:gd name="T7" fmla="*/ 43 h 58"/>
                <a:gd name="T8" fmla="*/ 44 w 57"/>
                <a:gd name="T9" fmla="*/ 42 h 58"/>
                <a:gd name="T10" fmla="*/ 34 w 57"/>
                <a:gd name="T11" fmla="*/ 45 h 58"/>
                <a:gd name="T12" fmla="*/ 30 w 57"/>
                <a:gd name="T13" fmla="*/ 53 h 58"/>
                <a:gd name="T14" fmla="*/ 23 w 57"/>
                <a:gd name="T15" fmla="*/ 54 h 58"/>
                <a:gd name="T16" fmla="*/ 18 w 57"/>
                <a:gd name="T17" fmla="*/ 50 h 58"/>
                <a:gd name="T18" fmla="*/ 26 w 57"/>
                <a:gd name="T19" fmla="*/ 42 h 58"/>
                <a:gd name="T20" fmla="*/ 28 w 57"/>
                <a:gd name="T21" fmla="*/ 49 h 58"/>
                <a:gd name="T22" fmla="*/ 29 w 57"/>
                <a:gd name="T23" fmla="*/ 41 h 58"/>
                <a:gd name="T24" fmla="*/ 44 w 57"/>
                <a:gd name="T25" fmla="*/ 34 h 58"/>
                <a:gd name="T26" fmla="*/ 52 w 57"/>
                <a:gd name="T27" fmla="*/ 28 h 58"/>
                <a:gd name="T28" fmla="*/ 7 w 57"/>
                <a:gd name="T29" fmla="*/ 38 h 58"/>
                <a:gd name="T30" fmla="*/ 3 w 57"/>
                <a:gd name="T31" fmla="*/ 32 h 58"/>
                <a:gd name="T32" fmla="*/ 6 w 57"/>
                <a:gd name="T33" fmla="*/ 25 h 58"/>
                <a:gd name="T34" fmla="*/ 9 w 57"/>
                <a:gd name="T35" fmla="*/ 18 h 58"/>
                <a:gd name="T36" fmla="*/ 14 w 57"/>
                <a:gd name="T37" fmla="*/ 11 h 58"/>
                <a:gd name="T38" fmla="*/ 18 w 57"/>
                <a:gd name="T39" fmla="*/ 6 h 58"/>
                <a:gd name="T40" fmla="*/ 28 w 57"/>
                <a:gd name="T41" fmla="*/ 17 h 58"/>
                <a:gd name="T42" fmla="*/ 20 w 57"/>
                <a:gd name="T43" fmla="*/ 14 h 58"/>
                <a:gd name="T44" fmla="*/ 23 w 57"/>
                <a:gd name="T45" fmla="*/ 22 h 58"/>
                <a:gd name="T46" fmla="*/ 18 w 57"/>
                <a:gd name="T47" fmla="*/ 27 h 58"/>
                <a:gd name="T48" fmla="*/ 11 w 57"/>
                <a:gd name="T49" fmla="*/ 25 h 58"/>
                <a:gd name="T50" fmla="*/ 13 w 57"/>
                <a:gd name="T51" fmla="*/ 34 h 58"/>
                <a:gd name="T52" fmla="*/ 20 w 57"/>
                <a:gd name="T53" fmla="*/ 30 h 58"/>
                <a:gd name="T54" fmla="*/ 24 w 57"/>
                <a:gd name="T55" fmla="*/ 28 h 58"/>
                <a:gd name="T56" fmla="*/ 26 w 57"/>
                <a:gd name="T57" fmla="*/ 39 h 58"/>
                <a:gd name="T58" fmla="*/ 29 w 57"/>
                <a:gd name="T59" fmla="*/ 4 h 58"/>
                <a:gd name="T60" fmla="*/ 35 w 57"/>
                <a:gd name="T61" fmla="*/ 7 h 58"/>
                <a:gd name="T62" fmla="*/ 36 w 57"/>
                <a:gd name="T63" fmla="*/ 15 h 58"/>
                <a:gd name="T64" fmla="*/ 25 w 57"/>
                <a:gd name="T65" fmla="*/ 6 h 58"/>
                <a:gd name="T66" fmla="*/ 36 w 57"/>
                <a:gd name="T67" fmla="*/ 30 h 58"/>
                <a:gd name="T68" fmla="*/ 26 w 57"/>
                <a:gd name="T69" fmla="*/ 25 h 58"/>
                <a:gd name="T70" fmla="*/ 31 w 57"/>
                <a:gd name="T71" fmla="*/ 19 h 58"/>
                <a:gd name="T72" fmla="*/ 44 w 57"/>
                <a:gd name="T73" fmla="*/ 11 h 58"/>
                <a:gd name="T74" fmla="*/ 53 w 57"/>
                <a:gd name="T75" fmla="*/ 21 h 58"/>
                <a:gd name="T76" fmla="*/ 39 w 57"/>
                <a:gd name="T77" fmla="*/ 30 h 58"/>
                <a:gd name="T78" fmla="*/ 53 w 57"/>
                <a:gd name="T79" fmla="*/ 21 h 58"/>
                <a:gd name="T80" fmla="*/ 55 w 57"/>
                <a:gd name="T81" fmla="*/ 26 h 58"/>
                <a:gd name="T82" fmla="*/ 50 w 57"/>
                <a:gd name="T83" fmla="*/ 10 h 58"/>
                <a:gd name="T84" fmla="*/ 34 w 57"/>
                <a:gd name="T85" fmla="*/ 3 h 58"/>
                <a:gd name="T86" fmla="*/ 17 w 57"/>
                <a:gd name="T87" fmla="*/ 3 h 58"/>
                <a:gd name="T88" fmla="*/ 5 w 57"/>
                <a:gd name="T89" fmla="*/ 16 h 58"/>
                <a:gd name="T90" fmla="*/ 0 w 57"/>
                <a:gd name="T91" fmla="*/ 32 h 58"/>
                <a:gd name="T92" fmla="*/ 9 w 57"/>
                <a:gd name="T93" fmla="*/ 47 h 58"/>
                <a:gd name="T94" fmla="*/ 23 w 57"/>
                <a:gd name="T95" fmla="*/ 57 h 58"/>
                <a:gd name="T96" fmla="*/ 35 w 57"/>
                <a:gd name="T97" fmla="*/ 57 h 58"/>
                <a:gd name="T98" fmla="*/ 48 w 57"/>
                <a:gd name="T99" fmla="*/ 4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58">
                  <a:moveTo>
                    <a:pt x="54" y="32"/>
                  </a:moveTo>
                  <a:cubicBezTo>
                    <a:pt x="54" y="33"/>
                    <a:pt x="53" y="35"/>
                    <a:pt x="51" y="35"/>
                  </a:cubicBezTo>
                  <a:cubicBezTo>
                    <a:pt x="51" y="35"/>
                    <a:pt x="50" y="36"/>
                    <a:pt x="50" y="36"/>
                  </a:cubicBezTo>
                  <a:cubicBezTo>
                    <a:pt x="50" y="37"/>
                    <a:pt x="50" y="37"/>
                    <a:pt x="50" y="38"/>
                  </a:cubicBezTo>
                  <a:cubicBezTo>
                    <a:pt x="51" y="39"/>
                    <a:pt x="51" y="41"/>
                    <a:pt x="51" y="42"/>
                  </a:cubicBezTo>
                  <a:cubicBezTo>
                    <a:pt x="50" y="43"/>
                    <a:pt x="48" y="44"/>
                    <a:pt x="47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7"/>
                    <a:pt x="45" y="49"/>
                    <a:pt x="43" y="50"/>
                  </a:cubicBezTo>
                  <a:cubicBezTo>
                    <a:pt x="42" y="51"/>
                    <a:pt x="41" y="51"/>
                    <a:pt x="39" y="50"/>
                  </a:cubicBezTo>
                  <a:cubicBezTo>
                    <a:pt x="39" y="50"/>
                    <a:pt x="37" y="48"/>
                    <a:pt x="37" y="45"/>
                  </a:cubicBezTo>
                  <a:cubicBezTo>
                    <a:pt x="37" y="44"/>
                    <a:pt x="38" y="43"/>
                    <a:pt x="39" y="43"/>
                  </a:cubicBezTo>
                  <a:cubicBezTo>
                    <a:pt x="40" y="42"/>
                    <a:pt x="41" y="42"/>
                    <a:pt x="41" y="43"/>
                  </a:cubicBezTo>
                  <a:cubicBezTo>
                    <a:pt x="41" y="43"/>
                    <a:pt x="42" y="43"/>
                    <a:pt x="42" y="43"/>
                  </a:cubicBezTo>
                  <a:cubicBezTo>
                    <a:pt x="42" y="43"/>
                    <a:pt x="43" y="43"/>
                    <a:pt x="44" y="42"/>
                  </a:cubicBezTo>
                  <a:cubicBezTo>
                    <a:pt x="44" y="41"/>
                    <a:pt x="44" y="40"/>
                    <a:pt x="43" y="40"/>
                  </a:cubicBezTo>
                  <a:cubicBezTo>
                    <a:pt x="41" y="39"/>
                    <a:pt x="39" y="38"/>
                    <a:pt x="37" y="40"/>
                  </a:cubicBezTo>
                  <a:cubicBezTo>
                    <a:pt x="35" y="41"/>
                    <a:pt x="34" y="43"/>
                    <a:pt x="34" y="45"/>
                  </a:cubicBezTo>
                  <a:cubicBezTo>
                    <a:pt x="34" y="49"/>
                    <a:pt x="35" y="51"/>
                    <a:pt x="36" y="52"/>
                  </a:cubicBezTo>
                  <a:cubicBezTo>
                    <a:pt x="36" y="53"/>
                    <a:pt x="35" y="54"/>
                    <a:pt x="34" y="54"/>
                  </a:cubicBezTo>
                  <a:cubicBezTo>
                    <a:pt x="32" y="54"/>
                    <a:pt x="31" y="54"/>
                    <a:pt x="30" y="53"/>
                  </a:cubicBezTo>
                  <a:cubicBezTo>
                    <a:pt x="30" y="52"/>
                    <a:pt x="29" y="52"/>
                    <a:pt x="29" y="52"/>
                  </a:cubicBezTo>
                  <a:cubicBezTo>
                    <a:pt x="28" y="52"/>
                    <a:pt x="27" y="52"/>
                    <a:pt x="27" y="53"/>
                  </a:cubicBezTo>
                  <a:cubicBezTo>
                    <a:pt x="26" y="54"/>
                    <a:pt x="25" y="54"/>
                    <a:pt x="23" y="54"/>
                  </a:cubicBezTo>
                  <a:cubicBezTo>
                    <a:pt x="22" y="54"/>
                    <a:pt x="21" y="53"/>
                    <a:pt x="20" y="51"/>
                  </a:cubicBezTo>
                  <a:cubicBezTo>
                    <a:pt x="20" y="51"/>
                    <a:pt x="20" y="50"/>
                    <a:pt x="19" y="50"/>
                  </a:cubicBezTo>
                  <a:cubicBezTo>
                    <a:pt x="19" y="50"/>
                    <a:pt x="18" y="50"/>
                    <a:pt x="18" y="50"/>
                  </a:cubicBezTo>
                  <a:cubicBezTo>
                    <a:pt x="16" y="51"/>
                    <a:pt x="15" y="51"/>
                    <a:pt x="14" y="50"/>
                  </a:cubicBezTo>
                  <a:cubicBezTo>
                    <a:pt x="13" y="49"/>
                    <a:pt x="12" y="48"/>
                    <a:pt x="12" y="46"/>
                  </a:cubicBezTo>
                  <a:cubicBezTo>
                    <a:pt x="13" y="45"/>
                    <a:pt x="18" y="40"/>
                    <a:pt x="26" y="42"/>
                  </a:cubicBezTo>
                  <a:cubicBezTo>
                    <a:pt x="25" y="44"/>
                    <a:pt x="26" y="46"/>
                    <a:pt x="26" y="48"/>
                  </a:cubicBezTo>
                  <a:cubicBezTo>
                    <a:pt x="27" y="48"/>
                    <a:pt x="27" y="49"/>
                    <a:pt x="28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9" y="48"/>
                    <a:pt x="30" y="47"/>
                    <a:pt x="30" y="46"/>
                  </a:cubicBezTo>
                  <a:cubicBezTo>
                    <a:pt x="29" y="45"/>
                    <a:pt x="29" y="43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40"/>
                    <a:pt x="30" y="38"/>
                    <a:pt x="31" y="37"/>
                  </a:cubicBezTo>
                  <a:cubicBezTo>
                    <a:pt x="32" y="36"/>
                    <a:pt x="33" y="35"/>
                    <a:pt x="34" y="35"/>
                  </a:cubicBezTo>
                  <a:cubicBezTo>
                    <a:pt x="39" y="32"/>
                    <a:pt x="44" y="34"/>
                    <a:pt x="44" y="34"/>
                  </a:cubicBezTo>
                  <a:cubicBezTo>
                    <a:pt x="45" y="35"/>
                    <a:pt x="45" y="35"/>
                    <a:pt x="46" y="35"/>
                  </a:cubicBezTo>
                  <a:cubicBezTo>
                    <a:pt x="46" y="34"/>
                    <a:pt x="47" y="34"/>
                    <a:pt x="47" y="33"/>
                  </a:cubicBezTo>
                  <a:cubicBezTo>
                    <a:pt x="48" y="29"/>
                    <a:pt x="51" y="28"/>
                    <a:pt x="52" y="28"/>
                  </a:cubicBezTo>
                  <a:cubicBezTo>
                    <a:pt x="53" y="29"/>
                    <a:pt x="54" y="31"/>
                    <a:pt x="54" y="32"/>
                  </a:cubicBezTo>
                  <a:moveTo>
                    <a:pt x="7" y="42"/>
                  </a:moveTo>
                  <a:cubicBezTo>
                    <a:pt x="6" y="41"/>
                    <a:pt x="6" y="39"/>
                    <a:pt x="7" y="38"/>
                  </a:cubicBezTo>
                  <a:cubicBezTo>
                    <a:pt x="7" y="37"/>
                    <a:pt x="7" y="37"/>
                    <a:pt x="7" y="36"/>
                  </a:cubicBezTo>
                  <a:cubicBezTo>
                    <a:pt x="7" y="36"/>
                    <a:pt x="6" y="35"/>
                    <a:pt x="6" y="35"/>
                  </a:cubicBezTo>
                  <a:cubicBezTo>
                    <a:pt x="4" y="35"/>
                    <a:pt x="3" y="33"/>
                    <a:pt x="3" y="32"/>
                  </a:cubicBezTo>
                  <a:cubicBezTo>
                    <a:pt x="3" y="30"/>
                    <a:pt x="4" y="29"/>
                    <a:pt x="5" y="28"/>
                  </a:cubicBezTo>
                  <a:cubicBezTo>
                    <a:pt x="6" y="28"/>
                    <a:pt x="6" y="27"/>
                    <a:pt x="6" y="27"/>
                  </a:cubicBezTo>
                  <a:cubicBezTo>
                    <a:pt x="6" y="26"/>
                    <a:pt x="6" y="26"/>
                    <a:pt x="6" y="25"/>
                  </a:cubicBezTo>
                  <a:cubicBezTo>
                    <a:pt x="4" y="24"/>
                    <a:pt x="4" y="23"/>
                    <a:pt x="4" y="21"/>
                  </a:cubicBezTo>
                  <a:cubicBezTo>
                    <a:pt x="5" y="20"/>
                    <a:pt x="6" y="19"/>
                    <a:pt x="8" y="19"/>
                  </a:cubicBezTo>
                  <a:cubicBezTo>
                    <a:pt x="8" y="19"/>
                    <a:pt x="9" y="18"/>
                    <a:pt x="9" y="18"/>
                  </a:cubicBezTo>
                  <a:cubicBezTo>
                    <a:pt x="9" y="17"/>
                    <a:pt x="9" y="17"/>
                    <a:pt x="9" y="16"/>
                  </a:cubicBezTo>
                  <a:cubicBezTo>
                    <a:pt x="8" y="15"/>
                    <a:pt x="9" y="13"/>
                    <a:pt x="10" y="12"/>
                  </a:cubicBezTo>
                  <a:cubicBezTo>
                    <a:pt x="11" y="11"/>
                    <a:pt x="12" y="11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6" y="8"/>
                    <a:pt x="17" y="7"/>
                    <a:pt x="18" y="6"/>
                  </a:cubicBezTo>
                  <a:cubicBezTo>
                    <a:pt x="19" y="6"/>
                    <a:pt x="21" y="6"/>
                    <a:pt x="22" y="6"/>
                  </a:cubicBezTo>
                  <a:cubicBezTo>
                    <a:pt x="22" y="9"/>
                    <a:pt x="24" y="11"/>
                    <a:pt x="26" y="13"/>
                  </a:cubicBezTo>
                  <a:cubicBezTo>
                    <a:pt x="28" y="14"/>
                    <a:pt x="28" y="15"/>
                    <a:pt x="28" y="17"/>
                  </a:cubicBezTo>
                  <a:cubicBezTo>
                    <a:pt x="28" y="18"/>
                    <a:pt x="27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4" y="19"/>
                    <a:pt x="21" y="17"/>
                    <a:pt x="20" y="14"/>
                  </a:cubicBezTo>
                  <a:cubicBezTo>
                    <a:pt x="19" y="13"/>
                    <a:pt x="18" y="12"/>
                    <a:pt x="17" y="13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8" y="19"/>
                    <a:pt x="21" y="21"/>
                    <a:pt x="23" y="22"/>
                  </a:cubicBezTo>
                  <a:cubicBezTo>
                    <a:pt x="23" y="23"/>
                    <a:pt x="23" y="23"/>
                    <a:pt x="23" y="24"/>
                  </a:cubicBezTo>
                  <a:cubicBezTo>
                    <a:pt x="22" y="25"/>
                    <a:pt x="22" y="26"/>
                    <a:pt x="20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6"/>
                    <a:pt x="16" y="25"/>
                    <a:pt x="14" y="23"/>
                  </a:cubicBezTo>
                  <a:cubicBezTo>
                    <a:pt x="13" y="22"/>
                    <a:pt x="12" y="22"/>
                    <a:pt x="12" y="23"/>
                  </a:cubicBezTo>
                  <a:cubicBezTo>
                    <a:pt x="11" y="23"/>
                    <a:pt x="11" y="25"/>
                    <a:pt x="11" y="25"/>
                  </a:cubicBezTo>
                  <a:cubicBezTo>
                    <a:pt x="13" y="27"/>
                    <a:pt x="15" y="29"/>
                    <a:pt x="16" y="29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2"/>
                    <a:pt x="15" y="34"/>
                    <a:pt x="13" y="34"/>
                  </a:cubicBezTo>
                  <a:cubicBezTo>
                    <a:pt x="12" y="34"/>
                    <a:pt x="12" y="35"/>
                    <a:pt x="12" y="36"/>
                  </a:cubicBezTo>
                  <a:cubicBezTo>
                    <a:pt x="12" y="37"/>
                    <a:pt x="12" y="37"/>
                    <a:pt x="13" y="37"/>
                  </a:cubicBezTo>
                  <a:cubicBezTo>
                    <a:pt x="17" y="37"/>
                    <a:pt x="20" y="34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0"/>
                    <a:pt x="21" y="30"/>
                    <a:pt x="22" y="30"/>
                  </a:cubicBezTo>
                  <a:cubicBezTo>
                    <a:pt x="23" y="29"/>
                    <a:pt x="23" y="29"/>
                    <a:pt x="24" y="28"/>
                  </a:cubicBezTo>
                  <a:cubicBezTo>
                    <a:pt x="25" y="29"/>
                    <a:pt x="28" y="30"/>
                    <a:pt x="29" y="34"/>
                  </a:cubicBezTo>
                  <a:cubicBezTo>
                    <a:pt x="29" y="34"/>
                    <a:pt x="29" y="35"/>
                    <a:pt x="28" y="35"/>
                  </a:cubicBezTo>
                  <a:cubicBezTo>
                    <a:pt x="28" y="36"/>
                    <a:pt x="27" y="37"/>
                    <a:pt x="26" y="39"/>
                  </a:cubicBezTo>
                  <a:cubicBezTo>
                    <a:pt x="18" y="37"/>
                    <a:pt x="12" y="42"/>
                    <a:pt x="10" y="44"/>
                  </a:cubicBezTo>
                  <a:cubicBezTo>
                    <a:pt x="8" y="44"/>
                    <a:pt x="7" y="43"/>
                    <a:pt x="7" y="42"/>
                  </a:cubicBezTo>
                  <a:moveTo>
                    <a:pt x="29" y="4"/>
                  </a:moveTo>
                  <a:cubicBezTo>
                    <a:pt x="30" y="4"/>
                    <a:pt x="31" y="5"/>
                    <a:pt x="32" y="6"/>
                  </a:cubicBezTo>
                  <a:cubicBezTo>
                    <a:pt x="32" y="7"/>
                    <a:pt x="33" y="7"/>
                    <a:pt x="33" y="7"/>
                  </a:cubicBezTo>
                  <a:cubicBezTo>
                    <a:pt x="34" y="7"/>
                    <a:pt x="34" y="7"/>
                    <a:pt x="35" y="7"/>
                  </a:cubicBezTo>
                  <a:cubicBezTo>
                    <a:pt x="36" y="6"/>
                    <a:pt x="38" y="5"/>
                    <a:pt x="39" y="6"/>
                  </a:cubicBezTo>
                  <a:cubicBezTo>
                    <a:pt x="40" y="7"/>
                    <a:pt x="41" y="8"/>
                    <a:pt x="41" y="9"/>
                  </a:cubicBezTo>
                  <a:cubicBezTo>
                    <a:pt x="41" y="10"/>
                    <a:pt x="39" y="14"/>
                    <a:pt x="36" y="15"/>
                  </a:cubicBezTo>
                  <a:cubicBezTo>
                    <a:pt x="35" y="16"/>
                    <a:pt x="33" y="16"/>
                    <a:pt x="32" y="16"/>
                  </a:cubicBezTo>
                  <a:cubicBezTo>
                    <a:pt x="32" y="13"/>
                    <a:pt x="30" y="11"/>
                    <a:pt x="28" y="10"/>
                  </a:cubicBezTo>
                  <a:cubicBezTo>
                    <a:pt x="27" y="9"/>
                    <a:pt x="25" y="7"/>
                    <a:pt x="25" y="6"/>
                  </a:cubicBezTo>
                  <a:cubicBezTo>
                    <a:pt x="26" y="5"/>
                    <a:pt x="27" y="4"/>
                    <a:pt x="29" y="4"/>
                  </a:cubicBezTo>
                  <a:moveTo>
                    <a:pt x="48" y="15"/>
                  </a:moveTo>
                  <a:cubicBezTo>
                    <a:pt x="44" y="17"/>
                    <a:pt x="36" y="21"/>
                    <a:pt x="36" y="30"/>
                  </a:cubicBezTo>
                  <a:cubicBezTo>
                    <a:pt x="34" y="30"/>
                    <a:pt x="33" y="31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28"/>
                    <a:pt x="28" y="26"/>
                    <a:pt x="26" y="25"/>
                  </a:cubicBezTo>
                  <a:cubicBezTo>
                    <a:pt x="26" y="25"/>
                    <a:pt x="26" y="25"/>
                    <a:pt x="26" y="24"/>
                  </a:cubicBezTo>
                  <a:cubicBezTo>
                    <a:pt x="26" y="24"/>
                    <a:pt x="26" y="23"/>
                    <a:pt x="26" y="23"/>
                  </a:cubicBezTo>
                  <a:cubicBezTo>
                    <a:pt x="28" y="22"/>
                    <a:pt x="30" y="21"/>
                    <a:pt x="31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5" y="19"/>
                    <a:pt x="37" y="19"/>
                    <a:pt x="38" y="18"/>
                  </a:cubicBezTo>
                  <a:cubicBezTo>
                    <a:pt x="42" y="16"/>
                    <a:pt x="43" y="13"/>
                    <a:pt x="44" y="11"/>
                  </a:cubicBezTo>
                  <a:cubicBezTo>
                    <a:pt x="45" y="11"/>
                    <a:pt x="47" y="11"/>
                    <a:pt x="47" y="12"/>
                  </a:cubicBezTo>
                  <a:cubicBezTo>
                    <a:pt x="48" y="13"/>
                    <a:pt x="49" y="14"/>
                    <a:pt x="48" y="15"/>
                  </a:cubicBezTo>
                  <a:moveTo>
                    <a:pt x="53" y="21"/>
                  </a:moveTo>
                  <a:cubicBezTo>
                    <a:pt x="53" y="23"/>
                    <a:pt x="53" y="24"/>
                    <a:pt x="52" y="25"/>
                  </a:cubicBezTo>
                  <a:cubicBezTo>
                    <a:pt x="50" y="25"/>
                    <a:pt x="46" y="26"/>
                    <a:pt x="44" y="31"/>
                  </a:cubicBezTo>
                  <a:cubicBezTo>
                    <a:pt x="43" y="30"/>
                    <a:pt x="41" y="30"/>
                    <a:pt x="39" y="30"/>
                  </a:cubicBezTo>
                  <a:cubicBezTo>
                    <a:pt x="40" y="22"/>
                    <a:pt x="47" y="19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9"/>
                    <a:pt x="52" y="20"/>
                    <a:pt x="53" y="21"/>
                  </a:cubicBezTo>
                  <a:moveTo>
                    <a:pt x="54" y="38"/>
                  </a:moveTo>
                  <a:cubicBezTo>
                    <a:pt x="56" y="36"/>
                    <a:pt x="57" y="34"/>
                    <a:pt x="57" y="32"/>
                  </a:cubicBezTo>
                  <a:cubicBezTo>
                    <a:pt x="57" y="30"/>
                    <a:pt x="57" y="28"/>
                    <a:pt x="55" y="26"/>
                  </a:cubicBezTo>
                  <a:cubicBezTo>
                    <a:pt x="56" y="25"/>
                    <a:pt x="57" y="22"/>
                    <a:pt x="56" y="20"/>
                  </a:cubicBezTo>
                  <a:cubicBezTo>
                    <a:pt x="55" y="18"/>
                    <a:pt x="54" y="17"/>
                    <a:pt x="52" y="16"/>
                  </a:cubicBezTo>
                  <a:cubicBezTo>
                    <a:pt x="52" y="14"/>
                    <a:pt x="51" y="12"/>
                    <a:pt x="50" y="10"/>
                  </a:cubicBezTo>
                  <a:cubicBezTo>
                    <a:pt x="49" y="8"/>
                    <a:pt x="46" y="7"/>
                    <a:pt x="44" y="8"/>
                  </a:cubicBezTo>
                  <a:cubicBezTo>
                    <a:pt x="44" y="6"/>
                    <a:pt x="42" y="4"/>
                    <a:pt x="40" y="3"/>
                  </a:cubicBezTo>
                  <a:cubicBezTo>
                    <a:pt x="38" y="2"/>
                    <a:pt x="36" y="2"/>
                    <a:pt x="34" y="3"/>
                  </a:cubicBezTo>
                  <a:cubicBezTo>
                    <a:pt x="33" y="1"/>
                    <a:pt x="31" y="0"/>
                    <a:pt x="29" y="0"/>
                  </a:cubicBezTo>
                  <a:cubicBezTo>
                    <a:pt x="26" y="0"/>
                    <a:pt x="24" y="1"/>
                    <a:pt x="23" y="3"/>
                  </a:cubicBezTo>
                  <a:cubicBezTo>
                    <a:pt x="21" y="2"/>
                    <a:pt x="19" y="2"/>
                    <a:pt x="17" y="3"/>
                  </a:cubicBezTo>
                  <a:cubicBezTo>
                    <a:pt x="15" y="4"/>
                    <a:pt x="13" y="6"/>
                    <a:pt x="13" y="8"/>
                  </a:cubicBezTo>
                  <a:cubicBezTo>
                    <a:pt x="11" y="7"/>
                    <a:pt x="9" y="8"/>
                    <a:pt x="7" y="10"/>
                  </a:cubicBezTo>
                  <a:cubicBezTo>
                    <a:pt x="6" y="12"/>
                    <a:pt x="5" y="14"/>
                    <a:pt x="5" y="16"/>
                  </a:cubicBezTo>
                  <a:cubicBezTo>
                    <a:pt x="3" y="17"/>
                    <a:pt x="2" y="18"/>
                    <a:pt x="1" y="20"/>
                  </a:cubicBezTo>
                  <a:cubicBezTo>
                    <a:pt x="0" y="22"/>
                    <a:pt x="1" y="25"/>
                    <a:pt x="2" y="26"/>
                  </a:cubicBezTo>
                  <a:cubicBezTo>
                    <a:pt x="0" y="28"/>
                    <a:pt x="0" y="30"/>
                    <a:pt x="0" y="32"/>
                  </a:cubicBezTo>
                  <a:cubicBezTo>
                    <a:pt x="0" y="34"/>
                    <a:pt x="1" y="36"/>
                    <a:pt x="3" y="38"/>
                  </a:cubicBezTo>
                  <a:cubicBezTo>
                    <a:pt x="2" y="40"/>
                    <a:pt x="2" y="42"/>
                    <a:pt x="4" y="44"/>
                  </a:cubicBezTo>
                  <a:cubicBezTo>
                    <a:pt x="5" y="46"/>
                    <a:pt x="7" y="47"/>
                    <a:pt x="9" y="47"/>
                  </a:cubicBezTo>
                  <a:cubicBezTo>
                    <a:pt x="9" y="49"/>
                    <a:pt x="10" y="51"/>
                    <a:pt x="12" y="53"/>
                  </a:cubicBezTo>
                  <a:cubicBezTo>
                    <a:pt x="13" y="54"/>
                    <a:pt x="16" y="54"/>
                    <a:pt x="18" y="54"/>
                  </a:cubicBezTo>
                  <a:cubicBezTo>
                    <a:pt x="19" y="56"/>
                    <a:pt x="20" y="57"/>
                    <a:pt x="23" y="57"/>
                  </a:cubicBezTo>
                  <a:cubicBezTo>
                    <a:pt x="25" y="58"/>
                    <a:pt x="27" y="57"/>
                    <a:pt x="29" y="56"/>
                  </a:cubicBezTo>
                  <a:cubicBezTo>
                    <a:pt x="30" y="57"/>
                    <a:pt x="31" y="58"/>
                    <a:pt x="33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7" y="57"/>
                    <a:pt x="38" y="56"/>
                    <a:pt x="39" y="54"/>
                  </a:cubicBezTo>
                  <a:cubicBezTo>
                    <a:pt x="42" y="54"/>
                    <a:pt x="44" y="54"/>
                    <a:pt x="46" y="53"/>
                  </a:cubicBezTo>
                  <a:cubicBezTo>
                    <a:pt x="47" y="51"/>
                    <a:pt x="48" y="49"/>
                    <a:pt x="48" y="47"/>
                  </a:cubicBezTo>
                  <a:cubicBezTo>
                    <a:pt x="51" y="47"/>
                    <a:pt x="52" y="46"/>
                    <a:pt x="54" y="44"/>
                  </a:cubicBezTo>
                  <a:cubicBezTo>
                    <a:pt x="55" y="42"/>
                    <a:pt x="55" y="40"/>
                    <a:pt x="54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48">
              <a:extLst>
                <a:ext uri="{FF2B5EF4-FFF2-40B4-BE49-F238E27FC236}">
                  <a16:creationId xmlns:a16="http://schemas.microsoft.com/office/drawing/2014/main" id="{ED94A8DF-1740-4179-BF21-2CF52BAA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" y="1896"/>
              <a:ext cx="10" cy="37"/>
            </a:xfrm>
            <a:custGeom>
              <a:avLst/>
              <a:gdLst>
                <a:gd name="T0" fmla="*/ 2 w 4"/>
                <a:gd name="T1" fmla="*/ 15 h 15"/>
                <a:gd name="T2" fmla="*/ 4 w 4"/>
                <a:gd name="T3" fmla="*/ 14 h 15"/>
                <a:gd name="T4" fmla="*/ 4 w 4"/>
                <a:gd name="T5" fmla="*/ 2 h 15"/>
                <a:gd name="T6" fmla="*/ 2 w 4"/>
                <a:gd name="T7" fmla="*/ 0 h 15"/>
                <a:gd name="T8" fmla="*/ 0 w 4"/>
                <a:gd name="T9" fmla="*/ 2 h 15"/>
                <a:gd name="T10" fmla="*/ 0 w 4"/>
                <a:gd name="T11" fmla="*/ 14 h 15"/>
                <a:gd name="T12" fmla="*/ 2 w 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2" y="15"/>
                  </a:moveTo>
                  <a:cubicBezTo>
                    <a:pt x="3" y="15"/>
                    <a:pt x="4" y="14"/>
                    <a:pt x="4" y="1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15"/>
                    <a:pt x="2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9">
              <a:extLst>
                <a:ext uri="{FF2B5EF4-FFF2-40B4-BE49-F238E27FC236}">
                  <a16:creationId xmlns:a16="http://schemas.microsoft.com/office/drawing/2014/main" id="{54C5EB5E-F77C-49A1-9B39-785EA00F9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" y="1901"/>
              <a:ext cx="22" cy="39"/>
            </a:xfrm>
            <a:custGeom>
              <a:avLst/>
              <a:gdLst>
                <a:gd name="T0" fmla="*/ 5 w 9"/>
                <a:gd name="T1" fmla="*/ 15 h 16"/>
                <a:gd name="T2" fmla="*/ 7 w 9"/>
                <a:gd name="T3" fmla="*/ 16 h 16"/>
                <a:gd name="T4" fmla="*/ 7 w 9"/>
                <a:gd name="T5" fmla="*/ 16 h 16"/>
                <a:gd name="T6" fmla="*/ 8 w 9"/>
                <a:gd name="T7" fmla="*/ 14 h 16"/>
                <a:gd name="T8" fmla="*/ 4 w 9"/>
                <a:gd name="T9" fmla="*/ 2 h 16"/>
                <a:gd name="T10" fmla="*/ 2 w 9"/>
                <a:gd name="T11" fmla="*/ 1 h 16"/>
                <a:gd name="T12" fmla="*/ 1 w 9"/>
                <a:gd name="T13" fmla="*/ 3 h 16"/>
                <a:gd name="T14" fmla="*/ 5 w 9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6">
                  <a:moveTo>
                    <a:pt x="5" y="15"/>
                  </a:moveTo>
                  <a:cubicBezTo>
                    <a:pt x="5" y="16"/>
                    <a:pt x="6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9" y="15"/>
                    <a:pt x="8" y="1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2" y="0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lnTo>
                    <a:pt x="5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0">
              <a:extLst>
                <a:ext uri="{FF2B5EF4-FFF2-40B4-BE49-F238E27FC236}">
                  <a16:creationId xmlns:a16="http://schemas.microsoft.com/office/drawing/2014/main" id="{94AC2D1C-4E7F-4013-9D69-420BA6ABE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" y="1925"/>
              <a:ext cx="30" cy="35"/>
            </a:xfrm>
            <a:custGeom>
              <a:avLst/>
              <a:gdLst>
                <a:gd name="T0" fmla="*/ 9 w 12"/>
                <a:gd name="T1" fmla="*/ 13 h 14"/>
                <a:gd name="T2" fmla="*/ 10 w 12"/>
                <a:gd name="T3" fmla="*/ 14 h 14"/>
                <a:gd name="T4" fmla="*/ 11 w 12"/>
                <a:gd name="T5" fmla="*/ 13 h 14"/>
                <a:gd name="T6" fmla="*/ 12 w 12"/>
                <a:gd name="T7" fmla="*/ 11 h 14"/>
                <a:gd name="T8" fmla="*/ 4 w 12"/>
                <a:gd name="T9" fmla="*/ 1 h 14"/>
                <a:gd name="T10" fmla="*/ 1 w 12"/>
                <a:gd name="T11" fmla="*/ 1 h 14"/>
                <a:gd name="T12" fmla="*/ 1 w 12"/>
                <a:gd name="T13" fmla="*/ 3 h 14"/>
                <a:gd name="T14" fmla="*/ 9 w 12"/>
                <a:gd name="T1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9" y="13"/>
                  </a:moveTo>
                  <a:cubicBezTo>
                    <a:pt x="9" y="13"/>
                    <a:pt x="10" y="14"/>
                    <a:pt x="10" y="14"/>
                  </a:cubicBezTo>
                  <a:cubicBezTo>
                    <a:pt x="11" y="14"/>
                    <a:pt x="11" y="13"/>
                    <a:pt x="11" y="13"/>
                  </a:cubicBezTo>
                  <a:cubicBezTo>
                    <a:pt x="12" y="13"/>
                    <a:pt x="12" y="11"/>
                    <a:pt x="12" y="1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lnTo>
                    <a:pt x="9" y="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51">
              <a:extLst>
                <a:ext uri="{FF2B5EF4-FFF2-40B4-BE49-F238E27FC236}">
                  <a16:creationId xmlns:a16="http://schemas.microsoft.com/office/drawing/2014/main" id="{5CA0973F-F004-4C19-9A5B-A132718A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1957"/>
              <a:ext cx="37" cy="27"/>
            </a:xfrm>
            <a:custGeom>
              <a:avLst/>
              <a:gdLst>
                <a:gd name="T0" fmla="*/ 13 w 15"/>
                <a:gd name="T1" fmla="*/ 11 h 11"/>
                <a:gd name="T2" fmla="*/ 15 w 15"/>
                <a:gd name="T3" fmla="*/ 10 h 11"/>
                <a:gd name="T4" fmla="*/ 14 w 15"/>
                <a:gd name="T5" fmla="*/ 7 h 11"/>
                <a:gd name="T6" fmla="*/ 3 w 15"/>
                <a:gd name="T7" fmla="*/ 1 h 11"/>
                <a:gd name="T8" fmla="*/ 1 w 15"/>
                <a:gd name="T9" fmla="*/ 2 h 11"/>
                <a:gd name="T10" fmla="*/ 1 w 15"/>
                <a:gd name="T11" fmla="*/ 4 h 11"/>
                <a:gd name="T12" fmla="*/ 13 w 15"/>
                <a:gd name="T13" fmla="*/ 10 h 11"/>
                <a:gd name="T14" fmla="*/ 13 w 15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3" y="11"/>
                  </a:moveTo>
                  <a:cubicBezTo>
                    <a:pt x="14" y="11"/>
                    <a:pt x="15" y="10"/>
                    <a:pt x="15" y="10"/>
                  </a:cubicBezTo>
                  <a:cubicBezTo>
                    <a:pt x="15" y="9"/>
                    <a:pt x="15" y="8"/>
                    <a:pt x="14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52">
              <a:extLst>
                <a:ext uri="{FF2B5EF4-FFF2-40B4-BE49-F238E27FC236}">
                  <a16:creationId xmlns:a16="http://schemas.microsoft.com/office/drawing/2014/main" id="{C9FF8FFF-DBB3-4C57-83F9-E65BD3C20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" y="1967"/>
              <a:ext cx="34" cy="22"/>
            </a:xfrm>
            <a:custGeom>
              <a:avLst/>
              <a:gdLst>
                <a:gd name="T0" fmla="*/ 13 w 14"/>
                <a:gd name="T1" fmla="*/ 1 h 9"/>
                <a:gd name="T2" fmla="*/ 11 w 14"/>
                <a:gd name="T3" fmla="*/ 0 h 9"/>
                <a:gd name="T4" fmla="*/ 1 w 14"/>
                <a:gd name="T5" fmla="*/ 6 h 9"/>
                <a:gd name="T6" fmla="*/ 1 w 14"/>
                <a:gd name="T7" fmla="*/ 8 h 9"/>
                <a:gd name="T8" fmla="*/ 2 w 14"/>
                <a:gd name="T9" fmla="*/ 9 h 9"/>
                <a:gd name="T10" fmla="*/ 3 w 14"/>
                <a:gd name="T11" fmla="*/ 9 h 9"/>
                <a:gd name="T12" fmla="*/ 13 w 14"/>
                <a:gd name="T13" fmla="*/ 3 h 9"/>
                <a:gd name="T14" fmla="*/ 13 w 14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13" y="1"/>
                  </a:moveTo>
                  <a:cubicBezTo>
                    <a:pt x="13" y="0"/>
                    <a:pt x="12" y="0"/>
                    <a:pt x="11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8"/>
                    <a:pt x="1" y="8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2"/>
                    <a:pt x="1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3">
              <a:extLst>
                <a:ext uri="{FF2B5EF4-FFF2-40B4-BE49-F238E27FC236}">
                  <a16:creationId xmlns:a16="http://schemas.microsoft.com/office/drawing/2014/main" id="{12A400A0-8644-433E-A781-92ED826A3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" y="1930"/>
              <a:ext cx="27" cy="32"/>
            </a:xfrm>
            <a:custGeom>
              <a:avLst/>
              <a:gdLst>
                <a:gd name="T0" fmla="*/ 2 w 11"/>
                <a:gd name="T1" fmla="*/ 13 h 13"/>
                <a:gd name="T2" fmla="*/ 3 w 11"/>
                <a:gd name="T3" fmla="*/ 12 h 13"/>
                <a:gd name="T4" fmla="*/ 11 w 11"/>
                <a:gd name="T5" fmla="*/ 3 h 13"/>
                <a:gd name="T6" fmla="*/ 10 w 11"/>
                <a:gd name="T7" fmla="*/ 0 h 13"/>
                <a:gd name="T8" fmla="*/ 8 w 11"/>
                <a:gd name="T9" fmla="*/ 0 h 13"/>
                <a:gd name="T10" fmla="*/ 0 w 11"/>
                <a:gd name="T11" fmla="*/ 10 h 13"/>
                <a:gd name="T12" fmla="*/ 0 w 11"/>
                <a:gd name="T13" fmla="*/ 12 h 13"/>
                <a:gd name="T14" fmla="*/ 2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2" y="13"/>
                  </a:moveTo>
                  <a:cubicBezTo>
                    <a:pt x="2" y="13"/>
                    <a:pt x="3" y="12"/>
                    <a:pt x="3" y="1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2"/>
                    <a:pt x="0" y="12"/>
                  </a:cubicBezTo>
                  <a:cubicBezTo>
                    <a:pt x="1" y="12"/>
                    <a:pt x="1" y="13"/>
                    <a:pt x="2" y="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54">
              <a:extLst>
                <a:ext uri="{FF2B5EF4-FFF2-40B4-BE49-F238E27FC236}">
                  <a16:creationId xmlns:a16="http://schemas.microsoft.com/office/drawing/2014/main" id="{CB36F16B-4BDB-428C-88C9-5E65BF655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" y="1903"/>
              <a:ext cx="22" cy="40"/>
            </a:xfrm>
            <a:custGeom>
              <a:avLst/>
              <a:gdLst>
                <a:gd name="T0" fmla="*/ 2 w 9"/>
                <a:gd name="T1" fmla="*/ 16 h 16"/>
                <a:gd name="T2" fmla="*/ 2 w 9"/>
                <a:gd name="T3" fmla="*/ 16 h 16"/>
                <a:gd name="T4" fmla="*/ 4 w 9"/>
                <a:gd name="T5" fmla="*/ 15 h 16"/>
                <a:gd name="T6" fmla="*/ 8 w 9"/>
                <a:gd name="T7" fmla="*/ 3 h 16"/>
                <a:gd name="T8" fmla="*/ 7 w 9"/>
                <a:gd name="T9" fmla="*/ 1 h 16"/>
                <a:gd name="T10" fmla="*/ 5 w 9"/>
                <a:gd name="T11" fmla="*/ 2 h 16"/>
                <a:gd name="T12" fmla="*/ 1 w 9"/>
                <a:gd name="T13" fmla="*/ 14 h 16"/>
                <a:gd name="T14" fmla="*/ 2 w 9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6"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8" y="1"/>
                    <a:pt x="7" y="1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1" y="16"/>
                    <a:pt x="2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57">
            <a:extLst>
              <a:ext uri="{FF2B5EF4-FFF2-40B4-BE49-F238E27FC236}">
                <a16:creationId xmlns:a16="http://schemas.microsoft.com/office/drawing/2014/main" id="{4549A5B9-A25A-459E-A935-FCF7EDD86E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2847975"/>
            <a:ext cx="841375" cy="841375"/>
            <a:chOff x="1626" y="1794"/>
            <a:chExt cx="530" cy="530"/>
          </a:xfrm>
        </p:grpSpPr>
        <p:sp>
          <p:nvSpPr>
            <p:cNvPr id="177" name="AutoShape 156">
              <a:extLst>
                <a:ext uri="{FF2B5EF4-FFF2-40B4-BE49-F238E27FC236}">
                  <a16:creationId xmlns:a16="http://schemas.microsoft.com/office/drawing/2014/main" id="{83E67201-BB61-4BD1-9585-4B83081FE5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17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158">
              <a:extLst>
                <a:ext uri="{FF2B5EF4-FFF2-40B4-BE49-F238E27FC236}">
                  <a16:creationId xmlns:a16="http://schemas.microsoft.com/office/drawing/2014/main" id="{0CAC9AE8-98BF-4B9B-8C36-249FE7E67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17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9">
              <a:extLst>
                <a:ext uri="{FF2B5EF4-FFF2-40B4-BE49-F238E27FC236}">
                  <a16:creationId xmlns:a16="http://schemas.microsoft.com/office/drawing/2014/main" id="{72E60EC1-3CF4-4ABF-911F-5C7BEBFD4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18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60">
              <a:extLst>
                <a:ext uri="{FF2B5EF4-FFF2-40B4-BE49-F238E27FC236}">
                  <a16:creationId xmlns:a16="http://schemas.microsoft.com/office/drawing/2014/main" id="{48EF5B31-40C5-4210-838B-4D6CED2D8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4" y="1973"/>
              <a:ext cx="312" cy="231"/>
            </a:xfrm>
            <a:custGeom>
              <a:avLst/>
              <a:gdLst>
                <a:gd name="T0" fmla="*/ 114 w 122"/>
                <a:gd name="T1" fmla="*/ 61 h 90"/>
                <a:gd name="T2" fmla="*/ 110 w 122"/>
                <a:gd name="T3" fmla="*/ 67 h 90"/>
                <a:gd name="T4" fmla="*/ 105 w 122"/>
                <a:gd name="T5" fmla="*/ 34 h 90"/>
                <a:gd name="T6" fmla="*/ 110 w 122"/>
                <a:gd name="T7" fmla="*/ 82 h 90"/>
                <a:gd name="T8" fmla="*/ 92 w 122"/>
                <a:gd name="T9" fmla="*/ 70 h 90"/>
                <a:gd name="T10" fmla="*/ 90 w 122"/>
                <a:gd name="T11" fmla="*/ 86 h 90"/>
                <a:gd name="T12" fmla="*/ 83 w 122"/>
                <a:gd name="T13" fmla="*/ 78 h 90"/>
                <a:gd name="T14" fmla="*/ 62 w 122"/>
                <a:gd name="T15" fmla="*/ 86 h 90"/>
                <a:gd name="T16" fmla="*/ 71 w 122"/>
                <a:gd name="T17" fmla="*/ 68 h 90"/>
                <a:gd name="T18" fmla="*/ 75 w 122"/>
                <a:gd name="T19" fmla="*/ 62 h 90"/>
                <a:gd name="T20" fmla="*/ 90 w 122"/>
                <a:gd name="T21" fmla="*/ 86 h 90"/>
                <a:gd name="T22" fmla="*/ 46 w 122"/>
                <a:gd name="T23" fmla="*/ 62 h 90"/>
                <a:gd name="T24" fmla="*/ 51 w 122"/>
                <a:gd name="T25" fmla="*/ 68 h 90"/>
                <a:gd name="T26" fmla="*/ 59 w 122"/>
                <a:gd name="T27" fmla="*/ 86 h 90"/>
                <a:gd name="T28" fmla="*/ 39 w 122"/>
                <a:gd name="T29" fmla="*/ 78 h 90"/>
                <a:gd name="T30" fmla="*/ 32 w 122"/>
                <a:gd name="T31" fmla="*/ 86 h 90"/>
                <a:gd name="T32" fmla="*/ 11 w 122"/>
                <a:gd name="T33" fmla="*/ 70 h 90"/>
                <a:gd name="T34" fmla="*/ 28 w 122"/>
                <a:gd name="T35" fmla="*/ 82 h 90"/>
                <a:gd name="T36" fmla="*/ 4 w 122"/>
                <a:gd name="T37" fmla="*/ 53 h 90"/>
                <a:gd name="T38" fmla="*/ 23 w 122"/>
                <a:gd name="T39" fmla="*/ 67 h 90"/>
                <a:gd name="T40" fmla="*/ 9 w 122"/>
                <a:gd name="T41" fmla="*/ 59 h 90"/>
                <a:gd name="T42" fmla="*/ 4 w 122"/>
                <a:gd name="T43" fmla="*/ 67 h 90"/>
                <a:gd name="T44" fmla="*/ 36 w 122"/>
                <a:gd name="T45" fmla="*/ 15 h 90"/>
                <a:gd name="T46" fmla="*/ 25 w 122"/>
                <a:gd name="T47" fmla="*/ 43 h 90"/>
                <a:gd name="T48" fmla="*/ 30 w 122"/>
                <a:gd name="T49" fmla="*/ 32 h 90"/>
                <a:gd name="T50" fmla="*/ 31 w 122"/>
                <a:gd name="T51" fmla="*/ 67 h 90"/>
                <a:gd name="T52" fmla="*/ 34 w 122"/>
                <a:gd name="T53" fmla="*/ 34 h 90"/>
                <a:gd name="T54" fmla="*/ 50 w 122"/>
                <a:gd name="T55" fmla="*/ 50 h 90"/>
                <a:gd name="T56" fmla="*/ 61 w 122"/>
                <a:gd name="T57" fmla="*/ 15 h 90"/>
                <a:gd name="T58" fmla="*/ 46 w 122"/>
                <a:gd name="T59" fmla="*/ 30 h 90"/>
                <a:gd name="T60" fmla="*/ 63 w 122"/>
                <a:gd name="T61" fmla="*/ 48 h 90"/>
                <a:gd name="T62" fmla="*/ 62 w 122"/>
                <a:gd name="T63" fmla="*/ 67 h 90"/>
                <a:gd name="T64" fmla="*/ 72 w 122"/>
                <a:gd name="T65" fmla="*/ 60 h 90"/>
                <a:gd name="T66" fmla="*/ 67 w 122"/>
                <a:gd name="T67" fmla="*/ 68 h 90"/>
                <a:gd name="T68" fmla="*/ 62 w 122"/>
                <a:gd name="T69" fmla="*/ 67 h 90"/>
                <a:gd name="T70" fmla="*/ 56 w 122"/>
                <a:gd name="T71" fmla="*/ 52 h 90"/>
                <a:gd name="T72" fmla="*/ 53 w 122"/>
                <a:gd name="T73" fmla="*/ 60 h 90"/>
                <a:gd name="T74" fmla="*/ 50 w 122"/>
                <a:gd name="T75" fmla="*/ 54 h 90"/>
                <a:gd name="T76" fmla="*/ 59 w 122"/>
                <a:gd name="T77" fmla="*/ 73 h 90"/>
                <a:gd name="T78" fmla="*/ 54 w 122"/>
                <a:gd name="T79" fmla="*/ 62 h 90"/>
                <a:gd name="T80" fmla="*/ 95 w 122"/>
                <a:gd name="T81" fmla="*/ 47 h 90"/>
                <a:gd name="T82" fmla="*/ 75 w 122"/>
                <a:gd name="T83" fmla="*/ 51 h 90"/>
                <a:gd name="T84" fmla="*/ 97 w 122"/>
                <a:gd name="T85" fmla="*/ 4 h 90"/>
                <a:gd name="T86" fmla="*/ 86 w 122"/>
                <a:gd name="T87" fmla="*/ 15 h 90"/>
                <a:gd name="T88" fmla="*/ 97 w 122"/>
                <a:gd name="T89" fmla="*/ 32 h 90"/>
                <a:gd name="T90" fmla="*/ 99 w 122"/>
                <a:gd name="T91" fmla="*/ 28 h 90"/>
                <a:gd name="T92" fmla="*/ 83 w 122"/>
                <a:gd name="T93" fmla="*/ 15 h 90"/>
                <a:gd name="T94" fmla="*/ 79 w 122"/>
                <a:gd name="T95" fmla="*/ 30 h 90"/>
                <a:gd name="T96" fmla="*/ 44 w 122"/>
                <a:gd name="T97" fmla="*/ 37 h 90"/>
                <a:gd name="T98" fmla="*/ 25 w 122"/>
                <a:gd name="T99" fmla="*/ 0 h 90"/>
                <a:gd name="T100" fmla="*/ 0 w 122"/>
                <a:gd name="T101" fmla="*/ 53 h 90"/>
                <a:gd name="T102" fmla="*/ 8 w 122"/>
                <a:gd name="T103" fmla="*/ 70 h 90"/>
                <a:gd name="T104" fmla="*/ 9 w 122"/>
                <a:gd name="T105" fmla="*/ 86 h 90"/>
                <a:gd name="T106" fmla="*/ 28 w 122"/>
                <a:gd name="T107" fmla="*/ 88 h 90"/>
                <a:gd name="T108" fmla="*/ 93 w 122"/>
                <a:gd name="T109" fmla="*/ 88 h 90"/>
                <a:gd name="T110" fmla="*/ 112 w 122"/>
                <a:gd name="T111" fmla="*/ 86 h 90"/>
                <a:gd name="T112" fmla="*/ 114 w 122"/>
                <a:gd name="T113" fmla="*/ 70 h 90"/>
                <a:gd name="T114" fmla="*/ 122 w 122"/>
                <a:gd name="T115" fmla="*/ 5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" h="90">
                  <a:moveTo>
                    <a:pt x="118" y="67"/>
                  </a:moveTo>
                  <a:cubicBezTo>
                    <a:pt x="114" y="67"/>
                    <a:pt x="114" y="67"/>
                    <a:pt x="114" y="67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0"/>
                    <a:pt x="113" y="59"/>
                    <a:pt x="112" y="59"/>
                  </a:cubicBezTo>
                  <a:cubicBezTo>
                    <a:pt x="111" y="59"/>
                    <a:pt x="110" y="60"/>
                    <a:pt x="110" y="61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13" y="37"/>
                    <a:pt x="118" y="44"/>
                    <a:pt x="118" y="53"/>
                  </a:cubicBezTo>
                  <a:lnTo>
                    <a:pt x="118" y="67"/>
                  </a:lnTo>
                  <a:close/>
                  <a:moveTo>
                    <a:pt x="110" y="82"/>
                  </a:moveTo>
                  <a:cubicBezTo>
                    <a:pt x="93" y="82"/>
                    <a:pt x="93" y="82"/>
                    <a:pt x="93" y="82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7"/>
                    <a:pt x="93" y="73"/>
                    <a:pt x="92" y="70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10" y="82"/>
                  </a:lnTo>
                  <a:close/>
                  <a:moveTo>
                    <a:pt x="90" y="86"/>
                  </a:moveTo>
                  <a:cubicBezTo>
                    <a:pt x="84" y="86"/>
                    <a:pt x="84" y="86"/>
                    <a:pt x="84" y="86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84" y="79"/>
                    <a:pt x="84" y="78"/>
                    <a:pt x="83" y="78"/>
                  </a:cubicBezTo>
                  <a:cubicBezTo>
                    <a:pt x="82" y="78"/>
                    <a:pt x="81" y="79"/>
                    <a:pt x="81" y="80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70" y="72"/>
                    <a:pt x="71" y="70"/>
                    <a:pt x="71" y="68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84" y="60"/>
                    <a:pt x="90" y="70"/>
                    <a:pt x="90" y="80"/>
                  </a:cubicBezTo>
                  <a:lnTo>
                    <a:pt x="90" y="86"/>
                  </a:lnTo>
                  <a:close/>
                  <a:moveTo>
                    <a:pt x="32" y="80"/>
                  </a:moveTo>
                  <a:cubicBezTo>
                    <a:pt x="32" y="70"/>
                    <a:pt x="38" y="60"/>
                    <a:pt x="46" y="55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3"/>
                    <a:pt x="47" y="63"/>
                    <a:pt x="48" y="63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70"/>
                    <a:pt x="52" y="71"/>
                    <a:pt x="53" y="73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86"/>
                    <a:pt x="59" y="86"/>
                    <a:pt x="59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79"/>
                    <a:pt x="40" y="78"/>
                    <a:pt x="39" y="78"/>
                  </a:cubicBezTo>
                  <a:cubicBezTo>
                    <a:pt x="38" y="78"/>
                    <a:pt x="37" y="79"/>
                    <a:pt x="37" y="80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2" y="86"/>
                    <a:pt x="32" y="86"/>
                    <a:pt x="32" y="86"/>
                  </a:cubicBezTo>
                  <a:lnTo>
                    <a:pt x="32" y="80"/>
                  </a:lnTo>
                  <a:close/>
                  <a:moveTo>
                    <a:pt x="11" y="82"/>
                  </a:moveTo>
                  <a:cubicBezTo>
                    <a:pt x="11" y="70"/>
                    <a:pt x="11" y="70"/>
                    <a:pt x="11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29" y="73"/>
                    <a:pt x="28" y="77"/>
                    <a:pt x="28" y="80"/>
                  </a:cubicBezTo>
                  <a:cubicBezTo>
                    <a:pt x="28" y="82"/>
                    <a:pt x="28" y="82"/>
                    <a:pt x="28" y="82"/>
                  </a:cubicBezTo>
                  <a:lnTo>
                    <a:pt x="11" y="82"/>
                  </a:lnTo>
                  <a:close/>
                  <a:moveTo>
                    <a:pt x="4" y="67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44"/>
                    <a:pt x="9" y="37"/>
                    <a:pt x="16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0"/>
                    <a:pt x="10" y="59"/>
                    <a:pt x="9" y="59"/>
                  </a:cubicBezTo>
                  <a:cubicBezTo>
                    <a:pt x="8" y="59"/>
                    <a:pt x="8" y="60"/>
                    <a:pt x="8" y="61"/>
                  </a:cubicBezTo>
                  <a:cubicBezTo>
                    <a:pt x="8" y="67"/>
                    <a:pt x="8" y="67"/>
                    <a:pt x="8" y="67"/>
                  </a:cubicBezTo>
                  <a:lnTo>
                    <a:pt x="4" y="67"/>
                  </a:lnTo>
                  <a:close/>
                  <a:moveTo>
                    <a:pt x="14" y="15"/>
                  </a:moveTo>
                  <a:cubicBezTo>
                    <a:pt x="14" y="9"/>
                    <a:pt x="19" y="4"/>
                    <a:pt x="25" y="4"/>
                  </a:cubicBezTo>
                  <a:cubicBezTo>
                    <a:pt x="31" y="4"/>
                    <a:pt x="36" y="9"/>
                    <a:pt x="36" y="15"/>
                  </a:cubicBezTo>
                  <a:cubicBezTo>
                    <a:pt x="36" y="20"/>
                    <a:pt x="31" y="25"/>
                    <a:pt x="25" y="25"/>
                  </a:cubicBezTo>
                  <a:cubicBezTo>
                    <a:pt x="19" y="25"/>
                    <a:pt x="14" y="20"/>
                    <a:pt x="14" y="15"/>
                  </a:cubicBezTo>
                  <a:moveTo>
                    <a:pt x="25" y="43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1" y="32"/>
                    <a:pt x="23" y="32"/>
                    <a:pt x="25" y="32"/>
                  </a:cubicBezTo>
                  <a:cubicBezTo>
                    <a:pt x="27" y="32"/>
                    <a:pt x="29" y="32"/>
                    <a:pt x="30" y="32"/>
                  </a:cubicBezTo>
                  <a:lnTo>
                    <a:pt x="25" y="43"/>
                  </a:lnTo>
                  <a:close/>
                  <a:moveTo>
                    <a:pt x="46" y="51"/>
                  </a:moveTo>
                  <a:cubicBezTo>
                    <a:pt x="40" y="55"/>
                    <a:pt x="34" y="60"/>
                    <a:pt x="31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1" y="37"/>
                    <a:pt x="46" y="43"/>
                    <a:pt x="46" y="51"/>
                  </a:cubicBezTo>
                  <a:moveTo>
                    <a:pt x="59" y="48"/>
                  </a:moveTo>
                  <a:cubicBezTo>
                    <a:pt x="55" y="48"/>
                    <a:pt x="52" y="49"/>
                    <a:pt x="50" y="50"/>
                  </a:cubicBezTo>
                  <a:cubicBezTo>
                    <a:pt x="49" y="47"/>
                    <a:pt x="48" y="45"/>
                    <a:pt x="47" y="42"/>
                  </a:cubicBezTo>
                  <a:cubicBezTo>
                    <a:pt x="50" y="45"/>
                    <a:pt x="54" y="48"/>
                    <a:pt x="59" y="48"/>
                  </a:cubicBezTo>
                  <a:moveTo>
                    <a:pt x="61" y="15"/>
                  </a:moveTo>
                  <a:cubicBezTo>
                    <a:pt x="69" y="15"/>
                    <a:pt x="76" y="21"/>
                    <a:pt x="76" y="30"/>
                  </a:cubicBezTo>
                  <a:cubicBezTo>
                    <a:pt x="76" y="38"/>
                    <a:pt x="69" y="45"/>
                    <a:pt x="61" y="45"/>
                  </a:cubicBezTo>
                  <a:cubicBezTo>
                    <a:pt x="52" y="45"/>
                    <a:pt x="46" y="38"/>
                    <a:pt x="46" y="30"/>
                  </a:cubicBezTo>
                  <a:cubicBezTo>
                    <a:pt x="46" y="21"/>
                    <a:pt x="52" y="15"/>
                    <a:pt x="61" y="15"/>
                  </a:cubicBezTo>
                  <a:moveTo>
                    <a:pt x="72" y="50"/>
                  </a:moveTo>
                  <a:cubicBezTo>
                    <a:pt x="69" y="49"/>
                    <a:pt x="66" y="48"/>
                    <a:pt x="63" y="48"/>
                  </a:cubicBezTo>
                  <a:cubicBezTo>
                    <a:pt x="68" y="47"/>
                    <a:pt x="72" y="45"/>
                    <a:pt x="75" y="42"/>
                  </a:cubicBezTo>
                  <a:cubicBezTo>
                    <a:pt x="73" y="44"/>
                    <a:pt x="73" y="47"/>
                    <a:pt x="72" y="50"/>
                  </a:cubicBezTo>
                  <a:moveTo>
                    <a:pt x="62" y="67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70" y="53"/>
                    <a:pt x="71" y="53"/>
                    <a:pt x="72" y="54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7" y="61"/>
                    <a:pt x="67" y="62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70"/>
                    <a:pt x="66" y="70"/>
                  </a:cubicBezTo>
                  <a:cubicBezTo>
                    <a:pt x="62" y="74"/>
                    <a:pt x="62" y="74"/>
                    <a:pt x="62" y="74"/>
                  </a:cubicBezTo>
                  <a:lnTo>
                    <a:pt x="62" y="67"/>
                  </a:lnTo>
                  <a:close/>
                  <a:moveTo>
                    <a:pt x="66" y="52"/>
                  </a:moveTo>
                  <a:cubicBezTo>
                    <a:pt x="61" y="62"/>
                    <a:pt x="61" y="62"/>
                    <a:pt x="61" y="6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7" y="52"/>
                    <a:pt x="59" y="51"/>
                    <a:pt x="61" y="51"/>
                  </a:cubicBezTo>
                  <a:cubicBezTo>
                    <a:pt x="63" y="51"/>
                    <a:pt x="64" y="52"/>
                    <a:pt x="66" y="52"/>
                  </a:cubicBezTo>
                  <a:moveTo>
                    <a:pt x="53" y="60"/>
                  </a:moveTo>
                  <a:cubicBezTo>
                    <a:pt x="50" y="60"/>
                    <a:pt x="50" y="60"/>
                    <a:pt x="50" y="60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3"/>
                    <a:pt x="51" y="53"/>
                    <a:pt x="52" y="53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4" y="69"/>
                    <a:pt x="54" y="68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1"/>
                    <a:pt x="54" y="60"/>
                    <a:pt x="53" y="60"/>
                  </a:cubicBezTo>
                  <a:moveTo>
                    <a:pt x="88" y="34"/>
                  </a:moveTo>
                  <a:cubicBezTo>
                    <a:pt x="95" y="47"/>
                    <a:pt x="95" y="47"/>
                    <a:pt x="95" y="47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87" y="60"/>
                    <a:pt x="82" y="55"/>
                    <a:pt x="75" y="51"/>
                  </a:cubicBezTo>
                  <a:cubicBezTo>
                    <a:pt x="76" y="43"/>
                    <a:pt x="81" y="37"/>
                    <a:pt x="88" y="34"/>
                  </a:cubicBezTo>
                  <a:moveTo>
                    <a:pt x="86" y="15"/>
                  </a:moveTo>
                  <a:cubicBezTo>
                    <a:pt x="86" y="9"/>
                    <a:pt x="91" y="4"/>
                    <a:pt x="97" y="4"/>
                  </a:cubicBezTo>
                  <a:cubicBezTo>
                    <a:pt x="102" y="4"/>
                    <a:pt x="107" y="9"/>
                    <a:pt x="107" y="15"/>
                  </a:cubicBezTo>
                  <a:cubicBezTo>
                    <a:pt x="107" y="20"/>
                    <a:pt x="102" y="25"/>
                    <a:pt x="97" y="25"/>
                  </a:cubicBezTo>
                  <a:cubicBezTo>
                    <a:pt x="91" y="25"/>
                    <a:pt x="86" y="20"/>
                    <a:pt x="86" y="15"/>
                  </a:cubicBezTo>
                  <a:moveTo>
                    <a:pt x="97" y="43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3" y="32"/>
                    <a:pt x="95" y="32"/>
                    <a:pt x="97" y="32"/>
                  </a:cubicBezTo>
                  <a:cubicBezTo>
                    <a:pt x="99" y="32"/>
                    <a:pt x="100" y="32"/>
                    <a:pt x="102" y="32"/>
                  </a:cubicBezTo>
                  <a:lnTo>
                    <a:pt x="97" y="43"/>
                  </a:lnTo>
                  <a:close/>
                  <a:moveTo>
                    <a:pt x="99" y="28"/>
                  </a:moveTo>
                  <a:cubicBezTo>
                    <a:pt x="106" y="27"/>
                    <a:pt x="111" y="22"/>
                    <a:pt x="111" y="15"/>
                  </a:cubicBezTo>
                  <a:cubicBezTo>
                    <a:pt x="111" y="7"/>
                    <a:pt x="104" y="0"/>
                    <a:pt x="97" y="0"/>
                  </a:cubicBezTo>
                  <a:cubicBezTo>
                    <a:pt x="89" y="0"/>
                    <a:pt x="83" y="7"/>
                    <a:pt x="83" y="15"/>
                  </a:cubicBezTo>
                  <a:cubicBezTo>
                    <a:pt x="83" y="22"/>
                    <a:pt x="88" y="27"/>
                    <a:pt x="94" y="28"/>
                  </a:cubicBezTo>
                  <a:cubicBezTo>
                    <a:pt x="88" y="29"/>
                    <a:pt x="82" y="32"/>
                    <a:pt x="77" y="37"/>
                  </a:cubicBezTo>
                  <a:cubicBezTo>
                    <a:pt x="79" y="35"/>
                    <a:pt x="79" y="32"/>
                    <a:pt x="79" y="30"/>
                  </a:cubicBezTo>
                  <a:cubicBezTo>
                    <a:pt x="79" y="19"/>
                    <a:pt x="71" y="11"/>
                    <a:pt x="61" y="11"/>
                  </a:cubicBezTo>
                  <a:cubicBezTo>
                    <a:pt x="51" y="11"/>
                    <a:pt x="42" y="19"/>
                    <a:pt x="42" y="30"/>
                  </a:cubicBezTo>
                  <a:cubicBezTo>
                    <a:pt x="42" y="32"/>
                    <a:pt x="43" y="35"/>
                    <a:pt x="44" y="37"/>
                  </a:cubicBezTo>
                  <a:cubicBezTo>
                    <a:pt x="40" y="32"/>
                    <a:pt x="34" y="29"/>
                    <a:pt x="27" y="28"/>
                  </a:cubicBezTo>
                  <a:cubicBezTo>
                    <a:pt x="34" y="27"/>
                    <a:pt x="39" y="22"/>
                    <a:pt x="39" y="15"/>
                  </a:cubicBezTo>
                  <a:cubicBezTo>
                    <a:pt x="39" y="7"/>
                    <a:pt x="33" y="0"/>
                    <a:pt x="25" y="0"/>
                  </a:cubicBezTo>
                  <a:cubicBezTo>
                    <a:pt x="17" y="0"/>
                    <a:pt x="11" y="7"/>
                    <a:pt x="11" y="15"/>
                  </a:cubicBezTo>
                  <a:cubicBezTo>
                    <a:pt x="11" y="22"/>
                    <a:pt x="16" y="27"/>
                    <a:pt x="23" y="28"/>
                  </a:cubicBezTo>
                  <a:cubicBezTo>
                    <a:pt x="10" y="30"/>
                    <a:pt x="0" y="40"/>
                    <a:pt x="0" y="53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0"/>
                    <a:pt x="1" y="70"/>
                    <a:pt x="2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9"/>
                    <a:pt x="29" y="90"/>
                    <a:pt x="30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90"/>
                    <a:pt x="93" y="89"/>
                    <a:pt x="93" y="88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3" y="86"/>
                    <a:pt x="113" y="86"/>
                    <a:pt x="113" y="85"/>
                  </a:cubicBezTo>
                  <a:cubicBezTo>
                    <a:pt x="114" y="85"/>
                    <a:pt x="114" y="84"/>
                    <a:pt x="114" y="84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1" y="70"/>
                    <a:pt x="122" y="70"/>
                    <a:pt x="122" y="69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2" y="40"/>
                    <a:pt x="112" y="30"/>
                    <a:pt x="99" y="2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61">
              <a:extLst>
                <a:ext uri="{FF2B5EF4-FFF2-40B4-BE49-F238E27FC236}">
                  <a16:creationId xmlns:a16="http://schemas.microsoft.com/office/drawing/2014/main" id="{10CBD1C1-ADF1-442B-BB64-10C4F492E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6" y="1917"/>
              <a:ext cx="325" cy="54"/>
            </a:xfrm>
            <a:custGeom>
              <a:avLst/>
              <a:gdLst>
                <a:gd name="T0" fmla="*/ 117 w 127"/>
                <a:gd name="T1" fmla="*/ 15 h 21"/>
                <a:gd name="T2" fmla="*/ 120 w 127"/>
                <a:gd name="T3" fmla="*/ 18 h 21"/>
                <a:gd name="T4" fmla="*/ 104 w 127"/>
                <a:gd name="T5" fmla="*/ 18 h 21"/>
                <a:gd name="T6" fmla="*/ 104 w 127"/>
                <a:gd name="T7" fmla="*/ 9 h 21"/>
                <a:gd name="T8" fmla="*/ 120 w 127"/>
                <a:gd name="T9" fmla="*/ 9 h 21"/>
                <a:gd name="T10" fmla="*/ 117 w 127"/>
                <a:gd name="T11" fmla="*/ 12 h 21"/>
                <a:gd name="T12" fmla="*/ 116 w 127"/>
                <a:gd name="T13" fmla="*/ 14 h 21"/>
                <a:gd name="T14" fmla="*/ 117 w 127"/>
                <a:gd name="T15" fmla="*/ 15 h 21"/>
                <a:gd name="T16" fmla="*/ 27 w 127"/>
                <a:gd name="T17" fmla="*/ 8 h 21"/>
                <a:gd name="T18" fmla="*/ 27 w 127"/>
                <a:gd name="T19" fmla="*/ 4 h 21"/>
                <a:gd name="T20" fmla="*/ 101 w 127"/>
                <a:gd name="T21" fmla="*/ 4 h 21"/>
                <a:gd name="T22" fmla="*/ 101 w 127"/>
                <a:gd name="T23" fmla="*/ 8 h 21"/>
                <a:gd name="T24" fmla="*/ 101 w 127"/>
                <a:gd name="T25" fmla="*/ 18 h 21"/>
                <a:gd name="T26" fmla="*/ 27 w 127"/>
                <a:gd name="T27" fmla="*/ 18 h 21"/>
                <a:gd name="T28" fmla="*/ 27 w 127"/>
                <a:gd name="T29" fmla="*/ 8 h 21"/>
                <a:gd name="T30" fmla="*/ 11 w 127"/>
                <a:gd name="T31" fmla="*/ 12 h 21"/>
                <a:gd name="T32" fmla="*/ 7 w 127"/>
                <a:gd name="T33" fmla="*/ 9 h 21"/>
                <a:gd name="T34" fmla="*/ 24 w 127"/>
                <a:gd name="T35" fmla="*/ 9 h 21"/>
                <a:gd name="T36" fmla="*/ 24 w 127"/>
                <a:gd name="T37" fmla="*/ 18 h 21"/>
                <a:gd name="T38" fmla="*/ 7 w 127"/>
                <a:gd name="T39" fmla="*/ 18 h 21"/>
                <a:gd name="T40" fmla="*/ 11 w 127"/>
                <a:gd name="T41" fmla="*/ 15 h 21"/>
                <a:gd name="T42" fmla="*/ 12 w 127"/>
                <a:gd name="T43" fmla="*/ 14 h 21"/>
                <a:gd name="T44" fmla="*/ 11 w 127"/>
                <a:gd name="T45" fmla="*/ 12 h 21"/>
                <a:gd name="T46" fmla="*/ 121 w 127"/>
                <a:gd name="T47" fmla="*/ 14 h 21"/>
                <a:gd name="T48" fmla="*/ 126 w 127"/>
                <a:gd name="T49" fmla="*/ 9 h 21"/>
                <a:gd name="T50" fmla="*/ 127 w 127"/>
                <a:gd name="T51" fmla="*/ 7 h 21"/>
                <a:gd name="T52" fmla="*/ 125 w 127"/>
                <a:gd name="T53" fmla="*/ 6 h 21"/>
                <a:gd name="T54" fmla="*/ 104 w 127"/>
                <a:gd name="T55" fmla="*/ 6 h 21"/>
                <a:gd name="T56" fmla="*/ 104 w 127"/>
                <a:gd name="T57" fmla="*/ 2 h 21"/>
                <a:gd name="T58" fmla="*/ 102 w 127"/>
                <a:gd name="T59" fmla="*/ 0 h 21"/>
                <a:gd name="T60" fmla="*/ 25 w 127"/>
                <a:gd name="T61" fmla="*/ 0 h 21"/>
                <a:gd name="T62" fmla="*/ 24 w 127"/>
                <a:gd name="T63" fmla="*/ 2 h 21"/>
                <a:gd name="T64" fmla="*/ 24 w 127"/>
                <a:gd name="T65" fmla="*/ 6 h 21"/>
                <a:gd name="T66" fmla="*/ 2 w 127"/>
                <a:gd name="T67" fmla="*/ 6 h 21"/>
                <a:gd name="T68" fmla="*/ 1 w 127"/>
                <a:gd name="T69" fmla="*/ 7 h 21"/>
                <a:gd name="T70" fmla="*/ 1 w 127"/>
                <a:gd name="T71" fmla="*/ 9 h 21"/>
                <a:gd name="T72" fmla="*/ 7 w 127"/>
                <a:gd name="T73" fmla="*/ 14 h 21"/>
                <a:gd name="T74" fmla="*/ 1 w 127"/>
                <a:gd name="T75" fmla="*/ 18 h 21"/>
                <a:gd name="T76" fmla="*/ 1 w 127"/>
                <a:gd name="T77" fmla="*/ 20 h 21"/>
                <a:gd name="T78" fmla="*/ 2 w 127"/>
                <a:gd name="T79" fmla="*/ 21 h 21"/>
                <a:gd name="T80" fmla="*/ 25 w 127"/>
                <a:gd name="T81" fmla="*/ 21 h 21"/>
                <a:gd name="T82" fmla="*/ 102 w 127"/>
                <a:gd name="T83" fmla="*/ 21 h 21"/>
                <a:gd name="T84" fmla="*/ 125 w 127"/>
                <a:gd name="T85" fmla="*/ 21 h 21"/>
                <a:gd name="T86" fmla="*/ 127 w 127"/>
                <a:gd name="T87" fmla="*/ 20 h 21"/>
                <a:gd name="T88" fmla="*/ 126 w 127"/>
                <a:gd name="T89" fmla="*/ 18 h 21"/>
                <a:gd name="T90" fmla="*/ 121 w 127"/>
                <a:gd name="T9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7" h="21">
                  <a:moveTo>
                    <a:pt x="117" y="15"/>
                  </a:moveTo>
                  <a:cubicBezTo>
                    <a:pt x="120" y="18"/>
                    <a:pt x="120" y="18"/>
                    <a:pt x="120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20" y="9"/>
                    <a:pt x="120" y="9"/>
                    <a:pt x="120" y="9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6" y="13"/>
                    <a:pt x="116" y="13"/>
                    <a:pt x="116" y="14"/>
                  </a:cubicBezTo>
                  <a:cubicBezTo>
                    <a:pt x="116" y="14"/>
                    <a:pt x="116" y="15"/>
                    <a:pt x="117" y="15"/>
                  </a:cubicBezTo>
                  <a:moveTo>
                    <a:pt x="27" y="8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27" y="18"/>
                    <a:pt x="27" y="18"/>
                    <a:pt x="27" y="18"/>
                  </a:cubicBezTo>
                  <a:lnTo>
                    <a:pt x="27" y="8"/>
                  </a:lnTo>
                  <a:close/>
                  <a:moveTo>
                    <a:pt x="11" y="12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4"/>
                    <a:pt x="12" y="14"/>
                  </a:cubicBezTo>
                  <a:cubicBezTo>
                    <a:pt x="12" y="13"/>
                    <a:pt x="12" y="13"/>
                    <a:pt x="11" y="12"/>
                  </a:cubicBezTo>
                  <a:moveTo>
                    <a:pt x="121" y="14"/>
                  </a:moveTo>
                  <a:cubicBezTo>
                    <a:pt x="126" y="9"/>
                    <a:pt x="126" y="9"/>
                    <a:pt x="126" y="9"/>
                  </a:cubicBezTo>
                  <a:cubicBezTo>
                    <a:pt x="127" y="9"/>
                    <a:pt x="127" y="8"/>
                    <a:pt x="127" y="7"/>
                  </a:cubicBezTo>
                  <a:cubicBezTo>
                    <a:pt x="127" y="7"/>
                    <a:pt x="126" y="6"/>
                    <a:pt x="125" y="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4" y="1"/>
                    <a:pt x="103" y="0"/>
                    <a:pt x="102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4" y="1"/>
                    <a:pt x="24" y="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0" y="19"/>
                    <a:pt x="1" y="20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6" y="21"/>
                    <a:pt x="127" y="21"/>
                    <a:pt x="127" y="20"/>
                  </a:cubicBezTo>
                  <a:cubicBezTo>
                    <a:pt x="127" y="19"/>
                    <a:pt x="127" y="19"/>
                    <a:pt x="126" y="18"/>
                  </a:cubicBezTo>
                  <a:lnTo>
                    <a:pt x="121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64">
            <a:extLst>
              <a:ext uri="{FF2B5EF4-FFF2-40B4-BE49-F238E27FC236}">
                <a16:creationId xmlns:a16="http://schemas.microsoft.com/office/drawing/2014/main" id="{3C074F77-98E4-476E-9897-962E43DE8FD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52838" y="2889250"/>
            <a:ext cx="758825" cy="758825"/>
            <a:chOff x="2301" y="1820"/>
            <a:chExt cx="478" cy="478"/>
          </a:xfrm>
        </p:grpSpPr>
        <p:sp>
          <p:nvSpPr>
            <p:cNvPr id="183" name="AutoShape 163">
              <a:extLst>
                <a:ext uri="{FF2B5EF4-FFF2-40B4-BE49-F238E27FC236}">
                  <a16:creationId xmlns:a16="http://schemas.microsoft.com/office/drawing/2014/main" id="{79C8DFA9-086E-4FA9-89F6-09B23EA3FB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182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65">
              <a:extLst>
                <a:ext uri="{FF2B5EF4-FFF2-40B4-BE49-F238E27FC236}">
                  <a16:creationId xmlns:a16="http://schemas.microsoft.com/office/drawing/2014/main" id="{8873B3FB-7BEA-4D4F-BD67-BA873450EF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182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6">
              <a:extLst>
                <a:ext uri="{FF2B5EF4-FFF2-40B4-BE49-F238E27FC236}">
                  <a16:creationId xmlns:a16="http://schemas.microsoft.com/office/drawing/2014/main" id="{496AAE74-5240-4EFD-B001-B9471F65FE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1977"/>
              <a:ext cx="299" cy="221"/>
            </a:xfrm>
            <a:custGeom>
              <a:avLst/>
              <a:gdLst>
                <a:gd name="T0" fmla="*/ 114 w 122"/>
                <a:gd name="T1" fmla="*/ 61 h 90"/>
                <a:gd name="T2" fmla="*/ 110 w 122"/>
                <a:gd name="T3" fmla="*/ 67 h 90"/>
                <a:gd name="T4" fmla="*/ 105 w 122"/>
                <a:gd name="T5" fmla="*/ 34 h 90"/>
                <a:gd name="T6" fmla="*/ 110 w 122"/>
                <a:gd name="T7" fmla="*/ 82 h 90"/>
                <a:gd name="T8" fmla="*/ 92 w 122"/>
                <a:gd name="T9" fmla="*/ 70 h 90"/>
                <a:gd name="T10" fmla="*/ 90 w 122"/>
                <a:gd name="T11" fmla="*/ 86 h 90"/>
                <a:gd name="T12" fmla="*/ 83 w 122"/>
                <a:gd name="T13" fmla="*/ 78 h 90"/>
                <a:gd name="T14" fmla="*/ 62 w 122"/>
                <a:gd name="T15" fmla="*/ 86 h 90"/>
                <a:gd name="T16" fmla="*/ 71 w 122"/>
                <a:gd name="T17" fmla="*/ 68 h 90"/>
                <a:gd name="T18" fmla="*/ 75 w 122"/>
                <a:gd name="T19" fmla="*/ 62 h 90"/>
                <a:gd name="T20" fmla="*/ 90 w 122"/>
                <a:gd name="T21" fmla="*/ 86 h 90"/>
                <a:gd name="T22" fmla="*/ 46 w 122"/>
                <a:gd name="T23" fmla="*/ 62 h 90"/>
                <a:gd name="T24" fmla="*/ 51 w 122"/>
                <a:gd name="T25" fmla="*/ 68 h 90"/>
                <a:gd name="T26" fmla="*/ 59 w 122"/>
                <a:gd name="T27" fmla="*/ 86 h 90"/>
                <a:gd name="T28" fmla="*/ 39 w 122"/>
                <a:gd name="T29" fmla="*/ 78 h 90"/>
                <a:gd name="T30" fmla="*/ 32 w 122"/>
                <a:gd name="T31" fmla="*/ 86 h 90"/>
                <a:gd name="T32" fmla="*/ 11 w 122"/>
                <a:gd name="T33" fmla="*/ 70 h 90"/>
                <a:gd name="T34" fmla="*/ 28 w 122"/>
                <a:gd name="T35" fmla="*/ 82 h 90"/>
                <a:gd name="T36" fmla="*/ 4 w 122"/>
                <a:gd name="T37" fmla="*/ 53 h 90"/>
                <a:gd name="T38" fmla="*/ 23 w 122"/>
                <a:gd name="T39" fmla="*/ 67 h 90"/>
                <a:gd name="T40" fmla="*/ 9 w 122"/>
                <a:gd name="T41" fmla="*/ 59 h 90"/>
                <a:gd name="T42" fmla="*/ 4 w 122"/>
                <a:gd name="T43" fmla="*/ 67 h 90"/>
                <a:gd name="T44" fmla="*/ 36 w 122"/>
                <a:gd name="T45" fmla="*/ 15 h 90"/>
                <a:gd name="T46" fmla="*/ 25 w 122"/>
                <a:gd name="T47" fmla="*/ 43 h 90"/>
                <a:gd name="T48" fmla="*/ 30 w 122"/>
                <a:gd name="T49" fmla="*/ 32 h 90"/>
                <a:gd name="T50" fmla="*/ 31 w 122"/>
                <a:gd name="T51" fmla="*/ 67 h 90"/>
                <a:gd name="T52" fmla="*/ 34 w 122"/>
                <a:gd name="T53" fmla="*/ 34 h 90"/>
                <a:gd name="T54" fmla="*/ 50 w 122"/>
                <a:gd name="T55" fmla="*/ 50 h 90"/>
                <a:gd name="T56" fmla="*/ 61 w 122"/>
                <a:gd name="T57" fmla="*/ 15 h 90"/>
                <a:gd name="T58" fmla="*/ 46 w 122"/>
                <a:gd name="T59" fmla="*/ 30 h 90"/>
                <a:gd name="T60" fmla="*/ 63 w 122"/>
                <a:gd name="T61" fmla="*/ 48 h 90"/>
                <a:gd name="T62" fmla="*/ 62 w 122"/>
                <a:gd name="T63" fmla="*/ 67 h 90"/>
                <a:gd name="T64" fmla="*/ 72 w 122"/>
                <a:gd name="T65" fmla="*/ 60 h 90"/>
                <a:gd name="T66" fmla="*/ 67 w 122"/>
                <a:gd name="T67" fmla="*/ 68 h 90"/>
                <a:gd name="T68" fmla="*/ 62 w 122"/>
                <a:gd name="T69" fmla="*/ 67 h 90"/>
                <a:gd name="T70" fmla="*/ 56 w 122"/>
                <a:gd name="T71" fmla="*/ 52 h 90"/>
                <a:gd name="T72" fmla="*/ 53 w 122"/>
                <a:gd name="T73" fmla="*/ 60 h 90"/>
                <a:gd name="T74" fmla="*/ 50 w 122"/>
                <a:gd name="T75" fmla="*/ 54 h 90"/>
                <a:gd name="T76" fmla="*/ 59 w 122"/>
                <a:gd name="T77" fmla="*/ 73 h 90"/>
                <a:gd name="T78" fmla="*/ 54 w 122"/>
                <a:gd name="T79" fmla="*/ 62 h 90"/>
                <a:gd name="T80" fmla="*/ 95 w 122"/>
                <a:gd name="T81" fmla="*/ 47 h 90"/>
                <a:gd name="T82" fmla="*/ 75 w 122"/>
                <a:gd name="T83" fmla="*/ 51 h 90"/>
                <a:gd name="T84" fmla="*/ 97 w 122"/>
                <a:gd name="T85" fmla="*/ 4 h 90"/>
                <a:gd name="T86" fmla="*/ 86 w 122"/>
                <a:gd name="T87" fmla="*/ 15 h 90"/>
                <a:gd name="T88" fmla="*/ 97 w 122"/>
                <a:gd name="T89" fmla="*/ 32 h 90"/>
                <a:gd name="T90" fmla="*/ 99 w 122"/>
                <a:gd name="T91" fmla="*/ 28 h 90"/>
                <a:gd name="T92" fmla="*/ 83 w 122"/>
                <a:gd name="T93" fmla="*/ 15 h 90"/>
                <a:gd name="T94" fmla="*/ 79 w 122"/>
                <a:gd name="T95" fmla="*/ 30 h 90"/>
                <a:gd name="T96" fmla="*/ 44 w 122"/>
                <a:gd name="T97" fmla="*/ 37 h 90"/>
                <a:gd name="T98" fmla="*/ 25 w 122"/>
                <a:gd name="T99" fmla="*/ 0 h 90"/>
                <a:gd name="T100" fmla="*/ 0 w 122"/>
                <a:gd name="T101" fmla="*/ 53 h 90"/>
                <a:gd name="T102" fmla="*/ 8 w 122"/>
                <a:gd name="T103" fmla="*/ 70 h 90"/>
                <a:gd name="T104" fmla="*/ 9 w 122"/>
                <a:gd name="T105" fmla="*/ 86 h 90"/>
                <a:gd name="T106" fmla="*/ 28 w 122"/>
                <a:gd name="T107" fmla="*/ 88 h 90"/>
                <a:gd name="T108" fmla="*/ 93 w 122"/>
                <a:gd name="T109" fmla="*/ 88 h 90"/>
                <a:gd name="T110" fmla="*/ 112 w 122"/>
                <a:gd name="T111" fmla="*/ 86 h 90"/>
                <a:gd name="T112" fmla="*/ 114 w 122"/>
                <a:gd name="T113" fmla="*/ 70 h 90"/>
                <a:gd name="T114" fmla="*/ 122 w 122"/>
                <a:gd name="T115" fmla="*/ 5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" h="90">
                  <a:moveTo>
                    <a:pt x="118" y="67"/>
                  </a:moveTo>
                  <a:cubicBezTo>
                    <a:pt x="114" y="67"/>
                    <a:pt x="114" y="67"/>
                    <a:pt x="114" y="67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0"/>
                    <a:pt x="113" y="59"/>
                    <a:pt x="112" y="59"/>
                  </a:cubicBezTo>
                  <a:cubicBezTo>
                    <a:pt x="111" y="59"/>
                    <a:pt x="110" y="60"/>
                    <a:pt x="110" y="61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13" y="37"/>
                    <a:pt x="118" y="44"/>
                    <a:pt x="118" y="53"/>
                  </a:cubicBezTo>
                  <a:lnTo>
                    <a:pt x="118" y="67"/>
                  </a:lnTo>
                  <a:close/>
                  <a:moveTo>
                    <a:pt x="110" y="82"/>
                  </a:moveTo>
                  <a:cubicBezTo>
                    <a:pt x="93" y="82"/>
                    <a:pt x="93" y="82"/>
                    <a:pt x="93" y="82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7"/>
                    <a:pt x="93" y="73"/>
                    <a:pt x="92" y="70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10" y="82"/>
                  </a:lnTo>
                  <a:close/>
                  <a:moveTo>
                    <a:pt x="90" y="86"/>
                  </a:moveTo>
                  <a:cubicBezTo>
                    <a:pt x="84" y="86"/>
                    <a:pt x="84" y="86"/>
                    <a:pt x="84" y="86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84" y="79"/>
                    <a:pt x="84" y="78"/>
                    <a:pt x="83" y="78"/>
                  </a:cubicBezTo>
                  <a:cubicBezTo>
                    <a:pt x="82" y="78"/>
                    <a:pt x="81" y="79"/>
                    <a:pt x="81" y="80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70" y="72"/>
                    <a:pt x="71" y="70"/>
                    <a:pt x="71" y="68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84" y="60"/>
                    <a:pt x="90" y="70"/>
                    <a:pt x="90" y="80"/>
                  </a:cubicBezTo>
                  <a:lnTo>
                    <a:pt x="90" y="86"/>
                  </a:lnTo>
                  <a:close/>
                  <a:moveTo>
                    <a:pt x="32" y="80"/>
                  </a:moveTo>
                  <a:cubicBezTo>
                    <a:pt x="32" y="70"/>
                    <a:pt x="38" y="60"/>
                    <a:pt x="46" y="55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3"/>
                    <a:pt x="47" y="63"/>
                    <a:pt x="48" y="63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70"/>
                    <a:pt x="52" y="71"/>
                    <a:pt x="53" y="73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86"/>
                    <a:pt x="59" y="86"/>
                    <a:pt x="59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79"/>
                    <a:pt x="40" y="78"/>
                    <a:pt x="39" y="78"/>
                  </a:cubicBezTo>
                  <a:cubicBezTo>
                    <a:pt x="38" y="78"/>
                    <a:pt x="37" y="79"/>
                    <a:pt x="37" y="80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2" y="86"/>
                    <a:pt x="32" y="86"/>
                    <a:pt x="32" y="86"/>
                  </a:cubicBezTo>
                  <a:lnTo>
                    <a:pt x="32" y="80"/>
                  </a:lnTo>
                  <a:close/>
                  <a:moveTo>
                    <a:pt x="11" y="82"/>
                  </a:moveTo>
                  <a:cubicBezTo>
                    <a:pt x="11" y="70"/>
                    <a:pt x="11" y="70"/>
                    <a:pt x="11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29" y="73"/>
                    <a:pt x="28" y="77"/>
                    <a:pt x="28" y="80"/>
                  </a:cubicBezTo>
                  <a:cubicBezTo>
                    <a:pt x="28" y="82"/>
                    <a:pt x="28" y="82"/>
                    <a:pt x="28" y="82"/>
                  </a:cubicBezTo>
                  <a:lnTo>
                    <a:pt x="11" y="82"/>
                  </a:lnTo>
                  <a:close/>
                  <a:moveTo>
                    <a:pt x="4" y="67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44"/>
                    <a:pt x="9" y="37"/>
                    <a:pt x="16" y="34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0"/>
                    <a:pt x="10" y="59"/>
                    <a:pt x="9" y="59"/>
                  </a:cubicBezTo>
                  <a:cubicBezTo>
                    <a:pt x="8" y="59"/>
                    <a:pt x="8" y="60"/>
                    <a:pt x="8" y="61"/>
                  </a:cubicBezTo>
                  <a:cubicBezTo>
                    <a:pt x="8" y="67"/>
                    <a:pt x="8" y="67"/>
                    <a:pt x="8" y="67"/>
                  </a:cubicBezTo>
                  <a:lnTo>
                    <a:pt x="4" y="67"/>
                  </a:lnTo>
                  <a:close/>
                  <a:moveTo>
                    <a:pt x="14" y="15"/>
                  </a:moveTo>
                  <a:cubicBezTo>
                    <a:pt x="14" y="9"/>
                    <a:pt x="19" y="4"/>
                    <a:pt x="25" y="4"/>
                  </a:cubicBezTo>
                  <a:cubicBezTo>
                    <a:pt x="31" y="4"/>
                    <a:pt x="36" y="9"/>
                    <a:pt x="36" y="15"/>
                  </a:cubicBezTo>
                  <a:cubicBezTo>
                    <a:pt x="36" y="20"/>
                    <a:pt x="31" y="25"/>
                    <a:pt x="25" y="25"/>
                  </a:cubicBezTo>
                  <a:cubicBezTo>
                    <a:pt x="19" y="25"/>
                    <a:pt x="14" y="20"/>
                    <a:pt x="14" y="15"/>
                  </a:cubicBezTo>
                  <a:moveTo>
                    <a:pt x="25" y="43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1" y="32"/>
                    <a:pt x="23" y="32"/>
                    <a:pt x="25" y="32"/>
                  </a:cubicBezTo>
                  <a:cubicBezTo>
                    <a:pt x="27" y="32"/>
                    <a:pt x="29" y="32"/>
                    <a:pt x="30" y="32"/>
                  </a:cubicBezTo>
                  <a:lnTo>
                    <a:pt x="25" y="43"/>
                  </a:lnTo>
                  <a:close/>
                  <a:moveTo>
                    <a:pt x="46" y="51"/>
                  </a:moveTo>
                  <a:cubicBezTo>
                    <a:pt x="40" y="55"/>
                    <a:pt x="34" y="60"/>
                    <a:pt x="31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1" y="37"/>
                    <a:pt x="46" y="43"/>
                    <a:pt x="46" y="51"/>
                  </a:cubicBezTo>
                  <a:moveTo>
                    <a:pt x="59" y="48"/>
                  </a:moveTo>
                  <a:cubicBezTo>
                    <a:pt x="55" y="48"/>
                    <a:pt x="52" y="49"/>
                    <a:pt x="50" y="50"/>
                  </a:cubicBezTo>
                  <a:cubicBezTo>
                    <a:pt x="49" y="47"/>
                    <a:pt x="48" y="45"/>
                    <a:pt x="47" y="42"/>
                  </a:cubicBezTo>
                  <a:cubicBezTo>
                    <a:pt x="50" y="45"/>
                    <a:pt x="54" y="48"/>
                    <a:pt x="59" y="48"/>
                  </a:cubicBezTo>
                  <a:moveTo>
                    <a:pt x="61" y="15"/>
                  </a:moveTo>
                  <a:cubicBezTo>
                    <a:pt x="69" y="15"/>
                    <a:pt x="76" y="21"/>
                    <a:pt x="76" y="30"/>
                  </a:cubicBezTo>
                  <a:cubicBezTo>
                    <a:pt x="76" y="38"/>
                    <a:pt x="69" y="45"/>
                    <a:pt x="61" y="45"/>
                  </a:cubicBezTo>
                  <a:cubicBezTo>
                    <a:pt x="52" y="45"/>
                    <a:pt x="46" y="38"/>
                    <a:pt x="46" y="30"/>
                  </a:cubicBezTo>
                  <a:cubicBezTo>
                    <a:pt x="46" y="21"/>
                    <a:pt x="52" y="15"/>
                    <a:pt x="61" y="15"/>
                  </a:cubicBezTo>
                  <a:moveTo>
                    <a:pt x="72" y="50"/>
                  </a:moveTo>
                  <a:cubicBezTo>
                    <a:pt x="69" y="49"/>
                    <a:pt x="66" y="48"/>
                    <a:pt x="63" y="48"/>
                  </a:cubicBezTo>
                  <a:cubicBezTo>
                    <a:pt x="68" y="47"/>
                    <a:pt x="72" y="45"/>
                    <a:pt x="75" y="42"/>
                  </a:cubicBezTo>
                  <a:cubicBezTo>
                    <a:pt x="73" y="44"/>
                    <a:pt x="73" y="47"/>
                    <a:pt x="72" y="50"/>
                  </a:cubicBezTo>
                  <a:moveTo>
                    <a:pt x="62" y="67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70" y="53"/>
                    <a:pt x="71" y="53"/>
                    <a:pt x="72" y="54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7" y="61"/>
                    <a:pt x="67" y="62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70"/>
                    <a:pt x="66" y="70"/>
                  </a:cubicBezTo>
                  <a:cubicBezTo>
                    <a:pt x="62" y="74"/>
                    <a:pt x="62" y="74"/>
                    <a:pt x="62" y="74"/>
                  </a:cubicBezTo>
                  <a:lnTo>
                    <a:pt x="62" y="67"/>
                  </a:lnTo>
                  <a:close/>
                  <a:moveTo>
                    <a:pt x="66" y="52"/>
                  </a:moveTo>
                  <a:cubicBezTo>
                    <a:pt x="61" y="62"/>
                    <a:pt x="61" y="62"/>
                    <a:pt x="61" y="6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7" y="52"/>
                    <a:pt x="59" y="51"/>
                    <a:pt x="61" y="51"/>
                  </a:cubicBezTo>
                  <a:cubicBezTo>
                    <a:pt x="63" y="51"/>
                    <a:pt x="64" y="52"/>
                    <a:pt x="66" y="52"/>
                  </a:cubicBezTo>
                  <a:moveTo>
                    <a:pt x="53" y="60"/>
                  </a:moveTo>
                  <a:cubicBezTo>
                    <a:pt x="50" y="60"/>
                    <a:pt x="50" y="60"/>
                    <a:pt x="50" y="60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3"/>
                    <a:pt x="51" y="53"/>
                    <a:pt x="52" y="53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4" y="69"/>
                    <a:pt x="54" y="68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1"/>
                    <a:pt x="54" y="60"/>
                    <a:pt x="53" y="60"/>
                  </a:cubicBezTo>
                  <a:moveTo>
                    <a:pt x="88" y="34"/>
                  </a:moveTo>
                  <a:cubicBezTo>
                    <a:pt x="95" y="47"/>
                    <a:pt x="95" y="47"/>
                    <a:pt x="95" y="47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87" y="60"/>
                    <a:pt x="82" y="55"/>
                    <a:pt x="75" y="51"/>
                  </a:cubicBezTo>
                  <a:cubicBezTo>
                    <a:pt x="76" y="43"/>
                    <a:pt x="81" y="37"/>
                    <a:pt x="88" y="34"/>
                  </a:cubicBezTo>
                  <a:moveTo>
                    <a:pt x="86" y="15"/>
                  </a:moveTo>
                  <a:cubicBezTo>
                    <a:pt x="86" y="9"/>
                    <a:pt x="91" y="4"/>
                    <a:pt x="97" y="4"/>
                  </a:cubicBezTo>
                  <a:cubicBezTo>
                    <a:pt x="102" y="4"/>
                    <a:pt x="107" y="9"/>
                    <a:pt x="107" y="15"/>
                  </a:cubicBezTo>
                  <a:cubicBezTo>
                    <a:pt x="107" y="20"/>
                    <a:pt x="102" y="25"/>
                    <a:pt x="97" y="25"/>
                  </a:cubicBezTo>
                  <a:cubicBezTo>
                    <a:pt x="91" y="25"/>
                    <a:pt x="86" y="20"/>
                    <a:pt x="86" y="15"/>
                  </a:cubicBezTo>
                  <a:moveTo>
                    <a:pt x="97" y="43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3" y="32"/>
                    <a:pt x="95" y="32"/>
                    <a:pt x="97" y="32"/>
                  </a:cubicBezTo>
                  <a:cubicBezTo>
                    <a:pt x="99" y="32"/>
                    <a:pt x="100" y="32"/>
                    <a:pt x="102" y="32"/>
                  </a:cubicBezTo>
                  <a:lnTo>
                    <a:pt x="97" y="43"/>
                  </a:lnTo>
                  <a:close/>
                  <a:moveTo>
                    <a:pt x="99" y="28"/>
                  </a:moveTo>
                  <a:cubicBezTo>
                    <a:pt x="106" y="27"/>
                    <a:pt x="111" y="22"/>
                    <a:pt x="111" y="15"/>
                  </a:cubicBezTo>
                  <a:cubicBezTo>
                    <a:pt x="111" y="7"/>
                    <a:pt x="104" y="0"/>
                    <a:pt x="97" y="0"/>
                  </a:cubicBezTo>
                  <a:cubicBezTo>
                    <a:pt x="89" y="0"/>
                    <a:pt x="83" y="7"/>
                    <a:pt x="83" y="15"/>
                  </a:cubicBezTo>
                  <a:cubicBezTo>
                    <a:pt x="83" y="22"/>
                    <a:pt x="88" y="27"/>
                    <a:pt x="94" y="28"/>
                  </a:cubicBezTo>
                  <a:cubicBezTo>
                    <a:pt x="88" y="29"/>
                    <a:pt x="82" y="32"/>
                    <a:pt x="77" y="37"/>
                  </a:cubicBezTo>
                  <a:cubicBezTo>
                    <a:pt x="79" y="35"/>
                    <a:pt x="79" y="32"/>
                    <a:pt x="79" y="30"/>
                  </a:cubicBezTo>
                  <a:cubicBezTo>
                    <a:pt x="79" y="19"/>
                    <a:pt x="71" y="11"/>
                    <a:pt x="61" y="11"/>
                  </a:cubicBezTo>
                  <a:cubicBezTo>
                    <a:pt x="51" y="11"/>
                    <a:pt x="42" y="19"/>
                    <a:pt x="42" y="30"/>
                  </a:cubicBezTo>
                  <a:cubicBezTo>
                    <a:pt x="42" y="32"/>
                    <a:pt x="43" y="35"/>
                    <a:pt x="44" y="37"/>
                  </a:cubicBezTo>
                  <a:cubicBezTo>
                    <a:pt x="40" y="32"/>
                    <a:pt x="34" y="29"/>
                    <a:pt x="27" y="28"/>
                  </a:cubicBezTo>
                  <a:cubicBezTo>
                    <a:pt x="34" y="27"/>
                    <a:pt x="39" y="22"/>
                    <a:pt x="39" y="15"/>
                  </a:cubicBezTo>
                  <a:cubicBezTo>
                    <a:pt x="39" y="7"/>
                    <a:pt x="33" y="0"/>
                    <a:pt x="25" y="0"/>
                  </a:cubicBezTo>
                  <a:cubicBezTo>
                    <a:pt x="17" y="0"/>
                    <a:pt x="11" y="7"/>
                    <a:pt x="11" y="15"/>
                  </a:cubicBezTo>
                  <a:cubicBezTo>
                    <a:pt x="11" y="22"/>
                    <a:pt x="16" y="27"/>
                    <a:pt x="23" y="28"/>
                  </a:cubicBezTo>
                  <a:cubicBezTo>
                    <a:pt x="10" y="30"/>
                    <a:pt x="0" y="40"/>
                    <a:pt x="0" y="53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0"/>
                    <a:pt x="1" y="70"/>
                    <a:pt x="2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9"/>
                    <a:pt x="29" y="90"/>
                    <a:pt x="30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90"/>
                    <a:pt x="93" y="89"/>
                    <a:pt x="93" y="88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3" y="86"/>
                    <a:pt x="113" y="86"/>
                    <a:pt x="113" y="85"/>
                  </a:cubicBezTo>
                  <a:cubicBezTo>
                    <a:pt x="114" y="85"/>
                    <a:pt x="114" y="84"/>
                    <a:pt x="114" y="84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1" y="70"/>
                    <a:pt x="122" y="70"/>
                    <a:pt x="122" y="69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2" y="40"/>
                    <a:pt x="112" y="30"/>
                    <a:pt x="99" y="2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7">
              <a:extLst>
                <a:ext uri="{FF2B5EF4-FFF2-40B4-BE49-F238E27FC236}">
                  <a16:creationId xmlns:a16="http://schemas.microsoft.com/office/drawing/2014/main" id="{13F47857-D5CA-4165-B5E5-982092E73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2" y="1923"/>
              <a:ext cx="311" cy="51"/>
            </a:xfrm>
            <a:custGeom>
              <a:avLst/>
              <a:gdLst>
                <a:gd name="T0" fmla="*/ 117 w 127"/>
                <a:gd name="T1" fmla="*/ 15 h 21"/>
                <a:gd name="T2" fmla="*/ 120 w 127"/>
                <a:gd name="T3" fmla="*/ 18 h 21"/>
                <a:gd name="T4" fmla="*/ 104 w 127"/>
                <a:gd name="T5" fmla="*/ 18 h 21"/>
                <a:gd name="T6" fmla="*/ 104 w 127"/>
                <a:gd name="T7" fmla="*/ 9 h 21"/>
                <a:gd name="T8" fmla="*/ 120 w 127"/>
                <a:gd name="T9" fmla="*/ 9 h 21"/>
                <a:gd name="T10" fmla="*/ 117 w 127"/>
                <a:gd name="T11" fmla="*/ 12 h 21"/>
                <a:gd name="T12" fmla="*/ 116 w 127"/>
                <a:gd name="T13" fmla="*/ 14 h 21"/>
                <a:gd name="T14" fmla="*/ 117 w 127"/>
                <a:gd name="T15" fmla="*/ 15 h 21"/>
                <a:gd name="T16" fmla="*/ 27 w 127"/>
                <a:gd name="T17" fmla="*/ 8 h 21"/>
                <a:gd name="T18" fmla="*/ 27 w 127"/>
                <a:gd name="T19" fmla="*/ 4 h 21"/>
                <a:gd name="T20" fmla="*/ 101 w 127"/>
                <a:gd name="T21" fmla="*/ 4 h 21"/>
                <a:gd name="T22" fmla="*/ 101 w 127"/>
                <a:gd name="T23" fmla="*/ 8 h 21"/>
                <a:gd name="T24" fmla="*/ 101 w 127"/>
                <a:gd name="T25" fmla="*/ 18 h 21"/>
                <a:gd name="T26" fmla="*/ 27 w 127"/>
                <a:gd name="T27" fmla="*/ 18 h 21"/>
                <a:gd name="T28" fmla="*/ 27 w 127"/>
                <a:gd name="T29" fmla="*/ 8 h 21"/>
                <a:gd name="T30" fmla="*/ 11 w 127"/>
                <a:gd name="T31" fmla="*/ 12 h 21"/>
                <a:gd name="T32" fmla="*/ 7 w 127"/>
                <a:gd name="T33" fmla="*/ 9 h 21"/>
                <a:gd name="T34" fmla="*/ 24 w 127"/>
                <a:gd name="T35" fmla="*/ 9 h 21"/>
                <a:gd name="T36" fmla="*/ 24 w 127"/>
                <a:gd name="T37" fmla="*/ 18 h 21"/>
                <a:gd name="T38" fmla="*/ 7 w 127"/>
                <a:gd name="T39" fmla="*/ 18 h 21"/>
                <a:gd name="T40" fmla="*/ 11 w 127"/>
                <a:gd name="T41" fmla="*/ 15 h 21"/>
                <a:gd name="T42" fmla="*/ 12 w 127"/>
                <a:gd name="T43" fmla="*/ 14 h 21"/>
                <a:gd name="T44" fmla="*/ 11 w 127"/>
                <a:gd name="T45" fmla="*/ 12 h 21"/>
                <a:gd name="T46" fmla="*/ 121 w 127"/>
                <a:gd name="T47" fmla="*/ 14 h 21"/>
                <a:gd name="T48" fmla="*/ 126 w 127"/>
                <a:gd name="T49" fmla="*/ 9 h 21"/>
                <a:gd name="T50" fmla="*/ 127 w 127"/>
                <a:gd name="T51" fmla="*/ 7 h 21"/>
                <a:gd name="T52" fmla="*/ 125 w 127"/>
                <a:gd name="T53" fmla="*/ 6 h 21"/>
                <a:gd name="T54" fmla="*/ 104 w 127"/>
                <a:gd name="T55" fmla="*/ 6 h 21"/>
                <a:gd name="T56" fmla="*/ 104 w 127"/>
                <a:gd name="T57" fmla="*/ 2 h 21"/>
                <a:gd name="T58" fmla="*/ 102 w 127"/>
                <a:gd name="T59" fmla="*/ 0 h 21"/>
                <a:gd name="T60" fmla="*/ 25 w 127"/>
                <a:gd name="T61" fmla="*/ 0 h 21"/>
                <a:gd name="T62" fmla="*/ 24 w 127"/>
                <a:gd name="T63" fmla="*/ 2 h 21"/>
                <a:gd name="T64" fmla="*/ 24 w 127"/>
                <a:gd name="T65" fmla="*/ 6 h 21"/>
                <a:gd name="T66" fmla="*/ 2 w 127"/>
                <a:gd name="T67" fmla="*/ 6 h 21"/>
                <a:gd name="T68" fmla="*/ 1 w 127"/>
                <a:gd name="T69" fmla="*/ 7 h 21"/>
                <a:gd name="T70" fmla="*/ 1 w 127"/>
                <a:gd name="T71" fmla="*/ 9 h 21"/>
                <a:gd name="T72" fmla="*/ 7 w 127"/>
                <a:gd name="T73" fmla="*/ 14 h 21"/>
                <a:gd name="T74" fmla="*/ 1 w 127"/>
                <a:gd name="T75" fmla="*/ 18 h 21"/>
                <a:gd name="T76" fmla="*/ 1 w 127"/>
                <a:gd name="T77" fmla="*/ 20 h 21"/>
                <a:gd name="T78" fmla="*/ 2 w 127"/>
                <a:gd name="T79" fmla="*/ 21 h 21"/>
                <a:gd name="T80" fmla="*/ 25 w 127"/>
                <a:gd name="T81" fmla="*/ 21 h 21"/>
                <a:gd name="T82" fmla="*/ 102 w 127"/>
                <a:gd name="T83" fmla="*/ 21 h 21"/>
                <a:gd name="T84" fmla="*/ 125 w 127"/>
                <a:gd name="T85" fmla="*/ 21 h 21"/>
                <a:gd name="T86" fmla="*/ 127 w 127"/>
                <a:gd name="T87" fmla="*/ 20 h 21"/>
                <a:gd name="T88" fmla="*/ 126 w 127"/>
                <a:gd name="T89" fmla="*/ 18 h 21"/>
                <a:gd name="T90" fmla="*/ 121 w 127"/>
                <a:gd name="T9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7" h="21">
                  <a:moveTo>
                    <a:pt x="117" y="15"/>
                  </a:moveTo>
                  <a:cubicBezTo>
                    <a:pt x="120" y="18"/>
                    <a:pt x="120" y="18"/>
                    <a:pt x="120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20" y="9"/>
                    <a:pt x="120" y="9"/>
                    <a:pt x="120" y="9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6" y="13"/>
                    <a:pt x="116" y="13"/>
                    <a:pt x="116" y="14"/>
                  </a:cubicBezTo>
                  <a:cubicBezTo>
                    <a:pt x="116" y="14"/>
                    <a:pt x="116" y="15"/>
                    <a:pt x="117" y="15"/>
                  </a:cubicBezTo>
                  <a:moveTo>
                    <a:pt x="27" y="8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27" y="18"/>
                    <a:pt x="27" y="18"/>
                    <a:pt x="27" y="18"/>
                  </a:cubicBezTo>
                  <a:lnTo>
                    <a:pt x="27" y="8"/>
                  </a:lnTo>
                  <a:close/>
                  <a:moveTo>
                    <a:pt x="11" y="12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5"/>
                    <a:pt x="12" y="14"/>
                    <a:pt x="12" y="14"/>
                  </a:cubicBezTo>
                  <a:cubicBezTo>
                    <a:pt x="12" y="13"/>
                    <a:pt x="12" y="13"/>
                    <a:pt x="11" y="12"/>
                  </a:cubicBezTo>
                  <a:moveTo>
                    <a:pt x="121" y="14"/>
                  </a:moveTo>
                  <a:cubicBezTo>
                    <a:pt x="126" y="9"/>
                    <a:pt x="126" y="9"/>
                    <a:pt x="126" y="9"/>
                  </a:cubicBezTo>
                  <a:cubicBezTo>
                    <a:pt x="127" y="9"/>
                    <a:pt x="127" y="8"/>
                    <a:pt x="127" y="7"/>
                  </a:cubicBezTo>
                  <a:cubicBezTo>
                    <a:pt x="127" y="7"/>
                    <a:pt x="126" y="6"/>
                    <a:pt x="125" y="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4" y="1"/>
                    <a:pt x="103" y="0"/>
                    <a:pt x="102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4" y="1"/>
                    <a:pt x="24" y="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0" y="19"/>
                    <a:pt x="1" y="20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6" y="21"/>
                    <a:pt x="127" y="21"/>
                    <a:pt x="127" y="20"/>
                  </a:cubicBezTo>
                  <a:cubicBezTo>
                    <a:pt x="127" y="19"/>
                    <a:pt x="127" y="19"/>
                    <a:pt x="126" y="18"/>
                  </a:cubicBezTo>
                  <a:lnTo>
                    <a:pt x="121" y="1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7" name="Group 170">
            <a:extLst>
              <a:ext uri="{FF2B5EF4-FFF2-40B4-BE49-F238E27FC236}">
                <a16:creationId xmlns:a16="http://schemas.microsoft.com/office/drawing/2014/main" id="{5F72CE9D-CDDC-4596-B52B-B783C503F0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3775" y="2847975"/>
            <a:ext cx="841375" cy="841375"/>
            <a:chOff x="3026" y="1794"/>
            <a:chExt cx="530" cy="530"/>
          </a:xfrm>
        </p:grpSpPr>
        <p:sp>
          <p:nvSpPr>
            <p:cNvPr id="188" name="AutoShape 169">
              <a:extLst>
                <a:ext uri="{FF2B5EF4-FFF2-40B4-BE49-F238E27FC236}">
                  <a16:creationId xmlns:a16="http://schemas.microsoft.com/office/drawing/2014/main" id="{04304246-50D4-4C2C-BA70-9782921F76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6" y="17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Oval 171">
              <a:extLst>
                <a:ext uri="{FF2B5EF4-FFF2-40B4-BE49-F238E27FC236}">
                  <a16:creationId xmlns:a16="http://schemas.microsoft.com/office/drawing/2014/main" id="{FB97C45F-6AE2-48CC-9EF9-4E2DF1D08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6" y="17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72">
              <a:extLst>
                <a:ext uri="{FF2B5EF4-FFF2-40B4-BE49-F238E27FC236}">
                  <a16:creationId xmlns:a16="http://schemas.microsoft.com/office/drawing/2014/main" id="{608A7EC8-DD49-4F2F-92D7-9B315B5EA1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" y="18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73">
              <a:extLst>
                <a:ext uri="{FF2B5EF4-FFF2-40B4-BE49-F238E27FC236}">
                  <a16:creationId xmlns:a16="http://schemas.microsoft.com/office/drawing/2014/main" id="{AE2DDCB2-BA28-4109-B0A2-FD1ADF0CA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4" y="1896"/>
              <a:ext cx="236" cy="308"/>
            </a:xfrm>
            <a:custGeom>
              <a:avLst/>
              <a:gdLst>
                <a:gd name="T0" fmla="*/ 180 w 236"/>
                <a:gd name="T1" fmla="*/ 277 h 308"/>
                <a:gd name="T2" fmla="*/ 185 w 236"/>
                <a:gd name="T3" fmla="*/ 108 h 308"/>
                <a:gd name="T4" fmla="*/ 172 w 236"/>
                <a:gd name="T5" fmla="*/ 90 h 308"/>
                <a:gd name="T6" fmla="*/ 146 w 236"/>
                <a:gd name="T7" fmla="*/ 57 h 308"/>
                <a:gd name="T8" fmla="*/ 146 w 236"/>
                <a:gd name="T9" fmla="*/ 13 h 308"/>
                <a:gd name="T10" fmla="*/ 126 w 236"/>
                <a:gd name="T11" fmla="*/ 0 h 308"/>
                <a:gd name="T12" fmla="*/ 98 w 236"/>
                <a:gd name="T13" fmla="*/ 3 h 308"/>
                <a:gd name="T14" fmla="*/ 87 w 236"/>
                <a:gd name="T15" fmla="*/ 26 h 308"/>
                <a:gd name="T16" fmla="*/ 95 w 236"/>
                <a:gd name="T17" fmla="*/ 62 h 308"/>
                <a:gd name="T18" fmla="*/ 57 w 236"/>
                <a:gd name="T19" fmla="*/ 95 h 308"/>
                <a:gd name="T20" fmla="*/ 52 w 236"/>
                <a:gd name="T21" fmla="*/ 139 h 308"/>
                <a:gd name="T22" fmla="*/ 57 w 236"/>
                <a:gd name="T23" fmla="*/ 269 h 308"/>
                <a:gd name="T24" fmla="*/ 100 w 236"/>
                <a:gd name="T25" fmla="*/ 249 h 308"/>
                <a:gd name="T26" fmla="*/ 134 w 236"/>
                <a:gd name="T27" fmla="*/ 249 h 308"/>
                <a:gd name="T28" fmla="*/ 175 w 236"/>
                <a:gd name="T29" fmla="*/ 100 h 308"/>
                <a:gd name="T30" fmla="*/ 180 w 236"/>
                <a:gd name="T31" fmla="*/ 139 h 308"/>
                <a:gd name="T32" fmla="*/ 159 w 236"/>
                <a:gd name="T33" fmla="*/ 118 h 308"/>
                <a:gd name="T34" fmla="*/ 154 w 236"/>
                <a:gd name="T35" fmla="*/ 139 h 308"/>
                <a:gd name="T36" fmla="*/ 118 w 236"/>
                <a:gd name="T37" fmla="*/ 98 h 308"/>
                <a:gd name="T38" fmla="*/ 123 w 236"/>
                <a:gd name="T39" fmla="*/ 69 h 308"/>
                <a:gd name="T40" fmla="*/ 95 w 236"/>
                <a:gd name="T41" fmla="*/ 54 h 308"/>
                <a:gd name="T42" fmla="*/ 95 w 236"/>
                <a:gd name="T43" fmla="*/ 18 h 308"/>
                <a:gd name="T44" fmla="*/ 116 w 236"/>
                <a:gd name="T45" fmla="*/ 5 h 308"/>
                <a:gd name="T46" fmla="*/ 123 w 236"/>
                <a:gd name="T47" fmla="*/ 11 h 308"/>
                <a:gd name="T48" fmla="*/ 118 w 236"/>
                <a:gd name="T49" fmla="*/ 18 h 308"/>
                <a:gd name="T50" fmla="*/ 108 w 236"/>
                <a:gd name="T51" fmla="*/ 23 h 308"/>
                <a:gd name="T52" fmla="*/ 113 w 236"/>
                <a:gd name="T53" fmla="*/ 26 h 308"/>
                <a:gd name="T54" fmla="*/ 131 w 236"/>
                <a:gd name="T55" fmla="*/ 13 h 308"/>
                <a:gd name="T56" fmla="*/ 144 w 236"/>
                <a:gd name="T57" fmla="*/ 21 h 308"/>
                <a:gd name="T58" fmla="*/ 141 w 236"/>
                <a:gd name="T59" fmla="*/ 52 h 308"/>
                <a:gd name="T60" fmla="*/ 123 w 236"/>
                <a:gd name="T61" fmla="*/ 62 h 308"/>
                <a:gd name="T62" fmla="*/ 98 w 236"/>
                <a:gd name="T63" fmla="*/ 57 h 308"/>
                <a:gd name="T64" fmla="*/ 67 w 236"/>
                <a:gd name="T65" fmla="*/ 95 h 308"/>
                <a:gd name="T66" fmla="*/ 82 w 236"/>
                <a:gd name="T67" fmla="*/ 139 h 308"/>
                <a:gd name="T68" fmla="*/ 75 w 236"/>
                <a:gd name="T69" fmla="*/ 118 h 308"/>
                <a:gd name="T70" fmla="*/ 131 w 236"/>
                <a:gd name="T71" fmla="*/ 244 h 308"/>
                <a:gd name="T72" fmla="*/ 105 w 236"/>
                <a:gd name="T73" fmla="*/ 231 h 308"/>
                <a:gd name="T74" fmla="*/ 131 w 236"/>
                <a:gd name="T75" fmla="*/ 244 h 308"/>
                <a:gd name="T76" fmla="*/ 110 w 236"/>
                <a:gd name="T77" fmla="*/ 226 h 308"/>
                <a:gd name="T78" fmla="*/ 93 w 236"/>
                <a:gd name="T79" fmla="*/ 213 h 308"/>
                <a:gd name="T80" fmla="*/ 95 w 236"/>
                <a:gd name="T81" fmla="*/ 180 h 308"/>
                <a:gd name="T82" fmla="*/ 121 w 236"/>
                <a:gd name="T83" fmla="*/ 169 h 308"/>
                <a:gd name="T84" fmla="*/ 141 w 236"/>
                <a:gd name="T85" fmla="*/ 180 h 308"/>
                <a:gd name="T86" fmla="*/ 141 w 236"/>
                <a:gd name="T87" fmla="*/ 215 h 308"/>
                <a:gd name="T88" fmla="*/ 139 w 236"/>
                <a:gd name="T89" fmla="*/ 228 h 308"/>
                <a:gd name="T90" fmla="*/ 149 w 236"/>
                <a:gd name="T91" fmla="*/ 203 h 308"/>
                <a:gd name="T92" fmla="*/ 136 w 236"/>
                <a:gd name="T93" fmla="*/ 167 h 308"/>
                <a:gd name="T94" fmla="*/ 105 w 236"/>
                <a:gd name="T95" fmla="*/ 164 h 308"/>
                <a:gd name="T96" fmla="*/ 87 w 236"/>
                <a:gd name="T97" fmla="*/ 187 h 308"/>
                <a:gd name="T98" fmla="*/ 93 w 236"/>
                <a:gd name="T99" fmla="*/ 223 h 308"/>
                <a:gd name="T100" fmla="*/ 59 w 236"/>
                <a:gd name="T101" fmla="*/ 259 h 308"/>
                <a:gd name="T102" fmla="*/ 52 w 236"/>
                <a:gd name="T103" fmla="*/ 277 h 308"/>
                <a:gd name="T104" fmla="*/ 231 w 236"/>
                <a:gd name="T105" fmla="*/ 302 h 308"/>
                <a:gd name="T106" fmla="*/ 180 w 236"/>
                <a:gd name="T107" fmla="*/ 259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6" h="308">
                  <a:moveTo>
                    <a:pt x="177" y="264"/>
                  </a:moveTo>
                  <a:lnTo>
                    <a:pt x="177" y="267"/>
                  </a:lnTo>
                  <a:lnTo>
                    <a:pt x="180" y="269"/>
                  </a:lnTo>
                  <a:lnTo>
                    <a:pt x="180" y="274"/>
                  </a:lnTo>
                  <a:lnTo>
                    <a:pt x="180" y="277"/>
                  </a:lnTo>
                  <a:lnTo>
                    <a:pt x="180" y="308"/>
                  </a:lnTo>
                  <a:lnTo>
                    <a:pt x="236" y="308"/>
                  </a:lnTo>
                  <a:lnTo>
                    <a:pt x="236" y="139"/>
                  </a:lnTo>
                  <a:lnTo>
                    <a:pt x="185" y="139"/>
                  </a:lnTo>
                  <a:lnTo>
                    <a:pt x="185" y="108"/>
                  </a:lnTo>
                  <a:lnTo>
                    <a:pt x="185" y="100"/>
                  </a:lnTo>
                  <a:lnTo>
                    <a:pt x="182" y="98"/>
                  </a:lnTo>
                  <a:lnTo>
                    <a:pt x="180" y="95"/>
                  </a:lnTo>
                  <a:lnTo>
                    <a:pt x="177" y="92"/>
                  </a:lnTo>
                  <a:lnTo>
                    <a:pt x="172" y="90"/>
                  </a:lnTo>
                  <a:lnTo>
                    <a:pt x="169" y="87"/>
                  </a:lnTo>
                  <a:lnTo>
                    <a:pt x="139" y="77"/>
                  </a:lnTo>
                  <a:lnTo>
                    <a:pt x="139" y="64"/>
                  </a:lnTo>
                  <a:lnTo>
                    <a:pt x="141" y="62"/>
                  </a:lnTo>
                  <a:lnTo>
                    <a:pt x="146" y="57"/>
                  </a:lnTo>
                  <a:lnTo>
                    <a:pt x="149" y="54"/>
                  </a:lnTo>
                  <a:lnTo>
                    <a:pt x="149" y="46"/>
                  </a:lnTo>
                  <a:lnTo>
                    <a:pt x="149" y="39"/>
                  </a:lnTo>
                  <a:lnTo>
                    <a:pt x="149" y="21"/>
                  </a:lnTo>
                  <a:lnTo>
                    <a:pt x="146" y="13"/>
                  </a:lnTo>
                  <a:lnTo>
                    <a:pt x="144" y="8"/>
                  </a:lnTo>
                  <a:lnTo>
                    <a:pt x="141" y="5"/>
                  </a:lnTo>
                  <a:lnTo>
                    <a:pt x="136" y="3"/>
                  </a:lnTo>
                  <a:lnTo>
                    <a:pt x="131" y="0"/>
                  </a:lnTo>
                  <a:lnTo>
                    <a:pt x="126" y="0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0" y="0"/>
                  </a:lnTo>
                  <a:lnTo>
                    <a:pt x="103" y="0"/>
                  </a:lnTo>
                  <a:lnTo>
                    <a:pt x="98" y="3"/>
                  </a:lnTo>
                  <a:lnTo>
                    <a:pt x="95" y="5"/>
                  </a:lnTo>
                  <a:lnTo>
                    <a:pt x="93" y="8"/>
                  </a:lnTo>
                  <a:lnTo>
                    <a:pt x="90" y="13"/>
                  </a:lnTo>
                  <a:lnTo>
                    <a:pt x="87" y="21"/>
                  </a:lnTo>
                  <a:lnTo>
                    <a:pt x="87" y="26"/>
                  </a:lnTo>
                  <a:lnTo>
                    <a:pt x="87" y="39"/>
                  </a:lnTo>
                  <a:lnTo>
                    <a:pt x="87" y="49"/>
                  </a:lnTo>
                  <a:lnTo>
                    <a:pt x="90" y="54"/>
                  </a:lnTo>
                  <a:lnTo>
                    <a:pt x="93" y="59"/>
                  </a:lnTo>
                  <a:lnTo>
                    <a:pt x="95" y="62"/>
                  </a:lnTo>
                  <a:lnTo>
                    <a:pt x="98" y="64"/>
                  </a:lnTo>
                  <a:lnTo>
                    <a:pt x="98" y="77"/>
                  </a:lnTo>
                  <a:lnTo>
                    <a:pt x="64" y="90"/>
                  </a:lnTo>
                  <a:lnTo>
                    <a:pt x="59" y="92"/>
                  </a:lnTo>
                  <a:lnTo>
                    <a:pt x="57" y="95"/>
                  </a:lnTo>
                  <a:lnTo>
                    <a:pt x="52" y="103"/>
                  </a:lnTo>
                  <a:lnTo>
                    <a:pt x="52" y="105"/>
                  </a:lnTo>
                  <a:lnTo>
                    <a:pt x="52" y="110"/>
                  </a:lnTo>
                  <a:lnTo>
                    <a:pt x="52" y="113"/>
                  </a:lnTo>
                  <a:lnTo>
                    <a:pt x="52" y="139"/>
                  </a:lnTo>
                  <a:lnTo>
                    <a:pt x="0" y="139"/>
                  </a:lnTo>
                  <a:lnTo>
                    <a:pt x="0" y="308"/>
                  </a:lnTo>
                  <a:lnTo>
                    <a:pt x="57" y="308"/>
                  </a:lnTo>
                  <a:lnTo>
                    <a:pt x="57" y="272"/>
                  </a:lnTo>
                  <a:lnTo>
                    <a:pt x="57" y="269"/>
                  </a:lnTo>
                  <a:lnTo>
                    <a:pt x="59" y="264"/>
                  </a:lnTo>
                  <a:lnTo>
                    <a:pt x="62" y="264"/>
                  </a:lnTo>
                  <a:lnTo>
                    <a:pt x="67" y="261"/>
                  </a:lnTo>
                  <a:lnTo>
                    <a:pt x="70" y="259"/>
                  </a:lnTo>
                  <a:lnTo>
                    <a:pt x="100" y="249"/>
                  </a:lnTo>
                  <a:lnTo>
                    <a:pt x="105" y="251"/>
                  </a:lnTo>
                  <a:lnTo>
                    <a:pt x="110" y="251"/>
                  </a:lnTo>
                  <a:lnTo>
                    <a:pt x="118" y="251"/>
                  </a:lnTo>
                  <a:lnTo>
                    <a:pt x="126" y="251"/>
                  </a:lnTo>
                  <a:lnTo>
                    <a:pt x="134" y="249"/>
                  </a:lnTo>
                  <a:lnTo>
                    <a:pt x="136" y="249"/>
                  </a:lnTo>
                  <a:lnTo>
                    <a:pt x="172" y="261"/>
                  </a:lnTo>
                  <a:lnTo>
                    <a:pt x="177" y="264"/>
                  </a:lnTo>
                  <a:close/>
                  <a:moveTo>
                    <a:pt x="172" y="98"/>
                  </a:moveTo>
                  <a:lnTo>
                    <a:pt x="175" y="100"/>
                  </a:lnTo>
                  <a:lnTo>
                    <a:pt x="177" y="103"/>
                  </a:lnTo>
                  <a:lnTo>
                    <a:pt x="180" y="105"/>
                  </a:lnTo>
                  <a:lnTo>
                    <a:pt x="180" y="110"/>
                  </a:lnTo>
                  <a:lnTo>
                    <a:pt x="180" y="113"/>
                  </a:lnTo>
                  <a:lnTo>
                    <a:pt x="180" y="139"/>
                  </a:lnTo>
                  <a:lnTo>
                    <a:pt x="162" y="139"/>
                  </a:lnTo>
                  <a:lnTo>
                    <a:pt x="162" y="118"/>
                  </a:lnTo>
                  <a:lnTo>
                    <a:pt x="159" y="118"/>
                  </a:lnTo>
                  <a:lnTo>
                    <a:pt x="159" y="116"/>
                  </a:lnTo>
                  <a:lnTo>
                    <a:pt x="159" y="118"/>
                  </a:lnTo>
                  <a:lnTo>
                    <a:pt x="159" y="118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4" y="121"/>
                  </a:lnTo>
                  <a:lnTo>
                    <a:pt x="154" y="139"/>
                  </a:lnTo>
                  <a:lnTo>
                    <a:pt x="121" y="139"/>
                  </a:lnTo>
                  <a:lnTo>
                    <a:pt x="121" y="105"/>
                  </a:lnTo>
                  <a:lnTo>
                    <a:pt x="136" y="82"/>
                  </a:lnTo>
                  <a:lnTo>
                    <a:pt x="172" y="98"/>
                  </a:lnTo>
                  <a:close/>
                  <a:moveTo>
                    <a:pt x="118" y="98"/>
                  </a:moveTo>
                  <a:lnTo>
                    <a:pt x="105" y="77"/>
                  </a:lnTo>
                  <a:lnTo>
                    <a:pt x="105" y="67"/>
                  </a:lnTo>
                  <a:lnTo>
                    <a:pt x="113" y="69"/>
                  </a:lnTo>
                  <a:lnTo>
                    <a:pt x="116" y="69"/>
                  </a:lnTo>
                  <a:lnTo>
                    <a:pt x="123" y="69"/>
                  </a:lnTo>
                  <a:lnTo>
                    <a:pt x="131" y="67"/>
                  </a:lnTo>
                  <a:lnTo>
                    <a:pt x="131" y="77"/>
                  </a:lnTo>
                  <a:lnTo>
                    <a:pt x="118" y="98"/>
                  </a:lnTo>
                  <a:close/>
                  <a:moveTo>
                    <a:pt x="98" y="57"/>
                  </a:moveTo>
                  <a:lnTo>
                    <a:pt x="95" y="54"/>
                  </a:lnTo>
                  <a:lnTo>
                    <a:pt x="93" y="46"/>
                  </a:lnTo>
                  <a:lnTo>
                    <a:pt x="93" y="41"/>
                  </a:lnTo>
                  <a:lnTo>
                    <a:pt x="93" y="34"/>
                  </a:lnTo>
                  <a:lnTo>
                    <a:pt x="93" y="26"/>
                  </a:lnTo>
                  <a:lnTo>
                    <a:pt x="95" y="18"/>
                  </a:lnTo>
                  <a:lnTo>
                    <a:pt x="95" y="13"/>
                  </a:lnTo>
                  <a:lnTo>
                    <a:pt x="98" y="11"/>
                  </a:lnTo>
                  <a:lnTo>
                    <a:pt x="103" y="8"/>
                  </a:lnTo>
                  <a:lnTo>
                    <a:pt x="110" y="5"/>
                  </a:lnTo>
                  <a:lnTo>
                    <a:pt x="116" y="5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3" y="8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6"/>
                  </a:lnTo>
                  <a:lnTo>
                    <a:pt x="121" y="16"/>
                  </a:lnTo>
                  <a:lnTo>
                    <a:pt x="118" y="18"/>
                  </a:lnTo>
                  <a:lnTo>
                    <a:pt x="113" y="18"/>
                  </a:lnTo>
                  <a:lnTo>
                    <a:pt x="108" y="18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10" y="26"/>
                  </a:lnTo>
                  <a:lnTo>
                    <a:pt x="110" y="28"/>
                  </a:lnTo>
                  <a:lnTo>
                    <a:pt x="110" y="26"/>
                  </a:lnTo>
                  <a:lnTo>
                    <a:pt x="113" y="26"/>
                  </a:lnTo>
                  <a:lnTo>
                    <a:pt x="118" y="23"/>
                  </a:lnTo>
                  <a:lnTo>
                    <a:pt x="123" y="23"/>
                  </a:lnTo>
                  <a:lnTo>
                    <a:pt x="128" y="18"/>
                  </a:lnTo>
                  <a:lnTo>
                    <a:pt x="128" y="16"/>
                  </a:lnTo>
                  <a:lnTo>
                    <a:pt x="131" y="13"/>
                  </a:lnTo>
                  <a:lnTo>
                    <a:pt x="131" y="11"/>
                  </a:lnTo>
                  <a:lnTo>
                    <a:pt x="131" y="5"/>
                  </a:lnTo>
                  <a:lnTo>
                    <a:pt x="139" y="11"/>
                  </a:lnTo>
                  <a:lnTo>
                    <a:pt x="141" y="16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4" y="31"/>
                  </a:lnTo>
                  <a:lnTo>
                    <a:pt x="144" y="36"/>
                  </a:lnTo>
                  <a:lnTo>
                    <a:pt x="144" y="44"/>
                  </a:lnTo>
                  <a:lnTo>
                    <a:pt x="141" y="52"/>
                  </a:lnTo>
                  <a:lnTo>
                    <a:pt x="141" y="54"/>
                  </a:lnTo>
                  <a:lnTo>
                    <a:pt x="136" y="59"/>
                  </a:lnTo>
                  <a:lnTo>
                    <a:pt x="134" y="59"/>
                  </a:lnTo>
                  <a:lnTo>
                    <a:pt x="131" y="62"/>
                  </a:lnTo>
                  <a:lnTo>
                    <a:pt x="123" y="62"/>
                  </a:lnTo>
                  <a:lnTo>
                    <a:pt x="118" y="62"/>
                  </a:lnTo>
                  <a:lnTo>
                    <a:pt x="110" y="62"/>
                  </a:lnTo>
                  <a:lnTo>
                    <a:pt x="103" y="59"/>
                  </a:lnTo>
                  <a:lnTo>
                    <a:pt x="100" y="59"/>
                  </a:lnTo>
                  <a:lnTo>
                    <a:pt x="98" y="57"/>
                  </a:lnTo>
                  <a:close/>
                  <a:moveTo>
                    <a:pt x="57" y="108"/>
                  </a:moveTo>
                  <a:lnTo>
                    <a:pt x="57" y="103"/>
                  </a:lnTo>
                  <a:lnTo>
                    <a:pt x="59" y="100"/>
                  </a:lnTo>
                  <a:lnTo>
                    <a:pt x="62" y="98"/>
                  </a:lnTo>
                  <a:lnTo>
                    <a:pt x="67" y="95"/>
                  </a:lnTo>
                  <a:lnTo>
                    <a:pt x="70" y="95"/>
                  </a:lnTo>
                  <a:lnTo>
                    <a:pt x="100" y="82"/>
                  </a:lnTo>
                  <a:lnTo>
                    <a:pt x="116" y="105"/>
                  </a:lnTo>
                  <a:lnTo>
                    <a:pt x="116" y="139"/>
                  </a:lnTo>
                  <a:lnTo>
                    <a:pt x="82" y="139"/>
                  </a:lnTo>
                  <a:lnTo>
                    <a:pt x="82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7" y="118"/>
                  </a:lnTo>
                  <a:lnTo>
                    <a:pt x="75" y="118"/>
                  </a:lnTo>
                  <a:lnTo>
                    <a:pt x="75" y="121"/>
                  </a:lnTo>
                  <a:lnTo>
                    <a:pt x="75" y="139"/>
                  </a:lnTo>
                  <a:lnTo>
                    <a:pt x="57" y="139"/>
                  </a:lnTo>
                  <a:lnTo>
                    <a:pt x="57" y="108"/>
                  </a:lnTo>
                  <a:close/>
                  <a:moveTo>
                    <a:pt x="131" y="244"/>
                  </a:moveTo>
                  <a:lnTo>
                    <a:pt x="126" y="246"/>
                  </a:lnTo>
                  <a:lnTo>
                    <a:pt x="118" y="246"/>
                  </a:lnTo>
                  <a:lnTo>
                    <a:pt x="110" y="246"/>
                  </a:lnTo>
                  <a:lnTo>
                    <a:pt x="105" y="244"/>
                  </a:lnTo>
                  <a:lnTo>
                    <a:pt x="105" y="231"/>
                  </a:lnTo>
                  <a:lnTo>
                    <a:pt x="113" y="233"/>
                  </a:lnTo>
                  <a:lnTo>
                    <a:pt x="118" y="233"/>
                  </a:lnTo>
                  <a:lnTo>
                    <a:pt x="126" y="233"/>
                  </a:lnTo>
                  <a:lnTo>
                    <a:pt x="131" y="231"/>
                  </a:lnTo>
                  <a:lnTo>
                    <a:pt x="131" y="244"/>
                  </a:lnTo>
                  <a:close/>
                  <a:moveTo>
                    <a:pt x="134" y="226"/>
                  </a:moveTo>
                  <a:lnTo>
                    <a:pt x="126" y="226"/>
                  </a:lnTo>
                  <a:lnTo>
                    <a:pt x="121" y="228"/>
                  </a:lnTo>
                  <a:lnTo>
                    <a:pt x="118" y="228"/>
                  </a:lnTo>
                  <a:lnTo>
                    <a:pt x="110" y="226"/>
                  </a:lnTo>
                  <a:lnTo>
                    <a:pt x="103" y="226"/>
                  </a:lnTo>
                  <a:lnTo>
                    <a:pt x="100" y="223"/>
                  </a:lnTo>
                  <a:lnTo>
                    <a:pt x="98" y="221"/>
                  </a:lnTo>
                  <a:lnTo>
                    <a:pt x="95" y="215"/>
                  </a:lnTo>
                  <a:lnTo>
                    <a:pt x="93" y="213"/>
                  </a:lnTo>
                  <a:lnTo>
                    <a:pt x="93" y="208"/>
                  </a:lnTo>
                  <a:lnTo>
                    <a:pt x="93" y="197"/>
                  </a:lnTo>
                  <a:lnTo>
                    <a:pt x="93" y="190"/>
                  </a:lnTo>
                  <a:lnTo>
                    <a:pt x="95" y="182"/>
                  </a:lnTo>
                  <a:lnTo>
                    <a:pt x="95" y="180"/>
                  </a:lnTo>
                  <a:lnTo>
                    <a:pt x="98" y="177"/>
                  </a:lnTo>
                  <a:lnTo>
                    <a:pt x="103" y="174"/>
                  </a:lnTo>
                  <a:lnTo>
                    <a:pt x="105" y="172"/>
                  </a:lnTo>
                  <a:lnTo>
                    <a:pt x="110" y="169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31" y="172"/>
                  </a:lnTo>
                  <a:lnTo>
                    <a:pt x="136" y="174"/>
                  </a:lnTo>
                  <a:lnTo>
                    <a:pt x="139" y="174"/>
                  </a:lnTo>
                  <a:lnTo>
                    <a:pt x="141" y="180"/>
                  </a:lnTo>
                  <a:lnTo>
                    <a:pt x="144" y="187"/>
                  </a:lnTo>
                  <a:lnTo>
                    <a:pt x="144" y="195"/>
                  </a:lnTo>
                  <a:lnTo>
                    <a:pt x="144" y="200"/>
                  </a:lnTo>
                  <a:lnTo>
                    <a:pt x="144" y="210"/>
                  </a:lnTo>
                  <a:lnTo>
                    <a:pt x="141" y="215"/>
                  </a:lnTo>
                  <a:lnTo>
                    <a:pt x="141" y="221"/>
                  </a:lnTo>
                  <a:lnTo>
                    <a:pt x="136" y="223"/>
                  </a:lnTo>
                  <a:lnTo>
                    <a:pt x="134" y="226"/>
                  </a:lnTo>
                  <a:close/>
                  <a:moveTo>
                    <a:pt x="139" y="241"/>
                  </a:moveTo>
                  <a:lnTo>
                    <a:pt x="139" y="228"/>
                  </a:lnTo>
                  <a:lnTo>
                    <a:pt x="141" y="226"/>
                  </a:lnTo>
                  <a:lnTo>
                    <a:pt x="146" y="223"/>
                  </a:lnTo>
                  <a:lnTo>
                    <a:pt x="149" y="218"/>
                  </a:lnTo>
                  <a:lnTo>
                    <a:pt x="149" y="210"/>
                  </a:lnTo>
                  <a:lnTo>
                    <a:pt x="149" y="203"/>
                  </a:lnTo>
                  <a:lnTo>
                    <a:pt x="149" y="187"/>
                  </a:lnTo>
                  <a:lnTo>
                    <a:pt x="146" y="180"/>
                  </a:lnTo>
                  <a:lnTo>
                    <a:pt x="144" y="174"/>
                  </a:lnTo>
                  <a:lnTo>
                    <a:pt x="141" y="169"/>
                  </a:lnTo>
                  <a:lnTo>
                    <a:pt x="136" y="167"/>
                  </a:lnTo>
                  <a:lnTo>
                    <a:pt x="131" y="164"/>
                  </a:lnTo>
                  <a:lnTo>
                    <a:pt x="123" y="164"/>
                  </a:lnTo>
                  <a:lnTo>
                    <a:pt x="118" y="164"/>
                  </a:lnTo>
                  <a:lnTo>
                    <a:pt x="113" y="164"/>
                  </a:lnTo>
                  <a:lnTo>
                    <a:pt x="105" y="164"/>
                  </a:lnTo>
                  <a:lnTo>
                    <a:pt x="100" y="167"/>
                  </a:lnTo>
                  <a:lnTo>
                    <a:pt x="95" y="169"/>
                  </a:lnTo>
                  <a:lnTo>
                    <a:pt x="93" y="174"/>
                  </a:lnTo>
                  <a:lnTo>
                    <a:pt x="90" y="177"/>
                  </a:lnTo>
                  <a:lnTo>
                    <a:pt x="87" y="187"/>
                  </a:lnTo>
                  <a:lnTo>
                    <a:pt x="87" y="190"/>
                  </a:lnTo>
                  <a:lnTo>
                    <a:pt x="87" y="203"/>
                  </a:lnTo>
                  <a:lnTo>
                    <a:pt x="87" y="213"/>
                  </a:lnTo>
                  <a:lnTo>
                    <a:pt x="90" y="221"/>
                  </a:lnTo>
                  <a:lnTo>
                    <a:pt x="93" y="223"/>
                  </a:lnTo>
                  <a:lnTo>
                    <a:pt x="95" y="226"/>
                  </a:lnTo>
                  <a:lnTo>
                    <a:pt x="98" y="228"/>
                  </a:lnTo>
                  <a:lnTo>
                    <a:pt x="98" y="241"/>
                  </a:lnTo>
                  <a:lnTo>
                    <a:pt x="62" y="256"/>
                  </a:lnTo>
                  <a:lnTo>
                    <a:pt x="59" y="259"/>
                  </a:lnTo>
                  <a:lnTo>
                    <a:pt x="57" y="261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72"/>
                  </a:lnTo>
                  <a:lnTo>
                    <a:pt x="52" y="277"/>
                  </a:lnTo>
                  <a:lnTo>
                    <a:pt x="52" y="302"/>
                  </a:lnTo>
                  <a:lnTo>
                    <a:pt x="6" y="302"/>
                  </a:lnTo>
                  <a:lnTo>
                    <a:pt x="6" y="144"/>
                  </a:lnTo>
                  <a:lnTo>
                    <a:pt x="231" y="144"/>
                  </a:lnTo>
                  <a:lnTo>
                    <a:pt x="231" y="302"/>
                  </a:lnTo>
                  <a:lnTo>
                    <a:pt x="185" y="302"/>
                  </a:lnTo>
                  <a:lnTo>
                    <a:pt x="185" y="272"/>
                  </a:lnTo>
                  <a:lnTo>
                    <a:pt x="182" y="264"/>
                  </a:lnTo>
                  <a:lnTo>
                    <a:pt x="182" y="264"/>
                  </a:lnTo>
                  <a:lnTo>
                    <a:pt x="180" y="259"/>
                  </a:lnTo>
                  <a:lnTo>
                    <a:pt x="177" y="259"/>
                  </a:lnTo>
                  <a:lnTo>
                    <a:pt x="172" y="254"/>
                  </a:lnTo>
                  <a:lnTo>
                    <a:pt x="169" y="254"/>
                  </a:lnTo>
                  <a:lnTo>
                    <a:pt x="139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2" name="Group 176">
            <a:extLst>
              <a:ext uri="{FF2B5EF4-FFF2-40B4-BE49-F238E27FC236}">
                <a16:creationId xmlns:a16="http://schemas.microsoft.com/office/drawing/2014/main" id="{CA18BFED-61DB-4BD8-B68F-07AC00BA2A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6763" y="2889250"/>
            <a:ext cx="758825" cy="758825"/>
            <a:chOff x="3683" y="1820"/>
            <a:chExt cx="478" cy="478"/>
          </a:xfrm>
        </p:grpSpPr>
        <p:sp>
          <p:nvSpPr>
            <p:cNvPr id="193" name="AutoShape 175">
              <a:extLst>
                <a:ext uri="{FF2B5EF4-FFF2-40B4-BE49-F238E27FC236}">
                  <a16:creationId xmlns:a16="http://schemas.microsoft.com/office/drawing/2014/main" id="{6427D9D3-ECF4-46E4-90DF-0F0135510D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3" y="182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77">
              <a:extLst>
                <a:ext uri="{FF2B5EF4-FFF2-40B4-BE49-F238E27FC236}">
                  <a16:creationId xmlns:a16="http://schemas.microsoft.com/office/drawing/2014/main" id="{99903ADA-17AF-405C-91FA-5879CCC92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" y="182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78">
              <a:extLst>
                <a:ext uri="{FF2B5EF4-FFF2-40B4-BE49-F238E27FC236}">
                  <a16:creationId xmlns:a16="http://schemas.microsoft.com/office/drawing/2014/main" id="{898383CF-7E69-415C-852A-7B31BC944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0" y="1903"/>
              <a:ext cx="226" cy="295"/>
            </a:xfrm>
            <a:custGeom>
              <a:avLst/>
              <a:gdLst>
                <a:gd name="T0" fmla="*/ 172 w 226"/>
                <a:gd name="T1" fmla="*/ 265 h 295"/>
                <a:gd name="T2" fmla="*/ 177 w 226"/>
                <a:gd name="T3" fmla="*/ 103 h 295"/>
                <a:gd name="T4" fmla="*/ 165 w 226"/>
                <a:gd name="T5" fmla="*/ 86 h 295"/>
                <a:gd name="T6" fmla="*/ 140 w 226"/>
                <a:gd name="T7" fmla="*/ 54 h 295"/>
                <a:gd name="T8" fmla="*/ 140 w 226"/>
                <a:gd name="T9" fmla="*/ 13 h 295"/>
                <a:gd name="T10" fmla="*/ 121 w 226"/>
                <a:gd name="T11" fmla="*/ 0 h 295"/>
                <a:gd name="T12" fmla="*/ 94 w 226"/>
                <a:gd name="T13" fmla="*/ 3 h 295"/>
                <a:gd name="T14" fmla="*/ 84 w 226"/>
                <a:gd name="T15" fmla="*/ 25 h 295"/>
                <a:gd name="T16" fmla="*/ 91 w 226"/>
                <a:gd name="T17" fmla="*/ 59 h 295"/>
                <a:gd name="T18" fmla="*/ 54 w 226"/>
                <a:gd name="T19" fmla="*/ 91 h 295"/>
                <a:gd name="T20" fmla="*/ 49 w 226"/>
                <a:gd name="T21" fmla="*/ 133 h 295"/>
                <a:gd name="T22" fmla="*/ 54 w 226"/>
                <a:gd name="T23" fmla="*/ 258 h 295"/>
                <a:gd name="T24" fmla="*/ 96 w 226"/>
                <a:gd name="T25" fmla="*/ 238 h 295"/>
                <a:gd name="T26" fmla="*/ 128 w 226"/>
                <a:gd name="T27" fmla="*/ 238 h 295"/>
                <a:gd name="T28" fmla="*/ 167 w 226"/>
                <a:gd name="T29" fmla="*/ 96 h 295"/>
                <a:gd name="T30" fmla="*/ 172 w 226"/>
                <a:gd name="T31" fmla="*/ 133 h 295"/>
                <a:gd name="T32" fmla="*/ 152 w 226"/>
                <a:gd name="T33" fmla="*/ 113 h 295"/>
                <a:gd name="T34" fmla="*/ 148 w 226"/>
                <a:gd name="T35" fmla="*/ 133 h 295"/>
                <a:gd name="T36" fmla="*/ 113 w 226"/>
                <a:gd name="T37" fmla="*/ 93 h 295"/>
                <a:gd name="T38" fmla="*/ 118 w 226"/>
                <a:gd name="T39" fmla="*/ 67 h 295"/>
                <a:gd name="T40" fmla="*/ 91 w 226"/>
                <a:gd name="T41" fmla="*/ 52 h 295"/>
                <a:gd name="T42" fmla="*/ 91 w 226"/>
                <a:gd name="T43" fmla="*/ 17 h 295"/>
                <a:gd name="T44" fmla="*/ 111 w 226"/>
                <a:gd name="T45" fmla="*/ 5 h 295"/>
                <a:gd name="T46" fmla="*/ 118 w 226"/>
                <a:gd name="T47" fmla="*/ 10 h 295"/>
                <a:gd name="T48" fmla="*/ 113 w 226"/>
                <a:gd name="T49" fmla="*/ 17 h 295"/>
                <a:gd name="T50" fmla="*/ 103 w 226"/>
                <a:gd name="T51" fmla="*/ 22 h 295"/>
                <a:gd name="T52" fmla="*/ 108 w 226"/>
                <a:gd name="T53" fmla="*/ 25 h 295"/>
                <a:gd name="T54" fmla="*/ 125 w 226"/>
                <a:gd name="T55" fmla="*/ 13 h 295"/>
                <a:gd name="T56" fmla="*/ 138 w 226"/>
                <a:gd name="T57" fmla="*/ 20 h 295"/>
                <a:gd name="T58" fmla="*/ 135 w 226"/>
                <a:gd name="T59" fmla="*/ 49 h 295"/>
                <a:gd name="T60" fmla="*/ 118 w 226"/>
                <a:gd name="T61" fmla="*/ 59 h 295"/>
                <a:gd name="T62" fmla="*/ 94 w 226"/>
                <a:gd name="T63" fmla="*/ 54 h 295"/>
                <a:gd name="T64" fmla="*/ 64 w 226"/>
                <a:gd name="T65" fmla="*/ 91 h 295"/>
                <a:gd name="T66" fmla="*/ 79 w 226"/>
                <a:gd name="T67" fmla="*/ 133 h 295"/>
                <a:gd name="T68" fmla="*/ 72 w 226"/>
                <a:gd name="T69" fmla="*/ 113 h 295"/>
                <a:gd name="T70" fmla="*/ 125 w 226"/>
                <a:gd name="T71" fmla="*/ 233 h 295"/>
                <a:gd name="T72" fmla="*/ 101 w 226"/>
                <a:gd name="T73" fmla="*/ 221 h 295"/>
                <a:gd name="T74" fmla="*/ 125 w 226"/>
                <a:gd name="T75" fmla="*/ 233 h 295"/>
                <a:gd name="T76" fmla="*/ 106 w 226"/>
                <a:gd name="T77" fmla="*/ 216 h 295"/>
                <a:gd name="T78" fmla="*/ 89 w 226"/>
                <a:gd name="T79" fmla="*/ 204 h 295"/>
                <a:gd name="T80" fmla="*/ 91 w 226"/>
                <a:gd name="T81" fmla="*/ 172 h 295"/>
                <a:gd name="T82" fmla="*/ 116 w 226"/>
                <a:gd name="T83" fmla="*/ 162 h 295"/>
                <a:gd name="T84" fmla="*/ 135 w 226"/>
                <a:gd name="T85" fmla="*/ 172 h 295"/>
                <a:gd name="T86" fmla="*/ 135 w 226"/>
                <a:gd name="T87" fmla="*/ 206 h 295"/>
                <a:gd name="T88" fmla="*/ 133 w 226"/>
                <a:gd name="T89" fmla="*/ 219 h 295"/>
                <a:gd name="T90" fmla="*/ 143 w 226"/>
                <a:gd name="T91" fmla="*/ 194 h 295"/>
                <a:gd name="T92" fmla="*/ 130 w 226"/>
                <a:gd name="T93" fmla="*/ 160 h 295"/>
                <a:gd name="T94" fmla="*/ 101 w 226"/>
                <a:gd name="T95" fmla="*/ 157 h 295"/>
                <a:gd name="T96" fmla="*/ 84 w 226"/>
                <a:gd name="T97" fmla="*/ 179 h 295"/>
                <a:gd name="T98" fmla="*/ 89 w 226"/>
                <a:gd name="T99" fmla="*/ 214 h 295"/>
                <a:gd name="T100" fmla="*/ 57 w 226"/>
                <a:gd name="T101" fmla="*/ 248 h 295"/>
                <a:gd name="T102" fmla="*/ 49 w 226"/>
                <a:gd name="T103" fmla="*/ 265 h 295"/>
                <a:gd name="T104" fmla="*/ 221 w 226"/>
                <a:gd name="T105" fmla="*/ 290 h 295"/>
                <a:gd name="T106" fmla="*/ 172 w 226"/>
                <a:gd name="T107" fmla="*/ 248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6" h="295">
                  <a:moveTo>
                    <a:pt x="170" y="253"/>
                  </a:moveTo>
                  <a:lnTo>
                    <a:pt x="170" y="255"/>
                  </a:lnTo>
                  <a:lnTo>
                    <a:pt x="172" y="258"/>
                  </a:lnTo>
                  <a:lnTo>
                    <a:pt x="172" y="263"/>
                  </a:lnTo>
                  <a:lnTo>
                    <a:pt x="172" y="265"/>
                  </a:lnTo>
                  <a:lnTo>
                    <a:pt x="172" y="295"/>
                  </a:lnTo>
                  <a:lnTo>
                    <a:pt x="226" y="295"/>
                  </a:lnTo>
                  <a:lnTo>
                    <a:pt x="226" y="133"/>
                  </a:lnTo>
                  <a:lnTo>
                    <a:pt x="177" y="133"/>
                  </a:lnTo>
                  <a:lnTo>
                    <a:pt x="177" y="103"/>
                  </a:lnTo>
                  <a:lnTo>
                    <a:pt x="177" y="96"/>
                  </a:lnTo>
                  <a:lnTo>
                    <a:pt x="175" y="93"/>
                  </a:lnTo>
                  <a:lnTo>
                    <a:pt x="172" y="91"/>
                  </a:lnTo>
                  <a:lnTo>
                    <a:pt x="170" y="89"/>
                  </a:lnTo>
                  <a:lnTo>
                    <a:pt x="165" y="86"/>
                  </a:lnTo>
                  <a:lnTo>
                    <a:pt x="162" y="84"/>
                  </a:lnTo>
                  <a:lnTo>
                    <a:pt x="133" y="74"/>
                  </a:lnTo>
                  <a:lnTo>
                    <a:pt x="133" y="62"/>
                  </a:lnTo>
                  <a:lnTo>
                    <a:pt x="135" y="59"/>
                  </a:lnTo>
                  <a:lnTo>
                    <a:pt x="140" y="54"/>
                  </a:lnTo>
                  <a:lnTo>
                    <a:pt x="143" y="52"/>
                  </a:lnTo>
                  <a:lnTo>
                    <a:pt x="143" y="44"/>
                  </a:lnTo>
                  <a:lnTo>
                    <a:pt x="143" y="37"/>
                  </a:lnTo>
                  <a:lnTo>
                    <a:pt x="143" y="20"/>
                  </a:lnTo>
                  <a:lnTo>
                    <a:pt x="140" y="13"/>
                  </a:lnTo>
                  <a:lnTo>
                    <a:pt x="138" y="8"/>
                  </a:lnTo>
                  <a:lnTo>
                    <a:pt x="135" y="5"/>
                  </a:lnTo>
                  <a:lnTo>
                    <a:pt x="130" y="3"/>
                  </a:lnTo>
                  <a:lnTo>
                    <a:pt x="125" y="0"/>
                  </a:lnTo>
                  <a:lnTo>
                    <a:pt x="121" y="0"/>
                  </a:lnTo>
                  <a:lnTo>
                    <a:pt x="116" y="0"/>
                  </a:lnTo>
                  <a:lnTo>
                    <a:pt x="113" y="0"/>
                  </a:lnTo>
                  <a:lnTo>
                    <a:pt x="106" y="0"/>
                  </a:lnTo>
                  <a:lnTo>
                    <a:pt x="99" y="0"/>
                  </a:lnTo>
                  <a:lnTo>
                    <a:pt x="94" y="3"/>
                  </a:lnTo>
                  <a:lnTo>
                    <a:pt x="91" y="5"/>
                  </a:lnTo>
                  <a:lnTo>
                    <a:pt x="89" y="8"/>
                  </a:lnTo>
                  <a:lnTo>
                    <a:pt x="86" y="13"/>
                  </a:lnTo>
                  <a:lnTo>
                    <a:pt x="84" y="20"/>
                  </a:lnTo>
                  <a:lnTo>
                    <a:pt x="84" y="25"/>
                  </a:lnTo>
                  <a:lnTo>
                    <a:pt x="84" y="37"/>
                  </a:lnTo>
                  <a:lnTo>
                    <a:pt x="84" y="47"/>
                  </a:lnTo>
                  <a:lnTo>
                    <a:pt x="86" y="52"/>
                  </a:lnTo>
                  <a:lnTo>
                    <a:pt x="89" y="57"/>
                  </a:lnTo>
                  <a:lnTo>
                    <a:pt x="91" y="59"/>
                  </a:lnTo>
                  <a:lnTo>
                    <a:pt x="94" y="62"/>
                  </a:lnTo>
                  <a:lnTo>
                    <a:pt x="94" y="74"/>
                  </a:lnTo>
                  <a:lnTo>
                    <a:pt x="62" y="86"/>
                  </a:lnTo>
                  <a:lnTo>
                    <a:pt x="57" y="89"/>
                  </a:lnTo>
                  <a:lnTo>
                    <a:pt x="54" y="91"/>
                  </a:lnTo>
                  <a:lnTo>
                    <a:pt x="49" y="98"/>
                  </a:lnTo>
                  <a:lnTo>
                    <a:pt x="49" y="101"/>
                  </a:lnTo>
                  <a:lnTo>
                    <a:pt x="49" y="106"/>
                  </a:lnTo>
                  <a:lnTo>
                    <a:pt x="49" y="108"/>
                  </a:lnTo>
                  <a:lnTo>
                    <a:pt x="49" y="133"/>
                  </a:lnTo>
                  <a:lnTo>
                    <a:pt x="0" y="133"/>
                  </a:lnTo>
                  <a:lnTo>
                    <a:pt x="0" y="295"/>
                  </a:lnTo>
                  <a:lnTo>
                    <a:pt x="54" y="295"/>
                  </a:lnTo>
                  <a:lnTo>
                    <a:pt x="54" y="260"/>
                  </a:lnTo>
                  <a:lnTo>
                    <a:pt x="54" y="258"/>
                  </a:lnTo>
                  <a:lnTo>
                    <a:pt x="57" y="253"/>
                  </a:lnTo>
                  <a:lnTo>
                    <a:pt x="59" y="253"/>
                  </a:lnTo>
                  <a:lnTo>
                    <a:pt x="64" y="250"/>
                  </a:lnTo>
                  <a:lnTo>
                    <a:pt x="67" y="248"/>
                  </a:lnTo>
                  <a:lnTo>
                    <a:pt x="96" y="238"/>
                  </a:lnTo>
                  <a:lnTo>
                    <a:pt x="101" y="241"/>
                  </a:lnTo>
                  <a:lnTo>
                    <a:pt x="106" y="241"/>
                  </a:lnTo>
                  <a:lnTo>
                    <a:pt x="113" y="241"/>
                  </a:lnTo>
                  <a:lnTo>
                    <a:pt x="121" y="241"/>
                  </a:lnTo>
                  <a:lnTo>
                    <a:pt x="128" y="238"/>
                  </a:lnTo>
                  <a:lnTo>
                    <a:pt x="130" y="238"/>
                  </a:lnTo>
                  <a:lnTo>
                    <a:pt x="165" y="250"/>
                  </a:lnTo>
                  <a:lnTo>
                    <a:pt x="170" y="253"/>
                  </a:lnTo>
                  <a:close/>
                  <a:moveTo>
                    <a:pt x="165" y="93"/>
                  </a:moveTo>
                  <a:lnTo>
                    <a:pt x="167" y="96"/>
                  </a:lnTo>
                  <a:lnTo>
                    <a:pt x="170" y="98"/>
                  </a:lnTo>
                  <a:lnTo>
                    <a:pt x="172" y="101"/>
                  </a:lnTo>
                  <a:lnTo>
                    <a:pt x="172" y="106"/>
                  </a:lnTo>
                  <a:lnTo>
                    <a:pt x="172" y="108"/>
                  </a:lnTo>
                  <a:lnTo>
                    <a:pt x="172" y="133"/>
                  </a:lnTo>
                  <a:lnTo>
                    <a:pt x="155" y="133"/>
                  </a:lnTo>
                  <a:lnTo>
                    <a:pt x="155" y="113"/>
                  </a:lnTo>
                  <a:lnTo>
                    <a:pt x="152" y="113"/>
                  </a:lnTo>
                  <a:lnTo>
                    <a:pt x="152" y="111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0" y="113"/>
                  </a:lnTo>
                  <a:lnTo>
                    <a:pt x="148" y="113"/>
                  </a:lnTo>
                  <a:lnTo>
                    <a:pt x="148" y="116"/>
                  </a:lnTo>
                  <a:lnTo>
                    <a:pt x="148" y="133"/>
                  </a:lnTo>
                  <a:lnTo>
                    <a:pt x="116" y="133"/>
                  </a:lnTo>
                  <a:lnTo>
                    <a:pt x="116" y="101"/>
                  </a:lnTo>
                  <a:lnTo>
                    <a:pt x="130" y="79"/>
                  </a:lnTo>
                  <a:lnTo>
                    <a:pt x="165" y="93"/>
                  </a:lnTo>
                  <a:close/>
                  <a:moveTo>
                    <a:pt x="113" y="93"/>
                  </a:moveTo>
                  <a:lnTo>
                    <a:pt x="101" y="74"/>
                  </a:lnTo>
                  <a:lnTo>
                    <a:pt x="101" y="64"/>
                  </a:lnTo>
                  <a:lnTo>
                    <a:pt x="108" y="67"/>
                  </a:lnTo>
                  <a:lnTo>
                    <a:pt x="111" y="67"/>
                  </a:lnTo>
                  <a:lnTo>
                    <a:pt x="118" y="67"/>
                  </a:lnTo>
                  <a:lnTo>
                    <a:pt x="125" y="64"/>
                  </a:lnTo>
                  <a:lnTo>
                    <a:pt x="125" y="74"/>
                  </a:lnTo>
                  <a:lnTo>
                    <a:pt x="113" y="93"/>
                  </a:lnTo>
                  <a:close/>
                  <a:moveTo>
                    <a:pt x="94" y="54"/>
                  </a:moveTo>
                  <a:lnTo>
                    <a:pt x="91" y="52"/>
                  </a:lnTo>
                  <a:lnTo>
                    <a:pt x="89" y="44"/>
                  </a:lnTo>
                  <a:lnTo>
                    <a:pt x="89" y="40"/>
                  </a:lnTo>
                  <a:lnTo>
                    <a:pt x="89" y="32"/>
                  </a:lnTo>
                  <a:lnTo>
                    <a:pt x="89" y="25"/>
                  </a:lnTo>
                  <a:lnTo>
                    <a:pt x="91" y="17"/>
                  </a:lnTo>
                  <a:lnTo>
                    <a:pt x="91" y="13"/>
                  </a:lnTo>
                  <a:lnTo>
                    <a:pt x="94" y="10"/>
                  </a:lnTo>
                  <a:lnTo>
                    <a:pt x="99" y="8"/>
                  </a:lnTo>
                  <a:lnTo>
                    <a:pt x="106" y="5"/>
                  </a:lnTo>
                  <a:lnTo>
                    <a:pt x="111" y="5"/>
                  </a:lnTo>
                  <a:lnTo>
                    <a:pt x="113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8" y="8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6" y="15"/>
                  </a:lnTo>
                  <a:lnTo>
                    <a:pt x="113" y="17"/>
                  </a:lnTo>
                  <a:lnTo>
                    <a:pt x="108" y="17"/>
                  </a:lnTo>
                  <a:lnTo>
                    <a:pt x="103" y="17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8" y="25"/>
                  </a:lnTo>
                  <a:lnTo>
                    <a:pt x="113" y="22"/>
                  </a:lnTo>
                  <a:lnTo>
                    <a:pt x="118" y="22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5" y="13"/>
                  </a:lnTo>
                  <a:lnTo>
                    <a:pt x="125" y="10"/>
                  </a:lnTo>
                  <a:lnTo>
                    <a:pt x="125" y="5"/>
                  </a:lnTo>
                  <a:lnTo>
                    <a:pt x="133" y="10"/>
                  </a:lnTo>
                  <a:lnTo>
                    <a:pt x="135" y="15"/>
                  </a:lnTo>
                  <a:lnTo>
                    <a:pt x="138" y="20"/>
                  </a:lnTo>
                  <a:lnTo>
                    <a:pt x="138" y="22"/>
                  </a:lnTo>
                  <a:lnTo>
                    <a:pt x="138" y="30"/>
                  </a:lnTo>
                  <a:lnTo>
                    <a:pt x="138" y="35"/>
                  </a:lnTo>
                  <a:lnTo>
                    <a:pt x="138" y="42"/>
                  </a:lnTo>
                  <a:lnTo>
                    <a:pt x="135" y="49"/>
                  </a:lnTo>
                  <a:lnTo>
                    <a:pt x="135" y="52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5" y="59"/>
                  </a:lnTo>
                  <a:lnTo>
                    <a:pt x="118" y="59"/>
                  </a:lnTo>
                  <a:lnTo>
                    <a:pt x="113" y="59"/>
                  </a:lnTo>
                  <a:lnTo>
                    <a:pt x="106" y="59"/>
                  </a:lnTo>
                  <a:lnTo>
                    <a:pt x="99" y="57"/>
                  </a:lnTo>
                  <a:lnTo>
                    <a:pt x="96" y="57"/>
                  </a:lnTo>
                  <a:lnTo>
                    <a:pt x="94" y="54"/>
                  </a:lnTo>
                  <a:close/>
                  <a:moveTo>
                    <a:pt x="54" y="103"/>
                  </a:moveTo>
                  <a:lnTo>
                    <a:pt x="54" y="98"/>
                  </a:lnTo>
                  <a:lnTo>
                    <a:pt x="57" y="96"/>
                  </a:lnTo>
                  <a:lnTo>
                    <a:pt x="59" y="93"/>
                  </a:lnTo>
                  <a:lnTo>
                    <a:pt x="64" y="91"/>
                  </a:lnTo>
                  <a:lnTo>
                    <a:pt x="67" y="91"/>
                  </a:lnTo>
                  <a:lnTo>
                    <a:pt x="96" y="79"/>
                  </a:lnTo>
                  <a:lnTo>
                    <a:pt x="111" y="101"/>
                  </a:lnTo>
                  <a:lnTo>
                    <a:pt x="111" y="133"/>
                  </a:lnTo>
                  <a:lnTo>
                    <a:pt x="79" y="133"/>
                  </a:lnTo>
                  <a:lnTo>
                    <a:pt x="79" y="113"/>
                  </a:lnTo>
                  <a:lnTo>
                    <a:pt x="76" y="113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2" y="113"/>
                  </a:lnTo>
                  <a:lnTo>
                    <a:pt x="72" y="116"/>
                  </a:lnTo>
                  <a:lnTo>
                    <a:pt x="72" y="133"/>
                  </a:lnTo>
                  <a:lnTo>
                    <a:pt x="54" y="133"/>
                  </a:lnTo>
                  <a:lnTo>
                    <a:pt x="54" y="103"/>
                  </a:lnTo>
                  <a:close/>
                  <a:moveTo>
                    <a:pt x="125" y="233"/>
                  </a:moveTo>
                  <a:lnTo>
                    <a:pt x="121" y="236"/>
                  </a:lnTo>
                  <a:lnTo>
                    <a:pt x="113" y="236"/>
                  </a:lnTo>
                  <a:lnTo>
                    <a:pt x="106" y="236"/>
                  </a:lnTo>
                  <a:lnTo>
                    <a:pt x="101" y="233"/>
                  </a:lnTo>
                  <a:lnTo>
                    <a:pt x="101" y="221"/>
                  </a:lnTo>
                  <a:lnTo>
                    <a:pt x="108" y="223"/>
                  </a:lnTo>
                  <a:lnTo>
                    <a:pt x="113" y="223"/>
                  </a:lnTo>
                  <a:lnTo>
                    <a:pt x="121" y="223"/>
                  </a:lnTo>
                  <a:lnTo>
                    <a:pt x="125" y="221"/>
                  </a:lnTo>
                  <a:lnTo>
                    <a:pt x="125" y="233"/>
                  </a:lnTo>
                  <a:close/>
                  <a:moveTo>
                    <a:pt x="128" y="216"/>
                  </a:moveTo>
                  <a:lnTo>
                    <a:pt x="121" y="216"/>
                  </a:lnTo>
                  <a:lnTo>
                    <a:pt x="116" y="219"/>
                  </a:lnTo>
                  <a:lnTo>
                    <a:pt x="113" y="219"/>
                  </a:lnTo>
                  <a:lnTo>
                    <a:pt x="106" y="216"/>
                  </a:lnTo>
                  <a:lnTo>
                    <a:pt x="99" y="216"/>
                  </a:lnTo>
                  <a:lnTo>
                    <a:pt x="96" y="214"/>
                  </a:lnTo>
                  <a:lnTo>
                    <a:pt x="94" y="211"/>
                  </a:lnTo>
                  <a:lnTo>
                    <a:pt x="91" y="206"/>
                  </a:lnTo>
                  <a:lnTo>
                    <a:pt x="89" y="204"/>
                  </a:lnTo>
                  <a:lnTo>
                    <a:pt x="89" y="199"/>
                  </a:lnTo>
                  <a:lnTo>
                    <a:pt x="89" y="189"/>
                  </a:lnTo>
                  <a:lnTo>
                    <a:pt x="89" y="182"/>
                  </a:lnTo>
                  <a:lnTo>
                    <a:pt x="91" y="174"/>
                  </a:lnTo>
                  <a:lnTo>
                    <a:pt x="91" y="172"/>
                  </a:lnTo>
                  <a:lnTo>
                    <a:pt x="94" y="169"/>
                  </a:lnTo>
                  <a:lnTo>
                    <a:pt x="99" y="167"/>
                  </a:lnTo>
                  <a:lnTo>
                    <a:pt x="101" y="165"/>
                  </a:lnTo>
                  <a:lnTo>
                    <a:pt x="106" y="162"/>
                  </a:lnTo>
                  <a:lnTo>
                    <a:pt x="116" y="162"/>
                  </a:lnTo>
                  <a:lnTo>
                    <a:pt x="118" y="162"/>
                  </a:lnTo>
                  <a:lnTo>
                    <a:pt x="125" y="165"/>
                  </a:lnTo>
                  <a:lnTo>
                    <a:pt x="130" y="167"/>
                  </a:lnTo>
                  <a:lnTo>
                    <a:pt x="133" y="167"/>
                  </a:lnTo>
                  <a:lnTo>
                    <a:pt x="135" y="172"/>
                  </a:lnTo>
                  <a:lnTo>
                    <a:pt x="138" y="179"/>
                  </a:lnTo>
                  <a:lnTo>
                    <a:pt x="138" y="187"/>
                  </a:lnTo>
                  <a:lnTo>
                    <a:pt x="138" y="192"/>
                  </a:lnTo>
                  <a:lnTo>
                    <a:pt x="138" y="201"/>
                  </a:lnTo>
                  <a:lnTo>
                    <a:pt x="135" y="206"/>
                  </a:lnTo>
                  <a:lnTo>
                    <a:pt x="135" y="211"/>
                  </a:lnTo>
                  <a:lnTo>
                    <a:pt x="130" y="214"/>
                  </a:lnTo>
                  <a:lnTo>
                    <a:pt x="128" y="216"/>
                  </a:lnTo>
                  <a:close/>
                  <a:moveTo>
                    <a:pt x="133" y="231"/>
                  </a:moveTo>
                  <a:lnTo>
                    <a:pt x="133" y="219"/>
                  </a:lnTo>
                  <a:lnTo>
                    <a:pt x="135" y="216"/>
                  </a:lnTo>
                  <a:lnTo>
                    <a:pt x="140" y="214"/>
                  </a:lnTo>
                  <a:lnTo>
                    <a:pt x="143" y="209"/>
                  </a:lnTo>
                  <a:lnTo>
                    <a:pt x="143" y="201"/>
                  </a:lnTo>
                  <a:lnTo>
                    <a:pt x="143" y="194"/>
                  </a:lnTo>
                  <a:lnTo>
                    <a:pt x="143" y="179"/>
                  </a:lnTo>
                  <a:lnTo>
                    <a:pt x="140" y="172"/>
                  </a:lnTo>
                  <a:lnTo>
                    <a:pt x="138" y="167"/>
                  </a:lnTo>
                  <a:lnTo>
                    <a:pt x="135" y="162"/>
                  </a:lnTo>
                  <a:lnTo>
                    <a:pt x="130" y="160"/>
                  </a:lnTo>
                  <a:lnTo>
                    <a:pt x="125" y="157"/>
                  </a:lnTo>
                  <a:lnTo>
                    <a:pt x="118" y="157"/>
                  </a:lnTo>
                  <a:lnTo>
                    <a:pt x="113" y="157"/>
                  </a:lnTo>
                  <a:lnTo>
                    <a:pt x="108" y="157"/>
                  </a:lnTo>
                  <a:lnTo>
                    <a:pt x="101" y="157"/>
                  </a:lnTo>
                  <a:lnTo>
                    <a:pt x="96" y="160"/>
                  </a:lnTo>
                  <a:lnTo>
                    <a:pt x="91" y="162"/>
                  </a:lnTo>
                  <a:lnTo>
                    <a:pt x="89" y="167"/>
                  </a:lnTo>
                  <a:lnTo>
                    <a:pt x="86" y="169"/>
                  </a:lnTo>
                  <a:lnTo>
                    <a:pt x="84" y="179"/>
                  </a:lnTo>
                  <a:lnTo>
                    <a:pt x="84" y="182"/>
                  </a:lnTo>
                  <a:lnTo>
                    <a:pt x="84" y="194"/>
                  </a:lnTo>
                  <a:lnTo>
                    <a:pt x="84" y="204"/>
                  </a:lnTo>
                  <a:lnTo>
                    <a:pt x="86" y="211"/>
                  </a:lnTo>
                  <a:lnTo>
                    <a:pt x="89" y="214"/>
                  </a:lnTo>
                  <a:lnTo>
                    <a:pt x="91" y="216"/>
                  </a:lnTo>
                  <a:lnTo>
                    <a:pt x="94" y="219"/>
                  </a:lnTo>
                  <a:lnTo>
                    <a:pt x="94" y="231"/>
                  </a:lnTo>
                  <a:lnTo>
                    <a:pt x="59" y="245"/>
                  </a:lnTo>
                  <a:lnTo>
                    <a:pt x="57" y="248"/>
                  </a:lnTo>
                  <a:lnTo>
                    <a:pt x="54" y="250"/>
                  </a:lnTo>
                  <a:lnTo>
                    <a:pt x="49" y="255"/>
                  </a:lnTo>
                  <a:lnTo>
                    <a:pt x="49" y="255"/>
                  </a:lnTo>
                  <a:lnTo>
                    <a:pt x="49" y="260"/>
                  </a:lnTo>
                  <a:lnTo>
                    <a:pt x="49" y="265"/>
                  </a:lnTo>
                  <a:lnTo>
                    <a:pt x="49" y="290"/>
                  </a:lnTo>
                  <a:lnTo>
                    <a:pt x="5" y="290"/>
                  </a:lnTo>
                  <a:lnTo>
                    <a:pt x="5" y="138"/>
                  </a:lnTo>
                  <a:lnTo>
                    <a:pt x="221" y="138"/>
                  </a:lnTo>
                  <a:lnTo>
                    <a:pt x="221" y="290"/>
                  </a:lnTo>
                  <a:lnTo>
                    <a:pt x="177" y="290"/>
                  </a:lnTo>
                  <a:lnTo>
                    <a:pt x="177" y="260"/>
                  </a:lnTo>
                  <a:lnTo>
                    <a:pt x="175" y="253"/>
                  </a:lnTo>
                  <a:lnTo>
                    <a:pt x="175" y="253"/>
                  </a:lnTo>
                  <a:lnTo>
                    <a:pt x="172" y="248"/>
                  </a:lnTo>
                  <a:lnTo>
                    <a:pt x="170" y="248"/>
                  </a:lnTo>
                  <a:lnTo>
                    <a:pt x="165" y="243"/>
                  </a:lnTo>
                  <a:lnTo>
                    <a:pt x="162" y="243"/>
                  </a:lnTo>
                  <a:lnTo>
                    <a:pt x="133" y="23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6" name="Group 181">
            <a:extLst>
              <a:ext uri="{FF2B5EF4-FFF2-40B4-BE49-F238E27FC236}">
                <a16:creationId xmlns:a16="http://schemas.microsoft.com/office/drawing/2014/main" id="{FFF69A30-1658-40CD-B1CB-6FB14F136A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0088" y="2847975"/>
            <a:ext cx="841375" cy="841375"/>
            <a:chOff x="4441" y="1794"/>
            <a:chExt cx="530" cy="530"/>
          </a:xfrm>
        </p:grpSpPr>
        <p:sp>
          <p:nvSpPr>
            <p:cNvPr id="197" name="AutoShape 180">
              <a:extLst>
                <a:ext uri="{FF2B5EF4-FFF2-40B4-BE49-F238E27FC236}">
                  <a16:creationId xmlns:a16="http://schemas.microsoft.com/office/drawing/2014/main" id="{A3CBA572-2F87-407D-928E-544632BAFC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1" y="17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Oval 182">
              <a:extLst>
                <a:ext uri="{FF2B5EF4-FFF2-40B4-BE49-F238E27FC236}">
                  <a16:creationId xmlns:a16="http://schemas.microsoft.com/office/drawing/2014/main" id="{CE94171F-FFAF-42CF-8718-4853F469C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" y="17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83">
              <a:extLst>
                <a:ext uri="{FF2B5EF4-FFF2-40B4-BE49-F238E27FC236}">
                  <a16:creationId xmlns:a16="http://schemas.microsoft.com/office/drawing/2014/main" id="{13A64DD8-9743-4C2C-87D2-6C0F7A9234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9" y="18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84">
              <a:extLst>
                <a:ext uri="{FF2B5EF4-FFF2-40B4-BE49-F238E27FC236}">
                  <a16:creationId xmlns:a16="http://schemas.microsoft.com/office/drawing/2014/main" id="{1AC556CB-6F2B-430B-AF4D-C03F204B53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1" y="1907"/>
              <a:ext cx="312" cy="307"/>
            </a:xfrm>
            <a:custGeom>
              <a:avLst/>
              <a:gdLst>
                <a:gd name="T0" fmla="*/ 109 w 122"/>
                <a:gd name="T1" fmla="*/ 77 h 120"/>
                <a:gd name="T2" fmla="*/ 100 w 122"/>
                <a:gd name="T3" fmla="*/ 99 h 120"/>
                <a:gd name="T4" fmla="*/ 97 w 122"/>
                <a:gd name="T5" fmla="*/ 97 h 120"/>
                <a:gd name="T6" fmla="*/ 102 w 122"/>
                <a:gd name="T7" fmla="*/ 75 h 120"/>
                <a:gd name="T8" fmla="*/ 100 w 122"/>
                <a:gd name="T9" fmla="*/ 77 h 120"/>
                <a:gd name="T10" fmla="*/ 100 w 122"/>
                <a:gd name="T11" fmla="*/ 84 h 120"/>
                <a:gd name="T12" fmla="*/ 91 w 122"/>
                <a:gd name="T13" fmla="*/ 81 h 120"/>
                <a:gd name="T14" fmla="*/ 88 w 122"/>
                <a:gd name="T15" fmla="*/ 79 h 120"/>
                <a:gd name="T16" fmla="*/ 93 w 122"/>
                <a:gd name="T17" fmla="*/ 102 h 120"/>
                <a:gd name="T18" fmla="*/ 91 w 122"/>
                <a:gd name="T19" fmla="*/ 104 h 120"/>
                <a:gd name="T20" fmla="*/ 91 w 122"/>
                <a:gd name="T21" fmla="*/ 88 h 120"/>
                <a:gd name="T22" fmla="*/ 81 w 122"/>
                <a:gd name="T23" fmla="*/ 111 h 120"/>
                <a:gd name="T24" fmla="*/ 79 w 122"/>
                <a:gd name="T25" fmla="*/ 109 h 120"/>
                <a:gd name="T26" fmla="*/ 84 w 122"/>
                <a:gd name="T27" fmla="*/ 75 h 120"/>
                <a:gd name="T28" fmla="*/ 81 w 122"/>
                <a:gd name="T29" fmla="*/ 77 h 120"/>
                <a:gd name="T30" fmla="*/ 81 w 122"/>
                <a:gd name="T31" fmla="*/ 95 h 120"/>
                <a:gd name="T32" fmla="*/ 81 w 122"/>
                <a:gd name="T33" fmla="*/ 88 h 120"/>
                <a:gd name="T34" fmla="*/ 79 w 122"/>
                <a:gd name="T35" fmla="*/ 86 h 120"/>
                <a:gd name="T36" fmla="*/ 31 w 122"/>
                <a:gd name="T37" fmla="*/ 11 h 120"/>
                <a:gd name="T38" fmla="*/ 25 w 122"/>
                <a:gd name="T39" fmla="*/ 5 h 120"/>
                <a:gd name="T40" fmla="*/ 25 w 122"/>
                <a:gd name="T41" fmla="*/ 0 h 120"/>
                <a:gd name="T42" fmla="*/ 38 w 122"/>
                <a:gd name="T43" fmla="*/ 41 h 120"/>
                <a:gd name="T44" fmla="*/ 36 w 122"/>
                <a:gd name="T45" fmla="*/ 113 h 120"/>
                <a:gd name="T46" fmla="*/ 27 w 122"/>
                <a:gd name="T47" fmla="*/ 113 h 120"/>
                <a:gd name="T48" fmla="*/ 22 w 122"/>
                <a:gd name="T49" fmla="*/ 77 h 120"/>
                <a:gd name="T50" fmla="*/ 16 w 122"/>
                <a:gd name="T51" fmla="*/ 115 h 120"/>
                <a:gd name="T52" fmla="*/ 11 w 122"/>
                <a:gd name="T53" fmla="*/ 41 h 120"/>
                <a:gd name="T54" fmla="*/ 4 w 122"/>
                <a:gd name="T55" fmla="*/ 68 h 120"/>
                <a:gd name="T56" fmla="*/ 36 w 122"/>
                <a:gd name="T57" fmla="*/ 32 h 120"/>
                <a:gd name="T58" fmla="*/ 72 w 122"/>
                <a:gd name="T59" fmla="*/ 39 h 120"/>
                <a:gd name="T60" fmla="*/ 77 w 122"/>
                <a:gd name="T61" fmla="*/ 39 h 120"/>
                <a:gd name="T62" fmla="*/ 11 w 122"/>
                <a:gd name="T63" fmla="*/ 27 h 120"/>
                <a:gd name="T64" fmla="*/ 9 w 122"/>
                <a:gd name="T65" fmla="*/ 81 h 120"/>
                <a:gd name="T66" fmla="*/ 20 w 122"/>
                <a:gd name="T67" fmla="*/ 120 h 120"/>
                <a:gd name="T68" fmla="*/ 34 w 122"/>
                <a:gd name="T69" fmla="*/ 120 h 120"/>
                <a:gd name="T70" fmla="*/ 70 w 122"/>
                <a:gd name="T71" fmla="*/ 45 h 120"/>
                <a:gd name="T72" fmla="*/ 72 w 122"/>
                <a:gd name="T73" fmla="*/ 70 h 120"/>
                <a:gd name="T74" fmla="*/ 84 w 122"/>
                <a:gd name="T75" fmla="*/ 56 h 120"/>
                <a:gd name="T76" fmla="*/ 79 w 122"/>
                <a:gd name="T77" fmla="*/ 61 h 120"/>
                <a:gd name="T78" fmla="*/ 88 w 122"/>
                <a:gd name="T79" fmla="*/ 51 h 120"/>
                <a:gd name="T80" fmla="*/ 88 w 122"/>
                <a:gd name="T81" fmla="*/ 66 h 120"/>
                <a:gd name="T82" fmla="*/ 102 w 122"/>
                <a:gd name="T83" fmla="*/ 35 h 120"/>
                <a:gd name="T84" fmla="*/ 97 w 122"/>
                <a:gd name="T85" fmla="*/ 40 h 120"/>
                <a:gd name="T86" fmla="*/ 111 w 122"/>
                <a:gd name="T87" fmla="*/ 66 h 120"/>
                <a:gd name="T88" fmla="*/ 116 w 122"/>
                <a:gd name="T89" fmla="*/ 53 h 120"/>
                <a:gd name="T90" fmla="*/ 116 w 122"/>
                <a:gd name="T91" fmla="*/ 53 h 120"/>
                <a:gd name="T92" fmla="*/ 48 w 122"/>
                <a:gd name="T93" fmla="*/ 24 h 120"/>
                <a:gd name="T94" fmla="*/ 100 w 122"/>
                <a:gd name="T95" fmla="*/ 31 h 120"/>
                <a:gd name="T96" fmla="*/ 68 w 122"/>
                <a:gd name="T97" fmla="*/ 67 h 120"/>
                <a:gd name="T98" fmla="*/ 68 w 122"/>
                <a:gd name="T99" fmla="*/ 115 h 120"/>
                <a:gd name="T100" fmla="*/ 46 w 122"/>
                <a:gd name="T101" fmla="*/ 114 h 120"/>
                <a:gd name="T102" fmla="*/ 70 w 122"/>
                <a:gd name="T103" fmla="*/ 1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120">
                  <a:moveTo>
                    <a:pt x="109" y="81"/>
                  </a:moveTo>
                  <a:cubicBezTo>
                    <a:pt x="110" y="81"/>
                    <a:pt x="111" y="80"/>
                    <a:pt x="111" y="79"/>
                  </a:cubicBezTo>
                  <a:cubicBezTo>
                    <a:pt x="111" y="78"/>
                    <a:pt x="110" y="77"/>
                    <a:pt x="109" y="77"/>
                  </a:cubicBezTo>
                  <a:cubicBezTo>
                    <a:pt x="107" y="77"/>
                    <a:pt x="106" y="78"/>
                    <a:pt x="106" y="79"/>
                  </a:cubicBezTo>
                  <a:cubicBezTo>
                    <a:pt x="106" y="80"/>
                    <a:pt x="107" y="81"/>
                    <a:pt x="109" y="81"/>
                  </a:cubicBezTo>
                  <a:moveTo>
                    <a:pt x="100" y="99"/>
                  </a:moveTo>
                  <a:cubicBezTo>
                    <a:pt x="101" y="99"/>
                    <a:pt x="102" y="98"/>
                    <a:pt x="102" y="97"/>
                  </a:cubicBezTo>
                  <a:cubicBezTo>
                    <a:pt x="102" y="96"/>
                    <a:pt x="101" y="95"/>
                    <a:pt x="100" y="95"/>
                  </a:cubicBezTo>
                  <a:cubicBezTo>
                    <a:pt x="98" y="95"/>
                    <a:pt x="97" y="96"/>
                    <a:pt x="97" y="97"/>
                  </a:cubicBezTo>
                  <a:cubicBezTo>
                    <a:pt x="97" y="98"/>
                    <a:pt x="98" y="99"/>
                    <a:pt x="100" y="99"/>
                  </a:cubicBezTo>
                  <a:moveTo>
                    <a:pt x="100" y="77"/>
                  </a:moveTo>
                  <a:cubicBezTo>
                    <a:pt x="101" y="77"/>
                    <a:pt x="102" y="76"/>
                    <a:pt x="102" y="75"/>
                  </a:cubicBezTo>
                  <a:cubicBezTo>
                    <a:pt x="102" y="73"/>
                    <a:pt x="101" y="72"/>
                    <a:pt x="100" y="72"/>
                  </a:cubicBezTo>
                  <a:cubicBezTo>
                    <a:pt x="98" y="72"/>
                    <a:pt x="97" y="73"/>
                    <a:pt x="97" y="75"/>
                  </a:cubicBezTo>
                  <a:cubicBezTo>
                    <a:pt x="97" y="76"/>
                    <a:pt x="98" y="77"/>
                    <a:pt x="100" y="77"/>
                  </a:cubicBezTo>
                  <a:moveTo>
                    <a:pt x="100" y="88"/>
                  </a:moveTo>
                  <a:cubicBezTo>
                    <a:pt x="101" y="88"/>
                    <a:pt x="102" y="87"/>
                    <a:pt x="102" y="86"/>
                  </a:cubicBezTo>
                  <a:cubicBezTo>
                    <a:pt x="102" y="85"/>
                    <a:pt x="101" y="84"/>
                    <a:pt x="100" y="84"/>
                  </a:cubicBezTo>
                  <a:cubicBezTo>
                    <a:pt x="98" y="84"/>
                    <a:pt x="97" y="85"/>
                    <a:pt x="97" y="86"/>
                  </a:cubicBezTo>
                  <a:cubicBezTo>
                    <a:pt x="97" y="87"/>
                    <a:pt x="98" y="88"/>
                    <a:pt x="100" y="88"/>
                  </a:cubicBezTo>
                  <a:moveTo>
                    <a:pt x="91" y="81"/>
                  </a:moveTo>
                  <a:cubicBezTo>
                    <a:pt x="92" y="81"/>
                    <a:pt x="93" y="80"/>
                    <a:pt x="93" y="79"/>
                  </a:cubicBezTo>
                  <a:cubicBezTo>
                    <a:pt x="93" y="78"/>
                    <a:pt x="92" y="77"/>
                    <a:pt x="91" y="77"/>
                  </a:cubicBezTo>
                  <a:cubicBezTo>
                    <a:pt x="89" y="77"/>
                    <a:pt x="88" y="78"/>
                    <a:pt x="88" y="79"/>
                  </a:cubicBezTo>
                  <a:cubicBezTo>
                    <a:pt x="88" y="80"/>
                    <a:pt x="89" y="81"/>
                    <a:pt x="91" y="81"/>
                  </a:cubicBezTo>
                  <a:moveTo>
                    <a:pt x="91" y="104"/>
                  </a:moveTo>
                  <a:cubicBezTo>
                    <a:pt x="92" y="104"/>
                    <a:pt x="93" y="103"/>
                    <a:pt x="93" y="102"/>
                  </a:cubicBezTo>
                  <a:cubicBezTo>
                    <a:pt x="93" y="101"/>
                    <a:pt x="92" y="99"/>
                    <a:pt x="91" y="99"/>
                  </a:cubicBezTo>
                  <a:cubicBezTo>
                    <a:pt x="89" y="99"/>
                    <a:pt x="88" y="101"/>
                    <a:pt x="88" y="102"/>
                  </a:cubicBezTo>
                  <a:cubicBezTo>
                    <a:pt x="88" y="103"/>
                    <a:pt x="89" y="104"/>
                    <a:pt x="91" y="104"/>
                  </a:cubicBezTo>
                  <a:moveTo>
                    <a:pt x="91" y="93"/>
                  </a:moveTo>
                  <a:cubicBezTo>
                    <a:pt x="92" y="93"/>
                    <a:pt x="93" y="92"/>
                    <a:pt x="93" y="90"/>
                  </a:cubicBezTo>
                  <a:cubicBezTo>
                    <a:pt x="93" y="89"/>
                    <a:pt x="92" y="88"/>
                    <a:pt x="91" y="88"/>
                  </a:cubicBezTo>
                  <a:cubicBezTo>
                    <a:pt x="89" y="88"/>
                    <a:pt x="88" y="89"/>
                    <a:pt x="88" y="90"/>
                  </a:cubicBezTo>
                  <a:cubicBezTo>
                    <a:pt x="88" y="92"/>
                    <a:pt x="89" y="93"/>
                    <a:pt x="91" y="93"/>
                  </a:cubicBezTo>
                  <a:moveTo>
                    <a:pt x="81" y="111"/>
                  </a:moveTo>
                  <a:cubicBezTo>
                    <a:pt x="83" y="111"/>
                    <a:pt x="84" y="110"/>
                    <a:pt x="84" y="109"/>
                  </a:cubicBezTo>
                  <a:cubicBezTo>
                    <a:pt x="84" y="107"/>
                    <a:pt x="83" y="106"/>
                    <a:pt x="81" y="106"/>
                  </a:cubicBezTo>
                  <a:cubicBezTo>
                    <a:pt x="80" y="106"/>
                    <a:pt x="79" y="107"/>
                    <a:pt x="79" y="109"/>
                  </a:cubicBezTo>
                  <a:cubicBezTo>
                    <a:pt x="79" y="110"/>
                    <a:pt x="80" y="111"/>
                    <a:pt x="81" y="111"/>
                  </a:cubicBezTo>
                  <a:moveTo>
                    <a:pt x="81" y="77"/>
                  </a:moveTo>
                  <a:cubicBezTo>
                    <a:pt x="83" y="77"/>
                    <a:pt x="84" y="76"/>
                    <a:pt x="84" y="75"/>
                  </a:cubicBezTo>
                  <a:cubicBezTo>
                    <a:pt x="84" y="73"/>
                    <a:pt x="83" y="72"/>
                    <a:pt x="81" y="72"/>
                  </a:cubicBezTo>
                  <a:cubicBezTo>
                    <a:pt x="80" y="72"/>
                    <a:pt x="79" y="73"/>
                    <a:pt x="79" y="75"/>
                  </a:cubicBezTo>
                  <a:cubicBezTo>
                    <a:pt x="79" y="76"/>
                    <a:pt x="80" y="77"/>
                    <a:pt x="81" y="77"/>
                  </a:cubicBezTo>
                  <a:moveTo>
                    <a:pt x="81" y="99"/>
                  </a:moveTo>
                  <a:cubicBezTo>
                    <a:pt x="83" y="99"/>
                    <a:pt x="84" y="98"/>
                    <a:pt x="84" y="97"/>
                  </a:cubicBezTo>
                  <a:cubicBezTo>
                    <a:pt x="84" y="96"/>
                    <a:pt x="83" y="95"/>
                    <a:pt x="81" y="95"/>
                  </a:cubicBezTo>
                  <a:cubicBezTo>
                    <a:pt x="80" y="95"/>
                    <a:pt x="79" y="96"/>
                    <a:pt x="79" y="97"/>
                  </a:cubicBezTo>
                  <a:cubicBezTo>
                    <a:pt x="79" y="98"/>
                    <a:pt x="80" y="99"/>
                    <a:pt x="81" y="99"/>
                  </a:cubicBezTo>
                  <a:moveTo>
                    <a:pt x="81" y="88"/>
                  </a:moveTo>
                  <a:cubicBezTo>
                    <a:pt x="83" y="88"/>
                    <a:pt x="84" y="87"/>
                    <a:pt x="84" y="86"/>
                  </a:cubicBezTo>
                  <a:cubicBezTo>
                    <a:pt x="84" y="85"/>
                    <a:pt x="83" y="84"/>
                    <a:pt x="81" y="84"/>
                  </a:cubicBezTo>
                  <a:cubicBezTo>
                    <a:pt x="80" y="84"/>
                    <a:pt x="79" y="85"/>
                    <a:pt x="79" y="86"/>
                  </a:cubicBezTo>
                  <a:cubicBezTo>
                    <a:pt x="79" y="87"/>
                    <a:pt x="80" y="88"/>
                    <a:pt x="81" y="88"/>
                  </a:cubicBezTo>
                  <a:moveTo>
                    <a:pt x="25" y="5"/>
                  </a:moveTo>
                  <a:cubicBezTo>
                    <a:pt x="28" y="5"/>
                    <a:pt x="31" y="8"/>
                    <a:pt x="31" y="11"/>
                  </a:cubicBezTo>
                  <a:cubicBezTo>
                    <a:pt x="31" y="15"/>
                    <a:pt x="28" y="18"/>
                    <a:pt x="25" y="18"/>
                  </a:cubicBezTo>
                  <a:cubicBezTo>
                    <a:pt x="21" y="18"/>
                    <a:pt x="18" y="15"/>
                    <a:pt x="18" y="11"/>
                  </a:cubicBezTo>
                  <a:cubicBezTo>
                    <a:pt x="18" y="8"/>
                    <a:pt x="21" y="5"/>
                    <a:pt x="25" y="5"/>
                  </a:cubicBezTo>
                  <a:moveTo>
                    <a:pt x="25" y="23"/>
                  </a:moveTo>
                  <a:cubicBezTo>
                    <a:pt x="31" y="23"/>
                    <a:pt x="36" y="18"/>
                    <a:pt x="36" y="11"/>
                  </a:cubicBezTo>
                  <a:cubicBezTo>
                    <a:pt x="36" y="5"/>
                    <a:pt x="31" y="0"/>
                    <a:pt x="25" y="0"/>
                  </a:cubicBezTo>
                  <a:cubicBezTo>
                    <a:pt x="18" y="0"/>
                    <a:pt x="13" y="5"/>
                    <a:pt x="13" y="11"/>
                  </a:cubicBezTo>
                  <a:cubicBezTo>
                    <a:pt x="13" y="18"/>
                    <a:pt x="18" y="23"/>
                    <a:pt x="25" y="23"/>
                  </a:cubicBezTo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7" y="41"/>
                    <a:pt x="36" y="42"/>
                    <a:pt x="36" y="43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6" y="114"/>
                    <a:pt x="35" y="115"/>
                    <a:pt x="34" y="115"/>
                  </a:cubicBezTo>
                  <a:cubicBezTo>
                    <a:pt x="29" y="115"/>
                    <a:pt x="29" y="115"/>
                    <a:pt x="29" y="115"/>
                  </a:cubicBezTo>
                  <a:cubicBezTo>
                    <a:pt x="28" y="115"/>
                    <a:pt x="27" y="114"/>
                    <a:pt x="27" y="113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6" y="75"/>
                    <a:pt x="25" y="75"/>
                  </a:cubicBezTo>
                  <a:cubicBezTo>
                    <a:pt x="23" y="75"/>
                    <a:pt x="22" y="76"/>
                    <a:pt x="22" y="77"/>
                  </a:cubicBezTo>
                  <a:cubicBezTo>
                    <a:pt x="22" y="113"/>
                    <a:pt x="22" y="113"/>
                    <a:pt x="22" y="113"/>
                  </a:cubicBezTo>
                  <a:cubicBezTo>
                    <a:pt x="22" y="114"/>
                    <a:pt x="21" y="115"/>
                    <a:pt x="2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4" y="115"/>
                    <a:pt x="13" y="114"/>
                    <a:pt x="13" y="11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2" y="41"/>
                    <a:pt x="11" y="41"/>
                  </a:cubicBezTo>
                  <a:cubicBezTo>
                    <a:pt x="10" y="41"/>
                    <a:pt x="9" y="42"/>
                    <a:pt x="9" y="43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6" y="75"/>
                    <a:pt x="4" y="71"/>
                    <a:pt x="4" y="6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5"/>
                    <a:pt x="7" y="32"/>
                    <a:pt x="11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62" y="35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2" y="37"/>
                    <a:pt x="72" y="39"/>
                  </a:cubicBezTo>
                  <a:cubicBezTo>
                    <a:pt x="72" y="40"/>
                    <a:pt x="71" y="41"/>
                    <a:pt x="70" y="41"/>
                  </a:cubicBezTo>
                  <a:lnTo>
                    <a:pt x="38" y="41"/>
                  </a:lnTo>
                  <a:close/>
                  <a:moveTo>
                    <a:pt x="77" y="39"/>
                  </a:moveTo>
                  <a:cubicBezTo>
                    <a:pt x="77" y="35"/>
                    <a:pt x="74" y="32"/>
                    <a:pt x="70" y="32"/>
                  </a:cubicBezTo>
                  <a:cubicBezTo>
                    <a:pt x="68" y="31"/>
                    <a:pt x="41" y="27"/>
                    <a:pt x="36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5" y="27"/>
                    <a:pt x="0" y="32"/>
                    <a:pt x="0" y="3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80"/>
                    <a:pt x="9" y="81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7"/>
                    <a:pt x="12" y="120"/>
                    <a:pt x="16" y="120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2" y="120"/>
                    <a:pt x="23" y="119"/>
                    <a:pt x="25" y="118"/>
                  </a:cubicBezTo>
                  <a:cubicBezTo>
                    <a:pt x="26" y="119"/>
                    <a:pt x="27" y="120"/>
                    <a:pt x="29" y="120"/>
                  </a:cubicBezTo>
                  <a:cubicBezTo>
                    <a:pt x="34" y="120"/>
                    <a:pt x="34" y="120"/>
                    <a:pt x="34" y="120"/>
                  </a:cubicBezTo>
                  <a:cubicBezTo>
                    <a:pt x="38" y="120"/>
                    <a:pt x="41" y="117"/>
                    <a:pt x="41" y="113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4" y="45"/>
                    <a:pt x="77" y="42"/>
                    <a:pt x="77" y="39"/>
                  </a:cubicBezTo>
                  <a:moveTo>
                    <a:pt x="72" y="115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17" y="95"/>
                    <a:pt x="97" y="114"/>
                    <a:pt x="72" y="115"/>
                  </a:cubicBezTo>
                  <a:moveTo>
                    <a:pt x="84" y="56"/>
                  </a:moveTo>
                  <a:cubicBezTo>
                    <a:pt x="84" y="66"/>
                    <a:pt x="84" y="66"/>
                    <a:pt x="84" y="66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79" y="61"/>
                    <a:pt x="79" y="61"/>
                  </a:cubicBezTo>
                  <a:lnTo>
                    <a:pt x="84" y="56"/>
                  </a:lnTo>
                  <a:close/>
                  <a:moveTo>
                    <a:pt x="88" y="51"/>
                  </a:moveTo>
                  <a:cubicBezTo>
                    <a:pt x="93" y="46"/>
                    <a:pt x="93" y="46"/>
                    <a:pt x="93" y="4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88" y="66"/>
                    <a:pt x="88" y="66"/>
                    <a:pt x="88" y="66"/>
                  </a:cubicBezTo>
                  <a:lnTo>
                    <a:pt x="88" y="51"/>
                  </a:lnTo>
                  <a:close/>
                  <a:moveTo>
                    <a:pt x="97" y="40"/>
                  </a:moveTo>
                  <a:cubicBezTo>
                    <a:pt x="102" y="35"/>
                    <a:pt x="102" y="35"/>
                    <a:pt x="102" y="35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97" y="66"/>
                    <a:pt x="97" y="66"/>
                    <a:pt x="97" y="66"/>
                  </a:cubicBezTo>
                  <a:lnTo>
                    <a:pt x="97" y="40"/>
                  </a:lnTo>
                  <a:close/>
                  <a:moveTo>
                    <a:pt x="106" y="37"/>
                  </a:moveTo>
                  <a:cubicBezTo>
                    <a:pt x="108" y="39"/>
                    <a:pt x="110" y="41"/>
                    <a:pt x="111" y="44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06" y="66"/>
                    <a:pt x="106" y="66"/>
                    <a:pt x="106" y="66"/>
                  </a:cubicBezTo>
                  <a:lnTo>
                    <a:pt x="106" y="37"/>
                  </a:lnTo>
                  <a:close/>
                  <a:moveTo>
                    <a:pt x="116" y="53"/>
                  </a:moveTo>
                  <a:cubicBezTo>
                    <a:pt x="117" y="57"/>
                    <a:pt x="117" y="61"/>
                    <a:pt x="118" y="66"/>
                  </a:cubicBezTo>
                  <a:cubicBezTo>
                    <a:pt x="116" y="66"/>
                    <a:pt x="116" y="66"/>
                    <a:pt x="116" y="66"/>
                  </a:cubicBezTo>
                  <a:lnTo>
                    <a:pt x="116" y="53"/>
                  </a:lnTo>
                  <a:close/>
                  <a:moveTo>
                    <a:pt x="70" y="16"/>
                  </a:moveTo>
                  <a:cubicBezTo>
                    <a:pt x="63" y="16"/>
                    <a:pt x="55" y="18"/>
                    <a:pt x="49" y="21"/>
                  </a:cubicBezTo>
                  <a:cubicBezTo>
                    <a:pt x="48" y="21"/>
                    <a:pt x="47" y="22"/>
                    <a:pt x="48" y="24"/>
                  </a:cubicBezTo>
                  <a:cubicBezTo>
                    <a:pt x="48" y="25"/>
                    <a:pt x="49" y="25"/>
                    <a:pt x="51" y="25"/>
                  </a:cubicBezTo>
                  <a:cubicBezTo>
                    <a:pt x="57" y="22"/>
                    <a:pt x="63" y="21"/>
                    <a:pt x="70" y="21"/>
                  </a:cubicBezTo>
                  <a:cubicBezTo>
                    <a:pt x="81" y="21"/>
                    <a:pt x="92" y="24"/>
                    <a:pt x="100" y="31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115"/>
                    <a:pt x="68" y="115"/>
                    <a:pt x="68" y="115"/>
                  </a:cubicBezTo>
                  <a:cubicBezTo>
                    <a:pt x="61" y="115"/>
                    <a:pt x="54" y="113"/>
                    <a:pt x="48" y="110"/>
                  </a:cubicBezTo>
                  <a:cubicBezTo>
                    <a:pt x="47" y="110"/>
                    <a:pt x="46" y="110"/>
                    <a:pt x="45" y="111"/>
                  </a:cubicBezTo>
                  <a:cubicBezTo>
                    <a:pt x="45" y="112"/>
                    <a:pt x="45" y="114"/>
                    <a:pt x="46" y="114"/>
                  </a:cubicBezTo>
                  <a:cubicBezTo>
                    <a:pt x="54" y="118"/>
                    <a:pt x="62" y="120"/>
                    <a:pt x="70" y="120"/>
                  </a:cubicBezTo>
                  <a:cubicBezTo>
                    <a:pt x="99" y="120"/>
                    <a:pt x="122" y="97"/>
                    <a:pt x="122" y="68"/>
                  </a:cubicBezTo>
                  <a:cubicBezTo>
                    <a:pt x="122" y="39"/>
                    <a:pt x="99" y="16"/>
                    <a:pt x="70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1" name="Group 187">
            <a:extLst>
              <a:ext uri="{FF2B5EF4-FFF2-40B4-BE49-F238E27FC236}">
                <a16:creationId xmlns:a16="http://schemas.microsoft.com/office/drawing/2014/main" id="{EC066BFC-CC78-4430-88A3-7F05B5FE70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5125" y="2889250"/>
            <a:ext cx="758825" cy="758825"/>
            <a:chOff x="5030" y="1820"/>
            <a:chExt cx="478" cy="478"/>
          </a:xfrm>
        </p:grpSpPr>
        <p:sp>
          <p:nvSpPr>
            <p:cNvPr id="202" name="AutoShape 186">
              <a:extLst>
                <a:ext uri="{FF2B5EF4-FFF2-40B4-BE49-F238E27FC236}">
                  <a16:creationId xmlns:a16="http://schemas.microsoft.com/office/drawing/2014/main" id="{62087B0B-AA67-4A17-AE40-3CA3CB2177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30" y="182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88">
              <a:extLst>
                <a:ext uri="{FF2B5EF4-FFF2-40B4-BE49-F238E27FC236}">
                  <a16:creationId xmlns:a16="http://schemas.microsoft.com/office/drawing/2014/main" id="{E2AD418D-B2AA-4B39-B430-75131F2DB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" y="182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89">
              <a:extLst>
                <a:ext uri="{FF2B5EF4-FFF2-40B4-BE49-F238E27FC236}">
                  <a16:creationId xmlns:a16="http://schemas.microsoft.com/office/drawing/2014/main" id="{DD488F77-AE51-4C3F-AA22-E6860EC20E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913"/>
              <a:ext cx="299" cy="294"/>
            </a:xfrm>
            <a:custGeom>
              <a:avLst/>
              <a:gdLst>
                <a:gd name="T0" fmla="*/ 109 w 122"/>
                <a:gd name="T1" fmla="*/ 77 h 120"/>
                <a:gd name="T2" fmla="*/ 100 w 122"/>
                <a:gd name="T3" fmla="*/ 99 h 120"/>
                <a:gd name="T4" fmla="*/ 97 w 122"/>
                <a:gd name="T5" fmla="*/ 97 h 120"/>
                <a:gd name="T6" fmla="*/ 102 w 122"/>
                <a:gd name="T7" fmla="*/ 75 h 120"/>
                <a:gd name="T8" fmla="*/ 100 w 122"/>
                <a:gd name="T9" fmla="*/ 77 h 120"/>
                <a:gd name="T10" fmla="*/ 100 w 122"/>
                <a:gd name="T11" fmla="*/ 84 h 120"/>
                <a:gd name="T12" fmla="*/ 91 w 122"/>
                <a:gd name="T13" fmla="*/ 81 h 120"/>
                <a:gd name="T14" fmla="*/ 88 w 122"/>
                <a:gd name="T15" fmla="*/ 79 h 120"/>
                <a:gd name="T16" fmla="*/ 93 w 122"/>
                <a:gd name="T17" fmla="*/ 102 h 120"/>
                <a:gd name="T18" fmla="*/ 91 w 122"/>
                <a:gd name="T19" fmla="*/ 104 h 120"/>
                <a:gd name="T20" fmla="*/ 91 w 122"/>
                <a:gd name="T21" fmla="*/ 88 h 120"/>
                <a:gd name="T22" fmla="*/ 81 w 122"/>
                <a:gd name="T23" fmla="*/ 111 h 120"/>
                <a:gd name="T24" fmla="*/ 79 w 122"/>
                <a:gd name="T25" fmla="*/ 109 h 120"/>
                <a:gd name="T26" fmla="*/ 84 w 122"/>
                <a:gd name="T27" fmla="*/ 75 h 120"/>
                <a:gd name="T28" fmla="*/ 81 w 122"/>
                <a:gd name="T29" fmla="*/ 77 h 120"/>
                <a:gd name="T30" fmla="*/ 81 w 122"/>
                <a:gd name="T31" fmla="*/ 95 h 120"/>
                <a:gd name="T32" fmla="*/ 81 w 122"/>
                <a:gd name="T33" fmla="*/ 88 h 120"/>
                <a:gd name="T34" fmla="*/ 79 w 122"/>
                <a:gd name="T35" fmla="*/ 86 h 120"/>
                <a:gd name="T36" fmla="*/ 31 w 122"/>
                <a:gd name="T37" fmla="*/ 11 h 120"/>
                <a:gd name="T38" fmla="*/ 25 w 122"/>
                <a:gd name="T39" fmla="*/ 5 h 120"/>
                <a:gd name="T40" fmla="*/ 25 w 122"/>
                <a:gd name="T41" fmla="*/ 0 h 120"/>
                <a:gd name="T42" fmla="*/ 38 w 122"/>
                <a:gd name="T43" fmla="*/ 41 h 120"/>
                <a:gd name="T44" fmla="*/ 36 w 122"/>
                <a:gd name="T45" fmla="*/ 113 h 120"/>
                <a:gd name="T46" fmla="*/ 27 w 122"/>
                <a:gd name="T47" fmla="*/ 113 h 120"/>
                <a:gd name="T48" fmla="*/ 22 w 122"/>
                <a:gd name="T49" fmla="*/ 77 h 120"/>
                <a:gd name="T50" fmla="*/ 16 w 122"/>
                <a:gd name="T51" fmla="*/ 115 h 120"/>
                <a:gd name="T52" fmla="*/ 11 w 122"/>
                <a:gd name="T53" fmla="*/ 41 h 120"/>
                <a:gd name="T54" fmla="*/ 4 w 122"/>
                <a:gd name="T55" fmla="*/ 68 h 120"/>
                <a:gd name="T56" fmla="*/ 36 w 122"/>
                <a:gd name="T57" fmla="*/ 32 h 120"/>
                <a:gd name="T58" fmla="*/ 72 w 122"/>
                <a:gd name="T59" fmla="*/ 39 h 120"/>
                <a:gd name="T60" fmla="*/ 77 w 122"/>
                <a:gd name="T61" fmla="*/ 39 h 120"/>
                <a:gd name="T62" fmla="*/ 11 w 122"/>
                <a:gd name="T63" fmla="*/ 27 h 120"/>
                <a:gd name="T64" fmla="*/ 9 w 122"/>
                <a:gd name="T65" fmla="*/ 81 h 120"/>
                <a:gd name="T66" fmla="*/ 20 w 122"/>
                <a:gd name="T67" fmla="*/ 120 h 120"/>
                <a:gd name="T68" fmla="*/ 34 w 122"/>
                <a:gd name="T69" fmla="*/ 120 h 120"/>
                <a:gd name="T70" fmla="*/ 70 w 122"/>
                <a:gd name="T71" fmla="*/ 45 h 120"/>
                <a:gd name="T72" fmla="*/ 72 w 122"/>
                <a:gd name="T73" fmla="*/ 70 h 120"/>
                <a:gd name="T74" fmla="*/ 84 w 122"/>
                <a:gd name="T75" fmla="*/ 56 h 120"/>
                <a:gd name="T76" fmla="*/ 79 w 122"/>
                <a:gd name="T77" fmla="*/ 61 h 120"/>
                <a:gd name="T78" fmla="*/ 88 w 122"/>
                <a:gd name="T79" fmla="*/ 51 h 120"/>
                <a:gd name="T80" fmla="*/ 88 w 122"/>
                <a:gd name="T81" fmla="*/ 66 h 120"/>
                <a:gd name="T82" fmla="*/ 102 w 122"/>
                <a:gd name="T83" fmla="*/ 35 h 120"/>
                <a:gd name="T84" fmla="*/ 97 w 122"/>
                <a:gd name="T85" fmla="*/ 40 h 120"/>
                <a:gd name="T86" fmla="*/ 111 w 122"/>
                <a:gd name="T87" fmla="*/ 66 h 120"/>
                <a:gd name="T88" fmla="*/ 116 w 122"/>
                <a:gd name="T89" fmla="*/ 53 h 120"/>
                <a:gd name="T90" fmla="*/ 116 w 122"/>
                <a:gd name="T91" fmla="*/ 53 h 120"/>
                <a:gd name="T92" fmla="*/ 48 w 122"/>
                <a:gd name="T93" fmla="*/ 24 h 120"/>
                <a:gd name="T94" fmla="*/ 100 w 122"/>
                <a:gd name="T95" fmla="*/ 31 h 120"/>
                <a:gd name="T96" fmla="*/ 68 w 122"/>
                <a:gd name="T97" fmla="*/ 67 h 120"/>
                <a:gd name="T98" fmla="*/ 68 w 122"/>
                <a:gd name="T99" fmla="*/ 115 h 120"/>
                <a:gd name="T100" fmla="*/ 46 w 122"/>
                <a:gd name="T101" fmla="*/ 114 h 120"/>
                <a:gd name="T102" fmla="*/ 70 w 122"/>
                <a:gd name="T103" fmla="*/ 1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2" h="120">
                  <a:moveTo>
                    <a:pt x="109" y="81"/>
                  </a:moveTo>
                  <a:cubicBezTo>
                    <a:pt x="110" y="81"/>
                    <a:pt x="111" y="80"/>
                    <a:pt x="111" y="79"/>
                  </a:cubicBezTo>
                  <a:cubicBezTo>
                    <a:pt x="111" y="78"/>
                    <a:pt x="110" y="77"/>
                    <a:pt x="109" y="77"/>
                  </a:cubicBezTo>
                  <a:cubicBezTo>
                    <a:pt x="107" y="77"/>
                    <a:pt x="106" y="78"/>
                    <a:pt x="106" y="79"/>
                  </a:cubicBezTo>
                  <a:cubicBezTo>
                    <a:pt x="106" y="80"/>
                    <a:pt x="107" y="81"/>
                    <a:pt x="109" y="81"/>
                  </a:cubicBezTo>
                  <a:moveTo>
                    <a:pt x="100" y="99"/>
                  </a:moveTo>
                  <a:cubicBezTo>
                    <a:pt x="101" y="99"/>
                    <a:pt x="102" y="98"/>
                    <a:pt x="102" y="97"/>
                  </a:cubicBezTo>
                  <a:cubicBezTo>
                    <a:pt x="102" y="96"/>
                    <a:pt x="101" y="95"/>
                    <a:pt x="100" y="95"/>
                  </a:cubicBezTo>
                  <a:cubicBezTo>
                    <a:pt x="98" y="95"/>
                    <a:pt x="97" y="96"/>
                    <a:pt x="97" y="97"/>
                  </a:cubicBezTo>
                  <a:cubicBezTo>
                    <a:pt x="97" y="98"/>
                    <a:pt x="98" y="99"/>
                    <a:pt x="100" y="99"/>
                  </a:cubicBezTo>
                  <a:moveTo>
                    <a:pt x="100" y="77"/>
                  </a:moveTo>
                  <a:cubicBezTo>
                    <a:pt x="101" y="77"/>
                    <a:pt x="102" y="76"/>
                    <a:pt x="102" y="75"/>
                  </a:cubicBezTo>
                  <a:cubicBezTo>
                    <a:pt x="102" y="73"/>
                    <a:pt x="101" y="72"/>
                    <a:pt x="100" y="72"/>
                  </a:cubicBezTo>
                  <a:cubicBezTo>
                    <a:pt x="98" y="72"/>
                    <a:pt x="97" y="73"/>
                    <a:pt x="97" y="75"/>
                  </a:cubicBezTo>
                  <a:cubicBezTo>
                    <a:pt x="97" y="76"/>
                    <a:pt x="98" y="77"/>
                    <a:pt x="100" y="77"/>
                  </a:cubicBezTo>
                  <a:moveTo>
                    <a:pt x="100" y="88"/>
                  </a:moveTo>
                  <a:cubicBezTo>
                    <a:pt x="101" y="88"/>
                    <a:pt x="102" y="87"/>
                    <a:pt x="102" y="86"/>
                  </a:cubicBezTo>
                  <a:cubicBezTo>
                    <a:pt x="102" y="85"/>
                    <a:pt x="101" y="84"/>
                    <a:pt x="100" y="84"/>
                  </a:cubicBezTo>
                  <a:cubicBezTo>
                    <a:pt x="98" y="84"/>
                    <a:pt x="97" y="85"/>
                    <a:pt x="97" y="86"/>
                  </a:cubicBezTo>
                  <a:cubicBezTo>
                    <a:pt x="97" y="87"/>
                    <a:pt x="98" y="88"/>
                    <a:pt x="100" y="88"/>
                  </a:cubicBezTo>
                  <a:moveTo>
                    <a:pt x="91" y="81"/>
                  </a:moveTo>
                  <a:cubicBezTo>
                    <a:pt x="92" y="81"/>
                    <a:pt x="93" y="80"/>
                    <a:pt x="93" y="79"/>
                  </a:cubicBezTo>
                  <a:cubicBezTo>
                    <a:pt x="93" y="78"/>
                    <a:pt x="92" y="77"/>
                    <a:pt x="91" y="77"/>
                  </a:cubicBezTo>
                  <a:cubicBezTo>
                    <a:pt x="89" y="77"/>
                    <a:pt x="88" y="78"/>
                    <a:pt x="88" y="79"/>
                  </a:cubicBezTo>
                  <a:cubicBezTo>
                    <a:pt x="88" y="80"/>
                    <a:pt x="89" y="81"/>
                    <a:pt x="91" y="81"/>
                  </a:cubicBezTo>
                  <a:moveTo>
                    <a:pt x="91" y="104"/>
                  </a:moveTo>
                  <a:cubicBezTo>
                    <a:pt x="92" y="104"/>
                    <a:pt x="93" y="103"/>
                    <a:pt x="93" y="102"/>
                  </a:cubicBezTo>
                  <a:cubicBezTo>
                    <a:pt x="93" y="101"/>
                    <a:pt x="92" y="99"/>
                    <a:pt x="91" y="99"/>
                  </a:cubicBezTo>
                  <a:cubicBezTo>
                    <a:pt x="89" y="99"/>
                    <a:pt x="88" y="101"/>
                    <a:pt x="88" y="102"/>
                  </a:cubicBezTo>
                  <a:cubicBezTo>
                    <a:pt x="88" y="103"/>
                    <a:pt x="89" y="104"/>
                    <a:pt x="91" y="104"/>
                  </a:cubicBezTo>
                  <a:moveTo>
                    <a:pt x="91" y="93"/>
                  </a:moveTo>
                  <a:cubicBezTo>
                    <a:pt x="92" y="93"/>
                    <a:pt x="93" y="92"/>
                    <a:pt x="93" y="90"/>
                  </a:cubicBezTo>
                  <a:cubicBezTo>
                    <a:pt x="93" y="89"/>
                    <a:pt x="92" y="88"/>
                    <a:pt x="91" y="88"/>
                  </a:cubicBezTo>
                  <a:cubicBezTo>
                    <a:pt x="89" y="88"/>
                    <a:pt x="88" y="89"/>
                    <a:pt x="88" y="90"/>
                  </a:cubicBezTo>
                  <a:cubicBezTo>
                    <a:pt x="88" y="92"/>
                    <a:pt x="89" y="93"/>
                    <a:pt x="91" y="93"/>
                  </a:cubicBezTo>
                  <a:moveTo>
                    <a:pt x="81" y="111"/>
                  </a:moveTo>
                  <a:cubicBezTo>
                    <a:pt x="83" y="111"/>
                    <a:pt x="84" y="110"/>
                    <a:pt x="84" y="109"/>
                  </a:cubicBezTo>
                  <a:cubicBezTo>
                    <a:pt x="84" y="107"/>
                    <a:pt x="83" y="106"/>
                    <a:pt x="81" y="106"/>
                  </a:cubicBezTo>
                  <a:cubicBezTo>
                    <a:pt x="80" y="106"/>
                    <a:pt x="79" y="107"/>
                    <a:pt x="79" y="109"/>
                  </a:cubicBezTo>
                  <a:cubicBezTo>
                    <a:pt x="79" y="110"/>
                    <a:pt x="80" y="111"/>
                    <a:pt x="81" y="111"/>
                  </a:cubicBezTo>
                  <a:moveTo>
                    <a:pt x="81" y="77"/>
                  </a:moveTo>
                  <a:cubicBezTo>
                    <a:pt x="83" y="77"/>
                    <a:pt x="84" y="76"/>
                    <a:pt x="84" y="75"/>
                  </a:cubicBezTo>
                  <a:cubicBezTo>
                    <a:pt x="84" y="73"/>
                    <a:pt x="83" y="72"/>
                    <a:pt x="81" y="72"/>
                  </a:cubicBezTo>
                  <a:cubicBezTo>
                    <a:pt x="80" y="72"/>
                    <a:pt x="79" y="73"/>
                    <a:pt x="79" y="75"/>
                  </a:cubicBezTo>
                  <a:cubicBezTo>
                    <a:pt x="79" y="76"/>
                    <a:pt x="80" y="77"/>
                    <a:pt x="81" y="77"/>
                  </a:cubicBezTo>
                  <a:moveTo>
                    <a:pt x="81" y="99"/>
                  </a:moveTo>
                  <a:cubicBezTo>
                    <a:pt x="83" y="99"/>
                    <a:pt x="84" y="98"/>
                    <a:pt x="84" y="97"/>
                  </a:cubicBezTo>
                  <a:cubicBezTo>
                    <a:pt x="84" y="96"/>
                    <a:pt x="83" y="95"/>
                    <a:pt x="81" y="95"/>
                  </a:cubicBezTo>
                  <a:cubicBezTo>
                    <a:pt x="80" y="95"/>
                    <a:pt x="79" y="96"/>
                    <a:pt x="79" y="97"/>
                  </a:cubicBezTo>
                  <a:cubicBezTo>
                    <a:pt x="79" y="98"/>
                    <a:pt x="80" y="99"/>
                    <a:pt x="81" y="99"/>
                  </a:cubicBezTo>
                  <a:moveTo>
                    <a:pt x="81" y="88"/>
                  </a:moveTo>
                  <a:cubicBezTo>
                    <a:pt x="83" y="88"/>
                    <a:pt x="84" y="87"/>
                    <a:pt x="84" y="86"/>
                  </a:cubicBezTo>
                  <a:cubicBezTo>
                    <a:pt x="84" y="85"/>
                    <a:pt x="83" y="84"/>
                    <a:pt x="81" y="84"/>
                  </a:cubicBezTo>
                  <a:cubicBezTo>
                    <a:pt x="80" y="84"/>
                    <a:pt x="79" y="85"/>
                    <a:pt x="79" y="86"/>
                  </a:cubicBezTo>
                  <a:cubicBezTo>
                    <a:pt x="79" y="87"/>
                    <a:pt x="80" y="88"/>
                    <a:pt x="81" y="88"/>
                  </a:cubicBezTo>
                  <a:moveTo>
                    <a:pt x="25" y="5"/>
                  </a:moveTo>
                  <a:cubicBezTo>
                    <a:pt x="28" y="5"/>
                    <a:pt x="31" y="8"/>
                    <a:pt x="31" y="11"/>
                  </a:cubicBezTo>
                  <a:cubicBezTo>
                    <a:pt x="31" y="15"/>
                    <a:pt x="28" y="18"/>
                    <a:pt x="25" y="18"/>
                  </a:cubicBezTo>
                  <a:cubicBezTo>
                    <a:pt x="21" y="18"/>
                    <a:pt x="18" y="15"/>
                    <a:pt x="18" y="11"/>
                  </a:cubicBezTo>
                  <a:cubicBezTo>
                    <a:pt x="18" y="8"/>
                    <a:pt x="21" y="5"/>
                    <a:pt x="25" y="5"/>
                  </a:cubicBezTo>
                  <a:moveTo>
                    <a:pt x="25" y="23"/>
                  </a:moveTo>
                  <a:cubicBezTo>
                    <a:pt x="31" y="23"/>
                    <a:pt x="36" y="18"/>
                    <a:pt x="36" y="11"/>
                  </a:cubicBezTo>
                  <a:cubicBezTo>
                    <a:pt x="36" y="5"/>
                    <a:pt x="31" y="0"/>
                    <a:pt x="25" y="0"/>
                  </a:cubicBezTo>
                  <a:cubicBezTo>
                    <a:pt x="18" y="0"/>
                    <a:pt x="13" y="5"/>
                    <a:pt x="13" y="11"/>
                  </a:cubicBezTo>
                  <a:cubicBezTo>
                    <a:pt x="13" y="18"/>
                    <a:pt x="18" y="23"/>
                    <a:pt x="25" y="23"/>
                  </a:cubicBezTo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7" y="41"/>
                    <a:pt x="36" y="42"/>
                    <a:pt x="36" y="43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6" y="114"/>
                    <a:pt x="35" y="115"/>
                    <a:pt x="34" y="115"/>
                  </a:cubicBezTo>
                  <a:cubicBezTo>
                    <a:pt x="29" y="115"/>
                    <a:pt x="29" y="115"/>
                    <a:pt x="29" y="115"/>
                  </a:cubicBezTo>
                  <a:cubicBezTo>
                    <a:pt x="28" y="115"/>
                    <a:pt x="27" y="114"/>
                    <a:pt x="27" y="113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6" y="75"/>
                    <a:pt x="25" y="75"/>
                  </a:cubicBezTo>
                  <a:cubicBezTo>
                    <a:pt x="23" y="75"/>
                    <a:pt x="22" y="76"/>
                    <a:pt x="22" y="77"/>
                  </a:cubicBezTo>
                  <a:cubicBezTo>
                    <a:pt x="22" y="113"/>
                    <a:pt x="22" y="113"/>
                    <a:pt x="22" y="113"/>
                  </a:cubicBezTo>
                  <a:cubicBezTo>
                    <a:pt x="22" y="114"/>
                    <a:pt x="21" y="115"/>
                    <a:pt x="2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4" y="115"/>
                    <a:pt x="13" y="114"/>
                    <a:pt x="13" y="11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2" y="41"/>
                    <a:pt x="11" y="41"/>
                  </a:cubicBezTo>
                  <a:cubicBezTo>
                    <a:pt x="10" y="41"/>
                    <a:pt x="9" y="42"/>
                    <a:pt x="9" y="43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6" y="75"/>
                    <a:pt x="4" y="71"/>
                    <a:pt x="4" y="6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5"/>
                    <a:pt x="7" y="32"/>
                    <a:pt x="11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62" y="35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1" y="36"/>
                    <a:pt x="72" y="37"/>
                    <a:pt x="72" y="39"/>
                  </a:cubicBezTo>
                  <a:cubicBezTo>
                    <a:pt x="72" y="40"/>
                    <a:pt x="71" y="41"/>
                    <a:pt x="70" y="41"/>
                  </a:cubicBezTo>
                  <a:lnTo>
                    <a:pt x="38" y="41"/>
                  </a:lnTo>
                  <a:close/>
                  <a:moveTo>
                    <a:pt x="77" y="39"/>
                  </a:moveTo>
                  <a:cubicBezTo>
                    <a:pt x="77" y="35"/>
                    <a:pt x="74" y="32"/>
                    <a:pt x="70" y="32"/>
                  </a:cubicBezTo>
                  <a:cubicBezTo>
                    <a:pt x="68" y="31"/>
                    <a:pt x="41" y="27"/>
                    <a:pt x="36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5" y="27"/>
                    <a:pt x="0" y="32"/>
                    <a:pt x="0" y="3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80"/>
                    <a:pt x="9" y="81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9" y="117"/>
                    <a:pt x="12" y="120"/>
                    <a:pt x="16" y="120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2" y="120"/>
                    <a:pt x="23" y="119"/>
                    <a:pt x="25" y="118"/>
                  </a:cubicBezTo>
                  <a:cubicBezTo>
                    <a:pt x="26" y="119"/>
                    <a:pt x="27" y="120"/>
                    <a:pt x="29" y="120"/>
                  </a:cubicBezTo>
                  <a:cubicBezTo>
                    <a:pt x="34" y="120"/>
                    <a:pt x="34" y="120"/>
                    <a:pt x="34" y="120"/>
                  </a:cubicBezTo>
                  <a:cubicBezTo>
                    <a:pt x="38" y="120"/>
                    <a:pt x="41" y="117"/>
                    <a:pt x="41" y="113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4" y="45"/>
                    <a:pt x="77" y="42"/>
                    <a:pt x="77" y="39"/>
                  </a:cubicBezTo>
                  <a:moveTo>
                    <a:pt x="72" y="115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17" y="95"/>
                    <a:pt x="97" y="114"/>
                    <a:pt x="72" y="115"/>
                  </a:cubicBezTo>
                  <a:moveTo>
                    <a:pt x="84" y="56"/>
                  </a:moveTo>
                  <a:cubicBezTo>
                    <a:pt x="84" y="66"/>
                    <a:pt x="84" y="66"/>
                    <a:pt x="84" y="66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79" y="61"/>
                    <a:pt x="79" y="61"/>
                  </a:cubicBezTo>
                  <a:lnTo>
                    <a:pt x="84" y="56"/>
                  </a:lnTo>
                  <a:close/>
                  <a:moveTo>
                    <a:pt x="88" y="51"/>
                  </a:moveTo>
                  <a:cubicBezTo>
                    <a:pt x="93" y="46"/>
                    <a:pt x="93" y="46"/>
                    <a:pt x="93" y="4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88" y="66"/>
                    <a:pt x="88" y="66"/>
                    <a:pt x="88" y="66"/>
                  </a:cubicBezTo>
                  <a:lnTo>
                    <a:pt x="88" y="51"/>
                  </a:lnTo>
                  <a:close/>
                  <a:moveTo>
                    <a:pt x="97" y="40"/>
                  </a:moveTo>
                  <a:cubicBezTo>
                    <a:pt x="102" y="35"/>
                    <a:pt x="102" y="35"/>
                    <a:pt x="102" y="35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97" y="66"/>
                    <a:pt x="97" y="66"/>
                    <a:pt x="97" y="66"/>
                  </a:cubicBezTo>
                  <a:lnTo>
                    <a:pt x="97" y="40"/>
                  </a:lnTo>
                  <a:close/>
                  <a:moveTo>
                    <a:pt x="106" y="37"/>
                  </a:moveTo>
                  <a:cubicBezTo>
                    <a:pt x="108" y="39"/>
                    <a:pt x="110" y="41"/>
                    <a:pt x="111" y="44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06" y="66"/>
                    <a:pt x="106" y="66"/>
                    <a:pt x="106" y="66"/>
                  </a:cubicBezTo>
                  <a:lnTo>
                    <a:pt x="106" y="37"/>
                  </a:lnTo>
                  <a:close/>
                  <a:moveTo>
                    <a:pt x="116" y="53"/>
                  </a:moveTo>
                  <a:cubicBezTo>
                    <a:pt x="117" y="57"/>
                    <a:pt x="117" y="61"/>
                    <a:pt x="118" y="66"/>
                  </a:cubicBezTo>
                  <a:cubicBezTo>
                    <a:pt x="116" y="66"/>
                    <a:pt x="116" y="66"/>
                    <a:pt x="116" y="66"/>
                  </a:cubicBezTo>
                  <a:lnTo>
                    <a:pt x="116" y="53"/>
                  </a:lnTo>
                  <a:close/>
                  <a:moveTo>
                    <a:pt x="70" y="16"/>
                  </a:moveTo>
                  <a:cubicBezTo>
                    <a:pt x="63" y="16"/>
                    <a:pt x="55" y="18"/>
                    <a:pt x="49" y="21"/>
                  </a:cubicBezTo>
                  <a:cubicBezTo>
                    <a:pt x="48" y="21"/>
                    <a:pt x="47" y="22"/>
                    <a:pt x="48" y="24"/>
                  </a:cubicBezTo>
                  <a:cubicBezTo>
                    <a:pt x="48" y="25"/>
                    <a:pt x="49" y="25"/>
                    <a:pt x="51" y="25"/>
                  </a:cubicBezTo>
                  <a:cubicBezTo>
                    <a:pt x="57" y="22"/>
                    <a:pt x="63" y="21"/>
                    <a:pt x="70" y="21"/>
                  </a:cubicBezTo>
                  <a:cubicBezTo>
                    <a:pt x="81" y="21"/>
                    <a:pt x="92" y="24"/>
                    <a:pt x="100" y="31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115"/>
                    <a:pt x="68" y="115"/>
                    <a:pt x="68" y="115"/>
                  </a:cubicBezTo>
                  <a:cubicBezTo>
                    <a:pt x="61" y="115"/>
                    <a:pt x="54" y="113"/>
                    <a:pt x="48" y="110"/>
                  </a:cubicBezTo>
                  <a:cubicBezTo>
                    <a:pt x="47" y="110"/>
                    <a:pt x="46" y="110"/>
                    <a:pt x="45" y="111"/>
                  </a:cubicBezTo>
                  <a:cubicBezTo>
                    <a:pt x="45" y="112"/>
                    <a:pt x="45" y="114"/>
                    <a:pt x="46" y="114"/>
                  </a:cubicBezTo>
                  <a:cubicBezTo>
                    <a:pt x="54" y="118"/>
                    <a:pt x="62" y="120"/>
                    <a:pt x="70" y="120"/>
                  </a:cubicBezTo>
                  <a:cubicBezTo>
                    <a:pt x="99" y="120"/>
                    <a:pt x="122" y="97"/>
                    <a:pt x="122" y="68"/>
                  </a:cubicBezTo>
                  <a:cubicBezTo>
                    <a:pt x="122" y="39"/>
                    <a:pt x="99" y="16"/>
                    <a:pt x="70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5" name="Group 192">
            <a:extLst>
              <a:ext uri="{FF2B5EF4-FFF2-40B4-BE49-F238E27FC236}">
                <a16:creationId xmlns:a16="http://schemas.microsoft.com/office/drawing/2014/main" id="{AF9597D7-E9EF-41AE-A626-1A08996D31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4092575"/>
            <a:ext cx="841375" cy="841375"/>
            <a:chOff x="1626" y="2578"/>
            <a:chExt cx="530" cy="530"/>
          </a:xfrm>
        </p:grpSpPr>
        <p:sp>
          <p:nvSpPr>
            <p:cNvPr id="206" name="AutoShape 191">
              <a:extLst>
                <a:ext uri="{FF2B5EF4-FFF2-40B4-BE49-F238E27FC236}">
                  <a16:creationId xmlns:a16="http://schemas.microsoft.com/office/drawing/2014/main" id="{5BD945F4-5D6D-4609-AA43-8E570E1741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193">
              <a:extLst>
                <a:ext uri="{FF2B5EF4-FFF2-40B4-BE49-F238E27FC236}">
                  <a16:creationId xmlns:a16="http://schemas.microsoft.com/office/drawing/2014/main" id="{64333E8F-CAE4-43C0-90F0-6B80AFE7B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94">
              <a:extLst>
                <a:ext uri="{FF2B5EF4-FFF2-40B4-BE49-F238E27FC236}">
                  <a16:creationId xmlns:a16="http://schemas.microsoft.com/office/drawing/2014/main" id="{DE1FDEFF-6789-402D-8CD1-A4D89B85ED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95">
              <a:extLst>
                <a:ext uri="{FF2B5EF4-FFF2-40B4-BE49-F238E27FC236}">
                  <a16:creationId xmlns:a16="http://schemas.microsoft.com/office/drawing/2014/main" id="{442B4E63-0DE6-43BE-B11C-342A0E374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3" y="2877"/>
              <a:ext cx="100" cy="105"/>
            </a:xfrm>
            <a:custGeom>
              <a:avLst/>
              <a:gdLst>
                <a:gd name="T0" fmla="*/ 34 w 39"/>
                <a:gd name="T1" fmla="*/ 31 h 41"/>
                <a:gd name="T2" fmla="*/ 34 w 39"/>
                <a:gd name="T3" fmla="*/ 31 h 41"/>
                <a:gd name="T4" fmla="*/ 34 w 39"/>
                <a:gd name="T5" fmla="*/ 35 h 41"/>
                <a:gd name="T6" fmla="*/ 32 w 39"/>
                <a:gd name="T7" fmla="*/ 37 h 41"/>
                <a:gd name="T8" fmla="*/ 6 w 39"/>
                <a:gd name="T9" fmla="*/ 37 h 41"/>
                <a:gd name="T10" fmla="*/ 4 w 39"/>
                <a:gd name="T11" fmla="*/ 35 h 41"/>
                <a:gd name="T12" fmla="*/ 4 w 39"/>
                <a:gd name="T13" fmla="*/ 31 h 41"/>
                <a:gd name="T14" fmla="*/ 4 w 39"/>
                <a:gd name="T15" fmla="*/ 25 h 41"/>
                <a:gd name="T16" fmla="*/ 8 w 39"/>
                <a:gd name="T17" fmla="*/ 21 h 41"/>
                <a:gd name="T18" fmla="*/ 19 w 39"/>
                <a:gd name="T19" fmla="*/ 21 h 41"/>
                <a:gd name="T20" fmla="*/ 19 w 39"/>
                <a:gd name="T21" fmla="*/ 21 h 41"/>
                <a:gd name="T22" fmla="*/ 19 w 39"/>
                <a:gd name="T23" fmla="*/ 21 h 41"/>
                <a:gd name="T24" fmla="*/ 30 w 39"/>
                <a:gd name="T25" fmla="*/ 21 h 41"/>
                <a:gd name="T26" fmla="*/ 34 w 39"/>
                <a:gd name="T27" fmla="*/ 25 h 41"/>
                <a:gd name="T28" fmla="*/ 34 w 39"/>
                <a:gd name="T29" fmla="*/ 31 h 41"/>
                <a:gd name="T30" fmla="*/ 19 w 39"/>
                <a:gd name="T31" fmla="*/ 4 h 41"/>
                <a:gd name="T32" fmla="*/ 26 w 39"/>
                <a:gd name="T33" fmla="*/ 10 h 41"/>
                <a:gd name="T34" fmla="*/ 19 w 39"/>
                <a:gd name="T35" fmla="*/ 17 h 41"/>
                <a:gd name="T36" fmla="*/ 19 w 39"/>
                <a:gd name="T37" fmla="*/ 17 h 41"/>
                <a:gd name="T38" fmla="*/ 13 w 39"/>
                <a:gd name="T39" fmla="*/ 10 h 41"/>
                <a:gd name="T40" fmla="*/ 19 w 39"/>
                <a:gd name="T41" fmla="*/ 4 h 41"/>
                <a:gd name="T42" fmla="*/ 30 w 39"/>
                <a:gd name="T43" fmla="*/ 17 h 41"/>
                <a:gd name="T44" fmla="*/ 28 w 39"/>
                <a:gd name="T45" fmla="*/ 17 h 41"/>
                <a:gd name="T46" fmla="*/ 30 w 39"/>
                <a:gd name="T47" fmla="*/ 10 h 41"/>
                <a:gd name="T48" fmla="*/ 19 w 39"/>
                <a:gd name="T49" fmla="*/ 0 h 41"/>
                <a:gd name="T50" fmla="*/ 8 w 39"/>
                <a:gd name="T51" fmla="*/ 10 h 41"/>
                <a:gd name="T52" fmla="*/ 11 w 39"/>
                <a:gd name="T53" fmla="*/ 17 h 41"/>
                <a:gd name="T54" fmla="*/ 8 w 39"/>
                <a:gd name="T55" fmla="*/ 17 h 41"/>
                <a:gd name="T56" fmla="*/ 0 w 39"/>
                <a:gd name="T57" fmla="*/ 25 h 41"/>
                <a:gd name="T58" fmla="*/ 0 w 39"/>
                <a:gd name="T59" fmla="*/ 31 h 41"/>
                <a:gd name="T60" fmla="*/ 0 w 39"/>
                <a:gd name="T61" fmla="*/ 35 h 41"/>
                <a:gd name="T62" fmla="*/ 6 w 39"/>
                <a:gd name="T63" fmla="*/ 41 h 41"/>
                <a:gd name="T64" fmla="*/ 32 w 39"/>
                <a:gd name="T65" fmla="*/ 41 h 41"/>
                <a:gd name="T66" fmla="*/ 39 w 39"/>
                <a:gd name="T67" fmla="*/ 35 h 41"/>
                <a:gd name="T68" fmla="*/ 39 w 39"/>
                <a:gd name="T69" fmla="*/ 31 h 41"/>
                <a:gd name="T70" fmla="*/ 39 w 39"/>
                <a:gd name="T71" fmla="*/ 25 h 41"/>
                <a:gd name="T72" fmla="*/ 30 w 39"/>
                <a:gd name="T73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1">
                  <a:moveTo>
                    <a:pt x="34" y="31"/>
                  </a:moveTo>
                  <a:cubicBezTo>
                    <a:pt x="34" y="31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6"/>
                    <a:pt x="33" y="37"/>
                    <a:pt x="32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21"/>
                    <a:pt x="34" y="23"/>
                    <a:pt x="34" y="25"/>
                  </a:cubicBezTo>
                  <a:lnTo>
                    <a:pt x="34" y="31"/>
                  </a:lnTo>
                  <a:close/>
                  <a:moveTo>
                    <a:pt x="19" y="4"/>
                  </a:moveTo>
                  <a:cubicBezTo>
                    <a:pt x="23" y="4"/>
                    <a:pt x="26" y="7"/>
                    <a:pt x="26" y="10"/>
                  </a:cubicBezTo>
                  <a:cubicBezTo>
                    <a:pt x="26" y="14"/>
                    <a:pt x="23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6" y="17"/>
                    <a:pt x="13" y="14"/>
                    <a:pt x="13" y="10"/>
                  </a:cubicBezTo>
                  <a:cubicBezTo>
                    <a:pt x="13" y="7"/>
                    <a:pt x="16" y="4"/>
                    <a:pt x="19" y="4"/>
                  </a:cubicBezTo>
                  <a:moveTo>
                    <a:pt x="30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9" y="15"/>
                    <a:pt x="30" y="13"/>
                    <a:pt x="30" y="10"/>
                  </a:cubicBezTo>
                  <a:cubicBezTo>
                    <a:pt x="30" y="5"/>
                    <a:pt x="25" y="0"/>
                    <a:pt x="19" y="0"/>
                  </a:cubicBezTo>
                  <a:cubicBezTo>
                    <a:pt x="13" y="0"/>
                    <a:pt x="8" y="5"/>
                    <a:pt x="8" y="10"/>
                  </a:cubicBezTo>
                  <a:cubicBezTo>
                    <a:pt x="8" y="13"/>
                    <a:pt x="9" y="15"/>
                    <a:pt x="11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6" y="41"/>
                    <a:pt x="39" y="39"/>
                    <a:pt x="39" y="35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0"/>
                    <a:pt x="35" y="17"/>
                    <a:pt x="30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96">
              <a:extLst>
                <a:ext uri="{FF2B5EF4-FFF2-40B4-BE49-F238E27FC236}">
                  <a16:creationId xmlns:a16="http://schemas.microsoft.com/office/drawing/2014/main" id="{8BF6B043-0DCC-41BE-A096-EE11A5BCC0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3" y="2857"/>
              <a:ext cx="46" cy="46"/>
            </a:xfrm>
            <a:custGeom>
              <a:avLst/>
              <a:gdLst>
                <a:gd name="T0" fmla="*/ 9 w 18"/>
                <a:gd name="T1" fmla="*/ 14 h 18"/>
                <a:gd name="T2" fmla="*/ 4 w 18"/>
                <a:gd name="T3" fmla="*/ 9 h 18"/>
                <a:gd name="T4" fmla="*/ 9 w 18"/>
                <a:gd name="T5" fmla="*/ 4 h 18"/>
                <a:gd name="T6" fmla="*/ 14 w 18"/>
                <a:gd name="T7" fmla="*/ 9 h 18"/>
                <a:gd name="T8" fmla="*/ 9 w 18"/>
                <a:gd name="T9" fmla="*/ 14 h 18"/>
                <a:gd name="T10" fmla="*/ 18 w 18"/>
                <a:gd name="T11" fmla="*/ 9 h 18"/>
                <a:gd name="T12" fmla="*/ 9 w 18"/>
                <a:gd name="T13" fmla="*/ 0 h 18"/>
                <a:gd name="T14" fmla="*/ 0 w 18"/>
                <a:gd name="T15" fmla="*/ 9 h 18"/>
                <a:gd name="T16" fmla="*/ 9 w 18"/>
                <a:gd name="T17" fmla="*/ 18 h 18"/>
                <a:gd name="T18" fmla="*/ 18 w 18"/>
                <a:gd name="T1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moveTo>
                    <a:pt x="18" y="9"/>
                  </a:move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97">
              <a:extLst>
                <a:ext uri="{FF2B5EF4-FFF2-40B4-BE49-F238E27FC236}">
                  <a16:creationId xmlns:a16="http://schemas.microsoft.com/office/drawing/2014/main" id="{AC913D7C-5578-44A3-9DA0-9707D9D082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5" y="2857"/>
              <a:ext cx="47" cy="46"/>
            </a:xfrm>
            <a:custGeom>
              <a:avLst/>
              <a:gdLst>
                <a:gd name="T0" fmla="*/ 9 w 18"/>
                <a:gd name="T1" fmla="*/ 14 h 18"/>
                <a:gd name="T2" fmla="*/ 4 w 18"/>
                <a:gd name="T3" fmla="*/ 9 h 18"/>
                <a:gd name="T4" fmla="*/ 9 w 18"/>
                <a:gd name="T5" fmla="*/ 4 h 18"/>
                <a:gd name="T6" fmla="*/ 14 w 18"/>
                <a:gd name="T7" fmla="*/ 9 h 18"/>
                <a:gd name="T8" fmla="*/ 9 w 18"/>
                <a:gd name="T9" fmla="*/ 14 h 18"/>
                <a:gd name="T10" fmla="*/ 18 w 18"/>
                <a:gd name="T11" fmla="*/ 9 h 18"/>
                <a:gd name="T12" fmla="*/ 9 w 18"/>
                <a:gd name="T13" fmla="*/ 0 h 18"/>
                <a:gd name="T14" fmla="*/ 0 w 18"/>
                <a:gd name="T15" fmla="*/ 9 h 18"/>
                <a:gd name="T16" fmla="*/ 9 w 18"/>
                <a:gd name="T17" fmla="*/ 18 h 18"/>
                <a:gd name="T18" fmla="*/ 18 w 18"/>
                <a:gd name="T1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moveTo>
                    <a:pt x="18" y="9"/>
                  </a:move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98">
              <a:extLst>
                <a:ext uri="{FF2B5EF4-FFF2-40B4-BE49-F238E27FC236}">
                  <a16:creationId xmlns:a16="http://schemas.microsoft.com/office/drawing/2014/main" id="{B341DB7B-423E-4131-87E7-D5F28B3F1E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6" y="2877"/>
              <a:ext cx="92" cy="105"/>
            </a:xfrm>
            <a:custGeom>
              <a:avLst/>
              <a:gdLst>
                <a:gd name="T0" fmla="*/ 32 w 36"/>
                <a:gd name="T1" fmla="*/ 35 h 41"/>
                <a:gd name="T2" fmla="*/ 30 w 36"/>
                <a:gd name="T3" fmla="*/ 37 h 41"/>
                <a:gd name="T4" fmla="*/ 6 w 36"/>
                <a:gd name="T5" fmla="*/ 37 h 41"/>
                <a:gd name="T6" fmla="*/ 4 w 36"/>
                <a:gd name="T7" fmla="*/ 35 h 41"/>
                <a:gd name="T8" fmla="*/ 4 w 36"/>
                <a:gd name="T9" fmla="*/ 31 h 41"/>
                <a:gd name="T10" fmla="*/ 4 w 36"/>
                <a:gd name="T11" fmla="*/ 25 h 41"/>
                <a:gd name="T12" fmla="*/ 8 w 36"/>
                <a:gd name="T13" fmla="*/ 21 h 41"/>
                <a:gd name="T14" fmla="*/ 18 w 36"/>
                <a:gd name="T15" fmla="*/ 21 h 41"/>
                <a:gd name="T16" fmla="*/ 18 w 36"/>
                <a:gd name="T17" fmla="*/ 21 h 41"/>
                <a:gd name="T18" fmla="*/ 28 w 36"/>
                <a:gd name="T19" fmla="*/ 21 h 41"/>
                <a:gd name="T20" fmla="*/ 32 w 36"/>
                <a:gd name="T21" fmla="*/ 25 h 41"/>
                <a:gd name="T22" fmla="*/ 32 w 36"/>
                <a:gd name="T23" fmla="*/ 31 h 41"/>
                <a:gd name="T24" fmla="*/ 32 w 36"/>
                <a:gd name="T25" fmla="*/ 35 h 41"/>
                <a:gd name="T26" fmla="*/ 12 w 36"/>
                <a:gd name="T27" fmla="*/ 10 h 41"/>
                <a:gd name="T28" fmla="*/ 18 w 36"/>
                <a:gd name="T29" fmla="*/ 4 h 41"/>
                <a:gd name="T30" fmla="*/ 24 w 36"/>
                <a:gd name="T31" fmla="*/ 10 h 41"/>
                <a:gd name="T32" fmla="*/ 18 w 36"/>
                <a:gd name="T33" fmla="*/ 17 h 41"/>
                <a:gd name="T34" fmla="*/ 18 w 36"/>
                <a:gd name="T35" fmla="*/ 17 h 41"/>
                <a:gd name="T36" fmla="*/ 12 w 36"/>
                <a:gd name="T37" fmla="*/ 10 h 41"/>
                <a:gd name="T38" fmla="*/ 28 w 36"/>
                <a:gd name="T39" fmla="*/ 17 h 41"/>
                <a:gd name="T40" fmla="*/ 26 w 36"/>
                <a:gd name="T41" fmla="*/ 17 h 41"/>
                <a:gd name="T42" fmla="*/ 28 w 36"/>
                <a:gd name="T43" fmla="*/ 10 h 41"/>
                <a:gd name="T44" fmla="*/ 18 w 36"/>
                <a:gd name="T45" fmla="*/ 0 h 41"/>
                <a:gd name="T46" fmla="*/ 8 w 36"/>
                <a:gd name="T47" fmla="*/ 10 h 41"/>
                <a:gd name="T48" fmla="*/ 10 w 36"/>
                <a:gd name="T49" fmla="*/ 17 h 41"/>
                <a:gd name="T50" fmla="*/ 8 w 36"/>
                <a:gd name="T51" fmla="*/ 17 h 41"/>
                <a:gd name="T52" fmla="*/ 0 w 36"/>
                <a:gd name="T53" fmla="*/ 25 h 41"/>
                <a:gd name="T54" fmla="*/ 0 w 36"/>
                <a:gd name="T55" fmla="*/ 31 h 41"/>
                <a:gd name="T56" fmla="*/ 0 w 36"/>
                <a:gd name="T57" fmla="*/ 35 h 41"/>
                <a:gd name="T58" fmla="*/ 6 w 36"/>
                <a:gd name="T59" fmla="*/ 41 h 41"/>
                <a:gd name="T60" fmla="*/ 30 w 36"/>
                <a:gd name="T61" fmla="*/ 41 h 41"/>
                <a:gd name="T62" fmla="*/ 36 w 36"/>
                <a:gd name="T63" fmla="*/ 35 h 41"/>
                <a:gd name="T64" fmla="*/ 36 w 36"/>
                <a:gd name="T65" fmla="*/ 31 h 41"/>
                <a:gd name="T66" fmla="*/ 36 w 36"/>
                <a:gd name="T67" fmla="*/ 25 h 41"/>
                <a:gd name="T68" fmla="*/ 28 w 36"/>
                <a:gd name="T6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2" y="35"/>
                  </a:moveTo>
                  <a:cubicBezTo>
                    <a:pt x="32" y="36"/>
                    <a:pt x="31" y="37"/>
                    <a:pt x="30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2" y="23"/>
                    <a:pt x="32" y="25"/>
                  </a:cubicBezTo>
                  <a:cubicBezTo>
                    <a:pt x="32" y="31"/>
                    <a:pt x="32" y="31"/>
                    <a:pt x="32" y="31"/>
                  </a:cubicBezTo>
                  <a:lnTo>
                    <a:pt x="32" y="35"/>
                  </a:lnTo>
                  <a:close/>
                  <a:moveTo>
                    <a:pt x="12" y="10"/>
                  </a:moveTo>
                  <a:cubicBezTo>
                    <a:pt x="12" y="7"/>
                    <a:pt x="15" y="4"/>
                    <a:pt x="18" y="4"/>
                  </a:cubicBezTo>
                  <a:cubicBezTo>
                    <a:pt x="21" y="4"/>
                    <a:pt x="24" y="7"/>
                    <a:pt x="24" y="10"/>
                  </a:cubicBezTo>
                  <a:cubicBezTo>
                    <a:pt x="24" y="14"/>
                    <a:pt x="21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5" y="17"/>
                    <a:pt x="12" y="14"/>
                    <a:pt x="12" y="10"/>
                  </a:cubicBezTo>
                  <a:moveTo>
                    <a:pt x="28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7" y="15"/>
                    <a:pt x="28" y="13"/>
                    <a:pt x="28" y="10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2" y="0"/>
                    <a:pt x="8" y="5"/>
                    <a:pt x="8" y="10"/>
                  </a:cubicBezTo>
                  <a:cubicBezTo>
                    <a:pt x="8" y="13"/>
                    <a:pt x="9" y="15"/>
                    <a:pt x="10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3" y="41"/>
                    <a:pt x="36" y="39"/>
                    <a:pt x="36" y="35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0"/>
                    <a:pt x="33" y="17"/>
                    <a:pt x="28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99">
              <a:extLst>
                <a:ext uri="{FF2B5EF4-FFF2-40B4-BE49-F238E27FC236}">
                  <a16:creationId xmlns:a16="http://schemas.microsoft.com/office/drawing/2014/main" id="{5CF063F4-A8D4-4FC0-BC67-1448DA2FAC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9" y="2877"/>
              <a:ext cx="92" cy="105"/>
            </a:xfrm>
            <a:custGeom>
              <a:avLst/>
              <a:gdLst>
                <a:gd name="T0" fmla="*/ 32 w 36"/>
                <a:gd name="T1" fmla="*/ 35 h 41"/>
                <a:gd name="T2" fmla="*/ 30 w 36"/>
                <a:gd name="T3" fmla="*/ 37 h 41"/>
                <a:gd name="T4" fmla="*/ 6 w 36"/>
                <a:gd name="T5" fmla="*/ 37 h 41"/>
                <a:gd name="T6" fmla="*/ 4 w 36"/>
                <a:gd name="T7" fmla="*/ 35 h 41"/>
                <a:gd name="T8" fmla="*/ 4 w 36"/>
                <a:gd name="T9" fmla="*/ 31 h 41"/>
                <a:gd name="T10" fmla="*/ 4 w 36"/>
                <a:gd name="T11" fmla="*/ 25 h 41"/>
                <a:gd name="T12" fmla="*/ 8 w 36"/>
                <a:gd name="T13" fmla="*/ 21 h 41"/>
                <a:gd name="T14" fmla="*/ 18 w 36"/>
                <a:gd name="T15" fmla="*/ 21 h 41"/>
                <a:gd name="T16" fmla="*/ 18 w 36"/>
                <a:gd name="T17" fmla="*/ 21 h 41"/>
                <a:gd name="T18" fmla="*/ 28 w 36"/>
                <a:gd name="T19" fmla="*/ 21 h 41"/>
                <a:gd name="T20" fmla="*/ 32 w 36"/>
                <a:gd name="T21" fmla="*/ 25 h 41"/>
                <a:gd name="T22" fmla="*/ 32 w 36"/>
                <a:gd name="T23" fmla="*/ 31 h 41"/>
                <a:gd name="T24" fmla="*/ 32 w 36"/>
                <a:gd name="T25" fmla="*/ 35 h 41"/>
                <a:gd name="T26" fmla="*/ 12 w 36"/>
                <a:gd name="T27" fmla="*/ 10 h 41"/>
                <a:gd name="T28" fmla="*/ 18 w 36"/>
                <a:gd name="T29" fmla="*/ 4 h 41"/>
                <a:gd name="T30" fmla="*/ 24 w 36"/>
                <a:gd name="T31" fmla="*/ 10 h 41"/>
                <a:gd name="T32" fmla="*/ 18 w 36"/>
                <a:gd name="T33" fmla="*/ 17 h 41"/>
                <a:gd name="T34" fmla="*/ 18 w 36"/>
                <a:gd name="T35" fmla="*/ 17 h 41"/>
                <a:gd name="T36" fmla="*/ 12 w 36"/>
                <a:gd name="T37" fmla="*/ 10 h 41"/>
                <a:gd name="T38" fmla="*/ 36 w 36"/>
                <a:gd name="T39" fmla="*/ 25 h 41"/>
                <a:gd name="T40" fmla="*/ 28 w 36"/>
                <a:gd name="T41" fmla="*/ 17 h 41"/>
                <a:gd name="T42" fmla="*/ 26 w 36"/>
                <a:gd name="T43" fmla="*/ 17 h 41"/>
                <a:gd name="T44" fmla="*/ 28 w 36"/>
                <a:gd name="T45" fmla="*/ 10 h 41"/>
                <a:gd name="T46" fmla="*/ 18 w 36"/>
                <a:gd name="T47" fmla="*/ 0 h 41"/>
                <a:gd name="T48" fmla="*/ 8 w 36"/>
                <a:gd name="T49" fmla="*/ 10 h 41"/>
                <a:gd name="T50" fmla="*/ 10 w 36"/>
                <a:gd name="T51" fmla="*/ 17 h 41"/>
                <a:gd name="T52" fmla="*/ 8 w 36"/>
                <a:gd name="T53" fmla="*/ 17 h 41"/>
                <a:gd name="T54" fmla="*/ 0 w 36"/>
                <a:gd name="T55" fmla="*/ 25 h 41"/>
                <a:gd name="T56" fmla="*/ 0 w 36"/>
                <a:gd name="T57" fmla="*/ 31 h 41"/>
                <a:gd name="T58" fmla="*/ 0 w 36"/>
                <a:gd name="T59" fmla="*/ 35 h 41"/>
                <a:gd name="T60" fmla="*/ 6 w 36"/>
                <a:gd name="T61" fmla="*/ 41 h 41"/>
                <a:gd name="T62" fmla="*/ 30 w 36"/>
                <a:gd name="T63" fmla="*/ 41 h 41"/>
                <a:gd name="T64" fmla="*/ 36 w 36"/>
                <a:gd name="T65" fmla="*/ 35 h 41"/>
                <a:gd name="T66" fmla="*/ 36 w 36"/>
                <a:gd name="T67" fmla="*/ 31 h 41"/>
                <a:gd name="T68" fmla="*/ 36 w 36"/>
                <a:gd name="T69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2" y="35"/>
                  </a:moveTo>
                  <a:cubicBezTo>
                    <a:pt x="32" y="36"/>
                    <a:pt x="31" y="37"/>
                    <a:pt x="30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2" y="23"/>
                    <a:pt x="32" y="25"/>
                  </a:cubicBezTo>
                  <a:cubicBezTo>
                    <a:pt x="32" y="31"/>
                    <a:pt x="32" y="31"/>
                    <a:pt x="32" y="31"/>
                  </a:cubicBezTo>
                  <a:lnTo>
                    <a:pt x="32" y="35"/>
                  </a:lnTo>
                  <a:close/>
                  <a:moveTo>
                    <a:pt x="12" y="10"/>
                  </a:moveTo>
                  <a:cubicBezTo>
                    <a:pt x="12" y="7"/>
                    <a:pt x="15" y="4"/>
                    <a:pt x="18" y="4"/>
                  </a:cubicBezTo>
                  <a:cubicBezTo>
                    <a:pt x="21" y="4"/>
                    <a:pt x="24" y="7"/>
                    <a:pt x="24" y="10"/>
                  </a:cubicBezTo>
                  <a:cubicBezTo>
                    <a:pt x="24" y="14"/>
                    <a:pt x="21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5" y="17"/>
                    <a:pt x="12" y="14"/>
                    <a:pt x="12" y="10"/>
                  </a:cubicBezTo>
                  <a:moveTo>
                    <a:pt x="36" y="25"/>
                  </a:moveTo>
                  <a:cubicBezTo>
                    <a:pt x="36" y="20"/>
                    <a:pt x="33" y="17"/>
                    <a:pt x="28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5"/>
                    <a:pt x="28" y="13"/>
                    <a:pt x="28" y="10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3" y="0"/>
                    <a:pt x="8" y="5"/>
                    <a:pt x="8" y="10"/>
                  </a:cubicBezTo>
                  <a:cubicBezTo>
                    <a:pt x="8" y="13"/>
                    <a:pt x="9" y="15"/>
                    <a:pt x="10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4" y="41"/>
                    <a:pt x="36" y="39"/>
                    <a:pt x="36" y="35"/>
                  </a:cubicBezTo>
                  <a:cubicBezTo>
                    <a:pt x="36" y="31"/>
                    <a:pt x="36" y="31"/>
                    <a:pt x="36" y="31"/>
                  </a:cubicBezTo>
                  <a:lnTo>
                    <a:pt x="36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00">
              <a:extLst>
                <a:ext uri="{FF2B5EF4-FFF2-40B4-BE49-F238E27FC236}">
                  <a16:creationId xmlns:a16="http://schemas.microsoft.com/office/drawing/2014/main" id="{EAE62543-EB6C-49F3-A179-D20DC6303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" y="2706"/>
              <a:ext cx="333" cy="205"/>
            </a:xfrm>
            <a:custGeom>
              <a:avLst/>
              <a:gdLst>
                <a:gd name="T0" fmla="*/ 124 w 130"/>
                <a:gd name="T1" fmla="*/ 0 h 80"/>
                <a:gd name="T2" fmla="*/ 6 w 130"/>
                <a:gd name="T3" fmla="*/ 0 h 80"/>
                <a:gd name="T4" fmla="*/ 0 w 130"/>
                <a:gd name="T5" fmla="*/ 6 h 80"/>
                <a:gd name="T6" fmla="*/ 0 w 130"/>
                <a:gd name="T7" fmla="*/ 74 h 80"/>
                <a:gd name="T8" fmla="*/ 6 w 130"/>
                <a:gd name="T9" fmla="*/ 80 h 80"/>
                <a:gd name="T10" fmla="*/ 13 w 130"/>
                <a:gd name="T11" fmla="*/ 80 h 80"/>
                <a:gd name="T12" fmla="*/ 13 w 130"/>
                <a:gd name="T13" fmla="*/ 76 h 80"/>
                <a:gd name="T14" fmla="*/ 6 w 130"/>
                <a:gd name="T15" fmla="*/ 76 h 80"/>
                <a:gd name="T16" fmla="*/ 4 w 130"/>
                <a:gd name="T17" fmla="*/ 74 h 80"/>
                <a:gd name="T18" fmla="*/ 4 w 130"/>
                <a:gd name="T19" fmla="*/ 6 h 80"/>
                <a:gd name="T20" fmla="*/ 6 w 130"/>
                <a:gd name="T21" fmla="*/ 4 h 80"/>
                <a:gd name="T22" fmla="*/ 124 w 130"/>
                <a:gd name="T23" fmla="*/ 4 h 80"/>
                <a:gd name="T24" fmla="*/ 126 w 130"/>
                <a:gd name="T25" fmla="*/ 6 h 80"/>
                <a:gd name="T26" fmla="*/ 126 w 130"/>
                <a:gd name="T27" fmla="*/ 74 h 80"/>
                <a:gd name="T28" fmla="*/ 124 w 130"/>
                <a:gd name="T29" fmla="*/ 76 h 80"/>
                <a:gd name="T30" fmla="*/ 117 w 130"/>
                <a:gd name="T31" fmla="*/ 76 h 80"/>
                <a:gd name="T32" fmla="*/ 117 w 130"/>
                <a:gd name="T33" fmla="*/ 77 h 80"/>
                <a:gd name="T34" fmla="*/ 117 w 130"/>
                <a:gd name="T35" fmla="*/ 77 h 80"/>
                <a:gd name="T36" fmla="*/ 117 w 130"/>
                <a:gd name="T37" fmla="*/ 80 h 80"/>
                <a:gd name="T38" fmla="*/ 124 w 130"/>
                <a:gd name="T39" fmla="*/ 80 h 80"/>
                <a:gd name="T40" fmla="*/ 130 w 130"/>
                <a:gd name="T41" fmla="*/ 74 h 80"/>
                <a:gd name="T42" fmla="*/ 130 w 130"/>
                <a:gd name="T43" fmla="*/ 6 h 80"/>
                <a:gd name="T44" fmla="*/ 124 w 130"/>
                <a:gd name="T4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0" h="80">
                  <a:moveTo>
                    <a:pt x="12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7"/>
                    <a:pt x="3" y="80"/>
                    <a:pt x="6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4" y="75"/>
                    <a:pt x="4" y="7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5" y="4"/>
                    <a:pt x="126" y="4"/>
                    <a:pt x="126" y="6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75"/>
                    <a:pt x="125" y="76"/>
                    <a:pt x="124" y="76"/>
                  </a:cubicBezTo>
                  <a:cubicBezTo>
                    <a:pt x="117" y="76"/>
                    <a:pt x="117" y="76"/>
                    <a:pt x="11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7" y="80"/>
                    <a:pt x="130" y="77"/>
                    <a:pt x="130" y="74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0" y="2"/>
                    <a:pt x="127" y="0"/>
                    <a:pt x="1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01">
              <a:extLst>
                <a:ext uri="{FF2B5EF4-FFF2-40B4-BE49-F238E27FC236}">
                  <a16:creationId xmlns:a16="http://schemas.microsoft.com/office/drawing/2014/main" id="{F497BC15-B10D-423B-9D1F-1BC7C93DA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2785"/>
              <a:ext cx="125" cy="100"/>
            </a:xfrm>
            <a:custGeom>
              <a:avLst/>
              <a:gdLst>
                <a:gd name="T0" fmla="*/ 38 w 49"/>
                <a:gd name="T1" fmla="*/ 0 h 39"/>
                <a:gd name="T2" fmla="*/ 5 w 49"/>
                <a:gd name="T3" fmla="*/ 0 h 39"/>
                <a:gd name="T4" fmla="*/ 0 w 49"/>
                <a:gd name="T5" fmla="*/ 4 h 39"/>
                <a:gd name="T6" fmla="*/ 4 w 49"/>
                <a:gd name="T7" fmla="*/ 10 h 39"/>
                <a:gd name="T8" fmla="*/ 20 w 49"/>
                <a:gd name="T9" fmla="*/ 13 h 39"/>
                <a:gd name="T10" fmla="*/ 20 w 49"/>
                <a:gd name="T11" fmla="*/ 29 h 39"/>
                <a:gd name="T12" fmla="*/ 24 w 49"/>
                <a:gd name="T13" fmla="*/ 31 h 39"/>
                <a:gd name="T14" fmla="*/ 24 w 49"/>
                <a:gd name="T15" fmla="*/ 12 h 39"/>
                <a:gd name="T16" fmla="*/ 22 w 49"/>
                <a:gd name="T17" fmla="*/ 10 h 39"/>
                <a:gd name="T18" fmla="*/ 22 w 49"/>
                <a:gd name="T19" fmla="*/ 10 h 39"/>
                <a:gd name="T20" fmla="*/ 5 w 49"/>
                <a:gd name="T21" fmla="*/ 6 h 39"/>
                <a:gd name="T22" fmla="*/ 4 w 49"/>
                <a:gd name="T23" fmla="*/ 4 h 39"/>
                <a:gd name="T24" fmla="*/ 5 w 49"/>
                <a:gd name="T25" fmla="*/ 4 h 39"/>
                <a:gd name="T26" fmla="*/ 38 w 49"/>
                <a:gd name="T27" fmla="*/ 4 h 39"/>
                <a:gd name="T28" fmla="*/ 45 w 49"/>
                <a:gd name="T29" fmla="*/ 10 h 39"/>
                <a:gd name="T30" fmla="*/ 45 w 49"/>
                <a:gd name="T31" fmla="*/ 22 h 39"/>
                <a:gd name="T32" fmla="*/ 41 w 49"/>
                <a:gd name="T33" fmla="*/ 27 h 39"/>
                <a:gd name="T34" fmla="*/ 41 w 49"/>
                <a:gd name="T35" fmla="*/ 12 h 39"/>
                <a:gd name="T36" fmla="*/ 38 w 49"/>
                <a:gd name="T37" fmla="*/ 10 h 39"/>
                <a:gd name="T38" fmla="*/ 36 w 49"/>
                <a:gd name="T39" fmla="*/ 12 h 39"/>
                <a:gd name="T40" fmla="*/ 36 w 49"/>
                <a:gd name="T41" fmla="*/ 39 h 39"/>
                <a:gd name="T42" fmla="*/ 41 w 49"/>
                <a:gd name="T43" fmla="*/ 37 h 39"/>
                <a:gd name="T44" fmla="*/ 41 w 49"/>
                <a:gd name="T45" fmla="*/ 31 h 39"/>
                <a:gd name="T46" fmla="*/ 49 w 49"/>
                <a:gd name="T47" fmla="*/ 22 h 39"/>
                <a:gd name="T48" fmla="*/ 49 w 49"/>
                <a:gd name="T49" fmla="*/ 10 h 39"/>
                <a:gd name="T50" fmla="*/ 38 w 49"/>
                <a:gd name="T5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" h="39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1" y="9"/>
                    <a:pt x="4" y="10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42" y="4"/>
                    <a:pt x="45" y="6"/>
                    <a:pt x="45" y="10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4"/>
                    <a:pt x="43" y="26"/>
                    <a:pt x="41" y="27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0"/>
                    <a:pt x="40" y="10"/>
                    <a:pt x="38" y="10"/>
                  </a:cubicBezTo>
                  <a:cubicBezTo>
                    <a:pt x="37" y="10"/>
                    <a:pt x="36" y="10"/>
                    <a:pt x="36" y="12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8" y="38"/>
                    <a:pt x="39" y="37"/>
                    <a:pt x="41" y="37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5" y="30"/>
                    <a:pt x="49" y="26"/>
                    <a:pt x="49" y="22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44" y="0"/>
                    <a:pt x="3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02">
              <a:extLst>
                <a:ext uri="{FF2B5EF4-FFF2-40B4-BE49-F238E27FC236}">
                  <a16:creationId xmlns:a16="http://schemas.microsoft.com/office/drawing/2014/main" id="{DCC66199-4026-46DB-9AE1-7D72B5848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9" y="2732"/>
              <a:ext cx="41" cy="38"/>
            </a:xfrm>
            <a:custGeom>
              <a:avLst/>
              <a:gdLst>
                <a:gd name="T0" fmla="*/ 8 w 16"/>
                <a:gd name="T1" fmla="*/ 4 h 15"/>
                <a:gd name="T2" fmla="*/ 12 w 16"/>
                <a:gd name="T3" fmla="*/ 8 h 15"/>
                <a:gd name="T4" fmla="*/ 8 w 16"/>
                <a:gd name="T5" fmla="*/ 12 h 15"/>
                <a:gd name="T6" fmla="*/ 4 w 16"/>
                <a:gd name="T7" fmla="*/ 8 h 15"/>
                <a:gd name="T8" fmla="*/ 8 w 16"/>
                <a:gd name="T9" fmla="*/ 4 h 15"/>
                <a:gd name="T10" fmla="*/ 8 w 16"/>
                <a:gd name="T11" fmla="*/ 15 h 15"/>
                <a:gd name="T12" fmla="*/ 16 w 16"/>
                <a:gd name="T13" fmla="*/ 8 h 15"/>
                <a:gd name="T14" fmla="*/ 8 w 16"/>
                <a:gd name="T15" fmla="*/ 0 h 15"/>
                <a:gd name="T16" fmla="*/ 0 w 16"/>
                <a:gd name="T17" fmla="*/ 8 h 15"/>
                <a:gd name="T18" fmla="*/ 8 w 16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5">
                  <a:moveTo>
                    <a:pt x="8" y="4"/>
                  </a:moveTo>
                  <a:cubicBezTo>
                    <a:pt x="10" y="4"/>
                    <a:pt x="12" y="6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6" y="12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moveTo>
                    <a:pt x="8" y="15"/>
                  </a:moveTo>
                  <a:cubicBezTo>
                    <a:pt x="12" y="15"/>
                    <a:pt x="16" y="12"/>
                    <a:pt x="16" y="8"/>
                  </a:cubicBezTo>
                  <a:cubicBezTo>
                    <a:pt x="16" y="3"/>
                    <a:pt x="12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5"/>
                    <a:pt x="8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7" name="Group 205">
            <a:extLst>
              <a:ext uri="{FF2B5EF4-FFF2-40B4-BE49-F238E27FC236}">
                <a16:creationId xmlns:a16="http://schemas.microsoft.com/office/drawing/2014/main" id="{3915835B-AA8C-4262-898C-235DA1C8F7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52838" y="4133850"/>
            <a:ext cx="758825" cy="758825"/>
            <a:chOff x="2301" y="2604"/>
            <a:chExt cx="478" cy="478"/>
          </a:xfrm>
        </p:grpSpPr>
        <p:sp>
          <p:nvSpPr>
            <p:cNvPr id="218" name="AutoShape 204">
              <a:extLst>
                <a:ext uri="{FF2B5EF4-FFF2-40B4-BE49-F238E27FC236}">
                  <a16:creationId xmlns:a16="http://schemas.microsoft.com/office/drawing/2014/main" id="{FE8BA05D-8111-4DD9-B613-02C9BCE69E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06">
              <a:extLst>
                <a:ext uri="{FF2B5EF4-FFF2-40B4-BE49-F238E27FC236}">
                  <a16:creationId xmlns:a16="http://schemas.microsoft.com/office/drawing/2014/main" id="{1AF5EACE-818D-4859-968F-5CE692531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07">
              <a:extLst>
                <a:ext uri="{FF2B5EF4-FFF2-40B4-BE49-F238E27FC236}">
                  <a16:creationId xmlns:a16="http://schemas.microsoft.com/office/drawing/2014/main" id="{9C79FA2F-8D93-4618-8CD6-678A9F43AF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9" y="2876"/>
              <a:ext cx="96" cy="101"/>
            </a:xfrm>
            <a:custGeom>
              <a:avLst/>
              <a:gdLst>
                <a:gd name="T0" fmla="*/ 34 w 39"/>
                <a:gd name="T1" fmla="*/ 31 h 41"/>
                <a:gd name="T2" fmla="*/ 34 w 39"/>
                <a:gd name="T3" fmla="*/ 31 h 41"/>
                <a:gd name="T4" fmla="*/ 34 w 39"/>
                <a:gd name="T5" fmla="*/ 35 h 41"/>
                <a:gd name="T6" fmla="*/ 32 w 39"/>
                <a:gd name="T7" fmla="*/ 37 h 41"/>
                <a:gd name="T8" fmla="*/ 6 w 39"/>
                <a:gd name="T9" fmla="*/ 37 h 41"/>
                <a:gd name="T10" fmla="*/ 4 w 39"/>
                <a:gd name="T11" fmla="*/ 35 h 41"/>
                <a:gd name="T12" fmla="*/ 4 w 39"/>
                <a:gd name="T13" fmla="*/ 31 h 41"/>
                <a:gd name="T14" fmla="*/ 4 w 39"/>
                <a:gd name="T15" fmla="*/ 25 h 41"/>
                <a:gd name="T16" fmla="*/ 8 w 39"/>
                <a:gd name="T17" fmla="*/ 21 h 41"/>
                <a:gd name="T18" fmla="*/ 19 w 39"/>
                <a:gd name="T19" fmla="*/ 21 h 41"/>
                <a:gd name="T20" fmla="*/ 19 w 39"/>
                <a:gd name="T21" fmla="*/ 21 h 41"/>
                <a:gd name="T22" fmla="*/ 19 w 39"/>
                <a:gd name="T23" fmla="*/ 21 h 41"/>
                <a:gd name="T24" fmla="*/ 30 w 39"/>
                <a:gd name="T25" fmla="*/ 21 h 41"/>
                <a:gd name="T26" fmla="*/ 34 w 39"/>
                <a:gd name="T27" fmla="*/ 25 h 41"/>
                <a:gd name="T28" fmla="*/ 34 w 39"/>
                <a:gd name="T29" fmla="*/ 31 h 41"/>
                <a:gd name="T30" fmla="*/ 19 w 39"/>
                <a:gd name="T31" fmla="*/ 4 h 41"/>
                <a:gd name="T32" fmla="*/ 26 w 39"/>
                <a:gd name="T33" fmla="*/ 10 h 41"/>
                <a:gd name="T34" fmla="*/ 19 w 39"/>
                <a:gd name="T35" fmla="*/ 17 h 41"/>
                <a:gd name="T36" fmla="*/ 19 w 39"/>
                <a:gd name="T37" fmla="*/ 17 h 41"/>
                <a:gd name="T38" fmla="*/ 13 w 39"/>
                <a:gd name="T39" fmla="*/ 10 h 41"/>
                <a:gd name="T40" fmla="*/ 19 w 39"/>
                <a:gd name="T41" fmla="*/ 4 h 41"/>
                <a:gd name="T42" fmla="*/ 30 w 39"/>
                <a:gd name="T43" fmla="*/ 17 h 41"/>
                <a:gd name="T44" fmla="*/ 28 w 39"/>
                <a:gd name="T45" fmla="*/ 17 h 41"/>
                <a:gd name="T46" fmla="*/ 30 w 39"/>
                <a:gd name="T47" fmla="*/ 10 h 41"/>
                <a:gd name="T48" fmla="*/ 19 w 39"/>
                <a:gd name="T49" fmla="*/ 0 h 41"/>
                <a:gd name="T50" fmla="*/ 8 w 39"/>
                <a:gd name="T51" fmla="*/ 10 h 41"/>
                <a:gd name="T52" fmla="*/ 11 w 39"/>
                <a:gd name="T53" fmla="*/ 17 h 41"/>
                <a:gd name="T54" fmla="*/ 8 w 39"/>
                <a:gd name="T55" fmla="*/ 17 h 41"/>
                <a:gd name="T56" fmla="*/ 0 w 39"/>
                <a:gd name="T57" fmla="*/ 25 h 41"/>
                <a:gd name="T58" fmla="*/ 0 w 39"/>
                <a:gd name="T59" fmla="*/ 31 h 41"/>
                <a:gd name="T60" fmla="*/ 0 w 39"/>
                <a:gd name="T61" fmla="*/ 35 h 41"/>
                <a:gd name="T62" fmla="*/ 6 w 39"/>
                <a:gd name="T63" fmla="*/ 41 h 41"/>
                <a:gd name="T64" fmla="*/ 32 w 39"/>
                <a:gd name="T65" fmla="*/ 41 h 41"/>
                <a:gd name="T66" fmla="*/ 39 w 39"/>
                <a:gd name="T67" fmla="*/ 35 h 41"/>
                <a:gd name="T68" fmla="*/ 39 w 39"/>
                <a:gd name="T69" fmla="*/ 31 h 41"/>
                <a:gd name="T70" fmla="*/ 39 w 39"/>
                <a:gd name="T71" fmla="*/ 25 h 41"/>
                <a:gd name="T72" fmla="*/ 30 w 39"/>
                <a:gd name="T73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41">
                  <a:moveTo>
                    <a:pt x="34" y="31"/>
                  </a:moveTo>
                  <a:cubicBezTo>
                    <a:pt x="34" y="31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6"/>
                    <a:pt x="33" y="37"/>
                    <a:pt x="32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21"/>
                    <a:pt x="34" y="23"/>
                    <a:pt x="34" y="25"/>
                  </a:cubicBezTo>
                  <a:lnTo>
                    <a:pt x="34" y="31"/>
                  </a:lnTo>
                  <a:close/>
                  <a:moveTo>
                    <a:pt x="19" y="4"/>
                  </a:moveTo>
                  <a:cubicBezTo>
                    <a:pt x="23" y="4"/>
                    <a:pt x="26" y="7"/>
                    <a:pt x="26" y="10"/>
                  </a:cubicBezTo>
                  <a:cubicBezTo>
                    <a:pt x="26" y="14"/>
                    <a:pt x="23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6" y="17"/>
                    <a:pt x="13" y="14"/>
                    <a:pt x="13" y="10"/>
                  </a:cubicBezTo>
                  <a:cubicBezTo>
                    <a:pt x="13" y="7"/>
                    <a:pt x="16" y="4"/>
                    <a:pt x="19" y="4"/>
                  </a:cubicBezTo>
                  <a:moveTo>
                    <a:pt x="30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9" y="15"/>
                    <a:pt x="30" y="13"/>
                    <a:pt x="30" y="10"/>
                  </a:cubicBezTo>
                  <a:cubicBezTo>
                    <a:pt x="30" y="5"/>
                    <a:pt x="25" y="0"/>
                    <a:pt x="19" y="0"/>
                  </a:cubicBezTo>
                  <a:cubicBezTo>
                    <a:pt x="13" y="0"/>
                    <a:pt x="8" y="5"/>
                    <a:pt x="8" y="10"/>
                  </a:cubicBezTo>
                  <a:cubicBezTo>
                    <a:pt x="8" y="13"/>
                    <a:pt x="9" y="15"/>
                    <a:pt x="11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6" y="41"/>
                    <a:pt x="39" y="39"/>
                    <a:pt x="39" y="35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0"/>
                    <a:pt x="35" y="17"/>
                    <a:pt x="30" y="1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08">
              <a:extLst>
                <a:ext uri="{FF2B5EF4-FFF2-40B4-BE49-F238E27FC236}">
                  <a16:creationId xmlns:a16="http://schemas.microsoft.com/office/drawing/2014/main" id="{DA419220-10E8-416A-9529-50F85485B7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5" y="2856"/>
              <a:ext cx="44" cy="45"/>
            </a:xfrm>
            <a:custGeom>
              <a:avLst/>
              <a:gdLst>
                <a:gd name="T0" fmla="*/ 9 w 18"/>
                <a:gd name="T1" fmla="*/ 14 h 18"/>
                <a:gd name="T2" fmla="*/ 4 w 18"/>
                <a:gd name="T3" fmla="*/ 9 h 18"/>
                <a:gd name="T4" fmla="*/ 9 w 18"/>
                <a:gd name="T5" fmla="*/ 4 h 18"/>
                <a:gd name="T6" fmla="*/ 14 w 18"/>
                <a:gd name="T7" fmla="*/ 9 h 18"/>
                <a:gd name="T8" fmla="*/ 9 w 18"/>
                <a:gd name="T9" fmla="*/ 14 h 18"/>
                <a:gd name="T10" fmla="*/ 18 w 18"/>
                <a:gd name="T11" fmla="*/ 9 h 18"/>
                <a:gd name="T12" fmla="*/ 9 w 18"/>
                <a:gd name="T13" fmla="*/ 0 h 18"/>
                <a:gd name="T14" fmla="*/ 0 w 18"/>
                <a:gd name="T15" fmla="*/ 9 h 18"/>
                <a:gd name="T16" fmla="*/ 9 w 18"/>
                <a:gd name="T17" fmla="*/ 18 h 18"/>
                <a:gd name="T18" fmla="*/ 18 w 18"/>
                <a:gd name="T1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moveTo>
                    <a:pt x="18" y="9"/>
                  </a:move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09">
              <a:extLst>
                <a:ext uri="{FF2B5EF4-FFF2-40B4-BE49-F238E27FC236}">
                  <a16:creationId xmlns:a16="http://schemas.microsoft.com/office/drawing/2014/main" id="{B46B4029-A2B2-4F44-9F51-1AF1D2955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3" y="2856"/>
              <a:ext cx="44" cy="45"/>
            </a:xfrm>
            <a:custGeom>
              <a:avLst/>
              <a:gdLst>
                <a:gd name="T0" fmla="*/ 9 w 18"/>
                <a:gd name="T1" fmla="*/ 14 h 18"/>
                <a:gd name="T2" fmla="*/ 4 w 18"/>
                <a:gd name="T3" fmla="*/ 9 h 18"/>
                <a:gd name="T4" fmla="*/ 9 w 18"/>
                <a:gd name="T5" fmla="*/ 4 h 18"/>
                <a:gd name="T6" fmla="*/ 14 w 18"/>
                <a:gd name="T7" fmla="*/ 9 h 18"/>
                <a:gd name="T8" fmla="*/ 9 w 18"/>
                <a:gd name="T9" fmla="*/ 14 h 18"/>
                <a:gd name="T10" fmla="*/ 18 w 18"/>
                <a:gd name="T11" fmla="*/ 9 h 18"/>
                <a:gd name="T12" fmla="*/ 9 w 18"/>
                <a:gd name="T13" fmla="*/ 0 h 18"/>
                <a:gd name="T14" fmla="*/ 0 w 18"/>
                <a:gd name="T15" fmla="*/ 9 h 18"/>
                <a:gd name="T16" fmla="*/ 9 w 18"/>
                <a:gd name="T17" fmla="*/ 18 h 18"/>
                <a:gd name="T18" fmla="*/ 18 w 18"/>
                <a:gd name="T1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moveTo>
                    <a:pt x="18" y="9"/>
                  </a:move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210">
              <a:extLst>
                <a:ext uri="{FF2B5EF4-FFF2-40B4-BE49-F238E27FC236}">
                  <a16:creationId xmlns:a16="http://schemas.microsoft.com/office/drawing/2014/main" id="{262D04D2-1EF4-468A-997B-E731B6DF2D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7" y="2876"/>
              <a:ext cx="88" cy="101"/>
            </a:xfrm>
            <a:custGeom>
              <a:avLst/>
              <a:gdLst>
                <a:gd name="T0" fmla="*/ 32 w 36"/>
                <a:gd name="T1" fmla="*/ 35 h 41"/>
                <a:gd name="T2" fmla="*/ 30 w 36"/>
                <a:gd name="T3" fmla="*/ 37 h 41"/>
                <a:gd name="T4" fmla="*/ 6 w 36"/>
                <a:gd name="T5" fmla="*/ 37 h 41"/>
                <a:gd name="T6" fmla="*/ 4 w 36"/>
                <a:gd name="T7" fmla="*/ 35 h 41"/>
                <a:gd name="T8" fmla="*/ 4 w 36"/>
                <a:gd name="T9" fmla="*/ 31 h 41"/>
                <a:gd name="T10" fmla="*/ 4 w 36"/>
                <a:gd name="T11" fmla="*/ 25 h 41"/>
                <a:gd name="T12" fmla="*/ 8 w 36"/>
                <a:gd name="T13" fmla="*/ 21 h 41"/>
                <a:gd name="T14" fmla="*/ 18 w 36"/>
                <a:gd name="T15" fmla="*/ 21 h 41"/>
                <a:gd name="T16" fmla="*/ 18 w 36"/>
                <a:gd name="T17" fmla="*/ 21 h 41"/>
                <a:gd name="T18" fmla="*/ 28 w 36"/>
                <a:gd name="T19" fmla="*/ 21 h 41"/>
                <a:gd name="T20" fmla="*/ 32 w 36"/>
                <a:gd name="T21" fmla="*/ 25 h 41"/>
                <a:gd name="T22" fmla="*/ 32 w 36"/>
                <a:gd name="T23" fmla="*/ 31 h 41"/>
                <a:gd name="T24" fmla="*/ 32 w 36"/>
                <a:gd name="T25" fmla="*/ 35 h 41"/>
                <a:gd name="T26" fmla="*/ 12 w 36"/>
                <a:gd name="T27" fmla="*/ 10 h 41"/>
                <a:gd name="T28" fmla="*/ 18 w 36"/>
                <a:gd name="T29" fmla="*/ 4 h 41"/>
                <a:gd name="T30" fmla="*/ 24 w 36"/>
                <a:gd name="T31" fmla="*/ 10 h 41"/>
                <a:gd name="T32" fmla="*/ 18 w 36"/>
                <a:gd name="T33" fmla="*/ 17 h 41"/>
                <a:gd name="T34" fmla="*/ 18 w 36"/>
                <a:gd name="T35" fmla="*/ 17 h 41"/>
                <a:gd name="T36" fmla="*/ 12 w 36"/>
                <a:gd name="T37" fmla="*/ 10 h 41"/>
                <a:gd name="T38" fmla="*/ 28 w 36"/>
                <a:gd name="T39" fmla="*/ 17 h 41"/>
                <a:gd name="T40" fmla="*/ 26 w 36"/>
                <a:gd name="T41" fmla="*/ 17 h 41"/>
                <a:gd name="T42" fmla="*/ 28 w 36"/>
                <a:gd name="T43" fmla="*/ 10 h 41"/>
                <a:gd name="T44" fmla="*/ 18 w 36"/>
                <a:gd name="T45" fmla="*/ 0 h 41"/>
                <a:gd name="T46" fmla="*/ 8 w 36"/>
                <a:gd name="T47" fmla="*/ 10 h 41"/>
                <a:gd name="T48" fmla="*/ 10 w 36"/>
                <a:gd name="T49" fmla="*/ 17 h 41"/>
                <a:gd name="T50" fmla="*/ 8 w 36"/>
                <a:gd name="T51" fmla="*/ 17 h 41"/>
                <a:gd name="T52" fmla="*/ 0 w 36"/>
                <a:gd name="T53" fmla="*/ 25 h 41"/>
                <a:gd name="T54" fmla="*/ 0 w 36"/>
                <a:gd name="T55" fmla="*/ 31 h 41"/>
                <a:gd name="T56" fmla="*/ 0 w 36"/>
                <a:gd name="T57" fmla="*/ 35 h 41"/>
                <a:gd name="T58" fmla="*/ 6 w 36"/>
                <a:gd name="T59" fmla="*/ 41 h 41"/>
                <a:gd name="T60" fmla="*/ 30 w 36"/>
                <a:gd name="T61" fmla="*/ 41 h 41"/>
                <a:gd name="T62" fmla="*/ 36 w 36"/>
                <a:gd name="T63" fmla="*/ 35 h 41"/>
                <a:gd name="T64" fmla="*/ 36 w 36"/>
                <a:gd name="T65" fmla="*/ 31 h 41"/>
                <a:gd name="T66" fmla="*/ 36 w 36"/>
                <a:gd name="T67" fmla="*/ 25 h 41"/>
                <a:gd name="T68" fmla="*/ 28 w 36"/>
                <a:gd name="T6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2" y="35"/>
                  </a:moveTo>
                  <a:cubicBezTo>
                    <a:pt x="32" y="36"/>
                    <a:pt x="31" y="37"/>
                    <a:pt x="30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2" y="23"/>
                    <a:pt x="32" y="25"/>
                  </a:cubicBezTo>
                  <a:cubicBezTo>
                    <a:pt x="32" y="31"/>
                    <a:pt x="32" y="31"/>
                    <a:pt x="32" y="31"/>
                  </a:cubicBezTo>
                  <a:lnTo>
                    <a:pt x="32" y="35"/>
                  </a:lnTo>
                  <a:close/>
                  <a:moveTo>
                    <a:pt x="12" y="10"/>
                  </a:moveTo>
                  <a:cubicBezTo>
                    <a:pt x="12" y="7"/>
                    <a:pt x="15" y="4"/>
                    <a:pt x="18" y="4"/>
                  </a:cubicBezTo>
                  <a:cubicBezTo>
                    <a:pt x="21" y="4"/>
                    <a:pt x="24" y="7"/>
                    <a:pt x="24" y="10"/>
                  </a:cubicBezTo>
                  <a:cubicBezTo>
                    <a:pt x="24" y="14"/>
                    <a:pt x="21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5" y="17"/>
                    <a:pt x="12" y="14"/>
                    <a:pt x="12" y="10"/>
                  </a:cubicBezTo>
                  <a:moveTo>
                    <a:pt x="28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7" y="15"/>
                    <a:pt x="28" y="13"/>
                    <a:pt x="28" y="10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2" y="0"/>
                    <a:pt x="8" y="5"/>
                    <a:pt x="8" y="10"/>
                  </a:cubicBezTo>
                  <a:cubicBezTo>
                    <a:pt x="8" y="13"/>
                    <a:pt x="9" y="15"/>
                    <a:pt x="10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3" y="41"/>
                    <a:pt x="36" y="39"/>
                    <a:pt x="36" y="35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0"/>
                    <a:pt x="33" y="17"/>
                    <a:pt x="28" y="1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11">
              <a:extLst>
                <a:ext uri="{FF2B5EF4-FFF2-40B4-BE49-F238E27FC236}">
                  <a16:creationId xmlns:a16="http://schemas.microsoft.com/office/drawing/2014/main" id="{6665E7AE-07BB-4298-B0C1-11D1204A74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2876"/>
              <a:ext cx="88" cy="101"/>
            </a:xfrm>
            <a:custGeom>
              <a:avLst/>
              <a:gdLst>
                <a:gd name="T0" fmla="*/ 32 w 36"/>
                <a:gd name="T1" fmla="*/ 35 h 41"/>
                <a:gd name="T2" fmla="*/ 30 w 36"/>
                <a:gd name="T3" fmla="*/ 37 h 41"/>
                <a:gd name="T4" fmla="*/ 6 w 36"/>
                <a:gd name="T5" fmla="*/ 37 h 41"/>
                <a:gd name="T6" fmla="*/ 4 w 36"/>
                <a:gd name="T7" fmla="*/ 35 h 41"/>
                <a:gd name="T8" fmla="*/ 4 w 36"/>
                <a:gd name="T9" fmla="*/ 31 h 41"/>
                <a:gd name="T10" fmla="*/ 4 w 36"/>
                <a:gd name="T11" fmla="*/ 25 h 41"/>
                <a:gd name="T12" fmla="*/ 8 w 36"/>
                <a:gd name="T13" fmla="*/ 21 h 41"/>
                <a:gd name="T14" fmla="*/ 18 w 36"/>
                <a:gd name="T15" fmla="*/ 21 h 41"/>
                <a:gd name="T16" fmla="*/ 18 w 36"/>
                <a:gd name="T17" fmla="*/ 21 h 41"/>
                <a:gd name="T18" fmla="*/ 28 w 36"/>
                <a:gd name="T19" fmla="*/ 21 h 41"/>
                <a:gd name="T20" fmla="*/ 32 w 36"/>
                <a:gd name="T21" fmla="*/ 25 h 41"/>
                <a:gd name="T22" fmla="*/ 32 w 36"/>
                <a:gd name="T23" fmla="*/ 31 h 41"/>
                <a:gd name="T24" fmla="*/ 32 w 36"/>
                <a:gd name="T25" fmla="*/ 35 h 41"/>
                <a:gd name="T26" fmla="*/ 12 w 36"/>
                <a:gd name="T27" fmla="*/ 10 h 41"/>
                <a:gd name="T28" fmla="*/ 18 w 36"/>
                <a:gd name="T29" fmla="*/ 4 h 41"/>
                <a:gd name="T30" fmla="*/ 24 w 36"/>
                <a:gd name="T31" fmla="*/ 10 h 41"/>
                <a:gd name="T32" fmla="*/ 18 w 36"/>
                <a:gd name="T33" fmla="*/ 17 h 41"/>
                <a:gd name="T34" fmla="*/ 18 w 36"/>
                <a:gd name="T35" fmla="*/ 17 h 41"/>
                <a:gd name="T36" fmla="*/ 12 w 36"/>
                <a:gd name="T37" fmla="*/ 10 h 41"/>
                <a:gd name="T38" fmla="*/ 36 w 36"/>
                <a:gd name="T39" fmla="*/ 25 h 41"/>
                <a:gd name="T40" fmla="*/ 28 w 36"/>
                <a:gd name="T41" fmla="*/ 17 h 41"/>
                <a:gd name="T42" fmla="*/ 26 w 36"/>
                <a:gd name="T43" fmla="*/ 17 h 41"/>
                <a:gd name="T44" fmla="*/ 28 w 36"/>
                <a:gd name="T45" fmla="*/ 10 h 41"/>
                <a:gd name="T46" fmla="*/ 18 w 36"/>
                <a:gd name="T47" fmla="*/ 0 h 41"/>
                <a:gd name="T48" fmla="*/ 8 w 36"/>
                <a:gd name="T49" fmla="*/ 10 h 41"/>
                <a:gd name="T50" fmla="*/ 10 w 36"/>
                <a:gd name="T51" fmla="*/ 17 h 41"/>
                <a:gd name="T52" fmla="*/ 8 w 36"/>
                <a:gd name="T53" fmla="*/ 17 h 41"/>
                <a:gd name="T54" fmla="*/ 0 w 36"/>
                <a:gd name="T55" fmla="*/ 25 h 41"/>
                <a:gd name="T56" fmla="*/ 0 w 36"/>
                <a:gd name="T57" fmla="*/ 31 h 41"/>
                <a:gd name="T58" fmla="*/ 0 w 36"/>
                <a:gd name="T59" fmla="*/ 35 h 41"/>
                <a:gd name="T60" fmla="*/ 6 w 36"/>
                <a:gd name="T61" fmla="*/ 41 h 41"/>
                <a:gd name="T62" fmla="*/ 30 w 36"/>
                <a:gd name="T63" fmla="*/ 41 h 41"/>
                <a:gd name="T64" fmla="*/ 36 w 36"/>
                <a:gd name="T65" fmla="*/ 35 h 41"/>
                <a:gd name="T66" fmla="*/ 36 w 36"/>
                <a:gd name="T67" fmla="*/ 31 h 41"/>
                <a:gd name="T68" fmla="*/ 36 w 36"/>
                <a:gd name="T69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1">
                  <a:moveTo>
                    <a:pt x="32" y="35"/>
                  </a:moveTo>
                  <a:cubicBezTo>
                    <a:pt x="32" y="36"/>
                    <a:pt x="31" y="37"/>
                    <a:pt x="30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7"/>
                    <a:pt x="4" y="36"/>
                    <a:pt x="4" y="3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3"/>
                    <a:pt x="6" y="21"/>
                    <a:pt x="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2" y="23"/>
                    <a:pt x="32" y="25"/>
                  </a:cubicBezTo>
                  <a:cubicBezTo>
                    <a:pt x="32" y="31"/>
                    <a:pt x="32" y="31"/>
                    <a:pt x="32" y="31"/>
                  </a:cubicBezTo>
                  <a:lnTo>
                    <a:pt x="32" y="35"/>
                  </a:lnTo>
                  <a:close/>
                  <a:moveTo>
                    <a:pt x="12" y="10"/>
                  </a:moveTo>
                  <a:cubicBezTo>
                    <a:pt x="12" y="7"/>
                    <a:pt x="15" y="4"/>
                    <a:pt x="18" y="4"/>
                  </a:cubicBezTo>
                  <a:cubicBezTo>
                    <a:pt x="21" y="4"/>
                    <a:pt x="24" y="7"/>
                    <a:pt x="24" y="10"/>
                  </a:cubicBezTo>
                  <a:cubicBezTo>
                    <a:pt x="24" y="14"/>
                    <a:pt x="21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5" y="17"/>
                    <a:pt x="12" y="14"/>
                    <a:pt x="12" y="10"/>
                  </a:cubicBezTo>
                  <a:moveTo>
                    <a:pt x="36" y="25"/>
                  </a:moveTo>
                  <a:cubicBezTo>
                    <a:pt x="36" y="20"/>
                    <a:pt x="33" y="17"/>
                    <a:pt x="28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5"/>
                    <a:pt x="28" y="13"/>
                    <a:pt x="28" y="10"/>
                  </a:cubicBezTo>
                  <a:cubicBezTo>
                    <a:pt x="28" y="5"/>
                    <a:pt x="24" y="0"/>
                    <a:pt x="18" y="0"/>
                  </a:cubicBezTo>
                  <a:cubicBezTo>
                    <a:pt x="13" y="0"/>
                    <a:pt x="8" y="5"/>
                    <a:pt x="8" y="10"/>
                  </a:cubicBezTo>
                  <a:cubicBezTo>
                    <a:pt x="8" y="13"/>
                    <a:pt x="9" y="15"/>
                    <a:pt x="10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20"/>
                    <a:pt x="0" y="2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9"/>
                    <a:pt x="3" y="41"/>
                    <a:pt x="6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4" y="41"/>
                    <a:pt x="36" y="39"/>
                    <a:pt x="36" y="35"/>
                  </a:cubicBezTo>
                  <a:cubicBezTo>
                    <a:pt x="36" y="31"/>
                    <a:pt x="36" y="31"/>
                    <a:pt x="36" y="31"/>
                  </a:cubicBezTo>
                  <a:lnTo>
                    <a:pt x="36" y="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12">
              <a:extLst>
                <a:ext uri="{FF2B5EF4-FFF2-40B4-BE49-F238E27FC236}">
                  <a16:creationId xmlns:a16="http://schemas.microsoft.com/office/drawing/2014/main" id="{934D19C6-E3F9-4F18-BCD7-D4BAA60EA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" y="2712"/>
              <a:ext cx="319" cy="196"/>
            </a:xfrm>
            <a:custGeom>
              <a:avLst/>
              <a:gdLst>
                <a:gd name="T0" fmla="*/ 124 w 130"/>
                <a:gd name="T1" fmla="*/ 0 h 80"/>
                <a:gd name="T2" fmla="*/ 6 w 130"/>
                <a:gd name="T3" fmla="*/ 0 h 80"/>
                <a:gd name="T4" fmla="*/ 0 w 130"/>
                <a:gd name="T5" fmla="*/ 6 h 80"/>
                <a:gd name="T6" fmla="*/ 0 w 130"/>
                <a:gd name="T7" fmla="*/ 74 h 80"/>
                <a:gd name="T8" fmla="*/ 6 w 130"/>
                <a:gd name="T9" fmla="*/ 80 h 80"/>
                <a:gd name="T10" fmla="*/ 13 w 130"/>
                <a:gd name="T11" fmla="*/ 80 h 80"/>
                <a:gd name="T12" fmla="*/ 13 w 130"/>
                <a:gd name="T13" fmla="*/ 76 h 80"/>
                <a:gd name="T14" fmla="*/ 6 w 130"/>
                <a:gd name="T15" fmla="*/ 76 h 80"/>
                <a:gd name="T16" fmla="*/ 4 w 130"/>
                <a:gd name="T17" fmla="*/ 74 h 80"/>
                <a:gd name="T18" fmla="*/ 4 w 130"/>
                <a:gd name="T19" fmla="*/ 6 h 80"/>
                <a:gd name="T20" fmla="*/ 6 w 130"/>
                <a:gd name="T21" fmla="*/ 4 h 80"/>
                <a:gd name="T22" fmla="*/ 124 w 130"/>
                <a:gd name="T23" fmla="*/ 4 h 80"/>
                <a:gd name="T24" fmla="*/ 126 w 130"/>
                <a:gd name="T25" fmla="*/ 6 h 80"/>
                <a:gd name="T26" fmla="*/ 126 w 130"/>
                <a:gd name="T27" fmla="*/ 74 h 80"/>
                <a:gd name="T28" fmla="*/ 124 w 130"/>
                <a:gd name="T29" fmla="*/ 76 h 80"/>
                <a:gd name="T30" fmla="*/ 117 w 130"/>
                <a:gd name="T31" fmla="*/ 76 h 80"/>
                <a:gd name="T32" fmla="*/ 117 w 130"/>
                <a:gd name="T33" fmla="*/ 77 h 80"/>
                <a:gd name="T34" fmla="*/ 117 w 130"/>
                <a:gd name="T35" fmla="*/ 77 h 80"/>
                <a:gd name="T36" fmla="*/ 117 w 130"/>
                <a:gd name="T37" fmla="*/ 80 h 80"/>
                <a:gd name="T38" fmla="*/ 124 w 130"/>
                <a:gd name="T39" fmla="*/ 80 h 80"/>
                <a:gd name="T40" fmla="*/ 130 w 130"/>
                <a:gd name="T41" fmla="*/ 74 h 80"/>
                <a:gd name="T42" fmla="*/ 130 w 130"/>
                <a:gd name="T43" fmla="*/ 6 h 80"/>
                <a:gd name="T44" fmla="*/ 124 w 130"/>
                <a:gd name="T4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0" h="80">
                  <a:moveTo>
                    <a:pt x="12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7"/>
                    <a:pt x="3" y="80"/>
                    <a:pt x="6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4" y="75"/>
                    <a:pt x="4" y="7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5" y="4"/>
                    <a:pt x="126" y="4"/>
                    <a:pt x="126" y="6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75"/>
                    <a:pt x="125" y="76"/>
                    <a:pt x="124" y="76"/>
                  </a:cubicBezTo>
                  <a:cubicBezTo>
                    <a:pt x="117" y="76"/>
                    <a:pt x="117" y="76"/>
                    <a:pt x="117" y="76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7" y="80"/>
                    <a:pt x="130" y="77"/>
                    <a:pt x="130" y="74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0" y="2"/>
                    <a:pt x="127" y="0"/>
                    <a:pt x="1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13">
              <a:extLst>
                <a:ext uri="{FF2B5EF4-FFF2-40B4-BE49-F238E27FC236}">
                  <a16:creationId xmlns:a16="http://schemas.microsoft.com/office/drawing/2014/main" id="{A313842B-E562-4C7E-A729-25E904DC0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" y="2788"/>
              <a:ext cx="120" cy="95"/>
            </a:xfrm>
            <a:custGeom>
              <a:avLst/>
              <a:gdLst>
                <a:gd name="T0" fmla="*/ 38 w 49"/>
                <a:gd name="T1" fmla="*/ 0 h 39"/>
                <a:gd name="T2" fmla="*/ 5 w 49"/>
                <a:gd name="T3" fmla="*/ 0 h 39"/>
                <a:gd name="T4" fmla="*/ 0 w 49"/>
                <a:gd name="T5" fmla="*/ 4 h 39"/>
                <a:gd name="T6" fmla="*/ 4 w 49"/>
                <a:gd name="T7" fmla="*/ 10 h 39"/>
                <a:gd name="T8" fmla="*/ 20 w 49"/>
                <a:gd name="T9" fmla="*/ 13 h 39"/>
                <a:gd name="T10" fmla="*/ 20 w 49"/>
                <a:gd name="T11" fmla="*/ 29 h 39"/>
                <a:gd name="T12" fmla="*/ 24 w 49"/>
                <a:gd name="T13" fmla="*/ 31 h 39"/>
                <a:gd name="T14" fmla="*/ 24 w 49"/>
                <a:gd name="T15" fmla="*/ 12 h 39"/>
                <a:gd name="T16" fmla="*/ 22 w 49"/>
                <a:gd name="T17" fmla="*/ 10 h 39"/>
                <a:gd name="T18" fmla="*/ 22 w 49"/>
                <a:gd name="T19" fmla="*/ 10 h 39"/>
                <a:gd name="T20" fmla="*/ 5 w 49"/>
                <a:gd name="T21" fmla="*/ 6 h 39"/>
                <a:gd name="T22" fmla="*/ 4 w 49"/>
                <a:gd name="T23" fmla="*/ 4 h 39"/>
                <a:gd name="T24" fmla="*/ 5 w 49"/>
                <a:gd name="T25" fmla="*/ 4 h 39"/>
                <a:gd name="T26" fmla="*/ 38 w 49"/>
                <a:gd name="T27" fmla="*/ 4 h 39"/>
                <a:gd name="T28" fmla="*/ 45 w 49"/>
                <a:gd name="T29" fmla="*/ 10 h 39"/>
                <a:gd name="T30" fmla="*/ 45 w 49"/>
                <a:gd name="T31" fmla="*/ 22 h 39"/>
                <a:gd name="T32" fmla="*/ 41 w 49"/>
                <a:gd name="T33" fmla="*/ 27 h 39"/>
                <a:gd name="T34" fmla="*/ 41 w 49"/>
                <a:gd name="T35" fmla="*/ 12 h 39"/>
                <a:gd name="T36" fmla="*/ 38 w 49"/>
                <a:gd name="T37" fmla="*/ 10 h 39"/>
                <a:gd name="T38" fmla="*/ 36 w 49"/>
                <a:gd name="T39" fmla="*/ 12 h 39"/>
                <a:gd name="T40" fmla="*/ 36 w 49"/>
                <a:gd name="T41" fmla="*/ 39 h 39"/>
                <a:gd name="T42" fmla="*/ 41 w 49"/>
                <a:gd name="T43" fmla="*/ 37 h 39"/>
                <a:gd name="T44" fmla="*/ 41 w 49"/>
                <a:gd name="T45" fmla="*/ 31 h 39"/>
                <a:gd name="T46" fmla="*/ 49 w 49"/>
                <a:gd name="T47" fmla="*/ 22 h 39"/>
                <a:gd name="T48" fmla="*/ 49 w 49"/>
                <a:gd name="T49" fmla="*/ 10 h 39"/>
                <a:gd name="T50" fmla="*/ 38 w 49"/>
                <a:gd name="T5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" h="39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1" y="9"/>
                    <a:pt x="4" y="10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42" y="4"/>
                    <a:pt x="45" y="6"/>
                    <a:pt x="45" y="10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4"/>
                    <a:pt x="43" y="26"/>
                    <a:pt x="41" y="27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0"/>
                    <a:pt x="40" y="10"/>
                    <a:pt x="38" y="10"/>
                  </a:cubicBezTo>
                  <a:cubicBezTo>
                    <a:pt x="37" y="10"/>
                    <a:pt x="36" y="10"/>
                    <a:pt x="36" y="12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8" y="38"/>
                    <a:pt x="39" y="37"/>
                    <a:pt x="41" y="37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5" y="30"/>
                    <a:pt x="49" y="26"/>
                    <a:pt x="49" y="22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44" y="0"/>
                    <a:pt x="3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14">
              <a:extLst>
                <a:ext uri="{FF2B5EF4-FFF2-40B4-BE49-F238E27FC236}">
                  <a16:creationId xmlns:a16="http://schemas.microsoft.com/office/drawing/2014/main" id="{45F4F27E-726A-4F39-BE12-7CF108885E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" y="2736"/>
              <a:ext cx="39" cy="37"/>
            </a:xfrm>
            <a:custGeom>
              <a:avLst/>
              <a:gdLst>
                <a:gd name="T0" fmla="*/ 8 w 16"/>
                <a:gd name="T1" fmla="*/ 4 h 15"/>
                <a:gd name="T2" fmla="*/ 12 w 16"/>
                <a:gd name="T3" fmla="*/ 8 h 15"/>
                <a:gd name="T4" fmla="*/ 8 w 16"/>
                <a:gd name="T5" fmla="*/ 12 h 15"/>
                <a:gd name="T6" fmla="*/ 4 w 16"/>
                <a:gd name="T7" fmla="*/ 8 h 15"/>
                <a:gd name="T8" fmla="*/ 8 w 16"/>
                <a:gd name="T9" fmla="*/ 4 h 15"/>
                <a:gd name="T10" fmla="*/ 8 w 16"/>
                <a:gd name="T11" fmla="*/ 15 h 15"/>
                <a:gd name="T12" fmla="*/ 16 w 16"/>
                <a:gd name="T13" fmla="*/ 8 h 15"/>
                <a:gd name="T14" fmla="*/ 8 w 16"/>
                <a:gd name="T15" fmla="*/ 0 h 15"/>
                <a:gd name="T16" fmla="*/ 0 w 16"/>
                <a:gd name="T17" fmla="*/ 8 h 15"/>
                <a:gd name="T18" fmla="*/ 8 w 16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5">
                  <a:moveTo>
                    <a:pt x="8" y="4"/>
                  </a:moveTo>
                  <a:cubicBezTo>
                    <a:pt x="10" y="4"/>
                    <a:pt x="12" y="6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6" y="12"/>
                    <a:pt x="4" y="10"/>
                    <a:pt x="4" y="8"/>
                  </a:cubicBezTo>
                  <a:cubicBezTo>
                    <a:pt x="4" y="6"/>
                    <a:pt x="6" y="4"/>
                    <a:pt x="8" y="4"/>
                  </a:cubicBezTo>
                  <a:moveTo>
                    <a:pt x="8" y="15"/>
                  </a:moveTo>
                  <a:cubicBezTo>
                    <a:pt x="12" y="15"/>
                    <a:pt x="16" y="12"/>
                    <a:pt x="16" y="8"/>
                  </a:cubicBezTo>
                  <a:cubicBezTo>
                    <a:pt x="16" y="3"/>
                    <a:pt x="12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5"/>
                    <a:pt x="8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8" name="Group 217">
            <a:extLst>
              <a:ext uri="{FF2B5EF4-FFF2-40B4-BE49-F238E27FC236}">
                <a16:creationId xmlns:a16="http://schemas.microsoft.com/office/drawing/2014/main" id="{948F36FE-B6CE-4B11-AC12-FAC42B1C19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5838" y="4092575"/>
            <a:ext cx="841375" cy="841375"/>
            <a:chOff x="3021" y="2578"/>
            <a:chExt cx="530" cy="530"/>
          </a:xfrm>
        </p:grpSpPr>
        <p:sp>
          <p:nvSpPr>
            <p:cNvPr id="229" name="AutoShape 216">
              <a:extLst>
                <a:ext uri="{FF2B5EF4-FFF2-40B4-BE49-F238E27FC236}">
                  <a16:creationId xmlns:a16="http://schemas.microsoft.com/office/drawing/2014/main" id="{94AAF79B-AD61-4A5A-91A8-2C0E7D4A2B0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1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Oval 218">
              <a:extLst>
                <a:ext uri="{FF2B5EF4-FFF2-40B4-BE49-F238E27FC236}">
                  <a16:creationId xmlns:a16="http://schemas.microsoft.com/office/drawing/2014/main" id="{3F0C53A4-3607-4745-A108-4F9B306E1E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19">
              <a:extLst>
                <a:ext uri="{FF2B5EF4-FFF2-40B4-BE49-F238E27FC236}">
                  <a16:creationId xmlns:a16="http://schemas.microsoft.com/office/drawing/2014/main" id="{0092C130-D431-461D-9C45-6064DC8BE8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20">
              <a:extLst>
                <a:ext uri="{FF2B5EF4-FFF2-40B4-BE49-F238E27FC236}">
                  <a16:creationId xmlns:a16="http://schemas.microsoft.com/office/drawing/2014/main" id="{8ED99561-F6B7-44AE-853C-9A212A82B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4" y="2819"/>
              <a:ext cx="246" cy="207"/>
            </a:xfrm>
            <a:custGeom>
              <a:avLst/>
              <a:gdLst>
                <a:gd name="T0" fmla="*/ 94 w 96"/>
                <a:gd name="T1" fmla="*/ 24 h 81"/>
                <a:gd name="T2" fmla="*/ 86 w 96"/>
                <a:gd name="T3" fmla="*/ 9 h 81"/>
                <a:gd name="T4" fmla="*/ 86 w 96"/>
                <a:gd name="T5" fmla="*/ 7 h 81"/>
                <a:gd name="T6" fmla="*/ 87 w 96"/>
                <a:gd name="T7" fmla="*/ 2 h 81"/>
                <a:gd name="T8" fmla="*/ 83 w 96"/>
                <a:gd name="T9" fmla="*/ 2 h 81"/>
                <a:gd name="T10" fmla="*/ 83 w 96"/>
                <a:gd name="T11" fmla="*/ 6 h 81"/>
                <a:gd name="T12" fmla="*/ 83 w 96"/>
                <a:gd name="T13" fmla="*/ 11 h 81"/>
                <a:gd name="T14" fmla="*/ 91 w 96"/>
                <a:gd name="T15" fmla="*/ 26 h 81"/>
                <a:gd name="T16" fmla="*/ 92 w 96"/>
                <a:gd name="T17" fmla="*/ 28 h 81"/>
                <a:gd name="T18" fmla="*/ 93 w 96"/>
                <a:gd name="T19" fmla="*/ 28 h 81"/>
                <a:gd name="T20" fmla="*/ 89 w 96"/>
                <a:gd name="T21" fmla="*/ 30 h 81"/>
                <a:gd name="T22" fmla="*/ 87 w 96"/>
                <a:gd name="T23" fmla="*/ 31 h 81"/>
                <a:gd name="T24" fmla="*/ 83 w 96"/>
                <a:gd name="T25" fmla="*/ 35 h 81"/>
                <a:gd name="T26" fmla="*/ 84 w 96"/>
                <a:gd name="T27" fmla="*/ 38 h 81"/>
                <a:gd name="T28" fmla="*/ 85 w 96"/>
                <a:gd name="T29" fmla="*/ 39 h 81"/>
                <a:gd name="T30" fmla="*/ 84 w 96"/>
                <a:gd name="T31" fmla="*/ 40 h 81"/>
                <a:gd name="T32" fmla="*/ 82 w 96"/>
                <a:gd name="T33" fmla="*/ 41 h 81"/>
                <a:gd name="T34" fmla="*/ 83 w 96"/>
                <a:gd name="T35" fmla="*/ 43 h 81"/>
                <a:gd name="T36" fmla="*/ 84 w 96"/>
                <a:gd name="T37" fmla="*/ 45 h 81"/>
                <a:gd name="T38" fmla="*/ 83 w 96"/>
                <a:gd name="T39" fmla="*/ 46 h 81"/>
                <a:gd name="T40" fmla="*/ 80 w 96"/>
                <a:gd name="T41" fmla="*/ 47 h 81"/>
                <a:gd name="T42" fmla="*/ 80 w 96"/>
                <a:gd name="T43" fmla="*/ 50 h 81"/>
                <a:gd name="T44" fmla="*/ 80 w 96"/>
                <a:gd name="T45" fmla="*/ 56 h 81"/>
                <a:gd name="T46" fmla="*/ 64 w 96"/>
                <a:gd name="T47" fmla="*/ 61 h 81"/>
                <a:gd name="T48" fmla="*/ 59 w 96"/>
                <a:gd name="T49" fmla="*/ 63 h 81"/>
                <a:gd name="T50" fmla="*/ 56 w 96"/>
                <a:gd name="T51" fmla="*/ 77 h 81"/>
                <a:gd name="T52" fmla="*/ 13 w 96"/>
                <a:gd name="T53" fmla="*/ 67 h 81"/>
                <a:gd name="T54" fmla="*/ 19 w 96"/>
                <a:gd name="T55" fmla="*/ 60 h 81"/>
                <a:gd name="T56" fmla="*/ 21 w 96"/>
                <a:gd name="T57" fmla="*/ 49 h 81"/>
                <a:gd name="T58" fmla="*/ 4 w 96"/>
                <a:gd name="T59" fmla="*/ 0 h 81"/>
                <a:gd name="T60" fmla="*/ 1 w 96"/>
                <a:gd name="T61" fmla="*/ 0 h 81"/>
                <a:gd name="T62" fmla="*/ 18 w 96"/>
                <a:gd name="T63" fmla="*/ 51 h 81"/>
                <a:gd name="T64" fmla="*/ 17 w 96"/>
                <a:gd name="T65" fmla="*/ 58 h 81"/>
                <a:gd name="T66" fmla="*/ 6 w 96"/>
                <a:gd name="T67" fmla="*/ 69 h 81"/>
                <a:gd name="T68" fmla="*/ 60 w 96"/>
                <a:gd name="T69" fmla="*/ 81 h 81"/>
                <a:gd name="T70" fmla="*/ 60 w 96"/>
                <a:gd name="T71" fmla="*/ 79 h 81"/>
                <a:gd name="T72" fmla="*/ 62 w 96"/>
                <a:gd name="T73" fmla="*/ 66 h 81"/>
                <a:gd name="T74" fmla="*/ 64 w 96"/>
                <a:gd name="T75" fmla="*/ 65 h 81"/>
                <a:gd name="T76" fmla="*/ 83 w 96"/>
                <a:gd name="T77" fmla="*/ 57 h 81"/>
                <a:gd name="T78" fmla="*/ 84 w 96"/>
                <a:gd name="T79" fmla="*/ 49 h 81"/>
                <a:gd name="T80" fmla="*/ 84 w 96"/>
                <a:gd name="T81" fmla="*/ 49 h 81"/>
                <a:gd name="T82" fmla="*/ 87 w 96"/>
                <a:gd name="T83" fmla="*/ 46 h 81"/>
                <a:gd name="T84" fmla="*/ 87 w 96"/>
                <a:gd name="T85" fmla="*/ 42 h 81"/>
                <a:gd name="T86" fmla="*/ 89 w 96"/>
                <a:gd name="T87" fmla="*/ 40 h 81"/>
                <a:gd name="T88" fmla="*/ 87 w 96"/>
                <a:gd name="T89" fmla="*/ 36 h 81"/>
                <a:gd name="T90" fmla="*/ 87 w 96"/>
                <a:gd name="T91" fmla="*/ 35 h 81"/>
                <a:gd name="T92" fmla="*/ 88 w 96"/>
                <a:gd name="T93" fmla="*/ 34 h 81"/>
                <a:gd name="T94" fmla="*/ 90 w 96"/>
                <a:gd name="T95" fmla="*/ 34 h 81"/>
                <a:gd name="T96" fmla="*/ 96 w 96"/>
                <a:gd name="T97" fmla="*/ 30 h 81"/>
                <a:gd name="T98" fmla="*/ 95 w 96"/>
                <a:gd name="T99" fmla="*/ 26 h 81"/>
                <a:gd name="T100" fmla="*/ 94 w 96"/>
                <a:gd name="T101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" h="81">
                  <a:moveTo>
                    <a:pt x="94" y="24"/>
                  </a:moveTo>
                  <a:cubicBezTo>
                    <a:pt x="92" y="20"/>
                    <a:pt x="87" y="12"/>
                    <a:pt x="86" y="9"/>
                  </a:cubicBezTo>
                  <a:cubicBezTo>
                    <a:pt x="85" y="9"/>
                    <a:pt x="85" y="8"/>
                    <a:pt x="86" y="7"/>
                  </a:cubicBezTo>
                  <a:cubicBezTo>
                    <a:pt x="86" y="6"/>
                    <a:pt x="87" y="4"/>
                    <a:pt x="87" y="2"/>
                  </a:cubicBezTo>
                  <a:cubicBezTo>
                    <a:pt x="86" y="2"/>
                    <a:pt x="85" y="2"/>
                    <a:pt x="83" y="2"/>
                  </a:cubicBezTo>
                  <a:cubicBezTo>
                    <a:pt x="84" y="4"/>
                    <a:pt x="83" y="5"/>
                    <a:pt x="83" y="6"/>
                  </a:cubicBezTo>
                  <a:cubicBezTo>
                    <a:pt x="82" y="7"/>
                    <a:pt x="82" y="9"/>
                    <a:pt x="83" y="11"/>
                  </a:cubicBezTo>
                  <a:cubicBezTo>
                    <a:pt x="84" y="14"/>
                    <a:pt x="89" y="22"/>
                    <a:pt x="91" y="26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3" y="28"/>
                    <a:pt x="93" y="28"/>
                  </a:cubicBezTo>
                  <a:cubicBezTo>
                    <a:pt x="92" y="29"/>
                    <a:pt x="90" y="30"/>
                    <a:pt x="89" y="30"/>
                  </a:cubicBezTo>
                  <a:cubicBezTo>
                    <a:pt x="88" y="31"/>
                    <a:pt x="87" y="31"/>
                    <a:pt x="87" y="31"/>
                  </a:cubicBezTo>
                  <a:cubicBezTo>
                    <a:pt x="85" y="32"/>
                    <a:pt x="84" y="33"/>
                    <a:pt x="83" y="35"/>
                  </a:cubicBezTo>
                  <a:cubicBezTo>
                    <a:pt x="83" y="36"/>
                    <a:pt x="83" y="37"/>
                    <a:pt x="84" y="38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9"/>
                    <a:pt x="85" y="40"/>
                    <a:pt x="84" y="40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4" y="44"/>
                    <a:pt x="84" y="45"/>
                    <a:pt x="84" y="45"/>
                  </a:cubicBezTo>
                  <a:cubicBezTo>
                    <a:pt x="84" y="45"/>
                    <a:pt x="84" y="46"/>
                    <a:pt x="83" y="46"/>
                  </a:cubicBezTo>
                  <a:cubicBezTo>
                    <a:pt x="82" y="46"/>
                    <a:pt x="81" y="46"/>
                    <a:pt x="80" y="47"/>
                  </a:cubicBezTo>
                  <a:cubicBezTo>
                    <a:pt x="80" y="48"/>
                    <a:pt x="80" y="49"/>
                    <a:pt x="80" y="50"/>
                  </a:cubicBezTo>
                  <a:cubicBezTo>
                    <a:pt x="81" y="51"/>
                    <a:pt x="81" y="53"/>
                    <a:pt x="80" y="56"/>
                  </a:cubicBezTo>
                  <a:cubicBezTo>
                    <a:pt x="78" y="61"/>
                    <a:pt x="68" y="62"/>
                    <a:pt x="64" y="61"/>
                  </a:cubicBezTo>
                  <a:cubicBezTo>
                    <a:pt x="62" y="61"/>
                    <a:pt x="61" y="62"/>
                    <a:pt x="59" y="63"/>
                  </a:cubicBezTo>
                  <a:cubicBezTo>
                    <a:pt x="56" y="66"/>
                    <a:pt x="56" y="73"/>
                    <a:pt x="56" y="77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1" y="59"/>
                    <a:pt x="24" y="54"/>
                    <a:pt x="21" y="49"/>
                  </a:cubicBezTo>
                  <a:cubicBezTo>
                    <a:pt x="12" y="35"/>
                    <a:pt x="3" y="16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5"/>
                    <a:pt x="6" y="32"/>
                    <a:pt x="18" y="51"/>
                  </a:cubicBezTo>
                  <a:cubicBezTo>
                    <a:pt x="20" y="55"/>
                    <a:pt x="17" y="57"/>
                    <a:pt x="17" y="58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75"/>
                    <a:pt x="59" y="68"/>
                    <a:pt x="62" y="66"/>
                  </a:cubicBezTo>
                  <a:cubicBezTo>
                    <a:pt x="62" y="65"/>
                    <a:pt x="63" y="65"/>
                    <a:pt x="64" y="65"/>
                  </a:cubicBezTo>
                  <a:cubicBezTo>
                    <a:pt x="65" y="65"/>
                    <a:pt x="80" y="66"/>
                    <a:pt x="83" y="57"/>
                  </a:cubicBezTo>
                  <a:cubicBezTo>
                    <a:pt x="85" y="53"/>
                    <a:pt x="84" y="51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6" y="48"/>
                    <a:pt x="87" y="47"/>
                    <a:pt x="87" y="46"/>
                  </a:cubicBezTo>
                  <a:cubicBezTo>
                    <a:pt x="88" y="45"/>
                    <a:pt x="88" y="43"/>
                    <a:pt x="87" y="42"/>
                  </a:cubicBezTo>
                  <a:cubicBezTo>
                    <a:pt x="88" y="42"/>
                    <a:pt x="88" y="41"/>
                    <a:pt x="89" y="40"/>
                  </a:cubicBezTo>
                  <a:cubicBezTo>
                    <a:pt x="89" y="38"/>
                    <a:pt x="87" y="36"/>
                    <a:pt x="87" y="36"/>
                  </a:cubicBezTo>
                  <a:cubicBezTo>
                    <a:pt x="87" y="36"/>
                    <a:pt x="87" y="35"/>
                    <a:pt x="87" y="35"/>
                  </a:cubicBezTo>
                  <a:cubicBezTo>
                    <a:pt x="87" y="35"/>
                    <a:pt x="87" y="35"/>
                    <a:pt x="88" y="34"/>
                  </a:cubicBezTo>
                  <a:cubicBezTo>
                    <a:pt x="89" y="34"/>
                    <a:pt x="89" y="34"/>
                    <a:pt x="90" y="34"/>
                  </a:cubicBezTo>
                  <a:cubicBezTo>
                    <a:pt x="92" y="33"/>
                    <a:pt x="95" y="32"/>
                    <a:pt x="96" y="30"/>
                  </a:cubicBezTo>
                  <a:cubicBezTo>
                    <a:pt x="96" y="29"/>
                    <a:pt x="96" y="27"/>
                    <a:pt x="95" y="26"/>
                  </a:cubicBezTo>
                  <a:lnTo>
                    <a:pt x="94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21">
              <a:extLst>
                <a:ext uri="{FF2B5EF4-FFF2-40B4-BE49-F238E27FC236}">
                  <a16:creationId xmlns:a16="http://schemas.microsoft.com/office/drawing/2014/main" id="{2CFC5399-7EA2-4618-90B6-7DA51AE06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" y="2836"/>
              <a:ext cx="84" cy="136"/>
            </a:xfrm>
            <a:custGeom>
              <a:avLst/>
              <a:gdLst>
                <a:gd name="T0" fmla="*/ 2 w 33"/>
                <a:gd name="T1" fmla="*/ 53 h 53"/>
                <a:gd name="T2" fmla="*/ 0 w 33"/>
                <a:gd name="T3" fmla="*/ 51 h 53"/>
                <a:gd name="T4" fmla="*/ 21 w 33"/>
                <a:gd name="T5" fmla="*/ 26 h 53"/>
                <a:gd name="T6" fmla="*/ 11 w 33"/>
                <a:gd name="T7" fmla="*/ 17 h 53"/>
                <a:gd name="T8" fmla="*/ 10 w 33"/>
                <a:gd name="T9" fmla="*/ 6 h 53"/>
                <a:gd name="T10" fmla="*/ 17 w 33"/>
                <a:gd name="T11" fmla="*/ 1 h 53"/>
                <a:gd name="T12" fmla="*/ 27 w 33"/>
                <a:gd name="T13" fmla="*/ 7 h 53"/>
                <a:gd name="T14" fmla="*/ 33 w 33"/>
                <a:gd name="T15" fmla="*/ 15 h 53"/>
                <a:gd name="T16" fmla="*/ 30 w 33"/>
                <a:gd name="T17" fmla="*/ 17 h 53"/>
                <a:gd name="T18" fmla="*/ 25 w 33"/>
                <a:gd name="T19" fmla="*/ 9 h 53"/>
                <a:gd name="T20" fmla="*/ 18 w 33"/>
                <a:gd name="T21" fmla="*/ 5 h 53"/>
                <a:gd name="T22" fmla="*/ 13 w 33"/>
                <a:gd name="T23" fmla="*/ 8 h 53"/>
                <a:gd name="T24" fmla="*/ 14 w 33"/>
                <a:gd name="T25" fmla="*/ 16 h 53"/>
                <a:gd name="T26" fmla="*/ 24 w 33"/>
                <a:gd name="T27" fmla="*/ 23 h 53"/>
                <a:gd name="T28" fmla="*/ 28 w 33"/>
                <a:gd name="T29" fmla="*/ 23 h 53"/>
                <a:gd name="T30" fmla="*/ 2 w 3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53">
                  <a:moveTo>
                    <a:pt x="2" y="53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8" y="26"/>
                    <a:pt x="14" y="23"/>
                    <a:pt x="11" y="17"/>
                  </a:cubicBezTo>
                  <a:cubicBezTo>
                    <a:pt x="8" y="12"/>
                    <a:pt x="9" y="9"/>
                    <a:pt x="10" y="6"/>
                  </a:cubicBezTo>
                  <a:cubicBezTo>
                    <a:pt x="11" y="4"/>
                    <a:pt x="14" y="2"/>
                    <a:pt x="17" y="1"/>
                  </a:cubicBezTo>
                  <a:cubicBezTo>
                    <a:pt x="22" y="0"/>
                    <a:pt x="27" y="6"/>
                    <a:pt x="27" y="7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8"/>
                    <a:pt x="20" y="4"/>
                    <a:pt x="18" y="5"/>
                  </a:cubicBezTo>
                  <a:cubicBezTo>
                    <a:pt x="17" y="5"/>
                    <a:pt x="14" y="6"/>
                    <a:pt x="13" y="8"/>
                  </a:cubicBezTo>
                  <a:cubicBezTo>
                    <a:pt x="12" y="10"/>
                    <a:pt x="12" y="13"/>
                    <a:pt x="14" y="16"/>
                  </a:cubicBezTo>
                  <a:cubicBezTo>
                    <a:pt x="17" y="24"/>
                    <a:pt x="24" y="23"/>
                    <a:pt x="24" y="23"/>
                  </a:cubicBezTo>
                  <a:cubicBezTo>
                    <a:pt x="28" y="23"/>
                    <a:pt x="28" y="23"/>
                    <a:pt x="28" y="23"/>
                  </a:cubicBezTo>
                  <a:lnTo>
                    <a:pt x="2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22">
              <a:extLst>
                <a:ext uri="{FF2B5EF4-FFF2-40B4-BE49-F238E27FC236}">
                  <a16:creationId xmlns:a16="http://schemas.microsoft.com/office/drawing/2014/main" id="{5D292B11-CD93-44B0-8219-8353A61D6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9" y="2811"/>
              <a:ext cx="28" cy="5"/>
            </a:xfrm>
            <a:custGeom>
              <a:avLst/>
              <a:gdLst>
                <a:gd name="T0" fmla="*/ 10 w 11"/>
                <a:gd name="T1" fmla="*/ 2 h 2"/>
                <a:gd name="T2" fmla="*/ 11 w 11"/>
                <a:gd name="T3" fmla="*/ 2 h 2"/>
                <a:gd name="T4" fmla="*/ 0 w 11"/>
                <a:gd name="T5" fmla="*/ 0 h 2"/>
                <a:gd name="T6" fmla="*/ 10 w 1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8" y="1"/>
                    <a:pt x="4" y="1"/>
                    <a:pt x="0" y="0"/>
                  </a:cubicBezTo>
                  <a:cubicBezTo>
                    <a:pt x="4" y="1"/>
                    <a:pt x="7" y="2"/>
                    <a:pt x="1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23">
              <a:extLst>
                <a:ext uri="{FF2B5EF4-FFF2-40B4-BE49-F238E27FC236}">
                  <a16:creationId xmlns:a16="http://schemas.microsoft.com/office/drawing/2014/main" id="{C87D0435-8359-4F68-8AF5-345D1D5D0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2770"/>
              <a:ext cx="89" cy="46"/>
            </a:xfrm>
            <a:custGeom>
              <a:avLst/>
              <a:gdLst>
                <a:gd name="T0" fmla="*/ 35 w 35"/>
                <a:gd name="T1" fmla="*/ 11 h 18"/>
                <a:gd name="T2" fmla="*/ 30 w 35"/>
                <a:gd name="T3" fmla="*/ 10 h 18"/>
                <a:gd name="T4" fmla="*/ 21 w 35"/>
                <a:gd name="T5" fmla="*/ 5 h 18"/>
                <a:gd name="T6" fmla="*/ 34 w 35"/>
                <a:gd name="T7" fmla="*/ 3 h 18"/>
                <a:gd name="T8" fmla="*/ 33 w 35"/>
                <a:gd name="T9" fmla="*/ 0 h 18"/>
                <a:gd name="T10" fmla="*/ 17 w 35"/>
                <a:gd name="T11" fmla="*/ 2 h 18"/>
                <a:gd name="T12" fmla="*/ 13 w 35"/>
                <a:gd name="T13" fmla="*/ 2 h 18"/>
                <a:gd name="T14" fmla="*/ 16 w 35"/>
                <a:gd name="T15" fmla="*/ 5 h 18"/>
                <a:gd name="T16" fmla="*/ 25 w 35"/>
                <a:gd name="T17" fmla="*/ 12 h 18"/>
                <a:gd name="T18" fmla="*/ 1 w 35"/>
                <a:gd name="T19" fmla="*/ 13 h 18"/>
                <a:gd name="T20" fmla="*/ 0 w 35"/>
                <a:gd name="T21" fmla="*/ 16 h 18"/>
                <a:gd name="T22" fmla="*/ 1 w 35"/>
                <a:gd name="T23" fmla="*/ 16 h 18"/>
                <a:gd name="T24" fmla="*/ 12 w 35"/>
                <a:gd name="T25" fmla="*/ 18 h 18"/>
                <a:gd name="T26" fmla="*/ 31 w 35"/>
                <a:gd name="T27" fmla="*/ 13 h 18"/>
                <a:gd name="T28" fmla="*/ 35 w 35"/>
                <a:gd name="T2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18">
                  <a:moveTo>
                    <a:pt x="35" y="11"/>
                  </a:moveTo>
                  <a:cubicBezTo>
                    <a:pt x="30" y="10"/>
                    <a:pt x="30" y="10"/>
                    <a:pt x="30" y="10"/>
                  </a:cubicBezTo>
                  <a:cubicBezTo>
                    <a:pt x="27" y="9"/>
                    <a:pt x="23" y="7"/>
                    <a:pt x="21" y="5"/>
                  </a:cubicBezTo>
                  <a:cubicBezTo>
                    <a:pt x="27" y="5"/>
                    <a:pt x="33" y="3"/>
                    <a:pt x="34" y="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24" y="2"/>
                    <a:pt x="17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20" y="9"/>
                    <a:pt x="25" y="12"/>
                  </a:cubicBezTo>
                  <a:cubicBezTo>
                    <a:pt x="20" y="14"/>
                    <a:pt x="10" y="16"/>
                    <a:pt x="1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1" y="16"/>
                    <a:pt x="1" y="16"/>
                  </a:cubicBezTo>
                  <a:cubicBezTo>
                    <a:pt x="5" y="17"/>
                    <a:pt x="9" y="17"/>
                    <a:pt x="12" y="18"/>
                  </a:cubicBezTo>
                  <a:cubicBezTo>
                    <a:pt x="23" y="17"/>
                    <a:pt x="31" y="13"/>
                    <a:pt x="31" y="13"/>
                  </a:cubicBezTo>
                  <a:lnTo>
                    <a:pt x="3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24">
              <a:extLst>
                <a:ext uri="{FF2B5EF4-FFF2-40B4-BE49-F238E27FC236}">
                  <a16:creationId xmlns:a16="http://schemas.microsoft.com/office/drawing/2014/main" id="{CCFF0FB4-1326-4F0E-93DB-E2C7B71DC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6" y="2657"/>
              <a:ext cx="322" cy="177"/>
            </a:xfrm>
            <a:custGeom>
              <a:avLst/>
              <a:gdLst>
                <a:gd name="T0" fmla="*/ 39 w 126"/>
                <a:gd name="T1" fmla="*/ 60 h 69"/>
                <a:gd name="T2" fmla="*/ 4 w 126"/>
                <a:gd name="T3" fmla="*/ 65 h 69"/>
                <a:gd name="T4" fmla="*/ 49 w 126"/>
                <a:gd name="T5" fmla="*/ 5 h 69"/>
                <a:gd name="T6" fmla="*/ 97 w 126"/>
                <a:gd name="T7" fmla="*/ 20 h 69"/>
                <a:gd name="T8" fmla="*/ 105 w 126"/>
                <a:gd name="T9" fmla="*/ 22 h 69"/>
                <a:gd name="T10" fmla="*/ 106 w 126"/>
                <a:gd name="T11" fmla="*/ 51 h 69"/>
                <a:gd name="T12" fmla="*/ 122 w 126"/>
                <a:gd name="T13" fmla="*/ 65 h 69"/>
                <a:gd name="T14" fmla="*/ 39 w 126"/>
                <a:gd name="T15" fmla="*/ 60 h 69"/>
                <a:gd name="T16" fmla="*/ 108 w 126"/>
                <a:gd name="T17" fmla="*/ 50 h 69"/>
                <a:gd name="T18" fmla="*/ 106 w 126"/>
                <a:gd name="T19" fmla="*/ 21 h 69"/>
                <a:gd name="T20" fmla="*/ 98 w 126"/>
                <a:gd name="T21" fmla="*/ 19 h 69"/>
                <a:gd name="T22" fmla="*/ 49 w 126"/>
                <a:gd name="T23" fmla="*/ 3 h 69"/>
                <a:gd name="T24" fmla="*/ 14 w 126"/>
                <a:gd name="T25" fmla="*/ 21 h 69"/>
                <a:gd name="T26" fmla="*/ 3 w 126"/>
                <a:gd name="T27" fmla="*/ 65 h 69"/>
                <a:gd name="T28" fmla="*/ 3 w 126"/>
                <a:gd name="T29" fmla="*/ 67 h 69"/>
                <a:gd name="T30" fmla="*/ 5 w 126"/>
                <a:gd name="T31" fmla="*/ 66 h 69"/>
                <a:gd name="T32" fmla="*/ 39 w 126"/>
                <a:gd name="T33" fmla="*/ 62 h 69"/>
                <a:gd name="T34" fmla="*/ 72 w 126"/>
                <a:gd name="T35" fmla="*/ 64 h 69"/>
                <a:gd name="T36" fmla="*/ 107 w 126"/>
                <a:gd name="T37" fmla="*/ 67 h 69"/>
                <a:gd name="T38" fmla="*/ 123 w 126"/>
                <a:gd name="T39" fmla="*/ 66 h 69"/>
                <a:gd name="T40" fmla="*/ 126 w 126"/>
                <a:gd name="T41" fmla="*/ 66 h 69"/>
                <a:gd name="T42" fmla="*/ 108 w 126"/>
                <a:gd name="T43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6" h="69">
                  <a:moveTo>
                    <a:pt x="39" y="60"/>
                  </a:moveTo>
                  <a:cubicBezTo>
                    <a:pt x="14" y="62"/>
                    <a:pt x="4" y="65"/>
                    <a:pt x="4" y="65"/>
                  </a:cubicBezTo>
                  <a:cubicBezTo>
                    <a:pt x="1" y="43"/>
                    <a:pt x="13" y="8"/>
                    <a:pt x="49" y="5"/>
                  </a:cubicBezTo>
                  <a:cubicBezTo>
                    <a:pt x="85" y="1"/>
                    <a:pt x="97" y="20"/>
                    <a:pt x="97" y="20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90" y="69"/>
                    <a:pt x="63" y="58"/>
                    <a:pt x="39" y="60"/>
                  </a:cubicBezTo>
                  <a:moveTo>
                    <a:pt x="108" y="50"/>
                  </a:moveTo>
                  <a:cubicBezTo>
                    <a:pt x="106" y="21"/>
                    <a:pt x="106" y="21"/>
                    <a:pt x="106" y="21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5" y="15"/>
                    <a:pt x="82" y="0"/>
                    <a:pt x="49" y="3"/>
                  </a:cubicBezTo>
                  <a:cubicBezTo>
                    <a:pt x="35" y="4"/>
                    <a:pt x="23" y="11"/>
                    <a:pt x="14" y="21"/>
                  </a:cubicBezTo>
                  <a:cubicBezTo>
                    <a:pt x="5" y="33"/>
                    <a:pt x="0" y="50"/>
                    <a:pt x="3" y="65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15" y="64"/>
                    <a:pt x="39" y="62"/>
                  </a:cubicBezTo>
                  <a:cubicBezTo>
                    <a:pt x="49" y="61"/>
                    <a:pt x="60" y="62"/>
                    <a:pt x="72" y="64"/>
                  </a:cubicBezTo>
                  <a:cubicBezTo>
                    <a:pt x="83" y="66"/>
                    <a:pt x="94" y="67"/>
                    <a:pt x="107" y="67"/>
                  </a:cubicBezTo>
                  <a:cubicBezTo>
                    <a:pt x="112" y="67"/>
                    <a:pt x="117" y="67"/>
                    <a:pt x="123" y="66"/>
                  </a:cubicBezTo>
                  <a:cubicBezTo>
                    <a:pt x="126" y="66"/>
                    <a:pt x="126" y="66"/>
                    <a:pt x="126" y="66"/>
                  </a:cubicBezTo>
                  <a:lnTo>
                    <a:pt x="108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25">
              <a:extLst>
                <a:ext uri="{FF2B5EF4-FFF2-40B4-BE49-F238E27FC236}">
                  <a16:creationId xmlns:a16="http://schemas.microsoft.com/office/drawing/2014/main" id="{01BBD1AE-95FE-475A-ACA4-EF66A4D3A7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8" y="2660"/>
              <a:ext cx="310" cy="174"/>
            </a:xfrm>
            <a:custGeom>
              <a:avLst/>
              <a:gdLst>
                <a:gd name="T0" fmla="*/ 72 w 121"/>
                <a:gd name="T1" fmla="*/ 60 h 68"/>
                <a:gd name="T2" fmla="*/ 44 w 121"/>
                <a:gd name="T3" fmla="*/ 57 h 68"/>
                <a:gd name="T4" fmla="*/ 37 w 121"/>
                <a:gd name="T5" fmla="*/ 57 h 68"/>
                <a:gd name="T6" fmla="*/ 5 w 121"/>
                <a:gd name="T7" fmla="*/ 62 h 68"/>
                <a:gd name="T8" fmla="*/ 16 w 121"/>
                <a:gd name="T9" fmla="*/ 22 h 68"/>
                <a:gd name="T10" fmla="*/ 48 w 121"/>
                <a:gd name="T11" fmla="*/ 5 h 68"/>
                <a:gd name="T12" fmla="*/ 94 w 121"/>
                <a:gd name="T13" fmla="*/ 20 h 68"/>
                <a:gd name="T14" fmla="*/ 95 w 121"/>
                <a:gd name="T15" fmla="*/ 21 h 68"/>
                <a:gd name="T16" fmla="*/ 102 w 121"/>
                <a:gd name="T17" fmla="*/ 23 h 68"/>
                <a:gd name="T18" fmla="*/ 104 w 121"/>
                <a:gd name="T19" fmla="*/ 50 h 68"/>
                <a:gd name="T20" fmla="*/ 117 w 121"/>
                <a:gd name="T21" fmla="*/ 62 h 68"/>
                <a:gd name="T22" fmla="*/ 72 w 121"/>
                <a:gd name="T23" fmla="*/ 60 h 68"/>
                <a:gd name="T24" fmla="*/ 104 w 121"/>
                <a:gd name="T25" fmla="*/ 21 h 68"/>
                <a:gd name="T26" fmla="*/ 96 w 121"/>
                <a:gd name="T27" fmla="*/ 19 h 68"/>
                <a:gd name="T28" fmla="*/ 48 w 121"/>
                <a:gd name="T29" fmla="*/ 4 h 68"/>
                <a:gd name="T30" fmla="*/ 3 w 121"/>
                <a:gd name="T31" fmla="*/ 64 h 68"/>
                <a:gd name="T32" fmla="*/ 38 w 121"/>
                <a:gd name="T33" fmla="*/ 59 h 68"/>
                <a:gd name="T34" fmla="*/ 121 w 121"/>
                <a:gd name="T35" fmla="*/ 64 h 68"/>
                <a:gd name="T36" fmla="*/ 105 w 121"/>
                <a:gd name="T37" fmla="*/ 50 h 68"/>
                <a:gd name="T38" fmla="*/ 104 w 121"/>
                <a:gd name="T39" fmla="*/ 2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68">
                  <a:moveTo>
                    <a:pt x="72" y="60"/>
                  </a:moveTo>
                  <a:cubicBezTo>
                    <a:pt x="62" y="58"/>
                    <a:pt x="53" y="57"/>
                    <a:pt x="44" y="57"/>
                  </a:cubicBezTo>
                  <a:cubicBezTo>
                    <a:pt x="42" y="57"/>
                    <a:pt x="40" y="57"/>
                    <a:pt x="37" y="57"/>
                  </a:cubicBezTo>
                  <a:cubicBezTo>
                    <a:pt x="19" y="59"/>
                    <a:pt x="9" y="61"/>
                    <a:pt x="5" y="62"/>
                  </a:cubicBezTo>
                  <a:cubicBezTo>
                    <a:pt x="3" y="51"/>
                    <a:pt x="6" y="35"/>
                    <a:pt x="16" y="22"/>
                  </a:cubicBezTo>
                  <a:cubicBezTo>
                    <a:pt x="24" y="12"/>
                    <a:pt x="35" y="6"/>
                    <a:pt x="48" y="5"/>
                  </a:cubicBezTo>
                  <a:cubicBezTo>
                    <a:pt x="82" y="2"/>
                    <a:pt x="94" y="20"/>
                    <a:pt x="94" y="20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01" y="64"/>
                    <a:pt x="86" y="62"/>
                    <a:pt x="72" y="60"/>
                  </a:cubicBezTo>
                  <a:moveTo>
                    <a:pt x="104" y="21"/>
                  </a:move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84" y="0"/>
                    <a:pt x="48" y="4"/>
                  </a:cubicBezTo>
                  <a:cubicBezTo>
                    <a:pt x="12" y="7"/>
                    <a:pt x="0" y="42"/>
                    <a:pt x="3" y="64"/>
                  </a:cubicBezTo>
                  <a:cubicBezTo>
                    <a:pt x="3" y="64"/>
                    <a:pt x="13" y="61"/>
                    <a:pt x="38" y="59"/>
                  </a:cubicBezTo>
                  <a:cubicBezTo>
                    <a:pt x="62" y="57"/>
                    <a:pt x="89" y="68"/>
                    <a:pt x="121" y="64"/>
                  </a:cubicBezTo>
                  <a:cubicBezTo>
                    <a:pt x="105" y="50"/>
                    <a:pt x="105" y="50"/>
                    <a:pt x="105" y="50"/>
                  </a:cubicBezTo>
                  <a:lnTo>
                    <a:pt x="10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26">
              <a:extLst>
                <a:ext uri="{FF2B5EF4-FFF2-40B4-BE49-F238E27FC236}">
                  <a16:creationId xmlns:a16="http://schemas.microsoft.com/office/drawing/2014/main" id="{EB231CF4-107C-4325-9A80-3A4FB21D7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4" y="2708"/>
              <a:ext cx="3" cy="3"/>
            </a:xfrm>
            <a:custGeom>
              <a:avLst/>
              <a:gdLst>
                <a:gd name="T0" fmla="*/ 0 w 3"/>
                <a:gd name="T1" fmla="*/ 0 h 3"/>
                <a:gd name="T2" fmla="*/ 3 w 3"/>
                <a:gd name="T3" fmla="*/ 3 h 3"/>
                <a:gd name="T4" fmla="*/ 3 w 3"/>
                <a:gd name="T5" fmla="*/ 0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27">
              <a:extLst>
                <a:ext uri="{FF2B5EF4-FFF2-40B4-BE49-F238E27FC236}">
                  <a16:creationId xmlns:a16="http://schemas.microsoft.com/office/drawing/2014/main" id="{F38665FB-622C-4F30-A1ED-9305C2BF7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9" y="2708"/>
              <a:ext cx="8" cy="67"/>
            </a:xfrm>
            <a:custGeom>
              <a:avLst/>
              <a:gdLst>
                <a:gd name="T0" fmla="*/ 0 w 8"/>
                <a:gd name="T1" fmla="*/ 0 h 67"/>
                <a:gd name="T2" fmla="*/ 0 w 8"/>
                <a:gd name="T3" fmla="*/ 67 h 67"/>
                <a:gd name="T4" fmla="*/ 8 w 8"/>
                <a:gd name="T5" fmla="*/ 67 h 67"/>
                <a:gd name="T6" fmla="*/ 8 w 8"/>
                <a:gd name="T7" fmla="*/ 3 h 67"/>
                <a:gd name="T8" fmla="*/ 5 w 8"/>
                <a:gd name="T9" fmla="*/ 0 h 67"/>
                <a:gd name="T10" fmla="*/ 0 w 8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7">
                  <a:moveTo>
                    <a:pt x="0" y="0"/>
                  </a:moveTo>
                  <a:lnTo>
                    <a:pt x="0" y="67"/>
                  </a:lnTo>
                  <a:lnTo>
                    <a:pt x="8" y="67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0" name="Group 230">
            <a:extLst>
              <a:ext uri="{FF2B5EF4-FFF2-40B4-BE49-F238E27FC236}">
                <a16:creationId xmlns:a16="http://schemas.microsoft.com/office/drawing/2014/main" id="{076287AB-D579-401E-B989-E95DD19372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2000" y="4133850"/>
            <a:ext cx="758825" cy="758825"/>
            <a:chOff x="3680" y="2604"/>
            <a:chExt cx="478" cy="478"/>
          </a:xfrm>
        </p:grpSpPr>
        <p:sp>
          <p:nvSpPr>
            <p:cNvPr id="241" name="AutoShape 229">
              <a:extLst>
                <a:ext uri="{FF2B5EF4-FFF2-40B4-BE49-F238E27FC236}">
                  <a16:creationId xmlns:a16="http://schemas.microsoft.com/office/drawing/2014/main" id="{81FEF221-9FEB-42E9-A6E2-28EF7A7E00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0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31">
              <a:extLst>
                <a:ext uri="{FF2B5EF4-FFF2-40B4-BE49-F238E27FC236}">
                  <a16:creationId xmlns:a16="http://schemas.microsoft.com/office/drawing/2014/main" id="{11607F2C-FD3F-42A2-905A-ED8A24D71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2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32">
              <a:extLst>
                <a:ext uri="{FF2B5EF4-FFF2-40B4-BE49-F238E27FC236}">
                  <a16:creationId xmlns:a16="http://schemas.microsoft.com/office/drawing/2014/main" id="{CD0641FA-AB62-4F7E-BD09-65A49D9F7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3" y="2820"/>
              <a:ext cx="235" cy="198"/>
            </a:xfrm>
            <a:custGeom>
              <a:avLst/>
              <a:gdLst>
                <a:gd name="T0" fmla="*/ 94 w 96"/>
                <a:gd name="T1" fmla="*/ 24 h 81"/>
                <a:gd name="T2" fmla="*/ 86 w 96"/>
                <a:gd name="T3" fmla="*/ 9 h 81"/>
                <a:gd name="T4" fmla="*/ 86 w 96"/>
                <a:gd name="T5" fmla="*/ 7 h 81"/>
                <a:gd name="T6" fmla="*/ 87 w 96"/>
                <a:gd name="T7" fmla="*/ 2 h 81"/>
                <a:gd name="T8" fmla="*/ 83 w 96"/>
                <a:gd name="T9" fmla="*/ 2 h 81"/>
                <a:gd name="T10" fmla="*/ 83 w 96"/>
                <a:gd name="T11" fmla="*/ 6 h 81"/>
                <a:gd name="T12" fmla="*/ 83 w 96"/>
                <a:gd name="T13" fmla="*/ 11 h 81"/>
                <a:gd name="T14" fmla="*/ 91 w 96"/>
                <a:gd name="T15" fmla="*/ 26 h 81"/>
                <a:gd name="T16" fmla="*/ 92 w 96"/>
                <a:gd name="T17" fmla="*/ 28 h 81"/>
                <a:gd name="T18" fmla="*/ 93 w 96"/>
                <a:gd name="T19" fmla="*/ 28 h 81"/>
                <a:gd name="T20" fmla="*/ 89 w 96"/>
                <a:gd name="T21" fmla="*/ 30 h 81"/>
                <a:gd name="T22" fmla="*/ 87 w 96"/>
                <a:gd name="T23" fmla="*/ 31 h 81"/>
                <a:gd name="T24" fmla="*/ 83 w 96"/>
                <a:gd name="T25" fmla="*/ 35 h 81"/>
                <a:gd name="T26" fmla="*/ 84 w 96"/>
                <a:gd name="T27" fmla="*/ 38 h 81"/>
                <a:gd name="T28" fmla="*/ 85 w 96"/>
                <a:gd name="T29" fmla="*/ 39 h 81"/>
                <a:gd name="T30" fmla="*/ 84 w 96"/>
                <a:gd name="T31" fmla="*/ 40 h 81"/>
                <a:gd name="T32" fmla="*/ 82 w 96"/>
                <a:gd name="T33" fmla="*/ 41 h 81"/>
                <a:gd name="T34" fmla="*/ 83 w 96"/>
                <a:gd name="T35" fmla="*/ 43 h 81"/>
                <a:gd name="T36" fmla="*/ 84 w 96"/>
                <a:gd name="T37" fmla="*/ 45 h 81"/>
                <a:gd name="T38" fmla="*/ 83 w 96"/>
                <a:gd name="T39" fmla="*/ 46 h 81"/>
                <a:gd name="T40" fmla="*/ 80 w 96"/>
                <a:gd name="T41" fmla="*/ 47 h 81"/>
                <a:gd name="T42" fmla="*/ 80 w 96"/>
                <a:gd name="T43" fmla="*/ 50 h 81"/>
                <a:gd name="T44" fmla="*/ 80 w 96"/>
                <a:gd name="T45" fmla="*/ 56 h 81"/>
                <a:gd name="T46" fmla="*/ 64 w 96"/>
                <a:gd name="T47" fmla="*/ 61 h 81"/>
                <a:gd name="T48" fmla="*/ 59 w 96"/>
                <a:gd name="T49" fmla="*/ 63 h 81"/>
                <a:gd name="T50" fmla="*/ 56 w 96"/>
                <a:gd name="T51" fmla="*/ 77 h 81"/>
                <a:gd name="T52" fmla="*/ 13 w 96"/>
                <a:gd name="T53" fmla="*/ 67 h 81"/>
                <a:gd name="T54" fmla="*/ 19 w 96"/>
                <a:gd name="T55" fmla="*/ 60 h 81"/>
                <a:gd name="T56" fmla="*/ 21 w 96"/>
                <a:gd name="T57" fmla="*/ 49 h 81"/>
                <a:gd name="T58" fmla="*/ 4 w 96"/>
                <a:gd name="T59" fmla="*/ 0 h 81"/>
                <a:gd name="T60" fmla="*/ 1 w 96"/>
                <a:gd name="T61" fmla="*/ 0 h 81"/>
                <a:gd name="T62" fmla="*/ 18 w 96"/>
                <a:gd name="T63" fmla="*/ 51 h 81"/>
                <a:gd name="T64" fmla="*/ 17 w 96"/>
                <a:gd name="T65" fmla="*/ 58 h 81"/>
                <a:gd name="T66" fmla="*/ 6 w 96"/>
                <a:gd name="T67" fmla="*/ 69 h 81"/>
                <a:gd name="T68" fmla="*/ 60 w 96"/>
                <a:gd name="T69" fmla="*/ 81 h 81"/>
                <a:gd name="T70" fmla="*/ 60 w 96"/>
                <a:gd name="T71" fmla="*/ 79 h 81"/>
                <a:gd name="T72" fmla="*/ 62 w 96"/>
                <a:gd name="T73" fmla="*/ 66 h 81"/>
                <a:gd name="T74" fmla="*/ 64 w 96"/>
                <a:gd name="T75" fmla="*/ 65 h 81"/>
                <a:gd name="T76" fmla="*/ 83 w 96"/>
                <a:gd name="T77" fmla="*/ 57 h 81"/>
                <a:gd name="T78" fmla="*/ 84 w 96"/>
                <a:gd name="T79" fmla="*/ 49 h 81"/>
                <a:gd name="T80" fmla="*/ 84 w 96"/>
                <a:gd name="T81" fmla="*/ 49 h 81"/>
                <a:gd name="T82" fmla="*/ 87 w 96"/>
                <a:gd name="T83" fmla="*/ 46 h 81"/>
                <a:gd name="T84" fmla="*/ 87 w 96"/>
                <a:gd name="T85" fmla="*/ 42 h 81"/>
                <a:gd name="T86" fmla="*/ 89 w 96"/>
                <a:gd name="T87" fmla="*/ 40 h 81"/>
                <a:gd name="T88" fmla="*/ 87 w 96"/>
                <a:gd name="T89" fmla="*/ 36 h 81"/>
                <a:gd name="T90" fmla="*/ 87 w 96"/>
                <a:gd name="T91" fmla="*/ 35 h 81"/>
                <a:gd name="T92" fmla="*/ 88 w 96"/>
                <a:gd name="T93" fmla="*/ 34 h 81"/>
                <a:gd name="T94" fmla="*/ 90 w 96"/>
                <a:gd name="T95" fmla="*/ 34 h 81"/>
                <a:gd name="T96" fmla="*/ 96 w 96"/>
                <a:gd name="T97" fmla="*/ 30 h 81"/>
                <a:gd name="T98" fmla="*/ 95 w 96"/>
                <a:gd name="T99" fmla="*/ 26 h 81"/>
                <a:gd name="T100" fmla="*/ 94 w 96"/>
                <a:gd name="T101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" h="81">
                  <a:moveTo>
                    <a:pt x="94" y="24"/>
                  </a:moveTo>
                  <a:cubicBezTo>
                    <a:pt x="92" y="20"/>
                    <a:pt x="87" y="12"/>
                    <a:pt x="86" y="9"/>
                  </a:cubicBezTo>
                  <a:cubicBezTo>
                    <a:pt x="85" y="9"/>
                    <a:pt x="85" y="8"/>
                    <a:pt x="86" y="7"/>
                  </a:cubicBezTo>
                  <a:cubicBezTo>
                    <a:pt x="86" y="6"/>
                    <a:pt x="87" y="4"/>
                    <a:pt x="87" y="2"/>
                  </a:cubicBezTo>
                  <a:cubicBezTo>
                    <a:pt x="86" y="2"/>
                    <a:pt x="85" y="2"/>
                    <a:pt x="83" y="2"/>
                  </a:cubicBezTo>
                  <a:cubicBezTo>
                    <a:pt x="84" y="4"/>
                    <a:pt x="83" y="5"/>
                    <a:pt x="83" y="6"/>
                  </a:cubicBezTo>
                  <a:cubicBezTo>
                    <a:pt x="82" y="7"/>
                    <a:pt x="82" y="9"/>
                    <a:pt x="83" y="11"/>
                  </a:cubicBezTo>
                  <a:cubicBezTo>
                    <a:pt x="84" y="14"/>
                    <a:pt x="89" y="22"/>
                    <a:pt x="91" y="26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3" y="28"/>
                    <a:pt x="93" y="28"/>
                  </a:cubicBezTo>
                  <a:cubicBezTo>
                    <a:pt x="92" y="29"/>
                    <a:pt x="90" y="30"/>
                    <a:pt x="89" y="30"/>
                  </a:cubicBezTo>
                  <a:cubicBezTo>
                    <a:pt x="88" y="31"/>
                    <a:pt x="87" y="31"/>
                    <a:pt x="87" y="31"/>
                  </a:cubicBezTo>
                  <a:cubicBezTo>
                    <a:pt x="85" y="32"/>
                    <a:pt x="84" y="33"/>
                    <a:pt x="83" y="35"/>
                  </a:cubicBezTo>
                  <a:cubicBezTo>
                    <a:pt x="83" y="36"/>
                    <a:pt x="83" y="37"/>
                    <a:pt x="84" y="38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9"/>
                    <a:pt x="85" y="40"/>
                    <a:pt x="84" y="40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4" y="44"/>
                    <a:pt x="84" y="45"/>
                    <a:pt x="84" y="45"/>
                  </a:cubicBezTo>
                  <a:cubicBezTo>
                    <a:pt x="84" y="45"/>
                    <a:pt x="84" y="46"/>
                    <a:pt x="83" y="46"/>
                  </a:cubicBezTo>
                  <a:cubicBezTo>
                    <a:pt x="82" y="46"/>
                    <a:pt x="81" y="46"/>
                    <a:pt x="80" y="47"/>
                  </a:cubicBezTo>
                  <a:cubicBezTo>
                    <a:pt x="80" y="48"/>
                    <a:pt x="80" y="49"/>
                    <a:pt x="80" y="50"/>
                  </a:cubicBezTo>
                  <a:cubicBezTo>
                    <a:pt x="81" y="51"/>
                    <a:pt x="81" y="53"/>
                    <a:pt x="80" y="56"/>
                  </a:cubicBezTo>
                  <a:cubicBezTo>
                    <a:pt x="78" y="61"/>
                    <a:pt x="68" y="62"/>
                    <a:pt x="64" y="61"/>
                  </a:cubicBezTo>
                  <a:cubicBezTo>
                    <a:pt x="62" y="61"/>
                    <a:pt x="61" y="62"/>
                    <a:pt x="59" y="63"/>
                  </a:cubicBezTo>
                  <a:cubicBezTo>
                    <a:pt x="56" y="66"/>
                    <a:pt x="56" y="73"/>
                    <a:pt x="56" y="77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1" y="59"/>
                    <a:pt x="24" y="54"/>
                    <a:pt x="21" y="49"/>
                  </a:cubicBezTo>
                  <a:cubicBezTo>
                    <a:pt x="12" y="35"/>
                    <a:pt x="3" y="16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5"/>
                    <a:pt x="6" y="32"/>
                    <a:pt x="18" y="51"/>
                  </a:cubicBezTo>
                  <a:cubicBezTo>
                    <a:pt x="20" y="55"/>
                    <a:pt x="17" y="57"/>
                    <a:pt x="17" y="58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75"/>
                    <a:pt x="59" y="68"/>
                    <a:pt x="62" y="66"/>
                  </a:cubicBezTo>
                  <a:cubicBezTo>
                    <a:pt x="62" y="65"/>
                    <a:pt x="63" y="65"/>
                    <a:pt x="64" y="65"/>
                  </a:cubicBezTo>
                  <a:cubicBezTo>
                    <a:pt x="65" y="65"/>
                    <a:pt x="80" y="66"/>
                    <a:pt x="83" y="57"/>
                  </a:cubicBezTo>
                  <a:cubicBezTo>
                    <a:pt x="85" y="53"/>
                    <a:pt x="84" y="51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6" y="48"/>
                    <a:pt x="87" y="47"/>
                    <a:pt x="87" y="46"/>
                  </a:cubicBezTo>
                  <a:cubicBezTo>
                    <a:pt x="88" y="45"/>
                    <a:pt x="88" y="43"/>
                    <a:pt x="87" y="42"/>
                  </a:cubicBezTo>
                  <a:cubicBezTo>
                    <a:pt x="88" y="42"/>
                    <a:pt x="88" y="41"/>
                    <a:pt x="89" y="40"/>
                  </a:cubicBezTo>
                  <a:cubicBezTo>
                    <a:pt x="89" y="38"/>
                    <a:pt x="87" y="36"/>
                    <a:pt x="87" y="36"/>
                  </a:cubicBezTo>
                  <a:cubicBezTo>
                    <a:pt x="87" y="36"/>
                    <a:pt x="87" y="35"/>
                    <a:pt x="87" y="35"/>
                  </a:cubicBezTo>
                  <a:cubicBezTo>
                    <a:pt x="87" y="35"/>
                    <a:pt x="87" y="35"/>
                    <a:pt x="88" y="34"/>
                  </a:cubicBezTo>
                  <a:cubicBezTo>
                    <a:pt x="89" y="34"/>
                    <a:pt x="89" y="34"/>
                    <a:pt x="90" y="34"/>
                  </a:cubicBezTo>
                  <a:cubicBezTo>
                    <a:pt x="92" y="33"/>
                    <a:pt x="95" y="32"/>
                    <a:pt x="96" y="30"/>
                  </a:cubicBezTo>
                  <a:cubicBezTo>
                    <a:pt x="96" y="29"/>
                    <a:pt x="96" y="27"/>
                    <a:pt x="95" y="26"/>
                  </a:cubicBezTo>
                  <a:lnTo>
                    <a:pt x="94" y="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33">
              <a:extLst>
                <a:ext uri="{FF2B5EF4-FFF2-40B4-BE49-F238E27FC236}">
                  <a16:creationId xmlns:a16="http://schemas.microsoft.com/office/drawing/2014/main" id="{416516F7-EAD6-408C-B453-42A1E005E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" y="2837"/>
              <a:ext cx="81" cy="130"/>
            </a:xfrm>
            <a:custGeom>
              <a:avLst/>
              <a:gdLst>
                <a:gd name="T0" fmla="*/ 2 w 33"/>
                <a:gd name="T1" fmla="*/ 53 h 53"/>
                <a:gd name="T2" fmla="*/ 0 w 33"/>
                <a:gd name="T3" fmla="*/ 51 h 53"/>
                <a:gd name="T4" fmla="*/ 21 w 33"/>
                <a:gd name="T5" fmla="*/ 26 h 53"/>
                <a:gd name="T6" fmla="*/ 11 w 33"/>
                <a:gd name="T7" fmla="*/ 17 h 53"/>
                <a:gd name="T8" fmla="*/ 10 w 33"/>
                <a:gd name="T9" fmla="*/ 6 h 53"/>
                <a:gd name="T10" fmla="*/ 17 w 33"/>
                <a:gd name="T11" fmla="*/ 1 h 53"/>
                <a:gd name="T12" fmla="*/ 27 w 33"/>
                <a:gd name="T13" fmla="*/ 7 h 53"/>
                <a:gd name="T14" fmla="*/ 33 w 33"/>
                <a:gd name="T15" fmla="*/ 15 h 53"/>
                <a:gd name="T16" fmla="*/ 30 w 33"/>
                <a:gd name="T17" fmla="*/ 17 h 53"/>
                <a:gd name="T18" fmla="*/ 25 w 33"/>
                <a:gd name="T19" fmla="*/ 9 h 53"/>
                <a:gd name="T20" fmla="*/ 18 w 33"/>
                <a:gd name="T21" fmla="*/ 5 h 53"/>
                <a:gd name="T22" fmla="*/ 13 w 33"/>
                <a:gd name="T23" fmla="*/ 8 h 53"/>
                <a:gd name="T24" fmla="*/ 14 w 33"/>
                <a:gd name="T25" fmla="*/ 16 h 53"/>
                <a:gd name="T26" fmla="*/ 24 w 33"/>
                <a:gd name="T27" fmla="*/ 23 h 53"/>
                <a:gd name="T28" fmla="*/ 28 w 33"/>
                <a:gd name="T29" fmla="*/ 23 h 53"/>
                <a:gd name="T30" fmla="*/ 2 w 3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53">
                  <a:moveTo>
                    <a:pt x="2" y="53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8" y="26"/>
                    <a:pt x="14" y="23"/>
                    <a:pt x="11" y="17"/>
                  </a:cubicBezTo>
                  <a:cubicBezTo>
                    <a:pt x="8" y="12"/>
                    <a:pt x="9" y="9"/>
                    <a:pt x="10" y="6"/>
                  </a:cubicBezTo>
                  <a:cubicBezTo>
                    <a:pt x="11" y="4"/>
                    <a:pt x="14" y="2"/>
                    <a:pt x="17" y="1"/>
                  </a:cubicBezTo>
                  <a:cubicBezTo>
                    <a:pt x="22" y="0"/>
                    <a:pt x="27" y="6"/>
                    <a:pt x="27" y="7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8"/>
                    <a:pt x="20" y="4"/>
                    <a:pt x="18" y="5"/>
                  </a:cubicBezTo>
                  <a:cubicBezTo>
                    <a:pt x="17" y="5"/>
                    <a:pt x="14" y="6"/>
                    <a:pt x="13" y="8"/>
                  </a:cubicBezTo>
                  <a:cubicBezTo>
                    <a:pt x="12" y="10"/>
                    <a:pt x="12" y="13"/>
                    <a:pt x="14" y="16"/>
                  </a:cubicBezTo>
                  <a:cubicBezTo>
                    <a:pt x="17" y="24"/>
                    <a:pt x="24" y="23"/>
                    <a:pt x="24" y="23"/>
                  </a:cubicBezTo>
                  <a:cubicBezTo>
                    <a:pt x="28" y="23"/>
                    <a:pt x="28" y="23"/>
                    <a:pt x="28" y="23"/>
                  </a:cubicBezTo>
                  <a:lnTo>
                    <a:pt x="2" y="5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34">
              <a:extLst>
                <a:ext uri="{FF2B5EF4-FFF2-40B4-BE49-F238E27FC236}">
                  <a16:creationId xmlns:a16="http://schemas.microsoft.com/office/drawing/2014/main" id="{E53C650E-FF2D-4A43-A5DA-1F0D07B28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" y="2812"/>
              <a:ext cx="27" cy="5"/>
            </a:xfrm>
            <a:custGeom>
              <a:avLst/>
              <a:gdLst>
                <a:gd name="T0" fmla="*/ 10 w 11"/>
                <a:gd name="T1" fmla="*/ 2 h 2"/>
                <a:gd name="T2" fmla="*/ 11 w 11"/>
                <a:gd name="T3" fmla="*/ 2 h 2"/>
                <a:gd name="T4" fmla="*/ 0 w 11"/>
                <a:gd name="T5" fmla="*/ 0 h 2"/>
                <a:gd name="T6" fmla="*/ 10 w 1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">
                  <a:moveTo>
                    <a:pt x="1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8" y="1"/>
                    <a:pt x="4" y="1"/>
                    <a:pt x="0" y="0"/>
                  </a:cubicBezTo>
                  <a:cubicBezTo>
                    <a:pt x="4" y="1"/>
                    <a:pt x="7" y="2"/>
                    <a:pt x="10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35">
              <a:extLst>
                <a:ext uri="{FF2B5EF4-FFF2-40B4-BE49-F238E27FC236}">
                  <a16:creationId xmlns:a16="http://schemas.microsoft.com/office/drawing/2014/main" id="{C25C49D5-D02F-43BB-A94B-3E4070E49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" y="2773"/>
              <a:ext cx="85" cy="44"/>
            </a:xfrm>
            <a:custGeom>
              <a:avLst/>
              <a:gdLst>
                <a:gd name="T0" fmla="*/ 35 w 35"/>
                <a:gd name="T1" fmla="*/ 11 h 18"/>
                <a:gd name="T2" fmla="*/ 30 w 35"/>
                <a:gd name="T3" fmla="*/ 10 h 18"/>
                <a:gd name="T4" fmla="*/ 21 w 35"/>
                <a:gd name="T5" fmla="*/ 5 h 18"/>
                <a:gd name="T6" fmla="*/ 34 w 35"/>
                <a:gd name="T7" fmla="*/ 3 h 18"/>
                <a:gd name="T8" fmla="*/ 33 w 35"/>
                <a:gd name="T9" fmla="*/ 0 h 18"/>
                <a:gd name="T10" fmla="*/ 17 w 35"/>
                <a:gd name="T11" fmla="*/ 2 h 18"/>
                <a:gd name="T12" fmla="*/ 13 w 35"/>
                <a:gd name="T13" fmla="*/ 2 h 18"/>
                <a:gd name="T14" fmla="*/ 16 w 35"/>
                <a:gd name="T15" fmla="*/ 5 h 18"/>
                <a:gd name="T16" fmla="*/ 25 w 35"/>
                <a:gd name="T17" fmla="*/ 12 h 18"/>
                <a:gd name="T18" fmla="*/ 1 w 35"/>
                <a:gd name="T19" fmla="*/ 13 h 18"/>
                <a:gd name="T20" fmla="*/ 0 w 35"/>
                <a:gd name="T21" fmla="*/ 16 h 18"/>
                <a:gd name="T22" fmla="*/ 1 w 35"/>
                <a:gd name="T23" fmla="*/ 16 h 18"/>
                <a:gd name="T24" fmla="*/ 12 w 35"/>
                <a:gd name="T25" fmla="*/ 18 h 18"/>
                <a:gd name="T26" fmla="*/ 31 w 35"/>
                <a:gd name="T27" fmla="*/ 13 h 18"/>
                <a:gd name="T28" fmla="*/ 35 w 35"/>
                <a:gd name="T2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18">
                  <a:moveTo>
                    <a:pt x="35" y="11"/>
                  </a:moveTo>
                  <a:cubicBezTo>
                    <a:pt x="30" y="10"/>
                    <a:pt x="30" y="10"/>
                    <a:pt x="30" y="10"/>
                  </a:cubicBezTo>
                  <a:cubicBezTo>
                    <a:pt x="27" y="9"/>
                    <a:pt x="23" y="7"/>
                    <a:pt x="21" y="5"/>
                  </a:cubicBezTo>
                  <a:cubicBezTo>
                    <a:pt x="27" y="5"/>
                    <a:pt x="33" y="3"/>
                    <a:pt x="34" y="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24" y="2"/>
                    <a:pt x="17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20" y="9"/>
                    <a:pt x="25" y="12"/>
                  </a:cubicBezTo>
                  <a:cubicBezTo>
                    <a:pt x="20" y="14"/>
                    <a:pt x="10" y="16"/>
                    <a:pt x="1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1" y="16"/>
                    <a:pt x="1" y="16"/>
                  </a:cubicBezTo>
                  <a:cubicBezTo>
                    <a:pt x="5" y="17"/>
                    <a:pt x="9" y="17"/>
                    <a:pt x="12" y="18"/>
                  </a:cubicBezTo>
                  <a:cubicBezTo>
                    <a:pt x="23" y="17"/>
                    <a:pt x="31" y="13"/>
                    <a:pt x="31" y="13"/>
                  </a:cubicBezTo>
                  <a:lnTo>
                    <a:pt x="35" y="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36">
              <a:extLst>
                <a:ext uri="{FF2B5EF4-FFF2-40B4-BE49-F238E27FC236}">
                  <a16:creationId xmlns:a16="http://schemas.microsoft.com/office/drawing/2014/main" id="{4835DA53-A31E-4B1B-A9DE-A6D08F2652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6" y="2665"/>
              <a:ext cx="309" cy="169"/>
            </a:xfrm>
            <a:custGeom>
              <a:avLst/>
              <a:gdLst>
                <a:gd name="T0" fmla="*/ 39 w 126"/>
                <a:gd name="T1" fmla="*/ 60 h 69"/>
                <a:gd name="T2" fmla="*/ 4 w 126"/>
                <a:gd name="T3" fmla="*/ 65 h 69"/>
                <a:gd name="T4" fmla="*/ 49 w 126"/>
                <a:gd name="T5" fmla="*/ 5 h 69"/>
                <a:gd name="T6" fmla="*/ 97 w 126"/>
                <a:gd name="T7" fmla="*/ 20 h 69"/>
                <a:gd name="T8" fmla="*/ 105 w 126"/>
                <a:gd name="T9" fmla="*/ 22 h 69"/>
                <a:gd name="T10" fmla="*/ 106 w 126"/>
                <a:gd name="T11" fmla="*/ 51 h 69"/>
                <a:gd name="T12" fmla="*/ 122 w 126"/>
                <a:gd name="T13" fmla="*/ 65 h 69"/>
                <a:gd name="T14" fmla="*/ 39 w 126"/>
                <a:gd name="T15" fmla="*/ 60 h 69"/>
                <a:gd name="T16" fmla="*/ 108 w 126"/>
                <a:gd name="T17" fmla="*/ 50 h 69"/>
                <a:gd name="T18" fmla="*/ 106 w 126"/>
                <a:gd name="T19" fmla="*/ 21 h 69"/>
                <a:gd name="T20" fmla="*/ 98 w 126"/>
                <a:gd name="T21" fmla="*/ 19 h 69"/>
                <a:gd name="T22" fmla="*/ 49 w 126"/>
                <a:gd name="T23" fmla="*/ 3 h 69"/>
                <a:gd name="T24" fmla="*/ 14 w 126"/>
                <a:gd name="T25" fmla="*/ 21 h 69"/>
                <a:gd name="T26" fmla="*/ 3 w 126"/>
                <a:gd name="T27" fmla="*/ 65 h 69"/>
                <a:gd name="T28" fmla="*/ 3 w 126"/>
                <a:gd name="T29" fmla="*/ 67 h 69"/>
                <a:gd name="T30" fmla="*/ 5 w 126"/>
                <a:gd name="T31" fmla="*/ 66 h 69"/>
                <a:gd name="T32" fmla="*/ 39 w 126"/>
                <a:gd name="T33" fmla="*/ 62 h 69"/>
                <a:gd name="T34" fmla="*/ 72 w 126"/>
                <a:gd name="T35" fmla="*/ 64 h 69"/>
                <a:gd name="T36" fmla="*/ 107 w 126"/>
                <a:gd name="T37" fmla="*/ 67 h 69"/>
                <a:gd name="T38" fmla="*/ 123 w 126"/>
                <a:gd name="T39" fmla="*/ 66 h 69"/>
                <a:gd name="T40" fmla="*/ 126 w 126"/>
                <a:gd name="T41" fmla="*/ 66 h 69"/>
                <a:gd name="T42" fmla="*/ 108 w 126"/>
                <a:gd name="T43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6" h="69">
                  <a:moveTo>
                    <a:pt x="39" y="60"/>
                  </a:moveTo>
                  <a:cubicBezTo>
                    <a:pt x="14" y="62"/>
                    <a:pt x="4" y="65"/>
                    <a:pt x="4" y="65"/>
                  </a:cubicBezTo>
                  <a:cubicBezTo>
                    <a:pt x="1" y="43"/>
                    <a:pt x="13" y="8"/>
                    <a:pt x="49" y="5"/>
                  </a:cubicBezTo>
                  <a:cubicBezTo>
                    <a:pt x="85" y="1"/>
                    <a:pt x="97" y="20"/>
                    <a:pt x="97" y="20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90" y="69"/>
                    <a:pt x="63" y="58"/>
                    <a:pt x="39" y="60"/>
                  </a:cubicBezTo>
                  <a:moveTo>
                    <a:pt x="108" y="50"/>
                  </a:moveTo>
                  <a:cubicBezTo>
                    <a:pt x="106" y="21"/>
                    <a:pt x="106" y="21"/>
                    <a:pt x="106" y="21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5" y="15"/>
                    <a:pt x="82" y="0"/>
                    <a:pt x="49" y="3"/>
                  </a:cubicBezTo>
                  <a:cubicBezTo>
                    <a:pt x="35" y="4"/>
                    <a:pt x="23" y="11"/>
                    <a:pt x="14" y="21"/>
                  </a:cubicBezTo>
                  <a:cubicBezTo>
                    <a:pt x="5" y="33"/>
                    <a:pt x="0" y="50"/>
                    <a:pt x="3" y="65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15" y="64"/>
                    <a:pt x="39" y="62"/>
                  </a:cubicBezTo>
                  <a:cubicBezTo>
                    <a:pt x="49" y="61"/>
                    <a:pt x="60" y="62"/>
                    <a:pt x="72" y="64"/>
                  </a:cubicBezTo>
                  <a:cubicBezTo>
                    <a:pt x="83" y="66"/>
                    <a:pt x="94" y="67"/>
                    <a:pt x="107" y="67"/>
                  </a:cubicBezTo>
                  <a:cubicBezTo>
                    <a:pt x="112" y="67"/>
                    <a:pt x="117" y="67"/>
                    <a:pt x="123" y="66"/>
                  </a:cubicBezTo>
                  <a:cubicBezTo>
                    <a:pt x="126" y="66"/>
                    <a:pt x="126" y="66"/>
                    <a:pt x="126" y="66"/>
                  </a:cubicBezTo>
                  <a:lnTo>
                    <a:pt x="108" y="5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37">
              <a:extLst>
                <a:ext uri="{FF2B5EF4-FFF2-40B4-BE49-F238E27FC236}">
                  <a16:creationId xmlns:a16="http://schemas.microsoft.com/office/drawing/2014/main" id="{7CC82ED4-AC5E-4AD3-86E3-13DEA6624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" y="2668"/>
              <a:ext cx="297" cy="166"/>
            </a:xfrm>
            <a:custGeom>
              <a:avLst/>
              <a:gdLst>
                <a:gd name="T0" fmla="*/ 72 w 121"/>
                <a:gd name="T1" fmla="*/ 60 h 68"/>
                <a:gd name="T2" fmla="*/ 44 w 121"/>
                <a:gd name="T3" fmla="*/ 57 h 68"/>
                <a:gd name="T4" fmla="*/ 37 w 121"/>
                <a:gd name="T5" fmla="*/ 57 h 68"/>
                <a:gd name="T6" fmla="*/ 5 w 121"/>
                <a:gd name="T7" fmla="*/ 62 h 68"/>
                <a:gd name="T8" fmla="*/ 16 w 121"/>
                <a:gd name="T9" fmla="*/ 22 h 68"/>
                <a:gd name="T10" fmla="*/ 48 w 121"/>
                <a:gd name="T11" fmla="*/ 5 h 68"/>
                <a:gd name="T12" fmla="*/ 94 w 121"/>
                <a:gd name="T13" fmla="*/ 20 h 68"/>
                <a:gd name="T14" fmla="*/ 95 w 121"/>
                <a:gd name="T15" fmla="*/ 21 h 68"/>
                <a:gd name="T16" fmla="*/ 102 w 121"/>
                <a:gd name="T17" fmla="*/ 23 h 68"/>
                <a:gd name="T18" fmla="*/ 104 w 121"/>
                <a:gd name="T19" fmla="*/ 50 h 68"/>
                <a:gd name="T20" fmla="*/ 117 w 121"/>
                <a:gd name="T21" fmla="*/ 62 h 68"/>
                <a:gd name="T22" fmla="*/ 72 w 121"/>
                <a:gd name="T23" fmla="*/ 60 h 68"/>
                <a:gd name="T24" fmla="*/ 104 w 121"/>
                <a:gd name="T25" fmla="*/ 21 h 68"/>
                <a:gd name="T26" fmla="*/ 96 w 121"/>
                <a:gd name="T27" fmla="*/ 19 h 68"/>
                <a:gd name="T28" fmla="*/ 48 w 121"/>
                <a:gd name="T29" fmla="*/ 4 h 68"/>
                <a:gd name="T30" fmla="*/ 3 w 121"/>
                <a:gd name="T31" fmla="*/ 64 h 68"/>
                <a:gd name="T32" fmla="*/ 38 w 121"/>
                <a:gd name="T33" fmla="*/ 59 h 68"/>
                <a:gd name="T34" fmla="*/ 121 w 121"/>
                <a:gd name="T35" fmla="*/ 64 h 68"/>
                <a:gd name="T36" fmla="*/ 105 w 121"/>
                <a:gd name="T37" fmla="*/ 50 h 68"/>
                <a:gd name="T38" fmla="*/ 104 w 121"/>
                <a:gd name="T39" fmla="*/ 2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68">
                  <a:moveTo>
                    <a:pt x="72" y="60"/>
                  </a:moveTo>
                  <a:cubicBezTo>
                    <a:pt x="62" y="58"/>
                    <a:pt x="53" y="57"/>
                    <a:pt x="44" y="57"/>
                  </a:cubicBezTo>
                  <a:cubicBezTo>
                    <a:pt x="42" y="57"/>
                    <a:pt x="40" y="57"/>
                    <a:pt x="37" y="57"/>
                  </a:cubicBezTo>
                  <a:cubicBezTo>
                    <a:pt x="19" y="59"/>
                    <a:pt x="9" y="61"/>
                    <a:pt x="5" y="62"/>
                  </a:cubicBezTo>
                  <a:cubicBezTo>
                    <a:pt x="3" y="51"/>
                    <a:pt x="6" y="35"/>
                    <a:pt x="16" y="22"/>
                  </a:cubicBezTo>
                  <a:cubicBezTo>
                    <a:pt x="24" y="12"/>
                    <a:pt x="35" y="6"/>
                    <a:pt x="48" y="5"/>
                  </a:cubicBezTo>
                  <a:cubicBezTo>
                    <a:pt x="82" y="2"/>
                    <a:pt x="94" y="20"/>
                    <a:pt x="94" y="20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01" y="64"/>
                    <a:pt x="86" y="62"/>
                    <a:pt x="72" y="60"/>
                  </a:cubicBezTo>
                  <a:moveTo>
                    <a:pt x="104" y="21"/>
                  </a:move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84" y="0"/>
                    <a:pt x="48" y="4"/>
                  </a:cubicBezTo>
                  <a:cubicBezTo>
                    <a:pt x="12" y="7"/>
                    <a:pt x="0" y="42"/>
                    <a:pt x="3" y="64"/>
                  </a:cubicBezTo>
                  <a:cubicBezTo>
                    <a:pt x="3" y="64"/>
                    <a:pt x="13" y="61"/>
                    <a:pt x="38" y="59"/>
                  </a:cubicBezTo>
                  <a:cubicBezTo>
                    <a:pt x="62" y="57"/>
                    <a:pt x="89" y="68"/>
                    <a:pt x="121" y="64"/>
                  </a:cubicBezTo>
                  <a:cubicBezTo>
                    <a:pt x="105" y="50"/>
                    <a:pt x="105" y="50"/>
                    <a:pt x="105" y="50"/>
                  </a:cubicBezTo>
                  <a:lnTo>
                    <a:pt x="104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38">
              <a:extLst>
                <a:ext uri="{FF2B5EF4-FFF2-40B4-BE49-F238E27FC236}">
                  <a16:creationId xmlns:a16="http://schemas.microsoft.com/office/drawing/2014/main" id="{D62D230C-3000-43C1-91A2-FE2637327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4" y="2714"/>
              <a:ext cx="2" cy="3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2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39">
              <a:extLst>
                <a:ext uri="{FF2B5EF4-FFF2-40B4-BE49-F238E27FC236}">
                  <a16:creationId xmlns:a16="http://schemas.microsoft.com/office/drawing/2014/main" id="{E078F803-281D-4CBA-8371-B7DD4F02B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9" y="2714"/>
              <a:ext cx="7" cy="64"/>
            </a:xfrm>
            <a:custGeom>
              <a:avLst/>
              <a:gdLst>
                <a:gd name="T0" fmla="*/ 0 w 7"/>
                <a:gd name="T1" fmla="*/ 0 h 64"/>
                <a:gd name="T2" fmla="*/ 0 w 7"/>
                <a:gd name="T3" fmla="*/ 64 h 64"/>
                <a:gd name="T4" fmla="*/ 7 w 7"/>
                <a:gd name="T5" fmla="*/ 64 h 64"/>
                <a:gd name="T6" fmla="*/ 7 w 7"/>
                <a:gd name="T7" fmla="*/ 3 h 64"/>
                <a:gd name="T8" fmla="*/ 5 w 7"/>
                <a:gd name="T9" fmla="*/ 0 h 64"/>
                <a:gd name="T10" fmla="*/ 0 w 7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4">
                  <a:moveTo>
                    <a:pt x="0" y="0"/>
                  </a:moveTo>
                  <a:lnTo>
                    <a:pt x="0" y="64"/>
                  </a:lnTo>
                  <a:lnTo>
                    <a:pt x="7" y="64"/>
                  </a:lnTo>
                  <a:lnTo>
                    <a:pt x="7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1" name="Group 242">
            <a:extLst>
              <a:ext uri="{FF2B5EF4-FFF2-40B4-BE49-F238E27FC236}">
                <a16:creationId xmlns:a16="http://schemas.microsoft.com/office/drawing/2014/main" id="{0FE98BF0-0614-4033-926D-AE829D06CF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0088" y="4092575"/>
            <a:ext cx="841375" cy="841375"/>
            <a:chOff x="4441" y="2578"/>
            <a:chExt cx="530" cy="530"/>
          </a:xfrm>
        </p:grpSpPr>
        <p:sp>
          <p:nvSpPr>
            <p:cNvPr id="252" name="AutoShape 241">
              <a:extLst>
                <a:ext uri="{FF2B5EF4-FFF2-40B4-BE49-F238E27FC236}">
                  <a16:creationId xmlns:a16="http://schemas.microsoft.com/office/drawing/2014/main" id="{951F6A43-65D2-4A72-9793-EC5C53BE8A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1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243">
              <a:extLst>
                <a:ext uri="{FF2B5EF4-FFF2-40B4-BE49-F238E27FC236}">
                  <a16:creationId xmlns:a16="http://schemas.microsoft.com/office/drawing/2014/main" id="{01DC6AFA-8C19-420F-8D4C-0A32F40C4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244">
              <a:extLst>
                <a:ext uri="{FF2B5EF4-FFF2-40B4-BE49-F238E27FC236}">
                  <a16:creationId xmlns:a16="http://schemas.microsoft.com/office/drawing/2014/main" id="{2907BF59-7A93-4FEF-BD80-EDEADFC608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9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45">
              <a:extLst>
                <a:ext uri="{FF2B5EF4-FFF2-40B4-BE49-F238E27FC236}">
                  <a16:creationId xmlns:a16="http://schemas.microsoft.com/office/drawing/2014/main" id="{B53F450F-2ED9-4080-B014-4718B1A0F8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5" y="2703"/>
              <a:ext cx="364" cy="236"/>
            </a:xfrm>
            <a:custGeom>
              <a:avLst/>
              <a:gdLst>
                <a:gd name="T0" fmla="*/ 138 w 142"/>
                <a:gd name="T1" fmla="*/ 87 h 92"/>
                <a:gd name="T2" fmla="*/ 4 w 142"/>
                <a:gd name="T3" fmla="*/ 87 h 92"/>
                <a:gd name="T4" fmla="*/ 4 w 142"/>
                <a:gd name="T5" fmla="*/ 78 h 92"/>
                <a:gd name="T6" fmla="*/ 138 w 142"/>
                <a:gd name="T7" fmla="*/ 78 h 92"/>
                <a:gd name="T8" fmla="*/ 138 w 142"/>
                <a:gd name="T9" fmla="*/ 87 h 92"/>
                <a:gd name="T10" fmla="*/ 13 w 142"/>
                <a:gd name="T11" fmla="*/ 62 h 92"/>
                <a:gd name="T12" fmla="*/ 44 w 142"/>
                <a:gd name="T13" fmla="*/ 17 h 92"/>
                <a:gd name="T14" fmla="*/ 48 w 142"/>
                <a:gd name="T15" fmla="*/ 74 h 92"/>
                <a:gd name="T16" fmla="*/ 13 w 142"/>
                <a:gd name="T17" fmla="*/ 74 h 92"/>
                <a:gd name="T18" fmla="*/ 13 w 142"/>
                <a:gd name="T19" fmla="*/ 62 h 92"/>
                <a:gd name="T20" fmla="*/ 53 w 142"/>
                <a:gd name="T21" fmla="*/ 9 h 92"/>
                <a:gd name="T22" fmla="*/ 57 w 142"/>
                <a:gd name="T23" fmla="*/ 74 h 92"/>
                <a:gd name="T24" fmla="*/ 52 w 142"/>
                <a:gd name="T25" fmla="*/ 74 h 92"/>
                <a:gd name="T26" fmla="*/ 48 w 142"/>
                <a:gd name="T27" fmla="*/ 9 h 92"/>
                <a:gd name="T28" fmla="*/ 53 w 142"/>
                <a:gd name="T29" fmla="*/ 9 h 92"/>
                <a:gd name="T30" fmla="*/ 85 w 142"/>
                <a:gd name="T31" fmla="*/ 5 h 92"/>
                <a:gd name="T32" fmla="*/ 80 w 142"/>
                <a:gd name="T33" fmla="*/ 74 h 92"/>
                <a:gd name="T34" fmla="*/ 62 w 142"/>
                <a:gd name="T35" fmla="*/ 74 h 92"/>
                <a:gd name="T36" fmla="*/ 57 w 142"/>
                <a:gd name="T37" fmla="*/ 5 h 92"/>
                <a:gd name="T38" fmla="*/ 85 w 142"/>
                <a:gd name="T39" fmla="*/ 5 h 92"/>
                <a:gd name="T40" fmla="*/ 94 w 142"/>
                <a:gd name="T41" fmla="*/ 9 h 92"/>
                <a:gd name="T42" fmla="*/ 90 w 142"/>
                <a:gd name="T43" fmla="*/ 74 h 92"/>
                <a:gd name="T44" fmla="*/ 85 w 142"/>
                <a:gd name="T45" fmla="*/ 74 h 92"/>
                <a:gd name="T46" fmla="*/ 89 w 142"/>
                <a:gd name="T47" fmla="*/ 9 h 92"/>
                <a:gd name="T48" fmla="*/ 94 w 142"/>
                <a:gd name="T49" fmla="*/ 9 h 92"/>
                <a:gd name="T50" fmla="*/ 129 w 142"/>
                <a:gd name="T51" fmla="*/ 62 h 92"/>
                <a:gd name="T52" fmla="*/ 129 w 142"/>
                <a:gd name="T53" fmla="*/ 74 h 92"/>
                <a:gd name="T54" fmla="*/ 94 w 142"/>
                <a:gd name="T55" fmla="*/ 74 h 92"/>
                <a:gd name="T56" fmla="*/ 98 w 142"/>
                <a:gd name="T57" fmla="*/ 17 h 92"/>
                <a:gd name="T58" fmla="*/ 129 w 142"/>
                <a:gd name="T59" fmla="*/ 62 h 92"/>
                <a:gd name="T60" fmla="*/ 140 w 142"/>
                <a:gd name="T61" fmla="*/ 74 h 92"/>
                <a:gd name="T62" fmla="*/ 133 w 142"/>
                <a:gd name="T63" fmla="*/ 74 h 92"/>
                <a:gd name="T64" fmla="*/ 133 w 142"/>
                <a:gd name="T65" fmla="*/ 62 h 92"/>
                <a:gd name="T66" fmla="*/ 98 w 142"/>
                <a:gd name="T67" fmla="*/ 12 h 92"/>
                <a:gd name="T68" fmla="*/ 99 w 142"/>
                <a:gd name="T69" fmla="*/ 7 h 92"/>
                <a:gd name="T70" fmla="*/ 98 w 142"/>
                <a:gd name="T71" fmla="*/ 5 h 92"/>
                <a:gd name="T72" fmla="*/ 96 w 142"/>
                <a:gd name="T73" fmla="*/ 5 h 92"/>
                <a:gd name="T74" fmla="*/ 89 w 142"/>
                <a:gd name="T75" fmla="*/ 5 h 92"/>
                <a:gd name="T76" fmla="*/ 89 w 142"/>
                <a:gd name="T77" fmla="*/ 3 h 92"/>
                <a:gd name="T78" fmla="*/ 89 w 142"/>
                <a:gd name="T79" fmla="*/ 1 h 92"/>
                <a:gd name="T80" fmla="*/ 87 w 142"/>
                <a:gd name="T81" fmla="*/ 0 h 92"/>
                <a:gd name="T82" fmla="*/ 55 w 142"/>
                <a:gd name="T83" fmla="*/ 0 h 92"/>
                <a:gd name="T84" fmla="*/ 53 w 142"/>
                <a:gd name="T85" fmla="*/ 1 h 92"/>
                <a:gd name="T86" fmla="*/ 53 w 142"/>
                <a:gd name="T87" fmla="*/ 3 h 92"/>
                <a:gd name="T88" fmla="*/ 53 w 142"/>
                <a:gd name="T89" fmla="*/ 5 h 92"/>
                <a:gd name="T90" fmla="*/ 46 w 142"/>
                <a:gd name="T91" fmla="*/ 5 h 92"/>
                <a:gd name="T92" fmla="*/ 44 w 142"/>
                <a:gd name="T93" fmla="*/ 5 h 92"/>
                <a:gd name="T94" fmla="*/ 43 w 142"/>
                <a:gd name="T95" fmla="*/ 7 h 92"/>
                <a:gd name="T96" fmla="*/ 44 w 142"/>
                <a:gd name="T97" fmla="*/ 12 h 92"/>
                <a:gd name="T98" fmla="*/ 9 w 142"/>
                <a:gd name="T99" fmla="*/ 62 h 92"/>
                <a:gd name="T100" fmla="*/ 9 w 142"/>
                <a:gd name="T101" fmla="*/ 74 h 92"/>
                <a:gd name="T102" fmla="*/ 2 w 142"/>
                <a:gd name="T103" fmla="*/ 74 h 92"/>
                <a:gd name="T104" fmla="*/ 0 w 142"/>
                <a:gd name="T105" fmla="*/ 76 h 92"/>
                <a:gd name="T106" fmla="*/ 0 w 142"/>
                <a:gd name="T107" fmla="*/ 90 h 92"/>
                <a:gd name="T108" fmla="*/ 2 w 142"/>
                <a:gd name="T109" fmla="*/ 92 h 92"/>
                <a:gd name="T110" fmla="*/ 140 w 142"/>
                <a:gd name="T111" fmla="*/ 92 h 92"/>
                <a:gd name="T112" fmla="*/ 142 w 142"/>
                <a:gd name="T113" fmla="*/ 90 h 92"/>
                <a:gd name="T114" fmla="*/ 142 w 142"/>
                <a:gd name="T115" fmla="*/ 76 h 92"/>
                <a:gd name="T116" fmla="*/ 140 w 142"/>
                <a:gd name="T117" fmla="*/ 7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2" h="92">
                  <a:moveTo>
                    <a:pt x="138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138" y="78"/>
                    <a:pt x="138" y="78"/>
                    <a:pt x="138" y="78"/>
                  </a:cubicBezTo>
                  <a:lnTo>
                    <a:pt x="138" y="87"/>
                  </a:lnTo>
                  <a:close/>
                  <a:moveTo>
                    <a:pt x="13" y="62"/>
                  </a:moveTo>
                  <a:cubicBezTo>
                    <a:pt x="13" y="42"/>
                    <a:pt x="26" y="25"/>
                    <a:pt x="44" y="17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13" y="74"/>
                    <a:pt x="13" y="74"/>
                    <a:pt x="13" y="74"/>
                  </a:cubicBezTo>
                  <a:lnTo>
                    <a:pt x="13" y="62"/>
                  </a:lnTo>
                  <a:close/>
                  <a:moveTo>
                    <a:pt x="53" y="9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53" y="9"/>
                  </a:lnTo>
                  <a:close/>
                  <a:moveTo>
                    <a:pt x="85" y="5"/>
                  </a:moveTo>
                  <a:cubicBezTo>
                    <a:pt x="80" y="74"/>
                    <a:pt x="80" y="74"/>
                    <a:pt x="80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7" y="5"/>
                    <a:pt x="57" y="5"/>
                    <a:pt x="57" y="5"/>
                  </a:cubicBezTo>
                  <a:lnTo>
                    <a:pt x="85" y="5"/>
                  </a:lnTo>
                  <a:close/>
                  <a:moveTo>
                    <a:pt x="94" y="9"/>
                  </a:moveTo>
                  <a:cubicBezTo>
                    <a:pt x="90" y="74"/>
                    <a:pt x="90" y="74"/>
                    <a:pt x="90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9" y="9"/>
                    <a:pt x="89" y="9"/>
                    <a:pt x="89" y="9"/>
                  </a:cubicBezTo>
                  <a:lnTo>
                    <a:pt x="94" y="9"/>
                  </a:lnTo>
                  <a:close/>
                  <a:moveTo>
                    <a:pt x="129" y="62"/>
                  </a:moveTo>
                  <a:cubicBezTo>
                    <a:pt x="129" y="74"/>
                    <a:pt x="129" y="74"/>
                    <a:pt x="129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116" y="25"/>
                    <a:pt x="129" y="42"/>
                    <a:pt x="129" y="62"/>
                  </a:cubicBezTo>
                  <a:moveTo>
                    <a:pt x="140" y="74"/>
                  </a:moveTo>
                  <a:cubicBezTo>
                    <a:pt x="133" y="74"/>
                    <a:pt x="133" y="74"/>
                    <a:pt x="133" y="74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40"/>
                    <a:pt x="119" y="20"/>
                    <a:pt x="98" y="12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6"/>
                    <a:pt x="98" y="6"/>
                    <a:pt x="98" y="5"/>
                  </a:cubicBezTo>
                  <a:cubicBezTo>
                    <a:pt x="98" y="5"/>
                    <a:pt x="97" y="5"/>
                    <a:pt x="96" y="5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2"/>
                    <a:pt x="89" y="1"/>
                    <a:pt x="89" y="1"/>
                  </a:cubicBezTo>
                  <a:cubicBezTo>
                    <a:pt x="88" y="0"/>
                    <a:pt x="88" y="0"/>
                    <a:pt x="87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4" y="0"/>
                    <a:pt x="54" y="0"/>
                    <a:pt x="53" y="1"/>
                  </a:cubicBezTo>
                  <a:cubicBezTo>
                    <a:pt x="53" y="1"/>
                    <a:pt x="53" y="2"/>
                    <a:pt x="53" y="3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5"/>
                    <a:pt x="44" y="5"/>
                    <a:pt x="44" y="5"/>
                  </a:cubicBezTo>
                  <a:cubicBezTo>
                    <a:pt x="44" y="6"/>
                    <a:pt x="43" y="6"/>
                    <a:pt x="43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3" y="20"/>
                    <a:pt x="9" y="40"/>
                    <a:pt x="9" y="62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2" y="74"/>
                    <a:pt x="2" y="74"/>
                    <a:pt x="2" y="74"/>
                  </a:cubicBezTo>
                  <a:cubicBezTo>
                    <a:pt x="1" y="74"/>
                    <a:pt x="0" y="75"/>
                    <a:pt x="0" y="7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1" y="92"/>
                    <a:pt x="142" y="91"/>
                    <a:pt x="142" y="90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5"/>
                    <a:pt x="141" y="74"/>
                    <a:pt x="140" y="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6" name="Group 248">
            <a:extLst>
              <a:ext uri="{FF2B5EF4-FFF2-40B4-BE49-F238E27FC236}">
                <a16:creationId xmlns:a16="http://schemas.microsoft.com/office/drawing/2014/main" id="{55C49200-C6C8-4CDB-B2BC-DE32F064DE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5125" y="4133850"/>
            <a:ext cx="758825" cy="758825"/>
            <a:chOff x="5030" y="2604"/>
            <a:chExt cx="478" cy="478"/>
          </a:xfrm>
        </p:grpSpPr>
        <p:sp>
          <p:nvSpPr>
            <p:cNvPr id="257" name="AutoShape 247">
              <a:extLst>
                <a:ext uri="{FF2B5EF4-FFF2-40B4-BE49-F238E27FC236}">
                  <a16:creationId xmlns:a16="http://schemas.microsoft.com/office/drawing/2014/main" id="{4192CE42-3CF7-45C6-9D4D-3360E470E9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30" y="26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49">
              <a:extLst>
                <a:ext uri="{FF2B5EF4-FFF2-40B4-BE49-F238E27FC236}">
                  <a16:creationId xmlns:a16="http://schemas.microsoft.com/office/drawing/2014/main" id="{02A8EC2B-EFC3-45BD-BEDC-64B503832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" y="26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50">
              <a:extLst>
                <a:ext uri="{FF2B5EF4-FFF2-40B4-BE49-F238E27FC236}">
                  <a16:creationId xmlns:a16="http://schemas.microsoft.com/office/drawing/2014/main" id="{DB5409F9-5890-4ECC-BE73-7B649576C0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6" y="2709"/>
              <a:ext cx="348" cy="226"/>
            </a:xfrm>
            <a:custGeom>
              <a:avLst/>
              <a:gdLst>
                <a:gd name="T0" fmla="*/ 138 w 142"/>
                <a:gd name="T1" fmla="*/ 87 h 92"/>
                <a:gd name="T2" fmla="*/ 4 w 142"/>
                <a:gd name="T3" fmla="*/ 87 h 92"/>
                <a:gd name="T4" fmla="*/ 4 w 142"/>
                <a:gd name="T5" fmla="*/ 78 h 92"/>
                <a:gd name="T6" fmla="*/ 138 w 142"/>
                <a:gd name="T7" fmla="*/ 78 h 92"/>
                <a:gd name="T8" fmla="*/ 138 w 142"/>
                <a:gd name="T9" fmla="*/ 87 h 92"/>
                <a:gd name="T10" fmla="*/ 13 w 142"/>
                <a:gd name="T11" fmla="*/ 62 h 92"/>
                <a:gd name="T12" fmla="*/ 44 w 142"/>
                <a:gd name="T13" fmla="*/ 17 h 92"/>
                <a:gd name="T14" fmla="*/ 48 w 142"/>
                <a:gd name="T15" fmla="*/ 74 h 92"/>
                <a:gd name="T16" fmla="*/ 13 w 142"/>
                <a:gd name="T17" fmla="*/ 74 h 92"/>
                <a:gd name="T18" fmla="*/ 13 w 142"/>
                <a:gd name="T19" fmla="*/ 62 h 92"/>
                <a:gd name="T20" fmla="*/ 53 w 142"/>
                <a:gd name="T21" fmla="*/ 9 h 92"/>
                <a:gd name="T22" fmla="*/ 57 w 142"/>
                <a:gd name="T23" fmla="*/ 74 h 92"/>
                <a:gd name="T24" fmla="*/ 52 w 142"/>
                <a:gd name="T25" fmla="*/ 74 h 92"/>
                <a:gd name="T26" fmla="*/ 48 w 142"/>
                <a:gd name="T27" fmla="*/ 9 h 92"/>
                <a:gd name="T28" fmla="*/ 53 w 142"/>
                <a:gd name="T29" fmla="*/ 9 h 92"/>
                <a:gd name="T30" fmla="*/ 85 w 142"/>
                <a:gd name="T31" fmla="*/ 5 h 92"/>
                <a:gd name="T32" fmla="*/ 80 w 142"/>
                <a:gd name="T33" fmla="*/ 74 h 92"/>
                <a:gd name="T34" fmla="*/ 62 w 142"/>
                <a:gd name="T35" fmla="*/ 74 h 92"/>
                <a:gd name="T36" fmla="*/ 57 w 142"/>
                <a:gd name="T37" fmla="*/ 5 h 92"/>
                <a:gd name="T38" fmla="*/ 85 w 142"/>
                <a:gd name="T39" fmla="*/ 5 h 92"/>
                <a:gd name="T40" fmla="*/ 94 w 142"/>
                <a:gd name="T41" fmla="*/ 9 h 92"/>
                <a:gd name="T42" fmla="*/ 90 w 142"/>
                <a:gd name="T43" fmla="*/ 74 h 92"/>
                <a:gd name="T44" fmla="*/ 85 w 142"/>
                <a:gd name="T45" fmla="*/ 74 h 92"/>
                <a:gd name="T46" fmla="*/ 89 w 142"/>
                <a:gd name="T47" fmla="*/ 9 h 92"/>
                <a:gd name="T48" fmla="*/ 94 w 142"/>
                <a:gd name="T49" fmla="*/ 9 h 92"/>
                <a:gd name="T50" fmla="*/ 129 w 142"/>
                <a:gd name="T51" fmla="*/ 62 h 92"/>
                <a:gd name="T52" fmla="*/ 129 w 142"/>
                <a:gd name="T53" fmla="*/ 74 h 92"/>
                <a:gd name="T54" fmla="*/ 94 w 142"/>
                <a:gd name="T55" fmla="*/ 74 h 92"/>
                <a:gd name="T56" fmla="*/ 98 w 142"/>
                <a:gd name="T57" fmla="*/ 17 h 92"/>
                <a:gd name="T58" fmla="*/ 129 w 142"/>
                <a:gd name="T59" fmla="*/ 62 h 92"/>
                <a:gd name="T60" fmla="*/ 140 w 142"/>
                <a:gd name="T61" fmla="*/ 74 h 92"/>
                <a:gd name="T62" fmla="*/ 133 w 142"/>
                <a:gd name="T63" fmla="*/ 74 h 92"/>
                <a:gd name="T64" fmla="*/ 133 w 142"/>
                <a:gd name="T65" fmla="*/ 62 h 92"/>
                <a:gd name="T66" fmla="*/ 98 w 142"/>
                <a:gd name="T67" fmla="*/ 12 h 92"/>
                <a:gd name="T68" fmla="*/ 99 w 142"/>
                <a:gd name="T69" fmla="*/ 7 h 92"/>
                <a:gd name="T70" fmla="*/ 98 w 142"/>
                <a:gd name="T71" fmla="*/ 5 h 92"/>
                <a:gd name="T72" fmla="*/ 96 w 142"/>
                <a:gd name="T73" fmla="*/ 5 h 92"/>
                <a:gd name="T74" fmla="*/ 89 w 142"/>
                <a:gd name="T75" fmla="*/ 5 h 92"/>
                <a:gd name="T76" fmla="*/ 89 w 142"/>
                <a:gd name="T77" fmla="*/ 3 h 92"/>
                <a:gd name="T78" fmla="*/ 89 w 142"/>
                <a:gd name="T79" fmla="*/ 1 h 92"/>
                <a:gd name="T80" fmla="*/ 87 w 142"/>
                <a:gd name="T81" fmla="*/ 0 h 92"/>
                <a:gd name="T82" fmla="*/ 55 w 142"/>
                <a:gd name="T83" fmla="*/ 0 h 92"/>
                <a:gd name="T84" fmla="*/ 53 w 142"/>
                <a:gd name="T85" fmla="*/ 1 h 92"/>
                <a:gd name="T86" fmla="*/ 53 w 142"/>
                <a:gd name="T87" fmla="*/ 3 h 92"/>
                <a:gd name="T88" fmla="*/ 53 w 142"/>
                <a:gd name="T89" fmla="*/ 5 h 92"/>
                <a:gd name="T90" fmla="*/ 46 w 142"/>
                <a:gd name="T91" fmla="*/ 5 h 92"/>
                <a:gd name="T92" fmla="*/ 44 w 142"/>
                <a:gd name="T93" fmla="*/ 5 h 92"/>
                <a:gd name="T94" fmla="*/ 43 w 142"/>
                <a:gd name="T95" fmla="*/ 7 h 92"/>
                <a:gd name="T96" fmla="*/ 44 w 142"/>
                <a:gd name="T97" fmla="*/ 12 h 92"/>
                <a:gd name="T98" fmla="*/ 9 w 142"/>
                <a:gd name="T99" fmla="*/ 62 h 92"/>
                <a:gd name="T100" fmla="*/ 9 w 142"/>
                <a:gd name="T101" fmla="*/ 74 h 92"/>
                <a:gd name="T102" fmla="*/ 2 w 142"/>
                <a:gd name="T103" fmla="*/ 74 h 92"/>
                <a:gd name="T104" fmla="*/ 0 w 142"/>
                <a:gd name="T105" fmla="*/ 76 h 92"/>
                <a:gd name="T106" fmla="*/ 0 w 142"/>
                <a:gd name="T107" fmla="*/ 90 h 92"/>
                <a:gd name="T108" fmla="*/ 2 w 142"/>
                <a:gd name="T109" fmla="*/ 92 h 92"/>
                <a:gd name="T110" fmla="*/ 140 w 142"/>
                <a:gd name="T111" fmla="*/ 92 h 92"/>
                <a:gd name="T112" fmla="*/ 142 w 142"/>
                <a:gd name="T113" fmla="*/ 90 h 92"/>
                <a:gd name="T114" fmla="*/ 142 w 142"/>
                <a:gd name="T115" fmla="*/ 76 h 92"/>
                <a:gd name="T116" fmla="*/ 140 w 142"/>
                <a:gd name="T117" fmla="*/ 7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2" h="92">
                  <a:moveTo>
                    <a:pt x="138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138" y="78"/>
                    <a:pt x="138" y="78"/>
                    <a:pt x="138" y="78"/>
                  </a:cubicBezTo>
                  <a:lnTo>
                    <a:pt x="138" y="87"/>
                  </a:lnTo>
                  <a:close/>
                  <a:moveTo>
                    <a:pt x="13" y="62"/>
                  </a:moveTo>
                  <a:cubicBezTo>
                    <a:pt x="13" y="42"/>
                    <a:pt x="26" y="25"/>
                    <a:pt x="44" y="17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13" y="74"/>
                    <a:pt x="13" y="74"/>
                    <a:pt x="13" y="74"/>
                  </a:cubicBezTo>
                  <a:lnTo>
                    <a:pt x="13" y="62"/>
                  </a:lnTo>
                  <a:close/>
                  <a:moveTo>
                    <a:pt x="53" y="9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53" y="9"/>
                  </a:lnTo>
                  <a:close/>
                  <a:moveTo>
                    <a:pt x="85" y="5"/>
                  </a:moveTo>
                  <a:cubicBezTo>
                    <a:pt x="80" y="74"/>
                    <a:pt x="80" y="74"/>
                    <a:pt x="80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57" y="5"/>
                    <a:pt x="57" y="5"/>
                    <a:pt x="57" y="5"/>
                  </a:cubicBezTo>
                  <a:lnTo>
                    <a:pt x="85" y="5"/>
                  </a:lnTo>
                  <a:close/>
                  <a:moveTo>
                    <a:pt x="94" y="9"/>
                  </a:moveTo>
                  <a:cubicBezTo>
                    <a:pt x="90" y="74"/>
                    <a:pt x="90" y="74"/>
                    <a:pt x="90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9" y="9"/>
                    <a:pt x="89" y="9"/>
                    <a:pt x="89" y="9"/>
                  </a:cubicBezTo>
                  <a:lnTo>
                    <a:pt x="94" y="9"/>
                  </a:lnTo>
                  <a:close/>
                  <a:moveTo>
                    <a:pt x="129" y="62"/>
                  </a:moveTo>
                  <a:cubicBezTo>
                    <a:pt x="129" y="74"/>
                    <a:pt x="129" y="74"/>
                    <a:pt x="129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116" y="25"/>
                    <a:pt x="129" y="42"/>
                    <a:pt x="129" y="62"/>
                  </a:cubicBezTo>
                  <a:moveTo>
                    <a:pt x="140" y="74"/>
                  </a:moveTo>
                  <a:cubicBezTo>
                    <a:pt x="133" y="74"/>
                    <a:pt x="133" y="74"/>
                    <a:pt x="133" y="74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40"/>
                    <a:pt x="119" y="20"/>
                    <a:pt x="98" y="12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6"/>
                    <a:pt x="98" y="6"/>
                    <a:pt x="98" y="5"/>
                  </a:cubicBezTo>
                  <a:cubicBezTo>
                    <a:pt x="98" y="5"/>
                    <a:pt x="97" y="5"/>
                    <a:pt x="96" y="5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2"/>
                    <a:pt x="89" y="1"/>
                    <a:pt x="89" y="1"/>
                  </a:cubicBezTo>
                  <a:cubicBezTo>
                    <a:pt x="88" y="0"/>
                    <a:pt x="88" y="0"/>
                    <a:pt x="87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4" y="0"/>
                    <a:pt x="54" y="0"/>
                    <a:pt x="53" y="1"/>
                  </a:cubicBezTo>
                  <a:cubicBezTo>
                    <a:pt x="53" y="1"/>
                    <a:pt x="53" y="2"/>
                    <a:pt x="53" y="3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5" y="5"/>
                    <a:pt x="44" y="5"/>
                    <a:pt x="44" y="5"/>
                  </a:cubicBezTo>
                  <a:cubicBezTo>
                    <a:pt x="44" y="6"/>
                    <a:pt x="43" y="6"/>
                    <a:pt x="43" y="7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23" y="20"/>
                    <a:pt x="9" y="40"/>
                    <a:pt x="9" y="62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2" y="74"/>
                    <a:pt x="2" y="74"/>
                    <a:pt x="2" y="74"/>
                  </a:cubicBezTo>
                  <a:cubicBezTo>
                    <a:pt x="1" y="74"/>
                    <a:pt x="0" y="75"/>
                    <a:pt x="0" y="7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41" y="92"/>
                    <a:pt x="142" y="91"/>
                    <a:pt x="142" y="90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5"/>
                    <a:pt x="141" y="74"/>
                    <a:pt x="140" y="7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3">
            <a:extLst>
              <a:ext uri="{FF2B5EF4-FFF2-40B4-BE49-F238E27FC236}">
                <a16:creationId xmlns:a16="http://schemas.microsoft.com/office/drawing/2014/main" id="{8A8DDE41-68DA-4F28-976D-196426F277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5430838"/>
            <a:ext cx="841375" cy="841375"/>
            <a:chOff x="225" y="3421"/>
            <a:chExt cx="530" cy="530"/>
          </a:xfrm>
        </p:grpSpPr>
        <p:sp>
          <p:nvSpPr>
            <p:cNvPr id="261" name="AutoShape 252">
              <a:extLst>
                <a:ext uri="{FF2B5EF4-FFF2-40B4-BE49-F238E27FC236}">
                  <a16:creationId xmlns:a16="http://schemas.microsoft.com/office/drawing/2014/main" id="{1317141F-4C63-4998-9654-E38440C66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342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254">
              <a:extLst>
                <a:ext uri="{FF2B5EF4-FFF2-40B4-BE49-F238E27FC236}">
                  <a16:creationId xmlns:a16="http://schemas.microsoft.com/office/drawing/2014/main" id="{B0869ADA-2B87-4843-B3FC-DEA2AA074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342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55">
              <a:extLst>
                <a:ext uri="{FF2B5EF4-FFF2-40B4-BE49-F238E27FC236}">
                  <a16:creationId xmlns:a16="http://schemas.microsoft.com/office/drawing/2014/main" id="{7421F8DD-ED7C-49C1-9524-5565D1B58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343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56">
              <a:extLst>
                <a:ext uri="{FF2B5EF4-FFF2-40B4-BE49-F238E27FC236}">
                  <a16:creationId xmlns:a16="http://schemas.microsoft.com/office/drawing/2014/main" id="{B0EAB150-D898-439D-8872-3B07D118C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" y="3503"/>
              <a:ext cx="318" cy="369"/>
            </a:xfrm>
            <a:custGeom>
              <a:avLst/>
              <a:gdLst>
                <a:gd name="T0" fmla="*/ 62 w 124"/>
                <a:gd name="T1" fmla="*/ 141 h 144"/>
                <a:gd name="T2" fmla="*/ 62 w 124"/>
                <a:gd name="T3" fmla="*/ 141 h 144"/>
                <a:gd name="T4" fmla="*/ 102 w 124"/>
                <a:gd name="T5" fmla="*/ 100 h 144"/>
                <a:gd name="T6" fmla="*/ 103 w 124"/>
                <a:gd name="T7" fmla="*/ 97 h 144"/>
                <a:gd name="T8" fmla="*/ 105 w 124"/>
                <a:gd name="T9" fmla="*/ 99 h 144"/>
                <a:gd name="T10" fmla="*/ 108 w 124"/>
                <a:gd name="T11" fmla="*/ 100 h 144"/>
                <a:gd name="T12" fmla="*/ 115 w 124"/>
                <a:gd name="T13" fmla="*/ 89 h 144"/>
                <a:gd name="T14" fmla="*/ 118 w 124"/>
                <a:gd name="T15" fmla="*/ 67 h 144"/>
                <a:gd name="T16" fmla="*/ 114 w 124"/>
                <a:gd name="T17" fmla="*/ 66 h 144"/>
                <a:gd name="T18" fmla="*/ 112 w 124"/>
                <a:gd name="T19" fmla="*/ 67 h 144"/>
                <a:gd name="T20" fmla="*/ 112 w 124"/>
                <a:gd name="T21" fmla="*/ 64 h 144"/>
                <a:gd name="T22" fmla="*/ 102 w 124"/>
                <a:gd name="T23" fmla="*/ 18 h 144"/>
                <a:gd name="T24" fmla="*/ 63 w 124"/>
                <a:gd name="T25" fmla="*/ 3 h 144"/>
                <a:gd name="T26" fmla="*/ 61 w 124"/>
                <a:gd name="T27" fmla="*/ 3 h 144"/>
                <a:gd name="T28" fmla="*/ 22 w 124"/>
                <a:gd name="T29" fmla="*/ 18 h 144"/>
                <a:gd name="T30" fmla="*/ 12 w 124"/>
                <a:gd name="T31" fmla="*/ 64 h 144"/>
                <a:gd name="T32" fmla="*/ 12 w 124"/>
                <a:gd name="T33" fmla="*/ 67 h 144"/>
                <a:gd name="T34" fmla="*/ 10 w 124"/>
                <a:gd name="T35" fmla="*/ 66 h 144"/>
                <a:gd name="T36" fmla="*/ 6 w 124"/>
                <a:gd name="T37" fmla="*/ 67 h 144"/>
                <a:gd name="T38" fmla="*/ 9 w 124"/>
                <a:gd name="T39" fmla="*/ 89 h 144"/>
                <a:gd name="T40" fmla="*/ 16 w 124"/>
                <a:gd name="T41" fmla="*/ 100 h 144"/>
                <a:gd name="T42" fmla="*/ 19 w 124"/>
                <a:gd name="T43" fmla="*/ 99 h 144"/>
                <a:gd name="T44" fmla="*/ 21 w 124"/>
                <a:gd name="T45" fmla="*/ 97 h 144"/>
                <a:gd name="T46" fmla="*/ 22 w 124"/>
                <a:gd name="T47" fmla="*/ 100 h 144"/>
                <a:gd name="T48" fmla="*/ 62 w 124"/>
                <a:gd name="T49" fmla="*/ 141 h 144"/>
                <a:gd name="T50" fmla="*/ 63 w 124"/>
                <a:gd name="T51" fmla="*/ 144 h 144"/>
                <a:gd name="T52" fmla="*/ 61 w 124"/>
                <a:gd name="T53" fmla="*/ 144 h 144"/>
                <a:gd name="T54" fmla="*/ 19 w 124"/>
                <a:gd name="T55" fmla="*/ 103 h 144"/>
                <a:gd name="T56" fmla="*/ 15 w 124"/>
                <a:gd name="T57" fmla="*/ 103 h 144"/>
                <a:gd name="T58" fmla="*/ 6 w 124"/>
                <a:gd name="T59" fmla="*/ 90 h 144"/>
                <a:gd name="T60" fmla="*/ 3 w 124"/>
                <a:gd name="T61" fmla="*/ 65 h 144"/>
                <a:gd name="T62" fmla="*/ 8 w 124"/>
                <a:gd name="T63" fmla="*/ 63 h 144"/>
                <a:gd name="T64" fmla="*/ 20 w 124"/>
                <a:gd name="T65" fmla="*/ 16 h 144"/>
                <a:gd name="T66" fmla="*/ 61 w 124"/>
                <a:gd name="T67" fmla="*/ 0 h 144"/>
                <a:gd name="T68" fmla="*/ 63 w 124"/>
                <a:gd name="T69" fmla="*/ 0 h 144"/>
                <a:gd name="T70" fmla="*/ 104 w 124"/>
                <a:gd name="T71" fmla="*/ 16 h 144"/>
                <a:gd name="T72" fmla="*/ 116 w 124"/>
                <a:gd name="T73" fmla="*/ 63 h 144"/>
                <a:gd name="T74" fmla="*/ 121 w 124"/>
                <a:gd name="T75" fmla="*/ 65 h 144"/>
                <a:gd name="T76" fmla="*/ 118 w 124"/>
                <a:gd name="T77" fmla="*/ 90 h 144"/>
                <a:gd name="T78" fmla="*/ 109 w 124"/>
                <a:gd name="T79" fmla="*/ 103 h 144"/>
                <a:gd name="T80" fmla="*/ 105 w 124"/>
                <a:gd name="T81" fmla="*/ 103 h 144"/>
                <a:gd name="T82" fmla="*/ 63 w 124"/>
                <a:gd name="T8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" h="144">
                  <a:moveTo>
                    <a:pt x="62" y="141"/>
                  </a:moveTo>
                  <a:cubicBezTo>
                    <a:pt x="62" y="141"/>
                    <a:pt x="62" y="141"/>
                    <a:pt x="62" y="141"/>
                  </a:cubicBezTo>
                  <a:cubicBezTo>
                    <a:pt x="65" y="140"/>
                    <a:pt x="98" y="132"/>
                    <a:pt x="102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6" y="100"/>
                    <a:pt x="108" y="100"/>
                  </a:cubicBezTo>
                  <a:cubicBezTo>
                    <a:pt x="109" y="100"/>
                    <a:pt x="112" y="98"/>
                    <a:pt x="115" y="89"/>
                  </a:cubicBezTo>
                  <a:cubicBezTo>
                    <a:pt x="120" y="74"/>
                    <a:pt x="120" y="69"/>
                    <a:pt x="118" y="67"/>
                  </a:cubicBezTo>
                  <a:cubicBezTo>
                    <a:pt x="118" y="67"/>
                    <a:pt x="117" y="66"/>
                    <a:pt x="114" y="66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4"/>
                    <a:pt x="117" y="36"/>
                    <a:pt x="102" y="18"/>
                  </a:cubicBezTo>
                  <a:cubicBezTo>
                    <a:pt x="93" y="8"/>
                    <a:pt x="80" y="3"/>
                    <a:pt x="63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44" y="3"/>
                    <a:pt x="31" y="8"/>
                    <a:pt x="22" y="18"/>
                  </a:cubicBezTo>
                  <a:cubicBezTo>
                    <a:pt x="7" y="36"/>
                    <a:pt x="12" y="64"/>
                    <a:pt x="12" y="64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7" y="66"/>
                    <a:pt x="6" y="67"/>
                    <a:pt x="6" y="67"/>
                  </a:cubicBezTo>
                  <a:cubicBezTo>
                    <a:pt x="4" y="69"/>
                    <a:pt x="4" y="74"/>
                    <a:pt x="9" y="89"/>
                  </a:cubicBezTo>
                  <a:cubicBezTo>
                    <a:pt x="12" y="98"/>
                    <a:pt x="15" y="100"/>
                    <a:pt x="16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6" y="132"/>
                    <a:pt x="59" y="140"/>
                    <a:pt x="62" y="141"/>
                  </a:cubicBezTo>
                  <a:moveTo>
                    <a:pt x="63" y="144"/>
                  </a:move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25" y="136"/>
                    <a:pt x="19" y="103"/>
                  </a:cubicBezTo>
                  <a:cubicBezTo>
                    <a:pt x="18" y="103"/>
                    <a:pt x="17" y="103"/>
                    <a:pt x="15" y="103"/>
                  </a:cubicBezTo>
                  <a:cubicBezTo>
                    <a:pt x="12" y="102"/>
                    <a:pt x="8" y="98"/>
                    <a:pt x="6" y="90"/>
                  </a:cubicBezTo>
                  <a:cubicBezTo>
                    <a:pt x="1" y="77"/>
                    <a:pt x="0" y="69"/>
                    <a:pt x="3" y="65"/>
                  </a:cubicBezTo>
                  <a:cubicBezTo>
                    <a:pt x="4" y="64"/>
                    <a:pt x="6" y="63"/>
                    <a:pt x="8" y="63"/>
                  </a:cubicBezTo>
                  <a:cubicBezTo>
                    <a:pt x="8" y="56"/>
                    <a:pt x="6" y="33"/>
                    <a:pt x="20" y="16"/>
                  </a:cubicBezTo>
                  <a:cubicBezTo>
                    <a:pt x="29" y="5"/>
                    <a:pt x="43" y="0"/>
                    <a:pt x="61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1" y="0"/>
                    <a:pt x="95" y="5"/>
                    <a:pt x="104" y="16"/>
                  </a:cubicBezTo>
                  <a:cubicBezTo>
                    <a:pt x="118" y="33"/>
                    <a:pt x="116" y="56"/>
                    <a:pt x="116" y="63"/>
                  </a:cubicBezTo>
                  <a:cubicBezTo>
                    <a:pt x="118" y="63"/>
                    <a:pt x="120" y="64"/>
                    <a:pt x="121" y="65"/>
                  </a:cubicBezTo>
                  <a:cubicBezTo>
                    <a:pt x="124" y="69"/>
                    <a:pt x="123" y="77"/>
                    <a:pt x="118" y="90"/>
                  </a:cubicBezTo>
                  <a:cubicBezTo>
                    <a:pt x="116" y="98"/>
                    <a:pt x="112" y="102"/>
                    <a:pt x="109" y="103"/>
                  </a:cubicBezTo>
                  <a:cubicBezTo>
                    <a:pt x="107" y="103"/>
                    <a:pt x="106" y="103"/>
                    <a:pt x="105" y="103"/>
                  </a:cubicBezTo>
                  <a:cubicBezTo>
                    <a:pt x="99" y="136"/>
                    <a:pt x="63" y="144"/>
                    <a:pt x="63" y="1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57">
              <a:extLst>
                <a:ext uri="{FF2B5EF4-FFF2-40B4-BE49-F238E27FC236}">
                  <a16:creationId xmlns:a16="http://schemas.microsoft.com/office/drawing/2014/main" id="{A3CD7CF1-2BE7-485D-AED3-2782E031C5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" y="3636"/>
              <a:ext cx="246" cy="108"/>
            </a:xfrm>
            <a:custGeom>
              <a:avLst/>
              <a:gdLst>
                <a:gd name="T0" fmla="*/ 3 w 96"/>
                <a:gd name="T1" fmla="*/ 11 h 42"/>
                <a:gd name="T2" fmla="*/ 10 w 96"/>
                <a:gd name="T3" fmla="*/ 32 h 42"/>
                <a:gd name="T4" fmla="*/ 39 w 96"/>
                <a:gd name="T5" fmla="*/ 39 h 42"/>
                <a:gd name="T6" fmla="*/ 48 w 96"/>
                <a:gd name="T7" fmla="*/ 23 h 42"/>
                <a:gd name="T8" fmla="*/ 57 w 96"/>
                <a:gd name="T9" fmla="*/ 39 h 42"/>
                <a:gd name="T10" fmla="*/ 86 w 96"/>
                <a:gd name="T11" fmla="*/ 32 h 42"/>
                <a:gd name="T12" fmla="*/ 93 w 96"/>
                <a:gd name="T13" fmla="*/ 11 h 42"/>
                <a:gd name="T14" fmla="*/ 3 w 96"/>
                <a:gd name="T15" fmla="*/ 11 h 42"/>
                <a:gd name="T16" fmla="*/ 56 w 96"/>
                <a:gd name="T17" fmla="*/ 42 h 42"/>
                <a:gd name="T18" fmla="*/ 54 w 96"/>
                <a:gd name="T19" fmla="*/ 42 h 42"/>
                <a:gd name="T20" fmla="*/ 54 w 96"/>
                <a:gd name="T21" fmla="*/ 41 h 42"/>
                <a:gd name="T22" fmla="*/ 48 w 96"/>
                <a:gd name="T23" fmla="*/ 27 h 42"/>
                <a:gd name="T24" fmla="*/ 42 w 96"/>
                <a:gd name="T25" fmla="*/ 41 h 42"/>
                <a:gd name="T26" fmla="*/ 42 w 96"/>
                <a:gd name="T27" fmla="*/ 42 h 42"/>
                <a:gd name="T28" fmla="*/ 40 w 96"/>
                <a:gd name="T29" fmla="*/ 42 h 42"/>
                <a:gd name="T30" fmla="*/ 8 w 96"/>
                <a:gd name="T31" fmla="*/ 34 h 42"/>
                <a:gd name="T32" fmla="*/ 0 w 96"/>
                <a:gd name="T33" fmla="*/ 10 h 42"/>
                <a:gd name="T34" fmla="*/ 0 w 96"/>
                <a:gd name="T35" fmla="*/ 8 h 42"/>
                <a:gd name="T36" fmla="*/ 1 w 96"/>
                <a:gd name="T37" fmla="*/ 8 h 42"/>
                <a:gd name="T38" fmla="*/ 95 w 96"/>
                <a:gd name="T39" fmla="*/ 8 h 42"/>
                <a:gd name="T40" fmla="*/ 96 w 96"/>
                <a:gd name="T41" fmla="*/ 8 h 42"/>
                <a:gd name="T42" fmla="*/ 96 w 96"/>
                <a:gd name="T43" fmla="*/ 10 h 42"/>
                <a:gd name="T44" fmla="*/ 88 w 96"/>
                <a:gd name="T45" fmla="*/ 34 h 42"/>
                <a:gd name="T46" fmla="*/ 56 w 96"/>
                <a:gd name="T4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42">
                  <a:moveTo>
                    <a:pt x="3" y="11"/>
                  </a:moveTo>
                  <a:cubicBezTo>
                    <a:pt x="3" y="15"/>
                    <a:pt x="5" y="26"/>
                    <a:pt x="10" y="32"/>
                  </a:cubicBezTo>
                  <a:cubicBezTo>
                    <a:pt x="16" y="38"/>
                    <a:pt x="33" y="39"/>
                    <a:pt x="39" y="39"/>
                  </a:cubicBezTo>
                  <a:cubicBezTo>
                    <a:pt x="39" y="35"/>
                    <a:pt x="40" y="23"/>
                    <a:pt x="48" y="23"/>
                  </a:cubicBezTo>
                  <a:cubicBezTo>
                    <a:pt x="56" y="23"/>
                    <a:pt x="57" y="35"/>
                    <a:pt x="57" y="39"/>
                  </a:cubicBezTo>
                  <a:cubicBezTo>
                    <a:pt x="63" y="39"/>
                    <a:pt x="80" y="38"/>
                    <a:pt x="86" y="32"/>
                  </a:cubicBezTo>
                  <a:cubicBezTo>
                    <a:pt x="91" y="26"/>
                    <a:pt x="93" y="15"/>
                    <a:pt x="93" y="11"/>
                  </a:cubicBezTo>
                  <a:cubicBezTo>
                    <a:pt x="52" y="5"/>
                    <a:pt x="11" y="10"/>
                    <a:pt x="3" y="11"/>
                  </a:cubicBezTo>
                  <a:moveTo>
                    <a:pt x="56" y="42"/>
                  </a:move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37"/>
                    <a:pt x="53" y="27"/>
                    <a:pt x="48" y="27"/>
                  </a:cubicBezTo>
                  <a:cubicBezTo>
                    <a:pt x="43" y="27"/>
                    <a:pt x="42" y="37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42"/>
                    <a:pt x="16" y="42"/>
                    <a:pt x="8" y="34"/>
                  </a:cubicBezTo>
                  <a:cubicBezTo>
                    <a:pt x="0" y="26"/>
                    <a:pt x="0" y="10"/>
                    <a:pt x="0" y="1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49" y="0"/>
                    <a:pt x="95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10"/>
                    <a:pt x="96" y="26"/>
                    <a:pt x="88" y="34"/>
                  </a:cubicBezTo>
                  <a:cubicBezTo>
                    <a:pt x="80" y="42"/>
                    <a:pt x="57" y="42"/>
                    <a:pt x="56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58">
              <a:extLst>
                <a:ext uri="{FF2B5EF4-FFF2-40B4-BE49-F238E27FC236}">
                  <a16:creationId xmlns:a16="http://schemas.microsoft.com/office/drawing/2014/main" id="{490D0ECE-B0BC-430B-A5FE-FCF50CEF5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" y="3651"/>
              <a:ext cx="266" cy="28"/>
            </a:xfrm>
            <a:custGeom>
              <a:avLst/>
              <a:gdLst>
                <a:gd name="T0" fmla="*/ 99 w 104"/>
                <a:gd name="T1" fmla="*/ 11 h 11"/>
                <a:gd name="T2" fmla="*/ 98 w 104"/>
                <a:gd name="T3" fmla="*/ 11 h 11"/>
                <a:gd name="T4" fmla="*/ 6 w 104"/>
                <a:gd name="T5" fmla="*/ 11 h 11"/>
                <a:gd name="T6" fmla="*/ 5 w 104"/>
                <a:gd name="T7" fmla="*/ 11 h 11"/>
                <a:gd name="T8" fmla="*/ 0 w 104"/>
                <a:gd name="T9" fmla="*/ 8 h 11"/>
                <a:gd name="T10" fmla="*/ 1 w 104"/>
                <a:gd name="T11" fmla="*/ 5 h 11"/>
                <a:gd name="T12" fmla="*/ 6 w 104"/>
                <a:gd name="T13" fmla="*/ 7 h 11"/>
                <a:gd name="T14" fmla="*/ 98 w 104"/>
                <a:gd name="T15" fmla="*/ 7 h 11"/>
                <a:gd name="T16" fmla="*/ 103 w 104"/>
                <a:gd name="T17" fmla="*/ 5 h 11"/>
                <a:gd name="T18" fmla="*/ 104 w 104"/>
                <a:gd name="T19" fmla="*/ 8 h 11"/>
                <a:gd name="T20" fmla="*/ 99 w 104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11">
                  <a:moveTo>
                    <a:pt x="99" y="11"/>
                  </a:moveTo>
                  <a:cubicBezTo>
                    <a:pt x="98" y="11"/>
                    <a:pt x="98" y="11"/>
                    <a:pt x="98" y="11"/>
                  </a:cubicBezTo>
                  <a:cubicBezTo>
                    <a:pt x="53" y="3"/>
                    <a:pt x="6" y="10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11" y="6"/>
                    <a:pt x="55" y="0"/>
                    <a:pt x="98" y="7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4" y="8"/>
                    <a:pt x="104" y="8"/>
                    <a:pt x="104" y="8"/>
                  </a:cubicBezTo>
                  <a:lnTo>
                    <a:pt x="99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9">
              <a:extLst>
                <a:ext uri="{FF2B5EF4-FFF2-40B4-BE49-F238E27FC236}">
                  <a16:creationId xmlns:a16="http://schemas.microsoft.com/office/drawing/2014/main" id="{73D29124-D8DE-4821-999A-20F7921FF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" y="3649"/>
              <a:ext cx="18" cy="15"/>
            </a:xfrm>
            <a:custGeom>
              <a:avLst/>
              <a:gdLst>
                <a:gd name="T0" fmla="*/ 3 w 18"/>
                <a:gd name="T1" fmla="*/ 15 h 15"/>
                <a:gd name="T2" fmla="*/ 0 w 18"/>
                <a:gd name="T3" fmla="*/ 7 h 15"/>
                <a:gd name="T4" fmla="*/ 13 w 18"/>
                <a:gd name="T5" fmla="*/ 0 h 15"/>
                <a:gd name="T6" fmla="*/ 18 w 18"/>
                <a:gd name="T7" fmla="*/ 7 h 15"/>
                <a:gd name="T8" fmla="*/ 3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3" y="15"/>
                  </a:moveTo>
                  <a:lnTo>
                    <a:pt x="0" y="7"/>
                  </a:lnTo>
                  <a:lnTo>
                    <a:pt x="13" y="0"/>
                  </a:lnTo>
                  <a:lnTo>
                    <a:pt x="18" y="7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0">
              <a:extLst>
                <a:ext uri="{FF2B5EF4-FFF2-40B4-BE49-F238E27FC236}">
                  <a16:creationId xmlns:a16="http://schemas.microsoft.com/office/drawing/2014/main" id="{6B1219B2-8BA6-4EA8-83D9-D0F6A2FD7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" y="3649"/>
              <a:ext cx="18" cy="15"/>
            </a:xfrm>
            <a:custGeom>
              <a:avLst/>
              <a:gdLst>
                <a:gd name="T0" fmla="*/ 16 w 18"/>
                <a:gd name="T1" fmla="*/ 15 h 15"/>
                <a:gd name="T2" fmla="*/ 0 w 18"/>
                <a:gd name="T3" fmla="*/ 7 h 15"/>
                <a:gd name="T4" fmla="*/ 6 w 18"/>
                <a:gd name="T5" fmla="*/ 0 h 15"/>
                <a:gd name="T6" fmla="*/ 18 w 18"/>
                <a:gd name="T7" fmla="*/ 7 h 15"/>
                <a:gd name="T8" fmla="*/ 16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6" y="15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8" y="7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9" name="Group 263">
            <a:extLst>
              <a:ext uri="{FF2B5EF4-FFF2-40B4-BE49-F238E27FC236}">
                <a16:creationId xmlns:a16="http://schemas.microsoft.com/office/drawing/2014/main" id="{F66F25D1-B3EB-43CA-BFD9-8B3B7F43F5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0975" y="5472113"/>
            <a:ext cx="758825" cy="758825"/>
            <a:chOff x="914" y="3447"/>
            <a:chExt cx="478" cy="478"/>
          </a:xfrm>
        </p:grpSpPr>
        <p:sp>
          <p:nvSpPr>
            <p:cNvPr id="270" name="AutoShape 262">
              <a:extLst>
                <a:ext uri="{FF2B5EF4-FFF2-40B4-BE49-F238E27FC236}">
                  <a16:creationId xmlns:a16="http://schemas.microsoft.com/office/drawing/2014/main" id="{47C51D82-E9F9-4E7E-B99E-0FDB107D5D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4" y="344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64">
              <a:extLst>
                <a:ext uri="{FF2B5EF4-FFF2-40B4-BE49-F238E27FC236}">
                  <a16:creationId xmlns:a16="http://schemas.microsoft.com/office/drawing/2014/main" id="{CFC1B2E8-86D8-4885-B184-447C2BD2D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" y="344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65">
              <a:extLst>
                <a:ext uri="{FF2B5EF4-FFF2-40B4-BE49-F238E27FC236}">
                  <a16:creationId xmlns:a16="http://schemas.microsoft.com/office/drawing/2014/main" id="{38F47769-89FD-47F5-A991-63C37C15A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" y="3511"/>
              <a:ext cx="304" cy="353"/>
            </a:xfrm>
            <a:custGeom>
              <a:avLst/>
              <a:gdLst>
                <a:gd name="T0" fmla="*/ 62 w 124"/>
                <a:gd name="T1" fmla="*/ 141 h 144"/>
                <a:gd name="T2" fmla="*/ 62 w 124"/>
                <a:gd name="T3" fmla="*/ 141 h 144"/>
                <a:gd name="T4" fmla="*/ 102 w 124"/>
                <a:gd name="T5" fmla="*/ 100 h 144"/>
                <a:gd name="T6" fmla="*/ 103 w 124"/>
                <a:gd name="T7" fmla="*/ 97 h 144"/>
                <a:gd name="T8" fmla="*/ 105 w 124"/>
                <a:gd name="T9" fmla="*/ 99 h 144"/>
                <a:gd name="T10" fmla="*/ 108 w 124"/>
                <a:gd name="T11" fmla="*/ 100 h 144"/>
                <a:gd name="T12" fmla="*/ 115 w 124"/>
                <a:gd name="T13" fmla="*/ 89 h 144"/>
                <a:gd name="T14" fmla="*/ 118 w 124"/>
                <a:gd name="T15" fmla="*/ 67 h 144"/>
                <a:gd name="T16" fmla="*/ 114 w 124"/>
                <a:gd name="T17" fmla="*/ 66 h 144"/>
                <a:gd name="T18" fmla="*/ 112 w 124"/>
                <a:gd name="T19" fmla="*/ 67 h 144"/>
                <a:gd name="T20" fmla="*/ 112 w 124"/>
                <a:gd name="T21" fmla="*/ 64 h 144"/>
                <a:gd name="T22" fmla="*/ 102 w 124"/>
                <a:gd name="T23" fmla="*/ 18 h 144"/>
                <a:gd name="T24" fmla="*/ 63 w 124"/>
                <a:gd name="T25" fmla="*/ 3 h 144"/>
                <a:gd name="T26" fmla="*/ 61 w 124"/>
                <a:gd name="T27" fmla="*/ 3 h 144"/>
                <a:gd name="T28" fmla="*/ 22 w 124"/>
                <a:gd name="T29" fmla="*/ 18 h 144"/>
                <a:gd name="T30" fmla="*/ 12 w 124"/>
                <a:gd name="T31" fmla="*/ 64 h 144"/>
                <a:gd name="T32" fmla="*/ 12 w 124"/>
                <a:gd name="T33" fmla="*/ 67 h 144"/>
                <a:gd name="T34" fmla="*/ 10 w 124"/>
                <a:gd name="T35" fmla="*/ 66 h 144"/>
                <a:gd name="T36" fmla="*/ 6 w 124"/>
                <a:gd name="T37" fmla="*/ 67 h 144"/>
                <a:gd name="T38" fmla="*/ 9 w 124"/>
                <a:gd name="T39" fmla="*/ 89 h 144"/>
                <a:gd name="T40" fmla="*/ 16 w 124"/>
                <a:gd name="T41" fmla="*/ 100 h 144"/>
                <a:gd name="T42" fmla="*/ 19 w 124"/>
                <a:gd name="T43" fmla="*/ 99 h 144"/>
                <a:gd name="T44" fmla="*/ 21 w 124"/>
                <a:gd name="T45" fmla="*/ 97 h 144"/>
                <a:gd name="T46" fmla="*/ 22 w 124"/>
                <a:gd name="T47" fmla="*/ 100 h 144"/>
                <a:gd name="T48" fmla="*/ 62 w 124"/>
                <a:gd name="T49" fmla="*/ 141 h 144"/>
                <a:gd name="T50" fmla="*/ 63 w 124"/>
                <a:gd name="T51" fmla="*/ 144 h 144"/>
                <a:gd name="T52" fmla="*/ 61 w 124"/>
                <a:gd name="T53" fmla="*/ 144 h 144"/>
                <a:gd name="T54" fmla="*/ 19 w 124"/>
                <a:gd name="T55" fmla="*/ 103 h 144"/>
                <a:gd name="T56" fmla="*/ 15 w 124"/>
                <a:gd name="T57" fmla="*/ 103 h 144"/>
                <a:gd name="T58" fmla="*/ 6 w 124"/>
                <a:gd name="T59" fmla="*/ 90 h 144"/>
                <a:gd name="T60" fmla="*/ 3 w 124"/>
                <a:gd name="T61" fmla="*/ 65 h 144"/>
                <a:gd name="T62" fmla="*/ 8 w 124"/>
                <a:gd name="T63" fmla="*/ 63 h 144"/>
                <a:gd name="T64" fmla="*/ 20 w 124"/>
                <a:gd name="T65" fmla="*/ 16 h 144"/>
                <a:gd name="T66" fmla="*/ 61 w 124"/>
                <a:gd name="T67" fmla="*/ 0 h 144"/>
                <a:gd name="T68" fmla="*/ 63 w 124"/>
                <a:gd name="T69" fmla="*/ 0 h 144"/>
                <a:gd name="T70" fmla="*/ 104 w 124"/>
                <a:gd name="T71" fmla="*/ 16 h 144"/>
                <a:gd name="T72" fmla="*/ 116 w 124"/>
                <a:gd name="T73" fmla="*/ 63 h 144"/>
                <a:gd name="T74" fmla="*/ 121 w 124"/>
                <a:gd name="T75" fmla="*/ 65 h 144"/>
                <a:gd name="T76" fmla="*/ 118 w 124"/>
                <a:gd name="T77" fmla="*/ 90 h 144"/>
                <a:gd name="T78" fmla="*/ 109 w 124"/>
                <a:gd name="T79" fmla="*/ 103 h 144"/>
                <a:gd name="T80" fmla="*/ 105 w 124"/>
                <a:gd name="T81" fmla="*/ 103 h 144"/>
                <a:gd name="T82" fmla="*/ 63 w 124"/>
                <a:gd name="T8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" h="144">
                  <a:moveTo>
                    <a:pt x="62" y="141"/>
                  </a:moveTo>
                  <a:cubicBezTo>
                    <a:pt x="62" y="141"/>
                    <a:pt x="62" y="141"/>
                    <a:pt x="62" y="141"/>
                  </a:cubicBezTo>
                  <a:cubicBezTo>
                    <a:pt x="65" y="140"/>
                    <a:pt x="98" y="132"/>
                    <a:pt x="102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6" y="100"/>
                    <a:pt x="108" y="100"/>
                  </a:cubicBezTo>
                  <a:cubicBezTo>
                    <a:pt x="109" y="100"/>
                    <a:pt x="112" y="98"/>
                    <a:pt x="115" y="89"/>
                  </a:cubicBezTo>
                  <a:cubicBezTo>
                    <a:pt x="120" y="74"/>
                    <a:pt x="120" y="69"/>
                    <a:pt x="118" y="67"/>
                  </a:cubicBezTo>
                  <a:cubicBezTo>
                    <a:pt x="118" y="67"/>
                    <a:pt x="117" y="66"/>
                    <a:pt x="114" y="66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4"/>
                    <a:pt x="117" y="36"/>
                    <a:pt x="102" y="18"/>
                  </a:cubicBezTo>
                  <a:cubicBezTo>
                    <a:pt x="93" y="8"/>
                    <a:pt x="80" y="3"/>
                    <a:pt x="63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44" y="3"/>
                    <a:pt x="31" y="8"/>
                    <a:pt x="22" y="18"/>
                  </a:cubicBezTo>
                  <a:cubicBezTo>
                    <a:pt x="7" y="36"/>
                    <a:pt x="12" y="64"/>
                    <a:pt x="12" y="64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7" y="66"/>
                    <a:pt x="6" y="67"/>
                    <a:pt x="6" y="67"/>
                  </a:cubicBezTo>
                  <a:cubicBezTo>
                    <a:pt x="4" y="69"/>
                    <a:pt x="4" y="74"/>
                    <a:pt x="9" y="89"/>
                  </a:cubicBezTo>
                  <a:cubicBezTo>
                    <a:pt x="12" y="98"/>
                    <a:pt x="15" y="100"/>
                    <a:pt x="16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6" y="132"/>
                    <a:pt x="59" y="140"/>
                    <a:pt x="62" y="141"/>
                  </a:cubicBezTo>
                  <a:moveTo>
                    <a:pt x="63" y="144"/>
                  </a:move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25" y="136"/>
                    <a:pt x="19" y="103"/>
                  </a:cubicBezTo>
                  <a:cubicBezTo>
                    <a:pt x="18" y="103"/>
                    <a:pt x="17" y="103"/>
                    <a:pt x="15" y="103"/>
                  </a:cubicBezTo>
                  <a:cubicBezTo>
                    <a:pt x="12" y="102"/>
                    <a:pt x="8" y="98"/>
                    <a:pt x="6" y="90"/>
                  </a:cubicBezTo>
                  <a:cubicBezTo>
                    <a:pt x="1" y="77"/>
                    <a:pt x="0" y="69"/>
                    <a:pt x="3" y="65"/>
                  </a:cubicBezTo>
                  <a:cubicBezTo>
                    <a:pt x="4" y="64"/>
                    <a:pt x="6" y="63"/>
                    <a:pt x="8" y="63"/>
                  </a:cubicBezTo>
                  <a:cubicBezTo>
                    <a:pt x="8" y="56"/>
                    <a:pt x="6" y="33"/>
                    <a:pt x="20" y="16"/>
                  </a:cubicBezTo>
                  <a:cubicBezTo>
                    <a:pt x="29" y="5"/>
                    <a:pt x="43" y="0"/>
                    <a:pt x="61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1" y="0"/>
                    <a:pt x="95" y="5"/>
                    <a:pt x="104" y="16"/>
                  </a:cubicBezTo>
                  <a:cubicBezTo>
                    <a:pt x="118" y="33"/>
                    <a:pt x="116" y="56"/>
                    <a:pt x="116" y="63"/>
                  </a:cubicBezTo>
                  <a:cubicBezTo>
                    <a:pt x="118" y="63"/>
                    <a:pt x="120" y="64"/>
                    <a:pt x="121" y="65"/>
                  </a:cubicBezTo>
                  <a:cubicBezTo>
                    <a:pt x="124" y="69"/>
                    <a:pt x="123" y="77"/>
                    <a:pt x="118" y="90"/>
                  </a:cubicBezTo>
                  <a:cubicBezTo>
                    <a:pt x="116" y="98"/>
                    <a:pt x="112" y="102"/>
                    <a:pt x="109" y="103"/>
                  </a:cubicBezTo>
                  <a:cubicBezTo>
                    <a:pt x="107" y="103"/>
                    <a:pt x="106" y="103"/>
                    <a:pt x="105" y="103"/>
                  </a:cubicBezTo>
                  <a:cubicBezTo>
                    <a:pt x="99" y="136"/>
                    <a:pt x="63" y="144"/>
                    <a:pt x="63" y="14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66">
              <a:extLst>
                <a:ext uri="{FF2B5EF4-FFF2-40B4-BE49-F238E27FC236}">
                  <a16:creationId xmlns:a16="http://schemas.microsoft.com/office/drawing/2014/main" id="{CE135E5C-9936-4B8E-B40E-5B75812D2E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" y="3638"/>
              <a:ext cx="235" cy="103"/>
            </a:xfrm>
            <a:custGeom>
              <a:avLst/>
              <a:gdLst>
                <a:gd name="T0" fmla="*/ 3 w 96"/>
                <a:gd name="T1" fmla="*/ 11 h 42"/>
                <a:gd name="T2" fmla="*/ 10 w 96"/>
                <a:gd name="T3" fmla="*/ 32 h 42"/>
                <a:gd name="T4" fmla="*/ 39 w 96"/>
                <a:gd name="T5" fmla="*/ 39 h 42"/>
                <a:gd name="T6" fmla="*/ 48 w 96"/>
                <a:gd name="T7" fmla="*/ 23 h 42"/>
                <a:gd name="T8" fmla="*/ 57 w 96"/>
                <a:gd name="T9" fmla="*/ 39 h 42"/>
                <a:gd name="T10" fmla="*/ 86 w 96"/>
                <a:gd name="T11" fmla="*/ 32 h 42"/>
                <a:gd name="T12" fmla="*/ 93 w 96"/>
                <a:gd name="T13" fmla="*/ 11 h 42"/>
                <a:gd name="T14" fmla="*/ 3 w 96"/>
                <a:gd name="T15" fmla="*/ 11 h 42"/>
                <a:gd name="T16" fmla="*/ 56 w 96"/>
                <a:gd name="T17" fmla="*/ 42 h 42"/>
                <a:gd name="T18" fmla="*/ 54 w 96"/>
                <a:gd name="T19" fmla="*/ 42 h 42"/>
                <a:gd name="T20" fmla="*/ 54 w 96"/>
                <a:gd name="T21" fmla="*/ 41 h 42"/>
                <a:gd name="T22" fmla="*/ 48 w 96"/>
                <a:gd name="T23" fmla="*/ 27 h 42"/>
                <a:gd name="T24" fmla="*/ 42 w 96"/>
                <a:gd name="T25" fmla="*/ 41 h 42"/>
                <a:gd name="T26" fmla="*/ 42 w 96"/>
                <a:gd name="T27" fmla="*/ 42 h 42"/>
                <a:gd name="T28" fmla="*/ 40 w 96"/>
                <a:gd name="T29" fmla="*/ 42 h 42"/>
                <a:gd name="T30" fmla="*/ 8 w 96"/>
                <a:gd name="T31" fmla="*/ 34 h 42"/>
                <a:gd name="T32" fmla="*/ 0 w 96"/>
                <a:gd name="T33" fmla="*/ 10 h 42"/>
                <a:gd name="T34" fmla="*/ 0 w 96"/>
                <a:gd name="T35" fmla="*/ 8 h 42"/>
                <a:gd name="T36" fmla="*/ 1 w 96"/>
                <a:gd name="T37" fmla="*/ 8 h 42"/>
                <a:gd name="T38" fmla="*/ 95 w 96"/>
                <a:gd name="T39" fmla="*/ 8 h 42"/>
                <a:gd name="T40" fmla="*/ 96 w 96"/>
                <a:gd name="T41" fmla="*/ 8 h 42"/>
                <a:gd name="T42" fmla="*/ 96 w 96"/>
                <a:gd name="T43" fmla="*/ 10 h 42"/>
                <a:gd name="T44" fmla="*/ 88 w 96"/>
                <a:gd name="T45" fmla="*/ 34 h 42"/>
                <a:gd name="T46" fmla="*/ 56 w 96"/>
                <a:gd name="T4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42">
                  <a:moveTo>
                    <a:pt x="3" y="11"/>
                  </a:moveTo>
                  <a:cubicBezTo>
                    <a:pt x="3" y="15"/>
                    <a:pt x="5" y="26"/>
                    <a:pt x="10" y="32"/>
                  </a:cubicBezTo>
                  <a:cubicBezTo>
                    <a:pt x="16" y="38"/>
                    <a:pt x="33" y="39"/>
                    <a:pt x="39" y="39"/>
                  </a:cubicBezTo>
                  <a:cubicBezTo>
                    <a:pt x="39" y="35"/>
                    <a:pt x="40" y="23"/>
                    <a:pt x="48" y="23"/>
                  </a:cubicBezTo>
                  <a:cubicBezTo>
                    <a:pt x="56" y="23"/>
                    <a:pt x="57" y="35"/>
                    <a:pt x="57" y="39"/>
                  </a:cubicBezTo>
                  <a:cubicBezTo>
                    <a:pt x="63" y="39"/>
                    <a:pt x="80" y="38"/>
                    <a:pt x="86" y="32"/>
                  </a:cubicBezTo>
                  <a:cubicBezTo>
                    <a:pt x="91" y="26"/>
                    <a:pt x="93" y="15"/>
                    <a:pt x="93" y="11"/>
                  </a:cubicBezTo>
                  <a:cubicBezTo>
                    <a:pt x="52" y="5"/>
                    <a:pt x="11" y="10"/>
                    <a:pt x="3" y="11"/>
                  </a:cubicBezTo>
                  <a:moveTo>
                    <a:pt x="56" y="42"/>
                  </a:move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37"/>
                    <a:pt x="53" y="27"/>
                    <a:pt x="48" y="27"/>
                  </a:cubicBezTo>
                  <a:cubicBezTo>
                    <a:pt x="43" y="27"/>
                    <a:pt x="42" y="37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42"/>
                    <a:pt x="16" y="42"/>
                    <a:pt x="8" y="34"/>
                  </a:cubicBezTo>
                  <a:cubicBezTo>
                    <a:pt x="0" y="26"/>
                    <a:pt x="0" y="10"/>
                    <a:pt x="0" y="1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49" y="0"/>
                    <a:pt x="95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10"/>
                    <a:pt x="96" y="26"/>
                    <a:pt x="88" y="34"/>
                  </a:cubicBezTo>
                  <a:cubicBezTo>
                    <a:pt x="80" y="42"/>
                    <a:pt x="57" y="42"/>
                    <a:pt x="56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67">
              <a:extLst>
                <a:ext uri="{FF2B5EF4-FFF2-40B4-BE49-F238E27FC236}">
                  <a16:creationId xmlns:a16="http://schemas.microsoft.com/office/drawing/2014/main" id="{F2FC7D90-40EA-4C05-A37A-4A05743D5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" y="3653"/>
              <a:ext cx="255" cy="27"/>
            </a:xfrm>
            <a:custGeom>
              <a:avLst/>
              <a:gdLst>
                <a:gd name="T0" fmla="*/ 99 w 104"/>
                <a:gd name="T1" fmla="*/ 11 h 11"/>
                <a:gd name="T2" fmla="*/ 98 w 104"/>
                <a:gd name="T3" fmla="*/ 11 h 11"/>
                <a:gd name="T4" fmla="*/ 6 w 104"/>
                <a:gd name="T5" fmla="*/ 11 h 11"/>
                <a:gd name="T6" fmla="*/ 5 w 104"/>
                <a:gd name="T7" fmla="*/ 11 h 11"/>
                <a:gd name="T8" fmla="*/ 0 w 104"/>
                <a:gd name="T9" fmla="*/ 8 h 11"/>
                <a:gd name="T10" fmla="*/ 1 w 104"/>
                <a:gd name="T11" fmla="*/ 5 h 11"/>
                <a:gd name="T12" fmla="*/ 6 w 104"/>
                <a:gd name="T13" fmla="*/ 7 h 11"/>
                <a:gd name="T14" fmla="*/ 98 w 104"/>
                <a:gd name="T15" fmla="*/ 7 h 11"/>
                <a:gd name="T16" fmla="*/ 103 w 104"/>
                <a:gd name="T17" fmla="*/ 5 h 11"/>
                <a:gd name="T18" fmla="*/ 104 w 104"/>
                <a:gd name="T19" fmla="*/ 8 h 11"/>
                <a:gd name="T20" fmla="*/ 99 w 104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11">
                  <a:moveTo>
                    <a:pt x="99" y="11"/>
                  </a:moveTo>
                  <a:cubicBezTo>
                    <a:pt x="98" y="11"/>
                    <a:pt x="98" y="11"/>
                    <a:pt x="98" y="11"/>
                  </a:cubicBezTo>
                  <a:cubicBezTo>
                    <a:pt x="53" y="3"/>
                    <a:pt x="6" y="10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11" y="6"/>
                    <a:pt x="55" y="0"/>
                    <a:pt x="98" y="7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4" y="8"/>
                    <a:pt x="104" y="8"/>
                    <a:pt x="104" y="8"/>
                  </a:cubicBezTo>
                  <a:lnTo>
                    <a:pt x="99" y="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68">
              <a:extLst>
                <a:ext uri="{FF2B5EF4-FFF2-40B4-BE49-F238E27FC236}">
                  <a16:creationId xmlns:a16="http://schemas.microsoft.com/office/drawing/2014/main" id="{D488CA77-ABA7-4FF3-8775-DF36BC319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" y="3650"/>
              <a:ext cx="17" cy="15"/>
            </a:xfrm>
            <a:custGeom>
              <a:avLst/>
              <a:gdLst>
                <a:gd name="T0" fmla="*/ 2 w 17"/>
                <a:gd name="T1" fmla="*/ 15 h 15"/>
                <a:gd name="T2" fmla="*/ 0 w 17"/>
                <a:gd name="T3" fmla="*/ 8 h 15"/>
                <a:gd name="T4" fmla="*/ 12 w 17"/>
                <a:gd name="T5" fmla="*/ 0 h 15"/>
                <a:gd name="T6" fmla="*/ 17 w 17"/>
                <a:gd name="T7" fmla="*/ 8 h 15"/>
                <a:gd name="T8" fmla="*/ 2 w 17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5">
                  <a:moveTo>
                    <a:pt x="2" y="15"/>
                  </a:moveTo>
                  <a:lnTo>
                    <a:pt x="0" y="8"/>
                  </a:lnTo>
                  <a:lnTo>
                    <a:pt x="12" y="0"/>
                  </a:lnTo>
                  <a:lnTo>
                    <a:pt x="17" y="8"/>
                  </a:lnTo>
                  <a:lnTo>
                    <a:pt x="2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69">
              <a:extLst>
                <a:ext uri="{FF2B5EF4-FFF2-40B4-BE49-F238E27FC236}">
                  <a16:creationId xmlns:a16="http://schemas.microsoft.com/office/drawing/2014/main" id="{D8CF8616-1117-4E54-97C3-DABAC744F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" y="3650"/>
              <a:ext cx="17" cy="15"/>
            </a:xfrm>
            <a:custGeom>
              <a:avLst/>
              <a:gdLst>
                <a:gd name="T0" fmla="*/ 15 w 17"/>
                <a:gd name="T1" fmla="*/ 15 h 15"/>
                <a:gd name="T2" fmla="*/ 0 w 17"/>
                <a:gd name="T3" fmla="*/ 8 h 15"/>
                <a:gd name="T4" fmla="*/ 5 w 17"/>
                <a:gd name="T5" fmla="*/ 0 h 15"/>
                <a:gd name="T6" fmla="*/ 17 w 17"/>
                <a:gd name="T7" fmla="*/ 8 h 15"/>
                <a:gd name="T8" fmla="*/ 15 w 17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5">
                  <a:moveTo>
                    <a:pt x="15" y="15"/>
                  </a:moveTo>
                  <a:lnTo>
                    <a:pt x="0" y="8"/>
                  </a:lnTo>
                  <a:lnTo>
                    <a:pt x="5" y="0"/>
                  </a:lnTo>
                  <a:lnTo>
                    <a:pt x="17" y="8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272">
            <a:extLst>
              <a:ext uri="{FF2B5EF4-FFF2-40B4-BE49-F238E27FC236}">
                <a16:creationId xmlns:a16="http://schemas.microsoft.com/office/drawing/2014/main" id="{F3F4A660-7CB7-465D-BF5A-DA0E0E359A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1275" y="5430838"/>
            <a:ext cx="841375" cy="841375"/>
            <a:chOff x="1626" y="3421"/>
            <a:chExt cx="530" cy="530"/>
          </a:xfrm>
        </p:grpSpPr>
        <p:sp>
          <p:nvSpPr>
            <p:cNvPr id="278" name="AutoShape 271">
              <a:extLst>
                <a:ext uri="{FF2B5EF4-FFF2-40B4-BE49-F238E27FC236}">
                  <a16:creationId xmlns:a16="http://schemas.microsoft.com/office/drawing/2014/main" id="{B5744626-30EB-4051-B8C9-BB3A762AC1A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6" y="342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273">
              <a:extLst>
                <a:ext uri="{FF2B5EF4-FFF2-40B4-BE49-F238E27FC236}">
                  <a16:creationId xmlns:a16="http://schemas.microsoft.com/office/drawing/2014/main" id="{54DF6FFA-656C-406D-B06E-FAD9AC13C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" y="342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74">
              <a:extLst>
                <a:ext uri="{FF2B5EF4-FFF2-40B4-BE49-F238E27FC236}">
                  <a16:creationId xmlns:a16="http://schemas.microsoft.com/office/drawing/2014/main" id="{AEA0B0CB-5D01-4DA3-911C-8C183063F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343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75">
              <a:extLst>
                <a:ext uri="{FF2B5EF4-FFF2-40B4-BE49-F238E27FC236}">
                  <a16:creationId xmlns:a16="http://schemas.microsoft.com/office/drawing/2014/main" id="{94509505-8ECE-4AF0-9BA3-F9F631865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2" y="3764"/>
              <a:ext cx="220" cy="102"/>
            </a:xfrm>
            <a:custGeom>
              <a:avLst/>
              <a:gdLst>
                <a:gd name="T0" fmla="*/ 42 w 86"/>
                <a:gd name="T1" fmla="*/ 40 h 40"/>
                <a:gd name="T2" fmla="*/ 0 w 86"/>
                <a:gd name="T3" fmla="*/ 1 h 40"/>
                <a:gd name="T4" fmla="*/ 3 w 86"/>
                <a:gd name="T5" fmla="*/ 0 h 40"/>
                <a:gd name="T6" fmla="*/ 43 w 86"/>
                <a:gd name="T7" fmla="*/ 36 h 40"/>
                <a:gd name="T8" fmla="*/ 44 w 86"/>
                <a:gd name="T9" fmla="*/ 36 h 40"/>
                <a:gd name="T10" fmla="*/ 83 w 86"/>
                <a:gd name="T11" fmla="*/ 0 h 40"/>
                <a:gd name="T12" fmla="*/ 86 w 86"/>
                <a:gd name="T13" fmla="*/ 1 h 40"/>
                <a:gd name="T14" fmla="*/ 44 w 86"/>
                <a:gd name="T15" fmla="*/ 40 h 40"/>
                <a:gd name="T16" fmla="*/ 42 w 8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40">
                  <a:moveTo>
                    <a:pt x="42" y="40"/>
                  </a:moveTo>
                  <a:cubicBezTo>
                    <a:pt x="42" y="40"/>
                    <a:pt x="10" y="36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33"/>
                    <a:pt x="42" y="36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5" y="36"/>
                    <a:pt x="74" y="33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6" y="36"/>
                    <a:pt x="44" y="40"/>
                    <a:pt x="44" y="40"/>
                  </a:cubicBezTo>
                  <a:lnTo>
                    <a:pt x="42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76">
              <a:extLst>
                <a:ext uri="{FF2B5EF4-FFF2-40B4-BE49-F238E27FC236}">
                  <a16:creationId xmlns:a16="http://schemas.microsoft.com/office/drawing/2014/main" id="{B8FF2A1A-AAC8-4A6F-BD16-D11D491B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9" y="3654"/>
              <a:ext cx="41" cy="115"/>
            </a:xfrm>
            <a:custGeom>
              <a:avLst/>
              <a:gdLst>
                <a:gd name="T0" fmla="*/ 7 w 41"/>
                <a:gd name="T1" fmla="*/ 107 h 115"/>
                <a:gd name="T2" fmla="*/ 33 w 41"/>
                <a:gd name="T3" fmla="*/ 107 h 115"/>
                <a:gd name="T4" fmla="*/ 33 w 41"/>
                <a:gd name="T5" fmla="*/ 10 h 115"/>
                <a:gd name="T6" fmla="*/ 7 w 41"/>
                <a:gd name="T7" fmla="*/ 10 h 115"/>
                <a:gd name="T8" fmla="*/ 7 w 41"/>
                <a:gd name="T9" fmla="*/ 107 h 115"/>
                <a:gd name="T10" fmla="*/ 41 w 41"/>
                <a:gd name="T11" fmla="*/ 115 h 115"/>
                <a:gd name="T12" fmla="*/ 0 w 41"/>
                <a:gd name="T13" fmla="*/ 115 h 115"/>
                <a:gd name="T14" fmla="*/ 0 w 41"/>
                <a:gd name="T15" fmla="*/ 0 h 115"/>
                <a:gd name="T16" fmla="*/ 41 w 41"/>
                <a:gd name="T17" fmla="*/ 0 h 115"/>
                <a:gd name="T18" fmla="*/ 41 w 41"/>
                <a:gd name="T1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15">
                  <a:moveTo>
                    <a:pt x="7" y="107"/>
                  </a:moveTo>
                  <a:lnTo>
                    <a:pt x="33" y="107"/>
                  </a:lnTo>
                  <a:lnTo>
                    <a:pt x="33" y="10"/>
                  </a:lnTo>
                  <a:lnTo>
                    <a:pt x="7" y="10"/>
                  </a:lnTo>
                  <a:lnTo>
                    <a:pt x="7" y="107"/>
                  </a:lnTo>
                  <a:close/>
                  <a:moveTo>
                    <a:pt x="41" y="115"/>
                  </a:moveTo>
                  <a:lnTo>
                    <a:pt x="0" y="115"/>
                  </a:lnTo>
                  <a:lnTo>
                    <a:pt x="0" y="0"/>
                  </a:lnTo>
                  <a:lnTo>
                    <a:pt x="41" y="0"/>
                  </a:lnTo>
                  <a:lnTo>
                    <a:pt x="41" y="1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77">
              <a:extLst>
                <a:ext uri="{FF2B5EF4-FFF2-40B4-BE49-F238E27FC236}">
                  <a16:creationId xmlns:a16="http://schemas.microsoft.com/office/drawing/2014/main" id="{3BA4865B-833D-42FD-A669-6126A11A0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" y="3659"/>
              <a:ext cx="41" cy="54"/>
            </a:xfrm>
            <a:custGeom>
              <a:avLst/>
              <a:gdLst>
                <a:gd name="T0" fmla="*/ 3 w 16"/>
                <a:gd name="T1" fmla="*/ 21 h 21"/>
                <a:gd name="T2" fmla="*/ 0 w 16"/>
                <a:gd name="T3" fmla="*/ 21 h 21"/>
                <a:gd name="T4" fmla="*/ 2 w 16"/>
                <a:gd name="T5" fmla="*/ 14 h 21"/>
                <a:gd name="T6" fmla="*/ 5 w 16"/>
                <a:gd name="T7" fmla="*/ 13 h 21"/>
                <a:gd name="T8" fmla="*/ 15 w 16"/>
                <a:gd name="T9" fmla="*/ 0 h 21"/>
                <a:gd name="T10" fmla="*/ 16 w 16"/>
                <a:gd name="T11" fmla="*/ 3 h 21"/>
                <a:gd name="T12" fmla="*/ 8 w 16"/>
                <a:gd name="T13" fmla="*/ 14 h 21"/>
                <a:gd name="T14" fmla="*/ 8 w 16"/>
                <a:gd name="T15" fmla="*/ 16 h 21"/>
                <a:gd name="T16" fmla="*/ 6 w 16"/>
                <a:gd name="T17" fmla="*/ 16 h 21"/>
                <a:gd name="T18" fmla="*/ 4 w 16"/>
                <a:gd name="T19" fmla="*/ 16 h 21"/>
                <a:gd name="T20" fmla="*/ 3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3" y="21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6" y="4"/>
                    <a:pt x="14" y="0"/>
                    <a:pt x="15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8" y="7"/>
                    <a:pt x="8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5" y="16"/>
                    <a:pt x="4" y="16"/>
                  </a:cubicBezTo>
                  <a:cubicBezTo>
                    <a:pt x="3" y="17"/>
                    <a:pt x="3" y="19"/>
                    <a:pt x="3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78">
              <a:extLst>
                <a:ext uri="{FF2B5EF4-FFF2-40B4-BE49-F238E27FC236}">
                  <a16:creationId xmlns:a16="http://schemas.microsoft.com/office/drawing/2014/main" id="{35AABE6A-9C84-4E19-9057-0778DCF93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" y="3713"/>
              <a:ext cx="41" cy="54"/>
            </a:xfrm>
            <a:custGeom>
              <a:avLst/>
              <a:gdLst>
                <a:gd name="T0" fmla="*/ 15 w 16"/>
                <a:gd name="T1" fmla="*/ 21 h 21"/>
                <a:gd name="T2" fmla="*/ 5 w 16"/>
                <a:gd name="T3" fmla="*/ 8 h 21"/>
                <a:gd name="T4" fmla="*/ 2 w 16"/>
                <a:gd name="T5" fmla="*/ 7 h 21"/>
                <a:gd name="T6" fmla="*/ 0 w 16"/>
                <a:gd name="T7" fmla="*/ 0 h 21"/>
                <a:gd name="T8" fmla="*/ 3 w 16"/>
                <a:gd name="T9" fmla="*/ 0 h 21"/>
                <a:gd name="T10" fmla="*/ 4 w 16"/>
                <a:gd name="T11" fmla="*/ 4 h 21"/>
                <a:gd name="T12" fmla="*/ 6 w 16"/>
                <a:gd name="T13" fmla="*/ 5 h 21"/>
                <a:gd name="T14" fmla="*/ 8 w 16"/>
                <a:gd name="T15" fmla="*/ 4 h 21"/>
                <a:gd name="T16" fmla="*/ 8 w 16"/>
                <a:gd name="T17" fmla="*/ 6 h 21"/>
                <a:gd name="T18" fmla="*/ 16 w 16"/>
                <a:gd name="T19" fmla="*/ 17 h 21"/>
                <a:gd name="T20" fmla="*/ 15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5" y="21"/>
                  </a:moveTo>
                  <a:cubicBezTo>
                    <a:pt x="14" y="20"/>
                    <a:pt x="6" y="17"/>
                    <a:pt x="5" y="8"/>
                  </a:cubicBezTo>
                  <a:cubicBezTo>
                    <a:pt x="4" y="8"/>
                    <a:pt x="3" y="8"/>
                    <a:pt x="2" y="7"/>
                  </a:cubicBezTo>
                  <a:cubicBezTo>
                    <a:pt x="0" y="6"/>
                    <a:pt x="0" y="3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4"/>
                    <a:pt x="4" y="4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4"/>
                    <a:pt x="16" y="17"/>
                    <a:pt x="16" y="17"/>
                  </a:cubicBezTo>
                  <a:lnTo>
                    <a:pt x="15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79">
              <a:extLst>
                <a:ext uri="{FF2B5EF4-FFF2-40B4-BE49-F238E27FC236}">
                  <a16:creationId xmlns:a16="http://schemas.microsoft.com/office/drawing/2014/main" id="{39E6159F-BE2A-4B83-B1AA-036369499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" y="3523"/>
              <a:ext cx="256" cy="136"/>
            </a:xfrm>
            <a:custGeom>
              <a:avLst/>
              <a:gdLst>
                <a:gd name="T0" fmla="*/ 100 w 100"/>
                <a:gd name="T1" fmla="*/ 53 h 53"/>
                <a:gd name="T2" fmla="*/ 96 w 100"/>
                <a:gd name="T3" fmla="*/ 53 h 53"/>
                <a:gd name="T4" fmla="*/ 83 w 100"/>
                <a:gd name="T5" fmla="*/ 16 h 53"/>
                <a:gd name="T6" fmla="*/ 51 w 100"/>
                <a:gd name="T7" fmla="*/ 4 h 53"/>
                <a:gd name="T8" fmla="*/ 49 w 100"/>
                <a:gd name="T9" fmla="*/ 4 h 53"/>
                <a:gd name="T10" fmla="*/ 17 w 100"/>
                <a:gd name="T11" fmla="*/ 16 h 53"/>
                <a:gd name="T12" fmla="*/ 4 w 100"/>
                <a:gd name="T13" fmla="*/ 53 h 53"/>
                <a:gd name="T14" fmla="*/ 0 w 100"/>
                <a:gd name="T15" fmla="*/ 53 h 53"/>
                <a:gd name="T16" fmla="*/ 15 w 100"/>
                <a:gd name="T17" fmla="*/ 13 h 53"/>
                <a:gd name="T18" fmla="*/ 50 w 100"/>
                <a:gd name="T19" fmla="*/ 1 h 53"/>
                <a:gd name="T20" fmla="*/ 51 w 100"/>
                <a:gd name="T21" fmla="*/ 1 h 53"/>
                <a:gd name="T22" fmla="*/ 85 w 100"/>
                <a:gd name="T23" fmla="*/ 13 h 53"/>
                <a:gd name="T24" fmla="*/ 100 w 100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53">
                  <a:moveTo>
                    <a:pt x="100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30"/>
                    <a:pt x="83" y="16"/>
                  </a:cubicBezTo>
                  <a:cubicBezTo>
                    <a:pt x="75" y="8"/>
                    <a:pt x="64" y="4"/>
                    <a:pt x="51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36" y="4"/>
                    <a:pt x="25" y="8"/>
                    <a:pt x="17" y="16"/>
                  </a:cubicBezTo>
                  <a:cubicBezTo>
                    <a:pt x="3" y="30"/>
                    <a:pt x="4" y="53"/>
                    <a:pt x="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2"/>
                    <a:pt x="0" y="28"/>
                    <a:pt x="15" y="13"/>
                  </a:cubicBezTo>
                  <a:cubicBezTo>
                    <a:pt x="23" y="5"/>
                    <a:pt x="35" y="0"/>
                    <a:pt x="50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65" y="0"/>
                    <a:pt x="77" y="5"/>
                    <a:pt x="85" y="13"/>
                  </a:cubicBezTo>
                  <a:cubicBezTo>
                    <a:pt x="100" y="28"/>
                    <a:pt x="100" y="52"/>
                    <a:pt x="10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80">
              <a:extLst>
                <a:ext uri="{FF2B5EF4-FFF2-40B4-BE49-F238E27FC236}">
                  <a16:creationId xmlns:a16="http://schemas.microsoft.com/office/drawing/2014/main" id="{26AFE8E6-C644-4509-B059-BE7E64800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1" y="3508"/>
              <a:ext cx="282" cy="151"/>
            </a:xfrm>
            <a:custGeom>
              <a:avLst/>
              <a:gdLst>
                <a:gd name="T0" fmla="*/ 110 w 110"/>
                <a:gd name="T1" fmla="*/ 59 h 59"/>
                <a:gd name="T2" fmla="*/ 106 w 110"/>
                <a:gd name="T3" fmla="*/ 59 h 59"/>
                <a:gd name="T4" fmla="*/ 106 w 110"/>
                <a:gd name="T5" fmla="*/ 30 h 59"/>
                <a:gd name="T6" fmla="*/ 80 w 110"/>
                <a:gd name="T7" fmla="*/ 4 h 59"/>
                <a:gd name="T8" fmla="*/ 30 w 110"/>
                <a:gd name="T9" fmla="*/ 4 h 59"/>
                <a:gd name="T10" fmla="*/ 4 w 110"/>
                <a:gd name="T11" fmla="*/ 30 h 59"/>
                <a:gd name="T12" fmla="*/ 4 w 110"/>
                <a:gd name="T13" fmla="*/ 59 h 59"/>
                <a:gd name="T14" fmla="*/ 0 w 110"/>
                <a:gd name="T15" fmla="*/ 59 h 59"/>
                <a:gd name="T16" fmla="*/ 0 w 110"/>
                <a:gd name="T17" fmla="*/ 30 h 59"/>
                <a:gd name="T18" fmla="*/ 30 w 110"/>
                <a:gd name="T19" fmla="*/ 0 h 59"/>
                <a:gd name="T20" fmla="*/ 80 w 110"/>
                <a:gd name="T21" fmla="*/ 0 h 59"/>
                <a:gd name="T22" fmla="*/ 110 w 110"/>
                <a:gd name="T23" fmla="*/ 30 h 59"/>
                <a:gd name="T24" fmla="*/ 110 w 110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59">
                  <a:moveTo>
                    <a:pt x="110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9"/>
                    <a:pt x="106" y="4"/>
                    <a:pt x="8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" y="4"/>
                    <a:pt x="4" y="29"/>
                    <a:pt x="4" y="3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" y="0"/>
                    <a:pt x="3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10" y="30"/>
                    <a:pt x="110" y="30"/>
                  </a:cubicBezTo>
                  <a:lnTo>
                    <a:pt x="110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81">
              <a:extLst>
                <a:ext uri="{FF2B5EF4-FFF2-40B4-BE49-F238E27FC236}">
                  <a16:creationId xmlns:a16="http://schemas.microsoft.com/office/drawing/2014/main" id="{9129FC19-793D-4EEB-AED7-F2A69DCC04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5" y="3654"/>
              <a:ext cx="41" cy="115"/>
            </a:xfrm>
            <a:custGeom>
              <a:avLst/>
              <a:gdLst>
                <a:gd name="T0" fmla="*/ 7 w 41"/>
                <a:gd name="T1" fmla="*/ 107 h 115"/>
                <a:gd name="T2" fmla="*/ 33 w 41"/>
                <a:gd name="T3" fmla="*/ 107 h 115"/>
                <a:gd name="T4" fmla="*/ 33 w 41"/>
                <a:gd name="T5" fmla="*/ 10 h 115"/>
                <a:gd name="T6" fmla="*/ 7 w 41"/>
                <a:gd name="T7" fmla="*/ 10 h 115"/>
                <a:gd name="T8" fmla="*/ 7 w 41"/>
                <a:gd name="T9" fmla="*/ 107 h 115"/>
                <a:gd name="T10" fmla="*/ 41 w 41"/>
                <a:gd name="T11" fmla="*/ 115 h 115"/>
                <a:gd name="T12" fmla="*/ 0 w 41"/>
                <a:gd name="T13" fmla="*/ 115 h 115"/>
                <a:gd name="T14" fmla="*/ 0 w 41"/>
                <a:gd name="T15" fmla="*/ 0 h 115"/>
                <a:gd name="T16" fmla="*/ 41 w 41"/>
                <a:gd name="T17" fmla="*/ 0 h 115"/>
                <a:gd name="T18" fmla="*/ 41 w 41"/>
                <a:gd name="T1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15">
                  <a:moveTo>
                    <a:pt x="7" y="107"/>
                  </a:moveTo>
                  <a:lnTo>
                    <a:pt x="33" y="107"/>
                  </a:lnTo>
                  <a:lnTo>
                    <a:pt x="33" y="10"/>
                  </a:lnTo>
                  <a:lnTo>
                    <a:pt x="7" y="10"/>
                  </a:lnTo>
                  <a:lnTo>
                    <a:pt x="7" y="107"/>
                  </a:lnTo>
                  <a:close/>
                  <a:moveTo>
                    <a:pt x="41" y="115"/>
                  </a:moveTo>
                  <a:lnTo>
                    <a:pt x="0" y="115"/>
                  </a:lnTo>
                  <a:lnTo>
                    <a:pt x="0" y="0"/>
                  </a:lnTo>
                  <a:lnTo>
                    <a:pt x="41" y="0"/>
                  </a:lnTo>
                  <a:lnTo>
                    <a:pt x="41" y="1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82">
              <a:extLst>
                <a:ext uri="{FF2B5EF4-FFF2-40B4-BE49-F238E27FC236}">
                  <a16:creationId xmlns:a16="http://schemas.microsoft.com/office/drawing/2014/main" id="{0A34BD9C-7C71-4E47-A96E-6C451A05A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" y="3659"/>
              <a:ext cx="41" cy="54"/>
            </a:xfrm>
            <a:custGeom>
              <a:avLst/>
              <a:gdLst>
                <a:gd name="T0" fmla="*/ 16 w 16"/>
                <a:gd name="T1" fmla="*/ 21 h 21"/>
                <a:gd name="T2" fmla="*/ 13 w 16"/>
                <a:gd name="T3" fmla="*/ 21 h 21"/>
                <a:gd name="T4" fmla="*/ 12 w 16"/>
                <a:gd name="T5" fmla="*/ 16 h 21"/>
                <a:gd name="T6" fmla="*/ 10 w 16"/>
                <a:gd name="T7" fmla="*/ 16 h 21"/>
                <a:gd name="T8" fmla="*/ 8 w 16"/>
                <a:gd name="T9" fmla="*/ 16 h 21"/>
                <a:gd name="T10" fmla="*/ 8 w 16"/>
                <a:gd name="T11" fmla="*/ 14 h 21"/>
                <a:gd name="T12" fmla="*/ 0 w 16"/>
                <a:gd name="T13" fmla="*/ 3 h 21"/>
                <a:gd name="T14" fmla="*/ 1 w 16"/>
                <a:gd name="T15" fmla="*/ 0 h 21"/>
                <a:gd name="T16" fmla="*/ 11 w 16"/>
                <a:gd name="T17" fmla="*/ 13 h 21"/>
                <a:gd name="T18" fmla="*/ 14 w 16"/>
                <a:gd name="T19" fmla="*/ 14 h 21"/>
                <a:gd name="T20" fmla="*/ 16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9"/>
                    <a:pt x="13" y="17"/>
                    <a:pt x="12" y="16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7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10" y="4"/>
                    <a:pt x="11" y="13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6" y="15"/>
                    <a:pt x="16" y="17"/>
                    <a:pt x="16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83">
              <a:extLst>
                <a:ext uri="{FF2B5EF4-FFF2-40B4-BE49-F238E27FC236}">
                  <a16:creationId xmlns:a16="http://schemas.microsoft.com/office/drawing/2014/main" id="{7030F742-016F-48FB-BDB5-7F1EF7D39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" y="3713"/>
              <a:ext cx="41" cy="54"/>
            </a:xfrm>
            <a:custGeom>
              <a:avLst/>
              <a:gdLst>
                <a:gd name="T0" fmla="*/ 1 w 16"/>
                <a:gd name="T1" fmla="*/ 21 h 21"/>
                <a:gd name="T2" fmla="*/ 0 w 16"/>
                <a:gd name="T3" fmla="*/ 17 h 21"/>
                <a:gd name="T4" fmla="*/ 8 w 16"/>
                <a:gd name="T5" fmla="*/ 6 h 21"/>
                <a:gd name="T6" fmla="*/ 8 w 16"/>
                <a:gd name="T7" fmla="*/ 4 h 21"/>
                <a:gd name="T8" fmla="*/ 10 w 16"/>
                <a:gd name="T9" fmla="*/ 5 h 21"/>
                <a:gd name="T10" fmla="*/ 12 w 16"/>
                <a:gd name="T11" fmla="*/ 4 h 21"/>
                <a:gd name="T12" fmla="*/ 13 w 16"/>
                <a:gd name="T13" fmla="*/ 0 h 21"/>
                <a:gd name="T14" fmla="*/ 16 w 16"/>
                <a:gd name="T15" fmla="*/ 0 h 21"/>
                <a:gd name="T16" fmla="*/ 14 w 16"/>
                <a:gd name="T17" fmla="*/ 7 h 21"/>
                <a:gd name="T18" fmla="*/ 11 w 16"/>
                <a:gd name="T19" fmla="*/ 8 h 21"/>
                <a:gd name="T20" fmla="*/ 1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" y="21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8" y="14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2" y="4"/>
                  </a:cubicBezTo>
                  <a:cubicBezTo>
                    <a:pt x="13" y="4"/>
                    <a:pt x="13" y="2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"/>
                    <a:pt x="16" y="6"/>
                    <a:pt x="14" y="7"/>
                  </a:cubicBezTo>
                  <a:cubicBezTo>
                    <a:pt x="13" y="8"/>
                    <a:pt x="12" y="8"/>
                    <a:pt x="11" y="8"/>
                  </a:cubicBezTo>
                  <a:cubicBezTo>
                    <a:pt x="10" y="17"/>
                    <a:pt x="2" y="20"/>
                    <a:pt x="1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86">
            <a:extLst>
              <a:ext uri="{FF2B5EF4-FFF2-40B4-BE49-F238E27FC236}">
                <a16:creationId xmlns:a16="http://schemas.microsoft.com/office/drawing/2014/main" id="{BE1F40C4-26AE-4C37-9105-9861B83D82D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52838" y="5472113"/>
            <a:ext cx="758825" cy="758825"/>
            <a:chOff x="2301" y="3447"/>
            <a:chExt cx="478" cy="478"/>
          </a:xfrm>
        </p:grpSpPr>
        <p:sp>
          <p:nvSpPr>
            <p:cNvPr id="291" name="AutoShape 285">
              <a:extLst>
                <a:ext uri="{FF2B5EF4-FFF2-40B4-BE49-F238E27FC236}">
                  <a16:creationId xmlns:a16="http://schemas.microsoft.com/office/drawing/2014/main" id="{9014501E-1A48-4364-AF20-F9BE64554C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344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87">
              <a:extLst>
                <a:ext uri="{FF2B5EF4-FFF2-40B4-BE49-F238E27FC236}">
                  <a16:creationId xmlns:a16="http://schemas.microsoft.com/office/drawing/2014/main" id="{C2DE9B32-772A-442A-BD1B-4BFD1DF08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344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88">
              <a:extLst>
                <a:ext uri="{FF2B5EF4-FFF2-40B4-BE49-F238E27FC236}">
                  <a16:creationId xmlns:a16="http://schemas.microsoft.com/office/drawing/2014/main" id="{7146AC41-2582-45A1-A44A-162C29A7E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6" y="3761"/>
              <a:ext cx="211" cy="98"/>
            </a:xfrm>
            <a:custGeom>
              <a:avLst/>
              <a:gdLst>
                <a:gd name="T0" fmla="*/ 42 w 86"/>
                <a:gd name="T1" fmla="*/ 40 h 40"/>
                <a:gd name="T2" fmla="*/ 0 w 86"/>
                <a:gd name="T3" fmla="*/ 1 h 40"/>
                <a:gd name="T4" fmla="*/ 3 w 86"/>
                <a:gd name="T5" fmla="*/ 0 h 40"/>
                <a:gd name="T6" fmla="*/ 43 w 86"/>
                <a:gd name="T7" fmla="*/ 36 h 40"/>
                <a:gd name="T8" fmla="*/ 44 w 86"/>
                <a:gd name="T9" fmla="*/ 36 h 40"/>
                <a:gd name="T10" fmla="*/ 83 w 86"/>
                <a:gd name="T11" fmla="*/ 0 h 40"/>
                <a:gd name="T12" fmla="*/ 86 w 86"/>
                <a:gd name="T13" fmla="*/ 1 h 40"/>
                <a:gd name="T14" fmla="*/ 44 w 86"/>
                <a:gd name="T15" fmla="*/ 40 h 40"/>
                <a:gd name="T16" fmla="*/ 42 w 8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40">
                  <a:moveTo>
                    <a:pt x="42" y="40"/>
                  </a:moveTo>
                  <a:cubicBezTo>
                    <a:pt x="42" y="40"/>
                    <a:pt x="10" y="36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33"/>
                    <a:pt x="42" y="36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5" y="36"/>
                    <a:pt x="74" y="33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6" y="36"/>
                    <a:pt x="44" y="40"/>
                    <a:pt x="44" y="40"/>
                  </a:cubicBezTo>
                  <a:lnTo>
                    <a:pt x="42" y="4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89">
              <a:extLst>
                <a:ext uri="{FF2B5EF4-FFF2-40B4-BE49-F238E27FC236}">
                  <a16:creationId xmlns:a16="http://schemas.microsoft.com/office/drawing/2014/main" id="{3A0C8F3E-1C37-4CC5-BC93-361C58C7D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4" y="3655"/>
              <a:ext cx="39" cy="111"/>
            </a:xfrm>
            <a:custGeom>
              <a:avLst/>
              <a:gdLst>
                <a:gd name="T0" fmla="*/ 7 w 39"/>
                <a:gd name="T1" fmla="*/ 103 h 111"/>
                <a:gd name="T2" fmla="*/ 32 w 39"/>
                <a:gd name="T3" fmla="*/ 103 h 111"/>
                <a:gd name="T4" fmla="*/ 32 w 39"/>
                <a:gd name="T5" fmla="*/ 10 h 111"/>
                <a:gd name="T6" fmla="*/ 7 w 39"/>
                <a:gd name="T7" fmla="*/ 10 h 111"/>
                <a:gd name="T8" fmla="*/ 7 w 39"/>
                <a:gd name="T9" fmla="*/ 103 h 111"/>
                <a:gd name="T10" fmla="*/ 39 w 39"/>
                <a:gd name="T11" fmla="*/ 111 h 111"/>
                <a:gd name="T12" fmla="*/ 0 w 39"/>
                <a:gd name="T13" fmla="*/ 111 h 111"/>
                <a:gd name="T14" fmla="*/ 0 w 39"/>
                <a:gd name="T15" fmla="*/ 0 h 111"/>
                <a:gd name="T16" fmla="*/ 39 w 39"/>
                <a:gd name="T17" fmla="*/ 0 h 111"/>
                <a:gd name="T18" fmla="*/ 39 w 39"/>
                <a:gd name="T1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111">
                  <a:moveTo>
                    <a:pt x="7" y="103"/>
                  </a:moveTo>
                  <a:lnTo>
                    <a:pt x="32" y="103"/>
                  </a:lnTo>
                  <a:lnTo>
                    <a:pt x="32" y="10"/>
                  </a:lnTo>
                  <a:lnTo>
                    <a:pt x="7" y="10"/>
                  </a:lnTo>
                  <a:lnTo>
                    <a:pt x="7" y="103"/>
                  </a:lnTo>
                  <a:close/>
                  <a:moveTo>
                    <a:pt x="39" y="111"/>
                  </a:moveTo>
                  <a:lnTo>
                    <a:pt x="0" y="111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1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90">
              <a:extLst>
                <a:ext uri="{FF2B5EF4-FFF2-40B4-BE49-F238E27FC236}">
                  <a16:creationId xmlns:a16="http://schemas.microsoft.com/office/drawing/2014/main" id="{6DAB9539-DF0D-4C97-B733-139284953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3660"/>
              <a:ext cx="39" cy="52"/>
            </a:xfrm>
            <a:custGeom>
              <a:avLst/>
              <a:gdLst>
                <a:gd name="T0" fmla="*/ 3 w 16"/>
                <a:gd name="T1" fmla="*/ 21 h 21"/>
                <a:gd name="T2" fmla="*/ 0 w 16"/>
                <a:gd name="T3" fmla="*/ 21 h 21"/>
                <a:gd name="T4" fmla="*/ 2 w 16"/>
                <a:gd name="T5" fmla="*/ 14 h 21"/>
                <a:gd name="T6" fmla="*/ 5 w 16"/>
                <a:gd name="T7" fmla="*/ 13 h 21"/>
                <a:gd name="T8" fmla="*/ 15 w 16"/>
                <a:gd name="T9" fmla="*/ 0 h 21"/>
                <a:gd name="T10" fmla="*/ 16 w 16"/>
                <a:gd name="T11" fmla="*/ 3 h 21"/>
                <a:gd name="T12" fmla="*/ 8 w 16"/>
                <a:gd name="T13" fmla="*/ 14 h 21"/>
                <a:gd name="T14" fmla="*/ 8 w 16"/>
                <a:gd name="T15" fmla="*/ 16 h 21"/>
                <a:gd name="T16" fmla="*/ 6 w 16"/>
                <a:gd name="T17" fmla="*/ 16 h 21"/>
                <a:gd name="T18" fmla="*/ 4 w 16"/>
                <a:gd name="T19" fmla="*/ 16 h 21"/>
                <a:gd name="T20" fmla="*/ 3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3" y="21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6" y="4"/>
                    <a:pt x="14" y="0"/>
                    <a:pt x="15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8" y="7"/>
                    <a:pt x="8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5" y="16"/>
                    <a:pt x="4" y="16"/>
                  </a:cubicBezTo>
                  <a:cubicBezTo>
                    <a:pt x="3" y="17"/>
                    <a:pt x="3" y="19"/>
                    <a:pt x="3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91">
              <a:extLst>
                <a:ext uri="{FF2B5EF4-FFF2-40B4-BE49-F238E27FC236}">
                  <a16:creationId xmlns:a16="http://schemas.microsoft.com/office/drawing/2014/main" id="{C0DE947D-03B8-4D2E-86D9-CE752D07D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3712"/>
              <a:ext cx="39" cy="51"/>
            </a:xfrm>
            <a:custGeom>
              <a:avLst/>
              <a:gdLst>
                <a:gd name="T0" fmla="*/ 15 w 16"/>
                <a:gd name="T1" fmla="*/ 21 h 21"/>
                <a:gd name="T2" fmla="*/ 5 w 16"/>
                <a:gd name="T3" fmla="*/ 8 h 21"/>
                <a:gd name="T4" fmla="*/ 2 w 16"/>
                <a:gd name="T5" fmla="*/ 7 h 21"/>
                <a:gd name="T6" fmla="*/ 0 w 16"/>
                <a:gd name="T7" fmla="*/ 0 h 21"/>
                <a:gd name="T8" fmla="*/ 3 w 16"/>
                <a:gd name="T9" fmla="*/ 0 h 21"/>
                <a:gd name="T10" fmla="*/ 4 w 16"/>
                <a:gd name="T11" fmla="*/ 4 h 21"/>
                <a:gd name="T12" fmla="*/ 6 w 16"/>
                <a:gd name="T13" fmla="*/ 5 h 21"/>
                <a:gd name="T14" fmla="*/ 8 w 16"/>
                <a:gd name="T15" fmla="*/ 4 h 21"/>
                <a:gd name="T16" fmla="*/ 8 w 16"/>
                <a:gd name="T17" fmla="*/ 6 h 21"/>
                <a:gd name="T18" fmla="*/ 16 w 16"/>
                <a:gd name="T19" fmla="*/ 17 h 21"/>
                <a:gd name="T20" fmla="*/ 15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5" y="21"/>
                  </a:moveTo>
                  <a:cubicBezTo>
                    <a:pt x="14" y="20"/>
                    <a:pt x="6" y="17"/>
                    <a:pt x="5" y="8"/>
                  </a:cubicBezTo>
                  <a:cubicBezTo>
                    <a:pt x="4" y="8"/>
                    <a:pt x="3" y="8"/>
                    <a:pt x="2" y="7"/>
                  </a:cubicBezTo>
                  <a:cubicBezTo>
                    <a:pt x="0" y="6"/>
                    <a:pt x="0" y="3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4"/>
                    <a:pt x="4" y="4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4"/>
                    <a:pt x="16" y="17"/>
                    <a:pt x="16" y="17"/>
                  </a:cubicBezTo>
                  <a:lnTo>
                    <a:pt x="15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92">
              <a:extLst>
                <a:ext uri="{FF2B5EF4-FFF2-40B4-BE49-F238E27FC236}">
                  <a16:creationId xmlns:a16="http://schemas.microsoft.com/office/drawing/2014/main" id="{68280CA4-E040-43D0-88D2-5E3E4F4BF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" y="3530"/>
              <a:ext cx="245" cy="130"/>
            </a:xfrm>
            <a:custGeom>
              <a:avLst/>
              <a:gdLst>
                <a:gd name="T0" fmla="*/ 100 w 100"/>
                <a:gd name="T1" fmla="*/ 53 h 53"/>
                <a:gd name="T2" fmla="*/ 96 w 100"/>
                <a:gd name="T3" fmla="*/ 53 h 53"/>
                <a:gd name="T4" fmla="*/ 83 w 100"/>
                <a:gd name="T5" fmla="*/ 16 h 53"/>
                <a:gd name="T6" fmla="*/ 51 w 100"/>
                <a:gd name="T7" fmla="*/ 4 h 53"/>
                <a:gd name="T8" fmla="*/ 49 w 100"/>
                <a:gd name="T9" fmla="*/ 4 h 53"/>
                <a:gd name="T10" fmla="*/ 17 w 100"/>
                <a:gd name="T11" fmla="*/ 16 h 53"/>
                <a:gd name="T12" fmla="*/ 4 w 100"/>
                <a:gd name="T13" fmla="*/ 53 h 53"/>
                <a:gd name="T14" fmla="*/ 0 w 100"/>
                <a:gd name="T15" fmla="*/ 53 h 53"/>
                <a:gd name="T16" fmla="*/ 15 w 100"/>
                <a:gd name="T17" fmla="*/ 13 h 53"/>
                <a:gd name="T18" fmla="*/ 50 w 100"/>
                <a:gd name="T19" fmla="*/ 1 h 53"/>
                <a:gd name="T20" fmla="*/ 51 w 100"/>
                <a:gd name="T21" fmla="*/ 1 h 53"/>
                <a:gd name="T22" fmla="*/ 85 w 100"/>
                <a:gd name="T23" fmla="*/ 13 h 53"/>
                <a:gd name="T24" fmla="*/ 100 w 100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53">
                  <a:moveTo>
                    <a:pt x="100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30"/>
                    <a:pt x="83" y="16"/>
                  </a:cubicBezTo>
                  <a:cubicBezTo>
                    <a:pt x="75" y="8"/>
                    <a:pt x="64" y="4"/>
                    <a:pt x="51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36" y="4"/>
                    <a:pt x="25" y="8"/>
                    <a:pt x="17" y="16"/>
                  </a:cubicBezTo>
                  <a:cubicBezTo>
                    <a:pt x="3" y="30"/>
                    <a:pt x="4" y="53"/>
                    <a:pt x="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2"/>
                    <a:pt x="0" y="28"/>
                    <a:pt x="15" y="13"/>
                  </a:cubicBezTo>
                  <a:cubicBezTo>
                    <a:pt x="23" y="5"/>
                    <a:pt x="35" y="0"/>
                    <a:pt x="50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65" y="0"/>
                    <a:pt x="77" y="5"/>
                    <a:pt x="85" y="13"/>
                  </a:cubicBezTo>
                  <a:cubicBezTo>
                    <a:pt x="100" y="28"/>
                    <a:pt x="100" y="52"/>
                    <a:pt x="100" y="5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93">
              <a:extLst>
                <a:ext uri="{FF2B5EF4-FFF2-40B4-BE49-F238E27FC236}">
                  <a16:creationId xmlns:a16="http://schemas.microsoft.com/office/drawing/2014/main" id="{DE2E2A33-8F1C-42FC-83D6-DB5AE0B43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3516"/>
              <a:ext cx="270" cy="144"/>
            </a:xfrm>
            <a:custGeom>
              <a:avLst/>
              <a:gdLst>
                <a:gd name="T0" fmla="*/ 110 w 110"/>
                <a:gd name="T1" fmla="*/ 59 h 59"/>
                <a:gd name="T2" fmla="*/ 106 w 110"/>
                <a:gd name="T3" fmla="*/ 59 h 59"/>
                <a:gd name="T4" fmla="*/ 106 w 110"/>
                <a:gd name="T5" fmla="*/ 30 h 59"/>
                <a:gd name="T6" fmla="*/ 80 w 110"/>
                <a:gd name="T7" fmla="*/ 4 h 59"/>
                <a:gd name="T8" fmla="*/ 30 w 110"/>
                <a:gd name="T9" fmla="*/ 4 h 59"/>
                <a:gd name="T10" fmla="*/ 4 w 110"/>
                <a:gd name="T11" fmla="*/ 30 h 59"/>
                <a:gd name="T12" fmla="*/ 4 w 110"/>
                <a:gd name="T13" fmla="*/ 59 h 59"/>
                <a:gd name="T14" fmla="*/ 0 w 110"/>
                <a:gd name="T15" fmla="*/ 59 h 59"/>
                <a:gd name="T16" fmla="*/ 0 w 110"/>
                <a:gd name="T17" fmla="*/ 30 h 59"/>
                <a:gd name="T18" fmla="*/ 30 w 110"/>
                <a:gd name="T19" fmla="*/ 0 h 59"/>
                <a:gd name="T20" fmla="*/ 80 w 110"/>
                <a:gd name="T21" fmla="*/ 0 h 59"/>
                <a:gd name="T22" fmla="*/ 110 w 110"/>
                <a:gd name="T23" fmla="*/ 30 h 59"/>
                <a:gd name="T24" fmla="*/ 110 w 110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59">
                  <a:moveTo>
                    <a:pt x="110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29"/>
                    <a:pt x="106" y="4"/>
                    <a:pt x="8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4" y="4"/>
                    <a:pt x="4" y="29"/>
                    <a:pt x="4" y="3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1" y="0"/>
                    <a:pt x="3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10" y="30"/>
                    <a:pt x="110" y="30"/>
                  </a:cubicBezTo>
                  <a:lnTo>
                    <a:pt x="110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94">
              <a:extLst>
                <a:ext uri="{FF2B5EF4-FFF2-40B4-BE49-F238E27FC236}">
                  <a16:creationId xmlns:a16="http://schemas.microsoft.com/office/drawing/2014/main" id="{AD41126D-E579-4637-9E2C-903587448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9" y="3655"/>
              <a:ext cx="40" cy="111"/>
            </a:xfrm>
            <a:custGeom>
              <a:avLst/>
              <a:gdLst>
                <a:gd name="T0" fmla="*/ 8 w 40"/>
                <a:gd name="T1" fmla="*/ 103 h 111"/>
                <a:gd name="T2" fmla="*/ 32 w 40"/>
                <a:gd name="T3" fmla="*/ 103 h 111"/>
                <a:gd name="T4" fmla="*/ 32 w 40"/>
                <a:gd name="T5" fmla="*/ 10 h 111"/>
                <a:gd name="T6" fmla="*/ 8 w 40"/>
                <a:gd name="T7" fmla="*/ 10 h 111"/>
                <a:gd name="T8" fmla="*/ 8 w 40"/>
                <a:gd name="T9" fmla="*/ 103 h 111"/>
                <a:gd name="T10" fmla="*/ 40 w 40"/>
                <a:gd name="T11" fmla="*/ 111 h 111"/>
                <a:gd name="T12" fmla="*/ 0 w 40"/>
                <a:gd name="T13" fmla="*/ 111 h 111"/>
                <a:gd name="T14" fmla="*/ 0 w 40"/>
                <a:gd name="T15" fmla="*/ 0 h 111"/>
                <a:gd name="T16" fmla="*/ 40 w 40"/>
                <a:gd name="T17" fmla="*/ 0 h 111"/>
                <a:gd name="T18" fmla="*/ 40 w 40"/>
                <a:gd name="T1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111">
                  <a:moveTo>
                    <a:pt x="8" y="103"/>
                  </a:moveTo>
                  <a:lnTo>
                    <a:pt x="32" y="103"/>
                  </a:lnTo>
                  <a:lnTo>
                    <a:pt x="32" y="10"/>
                  </a:lnTo>
                  <a:lnTo>
                    <a:pt x="8" y="10"/>
                  </a:lnTo>
                  <a:lnTo>
                    <a:pt x="8" y="103"/>
                  </a:lnTo>
                  <a:close/>
                  <a:moveTo>
                    <a:pt x="40" y="111"/>
                  </a:moveTo>
                  <a:lnTo>
                    <a:pt x="0" y="111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1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95">
              <a:extLst>
                <a:ext uri="{FF2B5EF4-FFF2-40B4-BE49-F238E27FC236}">
                  <a16:creationId xmlns:a16="http://schemas.microsoft.com/office/drawing/2014/main" id="{3A9BA51C-68B9-4A52-AEB3-0AA731D24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3660"/>
              <a:ext cx="39" cy="52"/>
            </a:xfrm>
            <a:custGeom>
              <a:avLst/>
              <a:gdLst>
                <a:gd name="T0" fmla="*/ 16 w 16"/>
                <a:gd name="T1" fmla="*/ 21 h 21"/>
                <a:gd name="T2" fmla="*/ 13 w 16"/>
                <a:gd name="T3" fmla="*/ 21 h 21"/>
                <a:gd name="T4" fmla="*/ 12 w 16"/>
                <a:gd name="T5" fmla="*/ 16 h 21"/>
                <a:gd name="T6" fmla="*/ 10 w 16"/>
                <a:gd name="T7" fmla="*/ 16 h 21"/>
                <a:gd name="T8" fmla="*/ 8 w 16"/>
                <a:gd name="T9" fmla="*/ 16 h 21"/>
                <a:gd name="T10" fmla="*/ 8 w 16"/>
                <a:gd name="T11" fmla="*/ 14 h 21"/>
                <a:gd name="T12" fmla="*/ 0 w 16"/>
                <a:gd name="T13" fmla="*/ 3 h 21"/>
                <a:gd name="T14" fmla="*/ 1 w 16"/>
                <a:gd name="T15" fmla="*/ 0 h 21"/>
                <a:gd name="T16" fmla="*/ 11 w 16"/>
                <a:gd name="T17" fmla="*/ 13 h 21"/>
                <a:gd name="T18" fmla="*/ 14 w 16"/>
                <a:gd name="T19" fmla="*/ 14 h 21"/>
                <a:gd name="T20" fmla="*/ 16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9"/>
                    <a:pt x="13" y="17"/>
                    <a:pt x="12" y="16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7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10" y="4"/>
                    <a:pt x="11" y="13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6" y="15"/>
                    <a:pt x="16" y="17"/>
                    <a:pt x="16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96">
              <a:extLst>
                <a:ext uri="{FF2B5EF4-FFF2-40B4-BE49-F238E27FC236}">
                  <a16:creationId xmlns:a16="http://schemas.microsoft.com/office/drawing/2014/main" id="{FEDC113E-7A6B-43DF-803E-54051F3A8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3712"/>
              <a:ext cx="39" cy="51"/>
            </a:xfrm>
            <a:custGeom>
              <a:avLst/>
              <a:gdLst>
                <a:gd name="T0" fmla="*/ 1 w 16"/>
                <a:gd name="T1" fmla="*/ 21 h 21"/>
                <a:gd name="T2" fmla="*/ 0 w 16"/>
                <a:gd name="T3" fmla="*/ 17 h 21"/>
                <a:gd name="T4" fmla="*/ 8 w 16"/>
                <a:gd name="T5" fmla="*/ 6 h 21"/>
                <a:gd name="T6" fmla="*/ 8 w 16"/>
                <a:gd name="T7" fmla="*/ 4 h 21"/>
                <a:gd name="T8" fmla="*/ 10 w 16"/>
                <a:gd name="T9" fmla="*/ 5 h 21"/>
                <a:gd name="T10" fmla="*/ 12 w 16"/>
                <a:gd name="T11" fmla="*/ 4 h 21"/>
                <a:gd name="T12" fmla="*/ 13 w 16"/>
                <a:gd name="T13" fmla="*/ 0 h 21"/>
                <a:gd name="T14" fmla="*/ 16 w 16"/>
                <a:gd name="T15" fmla="*/ 0 h 21"/>
                <a:gd name="T16" fmla="*/ 14 w 16"/>
                <a:gd name="T17" fmla="*/ 7 h 21"/>
                <a:gd name="T18" fmla="*/ 11 w 16"/>
                <a:gd name="T19" fmla="*/ 8 h 21"/>
                <a:gd name="T20" fmla="*/ 1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" y="21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8" y="14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2" y="4"/>
                  </a:cubicBezTo>
                  <a:cubicBezTo>
                    <a:pt x="13" y="4"/>
                    <a:pt x="13" y="2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"/>
                    <a:pt x="16" y="6"/>
                    <a:pt x="14" y="7"/>
                  </a:cubicBezTo>
                  <a:cubicBezTo>
                    <a:pt x="13" y="8"/>
                    <a:pt x="12" y="8"/>
                    <a:pt x="11" y="8"/>
                  </a:cubicBezTo>
                  <a:cubicBezTo>
                    <a:pt x="10" y="17"/>
                    <a:pt x="2" y="20"/>
                    <a:pt x="1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299">
            <a:extLst>
              <a:ext uri="{FF2B5EF4-FFF2-40B4-BE49-F238E27FC236}">
                <a16:creationId xmlns:a16="http://schemas.microsoft.com/office/drawing/2014/main" id="{54A10B4F-EEA6-4B14-9B68-DB0A810ECF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5838" y="5430838"/>
            <a:ext cx="841375" cy="841375"/>
            <a:chOff x="3021" y="3421"/>
            <a:chExt cx="530" cy="530"/>
          </a:xfrm>
        </p:grpSpPr>
        <p:sp>
          <p:nvSpPr>
            <p:cNvPr id="303" name="AutoShape 298">
              <a:extLst>
                <a:ext uri="{FF2B5EF4-FFF2-40B4-BE49-F238E27FC236}">
                  <a16:creationId xmlns:a16="http://schemas.microsoft.com/office/drawing/2014/main" id="{7D388268-C898-48A6-B61F-0ACFE11E73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1" y="342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300">
              <a:extLst>
                <a:ext uri="{FF2B5EF4-FFF2-40B4-BE49-F238E27FC236}">
                  <a16:creationId xmlns:a16="http://schemas.microsoft.com/office/drawing/2014/main" id="{C93982CC-31D6-4716-8DD6-B57305451F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42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01">
              <a:extLst>
                <a:ext uri="{FF2B5EF4-FFF2-40B4-BE49-F238E27FC236}">
                  <a16:creationId xmlns:a16="http://schemas.microsoft.com/office/drawing/2014/main" id="{20B0906A-07A7-4AD4-A46B-0868007BA5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" y="343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302">
              <a:extLst>
                <a:ext uri="{FF2B5EF4-FFF2-40B4-BE49-F238E27FC236}">
                  <a16:creationId xmlns:a16="http://schemas.microsoft.com/office/drawing/2014/main" id="{52E56B90-CA29-43A6-BB78-17894D271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9" y="3516"/>
              <a:ext cx="151" cy="345"/>
            </a:xfrm>
            <a:custGeom>
              <a:avLst/>
              <a:gdLst>
                <a:gd name="T0" fmla="*/ 58 w 59"/>
                <a:gd name="T1" fmla="*/ 135 h 135"/>
                <a:gd name="T2" fmla="*/ 0 w 59"/>
                <a:gd name="T3" fmla="*/ 135 h 135"/>
                <a:gd name="T4" fmla="*/ 0 w 59"/>
                <a:gd name="T5" fmla="*/ 49 h 135"/>
                <a:gd name="T6" fmla="*/ 1 w 59"/>
                <a:gd name="T7" fmla="*/ 48 h 135"/>
                <a:gd name="T8" fmla="*/ 14 w 59"/>
                <a:gd name="T9" fmla="*/ 2 h 135"/>
                <a:gd name="T10" fmla="*/ 14 w 59"/>
                <a:gd name="T11" fmla="*/ 0 h 135"/>
                <a:gd name="T12" fmla="*/ 36 w 59"/>
                <a:gd name="T13" fmla="*/ 0 h 135"/>
                <a:gd name="T14" fmla="*/ 59 w 59"/>
                <a:gd name="T15" fmla="*/ 41 h 135"/>
                <a:gd name="T16" fmla="*/ 57 w 59"/>
                <a:gd name="T17" fmla="*/ 43 h 135"/>
                <a:gd name="T18" fmla="*/ 34 w 59"/>
                <a:gd name="T19" fmla="*/ 3 h 135"/>
                <a:gd name="T20" fmla="*/ 17 w 59"/>
                <a:gd name="T21" fmla="*/ 3 h 135"/>
                <a:gd name="T22" fmla="*/ 3 w 59"/>
                <a:gd name="T23" fmla="*/ 51 h 135"/>
                <a:gd name="T24" fmla="*/ 3 w 59"/>
                <a:gd name="T25" fmla="*/ 131 h 135"/>
                <a:gd name="T26" fmla="*/ 58 w 59"/>
                <a:gd name="T27" fmla="*/ 131 h 135"/>
                <a:gd name="T28" fmla="*/ 58 w 59"/>
                <a:gd name="T2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35">
                  <a:moveTo>
                    <a:pt x="58" y="135"/>
                  </a:moveTo>
                  <a:cubicBezTo>
                    <a:pt x="0" y="135"/>
                    <a:pt x="0" y="135"/>
                    <a:pt x="0" y="13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9" y="37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11"/>
                    <a:pt x="20" y="39"/>
                    <a:pt x="3" y="5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58" y="131"/>
                    <a:pt x="58" y="131"/>
                    <a:pt x="58" y="131"/>
                  </a:cubicBezTo>
                  <a:lnTo>
                    <a:pt x="58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303">
              <a:extLst>
                <a:ext uri="{FF2B5EF4-FFF2-40B4-BE49-F238E27FC236}">
                  <a16:creationId xmlns:a16="http://schemas.microsoft.com/office/drawing/2014/main" id="{781F6EAF-CE58-4041-98E9-45F9D6820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2" y="3516"/>
              <a:ext cx="154" cy="345"/>
            </a:xfrm>
            <a:custGeom>
              <a:avLst/>
              <a:gdLst>
                <a:gd name="T0" fmla="*/ 4 w 60"/>
                <a:gd name="T1" fmla="*/ 131 h 135"/>
                <a:gd name="T2" fmla="*/ 57 w 60"/>
                <a:gd name="T3" fmla="*/ 131 h 135"/>
                <a:gd name="T4" fmla="*/ 57 w 60"/>
                <a:gd name="T5" fmla="*/ 51 h 135"/>
                <a:gd name="T6" fmla="*/ 43 w 60"/>
                <a:gd name="T7" fmla="*/ 3 h 135"/>
                <a:gd name="T8" fmla="*/ 26 w 60"/>
                <a:gd name="T9" fmla="*/ 3 h 135"/>
                <a:gd name="T10" fmla="*/ 4 w 60"/>
                <a:gd name="T11" fmla="*/ 42 h 135"/>
                <a:gd name="T12" fmla="*/ 4 w 60"/>
                <a:gd name="T13" fmla="*/ 131 h 135"/>
                <a:gd name="T14" fmla="*/ 60 w 60"/>
                <a:gd name="T15" fmla="*/ 135 h 135"/>
                <a:gd name="T16" fmla="*/ 0 w 60"/>
                <a:gd name="T17" fmla="*/ 135 h 135"/>
                <a:gd name="T18" fmla="*/ 0 w 60"/>
                <a:gd name="T19" fmla="*/ 41 h 135"/>
                <a:gd name="T20" fmla="*/ 24 w 60"/>
                <a:gd name="T21" fmla="*/ 0 h 135"/>
                <a:gd name="T22" fmla="*/ 46 w 60"/>
                <a:gd name="T23" fmla="*/ 0 h 135"/>
                <a:gd name="T24" fmla="*/ 46 w 60"/>
                <a:gd name="T25" fmla="*/ 2 h 135"/>
                <a:gd name="T26" fmla="*/ 59 w 60"/>
                <a:gd name="T27" fmla="*/ 48 h 135"/>
                <a:gd name="T28" fmla="*/ 60 w 60"/>
                <a:gd name="T29" fmla="*/ 49 h 135"/>
                <a:gd name="T30" fmla="*/ 60 w 60"/>
                <a:gd name="T3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35">
                  <a:moveTo>
                    <a:pt x="4" y="131"/>
                  </a:moveTo>
                  <a:cubicBezTo>
                    <a:pt x="57" y="131"/>
                    <a:pt x="57" y="131"/>
                    <a:pt x="57" y="13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40" y="39"/>
                    <a:pt x="42" y="11"/>
                    <a:pt x="43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4" y="42"/>
                    <a:pt x="4" y="42"/>
                    <a:pt x="4" y="42"/>
                  </a:cubicBezTo>
                  <a:lnTo>
                    <a:pt x="4" y="131"/>
                  </a:lnTo>
                  <a:close/>
                  <a:moveTo>
                    <a:pt x="60" y="135"/>
                  </a:moveTo>
                  <a:cubicBezTo>
                    <a:pt x="0" y="135"/>
                    <a:pt x="0" y="135"/>
                    <a:pt x="0" y="13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1" y="37"/>
                    <a:pt x="59" y="48"/>
                  </a:cubicBezTo>
                  <a:cubicBezTo>
                    <a:pt x="60" y="49"/>
                    <a:pt x="60" y="49"/>
                    <a:pt x="60" y="49"/>
                  </a:cubicBezTo>
                  <a:lnTo>
                    <a:pt x="60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304">
              <a:extLst>
                <a:ext uri="{FF2B5EF4-FFF2-40B4-BE49-F238E27FC236}">
                  <a16:creationId xmlns:a16="http://schemas.microsoft.com/office/drawing/2014/main" id="{3D5E1C70-2AAC-4780-81CC-B0F916D611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9" y="3795"/>
              <a:ext cx="256" cy="28"/>
            </a:xfrm>
            <a:custGeom>
              <a:avLst/>
              <a:gdLst>
                <a:gd name="T0" fmla="*/ 10 w 256"/>
                <a:gd name="T1" fmla="*/ 20 h 28"/>
                <a:gd name="T2" fmla="*/ 246 w 256"/>
                <a:gd name="T3" fmla="*/ 20 h 28"/>
                <a:gd name="T4" fmla="*/ 246 w 256"/>
                <a:gd name="T5" fmla="*/ 10 h 28"/>
                <a:gd name="T6" fmla="*/ 10 w 256"/>
                <a:gd name="T7" fmla="*/ 10 h 28"/>
                <a:gd name="T8" fmla="*/ 10 w 256"/>
                <a:gd name="T9" fmla="*/ 20 h 28"/>
                <a:gd name="T10" fmla="*/ 256 w 256"/>
                <a:gd name="T11" fmla="*/ 28 h 28"/>
                <a:gd name="T12" fmla="*/ 0 w 256"/>
                <a:gd name="T13" fmla="*/ 28 h 28"/>
                <a:gd name="T14" fmla="*/ 0 w 256"/>
                <a:gd name="T15" fmla="*/ 0 h 28"/>
                <a:gd name="T16" fmla="*/ 256 w 256"/>
                <a:gd name="T17" fmla="*/ 0 h 28"/>
                <a:gd name="T18" fmla="*/ 256 w 256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">
                  <a:moveTo>
                    <a:pt x="10" y="20"/>
                  </a:moveTo>
                  <a:lnTo>
                    <a:pt x="246" y="20"/>
                  </a:lnTo>
                  <a:lnTo>
                    <a:pt x="246" y="10"/>
                  </a:lnTo>
                  <a:lnTo>
                    <a:pt x="10" y="10"/>
                  </a:lnTo>
                  <a:lnTo>
                    <a:pt x="10" y="20"/>
                  </a:lnTo>
                  <a:close/>
                  <a:moveTo>
                    <a:pt x="256" y="28"/>
                  </a:moveTo>
                  <a:lnTo>
                    <a:pt x="0" y="28"/>
                  </a:lnTo>
                  <a:lnTo>
                    <a:pt x="0" y="0"/>
                  </a:lnTo>
                  <a:lnTo>
                    <a:pt x="256" y="0"/>
                  </a:lnTo>
                  <a:lnTo>
                    <a:pt x="256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305">
              <a:extLst>
                <a:ext uri="{FF2B5EF4-FFF2-40B4-BE49-F238E27FC236}">
                  <a16:creationId xmlns:a16="http://schemas.microsoft.com/office/drawing/2014/main" id="{46970293-BBEE-45D0-BF9B-6F1512FBD0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9" y="3536"/>
              <a:ext cx="97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306">
              <a:extLst>
                <a:ext uri="{FF2B5EF4-FFF2-40B4-BE49-F238E27FC236}">
                  <a16:creationId xmlns:a16="http://schemas.microsoft.com/office/drawing/2014/main" id="{B9344E21-B57D-496D-99A5-252C4530A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9" y="3521"/>
              <a:ext cx="256" cy="253"/>
            </a:xfrm>
            <a:custGeom>
              <a:avLst/>
              <a:gdLst>
                <a:gd name="T0" fmla="*/ 256 w 256"/>
                <a:gd name="T1" fmla="*/ 253 h 253"/>
                <a:gd name="T2" fmla="*/ 0 w 256"/>
                <a:gd name="T3" fmla="*/ 253 h 253"/>
                <a:gd name="T4" fmla="*/ 0 w 256"/>
                <a:gd name="T5" fmla="*/ 225 h 253"/>
                <a:gd name="T6" fmla="*/ 36 w 256"/>
                <a:gd name="T7" fmla="*/ 225 h 253"/>
                <a:gd name="T8" fmla="*/ 36 w 256"/>
                <a:gd name="T9" fmla="*/ 0 h 253"/>
                <a:gd name="T10" fmla="*/ 46 w 256"/>
                <a:gd name="T11" fmla="*/ 0 h 253"/>
                <a:gd name="T12" fmla="*/ 46 w 256"/>
                <a:gd name="T13" fmla="*/ 235 h 253"/>
                <a:gd name="T14" fmla="*/ 10 w 256"/>
                <a:gd name="T15" fmla="*/ 235 h 253"/>
                <a:gd name="T16" fmla="*/ 10 w 256"/>
                <a:gd name="T17" fmla="*/ 246 h 253"/>
                <a:gd name="T18" fmla="*/ 246 w 256"/>
                <a:gd name="T19" fmla="*/ 246 h 253"/>
                <a:gd name="T20" fmla="*/ 246 w 256"/>
                <a:gd name="T21" fmla="*/ 235 h 253"/>
                <a:gd name="T22" fmla="*/ 213 w 256"/>
                <a:gd name="T23" fmla="*/ 235 h 253"/>
                <a:gd name="T24" fmla="*/ 213 w 256"/>
                <a:gd name="T25" fmla="*/ 0 h 253"/>
                <a:gd name="T26" fmla="*/ 220 w 256"/>
                <a:gd name="T27" fmla="*/ 0 h 253"/>
                <a:gd name="T28" fmla="*/ 220 w 256"/>
                <a:gd name="T29" fmla="*/ 225 h 253"/>
                <a:gd name="T30" fmla="*/ 256 w 256"/>
                <a:gd name="T31" fmla="*/ 225 h 253"/>
                <a:gd name="T32" fmla="*/ 256 w 256"/>
                <a:gd name="T33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6" h="253">
                  <a:moveTo>
                    <a:pt x="256" y="253"/>
                  </a:moveTo>
                  <a:lnTo>
                    <a:pt x="0" y="253"/>
                  </a:lnTo>
                  <a:lnTo>
                    <a:pt x="0" y="225"/>
                  </a:lnTo>
                  <a:lnTo>
                    <a:pt x="36" y="225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46" y="235"/>
                  </a:lnTo>
                  <a:lnTo>
                    <a:pt x="10" y="235"/>
                  </a:lnTo>
                  <a:lnTo>
                    <a:pt x="10" y="246"/>
                  </a:lnTo>
                  <a:lnTo>
                    <a:pt x="246" y="246"/>
                  </a:lnTo>
                  <a:lnTo>
                    <a:pt x="246" y="235"/>
                  </a:lnTo>
                  <a:lnTo>
                    <a:pt x="213" y="235"/>
                  </a:lnTo>
                  <a:lnTo>
                    <a:pt x="213" y="0"/>
                  </a:lnTo>
                  <a:lnTo>
                    <a:pt x="220" y="0"/>
                  </a:lnTo>
                  <a:lnTo>
                    <a:pt x="220" y="225"/>
                  </a:lnTo>
                  <a:lnTo>
                    <a:pt x="256" y="225"/>
                  </a:lnTo>
                  <a:lnTo>
                    <a:pt x="256" y="2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307">
              <a:extLst>
                <a:ext uri="{FF2B5EF4-FFF2-40B4-BE49-F238E27FC236}">
                  <a16:creationId xmlns:a16="http://schemas.microsoft.com/office/drawing/2014/main" id="{6B2D0470-A762-4811-9FDC-0120D0E4B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5" y="3521"/>
              <a:ext cx="144" cy="235"/>
            </a:xfrm>
            <a:custGeom>
              <a:avLst/>
              <a:gdLst>
                <a:gd name="T0" fmla="*/ 144 w 144"/>
                <a:gd name="T1" fmla="*/ 235 h 235"/>
                <a:gd name="T2" fmla="*/ 0 w 144"/>
                <a:gd name="T3" fmla="*/ 235 h 235"/>
                <a:gd name="T4" fmla="*/ 0 w 144"/>
                <a:gd name="T5" fmla="*/ 0 h 235"/>
                <a:gd name="T6" fmla="*/ 8 w 144"/>
                <a:gd name="T7" fmla="*/ 0 h 235"/>
                <a:gd name="T8" fmla="*/ 8 w 144"/>
                <a:gd name="T9" fmla="*/ 225 h 235"/>
                <a:gd name="T10" fmla="*/ 136 w 144"/>
                <a:gd name="T11" fmla="*/ 225 h 235"/>
                <a:gd name="T12" fmla="*/ 136 w 144"/>
                <a:gd name="T13" fmla="*/ 0 h 235"/>
                <a:gd name="T14" fmla="*/ 144 w 144"/>
                <a:gd name="T15" fmla="*/ 0 h 235"/>
                <a:gd name="T16" fmla="*/ 144 w 144"/>
                <a:gd name="T17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235">
                  <a:moveTo>
                    <a:pt x="144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25"/>
                  </a:lnTo>
                  <a:lnTo>
                    <a:pt x="136" y="225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4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2" name="Group 310">
            <a:extLst>
              <a:ext uri="{FF2B5EF4-FFF2-40B4-BE49-F238E27FC236}">
                <a16:creationId xmlns:a16="http://schemas.microsoft.com/office/drawing/2014/main" id="{74A055C6-C9CD-4084-ABBA-4EAA8F4EEF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6763" y="5472113"/>
            <a:ext cx="758825" cy="758825"/>
            <a:chOff x="3683" y="3447"/>
            <a:chExt cx="478" cy="478"/>
          </a:xfrm>
        </p:grpSpPr>
        <p:sp>
          <p:nvSpPr>
            <p:cNvPr id="313" name="AutoShape 309">
              <a:extLst>
                <a:ext uri="{FF2B5EF4-FFF2-40B4-BE49-F238E27FC236}">
                  <a16:creationId xmlns:a16="http://schemas.microsoft.com/office/drawing/2014/main" id="{E1DC04EE-D8C6-4593-8F74-1E3778F22B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3" y="344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311">
              <a:extLst>
                <a:ext uri="{FF2B5EF4-FFF2-40B4-BE49-F238E27FC236}">
                  <a16:creationId xmlns:a16="http://schemas.microsoft.com/office/drawing/2014/main" id="{71C6022F-1306-4048-B1E7-95B52391F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" y="344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312">
              <a:extLst>
                <a:ext uri="{FF2B5EF4-FFF2-40B4-BE49-F238E27FC236}">
                  <a16:creationId xmlns:a16="http://schemas.microsoft.com/office/drawing/2014/main" id="{373847F1-A91D-491E-A8B5-4C34CB3E9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" y="3523"/>
              <a:ext cx="145" cy="331"/>
            </a:xfrm>
            <a:custGeom>
              <a:avLst/>
              <a:gdLst>
                <a:gd name="T0" fmla="*/ 58 w 59"/>
                <a:gd name="T1" fmla="*/ 135 h 135"/>
                <a:gd name="T2" fmla="*/ 0 w 59"/>
                <a:gd name="T3" fmla="*/ 135 h 135"/>
                <a:gd name="T4" fmla="*/ 0 w 59"/>
                <a:gd name="T5" fmla="*/ 49 h 135"/>
                <a:gd name="T6" fmla="*/ 1 w 59"/>
                <a:gd name="T7" fmla="*/ 48 h 135"/>
                <a:gd name="T8" fmla="*/ 14 w 59"/>
                <a:gd name="T9" fmla="*/ 2 h 135"/>
                <a:gd name="T10" fmla="*/ 14 w 59"/>
                <a:gd name="T11" fmla="*/ 0 h 135"/>
                <a:gd name="T12" fmla="*/ 36 w 59"/>
                <a:gd name="T13" fmla="*/ 0 h 135"/>
                <a:gd name="T14" fmla="*/ 59 w 59"/>
                <a:gd name="T15" fmla="*/ 41 h 135"/>
                <a:gd name="T16" fmla="*/ 57 w 59"/>
                <a:gd name="T17" fmla="*/ 43 h 135"/>
                <a:gd name="T18" fmla="*/ 34 w 59"/>
                <a:gd name="T19" fmla="*/ 3 h 135"/>
                <a:gd name="T20" fmla="*/ 17 w 59"/>
                <a:gd name="T21" fmla="*/ 3 h 135"/>
                <a:gd name="T22" fmla="*/ 3 w 59"/>
                <a:gd name="T23" fmla="*/ 51 h 135"/>
                <a:gd name="T24" fmla="*/ 3 w 59"/>
                <a:gd name="T25" fmla="*/ 131 h 135"/>
                <a:gd name="T26" fmla="*/ 58 w 59"/>
                <a:gd name="T27" fmla="*/ 131 h 135"/>
                <a:gd name="T28" fmla="*/ 58 w 59"/>
                <a:gd name="T2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35">
                  <a:moveTo>
                    <a:pt x="58" y="135"/>
                  </a:moveTo>
                  <a:cubicBezTo>
                    <a:pt x="0" y="135"/>
                    <a:pt x="0" y="135"/>
                    <a:pt x="0" y="13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9" y="37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11"/>
                    <a:pt x="20" y="39"/>
                    <a:pt x="3" y="5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58" y="131"/>
                    <a:pt x="58" y="131"/>
                    <a:pt x="58" y="131"/>
                  </a:cubicBezTo>
                  <a:lnTo>
                    <a:pt x="58" y="1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313">
              <a:extLst>
                <a:ext uri="{FF2B5EF4-FFF2-40B4-BE49-F238E27FC236}">
                  <a16:creationId xmlns:a16="http://schemas.microsoft.com/office/drawing/2014/main" id="{85BCD4E2-09F3-4CF3-9C63-93079C23E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8" y="3523"/>
              <a:ext cx="147" cy="331"/>
            </a:xfrm>
            <a:custGeom>
              <a:avLst/>
              <a:gdLst>
                <a:gd name="T0" fmla="*/ 4 w 60"/>
                <a:gd name="T1" fmla="*/ 131 h 135"/>
                <a:gd name="T2" fmla="*/ 57 w 60"/>
                <a:gd name="T3" fmla="*/ 131 h 135"/>
                <a:gd name="T4" fmla="*/ 57 w 60"/>
                <a:gd name="T5" fmla="*/ 51 h 135"/>
                <a:gd name="T6" fmla="*/ 43 w 60"/>
                <a:gd name="T7" fmla="*/ 3 h 135"/>
                <a:gd name="T8" fmla="*/ 26 w 60"/>
                <a:gd name="T9" fmla="*/ 3 h 135"/>
                <a:gd name="T10" fmla="*/ 4 w 60"/>
                <a:gd name="T11" fmla="*/ 42 h 135"/>
                <a:gd name="T12" fmla="*/ 4 w 60"/>
                <a:gd name="T13" fmla="*/ 131 h 135"/>
                <a:gd name="T14" fmla="*/ 60 w 60"/>
                <a:gd name="T15" fmla="*/ 135 h 135"/>
                <a:gd name="T16" fmla="*/ 0 w 60"/>
                <a:gd name="T17" fmla="*/ 135 h 135"/>
                <a:gd name="T18" fmla="*/ 0 w 60"/>
                <a:gd name="T19" fmla="*/ 41 h 135"/>
                <a:gd name="T20" fmla="*/ 24 w 60"/>
                <a:gd name="T21" fmla="*/ 0 h 135"/>
                <a:gd name="T22" fmla="*/ 46 w 60"/>
                <a:gd name="T23" fmla="*/ 0 h 135"/>
                <a:gd name="T24" fmla="*/ 46 w 60"/>
                <a:gd name="T25" fmla="*/ 2 h 135"/>
                <a:gd name="T26" fmla="*/ 59 w 60"/>
                <a:gd name="T27" fmla="*/ 48 h 135"/>
                <a:gd name="T28" fmla="*/ 60 w 60"/>
                <a:gd name="T29" fmla="*/ 49 h 135"/>
                <a:gd name="T30" fmla="*/ 60 w 60"/>
                <a:gd name="T3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35">
                  <a:moveTo>
                    <a:pt x="4" y="131"/>
                  </a:moveTo>
                  <a:cubicBezTo>
                    <a:pt x="57" y="131"/>
                    <a:pt x="57" y="131"/>
                    <a:pt x="57" y="131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40" y="39"/>
                    <a:pt x="42" y="11"/>
                    <a:pt x="43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4" y="42"/>
                    <a:pt x="4" y="42"/>
                    <a:pt x="4" y="42"/>
                  </a:cubicBezTo>
                  <a:lnTo>
                    <a:pt x="4" y="131"/>
                  </a:lnTo>
                  <a:close/>
                  <a:moveTo>
                    <a:pt x="60" y="135"/>
                  </a:moveTo>
                  <a:cubicBezTo>
                    <a:pt x="0" y="135"/>
                    <a:pt x="0" y="135"/>
                    <a:pt x="0" y="13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1" y="37"/>
                    <a:pt x="59" y="48"/>
                  </a:cubicBezTo>
                  <a:cubicBezTo>
                    <a:pt x="60" y="49"/>
                    <a:pt x="60" y="49"/>
                    <a:pt x="60" y="49"/>
                  </a:cubicBezTo>
                  <a:lnTo>
                    <a:pt x="60" y="1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314">
              <a:extLst>
                <a:ext uri="{FF2B5EF4-FFF2-40B4-BE49-F238E27FC236}">
                  <a16:creationId xmlns:a16="http://schemas.microsoft.com/office/drawing/2014/main" id="{4BDC2824-F312-4DF9-A47E-D093D765D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1" y="3790"/>
              <a:ext cx="245" cy="27"/>
            </a:xfrm>
            <a:custGeom>
              <a:avLst/>
              <a:gdLst>
                <a:gd name="T0" fmla="*/ 9 w 245"/>
                <a:gd name="T1" fmla="*/ 20 h 27"/>
                <a:gd name="T2" fmla="*/ 235 w 245"/>
                <a:gd name="T3" fmla="*/ 20 h 27"/>
                <a:gd name="T4" fmla="*/ 235 w 245"/>
                <a:gd name="T5" fmla="*/ 10 h 27"/>
                <a:gd name="T6" fmla="*/ 9 w 245"/>
                <a:gd name="T7" fmla="*/ 10 h 27"/>
                <a:gd name="T8" fmla="*/ 9 w 245"/>
                <a:gd name="T9" fmla="*/ 20 h 27"/>
                <a:gd name="T10" fmla="*/ 245 w 245"/>
                <a:gd name="T11" fmla="*/ 27 h 27"/>
                <a:gd name="T12" fmla="*/ 0 w 245"/>
                <a:gd name="T13" fmla="*/ 27 h 27"/>
                <a:gd name="T14" fmla="*/ 0 w 245"/>
                <a:gd name="T15" fmla="*/ 0 h 27"/>
                <a:gd name="T16" fmla="*/ 245 w 245"/>
                <a:gd name="T17" fmla="*/ 0 h 27"/>
                <a:gd name="T18" fmla="*/ 245 w 245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7">
                  <a:moveTo>
                    <a:pt x="9" y="20"/>
                  </a:moveTo>
                  <a:lnTo>
                    <a:pt x="235" y="20"/>
                  </a:lnTo>
                  <a:lnTo>
                    <a:pt x="235" y="10"/>
                  </a:lnTo>
                  <a:lnTo>
                    <a:pt x="9" y="10"/>
                  </a:lnTo>
                  <a:lnTo>
                    <a:pt x="9" y="20"/>
                  </a:lnTo>
                  <a:close/>
                  <a:moveTo>
                    <a:pt x="245" y="27"/>
                  </a:moveTo>
                  <a:lnTo>
                    <a:pt x="0" y="27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245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Rectangle 315">
              <a:extLst>
                <a:ext uri="{FF2B5EF4-FFF2-40B4-BE49-F238E27FC236}">
                  <a16:creationId xmlns:a16="http://schemas.microsoft.com/office/drawing/2014/main" id="{7AF7FDB3-E533-42C6-9ED7-8F8300ED83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3543"/>
              <a:ext cx="93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316">
              <a:extLst>
                <a:ext uri="{FF2B5EF4-FFF2-40B4-BE49-F238E27FC236}">
                  <a16:creationId xmlns:a16="http://schemas.microsoft.com/office/drawing/2014/main" id="{D4FB3D77-F325-4A79-BDE0-E1E890237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" y="3528"/>
              <a:ext cx="245" cy="243"/>
            </a:xfrm>
            <a:custGeom>
              <a:avLst/>
              <a:gdLst>
                <a:gd name="T0" fmla="*/ 245 w 245"/>
                <a:gd name="T1" fmla="*/ 243 h 243"/>
                <a:gd name="T2" fmla="*/ 0 w 245"/>
                <a:gd name="T3" fmla="*/ 243 h 243"/>
                <a:gd name="T4" fmla="*/ 0 w 245"/>
                <a:gd name="T5" fmla="*/ 216 h 243"/>
                <a:gd name="T6" fmla="*/ 34 w 245"/>
                <a:gd name="T7" fmla="*/ 216 h 243"/>
                <a:gd name="T8" fmla="*/ 34 w 245"/>
                <a:gd name="T9" fmla="*/ 0 h 243"/>
                <a:gd name="T10" fmla="*/ 44 w 245"/>
                <a:gd name="T11" fmla="*/ 0 h 243"/>
                <a:gd name="T12" fmla="*/ 44 w 245"/>
                <a:gd name="T13" fmla="*/ 225 h 243"/>
                <a:gd name="T14" fmla="*/ 9 w 245"/>
                <a:gd name="T15" fmla="*/ 225 h 243"/>
                <a:gd name="T16" fmla="*/ 9 w 245"/>
                <a:gd name="T17" fmla="*/ 235 h 243"/>
                <a:gd name="T18" fmla="*/ 235 w 245"/>
                <a:gd name="T19" fmla="*/ 235 h 243"/>
                <a:gd name="T20" fmla="*/ 235 w 245"/>
                <a:gd name="T21" fmla="*/ 225 h 243"/>
                <a:gd name="T22" fmla="*/ 203 w 245"/>
                <a:gd name="T23" fmla="*/ 225 h 243"/>
                <a:gd name="T24" fmla="*/ 203 w 245"/>
                <a:gd name="T25" fmla="*/ 0 h 243"/>
                <a:gd name="T26" fmla="*/ 210 w 245"/>
                <a:gd name="T27" fmla="*/ 0 h 243"/>
                <a:gd name="T28" fmla="*/ 210 w 245"/>
                <a:gd name="T29" fmla="*/ 216 h 243"/>
                <a:gd name="T30" fmla="*/ 245 w 245"/>
                <a:gd name="T31" fmla="*/ 216 h 243"/>
                <a:gd name="T32" fmla="*/ 245 w 245"/>
                <a:gd name="T3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5" h="243">
                  <a:moveTo>
                    <a:pt x="245" y="243"/>
                  </a:moveTo>
                  <a:lnTo>
                    <a:pt x="0" y="243"/>
                  </a:lnTo>
                  <a:lnTo>
                    <a:pt x="0" y="216"/>
                  </a:lnTo>
                  <a:lnTo>
                    <a:pt x="34" y="216"/>
                  </a:lnTo>
                  <a:lnTo>
                    <a:pt x="34" y="0"/>
                  </a:lnTo>
                  <a:lnTo>
                    <a:pt x="44" y="0"/>
                  </a:lnTo>
                  <a:lnTo>
                    <a:pt x="44" y="225"/>
                  </a:lnTo>
                  <a:lnTo>
                    <a:pt x="9" y="225"/>
                  </a:lnTo>
                  <a:lnTo>
                    <a:pt x="9" y="235"/>
                  </a:lnTo>
                  <a:lnTo>
                    <a:pt x="235" y="235"/>
                  </a:lnTo>
                  <a:lnTo>
                    <a:pt x="235" y="225"/>
                  </a:lnTo>
                  <a:lnTo>
                    <a:pt x="203" y="225"/>
                  </a:lnTo>
                  <a:lnTo>
                    <a:pt x="203" y="0"/>
                  </a:lnTo>
                  <a:lnTo>
                    <a:pt x="210" y="0"/>
                  </a:lnTo>
                  <a:lnTo>
                    <a:pt x="210" y="216"/>
                  </a:lnTo>
                  <a:lnTo>
                    <a:pt x="245" y="216"/>
                  </a:lnTo>
                  <a:lnTo>
                    <a:pt x="245" y="24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317">
              <a:extLst>
                <a:ext uri="{FF2B5EF4-FFF2-40B4-BE49-F238E27FC236}">
                  <a16:creationId xmlns:a16="http://schemas.microsoft.com/office/drawing/2014/main" id="{E8A7FD73-F36D-4993-99D4-AA53B1510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3528"/>
              <a:ext cx="137" cy="225"/>
            </a:xfrm>
            <a:custGeom>
              <a:avLst/>
              <a:gdLst>
                <a:gd name="T0" fmla="*/ 137 w 137"/>
                <a:gd name="T1" fmla="*/ 225 h 225"/>
                <a:gd name="T2" fmla="*/ 0 w 137"/>
                <a:gd name="T3" fmla="*/ 225 h 225"/>
                <a:gd name="T4" fmla="*/ 0 w 137"/>
                <a:gd name="T5" fmla="*/ 0 h 225"/>
                <a:gd name="T6" fmla="*/ 7 w 137"/>
                <a:gd name="T7" fmla="*/ 0 h 225"/>
                <a:gd name="T8" fmla="*/ 7 w 137"/>
                <a:gd name="T9" fmla="*/ 216 h 225"/>
                <a:gd name="T10" fmla="*/ 130 w 137"/>
                <a:gd name="T11" fmla="*/ 216 h 225"/>
                <a:gd name="T12" fmla="*/ 130 w 137"/>
                <a:gd name="T13" fmla="*/ 0 h 225"/>
                <a:gd name="T14" fmla="*/ 137 w 137"/>
                <a:gd name="T15" fmla="*/ 0 h 225"/>
                <a:gd name="T16" fmla="*/ 137 w 137"/>
                <a:gd name="T17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225">
                  <a:moveTo>
                    <a:pt x="137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216"/>
                  </a:lnTo>
                  <a:lnTo>
                    <a:pt x="130" y="216"/>
                  </a:lnTo>
                  <a:lnTo>
                    <a:pt x="130" y="0"/>
                  </a:lnTo>
                  <a:lnTo>
                    <a:pt x="137" y="0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96A632BC-ECE5-4C29-AD0D-B7941DF188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50088" y="5430838"/>
            <a:ext cx="841375" cy="841375"/>
            <a:chOff x="4441" y="3421"/>
            <a:chExt cx="530" cy="530"/>
          </a:xfrm>
        </p:grpSpPr>
        <p:sp>
          <p:nvSpPr>
            <p:cNvPr id="322" name="AutoShape 319">
              <a:extLst>
                <a:ext uri="{FF2B5EF4-FFF2-40B4-BE49-F238E27FC236}">
                  <a16:creationId xmlns:a16="http://schemas.microsoft.com/office/drawing/2014/main" id="{EB2C4D84-A733-492A-A4B5-B34723716E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1" y="342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321">
              <a:extLst>
                <a:ext uri="{FF2B5EF4-FFF2-40B4-BE49-F238E27FC236}">
                  <a16:creationId xmlns:a16="http://schemas.microsoft.com/office/drawing/2014/main" id="{6326F83B-E557-49A1-803B-AF8077FA3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1" y="342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22">
              <a:extLst>
                <a:ext uri="{FF2B5EF4-FFF2-40B4-BE49-F238E27FC236}">
                  <a16:creationId xmlns:a16="http://schemas.microsoft.com/office/drawing/2014/main" id="{7F3CF4BF-E736-4E87-8873-AF24E2FF8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9" y="343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23">
              <a:extLst>
                <a:ext uri="{FF2B5EF4-FFF2-40B4-BE49-F238E27FC236}">
                  <a16:creationId xmlns:a16="http://schemas.microsoft.com/office/drawing/2014/main" id="{D759BFB1-68A7-474B-877D-BD42EA502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" y="3615"/>
              <a:ext cx="197" cy="264"/>
            </a:xfrm>
            <a:custGeom>
              <a:avLst/>
              <a:gdLst>
                <a:gd name="T0" fmla="*/ 76 w 77"/>
                <a:gd name="T1" fmla="*/ 41 h 103"/>
                <a:gd name="T2" fmla="*/ 67 w 77"/>
                <a:gd name="T3" fmla="*/ 36 h 103"/>
                <a:gd name="T4" fmla="*/ 60 w 77"/>
                <a:gd name="T5" fmla="*/ 49 h 103"/>
                <a:gd name="T6" fmla="*/ 47 w 77"/>
                <a:gd name="T7" fmla="*/ 6 h 103"/>
                <a:gd name="T8" fmla="*/ 38 w 77"/>
                <a:gd name="T9" fmla="*/ 9 h 103"/>
                <a:gd name="T10" fmla="*/ 45 w 77"/>
                <a:gd name="T11" fmla="*/ 34 h 103"/>
                <a:gd name="T12" fmla="*/ 32 w 77"/>
                <a:gd name="T13" fmla="*/ 6 h 103"/>
                <a:gd name="T14" fmla="*/ 22 w 77"/>
                <a:gd name="T15" fmla="*/ 9 h 103"/>
                <a:gd name="T16" fmla="*/ 32 w 77"/>
                <a:gd name="T17" fmla="*/ 40 h 103"/>
                <a:gd name="T18" fmla="*/ 20 w 77"/>
                <a:gd name="T19" fmla="*/ 16 h 103"/>
                <a:gd name="T20" fmla="*/ 11 w 77"/>
                <a:gd name="T21" fmla="*/ 19 h 103"/>
                <a:gd name="T22" fmla="*/ 21 w 77"/>
                <a:gd name="T23" fmla="*/ 45 h 103"/>
                <a:gd name="T24" fmla="*/ 13 w 77"/>
                <a:gd name="T25" fmla="*/ 30 h 103"/>
                <a:gd name="T26" fmla="*/ 5 w 77"/>
                <a:gd name="T27" fmla="*/ 36 h 103"/>
                <a:gd name="T28" fmla="*/ 31 w 77"/>
                <a:gd name="T29" fmla="*/ 91 h 103"/>
                <a:gd name="T30" fmla="*/ 32 w 77"/>
                <a:gd name="T31" fmla="*/ 103 h 103"/>
                <a:gd name="T32" fmla="*/ 73 w 77"/>
                <a:gd name="T33" fmla="*/ 88 h 103"/>
                <a:gd name="T34" fmla="*/ 67 w 77"/>
                <a:gd name="T35" fmla="*/ 73 h 103"/>
                <a:gd name="T36" fmla="*/ 76 w 77"/>
                <a:gd name="T37" fmla="*/ 4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103">
                  <a:moveTo>
                    <a:pt x="76" y="41"/>
                  </a:moveTo>
                  <a:cubicBezTo>
                    <a:pt x="77" y="32"/>
                    <a:pt x="68" y="27"/>
                    <a:pt x="67" y="36"/>
                  </a:cubicBezTo>
                  <a:cubicBezTo>
                    <a:pt x="65" y="44"/>
                    <a:pt x="61" y="50"/>
                    <a:pt x="60" y="49"/>
                  </a:cubicBezTo>
                  <a:cubicBezTo>
                    <a:pt x="59" y="48"/>
                    <a:pt x="49" y="12"/>
                    <a:pt x="47" y="6"/>
                  </a:cubicBezTo>
                  <a:cubicBezTo>
                    <a:pt x="45" y="0"/>
                    <a:pt x="35" y="0"/>
                    <a:pt x="38" y="9"/>
                  </a:cubicBezTo>
                  <a:cubicBezTo>
                    <a:pt x="41" y="18"/>
                    <a:pt x="47" y="33"/>
                    <a:pt x="45" y="34"/>
                  </a:cubicBezTo>
                  <a:cubicBezTo>
                    <a:pt x="43" y="34"/>
                    <a:pt x="34" y="12"/>
                    <a:pt x="32" y="6"/>
                  </a:cubicBezTo>
                  <a:cubicBezTo>
                    <a:pt x="30" y="0"/>
                    <a:pt x="19" y="2"/>
                    <a:pt x="22" y="9"/>
                  </a:cubicBezTo>
                  <a:cubicBezTo>
                    <a:pt x="24" y="17"/>
                    <a:pt x="33" y="40"/>
                    <a:pt x="32" y="40"/>
                  </a:cubicBezTo>
                  <a:cubicBezTo>
                    <a:pt x="31" y="40"/>
                    <a:pt x="24" y="25"/>
                    <a:pt x="20" y="16"/>
                  </a:cubicBezTo>
                  <a:cubicBezTo>
                    <a:pt x="17" y="6"/>
                    <a:pt x="9" y="11"/>
                    <a:pt x="11" y="19"/>
                  </a:cubicBezTo>
                  <a:cubicBezTo>
                    <a:pt x="14" y="26"/>
                    <a:pt x="21" y="45"/>
                    <a:pt x="21" y="45"/>
                  </a:cubicBezTo>
                  <a:cubicBezTo>
                    <a:pt x="20" y="46"/>
                    <a:pt x="17" y="38"/>
                    <a:pt x="13" y="30"/>
                  </a:cubicBezTo>
                  <a:cubicBezTo>
                    <a:pt x="9" y="22"/>
                    <a:pt x="0" y="26"/>
                    <a:pt x="5" y="36"/>
                  </a:cubicBezTo>
                  <a:cubicBezTo>
                    <a:pt x="10" y="47"/>
                    <a:pt x="30" y="86"/>
                    <a:pt x="31" y="91"/>
                  </a:cubicBezTo>
                  <a:cubicBezTo>
                    <a:pt x="32" y="95"/>
                    <a:pt x="32" y="103"/>
                    <a:pt x="32" y="103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66" y="79"/>
                    <a:pt x="67" y="73"/>
                  </a:cubicBezTo>
                  <a:cubicBezTo>
                    <a:pt x="69" y="68"/>
                    <a:pt x="75" y="50"/>
                    <a:pt x="76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24">
              <a:extLst>
                <a:ext uri="{FF2B5EF4-FFF2-40B4-BE49-F238E27FC236}">
                  <a16:creationId xmlns:a16="http://schemas.microsoft.com/office/drawing/2014/main" id="{BA96AFA5-EBD2-4DE2-9AD0-82EC99B2B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5" y="3487"/>
              <a:ext cx="193" cy="267"/>
            </a:xfrm>
            <a:custGeom>
              <a:avLst/>
              <a:gdLst>
                <a:gd name="T0" fmla="*/ 42 w 75"/>
                <a:gd name="T1" fmla="*/ 0 h 104"/>
                <a:gd name="T2" fmla="*/ 33 w 75"/>
                <a:gd name="T3" fmla="*/ 6 h 104"/>
                <a:gd name="T4" fmla="*/ 33 w 75"/>
                <a:gd name="T5" fmla="*/ 6 h 104"/>
                <a:gd name="T6" fmla="*/ 28 w 75"/>
                <a:gd name="T7" fmla="*/ 4 h 104"/>
                <a:gd name="T8" fmla="*/ 19 w 75"/>
                <a:gd name="T9" fmla="*/ 13 h 104"/>
                <a:gd name="T10" fmla="*/ 19 w 75"/>
                <a:gd name="T11" fmla="*/ 31 h 104"/>
                <a:gd name="T12" fmla="*/ 19 w 75"/>
                <a:gd name="T13" fmla="*/ 52 h 104"/>
                <a:gd name="T14" fmla="*/ 15 w 75"/>
                <a:gd name="T15" fmla="*/ 45 h 104"/>
                <a:gd name="T16" fmla="*/ 8 w 75"/>
                <a:gd name="T17" fmla="*/ 40 h 104"/>
                <a:gd name="T18" fmla="*/ 2 w 75"/>
                <a:gd name="T19" fmla="*/ 44 h 104"/>
                <a:gd name="T20" fmla="*/ 2 w 75"/>
                <a:gd name="T21" fmla="*/ 56 h 104"/>
                <a:gd name="T22" fmla="*/ 16 w 75"/>
                <a:gd name="T23" fmla="*/ 79 h 104"/>
                <a:gd name="T24" fmla="*/ 20 w 75"/>
                <a:gd name="T25" fmla="*/ 85 h 104"/>
                <a:gd name="T26" fmla="*/ 18 w 75"/>
                <a:gd name="T27" fmla="*/ 98 h 104"/>
                <a:gd name="T28" fmla="*/ 17 w 75"/>
                <a:gd name="T29" fmla="*/ 102 h 104"/>
                <a:gd name="T30" fmla="*/ 21 w 75"/>
                <a:gd name="T31" fmla="*/ 103 h 104"/>
                <a:gd name="T32" fmla="*/ 65 w 75"/>
                <a:gd name="T33" fmla="*/ 104 h 104"/>
                <a:gd name="T34" fmla="*/ 70 w 75"/>
                <a:gd name="T35" fmla="*/ 104 h 104"/>
                <a:gd name="T36" fmla="*/ 69 w 75"/>
                <a:gd name="T37" fmla="*/ 100 h 104"/>
                <a:gd name="T38" fmla="*/ 66 w 75"/>
                <a:gd name="T39" fmla="*/ 89 h 104"/>
                <a:gd name="T40" fmla="*/ 73 w 75"/>
                <a:gd name="T41" fmla="*/ 43 h 104"/>
                <a:gd name="T42" fmla="*/ 74 w 75"/>
                <a:gd name="T43" fmla="*/ 30 h 104"/>
                <a:gd name="T44" fmla="*/ 72 w 75"/>
                <a:gd name="T45" fmla="*/ 19 h 104"/>
                <a:gd name="T46" fmla="*/ 67 w 75"/>
                <a:gd name="T47" fmla="*/ 16 h 104"/>
                <a:gd name="T48" fmla="*/ 63 w 75"/>
                <a:gd name="T49" fmla="*/ 17 h 104"/>
                <a:gd name="T50" fmla="*/ 64 w 75"/>
                <a:gd name="T51" fmla="*/ 15 h 104"/>
                <a:gd name="T52" fmla="*/ 61 w 75"/>
                <a:gd name="T53" fmla="*/ 7 h 104"/>
                <a:gd name="T54" fmla="*/ 55 w 75"/>
                <a:gd name="T55" fmla="*/ 4 h 104"/>
                <a:gd name="T56" fmla="*/ 50 w 75"/>
                <a:gd name="T57" fmla="*/ 6 h 104"/>
                <a:gd name="T58" fmla="*/ 48 w 75"/>
                <a:gd name="T59" fmla="*/ 2 h 104"/>
                <a:gd name="T60" fmla="*/ 42 w 75"/>
                <a:gd name="T61" fmla="*/ 0 h 104"/>
                <a:gd name="T62" fmla="*/ 42 w 75"/>
                <a:gd name="T63" fmla="*/ 3 h 104"/>
                <a:gd name="T64" fmla="*/ 47 w 75"/>
                <a:gd name="T65" fmla="*/ 9 h 104"/>
                <a:gd name="T66" fmla="*/ 46 w 75"/>
                <a:gd name="T67" fmla="*/ 41 h 104"/>
                <a:gd name="T68" fmla="*/ 46 w 75"/>
                <a:gd name="T69" fmla="*/ 41 h 104"/>
                <a:gd name="T70" fmla="*/ 50 w 75"/>
                <a:gd name="T71" fmla="*/ 14 h 104"/>
                <a:gd name="T72" fmla="*/ 55 w 75"/>
                <a:gd name="T73" fmla="*/ 7 h 104"/>
                <a:gd name="T74" fmla="*/ 60 w 75"/>
                <a:gd name="T75" fmla="*/ 14 h 104"/>
                <a:gd name="T76" fmla="*/ 59 w 75"/>
                <a:gd name="T77" fmla="*/ 42 h 104"/>
                <a:gd name="T78" fmla="*/ 59 w 75"/>
                <a:gd name="T79" fmla="*/ 42 h 104"/>
                <a:gd name="T80" fmla="*/ 62 w 75"/>
                <a:gd name="T81" fmla="*/ 26 h 104"/>
                <a:gd name="T82" fmla="*/ 67 w 75"/>
                <a:gd name="T83" fmla="*/ 20 h 104"/>
                <a:gd name="T84" fmla="*/ 71 w 75"/>
                <a:gd name="T85" fmla="*/ 29 h 104"/>
                <a:gd name="T86" fmla="*/ 63 w 75"/>
                <a:gd name="T87" fmla="*/ 89 h 104"/>
                <a:gd name="T88" fmla="*/ 65 w 75"/>
                <a:gd name="T89" fmla="*/ 101 h 104"/>
                <a:gd name="T90" fmla="*/ 22 w 75"/>
                <a:gd name="T91" fmla="*/ 99 h 104"/>
                <a:gd name="T92" fmla="*/ 23 w 75"/>
                <a:gd name="T93" fmla="*/ 83 h 104"/>
                <a:gd name="T94" fmla="*/ 5 w 75"/>
                <a:gd name="T95" fmla="*/ 55 h 104"/>
                <a:gd name="T96" fmla="*/ 8 w 75"/>
                <a:gd name="T97" fmla="*/ 44 h 104"/>
                <a:gd name="T98" fmla="*/ 12 w 75"/>
                <a:gd name="T99" fmla="*/ 47 h 104"/>
                <a:gd name="T100" fmla="*/ 22 w 75"/>
                <a:gd name="T101" fmla="*/ 58 h 104"/>
                <a:gd name="T102" fmla="*/ 23 w 75"/>
                <a:gd name="T103" fmla="*/ 57 h 104"/>
                <a:gd name="T104" fmla="*/ 22 w 75"/>
                <a:gd name="T105" fmla="*/ 13 h 104"/>
                <a:gd name="T106" fmla="*/ 28 w 75"/>
                <a:gd name="T107" fmla="*/ 7 h 104"/>
                <a:gd name="T108" fmla="*/ 32 w 75"/>
                <a:gd name="T109" fmla="*/ 13 h 104"/>
                <a:gd name="T110" fmla="*/ 32 w 75"/>
                <a:gd name="T111" fmla="*/ 39 h 104"/>
                <a:gd name="T112" fmla="*/ 32 w 75"/>
                <a:gd name="T113" fmla="*/ 39 h 104"/>
                <a:gd name="T114" fmla="*/ 37 w 75"/>
                <a:gd name="T115" fmla="*/ 8 h 104"/>
                <a:gd name="T116" fmla="*/ 42 w 75"/>
                <a:gd name="T11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04">
                  <a:moveTo>
                    <a:pt x="42" y="0"/>
                  </a:moveTo>
                  <a:cubicBezTo>
                    <a:pt x="38" y="0"/>
                    <a:pt x="34" y="2"/>
                    <a:pt x="3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4"/>
                    <a:pt x="30" y="4"/>
                    <a:pt x="28" y="4"/>
                  </a:cubicBezTo>
                  <a:cubicBezTo>
                    <a:pt x="24" y="4"/>
                    <a:pt x="19" y="7"/>
                    <a:pt x="19" y="13"/>
                  </a:cubicBezTo>
                  <a:cubicBezTo>
                    <a:pt x="19" y="15"/>
                    <a:pt x="19" y="23"/>
                    <a:pt x="19" y="31"/>
                  </a:cubicBezTo>
                  <a:cubicBezTo>
                    <a:pt x="19" y="37"/>
                    <a:pt x="19" y="46"/>
                    <a:pt x="19" y="52"/>
                  </a:cubicBezTo>
                  <a:cubicBezTo>
                    <a:pt x="18" y="50"/>
                    <a:pt x="17" y="48"/>
                    <a:pt x="15" y="45"/>
                  </a:cubicBezTo>
                  <a:cubicBezTo>
                    <a:pt x="13" y="41"/>
                    <a:pt x="10" y="40"/>
                    <a:pt x="8" y="40"/>
                  </a:cubicBezTo>
                  <a:cubicBezTo>
                    <a:pt x="6" y="40"/>
                    <a:pt x="4" y="42"/>
                    <a:pt x="2" y="44"/>
                  </a:cubicBezTo>
                  <a:cubicBezTo>
                    <a:pt x="0" y="47"/>
                    <a:pt x="0" y="52"/>
                    <a:pt x="2" y="56"/>
                  </a:cubicBezTo>
                  <a:cubicBezTo>
                    <a:pt x="5" y="63"/>
                    <a:pt x="11" y="72"/>
                    <a:pt x="16" y="79"/>
                  </a:cubicBezTo>
                  <a:cubicBezTo>
                    <a:pt x="18" y="81"/>
                    <a:pt x="19" y="84"/>
                    <a:pt x="20" y="85"/>
                  </a:cubicBezTo>
                  <a:cubicBezTo>
                    <a:pt x="22" y="87"/>
                    <a:pt x="20" y="94"/>
                    <a:pt x="18" y="98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8" y="98"/>
                    <a:pt x="66" y="92"/>
                    <a:pt x="66" y="89"/>
                  </a:cubicBezTo>
                  <a:cubicBezTo>
                    <a:pt x="66" y="85"/>
                    <a:pt x="70" y="58"/>
                    <a:pt x="73" y="43"/>
                  </a:cubicBezTo>
                  <a:cubicBezTo>
                    <a:pt x="73" y="37"/>
                    <a:pt x="74" y="33"/>
                    <a:pt x="74" y="30"/>
                  </a:cubicBezTo>
                  <a:cubicBezTo>
                    <a:pt x="75" y="24"/>
                    <a:pt x="74" y="21"/>
                    <a:pt x="72" y="19"/>
                  </a:cubicBezTo>
                  <a:cubicBezTo>
                    <a:pt x="71" y="17"/>
                    <a:pt x="69" y="16"/>
                    <a:pt x="67" y="16"/>
                  </a:cubicBezTo>
                  <a:cubicBezTo>
                    <a:pt x="66" y="16"/>
                    <a:pt x="64" y="17"/>
                    <a:pt x="63" y="17"/>
                  </a:cubicBezTo>
                  <a:cubicBezTo>
                    <a:pt x="63" y="16"/>
                    <a:pt x="63" y="15"/>
                    <a:pt x="64" y="15"/>
                  </a:cubicBezTo>
                  <a:cubicBezTo>
                    <a:pt x="64" y="11"/>
                    <a:pt x="63" y="9"/>
                    <a:pt x="61" y="7"/>
                  </a:cubicBezTo>
                  <a:cubicBezTo>
                    <a:pt x="59" y="5"/>
                    <a:pt x="57" y="4"/>
                    <a:pt x="55" y="4"/>
                  </a:cubicBezTo>
                  <a:cubicBezTo>
                    <a:pt x="53" y="4"/>
                    <a:pt x="52" y="4"/>
                    <a:pt x="50" y="6"/>
                  </a:cubicBezTo>
                  <a:cubicBezTo>
                    <a:pt x="50" y="4"/>
                    <a:pt x="49" y="3"/>
                    <a:pt x="48" y="2"/>
                  </a:cubicBezTo>
                  <a:cubicBezTo>
                    <a:pt x="47" y="1"/>
                    <a:pt x="45" y="0"/>
                    <a:pt x="42" y="0"/>
                  </a:cubicBezTo>
                  <a:moveTo>
                    <a:pt x="42" y="3"/>
                  </a:moveTo>
                  <a:cubicBezTo>
                    <a:pt x="45" y="3"/>
                    <a:pt x="47" y="5"/>
                    <a:pt x="47" y="9"/>
                  </a:cubicBezTo>
                  <a:cubicBezTo>
                    <a:pt x="47" y="16"/>
                    <a:pt x="45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7" y="41"/>
                    <a:pt x="50" y="24"/>
                    <a:pt x="50" y="14"/>
                  </a:cubicBezTo>
                  <a:cubicBezTo>
                    <a:pt x="51" y="9"/>
                    <a:pt x="53" y="7"/>
                    <a:pt x="55" y="7"/>
                  </a:cubicBezTo>
                  <a:cubicBezTo>
                    <a:pt x="58" y="7"/>
                    <a:pt x="60" y="10"/>
                    <a:pt x="60" y="14"/>
                  </a:cubicBezTo>
                  <a:cubicBezTo>
                    <a:pt x="60" y="2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2"/>
                    <a:pt x="60" y="34"/>
                    <a:pt x="62" y="26"/>
                  </a:cubicBezTo>
                  <a:cubicBezTo>
                    <a:pt x="62" y="22"/>
                    <a:pt x="65" y="20"/>
                    <a:pt x="67" y="20"/>
                  </a:cubicBezTo>
                  <a:cubicBezTo>
                    <a:pt x="69" y="20"/>
                    <a:pt x="72" y="23"/>
                    <a:pt x="71" y="29"/>
                  </a:cubicBezTo>
                  <a:cubicBezTo>
                    <a:pt x="69" y="41"/>
                    <a:pt x="63" y="84"/>
                    <a:pt x="63" y="89"/>
                  </a:cubicBezTo>
                  <a:cubicBezTo>
                    <a:pt x="63" y="93"/>
                    <a:pt x="65" y="101"/>
                    <a:pt x="65" y="101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2" y="99"/>
                    <a:pt x="26" y="88"/>
                    <a:pt x="23" y="83"/>
                  </a:cubicBezTo>
                  <a:cubicBezTo>
                    <a:pt x="20" y="78"/>
                    <a:pt x="9" y="64"/>
                    <a:pt x="5" y="55"/>
                  </a:cubicBezTo>
                  <a:cubicBezTo>
                    <a:pt x="2" y="49"/>
                    <a:pt x="5" y="44"/>
                    <a:pt x="8" y="44"/>
                  </a:cubicBezTo>
                  <a:cubicBezTo>
                    <a:pt x="9" y="44"/>
                    <a:pt x="11" y="45"/>
                    <a:pt x="12" y="47"/>
                  </a:cubicBezTo>
                  <a:cubicBezTo>
                    <a:pt x="16" y="54"/>
                    <a:pt x="20" y="58"/>
                    <a:pt x="22" y="58"/>
                  </a:cubicBezTo>
                  <a:cubicBezTo>
                    <a:pt x="22" y="58"/>
                    <a:pt x="22" y="58"/>
                    <a:pt x="23" y="57"/>
                  </a:cubicBezTo>
                  <a:cubicBezTo>
                    <a:pt x="23" y="56"/>
                    <a:pt x="22" y="19"/>
                    <a:pt x="22" y="13"/>
                  </a:cubicBezTo>
                  <a:cubicBezTo>
                    <a:pt x="22" y="9"/>
                    <a:pt x="25" y="7"/>
                    <a:pt x="28" y="7"/>
                  </a:cubicBezTo>
                  <a:cubicBezTo>
                    <a:pt x="30" y="7"/>
                    <a:pt x="32" y="9"/>
                    <a:pt x="32" y="13"/>
                  </a:cubicBezTo>
                  <a:cubicBezTo>
                    <a:pt x="32" y="23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4" y="39"/>
                    <a:pt x="36" y="14"/>
                    <a:pt x="37" y="8"/>
                  </a:cubicBezTo>
                  <a:cubicBezTo>
                    <a:pt x="37" y="5"/>
                    <a:pt x="39" y="3"/>
                    <a:pt x="4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27" name="Group 327">
            <a:extLst>
              <a:ext uri="{FF2B5EF4-FFF2-40B4-BE49-F238E27FC236}">
                <a16:creationId xmlns:a16="http://schemas.microsoft.com/office/drawing/2014/main" id="{A5692C44-5C93-4093-A13A-511801F3AC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8300" y="5472113"/>
            <a:ext cx="758825" cy="758825"/>
            <a:chOff x="5032" y="3447"/>
            <a:chExt cx="478" cy="478"/>
          </a:xfrm>
        </p:grpSpPr>
        <p:sp>
          <p:nvSpPr>
            <p:cNvPr id="328" name="AutoShape 326">
              <a:extLst>
                <a:ext uri="{FF2B5EF4-FFF2-40B4-BE49-F238E27FC236}">
                  <a16:creationId xmlns:a16="http://schemas.microsoft.com/office/drawing/2014/main" id="{ADFAF1B2-D006-453E-89DE-E0CE38093B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32" y="344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28">
              <a:extLst>
                <a:ext uri="{FF2B5EF4-FFF2-40B4-BE49-F238E27FC236}">
                  <a16:creationId xmlns:a16="http://schemas.microsoft.com/office/drawing/2014/main" id="{7CF7A7D8-ACE9-4138-AAA0-9207C7F27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4" y="344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29">
              <a:extLst>
                <a:ext uri="{FF2B5EF4-FFF2-40B4-BE49-F238E27FC236}">
                  <a16:creationId xmlns:a16="http://schemas.microsoft.com/office/drawing/2014/main" id="{69711ADE-522D-4093-9C17-4CA16EA9F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7" y="3619"/>
              <a:ext cx="189" cy="252"/>
            </a:xfrm>
            <a:custGeom>
              <a:avLst/>
              <a:gdLst>
                <a:gd name="T0" fmla="*/ 76 w 77"/>
                <a:gd name="T1" fmla="*/ 41 h 103"/>
                <a:gd name="T2" fmla="*/ 67 w 77"/>
                <a:gd name="T3" fmla="*/ 36 h 103"/>
                <a:gd name="T4" fmla="*/ 60 w 77"/>
                <a:gd name="T5" fmla="*/ 49 h 103"/>
                <a:gd name="T6" fmla="*/ 47 w 77"/>
                <a:gd name="T7" fmla="*/ 6 h 103"/>
                <a:gd name="T8" fmla="*/ 38 w 77"/>
                <a:gd name="T9" fmla="*/ 9 h 103"/>
                <a:gd name="T10" fmla="*/ 45 w 77"/>
                <a:gd name="T11" fmla="*/ 34 h 103"/>
                <a:gd name="T12" fmla="*/ 32 w 77"/>
                <a:gd name="T13" fmla="*/ 6 h 103"/>
                <a:gd name="T14" fmla="*/ 22 w 77"/>
                <a:gd name="T15" fmla="*/ 9 h 103"/>
                <a:gd name="T16" fmla="*/ 32 w 77"/>
                <a:gd name="T17" fmla="*/ 40 h 103"/>
                <a:gd name="T18" fmla="*/ 20 w 77"/>
                <a:gd name="T19" fmla="*/ 16 h 103"/>
                <a:gd name="T20" fmla="*/ 11 w 77"/>
                <a:gd name="T21" fmla="*/ 19 h 103"/>
                <a:gd name="T22" fmla="*/ 21 w 77"/>
                <a:gd name="T23" fmla="*/ 45 h 103"/>
                <a:gd name="T24" fmla="*/ 13 w 77"/>
                <a:gd name="T25" fmla="*/ 30 h 103"/>
                <a:gd name="T26" fmla="*/ 5 w 77"/>
                <a:gd name="T27" fmla="*/ 36 h 103"/>
                <a:gd name="T28" fmla="*/ 31 w 77"/>
                <a:gd name="T29" fmla="*/ 91 h 103"/>
                <a:gd name="T30" fmla="*/ 32 w 77"/>
                <a:gd name="T31" fmla="*/ 103 h 103"/>
                <a:gd name="T32" fmla="*/ 73 w 77"/>
                <a:gd name="T33" fmla="*/ 88 h 103"/>
                <a:gd name="T34" fmla="*/ 67 w 77"/>
                <a:gd name="T35" fmla="*/ 73 h 103"/>
                <a:gd name="T36" fmla="*/ 76 w 77"/>
                <a:gd name="T37" fmla="*/ 4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103">
                  <a:moveTo>
                    <a:pt x="76" y="41"/>
                  </a:moveTo>
                  <a:cubicBezTo>
                    <a:pt x="77" y="32"/>
                    <a:pt x="68" y="27"/>
                    <a:pt x="67" y="36"/>
                  </a:cubicBezTo>
                  <a:cubicBezTo>
                    <a:pt x="65" y="44"/>
                    <a:pt x="61" y="50"/>
                    <a:pt x="60" y="49"/>
                  </a:cubicBezTo>
                  <a:cubicBezTo>
                    <a:pt x="59" y="48"/>
                    <a:pt x="49" y="12"/>
                    <a:pt x="47" y="6"/>
                  </a:cubicBezTo>
                  <a:cubicBezTo>
                    <a:pt x="45" y="0"/>
                    <a:pt x="35" y="0"/>
                    <a:pt x="38" y="9"/>
                  </a:cubicBezTo>
                  <a:cubicBezTo>
                    <a:pt x="41" y="18"/>
                    <a:pt x="47" y="33"/>
                    <a:pt x="45" y="34"/>
                  </a:cubicBezTo>
                  <a:cubicBezTo>
                    <a:pt x="43" y="34"/>
                    <a:pt x="34" y="12"/>
                    <a:pt x="32" y="6"/>
                  </a:cubicBezTo>
                  <a:cubicBezTo>
                    <a:pt x="30" y="0"/>
                    <a:pt x="19" y="2"/>
                    <a:pt x="22" y="9"/>
                  </a:cubicBezTo>
                  <a:cubicBezTo>
                    <a:pt x="24" y="17"/>
                    <a:pt x="33" y="40"/>
                    <a:pt x="32" y="40"/>
                  </a:cubicBezTo>
                  <a:cubicBezTo>
                    <a:pt x="31" y="40"/>
                    <a:pt x="24" y="25"/>
                    <a:pt x="20" y="16"/>
                  </a:cubicBezTo>
                  <a:cubicBezTo>
                    <a:pt x="17" y="6"/>
                    <a:pt x="9" y="11"/>
                    <a:pt x="11" y="19"/>
                  </a:cubicBezTo>
                  <a:cubicBezTo>
                    <a:pt x="14" y="26"/>
                    <a:pt x="21" y="45"/>
                    <a:pt x="21" y="45"/>
                  </a:cubicBezTo>
                  <a:cubicBezTo>
                    <a:pt x="20" y="46"/>
                    <a:pt x="17" y="38"/>
                    <a:pt x="13" y="30"/>
                  </a:cubicBezTo>
                  <a:cubicBezTo>
                    <a:pt x="9" y="22"/>
                    <a:pt x="0" y="26"/>
                    <a:pt x="5" y="36"/>
                  </a:cubicBezTo>
                  <a:cubicBezTo>
                    <a:pt x="10" y="47"/>
                    <a:pt x="30" y="86"/>
                    <a:pt x="31" y="91"/>
                  </a:cubicBezTo>
                  <a:cubicBezTo>
                    <a:pt x="32" y="95"/>
                    <a:pt x="32" y="103"/>
                    <a:pt x="32" y="103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66" y="79"/>
                    <a:pt x="67" y="73"/>
                  </a:cubicBezTo>
                  <a:cubicBezTo>
                    <a:pt x="69" y="68"/>
                    <a:pt x="75" y="50"/>
                    <a:pt x="76" y="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330">
              <a:extLst>
                <a:ext uri="{FF2B5EF4-FFF2-40B4-BE49-F238E27FC236}">
                  <a16:creationId xmlns:a16="http://schemas.microsoft.com/office/drawing/2014/main" id="{448539C1-7E27-4ED3-91FA-54E72D8E8D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4" y="3496"/>
              <a:ext cx="183" cy="255"/>
            </a:xfrm>
            <a:custGeom>
              <a:avLst/>
              <a:gdLst>
                <a:gd name="T0" fmla="*/ 42 w 75"/>
                <a:gd name="T1" fmla="*/ 0 h 104"/>
                <a:gd name="T2" fmla="*/ 33 w 75"/>
                <a:gd name="T3" fmla="*/ 6 h 104"/>
                <a:gd name="T4" fmla="*/ 33 w 75"/>
                <a:gd name="T5" fmla="*/ 6 h 104"/>
                <a:gd name="T6" fmla="*/ 28 w 75"/>
                <a:gd name="T7" fmla="*/ 4 h 104"/>
                <a:gd name="T8" fmla="*/ 19 w 75"/>
                <a:gd name="T9" fmla="*/ 13 h 104"/>
                <a:gd name="T10" fmla="*/ 19 w 75"/>
                <a:gd name="T11" fmla="*/ 31 h 104"/>
                <a:gd name="T12" fmla="*/ 19 w 75"/>
                <a:gd name="T13" fmla="*/ 52 h 104"/>
                <a:gd name="T14" fmla="*/ 15 w 75"/>
                <a:gd name="T15" fmla="*/ 45 h 104"/>
                <a:gd name="T16" fmla="*/ 8 w 75"/>
                <a:gd name="T17" fmla="*/ 40 h 104"/>
                <a:gd name="T18" fmla="*/ 2 w 75"/>
                <a:gd name="T19" fmla="*/ 44 h 104"/>
                <a:gd name="T20" fmla="*/ 2 w 75"/>
                <a:gd name="T21" fmla="*/ 56 h 104"/>
                <a:gd name="T22" fmla="*/ 16 w 75"/>
                <a:gd name="T23" fmla="*/ 79 h 104"/>
                <a:gd name="T24" fmla="*/ 20 w 75"/>
                <a:gd name="T25" fmla="*/ 85 h 104"/>
                <a:gd name="T26" fmla="*/ 18 w 75"/>
                <a:gd name="T27" fmla="*/ 98 h 104"/>
                <a:gd name="T28" fmla="*/ 17 w 75"/>
                <a:gd name="T29" fmla="*/ 102 h 104"/>
                <a:gd name="T30" fmla="*/ 21 w 75"/>
                <a:gd name="T31" fmla="*/ 103 h 104"/>
                <a:gd name="T32" fmla="*/ 65 w 75"/>
                <a:gd name="T33" fmla="*/ 104 h 104"/>
                <a:gd name="T34" fmla="*/ 70 w 75"/>
                <a:gd name="T35" fmla="*/ 104 h 104"/>
                <a:gd name="T36" fmla="*/ 69 w 75"/>
                <a:gd name="T37" fmla="*/ 100 h 104"/>
                <a:gd name="T38" fmla="*/ 66 w 75"/>
                <a:gd name="T39" fmla="*/ 89 h 104"/>
                <a:gd name="T40" fmla="*/ 73 w 75"/>
                <a:gd name="T41" fmla="*/ 43 h 104"/>
                <a:gd name="T42" fmla="*/ 74 w 75"/>
                <a:gd name="T43" fmla="*/ 30 h 104"/>
                <a:gd name="T44" fmla="*/ 72 w 75"/>
                <a:gd name="T45" fmla="*/ 19 h 104"/>
                <a:gd name="T46" fmla="*/ 67 w 75"/>
                <a:gd name="T47" fmla="*/ 16 h 104"/>
                <a:gd name="T48" fmla="*/ 63 w 75"/>
                <a:gd name="T49" fmla="*/ 17 h 104"/>
                <a:gd name="T50" fmla="*/ 64 w 75"/>
                <a:gd name="T51" fmla="*/ 15 h 104"/>
                <a:gd name="T52" fmla="*/ 61 w 75"/>
                <a:gd name="T53" fmla="*/ 7 h 104"/>
                <a:gd name="T54" fmla="*/ 55 w 75"/>
                <a:gd name="T55" fmla="*/ 4 h 104"/>
                <a:gd name="T56" fmla="*/ 50 w 75"/>
                <a:gd name="T57" fmla="*/ 6 h 104"/>
                <a:gd name="T58" fmla="*/ 48 w 75"/>
                <a:gd name="T59" fmla="*/ 2 h 104"/>
                <a:gd name="T60" fmla="*/ 42 w 75"/>
                <a:gd name="T61" fmla="*/ 0 h 104"/>
                <a:gd name="T62" fmla="*/ 42 w 75"/>
                <a:gd name="T63" fmla="*/ 3 h 104"/>
                <a:gd name="T64" fmla="*/ 47 w 75"/>
                <a:gd name="T65" fmla="*/ 9 h 104"/>
                <a:gd name="T66" fmla="*/ 46 w 75"/>
                <a:gd name="T67" fmla="*/ 41 h 104"/>
                <a:gd name="T68" fmla="*/ 46 w 75"/>
                <a:gd name="T69" fmla="*/ 41 h 104"/>
                <a:gd name="T70" fmla="*/ 50 w 75"/>
                <a:gd name="T71" fmla="*/ 14 h 104"/>
                <a:gd name="T72" fmla="*/ 55 w 75"/>
                <a:gd name="T73" fmla="*/ 7 h 104"/>
                <a:gd name="T74" fmla="*/ 60 w 75"/>
                <a:gd name="T75" fmla="*/ 14 h 104"/>
                <a:gd name="T76" fmla="*/ 59 w 75"/>
                <a:gd name="T77" fmla="*/ 42 h 104"/>
                <a:gd name="T78" fmla="*/ 59 w 75"/>
                <a:gd name="T79" fmla="*/ 42 h 104"/>
                <a:gd name="T80" fmla="*/ 62 w 75"/>
                <a:gd name="T81" fmla="*/ 26 h 104"/>
                <a:gd name="T82" fmla="*/ 67 w 75"/>
                <a:gd name="T83" fmla="*/ 20 h 104"/>
                <a:gd name="T84" fmla="*/ 71 w 75"/>
                <a:gd name="T85" fmla="*/ 29 h 104"/>
                <a:gd name="T86" fmla="*/ 63 w 75"/>
                <a:gd name="T87" fmla="*/ 89 h 104"/>
                <a:gd name="T88" fmla="*/ 65 w 75"/>
                <a:gd name="T89" fmla="*/ 101 h 104"/>
                <a:gd name="T90" fmla="*/ 22 w 75"/>
                <a:gd name="T91" fmla="*/ 99 h 104"/>
                <a:gd name="T92" fmla="*/ 23 w 75"/>
                <a:gd name="T93" fmla="*/ 83 h 104"/>
                <a:gd name="T94" fmla="*/ 5 w 75"/>
                <a:gd name="T95" fmla="*/ 55 h 104"/>
                <a:gd name="T96" fmla="*/ 8 w 75"/>
                <a:gd name="T97" fmla="*/ 44 h 104"/>
                <a:gd name="T98" fmla="*/ 12 w 75"/>
                <a:gd name="T99" fmla="*/ 47 h 104"/>
                <a:gd name="T100" fmla="*/ 22 w 75"/>
                <a:gd name="T101" fmla="*/ 58 h 104"/>
                <a:gd name="T102" fmla="*/ 23 w 75"/>
                <a:gd name="T103" fmla="*/ 57 h 104"/>
                <a:gd name="T104" fmla="*/ 22 w 75"/>
                <a:gd name="T105" fmla="*/ 13 h 104"/>
                <a:gd name="T106" fmla="*/ 28 w 75"/>
                <a:gd name="T107" fmla="*/ 7 h 104"/>
                <a:gd name="T108" fmla="*/ 32 w 75"/>
                <a:gd name="T109" fmla="*/ 13 h 104"/>
                <a:gd name="T110" fmla="*/ 32 w 75"/>
                <a:gd name="T111" fmla="*/ 39 h 104"/>
                <a:gd name="T112" fmla="*/ 32 w 75"/>
                <a:gd name="T113" fmla="*/ 39 h 104"/>
                <a:gd name="T114" fmla="*/ 37 w 75"/>
                <a:gd name="T115" fmla="*/ 8 h 104"/>
                <a:gd name="T116" fmla="*/ 42 w 75"/>
                <a:gd name="T11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104">
                  <a:moveTo>
                    <a:pt x="42" y="0"/>
                  </a:moveTo>
                  <a:cubicBezTo>
                    <a:pt x="38" y="0"/>
                    <a:pt x="34" y="2"/>
                    <a:pt x="3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4"/>
                    <a:pt x="30" y="4"/>
                    <a:pt x="28" y="4"/>
                  </a:cubicBezTo>
                  <a:cubicBezTo>
                    <a:pt x="24" y="4"/>
                    <a:pt x="19" y="7"/>
                    <a:pt x="19" y="13"/>
                  </a:cubicBezTo>
                  <a:cubicBezTo>
                    <a:pt x="19" y="15"/>
                    <a:pt x="19" y="23"/>
                    <a:pt x="19" y="31"/>
                  </a:cubicBezTo>
                  <a:cubicBezTo>
                    <a:pt x="19" y="37"/>
                    <a:pt x="19" y="46"/>
                    <a:pt x="19" y="52"/>
                  </a:cubicBezTo>
                  <a:cubicBezTo>
                    <a:pt x="18" y="50"/>
                    <a:pt x="17" y="48"/>
                    <a:pt x="15" y="45"/>
                  </a:cubicBezTo>
                  <a:cubicBezTo>
                    <a:pt x="13" y="41"/>
                    <a:pt x="10" y="40"/>
                    <a:pt x="8" y="40"/>
                  </a:cubicBezTo>
                  <a:cubicBezTo>
                    <a:pt x="6" y="40"/>
                    <a:pt x="4" y="42"/>
                    <a:pt x="2" y="44"/>
                  </a:cubicBezTo>
                  <a:cubicBezTo>
                    <a:pt x="0" y="47"/>
                    <a:pt x="0" y="52"/>
                    <a:pt x="2" y="56"/>
                  </a:cubicBezTo>
                  <a:cubicBezTo>
                    <a:pt x="5" y="63"/>
                    <a:pt x="11" y="72"/>
                    <a:pt x="16" y="79"/>
                  </a:cubicBezTo>
                  <a:cubicBezTo>
                    <a:pt x="18" y="81"/>
                    <a:pt x="19" y="84"/>
                    <a:pt x="20" y="85"/>
                  </a:cubicBezTo>
                  <a:cubicBezTo>
                    <a:pt x="22" y="87"/>
                    <a:pt x="20" y="94"/>
                    <a:pt x="18" y="98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8" y="98"/>
                    <a:pt x="66" y="92"/>
                    <a:pt x="66" y="89"/>
                  </a:cubicBezTo>
                  <a:cubicBezTo>
                    <a:pt x="66" y="85"/>
                    <a:pt x="70" y="58"/>
                    <a:pt x="73" y="43"/>
                  </a:cubicBezTo>
                  <a:cubicBezTo>
                    <a:pt x="73" y="37"/>
                    <a:pt x="74" y="33"/>
                    <a:pt x="74" y="30"/>
                  </a:cubicBezTo>
                  <a:cubicBezTo>
                    <a:pt x="75" y="24"/>
                    <a:pt x="74" y="21"/>
                    <a:pt x="72" y="19"/>
                  </a:cubicBezTo>
                  <a:cubicBezTo>
                    <a:pt x="71" y="17"/>
                    <a:pt x="69" y="16"/>
                    <a:pt x="67" y="16"/>
                  </a:cubicBezTo>
                  <a:cubicBezTo>
                    <a:pt x="66" y="16"/>
                    <a:pt x="64" y="17"/>
                    <a:pt x="63" y="17"/>
                  </a:cubicBezTo>
                  <a:cubicBezTo>
                    <a:pt x="63" y="16"/>
                    <a:pt x="63" y="15"/>
                    <a:pt x="64" y="15"/>
                  </a:cubicBezTo>
                  <a:cubicBezTo>
                    <a:pt x="64" y="11"/>
                    <a:pt x="63" y="9"/>
                    <a:pt x="61" y="7"/>
                  </a:cubicBezTo>
                  <a:cubicBezTo>
                    <a:pt x="59" y="5"/>
                    <a:pt x="57" y="4"/>
                    <a:pt x="55" y="4"/>
                  </a:cubicBezTo>
                  <a:cubicBezTo>
                    <a:pt x="53" y="4"/>
                    <a:pt x="52" y="4"/>
                    <a:pt x="50" y="6"/>
                  </a:cubicBezTo>
                  <a:cubicBezTo>
                    <a:pt x="50" y="4"/>
                    <a:pt x="49" y="3"/>
                    <a:pt x="48" y="2"/>
                  </a:cubicBezTo>
                  <a:cubicBezTo>
                    <a:pt x="47" y="1"/>
                    <a:pt x="45" y="0"/>
                    <a:pt x="42" y="0"/>
                  </a:cubicBezTo>
                  <a:moveTo>
                    <a:pt x="42" y="3"/>
                  </a:moveTo>
                  <a:cubicBezTo>
                    <a:pt x="45" y="3"/>
                    <a:pt x="47" y="5"/>
                    <a:pt x="47" y="9"/>
                  </a:cubicBezTo>
                  <a:cubicBezTo>
                    <a:pt x="47" y="16"/>
                    <a:pt x="45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7" y="41"/>
                    <a:pt x="50" y="24"/>
                    <a:pt x="50" y="14"/>
                  </a:cubicBezTo>
                  <a:cubicBezTo>
                    <a:pt x="51" y="9"/>
                    <a:pt x="53" y="7"/>
                    <a:pt x="55" y="7"/>
                  </a:cubicBezTo>
                  <a:cubicBezTo>
                    <a:pt x="58" y="7"/>
                    <a:pt x="60" y="10"/>
                    <a:pt x="60" y="14"/>
                  </a:cubicBezTo>
                  <a:cubicBezTo>
                    <a:pt x="60" y="2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2"/>
                    <a:pt x="60" y="34"/>
                    <a:pt x="62" y="26"/>
                  </a:cubicBezTo>
                  <a:cubicBezTo>
                    <a:pt x="62" y="22"/>
                    <a:pt x="65" y="20"/>
                    <a:pt x="67" y="20"/>
                  </a:cubicBezTo>
                  <a:cubicBezTo>
                    <a:pt x="69" y="20"/>
                    <a:pt x="72" y="23"/>
                    <a:pt x="71" y="29"/>
                  </a:cubicBezTo>
                  <a:cubicBezTo>
                    <a:pt x="69" y="41"/>
                    <a:pt x="63" y="84"/>
                    <a:pt x="63" y="89"/>
                  </a:cubicBezTo>
                  <a:cubicBezTo>
                    <a:pt x="63" y="93"/>
                    <a:pt x="65" y="101"/>
                    <a:pt x="65" y="101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2" y="99"/>
                    <a:pt x="26" y="88"/>
                    <a:pt x="23" y="83"/>
                  </a:cubicBezTo>
                  <a:cubicBezTo>
                    <a:pt x="20" y="78"/>
                    <a:pt x="9" y="64"/>
                    <a:pt x="5" y="55"/>
                  </a:cubicBezTo>
                  <a:cubicBezTo>
                    <a:pt x="2" y="49"/>
                    <a:pt x="5" y="44"/>
                    <a:pt x="8" y="44"/>
                  </a:cubicBezTo>
                  <a:cubicBezTo>
                    <a:pt x="9" y="44"/>
                    <a:pt x="11" y="45"/>
                    <a:pt x="12" y="47"/>
                  </a:cubicBezTo>
                  <a:cubicBezTo>
                    <a:pt x="16" y="54"/>
                    <a:pt x="20" y="58"/>
                    <a:pt x="22" y="58"/>
                  </a:cubicBezTo>
                  <a:cubicBezTo>
                    <a:pt x="22" y="58"/>
                    <a:pt x="22" y="58"/>
                    <a:pt x="23" y="57"/>
                  </a:cubicBezTo>
                  <a:cubicBezTo>
                    <a:pt x="23" y="56"/>
                    <a:pt x="22" y="19"/>
                    <a:pt x="22" y="13"/>
                  </a:cubicBezTo>
                  <a:cubicBezTo>
                    <a:pt x="22" y="9"/>
                    <a:pt x="25" y="7"/>
                    <a:pt x="28" y="7"/>
                  </a:cubicBezTo>
                  <a:cubicBezTo>
                    <a:pt x="30" y="7"/>
                    <a:pt x="32" y="9"/>
                    <a:pt x="32" y="13"/>
                  </a:cubicBezTo>
                  <a:cubicBezTo>
                    <a:pt x="32" y="23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4" y="39"/>
                    <a:pt x="36" y="14"/>
                    <a:pt x="37" y="8"/>
                  </a:cubicBezTo>
                  <a:cubicBezTo>
                    <a:pt x="37" y="5"/>
                    <a:pt x="39" y="3"/>
                    <a:pt x="4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4">
            <a:extLst>
              <a:ext uri="{FF2B5EF4-FFF2-40B4-BE49-F238E27FC236}">
                <a16:creationId xmlns:a16="http://schemas.microsoft.com/office/drawing/2014/main" id="{53C9FC50-8126-4E7F-A5F5-A564B23BF2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363" y="4092575"/>
            <a:ext cx="841375" cy="841375"/>
            <a:chOff x="227" y="2578"/>
            <a:chExt cx="530" cy="530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61255CD2-92D9-4C36-8234-12251490D6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" y="257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E9C616C6-8EE1-4961-9C0A-9BB554CA61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" y="257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CB5997D-E6C8-462A-ADEB-B9A94655F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" y="259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2549D867-C259-4CD2-BA8A-BAD62B6454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" y="2691"/>
              <a:ext cx="322" cy="307"/>
            </a:xfrm>
            <a:custGeom>
              <a:avLst/>
              <a:gdLst>
                <a:gd name="T0" fmla="*/ 23 w 126"/>
                <a:gd name="T1" fmla="*/ 18 h 120"/>
                <a:gd name="T2" fmla="*/ 23 w 126"/>
                <a:gd name="T3" fmla="*/ 23 h 120"/>
                <a:gd name="T4" fmla="*/ 11 w 126"/>
                <a:gd name="T5" fmla="*/ 11 h 120"/>
                <a:gd name="T6" fmla="*/ 101 w 126"/>
                <a:gd name="T7" fmla="*/ 96 h 120"/>
                <a:gd name="T8" fmla="*/ 109 w 126"/>
                <a:gd name="T9" fmla="*/ 101 h 120"/>
                <a:gd name="T10" fmla="*/ 106 w 126"/>
                <a:gd name="T11" fmla="*/ 104 h 120"/>
                <a:gd name="T12" fmla="*/ 79 w 126"/>
                <a:gd name="T13" fmla="*/ 96 h 120"/>
                <a:gd name="T14" fmla="*/ 79 w 126"/>
                <a:gd name="T15" fmla="*/ 72 h 120"/>
                <a:gd name="T16" fmla="*/ 79 w 126"/>
                <a:gd name="T17" fmla="*/ 92 h 120"/>
                <a:gd name="T18" fmla="*/ 96 w 126"/>
                <a:gd name="T19" fmla="*/ 47 h 120"/>
                <a:gd name="T20" fmla="*/ 79 w 126"/>
                <a:gd name="T21" fmla="*/ 50 h 120"/>
                <a:gd name="T22" fmla="*/ 79 w 126"/>
                <a:gd name="T23" fmla="*/ 45 h 120"/>
                <a:gd name="T24" fmla="*/ 99 w 126"/>
                <a:gd name="T25" fmla="*/ 41 h 120"/>
                <a:gd name="T26" fmla="*/ 121 w 126"/>
                <a:gd name="T27" fmla="*/ 68 h 120"/>
                <a:gd name="T28" fmla="*/ 109 w 126"/>
                <a:gd name="T29" fmla="*/ 40 h 120"/>
                <a:gd name="T30" fmla="*/ 62 w 126"/>
                <a:gd name="T31" fmla="*/ 43 h 120"/>
                <a:gd name="T32" fmla="*/ 74 w 126"/>
                <a:gd name="T33" fmla="*/ 25 h 120"/>
                <a:gd name="T34" fmla="*/ 53 w 126"/>
                <a:gd name="T35" fmla="*/ 68 h 120"/>
                <a:gd name="T36" fmla="*/ 66 w 126"/>
                <a:gd name="T37" fmla="*/ 54 h 120"/>
                <a:gd name="T38" fmla="*/ 74 w 126"/>
                <a:gd name="T39" fmla="*/ 68 h 120"/>
                <a:gd name="T40" fmla="*/ 53 w 126"/>
                <a:gd name="T41" fmla="*/ 72 h 120"/>
                <a:gd name="T42" fmla="*/ 74 w 126"/>
                <a:gd name="T43" fmla="*/ 115 h 120"/>
                <a:gd name="T44" fmla="*/ 74 w 126"/>
                <a:gd name="T45" fmla="*/ 115 h 120"/>
                <a:gd name="T46" fmla="*/ 62 w 126"/>
                <a:gd name="T47" fmla="*/ 113 h 120"/>
                <a:gd name="T48" fmla="*/ 35 w 126"/>
                <a:gd name="T49" fmla="*/ 41 h 120"/>
                <a:gd name="T50" fmla="*/ 40 w 126"/>
                <a:gd name="T51" fmla="*/ 88 h 120"/>
                <a:gd name="T52" fmla="*/ 12 w 126"/>
                <a:gd name="T53" fmla="*/ 41 h 120"/>
                <a:gd name="T54" fmla="*/ 5 w 126"/>
                <a:gd name="T55" fmla="*/ 61 h 120"/>
                <a:gd name="T56" fmla="*/ 32 w 126"/>
                <a:gd name="T57" fmla="*/ 32 h 120"/>
                <a:gd name="T58" fmla="*/ 59 w 126"/>
                <a:gd name="T59" fmla="*/ 52 h 120"/>
                <a:gd name="T60" fmla="*/ 27 w 126"/>
                <a:gd name="T61" fmla="*/ 115 h 120"/>
                <a:gd name="T62" fmla="*/ 31 w 126"/>
                <a:gd name="T63" fmla="*/ 93 h 120"/>
                <a:gd name="T64" fmla="*/ 18 w 126"/>
                <a:gd name="T65" fmla="*/ 115 h 120"/>
                <a:gd name="T66" fmla="*/ 20 w 126"/>
                <a:gd name="T67" fmla="*/ 93 h 120"/>
                <a:gd name="T68" fmla="*/ 51 w 126"/>
                <a:gd name="T69" fmla="*/ 28 h 120"/>
                <a:gd name="T70" fmla="*/ 62 w 126"/>
                <a:gd name="T71" fmla="*/ 27 h 120"/>
                <a:gd name="T72" fmla="*/ 11 w 126"/>
                <a:gd name="T73" fmla="*/ 27 h 120"/>
                <a:gd name="T74" fmla="*/ 4 w 126"/>
                <a:gd name="T75" fmla="*/ 69 h 120"/>
                <a:gd name="T76" fmla="*/ 2 w 126"/>
                <a:gd name="T77" fmla="*/ 93 h 120"/>
                <a:gd name="T78" fmla="*/ 18 w 126"/>
                <a:gd name="T79" fmla="*/ 120 h 120"/>
                <a:gd name="T80" fmla="*/ 34 w 126"/>
                <a:gd name="T81" fmla="*/ 113 h 120"/>
                <a:gd name="T82" fmla="*/ 45 w 126"/>
                <a:gd name="T83" fmla="*/ 92 h 120"/>
                <a:gd name="T84" fmla="*/ 50 w 126"/>
                <a:gd name="T85" fmla="*/ 53 h 120"/>
                <a:gd name="T86" fmla="*/ 42 w 126"/>
                <a:gd name="T87" fmla="*/ 103 h 120"/>
                <a:gd name="T88" fmla="*/ 76 w 126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6" h="120">
                  <a:moveTo>
                    <a:pt x="23" y="5"/>
                  </a:moveTo>
                  <a:cubicBezTo>
                    <a:pt x="26" y="5"/>
                    <a:pt x="29" y="8"/>
                    <a:pt x="29" y="11"/>
                  </a:cubicBezTo>
                  <a:cubicBezTo>
                    <a:pt x="29" y="15"/>
                    <a:pt x="26" y="18"/>
                    <a:pt x="23" y="18"/>
                  </a:cubicBezTo>
                  <a:cubicBezTo>
                    <a:pt x="19" y="18"/>
                    <a:pt x="16" y="15"/>
                    <a:pt x="16" y="11"/>
                  </a:cubicBezTo>
                  <a:cubicBezTo>
                    <a:pt x="16" y="8"/>
                    <a:pt x="19" y="5"/>
                    <a:pt x="23" y="5"/>
                  </a:cubicBezTo>
                  <a:moveTo>
                    <a:pt x="23" y="23"/>
                  </a:moveTo>
                  <a:cubicBezTo>
                    <a:pt x="29" y="23"/>
                    <a:pt x="34" y="18"/>
                    <a:pt x="34" y="11"/>
                  </a:cubicBezTo>
                  <a:cubicBezTo>
                    <a:pt x="34" y="5"/>
                    <a:pt x="29" y="0"/>
                    <a:pt x="23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18"/>
                    <a:pt x="16" y="23"/>
                    <a:pt x="23" y="23"/>
                  </a:cubicBezTo>
                  <a:moveTo>
                    <a:pt x="109" y="101"/>
                  </a:moveTo>
                  <a:cubicBezTo>
                    <a:pt x="107" y="99"/>
                    <a:pt x="104" y="97"/>
                    <a:pt x="101" y="96"/>
                  </a:cubicBezTo>
                  <a:cubicBezTo>
                    <a:pt x="103" y="89"/>
                    <a:pt x="104" y="81"/>
                    <a:pt x="104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83"/>
                    <a:pt x="116" y="93"/>
                    <a:pt x="109" y="101"/>
                  </a:cubicBezTo>
                  <a:moveTo>
                    <a:pt x="91" y="113"/>
                  </a:moveTo>
                  <a:cubicBezTo>
                    <a:pt x="94" y="110"/>
                    <a:pt x="97" y="105"/>
                    <a:pt x="99" y="100"/>
                  </a:cubicBezTo>
                  <a:cubicBezTo>
                    <a:pt x="102" y="101"/>
                    <a:pt x="104" y="102"/>
                    <a:pt x="106" y="104"/>
                  </a:cubicBezTo>
                  <a:cubicBezTo>
                    <a:pt x="102" y="108"/>
                    <a:pt x="97" y="111"/>
                    <a:pt x="91" y="113"/>
                  </a:cubicBezTo>
                  <a:moveTo>
                    <a:pt x="79" y="115"/>
                  </a:moveTo>
                  <a:cubicBezTo>
                    <a:pt x="79" y="96"/>
                    <a:pt x="79" y="96"/>
                    <a:pt x="79" y="96"/>
                  </a:cubicBezTo>
                  <a:cubicBezTo>
                    <a:pt x="84" y="96"/>
                    <a:pt x="90" y="97"/>
                    <a:pt x="95" y="98"/>
                  </a:cubicBezTo>
                  <a:cubicBezTo>
                    <a:pt x="91" y="108"/>
                    <a:pt x="85" y="114"/>
                    <a:pt x="79" y="115"/>
                  </a:cubicBezTo>
                  <a:moveTo>
                    <a:pt x="79" y="72"/>
                  </a:moveTo>
                  <a:cubicBezTo>
                    <a:pt x="100" y="72"/>
                    <a:pt x="100" y="72"/>
                    <a:pt x="100" y="72"/>
                  </a:cubicBezTo>
                  <a:cubicBezTo>
                    <a:pt x="100" y="80"/>
                    <a:pt x="98" y="88"/>
                    <a:pt x="96" y="94"/>
                  </a:cubicBezTo>
                  <a:cubicBezTo>
                    <a:pt x="91" y="93"/>
                    <a:pt x="85" y="92"/>
                    <a:pt x="79" y="92"/>
                  </a:cubicBezTo>
                  <a:lnTo>
                    <a:pt x="79" y="72"/>
                  </a:lnTo>
                  <a:close/>
                  <a:moveTo>
                    <a:pt x="79" y="50"/>
                  </a:moveTo>
                  <a:cubicBezTo>
                    <a:pt x="85" y="49"/>
                    <a:pt x="91" y="48"/>
                    <a:pt x="96" y="47"/>
                  </a:cubicBezTo>
                  <a:cubicBezTo>
                    <a:pt x="98" y="53"/>
                    <a:pt x="100" y="60"/>
                    <a:pt x="100" y="68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9" y="50"/>
                  </a:lnTo>
                  <a:close/>
                  <a:moveTo>
                    <a:pt x="79" y="25"/>
                  </a:moveTo>
                  <a:cubicBezTo>
                    <a:pt x="85" y="26"/>
                    <a:pt x="91" y="33"/>
                    <a:pt x="95" y="42"/>
                  </a:cubicBezTo>
                  <a:cubicBezTo>
                    <a:pt x="90" y="44"/>
                    <a:pt x="85" y="45"/>
                    <a:pt x="79" y="45"/>
                  </a:cubicBezTo>
                  <a:lnTo>
                    <a:pt x="79" y="25"/>
                  </a:lnTo>
                  <a:close/>
                  <a:moveTo>
                    <a:pt x="106" y="36"/>
                  </a:moveTo>
                  <a:cubicBezTo>
                    <a:pt x="104" y="38"/>
                    <a:pt x="102" y="40"/>
                    <a:pt x="99" y="41"/>
                  </a:cubicBezTo>
                  <a:cubicBezTo>
                    <a:pt x="97" y="35"/>
                    <a:pt x="94" y="31"/>
                    <a:pt x="91" y="27"/>
                  </a:cubicBezTo>
                  <a:cubicBezTo>
                    <a:pt x="97" y="29"/>
                    <a:pt x="102" y="32"/>
                    <a:pt x="106" y="36"/>
                  </a:cubicBezTo>
                  <a:moveTo>
                    <a:pt x="121" y="68"/>
                  </a:moveTo>
                  <a:cubicBezTo>
                    <a:pt x="104" y="68"/>
                    <a:pt x="104" y="68"/>
                    <a:pt x="104" y="68"/>
                  </a:cubicBezTo>
                  <a:cubicBezTo>
                    <a:pt x="104" y="60"/>
                    <a:pt x="103" y="52"/>
                    <a:pt x="101" y="45"/>
                  </a:cubicBezTo>
                  <a:cubicBezTo>
                    <a:pt x="104" y="44"/>
                    <a:pt x="107" y="42"/>
                    <a:pt x="109" y="40"/>
                  </a:cubicBezTo>
                  <a:cubicBezTo>
                    <a:pt x="116" y="47"/>
                    <a:pt x="121" y="57"/>
                    <a:pt x="121" y="68"/>
                  </a:cubicBezTo>
                  <a:moveTo>
                    <a:pt x="74" y="45"/>
                  </a:moveTo>
                  <a:cubicBezTo>
                    <a:pt x="70" y="45"/>
                    <a:pt x="66" y="44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0" y="42"/>
                    <a:pt x="59" y="41"/>
                  </a:cubicBezTo>
                  <a:cubicBezTo>
                    <a:pt x="63" y="32"/>
                    <a:pt x="68" y="26"/>
                    <a:pt x="74" y="25"/>
                  </a:cubicBezTo>
                  <a:lnTo>
                    <a:pt x="74" y="45"/>
                  </a:lnTo>
                  <a:close/>
                  <a:moveTo>
                    <a:pt x="74" y="68"/>
                  </a:moveTo>
                  <a:cubicBezTo>
                    <a:pt x="53" y="68"/>
                    <a:pt x="53" y="68"/>
                    <a:pt x="53" y="68"/>
                  </a:cubicBezTo>
                  <a:cubicBezTo>
                    <a:pt x="53" y="63"/>
                    <a:pt x="54" y="59"/>
                    <a:pt x="55" y="5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1" y="58"/>
                    <a:pt x="64" y="57"/>
                    <a:pt x="66" y="54"/>
                  </a:cubicBezTo>
                  <a:cubicBezTo>
                    <a:pt x="66" y="53"/>
                    <a:pt x="67" y="51"/>
                    <a:pt x="66" y="49"/>
                  </a:cubicBezTo>
                  <a:cubicBezTo>
                    <a:pt x="69" y="49"/>
                    <a:pt x="71" y="49"/>
                    <a:pt x="74" y="50"/>
                  </a:cubicBezTo>
                  <a:lnTo>
                    <a:pt x="74" y="68"/>
                  </a:lnTo>
                  <a:close/>
                  <a:moveTo>
                    <a:pt x="74" y="92"/>
                  </a:moveTo>
                  <a:cubicBezTo>
                    <a:pt x="68" y="92"/>
                    <a:pt x="62" y="93"/>
                    <a:pt x="57" y="94"/>
                  </a:cubicBezTo>
                  <a:cubicBezTo>
                    <a:pt x="55" y="88"/>
                    <a:pt x="53" y="80"/>
                    <a:pt x="53" y="72"/>
                  </a:cubicBezTo>
                  <a:cubicBezTo>
                    <a:pt x="74" y="72"/>
                    <a:pt x="74" y="72"/>
                    <a:pt x="74" y="72"/>
                  </a:cubicBezTo>
                  <a:lnTo>
                    <a:pt x="74" y="92"/>
                  </a:lnTo>
                  <a:close/>
                  <a:moveTo>
                    <a:pt x="74" y="115"/>
                  </a:moveTo>
                  <a:cubicBezTo>
                    <a:pt x="68" y="114"/>
                    <a:pt x="62" y="108"/>
                    <a:pt x="58" y="98"/>
                  </a:cubicBezTo>
                  <a:cubicBezTo>
                    <a:pt x="63" y="97"/>
                    <a:pt x="68" y="96"/>
                    <a:pt x="74" y="96"/>
                  </a:cubicBezTo>
                  <a:lnTo>
                    <a:pt x="74" y="115"/>
                  </a:lnTo>
                  <a:close/>
                  <a:moveTo>
                    <a:pt x="47" y="104"/>
                  </a:moveTo>
                  <a:cubicBezTo>
                    <a:pt x="49" y="102"/>
                    <a:pt x="51" y="101"/>
                    <a:pt x="54" y="100"/>
                  </a:cubicBezTo>
                  <a:cubicBezTo>
                    <a:pt x="56" y="105"/>
                    <a:pt x="59" y="110"/>
                    <a:pt x="62" y="113"/>
                  </a:cubicBezTo>
                  <a:cubicBezTo>
                    <a:pt x="57" y="111"/>
                    <a:pt x="51" y="108"/>
                    <a:pt x="47" y="104"/>
                  </a:cubicBezTo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ubicBezTo>
                    <a:pt x="34" y="41"/>
                    <a:pt x="34" y="41"/>
                    <a:pt x="33" y="41"/>
                  </a:cubicBezTo>
                  <a:cubicBezTo>
                    <a:pt x="32" y="41"/>
                    <a:pt x="31" y="42"/>
                    <a:pt x="32" y="43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2"/>
                    <a:pt x="13" y="41"/>
                    <a:pt x="12" y="41"/>
                  </a:cubicBezTo>
                  <a:cubicBezTo>
                    <a:pt x="11" y="41"/>
                    <a:pt x="9" y="41"/>
                    <a:pt x="9" y="43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3"/>
                    <a:pt x="5" y="62"/>
                    <a:pt x="5" y="61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5"/>
                    <a:pt x="8" y="32"/>
                    <a:pt x="11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4" y="32"/>
                    <a:pt x="48" y="40"/>
                    <a:pt x="60" y="47"/>
                  </a:cubicBezTo>
                  <a:cubicBezTo>
                    <a:pt x="62" y="49"/>
                    <a:pt x="62" y="51"/>
                    <a:pt x="62" y="52"/>
                  </a:cubicBezTo>
                  <a:cubicBezTo>
                    <a:pt x="61" y="52"/>
                    <a:pt x="61" y="53"/>
                    <a:pt x="59" y="52"/>
                  </a:cubicBezTo>
                  <a:lnTo>
                    <a:pt x="35" y="41"/>
                  </a:lnTo>
                  <a:close/>
                  <a:moveTo>
                    <a:pt x="30" y="113"/>
                  </a:moveTo>
                  <a:cubicBezTo>
                    <a:pt x="30" y="114"/>
                    <a:pt x="28" y="115"/>
                    <a:pt x="27" y="115"/>
                  </a:cubicBezTo>
                  <a:cubicBezTo>
                    <a:pt x="26" y="115"/>
                    <a:pt x="25" y="114"/>
                    <a:pt x="25" y="113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31" y="93"/>
                    <a:pt x="31" y="93"/>
                    <a:pt x="31" y="93"/>
                  </a:cubicBezTo>
                  <a:lnTo>
                    <a:pt x="30" y="113"/>
                  </a:lnTo>
                  <a:close/>
                  <a:moveTo>
                    <a:pt x="20" y="113"/>
                  </a:moveTo>
                  <a:cubicBezTo>
                    <a:pt x="20" y="114"/>
                    <a:pt x="19" y="115"/>
                    <a:pt x="18" y="115"/>
                  </a:cubicBezTo>
                  <a:cubicBezTo>
                    <a:pt x="17" y="115"/>
                    <a:pt x="16" y="114"/>
                    <a:pt x="16" y="11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20" y="93"/>
                    <a:pt x="20" y="93"/>
                    <a:pt x="20" y="93"/>
                  </a:cubicBezTo>
                  <a:lnTo>
                    <a:pt x="20" y="113"/>
                  </a:lnTo>
                  <a:close/>
                  <a:moveTo>
                    <a:pt x="76" y="20"/>
                  </a:moveTo>
                  <a:cubicBezTo>
                    <a:pt x="67" y="20"/>
                    <a:pt x="58" y="23"/>
                    <a:pt x="51" y="28"/>
                  </a:cubicBezTo>
                  <a:cubicBezTo>
                    <a:pt x="50" y="28"/>
                    <a:pt x="49" y="30"/>
                    <a:pt x="50" y="31"/>
                  </a:cubicBezTo>
                  <a:cubicBezTo>
                    <a:pt x="51" y="32"/>
                    <a:pt x="52" y="32"/>
                    <a:pt x="53" y="32"/>
                  </a:cubicBezTo>
                  <a:cubicBezTo>
                    <a:pt x="56" y="30"/>
                    <a:pt x="59" y="28"/>
                    <a:pt x="62" y="27"/>
                  </a:cubicBezTo>
                  <a:cubicBezTo>
                    <a:pt x="59" y="30"/>
                    <a:pt x="57" y="34"/>
                    <a:pt x="55" y="39"/>
                  </a:cubicBezTo>
                  <a:cubicBezTo>
                    <a:pt x="47" y="34"/>
                    <a:pt x="35" y="27"/>
                    <a:pt x="3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5" y="27"/>
                    <a:pt x="0" y="32"/>
                    <a:pt x="0" y="3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0" y="91"/>
                    <a:pt x="1" y="92"/>
                  </a:cubicBezTo>
                  <a:cubicBezTo>
                    <a:pt x="1" y="92"/>
                    <a:pt x="2" y="93"/>
                    <a:pt x="2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11" y="113"/>
                    <a:pt x="11" y="113"/>
                    <a:pt x="11" y="113"/>
                  </a:cubicBezTo>
                  <a:cubicBezTo>
                    <a:pt x="11" y="117"/>
                    <a:pt x="15" y="120"/>
                    <a:pt x="18" y="120"/>
                  </a:cubicBezTo>
                  <a:cubicBezTo>
                    <a:pt x="20" y="120"/>
                    <a:pt x="21" y="119"/>
                    <a:pt x="23" y="118"/>
                  </a:cubicBezTo>
                  <a:cubicBezTo>
                    <a:pt x="24" y="119"/>
                    <a:pt x="25" y="120"/>
                    <a:pt x="27" y="120"/>
                  </a:cubicBezTo>
                  <a:cubicBezTo>
                    <a:pt x="31" y="120"/>
                    <a:pt x="34" y="117"/>
                    <a:pt x="34" y="11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3" y="93"/>
                    <a:pt x="44" y="92"/>
                    <a:pt x="45" y="92"/>
                  </a:cubicBezTo>
                  <a:cubicBezTo>
                    <a:pt x="45" y="91"/>
                    <a:pt x="45" y="91"/>
                    <a:pt x="45" y="9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49" y="58"/>
                    <a:pt x="49" y="64"/>
                    <a:pt x="49" y="70"/>
                  </a:cubicBezTo>
                  <a:cubicBezTo>
                    <a:pt x="49" y="80"/>
                    <a:pt x="50" y="88"/>
                    <a:pt x="52" y="96"/>
                  </a:cubicBezTo>
                  <a:cubicBezTo>
                    <a:pt x="48" y="97"/>
                    <a:pt x="44" y="100"/>
                    <a:pt x="42" y="103"/>
                  </a:cubicBezTo>
                  <a:cubicBezTo>
                    <a:pt x="41" y="103"/>
                    <a:pt x="41" y="104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51" y="115"/>
                    <a:pt x="64" y="120"/>
                    <a:pt x="76" y="120"/>
                  </a:cubicBezTo>
                  <a:cubicBezTo>
                    <a:pt x="104" y="120"/>
                    <a:pt x="126" y="98"/>
                    <a:pt x="126" y="70"/>
                  </a:cubicBezTo>
                  <a:cubicBezTo>
                    <a:pt x="126" y="43"/>
                    <a:pt x="104" y="20"/>
                    <a:pt x="76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10">
            <a:extLst>
              <a:ext uri="{FF2B5EF4-FFF2-40B4-BE49-F238E27FC236}">
                <a16:creationId xmlns:a16="http://schemas.microsoft.com/office/drawing/2014/main" id="{855726EE-1D6D-4509-A3EA-DF29227AE2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4150" y="4133850"/>
            <a:ext cx="758825" cy="758825"/>
            <a:chOff x="916" y="2596"/>
            <a:chExt cx="478" cy="478"/>
          </a:xfrm>
        </p:grpSpPr>
        <p:sp>
          <p:nvSpPr>
            <p:cNvPr id="24" name="AutoShape 9">
              <a:extLst>
                <a:ext uri="{FF2B5EF4-FFF2-40B4-BE49-F238E27FC236}">
                  <a16:creationId xmlns:a16="http://schemas.microsoft.com/office/drawing/2014/main" id="{A03A934F-8AED-487E-9C4D-267871CE3E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6" y="259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CA94284C-14E9-42CB-BF49-14273A5698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" y="259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C996BB13-95D0-49F2-BC9E-66908A8BF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" y="2689"/>
              <a:ext cx="309" cy="294"/>
            </a:xfrm>
            <a:custGeom>
              <a:avLst/>
              <a:gdLst>
                <a:gd name="T0" fmla="*/ 23 w 126"/>
                <a:gd name="T1" fmla="*/ 18 h 120"/>
                <a:gd name="T2" fmla="*/ 23 w 126"/>
                <a:gd name="T3" fmla="*/ 23 h 120"/>
                <a:gd name="T4" fmla="*/ 11 w 126"/>
                <a:gd name="T5" fmla="*/ 11 h 120"/>
                <a:gd name="T6" fmla="*/ 101 w 126"/>
                <a:gd name="T7" fmla="*/ 96 h 120"/>
                <a:gd name="T8" fmla="*/ 109 w 126"/>
                <a:gd name="T9" fmla="*/ 101 h 120"/>
                <a:gd name="T10" fmla="*/ 106 w 126"/>
                <a:gd name="T11" fmla="*/ 104 h 120"/>
                <a:gd name="T12" fmla="*/ 79 w 126"/>
                <a:gd name="T13" fmla="*/ 96 h 120"/>
                <a:gd name="T14" fmla="*/ 79 w 126"/>
                <a:gd name="T15" fmla="*/ 72 h 120"/>
                <a:gd name="T16" fmla="*/ 79 w 126"/>
                <a:gd name="T17" fmla="*/ 92 h 120"/>
                <a:gd name="T18" fmla="*/ 96 w 126"/>
                <a:gd name="T19" fmla="*/ 47 h 120"/>
                <a:gd name="T20" fmla="*/ 79 w 126"/>
                <a:gd name="T21" fmla="*/ 50 h 120"/>
                <a:gd name="T22" fmla="*/ 79 w 126"/>
                <a:gd name="T23" fmla="*/ 45 h 120"/>
                <a:gd name="T24" fmla="*/ 99 w 126"/>
                <a:gd name="T25" fmla="*/ 41 h 120"/>
                <a:gd name="T26" fmla="*/ 121 w 126"/>
                <a:gd name="T27" fmla="*/ 68 h 120"/>
                <a:gd name="T28" fmla="*/ 109 w 126"/>
                <a:gd name="T29" fmla="*/ 40 h 120"/>
                <a:gd name="T30" fmla="*/ 62 w 126"/>
                <a:gd name="T31" fmla="*/ 43 h 120"/>
                <a:gd name="T32" fmla="*/ 74 w 126"/>
                <a:gd name="T33" fmla="*/ 25 h 120"/>
                <a:gd name="T34" fmla="*/ 53 w 126"/>
                <a:gd name="T35" fmla="*/ 68 h 120"/>
                <a:gd name="T36" fmla="*/ 66 w 126"/>
                <a:gd name="T37" fmla="*/ 54 h 120"/>
                <a:gd name="T38" fmla="*/ 74 w 126"/>
                <a:gd name="T39" fmla="*/ 68 h 120"/>
                <a:gd name="T40" fmla="*/ 53 w 126"/>
                <a:gd name="T41" fmla="*/ 72 h 120"/>
                <a:gd name="T42" fmla="*/ 74 w 126"/>
                <a:gd name="T43" fmla="*/ 115 h 120"/>
                <a:gd name="T44" fmla="*/ 74 w 126"/>
                <a:gd name="T45" fmla="*/ 115 h 120"/>
                <a:gd name="T46" fmla="*/ 62 w 126"/>
                <a:gd name="T47" fmla="*/ 113 h 120"/>
                <a:gd name="T48" fmla="*/ 35 w 126"/>
                <a:gd name="T49" fmla="*/ 41 h 120"/>
                <a:gd name="T50" fmla="*/ 40 w 126"/>
                <a:gd name="T51" fmla="*/ 88 h 120"/>
                <a:gd name="T52" fmla="*/ 12 w 126"/>
                <a:gd name="T53" fmla="*/ 41 h 120"/>
                <a:gd name="T54" fmla="*/ 5 w 126"/>
                <a:gd name="T55" fmla="*/ 61 h 120"/>
                <a:gd name="T56" fmla="*/ 32 w 126"/>
                <a:gd name="T57" fmla="*/ 32 h 120"/>
                <a:gd name="T58" fmla="*/ 59 w 126"/>
                <a:gd name="T59" fmla="*/ 52 h 120"/>
                <a:gd name="T60" fmla="*/ 27 w 126"/>
                <a:gd name="T61" fmla="*/ 115 h 120"/>
                <a:gd name="T62" fmla="*/ 31 w 126"/>
                <a:gd name="T63" fmla="*/ 93 h 120"/>
                <a:gd name="T64" fmla="*/ 18 w 126"/>
                <a:gd name="T65" fmla="*/ 115 h 120"/>
                <a:gd name="T66" fmla="*/ 20 w 126"/>
                <a:gd name="T67" fmla="*/ 93 h 120"/>
                <a:gd name="T68" fmla="*/ 51 w 126"/>
                <a:gd name="T69" fmla="*/ 28 h 120"/>
                <a:gd name="T70" fmla="*/ 62 w 126"/>
                <a:gd name="T71" fmla="*/ 27 h 120"/>
                <a:gd name="T72" fmla="*/ 11 w 126"/>
                <a:gd name="T73" fmla="*/ 27 h 120"/>
                <a:gd name="T74" fmla="*/ 4 w 126"/>
                <a:gd name="T75" fmla="*/ 69 h 120"/>
                <a:gd name="T76" fmla="*/ 2 w 126"/>
                <a:gd name="T77" fmla="*/ 93 h 120"/>
                <a:gd name="T78" fmla="*/ 18 w 126"/>
                <a:gd name="T79" fmla="*/ 120 h 120"/>
                <a:gd name="T80" fmla="*/ 34 w 126"/>
                <a:gd name="T81" fmla="*/ 113 h 120"/>
                <a:gd name="T82" fmla="*/ 45 w 126"/>
                <a:gd name="T83" fmla="*/ 92 h 120"/>
                <a:gd name="T84" fmla="*/ 50 w 126"/>
                <a:gd name="T85" fmla="*/ 53 h 120"/>
                <a:gd name="T86" fmla="*/ 42 w 126"/>
                <a:gd name="T87" fmla="*/ 103 h 120"/>
                <a:gd name="T88" fmla="*/ 76 w 126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6" h="120">
                  <a:moveTo>
                    <a:pt x="23" y="5"/>
                  </a:moveTo>
                  <a:cubicBezTo>
                    <a:pt x="26" y="5"/>
                    <a:pt x="29" y="8"/>
                    <a:pt x="29" y="11"/>
                  </a:cubicBezTo>
                  <a:cubicBezTo>
                    <a:pt x="29" y="15"/>
                    <a:pt x="26" y="18"/>
                    <a:pt x="23" y="18"/>
                  </a:cubicBezTo>
                  <a:cubicBezTo>
                    <a:pt x="19" y="18"/>
                    <a:pt x="16" y="15"/>
                    <a:pt x="16" y="11"/>
                  </a:cubicBezTo>
                  <a:cubicBezTo>
                    <a:pt x="16" y="8"/>
                    <a:pt x="19" y="5"/>
                    <a:pt x="23" y="5"/>
                  </a:cubicBezTo>
                  <a:moveTo>
                    <a:pt x="23" y="23"/>
                  </a:moveTo>
                  <a:cubicBezTo>
                    <a:pt x="29" y="23"/>
                    <a:pt x="34" y="18"/>
                    <a:pt x="34" y="11"/>
                  </a:cubicBezTo>
                  <a:cubicBezTo>
                    <a:pt x="34" y="5"/>
                    <a:pt x="29" y="0"/>
                    <a:pt x="23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18"/>
                    <a:pt x="16" y="23"/>
                    <a:pt x="23" y="23"/>
                  </a:cubicBezTo>
                  <a:moveTo>
                    <a:pt x="109" y="101"/>
                  </a:moveTo>
                  <a:cubicBezTo>
                    <a:pt x="107" y="99"/>
                    <a:pt x="104" y="97"/>
                    <a:pt x="101" y="96"/>
                  </a:cubicBezTo>
                  <a:cubicBezTo>
                    <a:pt x="103" y="89"/>
                    <a:pt x="104" y="81"/>
                    <a:pt x="104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83"/>
                    <a:pt x="116" y="93"/>
                    <a:pt x="109" y="101"/>
                  </a:cubicBezTo>
                  <a:moveTo>
                    <a:pt x="91" y="113"/>
                  </a:moveTo>
                  <a:cubicBezTo>
                    <a:pt x="94" y="110"/>
                    <a:pt x="97" y="105"/>
                    <a:pt x="99" y="100"/>
                  </a:cubicBezTo>
                  <a:cubicBezTo>
                    <a:pt x="102" y="101"/>
                    <a:pt x="104" y="102"/>
                    <a:pt x="106" y="104"/>
                  </a:cubicBezTo>
                  <a:cubicBezTo>
                    <a:pt x="102" y="108"/>
                    <a:pt x="97" y="111"/>
                    <a:pt x="91" y="113"/>
                  </a:cubicBezTo>
                  <a:moveTo>
                    <a:pt x="79" y="115"/>
                  </a:moveTo>
                  <a:cubicBezTo>
                    <a:pt x="79" y="96"/>
                    <a:pt x="79" y="96"/>
                    <a:pt x="79" y="96"/>
                  </a:cubicBezTo>
                  <a:cubicBezTo>
                    <a:pt x="84" y="96"/>
                    <a:pt x="90" y="97"/>
                    <a:pt x="95" y="98"/>
                  </a:cubicBezTo>
                  <a:cubicBezTo>
                    <a:pt x="91" y="108"/>
                    <a:pt x="85" y="114"/>
                    <a:pt x="79" y="115"/>
                  </a:cubicBezTo>
                  <a:moveTo>
                    <a:pt x="79" y="72"/>
                  </a:moveTo>
                  <a:cubicBezTo>
                    <a:pt x="100" y="72"/>
                    <a:pt x="100" y="72"/>
                    <a:pt x="100" y="72"/>
                  </a:cubicBezTo>
                  <a:cubicBezTo>
                    <a:pt x="100" y="80"/>
                    <a:pt x="98" y="88"/>
                    <a:pt x="96" y="94"/>
                  </a:cubicBezTo>
                  <a:cubicBezTo>
                    <a:pt x="91" y="93"/>
                    <a:pt x="85" y="92"/>
                    <a:pt x="79" y="92"/>
                  </a:cubicBezTo>
                  <a:lnTo>
                    <a:pt x="79" y="72"/>
                  </a:lnTo>
                  <a:close/>
                  <a:moveTo>
                    <a:pt x="79" y="50"/>
                  </a:moveTo>
                  <a:cubicBezTo>
                    <a:pt x="85" y="49"/>
                    <a:pt x="91" y="48"/>
                    <a:pt x="96" y="47"/>
                  </a:cubicBezTo>
                  <a:cubicBezTo>
                    <a:pt x="98" y="53"/>
                    <a:pt x="100" y="60"/>
                    <a:pt x="100" y="68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9" y="50"/>
                  </a:lnTo>
                  <a:close/>
                  <a:moveTo>
                    <a:pt x="79" y="25"/>
                  </a:moveTo>
                  <a:cubicBezTo>
                    <a:pt x="85" y="26"/>
                    <a:pt x="91" y="33"/>
                    <a:pt x="95" y="42"/>
                  </a:cubicBezTo>
                  <a:cubicBezTo>
                    <a:pt x="90" y="44"/>
                    <a:pt x="85" y="45"/>
                    <a:pt x="79" y="45"/>
                  </a:cubicBezTo>
                  <a:lnTo>
                    <a:pt x="79" y="25"/>
                  </a:lnTo>
                  <a:close/>
                  <a:moveTo>
                    <a:pt x="106" y="36"/>
                  </a:moveTo>
                  <a:cubicBezTo>
                    <a:pt x="104" y="38"/>
                    <a:pt x="102" y="40"/>
                    <a:pt x="99" y="41"/>
                  </a:cubicBezTo>
                  <a:cubicBezTo>
                    <a:pt x="97" y="35"/>
                    <a:pt x="94" y="31"/>
                    <a:pt x="91" y="27"/>
                  </a:cubicBezTo>
                  <a:cubicBezTo>
                    <a:pt x="97" y="29"/>
                    <a:pt x="102" y="32"/>
                    <a:pt x="106" y="36"/>
                  </a:cubicBezTo>
                  <a:moveTo>
                    <a:pt x="121" y="68"/>
                  </a:moveTo>
                  <a:cubicBezTo>
                    <a:pt x="104" y="68"/>
                    <a:pt x="104" y="68"/>
                    <a:pt x="104" y="68"/>
                  </a:cubicBezTo>
                  <a:cubicBezTo>
                    <a:pt x="104" y="60"/>
                    <a:pt x="103" y="52"/>
                    <a:pt x="101" y="45"/>
                  </a:cubicBezTo>
                  <a:cubicBezTo>
                    <a:pt x="104" y="44"/>
                    <a:pt x="107" y="42"/>
                    <a:pt x="109" y="40"/>
                  </a:cubicBezTo>
                  <a:cubicBezTo>
                    <a:pt x="116" y="47"/>
                    <a:pt x="121" y="57"/>
                    <a:pt x="121" y="68"/>
                  </a:cubicBezTo>
                  <a:moveTo>
                    <a:pt x="74" y="45"/>
                  </a:moveTo>
                  <a:cubicBezTo>
                    <a:pt x="70" y="45"/>
                    <a:pt x="66" y="44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0" y="42"/>
                    <a:pt x="59" y="41"/>
                  </a:cubicBezTo>
                  <a:cubicBezTo>
                    <a:pt x="63" y="32"/>
                    <a:pt x="68" y="26"/>
                    <a:pt x="74" y="25"/>
                  </a:cubicBezTo>
                  <a:lnTo>
                    <a:pt x="74" y="45"/>
                  </a:lnTo>
                  <a:close/>
                  <a:moveTo>
                    <a:pt x="74" y="68"/>
                  </a:moveTo>
                  <a:cubicBezTo>
                    <a:pt x="53" y="68"/>
                    <a:pt x="53" y="68"/>
                    <a:pt x="53" y="68"/>
                  </a:cubicBezTo>
                  <a:cubicBezTo>
                    <a:pt x="53" y="63"/>
                    <a:pt x="54" y="59"/>
                    <a:pt x="55" y="5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1" y="58"/>
                    <a:pt x="64" y="57"/>
                    <a:pt x="66" y="54"/>
                  </a:cubicBezTo>
                  <a:cubicBezTo>
                    <a:pt x="66" y="53"/>
                    <a:pt x="67" y="51"/>
                    <a:pt x="66" y="49"/>
                  </a:cubicBezTo>
                  <a:cubicBezTo>
                    <a:pt x="69" y="49"/>
                    <a:pt x="71" y="49"/>
                    <a:pt x="74" y="50"/>
                  </a:cubicBezTo>
                  <a:lnTo>
                    <a:pt x="74" y="68"/>
                  </a:lnTo>
                  <a:close/>
                  <a:moveTo>
                    <a:pt x="74" y="92"/>
                  </a:moveTo>
                  <a:cubicBezTo>
                    <a:pt x="68" y="92"/>
                    <a:pt x="62" y="93"/>
                    <a:pt x="57" y="94"/>
                  </a:cubicBezTo>
                  <a:cubicBezTo>
                    <a:pt x="55" y="88"/>
                    <a:pt x="53" y="80"/>
                    <a:pt x="53" y="72"/>
                  </a:cubicBezTo>
                  <a:cubicBezTo>
                    <a:pt x="74" y="72"/>
                    <a:pt x="74" y="72"/>
                    <a:pt x="74" y="72"/>
                  </a:cubicBezTo>
                  <a:lnTo>
                    <a:pt x="74" y="92"/>
                  </a:lnTo>
                  <a:close/>
                  <a:moveTo>
                    <a:pt x="74" y="115"/>
                  </a:moveTo>
                  <a:cubicBezTo>
                    <a:pt x="68" y="114"/>
                    <a:pt x="62" y="108"/>
                    <a:pt x="58" y="98"/>
                  </a:cubicBezTo>
                  <a:cubicBezTo>
                    <a:pt x="63" y="97"/>
                    <a:pt x="68" y="96"/>
                    <a:pt x="74" y="96"/>
                  </a:cubicBezTo>
                  <a:lnTo>
                    <a:pt x="74" y="115"/>
                  </a:lnTo>
                  <a:close/>
                  <a:moveTo>
                    <a:pt x="47" y="104"/>
                  </a:moveTo>
                  <a:cubicBezTo>
                    <a:pt x="49" y="102"/>
                    <a:pt x="51" y="101"/>
                    <a:pt x="54" y="100"/>
                  </a:cubicBezTo>
                  <a:cubicBezTo>
                    <a:pt x="56" y="105"/>
                    <a:pt x="59" y="110"/>
                    <a:pt x="62" y="113"/>
                  </a:cubicBezTo>
                  <a:cubicBezTo>
                    <a:pt x="57" y="111"/>
                    <a:pt x="51" y="108"/>
                    <a:pt x="47" y="104"/>
                  </a:cubicBezTo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ubicBezTo>
                    <a:pt x="34" y="41"/>
                    <a:pt x="34" y="41"/>
                    <a:pt x="33" y="41"/>
                  </a:cubicBezTo>
                  <a:cubicBezTo>
                    <a:pt x="32" y="41"/>
                    <a:pt x="31" y="42"/>
                    <a:pt x="32" y="43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2"/>
                    <a:pt x="13" y="41"/>
                    <a:pt x="12" y="41"/>
                  </a:cubicBezTo>
                  <a:cubicBezTo>
                    <a:pt x="11" y="41"/>
                    <a:pt x="9" y="41"/>
                    <a:pt x="9" y="43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3"/>
                    <a:pt x="5" y="62"/>
                    <a:pt x="5" y="61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5"/>
                    <a:pt x="8" y="32"/>
                    <a:pt x="11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4" y="32"/>
                    <a:pt x="48" y="40"/>
                    <a:pt x="60" y="47"/>
                  </a:cubicBezTo>
                  <a:cubicBezTo>
                    <a:pt x="62" y="49"/>
                    <a:pt x="62" y="51"/>
                    <a:pt x="62" y="52"/>
                  </a:cubicBezTo>
                  <a:cubicBezTo>
                    <a:pt x="61" y="52"/>
                    <a:pt x="61" y="53"/>
                    <a:pt x="59" y="52"/>
                  </a:cubicBezTo>
                  <a:lnTo>
                    <a:pt x="35" y="41"/>
                  </a:lnTo>
                  <a:close/>
                  <a:moveTo>
                    <a:pt x="30" y="113"/>
                  </a:moveTo>
                  <a:cubicBezTo>
                    <a:pt x="30" y="114"/>
                    <a:pt x="28" y="115"/>
                    <a:pt x="27" y="115"/>
                  </a:cubicBezTo>
                  <a:cubicBezTo>
                    <a:pt x="26" y="115"/>
                    <a:pt x="25" y="114"/>
                    <a:pt x="25" y="113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31" y="93"/>
                    <a:pt x="31" y="93"/>
                    <a:pt x="31" y="93"/>
                  </a:cubicBezTo>
                  <a:lnTo>
                    <a:pt x="30" y="113"/>
                  </a:lnTo>
                  <a:close/>
                  <a:moveTo>
                    <a:pt x="20" y="113"/>
                  </a:moveTo>
                  <a:cubicBezTo>
                    <a:pt x="20" y="114"/>
                    <a:pt x="19" y="115"/>
                    <a:pt x="18" y="115"/>
                  </a:cubicBezTo>
                  <a:cubicBezTo>
                    <a:pt x="17" y="115"/>
                    <a:pt x="16" y="114"/>
                    <a:pt x="16" y="11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20" y="93"/>
                    <a:pt x="20" y="93"/>
                    <a:pt x="20" y="93"/>
                  </a:cubicBezTo>
                  <a:lnTo>
                    <a:pt x="20" y="113"/>
                  </a:lnTo>
                  <a:close/>
                  <a:moveTo>
                    <a:pt x="76" y="20"/>
                  </a:moveTo>
                  <a:cubicBezTo>
                    <a:pt x="67" y="20"/>
                    <a:pt x="58" y="23"/>
                    <a:pt x="51" y="28"/>
                  </a:cubicBezTo>
                  <a:cubicBezTo>
                    <a:pt x="50" y="28"/>
                    <a:pt x="49" y="30"/>
                    <a:pt x="50" y="31"/>
                  </a:cubicBezTo>
                  <a:cubicBezTo>
                    <a:pt x="51" y="32"/>
                    <a:pt x="52" y="32"/>
                    <a:pt x="53" y="32"/>
                  </a:cubicBezTo>
                  <a:cubicBezTo>
                    <a:pt x="56" y="30"/>
                    <a:pt x="59" y="28"/>
                    <a:pt x="62" y="27"/>
                  </a:cubicBezTo>
                  <a:cubicBezTo>
                    <a:pt x="59" y="30"/>
                    <a:pt x="57" y="34"/>
                    <a:pt x="55" y="39"/>
                  </a:cubicBezTo>
                  <a:cubicBezTo>
                    <a:pt x="47" y="34"/>
                    <a:pt x="35" y="27"/>
                    <a:pt x="3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5" y="27"/>
                    <a:pt x="0" y="32"/>
                    <a:pt x="0" y="3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0" y="91"/>
                    <a:pt x="1" y="92"/>
                  </a:cubicBezTo>
                  <a:cubicBezTo>
                    <a:pt x="1" y="92"/>
                    <a:pt x="2" y="93"/>
                    <a:pt x="2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11" y="113"/>
                    <a:pt x="11" y="113"/>
                    <a:pt x="11" y="113"/>
                  </a:cubicBezTo>
                  <a:cubicBezTo>
                    <a:pt x="11" y="117"/>
                    <a:pt x="15" y="120"/>
                    <a:pt x="18" y="120"/>
                  </a:cubicBezTo>
                  <a:cubicBezTo>
                    <a:pt x="20" y="120"/>
                    <a:pt x="21" y="119"/>
                    <a:pt x="23" y="118"/>
                  </a:cubicBezTo>
                  <a:cubicBezTo>
                    <a:pt x="24" y="119"/>
                    <a:pt x="25" y="120"/>
                    <a:pt x="27" y="120"/>
                  </a:cubicBezTo>
                  <a:cubicBezTo>
                    <a:pt x="31" y="120"/>
                    <a:pt x="34" y="117"/>
                    <a:pt x="34" y="11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3" y="93"/>
                    <a:pt x="44" y="92"/>
                    <a:pt x="45" y="92"/>
                  </a:cubicBezTo>
                  <a:cubicBezTo>
                    <a:pt x="45" y="91"/>
                    <a:pt x="45" y="91"/>
                    <a:pt x="45" y="9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49" y="58"/>
                    <a:pt x="49" y="64"/>
                    <a:pt x="49" y="70"/>
                  </a:cubicBezTo>
                  <a:cubicBezTo>
                    <a:pt x="49" y="80"/>
                    <a:pt x="50" y="88"/>
                    <a:pt x="52" y="96"/>
                  </a:cubicBezTo>
                  <a:cubicBezTo>
                    <a:pt x="48" y="97"/>
                    <a:pt x="44" y="100"/>
                    <a:pt x="42" y="103"/>
                  </a:cubicBezTo>
                  <a:cubicBezTo>
                    <a:pt x="41" y="103"/>
                    <a:pt x="41" y="104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51" y="115"/>
                    <a:pt x="64" y="120"/>
                    <a:pt x="76" y="120"/>
                  </a:cubicBezTo>
                  <a:cubicBezTo>
                    <a:pt x="104" y="120"/>
                    <a:pt x="126" y="98"/>
                    <a:pt x="126" y="70"/>
                  </a:cubicBezTo>
                  <a:cubicBezTo>
                    <a:pt x="126" y="43"/>
                    <a:pt x="104" y="20"/>
                    <a:pt x="76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679775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1F4FD7-AAEF-4A70-BE67-13227B564F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428945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ot Protec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pirato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 Mas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eathing Apparatu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lding Mask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 Shiel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ring &amp; Eye Protec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lf Mask Respirato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 Shield &amp; Hard Ha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ust Mas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pr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ot Bath Must  Be Use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nds Must Be Washe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tection Cloth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ar Laboratory Coa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fe Jacke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ti Static Glov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se Anti Static Sho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ll Cylinders Must Be Chaine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ck Correctl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23" name="Group 4">
            <a:extLst>
              <a:ext uri="{FF2B5EF4-FFF2-40B4-BE49-F238E27FC236}">
                <a16:creationId xmlns:a16="http://schemas.microsoft.com/office/drawing/2014/main" id="{F8FBE4F9-48B9-453C-9682-0A8B76FB8B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013" y="284163"/>
            <a:ext cx="841375" cy="841375"/>
            <a:chOff x="223" y="179"/>
            <a:chExt cx="530" cy="53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6D1A0C6A-7471-4683-990D-72153BCA74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" y="1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5">
              <a:extLst>
                <a:ext uri="{FF2B5EF4-FFF2-40B4-BE49-F238E27FC236}">
                  <a16:creationId xmlns:a16="http://schemas.microsoft.com/office/drawing/2014/main" id="{117D015F-47B3-415D-B05D-00AA8C0CC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" y="1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C52D1A0-1FD4-4C9F-9A0A-FE2A653F60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" y="1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FFB91B4-1E89-4874-A2AF-3F69A86CD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" y="542"/>
              <a:ext cx="30" cy="16"/>
            </a:xfrm>
            <a:custGeom>
              <a:avLst/>
              <a:gdLst>
                <a:gd name="T0" fmla="*/ 28 w 30"/>
                <a:gd name="T1" fmla="*/ 16 h 16"/>
                <a:gd name="T2" fmla="*/ 0 w 30"/>
                <a:gd name="T3" fmla="*/ 8 h 16"/>
                <a:gd name="T4" fmla="*/ 2 w 30"/>
                <a:gd name="T5" fmla="*/ 0 h 16"/>
                <a:gd name="T6" fmla="*/ 30 w 30"/>
                <a:gd name="T7" fmla="*/ 8 h 16"/>
                <a:gd name="T8" fmla="*/ 28 w 3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16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30" y="8"/>
                  </a:lnTo>
                  <a:lnTo>
                    <a:pt x="28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366B2B8-8AB7-408A-A5B6-D0CF5F239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" y="307"/>
              <a:ext cx="79" cy="130"/>
            </a:xfrm>
            <a:custGeom>
              <a:avLst/>
              <a:gdLst>
                <a:gd name="T0" fmla="*/ 3 w 31"/>
                <a:gd name="T1" fmla="*/ 51 h 51"/>
                <a:gd name="T2" fmla="*/ 0 w 31"/>
                <a:gd name="T3" fmla="*/ 49 h 51"/>
                <a:gd name="T4" fmla="*/ 26 w 31"/>
                <a:gd name="T5" fmla="*/ 4 h 51"/>
                <a:gd name="T6" fmla="*/ 18 w 31"/>
                <a:gd name="T7" fmla="*/ 9 h 51"/>
                <a:gd name="T8" fmla="*/ 15 w 31"/>
                <a:gd name="T9" fmla="*/ 8 h 51"/>
                <a:gd name="T10" fmla="*/ 29 w 31"/>
                <a:gd name="T11" fmla="*/ 1 h 51"/>
                <a:gd name="T12" fmla="*/ 31 w 31"/>
                <a:gd name="T13" fmla="*/ 2 h 51"/>
                <a:gd name="T14" fmla="*/ 3 w 3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1">
                  <a:moveTo>
                    <a:pt x="3" y="51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4" y="4"/>
                    <a:pt x="20" y="4"/>
                    <a:pt x="18" y="9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8" y="0"/>
                    <a:pt x="25" y="0"/>
                    <a:pt x="29" y="1"/>
                  </a:cubicBezTo>
                  <a:cubicBezTo>
                    <a:pt x="31" y="2"/>
                    <a:pt x="31" y="2"/>
                    <a:pt x="31" y="2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ED88D6AA-EF47-4A71-B990-7576DD6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" y="504"/>
              <a:ext cx="74" cy="23"/>
            </a:xfrm>
            <a:custGeom>
              <a:avLst/>
              <a:gdLst>
                <a:gd name="T0" fmla="*/ 4 w 29"/>
                <a:gd name="T1" fmla="*/ 3 h 9"/>
                <a:gd name="T2" fmla="*/ 4 w 29"/>
                <a:gd name="T3" fmla="*/ 4 h 9"/>
                <a:gd name="T4" fmla="*/ 4 w 29"/>
                <a:gd name="T5" fmla="*/ 5 h 9"/>
                <a:gd name="T6" fmla="*/ 4 w 29"/>
                <a:gd name="T7" fmla="*/ 6 h 9"/>
                <a:gd name="T8" fmla="*/ 25 w 29"/>
                <a:gd name="T9" fmla="*/ 6 h 9"/>
                <a:gd name="T10" fmla="*/ 26 w 29"/>
                <a:gd name="T11" fmla="*/ 5 h 9"/>
                <a:gd name="T12" fmla="*/ 26 w 29"/>
                <a:gd name="T13" fmla="*/ 4 h 9"/>
                <a:gd name="T14" fmla="*/ 25 w 29"/>
                <a:gd name="T15" fmla="*/ 3 h 9"/>
                <a:gd name="T16" fmla="*/ 4 w 29"/>
                <a:gd name="T17" fmla="*/ 3 h 9"/>
                <a:gd name="T18" fmla="*/ 25 w 29"/>
                <a:gd name="T19" fmla="*/ 9 h 9"/>
                <a:gd name="T20" fmla="*/ 4 w 29"/>
                <a:gd name="T21" fmla="*/ 9 h 9"/>
                <a:gd name="T22" fmla="*/ 0 w 29"/>
                <a:gd name="T23" fmla="*/ 5 h 9"/>
                <a:gd name="T24" fmla="*/ 0 w 29"/>
                <a:gd name="T25" fmla="*/ 4 h 9"/>
                <a:gd name="T26" fmla="*/ 4 w 29"/>
                <a:gd name="T27" fmla="*/ 0 h 9"/>
                <a:gd name="T28" fmla="*/ 25 w 29"/>
                <a:gd name="T29" fmla="*/ 0 h 9"/>
                <a:gd name="T30" fmla="*/ 29 w 29"/>
                <a:gd name="T31" fmla="*/ 4 h 9"/>
                <a:gd name="T32" fmla="*/ 29 w 29"/>
                <a:gd name="T33" fmla="*/ 5 h 9"/>
                <a:gd name="T34" fmla="*/ 25 w 29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9">
                  <a:moveTo>
                    <a:pt x="4" y="3"/>
                  </a:moveTo>
                  <a:cubicBezTo>
                    <a:pt x="4" y="3"/>
                    <a:pt x="4" y="3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6" y="6"/>
                    <a:pt x="26" y="5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5" y="3"/>
                    <a:pt x="25" y="3"/>
                  </a:cubicBezTo>
                  <a:lnTo>
                    <a:pt x="4" y="3"/>
                  </a:lnTo>
                  <a:close/>
                  <a:moveTo>
                    <a:pt x="2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7"/>
                    <a:pt x="27" y="9"/>
                    <a:pt x="2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A4BF80AE-1AEB-4619-AB93-CB19A7786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" y="294"/>
              <a:ext cx="277" cy="289"/>
            </a:xfrm>
            <a:custGeom>
              <a:avLst/>
              <a:gdLst>
                <a:gd name="T0" fmla="*/ 106 w 108"/>
                <a:gd name="T1" fmla="*/ 113 h 113"/>
                <a:gd name="T2" fmla="*/ 95 w 108"/>
                <a:gd name="T3" fmla="*/ 110 h 113"/>
                <a:gd name="T4" fmla="*/ 55 w 108"/>
                <a:gd name="T5" fmla="*/ 110 h 113"/>
                <a:gd name="T6" fmla="*/ 37 w 108"/>
                <a:gd name="T7" fmla="*/ 100 h 113"/>
                <a:gd name="T8" fmla="*/ 4 w 108"/>
                <a:gd name="T9" fmla="*/ 100 h 113"/>
                <a:gd name="T10" fmla="*/ 4 w 108"/>
                <a:gd name="T11" fmla="*/ 100 h 113"/>
                <a:gd name="T12" fmla="*/ 0 w 108"/>
                <a:gd name="T13" fmla="*/ 90 h 113"/>
                <a:gd name="T14" fmla="*/ 4 w 108"/>
                <a:gd name="T15" fmla="*/ 89 h 113"/>
                <a:gd name="T16" fmla="*/ 6 w 108"/>
                <a:gd name="T17" fmla="*/ 97 h 113"/>
                <a:gd name="T18" fmla="*/ 38 w 108"/>
                <a:gd name="T19" fmla="*/ 97 h 113"/>
                <a:gd name="T20" fmla="*/ 55 w 108"/>
                <a:gd name="T21" fmla="*/ 107 h 113"/>
                <a:gd name="T22" fmla="*/ 95 w 108"/>
                <a:gd name="T23" fmla="*/ 107 h 113"/>
                <a:gd name="T24" fmla="*/ 103 w 108"/>
                <a:gd name="T25" fmla="*/ 109 h 113"/>
                <a:gd name="T26" fmla="*/ 104 w 108"/>
                <a:gd name="T27" fmla="*/ 102 h 113"/>
                <a:gd name="T28" fmla="*/ 101 w 108"/>
                <a:gd name="T29" fmla="*/ 89 h 113"/>
                <a:gd name="T30" fmla="*/ 86 w 108"/>
                <a:gd name="T31" fmla="*/ 84 h 113"/>
                <a:gd name="T32" fmla="*/ 85 w 108"/>
                <a:gd name="T33" fmla="*/ 84 h 113"/>
                <a:gd name="T34" fmla="*/ 64 w 108"/>
                <a:gd name="T35" fmla="*/ 56 h 113"/>
                <a:gd name="T36" fmla="*/ 78 w 108"/>
                <a:gd name="T37" fmla="*/ 15 h 113"/>
                <a:gd name="T38" fmla="*/ 39 w 108"/>
                <a:gd name="T39" fmla="*/ 4 h 113"/>
                <a:gd name="T40" fmla="*/ 31 w 108"/>
                <a:gd name="T41" fmla="*/ 26 h 113"/>
                <a:gd name="T42" fmla="*/ 28 w 108"/>
                <a:gd name="T43" fmla="*/ 25 h 113"/>
                <a:gd name="T44" fmla="*/ 37 w 108"/>
                <a:gd name="T45" fmla="*/ 0 h 113"/>
                <a:gd name="T46" fmla="*/ 83 w 108"/>
                <a:gd name="T47" fmla="*/ 13 h 113"/>
                <a:gd name="T48" fmla="*/ 68 w 108"/>
                <a:gd name="T49" fmla="*/ 55 h 113"/>
                <a:gd name="T50" fmla="*/ 87 w 108"/>
                <a:gd name="T51" fmla="*/ 81 h 113"/>
                <a:gd name="T52" fmla="*/ 103 w 108"/>
                <a:gd name="T53" fmla="*/ 87 h 113"/>
                <a:gd name="T54" fmla="*/ 107 w 108"/>
                <a:gd name="T55" fmla="*/ 102 h 113"/>
                <a:gd name="T56" fmla="*/ 106 w 108"/>
                <a:gd name="T5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13">
                  <a:moveTo>
                    <a:pt x="106" y="113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1" y="96"/>
                    <a:pt x="0" y="90"/>
                    <a:pt x="0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4" y="89"/>
                    <a:pt x="4" y="94"/>
                    <a:pt x="6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105" y="96"/>
                    <a:pt x="104" y="92"/>
                    <a:pt x="101" y="89"/>
                  </a:cubicBezTo>
                  <a:cubicBezTo>
                    <a:pt x="96" y="84"/>
                    <a:pt x="86" y="84"/>
                    <a:pt x="86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90" y="81"/>
                    <a:pt x="98" y="81"/>
                    <a:pt x="103" y="87"/>
                  </a:cubicBezTo>
                  <a:cubicBezTo>
                    <a:pt x="107" y="90"/>
                    <a:pt x="108" y="96"/>
                    <a:pt x="107" y="102"/>
                  </a:cubicBezTo>
                  <a:lnTo>
                    <a:pt x="106" y="1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89456635-64B1-4182-87D2-B92AD5D4A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" y="325"/>
              <a:ext cx="248" cy="271"/>
            </a:xfrm>
            <a:custGeom>
              <a:avLst/>
              <a:gdLst>
                <a:gd name="T0" fmla="*/ 97 w 97"/>
                <a:gd name="T1" fmla="*/ 106 h 106"/>
                <a:gd name="T2" fmla="*/ 53 w 97"/>
                <a:gd name="T3" fmla="*/ 106 h 106"/>
                <a:gd name="T4" fmla="*/ 36 w 97"/>
                <a:gd name="T5" fmla="*/ 97 h 106"/>
                <a:gd name="T6" fmla="*/ 36 w 97"/>
                <a:gd name="T7" fmla="*/ 105 h 106"/>
                <a:gd name="T8" fmla="*/ 26 w 97"/>
                <a:gd name="T9" fmla="*/ 105 h 106"/>
                <a:gd name="T10" fmla="*/ 25 w 97"/>
                <a:gd name="T11" fmla="*/ 104 h 106"/>
                <a:gd name="T12" fmla="*/ 25 w 97"/>
                <a:gd name="T13" fmla="*/ 105 h 106"/>
                <a:gd name="T14" fmla="*/ 14 w 97"/>
                <a:gd name="T15" fmla="*/ 105 h 106"/>
                <a:gd name="T16" fmla="*/ 14 w 97"/>
                <a:gd name="T17" fmla="*/ 103 h 106"/>
                <a:gd name="T18" fmla="*/ 13 w 97"/>
                <a:gd name="T19" fmla="*/ 105 h 106"/>
                <a:gd name="T20" fmla="*/ 4 w 97"/>
                <a:gd name="T21" fmla="*/ 105 h 106"/>
                <a:gd name="T22" fmla="*/ 4 w 97"/>
                <a:gd name="T23" fmla="*/ 87 h 106"/>
                <a:gd name="T24" fmla="*/ 7 w 97"/>
                <a:gd name="T25" fmla="*/ 87 h 106"/>
                <a:gd name="T26" fmla="*/ 7 w 97"/>
                <a:gd name="T27" fmla="*/ 101 h 106"/>
                <a:gd name="T28" fmla="*/ 11 w 97"/>
                <a:gd name="T29" fmla="*/ 101 h 106"/>
                <a:gd name="T30" fmla="*/ 13 w 97"/>
                <a:gd name="T31" fmla="*/ 95 h 106"/>
                <a:gd name="T32" fmla="*/ 16 w 97"/>
                <a:gd name="T33" fmla="*/ 101 h 106"/>
                <a:gd name="T34" fmla="*/ 23 w 97"/>
                <a:gd name="T35" fmla="*/ 101 h 106"/>
                <a:gd name="T36" fmla="*/ 26 w 97"/>
                <a:gd name="T37" fmla="*/ 95 h 106"/>
                <a:gd name="T38" fmla="*/ 28 w 97"/>
                <a:gd name="T39" fmla="*/ 101 h 106"/>
                <a:gd name="T40" fmla="*/ 33 w 97"/>
                <a:gd name="T41" fmla="*/ 101 h 106"/>
                <a:gd name="T42" fmla="*/ 33 w 97"/>
                <a:gd name="T43" fmla="*/ 91 h 106"/>
                <a:gd name="T44" fmla="*/ 53 w 97"/>
                <a:gd name="T45" fmla="*/ 103 h 106"/>
                <a:gd name="T46" fmla="*/ 93 w 97"/>
                <a:gd name="T47" fmla="*/ 103 h 106"/>
                <a:gd name="T48" fmla="*/ 93 w 97"/>
                <a:gd name="T49" fmla="*/ 89 h 106"/>
                <a:gd name="T50" fmla="*/ 87 w 97"/>
                <a:gd name="T51" fmla="*/ 81 h 106"/>
                <a:gd name="T52" fmla="*/ 73 w 97"/>
                <a:gd name="T53" fmla="*/ 81 h 106"/>
                <a:gd name="T54" fmla="*/ 72 w 97"/>
                <a:gd name="T55" fmla="*/ 81 h 106"/>
                <a:gd name="T56" fmla="*/ 47 w 97"/>
                <a:gd name="T57" fmla="*/ 60 h 106"/>
                <a:gd name="T58" fmla="*/ 57 w 97"/>
                <a:gd name="T59" fmla="*/ 4 h 106"/>
                <a:gd name="T60" fmla="*/ 53 w 97"/>
                <a:gd name="T61" fmla="*/ 6 h 106"/>
                <a:gd name="T62" fmla="*/ 50 w 97"/>
                <a:gd name="T63" fmla="*/ 13 h 106"/>
                <a:gd name="T64" fmla="*/ 50 w 97"/>
                <a:gd name="T65" fmla="*/ 15 h 106"/>
                <a:gd name="T66" fmla="*/ 7 w 97"/>
                <a:gd name="T67" fmla="*/ 16 h 106"/>
                <a:gd name="T68" fmla="*/ 7 w 97"/>
                <a:gd name="T69" fmla="*/ 62 h 106"/>
                <a:gd name="T70" fmla="*/ 7 w 97"/>
                <a:gd name="T71" fmla="*/ 62 h 106"/>
                <a:gd name="T72" fmla="*/ 3 w 97"/>
                <a:gd name="T73" fmla="*/ 71 h 106"/>
                <a:gd name="T74" fmla="*/ 0 w 97"/>
                <a:gd name="T75" fmla="*/ 72 h 106"/>
                <a:gd name="T76" fmla="*/ 4 w 97"/>
                <a:gd name="T77" fmla="*/ 60 h 106"/>
                <a:gd name="T78" fmla="*/ 4 w 97"/>
                <a:gd name="T79" fmla="*/ 13 h 106"/>
                <a:gd name="T80" fmla="*/ 47 w 97"/>
                <a:gd name="T81" fmla="*/ 11 h 106"/>
                <a:gd name="T82" fmla="*/ 50 w 97"/>
                <a:gd name="T83" fmla="*/ 3 h 106"/>
                <a:gd name="T84" fmla="*/ 59 w 97"/>
                <a:gd name="T85" fmla="*/ 1 h 106"/>
                <a:gd name="T86" fmla="*/ 61 w 97"/>
                <a:gd name="T87" fmla="*/ 1 h 106"/>
                <a:gd name="T88" fmla="*/ 50 w 97"/>
                <a:gd name="T89" fmla="*/ 59 h 106"/>
                <a:gd name="T90" fmla="*/ 73 w 97"/>
                <a:gd name="T91" fmla="*/ 77 h 106"/>
                <a:gd name="T92" fmla="*/ 89 w 97"/>
                <a:gd name="T93" fmla="*/ 78 h 106"/>
                <a:gd name="T94" fmla="*/ 97 w 97"/>
                <a:gd name="T95" fmla="*/ 88 h 106"/>
                <a:gd name="T96" fmla="*/ 97 w 97"/>
                <a:gd name="T97" fmla="*/ 88 h 106"/>
                <a:gd name="T98" fmla="*/ 97 w 97"/>
                <a:gd name="T9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106">
                  <a:moveTo>
                    <a:pt x="97" y="106"/>
                  </a:moveTo>
                  <a:cubicBezTo>
                    <a:pt x="53" y="106"/>
                    <a:pt x="53" y="106"/>
                    <a:pt x="53" y="106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105"/>
                    <a:pt x="36" y="105"/>
                    <a:pt x="36" y="105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3" y="88"/>
                    <a:pt x="91" y="83"/>
                    <a:pt x="87" y="81"/>
                  </a:cubicBezTo>
                  <a:cubicBezTo>
                    <a:pt x="84" y="79"/>
                    <a:pt x="79" y="79"/>
                    <a:pt x="73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5" y="4"/>
                    <a:pt x="54" y="5"/>
                    <a:pt x="53" y="6"/>
                  </a:cubicBezTo>
                  <a:cubicBezTo>
                    <a:pt x="51" y="7"/>
                    <a:pt x="50" y="9"/>
                    <a:pt x="50" y="13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6" y="62"/>
                    <a:pt x="3" y="66"/>
                    <a:pt x="3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6"/>
                    <a:pt x="2" y="62"/>
                    <a:pt x="4" y="6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8"/>
                    <a:pt x="48" y="5"/>
                    <a:pt x="50" y="3"/>
                  </a:cubicBezTo>
                  <a:cubicBezTo>
                    <a:pt x="54" y="0"/>
                    <a:pt x="59" y="1"/>
                    <a:pt x="59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9" y="75"/>
                    <a:pt x="85" y="76"/>
                    <a:pt x="89" y="78"/>
                  </a:cubicBezTo>
                  <a:cubicBezTo>
                    <a:pt x="95" y="81"/>
                    <a:pt x="96" y="88"/>
                    <a:pt x="97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1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12">
              <a:extLst>
                <a:ext uri="{FF2B5EF4-FFF2-40B4-BE49-F238E27FC236}">
                  <a16:creationId xmlns:a16="http://schemas.microsoft.com/office/drawing/2014/main" id="{D01EB1E1-F934-46C9-BDB4-B03F30CA0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" y="358"/>
              <a:ext cx="8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15">
            <a:extLst>
              <a:ext uri="{FF2B5EF4-FFF2-40B4-BE49-F238E27FC236}">
                <a16:creationId xmlns:a16="http://schemas.microsoft.com/office/drawing/2014/main" id="{455EC27D-5A05-463E-AD36-A54E2CABD9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1450" y="325438"/>
            <a:ext cx="758825" cy="758825"/>
            <a:chOff x="908" y="205"/>
            <a:chExt cx="478" cy="478"/>
          </a:xfrm>
        </p:grpSpPr>
        <p:sp>
          <p:nvSpPr>
            <p:cNvPr id="34" name="AutoShape 14">
              <a:extLst>
                <a:ext uri="{FF2B5EF4-FFF2-40B4-BE49-F238E27FC236}">
                  <a16:creationId xmlns:a16="http://schemas.microsoft.com/office/drawing/2014/main" id="{B8AD2035-B793-4EF1-9866-CD929D0447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8" y="2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id="{43B412CD-D8AF-43E6-9B42-BDE3B3651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0" y="2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DF7322AD-C648-402B-8412-C6E521841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1" y="538"/>
              <a:ext cx="30" cy="15"/>
            </a:xfrm>
            <a:custGeom>
              <a:avLst/>
              <a:gdLst>
                <a:gd name="T0" fmla="*/ 27 w 30"/>
                <a:gd name="T1" fmla="*/ 15 h 15"/>
                <a:gd name="T2" fmla="*/ 0 w 30"/>
                <a:gd name="T3" fmla="*/ 8 h 15"/>
                <a:gd name="T4" fmla="*/ 3 w 30"/>
                <a:gd name="T5" fmla="*/ 0 h 15"/>
                <a:gd name="T6" fmla="*/ 30 w 30"/>
                <a:gd name="T7" fmla="*/ 8 h 15"/>
                <a:gd name="T8" fmla="*/ 27 w 30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7" y="15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30" y="8"/>
                  </a:lnTo>
                  <a:lnTo>
                    <a:pt x="27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F91DA182-7C5E-4AC0-80E3-89C4C1B0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" y="313"/>
              <a:ext cx="76" cy="125"/>
            </a:xfrm>
            <a:custGeom>
              <a:avLst/>
              <a:gdLst>
                <a:gd name="T0" fmla="*/ 3 w 31"/>
                <a:gd name="T1" fmla="*/ 51 h 51"/>
                <a:gd name="T2" fmla="*/ 0 w 31"/>
                <a:gd name="T3" fmla="*/ 49 h 51"/>
                <a:gd name="T4" fmla="*/ 26 w 31"/>
                <a:gd name="T5" fmla="*/ 4 h 51"/>
                <a:gd name="T6" fmla="*/ 18 w 31"/>
                <a:gd name="T7" fmla="*/ 9 h 51"/>
                <a:gd name="T8" fmla="*/ 15 w 31"/>
                <a:gd name="T9" fmla="*/ 8 h 51"/>
                <a:gd name="T10" fmla="*/ 29 w 31"/>
                <a:gd name="T11" fmla="*/ 1 h 51"/>
                <a:gd name="T12" fmla="*/ 31 w 31"/>
                <a:gd name="T13" fmla="*/ 2 h 51"/>
                <a:gd name="T14" fmla="*/ 3 w 3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1">
                  <a:moveTo>
                    <a:pt x="3" y="51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4" y="4"/>
                    <a:pt x="20" y="4"/>
                    <a:pt x="18" y="9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8" y="0"/>
                    <a:pt x="25" y="0"/>
                    <a:pt x="29" y="1"/>
                  </a:cubicBezTo>
                  <a:cubicBezTo>
                    <a:pt x="31" y="2"/>
                    <a:pt x="31" y="2"/>
                    <a:pt x="31" y="2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734CA353-8105-4E0C-A904-2010CCDD9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8" y="502"/>
              <a:ext cx="72" cy="22"/>
            </a:xfrm>
            <a:custGeom>
              <a:avLst/>
              <a:gdLst>
                <a:gd name="T0" fmla="*/ 4 w 29"/>
                <a:gd name="T1" fmla="*/ 3 h 9"/>
                <a:gd name="T2" fmla="*/ 4 w 29"/>
                <a:gd name="T3" fmla="*/ 4 h 9"/>
                <a:gd name="T4" fmla="*/ 4 w 29"/>
                <a:gd name="T5" fmla="*/ 5 h 9"/>
                <a:gd name="T6" fmla="*/ 4 w 29"/>
                <a:gd name="T7" fmla="*/ 6 h 9"/>
                <a:gd name="T8" fmla="*/ 25 w 29"/>
                <a:gd name="T9" fmla="*/ 6 h 9"/>
                <a:gd name="T10" fmla="*/ 26 w 29"/>
                <a:gd name="T11" fmla="*/ 5 h 9"/>
                <a:gd name="T12" fmla="*/ 26 w 29"/>
                <a:gd name="T13" fmla="*/ 4 h 9"/>
                <a:gd name="T14" fmla="*/ 25 w 29"/>
                <a:gd name="T15" fmla="*/ 3 h 9"/>
                <a:gd name="T16" fmla="*/ 4 w 29"/>
                <a:gd name="T17" fmla="*/ 3 h 9"/>
                <a:gd name="T18" fmla="*/ 25 w 29"/>
                <a:gd name="T19" fmla="*/ 9 h 9"/>
                <a:gd name="T20" fmla="*/ 4 w 29"/>
                <a:gd name="T21" fmla="*/ 9 h 9"/>
                <a:gd name="T22" fmla="*/ 0 w 29"/>
                <a:gd name="T23" fmla="*/ 5 h 9"/>
                <a:gd name="T24" fmla="*/ 0 w 29"/>
                <a:gd name="T25" fmla="*/ 4 h 9"/>
                <a:gd name="T26" fmla="*/ 4 w 29"/>
                <a:gd name="T27" fmla="*/ 0 h 9"/>
                <a:gd name="T28" fmla="*/ 25 w 29"/>
                <a:gd name="T29" fmla="*/ 0 h 9"/>
                <a:gd name="T30" fmla="*/ 29 w 29"/>
                <a:gd name="T31" fmla="*/ 4 h 9"/>
                <a:gd name="T32" fmla="*/ 29 w 29"/>
                <a:gd name="T33" fmla="*/ 5 h 9"/>
                <a:gd name="T34" fmla="*/ 25 w 29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9">
                  <a:moveTo>
                    <a:pt x="4" y="3"/>
                  </a:moveTo>
                  <a:cubicBezTo>
                    <a:pt x="4" y="3"/>
                    <a:pt x="4" y="3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6" y="6"/>
                    <a:pt x="26" y="5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5" y="3"/>
                    <a:pt x="25" y="3"/>
                  </a:cubicBezTo>
                  <a:lnTo>
                    <a:pt x="4" y="3"/>
                  </a:lnTo>
                  <a:close/>
                  <a:moveTo>
                    <a:pt x="2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9" y="2"/>
                    <a:pt x="29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7"/>
                    <a:pt x="27" y="9"/>
                    <a:pt x="25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0">
              <a:extLst>
                <a:ext uri="{FF2B5EF4-FFF2-40B4-BE49-F238E27FC236}">
                  <a16:creationId xmlns:a16="http://schemas.microsoft.com/office/drawing/2014/main" id="{46B54017-487C-455F-8546-69AFC15F1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" y="301"/>
              <a:ext cx="265" cy="277"/>
            </a:xfrm>
            <a:custGeom>
              <a:avLst/>
              <a:gdLst>
                <a:gd name="T0" fmla="*/ 106 w 108"/>
                <a:gd name="T1" fmla="*/ 113 h 113"/>
                <a:gd name="T2" fmla="*/ 95 w 108"/>
                <a:gd name="T3" fmla="*/ 110 h 113"/>
                <a:gd name="T4" fmla="*/ 55 w 108"/>
                <a:gd name="T5" fmla="*/ 110 h 113"/>
                <a:gd name="T6" fmla="*/ 37 w 108"/>
                <a:gd name="T7" fmla="*/ 100 h 113"/>
                <a:gd name="T8" fmla="*/ 4 w 108"/>
                <a:gd name="T9" fmla="*/ 100 h 113"/>
                <a:gd name="T10" fmla="*/ 4 w 108"/>
                <a:gd name="T11" fmla="*/ 100 h 113"/>
                <a:gd name="T12" fmla="*/ 0 w 108"/>
                <a:gd name="T13" fmla="*/ 90 h 113"/>
                <a:gd name="T14" fmla="*/ 4 w 108"/>
                <a:gd name="T15" fmla="*/ 89 h 113"/>
                <a:gd name="T16" fmla="*/ 6 w 108"/>
                <a:gd name="T17" fmla="*/ 97 h 113"/>
                <a:gd name="T18" fmla="*/ 38 w 108"/>
                <a:gd name="T19" fmla="*/ 97 h 113"/>
                <a:gd name="T20" fmla="*/ 55 w 108"/>
                <a:gd name="T21" fmla="*/ 107 h 113"/>
                <a:gd name="T22" fmla="*/ 95 w 108"/>
                <a:gd name="T23" fmla="*/ 107 h 113"/>
                <a:gd name="T24" fmla="*/ 103 w 108"/>
                <a:gd name="T25" fmla="*/ 109 h 113"/>
                <a:gd name="T26" fmla="*/ 104 w 108"/>
                <a:gd name="T27" fmla="*/ 102 h 113"/>
                <a:gd name="T28" fmla="*/ 101 w 108"/>
                <a:gd name="T29" fmla="*/ 89 h 113"/>
                <a:gd name="T30" fmla="*/ 86 w 108"/>
                <a:gd name="T31" fmla="*/ 84 h 113"/>
                <a:gd name="T32" fmla="*/ 85 w 108"/>
                <a:gd name="T33" fmla="*/ 84 h 113"/>
                <a:gd name="T34" fmla="*/ 64 w 108"/>
                <a:gd name="T35" fmla="*/ 56 h 113"/>
                <a:gd name="T36" fmla="*/ 78 w 108"/>
                <a:gd name="T37" fmla="*/ 15 h 113"/>
                <a:gd name="T38" fmla="*/ 39 w 108"/>
                <a:gd name="T39" fmla="*/ 4 h 113"/>
                <a:gd name="T40" fmla="*/ 31 w 108"/>
                <a:gd name="T41" fmla="*/ 26 h 113"/>
                <a:gd name="T42" fmla="*/ 28 w 108"/>
                <a:gd name="T43" fmla="*/ 25 h 113"/>
                <a:gd name="T44" fmla="*/ 37 w 108"/>
                <a:gd name="T45" fmla="*/ 0 h 113"/>
                <a:gd name="T46" fmla="*/ 83 w 108"/>
                <a:gd name="T47" fmla="*/ 13 h 113"/>
                <a:gd name="T48" fmla="*/ 68 w 108"/>
                <a:gd name="T49" fmla="*/ 55 h 113"/>
                <a:gd name="T50" fmla="*/ 87 w 108"/>
                <a:gd name="T51" fmla="*/ 81 h 113"/>
                <a:gd name="T52" fmla="*/ 103 w 108"/>
                <a:gd name="T53" fmla="*/ 87 h 113"/>
                <a:gd name="T54" fmla="*/ 107 w 108"/>
                <a:gd name="T55" fmla="*/ 102 h 113"/>
                <a:gd name="T56" fmla="*/ 106 w 108"/>
                <a:gd name="T5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13">
                  <a:moveTo>
                    <a:pt x="106" y="113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1" y="96"/>
                    <a:pt x="0" y="90"/>
                    <a:pt x="0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4" y="89"/>
                    <a:pt x="4" y="94"/>
                    <a:pt x="6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4" y="102"/>
                    <a:pt x="104" y="102"/>
                    <a:pt x="104" y="102"/>
                  </a:cubicBezTo>
                  <a:cubicBezTo>
                    <a:pt x="105" y="96"/>
                    <a:pt x="104" y="92"/>
                    <a:pt x="101" y="89"/>
                  </a:cubicBezTo>
                  <a:cubicBezTo>
                    <a:pt x="96" y="84"/>
                    <a:pt x="86" y="84"/>
                    <a:pt x="86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90" y="81"/>
                    <a:pt x="98" y="81"/>
                    <a:pt x="103" y="87"/>
                  </a:cubicBezTo>
                  <a:cubicBezTo>
                    <a:pt x="107" y="90"/>
                    <a:pt x="108" y="96"/>
                    <a:pt x="107" y="102"/>
                  </a:cubicBezTo>
                  <a:lnTo>
                    <a:pt x="106" y="1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1">
              <a:extLst>
                <a:ext uri="{FF2B5EF4-FFF2-40B4-BE49-F238E27FC236}">
                  <a16:creationId xmlns:a16="http://schemas.microsoft.com/office/drawing/2014/main" id="{CA131913-2649-45F9-B796-87B575993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" y="330"/>
              <a:ext cx="238" cy="260"/>
            </a:xfrm>
            <a:custGeom>
              <a:avLst/>
              <a:gdLst>
                <a:gd name="T0" fmla="*/ 97 w 97"/>
                <a:gd name="T1" fmla="*/ 106 h 106"/>
                <a:gd name="T2" fmla="*/ 53 w 97"/>
                <a:gd name="T3" fmla="*/ 106 h 106"/>
                <a:gd name="T4" fmla="*/ 36 w 97"/>
                <a:gd name="T5" fmla="*/ 97 h 106"/>
                <a:gd name="T6" fmla="*/ 36 w 97"/>
                <a:gd name="T7" fmla="*/ 105 h 106"/>
                <a:gd name="T8" fmla="*/ 26 w 97"/>
                <a:gd name="T9" fmla="*/ 105 h 106"/>
                <a:gd name="T10" fmla="*/ 25 w 97"/>
                <a:gd name="T11" fmla="*/ 104 h 106"/>
                <a:gd name="T12" fmla="*/ 25 w 97"/>
                <a:gd name="T13" fmla="*/ 105 h 106"/>
                <a:gd name="T14" fmla="*/ 14 w 97"/>
                <a:gd name="T15" fmla="*/ 105 h 106"/>
                <a:gd name="T16" fmla="*/ 14 w 97"/>
                <a:gd name="T17" fmla="*/ 103 h 106"/>
                <a:gd name="T18" fmla="*/ 13 w 97"/>
                <a:gd name="T19" fmla="*/ 105 h 106"/>
                <a:gd name="T20" fmla="*/ 4 w 97"/>
                <a:gd name="T21" fmla="*/ 105 h 106"/>
                <a:gd name="T22" fmla="*/ 4 w 97"/>
                <a:gd name="T23" fmla="*/ 87 h 106"/>
                <a:gd name="T24" fmla="*/ 7 w 97"/>
                <a:gd name="T25" fmla="*/ 87 h 106"/>
                <a:gd name="T26" fmla="*/ 7 w 97"/>
                <a:gd name="T27" fmla="*/ 101 h 106"/>
                <a:gd name="T28" fmla="*/ 11 w 97"/>
                <a:gd name="T29" fmla="*/ 101 h 106"/>
                <a:gd name="T30" fmla="*/ 13 w 97"/>
                <a:gd name="T31" fmla="*/ 95 h 106"/>
                <a:gd name="T32" fmla="*/ 16 w 97"/>
                <a:gd name="T33" fmla="*/ 101 h 106"/>
                <a:gd name="T34" fmla="*/ 23 w 97"/>
                <a:gd name="T35" fmla="*/ 101 h 106"/>
                <a:gd name="T36" fmla="*/ 26 w 97"/>
                <a:gd name="T37" fmla="*/ 95 h 106"/>
                <a:gd name="T38" fmla="*/ 28 w 97"/>
                <a:gd name="T39" fmla="*/ 101 h 106"/>
                <a:gd name="T40" fmla="*/ 33 w 97"/>
                <a:gd name="T41" fmla="*/ 101 h 106"/>
                <a:gd name="T42" fmla="*/ 33 w 97"/>
                <a:gd name="T43" fmla="*/ 91 h 106"/>
                <a:gd name="T44" fmla="*/ 53 w 97"/>
                <a:gd name="T45" fmla="*/ 103 h 106"/>
                <a:gd name="T46" fmla="*/ 93 w 97"/>
                <a:gd name="T47" fmla="*/ 103 h 106"/>
                <a:gd name="T48" fmla="*/ 93 w 97"/>
                <a:gd name="T49" fmla="*/ 89 h 106"/>
                <a:gd name="T50" fmla="*/ 87 w 97"/>
                <a:gd name="T51" fmla="*/ 81 h 106"/>
                <a:gd name="T52" fmla="*/ 73 w 97"/>
                <a:gd name="T53" fmla="*/ 81 h 106"/>
                <a:gd name="T54" fmla="*/ 72 w 97"/>
                <a:gd name="T55" fmla="*/ 81 h 106"/>
                <a:gd name="T56" fmla="*/ 47 w 97"/>
                <a:gd name="T57" fmla="*/ 60 h 106"/>
                <a:gd name="T58" fmla="*/ 57 w 97"/>
                <a:gd name="T59" fmla="*/ 4 h 106"/>
                <a:gd name="T60" fmla="*/ 53 w 97"/>
                <a:gd name="T61" fmla="*/ 6 h 106"/>
                <a:gd name="T62" fmla="*/ 50 w 97"/>
                <a:gd name="T63" fmla="*/ 13 h 106"/>
                <a:gd name="T64" fmla="*/ 50 w 97"/>
                <a:gd name="T65" fmla="*/ 15 h 106"/>
                <a:gd name="T66" fmla="*/ 7 w 97"/>
                <a:gd name="T67" fmla="*/ 16 h 106"/>
                <a:gd name="T68" fmla="*/ 7 w 97"/>
                <a:gd name="T69" fmla="*/ 62 h 106"/>
                <a:gd name="T70" fmla="*/ 7 w 97"/>
                <a:gd name="T71" fmla="*/ 62 h 106"/>
                <a:gd name="T72" fmla="*/ 3 w 97"/>
                <a:gd name="T73" fmla="*/ 71 h 106"/>
                <a:gd name="T74" fmla="*/ 0 w 97"/>
                <a:gd name="T75" fmla="*/ 72 h 106"/>
                <a:gd name="T76" fmla="*/ 4 w 97"/>
                <a:gd name="T77" fmla="*/ 60 h 106"/>
                <a:gd name="T78" fmla="*/ 4 w 97"/>
                <a:gd name="T79" fmla="*/ 13 h 106"/>
                <a:gd name="T80" fmla="*/ 47 w 97"/>
                <a:gd name="T81" fmla="*/ 11 h 106"/>
                <a:gd name="T82" fmla="*/ 50 w 97"/>
                <a:gd name="T83" fmla="*/ 3 h 106"/>
                <a:gd name="T84" fmla="*/ 59 w 97"/>
                <a:gd name="T85" fmla="*/ 1 h 106"/>
                <a:gd name="T86" fmla="*/ 61 w 97"/>
                <a:gd name="T87" fmla="*/ 1 h 106"/>
                <a:gd name="T88" fmla="*/ 50 w 97"/>
                <a:gd name="T89" fmla="*/ 59 h 106"/>
                <a:gd name="T90" fmla="*/ 73 w 97"/>
                <a:gd name="T91" fmla="*/ 77 h 106"/>
                <a:gd name="T92" fmla="*/ 89 w 97"/>
                <a:gd name="T93" fmla="*/ 78 h 106"/>
                <a:gd name="T94" fmla="*/ 97 w 97"/>
                <a:gd name="T95" fmla="*/ 88 h 106"/>
                <a:gd name="T96" fmla="*/ 97 w 97"/>
                <a:gd name="T97" fmla="*/ 88 h 106"/>
                <a:gd name="T98" fmla="*/ 97 w 97"/>
                <a:gd name="T9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106">
                  <a:moveTo>
                    <a:pt x="97" y="106"/>
                  </a:moveTo>
                  <a:cubicBezTo>
                    <a:pt x="53" y="106"/>
                    <a:pt x="53" y="106"/>
                    <a:pt x="53" y="106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105"/>
                    <a:pt x="36" y="105"/>
                    <a:pt x="36" y="105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3" y="88"/>
                    <a:pt x="91" y="83"/>
                    <a:pt x="87" y="81"/>
                  </a:cubicBezTo>
                  <a:cubicBezTo>
                    <a:pt x="84" y="79"/>
                    <a:pt x="79" y="79"/>
                    <a:pt x="73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5" y="4"/>
                    <a:pt x="54" y="5"/>
                    <a:pt x="53" y="6"/>
                  </a:cubicBezTo>
                  <a:cubicBezTo>
                    <a:pt x="51" y="7"/>
                    <a:pt x="50" y="9"/>
                    <a:pt x="50" y="13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6" y="62"/>
                    <a:pt x="3" y="66"/>
                    <a:pt x="3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6"/>
                    <a:pt x="2" y="62"/>
                    <a:pt x="4" y="6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8"/>
                    <a:pt x="48" y="5"/>
                    <a:pt x="50" y="3"/>
                  </a:cubicBezTo>
                  <a:cubicBezTo>
                    <a:pt x="54" y="0"/>
                    <a:pt x="59" y="1"/>
                    <a:pt x="59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9" y="75"/>
                    <a:pt x="85" y="76"/>
                    <a:pt x="89" y="78"/>
                  </a:cubicBezTo>
                  <a:cubicBezTo>
                    <a:pt x="95" y="81"/>
                    <a:pt x="96" y="88"/>
                    <a:pt x="97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10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id="{53384914-0969-4D98-923D-52E536463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6" y="362"/>
              <a:ext cx="7" cy="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25">
            <a:extLst>
              <a:ext uri="{FF2B5EF4-FFF2-40B4-BE49-F238E27FC236}">
                <a16:creationId xmlns:a16="http://schemas.microsoft.com/office/drawing/2014/main" id="{7A845CDC-ACDB-4B8C-811F-3FB4F78909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738" y="284163"/>
            <a:ext cx="841375" cy="841375"/>
            <a:chOff x="1637" y="179"/>
            <a:chExt cx="530" cy="530"/>
          </a:xfrm>
        </p:grpSpPr>
        <p:sp>
          <p:nvSpPr>
            <p:cNvPr id="43" name="AutoShape 24">
              <a:extLst>
                <a:ext uri="{FF2B5EF4-FFF2-40B4-BE49-F238E27FC236}">
                  <a16:creationId xmlns:a16="http://schemas.microsoft.com/office/drawing/2014/main" id="{82A02B73-48CC-490C-9206-931C175217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7" y="1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26">
              <a:extLst>
                <a:ext uri="{FF2B5EF4-FFF2-40B4-BE49-F238E27FC236}">
                  <a16:creationId xmlns:a16="http://schemas.microsoft.com/office/drawing/2014/main" id="{518688F7-5AC9-4B4D-9559-BC442173C8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7" y="1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E54F4B39-DB7B-458C-9487-92CD7FD043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F20A16A0-6F13-4286-B8C2-00BA457090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4" y="261"/>
              <a:ext cx="318" cy="369"/>
            </a:xfrm>
            <a:custGeom>
              <a:avLst/>
              <a:gdLst>
                <a:gd name="T0" fmla="*/ 62 w 124"/>
                <a:gd name="T1" fmla="*/ 141 h 144"/>
                <a:gd name="T2" fmla="*/ 62 w 124"/>
                <a:gd name="T3" fmla="*/ 141 h 144"/>
                <a:gd name="T4" fmla="*/ 102 w 124"/>
                <a:gd name="T5" fmla="*/ 100 h 144"/>
                <a:gd name="T6" fmla="*/ 103 w 124"/>
                <a:gd name="T7" fmla="*/ 97 h 144"/>
                <a:gd name="T8" fmla="*/ 105 w 124"/>
                <a:gd name="T9" fmla="*/ 99 h 144"/>
                <a:gd name="T10" fmla="*/ 108 w 124"/>
                <a:gd name="T11" fmla="*/ 100 h 144"/>
                <a:gd name="T12" fmla="*/ 115 w 124"/>
                <a:gd name="T13" fmla="*/ 89 h 144"/>
                <a:gd name="T14" fmla="*/ 118 w 124"/>
                <a:gd name="T15" fmla="*/ 67 h 144"/>
                <a:gd name="T16" fmla="*/ 114 w 124"/>
                <a:gd name="T17" fmla="*/ 66 h 144"/>
                <a:gd name="T18" fmla="*/ 112 w 124"/>
                <a:gd name="T19" fmla="*/ 67 h 144"/>
                <a:gd name="T20" fmla="*/ 112 w 124"/>
                <a:gd name="T21" fmla="*/ 64 h 144"/>
                <a:gd name="T22" fmla="*/ 102 w 124"/>
                <a:gd name="T23" fmla="*/ 18 h 144"/>
                <a:gd name="T24" fmla="*/ 63 w 124"/>
                <a:gd name="T25" fmla="*/ 3 h 144"/>
                <a:gd name="T26" fmla="*/ 61 w 124"/>
                <a:gd name="T27" fmla="*/ 3 h 144"/>
                <a:gd name="T28" fmla="*/ 22 w 124"/>
                <a:gd name="T29" fmla="*/ 18 h 144"/>
                <a:gd name="T30" fmla="*/ 12 w 124"/>
                <a:gd name="T31" fmla="*/ 64 h 144"/>
                <a:gd name="T32" fmla="*/ 12 w 124"/>
                <a:gd name="T33" fmla="*/ 67 h 144"/>
                <a:gd name="T34" fmla="*/ 10 w 124"/>
                <a:gd name="T35" fmla="*/ 66 h 144"/>
                <a:gd name="T36" fmla="*/ 6 w 124"/>
                <a:gd name="T37" fmla="*/ 67 h 144"/>
                <a:gd name="T38" fmla="*/ 9 w 124"/>
                <a:gd name="T39" fmla="*/ 89 h 144"/>
                <a:gd name="T40" fmla="*/ 16 w 124"/>
                <a:gd name="T41" fmla="*/ 100 h 144"/>
                <a:gd name="T42" fmla="*/ 19 w 124"/>
                <a:gd name="T43" fmla="*/ 99 h 144"/>
                <a:gd name="T44" fmla="*/ 21 w 124"/>
                <a:gd name="T45" fmla="*/ 97 h 144"/>
                <a:gd name="T46" fmla="*/ 22 w 124"/>
                <a:gd name="T47" fmla="*/ 100 h 144"/>
                <a:gd name="T48" fmla="*/ 62 w 124"/>
                <a:gd name="T49" fmla="*/ 141 h 144"/>
                <a:gd name="T50" fmla="*/ 63 w 124"/>
                <a:gd name="T51" fmla="*/ 144 h 144"/>
                <a:gd name="T52" fmla="*/ 61 w 124"/>
                <a:gd name="T53" fmla="*/ 144 h 144"/>
                <a:gd name="T54" fmla="*/ 19 w 124"/>
                <a:gd name="T55" fmla="*/ 103 h 144"/>
                <a:gd name="T56" fmla="*/ 15 w 124"/>
                <a:gd name="T57" fmla="*/ 103 h 144"/>
                <a:gd name="T58" fmla="*/ 6 w 124"/>
                <a:gd name="T59" fmla="*/ 90 h 144"/>
                <a:gd name="T60" fmla="*/ 3 w 124"/>
                <a:gd name="T61" fmla="*/ 65 h 144"/>
                <a:gd name="T62" fmla="*/ 8 w 124"/>
                <a:gd name="T63" fmla="*/ 63 h 144"/>
                <a:gd name="T64" fmla="*/ 20 w 124"/>
                <a:gd name="T65" fmla="*/ 16 h 144"/>
                <a:gd name="T66" fmla="*/ 61 w 124"/>
                <a:gd name="T67" fmla="*/ 0 h 144"/>
                <a:gd name="T68" fmla="*/ 63 w 124"/>
                <a:gd name="T69" fmla="*/ 0 h 144"/>
                <a:gd name="T70" fmla="*/ 104 w 124"/>
                <a:gd name="T71" fmla="*/ 16 h 144"/>
                <a:gd name="T72" fmla="*/ 116 w 124"/>
                <a:gd name="T73" fmla="*/ 63 h 144"/>
                <a:gd name="T74" fmla="*/ 121 w 124"/>
                <a:gd name="T75" fmla="*/ 65 h 144"/>
                <a:gd name="T76" fmla="*/ 118 w 124"/>
                <a:gd name="T77" fmla="*/ 90 h 144"/>
                <a:gd name="T78" fmla="*/ 109 w 124"/>
                <a:gd name="T79" fmla="*/ 103 h 144"/>
                <a:gd name="T80" fmla="*/ 105 w 124"/>
                <a:gd name="T81" fmla="*/ 103 h 144"/>
                <a:gd name="T82" fmla="*/ 63 w 124"/>
                <a:gd name="T8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" h="144">
                  <a:moveTo>
                    <a:pt x="62" y="141"/>
                  </a:moveTo>
                  <a:cubicBezTo>
                    <a:pt x="62" y="141"/>
                    <a:pt x="62" y="141"/>
                    <a:pt x="62" y="141"/>
                  </a:cubicBezTo>
                  <a:cubicBezTo>
                    <a:pt x="65" y="140"/>
                    <a:pt x="98" y="132"/>
                    <a:pt x="102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6" y="100"/>
                    <a:pt x="108" y="100"/>
                  </a:cubicBezTo>
                  <a:cubicBezTo>
                    <a:pt x="109" y="100"/>
                    <a:pt x="112" y="98"/>
                    <a:pt x="115" y="89"/>
                  </a:cubicBezTo>
                  <a:cubicBezTo>
                    <a:pt x="120" y="74"/>
                    <a:pt x="120" y="69"/>
                    <a:pt x="118" y="67"/>
                  </a:cubicBezTo>
                  <a:cubicBezTo>
                    <a:pt x="118" y="67"/>
                    <a:pt x="117" y="66"/>
                    <a:pt x="114" y="66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4"/>
                    <a:pt x="117" y="36"/>
                    <a:pt x="102" y="18"/>
                  </a:cubicBezTo>
                  <a:cubicBezTo>
                    <a:pt x="93" y="8"/>
                    <a:pt x="80" y="3"/>
                    <a:pt x="63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44" y="3"/>
                    <a:pt x="31" y="8"/>
                    <a:pt x="22" y="18"/>
                  </a:cubicBezTo>
                  <a:cubicBezTo>
                    <a:pt x="7" y="36"/>
                    <a:pt x="12" y="64"/>
                    <a:pt x="12" y="64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7" y="66"/>
                    <a:pt x="6" y="67"/>
                    <a:pt x="6" y="67"/>
                  </a:cubicBezTo>
                  <a:cubicBezTo>
                    <a:pt x="4" y="69"/>
                    <a:pt x="4" y="74"/>
                    <a:pt x="9" y="89"/>
                  </a:cubicBezTo>
                  <a:cubicBezTo>
                    <a:pt x="12" y="98"/>
                    <a:pt x="15" y="100"/>
                    <a:pt x="16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6" y="132"/>
                    <a:pt x="59" y="140"/>
                    <a:pt x="62" y="141"/>
                  </a:cubicBezTo>
                  <a:moveTo>
                    <a:pt x="63" y="144"/>
                  </a:move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25" y="136"/>
                    <a:pt x="19" y="103"/>
                  </a:cubicBezTo>
                  <a:cubicBezTo>
                    <a:pt x="18" y="103"/>
                    <a:pt x="17" y="103"/>
                    <a:pt x="15" y="103"/>
                  </a:cubicBezTo>
                  <a:cubicBezTo>
                    <a:pt x="12" y="102"/>
                    <a:pt x="8" y="98"/>
                    <a:pt x="6" y="90"/>
                  </a:cubicBezTo>
                  <a:cubicBezTo>
                    <a:pt x="1" y="77"/>
                    <a:pt x="0" y="69"/>
                    <a:pt x="3" y="65"/>
                  </a:cubicBezTo>
                  <a:cubicBezTo>
                    <a:pt x="4" y="64"/>
                    <a:pt x="6" y="63"/>
                    <a:pt x="8" y="63"/>
                  </a:cubicBezTo>
                  <a:cubicBezTo>
                    <a:pt x="8" y="56"/>
                    <a:pt x="6" y="33"/>
                    <a:pt x="20" y="16"/>
                  </a:cubicBezTo>
                  <a:cubicBezTo>
                    <a:pt x="29" y="5"/>
                    <a:pt x="43" y="0"/>
                    <a:pt x="61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1" y="0"/>
                    <a:pt x="95" y="5"/>
                    <a:pt x="104" y="16"/>
                  </a:cubicBezTo>
                  <a:cubicBezTo>
                    <a:pt x="118" y="33"/>
                    <a:pt x="116" y="56"/>
                    <a:pt x="116" y="63"/>
                  </a:cubicBezTo>
                  <a:cubicBezTo>
                    <a:pt x="118" y="63"/>
                    <a:pt x="120" y="64"/>
                    <a:pt x="121" y="65"/>
                  </a:cubicBezTo>
                  <a:cubicBezTo>
                    <a:pt x="124" y="69"/>
                    <a:pt x="123" y="77"/>
                    <a:pt x="118" y="90"/>
                  </a:cubicBezTo>
                  <a:cubicBezTo>
                    <a:pt x="116" y="98"/>
                    <a:pt x="112" y="102"/>
                    <a:pt x="109" y="103"/>
                  </a:cubicBezTo>
                  <a:cubicBezTo>
                    <a:pt x="107" y="103"/>
                    <a:pt x="106" y="103"/>
                    <a:pt x="105" y="103"/>
                  </a:cubicBezTo>
                  <a:cubicBezTo>
                    <a:pt x="99" y="136"/>
                    <a:pt x="63" y="144"/>
                    <a:pt x="63" y="1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ABFB2D5E-CD26-48C4-BC3A-E18F6FFCA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0" y="320"/>
              <a:ext cx="269" cy="292"/>
            </a:xfrm>
            <a:custGeom>
              <a:avLst/>
              <a:gdLst>
                <a:gd name="T0" fmla="*/ 70 w 105"/>
                <a:gd name="T1" fmla="*/ 59 h 114"/>
                <a:gd name="T2" fmla="*/ 58 w 105"/>
                <a:gd name="T3" fmla="*/ 46 h 114"/>
                <a:gd name="T4" fmla="*/ 70 w 105"/>
                <a:gd name="T5" fmla="*/ 32 h 114"/>
                <a:gd name="T6" fmla="*/ 82 w 105"/>
                <a:gd name="T7" fmla="*/ 46 h 114"/>
                <a:gd name="T8" fmla="*/ 70 w 105"/>
                <a:gd name="T9" fmla="*/ 59 h 114"/>
                <a:gd name="T10" fmla="*/ 64 w 105"/>
                <a:gd name="T11" fmla="*/ 106 h 114"/>
                <a:gd name="T12" fmla="*/ 38 w 105"/>
                <a:gd name="T13" fmla="*/ 102 h 114"/>
                <a:gd name="T14" fmla="*/ 42 w 105"/>
                <a:gd name="T15" fmla="*/ 76 h 114"/>
                <a:gd name="T16" fmla="*/ 68 w 105"/>
                <a:gd name="T17" fmla="*/ 79 h 114"/>
                <a:gd name="T18" fmla="*/ 64 w 105"/>
                <a:gd name="T19" fmla="*/ 106 h 114"/>
                <a:gd name="T20" fmla="*/ 22 w 105"/>
                <a:gd name="T21" fmla="*/ 46 h 114"/>
                <a:gd name="T22" fmla="*/ 34 w 105"/>
                <a:gd name="T23" fmla="*/ 32 h 114"/>
                <a:gd name="T24" fmla="*/ 46 w 105"/>
                <a:gd name="T25" fmla="*/ 46 h 114"/>
                <a:gd name="T26" fmla="*/ 34 w 105"/>
                <a:gd name="T27" fmla="*/ 59 h 114"/>
                <a:gd name="T28" fmla="*/ 22 w 105"/>
                <a:gd name="T29" fmla="*/ 46 h 114"/>
                <a:gd name="T30" fmla="*/ 97 w 105"/>
                <a:gd name="T31" fmla="*/ 31 h 114"/>
                <a:gd name="T32" fmla="*/ 53 w 105"/>
                <a:gd name="T33" fmla="*/ 0 h 114"/>
                <a:gd name="T34" fmla="*/ 8 w 105"/>
                <a:gd name="T35" fmla="*/ 31 h 114"/>
                <a:gd name="T36" fmla="*/ 8 w 105"/>
                <a:gd name="T37" fmla="*/ 33 h 114"/>
                <a:gd name="T38" fmla="*/ 0 w 105"/>
                <a:gd name="T39" fmla="*/ 33 h 114"/>
                <a:gd name="T40" fmla="*/ 0 w 105"/>
                <a:gd name="T41" fmla="*/ 39 h 114"/>
                <a:gd name="T42" fmla="*/ 8 w 105"/>
                <a:gd name="T43" fmla="*/ 39 h 114"/>
                <a:gd name="T44" fmla="*/ 13 w 105"/>
                <a:gd name="T45" fmla="*/ 77 h 114"/>
                <a:gd name="T46" fmla="*/ 7 w 105"/>
                <a:gd name="T47" fmla="*/ 82 h 114"/>
                <a:gd name="T48" fmla="*/ 11 w 105"/>
                <a:gd name="T49" fmla="*/ 89 h 114"/>
                <a:gd name="T50" fmla="*/ 18 w 105"/>
                <a:gd name="T51" fmla="*/ 85 h 114"/>
                <a:gd name="T52" fmla="*/ 31 w 105"/>
                <a:gd name="T53" fmla="*/ 96 h 114"/>
                <a:gd name="T54" fmla="*/ 53 w 105"/>
                <a:gd name="T55" fmla="*/ 114 h 114"/>
                <a:gd name="T56" fmla="*/ 75 w 105"/>
                <a:gd name="T57" fmla="*/ 96 h 114"/>
                <a:gd name="T58" fmla="*/ 88 w 105"/>
                <a:gd name="T59" fmla="*/ 85 h 114"/>
                <a:gd name="T60" fmla="*/ 94 w 105"/>
                <a:gd name="T61" fmla="*/ 89 h 114"/>
                <a:gd name="T62" fmla="*/ 98 w 105"/>
                <a:gd name="T63" fmla="*/ 82 h 114"/>
                <a:gd name="T64" fmla="*/ 92 w 105"/>
                <a:gd name="T65" fmla="*/ 78 h 114"/>
                <a:gd name="T66" fmla="*/ 98 w 105"/>
                <a:gd name="T67" fmla="*/ 39 h 114"/>
                <a:gd name="T68" fmla="*/ 104 w 105"/>
                <a:gd name="T69" fmla="*/ 39 h 114"/>
                <a:gd name="T70" fmla="*/ 104 w 105"/>
                <a:gd name="T71" fmla="*/ 32 h 114"/>
                <a:gd name="T72" fmla="*/ 97 w 105"/>
                <a:gd name="T73" fmla="*/ 32 h 114"/>
                <a:gd name="T74" fmla="*/ 97 w 105"/>
                <a:gd name="T75" fmla="*/ 3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" h="114">
                  <a:moveTo>
                    <a:pt x="70" y="59"/>
                  </a:moveTo>
                  <a:cubicBezTo>
                    <a:pt x="63" y="59"/>
                    <a:pt x="58" y="53"/>
                    <a:pt x="58" y="46"/>
                  </a:cubicBezTo>
                  <a:cubicBezTo>
                    <a:pt x="58" y="38"/>
                    <a:pt x="63" y="32"/>
                    <a:pt x="70" y="32"/>
                  </a:cubicBezTo>
                  <a:cubicBezTo>
                    <a:pt x="77" y="32"/>
                    <a:pt x="82" y="38"/>
                    <a:pt x="82" y="46"/>
                  </a:cubicBezTo>
                  <a:cubicBezTo>
                    <a:pt x="82" y="53"/>
                    <a:pt x="77" y="59"/>
                    <a:pt x="70" y="59"/>
                  </a:cubicBezTo>
                  <a:moveTo>
                    <a:pt x="64" y="106"/>
                  </a:moveTo>
                  <a:cubicBezTo>
                    <a:pt x="56" y="112"/>
                    <a:pt x="44" y="110"/>
                    <a:pt x="38" y="102"/>
                  </a:cubicBezTo>
                  <a:cubicBezTo>
                    <a:pt x="32" y="94"/>
                    <a:pt x="34" y="82"/>
                    <a:pt x="42" y="76"/>
                  </a:cubicBezTo>
                  <a:cubicBezTo>
                    <a:pt x="50" y="69"/>
                    <a:pt x="62" y="71"/>
                    <a:pt x="68" y="79"/>
                  </a:cubicBezTo>
                  <a:cubicBezTo>
                    <a:pt x="74" y="88"/>
                    <a:pt x="72" y="99"/>
                    <a:pt x="64" y="106"/>
                  </a:cubicBezTo>
                  <a:moveTo>
                    <a:pt x="22" y="46"/>
                  </a:moveTo>
                  <a:cubicBezTo>
                    <a:pt x="22" y="38"/>
                    <a:pt x="27" y="32"/>
                    <a:pt x="34" y="32"/>
                  </a:cubicBezTo>
                  <a:cubicBezTo>
                    <a:pt x="41" y="32"/>
                    <a:pt x="46" y="38"/>
                    <a:pt x="46" y="46"/>
                  </a:cubicBezTo>
                  <a:cubicBezTo>
                    <a:pt x="46" y="53"/>
                    <a:pt x="41" y="59"/>
                    <a:pt x="34" y="59"/>
                  </a:cubicBezTo>
                  <a:cubicBezTo>
                    <a:pt x="27" y="59"/>
                    <a:pt x="22" y="53"/>
                    <a:pt x="22" y="46"/>
                  </a:cubicBezTo>
                  <a:moveTo>
                    <a:pt x="97" y="31"/>
                  </a:moveTo>
                  <a:cubicBezTo>
                    <a:pt x="89" y="14"/>
                    <a:pt x="71" y="0"/>
                    <a:pt x="53" y="0"/>
                  </a:cubicBezTo>
                  <a:cubicBezTo>
                    <a:pt x="34" y="0"/>
                    <a:pt x="17" y="14"/>
                    <a:pt x="8" y="31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" y="42"/>
                    <a:pt x="4" y="77"/>
                    <a:pt x="13" y="77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21" y="90"/>
                    <a:pt x="26" y="93"/>
                    <a:pt x="31" y="96"/>
                  </a:cubicBezTo>
                  <a:cubicBezTo>
                    <a:pt x="36" y="107"/>
                    <a:pt x="41" y="112"/>
                    <a:pt x="53" y="114"/>
                  </a:cubicBezTo>
                  <a:cubicBezTo>
                    <a:pt x="65" y="113"/>
                    <a:pt x="71" y="107"/>
                    <a:pt x="75" y="96"/>
                  </a:cubicBezTo>
                  <a:cubicBezTo>
                    <a:pt x="81" y="92"/>
                    <a:pt x="84" y="90"/>
                    <a:pt x="88" y="85"/>
                  </a:cubicBezTo>
                  <a:cubicBezTo>
                    <a:pt x="94" y="89"/>
                    <a:pt x="94" y="89"/>
                    <a:pt x="94" y="89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9" y="78"/>
                    <a:pt x="105" y="41"/>
                    <a:pt x="98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97" y="32"/>
                    <a:pt x="97" y="32"/>
                    <a:pt x="97" y="32"/>
                  </a:cubicBezTo>
                  <a:lnTo>
                    <a:pt x="97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DA871CDD-9DC8-42B3-9740-79C841457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5" y="509"/>
              <a:ext cx="82" cy="85"/>
            </a:xfrm>
            <a:custGeom>
              <a:avLst/>
              <a:gdLst>
                <a:gd name="T0" fmla="*/ 24 w 32"/>
                <a:gd name="T1" fmla="*/ 19 h 33"/>
                <a:gd name="T2" fmla="*/ 21 w 32"/>
                <a:gd name="T3" fmla="*/ 16 h 33"/>
                <a:gd name="T4" fmla="*/ 24 w 32"/>
                <a:gd name="T5" fmla="*/ 14 h 33"/>
                <a:gd name="T6" fmla="*/ 26 w 32"/>
                <a:gd name="T7" fmla="*/ 16 h 33"/>
                <a:gd name="T8" fmla="*/ 24 w 32"/>
                <a:gd name="T9" fmla="*/ 19 h 33"/>
                <a:gd name="T10" fmla="*/ 22 w 32"/>
                <a:gd name="T11" fmla="*/ 25 h 33"/>
                <a:gd name="T12" fmla="*/ 19 w 32"/>
                <a:gd name="T13" fmla="*/ 22 h 33"/>
                <a:gd name="T14" fmla="*/ 22 w 32"/>
                <a:gd name="T15" fmla="*/ 20 h 33"/>
                <a:gd name="T16" fmla="*/ 24 w 32"/>
                <a:gd name="T17" fmla="*/ 22 h 33"/>
                <a:gd name="T18" fmla="*/ 22 w 32"/>
                <a:gd name="T19" fmla="*/ 25 h 33"/>
                <a:gd name="T20" fmla="*/ 16 w 32"/>
                <a:gd name="T21" fmla="*/ 28 h 33"/>
                <a:gd name="T22" fmla="*/ 14 w 32"/>
                <a:gd name="T23" fmla="*/ 25 h 33"/>
                <a:gd name="T24" fmla="*/ 16 w 32"/>
                <a:gd name="T25" fmla="*/ 23 h 33"/>
                <a:gd name="T26" fmla="*/ 18 w 32"/>
                <a:gd name="T27" fmla="*/ 25 h 33"/>
                <a:gd name="T28" fmla="*/ 16 w 32"/>
                <a:gd name="T29" fmla="*/ 28 h 33"/>
                <a:gd name="T30" fmla="*/ 16 w 32"/>
                <a:gd name="T31" fmla="*/ 5 h 33"/>
                <a:gd name="T32" fmla="*/ 18 w 32"/>
                <a:gd name="T33" fmla="*/ 8 h 33"/>
                <a:gd name="T34" fmla="*/ 16 w 32"/>
                <a:gd name="T35" fmla="*/ 10 h 33"/>
                <a:gd name="T36" fmla="*/ 14 w 32"/>
                <a:gd name="T37" fmla="*/ 8 h 33"/>
                <a:gd name="T38" fmla="*/ 16 w 32"/>
                <a:gd name="T39" fmla="*/ 5 h 33"/>
                <a:gd name="T40" fmla="*/ 10 w 32"/>
                <a:gd name="T41" fmla="*/ 13 h 33"/>
                <a:gd name="T42" fmla="*/ 8 w 32"/>
                <a:gd name="T43" fmla="*/ 10 h 33"/>
                <a:gd name="T44" fmla="*/ 10 w 32"/>
                <a:gd name="T45" fmla="*/ 8 h 33"/>
                <a:gd name="T46" fmla="*/ 13 w 32"/>
                <a:gd name="T47" fmla="*/ 10 h 33"/>
                <a:gd name="T48" fmla="*/ 10 w 32"/>
                <a:gd name="T49" fmla="*/ 13 h 33"/>
                <a:gd name="T50" fmla="*/ 10 w 32"/>
                <a:gd name="T51" fmla="*/ 25 h 33"/>
                <a:gd name="T52" fmla="*/ 8 w 32"/>
                <a:gd name="T53" fmla="*/ 22 h 33"/>
                <a:gd name="T54" fmla="*/ 10 w 32"/>
                <a:gd name="T55" fmla="*/ 20 h 33"/>
                <a:gd name="T56" fmla="*/ 13 w 32"/>
                <a:gd name="T57" fmla="*/ 22 h 33"/>
                <a:gd name="T58" fmla="*/ 10 w 32"/>
                <a:gd name="T59" fmla="*/ 25 h 33"/>
                <a:gd name="T60" fmla="*/ 6 w 32"/>
                <a:gd name="T61" fmla="*/ 16 h 33"/>
                <a:gd name="T62" fmla="*/ 8 w 32"/>
                <a:gd name="T63" fmla="*/ 14 h 33"/>
                <a:gd name="T64" fmla="*/ 11 w 32"/>
                <a:gd name="T65" fmla="*/ 16 h 33"/>
                <a:gd name="T66" fmla="*/ 8 w 32"/>
                <a:gd name="T67" fmla="*/ 19 h 33"/>
                <a:gd name="T68" fmla="*/ 6 w 32"/>
                <a:gd name="T69" fmla="*/ 16 h 33"/>
                <a:gd name="T70" fmla="*/ 22 w 32"/>
                <a:gd name="T71" fmla="*/ 8 h 33"/>
                <a:gd name="T72" fmla="*/ 24 w 32"/>
                <a:gd name="T73" fmla="*/ 11 h 33"/>
                <a:gd name="T74" fmla="*/ 22 w 32"/>
                <a:gd name="T75" fmla="*/ 13 h 33"/>
                <a:gd name="T76" fmla="*/ 19 w 32"/>
                <a:gd name="T77" fmla="*/ 11 h 33"/>
                <a:gd name="T78" fmla="*/ 22 w 32"/>
                <a:gd name="T79" fmla="*/ 8 h 33"/>
                <a:gd name="T80" fmla="*/ 7 w 32"/>
                <a:gd name="T81" fmla="*/ 5 h 33"/>
                <a:gd name="T82" fmla="*/ 4 w 32"/>
                <a:gd name="T83" fmla="*/ 25 h 33"/>
                <a:gd name="T84" fmla="*/ 25 w 32"/>
                <a:gd name="T85" fmla="*/ 28 h 33"/>
                <a:gd name="T86" fmla="*/ 28 w 32"/>
                <a:gd name="T87" fmla="*/ 8 h 33"/>
                <a:gd name="T88" fmla="*/ 7 w 32"/>
                <a:gd name="T8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" h="33">
                  <a:moveTo>
                    <a:pt x="24" y="19"/>
                  </a:moveTo>
                  <a:cubicBezTo>
                    <a:pt x="22" y="19"/>
                    <a:pt x="21" y="18"/>
                    <a:pt x="21" y="16"/>
                  </a:cubicBezTo>
                  <a:cubicBezTo>
                    <a:pt x="21" y="15"/>
                    <a:pt x="22" y="14"/>
                    <a:pt x="24" y="14"/>
                  </a:cubicBezTo>
                  <a:cubicBezTo>
                    <a:pt x="25" y="14"/>
                    <a:pt x="26" y="15"/>
                    <a:pt x="26" y="16"/>
                  </a:cubicBezTo>
                  <a:cubicBezTo>
                    <a:pt x="26" y="18"/>
                    <a:pt x="25" y="19"/>
                    <a:pt x="24" y="19"/>
                  </a:cubicBezTo>
                  <a:moveTo>
                    <a:pt x="22" y="25"/>
                  </a:moveTo>
                  <a:cubicBezTo>
                    <a:pt x="20" y="25"/>
                    <a:pt x="19" y="24"/>
                    <a:pt x="19" y="22"/>
                  </a:cubicBezTo>
                  <a:cubicBezTo>
                    <a:pt x="19" y="21"/>
                    <a:pt x="20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4"/>
                    <a:pt x="23" y="25"/>
                    <a:pt x="22" y="25"/>
                  </a:cubicBezTo>
                  <a:moveTo>
                    <a:pt x="16" y="28"/>
                  </a:moveTo>
                  <a:cubicBezTo>
                    <a:pt x="15" y="28"/>
                    <a:pt x="14" y="26"/>
                    <a:pt x="14" y="25"/>
                  </a:cubicBezTo>
                  <a:cubicBezTo>
                    <a:pt x="14" y="24"/>
                    <a:pt x="15" y="23"/>
                    <a:pt x="16" y="23"/>
                  </a:cubicBezTo>
                  <a:cubicBezTo>
                    <a:pt x="17" y="23"/>
                    <a:pt x="18" y="24"/>
                    <a:pt x="18" y="25"/>
                  </a:cubicBezTo>
                  <a:cubicBezTo>
                    <a:pt x="18" y="26"/>
                    <a:pt x="17" y="28"/>
                    <a:pt x="16" y="28"/>
                  </a:cubicBezTo>
                  <a:moveTo>
                    <a:pt x="16" y="5"/>
                  </a:moveTo>
                  <a:cubicBezTo>
                    <a:pt x="17" y="5"/>
                    <a:pt x="18" y="7"/>
                    <a:pt x="18" y="8"/>
                  </a:cubicBezTo>
                  <a:cubicBezTo>
                    <a:pt x="18" y="9"/>
                    <a:pt x="17" y="10"/>
                    <a:pt x="16" y="10"/>
                  </a:cubicBezTo>
                  <a:cubicBezTo>
                    <a:pt x="15" y="10"/>
                    <a:pt x="14" y="9"/>
                    <a:pt x="14" y="8"/>
                  </a:cubicBezTo>
                  <a:cubicBezTo>
                    <a:pt x="14" y="7"/>
                    <a:pt x="15" y="5"/>
                    <a:pt x="16" y="5"/>
                  </a:cubicBezTo>
                  <a:moveTo>
                    <a:pt x="10" y="13"/>
                  </a:moveTo>
                  <a:cubicBezTo>
                    <a:pt x="9" y="13"/>
                    <a:pt x="8" y="12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3" y="12"/>
                    <a:pt x="12" y="13"/>
                    <a:pt x="10" y="13"/>
                  </a:cubicBezTo>
                  <a:moveTo>
                    <a:pt x="10" y="25"/>
                  </a:moveTo>
                  <a:cubicBezTo>
                    <a:pt x="9" y="25"/>
                    <a:pt x="8" y="24"/>
                    <a:pt x="8" y="22"/>
                  </a:cubicBezTo>
                  <a:cubicBezTo>
                    <a:pt x="8" y="21"/>
                    <a:pt x="9" y="20"/>
                    <a:pt x="10" y="20"/>
                  </a:cubicBezTo>
                  <a:cubicBezTo>
                    <a:pt x="12" y="20"/>
                    <a:pt x="13" y="21"/>
                    <a:pt x="13" y="22"/>
                  </a:cubicBezTo>
                  <a:cubicBezTo>
                    <a:pt x="13" y="24"/>
                    <a:pt x="12" y="25"/>
                    <a:pt x="10" y="25"/>
                  </a:cubicBezTo>
                  <a:moveTo>
                    <a:pt x="6" y="16"/>
                  </a:moveTo>
                  <a:cubicBezTo>
                    <a:pt x="6" y="15"/>
                    <a:pt x="7" y="14"/>
                    <a:pt x="8" y="14"/>
                  </a:cubicBezTo>
                  <a:cubicBezTo>
                    <a:pt x="10" y="14"/>
                    <a:pt x="11" y="15"/>
                    <a:pt x="11" y="16"/>
                  </a:cubicBezTo>
                  <a:cubicBezTo>
                    <a:pt x="11" y="18"/>
                    <a:pt x="10" y="19"/>
                    <a:pt x="8" y="19"/>
                  </a:cubicBezTo>
                  <a:cubicBezTo>
                    <a:pt x="7" y="19"/>
                    <a:pt x="6" y="18"/>
                    <a:pt x="6" y="16"/>
                  </a:cubicBezTo>
                  <a:moveTo>
                    <a:pt x="22" y="8"/>
                  </a:moveTo>
                  <a:cubicBezTo>
                    <a:pt x="23" y="8"/>
                    <a:pt x="24" y="9"/>
                    <a:pt x="24" y="11"/>
                  </a:cubicBezTo>
                  <a:cubicBezTo>
                    <a:pt x="24" y="12"/>
                    <a:pt x="23" y="13"/>
                    <a:pt x="22" y="13"/>
                  </a:cubicBezTo>
                  <a:cubicBezTo>
                    <a:pt x="20" y="13"/>
                    <a:pt x="19" y="12"/>
                    <a:pt x="19" y="11"/>
                  </a:cubicBezTo>
                  <a:cubicBezTo>
                    <a:pt x="19" y="9"/>
                    <a:pt x="20" y="8"/>
                    <a:pt x="22" y="8"/>
                  </a:cubicBezTo>
                  <a:moveTo>
                    <a:pt x="7" y="5"/>
                  </a:moveTo>
                  <a:cubicBezTo>
                    <a:pt x="1" y="10"/>
                    <a:pt x="0" y="19"/>
                    <a:pt x="4" y="25"/>
                  </a:cubicBezTo>
                  <a:cubicBezTo>
                    <a:pt x="9" y="32"/>
                    <a:pt x="18" y="33"/>
                    <a:pt x="25" y="28"/>
                  </a:cubicBezTo>
                  <a:cubicBezTo>
                    <a:pt x="31" y="24"/>
                    <a:pt x="32" y="14"/>
                    <a:pt x="28" y="8"/>
                  </a:cubicBezTo>
                  <a:cubicBezTo>
                    <a:pt x="23" y="1"/>
                    <a:pt x="14" y="0"/>
                    <a:pt x="7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33">
            <a:extLst>
              <a:ext uri="{FF2B5EF4-FFF2-40B4-BE49-F238E27FC236}">
                <a16:creationId xmlns:a16="http://schemas.microsoft.com/office/drawing/2014/main" id="{0D148545-EB95-4043-94CC-780C9EB123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49663" y="325438"/>
            <a:ext cx="758825" cy="758825"/>
            <a:chOff x="2299" y="205"/>
            <a:chExt cx="478" cy="478"/>
          </a:xfrm>
        </p:grpSpPr>
        <p:sp>
          <p:nvSpPr>
            <p:cNvPr id="50" name="AutoShape 32">
              <a:extLst>
                <a:ext uri="{FF2B5EF4-FFF2-40B4-BE49-F238E27FC236}">
                  <a16:creationId xmlns:a16="http://schemas.microsoft.com/office/drawing/2014/main" id="{57C5A0B7-1C4F-484C-ACC1-F6BA602C77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99" y="2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4">
              <a:extLst>
                <a:ext uri="{FF2B5EF4-FFF2-40B4-BE49-F238E27FC236}">
                  <a16:creationId xmlns:a16="http://schemas.microsoft.com/office/drawing/2014/main" id="{FB5B1B7E-37FF-4CA1-BA04-479728457C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1" y="2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">
              <a:extLst>
                <a:ext uri="{FF2B5EF4-FFF2-40B4-BE49-F238E27FC236}">
                  <a16:creationId xmlns:a16="http://schemas.microsoft.com/office/drawing/2014/main" id="{509B3801-C7CC-4DFB-90B8-FB76D2DC7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7" y="269"/>
              <a:ext cx="304" cy="353"/>
            </a:xfrm>
            <a:custGeom>
              <a:avLst/>
              <a:gdLst>
                <a:gd name="T0" fmla="*/ 62 w 124"/>
                <a:gd name="T1" fmla="*/ 141 h 144"/>
                <a:gd name="T2" fmla="*/ 62 w 124"/>
                <a:gd name="T3" fmla="*/ 141 h 144"/>
                <a:gd name="T4" fmla="*/ 102 w 124"/>
                <a:gd name="T5" fmla="*/ 100 h 144"/>
                <a:gd name="T6" fmla="*/ 103 w 124"/>
                <a:gd name="T7" fmla="*/ 97 h 144"/>
                <a:gd name="T8" fmla="*/ 105 w 124"/>
                <a:gd name="T9" fmla="*/ 99 h 144"/>
                <a:gd name="T10" fmla="*/ 108 w 124"/>
                <a:gd name="T11" fmla="*/ 100 h 144"/>
                <a:gd name="T12" fmla="*/ 115 w 124"/>
                <a:gd name="T13" fmla="*/ 89 h 144"/>
                <a:gd name="T14" fmla="*/ 118 w 124"/>
                <a:gd name="T15" fmla="*/ 67 h 144"/>
                <a:gd name="T16" fmla="*/ 114 w 124"/>
                <a:gd name="T17" fmla="*/ 66 h 144"/>
                <a:gd name="T18" fmla="*/ 112 w 124"/>
                <a:gd name="T19" fmla="*/ 67 h 144"/>
                <a:gd name="T20" fmla="*/ 112 w 124"/>
                <a:gd name="T21" fmla="*/ 64 h 144"/>
                <a:gd name="T22" fmla="*/ 102 w 124"/>
                <a:gd name="T23" fmla="*/ 18 h 144"/>
                <a:gd name="T24" fmla="*/ 63 w 124"/>
                <a:gd name="T25" fmla="*/ 3 h 144"/>
                <a:gd name="T26" fmla="*/ 61 w 124"/>
                <a:gd name="T27" fmla="*/ 3 h 144"/>
                <a:gd name="T28" fmla="*/ 22 w 124"/>
                <a:gd name="T29" fmla="*/ 18 h 144"/>
                <a:gd name="T30" fmla="*/ 12 w 124"/>
                <a:gd name="T31" fmla="*/ 64 h 144"/>
                <a:gd name="T32" fmla="*/ 12 w 124"/>
                <a:gd name="T33" fmla="*/ 67 h 144"/>
                <a:gd name="T34" fmla="*/ 10 w 124"/>
                <a:gd name="T35" fmla="*/ 66 h 144"/>
                <a:gd name="T36" fmla="*/ 6 w 124"/>
                <a:gd name="T37" fmla="*/ 67 h 144"/>
                <a:gd name="T38" fmla="*/ 9 w 124"/>
                <a:gd name="T39" fmla="*/ 89 h 144"/>
                <a:gd name="T40" fmla="*/ 16 w 124"/>
                <a:gd name="T41" fmla="*/ 100 h 144"/>
                <a:gd name="T42" fmla="*/ 19 w 124"/>
                <a:gd name="T43" fmla="*/ 99 h 144"/>
                <a:gd name="T44" fmla="*/ 21 w 124"/>
                <a:gd name="T45" fmla="*/ 97 h 144"/>
                <a:gd name="T46" fmla="*/ 22 w 124"/>
                <a:gd name="T47" fmla="*/ 100 h 144"/>
                <a:gd name="T48" fmla="*/ 62 w 124"/>
                <a:gd name="T49" fmla="*/ 141 h 144"/>
                <a:gd name="T50" fmla="*/ 63 w 124"/>
                <a:gd name="T51" fmla="*/ 144 h 144"/>
                <a:gd name="T52" fmla="*/ 61 w 124"/>
                <a:gd name="T53" fmla="*/ 144 h 144"/>
                <a:gd name="T54" fmla="*/ 19 w 124"/>
                <a:gd name="T55" fmla="*/ 103 h 144"/>
                <a:gd name="T56" fmla="*/ 15 w 124"/>
                <a:gd name="T57" fmla="*/ 103 h 144"/>
                <a:gd name="T58" fmla="*/ 6 w 124"/>
                <a:gd name="T59" fmla="*/ 90 h 144"/>
                <a:gd name="T60" fmla="*/ 3 w 124"/>
                <a:gd name="T61" fmla="*/ 65 h 144"/>
                <a:gd name="T62" fmla="*/ 8 w 124"/>
                <a:gd name="T63" fmla="*/ 63 h 144"/>
                <a:gd name="T64" fmla="*/ 20 w 124"/>
                <a:gd name="T65" fmla="*/ 16 h 144"/>
                <a:gd name="T66" fmla="*/ 61 w 124"/>
                <a:gd name="T67" fmla="*/ 0 h 144"/>
                <a:gd name="T68" fmla="*/ 63 w 124"/>
                <a:gd name="T69" fmla="*/ 0 h 144"/>
                <a:gd name="T70" fmla="*/ 104 w 124"/>
                <a:gd name="T71" fmla="*/ 16 h 144"/>
                <a:gd name="T72" fmla="*/ 116 w 124"/>
                <a:gd name="T73" fmla="*/ 63 h 144"/>
                <a:gd name="T74" fmla="*/ 121 w 124"/>
                <a:gd name="T75" fmla="*/ 65 h 144"/>
                <a:gd name="T76" fmla="*/ 118 w 124"/>
                <a:gd name="T77" fmla="*/ 90 h 144"/>
                <a:gd name="T78" fmla="*/ 109 w 124"/>
                <a:gd name="T79" fmla="*/ 103 h 144"/>
                <a:gd name="T80" fmla="*/ 105 w 124"/>
                <a:gd name="T81" fmla="*/ 103 h 144"/>
                <a:gd name="T82" fmla="*/ 63 w 124"/>
                <a:gd name="T8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" h="144">
                  <a:moveTo>
                    <a:pt x="62" y="141"/>
                  </a:moveTo>
                  <a:cubicBezTo>
                    <a:pt x="62" y="141"/>
                    <a:pt x="62" y="141"/>
                    <a:pt x="62" y="141"/>
                  </a:cubicBezTo>
                  <a:cubicBezTo>
                    <a:pt x="65" y="140"/>
                    <a:pt x="98" y="132"/>
                    <a:pt x="102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6" y="100"/>
                    <a:pt x="108" y="100"/>
                  </a:cubicBezTo>
                  <a:cubicBezTo>
                    <a:pt x="109" y="100"/>
                    <a:pt x="112" y="98"/>
                    <a:pt x="115" y="89"/>
                  </a:cubicBezTo>
                  <a:cubicBezTo>
                    <a:pt x="120" y="74"/>
                    <a:pt x="120" y="69"/>
                    <a:pt x="118" y="67"/>
                  </a:cubicBezTo>
                  <a:cubicBezTo>
                    <a:pt x="118" y="67"/>
                    <a:pt x="117" y="66"/>
                    <a:pt x="114" y="66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4"/>
                    <a:pt x="117" y="36"/>
                    <a:pt x="102" y="18"/>
                  </a:cubicBezTo>
                  <a:cubicBezTo>
                    <a:pt x="93" y="8"/>
                    <a:pt x="80" y="3"/>
                    <a:pt x="63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44" y="3"/>
                    <a:pt x="31" y="8"/>
                    <a:pt x="22" y="18"/>
                  </a:cubicBezTo>
                  <a:cubicBezTo>
                    <a:pt x="7" y="36"/>
                    <a:pt x="12" y="64"/>
                    <a:pt x="12" y="64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7" y="66"/>
                    <a:pt x="6" y="67"/>
                    <a:pt x="6" y="67"/>
                  </a:cubicBezTo>
                  <a:cubicBezTo>
                    <a:pt x="4" y="69"/>
                    <a:pt x="4" y="74"/>
                    <a:pt x="9" y="89"/>
                  </a:cubicBezTo>
                  <a:cubicBezTo>
                    <a:pt x="12" y="98"/>
                    <a:pt x="15" y="100"/>
                    <a:pt x="16" y="100"/>
                  </a:cubicBezTo>
                  <a:cubicBezTo>
                    <a:pt x="18" y="100"/>
                    <a:pt x="19" y="99"/>
                    <a:pt x="19" y="99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6" y="132"/>
                    <a:pt x="59" y="140"/>
                    <a:pt x="62" y="141"/>
                  </a:cubicBezTo>
                  <a:moveTo>
                    <a:pt x="63" y="144"/>
                  </a:moveTo>
                  <a:cubicBezTo>
                    <a:pt x="61" y="144"/>
                    <a:pt x="61" y="144"/>
                    <a:pt x="61" y="144"/>
                  </a:cubicBezTo>
                  <a:cubicBezTo>
                    <a:pt x="61" y="144"/>
                    <a:pt x="25" y="136"/>
                    <a:pt x="19" y="103"/>
                  </a:cubicBezTo>
                  <a:cubicBezTo>
                    <a:pt x="18" y="103"/>
                    <a:pt x="17" y="103"/>
                    <a:pt x="15" y="103"/>
                  </a:cubicBezTo>
                  <a:cubicBezTo>
                    <a:pt x="12" y="102"/>
                    <a:pt x="8" y="98"/>
                    <a:pt x="6" y="90"/>
                  </a:cubicBezTo>
                  <a:cubicBezTo>
                    <a:pt x="1" y="77"/>
                    <a:pt x="0" y="69"/>
                    <a:pt x="3" y="65"/>
                  </a:cubicBezTo>
                  <a:cubicBezTo>
                    <a:pt x="4" y="64"/>
                    <a:pt x="6" y="63"/>
                    <a:pt x="8" y="63"/>
                  </a:cubicBezTo>
                  <a:cubicBezTo>
                    <a:pt x="8" y="56"/>
                    <a:pt x="6" y="33"/>
                    <a:pt x="20" y="16"/>
                  </a:cubicBezTo>
                  <a:cubicBezTo>
                    <a:pt x="29" y="5"/>
                    <a:pt x="43" y="0"/>
                    <a:pt x="61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1" y="0"/>
                    <a:pt x="95" y="5"/>
                    <a:pt x="104" y="16"/>
                  </a:cubicBezTo>
                  <a:cubicBezTo>
                    <a:pt x="118" y="33"/>
                    <a:pt x="116" y="56"/>
                    <a:pt x="116" y="63"/>
                  </a:cubicBezTo>
                  <a:cubicBezTo>
                    <a:pt x="118" y="63"/>
                    <a:pt x="120" y="64"/>
                    <a:pt x="121" y="65"/>
                  </a:cubicBezTo>
                  <a:cubicBezTo>
                    <a:pt x="124" y="69"/>
                    <a:pt x="123" y="77"/>
                    <a:pt x="118" y="90"/>
                  </a:cubicBezTo>
                  <a:cubicBezTo>
                    <a:pt x="116" y="98"/>
                    <a:pt x="112" y="102"/>
                    <a:pt x="109" y="103"/>
                  </a:cubicBezTo>
                  <a:cubicBezTo>
                    <a:pt x="107" y="103"/>
                    <a:pt x="106" y="103"/>
                    <a:pt x="105" y="103"/>
                  </a:cubicBezTo>
                  <a:cubicBezTo>
                    <a:pt x="99" y="136"/>
                    <a:pt x="63" y="144"/>
                    <a:pt x="63" y="14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6">
              <a:extLst>
                <a:ext uri="{FF2B5EF4-FFF2-40B4-BE49-F238E27FC236}">
                  <a16:creationId xmlns:a16="http://schemas.microsoft.com/office/drawing/2014/main" id="{BFD7C74E-DEE0-449E-81D9-FF2C16A38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" y="325"/>
              <a:ext cx="257" cy="280"/>
            </a:xfrm>
            <a:custGeom>
              <a:avLst/>
              <a:gdLst>
                <a:gd name="T0" fmla="*/ 70 w 105"/>
                <a:gd name="T1" fmla="*/ 59 h 114"/>
                <a:gd name="T2" fmla="*/ 58 w 105"/>
                <a:gd name="T3" fmla="*/ 46 h 114"/>
                <a:gd name="T4" fmla="*/ 70 w 105"/>
                <a:gd name="T5" fmla="*/ 32 h 114"/>
                <a:gd name="T6" fmla="*/ 82 w 105"/>
                <a:gd name="T7" fmla="*/ 46 h 114"/>
                <a:gd name="T8" fmla="*/ 70 w 105"/>
                <a:gd name="T9" fmla="*/ 59 h 114"/>
                <a:gd name="T10" fmla="*/ 64 w 105"/>
                <a:gd name="T11" fmla="*/ 106 h 114"/>
                <a:gd name="T12" fmla="*/ 38 w 105"/>
                <a:gd name="T13" fmla="*/ 102 h 114"/>
                <a:gd name="T14" fmla="*/ 42 w 105"/>
                <a:gd name="T15" fmla="*/ 76 h 114"/>
                <a:gd name="T16" fmla="*/ 68 w 105"/>
                <a:gd name="T17" fmla="*/ 79 h 114"/>
                <a:gd name="T18" fmla="*/ 64 w 105"/>
                <a:gd name="T19" fmla="*/ 106 h 114"/>
                <a:gd name="T20" fmla="*/ 22 w 105"/>
                <a:gd name="T21" fmla="*/ 46 h 114"/>
                <a:gd name="T22" fmla="*/ 34 w 105"/>
                <a:gd name="T23" fmla="*/ 32 h 114"/>
                <a:gd name="T24" fmla="*/ 46 w 105"/>
                <a:gd name="T25" fmla="*/ 46 h 114"/>
                <a:gd name="T26" fmla="*/ 34 w 105"/>
                <a:gd name="T27" fmla="*/ 59 h 114"/>
                <a:gd name="T28" fmla="*/ 22 w 105"/>
                <a:gd name="T29" fmla="*/ 46 h 114"/>
                <a:gd name="T30" fmla="*/ 97 w 105"/>
                <a:gd name="T31" fmla="*/ 31 h 114"/>
                <a:gd name="T32" fmla="*/ 53 w 105"/>
                <a:gd name="T33" fmla="*/ 0 h 114"/>
                <a:gd name="T34" fmla="*/ 8 w 105"/>
                <a:gd name="T35" fmla="*/ 31 h 114"/>
                <a:gd name="T36" fmla="*/ 8 w 105"/>
                <a:gd name="T37" fmla="*/ 33 h 114"/>
                <a:gd name="T38" fmla="*/ 0 w 105"/>
                <a:gd name="T39" fmla="*/ 33 h 114"/>
                <a:gd name="T40" fmla="*/ 0 w 105"/>
                <a:gd name="T41" fmla="*/ 39 h 114"/>
                <a:gd name="T42" fmla="*/ 8 w 105"/>
                <a:gd name="T43" fmla="*/ 39 h 114"/>
                <a:gd name="T44" fmla="*/ 13 w 105"/>
                <a:gd name="T45" fmla="*/ 77 h 114"/>
                <a:gd name="T46" fmla="*/ 7 w 105"/>
                <a:gd name="T47" fmla="*/ 82 h 114"/>
                <a:gd name="T48" fmla="*/ 11 w 105"/>
                <a:gd name="T49" fmla="*/ 89 h 114"/>
                <a:gd name="T50" fmla="*/ 18 w 105"/>
                <a:gd name="T51" fmla="*/ 85 h 114"/>
                <a:gd name="T52" fmla="*/ 31 w 105"/>
                <a:gd name="T53" fmla="*/ 96 h 114"/>
                <a:gd name="T54" fmla="*/ 53 w 105"/>
                <a:gd name="T55" fmla="*/ 114 h 114"/>
                <a:gd name="T56" fmla="*/ 75 w 105"/>
                <a:gd name="T57" fmla="*/ 96 h 114"/>
                <a:gd name="T58" fmla="*/ 88 w 105"/>
                <a:gd name="T59" fmla="*/ 85 h 114"/>
                <a:gd name="T60" fmla="*/ 94 w 105"/>
                <a:gd name="T61" fmla="*/ 89 h 114"/>
                <a:gd name="T62" fmla="*/ 98 w 105"/>
                <a:gd name="T63" fmla="*/ 82 h 114"/>
                <a:gd name="T64" fmla="*/ 92 w 105"/>
                <a:gd name="T65" fmla="*/ 78 h 114"/>
                <a:gd name="T66" fmla="*/ 98 w 105"/>
                <a:gd name="T67" fmla="*/ 39 h 114"/>
                <a:gd name="T68" fmla="*/ 104 w 105"/>
                <a:gd name="T69" fmla="*/ 39 h 114"/>
                <a:gd name="T70" fmla="*/ 104 w 105"/>
                <a:gd name="T71" fmla="*/ 32 h 114"/>
                <a:gd name="T72" fmla="*/ 97 w 105"/>
                <a:gd name="T73" fmla="*/ 32 h 114"/>
                <a:gd name="T74" fmla="*/ 97 w 105"/>
                <a:gd name="T75" fmla="*/ 3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" h="114">
                  <a:moveTo>
                    <a:pt x="70" y="59"/>
                  </a:moveTo>
                  <a:cubicBezTo>
                    <a:pt x="63" y="59"/>
                    <a:pt x="58" y="53"/>
                    <a:pt x="58" y="46"/>
                  </a:cubicBezTo>
                  <a:cubicBezTo>
                    <a:pt x="58" y="38"/>
                    <a:pt x="63" y="32"/>
                    <a:pt x="70" y="32"/>
                  </a:cubicBezTo>
                  <a:cubicBezTo>
                    <a:pt x="77" y="32"/>
                    <a:pt x="82" y="38"/>
                    <a:pt x="82" y="46"/>
                  </a:cubicBezTo>
                  <a:cubicBezTo>
                    <a:pt x="82" y="53"/>
                    <a:pt x="77" y="59"/>
                    <a:pt x="70" y="59"/>
                  </a:cubicBezTo>
                  <a:moveTo>
                    <a:pt x="64" y="106"/>
                  </a:moveTo>
                  <a:cubicBezTo>
                    <a:pt x="56" y="112"/>
                    <a:pt x="44" y="110"/>
                    <a:pt x="38" y="102"/>
                  </a:cubicBezTo>
                  <a:cubicBezTo>
                    <a:pt x="32" y="94"/>
                    <a:pt x="34" y="82"/>
                    <a:pt x="42" y="76"/>
                  </a:cubicBezTo>
                  <a:cubicBezTo>
                    <a:pt x="50" y="69"/>
                    <a:pt x="62" y="71"/>
                    <a:pt x="68" y="79"/>
                  </a:cubicBezTo>
                  <a:cubicBezTo>
                    <a:pt x="74" y="88"/>
                    <a:pt x="72" y="99"/>
                    <a:pt x="64" y="106"/>
                  </a:cubicBezTo>
                  <a:moveTo>
                    <a:pt x="22" y="46"/>
                  </a:moveTo>
                  <a:cubicBezTo>
                    <a:pt x="22" y="38"/>
                    <a:pt x="27" y="32"/>
                    <a:pt x="34" y="32"/>
                  </a:cubicBezTo>
                  <a:cubicBezTo>
                    <a:pt x="41" y="32"/>
                    <a:pt x="46" y="38"/>
                    <a:pt x="46" y="46"/>
                  </a:cubicBezTo>
                  <a:cubicBezTo>
                    <a:pt x="46" y="53"/>
                    <a:pt x="41" y="59"/>
                    <a:pt x="34" y="59"/>
                  </a:cubicBezTo>
                  <a:cubicBezTo>
                    <a:pt x="27" y="59"/>
                    <a:pt x="22" y="53"/>
                    <a:pt x="22" y="46"/>
                  </a:cubicBezTo>
                  <a:moveTo>
                    <a:pt x="97" y="31"/>
                  </a:moveTo>
                  <a:cubicBezTo>
                    <a:pt x="89" y="14"/>
                    <a:pt x="71" y="0"/>
                    <a:pt x="53" y="0"/>
                  </a:cubicBezTo>
                  <a:cubicBezTo>
                    <a:pt x="34" y="0"/>
                    <a:pt x="17" y="14"/>
                    <a:pt x="8" y="31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" y="42"/>
                    <a:pt x="4" y="77"/>
                    <a:pt x="13" y="77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21" y="90"/>
                    <a:pt x="26" y="93"/>
                    <a:pt x="31" y="96"/>
                  </a:cubicBezTo>
                  <a:cubicBezTo>
                    <a:pt x="36" y="107"/>
                    <a:pt x="41" y="112"/>
                    <a:pt x="53" y="114"/>
                  </a:cubicBezTo>
                  <a:cubicBezTo>
                    <a:pt x="65" y="113"/>
                    <a:pt x="71" y="107"/>
                    <a:pt x="75" y="96"/>
                  </a:cubicBezTo>
                  <a:cubicBezTo>
                    <a:pt x="81" y="92"/>
                    <a:pt x="84" y="90"/>
                    <a:pt x="88" y="85"/>
                  </a:cubicBezTo>
                  <a:cubicBezTo>
                    <a:pt x="94" y="89"/>
                    <a:pt x="94" y="89"/>
                    <a:pt x="94" y="89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9" y="78"/>
                    <a:pt x="105" y="41"/>
                    <a:pt x="98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97" y="32"/>
                    <a:pt x="97" y="32"/>
                    <a:pt x="97" y="32"/>
                  </a:cubicBezTo>
                  <a:lnTo>
                    <a:pt x="97" y="3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7">
              <a:extLst>
                <a:ext uri="{FF2B5EF4-FFF2-40B4-BE49-F238E27FC236}">
                  <a16:creationId xmlns:a16="http://schemas.microsoft.com/office/drawing/2014/main" id="{2A323688-7C69-42AB-BC67-B2C5E4352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2" y="507"/>
              <a:ext cx="79" cy="80"/>
            </a:xfrm>
            <a:custGeom>
              <a:avLst/>
              <a:gdLst>
                <a:gd name="T0" fmla="*/ 24 w 32"/>
                <a:gd name="T1" fmla="*/ 19 h 33"/>
                <a:gd name="T2" fmla="*/ 21 w 32"/>
                <a:gd name="T3" fmla="*/ 16 h 33"/>
                <a:gd name="T4" fmla="*/ 24 w 32"/>
                <a:gd name="T5" fmla="*/ 14 h 33"/>
                <a:gd name="T6" fmla="*/ 26 w 32"/>
                <a:gd name="T7" fmla="*/ 16 h 33"/>
                <a:gd name="T8" fmla="*/ 24 w 32"/>
                <a:gd name="T9" fmla="*/ 19 h 33"/>
                <a:gd name="T10" fmla="*/ 22 w 32"/>
                <a:gd name="T11" fmla="*/ 25 h 33"/>
                <a:gd name="T12" fmla="*/ 19 w 32"/>
                <a:gd name="T13" fmla="*/ 22 h 33"/>
                <a:gd name="T14" fmla="*/ 22 w 32"/>
                <a:gd name="T15" fmla="*/ 20 h 33"/>
                <a:gd name="T16" fmla="*/ 24 w 32"/>
                <a:gd name="T17" fmla="*/ 22 h 33"/>
                <a:gd name="T18" fmla="*/ 22 w 32"/>
                <a:gd name="T19" fmla="*/ 25 h 33"/>
                <a:gd name="T20" fmla="*/ 16 w 32"/>
                <a:gd name="T21" fmla="*/ 28 h 33"/>
                <a:gd name="T22" fmla="*/ 14 w 32"/>
                <a:gd name="T23" fmla="*/ 25 h 33"/>
                <a:gd name="T24" fmla="*/ 16 w 32"/>
                <a:gd name="T25" fmla="*/ 23 h 33"/>
                <a:gd name="T26" fmla="*/ 18 w 32"/>
                <a:gd name="T27" fmla="*/ 25 h 33"/>
                <a:gd name="T28" fmla="*/ 16 w 32"/>
                <a:gd name="T29" fmla="*/ 28 h 33"/>
                <a:gd name="T30" fmla="*/ 16 w 32"/>
                <a:gd name="T31" fmla="*/ 5 h 33"/>
                <a:gd name="T32" fmla="*/ 18 w 32"/>
                <a:gd name="T33" fmla="*/ 8 h 33"/>
                <a:gd name="T34" fmla="*/ 16 w 32"/>
                <a:gd name="T35" fmla="*/ 10 h 33"/>
                <a:gd name="T36" fmla="*/ 14 w 32"/>
                <a:gd name="T37" fmla="*/ 8 h 33"/>
                <a:gd name="T38" fmla="*/ 16 w 32"/>
                <a:gd name="T39" fmla="*/ 5 h 33"/>
                <a:gd name="T40" fmla="*/ 10 w 32"/>
                <a:gd name="T41" fmla="*/ 13 h 33"/>
                <a:gd name="T42" fmla="*/ 8 w 32"/>
                <a:gd name="T43" fmla="*/ 10 h 33"/>
                <a:gd name="T44" fmla="*/ 10 w 32"/>
                <a:gd name="T45" fmla="*/ 8 h 33"/>
                <a:gd name="T46" fmla="*/ 13 w 32"/>
                <a:gd name="T47" fmla="*/ 10 h 33"/>
                <a:gd name="T48" fmla="*/ 10 w 32"/>
                <a:gd name="T49" fmla="*/ 13 h 33"/>
                <a:gd name="T50" fmla="*/ 10 w 32"/>
                <a:gd name="T51" fmla="*/ 25 h 33"/>
                <a:gd name="T52" fmla="*/ 8 w 32"/>
                <a:gd name="T53" fmla="*/ 22 h 33"/>
                <a:gd name="T54" fmla="*/ 10 w 32"/>
                <a:gd name="T55" fmla="*/ 20 h 33"/>
                <a:gd name="T56" fmla="*/ 13 w 32"/>
                <a:gd name="T57" fmla="*/ 22 h 33"/>
                <a:gd name="T58" fmla="*/ 10 w 32"/>
                <a:gd name="T59" fmla="*/ 25 h 33"/>
                <a:gd name="T60" fmla="*/ 6 w 32"/>
                <a:gd name="T61" fmla="*/ 16 h 33"/>
                <a:gd name="T62" fmla="*/ 8 w 32"/>
                <a:gd name="T63" fmla="*/ 14 h 33"/>
                <a:gd name="T64" fmla="*/ 11 w 32"/>
                <a:gd name="T65" fmla="*/ 16 h 33"/>
                <a:gd name="T66" fmla="*/ 8 w 32"/>
                <a:gd name="T67" fmla="*/ 19 h 33"/>
                <a:gd name="T68" fmla="*/ 6 w 32"/>
                <a:gd name="T69" fmla="*/ 16 h 33"/>
                <a:gd name="T70" fmla="*/ 22 w 32"/>
                <a:gd name="T71" fmla="*/ 8 h 33"/>
                <a:gd name="T72" fmla="*/ 24 w 32"/>
                <a:gd name="T73" fmla="*/ 11 h 33"/>
                <a:gd name="T74" fmla="*/ 22 w 32"/>
                <a:gd name="T75" fmla="*/ 13 h 33"/>
                <a:gd name="T76" fmla="*/ 19 w 32"/>
                <a:gd name="T77" fmla="*/ 11 h 33"/>
                <a:gd name="T78" fmla="*/ 22 w 32"/>
                <a:gd name="T79" fmla="*/ 8 h 33"/>
                <a:gd name="T80" fmla="*/ 7 w 32"/>
                <a:gd name="T81" fmla="*/ 5 h 33"/>
                <a:gd name="T82" fmla="*/ 4 w 32"/>
                <a:gd name="T83" fmla="*/ 25 h 33"/>
                <a:gd name="T84" fmla="*/ 25 w 32"/>
                <a:gd name="T85" fmla="*/ 28 h 33"/>
                <a:gd name="T86" fmla="*/ 28 w 32"/>
                <a:gd name="T87" fmla="*/ 8 h 33"/>
                <a:gd name="T88" fmla="*/ 7 w 32"/>
                <a:gd name="T89" fmla="*/ 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" h="33">
                  <a:moveTo>
                    <a:pt x="24" y="19"/>
                  </a:moveTo>
                  <a:cubicBezTo>
                    <a:pt x="22" y="19"/>
                    <a:pt x="21" y="18"/>
                    <a:pt x="21" y="16"/>
                  </a:cubicBezTo>
                  <a:cubicBezTo>
                    <a:pt x="21" y="15"/>
                    <a:pt x="22" y="14"/>
                    <a:pt x="24" y="14"/>
                  </a:cubicBezTo>
                  <a:cubicBezTo>
                    <a:pt x="25" y="14"/>
                    <a:pt x="26" y="15"/>
                    <a:pt x="26" y="16"/>
                  </a:cubicBezTo>
                  <a:cubicBezTo>
                    <a:pt x="26" y="18"/>
                    <a:pt x="25" y="19"/>
                    <a:pt x="24" y="19"/>
                  </a:cubicBezTo>
                  <a:moveTo>
                    <a:pt x="22" y="25"/>
                  </a:moveTo>
                  <a:cubicBezTo>
                    <a:pt x="20" y="25"/>
                    <a:pt x="19" y="24"/>
                    <a:pt x="19" y="22"/>
                  </a:cubicBezTo>
                  <a:cubicBezTo>
                    <a:pt x="19" y="21"/>
                    <a:pt x="20" y="20"/>
                    <a:pt x="22" y="20"/>
                  </a:cubicBezTo>
                  <a:cubicBezTo>
                    <a:pt x="23" y="20"/>
                    <a:pt x="24" y="21"/>
                    <a:pt x="24" y="22"/>
                  </a:cubicBezTo>
                  <a:cubicBezTo>
                    <a:pt x="24" y="24"/>
                    <a:pt x="23" y="25"/>
                    <a:pt x="22" y="25"/>
                  </a:cubicBezTo>
                  <a:moveTo>
                    <a:pt x="16" y="28"/>
                  </a:moveTo>
                  <a:cubicBezTo>
                    <a:pt x="15" y="28"/>
                    <a:pt x="14" y="26"/>
                    <a:pt x="14" y="25"/>
                  </a:cubicBezTo>
                  <a:cubicBezTo>
                    <a:pt x="14" y="24"/>
                    <a:pt x="15" y="23"/>
                    <a:pt x="16" y="23"/>
                  </a:cubicBezTo>
                  <a:cubicBezTo>
                    <a:pt x="17" y="23"/>
                    <a:pt x="18" y="24"/>
                    <a:pt x="18" y="25"/>
                  </a:cubicBezTo>
                  <a:cubicBezTo>
                    <a:pt x="18" y="26"/>
                    <a:pt x="17" y="28"/>
                    <a:pt x="16" y="28"/>
                  </a:cubicBezTo>
                  <a:moveTo>
                    <a:pt x="16" y="5"/>
                  </a:moveTo>
                  <a:cubicBezTo>
                    <a:pt x="17" y="5"/>
                    <a:pt x="18" y="7"/>
                    <a:pt x="18" y="8"/>
                  </a:cubicBezTo>
                  <a:cubicBezTo>
                    <a:pt x="18" y="9"/>
                    <a:pt x="17" y="10"/>
                    <a:pt x="16" y="10"/>
                  </a:cubicBezTo>
                  <a:cubicBezTo>
                    <a:pt x="15" y="10"/>
                    <a:pt x="14" y="9"/>
                    <a:pt x="14" y="8"/>
                  </a:cubicBezTo>
                  <a:cubicBezTo>
                    <a:pt x="14" y="7"/>
                    <a:pt x="15" y="5"/>
                    <a:pt x="16" y="5"/>
                  </a:cubicBezTo>
                  <a:moveTo>
                    <a:pt x="10" y="13"/>
                  </a:moveTo>
                  <a:cubicBezTo>
                    <a:pt x="9" y="13"/>
                    <a:pt x="8" y="12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3" y="12"/>
                    <a:pt x="12" y="13"/>
                    <a:pt x="10" y="13"/>
                  </a:cubicBezTo>
                  <a:moveTo>
                    <a:pt x="10" y="25"/>
                  </a:moveTo>
                  <a:cubicBezTo>
                    <a:pt x="9" y="25"/>
                    <a:pt x="8" y="24"/>
                    <a:pt x="8" y="22"/>
                  </a:cubicBezTo>
                  <a:cubicBezTo>
                    <a:pt x="8" y="21"/>
                    <a:pt x="9" y="20"/>
                    <a:pt x="10" y="20"/>
                  </a:cubicBezTo>
                  <a:cubicBezTo>
                    <a:pt x="12" y="20"/>
                    <a:pt x="13" y="21"/>
                    <a:pt x="13" y="22"/>
                  </a:cubicBezTo>
                  <a:cubicBezTo>
                    <a:pt x="13" y="24"/>
                    <a:pt x="12" y="25"/>
                    <a:pt x="10" y="25"/>
                  </a:cubicBezTo>
                  <a:moveTo>
                    <a:pt x="6" y="16"/>
                  </a:moveTo>
                  <a:cubicBezTo>
                    <a:pt x="6" y="15"/>
                    <a:pt x="7" y="14"/>
                    <a:pt x="8" y="14"/>
                  </a:cubicBezTo>
                  <a:cubicBezTo>
                    <a:pt x="10" y="14"/>
                    <a:pt x="11" y="15"/>
                    <a:pt x="11" y="16"/>
                  </a:cubicBezTo>
                  <a:cubicBezTo>
                    <a:pt x="11" y="18"/>
                    <a:pt x="10" y="19"/>
                    <a:pt x="8" y="19"/>
                  </a:cubicBezTo>
                  <a:cubicBezTo>
                    <a:pt x="7" y="19"/>
                    <a:pt x="6" y="18"/>
                    <a:pt x="6" y="16"/>
                  </a:cubicBezTo>
                  <a:moveTo>
                    <a:pt x="22" y="8"/>
                  </a:moveTo>
                  <a:cubicBezTo>
                    <a:pt x="23" y="8"/>
                    <a:pt x="24" y="9"/>
                    <a:pt x="24" y="11"/>
                  </a:cubicBezTo>
                  <a:cubicBezTo>
                    <a:pt x="24" y="12"/>
                    <a:pt x="23" y="13"/>
                    <a:pt x="22" y="13"/>
                  </a:cubicBezTo>
                  <a:cubicBezTo>
                    <a:pt x="20" y="13"/>
                    <a:pt x="19" y="12"/>
                    <a:pt x="19" y="11"/>
                  </a:cubicBezTo>
                  <a:cubicBezTo>
                    <a:pt x="19" y="9"/>
                    <a:pt x="20" y="8"/>
                    <a:pt x="22" y="8"/>
                  </a:cubicBezTo>
                  <a:moveTo>
                    <a:pt x="7" y="5"/>
                  </a:moveTo>
                  <a:cubicBezTo>
                    <a:pt x="1" y="10"/>
                    <a:pt x="0" y="19"/>
                    <a:pt x="4" y="25"/>
                  </a:cubicBezTo>
                  <a:cubicBezTo>
                    <a:pt x="9" y="32"/>
                    <a:pt x="18" y="33"/>
                    <a:pt x="25" y="28"/>
                  </a:cubicBezTo>
                  <a:cubicBezTo>
                    <a:pt x="31" y="24"/>
                    <a:pt x="32" y="14"/>
                    <a:pt x="28" y="8"/>
                  </a:cubicBezTo>
                  <a:cubicBezTo>
                    <a:pt x="23" y="1"/>
                    <a:pt x="14" y="0"/>
                    <a:pt x="7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40">
            <a:extLst>
              <a:ext uri="{FF2B5EF4-FFF2-40B4-BE49-F238E27FC236}">
                <a16:creationId xmlns:a16="http://schemas.microsoft.com/office/drawing/2014/main" id="{B3D3A5BB-683B-4098-8E9B-74CA25E606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68850" y="284163"/>
            <a:ext cx="841375" cy="841375"/>
            <a:chOff x="3004" y="179"/>
            <a:chExt cx="530" cy="530"/>
          </a:xfrm>
        </p:grpSpPr>
        <p:sp>
          <p:nvSpPr>
            <p:cNvPr id="56" name="AutoShape 39">
              <a:extLst>
                <a:ext uri="{FF2B5EF4-FFF2-40B4-BE49-F238E27FC236}">
                  <a16:creationId xmlns:a16="http://schemas.microsoft.com/office/drawing/2014/main" id="{FFEFD153-7117-4396-9F62-46342292D0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4" y="1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41">
              <a:extLst>
                <a:ext uri="{FF2B5EF4-FFF2-40B4-BE49-F238E27FC236}">
                  <a16:creationId xmlns:a16="http://schemas.microsoft.com/office/drawing/2014/main" id="{2A9AAE8F-EA2A-477B-B4FB-403EDC39C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4" y="1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2">
              <a:extLst>
                <a:ext uri="{FF2B5EF4-FFF2-40B4-BE49-F238E27FC236}">
                  <a16:creationId xmlns:a16="http://schemas.microsoft.com/office/drawing/2014/main" id="{A30B4223-BF44-40B2-81D9-E82CDE107B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2" y="1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3">
              <a:extLst>
                <a:ext uri="{FF2B5EF4-FFF2-40B4-BE49-F238E27FC236}">
                  <a16:creationId xmlns:a16="http://schemas.microsoft.com/office/drawing/2014/main" id="{E7699FB1-31BC-4795-BD2E-A83A7691A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1" y="261"/>
              <a:ext cx="318" cy="369"/>
            </a:xfrm>
            <a:custGeom>
              <a:avLst/>
              <a:gdLst>
                <a:gd name="T0" fmla="*/ 115 w 124"/>
                <a:gd name="T1" fmla="*/ 89 h 144"/>
                <a:gd name="T2" fmla="*/ 108 w 124"/>
                <a:gd name="T3" fmla="*/ 100 h 144"/>
                <a:gd name="T4" fmla="*/ 105 w 124"/>
                <a:gd name="T5" fmla="*/ 99 h 144"/>
                <a:gd name="T6" fmla="*/ 103 w 124"/>
                <a:gd name="T7" fmla="*/ 97 h 144"/>
                <a:gd name="T8" fmla="*/ 102 w 124"/>
                <a:gd name="T9" fmla="*/ 100 h 144"/>
                <a:gd name="T10" fmla="*/ 62 w 124"/>
                <a:gd name="T11" fmla="*/ 141 h 144"/>
                <a:gd name="T12" fmla="*/ 62 w 124"/>
                <a:gd name="T13" fmla="*/ 141 h 144"/>
                <a:gd name="T14" fmla="*/ 22 w 124"/>
                <a:gd name="T15" fmla="*/ 100 h 144"/>
                <a:gd name="T16" fmla="*/ 21 w 124"/>
                <a:gd name="T17" fmla="*/ 97 h 144"/>
                <a:gd name="T18" fmla="*/ 19 w 124"/>
                <a:gd name="T19" fmla="*/ 99 h 144"/>
                <a:gd name="T20" fmla="*/ 16 w 124"/>
                <a:gd name="T21" fmla="*/ 100 h 144"/>
                <a:gd name="T22" fmla="*/ 9 w 124"/>
                <a:gd name="T23" fmla="*/ 89 h 144"/>
                <a:gd name="T24" fmla="*/ 6 w 124"/>
                <a:gd name="T25" fmla="*/ 67 h 144"/>
                <a:gd name="T26" fmla="*/ 10 w 124"/>
                <a:gd name="T27" fmla="*/ 66 h 144"/>
                <a:gd name="T28" fmla="*/ 13 w 124"/>
                <a:gd name="T29" fmla="*/ 67 h 144"/>
                <a:gd name="T30" fmla="*/ 12 w 124"/>
                <a:gd name="T31" fmla="*/ 64 h 144"/>
                <a:gd name="T32" fmla="*/ 22 w 124"/>
                <a:gd name="T33" fmla="*/ 19 h 144"/>
                <a:gd name="T34" fmla="*/ 61 w 124"/>
                <a:gd name="T35" fmla="*/ 3 h 144"/>
                <a:gd name="T36" fmla="*/ 63 w 124"/>
                <a:gd name="T37" fmla="*/ 3 h 144"/>
                <a:gd name="T38" fmla="*/ 102 w 124"/>
                <a:gd name="T39" fmla="*/ 19 h 144"/>
                <a:gd name="T40" fmla="*/ 112 w 124"/>
                <a:gd name="T41" fmla="*/ 64 h 144"/>
                <a:gd name="T42" fmla="*/ 111 w 124"/>
                <a:gd name="T43" fmla="*/ 67 h 144"/>
                <a:gd name="T44" fmla="*/ 114 w 124"/>
                <a:gd name="T45" fmla="*/ 66 h 144"/>
                <a:gd name="T46" fmla="*/ 118 w 124"/>
                <a:gd name="T47" fmla="*/ 67 h 144"/>
                <a:gd name="T48" fmla="*/ 115 w 124"/>
                <a:gd name="T49" fmla="*/ 89 h 144"/>
                <a:gd name="T50" fmla="*/ 121 w 124"/>
                <a:gd name="T51" fmla="*/ 65 h 144"/>
                <a:gd name="T52" fmla="*/ 116 w 124"/>
                <a:gd name="T53" fmla="*/ 63 h 144"/>
                <a:gd name="T54" fmla="*/ 104 w 124"/>
                <a:gd name="T55" fmla="*/ 16 h 144"/>
                <a:gd name="T56" fmla="*/ 63 w 124"/>
                <a:gd name="T57" fmla="*/ 0 h 144"/>
                <a:gd name="T58" fmla="*/ 61 w 124"/>
                <a:gd name="T59" fmla="*/ 0 h 144"/>
                <a:gd name="T60" fmla="*/ 20 w 124"/>
                <a:gd name="T61" fmla="*/ 16 h 144"/>
                <a:gd name="T62" fmla="*/ 8 w 124"/>
                <a:gd name="T63" fmla="*/ 63 h 144"/>
                <a:gd name="T64" fmla="*/ 3 w 124"/>
                <a:gd name="T65" fmla="*/ 65 h 144"/>
                <a:gd name="T66" fmla="*/ 6 w 124"/>
                <a:gd name="T67" fmla="*/ 90 h 144"/>
                <a:gd name="T68" fmla="*/ 16 w 124"/>
                <a:gd name="T69" fmla="*/ 103 h 144"/>
                <a:gd name="T70" fmla="*/ 19 w 124"/>
                <a:gd name="T71" fmla="*/ 103 h 144"/>
                <a:gd name="T72" fmla="*/ 61 w 124"/>
                <a:gd name="T73" fmla="*/ 144 h 144"/>
                <a:gd name="T74" fmla="*/ 63 w 124"/>
                <a:gd name="T75" fmla="*/ 144 h 144"/>
                <a:gd name="T76" fmla="*/ 63 w 124"/>
                <a:gd name="T77" fmla="*/ 144 h 144"/>
                <a:gd name="T78" fmla="*/ 105 w 124"/>
                <a:gd name="T79" fmla="*/ 103 h 144"/>
                <a:gd name="T80" fmla="*/ 108 w 124"/>
                <a:gd name="T81" fmla="*/ 103 h 144"/>
                <a:gd name="T82" fmla="*/ 118 w 124"/>
                <a:gd name="T83" fmla="*/ 90 h 144"/>
                <a:gd name="T84" fmla="*/ 121 w 124"/>
                <a:gd name="T85" fmla="*/ 6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44">
                  <a:moveTo>
                    <a:pt x="115" y="89"/>
                  </a:moveTo>
                  <a:cubicBezTo>
                    <a:pt x="112" y="98"/>
                    <a:pt x="109" y="99"/>
                    <a:pt x="108" y="100"/>
                  </a:cubicBezTo>
                  <a:cubicBezTo>
                    <a:pt x="106" y="100"/>
                    <a:pt x="105" y="99"/>
                    <a:pt x="105" y="99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32"/>
                    <a:pt x="65" y="140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59" y="140"/>
                    <a:pt x="26" y="132"/>
                    <a:pt x="22" y="100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8" y="100"/>
                    <a:pt x="16" y="100"/>
                  </a:cubicBezTo>
                  <a:cubicBezTo>
                    <a:pt x="15" y="99"/>
                    <a:pt x="12" y="98"/>
                    <a:pt x="9" y="89"/>
                  </a:cubicBezTo>
                  <a:cubicBezTo>
                    <a:pt x="4" y="74"/>
                    <a:pt x="4" y="69"/>
                    <a:pt x="6" y="67"/>
                  </a:cubicBezTo>
                  <a:cubicBezTo>
                    <a:pt x="6" y="67"/>
                    <a:pt x="7" y="66"/>
                    <a:pt x="10" y="66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4"/>
                    <a:pt x="7" y="36"/>
                    <a:pt x="22" y="19"/>
                  </a:cubicBezTo>
                  <a:cubicBezTo>
                    <a:pt x="31" y="8"/>
                    <a:pt x="44" y="3"/>
                    <a:pt x="61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80" y="3"/>
                    <a:pt x="93" y="8"/>
                    <a:pt x="102" y="19"/>
                  </a:cubicBezTo>
                  <a:cubicBezTo>
                    <a:pt x="117" y="36"/>
                    <a:pt x="112" y="64"/>
                    <a:pt x="112" y="64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7" y="66"/>
                    <a:pt x="118" y="67"/>
                    <a:pt x="118" y="67"/>
                  </a:cubicBezTo>
                  <a:cubicBezTo>
                    <a:pt x="120" y="69"/>
                    <a:pt x="120" y="74"/>
                    <a:pt x="115" y="89"/>
                  </a:cubicBezTo>
                  <a:moveTo>
                    <a:pt x="121" y="65"/>
                  </a:moveTo>
                  <a:cubicBezTo>
                    <a:pt x="120" y="64"/>
                    <a:pt x="118" y="63"/>
                    <a:pt x="116" y="63"/>
                  </a:cubicBezTo>
                  <a:cubicBezTo>
                    <a:pt x="116" y="56"/>
                    <a:pt x="118" y="33"/>
                    <a:pt x="104" y="16"/>
                  </a:cubicBezTo>
                  <a:cubicBezTo>
                    <a:pt x="95" y="6"/>
                    <a:pt x="81" y="0"/>
                    <a:pt x="6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43" y="0"/>
                    <a:pt x="29" y="6"/>
                    <a:pt x="20" y="16"/>
                  </a:cubicBezTo>
                  <a:cubicBezTo>
                    <a:pt x="6" y="33"/>
                    <a:pt x="8" y="56"/>
                    <a:pt x="8" y="63"/>
                  </a:cubicBezTo>
                  <a:cubicBezTo>
                    <a:pt x="6" y="63"/>
                    <a:pt x="4" y="64"/>
                    <a:pt x="3" y="65"/>
                  </a:cubicBezTo>
                  <a:cubicBezTo>
                    <a:pt x="0" y="69"/>
                    <a:pt x="1" y="77"/>
                    <a:pt x="6" y="90"/>
                  </a:cubicBezTo>
                  <a:cubicBezTo>
                    <a:pt x="9" y="98"/>
                    <a:pt x="12" y="102"/>
                    <a:pt x="16" y="103"/>
                  </a:cubicBezTo>
                  <a:cubicBezTo>
                    <a:pt x="17" y="103"/>
                    <a:pt x="18" y="103"/>
                    <a:pt x="19" y="103"/>
                  </a:cubicBezTo>
                  <a:cubicBezTo>
                    <a:pt x="25" y="136"/>
                    <a:pt x="61" y="144"/>
                    <a:pt x="61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44"/>
                    <a:pt x="99" y="136"/>
                    <a:pt x="105" y="103"/>
                  </a:cubicBezTo>
                  <a:cubicBezTo>
                    <a:pt x="106" y="103"/>
                    <a:pt x="107" y="103"/>
                    <a:pt x="108" y="103"/>
                  </a:cubicBezTo>
                  <a:cubicBezTo>
                    <a:pt x="112" y="102"/>
                    <a:pt x="115" y="98"/>
                    <a:pt x="118" y="90"/>
                  </a:cubicBezTo>
                  <a:cubicBezTo>
                    <a:pt x="123" y="77"/>
                    <a:pt x="124" y="69"/>
                    <a:pt x="121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4">
              <a:extLst>
                <a:ext uri="{FF2B5EF4-FFF2-40B4-BE49-F238E27FC236}">
                  <a16:creationId xmlns:a16="http://schemas.microsoft.com/office/drawing/2014/main" id="{7AB0155F-B817-4A52-BDFE-7E6AD7790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6" y="425"/>
              <a:ext cx="169" cy="148"/>
            </a:xfrm>
            <a:custGeom>
              <a:avLst/>
              <a:gdLst>
                <a:gd name="T0" fmla="*/ 125 w 169"/>
                <a:gd name="T1" fmla="*/ 130 h 148"/>
                <a:gd name="T2" fmla="*/ 43 w 169"/>
                <a:gd name="T3" fmla="*/ 130 h 148"/>
                <a:gd name="T4" fmla="*/ 20 w 169"/>
                <a:gd name="T5" fmla="*/ 56 h 148"/>
                <a:gd name="T6" fmla="*/ 84 w 169"/>
                <a:gd name="T7" fmla="*/ 15 h 148"/>
                <a:gd name="T8" fmla="*/ 148 w 169"/>
                <a:gd name="T9" fmla="*/ 56 h 148"/>
                <a:gd name="T10" fmla="*/ 125 w 169"/>
                <a:gd name="T11" fmla="*/ 130 h 148"/>
                <a:gd name="T12" fmla="*/ 84 w 169"/>
                <a:gd name="T13" fmla="*/ 0 h 148"/>
                <a:gd name="T14" fmla="*/ 0 w 169"/>
                <a:gd name="T15" fmla="*/ 51 h 148"/>
                <a:gd name="T16" fmla="*/ 30 w 169"/>
                <a:gd name="T17" fmla="*/ 148 h 148"/>
                <a:gd name="T18" fmla="*/ 138 w 169"/>
                <a:gd name="T19" fmla="*/ 148 h 148"/>
                <a:gd name="T20" fmla="*/ 169 w 169"/>
                <a:gd name="T21" fmla="*/ 51 h 148"/>
                <a:gd name="T22" fmla="*/ 84 w 169"/>
                <a:gd name="T2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9" h="148">
                  <a:moveTo>
                    <a:pt x="125" y="130"/>
                  </a:moveTo>
                  <a:lnTo>
                    <a:pt x="43" y="130"/>
                  </a:lnTo>
                  <a:lnTo>
                    <a:pt x="20" y="56"/>
                  </a:lnTo>
                  <a:lnTo>
                    <a:pt x="84" y="15"/>
                  </a:lnTo>
                  <a:lnTo>
                    <a:pt x="148" y="56"/>
                  </a:lnTo>
                  <a:lnTo>
                    <a:pt x="125" y="130"/>
                  </a:lnTo>
                  <a:close/>
                  <a:moveTo>
                    <a:pt x="84" y="0"/>
                  </a:moveTo>
                  <a:lnTo>
                    <a:pt x="0" y="51"/>
                  </a:lnTo>
                  <a:lnTo>
                    <a:pt x="30" y="148"/>
                  </a:lnTo>
                  <a:lnTo>
                    <a:pt x="138" y="148"/>
                  </a:lnTo>
                  <a:lnTo>
                    <a:pt x="169" y="51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5">
              <a:extLst>
                <a:ext uri="{FF2B5EF4-FFF2-40B4-BE49-F238E27FC236}">
                  <a16:creationId xmlns:a16="http://schemas.microsoft.com/office/drawing/2014/main" id="{506B82AA-A6E8-471D-91BC-E8A3C7A7B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4" y="450"/>
              <a:ext cx="113" cy="98"/>
            </a:xfrm>
            <a:custGeom>
              <a:avLst/>
              <a:gdLst>
                <a:gd name="T0" fmla="*/ 56 w 113"/>
                <a:gd name="T1" fmla="*/ 0 h 98"/>
                <a:gd name="T2" fmla="*/ 0 w 113"/>
                <a:gd name="T3" fmla="*/ 34 h 98"/>
                <a:gd name="T4" fmla="*/ 20 w 113"/>
                <a:gd name="T5" fmla="*/ 98 h 98"/>
                <a:gd name="T6" fmla="*/ 92 w 113"/>
                <a:gd name="T7" fmla="*/ 98 h 98"/>
                <a:gd name="T8" fmla="*/ 113 w 113"/>
                <a:gd name="T9" fmla="*/ 34 h 98"/>
                <a:gd name="T10" fmla="*/ 56 w 113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98">
                  <a:moveTo>
                    <a:pt x="56" y="0"/>
                  </a:moveTo>
                  <a:lnTo>
                    <a:pt x="0" y="34"/>
                  </a:lnTo>
                  <a:lnTo>
                    <a:pt x="20" y="98"/>
                  </a:lnTo>
                  <a:lnTo>
                    <a:pt x="92" y="98"/>
                  </a:lnTo>
                  <a:lnTo>
                    <a:pt x="113" y="3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6">
              <a:extLst>
                <a:ext uri="{FF2B5EF4-FFF2-40B4-BE49-F238E27FC236}">
                  <a16:creationId xmlns:a16="http://schemas.microsoft.com/office/drawing/2014/main" id="{4609C201-4680-42F8-89FC-B01901336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4" y="422"/>
              <a:ext cx="64" cy="59"/>
            </a:xfrm>
            <a:custGeom>
              <a:avLst/>
              <a:gdLst>
                <a:gd name="T0" fmla="*/ 59 w 64"/>
                <a:gd name="T1" fmla="*/ 59 h 59"/>
                <a:gd name="T2" fmla="*/ 0 w 64"/>
                <a:gd name="T3" fmla="*/ 8 h 59"/>
                <a:gd name="T4" fmla="*/ 8 w 64"/>
                <a:gd name="T5" fmla="*/ 0 h 59"/>
                <a:gd name="T6" fmla="*/ 64 w 64"/>
                <a:gd name="T7" fmla="*/ 54 h 59"/>
                <a:gd name="T8" fmla="*/ 59 w 64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9">
                  <a:moveTo>
                    <a:pt x="59" y="59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64" y="54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7">
              <a:extLst>
                <a:ext uri="{FF2B5EF4-FFF2-40B4-BE49-F238E27FC236}">
                  <a16:creationId xmlns:a16="http://schemas.microsoft.com/office/drawing/2014/main" id="{6240AF59-5A26-4E40-A5FE-041394060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" y="422"/>
              <a:ext cx="64" cy="59"/>
            </a:xfrm>
            <a:custGeom>
              <a:avLst/>
              <a:gdLst>
                <a:gd name="T0" fmla="*/ 5 w 64"/>
                <a:gd name="T1" fmla="*/ 59 h 59"/>
                <a:gd name="T2" fmla="*/ 0 w 64"/>
                <a:gd name="T3" fmla="*/ 54 h 59"/>
                <a:gd name="T4" fmla="*/ 56 w 64"/>
                <a:gd name="T5" fmla="*/ 0 h 59"/>
                <a:gd name="T6" fmla="*/ 64 w 64"/>
                <a:gd name="T7" fmla="*/ 8 h 59"/>
                <a:gd name="T8" fmla="*/ 5 w 64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9">
                  <a:moveTo>
                    <a:pt x="5" y="59"/>
                  </a:moveTo>
                  <a:lnTo>
                    <a:pt x="0" y="54"/>
                  </a:lnTo>
                  <a:lnTo>
                    <a:pt x="56" y="0"/>
                  </a:lnTo>
                  <a:lnTo>
                    <a:pt x="64" y="8"/>
                  </a:lnTo>
                  <a:lnTo>
                    <a:pt x="5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50">
            <a:extLst>
              <a:ext uri="{FF2B5EF4-FFF2-40B4-BE49-F238E27FC236}">
                <a16:creationId xmlns:a16="http://schemas.microsoft.com/office/drawing/2014/main" id="{9B595311-7574-4D1C-AF47-90632A0C2D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7875" y="325438"/>
            <a:ext cx="760413" cy="758825"/>
            <a:chOff x="3690" y="205"/>
            <a:chExt cx="479" cy="478"/>
          </a:xfrm>
        </p:grpSpPr>
        <p:sp>
          <p:nvSpPr>
            <p:cNvPr id="65" name="AutoShape 49">
              <a:extLst>
                <a:ext uri="{FF2B5EF4-FFF2-40B4-BE49-F238E27FC236}">
                  <a16:creationId xmlns:a16="http://schemas.microsoft.com/office/drawing/2014/main" id="{C9149D45-643C-4C02-B46E-CAB3DCED3E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0" y="20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1">
              <a:extLst>
                <a:ext uri="{FF2B5EF4-FFF2-40B4-BE49-F238E27FC236}">
                  <a16:creationId xmlns:a16="http://schemas.microsoft.com/office/drawing/2014/main" id="{A5858BD9-BFEB-48C2-A66F-3EAC71CA0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2" y="20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2">
              <a:extLst>
                <a:ext uri="{FF2B5EF4-FFF2-40B4-BE49-F238E27FC236}">
                  <a16:creationId xmlns:a16="http://schemas.microsoft.com/office/drawing/2014/main" id="{55CDA463-E4E5-4AE4-9A97-10AFA161D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" y="269"/>
              <a:ext cx="305" cy="353"/>
            </a:xfrm>
            <a:custGeom>
              <a:avLst/>
              <a:gdLst>
                <a:gd name="T0" fmla="*/ 115 w 124"/>
                <a:gd name="T1" fmla="*/ 89 h 144"/>
                <a:gd name="T2" fmla="*/ 108 w 124"/>
                <a:gd name="T3" fmla="*/ 100 h 144"/>
                <a:gd name="T4" fmla="*/ 105 w 124"/>
                <a:gd name="T5" fmla="*/ 99 h 144"/>
                <a:gd name="T6" fmla="*/ 103 w 124"/>
                <a:gd name="T7" fmla="*/ 97 h 144"/>
                <a:gd name="T8" fmla="*/ 102 w 124"/>
                <a:gd name="T9" fmla="*/ 100 h 144"/>
                <a:gd name="T10" fmla="*/ 62 w 124"/>
                <a:gd name="T11" fmla="*/ 141 h 144"/>
                <a:gd name="T12" fmla="*/ 62 w 124"/>
                <a:gd name="T13" fmla="*/ 141 h 144"/>
                <a:gd name="T14" fmla="*/ 22 w 124"/>
                <a:gd name="T15" fmla="*/ 100 h 144"/>
                <a:gd name="T16" fmla="*/ 21 w 124"/>
                <a:gd name="T17" fmla="*/ 97 h 144"/>
                <a:gd name="T18" fmla="*/ 19 w 124"/>
                <a:gd name="T19" fmla="*/ 99 h 144"/>
                <a:gd name="T20" fmla="*/ 16 w 124"/>
                <a:gd name="T21" fmla="*/ 100 h 144"/>
                <a:gd name="T22" fmla="*/ 9 w 124"/>
                <a:gd name="T23" fmla="*/ 89 h 144"/>
                <a:gd name="T24" fmla="*/ 6 w 124"/>
                <a:gd name="T25" fmla="*/ 67 h 144"/>
                <a:gd name="T26" fmla="*/ 10 w 124"/>
                <a:gd name="T27" fmla="*/ 66 h 144"/>
                <a:gd name="T28" fmla="*/ 13 w 124"/>
                <a:gd name="T29" fmla="*/ 67 h 144"/>
                <a:gd name="T30" fmla="*/ 12 w 124"/>
                <a:gd name="T31" fmla="*/ 64 h 144"/>
                <a:gd name="T32" fmla="*/ 22 w 124"/>
                <a:gd name="T33" fmla="*/ 19 h 144"/>
                <a:gd name="T34" fmla="*/ 61 w 124"/>
                <a:gd name="T35" fmla="*/ 3 h 144"/>
                <a:gd name="T36" fmla="*/ 63 w 124"/>
                <a:gd name="T37" fmla="*/ 3 h 144"/>
                <a:gd name="T38" fmla="*/ 102 w 124"/>
                <a:gd name="T39" fmla="*/ 19 h 144"/>
                <a:gd name="T40" fmla="*/ 112 w 124"/>
                <a:gd name="T41" fmla="*/ 64 h 144"/>
                <a:gd name="T42" fmla="*/ 111 w 124"/>
                <a:gd name="T43" fmla="*/ 67 h 144"/>
                <a:gd name="T44" fmla="*/ 114 w 124"/>
                <a:gd name="T45" fmla="*/ 66 h 144"/>
                <a:gd name="T46" fmla="*/ 118 w 124"/>
                <a:gd name="T47" fmla="*/ 67 h 144"/>
                <a:gd name="T48" fmla="*/ 115 w 124"/>
                <a:gd name="T49" fmla="*/ 89 h 144"/>
                <a:gd name="T50" fmla="*/ 121 w 124"/>
                <a:gd name="T51" fmla="*/ 65 h 144"/>
                <a:gd name="T52" fmla="*/ 116 w 124"/>
                <a:gd name="T53" fmla="*/ 63 h 144"/>
                <a:gd name="T54" fmla="*/ 104 w 124"/>
                <a:gd name="T55" fmla="*/ 16 h 144"/>
                <a:gd name="T56" fmla="*/ 63 w 124"/>
                <a:gd name="T57" fmla="*/ 0 h 144"/>
                <a:gd name="T58" fmla="*/ 61 w 124"/>
                <a:gd name="T59" fmla="*/ 0 h 144"/>
                <a:gd name="T60" fmla="*/ 20 w 124"/>
                <a:gd name="T61" fmla="*/ 16 h 144"/>
                <a:gd name="T62" fmla="*/ 8 w 124"/>
                <a:gd name="T63" fmla="*/ 63 h 144"/>
                <a:gd name="T64" fmla="*/ 3 w 124"/>
                <a:gd name="T65" fmla="*/ 65 h 144"/>
                <a:gd name="T66" fmla="*/ 6 w 124"/>
                <a:gd name="T67" fmla="*/ 90 h 144"/>
                <a:gd name="T68" fmla="*/ 16 w 124"/>
                <a:gd name="T69" fmla="*/ 103 h 144"/>
                <a:gd name="T70" fmla="*/ 19 w 124"/>
                <a:gd name="T71" fmla="*/ 103 h 144"/>
                <a:gd name="T72" fmla="*/ 61 w 124"/>
                <a:gd name="T73" fmla="*/ 144 h 144"/>
                <a:gd name="T74" fmla="*/ 63 w 124"/>
                <a:gd name="T75" fmla="*/ 144 h 144"/>
                <a:gd name="T76" fmla="*/ 63 w 124"/>
                <a:gd name="T77" fmla="*/ 144 h 144"/>
                <a:gd name="T78" fmla="*/ 105 w 124"/>
                <a:gd name="T79" fmla="*/ 103 h 144"/>
                <a:gd name="T80" fmla="*/ 108 w 124"/>
                <a:gd name="T81" fmla="*/ 103 h 144"/>
                <a:gd name="T82" fmla="*/ 118 w 124"/>
                <a:gd name="T83" fmla="*/ 90 h 144"/>
                <a:gd name="T84" fmla="*/ 121 w 124"/>
                <a:gd name="T85" fmla="*/ 6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44">
                  <a:moveTo>
                    <a:pt x="115" y="89"/>
                  </a:moveTo>
                  <a:cubicBezTo>
                    <a:pt x="112" y="98"/>
                    <a:pt x="109" y="99"/>
                    <a:pt x="108" y="100"/>
                  </a:cubicBezTo>
                  <a:cubicBezTo>
                    <a:pt x="106" y="100"/>
                    <a:pt x="105" y="99"/>
                    <a:pt x="105" y="99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98" y="132"/>
                    <a:pt x="65" y="140"/>
                    <a:pt x="62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59" y="140"/>
                    <a:pt x="26" y="132"/>
                    <a:pt x="22" y="100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8" y="100"/>
                    <a:pt x="16" y="100"/>
                  </a:cubicBezTo>
                  <a:cubicBezTo>
                    <a:pt x="15" y="99"/>
                    <a:pt x="12" y="98"/>
                    <a:pt x="9" y="89"/>
                  </a:cubicBezTo>
                  <a:cubicBezTo>
                    <a:pt x="4" y="74"/>
                    <a:pt x="4" y="69"/>
                    <a:pt x="6" y="67"/>
                  </a:cubicBezTo>
                  <a:cubicBezTo>
                    <a:pt x="6" y="67"/>
                    <a:pt x="7" y="66"/>
                    <a:pt x="10" y="66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4"/>
                    <a:pt x="7" y="36"/>
                    <a:pt x="22" y="19"/>
                  </a:cubicBezTo>
                  <a:cubicBezTo>
                    <a:pt x="31" y="8"/>
                    <a:pt x="44" y="3"/>
                    <a:pt x="61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80" y="3"/>
                    <a:pt x="93" y="8"/>
                    <a:pt x="102" y="19"/>
                  </a:cubicBezTo>
                  <a:cubicBezTo>
                    <a:pt x="117" y="36"/>
                    <a:pt x="112" y="64"/>
                    <a:pt x="112" y="64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7" y="66"/>
                    <a:pt x="118" y="67"/>
                    <a:pt x="118" y="67"/>
                  </a:cubicBezTo>
                  <a:cubicBezTo>
                    <a:pt x="120" y="69"/>
                    <a:pt x="120" y="74"/>
                    <a:pt x="115" y="89"/>
                  </a:cubicBezTo>
                  <a:moveTo>
                    <a:pt x="121" y="65"/>
                  </a:moveTo>
                  <a:cubicBezTo>
                    <a:pt x="120" y="64"/>
                    <a:pt x="118" y="63"/>
                    <a:pt x="116" y="63"/>
                  </a:cubicBezTo>
                  <a:cubicBezTo>
                    <a:pt x="116" y="56"/>
                    <a:pt x="118" y="33"/>
                    <a:pt x="104" y="16"/>
                  </a:cubicBezTo>
                  <a:cubicBezTo>
                    <a:pt x="95" y="6"/>
                    <a:pt x="81" y="0"/>
                    <a:pt x="6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43" y="0"/>
                    <a:pt x="29" y="6"/>
                    <a:pt x="20" y="16"/>
                  </a:cubicBezTo>
                  <a:cubicBezTo>
                    <a:pt x="6" y="33"/>
                    <a:pt x="8" y="56"/>
                    <a:pt x="8" y="63"/>
                  </a:cubicBezTo>
                  <a:cubicBezTo>
                    <a:pt x="6" y="63"/>
                    <a:pt x="4" y="64"/>
                    <a:pt x="3" y="65"/>
                  </a:cubicBezTo>
                  <a:cubicBezTo>
                    <a:pt x="0" y="69"/>
                    <a:pt x="1" y="77"/>
                    <a:pt x="6" y="90"/>
                  </a:cubicBezTo>
                  <a:cubicBezTo>
                    <a:pt x="9" y="98"/>
                    <a:pt x="12" y="102"/>
                    <a:pt x="16" y="103"/>
                  </a:cubicBezTo>
                  <a:cubicBezTo>
                    <a:pt x="17" y="103"/>
                    <a:pt x="18" y="103"/>
                    <a:pt x="19" y="103"/>
                  </a:cubicBezTo>
                  <a:cubicBezTo>
                    <a:pt x="25" y="136"/>
                    <a:pt x="61" y="144"/>
                    <a:pt x="61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44"/>
                    <a:pt x="63" y="144"/>
                    <a:pt x="63" y="144"/>
                  </a:cubicBezTo>
                  <a:cubicBezTo>
                    <a:pt x="63" y="144"/>
                    <a:pt x="99" y="136"/>
                    <a:pt x="105" y="103"/>
                  </a:cubicBezTo>
                  <a:cubicBezTo>
                    <a:pt x="106" y="103"/>
                    <a:pt x="107" y="103"/>
                    <a:pt x="108" y="103"/>
                  </a:cubicBezTo>
                  <a:cubicBezTo>
                    <a:pt x="112" y="102"/>
                    <a:pt x="115" y="98"/>
                    <a:pt x="118" y="90"/>
                  </a:cubicBezTo>
                  <a:cubicBezTo>
                    <a:pt x="123" y="77"/>
                    <a:pt x="124" y="69"/>
                    <a:pt x="121" y="6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3">
              <a:extLst>
                <a:ext uri="{FF2B5EF4-FFF2-40B4-BE49-F238E27FC236}">
                  <a16:creationId xmlns:a16="http://schemas.microsoft.com/office/drawing/2014/main" id="{6D643233-0687-4B90-80C2-CA3351843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0" y="426"/>
              <a:ext cx="162" cy="142"/>
            </a:xfrm>
            <a:custGeom>
              <a:avLst/>
              <a:gdLst>
                <a:gd name="T0" fmla="*/ 120 w 162"/>
                <a:gd name="T1" fmla="*/ 125 h 142"/>
                <a:gd name="T2" fmla="*/ 41 w 162"/>
                <a:gd name="T3" fmla="*/ 125 h 142"/>
                <a:gd name="T4" fmla="*/ 19 w 162"/>
                <a:gd name="T5" fmla="*/ 54 h 142"/>
                <a:gd name="T6" fmla="*/ 81 w 162"/>
                <a:gd name="T7" fmla="*/ 14 h 142"/>
                <a:gd name="T8" fmla="*/ 142 w 162"/>
                <a:gd name="T9" fmla="*/ 54 h 142"/>
                <a:gd name="T10" fmla="*/ 120 w 162"/>
                <a:gd name="T11" fmla="*/ 125 h 142"/>
                <a:gd name="T12" fmla="*/ 81 w 162"/>
                <a:gd name="T13" fmla="*/ 0 h 142"/>
                <a:gd name="T14" fmla="*/ 0 w 162"/>
                <a:gd name="T15" fmla="*/ 49 h 142"/>
                <a:gd name="T16" fmla="*/ 29 w 162"/>
                <a:gd name="T17" fmla="*/ 142 h 142"/>
                <a:gd name="T18" fmla="*/ 132 w 162"/>
                <a:gd name="T19" fmla="*/ 142 h 142"/>
                <a:gd name="T20" fmla="*/ 162 w 162"/>
                <a:gd name="T21" fmla="*/ 49 h 142"/>
                <a:gd name="T22" fmla="*/ 81 w 162"/>
                <a:gd name="T2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142">
                  <a:moveTo>
                    <a:pt x="120" y="125"/>
                  </a:moveTo>
                  <a:lnTo>
                    <a:pt x="41" y="125"/>
                  </a:lnTo>
                  <a:lnTo>
                    <a:pt x="19" y="54"/>
                  </a:lnTo>
                  <a:lnTo>
                    <a:pt x="81" y="14"/>
                  </a:lnTo>
                  <a:lnTo>
                    <a:pt x="142" y="54"/>
                  </a:lnTo>
                  <a:lnTo>
                    <a:pt x="120" y="125"/>
                  </a:lnTo>
                  <a:close/>
                  <a:moveTo>
                    <a:pt x="81" y="0"/>
                  </a:moveTo>
                  <a:lnTo>
                    <a:pt x="0" y="49"/>
                  </a:lnTo>
                  <a:lnTo>
                    <a:pt x="29" y="142"/>
                  </a:lnTo>
                  <a:lnTo>
                    <a:pt x="132" y="142"/>
                  </a:lnTo>
                  <a:lnTo>
                    <a:pt x="162" y="49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4">
              <a:extLst>
                <a:ext uri="{FF2B5EF4-FFF2-40B4-BE49-F238E27FC236}">
                  <a16:creationId xmlns:a16="http://schemas.microsoft.com/office/drawing/2014/main" id="{22930254-DA66-4716-9577-0F5067222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" y="450"/>
              <a:ext cx="108" cy="93"/>
            </a:xfrm>
            <a:custGeom>
              <a:avLst/>
              <a:gdLst>
                <a:gd name="T0" fmla="*/ 54 w 108"/>
                <a:gd name="T1" fmla="*/ 0 h 93"/>
                <a:gd name="T2" fmla="*/ 0 w 108"/>
                <a:gd name="T3" fmla="*/ 32 h 93"/>
                <a:gd name="T4" fmla="*/ 19 w 108"/>
                <a:gd name="T5" fmla="*/ 93 h 93"/>
                <a:gd name="T6" fmla="*/ 88 w 108"/>
                <a:gd name="T7" fmla="*/ 93 h 93"/>
                <a:gd name="T8" fmla="*/ 108 w 108"/>
                <a:gd name="T9" fmla="*/ 32 h 93"/>
                <a:gd name="T10" fmla="*/ 54 w 108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93">
                  <a:moveTo>
                    <a:pt x="54" y="0"/>
                  </a:moveTo>
                  <a:lnTo>
                    <a:pt x="0" y="32"/>
                  </a:lnTo>
                  <a:lnTo>
                    <a:pt x="19" y="93"/>
                  </a:lnTo>
                  <a:lnTo>
                    <a:pt x="88" y="93"/>
                  </a:lnTo>
                  <a:lnTo>
                    <a:pt x="108" y="32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5">
              <a:extLst>
                <a:ext uri="{FF2B5EF4-FFF2-40B4-BE49-F238E27FC236}">
                  <a16:creationId xmlns:a16="http://schemas.microsoft.com/office/drawing/2014/main" id="{6B8AEF02-A816-4054-A66E-AC34507A4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" y="423"/>
              <a:ext cx="61" cy="57"/>
            </a:xfrm>
            <a:custGeom>
              <a:avLst/>
              <a:gdLst>
                <a:gd name="T0" fmla="*/ 56 w 61"/>
                <a:gd name="T1" fmla="*/ 57 h 57"/>
                <a:gd name="T2" fmla="*/ 0 w 61"/>
                <a:gd name="T3" fmla="*/ 8 h 57"/>
                <a:gd name="T4" fmla="*/ 7 w 61"/>
                <a:gd name="T5" fmla="*/ 0 h 57"/>
                <a:gd name="T6" fmla="*/ 61 w 61"/>
                <a:gd name="T7" fmla="*/ 52 h 57"/>
                <a:gd name="T8" fmla="*/ 56 w 61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56" y="57"/>
                  </a:moveTo>
                  <a:lnTo>
                    <a:pt x="0" y="8"/>
                  </a:lnTo>
                  <a:lnTo>
                    <a:pt x="7" y="0"/>
                  </a:lnTo>
                  <a:lnTo>
                    <a:pt x="61" y="52"/>
                  </a:lnTo>
                  <a:lnTo>
                    <a:pt x="56" y="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6">
              <a:extLst>
                <a:ext uri="{FF2B5EF4-FFF2-40B4-BE49-F238E27FC236}">
                  <a16:creationId xmlns:a16="http://schemas.microsoft.com/office/drawing/2014/main" id="{70707936-CA15-4079-9023-0816E6381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" y="423"/>
              <a:ext cx="61" cy="57"/>
            </a:xfrm>
            <a:custGeom>
              <a:avLst/>
              <a:gdLst>
                <a:gd name="T0" fmla="*/ 4 w 61"/>
                <a:gd name="T1" fmla="*/ 57 h 57"/>
                <a:gd name="T2" fmla="*/ 0 w 61"/>
                <a:gd name="T3" fmla="*/ 52 h 57"/>
                <a:gd name="T4" fmla="*/ 54 w 61"/>
                <a:gd name="T5" fmla="*/ 0 h 57"/>
                <a:gd name="T6" fmla="*/ 61 w 61"/>
                <a:gd name="T7" fmla="*/ 8 h 57"/>
                <a:gd name="T8" fmla="*/ 4 w 61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7">
                  <a:moveTo>
                    <a:pt x="4" y="57"/>
                  </a:moveTo>
                  <a:lnTo>
                    <a:pt x="0" y="52"/>
                  </a:lnTo>
                  <a:lnTo>
                    <a:pt x="54" y="0"/>
                  </a:lnTo>
                  <a:lnTo>
                    <a:pt x="61" y="8"/>
                  </a:lnTo>
                  <a:lnTo>
                    <a:pt x="4" y="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59">
            <a:extLst>
              <a:ext uri="{FF2B5EF4-FFF2-40B4-BE49-F238E27FC236}">
                <a16:creationId xmlns:a16="http://schemas.microsoft.com/office/drawing/2014/main" id="{746BB040-0E30-4E7C-8B92-AF32CBF491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6425" y="284163"/>
            <a:ext cx="841375" cy="841375"/>
            <a:chOff x="4382" y="179"/>
            <a:chExt cx="530" cy="530"/>
          </a:xfrm>
        </p:grpSpPr>
        <p:sp>
          <p:nvSpPr>
            <p:cNvPr id="73" name="AutoShape 58">
              <a:extLst>
                <a:ext uri="{FF2B5EF4-FFF2-40B4-BE49-F238E27FC236}">
                  <a16:creationId xmlns:a16="http://schemas.microsoft.com/office/drawing/2014/main" id="{150AD6AB-4D88-44CB-8133-DBD717E45B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2" y="1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0">
              <a:extLst>
                <a:ext uri="{FF2B5EF4-FFF2-40B4-BE49-F238E27FC236}">
                  <a16:creationId xmlns:a16="http://schemas.microsoft.com/office/drawing/2014/main" id="{2DFA630B-2FDC-418D-849B-909DCB86D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" y="1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1">
              <a:extLst>
                <a:ext uri="{FF2B5EF4-FFF2-40B4-BE49-F238E27FC236}">
                  <a16:creationId xmlns:a16="http://schemas.microsoft.com/office/drawing/2014/main" id="{F5FE10C1-EBED-465F-BF6F-37D02E756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0" y="1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2">
              <a:extLst>
                <a:ext uri="{FF2B5EF4-FFF2-40B4-BE49-F238E27FC236}">
                  <a16:creationId xmlns:a16="http://schemas.microsoft.com/office/drawing/2014/main" id="{A3EED5F0-F2AD-4E41-9C75-B7A496430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" y="409"/>
              <a:ext cx="13" cy="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3">
              <a:extLst>
                <a:ext uri="{FF2B5EF4-FFF2-40B4-BE49-F238E27FC236}">
                  <a16:creationId xmlns:a16="http://schemas.microsoft.com/office/drawing/2014/main" id="{E87835DA-8EB9-4C0C-A126-D7453F503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8" y="268"/>
              <a:ext cx="240" cy="354"/>
            </a:xfrm>
            <a:custGeom>
              <a:avLst/>
              <a:gdLst>
                <a:gd name="T0" fmla="*/ 85 w 94"/>
                <a:gd name="T1" fmla="*/ 65 h 138"/>
                <a:gd name="T2" fmla="*/ 82 w 94"/>
                <a:gd name="T3" fmla="*/ 51 h 138"/>
                <a:gd name="T4" fmla="*/ 76 w 94"/>
                <a:gd name="T5" fmla="*/ 55 h 138"/>
                <a:gd name="T6" fmla="*/ 70 w 94"/>
                <a:gd name="T7" fmla="*/ 70 h 138"/>
                <a:gd name="T8" fmla="*/ 71 w 94"/>
                <a:gd name="T9" fmla="*/ 51 h 138"/>
                <a:gd name="T10" fmla="*/ 77 w 94"/>
                <a:gd name="T11" fmla="*/ 39 h 138"/>
                <a:gd name="T12" fmla="*/ 50 w 94"/>
                <a:gd name="T13" fmla="*/ 1 h 138"/>
                <a:gd name="T14" fmla="*/ 16 w 94"/>
                <a:gd name="T15" fmla="*/ 28 h 138"/>
                <a:gd name="T16" fmla="*/ 19 w 94"/>
                <a:gd name="T17" fmla="*/ 39 h 138"/>
                <a:gd name="T18" fmla="*/ 11 w 94"/>
                <a:gd name="T19" fmla="*/ 49 h 138"/>
                <a:gd name="T20" fmla="*/ 6 w 94"/>
                <a:gd name="T21" fmla="*/ 59 h 138"/>
                <a:gd name="T22" fmla="*/ 6 w 94"/>
                <a:gd name="T23" fmla="*/ 77 h 138"/>
                <a:gd name="T24" fmla="*/ 13 w 94"/>
                <a:gd name="T25" fmla="*/ 77 h 138"/>
                <a:gd name="T26" fmla="*/ 27 w 94"/>
                <a:gd name="T27" fmla="*/ 138 h 138"/>
                <a:gd name="T28" fmla="*/ 94 w 94"/>
                <a:gd name="T29" fmla="*/ 131 h 138"/>
                <a:gd name="T30" fmla="*/ 92 w 94"/>
                <a:gd name="T31" fmla="*/ 71 h 138"/>
                <a:gd name="T32" fmla="*/ 79 w 94"/>
                <a:gd name="T33" fmla="*/ 91 h 138"/>
                <a:gd name="T34" fmla="*/ 70 w 94"/>
                <a:gd name="T35" fmla="*/ 76 h 138"/>
                <a:gd name="T36" fmla="*/ 53 w 94"/>
                <a:gd name="T37" fmla="*/ 59 h 138"/>
                <a:gd name="T38" fmla="*/ 64 w 94"/>
                <a:gd name="T39" fmla="*/ 71 h 138"/>
                <a:gd name="T40" fmla="*/ 34 w 94"/>
                <a:gd name="T41" fmla="*/ 75 h 138"/>
                <a:gd name="T42" fmla="*/ 48 w 94"/>
                <a:gd name="T43" fmla="*/ 59 h 138"/>
                <a:gd name="T44" fmla="*/ 51 w 94"/>
                <a:gd name="T45" fmla="*/ 49 h 138"/>
                <a:gd name="T46" fmla="*/ 40 w 94"/>
                <a:gd name="T47" fmla="*/ 48 h 138"/>
                <a:gd name="T48" fmla="*/ 71 w 94"/>
                <a:gd name="T49" fmla="*/ 38 h 138"/>
                <a:gd name="T50" fmla="*/ 43 w 94"/>
                <a:gd name="T51" fmla="*/ 49 h 138"/>
                <a:gd name="T52" fmla="*/ 48 w 94"/>
                <a:gd name="T53" fmla="*/ 49 h 138"/>
                <a:gd name="T54" fmla="*/ 20 w 94"/>
                <a:gd name="T55" fmla="*/ 14 h 138"/>
                <a:gd name="T56" fmla="*/ 24 w 94"/>
                <a:gd name="T57" fmla="*/ 27 h 138"/>
                <a:gd name="T58" fmla="*/ 68 w 94"/>
                <a:gd name="T59" fmla="*/ 14 h 138"/>
                <a:gd name="T60" fmla="*/ 36 w 94"/>
                <a:gd name="T61" fmla="*/ 34 h 138"/>
                <a:gd name="T62" fmla="*/ 22 w 94"/>
                <a:gd name="T63" fmla="*/ 39 h 138"/>
                <a:gd name="T64" fmla="*/ 37 w 94"/>
                <a:gd name="T65" fmla="*/ 49 h 138"/>
                <a:gd name="T66" fmla="*/ 68 w 94"/>
                <a:gd name="T67" fmla="*/ 52 h 138"/>
                <a:gd name="T68" fmla="*/ 44 w 94"/>
                <a:gd name="T69" fmla="*/ 57 h 138"/>
                <a:gd name="T70" fmla="*/ 68 w 94"/>
                <a:gd name="T71" fmla="*/ 52 h 138"/>
                <a:gd name="T72" fmla="*/ 3 w 94"/>
                <a:gd name="T73" fmla="*/ 62 h 138"/>
                <a:gd name="T74" fmla="*/ 4 w 94"/>
                <a:gd name="T75" fmla="*/ 61 h 138"/>
                <a:gd name="T76" fmla="*/ 10 w 94"/>
                <a:gd name="T77" fmla="*/ 60 h 138"/>
                <a:gd name="T78" fmla="*/ 7 w 94"/>
                <a:gd name="T79" fmla="*/ 61 h 138"/>
                <a:gd name="T80" fmla="*/ 16 w 94"/>
                <a:gd name="T81" fmla="*/ 75 h 138"/>
                <a:gd name="T82" fmla="*/ 24 w 94"/>
                <a:gd name="T83" fmla="*/ 78 h 138"/>
                <a:gd name="T84" fmla="*/ 35 w 94"/>
                <a:gd name="T85" fmla="*/ 80 h 138"/>
                <a:gd name="T86" fmla="*/ 41 w 94"/>
                <a:gd name="T87" fmla="*/ 135 h 138"/>
                <a:gd name="T88" fmla="*/ 36 w 94"/>
                <a:gd name="T89" fmla="*/ 115 h 138"/>
                <a:gd name="T90" fmla="*/ 61 w 94"/>
                <a:gd name="T91" fmla="*/ 135 h 138"/>
                <a:gd name="T92" fmla="*/ 58 w 94"/>
                <a:gd name="T93" fmla="*/ 115 h 138"/>
                <a:gd name="T94" fmla="*/ 61 w 94"/>
                <a:gd name="T95" fmla="*/ 111 h 138"/>
                <a:gd name="T96" fmla="*/ 44 w 94"/>
                <a:gd name="T97" fmla="*/ 93 h 138"/>
                <a:gd name="T98" fmla="*/ 61 w 94"/>
                <a:gd name="T99" fmla="*/ 111 h 138"/>
                <a:gd name="T100" fmla="*/ 64 w 94"/>
                <a:gd name="T101" fmla="*/ 114 h 138"/>
                <a:gd name="T102" fmla="*/ 67 w 94"/>
                <a:gd name="T103" fmla="*/ 110 h 138"/>
                <a:gd name="T104" fmla="*/ 53 w 94"/>
                <a:gd name="T105" fmla="*/ 81 h 138"/>
                <a:gd name="T106" fmla="*/ 36 w 94"/>
                <a:gd name="T107" fmla="*/ 112 h 138"/>
                <a:gd name="T108" fmla="*/ 45 w 94"/>
                <a:gd name="T109" fmla="*/ 74 h 138"/>
                <a:gd name="T110" fmla="*/ 91 w 94"/>
                <a:gd name="T111" fmla="*/ 129 h 138"/>
                <a:gd name="T112" fmla="*/ 70 w 94"/>
                <a:gd name="T113" fmla="*/ 112 h 138"/>
                <a:gd name="T114" fmla="*/ 91 w 94"/>
                <a:gd name="T115" fmla="*/ 74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4" h="138">
                  <a:moveTo>
                    <a:pt x="92" y="71"/>
                  </a:moveTo>
                  <a:cubicBezTo>
                    <a:pt x="85" y="65"/>
                    <a:pt x="85" y="65"/>
                    <a:pt x="85" y="65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8" y="29"/>
                    <a:pt x="76" y="19"/>
                    <a:pt x="70" y="12"/>
                  </a:cubicBezTo>
                  <a:cubicBezTo>
                    <a:pt x="65" y="6"/>
                    <a:pt x="58" y="2"/>
                    <a:pt x="50" y="1"/>
                  </a:cubicBezTo>
                  <a:cubicBezTo>
                    <a:pt x="31" y="0"/>
                    <a:pt x="23" y="8"/>
                    <a:pt x="22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2" y="39"/>
                    <a:pt x="15" y="39"/>
                    <a:pt x="19" y="39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3"/>
                    <a:pt x="11" y="55"/>
                    <a:pt x="11" y="57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5" y="58"/>
                    <a:pt x="4" y="58"/>
                    <a:pt x="2" y="58"/>
                  </a:cubicBezTo>
                  <a:cubicBezTo>
                    <a:pt x="1" y="59"/>
                    <a:pt x="0" y="61"/>
                    <a:pt x="0" y="63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7" y="78"/>
                    <a:pt x="8" y="79"/>
                    <a:pt x="9" y="79"/>
                  </a:cubicBezTo>
                  <a:cubicBezTo>
                    <a:pt x="10" y="79"/>
                    <a:pt x="10" y="79"/>
                    <a:pt x="11" y="79"/>
                  </a:cubicBezTo>
                  <a:cubicBezTo>
                    <a:pt x="12" y="79"/>
                    <a:pt x="12" y="78"/>
                    <a:pt x="13" y="77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104"/>
                    <a:pt x="20" y="110"/>
                    <a:pt x="27" y="113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83" y="138"/>
                    <a:pt x="83" y="138"/>
                    <a:pt x="83" y="138"/>
                  </a:cubicBezTo>
                  <a:cubicBezTo>
                    <a:pt x="83" y="138"/>
                    <a:pt x="83" y="138"/>
                    <a:pt x="83" y="138"/>
                  </a:cubicBezTo>
                  <a:cubicBezTo>
                    <a:pt x="87" y="136"/>
                    <a:pt x="90" y="134"/>
                    <a:pt x="94" y="131"/>
                  </a:cubicBezTo>
                  <a:cubicBezTo>
                    <a:pt x="94" y="130"/>
                    <a:pt x="94" y="130"/>
                    <a:pt x="94" y="130"/>
                  </a:cubicBezTo>
                  <a:cubicBezTo>
                    <a:pt x="94" y="71"/>
                    <a:pt x="94" y="71"/>
                    <a:pt x="94" y="71"/>
                  </a:cubicBezTo>
                  <a:lnTo>
                    <a:pt x="92" y="71"/>
                  </a:lnTo>
                  <a:close/>
                  <a:moveTo>
                    <a:pt x="70" y="74"/>
                  </a:moveTo>
                  <a:cubicBezTo>
                    <a:pt x="79" y="74"/>
                    <a:pt x="79" y="74"/>
                    <a:pt x="79" y="74"/>
                  </a:cubicBezTo>
                  <a:cubicBezTo>
                    <a:pt x="79" y="91"/>
                    <a:pt x="79" y="91"/>
                    <a:pt x="79" y="91"/>
                  </a:cubicBezTo>
                  <a:cubicBezTo>
                    <a:pt x="79" y="100"/>
                    <a:pt x="74" y="106"/>
                    <a:pt x="70" y="108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0" y="76"/>
                    <a:pt x="70" y="76"/>
                    <a:pt x="70" y="76"/>
                  </a:cubicBezTo>
                  <a:lnTo>
                    <a:pt x="70" y="74"/>
                  </a:lnTo>
                  <a:close/>
                  <a:moveTo>
                    <a:pt x="67" y="69"/>
                  </a:moveTo>
                  <a:cubicBezTo>
                    <a:pt x="53" y="59"/>
                    <a:pt x="53" y="59"/>
                    <a:pt x="53" y="59"/>
                  </a:cubicBezTo>
                  <a:cubicBezTo>
                    <a:pt x="67" y="59"/>
                    <a:pt x="67" y="59"/>
                    <a:pt x="67" y="59"/>
                  </a:cubicBezTo>
                  <a:lnTo>
                    <a:pt x="67" y="69"/>
                  </a:lnTo>
                  <a:close/>
                  <a:moveTo>
                    <a:pt x="64" y="71"/>
                  </a:moveTo>
                  <a:cubicBezTo>
                    <a:pt x="44" y="71"/>
                    <a:pt x="44" y="71"/>
                    <a:pt x="44" y="71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44" y="69"/>
                    <a:pt x="46" y="62"/>
                    <a:pt x="47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lnTo>
                    <a:pt x="64" y="71"/>
                  </a:lnTo>
                  <a:close/>
                  <a:moveTo>
                    <a:pt x="68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1" y="48"/>
                    <a:pt x="51" y="47"/>
                    <a:pt x="50" y="46"/>
                  </a:cubicBezTo>
                  <a:cubicBezTo>
                    <a:pt x="50" y="45"/>
                    <a:pt x="49" y="44"/>
                    <a:pt x="47" y="44"/>
                  </a:cubicBezTo>
                  <a:cubicBezTo>
                    <a:pt x="44" y="43"/>
                    <a:pt x="41" y="46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5" y="36"/>
                    <a:pt x="51" y="35"/>
                    <a:pt x="56" y="36"/>
                  </a:cubicBezTo>
                  <a:cubicBezTo>
                    <a:pt x="63" y="37"/>
                    <a:pt x="67" y="37"/>
                    <a:pt x="71" y="38"/>
                  </a:cubicBezTo>
                  <a:lnTo>
                    <a:pt x="68" y="49"/>
                  </a:lnTo>
                  <a:close/>
                  <a:moveTo>
                    <a:pt x="48" y="49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44" y="48"/>
                    <a:pt x="45" y="46"/>
                    <a:pt x="47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8"/>
                    <a:pt x="48" y="48"/>
                    <a:pt x="48" y="49"/>
                  </a:cubicBezTo>
                  <a:close/>
                  <a:moveTo>
                    <a:pt x="12" y="36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6" y="11"/>
                    <a:pt x="32" y="3"/>
                    <a:pt x="50" y="4"/>
                  </a:cubicBezTo>
                  <a:cubicBezTo>
                    <a:pt x="57" y="5"/>
                    <a:pt x="64" y="8"/>
                    <a:pt x="68" y="14"/>
                  </a:cubicBezTo>
                  <a:cubicBezTo>
                    <a:pt x="73" y="21"/>
                    <a:pt x="75" y="30"/>
                    <a:pt x="74" y="35"/>
                  </a:cubicBezTo>
                  <a:cubicBezTo>
                    <a:pt x="72" y="35"/>
                    <a:pt x="66" y="34"/>
                    <a:pt x="56" y="33"/>
                  </a:cubicBezTo>
                  <a:cubicBezTo>
                    <a:pt x="50" y="32"/>
                    <a:pt x="43" y="33"/>
                    <a:pt x="36" y="34"/>
                  </a:cubicBezTo>
                  <a:cubicBezTo>
                    <a:pt x="28" y="36"/>
                    <a:pt x="20" y="37"/>
                    <a:pt x="12" y="36"/>
                  </a:cubicBezTo>
                  <a:close/>
                  <a:moveTo>
                    <a:pt x="22" y="44"/>
                  </a:moveTo>
                  <a:cubicBezTo>
                    <a:pt x="22" y="39"/>
                    <a:pt x="22" y="39"/>
                    <a:pt x="22" y="39"/>
                  </a:cubicBezTo>
                  <a:cubicBezTo>
                    <a:pt x="27" y="39"/>
                    <a:pt x="32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19" y="49"/>
                    <a:pt x="19" y="49"/>
                    <a:pt x="19" y="49"/>
                  </a:cubicBezTo>
                  <a:lnTo>
                    <a:pt x="22" y="44"/>
                  </a:lnTo>
                  <a:close/>
                  <a:moveTo>
                    <a:pt x="68" y="52"/>
                  </a:moveTo>
                  <a:cubicBezTo>
                    <a:pt x="67" y="56"/>
                    <a:pt x="67" y="56"/>
                    <a:pt x="67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2" y="71"/>
                    <a:pt x="25" y="75"/>
                  </a:cubicBezTo>
                  <a:cubicBezTo>
                    <a:pt x="23" y="74"/>
                    <a:pt x="13" y="68"/>
                    <a:pt x="14" y="52"/>
                  </a:cubicBezTo>
                  <a:lnTo>
                    <a:pt x="68" y="52"/>
                  </a:lnTo>
                  <a:close/>
                  <a:moveTo>
                    <a:pt x="10" y="76"/>
                  </a:moveTo>
                  <a:cubicBezTo>
                    <a:pt x="9" y="76"/>
                    <a:pt x="9" y="76"/>
                    <a:pt x="9" y="76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10" y="76"/>
                    <a:pt x="10" y="76"/>
                    <a:pt x="10" y="76"/>
                  </a:cubicBezTo>
                  <a:close/>
                  <a:moveTo>
                    <a:pt x="7" y="61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7" y="61"/>
                  </a:lnTo>
                  <a:close/>
                  <a:moveTo>
                    <a:pt x="27" y="109"/>
                  </a:moveTo>
                  <a:cubicBezTo>
                    <a:pt x="21" y="107"/>
                    <a:pt x="16" y="102"/>
                    <a:pt x="16" y="91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1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7" y="77"/>
                    <a:pt x="29" y="77"/>
                    <a:pt x="31" y="76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27" y="88"/>
                    <a:pt x="27" y="88"/>
                    <a:pt x="27" y="88"/>
                  </a:cubicBezTo>
                  <a:lnTo>
                    <a:pt x="27" y="109"/>
                  </a:lnTo>
                  <a:close/>
                  <a:moveTo>
                    <a:pt x="41" y="135"/>
                  </a:moveTo>
                  <a:cubicBezTo>
                    <a:pt x="30" y="135"/>
                    <a:pt x="30" y="135"/>
                    <a:pt x="30" y="135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3" y="115"/>
                    <a:pt x="36" y="115"/>
                    <a:pt x="36" y="115"/>
                  </a:cubicBezTo>
                  <a:cubicBezTo>
                    <a:pt x="41" y="115"/>
                    <a:pt x="41" y="115"/>
                    <a:pt x="41" y="115"/>
                  </a:cubicBezTo>
                  <a:lnTo>
                    <a:pt x="41" y="135"/>
                  </a:lnTo>
                  <a:close/>
                  <a:moveTo>
                    <a:pt x="61" y="135"/>
                  </a:moveTo>
                  <a:cubicBezTo>
                    <a:pt x="44" y="135"/>
                    <a:pt x="44" y="135"/>
                    <a:pt x="44" y="13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5"/>
                    <a:pt x="59" y="115"/>
                    <a:pt x="61" y="114"/>
                  </a:cubicBezTo>
                  <a:lnTo>
                    <a:pt x="61" y="135"/>
                  </a:lnTo>
                  <a:close/>
                  <a:moveTo>
                    <a:pt x="61" y="111"/>
                  </a:moveTo>
                  <a:cubicBezTo>
                    <a:pt x="59" y="112"/>
                    <a:pt x="58" y="112"/>
                    <a:pt x="58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88"/>
                    <a:pt x="48" y="84"/>
                    <a:pt x="53" y="84"/>
                  </a:cubicBezTo>
                  <a:cubicBezTo>
                    <a:pt x="57" y="84"/>
                    <a:pt x="61" y="88"/>
                    <a:pt x="61" y="93"/>
                  </a:cubicBezTo>
                  <a:lnTo>
                    <a:pt x="61" y="111"/>
                  </a:lnTo>
                  <a:close/>
                  <a:moveTo>
                    <a:pt x="67" y="135"/>
                  </a:moveTo>
                  <a:cubicBezTo>
                    <a:pt x="64" y="135"/>
                    <a:pt x="64" y="135"/>
                    <a:pt x="64" y="135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5" y="113"/>
                    <a:pt x="66" y="113"/>
                    <a:pt x="67" y="113"/>
                  </a:cubicBezTo>
                  <a:lnTo>
                    <a:pt x="67" y="135"/>
                  </a:lnTo>
                  <a:close/>
                  <a:moveTo>
                    <a:pt x="67" y="110"/>
                  </a:moveTo>
                  <a:cubicBezTo>
                    <a:pt x="66" y="110"/>
                    <a:pt x="65" y="110"/>
                    <a:pt x="64" y="111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86"/>
                    <a:pt x="59" y="81"/>
                    <a:pt x="53" y="81"/>
                  </a:cubicBezTo>
                  <a:cubicBezTo>
                    <a:pt x="46" y="81"/>
                    <a:pt x="41" y="86"/>
                    <a:pt x="41" y="93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36" y="112"/>
                    <a:pt x="36" y="112"/>
                    <a:pt x="36" y="112"/>
                  </a:cubicBezTo>
                  <a:cubicBezTo>
                    <a:pt x="36" y="112"/>
                    <a:pt x="33" y="112"/>
                    <a:pt x="30" y="111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67" y="74"/>
                    <a:pt x="67" y="74"/>
                    <a:pt x="67" y="74"/>
                  </a:cubicBezTo>
                  <a:lnTo>
                    <a:pt x="67" y="110"/>
                  </a:lnTo>
                  <a:close/>
                  <a:moveTo>
                    <a:pt x="91" y="129"/>
                  </a:moveTo>
                  <a:cubicBezTo>
                    <a:pt x="88" y="131"/>
                    <a:pt x="85" y="133"/>
                    <a:pt x="82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6" y="109"/>
                    <a:pt x="82" y="103"/>
                    <a:pt x="82" y="9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91" y="74"/>
                    <a:pt x="91" y="74"/>
                    <a:pt x="91" y="74"/>
                  </a:cubicBezTo>
                  <a:lnTo>
                    <a:pt x="91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66">
            <a:extLst>
              <a:ext uri="{FF2B5EF4-FFF2-40B4-BE49-F238E27FC236}">
                <a16:creationId xmlns:a16="http://schemas.microsoft.com/office/drawing/2014/main" id="{EE36E946-1391-4C82-AA4A-FCE65BB43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08938" y="325438"/>
            <a:ext cx="760412" cy="758825"/>
            <a:chOff x="5045" y="205"/>
            <a:chExt cx="479" cy="478"/>
          </a:xfrm>
        </p:grpSpPr>
        <p:sp>
          <p:nvSpPr>
            <p:cNvPr id="79" name="AutoShape 65">
              <a:extLst>
                <a:ext uri="{FF2B5EF4-FFF2-40B4-BE49-F238E27FC236}">
                  <a16:creationId xmlns:a16="http://schemas.microsoft.com/office/drawing/2014/main" id="{70CDEA13-20B2-462D-83CD-CF4CE0E128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45" y="20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7">
              <a:extLst>
                <a:ext uri="{FF2B5EF4-FFF2-40B4-BE49-F238E27FC236}">
                  <a16:creationId xmlns:a16="http://schemas.microsoft.com/office/drawing/2014/main" id="{8CA3D315-9A21-4D3E-A100-5B1F6B142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7" y="20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68">
              <a:extLst>
                <a:ext uri="{FF2B5EF4-FFF2-40B4-BE49-F238E27FC236}">
                  <a16:creationId xmlns:a16="http://schemas.microsoft.com/office/drawing/2014/main" id="{03EF0A13-22B4-4430-9840-66A7179E7F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9" y="411"/>
              <a:ext cx="12" cy="1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9">
              <a:extLst>
                <a:ext uri="{FF2B5EF4-FFF2-40B4-BE49-F238E27FC236}">
                  <a16:creationId xmlns:a16="http://schemas.microsoft.com/office/drawing/2014/main" id="{511E8F39-F86B-4D92-931A-67CB4C311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0" y="276"/>
              <a:ext cx="231" cy="338"/>
            </a:xfrm>
            <a:custGeom>
              <a:avLst/>
              <a:gdLst>
                <a:gd name="T0" fmla="*/ 85 w 94"/>
                <a:gd name="T1" fmla="*/ 65 h 138"/>
                <a:gd name="T2" fmla="*/ 82 w 94"/>
                <a:gd name="T3" fmla="*/ 51 h 138"/>
                <a:gd name="T4" fmla="*/ 76 w 94"/>
                <a:gd name="T5" fmla="*/ 55 h 138"/>
                <a:gd name="T6" fmla="*/ 70 w 94"/>
                <a:gd name="T7" fmla="*/ 70 h 138"/>
                <a:gd name="T8" fmla="*/ 71 w 94"/>
                <a:gd name="T9" fmla="*/ 51 h 138"/>
                <a:gd name="T10" fmla="*/ 77 w 94"/>
                <a:gd name="T11" fmla="*/ 39 h 138"/>
                <a:gd name="T12" fmla="*/ 50 w 94"/>
                <a:gd name="T13" fmla="*/ 1 h 138"/>
                <a:gd name="T14" fmla="*/ 16 w 94"/>
                <a:gd name="T15" fmla="*/ 28 h 138"/>
                <a:gd name="T16" fmla="*/ 19 w 94"/>
                <a:gd name="T17" fmla="*/ 39 h 138"/>
                <a:gd name="T18" fmla="*/ 11 w 94"/>
                <a:gd name="T19" fmla="*/ 49 h 138"/>
                <a:gd name="T20" fmla="*/ 6 w 94"/>
                <a:gd name="T21" fmla="*/ 59 h 138"/>
                <a:gd name="T22" fmla="*/ 6 w 94"/>
                <a:gd name="T23" fmla="*/ 77 h 138"/>
                <a:gd name="T24" fmla="*/ 13 w 94"/>
                <a:gd name="T25" fmla="*/ 77 h 138"/>
                <a:gd name="T26" fmla="*/ 27 w 94"/>
                <a:gd name="T27" fmla="*/ 138 h 138"/>
                <a:gd name="T28" fmla="*/ 94 w 94"/>
                <a:gd name="T29" fmla="*/ 131 h 138"/>
                <a:gd name="T30" fmla="*/ 92 w 94"/>
                <a:gd name="T31" fmla="*/ 71 h 138"/>
                <a:gd name="T32" fmla="*/ 79 w 94"/>
                <a:gd name="T33" fmla="*/ 91 h 138"/>
                <a:gd name="T34" fmla="*/ 70 w 94"/>
                <a:gd name="T35" fmla="*/ 76 h 138"/>
                <a:gd name="T36" fmla="*/ 53 w 94"/>
                <a:gd name="T37" fmla="*/ 59 h 138"/>
                <a:gd name="T38" fmla="*/ 64 w 94"/>
                <a:gd name="T39" fmla="*/ 71 h 138"/>
                <a:gd name="T40" fmla="*/ 34 w 94"/>
                <a:gd name="T41" fmla="*/ 75 h 138"/>
                <a:gd name="T42" fmla="*/ 48 w 94"/>
                <a:gd name="T43" fmla="*/ 59 h 138"/>
                <a:gd name="T44" fmla="*/ 51 w 94"/>
                <a:gd name="T45" fmla="*/ 49 h 138"/>
                <a:gd name="T46" fmla="*/ 40 w 94"/>
                <a:gd name="T47" fmla="*/ 48 h 138"/>
                <a:gd name="T48" fmla="*/ 71 w 94"/>
                <a:gd name="T49" fmla="*/ 38 h 138"/>
                <a:gd name="T50" fmla="*/ 43 w 94"/>
                <a:gd name="T51" fmla="*/ 49 h 138"/>
                <a:gd name="T52" fmla="*/ 48 w 94"/>
                <a:gd name="T53" fmla="*/ 49 h 138"/>
                <a:gd name="T54" fmla="*/ 20 w 94"/>
                <a:gd name="T55" fmla="*/ 14 h 138"/>
                <a:gd name="T56" fmla="*/ 24 w 94"/>
                <a:gd name="T57" fmla="*/ 27 h 138"/>
                <a:gd name="T58" fmla="*/ 68 w 94"/>
                <a:gd name="T59" fmla="*/ 14 h 138"/>
                <a:gd name="T60" fmla="*/ 36 w 94"/>
                <a:gd name="T61" fmla="*/ 34 h 138"/>
                <a:gd name="T62" fmla="*/ 22 w 94"/>
                <a:gd name="T63" fmla="*/ 39 h 138"/>
                <a:gd name="T64" fmla="*/ 37 w 94"/>
                <a:gd name="T65" fmla="*/ 49 h 138"/>
                <a:gd name="T66" fmla="*/ 68 w 94"/>
                <a:gd name="T67" fmla="*/ 52 h 138"/>
                <a:gd name="T68" fmla="*/ 44 w 94"/>
                <a:gd name="T69" fmla="*/ 57 h 138"/>
                <a:gd name="T70" fmla="*/ 68 w 94"/>
                <a:gd name="T71" fmla="*/ 52 h 138"/>
                <a:gd name="T72" fmla="*/ 3 w 94"/>
                <a:gd name="T73" fmla="*/ 62 h 138"/>
                <a:gd name="T74" fmla="*/ 4 w 94"/>
                <a:gd name="T75" fmla="*/ 61 h 138"/>
                <a:gd name="T76" fmla="*/ 10 w 94"/>
                <a:gd name="T77" fmla="*/ 60 h 138"/>
                <a:gd name="T78" fmla="*/ 7 w 94"/>
                <a:gd name="T79" fmla="*/ 61 h 138"/>
                <a:gd name="T80" fmla="*/ 16 w 94"/>
                <a:gd name="T81" fmla="*/ 75 h 138"/>
                <a:gd name="T82" fmla="*/ 24 w 94"/>
                <a:gd name="T83" fmla="*/ 78 h 138"/>
                <a:gd name="T84" fmla="*/ 35 w 94"/>
                <a:gd name="T85" fmla="*/ 80 h 138"/>
                <a:gd name="T86" fmla="*/ 41 w 94"/>
                <a:gd name="T87" fmla="*/ 135 h 138"/>
                <a:gd name="T88" fmla="*/ 36 w 94"/>
                <a:gd name="T89" fmla="*/ 115 h 138"/>
                <a:gd name="T90" fmla="*/ 61 w 94"/>
                <a:gd name="T91" fmla="*/ 135 h 138"/>
                <a:gd name="T92" fmla="*/ 58 w 94"/>
                <a:gd name="T93" fmla="*/ 115 h 138"/>
                <a:gd name="T94" fmla="*/ 61 w 94"/>
                <a:gd name="T95" fmla="*/ 111 h 138"/>
                <a:gd name="T96" fmla="*/ 44 w 94"/>
                <a:gd name="T97" fmla="*/ 93 h 138"/>
                <a:gd name="T98" fmla="*/ 61 w 94"/>
                <a:gd name="T99" fmla="*/ 111 h 138"/>
                <a:gd name="T100" fmla="*/ 64 w 94"/>
                <a:gd name="T101" fmla="*/ 114 h 138"/>
                <a:gd name="T102" fmla="*/ 67 w 94"/>
                <a:gd name="T103" fmla="*/ 110 h 138"/>
                <a:gd name="T104" fmla="*/ 53 w 94"/>
                <a:gd name="T105" fmla="*/ 81 h 138"/>
                <a:gd name="T106" fmla="*/ 36 w 94"/>
                <a:gd name="T107" fmla="*/ 112 h 138"/>
                <a:gd name="T108" fmla="*/ 45 w 94"/>
                <a:gd name="T109" fmla="*/ 74 h 138"/>
                <a:gd name="T110" fmla="*/ 91 w 94"/>
                <a:gd name="T111" fmla="*/ 129 h 138"/>
                <a:gd name="T112" fmla="*/ 70 w 94"/>
                <a:gd name="T113" fmla="*/ 112 h 138"/>
                <a:gd name="T114" fmla="*/ 91 w 94"/>
                <a:gd name="T115" fmla="*/ 74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4" h="138">
                  <a:moveTo>
                    <a:pt x="92" y="71"/>
                  </a:moveTo>
                  <a:cubicBezTo>
                    <a:pt x="85" y="65"/>
                    <a:pt x="85" y="65"/>
                    <a:pt x="85" y="65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8" y="29"/>
                    <a:pt x="76" y="19"/>
                    <a:pt x="70" y="12"/>
                  </a:cubicBezTo>
                  <a:cubicBezTo>
                    <a:pt x="65" y="6"/>
                    <a:pt x="58" y="2"/>
                    <a:pt x="50" y="1"/>
                  </a:cubicBezTo>
                  <a:cubicBezTo>
                    <a:pt x="31" y="0"/>
                    <a:pt x="23" y="8"/>
                    <a:pt x="22" y="10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2" y="39"/>
                    <a:pt x="15" y="39"/>
                    <a:pt x="19" y="39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3"/>
                    <a:pt x="11" y="55"/>
                    <a:pt x="11" y="57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5" y="58"/>
                    <a:pt x="4" y="58"/>
                    <a:pt x="2" y="58"/>
                  </a:cubicBezTo>
                  <a:cubicBezTo>
                    <a:pt x="1" y="59"/>
                    <a:pt x="0" y="61"/>
                    <a:pt x="0" y="63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7" y="78"/>
                    <a:pt x="8" y="79"/>
                    <a:pt x="9" y="79"/>
                  </a:cubicBezTo>
                  <a:cubicBezTo>
                    <a:pt x="10" y="79"/>
                    <a:pt x="10" y="79"/>
                    <a:pt x="11" y="79"/>
                  </a:cubicBezTo>
                  <a:cubicBezTo>
                    <a:pt x="12" y="79"/>
                    <a:pt x="12" y="78"/>
                    <a:pt x="13" y="77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104"/>
                    <a:pt x="20" y="110"/>
                    <a:pt x="27" y="113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83" y="138"/>
                    <a:pt x="83" y="138"/>
                    <a:pt x="83" y="138"/>
                  </a:cubicBezTo>
                  <a:cubicBezTo>
                    <a:pt x="83" y="138"/>
                    <a:pt x="83" y="138"/>
                    <a:pt x="83" y="138"/>
                  </a:cubicBezTo>
                  <a:cubicBezTo>
                    <a:pt x="87" y="136"/>
                    <a:pt x="90" y="134"/>
                    <a:pt x="94" y="131"/>
                  </a:cubicBezTo>
                  <a:cubicBezTo>
                    <a:pt x="94" y="130"/>
                    <a:pt x="94" y="130"/>
                    <a:pt x="94" y="130"/>
                  </a:cubicBezTo>
                  <a:cubicBezTo>
                    <a:pt x="94" y="71"/>
                    <a:pt x="94" y="71"/>
                    <a:pt x="94" y="71"/>
                  </a:cubicBezTo>
                  <a:lnTo>
                    <a:pt x="92" y="71"/>
                  </a:lnTo>
                  <a:close/>
                  <a:moveTo>
                    <a:pt x="70" y="74"/>
                  </a:moveTo>
                  <a:cubicBezTo>
                    <a:pt x="79" y="74"/>
                    <a:pt x="79" y="74"/>
                    <a:pt x="79" y="74"/>
                  </a:cubicBezTo>
                  <a:cubicBezTo>
                    <a:pt x="79" y="91"/>
                    <a:pt x="79" y="91"/>
                    <a:pt x="79" y="91"/>
                  </a:cubicBezTo>
                  <a:cubicBezTo>
                    <a:pt x="79" y="100"/>
                    <a:pt x="74" y="106"/>
                    <a:pt x="70" y="108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0" y="76"/>
                    <a:pt x="70" y="76"/>
                    <a:pt x="70" y="76"/>
                  </a:cubicBezTo>
                  <a:lnTo>
                    <a:pt x="70" y="74"/>
                  </a:lnTo>
                  <a:close/>
                  <a:moveTo>
                    <a:pt x="67" y="69"/>
                  </a:moveTo>
                  <a:cubicBezTo>
                    <a:pt x="53" y="59"/>
                    <a:pt x="53" y="59"/>
                    <a:pt x="53" y="59"/>
                  </a:cubicBezTo>
                  <a:cubicBezTo>
                    <a:pt x="67" y="59"/>
                    <a:pt x="67" y="59"/>
                    <a:pt x="67" y="59"/>
                  </a:cubicBezTo>
                  <a:lnTo>
                    <a:pt x="67" y="69"/>
                  </a:lnTo>
                  <a:close/>
                  <a:moveTo>
                    <a:pt x="64" y="71"/>
                  </a:moveTo>
                  <a:cubicBezTo>
                    <a:pt x="44" y="71"/>
                    <a:pt x="44" y="71"/>
                    <a:pt x="44" y="71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44" y="69"/>
                    <a:pt x="46" y="62"/>
                    <a:pt x="47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lnTo>
                    <a:pt x="64" y="71"/>
                  </a:lnTo>
                  <a:close/>
                  <a:moveTo>
                    <a:pt x="68" y="49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51" y="48"/>
                    <a:pt x="51" y="47"/>
                    <a:pt x="50" y="46"/>
                  </a:cubicBezTo>
                  <a:cubicBezTo>
                    <a:pt x="50" y="45"/>
                    <a:pt x="49" y="44"/>
                    <a:pt x="47" y="44"/>
                  </a:cubicBezTo>
                  <a:cubicBezTo>
                    <a:pt x="44" y="43"/>
                    <a:pt x="41" y="46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5" y="36"/>
                    <a:pt x="51" y="35"/>
                    <a:pt x="56" y="36"/>
                  </a:cubicBezTo>
                  <a:cubicBezTo>
                    <a:pt x="63" y="37"/>
                    <a:pt x="67" y="37"/>
                    <a:pt x="71" y="38"/>
                  </a:cubicBezTo>
                  <a:lnTo>
                    <a:pt x="68" y="49"/>
                  </a:lnTo>
                  <a:close/>
                  <a:moveTo>
                    <a:pt x="48" y="49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44" y="48"/>
                    <a:pt x="45" y="46"/>
                    <a:pt x="47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8"/>
                    <a:pt x="48" y="48"/>
                    <a:pt x="48" y="49"/>
                  </a:cubicBezTo>
                  <a:close/>
                  <a:moveTo>
                    <a:pt x="12" y="36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6" y="11"/>
                    <a:pt x="32" y="3"/>
                    <a:pt x="50" y="4"/>
                  </a:cubicBezTo>
                  <a:cubicBezTo>
                    <a:pt x="57" y="5"/>
                    <a:pt x="64" y="8"/>
                    <a:pt x="68" y="14"/>
                  </a:cubicBezTo>
                  <a:cubicBezTo>
                    <a:pt x="73" y="21"/>
                    <a:pt x="75" y="30"/>
                    <a:pt x="74" y="35"/>
                  </a:cubicBezTo>
                  <a:cubicBezTo>
                    <a:pt x="72" y="35"/>
                    <a:pt x="66" y="34"/>
                    <a:pt x="56" y="33"/>
                  </a:cubicBezTo>
                  <a:cubicBezTo>
                    <a:pt x="50" y="32"/>
                    <a:pt x="43" y="33"/>
                    <a:pt x="36" y="34"/>
                  </a:cubicBezTo>
                  <a:cubicBezTo>
                    <a:pt x="28" y="36"/>
                    <a:pt x="20" y="37"/>
                    <a:pt x="12" y="36"/>
                  </a:cubicBezTo>
                  <a:close/>
                  <a:moveTo>
                    <a:pt x="22" y="44"/>
                  </a:moveTo>
                  <a:cubicBezTo>
                    <a:pt x="22" y="39"/>
                    <a:pt x="22" y="39"/>
                    <a:pt x="22" y="39"/>
                  </a:cubicBezTo>
                  <a:cubicBezTo>
                    <a:pt x="27" y="39"/>
                    <a:pt x="32" y="38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19" y="49"/>
                    <a:pt x="19" y="49"/>
                    <a:pt x="19" y="49"/>
                  </a:cubicBezTo>
                  <a:lnTo>
                    <a:pt x="22" y="44"/>
                  </a:lnTo>
                  <a:close/>
                  <a:moveTo>
                    <a:pt x="68" y="52"/>
                  </a:moveTo>
                  <a:cubicBezTo>
                    <a:pt x="67" y="56"/>
                    <a:pt x="67" y="56"/>
                    <a:pt x="67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2" y="71"/>
                    <a:pt x="25" y="75"/>
                  </a:cubicBezTo>
                  <a:cubicBezTo>
                    <a:pt x="23" y="74"/>
                    <a:pt x="13" y="68"/>
                    <a:pt x="14" y="52"/>
                  </a:cubicBezTo>
                  <a:lnTo>
                    <a:pt x="68" y="52"/>
                  </a:lnTo>
                  <a:close/>
                  <a:moveTo>
                    <a:pt x="10" y="76"/>
                  </a:moveTo>
                  <a:cubicBezTo>
                    <a:pt x="9" y="76"/>
                    <a:pt x="9" y="76"/>
                    <a:pt x="9" y="76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10" y="76"/>
                    <a:pt x="10" y="76"/>
                    <a:pt x="10" y="76"/>
                  </a:cubicBezTo>
                  <a:close/>
                  <a:moveTo>
                    <a:pt x="7" y="61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2" y="73"/>
                    <a:pt x="12" y="73"/>
                    <a:pt x="12" y="73"/>
                  </a:cubicBezTo>
                  <a:lnTo>
                    <a:pt x="7" y="61"/>
                  </a:lnTo>
                  <a:close/>
                  <a:moveTo>
                    <a:pt x="27" y="109"/>
                  </a:moveTo>
                  <a:cubicBezTo>
                    <a:pt x="21" y="107"/>
                    <a:pt x="16" y="102"/>
                    <a:pt x="16" y="91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21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7" y="77"/>
                    <a:pt x="29" y="77"/>
                    <a:pt x="31" y="76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27" y="88"/>
                    <a:pt x="27" y="88"/>
                    <a:pt x="27" y="88"/>
                  </a:cubicBezTo>
                  <a:lnTo>
                    <a:pt x="27" y="109"/>
                  </a:lnTo>
                  <a:close/>
                  <a:moveTo>
                    <a:pt x="41" y="135"/>
                  </a:moveTo>
                  <a:cubicBezTo>
                    <a:pt x="30" y="135"/>
                    <a:pt x="30" y="135"/>
                    <a:pt x="30" y="135"/>
                  </a:cubicBezTo>
                  <a:cubicBezTo>
                    <a:pt x="30" y="114"/>
                    <a:pt x="30" y="114"/>
                    <a:pt x="30" y="114"/>
                  </a:cubicBezTo>
                  <a:cubicBezTo>
                    <a:pt x="33" y="115"/>
                    <a:pt x="36" y="115"/>
                    <a:pt x="36" y="115"/>
                  </a:cubicBezTo>
                  <a:cubicBezTo>
                    <a:pt x="41" y="115"/>
                    <a:pt x="41" y="115"/>
                    <a:pt x="41" y="115"/>
                  </a:cubicBezTo>
                  <a:lnTo>
                    <a:pt x="41" y="135"/>
                  </a:lnTo>
                  <a:close/>
                  <a:moveTo>
                    <a:pt x="61" y="135"/>
                  </a:moveTo>
                  <a:cubicBezTo>
                    <a:pt x="44" y="135"/>
                    <a:pt x="44" y="135"/>
                    <a:pt x="44" y="13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5"/>
                    <a:pt x="59" y="115"/>
                    <a:pt x="61" y="114"/>
                  </a:cubicBezTo>
                  <a:lnTo>
                    <a:pt x="61" y="135"/>
                  </a:lnTo>
                  <a:close/>
                  <a:moveTo>
                    <a:pt x="61" y="111"/>
                  </a:moveTo>
                  <a:cubicBezTo>
                    <a:pt x="59" y="112"/>
                    <a:pt x="58" y="112"/>
                    <a:pt x="58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88"/>
                    <a:pt x="48" y="84"/>
                    <a:pt x="53" y="84"/>
                  </a:cubicBezTo>
                  <a:cubicBezTo>
                    <a:pt x="57" y="84"/>
                    <a:pt x="61" y="88"/>
                    <a:pt x="61" y="93"/>
                  </a:cubicBezTo>
                  <a:lnTo>
                    <a:pt x="61" y="111"/>
                  </a:lnTo>
                  <a:close/>
                  <a:moveTo>
                    <a:pt x="67" y="135"/>
                  </a:moveTo>
                  <a:cubicBezTo>
                    <a:pt x="64" y="135"/>
                    <a:pt x="64" y="135"/>
                    <a:pt x="64" y="135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5" y="113"/>
                    <a:pt x="66" y="113"/>
                    <a:pt x="67" y="113"/>
                  </a:cubicBezTo>
                  <a:lnTo>
                    <a:pt x="67" y="135"/>
                  </a:lnTo>
                  <a:close/>
                  <a:moveTo>
                    <a:pt x="67" y="110"/>
                  </a:moveTo>
                  <a:cubicBezTo>
                    <a:pt x="66" y="110"/>
                    <a:pt x="65" y="110"/>
                    <a:pt x="64" y="111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86"/>
                    <a:pt x="59" y="81"/>
                    <a:pt x="53" y="81"/>
                  </a:cubicBezTo>
                  <a:cubicBezTo>
                    <a:pt x="46" y="81"/>
                    <a:pt x="41" y="86"/>
                    <a:pt x="41" y="93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36" y="112"/>
                    <a:pt x="36" y="112"/>
                    <a:pt x="36" y="112"/>
                  </a:cubicBezTo>
                  <a:cubicBezTo>
                    <a:pt x="36" y="112"/>
                    <a:pt x="33" y="112"/>
                    <a:pt x="30" y="111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67" y="74"/>
                    <a:pt x="67" y="74"/>
                    <a:pt x="67" y="74"/>
                  </a:cubicBezTo>
                  <a:lnTo>
                    <a:pt x="67" y="110"/>
                  </a:lnTo>
                  <a:close/>
                  <a:moveTo>
                    <a:pt x="91" y="129"/>
                  </a:moveTo>
                  <a:cubicBezTo>
                    <a:pt x="88" y="131"/>
                    <a:pt x="85" y="133"/>
                    <a:pt x="82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76" y="109"/>
                    <a:pt x="82" y="103"/>
                    <a:pt x="82" y="9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91" y="74"/>
                    <a:pt x="91" y="74"/>
                    <a:pt x="91" y="74"/>
                  </a:cubicBezTo>
                  <a:lnTo>
                    <a:pt x="91" y="1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72">
            <a:extLst>
              <a:ext uri="{FF2B5EF4-FFF2-40B4-BE49-F238E27FC236}">
                <a16:creationId xmlns:a16="http://schemas.microsoft.com/office/drawing/2014/main" id="{E5BB07A4-60FF-405D-8356-FDDB7E0C4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0713" y="1538659"/>
            <a:ext cx="841375" cy="841375"/>
            <a:chOff x="4391" y="966"/>
            <a:chExt cx="530" cy="530"/>
          </a:xfrm>
        </p:grpSpPr>
        <p:sp>
          <p:nvSpPr>
            <p:cNvPr id="84" name="AutoShape 71">
              <a:extLst>
                <a:ext uri="{FF2B5EF4-FFF2-40B4-BE49-F238E27FC236}">
                  <a16:creationId xmlns:a16="http://schemas.microsoft.com/office/drawing/2014/main" id="{632D0FD8-2959-4A92-8C17-9E8F5A7FFDF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1" y="9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3">
              <a:extLst>
                <a:ext uri="{FF2B5EF4-FFF2-40B4-BE49-F238E27FC236}">
                  <a16:creationId xmlns:a16="http://schemas.microsoft.com/office/drawing/2014/main" id="{2015D1D1-6762-472B-B862-227F7054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1" y="9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27F910AD-1EF5-4CB6-8975-FFDAEA50D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9" y="9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5">
              <a:extLst>
                <a:ext uri="{FF2B5EF4-FFF2-40B4-BE49-F238E27FC236}">
                  <a16:creationId xmlns:a16="http://schemas.microsoft.com/office/drawing/2014/main" id="{A10AA2B3-9E77-4DB2-A8A9-C5931749D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" y="1212"/>
              <a:ext cx="29" cy="43"/>
            </a:xfrm>
            <a:custGeom>
              <a:avLst/>
              <a:gdLst>
                <a:gd name="T0" fmla="*/ 10 w 11"/>
                <a:gd name="T1" fmla="*/ 6 h 17"/>
                <a:gd name="T2" fmla="*/ 10 w 11"/>
                <a:gd name="T3" fmla="*/ 1 h 17"/>
                <a:gd name="T4" fmla="*/ 10 w 11"/>
                <a:gd name="T5" fmla="*/ 0 h 17"/>
                <a:gd name="T6" fmla="*/ 6 w 11"/>
                <a:gd name="T7" fmla="*/ 0 h 17"/>
                <a:gd name="T8" fmla="*/ 7 w 11"/>
                <a:gd name="T9" fmla="*/ 2 h 17"/>
                <a:gd name="T10" fmla="*/ 7 w 11"/>
                <a:gd name="T11" fmla="*/ 4 h 17"/>
                <a:gd name="T12" fmla="*/ 0 w 11"/>
                <a:gd name="T13" fmla="*/ 17 h 17"/>
                <a:gd name="T14" fmla="*/ 3 w 11"/>
                <a:gd name="T15" fmla="*/ 17 h 17"/>
                <a:gd name="T16" fmla="*/ 10 w 11"/>
                <a:gd name="T17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7">
                  <a:moveTo>
                    <a:pt x="10" y="6"/>
                  </a:moveTo>
                  <a:cubicBezTo>
                    <a:pt x="11" y="4"/>
                    <a:pt x="10" y="2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7" y="0"/>
                    <a:pt x="6" y="0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6" y="6"/>
                    <a:pt x="2" y="13"/>
                    <a:pt x="0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6" y="13"/>
                    <a:pt x="9" y="8"/>
                    <a:pt x="1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A4DB95B3-2D75-44D9-A437-EAA610042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1207"/>
              <a:ext cx="18" cy="48"/>
            </a:xfrm>
            <a:custGeom>
              <a:avLst/>
              <a:gdLst>
                <a:gd name="T0" fmla="*/ 7 w 7"/>
                <a:gd name="T1" fmla="*/ 1 h 19"/>
                <a:gd name="T2" fmla="*/ 4 w 7"/>
                <a:gd name="T3" fmla="*/ 0 h 19"/>
                <a:gd name="T4" fmla="*/ 0 w 7"/>
                <a:gd name="T5" fmla="*/ 19 h 19"/>
                <a:gd name="T6" fmla="*/ 3 w 7"/>
                <a:gd name="T7" fmla="*/ 19 h 19"/>
                <a:gd name="T8" fmla="*/ 7 w 7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7" y="1"/>
                  </a:moveTo>
                  <a:cubicBezTo>
                    <a:pt x="6" y="1"/>
                    <a:pt x="5" y="1"/>
                    <a:pt x="4" y="0"/>
                  </a:cubicBezTo>
                  <a:cubicBezTo>
                    <a:pt x="3" y="7"/>
                    <a:pt x="2" y="13"/>
                    <a:pt x="0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3"/>
                    <a:pt x="7" y="7"/>
                    <a:pt x="7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70E31034-3607-49B1-ADE8-80DC07825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" y="1286"/>
              <a:ext cx="167" cy="120"/>
            </a:xfrm>
            <a:custGeom>
              <a:avLst/>
              <a:gdLst>
                <a:gd name="T0" fmla="*/ 51 w 65"/>
                <a:gd name="T1" fmla="*/ 15 h 47"/>
                <a:gd name="T2" fmla="*/ 52 w 65"/>
                <a:gd name="T3" fmla="*/ 26 h 47"/>
                <a:gd name="T4" fmla="*/ 59 w 65"/>
                <a:gd name="T5" fmla="*/ 33 h 47"/>
                <a:gd name="T6" fmla="*/ 15 w 65"/>
                <a:gd name="T7" fmla="*/ 43 h 47"/>
                <a:gd name="T8" fmla="*/ 12 w 65"/>
                <a:gd name="T9" fmla="*/ 29 h 47"/>
                <a:gd name="T10" fmla="*/ 8 w 65"/>
                <a:gd name="T11" fmla="*/ 27 h 47"/>
                <a:gd name="T12" fmla="*/ 7 w 65"/>
                <a:gd name="T13" fmla="*/ 27 h 47"/>
                <a:gd name="T14" fmla="*/ 0 w 65"/>
                <a:gd name="T15" fmla="*/ 30 h 47"/>
                <a:gd name="T16" fmla="*/ 8 w 65"/>
                <a:gd name="T17" fmla="*/ 31 h 47"/>
                <a:gd name="T18" fmla="*/ 10 w 65"/>
                <a:gd name="T19" fmla="*/ 31 h 47"/>
                <a:gd name="T20" fmla="*/ 12 w 65"/>
                <a:gd name="T21" fmla="*/ 44 h 47"/>
                <a:gd name="T22" fmla="*/ 12 w 65"/>
                <a:gd name="T23" fmla="*/ 47 h 47"/>
                <a:gd name="T24" fmla="*/ 65 w 65"/>
                <a:gd name="T25" fmla="*/ 35 h 47"/>
                <a:gd name="T26" fmla="*/ 54 w 65"/>
                <a:gd name="T27" fmla="*/ 23 h 47"/>
                <a:gd name="T28" fmla="*/ 54 w 65"/>
                <a:gd name="T29" fmla="*/ 17 h 47"/>
                <a:gd name="T30" fmla="*/ 63 w 65"/>
                <a:gd name="T31" fmla="*/ 0 h 47"/>
                <a:gd name="T32" fmla="*/ 59 w 65"/>
                <a:gd name="T33" fmla="*/ 0 h 47"/>
                <a:gd name="T34" fmla="*/ 51 w 65"/>
                <a:gd name="T35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51" y="15"/>
                  </a:moveTo>
                  <a:cubicBezTo>
                    <a:pt x="48" y="20"/>
                    <a:pt x="50" y="24"/>
                    <a:pt x="52" y="26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6" y="39"/>
                    <a:pt x="15" y="32"/>
                    <a:pt x="12" y="29"/>
                  </a:cubicBezTo>
                  <a:cubicBezTo>
                    <a:pt x="11" y="28"/>
                    <a:pt x="10" y="27"/>
                    <a:pt x="8" y="27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5" y="28"/>
                    <a:pt x="3" y="29"/>
                    <a:pt x="0" y="30"/>
                  </a:cubicBezTo>
                  <a:cubicBezTo>
                    <a:pt x="4" y="31"/>
                    <a:pt x="7" y="31"/>
                    <a:pt x="8" y="31"/>
                  </a:cubicBezTo>
                  <a:cubicBezTo>
                    <a:pt x="9" y="31"/>
                    <a:pt x="9" y="31"/>
                    <a:pt x="10" y="31"/>
                  </a:cubicBezTo>
                  <a:cubicBezTo>
                    <a:pt x="12" y="34"/>
                    <a:pt x="12" y="41"/>
                    <a:pt x="12" y="44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1" y="21"/>
                    <a:pt x="54" y="17"/>
                  </a:cubicBezTo>
                  <a:cubicBezTo>
                    <a:pt x="57" y="11"/>
                    <a:pt x="60" y="5"/>
                    <a:pt x="6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7" y="5"/>
                    <a:pt x="54" y="10"/>
                    <a:pt x="5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7709FA68-7039-48C6-B907-E6A045EE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0" y="1099"/>
              <a:ext cx="5" cy="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1 w 2"/>
                <a:gd name="T5" fmla="*/ 1 h 2"/>
                <a:gd name="T6" fmla="*/ 0 w 2"/>
                <a:gd name="T7" fmla="*/ 2 h 2"/>
                <a:gd name="T8" fmla="*/ 1 w 2"/>
                <a:gd name="T9" fmla="*/ 1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9">
              <a:extLst>
                <a:ext uri="{FF2B5EF4-FFF2-40B4-BE49-F238E27FC236}">
                  <a16:creationId xmlns:a16="http://schemas.microsoft.com/office/drawing/2014/main" id="{9AFA0D92-920E-4E52-B15F-D89803B9B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" y="1217"/>
              <a:ext cx="61" cy="38"/>
            </a:xfrm>
            <a:custGeom>
              <a:avLst/>
              <a:gdLst>
                <a:gd name="T0" fmla="*/ 8 w 24"/>
                <a:gd name="T1" fmla="*/ 9 h 15"/>
                <a:gd name="T2" fmla="*/ 15 w 24"/>
                <a:gd name="T3" fmla="*/ 5 h 15"/>
                <a:gd name="T4" fmla="*/ 20 w 24"/>
                <a:gd name="T5" fmla="*/ 8 h 15"/>
                <a:gd name="T6" fmla="*/ 19 w 24"/>
                <a:gd name="T7" fmla="*/ 15 h 15"/>
                <a:gd name="T8" fmla="*/ 23 w 24"/>
                <a:gd name="T9" fmla="*/ 15 h 15"/>
                <a:gd name="T10" fmla="*/ 23 w 24"/>
                <a:gd name="T11" fmla="*/ 6 h 15"/>
                <a:gd name="T12" fmla="*/ 16 w 24"/>
                <a:gd name="T13" fmla="*/ 1 h 15"/>
                <a:gd name="T14" fmla="*/ 5 w 24"/>
                <a:gd name="T15" fmla="*/ 7 h 15"/>
                <a:gd name="T16" fmla="*/ 0 w 24"/>
                <a:gd name="T17" fmla="*/ 15 h 15"/>
                <a:gd name="T18" fmla="*/ 4 w 24"/>
                <a:gd name="T19" fmla="*/ 15 h 15"/>
                <a:gd name="T20" fmla="*/ 8 w 2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5">
                  <a:moveTo>
                    <a:pt x="8" y="9"/>
                  </a:moveTo>
                  <a:cubicBezTo>
                    <a:pt x="9" y="8"/>
                    <a:pt x="12" y="4"/>
                    <a:pt x="15" y="5"/>
                  </a:cubicBezTo>
                  <a:cubicBezTo>
                    <a:pt x="16" y="5"/>
                    <a:pt x="18" y="5"/>
                    <a:pt x="20" y="8"/>
                  </a:cubicBezTo>
                  <a:cubicBezTo>
                    <a:pt x="20" y="10"/>
                    <a:pt x="20" y="12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1"/>
                    <a:pt x="23" y="8"/>
                    <a:pt x="23" y="6"/>
                  </a:cubicBezTo>
                  <a:cubicBezTo>
                    <a:pt x="21" y="4"/>
                    <a:pt x="19" y="2"/>
                    <a:pt x="16" y="1"/>
                  </a:cubicBezTo>
                  <a:cubicBezTo>
                    <a:pt x="11" y="0"/>
                    <a:pt x="6" y="6"/>
                    <a:pt x="5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15"/>
                    <a:pt x="4" y="15"/>
                    <a:pt x="4" y="15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80">
              <a:extLst>
                <a:ext uri="{FF2B5EF4-FFF2-40B4-BE49-F238E27FC236}">
                  <a16:creationId xmlns:a16="http://schemas.microsoft.com/office/drawing/2014/main" id="{19B97D64-61C1-494F-91C7-4CAA1C76E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1286"/>
              <a:ext cx="64" cy="67"/>
            </a:xfrm>
            <a:custGeom>
              <a:avLst/>
              <a:gdLst>
                <a:gd name="T0" fmla="*/ 0 w 25"/>
                <a:gd name="T1" fmla="*/ 0 h 26"/>
                <a:gd name="T2" fmla="*/ 22 w 25"/>
                <a:gd name="T3" fmla="*/ 26 h 26"/>
                <a:gd name="T4" fmla="*/ 25 w 25"/>
                <a:gd name="T5" fmla="*/ 24 h 26"/>
                <a:gd name="T6" fmla="*/ 4 w 25"/>
                <a:gd name="T7" fmla="*/ 0 h 26"/>
                <a:gd name="T8" fmla="*/ 0 w 25"/>
                <a:gd name="T9" fmla="*/ 0 h 26"/>
                <a:gd name="T10" fmla="*/ 0 w 25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6">
                  <a:moveTo>
                    <a:pt x="0" y="0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81">
              <a:extLst>
                <a:ext uri="{FF2B5EF4-FFF2-40B4-BE49-F238E27FC236}">
                  <a16:creationId xmlns:a16="http://schemas.microsoft.com/office/drawing/2014/main" id="{168E8CC0-DE59-4387-83AB-4C8CE4934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1" y="1053"/>
              <a:ext cx="307" cy="169"/>
            </a:xfrm>
            <a:custGeom>
              <a:avLst/>
              <a:gdLst>
                <a:gd name="T0" fmla="*/ 116 w 120"/>
                <a:gd name="T1" fmla="*/ 62 h 66"/>
                <a:gd name="T2" fmla="*/ 83 w 120"/>
                <a:gd name="T3" fmla="*/ 57 h 66"/>
                <a:gd name="T4" fmla="*/ 4 w 120"/>
                <a:gd name="T5" fmla="*/ 62 h 66"/>
                <a:gd name="T6" fmla="*/ 19 w 120"/>
                <a:gd name="T7" fmla="*/ 48 h 66"/>
                <a:gd name="T8" fmla="*/ 20 w 120"/>
                <a:gd name="T9" fmla="*/ 21 h 66"/>
                <a:gd name="T10" fmla="*/ 28 w 120"/>
                <a:gd name="T11" fmla="*/ 19 h 66"/>
                <a:gd name="T12" fmla="*/ 73 w 120"/>
                <a:gd name="T13" fmla="*/ 5 h 66"/>
                <a:gd name="T14" fmla="*/ 116 w 120"/>
                <a:gd name="T15" fmla="*/ 62 h 66"/>
                <a:gd name="T16" fmla="*/ 106 w 120"/>
                <a:gd name="T17" fmla="*/ 21 h 66"/>
                <a:gd name="T18" fmla="*/ 73 w 120"/>
                <a:gd name="T19" fmla="*/ 3 h 66"/>
                <a:gd name="T20" fmla="*/ 27 w 120"/>
                <a:gd name="T21" fmla="*/ 18 h 66"/>
                <a:gd name="T22" fmla="*/ 19 w 120"/>
                <a:gd name="T23" fmla="*/ 20 h 66"/>
                <a:gd name="T24" fmla="*/ 17 w 120"/>
                <a:gd name="T25" fmla="*/ 48 h 66"/>
                <a:gd name="T26" fmla="*/ 0 w 120"/>
                <a:gd name="T27" fmla="*/ 63 h 66"/>
                <a:gd name="T28" fmla="*/ 4 w 120"/>
                <a:gd name="T29" fmla="*/ 63 h 66"/>
                <a:gd name="T30" fmla="*/ 19 w 120"/>
                <a:gd name="T31" fmla="*/ 64 h 66"/>
                <a:gd name="T32" fmla="*/ 51 w 120"/>
                <a:gd name="T33" fmla="*/ 61 h 66"/>
                <a:gd name="T34" fmla="*/ 83 w 120"/>
                <a:gd name="T35" fmla="*/ 59 h 66"/>
                <a:gd name="T36" fmla="*/ 115 w 120"/>
                <a:gd name="T37" fmla="*/ 63 h 66"/>
                <a:gd name="T38" fmla="*/ 117 w 120"/>
                <a:gd name="T39" fmla="*/ 64 h 66"/>
                <a:gd name="T40" fmla="*/ 117 w 120"/>
                <a:gd name="T41" fmla="*/ 62 h 66"/>
                <a:gd name="T42" fmla="*/ 106 w 120"/>
                <a:gd name="T43" fmla="*/ 2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0" h="66">
                  <a:moveTo>
                    <a:pt x="116" y="62"/>
                  </a:moveTo>
                  <a:cubicBezTo>
                    <a:pt x="116" y="62"/>
                    <a:pt x="106" y="59"/>
                    <a:pt x="83" y="57"/>
                  </a:cubicBezTo>
                  <a:cubicBezTo>
                    <a:pt x="60" y="55"/>
                    <a:pt x="35" y="66"/>
                    <a:pt x="4" y="62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39" y="2"/>
                    <a:pt x="73" y="5"/>
                  </a:cubicBezTo>
                  <a:cubicBezTo>
                    <a:pt x="107" y="8"/>
                    <a:pt x="119" y="41"/>
                    <a:pt x="116" y="62"/>
                  </a:cubicBezTo>
                  <a:moveTo>
                    <a:pt x="106" y="21"/>
                  </a:moveTo>
                  <a:cubicBezTo>
                    <a:pt x="98" y="10"/>
                    <a:pt x="87" y="4"/>
                    <a:pt x="73" y="3"/>
                  </a:cubicBezTo>
                  <a:cubicBezTo>
                    <a:pt x="42" y="0"/>
                    <a:pt x="29" y="15"/>
                    <a:pt x="27" y="18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9" y="64"/>
                    <a:pt x="14" y="64"/>
                    <a:pt x="19" y="64"/>
                  </a:cubicBezTo>
                  <a:cubicBezTo>
                    <a:pt x="30" y="64"/>
                    <a:pt x="41" y="63"/>
                    <a:pt x="51" y="61"/>
                  </a:cubicBezTo>
                  <a:cubicBezTo>
                    <a:pt x="62" y="59"/>
                    <a:pt x="73" y="58"/>
                    <a:pt x="83" y="59"/>
                  </a:cubicBezTo>
                  <a:cubicBezTo>
                    <a:pt x="106" y="61"/>
                    <a:pt x="115" y="63"/>
                    <a:pt x="115" y="63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20" y="48"/>
                    <a:pt x="115" y="32"/>
                    <a:pt x="106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2">
              <a:extLst>
                <a:ext uri="{FF2B5EF4-FFF2-40B4-BE49-F238E27FC236}">
                  <a16:creationId xmlns:a16="http://schemas.microsoft.com/office/drawing/2014/main" id="{1ECC1C9F-BE4C-40A6-89E0-AEF5B1FE3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1" y="1058"/>
              <a:ext cx="295" cy="164"/>
            </a:xfrm>
            <a:custGeom>
              <a:avLst/>
              <a:gdLst>
                <a:gd name="T0" fmla="*/ 100 w 115"/>
                <a:gd name="T1" fmla="*/ 21 h 64"/>
                <a:gd name="T2" fmla="*/ 110 w 115"/>
                <a:gd name="T3" fmla="*/ 58 h 64"/>
                <a:gd name="T4" fmla="*/ 79 w 115"/>
                <a:gd name="T5" fmla="*/ 53 h 64"/>
                <a:gd name="T6" fmla="*/ 47 w 115"/>
                <a:gd name="T7" fmla="*/ 56 h 64"/>
                <a:gd name="T8" fmla="*/ 4 w 115"/>
                <a:gd name="T9" fmla="*/ 58 h 64"/>
                <a:gd name="T10" fmla="*/ 17 w 115"/>
                <a:gd name="T11" fmla="*/ 47 h 64"/>
                <a:gd name="T12" fmla="*/ 18 w 115"/>
                <a:gd name="T13" fmla="*/ 21 h 64"/>
                <a:gd name="T14" fmla="*/ 25 w 115"/>
                <a:gd name="T15" fmla="*/ 19 h 64"/>
                <a:gd name="T16" fmla="*/ 25 w 115"/>
                <a:gd name="T17" fmla="*/ 18 h 64"/>
                <a:gd name="T18" fmla="*/ 69 w 115"/>
                <a:gd name="T19" fmla="*/ 4 h 64"/>
                <a:gd name="T20" fmla="*/ 100 w 115"/>
                <a:gd name="T21" fmla="*/ 21 h 64"/>
                <a:gd name="T22" fmla="*/ 69 w 115"/>
                <a:gd name="T23" fmla="*/ 3 h 64"/>
                <a:gd name="T24" fmla="*/ 24 w 115"/>
                <a:gd name="T25" fmla="*/ 17 h 64"/>
                <a:gd name="T26" fmla="*/ 16 w 115"/>
                <a:gd name="T27" fmla="*/ 19 h 64"/>
                <a:gd name="T28" fmla="*/ 15 w 115"/>
                <a:gd name="T29" fmla="*/ 46 h 64"/>
                <a:gd name="T30" fmla="*/ 0 w 115"/>
                <a:gd name="T31" fmla="*/ 60 h 64"/>
                <a:gd name="T32" fmla="*/ 79 w 115"/>
                <a:gd name="T33" fmla="*/ 55 h 64"/>
                <a:gd name="T34" fmla="*/ 112 w 115"/>
                <a:gd name="T35" fmla="*/ 60 h 64"/>
                <a:gd name="T36" fmla="*/ 69 w 115"/>
                <a:gd name="T37" fmla="*/ 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64">
                  <a:moveTo>
                    <a:pt x="100" y="21"/>
                  </a:moveTo>
                  <a:cubicBezTo>
                    <a:pt x="109" y="33"/>
                    <a:pt x="111" y="48"/>
                    <a:pt x="110" y="58"/>
                  </a:cubicBezTo>
                  <a:cubicBezTo>
                    <a:pt x="107" y="57"/>
                    <a:pt x="97" y="55"/>
                    <a:pt x="79" y="53"/>
                  </a:cubicBezTo>
                  <a:cubicBezTo>
                    <a:pt x="69" y="52"/>
                    <a:pt x="58" y="54"/>
                    <a:pt x="47" y="56"/>
                  </a:cubicBezTo>
                  <a:cubicBezTo>
                    <a:pt x="33" y="58"/>
                    <a:pt x="19" y="60"/>
                    <a:pt x="4" y="58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37" y="2"/>
                    <a:pt x="69" y="4"/>
                  </a:cubicBezTo>
                  <a:cubicBezTo>
                    <a:pt x="82" y="5"/>
                    <a:pt x="92" y="11"/>
                    <a:pt x="100" y="21"/>
                  </a:cubicBezTo>
                  <a:moveTo>
                    <a:pt x="69" y="3"/>
                  </a:moveTo>
                  <a:cubicBezTo>
                    <a:pt x="35" y="0"/>
                    <a:pt x="24" y="17"/>
                    <a:pt x="24" y="17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31" y="64"/>
                    <a:pt x="56" y="53"/>
                    <a:pt x="79" y="55"/>
                  </a:cubicBezTo>
                  <a:cubicBezTo>
                    <a:pt x="102" y="57"/>
                    <a:pt x="112" y="60"/>
                    <a:pt x="112" y="60"/>
                  </a:cubicBezTo>
                  <a:cubicBezTo>
                    <a:pt x="115" y="39"/>
                    <a:pt x="103" y="6"/>
                    <a:pt x="69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3">
              <a:extLst>
                <a:ext uri="{FF2B5EF4-FFF2-40B4-BE49-F238E27FC236}">
                  <a16:creationId xmlns:a16="http://schemas.microsoft.com/office/drawing/2014/main" id="{5B768BDB-EEEE-48C3-86FE-BA7305A78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" y="1102"/>
              <a:ext cx="5" cy="2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 h 2"/>
                <a:gd name="T4" fmla="*/ 5 w 5"/>
                <a:gd name="T5" fmla="*/ 0 h 2"/>
                <a:gd name="T6" fmla="*/ 0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4">
              <a:extLst>
                <a:ext uri="{FF2B5EF4-FFF2-40B4-BE49-F238E27FC236}">
                  <a16:creationId xmlns:a16="http://schemas.microsoft.com/office/drawing/2014/main" id="{DB1E4EE8-D358-4187-97A4-A1F51716A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" y="1102"/>
              <a:ext cx="10" cy="64"/>
            </a:xfrm>
            <a:custGeom>
              <a:avLst/>
              <a:gdLst>
                <a:gd name="T0" fmla="*/ 5 w 10"/>
                <a:gd name="T1" fmla="*/ 0 h 64"/>
                <a:gd name="T2" fmla="*/ 0 w 10"/>
                <a:gd name="T3" fmla="*/ 2 h 64"/>
                <a:gd name="T4" fmla="*/ 0 w 10"/>
                <a:gd name="T5" fmla="*/ 64 h 64"/>
                <a:gd name="T6" fmla="*/ 10 w 10"/>
                <a:gd name="T7" fmla="*/ 64 h 64"/>
                <a:gd name="T8" fmla="*/ 10 w 10"/>
                <a:gd name="T9" fmla="*/ 0 h 64"/>
                <a:gd name="T10" fmla="*/ 5 w 10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4">
                  <a:moveTo>
                    <a:pt x="5" y="0"/>
                  </a:moveTo>
                  <a:lnTo>
                    <a:pt x="0" y="2"/>
                  </a:lnTo>
                  <a:lnTo>
                    <a:pt x="0" y="64"/>
                  </a:lnTo>
                  <a:lnTo>
                    <a:pt x="10" y="64"/>
                  </a:lnTo>
                  <a:lnTo>
                    <a:pt x="1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5">
              <a:extLst>
                <a:ext uri="{FF2B5EF4-FFF2-40B4-BE49-F238E27FC236}">
                  <a16:creationId xmlns:a16="http://schemas.microsoft.com/office/drawing/2014/main" id="{B749C5CD-7EFF-4AAE-A6ED-9B6CC097F4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1250"/>
              <a:ext cx="253" cy="120"/>
            </a:xfrm>
            <a:custGeom>
              <a:avLst/>
              <a:gdLst>
                <a:gd name="T0" fmla="*/ 95 w 99"/>
                <a:gd name="T1" fmla="*/ 14 h 47"/>
                <a:gd name="T2" fmla="*/ 58 w 99"/>
                <a:gd name="T3" fmla="*/ 14 h 47"/>
                <a:gd name="T4" fmla="*/ 23 w 99"/>
                <a:gd name="T5" fmla="*/ 46 h 47"/>
                <a:gd name="T6" fmla="*/ 2 w 99"/>
                <a:gd name="T7" fmla="*/ 2 h 47"/>
                <a:gd name="T8" fmla="*/ 97 w 99"/>
                <a:gd name="T9" fmla="*/ 2 h 47"/>
                <a:gd name="T10" fmla="*/ 95 w 99"/>
                <a:gd name="T11" fmla="*/ 14 h 47"/>
                <a:gd name="T12" fmla="*/ 1 w 99"/>
                <a:gd name="T13" fmla="*/ 0 h 47"/>
                <a:gd name="T14" fmla="*/ 1 w 99"/>
                <a:gd name="T15" fmla="*/ 2 h 47"/>
                <a:gd name="T16" fmla="*/ 2 w 99"/>
                <a:gd name="T17" fmla="*/ 21 h 47"/>
                <a:gd name="T18" fmla="*/ 7 w 99"/>
                <a:gd name="T19" fmla="*/ 32 h 47"/>
                <a:gd name="T20" fmla="*/ 22 w 99"/>
                <a:gd name="T21" fmla="*/ 47 h 47"/>
                <a:gd name="T22" fmla="*/ 22 w 99"/>
                <a:gd name="T23" fmla="*/ 47 h 47"/>
                <a:gd name="T24" fmla="*/ 23 w 99"/>
                <a:gd name="T25" fmla="*/ 47 h 47"/>
                <a:gd name="T26" fmla="*/ 59 w 99"/>
                <a:gd name="T27" fmla="*/ 15 h 47"/>
                <a:gd name="T28" fmla="*/ 96 w 99"/>
                <a:gd name="T29" fmla="*/ 15 h 47"/>
                <a:gd name="T30" fmla="*/ 99 w 99"/>
                <a:gd name="T31" fmla="*/ 0 h 47"/>
                <a:gd name="T32" fmla="*/ 1 w 9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47">
                  <a:moveTo>
                    <a:pt x="95" y="14"/>
                  </a:move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5" y="39"/>
                    <a:pt x="23" y="46"/>
                  </a:cubicBezTo>
                  <a:cubicBezTo>
                    <a:pt x="23" y="46"/>
                    <a:pt x="0" y="36"/>
                    <a:pt x="2" y="2"/>
                  </a:cubicBezTo>
                  <a:cubicBezTo>
                    <a:pt x="97" y="2"/>
                    <a:pt x="97" y="2"/>
                    <a:pt x="97" y="2"/>
                  </a:cubicBezTo>
                  <a:lnTo>
                    <a:pt x="95" y="14"/>
                  </a:lnTo>
                  <a:close/>
                  <a:moveTo>
                    <a:pt x="1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0"/>
                    <a:pt x="1" y="16"/>
                    <a:pt x="2" y="2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13" y="43"/>
                    <a:pt x="22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51" y="41"/>
                    <a:pt x="58" y="21"/>
                    <a:pt x="59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9" y="0"/>
                    <a:pt x="99" y="0"/>
                    <a:pt x="99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6">
              <a:extLst>
                <a:ext uri="{FF2B5EF4-FFF2-40B4-BE49-F238E27FC236}">
                  <a16:creationId xmlns:a16="http://schemas.microsoft.com/office/drawing/2014/main" id="{65796259-8D8A-448D-9185-58948616C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0" y="1304"/>
              <a:ext cx="12" cy="28"/>
            </a:xfrm>
            <a:custGeom>
              <a:avLst/>
              <a:gdLst>
                <a:gd name="T0" fmla="*/ 5 w 5"/>
                <a:gd name="T1" fmla="*/ 11 h 11"/>
                <a:gd name="T2" fmla="*/ 0 w 5"/>
                <a:gd name="T3" fmla="*/ 0 h 11"/>
                <a:gd name="T4" fmla="*/ 5 w 5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1">
                  <a:moveTo>
                    <a:pt x="5" y="1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8"/>
                    <a:pt x="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7">
              <a:extLst>
                <a:ext uri="{FF2B5EF4-FFF2-40B4-BE49-F238E27FC236}">
                  <a16:creationId xmlns:a16="http://schemas.microsoft.com/office/drawing/2014/main" id="{E12E43E4-4A27-463A-807D-BCDB05C47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5" y="1255"/>
              <a:ext cx="248" cy="113"/>
            </a:xfrm>
            <a:custGeom>
              <a:avLst/>
              <a:gdLst>
                <a:gd name="T0" fmla="*/ 94 w 97"/>
                <a:gd name="T1" fmla="*/ 10 h 44"/>
                <a:gd name="T2" fmla="*/ 57 w 97"/>
                <a:gd name="T3" fmla="*/ 10 h 44"/>
                <a:gd name="T4" fmla="*/ 56 w 97"/>
                <a:gd name="T5" fmla="*/ 11 h 44"/>
                <a:gd name="T6" fmla="*/ 23 w 97"/>
                <a:gd name="T7" fmla="*/ 42 h 44"/>
                <a:gd name="T8" fmla="*/ 4 w 97"/>
                <a:gd name="T9" fmla="*/ 2 h 44"/>
                <a:gd name="T10" fmla="*/ 95 w 97"/>
                <a:gd name="T11" fmla="*/ 2 h 44"/>
                <a:gd name="T12" fmla="*/ 94 w 97"/>
                <a:gd name="T13" fmla="*/ 10 h 44"/>
                <a:gd name="T14" fmla="*/ 2 w 97"/>
                <a:gd name="T15" fmla="*/ 0 h 44"/>
                <a:gd name="T16" fmla="*/ 23 w 97"/>
                <a:gd name="T17" fmla="*/ 44 h 44"/>
                <a:gd name="T18" fmla="*/ 58 w 97"/>
                <a:gd name="T19" fmla="*/ 12 h 44"/>
                <a:gd name="T20" fmla="*/ 95 w 97"/>
                <a:gd name="T21" fmla="*/ 12 h 44"/>
                <a:gd name="T22" fmla="*/ 97 w 97"/>
                <a:gd name="T23" fmla="*/ 0 h 44"/>
                <a:gd name="T24" fmla="*/ 2 w 97"/>
                <a:gd name="T2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44">
                  <a:moveTo>
                    <a:pt x="94" y="10"/>
                  </a:moveTo>
                  <a:cubicBezTo>
                    <a:pt x="57" y="10"/>
                    <a:pt x="57" y="10"/>
                    <a:pt x="57" y="10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2"/>
                    <a:pt x="53" y="35"/>
                    <a:pt x="23" y="42"/>
                  </a:cubicBezTo>
                  <a:cubicBezTo>
                    <a:pt x="20" y="40"/>
                    <a:pt x="3" y="30"/>
                    <a:pt x="4" y="2"/>
                  </a:cubicBezTo>
                  <a:cubicBezTo>
                    <a:pt x="95" y="2"/>
                    <a:pt x="95" y="2"/>
                    <a:pt x="95" y="2"/>
                  </a:cubicBezTo>
                  <a:lnTo>
                    <a:pt x="94" y="10"/>
                  </a:lnTo>
                  <a:close/>
                  <a:moveTo>
                    <a:pt x="2" y="0"/>
                  </a:moveTo>
                  <a:cubicBezTo>
                    <a:pt x="0" y="34"/>
                    <a:pt x="23" y="44"/>
                    <a:pt x="23" y="44"/>
                  </a:cubicBezTo>
                  <a:cubicBezTo>
                    <a:pt x="55" y="37"/>
                    <a:pt x="58" y="12"/>
                    <a:pt x="58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88">
              <a:extLst>
                <a:ext uri="{FF2B5EF4-FFF2-40B4-BE49-F238E27FC236}">
                  <a16:creationId xmlns:a16="http://schemas.microsoft.com/office/drawing/2014/main" id="{09E65F1A-6112-4153-9710-A005E8FD9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9" y="1276"/>
              <a:ext cx="24" cy="2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9">
              <a:extLst>
                <a:ext uri="{FF2B5EF4-FFF2-40B4-BE49-F238E27FC236}">
                  <a16:creationId xmlns:a16="http://schemas.microsoft.com/office/drawing/2014/main" id="{09135A5E-E9FD-4E80-B16A-8192C3A45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" y="1291"/>
              <a:ext cx="54" cy="87"/>
            </a:xfrm>
            <a:custGeom>
              <a:avLst/>
              <a:gdLst>
                <a:gd name="T0" fmla="*/ 20 w 21"/>
                <a:gd name="T1" fmla="*/ 27 h 34"/>
                <a:gd name="T2" fmla="*/ 20 w 21"/>
                <a:gd name="T3" fmla="*/ 27 h 34"/>
                <a:gd name="T4" fmla="*/ 19 w 21"/>
                <a:gd name="T5" fmla="*/ 27 h 34"/>
                <a:gd name="T6" fmla="*/ 17 w 21"/>
                <a:gd name="T7" fmla="*/ 32 h 34"/>
                <a:gd name="T8" fmla="*/ 13 w 21"/>
                <a:gd name="T9" fmla="*/ 30 h 34"/>
                <a:gd name="T10" fmla="*/ 3 w 21"/>
                <a:gd name="T11" fmla="*/ 6 h 34"/>
                <a:gd name="T12" fmla="*/ 5 w 21"/>
                <a:gd name="T13" fmla="*/ 2 h 34"/>
                <a:gd name="T14" fmla="*/ 9 w 21"/>
                <a:gd name="T15" fmla="*/ 4 h 34"/>
                <a:gd name="T16" fmla="*/ 19 w 21"/>
                <a:gd name="T17" fmla="*/ 27 h 34"/>
                <a:gd name="T18" fmla="*/ 9 w 21"/>
                <a:gd name="T19" fmla="*/ 3 h 34"/>
                <a:gd name="T20" fmla="*/ 10 w 21"/>
                <a:gd name="T21" fmla="*/ 3 h 34"/>
                <a:gd name="T22" fmla="*/ 8 w 21"/>
                <a:gd name="T23" fmla="*/ 0 h 34"/>
                <a:gd name="T24" fmla="*/ 4 w 21"/>
                <a:gd name="T25" fmla="*/ 0 h 34"/>
                <a:gd name="T26" fmla="*/ 1 w 21"/>
                <a:gd name="T27" fmla="*/ 7 h 34"/>
                <a:gd name="T28" fmla="*/ 11 w 21"/>
                <a:gd name="T29" fmla="*/ 30 h 34"/>
                <a:gd name="T30" fmla="*/ 14 w 21"/>
                <a:gd name="T31" fmla="*/ 33 h 34"/>
                <a:gd name="T32" fmla="*/ 16 w 21"/>
                <a:gd name="T33" fmla="*/ 34 h 34"/>
                <a:gd name="T34" fmla="*/ 17 w 21"/>
                <a:gd name="T35" fmla="*/ 33 h 34"/>
                <a:gd name="T36" fmla="*/ 20 w 21"/>
                <a:gd name="T37" fmla="*/ 31 h 34"/>
                <a:gd name="T38" fmla="*/ 20 w 21"/>
                <a:gd name="T3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34">
                  <a:moveTo>
                    <a:pt x="20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9"/>
                    <a:pt x="18" y="31"/>
                    <a:pt x="17" y="32"/>
                  </a:cubicBezTo>
                  <a:cubicBezTo>
                    <a:pt x="15" y="32"/>
                    <a:pt x="13" y="31"/>
                    <a:pt x="13" y="3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4"/>
                    <a:pt x="3" y="2"/>
                    <a:pt x="5" y="2"/>
                  </a:cubicBezTo>
                  <a:cubicBezTo>
                    <a:pt x="6" y="1"/>
                    <a:pt x="8" y="2"/>
                    <a:pt x="9" y="4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9" y="1"/>
                    <a:pt x="8" y="0"/>
                  </a:cubicBezTo>
                  <a:cubicBezTo>
                    <a:pt x="7" y="0"/>
                    <a:pt x="5" y="0"/>
                    <a:pt x="4" y="0"/>
                  </a:cubicBezTo>
                  <a:cubicBezTo>
                    <a:pt x="2" y="1"/>
                    <a:pt x="0" y="4"/>
                    <a:pt x="1" y="7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2"/>
                    <a:pt x="12" y="33"/>
                    <a:pt x="14" y="33"/>
                  </a:cubicBezTo>
                  <a:cubicBezTo>
                    <a:pt x="14" y="33"/>
                    <a:pt x="15" y="34"/>
                    <a:pt x="16" y="34"/>
                  </a:cubicBezTo>
                  <a:cubicBezTo>
                    <a:pt x="16" y="34"/>
                    <a:pt x="17" y="33"/>
                    <a:pt x="17" y="33"/>
                  </a:cubicBezTo>
                  <a:cubicBezTo>
                    <a:pt x="19" y="33"/>
                    <a:pt x="20" y="32"/>
                    <a:pt x="20" y="31"/>
                  </a:cubicBezTo>
                  <a:cubicBezTo>
                    <a:pt x="21" y="29"/>
                    <a:pt x="21" y="28"/>
                    <a:pt x="20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0">
              <a:extLst>
                <a:ext uri="{FF2B5EF4-FFF2-40B4-BE49-F238E27FC236}">
                  <a16:creationId xmlns:a16="http://schemas.microsoft.com/office/drawing/2014/main" id="{51D0CD22-6901-4A8E-B8FD-B2209D5661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4" y="1294"/>
              <a:ext cx="43" cy="79"/>
            </a:xfrm>
            <a:custGeom>
              <a:avLst/>
              <a:gdLst>
                <a:gd name="T0" fmla="*/ 15 w 17"/>
                <a:gd name="T1" fmla="*/ 28 h 31"/>
                <a:gd name="T2" fmla="*/ 14 w 17"/>
                <a:gd name="T3" fmla="*/ 29 h 31"/>
                <a:gd name="T4" fmla="*/ 13 w 17"/>
                <a:gd name="T5" fmla="*/ 29 h 31"/>
                <a:gd name="T6" fmla="*/ 12 w 17"/>
                <a:gd name="T7" fmla="*/ 28 h 31"/>
                <a:gd name="T8" fmla="*/ 2 w 17"/>
                <a:gd name="T9" fmla="*/ 4 h 31"/>
                <a:gd name="T10" fmla="*/ 2 w 17"/>
                <a:gd name="T11" fmla="*/ 3 h 31"/>
                <a:gd name="T12" fmla="*/ 3 w 17"/>
                <a:gd name="T13" fmla="*/ 2 h 31"/>
                <a:gd name="T14" fmla="*/ 4 w 17"/>
                <a:gd name="T15" fmla="*/ 2 h 31"/>
                <a:gd name="T16" fmla="*/ 4 w 17"/>
                <a:gd name="T17" fmla="*/ 2 h 31"/>
                <a:gd name="T18" fmla="*/ 5 w 17"/>
                <a:gd name="T19" fmla="*/ 3 h 31"/>
                <a:gd name="T20" fmla="*/ 15 w 17"/>
                <a:gd name="T21" fmla="*/ 27 h 31"/>
                <a:gd name="T22" fmla="*/ 15 w 17"/>
                <a:gd name="T23" fmla="*/ 28 h 31"/>
                <a:gd name="T24" fmla="*/ 3 w 17"/>
                <a:gd name="T25" fmla="*/ 1 h 31"/>
                <a:gd name="T26" fmla="*/ 1 w 17"/>
                <a:gd name="T27" fmla="*/ 5 h 31"/>
                <a:gd name="T28" fmla="*/ 11 w 17"/>
                <a:gd name="T29" fmla="*/ 29 h 31"/>
                <a:gd name="T30" fmla="*/ 15 w 17"/>
                <a:gd name="T31" fmla="*/ 31 h 31"/>
                <a:gd name="T32" fmla="*/ 17 w 17"/>
                <a:gd name="T33" fmla="*/ 26 h 31"/>
                <a:gd name="T34" fmla="*/ 7 w 17"/>
                <a:gd name="T35" fmla="*/ 3 h 31"/>
                <a:gd name="T36" fmla="*/ 3 w 17"/>
                <a:gd name="T3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31">
                  <a:moveTo>
                    <a:pt x="15" y="28"/>
                  </a:moveTo>
                  <a:cubicBezTo>
                    <a:pt x="15" y="29"/>
                    <a:pt x="14" y="29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3" y="29"/>
                    <a:pt x="12" y="29"/>
                    <a:pt x="12" y="28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8"/>
                    <a:pt x="15" y="28"/>
                  </a:cubicBezTo>
                  <a:moveTo>
                    <a:pt x="3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3" y="31"/>
                    <a:pt x="15" y="31"/>
                  </a:cubicBezTo>
                  <a:cubicBezTo>
                    <a:pt x="16" y="30"/>
                    <a:pt x="17" y="28"/>
                    <a:pt x="17" y="2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1">
              <a:extLst>
                <a:ext uri="{FF2B5EF4-FFF2-40B4-BE49-F238E27FC236}">
                  <a16:creationId xmlns:a16="http://schemas.microsoft.com/office/drawing/2014/main" id="{8A6F67CC-86CC-4B7D-A01B-2D11AD91C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1" y="1299"/>
              <a:ext cx="29" cy="61"/>
            </a:xfrm>
            <a:custGeom>
              <a:avLst/>
              <a:gdLst>
                <a:gd name="T0" fmla="*/ 1 w 11"/>
                <a:gd name="T1" fmla="*/ 0 h 24"/>
                <a:gd name="T2" fmla="*/ 1 w 11"/>
                <a:gd name="T3" fmla="*/ 0 h 24"/>
                <a:gd name="T4" fmla="*/ 0 w 11"/>
                <a:gd name="T5" fmla="*/ 0 h 24"/>
                <a:gd name="T6" fmla="*/ 10 w 11"/>
                <a:gd name="T7" fmla="*/ 24 h 24"/>
                <a:gd name="T8" fmla="*/ 11 w 11"/>
                <a:gd name="T9" fmla="*/ 24 h 24"/>
                <a:gd name="T10" fmla="*/ 1 w 11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2">
              <a:extLst>
                <a:ext uri="{FF2B5EF4-FFF2-40B4-BE49-F238E27FC236}">
                  <a16:creationId xmlns:a16="http://schemas.microsoft.com/office/drawing/2014/main" id="{E12C5DB1-561B-4DCD-BF55-135C124FD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9" y="1286"/>
              <a:ext cx="56" cy="79"/>
            </a:xfrm>
            <a:custGeom>
              <a:avLst/>
              <a:gdLst>
                <a:gd name="T0" fmla="*/ 1 w 22"/>
                <a:gd name="T1" fmla="*/ 6 h 31"/>
                <a:gd name="T2" fmla="*/ 11 w 22"/>
                <a:gd name="T3" fmla="*/ 29 h 31"/>
                <a:gd name="T4" fmla="*/ 1 w 22"/>
                <a:gd name="T5" fmla="*/ 5 h 31"/>
                <a:gd name="T6" fmla="*/ 10 w 22"/>
                <a:gd name="T7" fmla="*/ 2 h 31"/>
                <a:gd name="T8" fmla="*/ 20 w 22"/>
                <a:gd name="T9" fmla="*/ 26 h 31"/>
                <a:gd name="T10" fmla="*/ 11 w 22"/>
                <a:gd name="T11" fmla="*/ 29 h 31"/>
                <a:gd name="T12" fmla="*/ 11 w 22"/>
                <a:gd name="T13" fmla="*/ 31 h 31"/>
                <a:gd name="T14" fmla="*/ 22 w 22"/>
                <a:gd name="T15" fmla="*/ 27 h 31"/>
                <a:gd name="T16" fmla="*/ 18 w 22"/>
                <a:gd name="T17" fmla="*/ 18 h 31"/>
                <a:gd name="T18" fmla="*/ 14 w 22"/>
                <a:gd name="T19" fmla="*/ 7 h 31"/>
                <a:gd name="T20" fmla="*/ 11 w 22"/>
                <a:gd name="T21" fmla="*/ 0 h 31"/>
                <a:gd name="T22" fmla="*/ 0 w 22"/>
                <a:gd name="T23" fmla="*/ 4 h 31"/>
                <a:gd name="T24" fmla="*/ 1 w 22"/>
                <a:gd name="T25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1" y="6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5"/>
                    <a:pt x="15" y="11"/>
                    <a:pt x="14" y="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3">
              <a:extLst>
                <a:ext uri="{FF2B5EF4-FFF2-40B4-BE49-F238E27FC236}">
                  <a16:creationId xmlns:a16="http://schemas.microsoft.com/office/drawing/2014/main" id="{4F925F40-D2B2-4CAE-A9BB-6E341EAC3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" y="1296"/>
              <a:ext cx="31" cy="72"/>
            </a:xfrm>
            <a:custGeom>
              <a:avLst/>
              <a:gdLst>
                <a:gd name="T0" fmla="*/ 11 w 12"/>
                <a:gd name="T1" fmla="*/ 28 h 28"/>
                <a:gd name="T2" fmla="*/ 12 w 12"/>
                <a:gd name="T3" fmla="*/ 27 h 28"/>
                <a:gd name="T4" fmla="*/ 12 w 12"/>
                <a:gd name="T5" fmla="*/ 25 h 28"/>
                <a:gd name="T6" fmla="*/ 2 w 12"/>
                <a:gd name="T7" fmla="*/ 2 h 28"/>
                <a:gd name="T8" fmla="*/ 1 w 12"/>
                <a:gd name="T9" fmla="*/ 0 h 28"/>
                <a:gd name="T10" fmla="*/ 0 w 12"/>
                <a:gd name="T11" fmla="*/ 1 h 28"/>
                <a:gd name="T12" fmla="*/ 11 w 1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">
                  <a:moveTo>
                    <a:pt x="11" y="28"/>
                  </a:move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6"/>
                    <a:pt x="12" y="2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4">
              <a:extLst>
                <a:ext uri="{FF2B5EF4-FFF2-40B4-BE49-F238E27FC236}">
                  <a16:creationId xmlns:a16="http://schemas.microsoft.com/office/drawing/2014/main" id="{3759C314-F9C4-463A-883A-52BD0840E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1" y="1291"/>
              <a:ext cx="49" cy="69"/>
            </a:xfrm>
            <a:custGeom>
              <a:avLst/>
              <a:gdLst>
                <a:gd name="T0" fmla="*/ 6 w 49"/>
                <a:gd name="T1" fmla="*/ 10 h 69"/>
                <a:gd name="T2" fmla="*/ 21 w 49"/>
                <a:gd name="T3" fmla="*/ 5 h 69"/>
                <a:gd name="T4" fmla="*/ 44 w 49"/>
                <a:gd name="T5" fmla="*/ 59 h 69"/>
                <a:gd name="T6" fmla="*/ 26 w 49"/>
                <a:gd name="T7" fmla="*/ 64 h 69"/>
                <a:gd name="T8" fmla="*/ 6 w 49"/>
                <a:gd name="T9" fmla="*/ 10 h 69"/>
                <a:gd name="T10" fmla="*/ 24 w 49"/>
                <a:gd name="T11" fmla="*/ 0 h 69"/>
                <a:gd name="T12" fmla="*/ 0 w 49"/>
                <a:gd name="T13" fmla="*/ 8 h 69"/>
                <a:gd name="T14" fmla="*/ 26 w 49"/>
                <a:gd name="T15" fmla="*/ 69 h 69"/>
                <a:gd name="T16" fmla="*/ 49 w 49"/>
                <a:gd name="T17" fmla="*/ 62 h 69"/>
                <a:gd name="T18" fmla="*/ 24 w 49"/>
                <a:gd name="T1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69">
                  <a:moveTo>
                    <a:pt x="6" y="10"/>
                  </a:moveTo>
                  <a:lnTo>
                    <a:pt x="21" y="5"/>
                  </a:lnTo>
                  <a:lnTo>
                    <a:pt x="44" y="59"/>
                  </a:lnTo>
                  <a:lnTo>
                    <a:pt x="26" y="64"/>
                  </a:lnTo>
                  <a:lnTo>
                    <a:pt x="6" y="10"/>
                  </a:lnTo>
                  <a:close/>
                  <a:moveTo>
                    <a:pt x="24" y="0"/>
                  </a:moveTo>
                  <a:lnTo>
                    <a:pt x="0" y="8"/>
                  </a:lnTo>
                  <a:lnTo>
                    <a:pt x="26" y="69"/>
                  </a:lnTo>
                  <a:lnTo>
                    <a:pt x="49" y="6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5">
              <a:extLst>
                <a:ext uri="{FF2B5EF4-FFF2-40B4-BE49-F238E27FC236}">
                  <a16:creationId xmlns:a16="http://schemas.microsoft.com/office/drawing/2014/main" id="{06048FFD-4CAA-442F-A814-686FC8B7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5" y="1304"/>
              <a:ext cx="10" cy="28"/>
            </a:xfrm>
            <a:custGeom>
              <a:avLst/>
              <a:gdLst>
                <a:gd name="T0" fmla="*/ 0 w 4"/>
                <a:gd name="T1" fmla="*/ 0 h 11"/>
                <a:gd name="T2" fmla="*/ 4 w 4"/>
                <a:gd name="T3" fmla="*/ 11 h 11"/>
                <a:gd name="T4" fmla="*/ 0 w 4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1">
                  <a:moveTo>
                    <a:pt x="0" y="0"/>
                  </a:moveTo>
                  <a:cubicBezTo>
                    <a:pt x="1" y="4"/>
                    <a:pt x="3" y="8"/>
                    <a:pt x="4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98">
            <a:extLst>
              <a:ext uri="{FF2B5EF4-FFF2-40B4-BE49-F238E27FC236}">
                <a16:creationId xmlns:a16="http://schemas.microsoft.com/office/drawing/2014/main" id="{AE291584-A318-475A-ABCA-5CB6D7A81E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7200" y="1579934"/>
            <a:ext cx="758825" cy="758825"/>
            <a:chOff x="5088" y="992"/>
            <a:chExt cx="478" cy="478"/>
          </a:xfrm>
        </p:grpSpPr>
        <p:sp>
          <p:nvSpPr>
            <p:cNvPr id="109" name="AutoShape 97">
              <a:extLst>
                <a:ext uri="{FF2B5EF4-FFF2-40B4-BE49-F238E27FC236}">
                  <a16:creationId xmlns:a16="http://schemas.microsoft.com/office/drawing/2014/main" id="{A4CF5156-904B-47AB-9CD7-D87356BAB3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8" y="99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9">
              <a:extLst>
                <a:ext uri="{FF2B5EF4-FFF2-40B4-BE49-F238E27FC236}">
                  <a16:creationId xmlns:a16="http://schemas.microsoft.com/office/drawing/2014/main" id="{51923C27-B81C-4B7E-87E0-9DC824019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0" y="99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0">
              <a:extLst>
                <a:ext uri="{FF2B5EF4-FFF2-40B4-BE49-F238E27FC236}">
                  <a16:creationId xmlns:a16="http://schemas.microsoft.com/office/drawing/2014/main" id="{5000CA92-9306-4167-9FBC-F0300B592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" y="1213"/>
              <a:ext cx="26" cy="41"/>
            </a:xfrm>
            <a:custGeom>
              <a:avLst/>
              <a:gdLst>
                <a:gd name="T0" fmla="*/ 10 w 11"/>
                <a:gd name="T1" fmla="*/ 6 h 17"/>
                <a:gd name="T2" fmla="*/ 10 w 11"/>
                <a:gd name="T3" fmla="*/ 1 h 17"/>
                <a:gd name="T4" fmla="*/ 10 w 11"/>
                <a:gd name="T5" fmla="*/ 0 h 17"/>
                <a:gd name="T6" fmla="*/ 6 w 11"/>
                <a:gd name="T7" fmla="*/ 0 h 17"/>
                <a:gd name="T8" fmla="*/ 7 w 11"/>
                <a:gd name="T9" fmla="*/ 2 h 17"/>
                <a:gd name="T10" fmla="*/ 7 w 11"/>
                <a:gd name="T11" fmla="*/ 4 h 17"/>
                <a:gd name="T12" fmla="*/ 0 w 11"/>
                <a:gd name="T13" fmla="*/ 17 h 17"/>
                <a:gd name="T14" fmla="*/ 3 w 11"/>
                <a:gd name="T15" fmla="*/ 17 h 17"/>
                <a:gd name="T16" fmla="*/ 10 w 11"/>
                <a:gd name="T17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7">
                  <a:moveTo>
                    <a:pt x="10" y="6"/>
                  </a:moveTo>
                  <a:cubicBezTo>
                    <a:pt x="11" y="4"/>
                    <a:pt x="10" y="2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7" y="0"/>
                    <a:pt x="6" y="0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7" y="3"/>
                    <a:pt x="7" y="4"/>
                    <a:pt x="7" y="4"/>
                  </a:cubicBezTo>
                  <a:cubicBezTo>
                    <a:pt x="6" y="6"/>
                    <a:pt x="2" y="13"/>
                    <a:pt x="0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6" y="13"/>
                    <a:pt x="9" y="8"/>
                    <a:pt x="10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01">
              <a:extLst>
                <a:ext uri="{FF2B5EF4-FFF2-40B4-BE49-F238E27FC236}">
                  <a16:creationId xmlns:a16="http://schemas.microsoft.com/office/drawing/2014/main" id="{B5F3421D-8BBD-430D-B836-7935BBED5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6" y="1208"/>
              <a:ext cx="17" cy="46"/>
            </a:xfrm>
            <a:custGeom>
              <a:avLst/>
              <a:gdLst>
                <a:gd name="T0" fmla="*/ 7 w 7"/>
                <a:gd name="T1" fmla="*/ 1 h 19"/>
                <a:gd name="T2" fmla="*/ 4 w 7"/>
                <a:gd name="T3" fmla="*/ 0 h 19"/>
                <a:gd name="T4" fmla="*/ 0 w 7"/>
                <a:gd name="T5" fmla="*/ 19 h 19"/>
                <a:gd name="T6" fmla="*/ 3 w 7"/>
                <a:gd name="T7" fmla="*/ 19 h 19"/>
                <a:gd name="T8" fmla="*/ 7 w 7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7" y="1"/>
                  </a:moveTo>
                  <a:cubicBezTo>
                    <a:pt x="6" y="1"/>
                    <a:pt x="5" y="1"/>
                    <a:pt x="4" y="0"/>
                  </a:cubicBezTo>
                  <a:cubicBezTo>
                    <a:pt x="3" y="7"/>
                    <a:pt x="2" y="13"/>
                    <a:pt x="0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3"/>
                    <a:pt x="7" y="7"/>
                    <a:pt x="7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2">
              <a:extLst>
                <a:ext uri="{FF2B5EF4-FFF2-40B4-BE49-F238E27FC236}">
                  <a16:creationId xmlns:a16="http://schemas.microsoft.com/office/drawing/2014/main" id="{AC753014-218B-439F-AA53-4A44CEFF9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9" y="1284"/>
              <a:ext cx="159" cy="115"/>
            </a:xfrm>
            <a:custGeom>
              <a:avLst/>
              <a:gdLst>
                <a:gd name="T0" fmla="*/ 51 w 65"/>
                <a:gd name="T1" fmla="*/ 15 h 47"/>
                <a:gd name="T2" fmla="*/ 52 w 65"/>
                <a:gd name="T3" fmla="*/ 26 h 47"/>
                <a:gd name="T4" fmla="*/ 59 w 65"/>
                <a:gd name="T5" fmla="*/ 33 h 47"/>
                <a:gd name="T6" fmla="*/ 15 w 65"/>
                <a:gd name="T7" fmla="*/ 43 h 47"/>
                <a:gd name="T8" fmla="*/ 12 w 65"/>
                <a:gd name="T9" fmla="*/ 29 h 47"/>
                <a:gd name="T10" fmla="*/ 8 w 65"/>
                <a:gd name="T11" fmla="*/ 27 h 47"/>
                <a:gd name="T12" fmla="*/ 7 w 65"/>
                <a:gd name="T13" fmla="*/ 27 h 47"/>
                <a:gd name="T14" fmla="*/ 0 w 65"/>
                <a:gd name="T15" fmla="*/ 30 h 47"/>
                <a:gd name="T16" fmla="*/ 8 w 65"/>
                <a:gd name="T17" fmla="*/ 31 h 47"/>
                <a:gd name="T18" fmla="*/ 10 w 65"/>
                <a:gd name="T19" fmla="*/ 31 h 47"/>
                <a:gd name="T20" fmla="*/ 12 w 65"/>
                <a:gd name="T21" fmla="*/ 44 h 47"/>
                <a:gd name="T22" fmla="*/ 12 w 65"/>
                <a:gd name="T23" fmla="*/ 47 h 47"/>
                <a:gd name="T24" fmla="*/ 65 w 65"/>
                <a:gd name="T25" fmla="*/ 35 h 47"/>
                <a:gd name="T26" fmla="*/ 54 w 65"/>
                <a:gd name="T27" fmla="*/ 23 h 47"/>
                <a:gd name="T28" fmla="*/ 54 w 65"/>
                <a:gd name="T29" fmla="*/ 17 h 47"/>
                <a:gd name="T30" fmla="*/ 63 w 65"/>
                <a:gd name="T31" fmla="*/ 0 h 47"/>
                <a:gd name="T32" fmla="*/ 59 w 65"/>
                <a:gd name="T33" fmla="*/ 0 h 47"/>
                <a:gd name="T34" fmla="*/ 51 w 65"/>
                <a:gd name="T35" fmla="*/ 1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51" y="15"/>
                  </a:moveTo>
                  <a:cubicBezTo>
                    <a:pt x="48" y="20"/>
                    <a:pt x="50" y="24"/>
                    <a:pt x="52" y="26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6" y="39"/>
                    <a:pt x="15" y="32"/>
                    <a:pt x="12" y="29"/>
                  </a:cubicBezTo>
                  <a:cubicBezTo>
                    <a:pt x="11" y="28"/>
                    <a:pt x="10" y="27"/>
                    <a:pt x="8" y="27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5" y="28"/>
                    <a:pt x="3" y="29"/>
                    <a:pt x="0" y="30"/>
                  </a:cubicBezTo>
                  <a:cubicBezTo>
                    <a:pt x="4" y="31"/>
                    <a:pt x="7" y="31"/>
                    <a:pt x="8" y="31"/>
                  </a:cubicBezTo>
                  <a:cubicBezTo>
                    <a:pt x="9" y="31"/>
                    <a:pt x="9" y="31"/>
                    <a:pt x="10" y="31"/>
                  </a:cubicBezTo>
                  <a:cubicBezTo>
                    <a:pt x="12" y="34"/>
                    <a:pt x="12" y="41"/>
                    <a:pt x="12" y="44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1" y="21"/>
                    <a:pt x="54" y="17"/>
                  </a:cubicBezTo>
                  <a:cubicBezTo>
                    <a:pt x="57" y="11"/>
                    <a:pt x="60" y="5"/>
                    <a:pt x="63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7" y="5"/>
                    <a:pt x="54" y="10"/>
                    <a:pt x="51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3">
              <a:extLst>
                <a:ext uri="{FF2B5EF4-FFF2-40B4-BE49-F238E27FC236}">
                  <a16:creationId xmlns:a16="http://schemas.microsoft.com/office/drawing/2014/main" id="{A21F6C34-8FF6-4CD4-A11E-481492369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5" y="1105"/>
              <a:ext cx="5" cy="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1 w 2"/>
                <a:gd name="T5" fmla="*/ 1 h 2"/>
                <a:gd name="T6" fmla="*/ 0 w 2"/>
                <a:gd name="T7" fmla="*/ 2 h 2"/>
                <a:gd name="T8" fmla="*/ 1 w 2"/>
                <a:gd name="T9" fmla="*/ 1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4">
              <a:extLst>
                <a:ext uri="{FF2B5EF4-FFF2-40B4-BE49-F238E27FC236}">
                  <a16:creationId xmlns:a16="http://schemas.microsoft.com/office/drawing/2014/main" id="{E3A6047D-D2FD-4AE4-921E-1CDC0B63A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" y="1218"/>
              <a:ext cx="59" cy="36"/>
            </a:xfrm>
            <a:custGeom>
              <a:avLst/>
              <a:gdLst>
                <a:gd name="T0" fmla="*/ 8 w 24"/>
                <a:gd name="T1" fmla="*/ 9 h 15"/>
                <a:gd name="T2" fmla="*/ 15 w 24"/>
                <a:gd name="T3" fmla="*/ 5 h 15"/>
                <a:gd name="T4" fmla="*/ 20 w 24"/>
                <a:gd name="T5" fmla="*/ 8 h 15"/>
                <a:gd name="T6" fmla="*/ 19 w 24"/>
                <a:gd name="T7" fmla="*/ 15 h 15"/>
                <a:gd name="T8" fmla="*/ 23 w 24"/>
                <a:gd name="T9" fmla="*/ 15 h 15"/>
                <a:gd name="T10" fmla="*/ 23 w 24"/>
                <a:gd name="T11" fmla="*/ 6 h 15"/>
                <a:gd name="T12" fmla="*/ 16 w 24"/>
                <a:gd name="T13" fmla="*/ 1 h 15"/>
                <a:gd name="T14" fmla="*/ 5 w 24"/>
                <a:gd name="T15" fmla="*/ 7 h 15"/>
                <a:gd name="T16" fmla="*/ 0 w 24"/>
                <a:gd name="T17" fmla="*/ 15 h 15"/>
                <a:gd name="T18" fmla="*/ 4 w 24"/>
                <a:gd name="T19" fmla="*/ 15 h 15"/>
                <a:gd name="T20" fmla="*/ 8 w 2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5">
                  <a:moveTo>
                    <a:pt x="8" y="9"/>
                  </a:moveTo>
                  <a:cubicBezTo>
                    <a:pt x="9" y="8"/>
                    <a:pt x="12" y="4"/>
                    <a:pt x="15" y="5"/>
                  </a:cubicBezTo>
                  <a:cubicBezTo>
                    <a:pt x="16" y="5"/>
                    <a:pt x="18" y="5"/>
                    <a:pt x="20" y="8"/>
                  </a:cubicBezTo>
                  <a:cubicBezTo>
                    <a:pt x="20" y="10"/>
                    <a:pt x="20" y="12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1"/>
                    <a:pt x="23" y="8"/>
                    <a:pt x="23" y="6"/>
                  </a:cubicBezTo>
                  <a:cubicBezTo>
                    <a:pt x="21" y="4"/>
                    <a:pt x="19" y="2"/>
                    <a:pt x="16" y="1"/>
                  </a:cubicBezTo>
                  <a:cubicBezTo>
                    <a:pt x="11" y="0"/>
                    <a:pt x="6" y="6"/>
                    <a:pt x="5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15"/>
                    <a:pt x="4" y="15"/>
                    <a:pt x="4" y="15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5">
              <a:extLst>
                <a:ext uri="{FF2B5EF4-FFF2-40B4-BE49-F238E27FC236}">
                  <a16:creationId xmlns:a16="http://schemas.microsoft.com/office/drawing/2014/main" id="{CA4DA489-3420-40D6-8C8B-2F10B58DA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3" y="1284"/>
              <a:ext cx="61" cy="63"/>
            </a:xfrm>
            <a:custGeom>
              <a:avLst/>
              <a:gdLst>
                <a:gd name="T0" fmla="*/ 0 w 25"/>
                <a:gd name="T1" fmla="*/ 0 h 26"/>
                <a:gd name="T2" fmla="*/ 22 w 25"/>
                <a:gd name="T3" fmla="*/ 26 h 26"/>
                <a:gd name="T4" fmla="*/ 25 w 25"/>
                <a:gd name="T5" fmla="*/ 24 h 26"/>
                <a:gd name="T6" fmla="*/ 4 w 25"/>
                <a:gd name="T7" fmla="*/ 0 h 26"/>
                <a:gd name="T8" fmla="*/ 0 w 25"/>
                <a:gd name="T9" fmla="*/ 0 h 26"/>
                <a:gd name="T10" fmla="*/ 0 w 25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6">
                  <a:moveTo>
                    <a:pt x="0" y="0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6">
              <a:extLst>
                <a:ext uri="{FF2B5EF4-FFF2-40B4-BE49-F238E27FC236}">
                  <a16:creationId xmlns:a16="http://schemas.microsoft.com/office/drawing/2014/main" id="{053B1C6C-41D2-4074-9F91-48B9644C7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8" y="1061"/>
              <a:ext cx="295" cy="161"/>
            </a:xfrm>
            <a:custGeom>
              <a:avLst/>
              <a:gdLst>
                <a:gd name="T0" fmla="*/ 116 w 120"/>
                <a:gd name="T1" fmla="*/ 62 h 66"/>
                <a:gd name="T2" fmla="*/ 83 w 120"/>
                <a:gd name="T3" fmla="*/ 57 h 66"/>
                <a:gd name="T4" fmla="*/ 4 w 120"/>
                <a:gd name="T5" fmla="*/ 62 h 66"/>
                <a:gd name="T6" fmla="*/ 19 w 120"/>
                <a:gd name="T7" fmla="*/ 48 h 66"/>
                <a:gd name="T8" fmla="*/ 20 w 120"/>
                <a:gd name="T9" fmla="*/ 21 h 66"/>
                <a:gd name="T10" fmla="*/ 28 w 120"/>
                <a:gd name="T11" fmla="*/ 19 h 66"/>
                <a:gd name="T12" fmla="*/ 73 w 120"/>
                <a:gd name="T13" fmla="*/ 5 h 66"/>
                <a:gd name="T14" fmla="*/ 116 w 120"/>
                <a:gd name="T15" fmla="*/ 62 h 66"/>
                <a:gd name="T16" fmla="*/ 106 w 120"/>
                <a:gd name="T17" fmla="*/ 21 h 66"/>
                <a:gd name="T18" fmla="*/ 73 w 120"/>
                <a:gd name="T19" fmla="*/ 3 h 66"/>
                <a:gd name="T20" fmla="*/ 27 w 120"/>
                <a:gd name="T21" fmla="*/ 18 h 66"/>
                <a:gd name="T22" fmla="*/ 19 w 120"/>
                <a:gd name="T23" fmla="*/ 20 h 66"/>
                <a:gd name="T24" fmla="*/ 17 w 120"/>
                <a:gd name="T25" fmla="*/ 48 h 66"/>
                <a:gd name="T26" fmla="*/ 0 w 120"/>
                <a:gd name="T27" fmla="*/ 63 h 66"/>
                <a:gd name="T28" fmla="*/ 4 w 120"/>
                <a:gd name="T29" fmla="*/ 63 h 66"/>
                <a:gd name="T30" fmla="*/ 19 w 120"/>
                <a:gd name="T31" fmla="*/ 64 h 66"/>
                <a:gd name="T32" fmla="*/ 51 w 120"/>
                <a:gd name="T33" fmla="*/ 61 h 66"/>
                <a:gd name="T34" fmla="*/ 83 w 120"/>
                <a:gd name="T35" fmla="*/ 59 h 66"/>
                <a:gd name="T36" fmla="*/ 115 w 120"/>
                <a:gd name="T37" fmla="*/ 63 h 66"/>
                <a:gd name="T38" fmla="*/ 117 w 120"/>
                <a:gd name="T39" fmla="*/ 64 h 66"/>
                <a:gd name="T40" fmla="*/ 117 w 120"/>
                <a:gd name="T41" fmla="*/ 62 h 66"/>
                <a:gd name="T42" fmla="*/ 106 w 120"/>
                <a:gd name="T43" fmla="*/ 2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0" h="66">
                  <a:moveTo>
                    <a:pt x="116" y="62"/>
                  </a:moveTo>
                  <a:cubicBezTo>
                    <a:pt x="116" y="62"/>
                    <a:pt x="106" y="59"/>
                    <a:pt x="83" y="57"/>
                  </a:cubicBezTo>
                  <a:cubicBezTo>
                    <a:pt x="60" y="55"/>
                    <a:pt x="35" y="66"/>
                    <a:pt x="4" y="62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39" y="2"/>
                    <a:pt x="73" y="5"/>
                  </a:cubicBezTo>
                  <a:cubicBezTo>
                    <a:pt x="107" y="8"/>
                    <a:pt x="119" y="41"/>
                    <a:pt x="116" y="62"/>
                  </a:cubicBezTo>
                  <a:moveTo>
                    <a:pt x="106" y="21"/>
                  </a:moveTo>
                  <a:cubicBezTo>
                    <a:pt x="98" y="10"/>
                    <a:pt x="87" y="4"/>
                    <a:pt x="73" y="3"/>
                  </a:cubicBezTo>
                  <a:cubicBezTo>
                    <a:pt x="42" y="0"/>
                    <a:pt x="29" y="15"/>
                    <a:pt x="27" y="18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9" y="64"/>
                    <a:pt x="14" y="64"/>
                    <a:pt x="19" y="64"/>
                  </a:cubicBezTo>
                  <a:cubicBezTo>
                    <a:pt x="30" y="64"/>
                    <a:pt x="41" y="63"/>
                    <a:pt x="51" y="61"/>
                  </a:cubicBezTo>
                  <a:cubicBezTo>
                    <a:pt x="62" y="59"/>
                    <a:pt x="73" y="58"/>
                    <a:pt x="83" y="59"/>
                  </a:cubicBezTo>
                  <a:cubicBezTo>
                    <a:pt x="106" y="61"/>
                    <a:pt x="115" y="63"/>
                    <a:pt x="115" y="63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20" y="48"/>
                    <a:pt x="115" y="32"/>
                    <a:pt x="106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7">
              <a:extLst>
                <a:ext uri="{FF2B5EF4-FFF2-40B4-BE49-F238E27FC236}">
                  <a16:creationId xmlns:a16="http://schemas.microsoft.com/office/drawing/2014/main" id="{AC39E27B-2205-47E8-92D6-E6347C1ED5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8" y="1066"/>
              <a:ext cx="282" cy="156"/>
            </a:xfrm>
            <a:custGeom>
              <a:avLst/>
              <a:gdLst>
                <a:gd name="T0" fmla="*/ 100 w 115"/>
                <a:gd name="T1" fmla="*/ 21 h 64"/>
                <a:gd name="T2" fmla="*/ 110 w 115"/>
                <a:gd name="T3" fmla="*/ 58 h 64"/>
                <a:gd name="T4" fmla="*/ 79 w 115"/>
                <a:gd name="T5" fmla="*/ 53 h 64"/>
                <a:gd name="T6" fmla="*/ 47 w 115"/>
                <a:gd name="T7" fmla="*/ 56 h 64"/>
                <a:gd name="T8" fmla="*/ 4 w 115"/>
                <a:gd name="T9" fmla="*/ 58 h 64"/>
                <a:gd name="T10" fmla="*/ 17 w 115"/>
                <a:gd name="T11" fmla="*/ 47 h 64"/>
                <a:gd name="T12" fmla="*/ 18 w 115"/>
                <a:gd name="T13" fmla="*/ 21 h 64"/>
                <a:gd name="T14" fmla="*/ 25 w 115"/>
                <a:gd name="T15" fmla="*/ 19 h 64"/>
                <a:gd name="T16" fmla="*/ 25 w 115"/>
                <a:gd name="T17" fmla="*/ 18 h 64"/>
                <a:gd name="T18" fmla="*/ 69 w 115"/>
                <a:gd name="T19" fmla="*/ 4 h 64"/>
                <a:gd name="T20" fmla="*/ 100 w 115"/>
                <a:gd name="T21" fmla="*/ 21 h 64"/>
                <a:gd name="T22" fmla="*/ 69 w 115"/>
                <a:gd name="T23" fmla="*/ 3 h 64"/>
                <a:gd name="T24" fmla="*/ 24 w 115"/>
                <a:gd name="T25" fmla="*/ 17 h 64"/>
                <a:gd name="T26" fmla="*/ 16 w 115"/>
                <a:gd name="T27" fmla="*/ 19 h 64"/>
                <a:gd name="T28" fmla="*/ 15 w 115"/>
                <a:gd name="T29" fmla="*/ 46 h 64"/>
                <a:gd name="T30" fmla="*/ 0 w 115"/>
                <a:gd name="T31" fmla="*/ 60 h 64"/>
                <a:gd name="T32" fmla="*/ 79 w 115"/>
                <a:gd name="T33" fmla="*/ 55 h 64"/>
                <a:gd name="T34" fmla="*/ 112 w 115"/>
                <a:gd name="T35" fmla="*/ 60 h 64"/>
                <a:gd name="T36" fmla="*/ 69 w 115"/>
                <a:gd name="T37" fmla="*/ 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64">
                  <a:moveTo>
                    <a:pt x="100" y="21"/>
                  </a:moveTo>
                  <a:cubicBezTo>
                    <a:pt x="109" y="33"/>
                    <a:pt x="111" y="48"/>
                    <a:pt x="110" y="58"/>
                  </a:cubicBezTo>
                  <a:cubicBezTo>
                    <a:pt x="107" y="57"/>
                    <a:pt x="97" y="55"/>
                    <a:pt x="79" y="53"/>
                  </a:cubicBezTo>
                  <a:cubicBezTo>
                    <a:pt x="69" y="52"/>
                    <a:pt x="58" y="54"/>
                    <a:pt x="47" y="56"/>
                  </a:cubicBezTo>
                  <a:cubicBezTo>
                    <a:pt x="33" y="58"/>
                    <a:pt x="19" y="60"/>
                    <a:pt x="4" y="58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37" y="2"/>
                    <a:pt x="69" y="4"/>
                  </a:cubicBezTo>
                  <a:cubicBezTo>
                    <a:pt x="82" y="5"/>
                    <a:pt x="92" y="11"/>
                    <a:pt x="100" y="21"/>
                  </a:cubicBezTo>
                  <a:moveTo>
                    <a:pt x="69" y="3"/>
                  </a:moveTo>
                  <a:cubicBezTo>
                    <a:pt x="35" y="0"/>
                    <a:pt x="24" y="17"/>
                    <a:pt x="24" y="17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31" y="64"/>
                    <a:pt x="56" y="53"/>
                    <a:pt x="79" y="55"/>
                  </a:cubicBezTo>
                  <a:cubicBezTo>
                    <a:pt x="102" y="57"/>
                    <a:pt x="112" y="60"/>
                    <a:pt x="112" y="60"/>
                  </a:cubicBezTo>
                  <a:cubicBezTo>
                    <a:pt x="115" y="39"/>
                    <a:pt x="103" y="6"/>
                    <a:pt x="69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8">
              <a:extLst>
                <a:ext uri="{FF2B5EF4-FFF2-40B4-BE49-F238E27FC236}">
                  <a16:creationId xmlns:a16="http://schemas.microsoft.com/office/drawing/2014/main" id="{5D27A9DF-7E75-427A-B302-A2104EFE6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" y="1107"/>
              <a:ext cx="5" cy="3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3 h 3"/>
                <a:gd name="T4" fmla="*/ 5 w 5"/>
                <a:gd name="T5" fmla="*/ 0 h 3"/>
                <a:gd name="T6" fmla="*/ 0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9">
              <a:extLst>
                <a:ext uri="{FF2B5EF4-FFF2-40B4-BE49-F238E27FC236}">
                  <a16:creationId xmlns:a16="http://schemas.microsoft.com/office/drawing/2014/main" id="{F48A4129-3B4A-4D35-BD76-C8795CD37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" y="1107"/>
              <a:ext cx="10" cy="61"/>
            </a:xfrm>
            <a:custGeom>
              <a:avLst/>
              <a:gdLst>
                <a:gd name="T0" fmla="*/ 5 w 10"/>
                <a:gd name="T1" fmla="*/ 0 h 61"/>
                <a:gd name="T2" fmla="*/ 0 w 10"/>
                <a:gd name="T3" fmla="*/ 3 h 61"/>
                <a:gd name="T4" fmla="*/ 0 w 10"/>
                <a:gd name="T5" fmla="*/ 61 h 61"/>
                <a:gd name="T6" fmla="*/ 10 w 10"/>
                <a:gd name="T7" fmla="*/ 61 h 61"/>
                <a:gd name="T8" fmla="*/ 10 w 10"/>
                <a:gd name="T9" fmla="*/ 0 h 61"/>
                <a:gd name="T10" fmla="*/ 5 w 10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1">
                  <a:moveTo>
                    <a:pt x="5" y="0"/>
                  </a:moveTo>
                  <a:lnTo>
                    <a:pt x="0" y="3"/>
                  </a:lnTo>
                  <a:lnTo>
                    <a:pt x="0" y="61"/>
                  </a:lnTo>
                  <a:lnTo>
                    <a:pt x="10" y="61"/>
                  </a:lnTo>
                  <a:lnTo>
                    <a:pt x="1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10">
              <a:extLst>
                <a:ext uri="{FF2B5EF4-FFF2-40B4-BE49-F238E27FC236}">
                  <a16:creationId xmlns:a16="http://schemas.microsoft.com/office/drawing/2014/main" id="{5E4DD22E-7DC9-40BF-B30D-E6D9C87C6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0" y="1249"/>
              <a:ext cx="243" cy="116"/>
            </a:xfrm>
            <a:custGeom>
              <a:avLst/>
              <a:gdLst>
                <a:gd name="T0" fmla="*/ 95 w 99"/>
                <a:gd name="T1" fmla="*/ 14 h 47"/>
                <a:gd name="T2" fmla="*/ 58 w 99"/>
                <a:gd name="T3" fmla="*/ 14 h 47"/>
                <a:gd name="T4" fmla="*/ 23 w 99"/>
                <a:gd name="T5" fmla="*/ 46 h 47"/>
                <a:gd name="T6" fmla="*/ 2 w 99"/>
                <a:gd name="T7" fmla="*/ 2 h 47"/>
                <a:gd name="T8" fmla="*/ 97 w 99"/>
                <a:gd name="T9" fmla="*/ 2 h 47"/>
                <a:gd name="T10" fmla="*/ 95 w 99"/>
                <a:gd name="T11" fmla="*/ 14 h 47"/>
                <a:gd name="T12" fmla="*/ 1 w 99"/>
                <a:gd name="T13" fmla="*/ 0 h 47"/>
                <a:gd name="T14" fmla="*/ 1 w 99"/>
                <a:gd name="T15" fmla="*/ 2 h 47"/>
                <a:gd name="T16" fmla="*/ 2 w 99"/>
                <a:gd name="T17" fmla="*/ 21 h 47"/>
                <a:gd name="T18" fmla="*/ 7 w 99"/>
                <a:gd name="T19" fmla="*/ 32 h 47"/>
                <a:gd name="T20" fmla="*/ 22 w 99"/>
                <a:gd name="T21" fmla="*/ 47 h 47"/>
                <a:gd name="T22" fmla="*/ 22 w 99"/>
                <a:gd name="T23" fmla="*/ 47 h 47"/>
                <a:gd name="T24" fmla="*/ 23 w 99"/>
                <a:gd name="T25" fmla="*/ 47 h 47"/>
                <a:gd name="T26" fmla="*/ 59 w 99"/>
                <a:gd name="T27" fmla="*/ 15 h 47"/>
                <a:gd name="T28" fmla="*/ 96 w 99"/>
                <a:gd name="T29" fmla="*/ 15 h 47"/>
                <a:gd name="T30" fmla="*/ 99 w 99"/>
                <a:gd name="T31" fmla="*/ 0 h 47"/>
                <a:gd name="T32" fmla="*/ 1 w 9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47">
                  <a:moveTo>
                    <a:pt x="95" y="14"/>
                  </a:move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5" y="39"/>
                    <a:pt x="23" y="46"/>
                  </a:cubicBezTo>
                  <a:cubicBezTo>
                    <a:pt x="23" y="46"/>
                    <a:pt x="0" y="36"/>
                    <a:pt x="2" y="2"/>
                  </a:cubicBezTo>
                  <a:cubicBezTo>
                    <a:pt x="97" y="2"/>
                    <a:pt x="97" y="2"/>
                    <a:pt x="97" y="2"/>
                  </a:cubicBezTo>
                  <a:lnTo>
                    <a:pt x="95" y="14"/>
                  </a:lnTo>
                  <a:close/>
                  <a:moveTo>
                    <a:pt x="1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0"/>
                    <a:pt x="1" y="16"/>
                    <a:pt x="2" y="2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13" y="43"/>
                    <a:pt x="22" y="47"/>
                    <a:pt x="22" y="47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51" y="41"/>
                    <a:pt x="58" y="21"/>
                    <a:pt x="59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9" y="0"/>
                    <a:pt x="99" y="0"/>
                    <a:pt x="99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11">
              <a:extLst>
                <a:ext uri="{FF2B5EF4-FFF2-40B4-BE49-F238E27FC236}">
                  <a16:creationId xmlns:a16="http://schemas.microsoft.com/office/drawing/2014/main" id="{12CE739C-12FC-4927-A5CE-7B0E8BB94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1301"/>
              <a:ext cx="13" cy="27"/>
            </a:xfrm>
            <a:custGeom>
              <a:avLst/>
              <a:gdLst>
                <a:gd name="T0" fmla="*/ 5 w 5"/>
                <a:gd name="T1" fmla="*/ 11 h 11"/>
                <a:gd name="T2" fmla="*/ 0 w 5"/>
                <a:gd name="T3" fmla="*/ 0 h 11"/>
                <a:gd name="T4" fmla="*/ 5 w 5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1">
                  <a:moveTo>
                    <a:pt x="5" y="1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8"/>
                    <a:pt x="5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12">
              <a:extLst>
                <a:ext uri="{FF2B5EF4-FFF2-40B4-BE49-F238E27FC236}">
                  <a16:creationId xmlns:a16="http://schemas.microsoft.com/office/drawing/2014/main" id="{BC29132E-4F31-4113-B279-B7D7B867E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0" y="1254"/>
              <a:ext cx="238" cy="108"/>
            </a:xfrm>
            <a:custGeom>
              <a:avLst/>
              <a:gdLst>
                <a:gd name="T0" fmla="*/ 94 w 97"/>
                <a:gd name="T1" fmla="*/ 10 h 44"/>
                <a:gd name="T2" fmla="*/ 57 w 97"/>
                <a:gd name="T3" fmla="*/ 10 h 44"/>
                <a:gd name="T4" fmla="*/ 56 w 97"/>
                <a:gd name="T5" fmla="*/ 11 h 44"/>
                <a:gd name="T6" fmla="*/ 23 w 97"/>
                <a:gd name="T7" fmla="*/ 42 h 44"/>
                <a:gd name="T8" fmla="*/ 4 w 97"/>
                <a:gd name="T9" fmla="*/ 2 h 44"/>
                <a:gd name="T10" fmla="*/ 95 w 97"/>
                <a:gd name="T11" fmla="*/ 2 h 44"/>
                <a:gd name="T12" fmla="*/ 94 w 97"/>
                <a:gd name="T13" fmla="*/ 10 h 44"/>
                <a:gd name="T14" fmla="*/ 2 w 97"/>
                <a:gd name="T15" fmla="*/ 0 h 44"/>
                <a:gd name="T16" fmla="*/ 23 w 97"/>
                <a:gd name="T17" fmla="*/ 44 h 44"/>
                <a:gd name="T18" fmla="*/ 58 w 97"/>
                <a:gd name="T19" fmla="*/ 12 h 44"/>
                <a:gd name="T20" fmla="*/ 95 w 97"/>
                <a:gd name="T21" fmla="*/ 12 h 44"/>
                <a:gd name="T22" fmla="*/ 97 w 97"/>
                <a:gd name="T23" fmla="*/ 0 h 44"/>
                <a:gd name="T24" fmla="*/ 2 w 97"/>
                <a:gd name="T2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44">
                  <a:moveTo>
                    <a:pt x="94" y="10"/>
                  </a:moveTo>
                  <a:cubicBezTo>
                    <a:pt x="57" y="10"/>
                    <a:pt x="57" y="10"/>
                    <a:pt x="57" y="10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2"/>
                    <a:pt x="53" y="35"/>
                    <a:pt x="23" y="42"/>
                  </a:cubicBezTo>
                  <a:cubicBezTo>
                    <a:pt x="20" y="40"/>
                    <a:pt x="3" y="30"/>
                    <a:pt x="4" y="2"/>
                  </a:cubicBezTo>
                  <a:cubicBezTo>
                    <a:pt x="95" y="2"/>
                    <a:pt x="95" y="2"/>
                    <a:pt x="95" y="2"/>
                  </a:cubicBezTo>
                  <a:lnTo>
                    <a:pt x="94" y="10"/>
                  </a:lnTo>
                  <a:close/>
                  <a:moveTo>
                    <a:pt x="2" y="0"/>
                  </a:moveTo>
                  <a:cubicBezTo>
                    <a:pt x="0" y="34"/>
                    <a:pt x="23" y="44"/>
                    <a:pt x="23" y="44"/>
                  </a:cubicBezTo>
                  <a:cubicBezTo>
                    <a:pt x="55" y="37"/>
                    <a:pt x="58" y="12"/>
                    <a:pt x="58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13">
              <a:extLst>
                <a:ext uri="{FF2B5EF4-FFF2-40B4-BE49-F238E27FC236}">
                  <a16:creationId xmlns:a16="http://schemas.microsoft.com/office/drawing/2014/main" id="{C1DBD985-0CC0-421E-9A9A-EEC264954E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1" y="1274"/>
              <a:ext cx="22" cy="2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14">
              <a:extLst>
                <a:ext uri="{FF2B5EF4-FFF2-40B4-BE49-F238E27FC236}">
                  <a16:creationId xmlns:a16="http://schemas.microsoft.com/office/drawing/2014/main" id="{6617FC6C-613C-4362-8A1A-69C30C3B0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1289"/>
              <a:ext cx="52" cy="83"/>
            </a:xfrm>
            <a:custGeom>
              <a:avLst/>
              <a:gdLst>
                <a:gd name="T0" fmla="*/ 20 w 21"/>
                <a:gd name="T1" fmla="*/ 27 h 34"/>
                <a:gd name="T2" fmla="*/ 20 w 21"/>
                <a:gd name="T3" fmla="*/ 27 h 34"/>
                <a:gd name="T4" fmla="*/ 19 w 21"/>
                <a:gd name="T5" fmla="*/ 27 h 34"/>
                <a:gd name="T6" fmla="*/ 17 w 21"/>
                <a:gd name="T7" fmla="*/ 32 h 34"/>
                <a:gd name="T8" fmla="*/ 13 w 21"/>
                <a:gd name="T9" fmla="*/ 30 h 34"/>
                <a:gd name="T10" fmla="*/ 3 w 21"/>
                <a:gd name="T11" fmla="*/ 6 h 34"/>
                <a:gd name="T12" fmla="*/ 5 w 21"/>
                <a:gd name="T13" fmla="*/ 2 h 34"/>
                <a:gd name="T14" fmla="*/ 9 w 21"/>
                <a:gd name="T15" fmla="*/ 4 h 34"/>
                <a:gd name="T16" fmla="*/ 19 w 21"/>
                <a:gd name="T17" fmla="*/ 27 h 34"/>
                <a:gd name="T18" fmla="*/ 9 w 21"/>
                <a:gd name="T19" fmla="*/ 3 h 34"/>
                <a:gd name="T20" fmla="*/ 10 w 21"/>
                <a:gd name="T21" fmla="*/ 3 h 34"/>
                <a:gd name="T22" fmla="*/ 8 w 21"/>
                <a:gd name="T23" fmla="*/ 0 h 34"/>
                <a:gd name="T24" fmla="*/ 4 w 21"/>
                <a:gd name="T25" fmla="*/ 0 h 34"/>
                <a:gd name="T26" fmla="*/ 1 w 21"/>
                <a:gd name="T27" fmla="*/ 7 h 34"/>
                <a:gd name="T28" fmla="*/ 11 w 21"/>
                <a:gd name="T29" fmla="*/ 30 h 34"/>
                <a:gd name="T30" fmla="*/ 14 w 21"/>
                <a:gd name="T31" fmla="*/ 33 h 34"/>
                <a:gd name="T32" fmla="*/ 16 w 21"/>
                <a:gd name="T33" fmla="*/ 34 h 34"/>
                <a:gd name="T34" fmla="*/ 17 w 21"/>
                <a:gd name="T35" fmla="*/ 33 h 34"/>
                <a:gd name="T36" fmla="*/ 20 w 21"/>
                <a:gd name="T37" fmla="*/ 31 h 34"/>
                <a:gd name="T38" fmla="*/ 20 w 21"/>
                <a:gd name="T3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34">
                  <a:moveTo>
                    <a:pt x="20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9"/>
                    <a:pt x="18" y="31"/>
                    <a:pt x="17" y="32"/>
                  </a:cubicBezTo>
                  <a:cubicBezTo>
                    <a:pt x="15" y="32"/>
                    <a:pt x="13" y="31"/>
                    <a:pt x="13" y="3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4"/>
                    <a:pt x="3" y="2"/>
                    <a:pt x="5" y="2"/>
                  </a:cubicBezTo>
                  <a:cubicBezTo>
                    <a:pt x="6" y="1"/>
                    <a:pt x="8" y="2"/>
                    <a:pt x="9" y="4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9" y="1"/>
                    <a:pt x="8" y="0"/>
                  </a:cubicBezTo>
                  <a:cubicBezTo>
                    <a:pt x="7" y="0"/>
                    <a:pt x="5" y="0"/>
                    <a:pt x="4" y="0"/>
                  </a:cubicBezTo>
                  <a:cubicBezTo>
                    <a:pt x="2" y="1"/>
                    <a:pt x="0" y="4"/>
                    <a:pt x="1" y="7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2"/>
                    <a:pt x="12" y="33"/>
                    <a:pt x="14" y="33"/>
                  </a:cubicBezTo>
                  <a:cubicBezTo>
                    <a:pt x="14" y="33"/>
                    <a:pt x="15" y="34"/>
                    <a:pt x="16" y="34"/>
                  </a:cubicBezTo>
                  <a:cubicBezTo>
                    <a:pt x="16" y="34"/>
                    <a:pt x="17" y="33"/>
                    <a:pt x="17" y="33"/>
                  </a:cubicBezTo>
                  <a:cubicBezTo>
                    <a:pt x="19" y="33"/>
                    <a:pt x="20" y="32"/>
                    <a:pt x="20" y="31"/>
                  </a:cubicBezTo>
                  <a:cubicBezTo>
                    <a:pt x="21" y="29"/>
                    <a:pt x="21" y="28"/>
                    <a:pt x="20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5">
              <a:extLst>
                <a:ext uri="{FF2B5EF4-FFF2-40B4-BE49-F238E27FC236}">
                  <a16:creationId xmlns:a16="http://schemas.microsoft.com/office/drawing/2014/main" id="{6CF2DDF6-F3AF-4324-8A01-332736C0CA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1" y="1291"/>
              <a:ext cx="42" cy="76"/>
            </a:xfrm>
            <a:custGeom>
              <a:avLst/>
              <a:gdLst>
                <a:gd name="T0" fmla="*/ 15 w 17"/>
                <a:gd name="T1" fmla="*/ 28 h 31"/>
                <a:gd name="T2" fmla="*/ 14 w 17"/>
                <a:gd name="T3" fmla="*/ 29 h 31"/>
                <a:gd name="T4" fmla="*/ 13 w 17"/>
                <a:gd name="T5" fmla="*/ 29 h 31"/>
                <a:gd name="T6" fmla="*/ 12 w 17"/>
                <a:gd name="T7" fmla="*/ 28 h 31"/>
                <a:gd name="T8" fmla="*/ 2 w 17"/>
                <a:gd name="T9" fmla="*/ 4 h 31"/>
                <a:gd name="T10" fmla="*/ 2 w 17"/>
                <a:gd name="T11" fmla="*/ 3 h 31"/>
                <a:gd name="T12" fmla="*/ 3 w 17"/>
                <a:gd name="T13" fmla="*/ 2 h 31"/>
                <a:gd name="T14" fmla="*/ 4 w 17"/>
                <a:gd name="T15" fmla="*/ 2 h 31"/>
                <a:gd name="T16" fmla="*/ 4 w 17"/>
                <a:gd name="T17" fmla="*/ 2 h 31"/>
                <a:gd name="T18" fmla="*/ 5 w 17"/>
                <a:gd name="T19" fmla="*/ 3 h 31"/>
                <a:gd name="T20" fmla="*/ 15 w 17"/>
                <a:gd name="T21" fmla="*/ 27 h 31"/>
                <a:gd name="T22" fmla="*/ 15 w 17"/>
                <a:gd name="T23" fmla="*/ 28 h 31"/>
                <a:gd name="T24" fmla="*/ 3 w 17"/>
                <a:gd name="T25" fmla="*/ 1 h 31"/>
                <a:gd name="T26" fmla="*/ 1 w 17"/>
                <a:gd name="T27" fmla="*/ 5 h 31"/>
                <a:gd name="T28" fmla="*/ 11 w 17"/>
                <a:gd name="T29" fmla="*/ 29 h 31"/>
                <a:gd name="T30" fmla="*/ 15 w 17"/>
                <a:gd name="T31" fmla="*/ 31 h 31"/>
                <a:gd name="T32" fmla="*/ 17 w 17"/>
                <a:gd name="T33" fmla="*/ 26 h 31"/>
                <a:gd name="T34" fmla="*/ 7 w 17"/>
                <a:gd name="T35" fmla="*/ 3 h 31"/>
                <a:gd name="T36" fmla="*/ 3 w 17"/>
                <a:gd name="T3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31">
                  <a:moveTo>
                    <a:pt x="15" y="28"/>
                  </a:moveTo>
                  <a:cubicBezTo>
                    <a:pt x="15" y="29"/>
                    <a:pt x="14" y="29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3" y="29"/>
                    <a:pt x="12" y="29"/>
                    <a:pt x="12" y="28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8"/>
                    <a:pt x="15" y="28"/>
                  </a:cubicBezTo>
                  <a:moveTo>
                    <a:pt x="3" y="1"/>
                  </a:moveTo>
                  <a:cubicBezTo>
                    <a:pt x="1" y="1"/>
                    <a:pt x="0" y="3"/>
                    <a:pt x="1" y="5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3" y="31"/>
                    <a:pt x="15" y="31"/>
                  </a:cubicBezTo>
                  <a:cubicBezTo>
                    <a:pt x="16" y="30"/>
                    <a:pt x="17" y="28"/>
                    <a:pt x="17" y="2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1"/>
                    <a:pt x="4" y="0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6">
              <a:extLst>
                <a:ext uri="{FF2B5EF4-FFF2-40B4-BE49-F238E27FC236}">
                  <a16:creationId xmlns:a16="http://schemas.microsoft.com/office/drawing/2014/main" id="{54C39B06-B4BF-4D7E-AF53-42657980A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8" y="1296"/>
              <a:ext cx="27" cy="59"/>
            </a:xfrm>
            <a:custGeom>
              <a:avLst/>
              <a:gdLst>
                <a:gd name="T0" fmla="*/ 1 w 11"/>
                <a:gd name="T1" fmla="*/ 0 h 24"/>
                <a:gd name="T2" fmla="*/ 1 w 11"/>
                <a:gd name="T3" fmla="*/ 0 h 24"/>
                <a:gd name="T4" fmla="*/ 0 w 11"/>
                <a:gd name="T5" fmla="*/ 0 h 24"/>
                <a:gd name="T6" fmla="*/ 10 w 11"/>
                <a:gd name="T7" fmla="*/ 24 h 24"/>
                <a:gd name="T8" fmla="*/ 11 w 11"/>
                <a:gd name="T9" fmla="*/ 24 h 24"/>
                <a:gd name="T10" fmla="*/ 1 w 11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7">
              <a:extLst>
                <a:ext uri="{FF2B5EF4-FFF2-40B4-BE49-F238E27FC236}">
                  <a16:creationId xmlns:a16="http://schemas.microsoft.com/office/drawing/2014/main" id="{E7902E49-A5A1-4ABF-9F29-E6F1AD383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1284"/>
              <a:ext cx="54" cy="76"/>
            </a:xfrm>
            <a:custGeom>
              <a:avLst/>
              <a:gdLst>
                <a:gd name="T0" fmla="*/ 1 w 22"/>
                <a:gd name="T1" fmla="*/ 6 h 31"/>
                <a:gd name="T2" fmla="*/ 11 w 22"/>
                <a:gd name="T3" fmla="*/ 29 h 31"/>
                <a:gd name="T4" fmla="*/ 1 w 22"/>
                <a:gd name="T5" fmla="*/ 5 h 31"/>
                <a:gd name="T6" fmla="*/ 10 w 22"/>
                <a:gd name="T7" fmla="*/ 2 h 31"/>
                <a:gd name="T8" fmla="*/ 20 w 22"/>
                <a:gd name="T9" fmla="*/ 26 h 31"/>
                <a:gd name="T10" fmla="*/ 11 w 22"/>
                <a:gd name="T11" fmla="*/ 29 h 31"/>
                <a:gd name="T12" fmla="*/ 11 w 22"/>
                <a:gd name="T13" fmla="*/ 31 h 31"/>
                <a:gd name="T14" fmla="*/ 22 w 22"/>
                <a:gd name="T15" fmla="*/ 27 h 31"/>
                <a:gd name="T16" fmla="*/ 18 w 22"/>
                <a:gd name="T17" fmla="*/ 18 h 31"/>
                <a:gd name="T18" fmla="*/ 14 w 22"/>
                <a:gd name="T19" fmla="*/ 7 h 31"/>
                <a:gd name="T20" fmla="*/ 11 w 22"/>
                <a:gd name="T21" fmla="*/ 0 h 31"/>
                <a:gd name="T22" fmla="*/ 0 w 22"/>
                <a:gd name="T23" fmla="*/ 4 h 31"/>
                <a:gd name="T24" fmla="*/ 1 w 22"/>
                <a:gd name="T25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1" y="6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5"/>
                    <a:pt x="15" y="11"/>
                    <a:pt x="14" y="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8">
              <a:extLst>
                <a:ext uri="{FF2B5EF4-FFF2-40B4-BE49-F238E27FC236}">
                  <a16:creationId xmlns:a16="http://schemas.microsoft.com/office/drawing/2014/main" id="{42388FA1-5F0B-4AE5-BFF4-B96235739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" y="1294"/>
              <a:ext cx="30" cy="68"/>
            </a:xfrm>
            <a:custGeom>
              <a:avLst/>
              <a:gdLst>
                <a:gd name="T0" fmla="*/ 11 w 12"/>
                <a:gd name="T1" fmla="*/ 28 h 28"/>
                <a:gd name="T2" fmla="*/ 12 w 12"/>
                <a:gd name="T3" fmla="*/ 27 h 28"/>
                <a:gd name="T4" fmla="*/ 12 w 12"/>
                <a:gd name="T5" fmla="*/ 25 h 28"/>
                <a:gd name="T6" fmla="*/ 2 w 12"/>
                <a:gd name="T7" fmla="*/ 2 h 28"/>
                <a:gd name="T8" fmla="*/ 1 w 12"/>
                <a:gd name="T9" fmla="*/ 0 h 28"/>
                <a:gd name="T10" fmla="*/ 0 w 12"/>
                <a:gd name="T11" fmla="*/ 1 h 28"/>
                <a:gd name="T12" fmla="*/ 11 w 1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">
                  <a:moveTo>
                    <a:pt x="11" y="28"/>
                  </a:move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6"/>
                    <a:pt x="12" y="25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9">
              <a:extLst>
                <a:ext uri="{FF2B5EF4-FFF2-40B4-BE49-F238E27FC236}">
                  <a16:creationId xmlns:a16="http://schemas.microsoft.com/office/drawing/2014/main" id="{8700FE16-F449-4E43-8498-8714BF8A7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8" y="1289"/>
              <a:ext cx="47" cy="66"/>
            </a:xfrm>
            <a:custGeom>
              <a:avLst/>
              <a:gdLst>
                <a:gd name="T0" fmla="*/ 5 w 47"/>
                <a:gd name="T1" fmla="*/ 9 h 66"/>
                <a:gd name="T2" fmla="*/ 20 w 47"/>
                <a:gd name="T3" fmla="*/ 5 h 66"/>
                <a:gd name="T4" fmla="*/ 42 w 47"/>
                <a:gd name="T5" fmla="*/ 56 h 66"/>
                <a:gd name="T6" fmla="*/ 25 w 47"/>
                <a:gd name="T7" fmla="*/ 61 h 66"/>
                <a:gd name="T8" fmla="*/ 5 w 47"/>
                <a:gd name="T9" fmla="*/ 9 h 66"/>
                <a:gd name="T10" fmla="*/ 22 w 47"/>
                <a:gd name="T11" fmla="*/ 0 h 66"/>
                <a:gd name="T12" fmla="*/ 0 w 47"/>
                <a:gd name="T13" fmla="*/ 7 h 66"/>
                <a:gd name="T14" fmla="*/ 25 w 47"/>
                <a:gd name="T15" fmla="*/ 66 h 66"/>
                <a:gd name="T16" fmla="*/ 47 w 47"/>
                <a:gd name="T17" fmla="*/ 58 h 66"/>
                <a:gd name="T18" fmla="*/ 22 w 47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66">
                  <a:moveTo>
                    <a:pt x="5" y="9"/>
                  </a:moveTo>
                  <a:lnTo>
                    <a:pt x="20" y="5"/>
                  </a:lnTo>
                  <a:lnTo>
                    <a:pt x="42" y="56"/>
                  </a:lnTo>
                  <a:lnTo>
                    <a:pt x="25" y="61"/>
                  </a:lnTo>
                  <a:lnTo>
                    <a:pt x="5" y="9"/>
                  </a:lnTo>
                  <a:close/>
                  <a:moveTo>
                    <a:pt x="22" y="0"/>
                  </a:moveTo>
                  <a:lnTo>
                    <a:pt x="0" y="7"/>
                  </a:lnTo>
                  <a:lnTo>
                    <a:pt x="25" y="66"/>
                  </a:lnTo>
                  <a:lnTo>
                    <a:pt x="47" y="58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0">
              <a:extLst>
                <a:ext uri="{FF2B5EF4-FFF2-40B4-BE49-F238E27FC236}">
                  <a16:creationId xmlns:a16="http://schemas.microsoft.com/office/drawing/2014/main" id="{78E24A87-78A8-4094-8E39-7B0538FCD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" y="1301"/>
              <a:ext cx="10" cy="27"/>
            </a:xfrm>
            <a:custGeom>
              <a:avLst/>
              <a:gdLst>
                <a:gd name="T0" fmla="*/ 0 w 4"/>
                <a:gd name="T1" fmla="*/ 0 h 11"/>
                <a:gd name="T2" fmla="*/ 4 w 4"/>
                <a:gd name="T3" fmla="*/ 11 h 11"/>
                <a:gd name="T4" fmla="*/ 0 w 4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1">
                  <a:moveTo>
                    <a:pt x="0" y="0"/>
                  </a:moveTo>
                  <a:cubicBezTo>
                    <a:pt x="1" y="4"/>
                    <a:pt x="3" y="8"/>
                    <a:pt x="4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23">
            <a:extLst>
              <a:ext uri="{FF2B5EF4-FFF2-40B4-BE49-F238E27FC236}">
                <a16:creationId xmlns:a16="http://schemas.microsoft.com/office/drawing/2014/main" id="{BB1C2BF8-CF62-45A8-90C7-BCCDE87731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188" y="1538288"/>
            <a:ext cx="841375" cy="841375"/>
            <a:chOff x="225" y="969"/>
            <a:chExt cx="530" cy="530"/>
          </a:xfrm>
        </p:grpSpPr>
        <p:sp>
          <p:nvSpPr>
            <p:cNvPr id="149" name="AutoShape 122">
              <a:extLst>
                <a:ext uri="{FF2B5EF4-FFF2-40B4-BE49-F238E27FC236}">
                  <a16:creationId xmlns:a16="http://schemas.microsoft.com/office/drawing/2014/main" id="{ABBBA61F-38F2-444A-B23F-583B933282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Oval 124">
              <a:extLst>
                <a:ext uri="{FF2B5EF4-FFF2-40B4-BE49-F238E27FC236}">
                  <a16:creationId xmlns:a16="http://schemas.microsoft.com/office/drawing/2014/main" id="{98973C3C-7F28-4ECB-B8F5-0AE54E04BC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5">
              <a:extLst>
                <a:ext uri="{FF2B5EF4-FFF2-40B4-BE49-F238E27FC236}">
                  <a16:creationId xmlns:a16="http://schemas.microsoft.com/office/drawing/2014/main" id="{106B3029-909A-4858-9C62-2D50F85277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6">
              <a:extLst>
                <a:ext uri="{FF2B5EF4-FFF2-40B4-BE49-F238E27FC236}">
                  <a16:creationId xmlns:a16="http://schemas.microsoft.com/office/drawing/2014/main" id="{4D714210-EA5A-497D-8E1D-EF6873BC0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" y="1087"/>
              <a:ext cx="205" cy="294"/>
            </a:xfrm>
            <a:custGeom>
              <a:avLst/>
              <a:gdLst>
                <a:gd name="T0" fmla="*/ 7 w 80"/>
                <a:gd name="T1" fmla="*/ 3 h 115"/>
                <a:gd name="T2" fmla="*/ 3 w 80"/>
                <a:gd name="T3" fmla="*/ 7 h 115"/>
                <a:gd name="T4" fmla="*/ 3 w 80"/>
                <a:gd name="T5" fmla="*/ 108 h 115"/>
                <a:gd name="T6" fmla="*/ 7 w 80"/>
                <a:gd name="T7" fmla="*/ 111 h 115"/>
                <a:gd name="T8" fmla="*/ 73 w 80"/>
                <a:gd name="T9" fmla="*/ 111 h 115"/>
                <a:gd name="T10" fmla="*/ 77 w 80"/>
                <a:gd name="T11" fmla="*/ 108 h 115"/>
                <a:gd name="T12" fmla="*/ 77 w 80"/>
                <a:gd name="T13" fmla="*/ 7 h 115"/>
                <a:gd name="T14" fmla="*/ 73 w 80"/>
                <a:gd name="T15" fmla="*/ 3 h 115"/>
                <a:gd name="T16" fmla="*/ 7 w 80"/>
                <a:gd name="T17" fmla="*/ 3 h 115"/>
                <a:gd name="T18" fmla="*/ 73 w 80"/>
                <a:gd name="T19" fmla="*/ 115 h 115"/>
                <a:gd name="T20" fmla="*/ 7 w 80"/>
                <a:gd name="T21" fmla="*/ 115 h 115"/>
                <a:gd name="T22" fmla="*/ 0 w 80"/>
                <a:gd name="T23" fmla="*/ 108 h 115"/>
                <a:gd name="T24" fmla="*/ 0 w 80"/>
                <a:gd name="T25" fmla="*/ 7 h 115"/>
                <a:gd name="T26" fmla="*/ 7 w 80"/>
                <a:gd name="T27" fmla="*/ 0 h 115"/>
                <a:gd name="T28" fmla="*/ 73 w 80"/>
                <a:gd name="T29" fmla="*/ 0 h 115"/>
                <a:gd name="T30" fmla="*/ 80 w 80"/>
                <a:gd name="T31" fmla="*/ 7 h 115"/>
                <a:gd name="T32" fmla="*/ 80 w 80"/>
                <a:gd name="T33" fmla="*/ 108 h 115"/>
                <a:gd name="T34" fmla="*/ 73 w 80"/>
                <a:gd name="T3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0" h="115">
                  <a:moveTo>
                    <a:pt x="7" y="3"/>
                  </a:moveTo>
                  <a:cubicBezTo>
                    <a:pt x="5" y="3"/>
                    <a:pt x="3" y="5"/>
                    <a:pt x="3" y="7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10"/>
                    <a:pt x="5" y="111"/>
                    <a:pt x="7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5" y="111"/>
                    <a:pt x="77" y="110"/>
                    <a:pt x="77" y="10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5"/>
                    <a:pt x="75" y="3"/>
                    <a:pt x="73" y="3"/>
                  </a:cubicBezTo>
                  <a:lnTo>
                    <a:pt x="7" y="3"/>
                  </a:lnTo>
                  <a:close/>
                  <a:moveTo>
                    <a:pt x="73" y="115"/>
                  </a:moveTo>
                  <a:cubicBezTo>
                    <a:pt x="7" y="115"/>
                    <a:pt x="7" y="115"/>
                    <a:pt x="7" y="115"/>
                  </a:cubicBezTo>
                  <a:cubicBezTo>
                    <a:pt x="3" y="115"/>
                    <a:pt x="0" y="112"/>
                    <a:pt x="0" y="10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7" y="0"/>
                    <a:pt x="80" y="3"/>
                    <a:pt x="80" y="7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112"/>
                    <a:pt x="77" y="115"/>
                    <a:pt x="73" y="1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7">
              <a:extLst>
                <a:ext uri="{FF2B5EF4-FFF2-40B4-BE49-F238E27FC236}">
                  <a16:creationId xmlns:a16="http://schemas.microsoft.com/office/drawing/2014/main" id="{28C7DD71-F028-4A77-B5E0-AFB2E6A89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" y="1133"/>
              <a:ext cx="133" cy="51"/>
            </a:xfrm>
            <a:custGeom>
              <a:avLst/>
              <a:gdLst>
                <a:gd name="T0" fmla="*/ 7 w 133"/>
                <a:gd name="T1" fmla="*/ 41 h 51"/>
                <a:gd name="T2" fmla="*/ 125 w 133"/>
                <a:gd name="T3" fmla="*/ 41 h 51"/>
                <a:gd name="T4" fmla="*/ 125 w 133"/>
                <a:gd name="T5" fmla="*/ 7 h 51"/>
                <a:gd name="T6" fmla="*/ 7 w 133"/>
                <a:gd name="T7" fmla="*/ 7 h 51"/>
                <a:gd name="T8" fmla="*/ 7 w 133"/>
                <a:gd name="T9" fmla="*/ 41 h 51"/>
                <a:gd name="T10" fmla="*/ 133 w 133"/>
                <a:gd name="T11" fmla="*/ 51 h 51"/>
                <a:gd name="T12" fmla="*/ 0 w 133"/>
                <a:gd name="T13" fmla="*/ 51 h 51"/>
                <a:gd name="T14" fmla="*/ 0 w 133"/>
                <a:gd name="T15" fmla="*/ 0 h 51"/>
                <a:gd name="T16" fmla="*/ 133 w 133"/>
                <a:gd name="T17" fmla="*/ 0 h 51"/>
                <a:gd name="T18" fmla="*/ 133 w 133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51">
                  <a:moveTo>
                    <a:pt x="7" y="41"/>
                  </a:moveTo>
                  <a:lnTo>
                    <a:pt x="125" y="41"/>
                  </a:lnTo>
                  <a:lnTo>
                    <a:pt x="125" y="7"/>
                  </a:lnTo>
                  <a:lnTo>
                    <a:pt x="7" y="7"/>
                  </a:lnTo>
                  <a:lnTo>
                    <a:pt x="7" y="41"/>
                  </a:lnTo>
                  <a:close/>
                  <a:moveTo>
                    <a:pt x="133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133" y="0"/>
                  </a:lnTo>
                  <a:lnTo>
                    <a:pt x="133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28">
              <a:extLst>
                <a:ext uri="{FF2B5EF4-FFF2-40B4-BE49-F238E27FC236}">
                  <a16:creationId xmlns:a16="http://schemas.microsoft.com/office/drawing/2014/main" id="{8E21CB70-A53B-4819-A4F5-4DE64D52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" y="1158"/>
              <a:ext cx="21" cy="49"/>
            </a:xfrm>
            <a:custGeom>
              <a:avLst/>
              <a:gdLst>
                <a:gd name="T0" fmla="*/ 21 w 21"/>
                <a:gd name="T1" fmla="*/ 49 h 49"/>
                <a:gd name="T2" fmla="*/ 0 w 21"/>
                <a:gd name="T3" fmla="*/ 29 h 49"/>
                <a:gd name="T4" fmla="*/ 0 w 21"/>
                <a:gd name="T5" fmla="*/ 0 h 49"/>
                <a:gd name="T6" fmla="*/ 3 w 21"/>
                <a:gd name="T7" fmla="*/ 0 h 49"/>
                <a:gd name="T8" fmla="*/ 3 w 21"/>
                <a:gd name="T9" fmla="*/ 16 h 49"/>
                <a:gd name="T10" fmla="*/ 21 w 21"/>
                <a:gd name="T11" fmla="*/ 23 h 49"/>
                <a:gd name="T12" fmla="*/ 21 w 2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21" y="4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16"/>
                  </a:lnTo>
                  <a:lnTo>
                    <a:pt x="21" y="23"/>
                  </a:lnTo>
                  <a:lnTo>
                    <a:pt x="21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29">
              <a:extLst>
                <a:ext uri="{FF2B5EF4-FFF2-40B4-BE49-F238E27FC236}">
                  <a16:creationId xmlns:a16="http://schemas.microsoft.com/office/drawing/2014/main" id="{513AD1FA-39FB-472E-83E5-3E8C2739A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" y="1158"/>
              <a:ext cx="21" cy="49"/>
            </a:xfrm>
            <a:custGeom>
              <a:avLst/>
              <a:gdLst>
                <a:gd name="T0" fmla="*/ 0 w 21"/>
                <a:gd name="T1" fmla="*/ 49 h 49"/>
                <a:gd name="T2" fmla="*/ 21 w 21"/>
                <a:gd name="T3" fmla="*/ 29 h 49"/>
                <a:gd name="T4" fmla="*/ 21 w 21"/>
                <a:gd name="T5" fmla="*/ 0 h 49"/>
                <a:gd name="T6" fmla="*/ 18 w 21"/>
                <a:gd name="T7" fmla="*/ 0 h 49"/>
                <a:gd name="T8" fmla="*/ 18 w 21"/>
                <a:gd name="T9" fmla="*/ 16 h 49"/>
                <a:gd name="T10" fmla="*/ 0 w 21"/>
                <a:gd name="T11" fmla="*/ 23 h 49"/>
                <a:gd name="T12" fmla="*/ 0 w 21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9">
                  <a:moveTo>
                    <a:pt x="0" y="49"/>
                  </a:moveTo>
                  <a:lnTo>
                    <a:pt x="21" y="29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0" y="23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30">
              <a:extLst>
                <a:ext uri="{FF2B5EF4-FFF2-40B4-BE49-F238E27FC236}">
                  <a16:creationId xmlns:a16="http://schemas.microsoft.com/office/drawing/2014/main" id="{8EA3360A-B6D9-4BF4-9155-416FB18E4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" y="1192"/>
              <a:ext cx="46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33">
            <a:extLst>
              <a:ext uri="{FF2B5EF4-FFF2-40B4-BE49-F238E27FC236}">
                <a16:creationId xmlns:a16="http://schemas.microsoft.com/office/drawing/2014/main" id="{9E673413-1C69-4C47-988B-FBAB57F6BB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4625" y="1579563"/>
            <a:ext cx="758825" cy="758825"/>
            <a:chOff x="910" y="995"/>
            <a:chExt cx="478" cy="478"/>
          </a:xfrm>
        </p:grpSpPr>
        <p:sp>
          <p:nvSpPr>
            <p:cNvPr id="158" name="AutoShape 132">
              <a:extLst>
                <a:ext uri="{FF2B5EF4-FFF2-40B4-BE49-F238E27FC236}">
                  <a16:creationId xmlns:a16="http://schemas.microsoft.com/office/drawing/2014/main" id="{923D0184-A9C7-4C81-8E3D-1D8C6C6A47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0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4">
              <a:extLst>
                <a:ext uri="{FF2B5EF4-FFF2-40B4-BE49-F238E27FC236}">
                  <a16:creationId xmlns:a16="http://schemas.microsoft.com/office/drawing/2014/main" id="{7E298889-7061-49B6-8191-8199C3132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2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5">
              <a:extLst>
                <a:ext uri="{FF2B5EF4-FFF2-40B4-BE49-F238E27FC236}">
                  <a16:creationId xmlns:a16="http://schemas.microsoft.com/office/drawing/2014/main" id="{9FF9BED3-D469-445E-AC93-D4C318870B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2" y="1093"/>
              <a:ext cx="196" cy="282"/>
            </a:xfrm>
            <a:custGeom>
              <a:avLst/>
              <a:gdLst>
                <a:gd name="T0" fmla="*/ 7 w 80"/>
                <a:gd name="T1" fmla="*/ 3 h 115"/>
                <a:gd name="T2" fmla="*/ 3 w 80"/>
                <a:gd name="T3" fmla="*/ 7 h 115"/>
                <a:gd name="T4" fmla="*/ 3 w 80"/>
                <a:gd name="T5" fmla="*/ 108 h 115"/>
                <a:gd name="T6" fmla="*/ 7 w 80"/>
                <a:gd name="T7" fmla="*/ 111 h 115"/>
                <a:gd name="T8" fmla="*/ 73 w 80"/>
                <a:gd name="T9" fmla="*/ 111 h 115"/>
                <a:gd name="T10" fmla="*/ 77 w 80"/>
                <a:gd name="T11" fmla="*/ 108 h 115"/>
                <a:gd name="T12" fmla="*/ 77 w 80"/>
                <a:gd name="T13" fmla="*/ 7 h 115"/>
                <a:gd name="T14" fmla="*/ 73 w 80"/>
                <a:gd name="T15" fmla="*/ 3 h 115"/>
                <a:gd name="T16" fmla="*/ 7 w 80"/>
                <a:gd name="T17" fmla="*/ 3 h 115"/>
                <a:gd name="T18" fmla="*/ 73 w 80"/>
                <a:gd name="T19" fmla="*/ 115 h 115"/>
                <a:gd name="T20" fmla="*/ 7 w 80"/>
                <a:gd name="T21" fmla="*/ 115 h 115"/>
                <a:gd name="T22" fmla="*/ 0 w 80"/>
                <a:gd name="T23" fmla="*/ 108 h 115"/>
                <a:gd name="T24" fmla="*/ 0 w 80"/>
                <a:gd name="T25" fmla="*/ 7 h 115"/>
                <a:gd name="T26" fmla="*/ 7 w 80"/>
                <a:gd name="T27" fmla="*/ 0 h 115"/>
                <a:gd name="T28" fmla="*/ 73 w 80"/>
                <a:gd name="T29" fmla="*/ 0 h 115"/>
                <a:gd name="T30" fmla="*/ 80 w 80"/>
                <a:gd name="T31" fmla="*/ 7 h 115"/>
                <a:gd name="T32" fmla="*/ 80 w 80"/>
                <a:gd name="T33" fmla="*/ 108 h 115"/>
                <a:gd name="T34" fmla="*/ 73 w 80"/>
                <a:gd name="T3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0" h="115">
                  <a:moveTo>
                    <a:pt x="7" y="3"/>
                  </a:moveTo>
                  <a:cubicBezTo>
                    <a:pt x="5" y="3"/>
                    <a:pt x="3" y="5"/>
                    <a:pt x="3" y="7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10"/>
                    <a:pt x="5" y="111"/>
                    <a:pt x="7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5" y="111"/>
                    <a:pt x="77" y="110"/>
                    <a:pt x="77" y="10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5"/>
                    <a:pt x="75" y="3"/>
                    <a:pt x="73" y="3"/>
                  </a:cubicBezTo>
                  <a:lnTo>
                    <a:pt x="7" y="3"/>
                  </a:lnTo>
                  <a:close/>
                  <a:moveTo>
                    <a:pt x="73" y="115"/>
                  </a:moveTo>
                  <a:cubicBezTo>
                    <a:pt x="7" y="115"/>
                    <a:pt x="7" y="115"/>
                    <a:pt x="7" y="115"/>
                  </a:cubicBezTo>
                  <a:cubicBezTo>
                    <a:pt x="3" y="115"/>
                    <a:pt x="0" y="112"/>
                    <a:pt x="0" y="10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7" y="0"/>
                    <a:pt x="80" y="3"/>
                    <a:pt x="80" y="7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80" y="112"/>
                    <a:pt x="77" y="115"/>
                    <a:pt x="73" y="1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6">
              <a:extLst>
                <a:ext uri="{FF2B5EF4-FFF2-40B4-BE49-F238E27FC236}">
                  <a16:creationId xmlns:a16="http://schemas.microsoft.com/office/drawing/2014/main" id="{31A475FB-E9BD-4974-BF5B-A49F3C6125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6" y="1137"/>
              <a:ext cx="128" cy="49"/>
            </a:xfrm>
            <a:custGeom>
              <a:avLst/>
              <a:gdLst>
                <a:gd name="T0" fmla="*/ 8 w 128"/>
                <a:gd name="T1" fmla="*/ 39 h 49"/>
                <a:gd name="T2" fmla="*/ 121 w 128"/>
                <a:gd name="T3" fmla="*/ 39 h 49"/>
                <a:gd name="T4" fmla="*/ 121 w 128"/>
                <a:gd name="T5" fmla="*/ 8 h 49"/>
                <a:gd name="T6" fmla="*/ 8 w 128"/>
                <a:gd name="T7" fmla="*/ 8 h 49"/>
                <a:gd name="T8" fmla="*/ 8 w 128"/>
                <a:gd name="T9" fmla="*/ 39 h 49"/>
                <a:gd name="T10" fmla="*/ 128 w 128"/>
                <a:gd name="T11" fmla="*/ 49 h 49"/>
                <a:gd name="T12" fmla="*/ 0 w 128"/>
                <a:gd name="T13" fmla="*/ 49 h 49"/>
                <a:gd name="T14" fmla="*/ 0 w 128"/>
                <a:gd name="T15" fmla="*/ 0 h 49"/>
                <a:gd name="T16" fmla="*/ 128 w 128"/>
                <a:gd name="T17" fmla="*/ 0 h 49"/>
                <a:gd name="T18" fmla="*/ 128 w 128"/>
                <a:gd name="T1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49">
                  <a:moveTo>
                    <a:pt x="8" y="39"/>
                  </a:moveTo>
                  <a:lnTo>
                    <a:pt x="121" y="39"/>
                  </a:lnTo>
                  <a:lnTo>
                    <a:pt x="121" y="8"/>
                  </a:lnTo>
                  <a:lnTo>
                    <a:pt x="8" y="8"/>
                  </a:lnTo>
                  <a:lnTo>
                    <a:pt x="8" y="39"/>
                  </a:lnTo>
                  <a:close/>
                  <a:moveTo>
                    <a:pt x="128" y="49"/>
                  </a:moveTo>
                  <a:lnTo>
                    <a:pt x="0" y="49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128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37">
              <a:extLst>
                <a:ext uri="{FF2B5EF4-FFF2-40B4-BE49-F238E27FC236}">
                  <a16:creationId xmlns:a16="http://schemas.microsoft.com/office/drawing/2014/main" id="{0C38714D-6AB2-47D8-A9E2-4FB7C48A3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" y="1162"/>
              <a:ext cx="20" cy="46"/>
            </a:xfrm>
            <a:custGeom>
              <a:avLst/>
              <a:gdLst>
                <a:gd name="T0" fmla="*/ 20 w 20"/>
                <a:gd name="T1" fmla="*/ 46 h 46"/>
                <a:gd name="T2" fmla="*/ 0 w 20"/>
                <a:gd name="T3" fmla="*/ 27 h 46"/>
                <a:gd name="T4" fmla="*/ 0 w 20"/>
                <a:gd name="T5" fmla="*/ 0 h 46"/>
                <a:gd name="T6" fmla="*/ 3 w 20"/>
                <a:gd name="T7" fmla="*/ 0 h 46"/>
                <a:gd name="T8" fmla="*/ 3 w 20"/>
                <a:gd name="T9" fmla="*/ 14 h 46"/>
                <a:gd name="T10" fmla="*/ 20 w 20"/>
                <a:gd name="T11" fmla="*/ 22 h 46"/>
                <a:gd name="T12" fmla="*/ 20 w 2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6">
                  <a:moveTo>
                    <a:pt x="20" y="46"/>
                  </a:moveTo>
                  <a:lnTo>
                    <a:pt x="0" y="27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14"/>
                  </a:lnTo>
                  <a:lnTo>
                    <a:pt x="20" y="22"/>
                  </a:lnTo>
                  <a:lnTo>
                    <a:pt x="20" y="4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38">
              <a:extLst>
                <a:ext uri="{FF2B5EF4-FFF2-40B4-BE49-F238E27FC236}">
                  <a16:creationId xmlns:a16="http://schemas.microsoft.com/office/drawing/2014/main" id="{79F6836A-C784-4A15-8F4A-55FC27EBD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" y="1162"/>
              <a:ext cx="20" cy="46"/>
            </a:xfrm>
            <a:custGeom>
              <a:avLst/>
              <a:gdLst>
                <a:gd name="T0" fmla="*/ 0 w 20"/>
                <a:gd name="T1" fmla="*/ 46 h 46"/>
                <a:gd name="T2" fmla="*/ 20 w 20"/>
                <a:gd name="T3" fmla="*/ 27 h 46"/>
                <a:gd name="T4" fmla="*/ 20 w 20"/>
                <a:gd name="T5" fmla="*/ 0 h 46"/>
                <a:gd name="T6" fmla="*/ 18 w 20"/>
                <a:gd name="T7" fmla="*/ 0 h 46"/>
                <a:gd name="T8" fmla="*/ 18 w 20"/>
                <a:gd name="T9" fmla="*/ 14 h 46"/>
                <a:gd name="T10" fmla="*/ 0 w 20"/>
                <a:gd name="T11" fmla="*/ 22 h 46"/>
                <a:gd name="T12" fmla="*/ 0 w 2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6">
                  <a:moveTo>
                    <a:pt x="0" y="46"/>
                  </a:moveTo>
                  <a:lnTo>
                    <a:pt x="20" y="27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14"/>
                  </a:lnTo>
                  <a:lnTo>
                    <a:pt x="0" y="22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Rectangle 139">
              <a:extLst>
                <a:ext uri="{FF2B5EF4-FFF2-40B4-BE49-F238E27FC236}">
                  <a16:creationId xmlns:a16="http://schemas.microsoft.com/office/drawing/2014/main" id="{E8F620CD-2BAE-4C77-A7C0-722437F28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8" y="1194"/>
              <a:ext cx="44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5" name="Group 142">
            <a:extLst>
              <a:ext uri="{FF2B5EF4-FFF2-40B4-BE49-F238E27FC236}">
                <a16:creationId xmlns:a16="http://schemas.microsoft.com/office/drawing/2014/main" id="{6D249552-970B-4471-A4D4-779D9C6228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8900" y="1538288"/>
            <a:ext cx="842963" cy="841375"/>
            <a:chOff x="1656" y="969"/>
            <a:chExt cx="531" cy="530"/>
          </a:xfrm>
        </p:grpSpPr>
        <p:sp>
          <p:nvSpPr>
            <p:cNvPr id="166" name="AutoShape 141">
              <a:extLst>
                <a:ext uri="{FF2B5EF4-FFF2-40B4-BE49-F238E27FC236}">
                  <a16:creationId xmlns:a16="http://schemas.microsoft.com/office/drawing/2014/main" id="{307DDF15-CCE0-4AC5-A35A-703F27020F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56" y="969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143">
              <a:extLst>
                <a:ext uri="{FF2B5EF4-FFF2-40B4-BE49-F238E27FC236}">
                  <a16:creationId xmlns:a16="http://schemas.microsoft.com/office/drawing/2014/main" id="{42109164-F588-47B0-AEA0-4C3D3AA9E7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6" y="969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4">
              <a:extLst>
                <a:ext uri="{FF2B5EF4-FFF2-40B4-BE49-F238E27FC236}">
                  <a16:creationId xmlns:a16="http://schemas.microsoft.com/office/drawing/2014/main" id="{4FD9DFCD-8B7E-4436-B12A-D7571A532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" y="987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45">
              <a:extLst>
                <a:ext uri="{FF2B5EF4-FFF2-40B4-BE49-F238E27FC236}">
                  <a16:creationId xmlns:a16="http://schemas.microsoft.com/office/drawing/2014/main" id="{B828A038-BC42-4F4F-B1BE-48596EBD2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" y="1082"/>
              <a:ext cx="259" cy="307"/>
            </a:xfrm>
            <a:custGeom>
              <a:avLst/>
              <a:gdLst>
                <a:gd name="T0" fmla="*/ 87 w 101"/>
                <a:gd name="T1" fmla="*/ 16 h 120"/>
                <a:gd name="T2" fmla="*/ 13 w 101"/>
                <a:gd name="T3" fmla="*/ 1 h 120"/>
                <a:gd name="T4" fmla="*/ 11 w 101"/>
                <a:gd name="T5" fmla="*/ 1 h 120"/>
                <a:gd name="T6" fmla="*/ 16 w 101"/>
                <a:gd name="T7" fmla="*/ 21 h 120"/>
                <a:gd name="T8" fmla="*/ 14 w 101"/>
                <a:gd name="T9" fmla="*/ 33 h 120"/>
                <a:gd name="T10" fmla="*/ 23 w 101"/>
                <a:gd name="T11" fmla="*/ 22 h 120"/>
                <a:gd name="T12" fmla="*/ 11 w 101"/>
                <a:gd name="T13" fmla="*/ 10 h 120"/>
                <a:gd name="T14" fmla="*/ 30 w 101"/>
                <a:gd name="T15" fmla="*/ 5 h 120"/>
                <a:gd name="T16" fmla="*/ 75 w 101"/>
                <a:gd name="T17" fmla="*/ 88 h 120"/>
                <a:gd name="T18" fmla="*/ 83 w 101"/>
                <a:gd name="T19" fmla="*/ 106 h 120"/>
                <a:gd name="T20" fmla="*/ 37 w 101"/>
                <a:gd name="T21" fmla="*/ 102 h 120"/>
                <a:gd name="T22" fmla="*/ 32 w 101"/>
                <a:gd name="T23" fmla="*/ 100 h 120"/>
                <a:gd name="T24" fmla="*/ 15 w 101"/>
                <a:gd name="T25" fmla="*/ 89 h 120"/>
                <a:gd name="T26" fmla="*/ 13 w 101"/>
                <a:gd name="T27" fmla="*/ 85 h 120"/>
                <a:gd name="T28" fmla="*/ 13 w 101"/>
                <a:gd name="T29" fmla="*/ 82 h 120"/>
                <a:gd name="T30" fmla="*/ 12 w 101"/>
                <a:gd name="T31" fmla="*/ 79 h 120"/>
                <a:gd name="T32" fmla="*/ 11 w 101"/>
                <a:gd name="T33" fmla="*/ 77 h 120"/>
                <a:gd name="T34" fmla="*/ 9 w 101"/>
                <a:gd name="T35" fmla="*/ 70 h 120"/>
                <a:gd name="T36" fmla="*/ 3 w 101"/>
                <a:gd name="T37" fmla="*/ 67 h 120"/>
                <a:gd name="T38" fmla="*/ 4 w 101"/>
                <a:gd name="T39" fmla="*/ 65 h 120"/>
                <a:gd name="T40" fmla="*/ 13 w 101"/>
                <a:gd name="T41" fmla="*/ 45 h 120"/>
                <a:gd name="T42" fmla="*/ 13 w 101"/>
                <a:gd name="T43" fmla="*/ 39 h 120"/>
                <a:gd name="T44" fmla="*/ 9 w 101"/>
                <a:gd name="T45" fmla="*/ 39 h 120"/>
                <a:gd name="T46" fmla="*/ 10 w 101"/>
                <a:gd name="T47" fmla="*/ 46 h 120"/>
                <a:gd name="T48" fmla="*/ 2 w 101"/>
                <a:gd name="T49" fmla="*/ 63 h 120"/>
                <a:gd name="T50" fmla="*/ 0 w 101"/>
                <a:gd name="T51" fmla="*/ 68 h 120"/>
                <a:gd name="T52" fmla="*/ 8 w 101"/>
                <a:gd name="T53" fmla="*/ 73 h 120"/>
                <a:gd name="T54" fmla="*/ 9 w 101"/>
                <a:gd name="T55" fmla="*/ 75 h 120"/>
                <a:gd name="T56" fmla="*/ 9 w 101"/>
                <a:gd name="T57" fmla="*/ 81 h 120"/>
                <a:gd name="T58" fmla="*/ 12 w 101"/>
                <a:gd name="T59" fmla="*/ 88 h 120"/>
                <a:gd name="T60" fmla="*/ 13 w 101"/>
                <a:gd name="T61" fmla="*/ 96 h 120"/>
                <a:gd name="T62" fmla="*/ 34 w 101"/>
                <a:gd name="T63" fmla="*/ 104 h 120"/>
                <a:gd name="T64" fmla="*/ 36 w 101"/>
                <a:gd name="T65" fmla="*/ 120 h 120"/>
                <a:gd name="T66" fmla="*/ 79 w 101"/>
                <a:gd name="T67" fmla="*/ 9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1" h="120">
                  <a:moveTo>
                    <a:pt x="78" y="90"/>
                  </a:moveTo>
                  <a:cubicBezTo>
                    <a:pt x="97" y="59"/>
                    <a:pt x="101" y="33"/>
                    <a:pt x="87" y="16"/>
                  </a:cubicBezTo>
                  <a:cubicBezTo>
                    <a:pt x="75" y="1"/>
                    <a:pt x="48" y="2"/>
                    <a:pt x="30" y="2"/>
                  </a:cubicBezTo>
                  <a:cubicBezTo>
                    <a:pt x="23" y="2"/>
                    <a:pt x="15" y="2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4"/>
                    <a:pt x="8" y="7"/>
                    <a:pt x="8" y="10"/>
                  </a:cubicBezTo>
                  <a:cubicBezTo>
                    <a:pt x="9" y="15"/>
                    <a:pt x="13" y="19"/>
                    <a:pt x="16" y="21"/>
                  </a:cubicBezTo>
                  <a:cubicBezTo>
                    <a:pt x="14" y="24"/>
                    <a:pt x="12" y="28"/>
                    <a:pt x="11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7" y="25"/>
                    <a:pt x="18" y="23"/>
                    <a:pt x="19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8" y="19"/>
                    <a:pt x="12" y="15"/>
                    <a:pt x="11" y="10"/>
                  </a:cubicBezTo>
                  <a:cubicBezTo>
                    <a:pt x="11" y="8"/>
                    <a:pt x="12" y="6"/>
                    <a:pt x="13" y="4"/>
                  </a:cubicBezTo>
                  <a:cubicBezTo>
                    <a:pt x="16" y="5"/>
                    <a:pt x="22" y="5"/>
                    <a:pt x="30" y="5"/>
                  </a:cubicBezTo>
                  <a:cubicBezTo>
                    <a:pt x="47" y="5"/>
                    <a:pt x="74" y="5"/>
                    <a:pt x="84" y="18"/>
                  </a:cubicBezTo>
                  <a:cubicBezTo>
                    <a:pt x="100" y="38"/>
                    <a:pt x="88" y="67"/>
                    <a:pt x="75" y="88"/>
                  </a:cubicBezTo>
                  <a:cubicBezTo>
                    <a:pt x="72" y="93"/>
                    <a:pt x="75" y="97"/>
                    <a:pt x="76" y="99"/>
                  </a:cubicBezTo>
                  <a:cubicBezTo>
                    <a:pt x="83" y="106"/>
                    <a:pt x="83" y="106"/>
                    <a:pt x="83" y="10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2"/>
                    <a:pt x="40" y="105"/>
                    <a:pt x="37" y="102"/>
                  </a:cubicBezTo>
                  <a:cubicBezTo>
                    <a:pt x="35" y="101"/>
                    <a:pt x="34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28" y="101"/>
                    <a:pt x="18" y="100"/>
                    <a:pt x="16" y="95"/>
                  </a:cubicBezTo>
                  <a:cubicBezTo>
                    <a:pt x="15" y="91"/>
                    <a:pt x="15" y="90"/>
                    <a:pt x="15" y="89"/>
                  </a:cubicBezTo>
                  <a:cubicBezTo>
                    <a:pt x="16" y="88"/>
                    <a:pt x="16" y="87"/>
                    <a:pt x="15" y="86"/>
                  </a:cubicBezTo>
                  <a:cubicBezTo>
                    <a:pt x="15" y="85"/>
                    <a:pt x="14" y="85"/>
                    <a:pt x="13" y="85"/>
                  </a:cubicBezTo>
                  <a:cubicBezTo>
                    <a:pt x="12" y="85"/>
                    <a:pt x="12" y="84"/>
                    <a:pt x="12" y="84"/>
                  </a:cubicBezTo>
                  <a:cubicBezTo>
                    <a:pt x="12" y="84"/>
                    <a:pt x="12" y="83"/>
                    <a:pt x="13" y="82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1" y="79"/>
                    <a:pt x="11" y="78"/>
                    <a:pt x="11" y="78"/>
                  </a:cubicBezTo>
                  <a:cubicBezTo>
                    <a:pt x="11" y="78"/>
                    <a:pt x="11" y="78"/>
                    <a:pt x="11" y="77"/>
                  </a:cubicBezTo>
                  <a:cubicBezTo>
                    <a:pt x="12" y="76"/>
                    <a:pt x="13" y="75"/>
                    <a:pt x="13" y="74"/>
                  </a:cubicBezTo>
                  <a:cubicBezTo>
                    <a:pt x="12" y="72"/>
                    <a:pt x="11" y="71"/>
                    <a:pt x="9" y="70"/>
                  </a:cubicBezTo>
                  <a:cubicBezTo>
                    <a:pt x="8" y="70"/>
                    <a:pt x="8" y="70"/>
                    <a:pt x="7" y="69"/>
                  </a:cubicBezTo>
                  <a:cubicBezTo>
                    <a:pt x="6" y="69"/>
                    <a:pt x="4" y="68"/>
                    <a:pt x="3" y="67"/>
                  </a:cubicBezTo>
                  <a:cubicBezTo>
                    <a:pt x="3" y="67"/>
                    <a:pt x="3" y="67"/>
                    <a:pt x="4" y="66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7" y="61"/>
                    <a:pt x="12" y="52"/>
                    <a:pt x="13" y="50"/>
                  </a:cubicBezTo>
                  <a:cubicBezTo>
                    <a:pt x="14" y="48"/>
                    <a:pt x="14" y="46"/>
                    <a:pt x="13" y="45"/>
                  </a:cubicBezTo>
                  <a:cubicBezTo>
                    <a:pt x="13" y="43"/>
                    <a:pt x="12" y="42"/>
                    <a:pt x="13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2"/>
                    <a:pt x="9" y="44"/>
                    <a:pt x="10" y="46"/>
                  </a:cubicBezTo>
                  <a:cubicBezTo>
                    <a:pt x="10" y="47"/>
                    <a:pt x="11" y="48"/>
                    <a:pt x="10" y="48"/>
                  </a:cubicBezTo>
                  <a:cubicBezTo>
                    <a:pt x="9" y="51"/>
                    <a:pt x="4" y="59"/>
                    <a:pt x="2" y="63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0" y="66"/>
                    <a:pt x="0" y="68"/>
                    <a:pt x="0" y="68"/>
                  </a:cubicBezTo>
                  <a:cubicBezTo>
                    <a:pt x="1" y="71"/>
                    <a:pt x="4" y="72"/>
                    <a:pt x="6" y="73"/>
                  </a:cubicBezTo>
                  <a:cubicBezTo>
                    <a:pt x="7" y="73"/>
                    <a:pt x="7" y="73"/>
                    <a:pt x="8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5"/>
                    <a:pt x="9" y="75"/>
                  </a:cubicBezTo>
                  <a:cubicBezTo>
                    <a:pt x="9" y="75"/>
                    <a:pt x="7" y="77"/>
                    <a:pt x="7" y="79"/>
                  </a:cubicBezTo>
                  <a:cubicBezTo>
                    <a:pt x="7" y="80"/>
                    <a:pt x="8" y="81"/>
                    <a:pt x="9" y="81"/>
                  </a:cubicBezTo>
                  <a:cubicBezTo>
                    <a:pt x="8" y="82"/>
                    <a:pt x="8" y="84"/>
                    <a:pt x="8" y="85"/>
                  </a:cubicBezTo>
                  <a:cubicBezTo>
                    <a:pt x="9" y="86"/>
                    <a:pt x="9" y="87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9"/>
                    <a:pt x="11" y="92"/>
                    <a:pt x="13" y="96"/>
                  </a:cubicBezTo>
                  <a:cubicBezTo>
                    <a:pt x="16" y="105"/>
                    <a:pt x="31" y="104"/>
                    <a:pt x="32" y="104"/>
                  </a:cubicBezTo>
                  <a:cubicBezTo>
                    <a:pt x="33" y="104"/>
                    <a:pt x="34" y="104"/>
                    <a:pt x="34" y="104"/>
                  </a:cubicBezTo>
                  <a:cubicBezTo>
                    <a:pt x="36" y="107"/>
                    <a:pt x="37" y="114"/>
                    <a:pt x="36" y="118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78" y="96"/>
                    <a:pt x="76" y="94"/>
                    <a:pt x="78" y="9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6">
              <a:extLst>
                <a:ext uri="{FF2B5EF4-FFF2-40B4-BE49-F238E27FC236}">
                  <a16:creationId xmlns:a16="http://schemas.microsoft.com/office/drawing/2014/main" id="{28FDBB9A-5CF4-43CA-A5E2-A8FFB1F93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202"/>
              <a:ext cx="85" cy="133"/>
            </a:xfrm>
            <a:custGeom>
              <a:avLst/>
              <a:gdLst>
                <a:gd name="T0" fmla="*/ 12 w 33"/>
                <a:gd name="T1" fmla="*/ 25 h 52"/>
                <a:gd name="T2" fmla="*/ 22 w 33"/>
                <a:gd name="T3" fmla="*/ 16 h 52"/>
                <a:gd name="T4" fmla="*/ 23 w 33"/>
                <a:gd name="T5" fmla="*/ 5 h 52"/>
                <a:gd name="T6" fmla="*/ 16 w 33"/>
                <a:gd name="T7" fmla="*/ 0 h 52"/>
                <a:gd name="T8" fmla="*/ 10 w 33"/>
                <a:gd name="T9" fmla="*/ 2 h 52"/>
                <a:gd name="T10" fmla="*/ 8 w 33"/>
                <a:gd name="T11" fmla="*/ 3 h 52"/>
                <a:gd name="T12" fmla="*/ 5 w 33"/>
                <a:gd name="T13" fmla="*/ 6 h 52"/>
                <a:gd name="T14" fmla="*/ 0 w 33"/>
                <a:gd name="T15" fmla="*/ 14 h 52"/>
                <a:gd name="T16" fmla="*/ 3 w 33"/>
                <a:gd name="T17" fmla="*/ 16 h 52"/>
                <a:gd name="T18" fmla="*/ 8 w 33"/>
                <a:gd name="T19" fmla="*/ 8 h 52"/>
                <a:gd name="T20" fmla="*/ 15 w 33"/>
                <a:gd name="T21" fmla="*/ 4 h 52"/>
                <a:gd name="T22" fmla="*/ 20 w 33"/>
                <a:gd name="T23" fmla="*/ 7 h 52"/>
                <a:gd name="T24" fmla="*/ 19 w 33"/>
                <a:gd name="T25" fmla="*/ 15 h 52"/>
                <a:gd name="T26" fmla="*/ 9 w 33"/>
                <a:gd name="T27" fmla="*/ 22 h 52"/>
                <a:gd name="T28" fmla="*/ 5 w 33"/>
                <a:gd name="T29" fmla="*/ 22 h 52"/>
                <a:gd name="T30" fmla="*/ 30 w 33"/>
                <a:gd name="T31" fmla="*/ 52 h 52"/>
                <a:gd name="T32" fmla="*/ 33 w 33"/>
                <a:gd name="T33" fmla="*/ 50 h 52"/>
                <a:gd name="T34" fmla="*/ 12 w 33"/>
                <a:gd name="T3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52">
                  <a:moveTo>
                    <a:pt x="12" y="25"/>
                  </a:moveTo>
                  <a:cubicBezTo>
                    <a:pt x="15" y="24"/>
                    <a:pt x="19" y="22"/>
                    <a:pt x="22" y="16"/>
                  </a:cubicBezTo>
                  <a:cubicBezTo>
                    <a:pt x="25" y="11"/>
                    <a:pt x="24" y="8"/>
                    <a:pt x="23" y="5"/>
                  </a:cubicBezTo>
                  <a:cubicBezTo>
                    <a:pt x="22" y="3"/>
                    <a:pt x="19" y="1"/>
                    <a:pt x="16" y="0"/>
                  </a:cubicBezTo>
                  <a:cubicBezTo>
                    <a:pt x="14" y="0"/>
                    <a:pt x="12" y="1"/>
                    <a:pt x="10" y="2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7" y="5"/>
                    <a:pt x="6" y="6"/>
                    <a:pt x="5" y="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7"/>
                    <a:pt x="13" y="3"/>
                    <a:pt x="15" y="4"/>
                  </a:cubicBezTo>
                  <a:cubicBezTo>
                    <a:pt x="16" y="4"/>
                    <a:pt x="19" y="5"/>
                    <a:pt x="20" y="7"/>
                  </a:cubicBezTo>
                  <a:cubicBezTo>
                    <a:pt x="21" y="9"/>
                    <a:pt x="21" y="12"/>
                    <a:pt x="19" y="15"/>
                  </a:cubicBezTo>
                  <a:cubicBezTo>
                    <a:pt x="16" y="22"/>
                    <a:pt x="9" y="22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3" y="50"/>
                    <a:pt x="33" y="50"/>
                    <a:pt x="33" y="50"/>
                  </a:cubicBezTo>
                  <a:lnTo>
                    <a:pt x="12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7">
              <a:extLst>
                <a:ext uri="{FF2B5EF4-FFF2-40B4-BE49-F238E27FC236}">
                  <a16:creationId xmlns:a16="http://schemas.microsoft.com/office/drawing/2014/main" id="{A653C629-7BCD-443D-BD59-FD7C83CC6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3" y="1166"/>
              <a:ext cx="5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48">
              <a:extLst>
                <a:ext uri="{FF2B5EF4-FFF2-40B4-BE49-F238E27FC236}">
                  <a16:creationId xmlns:a16="http://schemas.microsoft.com/office/drawing/2014/main" id="{ACA42AB1-8270-4072-96EA-B28366BD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1" y="1133"/>
              <a:ext cx="56" cy="33"/>
            </a:xfrm>
            <a:custGeom>
              <a:avLst/>
              <a:gdLst>
                <a:gd name="T0" fmla="*/ 10 w 22"/>
                <a:gd name="T1" fmla="*/ 12 h 13"/>
                <a:gd name="T2" fmla="*/ 19 w 22"/>
                <a:gd name="T3" fmla="*/ 5 h 13"/>
                <a:gd name="T4" fmla="*/ 22 w 22"/>
                <a:gd name="T5" fmla="*/ 2 h 13"/>
                <a:gd name="T6" fmla="*/ 18 w 22"/>
                <a:gd name="T7" fmla="*/ 2 h 13"/>
                <a:gd name="T8" fmla="*/ 2 w 22"/>
                <a:gd name="T9" fmla="*/ 0 h 13"/>
                <a:gd name="T10" fmla="*/ 1 w 22"/>
                <a:gd name="T11" fmla="*/ 3 h 13"/>
                <a:gd name="T12" fmla="*/ 14 w 22"/>
                <a:gd name="T13" fmla="*/ 5 h 13"/>
                <a:gd name="T14" fmla="*/ 4 w 22"/>
                <a:gd name="T15" fmla="*/ 10 h 13"/>
                <a:gd name="T16" fmla="*/ 0 w 22"/>
                <a:gd name="T17" fmla="*/ 11 h 13"/>
                <a:gd name="T18" fmla="*/ 4 w 22"/>
                <a:gd name="T19" fmla="*/ 13 h 13"/>
                <a:gd name="T20" fmla="*/ 4 w 22"/>
                <a:gd name="T21" fmla="*/ 13 h 13"/>
                <a:gd name="T22" fmla="*/ 14 w 22"/>
                <a:gd name="T23" fmla="*/ 13 h 13"/>
                <a:gd name="T24" fmla="*/ 10 w 22"/>
                <a:gd name="T2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13">
                  <a:moveTo>
                    <a:pt x="10" y="12"/>
                  </a:moveTo>
                  <a:cubicBezTo>
                    <a:pt x="15" y="9"/>
                    <a:pt x="19" y="5"/>
                    <a:pt x="19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1" y="2"/>
                    <a:pt x="2" y="0"/>
                    <a:pt x="2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8" y="5"/>
                    <a:pt x="14" y="5"/>
                  </a:cubicBezTo>
                  <a:cubicBezTo>
                    <a:pt x="12" y="7"/>
                    <a:pt x="8" y="9"/>
                    <a:pt x="4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1" y="12"/>
                    <a:pt x="10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9">
              <a:extLst>
                <a:ext uri="{FF2B5EF4-FFF2-40B4-BE49-F238E27FC236}">
                  <a16:creationId xmlns:a16="http://schemas.microsoft.com/office/drawing/2014/main" id="{4C697E7E-78E1-4A7F-9FC5-B9B61B10D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7" y="1161"/>
              <a:ext cx="166" cy="26"/>
            </a:xfrm>
            <a:custGeom>
              <a:avLst/>
              <a:gdLst>
                <a:gd name="T0" fmla="*/ 164 w 166"/>
                <a:gd name="T1" fmla="*/ 20 h 26"/>
                <a:gd name="T2" fmla="*/ 5 w 166"/>
                <a:gd name="T3" fmla="*/ 20 h 26"/>
                <a:gd name="T4" fmla="*/ 5 w 166"/>
                <a:gd name="T5" fmla="*/ 5 h 26"/>
                <a:gd name="T6" fmla="*/ 164 w 166"/>
                <a:gd name="T7" fmla="*/ 5 h 26"/>
                <a:gd name="T8" fmla="*/ 164 w 166"/>
                <a:gd name="T9" fmla="*/ 20 h 26"/>
                <a:gd name="T10" fmla="*/ 0 w 166"/>
                <a:gd name="T11" fmla="*/ 26 h 26"/>
                <a:gd name="T12" fmla="*/ 166 w 166"/>
                <a:gd name="T13" fmla="*/ 26 h 26"/>
                <a:gd name="T14" fmla="*/ 166 w 166"/>
                <a:gd name="T15" fmla="*/ 0 h 26"/>
                <a:gd name="T16" fmla="*/ 0 w 166"/>
                <a:gd name="T17" fmla="*/ 0 h 26"/>
                <a:gd name="T18" fmla="*/ 0 w 166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26">
                  <a:moveTo>
                    <a:pt x="164" y="20"/>
                  </a:moveTo>
                  <a:lnTo>
                    <a:pt x="5" y="20"/>
                  </a:lnTo>
                  <a:lnTo>
                    <a:pt x="5" y="5"/>
                  </a:lnTo>
                  <a:lnTo>
                    <a:pt x="164" y="5"/>
                  </a:lnTo>
                  <a:lnTo>
                    <a:pt x="164" y="20"/>
                  </a:lnTo>
                  <a:close/>
                  <a:moveTo>
                    <a:pt x="0" y="26"/>
                  </a:moveTo>
                  <a:lnTo>
                    <a:pt x="166" y="26"/>
                  </a:lnTo>
                  <a:lnTo>
                    <a:pt x="166" y="0"/>
                  </a:lnTo>
                  <a:lnTo>
                    <a:pt x="0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0">
              <a:extLst>
                <a:ext uri="{FF2B5EF4-FFF2-40B4-BE49-F238E27FC236}">
                  <a16:creationId xmlns:a16="http://schemas.microsoft.com/office/drawing/2014/main" id="{49B462A9-06BB-470E-8006-B47FCF18E3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" y="1166"/>
              <a:ext cx="159" cy="15"/>
            </a:xfrm>
            <a:custGeom>
              <a:avLst/>
              <a:gdLst>
                <a:gd name="T0" fmla="*/ 2 w 159"/>
                <a:gd name="T1" fmla="*/ 5 h 15"/>
                <a:gd name="T2" fmla="*/ 154 w 159"/>
                <a:gd name="T3" fmla="*/ 5 h 15"/>
                <a:gd name="T4" fmla="*/ 154 w 159"/>
                <a:gd name="T5" fmla="*/ 10 h 15"/>
                <a:gd name="T6" fmla="*/ 2 w 159"/>
                <a:gd name="T7" fmla="*/ 10 h 15"/>
                <a:gd name="T8" fmla="*/ 2 w 159"/>
                <a:gd name="T9" fmla="*/ 5 h 15"/>
                <a:gd name="T10" fmla="*/ 0 w 159"/>
                <a:gd name="T11" fmla="*/ 15 h 15"/>
                <a:gd name="T12" fmla="*/ 159 w 159"/>
                <a:gd name="T13" fmla="*/ 15 h 15"/>
                <a:gd name="T14" fmla="*/ 159 w 159"/>
                <a:gd name="T15" fmla="*/ 0 h 15"/>
                <a:gd name="T16" fmla="*/ 0 w 159"/>
                <a:gd name="T17" fmla="*/ 0 h 15"/>
                <a:gd name="T18" fmla="*/ 0 w 159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5">
                  <a:moveTo>
                    <a:pt x="2" y="5"/>
                  </a:moveTo>
                  <a:lnTo>
                    <a:pt x="154" y="5"/>
                  </a:lnTo>
                  <a:lnTo>
                    <a:pt x="154" y="10"/>
                  </a:lnTo>
                  <a:lnTo>
                    <a:pt x="2" y="10"/>
                  </a:lnTo>
                  <a:lnTo>
                    <a:pt x="2" y="5"/>
                  </a:lnTo>
                  <a:close/>
                  <a:moveTo>
                    <a:pt x="0" y="15"/>
                  </a:moveTo>
                  <a:lnTo>
                    <a:pt x="159" y="15"/>
                  </a:lnTo>
                  <a:lnTo>
                    <a:pt x="159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51">
              <a:extLst>
                <a:ext uri="{FF2B5EF4-FFF2-40B4-BE49-F238E27FC236}">
                  <a16:creationId xmlns:a16="http://schemas.microsoft.com/office/drawing/2014/main" id="{DBC531AE-03AE-4412-B6C5-5AE44BFED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0" y="1192"/>
              <a:ext cx="124" cy="25"/>
            </a:xfrm>
            <a:custGeom>
              <a:avLst/>
              <a:gdLst>
                <a:gd name="T0" fmla="*/ 5 w 48"/>
                <a:gd name="T1" fmla="*/ 8 h 10"/>
                <a:gd name="T2" fmla="*/ 3 w 48"/>
                <a:gd name="T3" fmla="*/ 5 h 10"/>
                <a:gd name="T4" fmla="*/ 5 w 48"/>
                <a:gd name="T5" fmla="*/ 2 h 10"/>
                <a:gd name="T6" fmla="*/ 8 w 48"/>
                <a:gd name="T7" fmla="*/ 5 h 10"/>
                <a:gd name="T8" fmla="*/ 5 w 48"/>
                <a:gd name="T9" fmla="*/ 8 h 10"/>
                <a:gd name="T10" fmla="*/ 0 w 48"/>
                <a:gd name="T11" fmla="*/ 10 h 10"/>
                <a:gd name="T12" fmla="*/ 48 w 48"/>
                <a:gd name="T13" fmla="*/ 10 h 10"/>
                <a:gd name="T14" fmla="*/ 48 w 48"/>
                <a:gd name="T15" fmla="*/ 0 h 10"/>
                <a:gd name="T16" fmla="*/ 0 w 48"/>
                <a:gd name="T17" fmla="*/ 0 h 10"/>
                <a:gd name="T18" fmla="*/ 0 w 48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10">
                  <a:moveTo>
                    <a:pt x="5" y="8"/>
                  </a:moveTo>
                  <a:cubicBezTo>
                    <a:pt x="4" y="8"/>
                    <a:pt x="3" y="6"/>
                    <a:pt x="3" y="5"/>
                  </a:cubicBezTo>
                  <a:cubicBezTo>
                    <a:pt x="3" y="4"/>
                    <a:pt x="4" y="2"/>
                    <a:pt x="5" y="2"/>
                  </a:cubicBezTo>
                  <a:cubicBezTo>
                    <a:pt x="7" y="2"/>
                    <a:pt x="8" y="4"/>
                    <a:pt x="8" y="5"/>
                  </a:cubicBezTo>
                  <a:cubicBezTo>
                    <a:pt x="8" y="6"/>
                    <a:pt x="7" y="8"/>
                    <a:pt x="5" y="8"/>
                  </a:cubicBezTo>
                  <a:moveTo>
                    <a:pt x="0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52">
              <a:extLst>
                <a:ext uri="{FF2B5EF4-FFF2-40B4-BE49-F238E27FC236}">
                  <a16:creationId xmlns:a16="http://schemas.microsoft.com/office/drawing/2014/main" id="{6EF68F09-09D3-4218-999E-80CB68FE1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" y="1181"/>
              <a:ext cx="156" cy="195"/>
            </a:xfrm>
            <a:custGeom>
              <a:avLst/>
              <a:gdLst>
                <a:gd name="T0" fmla="*/ 58 w 61"/>
                <a:gd name="T1" fmla="*/ 11 h 76"/>
                <a:gd name="T2" fmla="*/ 58 w 61"/>
                <a:gd name="T3" fmla="*/ 56 h 76"/>
                <a:gd name="T4" fmla="*/ 3 w 61"/>
                <a:gd name="T5" fmla="*/ 72 h 76"/>
                <a:gd name="T6" fmla="*/ 3 w 61"/>
                <a:gd name="T7" fmla="*/ 0 h 76"/>
                <a:gd name="T8" fmla="*/ 0 w 61"/>
                <a:gd name="T9" fmla="*/ 0 h 76"/>
                <a:gd name="T10" fmla="*/ 0 w 61"/>
                <a:gd name="T11" fmla="*/ 76 h 76"/>
                <a:gd name="T12" fmla="*/ 1 w 61"/>
                <a:gd name="T13" fmla="*/ 76 h 76"/>
                <a:gd name="T14" fmla="*/ 10 w 61"/>
                <a:gd name="T15" fmla="*/ 76 h 76"/>
                <a:gd name="T16" fmla="*/ 61 w 61"/>
                <a:gd name="T17" fmla="*/ 58 h 76"/>
                <a:gd name="T18" fmla="*/ 61 w 61"/>
                <a:gd name="T19" fmla="*/ 57 h 76"/>
                <a:gd name="T20" fmla="*/ 61 w 61"/>
                <a:gd name="T21" fmla="*/ 11 h 76"/>
                <a:gd name="T22" fmla="*/ 59 w 61"/>
                <a:gd name="T23" fmla="*/ 12 h 76"/>
                <a:gd name="T24" fmla="*/ 58 w 61"/>
                <a:gd name="T25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76">
                  <a:moveTo>
                    <a:pt x="58" y="11"/>
                  </a:moveTo>
                  <a:cubicBezTo>
                    <a:pt x="58" y="56"/>
                    <a:pt x="58" y="56"/>
                    <a:pt x="58" y="56"/>
                  </a:cubicBezTo>
                  <a:cubicBezTo>
                    <a:pt x="45" y="74"/>
                    <a:pt x="11" y="73"/>
                    <a:pt x="3" y="7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2" y="76"/>
                    <a:pt x="5" y="76"/>
                    <a:pt x="10" y="76"/>
                  </a:cubicBezTo>
                  <a:cubicBezTo>
                    <a:pt x="24" y="76"/>
                    <a:pt x="50" y="74"/>
                    <a:pt x="61" y="58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1" y="11"/>
                    <a:pt x="60" y="12"/>
                    <a:pt x="59" y="12"/>
                  </a:cubicBezTo>
                  <a:cubicBezTo>
                    <a:pt x="59" y="12"/>
                    <a:pt x="58" y="11"/>
                    <a:pt x="5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53">
              <a:extLst>
                <a:ext uri="{FF2B5EF4-FFF2-40B4-BE49-F238E27FC236}">
                  <a16:creationId xmlns:a16="http://schemas.microsoft.com/office/drawing/2014/main" id="{04F4B672-2E90-499D-8C38-18FE4E67D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" y="1181"/>
              <a:ext cx="7" cy="18"/>
            </a:xfrm>
            <a:custGeom>
              <a:avLst/>
              <a:gdLst>
                <a:gd name="T0" fmla="*/ 3 w 3"/>
                <a:gd name="T1" fmla="*/ 7 h 7"/>
                <a:gd name="T2" fmla="*/ 3 w 3"/>
                <a:gd name="T3" fmla="*/ 0 h 7"/>
                <a:gd name="T4" fmla="*/ 0 w 3"/>
                <a:gd name="T5" fmla="*/ 0 h 7"/>
                <a:gd name="T6" fmla="*/ 0 w 3"/>
                <a:gd name="T7" fmla="*/ 7 h 7"/>
                <a:gd name="T8" fmla="*/ 1 w 3"/>
                <a:gd name="T9" fmla="*/ 6 h 7"/>
                <a:gd name="T10" fmla="*/ 3 w 3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7">
                  <a:moveTo>
                    <a:pt x="3" y="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2" y="6"/>
                    <a:pt x="3" y="7"/>
                    <a:pt x="3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56">
            <a:extLst>
              <a:ext uri="{FF2B5EF4-FFF2-40B4-BE49-F238E27FC236}">
                <a16:creationId xmlns:a16="http://schemas.microsoft.com/office/drawing/2014/main" id="{C4A74E03-8FCC-4ADB-91CA-D460E064C7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6638" y="1579563"/>
            <a:ext cx="758825" cy="758825"/>
            <a:chOff x="2253" y="995"/>
            <a:chExt cx="478" cy="478"/>
          </a:xfrm>
        </p:grpSpPr>
        <p:sp>
          <p:nvSpPr>
            <p:cNvPr id="179" name="AutoShape 155">
              <a:extLst>
                <a:ext uri="{FF2B5EF4-FFF2-40B4-BE49-F238E27FC236}">
                  <a16:creationId xmlns:a16="http://schemas.microsoft.com/office/drawing/2014/main" id="{A02A5150-1F96-451F-85FF-5BA4C49B51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3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7">
              <a:extLst>
                <a:ext uri="{FF2B5EF4-FFF2-40B4-BE49-F238E27FC236}">
                  <a16:creationId xmlns:a16="http://schemas.microsoft.com/office/drawing/2014/main" id="{AD7A4DC0-32FB-4F0F-B4D6-003DA64F24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5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8">
              <a:extLst>
                <a:ext uri="{FF2B5EF4-FFF2-40B4-BE49-F238E27FC236}">
                  <a16:creationId xmlns:a16="http://schemas.microsoft.com/office/drawing/2014/main" id="{42088A81-715A-413E-9830-19C090E97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1088"/>
              <a:ext cx="248" cy="294"/>
            </a:xfrm>
            <a:custGeom>
              <a:avLst/>
              <a:gdLst>
                <a:gd name="T0" fmla="*/ 87 w 101"/>
                <a:gd name="T1" fmla="*/ 16 h 120"/>
                <a:gd name="T2" fmla="*/ 13 w 101"/>
                <a:gd name="T3" fmla="*/ 1 h 120"/>
                <a:gd name="T4" fmla="*/ 11 w 101"/>
                <a:gd name="T5" fmla="*/ 1 h 120"/>
                <a:gd name="T6" fmla="*/ 16 w 101"/>
                <a:gd name="T7" fmla="*/ 21 h 120"/>
                <a:gd name="T8" fmla="*/ 14 w 101"/>
                <a:gd name="T9" fmla="*/ 33 h 120"/>
                <a:gd name="T10" fmla="*/ 23 w 101"/>
                <a:gd name="T11" fmla="*/ 22 h 120"/>
                <a:gd name="T12" fmla="*/ 11 w 101"/>
                <a:gd name="T13" fmla="*/ 10 h 120"/>
                <a:gd name="T14" fmla="*/ 30 w 101"/>
                <a:gd name="T15" fmla="*/ 5 h 120"/>
                <a:gd name="T16" fmla="*/ 75 w 101"/>
                <a:gd name="T17" fmla="*/ 88 h 120"/>
                <a:gd name="T18" fmla="*/ 83 w 101"/>
                <a:gd name="T19" fmla="*/ 106 h 120"/>
                <a:gd name="T20" fmla="*/ 37 w 101"/>
                <a:gd name="T21" fmla="*/ 102 h 120"/>
                <a:gd name="T22" fmla="*/ 32 w 101"/>
                <a:gd name="T23" fmla="*/ 100 h 120"/>
                <a:gd name="T24" fmla="*/ 15 w 101"/>
                <a:gd name="T25" fmla="*/ 89 h 120"/>
                <a:gd name="T26" fmla="*/ 13 w 101"/>
                <a:gd name="T27" fmla="*/ 85 h 120"/>
                <a:gd name="T28" fmla="*/ 13 w 101"/>
                <a:gd name="T29" fmla="*/ 82 h 120"/>
                <a:gd name="T30" fmla="*/ 12 w 101"/>
                <a:gd name="T31" fmla="*/ 79 h 120"/>
                <a:gd name="T32" fmla="*/ 11 w 101"/>
                <a:gd name="T33" fmla="*/ 77 h 120"/>
                <a:gd name="T34" fmla="*/ 9 w 101"/>
                <a:gd name="T35" fmla="*/ 70 h 120"/>
                <a:gd name="T36" fmla="*/ 3 w 101"/>
                <a:gd name="T37" fmla="*/ 67 h 120"/>
                <a:gd name="T38" fmla="*/ 4 w 101"/>
                <a:gd name="T39" fmla="*/ 65 h 120"/>
                <a:gd name="T40" fmla="*/ 13 w 101"/>
                <a:gd name="T41" fmla="*/ 45 h 120"/>
                <a:gd name="T42" fmla="*/ 13 w 101"/>
                <a:gd name="T43" fmla="*/ 39 h 120"/>
                <a:gd name="T44" fmla="*/ 9 w 101"/>
                <a:gd name="T45" fmla="*/ 39 h 120"/>
                <a:gd name="T46" fmla="*/ 10 w 101"/>
                <a:gd name="T47" fmla="*/ 46 h 120"/>
                <a:gd name="T48" fmla="*/ 2 w 101"/>
                <a:gd name="T49" fmla="*/ 63 h 120"/>
                <a:gd name="T50" fmla="*/ 0 w 101"/>
                <a:gd name="T51" fmla="*/ 68 h 120"/>
                <a:gd name="T52" fmla="*/ 8 w 101"/>
                <a:gd name="T53" fmla="*/ 73 h 120"/>
                <a:gd name="T54" fmla="*/ 9 w 101"/>
                <a:gd name="T55" fmla="*/ 75 h 120"/>
                <a:gd name="T56" fmla="*/ 9 w 101"/>
                <a:gd name="T57" fmla="*/ 81 h 120"/>
                <a:gd name="T58" fmla="*/ 12 w 101"/>
                <a:gd name="T59" fmla="*/ 88 h 120"/>
                <a:gd name="T60" fmla="*/ 13 w 101"/>
                <a:gd name="T61" fmla="*/ 96 h 120"/>
                <a:gd name="T62" fmla="*/ 34 w 101"/>
                <a:gd name="T63" fmla="*/ 104 h 120"/>
                <a:gd name="T64" fmla="*/ 36 w 101"/>
                <a:gd name="T65" fmla="*/ 120 h 120"/>
                <a:gd name="T66" fmla="*/ 79 w 101"/>
                <a:gd name="T67" fmla="*/ 9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1" h="120">
                  <a:moveTo>
                    <a:pt x="78" y="90"/>
                  </a:moveTo>
                  <a:cubicBezTo>
                    <a:pt x="97" y="59"/>
                    <a:pt x="101" y="33"/>
                    <a:pt x="87" y="16"/>
                  </a:cubicBezTo>
                  <a:cubicBezTo>
                    <a:pt x="75" y="1"/>
                    <a:pt x="48" y="2"/>
                    <a:pt x="30" y="2"/>
                  </a:cubicBezTo>
                  <a:cubicBezTo>
                    <a:pt x="23" y="2"/>
                    <a:pt x="15" y="2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4"/>
                    <a:pt x="8" y="7"/>
                    <a:pt x="8" y="10"/>
                  </a:cubicBezTo>
                  <a:cubicBezTo>
                    <a:pt x="9" y="15"/>
                    <a:pt x="13" y="19"/>
                    <a:pt x="16" y="21"/>
                  </a:cubicBezTo>
                  <a:cubicBezTo>
                    <a:pt x="14" y="24"/>
                    <a:pt x="12" y="28"/>
                    <a:pt x="11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7" y="25"/>
                    <a:pt x="18" y="23"/>
                    <a:pt x="19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8" y="19"/>
                    <a:pt x="12" y="15"/>
                    <a:pt x="11" y="10"/>
                  </a:cubicBezTo>
                  <a:cubicBezTo>
                    <a:pt x="11" y="8"/>
                    <a:pt x="12" y="6"/>
                    <a:pt x="13" y="4"/>
                  </a:cubicBezTo>
                  <a:cubicBezTo>
                    <a:pt x="16" y="5"/>
                    <a:pt x="22" y="5"/>
                    <a:pt x="30" y="5"/>
                  </a:cubicBezTo>
                  <a:cubicBezTo>
                    <a:pt x="47" y="5"/>
                    <a:pt x="74" y="5"/>
                    <a:pt x="84" y="18"/>
                  </a:cubicBezTo>
                  <a:cubicBezTo>
                    <a:pt x="100" y="38"/>
                    <a:pt x="88" y="67"/>
                    <a:pt x="75" y="88"/>
                  </a:cubicBezTo>
                  <a:cubicBezTo>
                    <a:pt x="72" y="93"/>
                    <a:pt x="75" y="97"/>
                    <a:pt x="76" y="99"/>
                  </a:cubicBezTo>
                  <a:cubicBezTo>
                    <a:pt x="83" y="106"/>
                    <a:pt x="83" y="106"/>
                    <a:pt x="83" y="10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2"/>
                    <a:pt x="40" y="105"/>
                    <a:pt x="37" y="102"/>
                  </a:cubicBezTo>
                  <a:cubicBezTo>
                    <a:pt x="35" y="101"/>
                    <a:pt x="34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28" y="101"/>
                    <a:pt x="18" y="100"/>
                    <a:pt x="16" y="95"/>
                  </a:cubicBezTo>
                  <a:cubicBezTo>
                    <a:pt x="15" y="91"/>
                    <a:pt x="15" y="90"/>
                    <a:pt x="15" y="89"/>
                  </a:cubicBezTo>
                  <a:cubicBezTo>
                    <a:pt x="16" y="88"/>
                    <a:pt x="16" y="87"/>
                    <a:pt x="15" y="86"/>
                  </a:cubicBezTo>
                  <a:cubicBezTo>
                    <a:pt x="15" y="85"/>
                    <a:pt x="14" y="85"/>
                    <a:pt x="13" y="85"/>
                  </a:cubicBezTo>
                  <a:cubicBezTo>
                    <a:pt x="12" y="85"/>
                    <a:pt x="12" y="84"/>
                    <a:pt x="12" y="84"/>
                  </a:cubicBezTo>
                  <a:cubicBezTo>
                    <a:pt x="12" y="84"/>
                    <a:pt x="12" y="83"/>
                    <a:pt x="13" y="82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1" y="79"/>
                    <a:pt x="11" y="78"/>
                    <a:pt x="11" y="78"/>
                  </a:cubicBezTo>
                  <a:cubicBezTo>
                    <a:pt x="11" y="78"/>
                    <a:pt x="11" y="78"/>
                    <a:pt x="11" y="77"/>
                  </a:cubicBezTo>
                  <a:cubicBezTo>
                    <a:pt x="12" y="76"/>
                    <a:pt x="13" y="75"/>
                    <a:pt x="13" y="74"/>
                  </a:cubicBezTo>
                  <a:cubicBezTo>
                    <a:pt x="12" y="72"/>
                    <a:pt x="11" y="71"/>
                    <a:pt x="9" y="70"/>
                  </a:cubicBezTo>
                  <a:cubicBezTo>
                    <a:pt x="8" y="70"/>
                    <a:pt x="8" y="70"/>
                    <a:pt x="7" y="69"/>
                  </a:cubicBezTo>
                  <a:cubicBezTo>
                    <a:pt x="6" y="69"/>
                    <a:pt x="4" y="68"/>
                    <a:pt x="3" y="67"/>
                  </a:cubicBezTo>
                  <a:cubicBezTo>
                    <a:pt x="3" y="67"/>
                    <a:pt x="3" y="67"/>
                    <a:pt x="4" y="66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7" y="61"/>
                    <a:pt x="12" y="52"/>
                    <a:pt x="13" y="50"/>
                  </a:cubicBezTo>
                  <a:cubicBezTo>
                    <a:pt x="14" y="48"/>
                    <a:pt x="14" y="46"/>
                    <a:pt x="13" y="45"/>
                  </a:cubicBezTo>
                  <a:cubicBezTo>
                    <a:pt x="13" y="43"/>
                    <a:pt x="12" y="42"/>
                    <a:pt x="13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2"/>
                    <a:pt x="9" y="44"/>
                    <a:pt x="10" y="46"/>
                  </a:cubicBezTo>
                  <a:cubicBezTo>
                    <a:pt x="10" y="47"/>
                    <a:pt x="11" y="48"/>
                    <a:pt x="10" y="48"/>
                  </a:cubicBezTo>
                  <a:cubicBezTo>
                    <a:pt x="9" y="51"/>
                    <a:pt x="4" y="59"/>
                    <a:pt x="2" y="63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0" y="66"/>
                    <a:pt x="0" y="68"/>
                    <a:pt x="0" y="68"/>
                  </a:cubicBezTo>
                  <a:cubicBezTo>
                    <a:pt x="1" y="71"/>
                    <a:pt x="4" y="72"/>
                    <a:pt x="6" y="73"/>
                  </a:cubicBezTo>
                  <a:cubicBezTo>
                    <a:pt x="7" y="73"/>
                    <a:pt x="7" y="73"/>
                    <a:pt x="8" y="73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5"/>
                    <a:pt x="9" y="75"/>
                  </a:cubicBezTo>
                  <a:cubicBezTo>
                    <a:pt x="9" y="75"/>
                    <a:pt x="7" y="77"/>
                    <a:pt x="7" y="79"/>
                  </a:cubicBezTo>
                  <a:cubicBezTo>
                    <a:pt x="7" y="80"/>
                    <a:pt x="8" y="81"/>
                    <a:pt x="9" y="81"/>
                  </a:cubicBezTo>
                  <a:cubicBezTo>
                    <a:pt x="8" y="82"/>
                    <a:pt x="8" y="84"/>
                    <a:pt x="8" y="85"/>
                  </a:cubicBezTo>
                  <a:cubicBezTo>
                    <a:pt x="9" y="86"/>
                    <a:pt x="9" y="87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9"/>
                    <a:pt x="11" y="92"/>
                    <a:pt x="13" y="96"/>
                  </a:cubicBezTo>
                  <a:cubicBezTo>
                    <a:pt x="16" y="105"/>
                    <a:pt x="31" y="104"/>
                    <a:pt x="32" y="104"/>
                  </a:cubicBezTo>
                  <a:cubicBezTo>
                    <a:pt x="33" y="104"/>
                    <a:pt x="34" y="104"/>
                    <a:pt x="34" y="104"/>
                  </a:cubicBezTo>
                  <a:cubicBezTo>
                    <a:pt x="36" y="107"/>
                    <a:pt x="37" y="114"/>
                    <a:pt x="36" y="118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79" y="96"/>
                    <a:pt x="79" y="96"/>
                    <a:pt x="79" y="96"/>
                  </a:cubicBezTo>
                  <a:cubicBezTo>
                    <a:pt x="78" y="96"/>
                    <a:pt x="76" y="94"/>
                    <a:pt x="78" y="9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59">
              <a:extLst>
                <a:ext uri="{FF2B5EF4-FFF2-40B4-BE49-F238E27FC236}">
                  <a16:creationId xmlns:a16="http://schemas.microsoft.com/office/drawing/2014/main" id="{9F331954-2DA5-44EF-BE9B-DFDA5FA26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6" y="1203"/>
              <a:ext cx="81" cy="128"/>
            </a:xfrm>
            <a:custGeom>
              <a:avLst/>
              <a:gdLst>
                <a:gd name="T0" fmla="*/ 12 w 33"/>
                <a:gd name="T1" fmla="*/ 25 h 52"/>
                <a:gd name="T2" fmla="*/ 22 w 33"/>
                <a:gd name="T3" fmla="*/ 16 h 52"/>
                <a:gd name="T4" fmla="*/ 23 w 33"/>
                <a:gd name="T5" fmla="*/ 5 h 52"/>
                <a:gd name="T6" fmla="*/ 16 w 33"/>
                <a:gd name="T7" fmla="*/ 0 h 52"/>
                <a:gd name="T8" fmla="*/ 10 w 33"/>
                <a:gd name="T9" fmla="*/ 2 h 52"/>
                <a:gd name="T10" fmla="*/ 8 w 33"/>
                <a:gd name="T11" fmla="*/ 3 h 52"/>
                <a:gd name="T12" fmla="*/ 5 w 33"/>
                <a:gd name="T13" fmla="*/ 6 h 52"/>
                <a:gd name="T14" fmla="*/ 0 w 33"/>
                <a:gd name="T15" fmla="*/ 14 h 52"/>
                <a:gd name="T16" fmla="*/ 3 w 33"/>
                <a:gd name="T17" fmla="*/ 16 h 52"/>
                <a:gd name="T18" fmla="*/ 8 w 33"/>
                <a:gd name="T19" fmla="*/ 8 h 52"/>
                <a:gd name="T20" fmla="*/ 15 w 33"/>
                <a:gd name="T21" fmla="*/ 4 h 52"/>
                <a:gd name="T22" fmla="*/ 20 w 33"/>
                <a:gd name="T23" fmla="*/ 7 h 52"/>
                <a:gd name="T24" fmla="*/ 19 w 33"/>
                <a:gd name="T25" fmla="*/ 15 h 52"/>
                <a:gd name="T26" fmla="*/ 9 w 33"/>
                <a:gd name="T27" fmla="*/ 22 h 52"/>
                <a:gd name="T28" fmla="*/ 5 w 33"/>
                <a:gd name="T29" fmla="*/ 22 h 52"/>
                <a:gd name="T30" fmla="*/ 30 w 33"/>
                <a:gd name="T31" fmla="*/ 52 h 52"/>
                <a:gd name="T32" fmla="*/ 33 w 33"/>
                <a:gd name="T33" fmla="*/ 50 h 52"/>
                <a:gd name="T34" fmla="*/ 12 w 33"/>
                <a:gd name="T35" fmla="*/ 2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52">
                  <a:moveTo>
                    <a:pt x="12" y="25"/>
                  </a:moveTo>
                  <a:cubicBezTo>
                    <a:pt x="15" y="24"/>
                    <a:pt x="19" y="22"/>
                    <a:pt x="22" y="16"/>
                  </a:cubicBezTo>
                  <a:cubicBezTo>
                    <a:pt x="25" y="11"/>
                    <a:pt x="24" y="8"/>
                    <a:pt x="23" y="5"/>
                  </a:cubicBezTo>
                  <a:cubicBezTo>
                    <a:pt x="22" y="3"/>
                    <a:pt x="19" y="1"/>
                    <a:pt x="16" y="0"/>
                  </a:cubicBezTo>
                  <a:cubicBezTo>
                    <a:pt x="14" y="0"/>
                    <a:pt x="12" y="1"/>
                    <a:pt x="10" y="2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7" y="5"/>
                    <a:pt x="6" y="6"/>
                    <a:pt x="5" y="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7"/>
                    <a:pt x="13" y="3"/>
                    <a:pt x="15" y="4"/>
                  </a:cubicBezTo>
                  <a:cubicBezTo>
                    <a:pt x="16" y="4"/>
                    <a:pt x="19" y="5"/>
                    <a:pt x="20" y="7"/>
                  </a:cubicBezTo>
                  <a:cubicBezTo>
                    <a:pt x="21" y="9"/>
                    <a:pt x="21" y="12"/>
                    <a:pt x="19" y="15"/>
                  </a:cubicBezTo>
                  <a:cubicBezTo>
                    <a:pt x="16" y="22"/>
                    <a:pt x="9" y="22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3" y="50"/>
                    <a:pt x="33" y="50"/>
                    <a:pt x="33" y="50"/>
                  </a:cubicBezTo>
                  <a:lnTo>
                    <a:pt x="12" y="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60">
              <a:extLst>
                <a:ext uri="{FF2B5EF4-FFF2-40B4-BE49-F238E27FC236}">
                  <a16:creationId xmlns:a16="http://schemas.microsoft.com/office/drawing/2014/main" id="{9D2AA98F-8A0E-4AA5-A26B-12FB3FE98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" y="1169"/>
              <a:ext cx="5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61">
              <a:extLst>
                <a:ext uri="{FF2B5EF4-FFF2-40B4-BE49-F238E27FC236}">
                  <a16:creationId xmlns:a16="http://schemas.microsoft.com/office/drawing/2014/main" id="{09C188D3-39C7-4658-8F3D-CA62D9453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" y="1137"/>
              <a:ext cx="54" cy="32"/>
            </a:xfrm>
            <a:custGeom>
              <a:avLst/>
              <a:gdLst>
                <a:gd name="T0" fmla="*/ 10 w 22"/>
                <a:gd name="T1" fmla="*/ 12 h 13"/>
                <a:gd name="T2" fmla="*/ 19 w 22"/>
                <a:gd name="T3" fmla="*/ 5 h 13"/>
                <a:gd name="T4" fmla="*/ 22 w 22"/>
                <a:gd name="T5" fmla="*/ 2 h 13"/>
                <a:gd name="T6" fmla="*/ 18 w 22"/>
                <a:gd name="T7" fmla="*/ 2 h 13"/>
                <a:gd name="T8" fmla="*/ 2 w 22"/>
                <a:gd name="T9" fmla="*/ 0 h 13"/>
                <a:gd name="T10" fmla="*/ 1 w 22"/>
                <a:gd name="T11" fmla="*/ 3 h 13"/>
                <a:gd name="T12" fmla="*/ 14 w 22"/>
                <a:gd name="T13" fmla="*/ 5 h 13"/>
                <a:gd name="T14" fmla="*/ 4 w 22"/>
                <a:gd name="T15" fmla="*/ 10 h 13"/>
                <a:gd name="T16" fmla="*/ 0 w 22"/>
                <a:gd name="T17" fmla="*/ 11 h 13"/>
                <a:gd name="T18" fmla="*/ 4 w 22"/>
                <a:gd name="T19" fmla="*/ 13 h 13"/>
                <a:gd name="T20" fmla="*/ 4 w 22"/>
                <a:gd name="T21" fmla="*/ 13 h 13"/>
                <a:gd name="T22" fmla="*/ 14 w 22"/>
                <a:gd name="T23" fmla="*/ 13 h 13"/>
                <a:gd name="T24" fmla="*/ 10 w 22"/>
                <a:gd name="T2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13">
                  <a:moveTo>
                    <a:pt x="10" y="12"/>
                  </a:moveTo>
                  <a:cubicBezTo>
                    <a:pt x="15" y="9"/>
                    <a:pt x="19" y="5"/>
                    <a:pt x="19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1" y="2"/>
                    <a:pt x="2" y="0"/>
                    <a:pt x="2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8" y="5"/>
                    <a:pt x="14" y="5"/>
                  </a:cubicBezTo>
                  <a:cubicBezTo>
                    <a:pt x="12" y="7"/>
                    <a:pt x="8" y="9"/>
                    <a:pt x="4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1" y="12"/>
                    <a:pt x="10" y="1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2">
              <a:extLst>
                <a:ext uri="{FF2B5EF4-FFF2-40B4-BE49-F238E27FC236}">
                  <a16:creationId xmlns:a16="http://schemas.microsoft.com/office/drawing/2014/main" id="{985B3AF8-B23D-42AC-B9B2-980AEB50F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3" y="1164"/>
              <a:ext cx="160" cy="25"/>
            </a:xfrm>
            <a:custGeom>
              <a:avLst/>
              <a:gdLst>
                <a:gd name="T0" fmla="*/ 157 w 160"/>
                <a:gd name="T1" fmla="*/ 20 h 25"/>
                <a:gd name="T2" fmla="*/ 5 w 160"/>
                <a:gd name="T3" fmla="*/ 20 h 25"/>
                <a:gd name="T4" fmla="*/ 5 w 160"/>
                <a:gd name="T5" fmla="*/ 5 h 25"/>
                <a:gd name="T6" fmla="*/ 157 w 160"/>
                <a:gd name="T7" fmla="*/ 5 h 25"/>
                <a:gd name="T8" fmla="*/ 157 w 160"/>
                <a:gd name="T9" fmla="*/ 20 h 25"/>
                <a:gd name="T10" fmla="*/ 0 w 160"/>
                <a:gd name="T11" fmla="*/ 25 h 25"/>
                <a:gd name="T12" fmla="*/ 160 w 160"/>
                <a:gd name="T13" fmla="*/ 25 h 25"/>
                <a:gd name="T14" fmla="*/ 160 w 160"/>
                <a:gd name="T15" fmla="*/ 0 h 25"/>
                <a:gd name="T16" fmla="*/ 0 w 160"/>
                <a:gd name="T17" fmla="*/ 0 h 25"/>
                <a:gd name="T18" fmla="*/ 0 w 160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25">
                  <a:moveTo>
                    <a:pt x="157" y="20"/>
                  </a:moveTo>
                  <a:lnTo>
                    <a:pt x="5" y="20"/>
                  </a:lnTo>
                  <a:lnTo>
                    <a:pt x="5" y="5"/>
                  </a:lnTo>
                  <a:lnTo>
                    <a:pt x="157" y="5"/>
                  </a:lnTo>
                  <a:lnTo>
                    <a:pt x="157" y="20"/>
                  </a:lnTo>
                  <a:close/>
                  <a:moveTo>
                    <a:pt x="0" y="25"/>
                  </a:moveTo>
                  <a:lnTo>
                    <a:pt x="160" y="25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3">
              <a:extLst>
                <a:ext uri="{FF2B5EF4-FFF2-40B4-BE49-F238E27FC236}">
                  <a16:creationId xmlns:a16="http://schemas.microsoft.com/office/drawing/2014/main" id="{060234A8-8353-4C77-9401-EE6FB2A606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8" y="1169"/>
              <a:ext cx="152" cy="15"/>
            </a:xfrm>
            <a:custGeom>
              <a:avLst/>
              <a:gdLst>
                <a:gd name="T0" fmla="*/ 3 w 152"/>
                <a:gd name="T1" fmla="*/ 5 h 15"/>
                <a:gd name="T2" fmla="*/ 147 w 152"/>
                <a:gd name="T3" fmla="*/ 5 h 15"/>
                <a:gd name="T4" fmla="*/ 147 w 152"/>
                <a:gd name="T5" fmla="*/ 10 h 15"/>
                <a:gd name="T6" fmla="*/ 3 w 152"/>
                <a:gd name="T7" fmla="*/ 10 h 15"/>
                <a:gd name="T8" fmla="*/ 3 w 152"/>
                <a:gd name="T9" fmla="*/ 5 h 15"/>
                <a:gd name="T10" fmla="*/ 0 w 152"/>
                <a:gd name="T11" fmla="*/ 15 h 15"/>
                <a:gd name="T12" fmla="*/ 152 w 152"/>
                <a:gd name="T13" fmla="*/ 15 h 15"/>
                <a:gd name="T14" fmla="*/ 152 w 152"/>
                <a:gd name="T15" fmla="*/ 0 h 15"/>
                <a:gd name="T16" fmla="*/ 0 w 152"/>
                <a:gd name="T17" fmla="*/ 0 h 15"/>
                <a:gd name="T18" fmla="*/ 0 w 152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">
                  <a:moveTo>
                    <a:pt x="3" y="5"/>
                  </a:moveTo>
                  <a:lnTo>
                    <a:pt x="147" y="5"/>
                  </a:lnTo>
                  <a:lnTo>
                    <a:pt x="147" y="10"/>
                  </a:lnTo>
                  <a:lnTo>
                    <a:pt x="3" y="10"/>
                  </a:lnTo>
                  <a:lnTo>
                    <a:pt x="3" y="5"/>
                  </a:lnTo>
                  <a:close/>
                  <a:moveTo>
                    <a:pt x="0" y="15"/>
                  </a:moveTo>
                  <a:lnTo>
                    <a:pt x="152" y="15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64">
              <a:extLst>
                <a:ext uri="{FF2B5EF4-FFF2-40B4-BE49-F238E27FC236}">
                  <a16:creationId xmlns:a16="http://schemas.microsoft.com/office/drawing/2014/main" id="{C6F9D3BB-C58A-4FE4-92E0-3F55ACAB61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" y="1194"/>
              <a:ext cx="117" cy="24"/>
            </a:xfrm>
            <a:custGeom>
              <a:avLst/>
              <a:gdLst>
                <a:gd name="T0" fmla="*/ 5 w 48"/>
                <a:gd name="T1" fmla="*/ 8 h 10"/>
                <a:gd name="T2" fmla="*/ 3 w 48"/>
                <a:gd name="T3" fmla="*/ 5 h 10"/>
                <a:gd name="T4" fmla="*/ 5 w 48"/>
                <a:gd name="T5" fmla="*/ 2 h 10"/>
                <a:gd name="T6" fmla="*/ 8 w 48"/>
                <a:gd name="T7" fmla="*/ 5 h 10"/>
                <a:gd name="T8" fmla="*/ 5 w 48"/>
                <a:gd name="T9" fmla="*/ 8 h 10"/>
                <a:gd name="T10" fmla="*/ 0 w 48"/>
                <a:gd name="T11" fmla="*/ 10 h 10"/>
                <a:gd name="T12" fmla="*/ 48 w 48"/>
                <a:gd name="T13" fmla="*/ 10 h 10"/>
                <a:gd name="T14" fmla="*/ 48 w 48"/>
                <a:gd name="T15" fmla="*/ 0 h 10"/>
                <a:gd name="T16" fmla="*/ 0 w 48"/>
                <a:gd name="T17" fmla="*/ 0 h 10"/>
                <a:gd name="T18" fmla="*/ 0 w 48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10">
                  <a:moveTo>
                    <a:pt x="5" y="8"/>
                  </a:moveTo>
                  <a:cubicBezTo>
                    <a:pt x="4" y="8"/>
                    <a:pt x="3" y="6"/>
                    <a:pt x="3" y="5"/>
                  </a:cubicBezTo>
                  <a:cubicBezTo>
                    <a:pt x="3" y="4"/>
                    <a:pt x="4" y="2"/>
                    <a:pt x="5" y="2"/>
                  </a:cubicBezTo>
                  <a:cubicBezTo>
                    <a:pt x="7" y="2"/>
                    <a:pt x="8" y="4"/>
                    <a:pt x="8" y="5"/>
                  </a:cubicBezTo>
                  <a:cubicBezTo>
                    <a:pt x="8" y="6"/>
                    <a:pt x="7" y="8"/>
                    <a:pt x="5" y="8"/>
                  </a:cubicBezTo>
                  <a:moveTo>
                    <a:pt x="0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65">
              <a:extLst>
                <a:ext uri="{FF2B5EF4-FFF2-40B4-BE49-F238E27FC236}">
                  <a16:creationId xmlns:a16="http://schemas.microsoft.com/office/drawing/2014/main" id="{4420D02F-3536-4F72-A537-792CB7474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" y="1184"/>
              <a:ext cx="150" cy="186"/>
            </a:xfrm>
            <a:custGeom>
              <a:avLst/>
              <a:gdLst>
                <a:gd name="T0" fmla="*/ 58 w 61"/>
                <a:gd name="T1" fmla="*/ 11 h 76"/>
                <a:gd name="T2" fmla="*/ 58 w 61"/>
                <a:gd name="T3" fmla="*/ 56 h 76"/>
                <a:gd name="T4" fmla="*/ 3 w 61"/>
                <a:gd name="T5" fmla="*/ 72 h 76"/>
                <a:gd name="T6" fmla="*/ 3 w 61"/>
                <a:gd name="T7" fmla="*/ 0 h 76"/>
                <a:gd name="T8" fmla="*/ 0 w 61"/>
                <a:gd name="T9" fmla="*/ 0 h 76"/>
                <a:gd name="T10" fmla="*/ 0 w 61"/>
                <a:gd name="T11" fmla="*/ 76 h 76"/>
                <a:gd name="T12" fmla="*/ 1 w 61"/>
                <a:gd name="T13" fmla="*/ 76 h 76"/>
                <a:gd name="T14" fmla="*/ 10 w 61"/>
                <a:gd name="T15" fmla="*/ 76 h 76"/>
                <a:gd name="T16" fmla="*/ 61 w 61"/>
                <a:gd name="T17" fmla="*/ 58 h 76"/>
                <a:gd name="T18" fmla="*/ 61 w 61"/>
                <a:gd name="T19" fmla="*/ 57 h 76"/>
                <a:gd name="T20" fmla="*/ 61 w 61"/>
                <a:gd name="T21" fmla="*/ 11 h 76"/>
                <a:gd name="T22" fmla="*/ 59 w 61"/>
                <a:gd name="T23" fmla="*/ 12 h 76"/>
                <a:gd name="T24" fmla="*/ 58 w 61"/>
                <a:gd name="T25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76">
                  <a:moveTo>
                    <a:pt x="58" y="11"/>
                  </a:moveTo>
                  <a:cubicBezTo>
                    <a:pt x="58" y="56"/>
                    <a:pt x="58" y="56"/>
                    <a:pt x="58" y="56"/>
                  </a:cubicBezTo>
                  <a:cubicBezTo>
                    <a:pt x="45" y="74"/>
                    <a:pt x="11" y="73"/>
                    <a:pt x="3" y="7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2" y="76"/>
                    <a:pt x="5" y="76"/>
                    <a:pt x="10" y="76"/>
                  </a:cubicBezTo>
                  <a:cubicBezTo>
                    <a:pt x="24" y="76"/>
                    <a:pt x="50" y="74"/>
                    <a:pt x="61" y="58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1" y="11"/>
                    <a:pt x="60" y="12"/>
                    <a:pt x="59" y="12"/>
                  </a:cubicBezTo>
                  <a:cubicBezTo>
                    <a:pt x="59" y="12"/>
                    <a:pt x="58" y="11"/>
                    <a:pt x="58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6">
              <a:extLst>
                <a:ext uri="{FF2B5EF4-FFF2-40B4-BE49-F238E27FC236}">
                  <a16:creationId xmlns:a16="http://schemas.microsoft.com/office/drawing/2014/main" id="{6F6DE819-13A5-435D-AA49-030B56CC9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1184"/>
              <a:ext cx="8" cy="17"/>
            </a:xfrm>
            <a:custGeom>
              <a:avLst/>
              <a:gdLst>
                <a:gd name="T0" fmla="*/ 3 w 3"/>
                <a:gd name="T1" fmla="*/ 7 h 7"/>
                <a:gd name="T2" fmla="*/ 3 w 3"/>
                <a:gd name="T3" fmla="*/ 0 h 7"/>
                <a:gd name="T4" fmla="*/ 0 w 3"/>
                <a:gd name="T5" fmla="*/ 0 h 7"/>
                <a:gd name="T6" fmla="*/ 0 w 3"/>
                <a:gd name="T7" fmla="*/ 7 h 7"/>
                <a:gd name="T8" fmla="*/ 1 w 3"/>
                <a:gd name="T9" fmla="*/ 6 h 7"/>
                <a:gd name="T10" fmla="*/ 3 w 3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7">
                  <a:moveTo>
                    <a:pt x="3" y="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2" y="6"/>
                    <a:pt x="3" y="7"/>
                    <a:pt x="3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0" name="Group 169">
            <a:extLst>
              <a:ext uri="{FF2B5EF4-FFF2-40B4-BE49-F238E27FC236}">
                <a16:creationId xmlns:a16="http://schemas.microsoft.com/office/drawing/2014/main" id="{681B1C4D-EBD0-4CAF-A1A7-0245EC1A67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0750" y="1538288"/>
            <a:ext cx="841375" cy="841375"/>
            <a:chOff x="2980" y="969"/>
            <a:chExt cx="530" cy="530"/>
          </a:xfrm>
        </p:grpSpPr>
        <p:sp>
          <p:nvSpPr>
            <p:cNvPr id="191" name="AutoShape 168">
              <a:extLst>
                <a:ext uri="{FF2B5EF4-FFF2-40B4-BE49-F238E27FC236}">
                  <a16:creationId xmlns:a16="http://schemas.microsoft.com/office/drawing/2014/main" id="{BD18C9F9-8957-4C48-9737-FF864A1A381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0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Oval 170">
              <a:extLst>
                <a:ext uri="{FF2B5EF4-FFF2-40B4-BE49-F238E27FC236}">
                  <a16:creationId xmlns:a16="http://schemas.microsoft.com/office/drawing/2014/main" id="{E4760658-2FB6-456E-8B24-E229F47286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0" y="9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71">
              <a:extLst>
                <a:ext uri="{FF2B5EF4-FFF2-40B4-BE49-F238E27FC236}">
                  <a16:creationId xmlns:a16="http://schemas.microsoft.com/office/drawing/2014/main" id="{26836138-7934-4A85-ABF3-932C82335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9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72">
              <a:extLst>
                <a:ext uri="{FF2B5EF4-FFF2-40B4-BE49-F238E27FC236}">
                  <a16:creationId xmlns:a16="http://schemas.microsoft.com/office/drawing/2014/main" id="{1317A1B0-1AF0-438B-B149-B8B552D56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3" y="1176"/>
              <a:ext cx="246" cy="108"/>
            </a:xfrm>
            <a:custGeom>
              <a:avLst/>
              <a:gdLst>
                <a:gd name="T0" fmla="*/ 87 w 96"/>
                <a:gd name="T1" fmla="*/ 33 h 42"/>
                <a:gd name="T2" fmla="*/ 56 w 96"/>
                <a:gd name="T3" fmla="*/ 40 h 42"/>
                <a:gd name="T4" fmla="*/ 48 w 96"/>
                <a:gd name="T5" fmla="*/ 25 h 42"/>
                <a:gd name="T6" fmla="*/ 40 w 96"/>
                <a:gd name="T7" fmla="*/ 40 h 42"/>
                <a:gd name="T8" fmla="*/ 9 w 96"/>
                <a:gd name="T9" fmla="*/ 33 h 42"/>
                <a:gd name="T10" fmla="*/ 2 w 96"/>
                <a:gd name="T11" fmla="*/ 10 h 42"/>
                <a:gd name="T12" fmla="*/ 94 w 96"/>
                <a:gd name="T13" fmla="*/ 10 h 42"/>
                <a:gd name="T14" fmla="*/ 87 w 96"/>
                <a:gd name="T15" fmla="*/ 33 h 42"/>
                <a:gd name="T16" fmla="*/ 95 w 96"/>
                <a:gd name="T17" fmla="*/ 8 h 42"/>
                <a:gd name="T18" fmla="*/ 1 w 96"/>
                <a:gd name="T19" fmla="*/ 8 h 42"/>
                <a:gd name="T20" fmla="*/ 0 w 96"/>
                <a:gd name="T21" fmla="*/ 8 h 42"/>
                <a:gd name="T22" fmla="*/ 0 w 96"/>
                <a:gd name="T23" fmla="*/ 10 h 42"/>
                <a:gd name="T24" fmla="*/ 8 w 96"/>
                <a:gd name="T25" fmla="*/ 34 h 42"/>
                <a:gd name="T26" fmla="*/ 40 w 96"/>
                <a:gd name="T27" fmla="*/ 42 h 42"/>
                <a:gd name="T28" fmla="*/ 42 w 96"/>
                <a:gd name="T29" fmla="*/ 42 h 42"/>
                <a:gd name="T30" fmla="*/ 42 w 96"/>
                <a:gd name="T31" fmla="*/ 40 h 42"/>
                <a:gd name="T32" fmla="*/ 48 w 96"/>
                <a:gd name="T33" fmla="*/ 27 h 42"/>
                <a:gd name="T34" fmla="*/ 54 w 96"/>
                <a:gd name="T35" fmla="*/ 40 h 42"/>
                <a:gd name="T36" fmla="*/ 54 w 96"/>
                <a:gd name="T37" fmla="*/ 42 h 42"/>
                <a:gd name="T38" fmla="*/ 56 w 96"/>
                <a:gd name="T39" fmla="*/ 42 h 42"/>
                <a:gd name="T40" fmla="*/ 88 w 96"/>
                <a:gd name="T41" fmla="*/ 34 h 42"/>
                <a:gd name="T42" fmla="*/ 96 w 96"/>
                <a:gd name="T43" fmla="*/ 10 h 42"/>
                <a:gd name="T44" fmla="*/ 96 w 96"/>
                <a:gd name="T45" fmla="*/ 8 h 42"/>
                <a:gd name="T46" fmla="*/ 95 w 96"/>
                <a:gd name="T47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42">
                  <a:moveTo>
                    <a:pt x="87" y="33"/>
                  </a:moveTo>
                  <a:cubicBezTo>
                    <a:pt x="79" y="40"/>
                    <a:pt x="56" y="40"/>
                    <a:pt x="56" y="40"/>
                  </a:cubicBezTo>
                  <a:cubicBezTo>
                    <a:pt x="56" y="40"/>
                    <a:pt x="56" y="25"/>
                    <a:pt x="48" y="25"/>
                  </a:cubicBezTo>
                  <a:cubicBezTo>
                    <a:pt x="40" y="25"/>
                    <a:pt x="40" y="40"/>
                    <a:pt x="40" y="40"/>
                  </a:cubicBezTo>
                  <a:cubicBezTo>
                    <a:pt x="40" y="40"/>
                    <a:pt x="17" y="40"/>
                    <a:pt x="9" y="33"/>
                  </a:cubicBezTo>
                  <a:cubicBezTo>
                    <a:pt x="2" y="25"/>
                    <a:pt x="2" y="10"/>
                    <a:pt x="2" y="10"/>
                  </a:cubicBezTo>
                  <a:cubicBezTo>
                    <a:pt x="2" y="10"/>
                    <a:pt x="48" y="2"/>
                    <a:pt x="94" y="10"/>
                  </a:cubicBezTo>
                  <a:cubicBezTo>
                    <a:pt x="94" y="10"/>
                    <a:pt x="94" y="25"/>
                    <a:pt x="87" y="33"/>
                  </a:cubicBezTo>
                  <a:moveTo>
                    <a:pt x="95" y="8"/>
                  </a:moveTo>
                  <a:cubicBezTo>
                    <a:pt x="49" y="0"/>
                    <a:pt x="2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26"/>
                    <a:pt x="8" y="34"/>
                  </a:cubicBezTo>
                  <a:cubicBezTo>
                    <a:pt x="16" y="42"/>
                    <a:pt x="39" y="42"/>
                    <a:pt x="4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37"/>
                    <a:pt x="43" y="27"/>
                    <a:pt x="48" y="27"/>
                  </a:cubicBezTo>
                  <a:cubicBezTo>
                    <a:pt x="53" y="27"/>
                    <a:pt x="54" y="37"/>
                    <a:pt x="54" y="40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7" y="42"/>
                    <a:pt x="80" y="42"/>
                    <a:pt x="88" y="34"/>
                  </a:cubicBezTo>
                  <a:cubicBezTo>
                    <a:pt x="96" y="26"/>
                    <a:pt x="96" y="10"/>
                    <a:pt x="96" y="10"/>
                  </a:cubicBezTo>
                  <a:cubicBezTo>
                    <a:pt x="96" y="8"/>
                    <a:pt x="96" y="8"/>
                    <a:pt x="96" y="8"/>
                  </a:cubicBezTo>
                  <a:lnTo>
                    <a:pt x="95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73">
              <a:extLst>
                <a:ext uri="{FF2B5EF4-FFF2-40B4-BE49-F238E27FC236}">
                  <a16:creationId xmlns:a16="http://schemas.microsoft.com/office/drawing/2014/main" id="{604075C4-2528-4405-979C-0CE351A5F4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8" y="1181"/>
              <a:ext cx="236" cy="98"/>
            </a:xfrm>
            <a:custGeom>
              <a:avLst/>
              <a:gdLst>
                <a:gd name="T0" fmla="*/ 91 w 92"/>
                <a:gd name="T1" fmla="*/ 9 h 38"/>
                <a:gd name="T2" fmla="*/ 84 w 92"/>
                <a:gd name="T3" fmla="*/ 30 h 38"/>
                <a:gd name="T4" fmla="*/ 55 w 92"/>
                <a:gd name="T5" fmla="*/ 37 h 38"/>
                <a:gd name="T6" fmla="*/ 46 w 92"/>
                <a:gd name="T7" fmla="*/ 21 h 38"/>
                <a:gd name="T8" fmla="*/ 37 w 92"/>
                <a:gd name="T9" fmla="*/ 37 h 38"/>
                <a:gd name="T10" fmla="*/ 8 w 92"/>
                <a:gd name="T11" fmla="*/ 30 h 38"/>
                <a:gd name="T12" fmla="*/ 1 w 92"/>
                <a:gd name="T13" fmla="*/ 9 h 38"/>
                <a:gd name="T14" fmla="*/ 91 w 92"/>
                <a:gd name="T15" fmla="*/ 9 h 38"/>
                <a:gd name="T16" fmla="*/ 0 w 92"/>
                <a:gd name="T17" fmla="*/ 8 h 38"/>
                <a:gd name="T18" fmla="*/ 7 w 92"/>
                <a:gd name="T19" fmla="*/ 31 h 38"/>
                <a:gd name="T20" fmla="*/ 38 w 92"/>
                <a:gd name="T21" fmla="*/ 38 h 38"/>
                <a:gd name="T22" fmla="*/ 46 w 92"/>
                <a:gd name="T23" fmla="*/ 23 h 38"/>
                <a:gd name="T24" fmla="*/ 54 w 92"/>
                <a:gd name="T25" fmla="*/ 38 h 38"/>
                <a:gd name="T26" fmla="*/ 85 w 92"/>
                <a:gd name="T27" fmla="*/ 31 h 38"/>
                <a:gd name="T28" fmla="*/ 92 w 92"/>
                <a:gd name="T29" fmla="*/ 8 h 38"/>
                <a:gd name="T30" fmla="*/ 0 w 92"/>
                <a:gd name="T31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38">
                  <a:moveTo>
                    <a:pt x="91" y="9"/>
                  </a:moveTo>
                  <a:cubicBezTo>
                    <a:pt x="91" y="13"/>
                    <a:pt x="89" y="24"/>
                    <a:pt x="84" y="30"/>
                  </a:cubicBezTo>
                  <a:cubicBezTo>
                    <a:pt x="78" y="36"/>
                    <a:pt x="61" y="37"/>
                    <a:pt x="55" y="37"/>
                  </a:cubicBezTo>
                  <a:cubicBezTo>
                    <a:pt x="55" y="32"/>
                    <a:pt x="54" y="21"/>
                    <a:pt x="46" y="21"/>
                  </a:cubicBezTo>
                  <a:cubicBezTo>
                    <a:pt x="38" y="21"/>
                    <a:pt x="37" y="32"/>
                    <a:pt x="37" y="37"/>
                  </a:cubicBezTo>
                  <a:cubicBezTo>
                    <a:pt x="31" y="37"/>
                    <a:pt x="15" y="36"/>
                    <a:pt x="8" y="30"/>
                  </a:cubicBezTo>
                  <a:cubicBezTo>
                    <a:pt x="3" y="24"/>
                    <a:pt x="2" y="13"/>
                    <a:pt x="1" y="9"/>
                  </a:cubicBezTo>
                  <a:cubicBezTo>
                    <a:pt x="9" y="8"/>
                    <a:pt x="50" y="2"/>
                    <a:pt x="91" y="9"/>
                  </a:cubicBezTo>
                  <a:moveTo>
                    <a:pt x="0" y="8"/>
                  </a:moveTo>
                  <a:cubicBezTo>
                    <a:pt x="0" y="8"/>
                    <a:pt x="0" y="23"/>
                    <a:pt x="7" y="31"/>
                  </a:cubicBezTo>
                  <a:cubicBezTo>
                    <a:pt x="15" y="38"/>
                    <a:pt x="38" y="38"/>
                    <a:pt x="38" y="38"/>
                  </a:cubicBezTo>
                  <a:cubicBezTo>
                    <a:pt x="38" y="38"/>
                    <a:pt x="38" y="23"/>
                    <a:pt x="46" y="23"/>
                  </a:cubicBezTo>
                  <a:cubicBezTo>
                    <a:pt x="54" y="23"/>
                    <a:pt x="54" y="38"/>
                    <a:pt x="54" y="38"/>
                  </a:cubicBezTo>
                  <a:cubicBezTo>
                    <a:pt x="54" y="38"/>
                    <a:pt x="77" y="38"/>
                    <a:pt x="85" y="31"/>
                  </a:cubicBezTo>
                  <a:cubicBezTo>
                    <a:pt x="92" y="23"/>
                    <a:pt x="92" y="8"/>
                    <a:pt x="92" y="8"/>
                  </a:cubicBezTo>
                  <a:cubicBezTo>
                    <a:pt x="46" y="0"/>
                    <a:pt x="0" y="8"/>
                    <a:pt x="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74">
              <a:extLst>
                <a:ext uri="{FF2B5EF4-FFF2-40B4-BE49-F238E27FC236}">
                  <a16:creationId xmlns:a16="http://schemas.microsoft.com/office/drawing/2014/main" id="{1D1F4886-5FE9-4986-9EB6-74B6912E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" y="1202"/>
              <a:ext cx="20" cy="15"/>
            </a:xfrm>
            <a:custGeom>
              <a:avLst/>
              <a:gdLst>
                <a:gd name="T0" fmla="*/ 8 w 8"/>
                <a:gd name="T1" fmla="*/ 3 h 6"/>
                <a:gd name="T2" fmla="*/ 2 w 8"/>
                <a:gd name="T3" fmla="*/ 0 h 6"/>
                <a:gd name="T4" fmla="*/ 0 w 8"/>
                <a:gd name="T5" fmla="*/ 4 h 6"/>
                <a:gd name="T6" fmla="*/ 7 w 8"/>
                <a:gd name="T7" fmla="*/ 6 h 6"/>
                <a:gd name="T8" fmla="*/ 8 w 8"/>
                <a:gd name="T9" fmla="*/ 6 h 6"/>
                <a:gd name="T10" fmla="*/ 8 w 8"/>
                <a:gd name="T11" fmla="*/ 6 h 6"/>
                <a:gd name="T12" fmla="*/ 8 w 8"/>
                <a:gd name="T13" fmla="*/ 3 h 6"/>
                <a:gd name="T14" fmla="*/ 8 w 8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75">
              <a:extLst>
                <a:ext uri="{FF2B5EF4-FFF2-40B4-BE49-F238E27FC236}">
                  <a16:creationId xmlns:a16="http://schemas.microsoft.com/office/drawing/2014/main" id="{80ABE54F-1DDA-40C4-B774-27FEB1106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" y="1202"/>
              <a:ext cx="20" cy="15"/>
            </a:xfrm>
            <a:custGeom>
              <a:avLst/>
              <a:gdLst>
                <a:gd name="T0" fmla="*/ 6 w 8"/>
                <a:gd name="T1" fmla="*/ 0 h 6"/>
                <a:gd name="T2" fmla="*/ 0 w 8"/>
                <a:gd name="T3" fmla="*/ 3 h 6"/>
                <a:gd name="T4" fmla="*/ 0 w 8"/>
                <a:gd name="T5" fmla="*/ 3 h 6"/>
                <a:gd name="T6" fmla="*/ 0 w 8"/>
                <a:gd name="T7" fmla="*/ 6 h 6"/>
                <a:gd name="T8" fmla="*/ 0 w 8"/>
                <a:gd name="T9" fmla="*/ 6 h 6"/>
                <a:gd name="T10" fmla="*/ 1 w 8"/>
                <a:gd name="T11" fmla="*/ 6 h 6"/>
                <a:gd name="T12" fmla="*/ 8 w 8"/>
                <a:gd name="T13" fmla="*/ 4 h 6"/>
                <a:gd name="T14" fmla="*/ 6 w 8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76">
              <a:extLst>
                <a:ext uri="{FF2B5EF4-FFF2-40B4-BE49-F238E27FC236}">
                  <a16:creationId xmlns:a16="http://schemas.microsoft.com/office/drawing/2014/main" id="{16927410-AD17-4978-94A2-AE2541068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1192"/>
              <a:ext cx="236" cy="25"/>
            </a:xfrm>
            <a:custGeom>
              <a:avLst/>
              <a:gdLst>
                <a:gd name="T0" fmla="*/ 0 w 92"/>
                <a:gd name="T1" fmla="*/ 7 h 10"/>
                <a:gd name="T2" fmla="*/ 0 w 92"/>
                <a:gd name="T3" fmla="*/ 10 h 10"/>
                <a:gd name="T4" fmla="*/ 92 w 92"/>
                <a:gd name="T5" fmla="*/ 10 h 10"/>
                <a:gd name="T6" fmla="*/ 92 w 92"/>
                <a:gd name="T7" fmla="*/ 7 h 10"/>
                <a:gd name="T8" fmla="*/ 0 w 92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">
                  <a:moveTo>
                    <a:pt x="0" y="7"/>
                  </a:moveTo>
                  <a:cubicBezTo>
                    <a:pt x="0" y="8"/>
                    <a:pt x="0" y="9"/>
                    <a:pt x="0" y="10"/>
                  </a:cubicBezTo>
                  <a:cubicBezTo>
                    <a:pt x="4" y="10"/>
                    <a:pt x="48" y="3"/>
                    <a:pt x="92" y="10"/>
                  </a:cubicBezTo>
                  <a:cubicBezTo>
                    <a:pt x="92" y="9"/>
                    <a:pt x="92" y="8"/>
                    <a:pt x="92" y="7"/>
                  </a:cubicBezTo>
                  <a:cubicBezTo>
                    <a:pt x="49" y="0"/>
                    <a:pt x="5" y="6"/>
                    <a:pt x="0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77">
              <a:extLst>
                <a:ext uri="{FF2B5EF4-FFF2-40B4-BE49-F238E27FC236}">
                  <a16:creationId xmlns:a16="http://schemas.microsoft.com/office/drawing/2014/main" id="{E77005BB-7AC2-46AE-94DE-FEF3D3193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" y="1312"/>
              <a:ext cx="220" cy="102"/>
            </a:xfrm>
            <a:custGeom>
              <a:avLst/>
              <a:gdLst>
                <a:gd name="T0" fmla="*/ 43 w 86"/>
                <a:gd name="T1" fmla="*/ 40 h 40"/>
                <a:gd name="T2" fmla="*/ 0 w 86"/>
                <a:gd name="T3" fmla="*/ 1 h 40"/>
                <a:gd name="T4" fmla="*/ 3 w 86"/>
                <a:gd name="T5" fmla="*/ 0 h 40"/>
                <a:gd name="T6" fmla="*/ 43 w 86"/>
                <a:gd name="T7" fmla="*/ 36 h 40"/>
                <a:gd name="T8" fmla="*/ 44 w 86"/>
                <a:gd name="T9" fmla="*/ 36 h 40"/>
                <a:gd name="T10" fmla="*/ 83 w 86"/>
                <a:gd name="T11" fmla="*/ 0 h 40"/>
                <a:gd name="T12" fmla="*/ 86 w 86"/>
                <a:gd name="T13" fmla="*/ 1 h 40"/>
                <a:gd name="T14" fmla="*/ 44 w 86"/>
                <a:gd name="T15" fmla="*/ 40 h 40"/>
                <a:gd name="T16" fmla="*/ 43 w 8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40">
                  <a:moveTo>
                    <a:pt x="43" y="40"/>
                  </a:moveTo>
                  <a:cubicBezTo>
                    <a:pt x="42" y="40"/>
                    <a:pt x="10" y="36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33"/>
                    <a:pt x="42" y="36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5" y="36"/>
                    <a:pt x="74" y="33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6" y="36"/>
                    <a:pt x="44" y="40"/>
                    <a:pt x="44" y="40"/>
                  </a:cubicBezTo>
                  <a:lnTo>
                    <a:pt x="43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78">
              <a:extLst>
                <a:ext uri="{FF2B5EF4-FFF2-40B4-BE49-F238E27FC236}">
                  <a16:creationId xmlns:a16="http://schemas.microsoft.com/office/drawing/2014/main" id="{BE20F8E0-8D84-4DE5-B45F-183386BCF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1207"/>
              <a:ext cx="41" cy="54"/>
            </a:xfrm>
            <a:custGeom>
              <a:avLst/>
              <a:gdLst>
                <a:gd name="T0" fmla="*/ 3 w 16"/>
                <a:gd name="T1" fmla="*/ 21 h 21"/>
                <a:gd name="T2" fmla="*/ 0 w 16"/>
                <a:gd name="T3" fmla="*/ 21 h 21"/>
                <a:gd name="T4" fmla="*/ 2 w 16"/>
                <a:gd name="T5" fmla="*/ 14 h 21"/>
                <a:gd name="T6" fmla="*/ 5 w 16"/>
                <a:gd name="T7" fmla="*/ 13 h 21"/>
                <a:gd name="T8" fmla="*/ 15 w 16"/>
                <a:gd name="T9" fmla="*/ 0 h 21"/>
                <a:gd name="T10" fmla="*/ 16 w 16"/>
                <a:gd name="T11" fmla="*/ 3 h 21"/>
                <a:gd name="T12" fmla="*/ 8 w 16"/>
                <a:gd name="T13" fmla="*/ 14 h 21"/>
                <a:gd name="T14" fmla="*/ 8 w 16"/>
                <a:gd name="T15" fmla="*/ 16 h 21"/>
                <a:gd name="T16" fmla="*/ 6 w 16"/>
                <a:gd name="T17" fmla="*/ 16 h 21"/>
                <a:gd name="T18" fmla="*/ 4 w 16"/>
                <a:gd name="T19" fmla="*/ 16 h 21"/>
                <a:gd name="T20" fmla="*/ 3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3" y="21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17"/>
                    <a:pt x="1" y="15"/>
                    <a:pt x="2" y="14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6" y="4"/>
                    <a:pt x="15" y="0"/>
                    <a:pt x="15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8" y="7"/>
                    <a:pt x="8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5" y="16"/>
                    <a:pt x="4" y="16"/>
                  </a:cubicBezTo>
                  <a:cubicBezTo>
                    <a:pt x="4" y="17"/>
                    <a:pt x="3" y="19"/>
                    <a:pt x="3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79">
              <a:extLst>
                <a:ext uri="{FF2B5EF4-FFF2-40B4-BE49-F238E27FC236}">
                  <a16:creationId xmlns:a16="http://schemas.microsoft.com/office/drawing/2014/main" id="{CDB3E492-D4B7-4689-86EA-FEDF96413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1261"/>
              <a:ext cx="41" cy="51"/>
            </a:xfrm>
            <a:custGeom>
              <a:avLst/>
              <a:gdLst>
                <a:gd name="T0" fmla="*/ 15 w 16"/>
                <a:gd name="T1" fmla="*/ 20 h 20"/>
                <a:gd name="T2" fmla="*/ 5 w 16"/>
                <a:gd name="T3" fmla="*/ 8 h 20"/>
                <a:gd name="T4" fmla="*/ 2 w 16"/>
                <a:gd name="T5" fmla="*/ 7 h 20"/>
                <a:gd name="T6" fmla="*/ 0 w 16"/>
                <a:gd name="T7" fmla="*/ 0 h 20"/>
                <a:gd name="T8" fmla="*/ 3 w 16"/>
                <a:gd name="T9" fmla="*/ 0 h 20"/>
                <a:gd name="T10" fmla="*/ 4 w 16"/>
                <a:gd name="T11" fmla="*/ 4 h 20"/>
                <a:gd name="T12" fmla="*/ 6 w 16"/>
                <a:gd name="T13" fmla="*/ 5 h 20"/>
                <a:gd name="T14" fmla="*/ 8 w 16"/>
                <a:gd name="T15" fmla="*/ 4 h 20"/>
                <a:gd name="T16" fmla="*/ 8 w 16"/>
                <a:gd name="T17" fmla="*/ 6 h 20"/>
                <a:gd name="T18" fmla="*/ 16 w 16"/>
                <a:gd name="T19" fmla="*/ 17 h 20"/>
                <a:gd name="T20" fmla="*/ 15 w 16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0">
                  <a:moveTo>
                    <a:pt x="15" y="20"/>
                  </a:moveTo>
                  <a:cubicBezTo>
                    <a:pt x="15" y="20"/>
                    <a:pt x="6" y="16"/>
                    <a:pt x="5" y="8"/>
                  </a:cubicBezTo>
                  <a:cubicBezTo>
                    <a:pt x="4" y="8"/>
                    <a:pt x="3" y="8"/>
                    <a:pt x="2" y="7"/>
                  </a:cubicBezTo>
                  <a:cubicBezTo>
                    <a:pt x="1" y="6"/>
                    <a:pt x="0" y="3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4" y="4"/>
                    <a:pt x="4" y="4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4"/>
                    <a:pt x="16" y="17"/>
                    <a:pt x="16" y="17"/>
                  </a:cubicBezTo>
                  <a:lnTo>
                    <a:pt x="15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80">
              <a:extLst>
                <a:ext uri="{FF2B5EF4-FFF2-40B4-BE49-F238E27FC236}">
                  <a16:creationId xmlns:a16="http://schemas.microsoft.com/office/drawing/2014/main" id="{768C221D-5F83-422C-B096-3667F08A3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8" y="1074"/>
              <a:ext cx="256" cy="133"/>
            </a:xfrm>
            <a:custGeom>
              <a:avLst/>
              <a:gdLst>
                <a:gd name="T0" fmla="*/ 85 w 100"/>
                <a:gd name="T1" fmla="*/ 12 h 52"/>
                <a:gd name="T2" fmla="*/ 51 w 100"/>
                <a:gd name="T3" fmla="*/ 0 h 52"/>
                <a:gd name="T4" fmla="*/ 50 w 100"/>
                <a:gd name="T5" fmla="*/ 0 h 52"/>
                <a:gd name="T6" fmla="*/ 15 w 100"/>
                <a:gd name="T7" fmla="*/ 12 h 52"/>
                <a:gd name="T8" fmla="*/ 0 w 100"/>
                <a:gd name="T9" fmla="*/ 52 h 52"/>
                <a:gd name="T10" fmla="*/ 4 w 100"/>
                <a:gd name="T11" fmla="*/ 52 h 52"/>
                <a:gd name="T12" fmla="*/ 4 w 100"/>
                <a:gd name="T13" fmla="*/ 50 h 52"/>
                <a:gd name="T14" fmla="*/ 4 w 100"/>
                <a:gd name="T15" fmla="*/ 49 h 52"/>
                <a:gd name="T16" fmla="*/ 17 w 100"/>
                <a:gd name="T17" fmla="*/ 15 h 52"/>
                <a:gd name="T18" fmla="*/ 50 w 100"/>
                <a:gd name="T19" fmla="*/ 3 h 52"/>
                <a:gd name="T20" fmla="*/ 51 w 100"/>
                <a:gd name="T21" fmla="*/ 3 h 52"/>
                <a:gd name="T22" fmla="*/ 83 w 100"/>
                <a:gd name="T23" fmla="*/ 15 h 52"/>
                <a:gd name="T24" fmla="*/ 96 w 100"/>
                <a:gd name="T25" fmla="*/ 49 h 52"/>
                <a:gd name="T26" fmla="*/ 96 w 100"/>
                <a:gd name="T27" fmla="*/ 50 h 52"/>
                <a:gd name="T28" fmla="*/ 96 w 100"/>
                <a:gd name="T29" fmla="*/ 52 h 52"/>
                <a:gd name="T30" fmla="*/ 100 w 100"/>
                <a:gd name="T31" fmla="*/ 52 h 52"/>
                <a:gd name="T32" fmla="*/ 85 w 100"/>
                <a:gd name="T33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52">
                  <a:moveTo>
                    <a:pt x="85" y="12"/>
                  </a:moveTo>
                  <a:cubicBezTo>
                    <a:pt x="77" y="4"/>
                    <a:pt x="65" y="0"/>
                    <a:pt x="5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23" y="4"/>
                    <a:pt x="15" y="12"/>
                  </a:cubicBezTo>
                  <a:cubicBezTo>
                    <a:pt x="0" y="27"/>
                    <a:pt x="0" y="51"/>
                    <a:pt x="0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4" y="49"/>
                    <a:pt x="4" y="49"/>
                  </a:cubicBezTo>
                  <a:cubicBezTo>
                    <a:pt x="4" y="43"/>
                    <a:pt x="6" y="26"/>
                    <a:pt x="17" y="15"/>
                  </a:cubicBezTo>
                  <a:cubicBezTo>
                    <a:pt x="25" y="7"/>
                    <a:pt x="36" y="3"/>
                    <a:pt x="5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64" y="3"/>
                    <a:pt x="75" y="7"/>
                    <a:pt x="83" y="15"/>
                  </a:cubicBezTo>
                  <a:cubicBezTo>
                    <a:pt x="94" y="26"/>
                    <a:pt x="96" y="43"/>
                    <a:pt x="96" y="49"/>
                  </a:cubicBezTo>
                  <a:cubicBezTo>
                    <a:pt x="96" y="49"/>
                    <a:pt x="96" y="49"/>
                    <a:pt x="96" y="50"/>
                  </a:cubicBezTo>
                  <a:cubicBezTo>
                    <a:pt x="96" y="50"/>
                    <a:pt x="96" y="50"/>
                    <a:pt x="96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1"/>
                    <a:pt x="100" y="27"/>
                    <a:pt x="8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81">
              <a:extLst>
                <a:ext uri="{FF2B5EF4-FFF2-40B4-BE49-F238E27FC236}">
                  <a16:creationId xmlns:a16="http://schemas.microsoft.com/office/drawing/2014/main" id="{8CB921DB-CD6D-4347-8194-5E46237DB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4" y="1199"/>
              <a:ext cx="0" cy="8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1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82">
              <a:extLst>
                <a:ext uri="{FF2B5EF4-FFF2-40B4-BE49-F238E27FC236}">
                  <a16:creationId xmlns:a16="http://schemas.microsoft.com/office/drawing/2014/main" id="{2EA59863-82D6-45CA-B54C-35DDB4548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1199"/>
              <a:ext cx="0" cy="8"/>
            </a:xfrm>
            <a:custGeom>
              <a:avLst/>
              <a:gdLst>
                <a:gd name="T0" fmla="*/ 0 h 3"/>
                <a:gd name="T1" fmla="*/ 1 h 3"/>
                <a:gd name="T2" fmla="*/ 3 h 3"/>
                <a:gd name="T3" fmla="*/ 3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83">
              <a:extLst>
                <a:ext uri="{FF2B5EF4-FFF2-40B4-BE49-F238E27FC236}">
                  <a16:creationId xmlns:a16="http://schemas.microsoft.com/office/drawing/2014/main" id="{AFA2B81C-86EF-491B-B7EB-6F4434EF8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" y="1056"/>
              <a:ext cx="282" cy="151"/>
            </a:xfrm>
            <a:custGeom>
              <a:avLst/>
              <a:gdLst>
                <a:gd name="T0" fmla="*/ 80 w 110"/>
                <a:gd name="T1" fmla="*/ 0 h 59"/>
                <a:gd name="T2" fmla="*/ 30 w 110"/>
                <a:gd name="T3" fmla="*/ 0 h 59"/>
                <a:gd name="T4" fmla="*/ 0 w 110"/>
                <a:gd name="T5" fmla="*/ 31 h 59"/>
                <a:gd name="T6" fmla="*/ 0 w 110"/>
                <a:gd name="T7" fmla="*/ 59 h 59"/>
                <a:gd name="T8" fmla="*/ 4 w 110"/>
                <a:gd name="T9" fmla="*/ 59 h 59"/>
                <a:gd name="T10" fmla="*/ 4 w 110"/>
                <a:gd name="T11" fmla="*/ 31 h 59"/>
                <a:gd name="T12" fmla="*/ 30 w 110"/>
                <a:gd name="T13" fmla="*/ 4 h 59"/>
                <a:gd name="T14" fmla="*/ 80 w 110"/>
                <a:gd name="T15" fmla="*/ 4 h 59"/>
                <a:gd name="T16" fmla="*/ 106 w 110"/>
                <a:gd name="T17" fmla="*/ 31 h 59"/>
                <a:gd name="T18" fmla="*/ 106 w 110"/>
                <a:gd name="T19" fmla="*/ 59 h 59"/>
                <a:gd name="T20" fmla="*/ 110 w 110"/>
                <a:gd name="T21" fmla="*/ 59 h 59"/>
                <a:gd name="T22" fmla="*/ 110 w 110"/>
                <a:gd name="T23" fmla="*/ 31 h 59"/>
                <a:gd name="T24" fmla="*/ 80 w 110"/>
                <a:gd name="T2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59">
                  <a:moveTo>
                    <a:pt x="8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" y="0"/>
                    <a:pt x="0" y="30"/>
                    <a:pt x="0" y="31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9"/>
                    <a:pt x="4" y="4"/>
                    <a:pt x="3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106" y="4"/>
                    <a:pt x="106" y="29"/>
                    <a:pt x="106" y="31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0"/>
                    <a:pt x="109" y="0"/>
                    <a:pt x="8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84">
              <a:extLst>
                <a:ext uri="{FF2B5EF4-FFF2-40B4-BE49-F238E27FC236}">
                  <a16:creationId xmlns:a16="http://schemas.microsoft.com/office/drawing/2014/main" id="{23BA01E2-6969-4A1E-B370-866F1C63B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1207"/>
              <a:ext cx="41" cy="54"/>
            </a:xfrm>
            <a:custGeom>
              <a:avLst/>
              <a:gdLst>
                <a:gd name="T0" fmla="*/ 16 w 16"/>
                <a:gd name="T1" fmla="*/ 21 h 21"/>
                <a:gd name="T2" fmla="*/ 13 w 16"/>
                <a:gd name="T3" fmla="*/ 21 h 21"/>
                <a:gd name="T4" fmla="*/ 12 w 16"/>
                <a:gd name="T5" fmla="*/ 16 h 21"/>
                <a:gd name="T6" fmla="*/ 10 w 16"/>
                <a:gd name="T7" fmla="*/ 16 h 21"/>
                <a:gd name="T8" fmla="*/ 8 w 16"/>
                <a:gd name="T9" fmla="*/ 16 h 21"/>
                <a:gd name="T10" fmla="*/ 8 w 16"/>
                <a:gd name="T11" fmla="*/ 14 h 21"/>
                <a:gd name="T12" fmla="*/ 0 w 16"/>
                <a:gd name="T13" fmla="*/ 3 h 21"/>
                <a:gd name="T14" fmla="*/ 1 w 16"/>
                <a:gd name="T15" fmla="*/ 0 h 21"/>
                <a:gd name="T16" fmla="*/ 11 w 16"/>
                <a:gd name="T17" fmla="*/ 13 h 21"/>
                <a:gd name="T18" fmla="*/ 14 w 16"/>
                <a:gd name="T19" fmla="*/ 14 h 21"/>
                <a:gd name="T20" fmla="*/ 16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9"/>
                    <a:pt x="13" y="17"/>
                    <a:pt x="12" y="16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7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10" y="4"/>
                    <a:pt x="11" y="13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5" y="15"/>
                    <a:pt x="16" y="17"/>
                    <a:pt x="16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85">
              <a:extLst>
                <a:ext uri="{FF2B5EF4-FFF2-40B4-BE49-F238E27FC236}">
                  <a16:creationId xmlns:a16="http://schemas.microsoft.com/office/drawing/2014/main" id="{B13A0FEE-06A5-4A24-B446-3DCF7ABF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1261"/>
              <a:ext cx="41" cy="51"/>
            </a:xfrm>
            <a:custGeom>
              <a:avLst/>
              <a:gdLst>
                <a:gd name="T0" fmla="*/ 1 w 16"/>
                <a:gd name="T1" fmla="*/ 20 h 20"/>
                <a:gd name="T2" fmla="*/ 0 w 16"/>
                <a:gd name="T3" fmla="*/ 17 h 20"/>
                <a:gd name="T4" fmla="*/ 8 w 16"/>
                <a:gd name="T5" fmla="*/ 6 h 20"/>
                <a:gd name="T6" fmla="*/ 8 w 16"/>
                <a:gd name="T7" fmla="*/ 4 h 20"/>
                <a:gd name="T8" fmla="*/ 10 w 16"/>
                <a:gd name="T9" fmla="*/ 5 h 20"/>
                <a:gd name="T10" fmla="*/ 12 w 16"/>
                <a:gd name="T11" fmla="*/ 4 h 20"/>
                <a:gd name="T12" fmla="*/ 13 w 16"/>
                <a:gd name="T13" fmla="*/ 0 h 20"/>
                <a:gd name="T14" fmla="*/ 16 w 16"/>
                <a:gd name="T15" fmla="*/ 0 h 20"/>
                <a:gd name="T16" fmla="*/ 14 w 16"/>
                <a:gd name="T17" fmla="*/ 7 h 20"/>
                <a:gd name="T18" fmla="*/ 11 w 16"/>
                <a:gd name="T19" fmla="*/ 8 h 20"/>
                <a:gd name="T20" fmla="*/ 1 w 16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0">
                  <a:moveTo>
                    <a:pt x="1" y="2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8" y="14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2" y="4"/>
                  </a:cubicBezTo>
                  <a:cubicBezTo>
                    <a:pt x="13" y="4"/>
                    <a:pt x="13" y="2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"/>
                    <a:pt x="15" y="6"/>
                    <a:pt x="14" y="7"/>
                  </a:cubicBezTo>
                  <a:cubicBezTo>
                    <a:pt x="13" y="8"/>
                    <a:pt x="12" y="8"/>
                    <a:pt x="11" y="8"/>
                  </a:cubicBezTo>
                  <a:cubicBezTo>
                    <a:pt x="10" y="16"/>
                    <a:pt x="2" y="20"/>
                    <a:pt x="1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86">
              <a:extLst>
                <a:ext uri="{FF2B5EF4-FFF2-40B4-BE49-F238E27FC236}">
                  <a16:creationId xmlns:a16="http://schemas.microsoft.com/office/drawing/2014/main" id="{C23ECC93-A260-4EBC-A0E9-8A4D9E30A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" y="1207"/>
              <a:ext cx="41" cy="110"/>
            </a:xfrm>
            <a:custGeom>
              <a:avLst/>
              <a:gdLst>
                <a:gd name="T0" fmla="*/ 13 w 16"/>
                <a:gd name="T1" fmla="*/ 18 h 43"/>
                <a:gd name="T2" fmla="*/ 13 w 16"/>
                <a:gd name="T3" fmla="*/ 40 h 43"/>
                <a:gd name="T4" fmla="*/ 3 w 16"/>
                <a:gd name="T5" fmla="*/ 40 h 43"/>
                <a:gd name="T6" fmla="*/ 3 w 16"/>
                <a:gd name="T7" fmla="*/ 0 h 43"/>
                <a:gd name="T8" fmla="*/ 0 w 16"/>
                <a:gd name="T9" fmla="*/ 0 h 43"/>
                <a:gd name="T10" fmla="*/ 0 w 16"/>
                <a:gd name="T11" fmla="*/ 43 h 43"/>
                <a:gd name="T12" fmla="*/ 16 w 16"/>
                <a:gd name="T13" fmla="*/ 43 h 43"/>
                <a:gd name="T14" fmla="*/ 16 w 16"/>
                <a:gd name="T15" fmla="*/ 20 h 43"/>
                <a:gd name="T16" fmla="*/ 15 w 16"/>
                <a:gd name="T17" fmla="*/ 18 h 43"/>
                <a:gd name="T18" fmla="*/ 13 w 16"/>
                <a:gd name="T19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43">
                  <a:moveTo>
                    <a:pt x="13" y="18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8"/>
                    <a:pt x="15" y="18"/>
                  </a:cubicBezTo>
                  <a:lnTo>
                    <a:pt x="13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87">
              <a:extLst>
                <a:ext uri="{FF2B5EF4-FFF2-40B4-BE49-F238E27FC236}">
                  <a16:creationId xmlns:a16="http://schemas.microsoft.com/office/drawing/2014/main" id="{CD6B0E71-7F7F-48FB-BFCD-D691A5423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" y="1253"/>
              <a:ext cx="3" cy="5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88">
              <a:extLst>
                <a:ext uri="{FF2B5EF4-FFF2-40B4-BE49-F238E27FC236}">
                  <a16:creationId xmlns:a16="http://schemas.microsoft.com/office/drawing/2014/main" id="{BC2AC502-FE83-46F2-9FED-D221AF631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" y="1207"/>
              <a:ext cx="41" cy="110"/>
            </a:xfrm>
            <a:custGeom>
              <a:avLst/>
              <a:gdLst>
                <a:gd name="T0" fmla="*/ 13 w 16"/>
                <a:gd name="T1" fmla="*/ 0 h 43"/>
                <a:gd name="T2" fmla="*/ 13 w 16"/>
                <a:gd name="T3" fmla="*/ 40 h 43"/>
                <a:gd name="T4" fmla="*/ 3 w 16"/>
                <a:gd name="T5" fmla="*/ 40 h 43"/>
                <a:gd name="T6" fmla="*/ 3 w 16"/>
                <a:gd name="T7" fmla="*/ 18 h 43"/>
                <a:gd name="T8" fmla="*/ 1 w 16"/>
                <a:gd name="T9" fmla="*/ 18 h 43"/>
                <a:gd name="T10" fmla="*/ 0 w 16"/>
                <a:gd name="T11" fmla="*/ 20 h 43"/>
                <a:gd name="T12" fmla="*/ 0 w 16"/>
                <a:gd name="T13" fmla="*/ 43 h 43"/>
                <a:gd name="T14" fmla="*/ 16 w 16"/>
                <a:gd name="T15" fmla="*/ 43 h 43"/>
                <a:gd name="T16" fmla="*/ 16 w 16"/>
                <a:gd name="T17" fmla="*/ 0 h 43"/>
                <a:gd name="T18" fmla="*/ 13 w 1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43">
                  <a:moveTo>
                    <a:pt x="13" y="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89">
              <a:extLst>
                <a:ext uri="{FF2B5EF4-FFF2-40B4-BE49-F238E27FC236}">
                  <a16:creationId xmlns:a16="http://schemas.microsoft.com/office/drawing/2014/main" id="{6F90A271-E9EA-4B4F-9891-993279D52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" y="1253"/>
              <a:ext cx="2" cy="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90">
              <a:extLst>
                <a:ext uri="{FF2B5EF4-FFF2-40B4-BE49-F238E27FC236}">
                  <a16:creationId xmlns:a16="http://schemas.microsoft.com/office/drawing/2014/main" id="{D22F99C5-F535-45EC-8D03-005C64FBB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" y="1189"/>
              <a:ext cx="20" cy="13"/>
            </a:xfrm>
            <a:custGeom>
              <a:avLst/>
              <a:gdLst>
                <a:gd name="T0" fmla="*/ 5 w 20"/>
                <a:gd name="T1" fmla="*/ 0 h 13"/>
                <a:gd name="T2" fmla="*/ 0 w 20"/>
                <a:gd name="T3" fmla="*/ 8 h 13"/>
                <a:gd name="T4" fmla="*/ 18 w 20"/>
                <a:gd name="T5" fmla="*/ 13 h 13"/>
                <a:gd name="T6" fmla="*/ 20 w 20"/>
                <a:gd name="T7" fmla="*/ 5 h 13"/>
                <a:gd name="T8" fmla="*/ 5 w 2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3">
                  <a:moveTo>
                    <a:pt x="5" y="0"/>
                  </a:moveTo>
                  <a:lnTo>
                    <a:pt x="0" y="8"/>
                  </a:lnTo>
                  <a:lnTo>
                    <a:pt x="18" y="13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91">
              <a:extLst>
                <a:ext uri="{FF2B5EF4-FFF2-40B4-BE49-F238E27FC236}">
                  <a16:creationId xmlns:a16="http://schemas.microsoft.com/office/drawing/2014/main" id="{B2DC82A5-BF5D-49C1-BFCA-FF0C8E51C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" y="1189"/>
              <a:ext cx="17" cy="13"/>
            </a:xfrm>
            <a:custGeom>
              <a:avLst/>
              <a:gdLst>
                <a:gd name="T0" fmla="*/ 5 w 17"/>
                <a:gd name="T1" fmla="*/ 13 h 13"/>
                <a:gd name="T2" fmla="*/ 0 w 17"/>
                <a:gd name="T3" fmla="*/ 5 h 13"/>
                <a:gd name="T4" fmla="*/ 12 w 17"/>
                <a:gd name="T5" fmla="*/ 0 h 13"/>
                <a:gd name="T6" fmla="*/ 17 w 17"/>
                <a:gd name="T7" fmla="*/ 8 h 13"/>
                <a:gd name="T8" fmla="*/ 5 w 17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5" y="13"/>
                  </a:moveTo>
                  <a:lnTo>
                    <a:pt x="0" y="5"/>
                  </a:lnTo>
                  <a:lnTo>
                    <a:pt x="12" y="0"/>
                  </a:lnTo>
                  <a:lnTo>
                    <a:pt x="17" y="8"/>
                  </a:lnTo>
                  <a:lnTo>
                    <a:pt x="5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4" name="Group 194">
            <a:extLst>
              <a:ext uri="{FF2B5EF4-FFF2-40B4-BE49-F238E27FC236}">
                <a16:creationId xmlns:a16="http://schemas.microsoft.com/office/drawing/2014/main" id="{8CBFAAE6-E3E9-4EB0-BC02-722ADB6398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61050" y="1579563"/>
            <a:ext cx="758825" cy="758825"/>
            <a:chOff x="3692" y="995"/>
            <a:chExt cx="478" cy="478"/>
          </a:xfrm>
        </p:grpSpPr>
        <p:sp>
          <p:nvSpPr>
            <p:cNvPr id="215" name="AutoShape 193">
              <a:extLst>
                <a:ext uri="{FF2B5EF4-FFF2-40B4-BE49-F238E27FC236}">
                  <a16:creationId xmlns:a16="http://schemas.microsoft.com/office/drawing/2014/main" id="{AFD0CB4A-5586-477E-B7EF-498D492BD1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2" y="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95">
              <a:extLst>
                <a:ext uri="{FF2B5EF4-FFF2-40B4-BE49-F238E27FC236}">
                  <a16:creationId xmlns:a16="http://schemas.microsoft.com/office/drawing/2014/main" id="{CE0AE9CC-E0E3-4097-980C-E12A1984B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4" y="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96">
              <a:extLst>
                <a:ext uri="{FF2B5EF4-FFF2-40B4-BE49-F238E27FC236}">
                  <a16:creationId xmlns:a16="http://schemas.microsoft.com/office/drawing/2014/main" id="{F7AC3463-9D65-4ACE-9E67-46ACD4637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5" y="1179"/>
              <a:ext cx="235" cy="103"/>
            </a:xfrm>
            <a:custGeom>
              <a:avLst/>
              <a:gdLst>
                <a:gd name="T0" fmla="*/ 87 w 96"/>
                <a:gd name="T1" fmla="*/ 33 h 42"/>
                <a:gd name="T2" fmla="*/ 56 w 96"/>
                <a:gd name="T3" fmla="*/ 40 h 42"/>
                <a:gd name="T4" fmla="*/ 48 w 96"/>
                <a:gd name="T5" fmla="*/ 25 h 42"/>
                <a:gd name="T6" fmla="*/ 40 w 96"/>
                <a:gd name="T7" fmla="*/ 40 h 42"/>
                <a:gd name="T8" fmla="*/ 9 w 96"/>
                <a:gd name="T9" fmla="*/ 33 h 42"/>
                <a:gd name="T10" fmla="*/ 2 w 96"/>
                <a:gd name="T11" fmla="*/ 10 h 42"/>
                <a:gd name="T12" fmla="*/ 94 w 96"/>
                <a:gd name="T13" fmla="*/ 10 h 42"/>
                <a:gd name="T14" fmla="*/ 87 w 96"/>
                <a:gd name="T15" fmla="*/ 33 h 42"/>
                <a:gd name="T16" fmla="*/ 95 w 96"/>
                <a:gd name="T17" fmla="*/ 8 h 42"/>
                <a:gd name="T18" fmla="*/ 1 w 96"/>
                <a:gd name="T19" fmla="*/ 8 h 42"/>
                <a:gd name="T20" fmla="*/ 0 w 96"/>
                <a:gd name="T21" fmla="*/ 8 h 42"/>
                <a:gd name="T22" fmla="*/ 0 w 96"/>
                <a:gd name="T23" fmla="*/ 10 h 42"/>
                <a:gd name="T24" fmla="*/ 8 w 96"/>
                <a:gd name="T25" fmla="*/ 34 h 42"/>
                <a:gd name="T26" fmla="*/ 40 w 96"/>
                <a:gd name="T27" fmla="*/ 42 h 42"/>
                <a:gd name="T28" fmla="*/ 42 w 96"/>
                <a:gd name="T29" fmla="*/ 42 h 42"/>
                <a:gd name="T30" fmla="*/ 42 w 96"/>
                <a:gd name="T31" fmla="*/ 40 h 42"/>
                <a:gd name="T32" fmla="*/ 48 w 96"/>
                <a:gd name="T33" fmla="*/ 27 h 42"/>
                <a:gd name="T34" fmla="*/ 54 w 96"/>
                <a:gd name="T35" fmla="*/ 40 h 42"/>
                <a:gd name="T36" fmla="*/ 54 w 96"/>
                <a:gd name="T37" fmla="*/ 42 h 42"/>
                <a:gd name="T38" fmla="*/ 56 w 96"/>
                <a:gd name="T39" fmla="*/ 42 h 42"/>
                <a:gd name="T40" fmla="*/ 88 w 96"/>
                <a:gd name="T41" fmla="*/ 34 h 42"/>
                <a:gd name="T42" fmla="*/ 96 w 96"/>
                <a:gd name="T43" fmla="*/ 10 h 42"/>
                <a:gd name="T44" fmla="*/ 96 w 96"/>
                <a:gd name="T45" fmla="*/ 8 h 42"/>
                <a:gd name="T46" fmla="*/ 95 w 96"/>
                <a:gd name="T47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42">
                  <a:moveTo>
                    <a:pt x="87" y="33"/>
                  </a:moveTo>
                  <a:cubicBezTo>
                    <a:pt x="79" y="40"/>
                    <a:pt x="56" y="40"/>
                    <a:pt x="56" y="40"/>
                  </a:cubicBezTo>
                  <a:cubicBezTo>
                    <a:pt x="56" y="40"/>
                    <a:pt x="56" y="25"/>
                    <a:pt x="48" y="25"/>
                  </a:cubicBezTo>
                  <a:cubicBezTo>
                    <a:pt x="40" y="25"/>
                    <a:pt x="40" y="40"/>
                    <a:pt x="40" y="40"/>
                  </a:cubicBezTo>
                  <a:cubicBezTo>
                    <a:pt x="40" y="40"/>
                    <a:pt x="17" y="40"/>
                    <a:pt x="9" y="33"/>
                  </a:cubicBezTo>
                  <a:cubicBezTo>
                    <a:pt x="2" y="25"/>
                    <a:pt x="2" y="10"/>
                    <a:pt x="2" y="10"/>
                  </a:cubicBezTo>
                  <a:cubicBezTo>
                    <a:pt x="2" y="10"/>
                    <a:pt x="48" y="2"/>
                    <a:pt x="94" y="10"/>
                  </a:cubicBezTo>
                  <a:cubicBezTo>
                    <a:pt x="94" y="10"/>
                    <a:pt x="94" y="25"/>
                    <a:pt x="87" y="33"/>
                  </a:cubicBezTo>
                  <a:moveTo>
                    <a:pt x="95" y="8"/>
                  </a:moveTo>
                  <a:cubicBezTo>
                    <a:pt x="49" y="0"/>
                    <a:pt x="2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26"/>
                    <a:pt x="8" y="34"/>
                  </a:cubicBezTo>
                  <a:cubicBezTo>
                    <a:pt x="16" y="42"/>
                    <a:pt x="39" y="42"/>
                    <a:pt x="4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37"/>
                    <a:pt x="43" y="27"/>
                    <a:pt x="48" y="27"/>
                  </a:cubicBezTo>
                  <a:cubicBezTo>
                    <a:pt x="53" y="27"/>
                    <a:pt x="54" y="37"/>
                    <a:pt x="54" y="40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7" y="42"/>
                    <a:pt x="80" y="42"/>
                    <a:pt x="88" y="34"/>
                  </a:cubicBezTo>
                  <a:cubicBezTo>
                    <a:pt x="96" y="26"/>
                    <a:pt x="96" y="10"/>
                    <a:pt x="96" y="10"/>
                  </a:cubicBezTo>
                  <a:cubicBezTo>
                    <a:pt x="96" y="8"/>
                    <a:pt x="96" y="8"/>
                    <a:pt x="96" y="8"/>
                  </a:cubicBezTo>
                  <a:lnTo>
                    <a:pt x="95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97">
              <a:extLst>
                <a:ext uri="{FF2B5EF4-FFF2-40B4-BE49-F238E27FC236}">
                  <a16:creationId xmlns:a16="http://schemas.microsoft.com/office/drawing/2014/main" id="{5738E590-C4CA-491B-B6E9-3DB69616F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9" y="1184"/>
              <a:ext cx="226" cy="93"/>
            </a:xfrm>
            <a:custGeom>
              <a:avLst/>
              <a:gdLst>
                <a:gd name="T0" fmla="*/ 91 w 92"/>
                <a:gd name="T1" fmla="*/ 9 h 38"/>
                <a:gd name="T2" fmla="*/ 84 w 92"/>
                <a:gd name="T3" fmla="*/ 30 h 38"/>
                <a:gd name="T4" fmla="*/ 55 w 92"/>
                <a:gd name="T5" fmla="*/ 37 h 38"/>
                <a:gd name="T6" fmla="*/ 46 w 92"/>
                <a:gd name="T7" fmla="*/ 21 h 38"/>
                <a:gd name="T8" fmla="*/ 37 w 92"/>
                <a:gd name="T9" fmla="*/ 37 h 38"/>
                <a:gd name="T10" fmla="*/ 8 w 92"/>
                <a:gd name="T11" fmla="*/ 30 h 38"/>
                <a:gd name="T12" fmla="*/ 1 w 92"/>
                <a:gd name="T13" fmla="*/ 9 h 38"/>
                <a:gd name="T14" fmla="*/ 91 w 92"/>
                <a:gd name="T15" fmla="*/ 9 h 38"/>
                <a:gd name="T16" fmla="*/ 0 w 92"/>
                <a:gd name="T17" fmla="*/ 8 h 38"/>
                <a:gd name="T18" fmla="*/ 7 w 92"/>
                <a:gd name="T19" fmla="*/ 31 h 38"/>
                <a:gd name="T20" fmla="*/ 38 w 92"/>
                <a:gd name="T21" fmla="*/ 38 h 38"/>
                <a:gd name="T22" fmla="*/ 46 w 92"/>
                <a:gd name="T23" fmla="*/ 23 h 38"/>
                <a:gd name="T24" fmla="*/ 54 w 92"/>
                <a:gd name="T25" fmla="*/ 38 h 38"/>
                <a:gd name="T26" fmla="*/ 85 w 92"/>
                <a:gd name="T27" fmla="*/ 31 h 38"/>
                <a:gd name="T28" fmla="*/ 92 w 92"/>
                <a:gd name="T29" fmla="*/ 8 h 38"/>
                <a:gd name="T30" fmla="*/ 0 w 92"/>
                <a:gd name="T31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38">
                  <a:moveTo>
                    <a:pt x="91" y="9"/>
                  </a:moveTo>
                  <a:cubicBezTo>
                    <a:pt x="91" y="13"/>
                    <a:pt x="89" y="24"/>
                    <a:pt x="84" y="30"/>
                  </a:cubicBezTo>
                  <a:cubicBezTo>
                    <a:pt x="78" y="36"/>
                    <a:pt x="61" y="37"/>
                    <a:pt x="55" y="37"/>
                  </a:cubicBezTo>
                  <a:cubicBezTo>
                    <a:pt x="55" y="32"/>
                    <a:pt x="54" y="21"/>
                    <a:pt x="46" y="21"/>
                  </a:cubicBezTo>
                  <a:cubicBezTo>
                    <a:pt x="38" y="21"/>
                    <a:pt x="37" y="32"/>
                    <a:pt x="37" y="37"/>
                  </a:cubicBezTo>
                  <a:cubicBezTo>
                    <a:pt x="31" y="37"/>
                    <a:pt x="15" y="36"/>
                    <a:pt x="8" y="30"/>
                  </a:cubicBezTo>
                  <a:cubicBezTo>
                    <a:pt x="3" y="24"/>
                    <a:pt x="2" y="13"/>
                    <a:pt x="1" y="9"/>
                  </a:cubicBezTo>
                  <a:cubicBezTo>
                    <a:pt x="9" y="8"/>
                    <a:pt x="50" y="2"/>
                    <a:pt x="91" y="9"/>
                  </a:cubicBezTo>
                  <a:moveTo>
                    <a:pt x="0" y="8"/>
                  </a:moveTo>
                  <a:cubicBezTo>
                    <a:pt x="0" y="8"/>
                    <a:pt x="0" y="23"/>
                    <a:pt x="7" y="31"/>
                  </a:cubicBezTo>
                  <a:cubicBezTo>
                    <a:pt x="15" y="38"/>
                    <a:pt x="38" y="38"/>
                    <a:pt x="38" y="38"/>
                  </a:cubicBezTo>
                  <a:cubicBezTo>
                    <a:pt x="38" y="38"/>
                    <a:pt x="38" y="23"/>
                    <a:pt x="46" y="23"/>
                  </a:cubicBezTo>
                  <a:cubicBezTo>
                    <a:pt x="54" y="23"/>
                    <a:pt x="54" y="38"/>
                    <a:pt x="54" y="38"/>
                  </a:cubicBezTo>
                  <a:cubicBezTo>
                    <a:pt x="54" y="38"/>
                    <a:pt x="77" y="38"/>
                    <a:pt x="85" y="31"/>
                  </a:cubicBezTo>
                  <a:cubicBezTo>
                    <a:pt x="92" y="23"/>
                    <a:pt x="92" y="8"/>
                    <a:pt x="92" y="8"/>
                  </a:cubicBezTo>
                  <a:cubicBezTo>
                    <a:pt x="46" y="0"/>
                    <a:pt x="0" y="8"/>
                    <a:pt x="0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98">
              <a:extLst>
                <a:ext uri="{FF2B5EF4-FFF2-40B4-BE49-F238E27FC236}">
                  <a16:creationId xmlns:a16="http://schemas.microsoft.com/office/drawing/2014/main" id="{94E77266-2EDA-4AFF-A952-13F0C77F3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" y="1203"/>
              <a:ext cx="19" cy="15"/>
            </a:xfrm>
            <a:custGeom>
              <a:avLst/>
              <a:gdLst>
                <a:gd name="T0" fmla="*/ 8 w 8"/>
                <a:gd name="T1" fmla="*/ 3 h 6"/>
                <a:gd name="T2" fmla="*/ 2 w 8"/>
                <a:gd name="T3" fmla="*/ 0 h 6"/>
                <a:gd name="T4" fmla="*/ 0 w 8"/>
                <a:gd name="T5" fmla="*/ 4 h 6"/>
                <a:gd name="T6" fmla="*/ 7 w 8"/>
                <a:gd name="T7" fmla="*/ 6 h 6"/>
                <a:gd name="T8" fmla="*/ 8 w 8"/>
                <a:gd name="T9" fmla="*/ 6 h 6"/>
                <a:gd name="T10" fmla="*/ 8 w 8"/>
                <a:gd name="T11" fmla="*/ 6 h 6"/>
                <a:gd name="T12" fmla="*/ 8 w 8"/>
                <a:gd name="T13" fmla="*/ 3 h 6"/>
                <a:gd name="T14" fmla="*/ 8 w 8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99">
              <a:extLst>
                <a:ext uri="{FF2B5EF4-FFF2-40B4-BE49-F238E27FC236}">
                  <a16:creationId xmlns:a16="http://schemas.microsoft.com/office/drawing/2014/main" id="{CA40F92D-801D-4B2E-926A-C4E5A1E17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203"/>
              <a:ext cx="20" cy="15"/>
            </a:xfrm>
            <a:custGeom>
              <a:avLst/>
              <a:gdLst>
                <a:gd name="T0" fmla="*/ 6 w 8"/>
                <a:gd name="T1" fmla="*/ 0 h 6"/>
                <a:gd name="T2" fmla="*/ 0 w 8"/>
                <a:gd name="T3" fmla="*/ 3 h 6"/>
                <a:gd name="T4" fmla="*/ 0 w 8"/>
                <a:gd name="T5" fmla="*/ 3 h 6"/>
                <a:gd name="T6" fmla="*/ 0 w 8"/>
                <a:gd name="T7" fmla="*/ 6 h 6"/>
                <a:gd name="T8" fmla="*/ 0 w 8"/>
                <a:gd name="T9" fmla="*/ 6 h 6"/>
                <a:gd name="T10" fmla="*/ 1 w 8"/>
                <a:gd name="T11" fmla="*/ 6 h 6"/>
                <a:gd name="T12" fmla="*/ 8 w 8"/>
                <a:gd name="T13" fmla="*/ 4 h 6"/>
                <a:gd name="T14" fmla="*/ 6 w 8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00">
              <a:extLst>
                <a:ext uri="{FF2B5EF4-FFF2-40B4-BE49-F238E27FC236}">
                  <a16:creationId xmlns:a16="http://schemas.microsoft.com/office/drawing/2014/main" id="{22B19814-FD90-42BB-9300-EDEC35B00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9" y="1194"/>
              <a:ext cx="226" cy="24"/>
            </a:xfrm>
            <a:custGeom>
              <a:avLst/>
              <a:gdLst>
                <a:gd name="T0" fmla="*/ 0 w 92"/>
                <a:gd name="T1" fmla="*/ 7 h 10"/>
                <a:gd name="T2" fmla="*/ 0 w 92"/>
                <a:gd name="T3" fmla="*/ 10 h 10"/>
                <a:gd name="T4" fmla="*/ 92 w 92"/>
                <a:gd name="T5" fmla="*/ 10 h 10"/>
                <a:gd name="T6" fmla="*/ 92 w 92"/>
                <a:gd name="T7" fmla="*/ 7 h 10"/>
                <a:gd name="T8" fmla="*/ 0 w 92"/>
                <a:gd name="T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">
                  <a:moveTo>
                    <a:pt x="0" y="7"/>
                  </a:moveTo>
                  <a:cubicBezTo>
                    <a:pt x="0" y="8"/>
                    <a:pt x="0" y="9"/>
                    <a:pt x="0" y="10"/>
                  </a:cubicBezTo>
                  <a:cubicBezTo>
                    <a:pt x="4" y="10"/>
                    <a:pt x="48" y="3"/>
                    <a:pt x="92" y="10"/>
                  </a:cubicBezTo>
                  <a:cubicBezTo>
                    <a:pt x="92" y="9"/>
                    <a:pt x="92" y="8"/>
                    <a:pt x="92" y="7"/>
                  </a:cubicBezTo>
                  <a:cubicBezTo>
                    <a:pt x="49" y="0"/>
                    <a:pt x="5" y="6"/>
                    <a:pt x="0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01">
              <a:extLst>
                <a:ext uri="{FF2B5EF4-FFF2-40B4-BE49-F238E27FC236}">
                  <a16:creationId xmlns:a16="http://schemas.microsoft.com/office/drawing/2014/main" id="{5FD16585-8BD2-4972-9DF4-9C36F9334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1309"/>
              <a:ext cx="211" cy="98"/>
            </a:xfrm>
            <a:custGeom>
              <a:avLst/>
              <a:gdLst>
                <a:gd name="T0" fmla="*/ 43 w 86"/>
                <a:gd name="T1" fmla="*/ 40 h 40"/>
                <a:gd name="T2" fmla="*/ 0 w 86"/>
                <a:gd name="T3" fmla="*/ 1 h 40"/>
                <a:gd name="T4" fmla="*/ 3 w 86"/>
                <a:gd name="T5" fmla="*/ 0 h 40"/>
                <a:gd name="T6" fmla="*/ 43 w 86"/>
                <a:gd name="T7" fmla="*/ 36 h 40"/>
                <a:gd name="T8" fmla="*/ 44 w 86"/>
                <a:gd name="T9" fmla="*/ 36 h 40"/>
                <a:gd name="T10" fmla="*/ 83 w 86"/>
                <a:gd name="T11" fmla="*/ 0 h 40"/>
                <a:gd name="T12" fmla="*/ 86 w 86"/>
                <a:gd name="T13" fmla="*/ 1 h 40"/>
                <a:gd name="T14" fmla="*/ 44 w 86"/>
                <a:gd name="T15" fmla="*/ 40 h 40"/>
                <a:gd name="T16" fmla="*/ 43 w 8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40">
                  <a:moveTo>
                    <a:pt x="43" y="40"/>
                  </a:moveTo>
                  <a:cubicBezTo>
                    <a:pt x="42" y="40"/>
                    <a:pt x="10" y="36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33"/>
                    <a:pt x="42" y="36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5" y="36"/>
                    <a:pt x="74" y="33"/>
                    <a:pt x="83" y="0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6" y="36"/>
                    <a:pt x="44" y="40"/>
                    <a:pt x="44" y="40"/>
                  </a:cubicBezTo>
                  <a:lnTo>
                    <a:pt x="43" y="4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202">
              <a:extLst>
                <a:ext uri="{FF2B5EF4-FFF2-40B4-BE49-F238E27FC236}">
                  <a16:creationId xmlns:a16="http://schemas.microsoft.com/office/drawing/2014/main" id="{F64F5397-DEEE-4F69-8FE2-A840C796D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" y="1208"/>
              <a:ext cx="39" cy="52"/>
            </a:xfrm>
            <a:custGeom>
              <a:avLst/>
              <a:gdLst>
                <a:gd name="T0" fmla="*/ 3 w 16"/>
                <a:gd name="T1" fmla="*/ 21 h 21"/>
                <a:gd name="T2" fmla="*/ 0 w 16"/>
                <a:gd name="T3" fmla="*/ 21 h 21"/>
                <a:gd name="T4" fmla="*/ 2 w 16"/>
                <a:gd name="T5" fmla="*/ 14 h 21"/>
                <a:gd name="T6" fmla="*/ 5 w 16"/>
                <a:gd name="T7" fmla="*/ 13 h 21"/>
                <a:gd name="T8" fmla="*/ 15 w 16"/>
                <a:gd name="T9" fmla="*/ 0 h 21"/>
                <a:gd name="T10" fmla="*/ 16 w 16"/>
                <a:gd name="T11" fmla="*/ 3 h 21"/>
                <a:gd name="T12" fmla="*/ 8 w 16"/>
                <a:gd name="T13" fmla="*/ 14 h 21"/>
                <a:gd name="T14" fmla="*/ 8 w 16"/>
                <a:gd name="T15" fmla="*/ 16 h 21"/>
                <a:gd name="T16" fmla="*/ 6 w 16"/>
                <a:gd name="T17" fmla="*/ 16 h 21"/>
                <a:gd name="T18" fmla="*/ 4 w 16"/>
                <a:gd name="T19" fmla="*/ 16 h 21"/>
                <a:gd name="T20" fmla="*/ 3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3" y="21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17"/>
                    <a:pt x="1" y="15"/>
                    <a:pt x="2" y="14"/>
                  </a:cubicBezTo>
                  <a:cubicBezTo>
                    <a:pt x="3" y="13"/>
                    <a:pt x="4" y="13"/>
                    <a:pt x="5" y="13"/>
                  </a:cubicBezTo>
                  <a:cubicBezTo>
                    <a:pt x="6" y="4"/>
                    <a:pt x="15" y="0"/>
                    <a:pt x="15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8" y="7"/>
                    <a:pt x="8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5" y="16"/>
                    <a:pt x="4" y="16"/>
                  </a:cubicBezTo>
                  <a:cubicBezTo>
                    <a:pt x="4" y="17"/>
                    <a:pt x="3" y="19"/>
                    <a:pt x="3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3">
              <a:extLst>
                <a:ext uri="{FF2B5EF4-FFF2-40B4-BE49-F238E27FC236}">
                  <a16:creationId xmlns:a16="http://schemas.microsoft.com/office/drawing/2014/main" id="{832C89B6-CF46-46BA-8185-4903C9997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" y="1260"/>
              <a:ext cx="39" cy="49"/>
            </a:xfrm>
            <a:custGeom>
              <a:avLst/>
              <a:gdLst>
                <a:gd name="T0" fmla="*/ 15 w 16"/>
                <a:gd name="T1" fmla="*/ 20 h 20"/>
                <a:gd name="T2" fmla="*/ 5 w 16"/>
                <a:gd name="T3" fmla="*/ 8 h 20"/>
                <a:gd name="T4" fmla="*/ 2 w 16"/>
                <a:gd name="T5" fmla="*/ 7 h 20"/>
                <a:gd name="T6" fmla="*/ 0 w 16"/>
                <a:gd name="T7" fmla="*/ 0 h 20"/>
                <a:gd name="T8" fmla="*/ 3 w 16"/>
                <a:gd name="T9" fmla="*/ 0 h 20"/>
                <a:gd name="T10" fmla="*/ 4 w 16"/>
                <a:gd name="T11" fmla="*/ 4 h 20"/>
                <a:gd name="T12" fmla="*/ 6 w 16"/>
                <a:gd name="T13" fmla="*/ 5 h 20"/>
                <a:gd name="T14" fmla="*/ 8 w 16"/>
                <a:gd name="T15" fmla="*/ 4 h 20"/>
                <a:gd name="T16" fmla="*/ 8 w 16"/>
                <a:gd name="T17" fmla="*/ 6 h 20"/>
                <a:gd name="T18" fmla="*/ 16 w 16"/>
                <a:gd name="T19" fmla="*/ 17 h 20"/>
                <a:gd name="T20" fmla="*/ 15 w 16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0">
                  <a:moveTo>
                    <a:pt x="15" y="20"/>
                  </a:moveTo>
                  <a:cubicBezTo>
                    <a:pt x="15" y="20"/>
                    <a:pt x="6" y="16"/>
                    <a:pt x="5" y="8"/>
                  </a:cubicBezTo>
                  <a:cubicBezTo>
                    <a:pt x="4" y="8"/>
                    <a:pt x="3" y="8"/>
                    <a:pt x="2" y="7"/>
                  </a:cubicBezTo>
                  <a:cubicBezTo>
                    <a:pt x="1" y="6"/>
                    <a:pt x="0" y="3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4" y="4"/>
                    <a:pt x="4" y="4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4"/>
                    <a:pt x="16" y="17"/>
                    <a:pt x="16" y="17"/>
                  </a:cubicBezTo>
                  <a:lnTo>
                    <a:pt x="15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04">
              <a:extLst>
                <a:ext uri="{FF2B5EF4-FFF2-40B4-BE49-F238E27FC236}">
                  <a16:creationId xmlns:a16="http://schemas.microsoft.com/office/drawing/2014/main" id="{B96E5B6B-DCB4-43F5-98B5-43C225EDE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" y="1081"/>
              <a:ext cx="245" cy="127"/>
            </a:xfrm>
            <a:custGeom>
              <a:avLst/>
              <a:gdLst>
                <a:gd name="T0" fmla="*/ 85 w 100"/>
                <a:gd name="T1" fmla="*/ 12 h 52"/>
                <a:gd name="T2" fmla="*/ 51 w 100"/>
                <a:gd name="T3" fmla="*/ 0 h 52"/>
                <a:gd name="T4" fmla="*/ 50 w 100"/>
                <a:gd name="T5" fmla="*/ 0 h 52"/>
                <a:gd name="T6" fmla="*/ 15 w 100"/>
                <a:gd name="T7" fmla="*/ 12 h 52"/>
                <a:gd name="T8" fmla="*/ 0 w 100"/>
                <a:gd name="T9" fmla="*/ 52 h 52"/>
                <a:gd name="T10" fmla="*/ 4 w 100"/>
                <a:gd name="T11" fmla="*/ 52 h 52"/>
                <a:gd name="T12" fmla="*/ 4 w 100"/>
                <a:gd name="T13" fmla="*/ 50 h 52"/>
                <a:gd name="T14" fmla="*/ 4 w 100"/>
                <a:gd name="T15" fmla="*/ 49 h 52"/>
                <a:gd name="T16" fmla="*/ 17 w 100"/>
                <a:gd name="T17" fmla="*/ 15 h 52"/>
                <a:gd name="T18" fmla="*/ 50 w 100"/>
                <a:gd name="T19" fmla="*/ 3 h 52"/>
                <a:gd name="T20" fmla="*/ 51 w 100"/>
                <a:gd name="T21" fmla="*/ 3 h 52"/>
                <a:gd name="T22" fmla="*/ 83 w 100"/>
                <a:gd name="T23" fmla="*/ 15 h 52"/>
                <a:gd name="T24" fmla="*/ 96 w 100"/>
                <a:gd name="T25" fmla="*/ 49 h 52"/>
                <a:gd name="T26" fmla="*/ 96 w 100"/>
                <a:gd name="T27" fmla="*/ 50 h 52"/>
                <a:gd name="T28" fmla="*/ 96 w 100"/>
                <a:gd name="T29" fmla="*/ 52 h 52"/>
                <a:gd name="T30" fmla="*/ 100 w 100"/>
                <a:gd name="T31" fmla="*/ 52 h 52"/>
                <a:gd name="T32" fmla="*/ 85 w 100"/>
                <a:gd name="T33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52">
                  <a:moveTo>
                    <a:pt x="85" y="12"/>
                  </a:moveTo>
                  <a:cubicBezTo>
                    <a:pt x="77" y="4"/>
                    <a:pt x="65" y="0"/>
                    <a:pt x="5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23" y="4"/>
                    <a:pt x="15" y="12"/>
                  </a:cubicBezTo>
                  <a:cubicBezTo>
                    <a:pt x="0" y="27"/>
                    <a:pt x="0" y="51"/>
                    <a:pt x="0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4" y="49"/>
                    <a:pt x="4" y="49"/>
                  </a:cubicBezTo>
                  <a:cubicBezTo>
                    <a:pt x="4" y="43"/>
                    <a:pt x="6" y="26"/>
                    <a:pt x="17" y="15"/>
                  </a:cubicBezTo>
                  <a:cubicBezTo>
                    <a:pt x="25" y="7"/>
                    <a:pt x="36" y="3"/>
                    <a:pt x="5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64" y="3"/>
                    <a:pt x="75" y="7"/>
                    <a:pt x="83" y="15"/>
                  </a:cubicBezTo>
                  <a:cubicBezTo>
                    <a:pt x="94" y="26"/>
                    <a:pt x="96" y="43"/>
                    <a:pt x="96" y="49"/>
                  </a:cubicBezTo>
                  <a:cubicBezTo>
                    <a:pt x="96" y="49"/>
                    <a:pt x="96" y="49"/>
                    <a:pt x="96" y="50"/>
                  </a:cubicBezTo>
                  <a:cubicBezTo>
                    <a:pt x="96" y="50"/>
                    <a:pt x="96" y="50"/>
                    <a:pt x="96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1"/>
                    <a:pt x="100" y="27"/>
                    <a:pt x="85" y="1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05">
              <a:extLst>
                <a:ext uri="{FF2B5EF4-FFF2-40B4-BE49-F238E27FC236}">
                  <a16:creationId xmlns:a16="http://schemas.microsoft.com/office/drawing/2014/main" id="{BC7E55D9-8176-4521-917B-A7261AB3B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201"/>
              <a:ext cx="0" cy="7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1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06">
              <a:extLst>
                <a:ext uri="{FF2B5EF4-FFF2-40B4-BE49-F238E27FC236}">
                  <a16:creationId xmlns:a16="http://schemas.microsoft.com/office/drawing/2014/main" id="{7B7A40E2-14CE-449A-B36A-C971EAD43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9" y="1201"/>
              <a:ext cx="0" cy="7"/>
            </a:xfrm>
            <a:custGeom>
              <a:avLst/>
              <a:gdLst>
                <a:gd name="T0" fmla="*/ 0 h 3"/>
                <a:gd name="T1" fmla="*/ 1 h 3"/>
                <a:gd name="T2" fmla="*/ 3 h 3"/>
                <a:gd name="T3" fmla="*/ 3 h 3"/>
                <a:gd name="T4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07">
              <a:extLst>
                <a:ext uri="{FF2B5EF4-FFF2-40B4-BE49-F238E27FC236}">
                  <a16:creationId xmlns:a16="http://schemas.microsoft.com/office/drawing/2014/main" id="{182D4DA7-71C0-49AF-A5AA-82CF1E81F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" y="1064"/>
              <a:ext cx="270" cy="144"/>
            </a:xfrm>
            <a:custGeom>
              <a:avLst/>
              <a:gdLst>
                <a:gd name="T0" fmla="*/ 80 w 110"/>
                <a:gd name="T1" fmla="*/ 0 h 59"/>
                <a:gd name="T2" fmla="*/ 30 w 110"/>
                <a:gd name="T3" fmla="*/ 0 h 59"/>
                <a:gd name="T4" fmla="*/ 0 w 110"/>
                <a:gd name="T5" fmla="*/ 31 h 59"/>
                <a:gd name="T6" fmla="*/ 0 w 110"/>
                <a:gd name="T7" fmla="*/ 59 h 59"/>
                <a:gd name="T8" fmla="*/ 4 w 110"/>
                <a:gd name="T9" fmla="*/ 59 h 59"/>
                <a:gd name="T10" fmla="*/ 4 w 110"/>
                <a:gd name="T11" fmla="*/ 31 h 59"/>
                <a:gd name="T12" fmla="*/ 30 w 110"/>
                <a:gd name="T13" fmla="*/ 4 h 59"/>
                <a:gd name="T14" fmla="*/ 80 w 110"/>
                <a:gd name="T15" fmla="*/ 4 h 59"/>
                <a:gd name="T16" fmla="*/ 106 w 110"/>
                <a:gd name="T17" fmla="*/ 31 h 59"/>
                <a:gd name="T18" fmla="*/ 106 w 110"/>
                <a:gd name="T19" fmla="*/ 59 h 59"/>
                <a:gd name="T20" fmla="*/ 110 w 110"/>
                <a:gd name="T21" fmla="*/ 59 h 59"/>
                <a:gd name="T22" fmla="*/ 110 w 110"/>
                <a:gd name="T23" fmla="*/ 31 h 59"/>
                <a:gd name="T24" fmla="*/ 80 w 110"/>
                <a:gd name="T2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59">
                  <a:moveTo>
                    <a:pt x="8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" y="0"/>
                    <a:pt x="0" y="30"/>
                    <a:pt x="0" y="31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29"/>
                    <a:pt x="4" y="4"/>
                    <a:pt x="3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106" y="4"/>
                    <a:pt x="106" y="29"/>
                    <a:pt x="106" y="31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0"/>
                    <a:pt x="109" y="0"/>
                    <a:pt x="8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08">
              <a:extLst>
                <a:ext uri="{FF2B5EF4-FFF2-40B4-BE49-F238E27FC236}">
                  <a16:creationId xmlns:a16="http://schemas.microsoft.com/office/drawing/2014/main" id="{F8053CC5-E8BD-4A63-9ADB-F162F815F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" y="1208"/>
              <a:ext cx="39" cy="52"/>
            </a:xfrm>
            <a:custGeom>
              <a:avLst/>
              <a:gdLst>
                <a:gd name="T0" fmla="*/ 16 w 16"/>
                <a:gd name="T1" fmla="*/ 21 h 21"/>
                <a:gd name="T2" fmla="*/ 13 w 16"/>
                <a:gd name="T3" fmla="*/ 21 h 21"/>
                <a:gd name="T4" fmla="*/ 12 w 16"/>
                <a:gd name="T5" fmla="*/ 16 h 21"/>
                <a:gd name="T6" fmla="*/ 10 w 16"/>
                <a:gd name="T7" fmla="*/ 16 h 21"/>
                <a:gd name="T8" fmla="*/ 8 w 16"/>
                <a:gd name="T9" fmla="*/ 16 h 21"/>
                <a:gd name="T10" fmla="*/ 8 w 16"/>
                <a:gd name="T11" fmla="*/ 14 h 21"/>
                <a:gd name="T12" fmla="*/ 0 w 16"/>
                <a:gd name="T13" fmla="*/ 3 h 21"/>
                <a:gd name="T14" fmla="*/ 1 w 16"/>
                <a:gd name="T15" fmla="*/ 0 h 21"/>
                <a:gd name="T16" fmla="*/ 11 w 16"/>
                <a:gd name="T17" fmla="*/ 13 h 21"/>
                <a:gd name="T18" fmla="*/ 14 w 16"/>
                <a:gd name="T19" fmla="*/ 14 h 21"/>
                <a:gd name="T20" fmla="*/ 16 w 16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6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3" y="19"/>
                    <a:pt x="13" y="17"/>
                    <a:pt x="12" y="16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7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10" y="4"/>
                    <a:pt x="11" y="13"/>
                  </a:cubicBezTo>
                  <a:cubicBezTo>
                    <a:pt x="12" y="13"/>
                    <a:pt x="13" y="13"/>
                    <a:pt x="14" y="14"/>
                  </a:cubicBezTo>
                  <a:cubicBezTo>
                    <a:pt x="15" y="15"/>
                    <a:pt x="16" y="17"/>
                    <a:pt x="16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09">
              <a:extLst>
                <a:ext uri="{FF2B5EF4-FFF2-40B4-BE49-F238E27FC236}">
                  <a16:creationId xmlns:a16="http://schemas.microsoft.com/office/drawing/2014/main" id="{D7EF8414-96B3-44D7-8517-729000371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" y="1260"/>
              <a:ext cx="39" cy="49"/>
            </a:xfrm>
            <a:custGeom>
              <a:avLst/>
              <a:gdLst>
                <a:gd name="T0" fmla="*/ 1 w 16"/>
                <a:gd name="T1" fmla="*/ 20 h 20"/>
                <a:gd name="T2" fmla="*/ 0 w 16"/>
                <a:gd name="T3" fmla="*/ 17 h 20"/>
                <a:gd name="T4" fmla="*/ 8 w 16"/>
                <a:gd name="T5" fmla="*/ 6 h 20"/>
                <a:gd name="T6" fmla="*/ 8 w 16"/>
                <a:gd name="T7" fmla="*/ 4 h 20"/>
                <a:gd name="T8" fmla="*/ 10 w 16"/>
                <a:gd name="T9" fmla="*/ 5 h 20"/>
                <a:gd name="T10" fmla="*/ 12 w 16"/>
                <a:gd name="T11" fmla="*/ 4 h 20"/>
                <a:gd name="T12" fmla="*/ 13 w 16"/>
                <a:gd name="T13" fmla="*/ 0 h 20"/>
                <a:gd name="T14" fmla="*/ 16 w 16"/>
                <a:gd name="T15" fmla="*/ 0 h 20"/>
                <a:gd name="T16" fmla="*/ 14 w 16"/>
                <a:gd name="T17" fmla="*/ 7 h 20"/>
                <a:gd name="T18" fmla="*/ 11 w 16"/>
                <a:gd name="T19" fmla="*/ 8 h 20"/>
                <a:gd name="T20" fmla="*/ 1 w 16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0">
                  <a:moveTo>
                    <a:pt x="1" y="20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8" y="14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5"/>
                    <a:pt x="12" y="4"/>
                  </a:cubicBezTo>
                  <a:cubicBezTo>
                    <a:pt x="13" y="4"/>
                    <a:pt x="13" y="2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"/>
                    <a:pt x="15" y="6"/>
                    <a:pt x="14" y="7"/>
                  </a:cubicBezTo>
                  <a:cubicBezTo>
                    <a:pt x="13" y="8"/>
                    <a:pt x="12" y="8"/>
                    <a:pt x="11" y="8"/>
                  </a:cubicBezTo>
                  <a:cubicBezTo>
                    <a:pt x="10" y="16"/>
                    <a:pt x="2" y="20"/>
                    <a:pt x="1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10">
              <a:extLst>
                <a:ext uri="{FF2B5EF4-FFF2-40B4-BE49-F238E27FC236}">
                  <a16:creationId xmlns:a16="http://schemas.microsoft.com/office/drawing/2014/main" id="{1A400A83-20C8-4496-8E1D-E8AE2ACE6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" y="1208"/>
              <a:ext cx="39" cy="106"/>
            </a:xfrm>
            <a:custGeom>
              <a:avLst/>
              <a:gdLst>
                <a:gd name="T0" fmla="*/ 13 w 16"/>
                <a:gd name="T1" fmla="*/ 18 h 43"/>
                <a:gd name="T2" fmla="*/ 13 w 16"/>
                <a:gd name="T3" fmla="*/ 40 h 43"/>
                <a:gd name="T4" fmla="*/ 3 w 16"/>
                <a:gd name="T5" fmla="*/ 40 h 43"/>
                <a:gd name="T6" fmla="*/ 3 w 16"/>
                <a:gd name="T7" fmla="*/ 0 h 43"/>
                <a:gd name="T8" fmla="*/ 0 w 16"/>
                <a:gd name="T9" fmla="*/ 0 h 43"/>
                <a:gd name="T10" fmla="*/ 0 w 16"/>
                <a:gd name="T11" fmla="*/ 43 h 43"/>
                <a:gd name="T12" fmla="*/ 16 w 16"/>
                <a:gd name="T13" fmla="*/ 43 h 43"/>
                <a:gd name="T14" fmla="*/ 16 w 16"/>
                <a:gd name="T15" fmla="*/ 20 h 43"/>
                <a:gd name="T16" fmla="*/ 15 w 16"/>
                <a:gd name="T17" fmla="*/ 18 h 43"/>
                <a:gd name="T18" fmla="*/ 13 w 16"/>
                <a:gd name="T19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43">
                  <a:moveTo>
                    <a:pt x="13" y="18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8"/>
                    <a:pt x="15" y="18"/>
                  </a:cubicBezTo>
                  <a:lnTo>
                    <a:pt x="13" y="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11">
              <a:extLst>
                <a:ext uri="{FF2B5EF4-FFF2-40B4-BE49-F238E27FC236}">
                  <a16:creationId xmlns:a16="http://schemas.microsoft.com/office/drawing/2014/main" id="{C0B51F68-C090-4CD3-B524-2C6E83874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2" y="1252"/>
              <a:ext cx="2" cy="5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12">
              <a:extLst>
                <a:ext uri="{FF2B5EF4-FFF2-40B4-BE49-F238E27FC236}">
                  <a16:creationId xmlns:a16="http://schemas.microsoft.com/office/drawing/2014/main" id="{FA0C2AD6-78B6-4D0B-AA6A-4EA840D36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1208"/>
              <a:ext cx="40" cy="106"/>
            </a:xfrm>
            <a:custGeom>
              <a:avLst/>
              <a:gdLst>
                <a:gd name="T0" fmla="*/ 13 w 16"/>
                <a:gd name="T1" fmla="*/ 0 h 43"/>
                <a:gd name="T2" fmla="*/ 13 w 16"/>
                <a:gd name="T3" fmla="*/ 40 h 43"/>
                <a:gd name="T4" fmla="*/ 3 w 16"/>
                <a:gd name="T5" fmla="*/ 40 h 43"/>
                <a:gd name="T6" fmla="*/ 3 w 16"/>
                <a:gd name="T7" fmla="*/ 18 h 43"/>
                <a:gd name="T8" fmla="*/ 1 w 16"/>
                <a:gd name="T9" fmla="*/ 18 h 43"/>
                <a:gd name="T10" fmla="*/ 0 w 16"/>
                <a:gd name="T11" fmla="*/ 20 h 43"/>
                <a:gd name="T12" fmla="*/ 0 w 16"/>
                <a:gd name="T13" fmla="*/ 43 h 43"/>
                <a:gd name="T14" fmla="*/ 16 w 16"/>
                <a:gd name="T15" fmla="*/ 43 h 43"/>
                <a:gd name="T16" fmla="*/ 16 w 16"/>
                <a:gd name="T17" fmla="*/ 0 h 43"/>
                <a:gd name="T18" fmla="*/ 13 w 1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43">
                  <a:moveTo>
                    <a:pt x="13" y="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0" y="19"/>
                    <a:pt x="0" y="2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13">
              <a:extLst>
                <a:ext uri="{FF2B5EF4-FFF2-40B4-BE49-F238E27FC236}">
                  <a16:creationId xmlns:a16="http://schemas.microsoft.com/office/drawing/2014/main" id="{01601584-1AD4-4D47-A893-65AC349AC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1252"/>
              <a:ext cx="3" cy="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14">
              <a:extLst>
                <a:ext uri="{FF2B5EF4-FFF2-40B4-BE49-F238E27FC236}">
                  <a16:creationId xmlns:a16="http://schemas.microsoft.com/office/drawing/2014/main" id="{15BFDD55-28F1-4D94-8395-C5145264E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0" y="1191"/>
              <a:ext cx="19" cy="12"/>
            </a:xfrm>
            <a:custGeom>
              <a:avLst/>
              <a:gdLst>
                <a:gd name="T0" fmla="*/ 5 w 19"/>
                <a:gd name="T1" fmla="*/ 0 h 12"/>
                <a:gd name="T2" fmla="*/ 0 w 19"/>
                <a:gd name="T3" fmla="*/ 7 h 12"/>
                <a:gd name="T4" fmla="*/ 17 w 19"/>
                <a:gd name="T5" fmla="*/ 12 h 12"/>
                <a:gd name="T6" fmla="*/ 19 w 19"/>
                <a:gd name="T7" fmla="*/ 5 h 12"/>
                <a:gd name="T8" fmla="*/ 5 w 1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5" y="0"/>
                  </a:moveTo>
                  <a:lnTo>
                    <a:pt x="0" y="7"/>
                  </a:lnTo>
                  <a:lnTo>
                    <a:pt x="17" y="12"/>
                  </a:lnTo>
                  <a:lnTo>
                    <a:pt x="19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15">
              <a:extLst>
                <a:ext uri="{FF2B5EF4-FFF2-40B4-BE49-F238E27FC236}">
                  <a16:creationId xmlns:a16="http://schemas.microsoft.com/office/drawing/2014/main" id="{E2F9E5CF-3625-4933-99CB-CB34BFA6F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1191"/>
              <a:ext cx="18" cy="12"/>
            </a:xfrm>
            <a:custGeom>
              <a:avLst/>
              <a:gdLst>
                <a:gd name="T0" fmla="*/ 5 w 18"/>
                <a:gd name="T1" fmla="*/ 12 h 12"/>
                <a:gd name="T2" fmla="*/ 0 w 18"/>
                <a:gd name="T3" fmla="*/ 5 h 12"/>
                <a:gd name="T4" fmla="*/ 13 w 18"/>
                <a:gd name="T5" fmla="*/ 0 h 12"/>
                <a:gd name="T6" fmla="*/ 18 w 18"/>
                <a:gd name="T7" fmla="*/ 7 h 12"/>
                <a:gd name="T8" fmla="*/ 5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5" y="12"/>
                  </a:moveTo>
                  <a:lnTo>
                    <a:pt x="0" y="5"/>
                  </a:lnTo>
                  <a:lnTo>
                    <a:pt x="13" y="0"/>
                  </a:lnTo>
                  <a:lnTo>
                    <a:pt x="18" y="7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4" name="Picture 243">
            <a:extLst>
              <a:ext uri="{FF2B5EF4-FFF2-40B4-BE49-F238E27FC236}">
                <a16:creationId xmlns:a16="http://schemas.microsoft.com/office/drawing/2014/main" id="{87A799C1-6F0A-4E11-B1E2-419E6A5F5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225" y="2838965"/>
            <a:ext cx="770878" cy="758952"/>
          </a:xfrm>
          <a:prstGeom prst="rect">
            <a:avLst/>
          </a:prstGeom>
        </p:spPr>
      </p:pic>
      <p:grpSp>
        <p:nvGrpSpPr>
          <p:cNvPr id="249" name="Group 218">
            <a:extLst>
              <a:ext uri="{FF2B5EF4-FFF2-40B4-BE49-F238E27FC236}">
                <a16:creationId xmlns:a16="http://schemas.microsoft.com/office/drawing/2014/main" id="{115A893C-5BD6-4EA9-853C-D75C5393DB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2588" y="2797175"/>
            <a:ext cx="841375" cy="841375"/>
            <a:chOff x="241" y="1762"/>
            <a:chExt cx="530" cy="530"/>
          </a:xfrm>
        </p:grpSpPr>
        <p:sp>
          <p:nvSpPr>
            <p:cNvPr id="250" name="AutoShape 217">
              <a:extLst>
                <a:ext uri="{FF2B5EF4-FFF2-40B4-BE49-F238E27FC236}">
                  <a16:creationId xmlns:a16="http://schemas.microsoft.com/office/drawing/2014/main" id="{A9B6EDF7-6F4F-49CE-B662-CB5C4A5EA9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1" y="176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219">
              <a:extLst>
                <a:ext uri="{FF2B5EF4-FFF2-40B4-BE49-F238E27FC236}">
                  <a16:creationId xmlns:a16="http://schemas.microsoft.com/office/drawing/2014/main" id="{A43B2EC2-546C-440F-85E4-240325721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" y="176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20">
              <a:extLst>
                <a:ext uri="{FF2B5EF4-FFF2-40B4-BE49-F238E27FC236}">
                  <a16:creationId xmlns:a16="http://schemas.microsoft.com/office/drawing/2014/main" id="{47E00C2A-ED14-41B2-B3E7-CBA7CC765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" y="178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21">
              <a:extLst>
                <a:ext uri="{FF2B5EF4-FFF2-40B4-BE49-F238E27FC236}">
                  <a16:creationId xmlns:a16="http://schemas.microsoft.com/office/drawing/2014/main" id="{CAD33EBB-14E9-4143-B7DF-1BC37636D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" y="2005"/>
              <a:ext cx="243" cy="202"/>
            </a:xfrm>
            <a:custGeom>
              <a:avLst/>
              <a:gdLst>
                <a:gd name="T0" fmla="*/ 75 w 95"/>
                <a:gd name="T1" fmla="*/ 48 h 79"/>
                <a:gd name="T2" fmla="*/ 76 w 95"/>
                <a:gd name="T3" fmla="*/ 58 h 79"/>
                <a:gd name="T4" fmla="*/ 83 w 95"/>
                <a:gd name="T5" fmla="*/ 65 h 79"/>
                <a:gd name="T6" fmla="*/ 40 w 95"/>
                <a:gd name="T7" fmla="*/ 75 h 79"/>
                <a:gd name="T8" fmla="*/ 36 w 95"/>
                <a:gd name="T9" fmla="*/ 62 h 79"/>
                <a:gd name="T10" fmla="*/ 32 w 95"/>
                <a:gd name="T11" fmla="*/ 60 h 79"/>
                <a:gd name="T12" fmla="*/ 32 w 95"/>
                <a:gd name="T13" fmla="*/ 60 h 79"/>
                <a:gd name="T14" fmla="*/ 16 w 95"/>
                <a:gd name="T15" fmla="*/ 54 h 79"/>
                <a:gd name="T16" fmla="*/ 15 w 95"/>
                <a:gd name="T17" fmla="*/ 48 h 79"/>
                <a:gd name="T18" fmla="*/ 15 w 95"/>
                <a:gd name="T19" fmla="*/ 46 h 79"/>
                <a:gd name="T20" fmla="*/ 13 w 95"/>
                <a:gd name="T21" fmla="*/ 44 h 79"/>
                <a:gd name="T22" fmla="*/ 12 w 95"/>
                <a:gd name="T23" fmla="*/ 44 h 79"/>
                <a:gd name="T24" fmla="*/ 12 w 95"/>
                <a:gd name="T25" fmla="*/ 41 h 79"/>
                <a:gd name="T26" fmla="*/ 14 w 95"/>
                <a:gd name="T27" fmla="*/ 40 h 79"/>
                <a:gd name="T28" fmla="*/ 12 w 95"/>
                <a:gd name="T29" fmla="*/ 39 h 79"/>
                <a:gd name="T30" fmla="*/ 10 w 95"/>
                <a:gd name="T31" fmla="*/ 38 h 79"/>
                <a:gd name="T32" fmla="*/ 11 w 95"/>
                <a:gd name="T33" fmla="*/ 37 h 79"/>
                <a:gd name="T34" fmla="*/ 12 w 95"/>
                <a:gd name="T35" fmla="*/ 33 h 79"/>
                <a:gd name="T36" fmla="*/ 9 w 95"/>
                <a:gd name="T37" fmla="*/ 29 h 79"/>
                <a:gd name="T38" fmla="*/ 7 w 95"/>
                <a:gd name="T39" fmla="*/ 29 h 79"/>
                <a:gd name="T40" fmla="*/ 3 w 95"/>
                <a:gd name="T41" fmla="*/ 27 h 79"/>
                <a:gd name="T42" fmla="*/ 3 w 95"/>
                <a:gd name="T43" fmla="*/ 26 h 79"/>
                <a:gd name="T44" fmla="*/ 4 w 95"/>
                <a:gd name="T45" fmla="*/ 25 h 79"/>
                <a:gd name="T46" fmla="*/ 13 w 95"/>
                <a:gd name="T47" fmla="*/ 9 h 79"/>
                <a:gd name="T48" fmla="*/ 13 w 95"/>
                <a:gd name="T49" fmla="*/ 4 h 79"/>
                <a:gd name="T50" fmla="*/ 12 w 95"/>
                <a:gd name="T51" fmla="*/ 1 h 79"/>
                <a:gd name="T52" fmla="*/ 9 w 95"/>
                <a:gd name="T53" fmla="*/ 2 h 79"/>
                <a:gd name="T54" fmla="*/ 10 w 95"/>
                <a:gd name="T55" fmla="*/ 5 h 79"/>
                <a:gd name="T56" fmla="*/ 10 w 95"/>
                <a:gd name="T57" fmla="*/ 8 h 79"/>
                <a:gd name="T58" fmla="*/ 1 w 95"/>
                <a:gd name="T59" fmla="*/ 23 h 79"/>
                <a:gd name="T60" fmla="*/ 1 w 95"/>
                <a:gd name="T61" fmla="*/ 24 h 79"/>
                <a:gd name="T62" fmla="*/ 0 w 95"/>
                <a:gd name="T63" fmla="*/ 28 h 79"/>
                <a:gd name="T64" fmla="*/ 6 w 95"/>
                <a:gd name="T65" fmla="*/ 32 h 79"/>
                <a:gd name="T66" fmla="*/ 7 w 95"/>
                <a:gd name="T67" fmla="*/ 32 h 79"/>
                <a:gd name="T68" fmla="*/ 9 w 95"/>
                <a:gd name="T69" fmla="*/ 34 h 79"/>
                <a:gd name="T70" fmla="*/ 9 w 95"/>
                <a:gd name="T71" fmla="*/ 34 h 79"/>
                <a:gd name="T72" fmla="*/ 7 w 95"/>
                <a:gd name="T73" fmla="*/ 38 h 79"/>
                <a:gd name="T74" fmla="*/ 9 w 95"/>
                <a:gd name="T75" fmla="*/ 41 h 79"/>
                <a:gd name="T76" fmla="*/ 8 w 95"/>
                <a:gd name="T77" fmla="*/ 44 h 79"/>
                <a:gd name="T78" fmla="*/ 12 w 95"/>
                <a:gd name="T79" fmla="*/ 48 h 79"/>
                <a:gd name="T80" fmla="*/ 12 w 95"/>
                <a:gd name="T81" fmla="*/ 48 h 79"/>
                <a:gd name="T82" fmla="*/ 12 w 95"/>
                <a:gd name="T83" fmla="*/ 55 h 79"/>
                <a:gd name="T84" fmla="*/ 32 w 95"/>
                <a:gd name="T85" fmla="*/ 63 h 79"/>
                <a:gd name="T86" fmla="*/ 34 w 95"/>
                <a:gd name="T87" fmla="*/ 64 h 79"/>
                <a:gd name="T88" fmla="*/ 36 w 95"/>
                <a:gd name="T89" fmla="*/ 77 h 79"/>
                <a:gd name="T90" fmla="*/ 36 w 95"/>
                <a:gd name="T91" fmla="*/ 79 h 79"/>
                <a:gd name="T92" fmla="*/ 90 w 95"/>
                <a:gd name="T93" fmla="*/ 67 h 79"/>
                <a:gd name="T94" fmla="*/ 79 w 95"/>
                <a:gd name="T95" fmla="*/ 56 h 79"/>
                <a:gd name="T96" fmla="*/ 78 w 95"/>
                <a:gd name="T97" fmla="*/ 49 h 79"/>
                <a:gd name="T98" fmla="*/ 95 w 95"/>
                <a:gd name="T99" fmla="*/ 0 h 79"/>
                <a:gd name="T100" fmla="*/ 92 w 95"/>
                <a:gd name="T101" fmla="*/ 0 h 79"/>
                <a:gd name="T102" fmla="*/ 75 w 95"/>
                <a:gd name="T103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79">
                  <a:moveTo>
                    <a:pt x="75" y="48"/>
                  </a:moveTo>
                  <a:cubicBezTo>
                    <a:pt x="72" y="53"/>
                    <a:pt x="75" y="57"/>
                    <a:pt x="76" y="58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71"/>
                    <a:pt x="40" y="65"/>
                    <a:pt x="36" y="62"/>
                  </a:cubicBezTo>
                  <a:cubicBezTo>
                    <a:pt x="35" y="60"/>
                    <a:pt x="34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8" y="60"/>
                    <a:pt x="18" y="59"/>
                    <a:pt x="16" y="54"/>
                  </a:cubicBezTo>
                  <a:cubicBezTo>
                    <a:pt x="14" y="51"/>
                    <a:pt x="15" y="49"/>
                    <a:pt x="15" y="48"/>
                  </a:cubicBezTo>
                  <a:cubicBezTo>
                    <a:pt x="15" y="48"/>
                    <a:pt x="16" y="47"/>
                    <a:pt x="15" y="46"/>
                  </a:cubicBezTo>
                  <a:cubicBezTo>
                    <a:pt x="15" y="45"/>
                    <a:pt x="14" y="45"/>
                    <a:pt x="13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0" y="38"/>
                    <a:pt x="10" y="37"/>
                    <a:pt x="11" y="37"/>
                  </a:cubicBezTo>
                  <a:cubicBezTo>
                    <a:pt x="12" y="36"/>
                    <a:pt x="13" y="34"/>
                    <a:pt x="12" y="33"/>
                  </a:cubicBezTo>
                  <a:cubicBezTo>
                    <a:pt x="12" y="32"/>
                    <a:pt x="11" y="30"/>
                    <a:pt x="9" y="29"/>
                  </a:cubicBezTo>
                  <a:cubicBezTo>
                    <a:pt x="8" y="29"/>
                    <a:pt x="8" y="29"/>
                    <a:pt x="7" y="29"/>
                  </a:cubicBezTo>
                  <a:cubicBezTo>
                    <a:pt x="6" y="28"/>
                    <a:pt x="3" y="28"/>
                    <a:pt x="3" y="27"/>
                  </a:cubicBezTo>
                  <a:cubicBezTo>
                    <a:pt x="3" y="27"/>
                    <a:pt x="3" y="26"/>
                    <a:pt x="3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0"/>
                    <a:pt x="12" y="12"/>
                    <a:pt x="13" y="9"/>
                  </a:cubicBezTo>
                  <a:cubicBezTo>
                    <a:pt x="14" y="7"/>
                    <a:pt x="13" y="5"/>
                    <a:pt x="13" y="4"/>
                  </a:cubicBezTo>
                  <a:cubicBezTo>
                    <a:pt x="13" y="3"/>
                    <a:pt x="12" y="2"/>
                    <a:pt x="12" y="1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3"/>
                    <a:pt x="9" y="4"/>
                    <a:pt x="10" y="5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9" y="10"/>
                    <a:pt x="4" y="19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30"/>
                    <a:pt x="4" y="31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9" y="33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8" y="35"/>
                    <a:pt x="7" y="36"/>
                    <a:pt x="7" y="38"/>
                  </a:cubicBezTo>
                  <a:cubicBezTo>
                    <a:pt x="7" y="39"/>
                    <a:pt x="8" y="40"/>
                    <a:pt x="9" y="41"/>
                  </a:cubicBezTo>
                  <a:cubicBezTo>
                    <a:pt x="8" y="42"/>
                    <a:pt x="8" y="43"/>
                    <a:pt x="8" y="44"/>
                  </a:cubicBezTo>
                  <a:cubicBezTo>
                    <a:pt x="9" y="45"/>
                    <a:pt x="9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9"/>
                    <a:pt x="11" y="51"/>
                    <a:pt x="12" y="55"/>
                  </a:cubicBezTo>
                  <a:cubicBezTo>
                    <a:pt x="16" y="64"/>
                    <a:pt x="31" y="63"/>
                    <a:pt x="32" y="63"/>
                  </a:cubicBezTo>
                  <a:cubicBezTo>
                    <a:pt x="33" y="63"/>
                    <a:pt x="33" y="63"/>
                    <a:pt x="34" y="64"/>
                  </a:cubicBezTo>
                  <a:cubicBezTo>
                    <a:pt x="36" y="66"/>
                    <a:pt x="37" y="73"/>
                    <a:pt x="36" y="77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8" y="56"/>
                    <a:pt x="76" y="53"/>
                    <a:pt x="78" y="49"/>
                  </a:cubicBezTo>
                  <a:cubicBezTo>
                    <a:pt x="90" y="31"/>
                    <a:pt x="95" y="14"/>
                    <a:pt x="95" y="0"/>
                  </a:cubicBezTo>
                  <a:cubicBezTo>
                    <a:pt x="94" y="0"/>
                    <a:pt x="93" y="0"/>
                    <a:pt x="92" y="0"/>
                  </a:cubicBezTo>
                  <a:cubicBezTo>
                    <a:pt x="92" y="16"/>
                    <a:pt x="84" y="34"/>
                    <a:pt x="75" y="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22">
              <a:extLst>
                <a:ext uri="{FF2B5EF4-FFF2-40B4-BE49-F238E27FC236}">
                  <a16:creationId xmlns:a16="http://schemas.microsoft.com/office/drawing/2014/main" id="{943FE175-13E0-42A5-B51D-2C74473FA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" y="2023"/>
              <a:ext cx="85" cy="131"/>
            </a:xfrm>
            <a:custGeom>
              <a:avLst/>
              <a:gdLst>
                <a:gd name="T0" fmla="*/ 12 w 33"/>
                <a:gd name="T1" fmla="*/ 25 h 51"/>
                <a:gd name="T2" fmla="*/ 22 w 33"/>
                <a:gd name="T3" fmla="*/ 16 h 51"/>
                <a:gd name="T4" fmla="*/ 23 w 33"/>
                <a:gd name="T5" fmla="*/ 5 h 51"/>
                <a:gd name="T6" fmla="*/ 16 w 33"/>
                <a:gd name="T7" fmla="*/ 0 h 51"/>
                <a:gd name="T8" fmla="*/ 12 w 33"/>
                <a:gd name="T9" fmla="*/ 0 h 51"/>
                <a:gd name="T10" fmla="*/ 10 w 33"/>
                <a:gd name="T11" fmla="*/ 1 h 51"/>
                <a:gd name="T12" fmla="*/ 10 w 33"/>
                <a:gd name="T13" fmla="*/ 1 h 51"/>
                <a:gd name="T14" fmla="*/ 5 w 33"/>
                <a:gd name="T15" fmla="*/ 5 h 51"/>
                <a:gd name="T16" fmla="*/ 0 w 33"/>
                <a:gd name="T17" fmla="*/ 14 h 51"/>
                <a:gd name="T18" fmla="*/ 3 w 33"/>
                <a:gd name="T19" fmla="*/ 16 h 51"/>
                <a:gd name="T20" fmla="*/ 8 w 33"/>
                <a:gd name="T21" fmla="*/ 7 h 51"/>
                <a:gd name="T22" fmla="*/ 15 w 33"/>
                <a:gd name="T23" fmla="*/ 3 h 51"/>
                <a:gd name="T24" fmla="*/ 20 w 33"/>
                <a:gd name="T25" fmla="*/ 6 h 51"/>
                <a:gd name="T26" fmla="*/ 19 w 33"/>
                <a:gd name="T27" fmla="*/ 14 h 51"/>
                <a:gd name="T28" fmla="*/ 9 w 33"/>
                <a:gd name="T29" fmla="*/ 22 h 51"/>
                <a:gd name="T30" fmla="*/ 5 w 33"/>
                <a:gd name="T31" fmla="*/ 22 h 51"/>
                <a:gd name="T32" fmla="*/ 30 w 33"/>
                <a:gd name="T33" fmla="*/ 51 h 51"/>
                <a:gd name="T34" fmla="*/ 33 w 33"/>
                <a:gd name="T35" fmla="*/ 49 h 51"/>
                <a:gd name="T36" fmla="*/ 12 w 33"/>
                <a:gd name="T37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" h="51">
                  <a:moveTo>
                    <a:pt x="12" y="25"/>
                  </a:moveTo>
                  <a:cubicBezTo>
                    <a:pt x="15" y="24"/>
                    <a:pt x="19" y="22"/>
                    <a:pt x="22" y="16"/>
                  </a:cubicBezTo>
                  <a:cubicBezTo>
                    <a:pt x="25" y="11"/>
                    <a:pt x="24" y="7"/>
                    <a:pt x="23" y="5"/>
                  </a:cubicBezTo>
                  <a:cubicBezTo>
                    <a:pt x="21" y="2"/>
                    <a:pt x="19" y="0"/>
                    <a:pt x="16" y="0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3"/>
                    <a:pt x="6" y="5"/>
                    <a:pt x="5" y="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13" y="3"/>
                    <a:pt x="15" y="3"/>
                  </a:cubicBezTo>
                  <a:cubicBezTo>
                    <a:pt x="16" y="3"/>
                    <a:pt x="18" y="4"/>
                    <a:pt x="20" y="6"/>
                  </a:cubicBezTo>
                  <a:cubicBezTo>
                    <a:pt x="21" y="8"/>
                    <a:pt x="20" y="11"/>
                    <a:pt x="19" y="14"/>
                  </a:cubicBezTo>
                  <a:cubicBezTo>
                    <a:pt x="15" y="22"/>
                    <a:pt x="9" y="22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3" y="49"/>
                    <a:pt x="33" y="49"/>
                    <a:pt x="33" y="49"/>
                  </a:cubicBezTo>
                  <a:lnTo>
                    <a:pt x="12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23">
              <a:extLst>
                <a:ext uri="{FF2B5EF4-FFF2-40B4-BE49-F238E27FC236}">
                  <a16:creationId xmlns:a16="http://schemas.microsoft.com/office/drawing/2014/main" id="{712A90BB-2643-4409-A9B2-1BE7914C5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" y="1844"/>
              <a:ext cx="317" cy="176"/>
            </a:xfrm>
            <a:custGeom>
              <a:avLst/>
              <a:gdLst>
                <a:gd name="T0" fmla="*/ 120 w 124"/>
                <a:gd name="T1" fmla="*/ 64 h 69"/>
                <a:gd name="T2" fmla="*/ 87 w 124"/>
                <a:gd name="T3" fmla="*/ 59 h 69"/>
                <a:gd name="T4" fmla="*/ 4 w 124"/>
                <a:gd name="T5" fmla="*/ 64 h 69"/>
                <a:gd name="T6" fmla="*/ 20 w 124"/>
                <a:gd name="T7" fmla="*/ 50 h 69"/>
                <a:gd name="T8" fmla="*/ 22 w 124"/>
                <a:gd name="T9" fmla="*/ 22 h 69"/>
                <a:gd name="T10" fmla="*/ 29 w 124"/>
                <a:gd name="T11" fmla="*/ 20 h 69"/>
                <a:gd name="T12" fmla="*/ 76 w 124"/>
                <a:gd name="T13" fmla="*/ 5 h 69"/>
                <a:gd name="T14" fmla="*/ 120 w 124"/>
                <a:gd name="T15" fmla="*/ 64 h 69"/>
                <a:gd name="T16" fmla="*/ 111 w 124"/>
                <a:gd name="T17" fmla="*/ 22 h 69"/>
                <a:gd name="T18" fmla="*/ 77 w 124"/>
                <a:gd name="T19" fmla="*/ 3 h 69"/>
                <a:gd name="T20" fmla="*/ 28 w 124"/>
                <a:gd name="T21" fmla="*/ 19 h 69"/>
                <a:gd name="T22" fmla="*/ 20 w 124"/>
                <a:gd name="T23" fmla="*/ 21 h 69"/>
                <a:gd name="T24" fmla="*/ 18 w 124"/>
                <a:gd name="T25" fmla="*/ 49 h 69"/>
                <a:gd name="T26" fmla="*/ 0 w 124"/>
                <a:gd name="T27" fmla="*/ 65 h 69"/>
                <a:gd name="T28" fmla="*/ 4 w 124"/>
                <a:gd name="T29" fmla="*/ 66 h 69"/>
                <a:gd name="T30" fmla="*/ 20 w 124"/>
                <a:gd name="T31" fmla="*/ 67 h 69"/>
                <a:gd name="T32" fmla="*/ 53 w 124"/>
                <a:gd name="T33" fmla="*/ 64 h 69"/>
                <a:gd name="T34" fmla="*/ 86 w 124"/>
                <a:gd name="T35" fmla="*/ 61 h 69"/>
                <a:gd name="T36" fmla="*/ 120 w 124"/>
                <a:gd name="T37" fmla="*/ 66 h 69"/>
                <a:gd name="T38" fmla="*/ 122 w 124"/>
                <a:gd name="T39" fmla="*/ 66 h 69"/>
                <a:gd name="T40" fmla="*/ 122 w 124"/>
                <a:gd name="T41" fmla="*/ 64 h 69"/>
                <a:gd name="T42" fmla="*/ 111 w 124"/>
                <a:gd name="T43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" h="69">
                  <a:moveTo>
                    <a:pt x="120" y="64"/>
                  </a:moveTo>
                  <a:cubicBezTo>
                    <a:pt x="120" y="64"/>
                    <a:pt x="110" y="62"/>
                    <a:pt x="87" y="59"/>
                  </a:cubicBezTo>
                  <a:cubicBezTo>
                    <a:pt x="63" y="57"/>
                    <a:pt x="36" y="69"/>
                    <a:pt x="4" y="6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41" y="2"/>
                    <a:pt x="76" y="5"/>
                  </a:cubicBezTo>
                  <a:cubicBezTo>
                    <a:pt x="112" y="8"/>
                    <a:pt x="124" y="43"/>
                    <a:pt x="120" y="64"/>
                  </a:cubicBezTo>
                  <a:moveTo>
                    <a:pt x="111" y="22"/>
                  </a:moveTo>
                  <a:cubicBezTo>
                    <a:pt x="102" y="11"/>
                    <a:pt x="91" y="5"/>
                    <a:pt x="77" y="3"/>
                  </a:cubicBezTo>
                  <a:cubicBezTo>
                    <a:pt x="44" y="0"/>
                    <a:pt x="31" y="16"/>
                    <a:pt x="28" y="19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9" y="67"/>
                    <a:pt x="15" y="67"/>
                    <a:pt x="20" y="67"/>
                  </a:cubicBezTo>
                  <a:cubicBezTo>
                    <a:pt x="32" y="67"/>
                    <a:pt x="43" y="65"/>
                    <a:pt x="53" y="64"/>
                  </a:cubicBezTo>
                  <a:cubicBezTo>
                    <a:pt x="65" y="62"/>
                    <a:pt x="76" y="60"/>
                    <a:pt x="86" y="61"/>
                  </a:cubicBezTo>
                  <a:cubicBezTo>
                    <a:pt x="110" y="63"/>
                    <a:pt x="120" y="66"/>
                    <a:pt x="120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4" y="50"/>
                    <a:pt x="120" y="33"/>
                    <a:pt x="111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24">
              <a:extLst>
                <a:ext uri="{FF2B5EF4-FFF2-40B4-BE49-F238E27FC236}">
                  <a16:creationId xmlns:a16="http://schemas.microsoft.com/office/drawing/2014/main" id="{41E0443E-CF86-4170-8E47-F2B64324CF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" y="1849"/>
              <a:ext cx="307" cy="171"/>
            </a:xfrm>
            <a:custGeom>
              <a:avLst/>
              <a:gdLst>
                <a:gd name="T0" fmla="*/ 104 w 120"/>
                <a:gd name="T1" fmla="*/ 22 h 67"/>
                <a:gd name="T2" fmla="*/ 115 w 120"/>
                <a:gd name="T3" fmla="*/ 60 h 67"/>
                <a:gd name="T4" fmla="*/ 83 w 120"/>
                <a:gd name="T5" fmla="*/ 56 h 67"/>
                <a:gd name="T6" fmla="*/ 49 w 120"/>
                <a:gd name="T7" fmla="*/ 58 h 67"/>
                <a:gd name="T8" fmla="*/ 4 w 120"/>
                <a:gd name="T9" fmla="*/ 61 h 67"/>
                <a:gd name="T10" fmla="*/ 18 w 120"/>
                <a:gd name="T11" fmla="*/ 49 h 67"/>
                <a:gd name="T12" fmla="*/ 19 w 120"/>
                <a:gd name="T13" fmla="*/ 22 h 67"/>
                <a:gd name="T14" fmla="*/ 27 w 120"/>
                <a:gd name="T15" fmla="*/ 20 h 67"/>
                <a:gd name="T16" fmla="*/ 27 w 120"/>
                <a:gd name="T17" fmla="*/ 19 h 67"/>
                <a:gd name="T18" fmla="*/ 72 w 120"/>
                <a:gd name="T19" fmla="*/ 5 h 67"/>
                <a:gd name="T20" fmla="*/ 104 w 120"/>
                <a:gd name="T21" fmla="*/ 22 h 67"/>
                <a:gd name="T22" fmla="*/ 72 w 120"/>
                <a:gd name="T23" fmla="*/ 3 h 67"/>
                <a:gd name="T24" fmla="*/ 25 w 120"/>
                <a:gd name="T25" fmla="*/ 18 h 67"/>
                <a:gd name="T26" fmla="*/ 18 w 120"/>
                <a:gd name="T27" fmla="*/ 20 h 67"/>
                <a:gd name="T28" fmla="*/ 16 w 120"/>
                <a:gd name="T29" fmla="*/ 48 h 67"/>
                <a:gd name="T30" fmla="*/ 0 w 120"/>
                <a:gd name="T31" fmla="*/ 62 h 67"/>
                <a:gd name="T32" fmla="*/ 83 w 120"/>
                <a:gd name="T33" fmla="*/ 57 h 67"/>
                <a:gd name="T34" fmla="*/ 116 w 120"/>
                <a:gd name="T35" fmla="*/ 62 h 67"/>
                <a:gd name="T36" fmla="*/ 72 w 120"/>
                <a:gd name="T37" fmla="*/ 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67">
                  <a:moveTo>
                    <a:pt x="104" y="22"/>
                  </a:moveTo>
                  <a:cubicBezTo>
                    <a:pt x="114" y="34"/>
                    <a:pt x="116" y="50"/>
                    <a:pt x="115" y="60"/>
                  </a:cubicBezTo>
                  <a:cubicBezTo>
                    <a:pt x="111" y="59"/>
                    <a:pt x="101" y="57"/>
                    <a:pt x="83" y="56"/>
                  </a:cubicBezTo>
                  <a:cubicBezTo>
                    <a:pt x="72" y="55"/>
                    <a:pt x="61" y="56"/>
                    <a:pt x="49" y="58"/>
                  </a:cubicBezTo>
                  <a:cubicBezTo>
                    <a:pt x="35" y="60"/>
                    <a:pt x="20" y="63"/>
                    <a:pt x="4" y="61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39" y="2"/>
                    <a:pt x="72" y="5"/>
                  </a:cubicBezTo>
                  <a:cubicBezTo>
                    <a:pt x="85" y="6"/>
                    <a:pt x="96" y="12"/>
                    <a:pt x="104" y="22"/>
                  </a:cubicBezTo>
                  <a:moveTo>
                    <a:pt x="72" y="3"/>
                  </a:moveTo>
                  <a:cubicBezTo>
                    <a:pt x="37" y="0"/>
                    <a:pt x="25" y="18"/>
                    <a:pt x="25" y="18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2" y="67"/>
                    <a:pt x="59" y="55"/>
                    <a:pt x="83" y="57"/>
                  </a:cubicBezTo>
                  <a:cubicBezTo>
                    <a:pt x="106" y="60"/>
                    <a:pt x="116" y="62"/>
                    <a:pt x="116" y="62"/>
                  </a:cubicBezTo>
                  <a:cubicBezTo>
                    <a:pt x="120" y="41"/>
                    <a:pt x="108" y="6"/>
                    <a:pt x="7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5">
              <a:extLst>
                <a:ext uri="{FF2B5EF4-FFF2-40B4-BE49-F238E27FC236}">
                  <a16:creationId xmlns:a16="http://schemas.microsoft.com/office/drawing/2014/main" id="{BC13DFB6-D307-4FDF-B9BA-25301AA18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" y="1895"/>
              <a:ext cx="2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26">
              <a:extLst>
                <a:ext uri="{FF2B5EF4-FFF2-40B4-BE49-F238E27FC236}">
                  <a16:creationId xmlns:a16="http://schemas.microsoft.com/office/drawing/2014/main" id="{9049F89D-5EC7-4696-9167-28A616139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" y="1895"/>
              <a:ext cx="7" cy="67"/>
            </a:xfrm>
            <a:custGeom>
              <a:avLst/>
              <a:gdLst>
                <a:gd name="T0" fmla="*/ 2 w 7"/>
                <a:gd name="T1" fmla="*/ 0 h 67"/>
                <a:gd name="T2" fmla="*/ 0 w 7"/>
                <a:gd name="T3" fmla="*/ 3 h 67"/>
                <a:gd name="T4" fmla="*/ 0 w 7"/>
                <a:gd name="T5" fmla="*/ 67 h 67"/>
                <a:gd name="T6" fmla="*/ 7 w 7"/>
                <a:gd name="T7" fmla="*/ 67 h 67"/>
                <a:gd name="T8" fmla="*/ 7 w 7"/>
                <a:gd name="T9" fmla="*/ 0 h 67"/>
                <a:gd name="T10" fmla="*/ 2 w 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7">
                  <a:moveTo>
                    <a:pt x="2" y="0"/>
                  </a:moveTo>
                  <a:lnTo>
                    <a:pt x="0" y="3"/>
                  </a:lnTo>
                  <a:lnTo>
                    <a:pt x="0" y="67"/>
                  </a:lnTo>
                  <a:lnTo>
                    <a:pt x="7" y="67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7">
              <a:extLst>
                <a:ext uri="{FF2B5EF4-FFF2-40B4-BE49-F238E27FC236}">
                  <a16:creationId xmlns:a16="http://schemas.microsoft.com/office/drawing/2014/main" id="{9A866D23-F282-444D-AEFC-3DD21F409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2005"/>
              <a:ext cx="130" cy="28"/>
            </a:xfrm>
            <a:custGeom>
              <a:avLst/>
              <a:gdLst>
                <a:gd name="T0" fmla="*/ 6 w 51"/>
                <a:gd name="T1" fmla="*/ 8 h 11"/>
                <a:gd name="T2" fmla="*/ 3 w 51"/>
                <a:gd name="T3" fmla="*/ 6 h 11"/>
                <a:gd name="T4" fmla="*/ 6 w 51"/>
                <a:gd name="T5" fmla="*/ 3 h 11"/>
                <a:gd name="T6" fmla="*/ 9 w 51"/>
                <a:gd name="T7" fmla="*/ 6 h 11"/>
                <a:gd name="T8" fmla="*/ 6 w 51"/>
                <a:gd name="T9" fmla="*/ 8 h 11"/>
                <a:gd name="T10" fmla="*/ 50 w 51"/>
                <a:gd name="T11" fmla="*/ 0 h 11"/>
                <a:gd name="T12" fmla="*/ 49 w 51"/>
                <a:gd name="T13" fmla="*/ 1 h 11"/>
                <a:gd name="T14" fmla="*/ 44 w 51"/>
                <a:gd name="T15" fmla="*/ 0 h 11"/>
                <a:gd name="T16" fmla="*/ 0 w 51"/>
                <a:gd name="T17" fmla="*/ 0 h 11"/>
                <a:gd name="T18" fmla="*/ 0 w 51"/>
                <a:gd name="T19" fmla="*/ 11 h 11"/>
                <a:gd name="T20" fmla="*/ 51 w 51"/>
                <a:gd name="T21" fmla="*/ 11 h 11"/>
                <a:gd name="T22" fmla="*/ 51 w 51"/>
                <a:gd name="T23" fmla="*/ 0 h 11"/>
                <a:gd name="T24" fmla="*/ 50 w 51"/>
                <a:gd name="T2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1">
                  <a:moveTo>
                    <a:pt x="6" y="8"/>
                  </a:moveTo>
                  <a:cubicBezTo>
                    <a:pt x="5" y="8"/>
                    <a:pt x="3" y="7"/>
                    <a:pt x="3" y="6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8" y="3"/>
                    <a:pt x="9" y="4"/>
                    <a:pt x="9" y="6"/>
                  </a:cubicBezTo>
                  <a:cubicBezTo>
                    <a:pt x="9" y="7"/>
                    <a:pt x="8" y="8"/>
                    <a:pt x="6" y="8"/>
                  </a:cubicBezTo>
                  <a:moveTo>
                    <a:pt x="50" y="0"/>
                  </a:moveTo>
                  <a:cubicBezTo>
                    <a:pt x="50" y="0"/>
                    <a:pt x="49" y="1"/>
                    <a:pt x="49" y="1"/>
                  </a:cubicBezTo>
                  <a:cubicBezTo>
                    <a:pt x="49" y="1"/>
                    <a:pt x="48" y="1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8">
              <a:extLst>
                <a:ext uri="{FF2B5EF4-FFF2-40B4-BE49-F238E27FC236}">
                  <a16:creationId xmlns:a16="http://schemas.microsoft.com/office/drawing/2014/main" id="{23AC1C44-3120-4706-9957-B0EEC1B14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" y="2005"/>
              <a:ext cx="16" cy="3"/>
            </a:xfrm>
            <a:custGeom>
              <a:avLst/>
              <a:gdLst>
                <a:gd name="T0" fmla="*/ 6 w 6"/>
                <a:gd name="T1" fmla="*/ 0 h 1"/>
                <a:gd name="T2" fmla="*/ 0 w 6"/>
                <a:gd name="T3" fmla="*/ 0 h 1"/>
                <a:gd name="T4" fmla="*/ 5 w 6"/>
                <a:gd name="T5" fmla="*/ 1 h 1"/>
                <a:gd name="T6" fmla="*/ 6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9">
              <a:extLst>
                <a:ext uri="{FF2B5EF4-FFF2-40B4-BE49-F238E27FC236}">
                  <a16:creationId xmlns:a16="http://schemas.microsoft.com/office/drawing/2014/main" id="{FE1690D0-58D9-4898-B894-C56B8C5FE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" y="1995"/>
              <a:ext cx="10" cy="20"/>
            </a:xfrm>
            <a:custGeom>
              <a:avLst/>
              <a:gdLst>
                <a:gd name="T0" fmla="*/ 0 w 4"/>
                <a:gd name="T1" fmla="*/ 8 h 8"/>
                <a:gd name="T2" fmla="*/ 2 w 4"/>
                <a:gd name="T3" fmla="*/ 7 h 8"/>
                <a:gd name="T4" fmla="*/ 4 w 4"/>
                <a:gd name="T5" fmla="*/ 8 h 8"/>
                <a:gd name="T6" fmla="*/ 4 w 4"/>
                <a:gd name="T7" fmla="*/ 0 h 8"/>
                <a:gd name="T8" fmla="*/ 0 w 4"/>
                <a:gd name="T9" fmla="*/ 0 h 8"/>
                <a:gd name="T10" fmla="*/ 0 w 4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0" y="8"/>
                  </a:moveTo>
                  <a:cubicBezTo>
                    <a:pt x="1" y="7"/>
                    <a:pt x="1" y="7"/>
                    <a:pt x="2" y="7"/>
                  </a:cubicBezTo>
                  <a:cubicBezTo>
                    <a:pt x="3" y="7"/>
                    <a:pt x="3" y="7"/>
                    <a:pt x="4" y="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30">
              <a:extLst>
                <a:ext uri="{FF2B5EF4-FFF2-40B4-BE49-F238E27FC236}">
                  <a16:creationId xmlns:a16="http://schemas.microsoft.com/office/drawing/2014/main" id="{A47B7708-B65E-4B30-92C2-27496A465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2010"/>
              <a:ext cx="164" cy="182"/>
            </a:xfrm>
            <a:custGeom>
              <a:avLst/>
              <a:gdLst>
                <a:gd name="T0" fmla="*/ 0 w 64"/>
                <a:gd name="T1" fmla="*/ 71 h 71"/>
                <a:gd name="T2" fmla="*/ 2 w 64"/>
                <a:gd name="T3" fmla="*/ 71 h 71"/>
                <a:gd name="T4" fmla="*/ 11 w 64"/>
                <a:gd name="T5" fmla="*/ 71 h 71"/>
                <a:gd name="T6" fmla="*/ 64 w 64"/>
                <a:gd name="T7" fmla="*/ 52 h 71"/>
                <a:gd name="T8" fmla="*/ 64 w 64"/>
                <a:gd name="T9" fmla="*/ 52 h 71"/>
                <a:gd name="T10" fmla="*/ 64 w 64"/>
                <a:gd name="T11" fmla="*/ 6 h 71"/>
                <a:gd name="T12" fmla="*/ 62 w 64"/>
                <a:gd name="T13" fmla="*/ 6 h 71"/>
                <a:gd name="T14" fmla="*/ 60 w 64"/>
                <a:gd name="T15" fmla="*/ 6 h 71"/>
                <a:gd name="T16" fmla="*/ 60 w 64"/>
                <a:gd name="T17" fmla="*/ 51 h 71"/>
                <a:gd name="T18" fmla="*/ 4 w 64"/>
                <a:gd name="T19" fmla="*/ 68 h 71"/>
                <a:gd name="T20" fmla="*/ 4 w 64"/>
                <a:gd name="T21" fmla="*/ 0 h 71"/>
                <a:gd name="T22" fmla="*/ 0 w 64"/>
                <a:gd name="T23" fmla="*/ 0 h 71"/>
                <a:gd name="T24" fmla="*/ 0 w 64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71">
                  <a:moveTo>
                    <a:pt x="0" y="71"/>
                  </a:moveTo>
                  <a:cubicBezTo>
                    <a:pt x="2" y="71"/>
                    <a:pt x="2" y="71"/>
                    <a:pt x="2" y="71"/>
                  </a:cubicBezTo>
                  <a:cubicBezTo>
                    <a:pt x="2" y="71"/>
                    <a:pt x="6" y="71"/>
                    <a:pt x="11" y="71"/>
                  </a:cubicBezTo>
                  <a:cubicBezTo>
                    <a:pt x="25" y="71"/>
                    <a:pt x="52" y="69"/>
                    <a:pt x="6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3" y="6"/>
                    <a:pt x="63" y="6"/>
                    <a:pt x="62" y="6"/>
                  </a:cubicBezTo>
                  <a:cubicBezTo>
                    <a:pt x="61" y="6"/>
                    <a:pt x="61" y="6"/>
                    <a:pt x="60" y="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7" y="69"/>
                    <a:pt x="12" y="68"/>
                    <a:pt x="4" y="6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31">
              <a:extLst>
                <a:ext uri="{FF2B5EF4-FFF2-40B4-BE49-F238E27FC236}">
                  <a16:creationId xmlns:a16="http://schemas.microsoft.com/office/drawing/2014/main" id="{8C89C9F9-FD5E-4CE8-9E7D-090A89AD7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2008"/>
              <a:ext cx="11" cy="2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4" name="Group 234">
            <a:extLst>
              <a:ext uri="{FF2B5EF4-FFF2-40B4-BE49-F238E27FC236}">
                <a16:creationId xmlns:a16="http://schemas.microsoft.com/office/drawing/2014/main" id="{B7986B89-B881-471E-887B-6FAD8F317C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3988" y="2838450"/>
            <a:ext cx="758825" cy="758825"/>
            <a:chOff x="897" y="1788"/>
            <a:chExt cx="478" cy="478"/>
          </a:xfrm>
        </p:grpSpPr>
        <p:sp>
          <p:nvSpPr>
            <p:cNvPr id="265" name="AutoShape 233">
              <a:extLst>
                <a:ext uri="{FF2B5EF4-FFF2-40B4-BE49-F238E27FC236}">
                  <a16:creationId xmlns:a16="http://schemas.microsoft.com/office/drawing/2014/main" id="{1EC18CE3-44ED-438F-BDA3-F683EED202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7" y="17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35">
              <a:extLst>
                <a:ext uri="{FF2B5EF4-FFF2-40B4-BE49-F238E27FC236}">
                  <a16:creationId xmlns:a16="http://schemas.microsoft.com/office/drawing/2014/main" id="{8A4FA32E-507F-4486-9D20-DE0E449D39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" y="179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36">
              <a:extLst>
                <a:ext uri="{FF2B5EF4-FFF2-40B4-BE49-F238E27FC236}">
                  <a16:creationId xmlns:a16="http://schemas.microsoft.com/office/drawing/2014/main" id="{E036F90E-289E-4CE8-B3D4-5E9FFD615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006"/>
              <a:ext cx="233" cy="194"/>
            </a:xfrm>
            <a:custGeom>
              <a:avLst/>
              <a:gdLst>
                <a:gd name="T0" fmla="*/ 75 w 95"/>
                <a:gd name="T1" fmla="*/ 48 h 79"/>
                <a:gd name="T2" fmla="*/ 76 w 95"/>
                <a:gd name="T3" fmla="*/ 58 h 79"/>
                <a:gd name="T4" fmla="*/ 83 w 95"/>
                <a:gd name="T5" fmla="*/ 65 h 79"/>
                <a:gd name="T6" fmla="*/ 40 w 95"/>
                <a:gd name="T7" fmla="*/ 75 h 79"/>
                <a:gd name="T8" fmla="*/ 36 w 95"/>
                <a:gd name="T9" fmla="*/ 62 h 79"/>
                <a:gd name="T10" fmla="*/ 32 w 95"/>
                <a:gd name="T11" fmla="*/ 60 h 79"/>
                <a:gd name="T12" fmla="*/ 32 w 95"/>
                <a:gd name="T13" fmla="*/ 60 h 79"/>
                <a:gd name="T14" fmla="*/ 16 w 95"/>
                <a:gd name="T15" fmla="*/ 54 h 79"/>
                <a:gd name="T16" fmla="*/ 15 w 95"/>
                <a:gd name="T17" fmla="*/ 48 h 79"/>
                <a:gd name="T18" fmla="*/ 15 w 95"/>
                <a:gd name="T19" fmla="*/ 46 h 79"/>
                <a:gd name="T20" fmla="*/ 13 w 95"/>
                <a:gd name="T21" fmla="*/ 44 h 79"/>
                <a:gd name="T22" fmla="*/ 12 w 95"/>
                <a:gd name="T23" fmla="*/ 44 h 79"/>
                <a:gd name="T24" fmla="*/ 12 w 95"/>
                <a:gd name="T25" fmla="*/ 41 h 79"/>
                <a:gd name="T26" fmla="*/ 14 w 95"/>
                <a:gd name="T27" fmla="*/ 40 h 79"/>
                <a:gd name="T28" fmla="*/ 12 w 95"/>
                <a:gd name="T29" fmla="*/ 39 h 79"/>
                <a:gd name="T30" fmla="*/ 10 w 95"/>
                <a:gd name="T31" fmla="*/ 38 h 79"/>
                <a:gd name="T32" fmla="*/ 11 w 95"/>
                <a:gd name="T33" fmla="*/ 37 h 79"/>
                <a:gd name="T34" fmla="*/ 12 w 95"/>
                <a:gd name="T35" fmla="*/ 33 h 79"/>
                <a:gd name="T36" fmla="*/ 9 w 95"/>
                <a:gd name="T37" fmla="*/ 29 h 79"/>
                <a:gd name="T38" fmla="*/ 7 w 95"/>
                <a:gd name="T39" fmla="*/ 29 h 79"/>
                <a:gd name="T40" fmla="*/ 3 w 95"/>
                <a:gd name="T41" fmla="*/ 27 h 79"/>
                <a:gd name="T42" fmla="*/ 3 w 95"/>
                <a:gd name="T43" fmla="*/ 26 h 79"/>
                <a:gd name="T44" fmla="*/ 4 w 95"/>
                <a:gd name="T45" fmla="*/ 25 h 79"/>
                <a:gd name="T46" fmla="*/ 13 w 95"/>
                <a:gd name="T47" fmla="*/ 9 h 79"/>
                <a:gd name="T48" fmla="*/ 13 w 95"/>
                <a:gd name="T49" fmla="*/ 4 h 79"/>
                <a:gd name="T50" fmla="*/ 12 w 95"/>
                <a:gd name="T51" fmla="*/ 1 h 79"/>
                <a:gd name="T52" fmla="*/ 9 w 95"/>
                <a:gd name="T53" fmla="*/ 2 h 79"/>
                <a:gd name="T54" fmla="*/ 10 w 95"/>
                <a:gd name="T55" fmla="*/ 5 h 79"/>
                <a:gd name="T56" fmla="*/ 10 w 95"/>
                <a:gd name="T57" fmla="*/ 8 h 79"/>
                <a:gd name="T58" fmla="*/ 1 w 95"/>
                <a:gd name="T59" fmla="*/ 23 h 79"/>
                <a:gd name="T60" fmla="*/ 1 w 95"/>
                <a:gd name="T61" fmla="*/ 24 h 79"/>
                <a:gd name="T62" fmla="*/ 0 w 95"/>
                <a:gd name="T63" fmla="*/ 28 h 79"/>
                <a:gd name="T64" fmla="*/ 6 w 95"/>
                <a:gd name="T65" fmla="*/ 32 h 79"/>
                <a:gd name="T66" fmla="*/ 7 w 95"/>
                <a:gd name="T67" fmla="*/ 32 h 79"/>
                <a:gd name="T68" fmla="*/ 9 w 95"/>
                <a:gd name="T69" fmla="*/ 34 h 79"/>
                <a:gd name="T70" fmla="*/ 9 w 95"/>
                <a:gd name="T71" fmla="*/ 34 h 79"/>
                <a:gd name="T72" fmla="*/ 7 w 95"/>
                <a:gd name="T73" fmla="*/ 38 h 79"/>
                <a:gd name="T74" fmla="*/ 9 w 95"/>
                <a:gd name="T75" fmla="*/ 41 h 79"/>
                <a:gd name="T76" fmla="*/ 8 w 95"/>
                <a:gd name="T77" fmla="*/ 44 h 79"/>
                <a:gd name="T78" fmla="*/ 12 w 95"/>
                <a:gd name="T79" fmla="*/ 48 h 79"/>
                <a:gd name="T80" fmla="*/ 12 w 95"/>
                <a:gd name="T81" fmla="*/ 48 h 79"/>
                <a:gd name="T82" fmla="*/ 12 w 95"/>
                <a:gd name="T83" fmla="*/ 55 h 79"/>
                <a:gd name="T84" fmla="*/ 32 w 95"/>
                <a:gd name="T85" fmla="*/ 63 h 79"/>
                <a:gd name="T86" fmla="*/ 34 w 95"/>
                <a:gd name="T87" fmla="*/ 64 h 79"/>
                <a:gd name="T88" fmla="*/ 36 w 95"/>
                <a:gd name="T89" fmla="*/ 77 h 79"/>
                <a:gd name="T90" fmla="*/ 36 w 95"/>
                <a:gd name="T91" fmla="*/ 79 h 79"/>
                <a:gd name="T92" fmla="*/ 90 w 95"/>
                <a:gd name="T93" fmla="*/ 67 h 79"/>
                <a:gd name="T94" fmla="*/ 79 w 95"/>
                <a:gd name="T95" fmla="*/ 56 h 79"/>
                <a:gd name="T96" fmla="*/ 78 w 95"/>
                <a:gd name="T97" fmla="*/ 49 h 79"/>
                <a:gd name="T98" fmla="*/ 95 w 95"/>
                <a:gd name="T99" fmla="*/ 0 h 79"/>
                <a:gd name="T100" fmla="*/ 92 w 95"/>
                <a:gd name="T101" fmla="*/ 0 h 79"/>
                <a:gd name="T102" fmla="*/ 75 w 95"/>
                <a:gd name="T103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79">
                  <a:moveTo>
                    <a:pt x="75" y="48"/>
                  </a:moveTo>
                  <a:cubicBezTo>
                    <a:pt x="72" y="53"/>
                    <a:pt x="75" y="57"/>
                    <a:pt x="76" y="58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71"/>
                    <a:pt x="40" y="65"/>
                    <a:pt x="36" y="62"/>
                  </a:cubicBezTo>
                  <a:cubicBezTo>
                    <a:pt x="35" y="60"/>
                    <a:pt x="34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28" y="60"/>
                    <a:pt x="18" y="59"/>
                    <a:pt x="16" y="54"/>
                  </a:cubicBezTo>
                  <a:cubicBezTo>
                    <a:pt x="14" y="51"/>
                    <a:pt x="15" y="49"/>
                    <a:pt x="15" y="48"/>
                  </a:cubicBezTo>
                  <a:cubicBezTo>
                    <a:pt x="15" y="48"/>
                    <a:pt x="16" y="47"/>
                    <a:pt x="15" y="46"/>
                  </a:cubicBezTo>
                  <a:cubicBezTo>
                    <a:pt x="15" y="45"/>
                    <a:pt x="14" y="45"/>
                    <a:pt x="13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0" y="38"/>
                    <a:pt x="10" y="37"/>
                    <a:pt x="11" y="37"/>
                  </a:cubicBezTo>
                  <a:cubicBezTo>
                    <a:pt x="12" y="36"/>
                    <a:pt x="13" y="34"/>
                    <a:pt x="12" y="33"/>
                  </a:cubicBezTo>
                  <a:cubicBezTo>
                    <a:pt x="12" y="32"/>
                    <a:pt x="11" y="30"/>
                    <a:pt x="9" y="29"/>
                  </a:cubicBezTo>
                  <a:cubicBezTo>
                    <a:pt x="8" y="29"/>
                    <a:pt x="8" y="29"/>
                    <a:pt x="7" y="29"/>
                  </a:cubicBezTo>
                  <a:cubicBezTo>
                    <a:pt x="6" y="28"/>
                    <a:pt x="3" y="28"/>
                    <a:pt x="3" y="27"/>
                  </a:cubicBezTo>
                  <a:cubicBezTo>
                    <a:pt x="3" y="27"/>
                    <a:pt x="3" y="26"/>
                    <a:pt x="3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0"/>
                    <a:pt x="12" y="12"/>
                    <a:pt x="13" y="9"/>
                  </a:cubicBezTo>
                  <a:cubicBezTo>
                    <a:pt x="14" y="7"/>
                    <a:pt x="13" y="5"/>
                    <a:pt x="13" y="4"/>
                  </a:cubicBezTo>
                  <a:cubicBezTo>
                    <a:pt x="13" y="3"/>
                    <a:pt x="12" y="2"/>
                    <a:pt x="12" y="1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3"/>
                    <a:pt x="9" y="4"/>
                    <a:pt x="10" y="5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9" y="10"/>
                    <a:pt x="4" y="19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30"/>
                    <a:pt x="4" y="31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9" y="33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8" y="35"/>
                    <a:pt x="7" y="36"/>
                    <a:pt x="7" y="38"/>
                  </a:cubicBezTo>
                  <a:cubicBezTo>
                    <a:pt x="7" y="39"/>
                    <a:pt x="8" y="40"/>
                    <a:pt x="9" y="41"/>
                  </a:cubicBezTo>
                  <a:cubicBezTo>
                    <a:pt x="8" y="42"/>
                    <a:pt x="8" y="43"/>
                    <a:pt x="8" y="44"/>
                  </a:cubicBezTo>
                  <a:cubicBezTo>
                    <a:pt x="9" y="45"/>
                    <a:pt x="9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9"/>
                    <a:pt x="11" y="51"/>
                    <a:pt x="12" y="55"/>
                  </a:cubicBezTo>
                  <a:cubicBezTo>
                    <a:pt x="16" y="64"/>
                    <a:pt x="31" y="63"/>
                    <a:pt x="32" y="63"/>
                  </a:cubicBezTo>
                  <a:cubicBezTo>
                    <a:pt x="33" y="63"/>
                    <a:pt x="33" y="63"/>
                    <a:pt x="34" y="64"/>
                  </a:cubicBezTo>
                  <a:cubicBezTo>
                    <a:pt x="36" y="66"/>
                    <a:pt x="37" y="73"/>
                    <a:pt x="36" y="77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8" y="56"/>
                    <a:pt x="76" y="53"/>
                    <a:pt x="78" y="49"/>
                  </a:cubicBezTo>
                  <a:cubicBezTo>
                    <a:pt x="90" y="31"/>
                    <a:pt x="95" y="14"/>
                    <a:pt x="95" y="0"/>
                  </a:cubicBezTo>
                  <a:cubicBezTo>
                    <a:pt x="94" y="0"/>
                    <a:pt x="93" y="0"/>
                    <a:pt x="92" y="0"/>
                  </a:cubicBezTo>
                  <a:cubicBezTo>
                    <a:pt x="92" y="16"/>
                    <a:pt x="84" y="34"/>
                    <a:pt x="75" y="4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37">
              <a:extLst>
                <a:ext uri="{FF2B5EF4-FFF2-40B4-BE49-F238E27FC236}">
                  <a16:creationId xmlns:a16="http://schemas.microsoft.com/office/drawing/2014/main" id="{48B26A78-C61B-4039-8B3F-3B2E54C55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" y="2023"/>
              <a:ext cx="81" cy="125"/>
            </a:xfrm>
            <a:custGeom>
              <a:avLst/>
              <a:gdLst>
                <a:gd name="T0" fmla="*/ 12 w 33"/>
                <a:gd name="T1" fmla="*/ 25 h 51"/>
                <a:gd name="T2" fmla="*/ 22 w 33"/>
                <a:gd name="T3" fmla="*/ 16 h 51"/>
                <a:gd name="T4" fmla="*/ 23 w 33"/>
                <a:gd name="T5" fmla="*/ 5 h 51"/>
                <a:gd name="T6" fmla="*/ 16 w 33"/>
                <a:gd name="T7" fmla="*/ 0 h 51"/>
                <a:gd name="T8" fmla="*/ 12 w 33"/>
                <a:gd name="T9" fmla="*/ 0 h 51"/>
                <a:gd name="T10" fmla="*/ 10 w 33"/>
                <a:gd name="T11" fmla="*/ 1 h 51"/>
                <a:gd name="T12" fmla="*/ 10 w 33"/>
                <a:gd name="T13" fmla="*/ 1 h 51"/>
                <a:gd name="T14" fmla="*/ 5 w 33"/>
                <a:gd name="T15" fmla="*/ 5 h 51"/>
                <a:gd name="T16" fmla="*/ 0 w 33"/>
                <a:gd name="T17" fmla="*/ 14 h 51"/>
                <a:gd name="T18" fmla="*/ 3 w 33"/>
                <a:gd name="T19" fmla="*/ 16 h 51"/>
                <a:gd name="T20" fmla="*/ 8 w 33"/>
                <a:gd name="T21" fmla="*/ 7 h 51"/>
                <a:gd name="T22" fmla="*/ 15 w 33"/>
                <a:gd name="T23" fmla="*/ 3 h 51"/>
                <a:gd name="T24" fmla="*/ 20 w 33"/>
                <a:gd name="T25" fmla="*/ 6 h 51"/>
                <a:gd name="T26" fmla="*/ 19 w 33"/>
                <a:gd name="T27" fmla="*/ 14 h 51"/>
                <a:gd name="T28" fmla="*/ 9 w 33"/>
                <a:gd name="T29" fmla="*/ 22 h 51"/>
                <a:gd name="T30" fmla="*/ 5 w 33"/>
                <a:gd name="T31" fmla="*/ 22 h 51"/>
                <a:gd name="T32" fmla="*/ 30 w 33"/>
                <a:gd name="T33" fmla="*/ 51 h 51"/>
                <a:gd name="T34" fmla="*/ 33 w 33"/>
                <a:gd name="T35" fmla="*/ 49 h 51"/>
                <a:gd name="T36" fmla="*/ 12 w 33"/>
                <a:gd name="T37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" h="51">
                  <a:moveTo>
                    <a:pt x="12" y="25"/>
                  </a:moveTo>
                  <a:cubicBezTo>
                    <a:pt x="15" y="24"/>
                    <a:pt x="19" y="22"/>
                    <a:pt x="22" y="16"/>
                  </a:cubicBezTo>
                  <a:cubicBezTo>
                    <a:pt x="25" y="11"/>
                    <a:pt x="24" y="7"/>
                    <a:pt x="23" y="5"/>
                  </a:cubicBezTo>
                  <a:cubicBezTo>
                    <a:pt x="21" y="2"/>
                    <a:pt x="19" y="0"/>
                    <a:pt x="16" y="0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3"/>
                    <a:pt x="6" y="5"/>
                    <a:pt x="5" y="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13" y="3"/>
                    <a:pt x="15" y="3"/>
                  </a:cubicBezTo>
                  <a:cubicBezTo>
                    <a:pt x="16" y="3"/>
                    <a:pt x="18" y="4"/>
                    <a:pt x="20" y="6"/>
                  </a:cubicBezTo>
                  <a:cubicBezTo>
                    <a:pt x="21" y="8"/>
                    <a:pt x="20" y="11"/>
                    <a:pt x="19" y="14"/>
                  </a:cubicBezTo>
                  <a:cubicBezTo>
                    <a:pt x="15" y="22"/>
                    <a:pt x="9" y="22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3" y="49"/>
                    <a:pt x="33" y="49"/>
                    <a:pt x="33" y="49"/>
                  </a:cubicBezTo>
                  <a:lnTo>
                    <a:pt x="12" y="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8">
              <a:extLst>
                <a:ext uri="{FF2B5EF4-FFF2-40B4-BE49-F238E27FC236}">
                  <a16:creationId xmlns:a16="http://schemas.microsoft.com/office/drawing/2014/main" id="{99E6984D-8DA1-4947-9727-98D246CD4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3" y="1852"/>
              <a:ext cx="304" cy="169"/>
            </a:xfrm>
            <a:custGeom>
              <a:avLst/>
              <a:gdLst>
                <a:gd name="T0" fmla="*/ 120 w 124"/>
                <a:gd name="T1" fmla="*/ 64 h 69"/>
                <a:gd name="T2" fmla="*/ 87 w 124"/>
                <a:gd name="T3" fmla="*/ 59 h 69"/>
                <a:gd name="T4" fmla="*/ 4 w 124"/>
                <a:gd name="T5" fmla="*/ 64 h 69"/>
                <a:gd name="T6" fmla="*/ 20 w 124"/>
                <a:gd name="T7" fmla="*/ 50 h 69"/>
                <a:gd name="T8" fmla="*/ 22 w 124"/>
                <a:gd name="T9" fmla="*/ 22 h 69"/>
                <a:gd name="T10" fmla="*/ 29 w 124"/>
                <a:gd name="T11" fmla="*/ 20 h 69"/>
                <a:gd name="T12" fmla="*/ 76 w 124"/>
                <a:gd name="T13" fmla="*/ 5 h 69"/>
                <a:gd name="T14" fmla="*/ 120 w 124"/>
                <a:gd name="T15" fmla="*/ 64 h 69"/>
                <a:gd name="T16" fmla="*/ 111 w 124"/>
                <a:gd name="T17" fmla="*/ 22 h 69"/>
                <a:gd name="T18" fmla="*/ 77 w 124"/>
                <a:gd name="T19" fmla="*/ 3 h 69"/>
                <a:gd name="T20" fmla="*/ 28 w 124"/>
                <a:gd name="T21" fmla="*/ 19 h 69"/>
                <a:gd name="T22" fmla="*/ 20 w 124"/>
                <a:gd name="T23" fmla="*/ 21 h 69"/>
                <a:gd name="T24" fmla="*/ 18 w 124"/>
                <a:gd name="T25" fmla="*/ 49 h 69"/>
                <a:gd name="T26" fmla="*/ 0 w 124"/>
                <a:gd name="T27" fmla="*/ 65 h 69"/>
                <a:gd name="T28" fmla="*/ 4 w 124"/>
                <a:gd name="T29" fmla="*/ 66 h 69"/>
                <a:gd name="T30" fmla="*/ 20 w 124"/>
                <a:gd name="T31" fmla="*/ 67 h 69"/>
                <a:gd name="T32" fmla="*/ 53 w 124"/>
                <a:gd name="T33" fmla="*/ 64 h 69"/>
                <a:gd name="T34" fmla="*/ 86 w 124"/>
                <a:gd name="T35" fmla="*/ 61 h 69"/>
                <a:gd name="T36" fmla="*/ 120 w 124"/>
                <a:gd name="T37" fmla="*/ 66 h 69"/>
                <a:gd name="T38" fmla="*/ 122 w 124"/>
                <a:gd name="T39" fmla="*/ 66 h 69"/>
                <a:gd name="T40" fmla="*/ 122 w 124"/>
                <a:gd name="T41" fmla="*/ 64 h 69"/>
                <a:gd name="T42" fmla="*/ 111 w 124"/>
                <a:gd name="T43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" h="69">
                  <a:moveTo>
                    <a:pt x="120" y="64"/>
                  </a:moveTo>
                  <a:cubicBezTo>
                    <a:pt x="120" y="64"/>
                    <a:pt x="110" y="62"/>
                    <a:pt x="87" y="59"/>
                  </a:cubicBezTo>
                  <a:cubicBezTo>
                    <a:pt x="63" y="57"/>
                    <a:pt x="36" y="69"/>
                    <a:pt x="4" y="6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41" y="2"/>
                    <a:pt x="76" y="5"/>
                  </a:cubicBezTo>
                  <a:cubicBezTo>
                    <a:pt x="112" y="8"/>
                    <a:pt x="124" y="43"/>
                    <a:pt x="120" y="64"/>
                  </a:cubicBezTo>
                  <a:moveTo>
                    <a:pt x="111" y="22"/>
                  </a:moveTo>
                  <a:cubicBezTo>
                    <a:pt x="102" y="11"/>
                    <a:pt x="91" y="5"/>
                    <a:pt x="77" y="3"/>
                  </a:cubicBezTo>
                  <a:cubicBezTo>
                    <a:pt x="44" y="0"/>
                    <a:pt x="31" y="16"/>
                    <a:pt x="28" y="19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9" y="67"/>
                    <a:pt x="15" y="67"/>
                    <a:pt x="20" y="67"/>
                  </a:cubicBezTo>
                  <a:cubicBezTo>
                    <a:pt x="32" y="67"/>
                    <a:pt x="43" y="65"/>
                    <a:pt x="53" y="64"/>
                  </a:cubicBezTo>
                  <a:cubicBezTo>
                    <a:pt x="65" y="62"/>
                    <a:pt x="76" y="60"/>
                    <a:pt x="86" y="61"/>
                  </a:cubicBezTo>
                  <a:cubicBezTo>
                    <a:pt x="110" y="63"/>
                    <a:pt x="120" y="66"/>
                    <a:pt x="120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4" y="50"/>
                    <a:pt x="120" y="33"/>
                    <a:pt x="111" y="2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39">
              <a:extLst>
                <a:ext uri="{FF2B5EF4-FFF2-40B4-BE49-F238E27FC236}">
                  <a16:creationId xmlns:a16="http://schemas.microsoft.com/office/drawing/2014/main" id="{9BF14D88-48B4-42CB-A7D8-CEC2054630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" y="1857"/>
              <a:ext cx="294" cy="164"/>
            </a:xfrm>
            <a:custGeom>
              <a:avLst/>
              <a:gdLst>
                <a:gd name="T0" fmla="*/ 104 w 120"/>
                <a:gd name="T1" fmla="*/ 22 h 67"/>
                <a:gd name="T2" fmla="*/ 115 w 120"/>
                <a:gd name="T3" fmla="*/ 60 h 67"/>
                <a:gd name="T4" fmla="*/ 83 w 120"/>
                <a:gd name="T5" fmla="*/ 56 h 67"/>
                <a:gd name="T6" fmla="*/ 49 w 120"/>
                <a:gd name="T7" fmla="*/ 58 h 67"/>
                <a:gd name="T8" fmla="*/ 4 w 120"/>
                <a:gd name="T9" fmla="*/ 61 h 67"/>
                <a:gd name="T10" fmla="*/ 18 w 120"/>
                <a:gd name="T11" fmla="*/ 49 h 67"/>
                <a:gd name="T12" fmla="*/ 19 w 120"/>
                <a:gd name="T13" fmla="*/ 22 h 67"/>
                <a:gd name="T14" fmla="*/ 27 w 120"/>
                <a:gd name="T15" fmla="*/ 20 h 67"/>
                <a:gd name="T16" fmla="*/ 27 w 120"/>
                <a:gd name="T17" fmla="*/ 19 h 67"/>
                <a:gd name="T18" fmla="*/ 72 w 120"/>
                <a:gd name="T19" fmla="*/ 5 h 67"/>
                <a:gd name="T20" fmla="*/ 104 w 120"/>
                <a:gd name="T21" fmla="*/ 22 h 67"/>
                <a:gd name="T22" fmla="*/ 72 w 120"/>
                <a:gd name="T23" fmla="*/ 3 h 67"/>
                <a:gd name="T24" fmla="*/ 25 w 120"/>
                <a:gd name="T25" fmla="*/ 18 h 67"/>
                <a:gd name="T26" fmla="*/ 18 w 120"/>
                <a:gd name="T27" fmla="*/ 20 h 67"/>
                <a:gd name="T28" fmla="*/ 16 w 120"/>
                <a:gd name="T29" fmla="*/ 48 h 67"/>
                <a:gd name="T30" fmla="*/ 0 w 120"/>
                <a:gd name="T31" fmla="*/ 62 h 67"/>
                <a:gd name="T32" fmla="*/ 83 w 120"/>
                <a:gd name="T33" fmla="*/ 57 h 67"/>
                <a:gd name="T34" fmla="*/ 116 w 120"/>
                <a:gd name="T35" fmla="*/ 62 h 67"/>
                <a:gd name="T36" fmla="*/ 72 w 120"/>
                <a:gd name="T37" fmla="*/ 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67">
                  <a:moveTo>
                    <a:pt x="104" y="22"/>
                  </a:moveTo>
                  <a:cubicBezTo>
                    <a:pt x="114" y="34"/>
                    <a:pt x="116" y="50"/>
                    <a:pt x="115" y="60"/>
                  </a:cubicBezTo>
                  <a:cubicBezTo>
                    <a:pt x="111" y="59"/>
                    <a:pt x="101" y="57"/>
                    <a:pt x="83" y="56"/>
                  </a:cubicBezTo>
                  <a:cubicBezTo>
                    <a:pt x="72" y="55"/>
                    <a:pt x="61" y="56"/>
                    <a:pt x="49" y="58"/>
                  </a:cubicBezTo>
                  <a:cubicBezTo>
                    <a:pt x="35" y="60"/>
                    <a:pt x="20" y="63"/>
                    <a:pt x="4" y="61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39" y="2"/>
                    <a:pt x="72" y="5"/>
                  </a:cubicBezTo>
                  <a:cubicBezTo>
                    <a:pt x="85" y="6"/>
                    <a:pt x="96" y="12"/>
                    <a:pt x="104" y="22"/>
                  </a:cubicBezTo>
                  <a:moveTo>
                    <a:pt x="72" y="3"/>
                  </a:moveTo>
                  <a:cubicBezTo>
                    <a:pt x="37" y="0"/>
                    <a:pt x="25" y="18"/>
                    <a:pt x="25" y="18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32" y="67"/>
                    <a:pt x="59" y="55"/>
                    <a:pt x="83" y="57"/>
                  </a:cubicBezTo>
                  <a:cubicBezTo>
                    <a:pt x="106" y="60"/>
                    <a:pt x="116" y="62"/>
                    <a:pt x="116" y="62"/>
                  </a:cubicBezTo>
                  <a:cubicBezTo>
                    <a:pt x="120" y="41"/>
                    <a:pt x="108" y="6"/>
                    <a:pt x="7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40">
              <a:extLst>
                <a:ext uri="{FF2B5EF4-FFF2-40B4-BE49-F238E27FC236}">
                  <a16:creationId xmlns:a16="http://schemas.microsoft.com/office/drawing/2014/main" id="{8A718FC0-31D3-4B9F-892C-5142FD5F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" y="1901"/>
              <a:ext cx="3" cy="2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 h 2"/>
                <a:gd name="T4" fmla="*/ 3 w 3"/>
                <a:gd name="T5" fmla="*/ 0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41">
              <a:extLst>
                <a:ext uri="{FF2B5EF4-FFF2-40B4-BE49-F238E27FC236}">
                  <a16:creationId xmlns:a16="http://schemas.microsoft.com/office/drawing/2014/main" id="{CD0708BF-31C7-498D-A2C8-A02C2C4BB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" y="1901"/>
              <a:ext cx="8" cy="63"/>
            </a:xfrm>
            <a:custGeom>
              <a:avLst/>
              <a:gdLst>
                <a:gd name="T0" fmla="*/ 3 w 8"/>
                <a:gd name="T1" fmla="*/ 0 h 63"/>
                <a:gd name="T2" fmla="*/ 0 w 8"/>
                <a:gd name="T3" fmla="*/ 2 h 63"/>
                <a:gd name="T4" fmla="*/ 0 w 8"/>
                <a:gd name="T5" fmla="*/ 63 h 63"/>
                <a:gd name="T6" fmla="*/ 8 w 8"/>
                <a:gd name="T7" fmla="*/ 63 h 63"/>
                <a:gd name="T8" fmla="*/ 8 w 8"/>
                <a:gd name="T9" fmla="*/ 0 h 63"/>
                <a:gd name="T10" fmla="*/ 3 w 8"/>
                <a:gd name="T1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3">
                  <a:moveTo>
                    <a:pt x="3" y="0"/>
                  </a:moveTo>
                  <a:lnTo>
                    <a:pt x="0" y="2"/>
                  </a:lnTo>
                  <a:lnTo>
                    <a:pt x="0" y="63"/>
                  </a:lnTo>
                  <a:lnTo>
                    <a:pt x="8" y="63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42">
              <a:extLst>
                <a:ext uri="{FF2B5EF4-FFF2-40B4-BE49-F238E27FC236}">
                  <a16:creationId xmlns:a16="http://schemas.microsoft.com/office/drawing/2014/main" id="{2F3AE84A-A25A-4312-8FDC-4B6C43B0C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2006"/>
              <a:ext cx="125" cy="27"/>
            </a:xfrm>
            <a:custGeom>
              <a:avLst/>
              <a:gdLst>
                <a:gd name="T0" fmla="*/ 6 w 51"/>
                <a:gd name="T1" fmla="*/ 8 h 11"/>
                <a:gd name="T2" fmla="*/ 3 w 51"/>
                <a:gd name="T3" fmla="*/ 6 h 11"/>
                <a:gd name="T4" fmla="*/ 6 w 51"/>
                <a:gd name="T5" fmla="*/ 3 h 11"/>
                <a:gd name="T6" fmla="*/ 9 w 51"/>
                <a:gd name="T7" fmla="*/ 6 h 11"/>
                <a:gd name="T8" fmla="*/ 6 w 51"/>
                <a:gd name="T9" fmla="*/ 8 h 11"/>
                <a:gd name="T10" fmla="*/ 50 w 51"/>
                <a:gd name="T11" fmla="*/ 0 h 11"/>
                <a:gd name="T12" fmla="*/ 49 w 51"/>
                <a:gd name="T13" fmla="*/ 1 h 11"/>
                <a:gd name="T14" fmla="*/ 44 w 51"/>
                <a:gd name="T15" fmla="*/ 0 h 11"/>
                <a:gd name="T16" fmla="*/ 0 w 51"/>
                <a:gd name="T17" fmla="*/ 0 h 11"/>
                <a:gd name="T18" fmla="*/ 0 w 51"/>
                <a:gd name="T19" fmla="*/ 11 h 11"/>
                <a:gd name="T20" fmla="*/ 51 w 51"/>
                <a:gd name="T21" fmla="*/ 11 h 11"/>
                <a:gd name="T22" fmla="*/ 51 w 51"/>
                <a:gd name="T23" fmla="*/ 0 h 11"/>
                <a:gd name="T24" fmla="*/ 50 w 51"/>
                <a:gd name="T2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1">
                  <a:moveTo>
                    <a:pt x="6" y="8"/>
                  </a:moveTo>
                  <a:cubicBezTo>
                    <a:pt x="5" y="8"/>
                    <a:pt x="3" y="7"/>
                    <a:pt x="3" y="6"/>
                  </a:cubicBezTo>
                  <a:cubicBezTo>
                    <a:pt x="3" y="4"/>
                    <a:pt x="5" y="3"/>
                    <a:pt x="6" y="3"/>
                  </a:cubicBezTo>
                  <a:cubicBezTo>
                    <a:pt x="8" y="3"/>
                    <a:pt x="9" y="4"/>
                    <a:pt x="9" y="6"/>
                  </a:cubicBezTo>
                  <a:cubicBezTo>
                    <a:pt x="9" y="7"/>
                    <a:pt x="8" y="8"/>
                    <a:pt x="6" y="8"/>
                  </a:cubicBezTo>
                  <a:moveTo>
                    <a:pt x="50" y="0"/>
                  </a:moveTo>
                  <a:cubicBezTo>
                    <a:pt x="50" y="0"/>
                    <a:pt x="49" y="1"/>
                    <a:pt x="49" y="1"/>
                  </a:cubicBezTo>
                  <a:cubicBezTo>
                    <a:pt x="49" y="1"/>
                    <a:pt x="48" y="1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3">
              <a:extLst>
                <a:ext uri="{FF2B5EF4-FFF2-40B4-BE49-F238E27FC236}">
                  <a16:creationId xmlns:a16="http://schemas.microsoft.com/office/drawing/2014/main" id="{3B89FB0E-6315-4A33-9D00-9FD2B4BDC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006"/>
              <a:ext cx="14" cy="3"/>
            </a:xfrm>
            <a:custGeom>
              <a:avLst/>
              <a:gdLst>
                <a:gd name="T0" fmla="*/ 6 w 6"/>
                <a:gd name="T1" fmla="*/ 0 h 1"/>
                <a:gd name="T2" fmla="*/ 0 w 6"/>
                <a:gd name="T3" fmla="*/ 0 h 1"/>
                <a:gd name="T4" fmla="*/ 5 w 6"/>
                <a:gd name="T5" fmla="*/ 1 h 1"/>
                <a:gd name="T6" fmla="*/ 6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44">
              <a:extLst>
                <a:ext uri="{FF2B5EF4-FFF2-40B4-BE49-F238E27FC236}">
                  <a16:creationId xmlns:a16="http://schemas.microsoft.com/office/drawing/2014/main" id="{6D639C18-61DC-4C0B-9E8C-11A1ABF95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996"/>
              <a:ext cx="9" cy="20"/>
            </a:xfrm>
            <a:custGeom>
              <a:avLst/>
              <a:gdLst>
                <a:gd name="T0" fmla="*/ 0 w 4"/>
                <a:gd name="T1" fmla="*/ 8 h 8"/>
                <a:gd name="T2" fmla="*/ 2 w 4"/>
                <a:gd name="T3" fmla="*/ 7 h 8"/>
                <a:gd name="T4" fmla="*/ 4 w 4"/>
                <a:gd name="T5" fmla="*/ 8 h 8"/>
                <a:gd name="T6" fmla="*/ 4 w 4"/>
                <a:gd name="T7" fmla="*/ 0 h 8"/>
                <a:gd name="T8" fmla="*/ 0 w 4"/>
                <a:gd name="T9" fmla="*/ 0 h 8"/>
                <a:gd name="T10" fmla="*/ 0 w 4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0" y="8"/>
                  </a:moveTo>
                  <a:cubicBezTo>
                    <a:pt x="1" y="7"/>
                    <a:pt x="1" y="7"/>
                    <a:pt x="2" y="7"/>
                  </a:cubicBezTo>
                  <a:cubicBezTo>
                    <a:pt x="3" y="7"/>
                    <a:pt x="3" y="7"/>
                    <a:pt x="4" y="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45">
              <a:extLst>
                <a:ext uri="{FF2B5EF4-FFF2-40B4-BE49-F238E27FC236}">
                  <a16:creationId xmlns:a16="http://schemas.microsoft.com/office/drawing/2014/main" id="{A383122D-2686-4067-AB5F-D64194BA6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" y="2011"/>
              <a:ext cx="156" cy="174"/>
            </a:xfrm>
            <a:custGeom>
              <a:avLst/>
              <a:gdLst>
                <a:gd name="T0" fmla="*/ 0 w 64"/>
                <a:gd name="T1" fmla="*/ 71 h 71"/>
                <a:gd name="T2" fmla="*/ 2 w 64"/>
                <a:gd name="T3" fmla="*/ 71 h 71"/>
                <a:gd name="T4" fmla="*/ 11 w 64"/>
                <a:gd name="T5" fmla="*/ 71 h 71"/>
                <a:gd name="T6" fmla="*/ 64 w 64"/>
                <a:gd name="T7" fmla="*/ 52 h 71"/>
                <a:gd name="T8" fmla="*/ 64 w 64"/>
                <a:gd name="T9" fmla="*/ 52 h 71"/>
                <a:gd name="T10" fmla="*/ 64 w 64"/>
                <a:gd name="T11" fmla="*/ 6 h 71"/>
                <a:gd name="T12" fmla="*/ 62 w 64"/>
                <a:gd name="T13" fmla="*/ 6 h 71"/>
                <a:gd name="T14" fmla="*/ 60 w 64"/>
                <a:gd name="T15" fmla="*/ 6 h 71"/>
                <a:gd name="T16" fmla="*/ 60 w 64"/>
                <a:gd name="T17" fmla="*/ 51 h 71"/>
                <a:gd name="T18" fmla="*/ 4 w 64"/>
                <a:gd name="T19" fmla="*/ 68 h 71"/>
                <a:gd name="T20" fmla="*/ 4 w 64"/>
                <a:gd name="T21" fmla="*/ 0 h 71"/>
                <a:gd name="T22" fmla="*/ 0 w 64"/>
                <a:gd name="T23" fmla="*/ 0 h 71"/>
                <a:gd name="T24" fmla="*/ 0 w 64"/>
                <a:gd name="T2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71">
                  <a:moveTo>
                    <a:pt x="0" y="71"/>
                  </a:moveTo>
                  <a:cubicBezTo>
                    <a:pt x="2" y="71"/>
                    <a:pt x="2" y="71"/>
                    <a:pt x="2" y="71"/>
                  </a:cubicBezTo>
                  <a:cubicBezTo>
                    <a:pt x="2" y="71"/>
                    <a:pt x="6" y="71"/>
                    <a:pt x="11" y="71"/>
                  </a:cubicBezTo>
                  <a:cubicBezTo>
                    <a:pt x="25" y="71"/>
                    <a:pt x="52" y="69"/>
                    <a:pt x="6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3" y="6"/>
                    <a:pt x="63" y="6"/>
                    <a:pt x="62" y="6"/>
                  </a:cubicBezTo>
                  <a:cubicBezTo>
                    <a:pt x="61" y="6"/>
                    <a:pt x="61" y="6"/>
                    <a:pt x="60" y="6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47" y="69"/>
                    <a:pt x="12" y="68"/>
                    <a:pt x="4" y="6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46">
              <a:extLst>
                <a:ext uri="{FF2B5EF4-FFF2-40B4-BE49-F238E27FC236}">
                  <a16:creationId xmlns:a16="http://schemas.microsoft.com/office/drawing/2014/main" id="{2FC5D122-AA19-43B6-A08A-7E63BD559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" y="2009"/>
              <a:ext cx="9" cy="2"/>
            </a:xfrm>
            <a:custGeom>
              <a:avLst/>
              <a:gdLst>
                <a:gd name="T0" fmla="*/ 0 w 4"/>
                <a:gd name="T1" fmla="*/ 0 h 1"/>
                <a:gd name="T2" fmla="*/ 0 w 4"/>
                <a:gd name="T3" fmla="*/ 1 h 1"/>
                <a:gd name="T4" fmla="*/ 4 w 4"/>
                <a:gd name="T5" fmla="*/ 1 h 1"/>
                <a:gd name="T6" fmla="*/ 4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49">
            <a:extLst>
              <a:ext uri="{FF2B5EF4-FFF2-40B4-BE49-F238E27FC236}">
                <a16:creationId xmlns:a16="http://schemas.microsoft.com/office/drawing/2014/main" id="{D60622C7-8BB4-4869-9AE6-646EC48621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738" y="2797175"/>
            <a:ext cx="842962" cy="841375"/>
            <a:chOff x="1637" y="1762"/>
            <a:chExt cx="531" cy="530"/>
          </a:xfrm>
        </p:grpSpPr>
        <p:sp>
          <p:nvSpPr>
            <p:cNvPr id="279" name="AutoShape 248">
              <a:extLst>
                <a:ext uri="{FF2B5EF4-FFF2-40B4-BE49-F238E27FC236}">
                  <a16:creationId xmlns:a16="http://schemas.microsoft.com/office/drawing/2014/main" id="{6106E472-A4CB-4BCB-8948-EAC0BC75F5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7" y="1762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250">
              <a:extLst>
                <a:ext uri="{FF2B5EF4-FFF2-40B4-BE49-F238E27FC236}">
                  <a16:creationId xmlns:a16="http://schemas.microsoft.com/office/drawing/2014/main" id="{B5AB0807-A71A-4E3A-A7CA-AABF50C8F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7" y="1762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51">
              <a:extLst>
                <a:ext uri="{FF2B5EF4-FFF2-40B4-BE49-F238E27FC236}">
                  <a16:creationId xmlns:a16="http://schemas.microsoft.com/office/drawing/2014/main" id="{1F483D84-A19C-4153-9620-0A6D6D9E94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780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52">
              <a:extLst>
                <a:ext uri="{FF2B5EF4-FFF2-40B4-BE49-F238E27FC236}">
                  <a16:creationId xmlns:a16="http://schemas.microsoft.com/office/drawing/2014/main" id="{3D599868-112F-4756-965A-0654D053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0" y="1872"/>
              <a:ext cx="244" cy="159"/>
            </a:xfrm>
            <a:custGeom>
              <a:avLst/>
              <a:gdLst>
                <a:gd name="T0" fmla="*/ 13 w 95"/>
                <a:gd name="T1" fmla="*/ 19 h 62"/>
                <a:gd name="T2" fmla="*/ 67 w 95"/>
                <a:gd name="T3" fmla="*/ 6 h 62"/>
                <a:gd name="T4" fmla="*/ 85 w 95"/>
                <a:gd name="T5" fmla="*/ 5 h 62"/>
                <a:gd name="T6" fmla="*/ 86 w 95"/>
                <a:gd name="T7" fmla="*/ 10 h 62"/>
                <a:gd name="T8" fmla="*/ 78 w 95"/>
                <a:gd name="T9" fmla="*/ 20 h 62"/>
                <a:gd name="T10" fmla="*/ 75 w 95"/>
                <a:gd name="T11" fmla="*/ 22 h 62"/>
                <a:gd name="T12" fmla="*/ 79 w 95"/>
                <a:gd name="T13" fmla="*/ 23 h 62"/>
                <a:gd name="T14" fmla="*/ 85 w 95"/>
                <a:gd name="T15" fmla="*/ 40 h 62"/>
                <a:gd name="T16" fmla="*/ 85 w 95"/>
                <a:gd name="T17" fmla="*/ 40 h 62"/>
                <a:gd name="T18" fmla="*/ 84 w 95"/>
                <a:gd name="T19" fmla="*/ 45 h 62"/>
                <a:gd name="T20" fmla="*/ 84 w 95"/>
                <a:gd name="T21" fmla="*/ 50 h 62"/>
                <a:gd name="T22" fmla="*/ 91 w 95"/>
                <a:gd name="T23" fmla="*/ 62 h 62"/>
                <a:gd name="T24" fmla="*/ 95 w 95"/>
                <a:gd name="T25" fmla="*/ 62 h 62"/>
                <a:gd name="T26" fmla="*/ 87 w 95"/>
                <a:gd name="T27" fmla="*/ 49 h 62"/>
                <a:gd name="T28" fmla="*/ 88 w 95"/>
                <a:gd name="T29" fmla="*/ 46 h 62"/>
                <a:gd name="T30" fmla="*/ 88 w 95"/>
                <a:gd name="T31" fmla="*/ 40 h 62"/>
                <a:gd name="T32" fmla="*/ 88 w 95"/>
                <a:gd name="T33" fmla="*/ 39 h 62"/>
                <a:gd name="T34" fmla="*/ 82 w 95"/>
                <a:gd name="T35" fmla="*/ 22 h 62"/>
                <a:gd name="T36" fmla="*/ 90 w 95"/>
                <a:gd name="T37" fmla="*/ 11 h 62"/>
                <a:gd name="T38" fmla="*/ 87 w 95"/>
                <a:gd name="T39" fmla="*/ 1 h 62"/>
                <a:gd name="T40" fmla="*/ 86 w 95"/>
                <a:gd name="T41" fmla="*/ 0 h 62"/>
                <a:gd name="T42" fmla="*/ 85 w 95"/>
                <a:gd name="T43" fmla="*/ 1 h 62"/>
                <a:gd name="T44" fmla="*/ 67 w 95"/>
                <a:gd name="T45" fmla="*/ 2 h 62"/>
                <a:gd name="T46" fmla="*/ 11 w 95"/>
                <a:gd name="T47" fmla="*/ 17 h 62"/>
                <a:gd name="T48" fmla="*/ 6 w 95"/>
                <a:gd name="T49" fmla="*/ 62 h 62"/>
                <a:gd name="T50" fmla="*/ 9 w 95"/>
                <a:gd name="T51" fmla="*/ 62 h 62"/>
                <a:gd name="T52" fmla="*/ 13 w 95"/>
                <a:gd name="T53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5" h="62">
                  <a:moveTo>
                    <a:pt x="13" y="19"/>
                  </a:moveTo>
                  <a:cubicBezTo>
                    <a:pt x="24" y="5"/>
                    <a:pt x="50" y="5"/>
                    <a:pt x="67" y="6"/>
                  </a:cubicBezTo>
                  <a:cubicBezTo>
                    <a:pt x="75" y="6"/>
                    <a:pt x="81" y="6"/>
                    <a:pt x="85" y="5"/>
                  </a:cubicBezTo>
                  <a:cubicBezTo>
                    <a:pt x="86" y="6"/>
                    <a:pt x="87" y="8"/>
                    <a:pt x="86" y="10"/>
                  </a:cubicBezTo>
                  <a:cubicBezTo>
                    <a:pt x="86" y="15"/>
                    <a:pt x="80" y="19"/>
                    <a:pt x="78" y="20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0" y="24"/>
                    <a:pt x="82" y="26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2"/>
                    <a:pt x="85" y="44"/>
                    <a:pt x="84" y="45"/>
                  </a:cubicBezTo>
                  <a:cubicBezTo>
                    <a:pt x="84" y="46"/>
                    <a:pt x="83" y="48"/>
                    <a:pt x="84" y="50"/>
                  </a:cubicBezTo>
                  <a:cubicBezTo>
                    <a:pt x="85" y="52"/>
                    <a:pt x="88" y="57"/>
                    <a:pt x="91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92" y="57"/>
                    <a:pt x="88" y="51"/>
                    <a:pt x="87" y="49"/>
                  </a:cubicBezTo>
                  <a:cubicBezTo>
                    <a:pt x="87" y="48"/>
                    <a:pt x="87" y="47"/>
                    <a:pt x="88" y="46"/>
                  </a:cubicBezTo>
                  <a:cubicBezTo>
                    <a:pt x="88" y="45"/>
                    <a:pt x="89" y="43"/>
                    <a:pt x="88" y="40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6" y="31"/>
                    <a:pt x="84" y="25"/>
                    <a:pt x="82" y="22"/>
                  </a:cubicBezTo>
                  <a:cubicBezTo>
                    <a:pt x="85" y="20"/>
                    <a:pt x="89" y="16"/>
                    <a:pt x="90" y="11"/>
                  </a:cubicBezTo>
                  <a:cubicBezTo>
                    <a:pt x="90" y="8"/>
                    <a:pt x="89" y="4"/>
                    <a:pt x="87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2" y="2"/>
                    <a:pt x="75" y="2"/>
                    <a:pt x="67" y="2"/>
                  </a:cubicBezTo>
                  <a:cubicBezTo>
                    <a:pt x="50" y="2"/>
                    <a:pt x="22" y="2"/>
                    <a:pt x="11" y="17"/>
                  </a:cubicBezTo>
                  <a:cubicBezTo>
                    <a:pt x="1" y="28"/>
                    <a:pt x="0" y="43"/>
                    <a:pt x="6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4" y="47"/>
                    <a:pt x="3" y="31"/>
                    <a:pt x="13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53">
              <a:extLst>
                <a:ext uri="{FF2B5EF4-FFF2-40B4-BE49-F238E27FC236}">
                  <a16:creationId xmlns:a16="http://schemas.microsoft.com/office/drawing/2014/main" id="{B2FBC117-A2B7-4DE8-978C-6F578F782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059"/>
              <a:ext cx="167" cy="120"/>
            </a:xfrm>
            <a:custGeom>
              <a:avLst/>
              <a:gdLst>
                <a:gd name="T0" fmla="*/ 58 w 65"/>
                <a:gd name="T1" fmla="*/ 28 h 47"/>
                <a:gd name="T2" fmla="*/ 53 w 65"/>
                <a:gd name="T3" fmla="*/ 29 h 47"/>
                <a:gd name="T4" fmla="*/ 50 w 65"/>
                <a:gd name="T5" fmla="*/ 43 h 47"/>
                <a:gd name="T6" fmla="*/ 6 w 65"/>
                <a:gd name="T7" fmla="*/ 33 h 47"/>
                <a:gd name="T8" fmla="*/ 13 w 65"/>
                <a:gd name="T9" fmla="*/ 26 h 47"/>
                <a:gd name="T10" fmla="*/ 14 w 65"/>
                <a:gd name="T11" fmla="*/ 15 h 47"/>
                <a:gd name="T12" fmla="*/ 6 w 65"/>
                <a:gd name="T13" fmla="*/ 0 h 47"/>
                <a:gd name="T14" fmla="*/ 2 w 65"/>
                <a:gd name="T15" fmla="*/ 0 h 47"/>
                <a:gd name="T16" fmla="*/ 12 w 65"/>
                <a:gd name="T17" fmla="*/ 17 h 47"/>
                <a:gd name="T18" fmla="*/ 11 w 65"/>
                <a:gd name="T19" fmla="*/ 24 h 47"/>
                <a:gd name="T20" fmla="*/ 0 w 65"/>
                <a:gd name="T21" fmla="*/ 35 h 47"/>
                <a:gd name="T22" fmla="*/ 54 w 65"/>
                <a:gd name="T23" fmla="*/ 47 h 47"/>
                <a:gd name="T24" fmla="*/ 53 w 65"/>
                <a:gd name="T25" fmla="*/ 45 h 47"/>
                <a:gd name="T26" fmla="*/ 55 w 65"/>
                <a:gd name="T27" fmla="*/ 32 h 47"/>
                <a:gd name="T28" fmla="*/ 58 w 65"/>
                <a:gd name="T29" fmla="*/ 31 h 47"/>
                <a:gd name="T30" fmla="*/ 65 w 65"/>
                <a:gd name="T31" fmla="*/ 31 h 47"/>
                <a:gd name="T32" fmla="*/ 58 w 65"/>
                <a:gd name="T33" fmla="*/ 28 h 47"/>
                <a:gd name="T34" fmla="*/ 58 w 65"/>
                <a:gd name="T3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58" y="28"/>
                  </a:moveTo>
                  <a:cubicBezTo>
                    <a:pt x="56" y="28"/>
                    <a:pt x="54" y="28"/>
                    <a:pt x="53" y="29"/>
                  </a:cubicBezTo>
                  <a:cubicBezTo>
                    <a:pt x="50" y="33"/>
                    <a:pt x="50" y="39"/>
                    <a:pt x="50" y="4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5" y="25"/>
                    <a:pt x="18" y="20"/>
                    <a:pt x="14" y="15"/>
                  </a:cubicBezTo>
                  <a:cubicBezTo>
                    <a:pt x="11" y="11"/>
                    <a:pt x="9" y="6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6"/>
                    <a:pt x="8" y="11"/>
                    <a:pt x="12" y="17"/>
                  </a:cubicBezTo>
                  <a:cubicBezTo>
                    <a:pt x="14" y="21"/>
                    <a:pt x="11" y="24"/>
                    <a:pt x="11" y="2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1"/>
                    <a:pt x="53" y="34"/>
                    <a:pt x="55" y="32"/>
                  </a:cubicBezTo>
                  <a:cubicBezTo>
                    <a:pt x="56" y="31"/>
                    <a:pt x="57" y="31"/>
                    <a:pt x="58" y="31"/>
                  </a:cubicBezTo>
                  <a:cubicBezTo>
                    <a:pt x="58" y="31"/>
                    <a:pt x="61" y="31"/>
                    <a:pt x="65" y="31"/>
                  </a:cubicBezTo>
                  <a:cubicBezTo>
                    <a:pt x="63" y="30"/>
                    <a:pt x="61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54">
              <a:extLst>
                <a:ext uri="{FF2B5EF4-FFF2-40B4-BE49-F238E27FC236}">
                  <a16:creationId xmlns:a16="http://schemas.microsoft.com/office/drawing/2014/main" id="{AEF5244E-9630-4A7D-8CAE-987010F69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0" y="1992"/>
              <a:ext cx="61" cy="39"/>
            </a:xfrm>
            <a:custGeom>
              <a:avLst/>
              <a:gdLst>
                <a:gd name="T0" fmla="*/ 5 w 24"/>
                <a:gd name="T1" fmla="*/ 7 h 15"/>
                <a:gd name="T2" fmla="*/ 9 w 24"/>
                <a:gd name="T3" fmla="*/ 4 h 15"/>
                <a:gd name="T4" fmla="*/ 16 w 24"/>
                <a:gd name="T5" fmla="*/ 8 h 15"/>
                <a:gd name="T6" fmla="*/ 20 w 24"/>
                <a:gd name="T7" fmla="*/ 15 h 15"/>
                <a:gd name="T8" fmla="*/ 24 w 24"/>
                <a:gd name="T9" fmla="*/ 15 h 15"/>
                <a:gd name="T10" fmla="*/ 19 w 24"/>
                <a:gd name="T11" fmla="*/ 6 h 15"/>
                <a:gd name="T12" fmla="*/ 9 w 24"/>
                <a:gd name="T13" fmla="*/ 1 h 15"/>
                <a:gd name="T14" fmla="*/ 2 w 24"/>
                <a:gd name="T15" fmla="*/ 6 h 15"/>
                <a:gd name="T16" fmla="*/ 2 w 24"/>
                <a:gd name="T17" fmla="*/ 15 h 15"/>
                <a:gd name="T18" fmla="*/ 5 w 24"/>
                <a:gd name="T19" fmla="*/ 15 h 15"/>
                <a:gd name="T20" fmla="*/ 5 w 24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5">
                  <a:moveTo>
                    <a:pt x="5" y="7"/>
                  </a:moveTo>
                  <a:cubicBezTo>
                    <a:pt x="6" y="5"/>
                    <a:pt x="9" y="4"/>
                    <a:pt x="9" y="4"/>
                  </a:cubicBezTo>
                  <a:cubicBezTo>
                    <a:pt x="12" y="4"/>
                    <a:pt x="15" y="7"/>
                    <a:pt x="16" y="8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5"/>
                    <a:pt x="14" y="0"/>
                    <a:pt x="9" y="1"/>
                  </a:cubicBezTo>
                  <a:cubicBezTo>
                    <a:pt x="6" y="1"/>
                    <a:pt x="3" y="3"/>
                    <a:pt x="2" y="6"/>
                  </a:cubicBezTo>
                  <a:cubicBezTo>
                    <a:pt x="1" y="8"/>
                    <a:pt x="0" y="11"/>
                    <a:pt x="2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2"/>
                    <a:pt x="4" y="9"/>
                    <a:pt x="5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55">
              <a:extLst>
                <a:ext uri="{FF2B5EF4-FFF2-40B4-BE49-F238E27FC236}">
                  <a16:creationId xmlns:a16="http://schemas.microsoft.com/office/drawing/2014/main" id="{DA030560-9286-4E5A-97A8-0367E4F42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9" y="2059"/>
              <a:ext cx="62" cy="66"/>
            </a:xfrm>
            <a:custGeom>
              <a:avLst/>
              <a:gdLst>
                <a:gd name="T0" fmla="*/ 0 w 62"/>
                <a:gd name="T1" fmla="*/ 61 h 66"/>
                <a:gd name="T2" fmla="*/ 5 w 62"/>
                <a:gd name="T3" fmla="*/ 66 h 66"/>
                <a:gd name="T4" fmla="*/ 62 w 62"/>
                <a:gd name="T5" fmla="*/ 0 h 66"/>
                <a:gd name="T6" fmla="*/ 51 w 62"/>
                <a:gd name="T7" fmla="*/ 0 h 66"/>
                <a:gd name="T8" fmla="*/ 0 w 62"/>
                <a:gd name="T9" fmla="*/ 6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6">
                  <a:moveTo>
                    <a:pt x="0" y="61"/>
                  </a:moveTo>
                  <a:lnTo>
                    <a:pt x="5" y="66"/>
                  </a:lnTo>
                  <a:lnTo>
                    <a:pt x="62" y="0"/>
                  </a:lnTo>
                  <a:lnTo>
                    <a:pt x="51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56">
              <a:extLst>
                <a:ext uri="{FF2B5EF4-FFF2-40B4-BE49-F238E27FC236}">
                  <a16:creationId xmlns:a16="http://schemas.microsoft.com/office/drawing/2014/main" id="{8157DC31-1C3F-4519-947D-34AF72B6C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8" y="1923"/>
              <a:ext cx="90" cy="46"/>
            </a:xfrm>
            <a:custGeom>
              <a:avLst/>
              <a:gdLst>
                <a:gd name="T0" fmla="*/ 11 w 35"/>
                <a:gd name="T1" fmla="*/ 18 h 18"/>
                <a:gd name="T2" fmla="*/ 0 w 35"/>
                <a:gd name="T3" fmla="*/ 16 h 18"/>
                <a:gd name="T4" fmla="*/ 1 w 35"/>
                <a:gd name="T5" fmla="*/ 13 h 18"/>
                <a:gd name="T6" fmla="*/ 25 w 35"/>
                <a:gd name="T7" fmla="*/ 12 h 18"/>
                <a:gd name="T8" fmla="*/ 15 w 35"/>
                <a:gd name="T9" fmla="*/ 5 h 18"/>
                <a:gd name="T10" fmla="*/ 13 w 35"/>
                <a:gd name="T11" fmla="*/ 2 h 18"/>
                <a:gd name="T12" fmla="*/ 17 w 35"/>
                <a:gd name="T13" fmla="*/ 2 h 18"/>
                <a:gd name="T14" fmla="*/ 33 w 35"/>
                <a:gd name="T15" fmla="*/ 0 h 18"/>
                <a:gd name="T16" fmla="*/ 33 w 35"/>
                <a:gd name="T17" fmla="*/ 3 h 18"/>
                <a:gd name="T18" fmla="*/ 21 w 35"/>
                <a:gd name="T19" fmla="*/ 5 h 18"/>
                <a:gd name="T20" fmla="*/ 30 w 35"/>
                <a:gd name="T21" fmla="*/ 10 h 18"/>
                <a:gd name="T22" fmla="*/ 35 w 35"/>
                <a:gd name="T23" fmla="*/ 11 h 18"/>
                <a:gd name="T24" fmla="*/ 31 w 35"/>
                <a:gd name="T25" fmla="*/ 13 h 18"/>
                <a:gd name="T26" fmla="*/ 11 w 35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18">
                  <a:moveTo>
                    <a:pt x="11" y="18"/>
                  </a:moveTo>
                  <a:cubicBezTo>
                    <a:pt x="7" y="18"/>
                    <a:pt x="4" y="17"/>
                    <a:pt x="0" y="1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0" y="16"/>
                    <a:pt x="20" y="14"/>
                    <a:pt x="25" y="12"/>
                  </a:cubicBezTo>
                  <a:cubicBezTo>
                    <a:pt x="19" y="9"/>
                    <a:pt x="16" y="5"/>
                    <a:pt x="15" y="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4" y="2"/>
                    <a:pt x="33" y="0"/>
                    <a:pt x="33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27" y="5"/>
                    <a:pt x="21" y="5"/>
                  </a:cubicBezTo>
                  <a:cubicBezTo>
                    <a:pt x="23" y="7"/>
                    <a:pt x="26" y="9"/>
                    <a:pt x="30" y="10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22" y="18"/>
                    <a:pt x="11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57">
              <a:extLst>
                <a:ext uri="{FF2B5EF4-FFF2-40B4-BE49-F238E27FC236}">
                  <a16:creationId xmlns:a16="http://schemas.microsoft.com/office/drawing/2014/main" id="{21CF3635-79D1-4B0C-B571-926A47F149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8" y="2026"/>
              <a:ext cx="259" cy="120"/>
            </a:xfrm>
            <a:custGeom>
              <a:avLst/>
              <a:gdLst>
                <a:gd name="T0" fmla="*/ 77 w 101"/>
                <a:gd name="T1" fmla="*/ 45 h 47"/>
                <a:gd name="T2" fmla="*/ 41 w 101"/>
                <a:gd name="T3" fmla="*/ 13 h 47"/>
                <a:gd name="T4" fmla="*/ 4 w 101"/>
                <a:gd name="T5" fmla="*/ 13 h 47"/>
                <a:gd name="T6" fmla="*/ 2 w 101"/>
                <a:gd name="T7" fmla="*/ 2 h 47"/>
                <a:gd name="T8" fmla="*/ 97 w 101"/>
                <a:gd name="T9" fmla="*/ 2 h 47"/>
                <a:gd name="T10" fmla="*/ 77 w 101"/>
                <a:gd name="T11" fmla="*/ 45 h 47"/>
                <a:gd name="T12" fmla="*/ 99 w 101"/>
                <a:gd name="T13" fmla="*/ 2 h 47"/>
                <a:gd name="T14" fmla="*/ 98 w 101"/>
                <a:gd name="T15" fmla="*/ 0 h 47"/>
                <a:gd name="T16" fmla="*/ 0 w 101"/>
                <a:gd name="T17" fmla="*/ 0 h 47"/>
                <a:gd name="T18" fmla="*/ 3 w 101"/>
                <a:gd name="T19" fmla="*/ 15 h 47"/>
                <a:gd name="T20" fmla="*/ 40 w 101"/>
                <a:gd name="T21" fmla="*/ 15 h 47"/>
                <a:gd name="T22" fmla="*/ 76 w 101"/>
                <a:gd name="T23" fmla="*/ 47 h 47"/>
                <a:gd name="T24" fmla="*/ 77 w 101"/>
                <a:gd name="T25" fmla="*/ 47 h 47"/>
                <a:gd name="T26" fmla="*/ 77 w 101"/>
                <a:gd name="T27" fmla="*/ 47 h 47"/>
                <a:gd name="T28" fmla="*/ 99 w 101"/>
                <a:gd name="T2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47">
                  <a:moveTo>
                    <a:pt x="77" y="45"/>
                  </a:moveTo>
                  <a:cubicBezTo>
                    <a:pt x="44" y="38"/>
                    <a:pt x="41" y="13"/>
                    <a:pt x="41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9" y="35"/>
                    <a:pt x="77" y="45"/>
                    <a:pt x="77" y="45"/>
                  </a:cubicBezTo>
                  <a:moveTo>
                    <a:pt x="99" y="2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21"/>
                    <a:pt x="48" y="41"/>
                    <a:pt x="76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101" y="36"/>
                    <a:pt x="99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58">
              <a:extLst>
                <a:ext uri="{FF2B5EF4-FFF2-40B4-BE49-F238E27FC236}">
                  <a16:creationId xmlns:a16="http://schemas.microsoft.com/office/drawing/2014/main" id="{9E9338E0-E421-4B6A-8F2C-222AA5502D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3" y="2031"/>
              <a:ext cx="249" cy="110"/>
            </a:xfrm>
            <a:custGeom>
              <a:avLst/>
              <a:gdLst>
                <a:gd name="T0" fmla="*/ 75 w 97"/>
                <a:gd name="T1" fmla="*/ 42 h 43"/>
                <a:gd name="T2" fmla="*/ 41 w 97"/>
                <a:gd name="T3" fmla="*/ 11 h 43"/>
                <a:gd name="T4" fmla="*/ 41 w 97"/>
                <a:gd name="T5" fmla="*/ 10 h 43"/>
                <a:gd name="T6" fmla="*/ 4 w 97"/>
                <a:gd name="T7" fmla="*/ 10 h 43"/>
                <a:gd name="T8" fmla="*/ 2 w 97"/>
                <a:gd name="T9" fmla="*/ 1 h 43"/>
                <a:gd name="T10" fmla="*/ 93 w 97"/>
                <a:gd name="T11" fmla="*/ 1 h 43"/>
                <a:gd name="T12" fmla="*/ 75 w 97"/>
                <a:gd name="T13" fmla="*/ 42 h 43"/>
                <a:gd name="T14" fmla="*/ 0 w 97"/>
                <a:gd name="T15" fmla="*/ 0 h 43"/>
                <a:gd name="T16" fmla="*/ 2 w 97"/>
                <a:gd name="T17" fmla="*/ 11 h 43"/>
                <a:gd name="T18" fmla="*/ 39 w 97"/>
                <a:gd name="T19" fmla="*/ 11 h 43"/>
                <a:gd name="T20" fmla="*/ 75 w 97"/>
                <a:gd name="T21" fmla="*/ 43 h 43"/>
                <a:gd name="T22" fmla="*/ 95 w 97"/>
                <a:gd name="T23" fmla="*/ 0 h 43"/>
                <a:gd name="T24" fmla="*/ 0 w 97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43">
                  <a:moveTo>
                    <a:pt x="75" y="42"/>
                  </a:moveTo>
                  <a:cubicBezTo>
                    <a:pt x="44" y="35"/>
                    <a:pt x="41" y="12"/>
                    <a:pt x="41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5" y="30"/>
                    <a:pt x="78" y="40"/>
                    <a:pt x="75" y="42"/>
                  </a:cubicBezTo>
                  <a:moveTo>
                    <a:pt x="0" y="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42" y="36"/>
                    <a:pt x="75" y="43"/>
                  </a:cubicBezTo>
                  <a:cubicBezTo>
                    <a:pt x="75" y="43"/>
                    <a:pt x="97" y="33"/>
                    <a:pt x="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259">
              <a:extLst>
                <a:ext uri="{FF2B5EF4-FFF2-40B4-BE49-F238E27FC236}">
                  <a16:creationId xmlns:a16="http://schemas.microsoft.com/office/drawing/2014/main" id="{65CB601E-FEC4-4BE2-8DB1-25934D8640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4" y="2051"/>
              <a:ext cx="23" cy="2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62">
            <a:extLst>
              <a:ext uri="{FF2B5EF4-FFF2-40B4-BE49-F238E27FC236}">
                <a16:creationId xmlns:a16="http://schemas.microsoft.com/office/drawing/2014/main" id="{967CD882-E2BA-414A-89D0-3B440913B7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6638" y="2838450"/>
            <a:ext cx="758825" cy="758825"/>
            <a:chOff x="2253" y="1788"/>
            <a:chExt cx="478" cy="478"/>
          </a:xfrm>
        </p:grpSpPr>
        <p:sp>
          <p:nvSpPr>
            <p:cNvPr id="291" name="AutoShape 261">
              <a:extLst>
                <a:ext uri="{FF2B5EF4-FFF2-40B4-BE49-F238E27FC236}">
                  <a16:creationId xmlns:a16="http://schemas.microsoft.com/office/drawing/2014/main" id="{564A8886-8E96-4BAE-9F6C-098BC17786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3" y="17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63">
              <a:extLst>
                <a:ext uri="{FF2B5EF4-FFF2-40B4-BE49-F238E27FC236}">
                  <a16:creationId xmlns:a16="http://schemas.microsoft.com/office/drawing/2014/main" id="{F313C107-29E9-4285-AF67-7046B5D8F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5" y="179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64">
              <a:extLst>
                <a:ext uri="{FF2B5EF4-FFF2-40B4-BE49-F238E27FC236}">
                  <a16:creationId xmlns:a16="http://schemas.microsoft.com/office/drawing/2014/main" id="{001D2169-3014-484B-8F7D-D332938BA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6" y="1879"/>
              <a:ext cx="233" cy="152"/>
            </a:xfrm>
            <a:custGeom>
              <a:avLst/>
              <a:gdLst>
                <a:gd name="T0" fmla="*/ 13 w 95"/>
                <a:gd name="T1" fmla="*/ 19 h 62"/>
                <a:gd name="T2" fmla="*/ 67 w 95"/>
                <a:gd name="T3" fmla="*/ 6 h 62"/>
                <a:gd name="T4" fmla="*/ 85 w 95"/>
                <a:gd name="T5" fmla="*/ 5 h 62"/>
                <a:gd name="T6" fmla="*/ 86 w 95"/>
                <a:gd name="T7" fmla="*/ 10 h 62"/>
                <a:gd name="T8" fmla="*/ 78 w 95"/>
                <a:gd name="T9" fmla="*/ 20 h 62"/>
                <a:gd name="T10" fmla="*/ 75 w 95"/>
                <a:gd name="T11" fmla="*/ 22 h 62"/>
                <a:gd name="T12" fmla="*/ 79 w 95"/>
                <a:gd name="T13" fmla="*/ 23 h 62"/>
                <a:gd name="T14" fmla="*/ 85 w 95"/>
                <a:gd name="T15" fmla="*/ 40 h 62"/>
                <a:gd name="T16" fmla="*/ 85 w 95"/>
                <a:gd name="T17" fmla="*/ 40 h 62"/>
                <a:gd name="T18" fmla="*/ 84 w 95"/>
                <a:gd name="T19" fmla="*/ 45 h 62"/>
                <a:gd name="T20" fmla="*/ 84 w 95"/>
                <a:gd name="T21" fmla="*/ 50 h 62"/>
                <a:gd name="T22" fmla="*/ 91 w 95"/>
                <a:gd name="T23" fmla="*/ 62 h 62"/>
                <a:gd name="T24" fmla="*/ 95 w 95"/>
                <a:gd name="T25" fmla="*/ 62 h 62"/>
                <a:gd name="T26" fmla="*/ 87 w 95"/>
                <a:gd name="T27" fmla="*/ 49 h 62"/>
                <a:gd name="T28" fmla="*/ 88 w 95"/>
                <a:gd name="T29" fmla="*/ 46 h 62"/>
                <a:gd name="T30" fmla="*/ 88 w 95"/>
                <a:gd name="T31" fmla="*/ 40 h 62"/>
                <a:gd name="T32" fmla="*/ 88 w 95"/>
                <a:gd name="T33" fmla="*/ 39 h 62"/>
                <a:gd name="T34" fmla="*/ 82 w 95"/>
                <a:gd name="T35" fmla="*/ 22 h 62"/>
                <a:gd name="T36" fmla="*/ 90 w 95"/>
                <a:gd name="T37" fmla="*/ 11 h 62"/>
                <a:gd name="T38" fmla="*/ 87 w 95"/>
                <a:gd name="T39" fmla="*/ 1 h 62"/>
                <a:gd name="T40" fmla="*/ 86 w 95"/>
                <a:gd name="T41" fmla="*/ 0 h 62"/>
                <a:gd name="T42" fmla="*/ 85 w 95"/>
                <a:gd name="T43" fmla="*/ 1 h 62"/>
                <a:gd name="T44" fmla="*/ 67 w 95"/>
                <a:gd name="T45" fmla="*/ 2 h 62"/>
                <a:gd name="T46" fmla="*/ 11 w 95"/>
                <a:gd name="T47" fmla="*/ 17 h 62"/>
                <a:gd name="T48" fmla="*/ 6 w 95"/>
                <a:gd name="T49" fmla="*/ 62 h 62"/>
                <a:gd name="T50" fmla="*/ 9 w 95"/>
                <a:gd name="T51" fmla="*/ 62 h 62"/>
                <a:gd name="T52" fmla="*/ 13 w 95"/>
                <a:gd name="T53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5" h="62">
                  <a:moveTo>
                    <a:pt x="13" y="19"/>
                  </a:moveTo>
                  <a:cubicBezTo>
                    <a:pt x="24" y="5"/>
                    <a:pt x="50" y="5"/>
                    <a:pt x="67" y="6"/>
                  </a:cubicBezTo>
                  <a:cubicBezTo>
                    <a:pt x="75" y="6"/>
                    <a:pt x="81" y="6"/>
                    <a:pt x="85" y="5"/>
                  </a:cubicBezTo>
                  <a:cubicBezTo>
                    <a:pt x="86" y="6"/>
                    <a:pt x="87" y="8"/>
                    <a:pt x="86" y="10"/>
                  </a:cubicBezTo>
                  <a:cubicBezTo>
                    <a:pt x="86" y="15"/>
                    <a:pt x="80" y="19"/>
                    <a:pt x="78" y="20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0" y="24"/>
                    <a:pt x="82" y="26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2"/>
                    <a:pt x="85" y="44"/>
                    <a:pt x="84" y="45"/>
                  </a:cubicBezTo>
                  <a:cubicBezTo>
                    <a:pt x="84" y="46"/>
                    <a:pt x="83" y="48"/>
                    <a:pt x="84" y="50"/>
                  </a:cubicBezTo>
                  <a:cubicBezTo>
                    <a:pt x="85" y="52"/>
                    <a:pt x="88" y="57"/>
                    <a:pt x="91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92" y="57"/>
                    <a:pt x="88" y="51"/>
                    <a:pt x="87" y="49"/>
                  </a:cubicBezTo>
                  <a:cubicBezTo>
                    <a:pt x="87" y="48"/>
                    <a:pt x="87" y="47"/>
                    <a:pt x="88" y="46"/>
                  </a:cubicBezTo>
                  <a:cubicBezTo>
                    <a:pt x="88" y="45"/>
                    <a:pt x="89" y="43"/>
                    <a:pt x="88" y="40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6" y="31"/>
                    <a:pt x="84" y="25"/>
                    <a:pt x="82" y="22"/>
                  </a:cubicBezTo>
                  <a:cubicBezTo>
                    <a:pt x="85" y="20"/>
                    <a:pt x="89" y="16"/>
                    <a:pt x="90" y="11"/>
                  </a:cubicBezTo>
                  <a:cubicBezTo>
                    <a:pt x="90" y="8"/>
                    <a:pt x="89" y="4"/>
                    <a:pt x="87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2" y="2"/>
                    <a:pt x="75" y="2"/>
                    <a:pt x="67" y="2"/>
                  </a:cubicBezTo>
                  <a:cubicBezTo>
                    <a:pt x="50" y="2"/>
                    <a:pt x="22" y="2"/>
                    <a:pt x="11" y="17"/>
                  </a:cubicBezTo>
                  <a:cubicBezTo>
                    <a:pt x="1" y="28"/>
                    <a:pt x="0" y="43"/>
                    <a:pt x="6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4" y="47"/>
                    <a:pt x="3" y="31"/>
                    <a:pt x="13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65">
              <a:extLst>
                <a:ext uri="{FF2B5EF4-FFF2-40B4-BE49-F238E27FC236}">
                  <a16:creationId xmlns:a16="http://schemas.microsoft.com/office/drawing/2014/main" id="{BA5B63BF-C2F7-474C-BBFF-50D9F18F8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2058"/>
              <a:ext cx="160" cy="115"/>
            </a:xfrm>
            <a:custGeom>
              <a:avLst/>
              <a:gdLst>
                <a:gd name="T0" fmla="*/ 58 w 65"/>
                <a:gd name="T1" fmla="*/ 28 h 47"/>
                <a:gd name="T2" fmla="*/ 53 w 65"/>
                <a:gd name="T3" fmla="*/ 29 h 47"/>
                <a:gd name="T4" fmla="*/ 50 w 65"/>
                <a:gd name="T5" fmla="*/ 43 h 47"/>
                <a:gd name="T6" fmla="*/ 6 w 65"/>
                <a:gd name="T7" fmla="*/ 33 h 47"/>
                <a:gd name="T8" fmla="*/ 13 w 65"/>
                <a:gd name="T9" fmla="*/ 26 h 47"/>
                <a:gd name="T10" fmla="*/ 14 w 65"/>
                <a:gd name="T11" fmla="*/ 15 h 47"/>
                <a:gd name="T12" fmla="*/ 6 w 65"/>
                <a:gd name="T13" fmla="*/ 0 h 47"/>
                <a:gd name="T14" fmla="*/ 2 w 65"/>
                <a:gd name="T15" fmla="*/ 0 h 47"/>
                <a:gd name="T16" fmla="*/ 12 w 65"/>
                <a:gd name="T17" fmla="*/ 17 h 47"/>
                <a:gd name="T18" fmla="*/ 11 w 65"/>
                <a:gd name="T19" fmla="*/ 24 h 47"/>
                <a:gd name="T20" fmla="*/ 0 w 65"/>
                <a:gd name="T21" fmla="*/ 35 h 47"/>
                <a:gd name="T22" fmla="*/ 54 w 65"/>
                <a:gd name="T23" fmla="*/ 47 h 47"/>
                <a:gd name="T24" fmla="*/ 53 w 65"/>
                <a:gd name="T25" fmla="*/ 45 h 47"/>
                <a:gd name="T26" fmla="*/ 55 w 65"/>
                <a:gd name="T27" fmla="*/ 32 h 47"/>
                <a:gd name="T28" fmla="*/ 58 w 65"/>
                <a:gd name="T29" fmla="*/ 31 h 47"/>
                <a:gd name="T30" fmla="*/ 65 w 65"/>
                <a:gd name="T31" fmla="*/ 31 h 47"/>
                <a:gd name="T32" fmla="*/ 58 w 65"/>
                <a:gd name="T33" fmla="*/ 28 h 47"/>
                <a:gd name="T34" fmla="*/ 58 w 65"/>
                <a:gd name="T3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58" y="28"/>
                  </a:moveTo>
                  <a:cubicBezTo>
                    <a:pt x="56" y="28"/>
                    <a:pt x="54" y="28"/>
                    <a:pt x="53" y="29"/>
                  </a:cubicBezTo>
                  <a:cubicBezTo>
                    <a:pt x="50" y="33"/>
                    <a:pt x="50" y="39"/>
                    <a:pt x="50" y="4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5" y="25"/>
                    <a:pt x="18" y="20"/>
                    <a:pt x="14" y="15"/>
                  </a:cubicBezTo>
                  <a:cubicBezTo>
                    <a:pt x="11" y="11"/>
                    <a:pt x="9" y="6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6"/>
                    <a:pt x="8" y="11"/>
                    <a:pt x="12" y="17"/>
                  </a:cubicBezTo>
                  <a:cubicBezTo>
                    <a:pt x="14" y="21"/>
                    <a:pt x="11" y="24"/>
                    <a:pt x="11" y="2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1"/>
                    <a:pt x="53" y="34"/>
                    <a:pt x="55" y="32"/>
                  </a:cubicBezTo>
                  <a:cubicBezTo>
                    <a:pt x="56" y="31"/>
                    <a:pt x="57" y="31"/>
                    <a:pt x="58" y="31"/>
                  </a:cubicBezTo>
                  <a:cubicBezTo>
                    <a:pt x="58" y="31"/>
                    <a:pt x="61" y="31"/>
                    <a:pt x="65" y="31"/>
                  </a:cubicBezTo>
                  <a:cubicBezTo>
                    <a:pt x="63" y="30"/>
                    <a:pt x="61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66">
              <a:extLst>
                <a:ext uri="{FF2B5EF4-FFF2-40B4-BE49-F238E27FC236}">
                  <a16:creationId xmlns:a16="http://schemas.microsoft.com/office/drawing/2014/main" id="{ED5B743C-13BF-4FDD-9390-444EE3A34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" y="1994"/>
              <a:ext cx="59" cy="37"/>
            </a:xfrm>
            <a:custGeom>
              <a:avLst/>
              <a:gdLst>
                <a:gd name="T0" fmla="*/ 5 w 24"/>
                <a:gd name="T1" fmla="*/ 7 h 15"/>
                <a:gd name="T2" fmla="*/ 9 w 24"/>
                <a:gd name="T3" fmla="*/ 4 h 15"/>
                <a:gd name="T4" fmla="*/ 16 w 24"/>
                <a:gd name="T5" fmla="*/ 8 h 15"/>
                <a:gd name="T6" fmla="*/ 20 w 24"/>
                <a:gd name="T7" fmla="*/ 15 h 15"/>
                <a:gd name="T8" fmla="*/ 24 w 24"/>
                <a:gd name="T9" fmla="*/ 15 h 15"/>
                <a:gd name="T10" fmla="*/ 19 w 24"/>
                <a:gd name="T11" fmla="*/ 6 h 15"/>
                <a:gd name="T12" fmla="*/ 9 w 24"/>
                <a:gd name="T13" fmla="*/ 1 h 15"/>
                <a:gd name="T14" fmla="*/ 2 w 24"/>
                <a:gd name="T15" fmla="*/ 6 h 15"/>
                <a:gd name="T16" fmla="*/ 2 w 24"/>
                <a:gd name="T17" fmla="*/ 15 h 15"/>
                <a:gd name="T18" fmla="*/ 5 w 24"/>
                <a:gd name="T19" fmla="*/ 15 h 15"/>
                <a:gd name="T20" fmla="*/ 5 w 24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5">
                  <a:moveTo>
                    <a:pt x="5" y="7"/>
                  </a:moveTo>
                  <a:cubicBezTo>
                    <a:pt x="6" y="5"/>
                    <a:pt x="9" y="4"/>
                    <a:pt x="9" y="4"/>
                  </a:cubicBezTo>
                  <a:cubicBezTo>
                    <a:pt x="12" y="4"/>
                    <a:pt x="15" y="7"/>
                    <a:pt x="16" y="8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5"/>
                    <a:pt x="14" y="0"/>
                    <a:pt x="9" y="1"/>
                  </a:cubicBezTo>
                  <a:cubicBezTo>
                    <a:pt x="6" y="1"/>
                    <a:pt x="3" y="3"/>
                    <a:pt x="2" y="6"/>
                  </a:cubicBezTo>
                  <a:cubicBezTo>
                    <a:pt x="1" y="8"/>
                    <a:pt x="0" y="11"/>
                    <a:pt x="2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2"/>
                    <a:pt x="4" y="9"/>
                    <a:pt x="5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67">
              <a:extLst>
                <a:ext uri="{FF2B5EF4-FFF2-40B4-BE49-F238E27FC236}">
                  <a16:creationId xmlns:a16="http://schemas.microsoft.com/office/drawing/2014/main" id="{F4F6AD17-1D6A-4E1C-936C-32211FE34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058"/>
              <a:ext cx="59" cy="63"/>
            </a:xfrm>
            <a:custGeom>
              <a:avLst/>
              <a:gdLst>
                <a:gd name="T0" fmla="*/ 0 w 59"/>
                <a:gd name="T1" fmla="*/ 58 h 63"/>
                <a:gd name="T2" fmla="*/ 5 w 59"/>
                <a:gd name="T3" fmla="*/ 63 h 63"/>
                <a:gd name="T4" fmla="*/ 59 w 59"/>
                <a:gd name="T5" fmla="*/ 0 h 63"/>
                <a:gd name="T6" fmla="*/ 49 w 59"/>
                <a:gd name="T7" fmla="*/ 0 h 63"/>
                <a:gd name="T8" fmla="*/ 0 w 59"/>
                <a:gd name="T9" fmla="*/ 5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3">
                  <a:moveTo>
                    <a:pt x="0" y="58"/>
                  </a:moveTo>
                  <a:lnTo>
                    <a:pt x="5" y="63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68">
              <a:extLst>
                <a:ext uri="{FF2B5EF4-FFF2-40B4-BE49-F238E27FC236}">
                  <a16:creationId xmlns:a16="http://schemas.microsoft.com/office/drawing/2014/main" id="{81457B87-1C81-45AA-A651-3E6A0692A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9" y="1928"/>
              <a:ext cx="85" cy="44"/>
            </a:xfrm>
            <a:custGeom>
              <a:avLst/>
              <a:gdLst>
                <a:gd name="T0" fmla="*/ 11 w 35"/>
                <a:gd name="T1" fmla="*/ 18 h 18"/>
                <a:gd name="T2" fmla="*/ 0 w 35"/>
                <a:gd name="T3" fmla="*/ 16 h 18"/>
                <a:gd name="T4" fmla="*/ 1 w 35"/>
                <a:gd name="T5" fmla="*/ 13 h 18"/>
                <a:gd name="T6" fmla="*/ 25 w 35"/>
                <a:gd name="T7" fmla="*/ 12 h 18"/>
                <a:gd name="T8" fmla="*/ 15 w 35"/>
                <a:gd name="T9" fmla="*/ 5 h 18"/>
                <a:gd name="T10" fmla="*/ 13 w 35"/>
                <a:gd name="T11" fmla="*/ 2 h 18"/>
                <a:gd name="T12" fmla="*/ 17 w 35"/>
                <a:gd name="T13" fmla="*/ 2 h 18"/>
                <a:gd name="T14" fmla="*/ 33 w 35"/>
                <a:gd name="T15" fmla="*/ 0 h 18"/>
                <a:gd name="T16" fmla="*/ 33 w 35"/>
                <a:gd name="T17" fmla="*/ 3 h 18"/>
                <a:gd name="T18" fmla="*/ 21 w 35"/>
                <a:gd name="T19" fmla="*/ 5 h 18"/>
                <a:gd name="T20" fmla="*/ 30 w 35"/>
                <a:gd name="T21" fmla="*/ 10 h 18"/>
                <a:gd name="T22" fmla="*/ 35 w 35"/>
                <a:gd name="T23" fmla="*/ 11 h 18"/>
                <a:gd name="T24" fmla="*/ 31 w 35"/>
                <a:gd name="T25" fmla="*/ 13 h 18"/>
                <a:gd name="T26" fmla="*/ 11 w 35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18">
                  <a:moveTo>
                    <a:pt x="11" y="18"/>
                  </a:moveTo>
                  <a:cubicBezTo>
                    <a:pt x="7" y="18"/>
                    <a:pt x="4" y="17"/>
                    <a:pt x="0" y="1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0" y="16"/>
                    <a:pt x="20" y="14"/>
                    <a:pt x="25" y="12"/>
                  </a:cubicBezTo>
                  <a:cubicBezTo>
                    <a:pt x="19" y="9"/>
                    <a:pt x="16" y="5"/>
                    <a:pt x="15" y="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4" y="2"/>
                    <a:pt x="33" y="0"/>
                    <a:pt x="33" y="0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27" y="5"/>
                    <a:pt x="21" y="5"/>
                  </a:cubicBezTo>
                  <a:cubicBezTo>
                    <a:pt x="23" y="7"/>
                    <a:pt x="26" y="9"/>
                    <a:pt x="30" y="10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22" y="18"/>
                    <a:pt x="11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69">
              <a:extLst>
                <a:ext uri="{FF2B5EF4-FFF2-40B4-BE49-F238E27FC236}">
                  <a16:creationId xmlns:a16="http://schemas.microsoft.com/office/drawing/2014/main" id="{0D6DDB45-7D02-4A7F-9270-5C4E04072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2026"/>
              <a:ext cx="248" cy="115"/>
            </a:xfrm>
            <a:custGeom>
              <a:avLst/>
              <a:gdLst>
                <a:gd name="T0" fmla="*/ 77 w 101"/>
                <a:gd name="T1" fmla="*/ 45 h 47"/>
                <a:gd name="T2" fmla="*/ 41 w 101"/>
                <a:gd name="T3" fmla="*/ 13 h 47"/>
                <a:gd name="T4" fmla="*/ 4 w 101"/>
                <a:gd name="T5" fmla="*/ 13 h 47"/>
                <a:gd name="T6" fmla="*/ 2 w 101"/>
                <a:gd name="T7" fmla="*/ 2 h 47"/>
                <a:gd name="T8" fmla="*/ 97 w 101"/>
                <a:gd name="T9" fmla="*/ 2 h 47"/>
                <a:gd name="T10" fmla="*/ 77 w 101"/>
                <a:gd name="T11" fmla="*/ 45 h 47"/>
                <a:gd name="T12" fmla="*/ 99 w 101"/>
                <a:gd name="T13" fmla="*/ 2 h 47"/>
                <a:gd name="T14" fmla="*/ 98 w 101"/>
                <a:gd name="T15" fmla="*/ 0 h 47"/>
                <a:gd name="T16" fmla="*/ 0 w 101"/>
                <a:gd name="T17" fmla="*/ 0 h 47"/>
                <a:gd name="T18" fmla="*/ 3 w 101"/>
                <a:gd name="T19" fmla="*/ 15 h 47"/>
                <a:gd name="T20" fmla="*/ 40 w 101"/>
                <a:gd name="T21" fmla="*/ 15 h 47"/>
                <a:gd name="T22" fmla="*/ 76 w 101"/>
                <a:gd name="T23" fmla="*/ 47 h 47"/>
                <a:gd name="T24" fmla="*/ 77 w 101"/>
                <a:gd name="T25" fmla="*/ 47 h 47"/>
                <a:gd name="T26" fmla="*/ 77 w 101"/>
                <a:gd name="T27" fmla="*/ 47 h 47"/>
                <a:gd name="T28" fmla="*/ 99 w 101"/>
                <a:gd name="T2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47">
                  <a:moveTo>
                    <a:pt x="77" y="45"/>
                  </a:moveTo>
                  <a:cubicBezTo>
                    <a:pt x="44" y="38"/>
                    <a:pt x="41" y="13"/>
                    <a:pt x="41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9" y="35"/>
                    <a:pt x="77" y="45"/>
                    <a:pt x="77" y="45"/>
                  </a:cubicBezTo>
                  <a:moveTo>
                    <a:pt x="99" y="2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21"/>
                    <a:pt x="48" y="41"/>
                    <a:pt x="76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101" y="36"/>
                    <a:pt x="99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70">
              <a:extLst>
                <a:ext uri="{FF2B5EF4-FFF2-40B4-BE49-F238E27FC236}">
                  <a16:creationId xmlns:a16="http://schemas.microsoft.com/office/drawing/2014/main" id="{82061E6D-37BC-46EE-B652-0984EE283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8" y="2031"/>
              <a:ext cx="238" cy="105"/>
            </a:xfrm>
            <a:custGeom>
              <a:avLst/>
              <a:gdLst>
                <a:gd name="T0" fmla="*/ 75 w 97"/>
                <a:gd name="T1" fmla="*/ 42 h 43"/>
                <a:gd name="T2" fmla="*/ 41 w 97"/>
                <a:gd name="T3" fmla="*/ 11 h 43"/>
                <a:gd name="T4" fmla="*/ 41 w 97"/>
                <a:gd name="T5" fmla="*/ 10 h 43"/>
                <a:gd name="T6" fmla="*/ 4 w 97"/>
                <a:gd name="T7" fmla="*/ 10 h 43"/>
                <a:gd name="T8" fmla="*/ 2 w 97"/>
                <a:gd name="T9" fmla="*/ 1 h 43"/>
                <a:gd name="T10" fmla="*/ 93 w 97"/>
                <a:gd name="T11" fmla="*/ 1 h 43"/>
                <a:gd name="T12" fmla="*/ 75 w 97"/>
                <a:gd name="T13" fmla="*/ 42 h 43"/>
                <a:gd name="T14" fmla="*/ 0 w 97"/>
                <a:gd name="T15" fmla="*/ 0 h 43"/>
                <a:gd name="T16" fmla="*/ 2 w 97"/>
                <a:gd name="T17" fmla="*/ 11 h 43"/>
                <a:gd name="T18" fmla="*/ 39 w 97"/>
                <a:gd name="T19" fmla="*/ 11 h 43"/>
                <a:gd name="T20" fmla="*/ 75 w 97"/>
                <a:gd name="T21" fmla="*/ 43 h 43"/>
                <a:gd name="T22" fmla="*/ 95 w 97"/>
                <a:gd name="T23" fmla="*/ 0 h 43"/>
                <a:gd name="T24" fmla="*/ 0 w 97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43">
                  <a:moveTo>
                    <a:pt x="75" y="42"/>
                  </a:moveTo>
                  <a:cubicBezTo>
                    <a:pt x="44" y="35"/>
                    <a:pt x="41" y="12"/>
                    <a:pt x="41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5" y="30"/>
                    <a:pt x="78" y="40"/>
                    <a:pt x="75" y="42"/>
                  </a:cubicBezTo>
                  <a:moveTo>
                    <a:pt x="0" y="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42" y="36"/>
                    <a:pt x="75" y="43"/>
                  </a:cubicBezTo>
                  <a:cubicBezTo>
                    <a:pt x="75" y="43"/>
                    <a:pt x="97" y="33"/>
                    <a:pt x="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271">
              <a:extLst>
                <a:ext uri="{FF2B5EF4-FFF2-40B4-BE49-F238E27FC236}">
                  <a16:creationId xmlns:a16="http://schemas.microsoft.com/office/drawing/2014/main" id="{81AAC9AB-B653-4270-A500-2A470FA84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3" y="2050"/>
              <a:ext cx="22" cy="2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1" name="Group 274">
            <a:extLst>
              <a:ext uri="{FF2B5EF4-FFF2-40B4-BE49-F238E27FC236}">
                <a16:creationId xmlns:a16="http://schemas.microsoft.com/office/drawing/2014/main" id="{558AEA8B-A1A9-43DE-998A-C3F5753084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8213" y="2797175"/>
            <a:ext cx="841375" cy="841375"/>
            <a:chOff x="2991" y="1762"/>
            <a:chExt cx="530" cy="530"/>
          </a:xfrm>
        </p:grpSpPr>
        <p:sp>
          <p:nvSpPr>
            <p:cNvPr id="302" name="AutoShape 273">
              <a:extLst>
                <a:ext uri="{FF2B5EF4-FFF2-40B4-BE49-F238E27FC236}">
                  <a16:creationId xmlns:a16="http://schemas.microsoft.com/office/drawing/2014/main" id="{EAECECC7-49F2-41D7-9A90-F480C4BB26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1" y="176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275">
              <a:extLst>
                <a:ext uri="{FF2B5EF4-FFF2-40B4-BE49-F238E27FC236}">
                  <a16:creationId xmlns:a16="http://schemas.microsoft.com/office/drawing/2014/main" id="{E803DED4-3B0F-4B83-8AE0-2A2EEEB68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1" y="176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76">
              <a:extLst>
                <a:ext uri="{FF2B5EF4-FFF2-40B4-BE49-F238E27FC236}">
                  <a16:creationId xmlns:a16="http://schemas.microsoft.com/office/drawing/2014/main" id="{C54A4119-943D-4A38-A946-25DF40128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9" y="178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77">
              <a:extLst>
                <a:ext uri="{FF2B5EF4-FFF2-40B4-BE49-F238E27FC236}">
                  <a16:creationId xmlns:a16="http://schemas.microsoft.com/office/drawing/2014/main" id="{A07C5C45-AE71-4A6F-9B85-130EB212E4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5" y="1910"/>
              <a:ext cx="202" cy="279"/>
            </a:xfrm>
            <a:custGeom>
              <a:avLst/>
              <a:gdLst>
                <a:gd name="T0" fmla="*/ 10 w 202"/>
                <a:gd name="T1" fmla="*/ 272 h 279"/>
                <a:gd name="T2" fmla="*/ 194 w 202"/>
                <a:gd name="T3" fmla="*/ 272 h 279"/>
                <a:gd name="T4" fmla="*/ 174 w 202"/>
                <a:gd name="T5" fmla="*/ 121 h 279"/>
                <a:gd name="T6" fmla="*/ 146 w 202"/>
                <a:gd name="T7" fmla="*/ 87 h 279"/>
                <a:gd name="T8" fmla="*/ 146 w 202"/>
                <a:gd name="T9" fmla="*/ 8 h 279"/>
                <a:gd name="T10" fmla="*/ 59 w 202"/>
                <a:gd name="T11" fmla="*/ 8 h 279"/>
                <a:gd name="T12" fmla="*/ 59 w 202"/>
                <a:gd name="T13" fmla="*/ 87 h 279"/>
                <a:gd name="T14" fmla="*/ 30 w 202"/>
                <a:gd name="T15" fmla="*/ 121 h 279"/>
                <a:gd name="T16" fmla="*/ 10 w 202"/>
                <a:gd name="T17" fmla="*/ 272 h 279"/>
                <a:gd name="T18" fmla="*/ 202 w 202"/>
                <a:gd name="T19" fmla="*/ 279 h 279"/>
                <a:gd name="T20" fmla="*/ 0 w 202"/>
                <a:gd name="T21" fmla="*/ 279 h 279"/>
                <a:gd name="T22" fmla="*/ 20 w 202"/>
                <a:gd name="T23" fmla="*/ 116 h 279"/>
                <a:gd name="T24" fmla="*/ 48 w 202"/>
                <a:gd name="T25" fmla="*/ 85 h 279"/>
                <a:gd name="T26" fmla="*/ 48 w 202"/>
                <a:gd name="T27" fmla="*/ 0 h 279"/>
                <a:gd name="T28" fmla="*/ 156 w 202"/>
                <a:gd name="T29" fmla="*/ 0 h 279"/>
                <a:gd name="T30" fmla="*/ 156 w 202"/>
                <a:gd name="T31" fmla="*/ 85 h 279"/>
                <a:gd name="T32" fmla="*/ 184 w 202"/>
                <a:gd name="T33" fmla="*/ 116 h 279"/>
                <a:gd name="T34" fmla="*/ 202 w 202"/>
                <a:gd name="T3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2" h="279">
                  <a:moveTo>
                    <a:pt x="10" y="272"/>
                  </a:moveTo>
                  <a:lnTo>
                    <a:pt x="194" y="272"/>
                  </a:lnTo>
                  <a:lnTo>
                    <a:pt x="174" y="121"/>
                  </a:lnTo>
                  <a:lnTo>
                    <a:pt x="146" y="87"/>
                  </a:lnTo>
                  <a:lnTo>
                    <a:pt x="146" y="8"/>
                  </a:lnTo>
                  <a:lnTo>
                    <a:pt x="59" y="8"/>
                  </a:lnTo>
                  <a:lnTo>
                    <a:pt x="59" y="87"/>
                  </a:lnTo>
                  <a:lnTo>
                    <a:pt x="30" y="121"/>
                  </a:lnTo>
                  <a:lnTo>
                    <a:pt x="10" y="272"/>
                  </a:lnTo>
                  <a:close/>
                  <a:moveTo>
                    <a:pt x="202" y="279"/>
                  </a:moveTo>
                  <a:lnTo>
                    <a:pt x="0" y="279"/>
                  </a:lnTo>
                  <a:lnTo>
                    <a:pt x="20" y="116"/>
                  </a:lnTo>
                  <a:lnTo>
                    <a:pt x="48" y="85"/>
                  </a:lnTo>
                  <a:lnTo>
                    <a:pt x="48" y="0"/>
                  </a:lnTo>
                  <a:lnTo>
                    <a:pt x="156" y="0"/>
                  </a:lnTo>
                  <a:lnTo>
                    <a:pt x="156" y="85"/>
                  </a:lnTo>
                  <a:lnTo>
                    <a:pt x="184" y="116"/>
                  </a:lnTo>
                  <a:lnTo>
                    <a:pt x="202" y="2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278">
              <a:extLst>
                <a:ext uri="{FF2B5EF4-FFF2-40B4-BE49-F238E27FC236}">
                  <a16:creationId xmlns:a16="http://schemas.microsoft.com/office/drawing/2014/main" id="{73DA7E9A-17BD-4204-9456-3E477ACEAF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2" y="1936"/>
              <a:ext cx="38" cy="61"/>
            </a:xfrm>
            <a:custGeom>
              <a:avLst/>
              <a:gdLst>
                <a:gd name="T0" fmla="*/ 10 w 38"/>
                <a:gd name="T1" fmla="*/ 54 h 61"/>
                <a:gd name="T2" fmla="*/ 31 w 38"/>
                <a:gd name="T3" fmla="*/ 54 h 61"/>
                <a:gd name="T4" fmla="*/ 31 w 38"/>
                <a:gd name="T5" fmla="*/ 8 h 61"/>
                <a:gd name="T6" fmla="*/ 10 w 38"/>
                <a:gd name="T7" fmla="*/ 8 h 61"/>
                <a:gd name="T8" fmla="*/ 10 w 38"/>
                <a:gd name="T9" fmla="*/ 54 h 61"/>
                <a:gd name="T10" fmla="*/ 38 w 38"/>
                <a:gd name="T11" fmla="*/ 61 h 61"/>
                <a:gd name="T12" fmla="*/ 0 w 38"/>
                <a:gd name="T13" fmla="*/ 61 h 61"/>
                <a:gd name="T14" fmla="*/ 0 w 38"/>
                <a:gd name="T15" fmla="*/ 0 h 61"/>
                <a:gd name="T16" fmla="*/ 38 w 38"/>
                <a:gd name="T17" fmla="*/ 0 h 61"/>
                <a:gd name="T18" fmla="*/ 38 w 38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61">
                  <a:moveTo>
                    <a:pt x="10" y="54"/>
                  </a:moveTo>
                  <a:lnTo>
                    <a:pt x="31" y="54"/>
                  </a:lnTo>
                  <a:lnTo>
                    <a:pt x="31" y="8"/>
                  </a:lnTo>
                  <a:lnTo>
                    <a:pt x="10" y="8"/>
                  </a:lnTo>
                  <a:lnTo>
                    <a:pt x="10" y="54"/>
                  </a:lnTo>
                  <a:close/>
                  <a:moveTo>
                    <a:pt x="38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79">
              <a:extLst>
                <a:ext uri="{FF2B5EF4-FFF2-40B4-BE49-F238E27FC236}">
                  <a16:creationId xmlns:a16="http://schemas.microsoft.com/office/drawing/2014/main" id="{D3DCA774-717D-4B29-AA29-D55D34A73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1" y="1862"/>
              <a:ext cx="26" cy="56"/>
            </a:xfrm>
            <a:custGeom>
              <a:avLst/>
              <a:gdLst>
                <a:gd name="T0" fmla="*/ 8 w 26"/>
                <a:gd name="T1" fmla="*/ 48 h 56"/>
                <a:gd name="T2" fmla="*/ 18 w 26"/>
                <a:gd name="T3" fmla="*/ 48 h 56"/>
                <a:gd name="T4" fmla="*/ 18 w 26"/>
                <a:gd name="T5" fmla="*/ 7 h 56"/>
                <a:gd name="T6" fmla="*/ 8 w 26"/>
                <a:gd name="T7" fmla="*/ 7 h 56"/>
                <a:gd name="T8" fmla="*/ 8 w 26"/>
                <a:gd name="T9" fmla="*/ 48 h 56"/>
                <a:gd name="T10" fmla="*/ 26 w 26"/>
                <a:gd name="T11" fmla="*/ 56 h 56"/>
                <a:gd name="T12" fmla="*/ 0 w 26"/>
                <a:gd name="T13" fmla="*/ 56 h 56"/>
                <a:gd name="T14" fmla="*/ 0 w 26"/>
                <a:gd name="T15" fmla="*/ 0 h 56"/>
                <a:gd name="T16" fmla="*/ 26 w 26"/>
                <a:gd name="T17" fmla="*/ 0 h 56"/>
                <a:gd name="T18" fmla="*/ 26 w 26"/>
                <a:gd name="T1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6">
                  <a:moveTo>
                    <a:pt x="8" y="48"/>
                  </a:moveTo>
                  <a:lnTo>
                    <a:pt x="18" y="48"/>
                  </a:lnTo>
                  <a:lnTo>
                    <a:pt x="18" y="7"/>
                  </a:lnTo>
                  <a:lnTo>
                    <a:pt x="8" y="7"/>
                  </a:lnTo>
                  <a:lnTo>
                    <a:pt x="8" y="48"/>
                  </a:lnTo>
                  <a:close/>
                  <a:moveTo>
                    <a:pt x="26" y="56"/>
                  </a:moveTo>
                  <a:lnTo>
                    <a:pt x="0" y="56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80">
              <a:extLst>
                <a:ext uri="{FF2B5EF4-FFF2-40B4-BE49-F238E27FC236}">
                  <a16:creationId xmlns:a16="http://schemas.microsoft.com/office/drawing/2014/main" id="{8BFB6D93-DE7B-4C15-A8AE-7A737076B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8" y="1862"/>
              <a:ext cx="25" cy="56"/>
            </a:xfrm>
            <a:custGeom>
              <a:avLst/>
              <a:gdLst>
                <a:gd name="T0" fmla="*/ 7 w 25"/>
                <a:gd name="T1" fmla="*/ 48 h 56"/>
                <a:gd name="T2" fmla="*/ 15 w 25"/>
                <a:gd name="T3" fmla="*/ 48 h 56"/>
                <a:gd name="T4" fmla="*/ 15 w 25"/>
                <a:gd name="T5" fmla="*/ 7 h 56"/>
                <a:gd name="T6" fmla="*/ 7 w 25"/>
                <a:gd name="T7" fmla="*/ 7 h 56"/>
                <a:gd name="T8" fmla="*/ 7 w 25"/>
                <a:gd name="T9" fmla="*/ 48 h 56"/>
                <a:gd name="T10" fmla="*/ 25 w 25"/>
                <a:gd name="T11" fmla="*/ 56 h 56"/>
                <a:gd name="T12" fmla="*/ 0 w 25"/>
                <a:gd name="T13" fmla="*/ 56 h 56"/>
                <a:gd name="T14" fmla="*/ 0 w 25"/>
                <a:gd name="T15" fmla="*/ 0 h 56"/>
                <a:gd name="T16" fmla="*/ 25 w 25"/>
                <a:gd name="T17" fmla="*/ 0 h 56"/>
                <a:gd name="T18" fmla="*/ 25 w 25"/>
                <a:gd name="T1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56">
                  <a:moveTo>
                    <a:pt x="7" y="48"/>
                  </a:moveTo>
                  <a:lnTo>
                    <a:pt x="15" y="48"/>
                  </a:lnTo>
                  <a:lnTo>
                    <a:pt x="15" y="7"/>
                  </a:lnTo>
                  <a:lnTo>
                    <a:pt x="7" y="7"/>
                  </a:lnTo>
                  <a:lnTo>
                    <a:pt x="7" y="48"/>
                  </a:lnTo>
                  <a:close/>
                  <a:moveTo>
                    <a:pt x="25" y="56"/>
                  </a:moveTo>
                  <a:lnTo>
                    <a:pt x="0" y="56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81">
              <a:extLst>
                <a:ext uri="{FF2B5EF4-FFF2-40B4-BE49-F238E27FC236}">
                  <a16:creationId xmlns:a16="http://schemas.microsoft.com/office/drawing/2014/main" id="{297828D0-F423-4633-A15A-A24E50748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" y="2023"/>
              <a:ext cx="94" cy="105"/>
            </a:xfrm>
            <a:custGeom>
              <a:avLst/>
              <a:gdLst>
                <a:gd name="T0" fmla="*/ 0 w 37"/>
                <a:gd name="T1" fmla="*/ 41 h 41"/>
                <a:gd name="T2" fmla="*/ 0 w 37"/>
                <a:gd name="T3" fmla="*/ 41 h 41"/>
                <a:gd name="T4" fmla="*/ 0 w 37"/>
                <a:gd name="T5" fmla="*/ 37 h 41"/>
                <a:gd name="T6" fmla="*/ 13 w 37"/>
                <a:gd name="T7" fmla="*/ 32 h 41"/>
                <a:gd name="T8" fmla="*/ 17 w 37"/>
                <a:gd name="T9" fmla="*/ 21 h 41"/>
                <a:gd name="T10" fmla="*/ 22 w 37"/>
                <a:gd name="T11" fmla="*/ 6 h 41"/>
                <a:gd name="T12" fmla="*/ 37 w 37"/>
                <a:gd name="T13" fmla="*/ 0 h 41"/>
                <a:gd name="T14" fmla="*/ 37 w 37"/>
                <a:gd name="T15" fmla="*/ 4 h 41"/>
                <a:gd name="T16" fmla="*/ 25 w 37"/>
                <a:gd name="T17" fmla="*/ 9 h 41"/>
                <a:gd name="T18" fmla="*/ 21 w 37"/>
                <a:gd name="T19" fmla="*/ 21 h 41"/>
                <a:gd name="T20" fmla="*/ 16 w 37"/>
                <a:gd name="T21" fmla="*/ 35 h 41"/>
                <a:gd name="T22" fmla="*/ 0 w 37"/>
                <a:gd name="T2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41">
                  <a:moveTo>
                    <a:pt x="0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37"/>
                    <a:pt x="8" y="37"/>
                    <a:pt x="13" y="32"/>
                  </a:cubicBezTo>
                  <a:cubicBezTo>
                    <a:pt x="16" y="29"/>
                    <a:pt x="17" y="26"/>
                    <a:pt x="17" y="21"/>
                  </a:cubicBezTo>
                  <a:cubicBezTo>
                    <a:pt x="17" y="15"/>
                    <a:pt x="19" y="10"/>
                    <a:pt x="22" y="6"/>
                  </a:cubicBezTo>
                  <a:cubicBezTo>
                    <a:pt x="28" y="0"/>
                    <a:pt x="37" y="0"/>
                    <a:pt x="37" y="0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0" y="4"/>
                    <a:pt x="25" y="9"/>
                  </a:cubicBezTo>
                  <a:cubicBezTo>
                    <a:pt x="22" y="12"/>
                    <a:pt x="21" y="16"/>
                    <a:pt x="21" y="21"/>
                  </a:cubicBezTo>
                  <a:cubicBezTo>
                    <a:pt x="21" y="26"/>
                    <a:pt x="19" y="31"/>
                    <a:pt x="16" y="35"/>
                  </a:cubicBezTo>
                  <a:cubicBezTo>
                    <a:pt x="10" y="40"/>
                    <a:pt x="1" y="41"/>
                    <a:pt x="0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82">
              <a:extLst>
                <a:ext uri="{FF2B5EF4-FFF2-40B4-BE49-F238E27FC236}">
                  <a16:creationId xmlns:a16="http://schemas.microsoft.com/office/drawing/2014/main" id="{41572824-E6E5-4941-A92F-7D96896B0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4" y="2023"/>
              <a:ext cx="95" cy="105"/>
            </a:xfrm>
            <a:custGeom>
              <a:avLst/>
              <a:gdLst>
                <a:gd name="T0" fmla="*/ 36 w 37"/>
                <a:gd name="T1" fmla="*/ 41 h 41"/>
                <a:gd name="T2" fmla="*/ 21 w 37"/>
                <a:gd name="T3" fmla="*/ 35 h 41"/>
                <a:gd name="T4" fmla="*/ 16 w 37"/>
                <a:gd name="T5" fmla="*/ 21 h 41"/>
                <a:gd name="T6" fmla="*/ 12 w 37"/>
                <a:gd name="T7" fmla="*/ 9 h 41"/>
                <a:gd name="T8" fmla="*/ 0 w 37"/>
                <a:gd name="T9" fmla="*/ 4 h 41"/>
                <a:gd name="T10" fmla="*/ 0 w 37"/>
                <a:gd name="T11" fmla="*/ 0 h 41"/>
                <a:gd name="T12" fmla="*/ 15 w 37"/>
                <a:gd name="T13" fmla="*/ 6 h 41"/>
                <a:gd name="T14" fmla="*/ 20 w 37"/>
                <a:gd name="T15" fmla="*/ 21 h 41"/>
                <a:gd name="T16" fmla="*/ 24 w 37"/>
                <a:gd name="T17" fmla="*/ 32 h 41"/>
                <a:gd name="T18" fmla="*/ 37 w 37"/>
                <a:gd name="T19" fmla="*/ 37 h 41"/>
                <a:gd name="T20" fmla="*/ 37 w 37"/>
                <a:gd name="T21" fmla="*/ 41 h 41"/>
                <a:gd name="T22" fmla="*/ 36 w 37"/>
                <a:gd name="T2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41">
                  <a:moveTo>
                    <a:pt x="36" y="41"/>
                  </a:moveTo>
                  <a:cubicBezTo>
                    <a:pt x="36" y="41"/>
                    <a:pt x="27" y="40"/>
                    <a:pt x="21" y="35"/>
                  </a:cubicBezTo>
                  <a:cubicBezTo>
                    <a:pt x="18" y="31"/>
                    <a:pt x="16" y="26"/>
                    <a:pt x="16" y="21"/>
                  </a:cubicBezTo>
                  <a:cubicBezTo>
                    <a:pt x="16" y="16"/>
                    <a:pt x="15" y="12"/>
                    <a:pt x="12" y="9"/>
                  </a:cubicBezTo>
                  <a:cubicBezTo>
                    <a:pt x="7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9" y="0"/>
                    <a:pt x="15" y="6"/>
                  </a:cubicBezTo>
                  <a:cubicBezTo>
                    <a:pt x="18" y="10"/>
                    <a:pt x="20" y="15"/>
                    <a:pt x="20" y="21"/>
                  </a:cubicBezTo>
                  <a:cubicBezTo>
                    <a:pt x="20" y="26"/>
                    <a:pt x="21" y="30"/>
                    <a:pt x="24" y="32"/>
                  </a:cubicBezTo>
                  <a:cubicBezTo>
                    <a:pt x="29" y="37"/>
                    <a:pt x="36" y="37"/>
                    <a:pt x="37" y="37"/>
                  </a:cubicBezTo>
                  <a:cubicBezTo>
                    <a:pt x="37" y="41"/>
                    <a:pt x="37" y="41"/>
                    <a:pt x="37" y="41"/>
                  </a:cubicBezTo>
                  <a:lnTo>
                    <a:pt x="36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83">
              <a:extLst>
                <a:ext uri="{FF2B5EF4-FFF2-40B4-BE49-F238E27FC236}">
                  <a16:creationId xmlns:a16="http://schemas.microsoft.com/office/drawing/2014/main" id="{D480A31B-C79B-4CF2-B88F-8A8E435C95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" y="2036"/>
              <a:ext cx="82" cy="79"/>
            </a:xfrm>
            <a:custGeom>
              <a:avLst/>
              <a:gdLst>
                <a:gd name="T0" fmla="*/ 18 w 82"/>
                <a:gd name="T1" fmla="*/ 72 h 79"/>
                <a:gd name="T2" fmla="*/ 64 w 82"/>
                <a:gd name="T3" fmla="*/ 72 h 79"/>
                <a:gd name="T4" fmla="*/ 72 w 82"/>
                <a:gd name="T5" fmla="*/ 64 h 79"/>
                <a:gd name="T6" fmla="*/ 72 w 82"/>
                <a:gd name="T7" fmla="*/ 8 h 79"/>
                <a:gd name="T8" fmla="*/ 10 w 82"/>
                <a:gd name="T9" fmla="*/ 8 h 79"/>
                <a:gd name="T10" fmla="*/ 10 w 82"/>
                <a:gd name="T11" fmla="*/ 64 h 79"/>
                <a:gd name="T12" fmla="*/ 18 w 82"/>
                <a:gd name="T13" fmla="*/ 72 h 79"/>
                <a:gd name="T14" fmla="*/ 69 w 82"/>
                <a:gd name="T15" fmla="*/ 79 h 79"/>
                <a:gd name="T16" fmla="*/ 13 w 82"/>
                <a:gd name="T17" fmla="*/ 79 h 79"/>
                <a:gd name="T18" fmla="*/ 0 w 82"/>
                <a:gd name="T19" fmla="*/ 66 h 79"/>
                <a:gd name="T20" fmla="*/ 0 w 82"/>
                <a:gd name="T21" fmla="*/ 0 h 79"/>
                <a:gd name="T22" fmla="*/ 82 w 82"/>
                <a:gd name="T23" fmla="*/ 0 h 79"/>
                <a:gd name="T24" fmla="*/ 82 w 82"/>
                <a:gd name="T25" fmla="*/ 66 h 79"/>
                <a:gd name="T26" fmla="*/ 69 w 82"/>
                <a:gd name="T2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79">
                  <a:moveTo>
                    <a:pt x="18" y="72"/>
                  </a:moveTo>
                  <a:lnTo>
                    <a:pt x="64" y="72"/>
                  </a:lnTo>
                  <a:lnTo>
                    <a:pt x="72" y="64"/>
                  </a:lnTo>
                  <a:lnTo>
                    <a:pt x="72" y="8"/>
                  </a:lnTo>
                  <a:lnTo>
                    <a:pt x="10" y="8"/>
                  </a:lnTo>
                  <a:lnTo>
                    <a:pt x="10" y="64"/>
                  </a:lnTo>
                  <a:lnTo>
                    <a:pt x="18" y="72"/>
                  </a:lnTo>
                  <a:close/>
                  <a:moveTo>
                    <a:pt x="69" y="79"/>
                  </a:moveTo>
                  <a:lnTo>
                    <a:pt x="13" y="79"/>
                  </a:lnTo>
                  <a:lnTo>
                    <a:pt x="0" y="66"/>
                  </a:lnTo>
                  <a:lnTo>
                    <a:pt x="0" y="0"/>
                  </a:lnTo>
                  <a:lnTo>
                    <a:pt x="82" y="0"/>
                  </a:lnTo>
                  <a:lnTo>
                    <a:pt x="82" y="66"/>
                  </a:lnTo>
                  <a:lnTo>
                    <a:pt x="69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2" name="Group 286">
            <a:extLst>
              <a:ext uri="{FF2B5EF4-FFF2-40B4-BE49-F238E27FC236}">
                <a16:creationId xmlns:a16="http://schemas.microsoft.com/office/drawing/2014/main" id="{BA5A2645-CD34-460A-A2D1-600A6C705D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5950" y="2797175"/>
            <a:ext cx="841375" cy="841375"/>
            <a:chOff x="4388" y="1762"/>
            <a:chExt cx="530" cy="530"/>
          </a:xfrm>
        </p:grpSpPr>
        <p:sp>
          <p:nvSpPr>
            <p:cNvPr id="313" name="AutoShape 285">
              <a:extLst>
                <a:ext uri="{FF2B5EF4-FFF2-40B4-BE49-F238E27FC236}">
                  <a16:creationId xmlns:a16="http://schemas.microsoft.com/office/drawing/2014/main" id="{2C442E12-9E46-4AA9-96EA-D98375E44B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8" y="176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Oval 287">
              <a:extLst>
                <a:ext uri="{FF2B5EF4-FFF2-40B4-BE49-F238E27FC236}">
                  <a16:creationId xmlns:a16="http://schemas.microsoft.com/office/drawing/2014/main" id="{1CC6BD97-3399-4F77-B396-EA06F8A3F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8" y="176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88">
              <a:extLst>
                <a:ext uri="{FF2B5EF4-FFF2-40B4-BE49-F238E27FC236}">
                  <a16:creationId xmlns:a16="http://schemas.microsoft.com/office/drawing/2014/main" id="{B99E6720-8166-47E9-BF13-9423F8922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6" y="178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89">
              <a:extLst>
                <a:ext uri="{FF2B5EF4-FFF2-40B4-BE49-F238E27FC236}">
                  <a16:creationId xmlns:a16="http://schemas.microsoft.com/office/drawing/2014/main" id="{AE5B8472-5F65-40E8-B350-927EB04FB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" y="2079"/>
              <a:ext cx="28" cy="16"/>
            </a:xfrm>
            <a:custGeom>
              <a:avLst/>
              <a:gdLst>
                <a:gd name="T0" fmla="*/ 26 w 28"/>
                <a:gd name="T1" fmla="*/ 16 h 16"/>
                <a:gd name="T2" fmla="*/ 0 w 28"/>
                <a:gd name="T3" fmla="*/ 8 h 16"/>
                <a:gd name="T4" fmla="*/ 2 w 28"/>
                <a:gd name="T5" fmla="*/ 0 h 16"/>
                <a:gd name="T6" fmla="*/ 28 w 28"/>
                <a:gd name="T7" fmla="*/ 8 h 16"/>
                <a:gd name="T8" fmla="*/ 26 w 2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6">
                  <a:moveTo>
                    <a:pt x="26" y="16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28" y="8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90">
              <a:extLst>
                <a:ext uri="{FF2B5EF4-FFF2-40B4-BE49-F238E27FC236}">
                  <a16:creationId xmlns:a16="http://schemas.microsoft.com/office/drawing/2014/main" id="{60E7F68D-E056-42CB-AAFF-82EC91677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1880"/>
              <a:ext cx="69" cy="112"/>
            </a:xfrm>
            <a:custGeom>
              <a:avLst/>
              <a:gdLst>
                <a:gd name="T0" fmla="*/ 3 w 27"/>
                <a:gd name="T1" fmla="*/ 44 h 44"/>
                <a:gd name="T2" fmla="*/ 0 w 27"/>
                <a:gd name="T3" fmla="*/ 42 h 44"/>
                <a:gd name="T4" fmla="*/ 22 w 27"/>
                <a:gd name="T5" fmla="*/ 4 h 44"/>
                <a:gd name="T6" fmla="*/ 15 w 27"/>
                <a:gd name="T7" fmla="*/ 8 h 44"/>
                <a:gd name="T8" fmla="*/ 12 w 27"/>
                <a:gd name="T9" fmla="*/ 7 h 44"/>
                <a:gd name="T10" fmla="*/ 25 w 27"/>
                <a:gd name="T11" fmla="*/ 1 h 44"/>
                <a:gd name="T12" fmla="*/ 27 w 27"/>
                <a:gd name="T13" fmla="*/ 1 h 44"/>
                <a:gd name="T14" fmla="*/ 3 w 27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44">
                  <a:moveTo>
                    <a:pt x="3" y="44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9" y="3"/>
                    <a:pt x="17" y="4"/>
                    <a:pt x="15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5" y="0"/>
                    <a:pt x="21" y="0"/>
                    <a:pt x="25" y="1"/>
                  </a:cubicBezTo>
                  <a:cubicBezTo>
                    <a:pt x="27" y="1"/>
                    <a:pt x="27" y="1"/>
                    <a:pt x="27" y="1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91">
              <a:extLst>
                <a:ext uri="{FF2B5EF4-FFF2-40B4-BE49-F238E27FC236}">
                  <a16:creationId xmlns:a16="http://schemas.microsoft.com/office/drawing/2014/main" id="{F2973CAE-2A5B-4FB1-9992-3D5422C87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" y="2046"/>
              <a:ext cx="64" cy="21"/>
            </a:xfrm>
            <a:custGeom>
              <a:avLst/>
              <a:gdLst>
                <a:gd name="T0" fmla="*/ 22 w 25"/>
                <a:gd name="T1" fmla="*/ 5 h 8"/>
                <a:gd name="T2" fmla="*/ 22 w 25"/>
                <a:gd name="T3" fmla="*/ 5 h 8"/>
                <a:gd name="T4" fmla="*/ 22 w 25"/>
                <a:gd name="T5" fmla="*/ 3 h 8"/>
                <a:gd name="T6" fmla="*/ 4 w 25"/>
                <a:gd name="T7" fmla="*/ 3 h 8"/>
                <a:gd name="T8" fmla="*/ 4 w 25"/>
                <a:gd name="T9" fmla="*/ 5 h 8"/>
                <a:gd name="T10" fmla="*/ 22 w 25"/>
                <a:gd name="T11" fmla="*/ 5 h 8"/>
                <a:gd name="T12" fmla="*/ 22 w 25"/>
                <a:gd name="T13" fmla="*/ 3 h 8"/>
                <a:gd name="T14" fmla="*/ 22 w 25"/>
                <a:gd name="T15" fmla="*/ 8 h 8"/>
                <a:gd name="T16" fmla="*/ 4 w 25"/>
                <a:gd name="T17" fmla="*/ 8 h 8"/>
                <a:gd name="T18" fmla="*/ 0 w 25"/>
                <a:gd name="T19" fmla="*/ 5 h 8"/>
                <a:gd name="T20" fmla="*/ 0 w 25"/>
                <a:gd name="T21" fmla="*/ 3 h 8"/>
                <a:gd name="T22" fmla="*/ 4 w 25"/>
                <a:gd name="T23" fmla="*/ 0 h 8"/>
                <a:gd name="T24" fmla="*/ 22 w 25"/>
                <a:gd name="T25" fmla="*/ 0 h 8"/>
                <a:gd name="T26" fmla="*/ 25 w 25"/>
                <a:gd name="T27" fmla="*/ 3 h 8"/>
                <a:gd name="T28" fmla="*/ 25 w 25"/>
                <a:gd name="T29" fmla="*/ 5 h 8"/>
                <a:gd name="T30" fmla="*/ 22 w 25"/>
                <a:gd name="T3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8"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moveTo>
                    <a:pt x="22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2" y="5"/>
                    <a:pt x="22" y="5"/>
                    <a:pt x="22" y="5"/>
                  </a:cubicBezTo>
                  <a:lnTo>
                    <a:pt x="22" y="3"/>
                  </a:lnTo>
                  <a:close/>
                  <a:moveTo>
                    <a:pt x="2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7"/>
                    <a:pt x="23" y="8"/>
                    <a:pt x="2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92">
              <a:extLst>
                <a:ext uri="{FF2B5EF4-FFF2-40B4-BE49-F238E27FC236}">
                  <a16:creationId xmlns:a16="http://schemas.microsoft.com/office/drawing/2014/main" id="{EC6AD508-0E92-4E38-86EA-98E8ADEAB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0" y="1869"/>
              <a:ext cx="238" cy="246"/>
            </a:xfrm>
            <a:custGeom>
              <a:avLst/>
              <a:gdLst>
                <a:gd name="T0" fmla="*/ 90 w 93"/>
                <a:gd name="T1" fmla="*/ 96 h 96"/>
                <a:gd name="T2" fmla="*/ 81 w 93"/>
                <a:gd name="T3" fmla="*/ 94 h 96"/>
                <a:gd name="T4" fmla="*/ 47 w 93"/>
                <a:gd name="T5" fmla="*/ 94 h 96"/>
                <a:gd name="T6" fmla="*/ 31 w 93"/>
                <a:gd name="T7" fmla="*/ 85 h 96"/>
                <a:gd name="T8" fmla="*/ 4 w 93"/>
                <a:gd name="T9" fmla="*/ 85 h 96"/>
                <a:gd name="T10" fmla="*/ 4 w 93"/>
                <a:gd name="T11" fmla="*/ 85 h 96"/>
                <a:gd name="T12" fmla="*/ 0 w 93"/>
                <a:gd name="T13" fmla="*/ 76 h 96"/>
                <a:gd name="T14" fmla="*/ 4 w 93"/>
                <a:gd name="T15" fmla="*/ 76 h 96"/>
                <a:gd name="T16" fmla="*/ 6 w 93"/>
                <a:gd name="T17" fmla="*/ 82 h 96"/>
                <a:gd name="T18" fmla="*/ 32 w 93"/>
                <a:gd name="T19" fmla="*/ 82 h 96"/>
                <a:gd name="T20" fmla="*/ 48 w 93"/>
                <a:gd name="T21" fmla="*/ 90 h 96"/>
                <a:gd name="T22" fmla="*/ 82 w 93"/>
                <a:gd name="T23" fmla="*/ 90 h 96"/>
                <a:gd name="T24" fmla="*/ 88 w 93"/>
                <a:gd name="T25" fmla="*/ 92 h 96"/>
                <a:gd name="T26" fmla="*/ 89 w 93"/>
                <a:gd name="T27" fmla="*/ 86 h 96"/>
                <a:gd name="T28" fmla="*/ 86 w 93"/>
                <a:gd name="T29" fmla="*/ 76 h 96"/>
                <a:gd name="T30" fmla="*/ 74 w 93"/>
                <a:gd name="T31" fmla="*/ 71 h 96"/>
                <a:gd name="T32" fmla="*/ 73 w 93"/>
                <a:gd name="T33" fmla="*/ 71 h 96"/>
                <a:gd name="T34" fmla="*/ 55 w 93"/>
                <a:gd name="T35" fmla="*/ 47 h 96"/>
                <a:gd name="T36" fmla="*/ 67 w 93"/>
                <a:gd name="T37" fmla="*/ 13 h 96"/>
                <a:gd name="T38" fmla="*/ 34 w 93"/>
                <a:gd name="T39" fmla="*/ 4 h 96"/>
                <a:gd name="T40" fmla="*/ 27 w 93"/>
                <a:gd name="T41" fmla="*/ 22 h 96"/>
                <a:gd name="T42" fmla="*/ 24 w 93"/>
                <a:gd name="T43" fmla="*/ 21 h 96"/>
                <a:gd name="T44" fmla="*/ 32 w 93"/>
                <a:gd name="T45" fmla="*/ 0 h 96"/>
                <a:gd name="T46" fmla="*/ 71 w 93"/>
                <a:gd name="T47" fmla="*/ 10 h 96"/>
                <a:gd name="T48" fmla="*/ 58 w 93"/>
                <a:gd name="T49" fmla="*/ 46 h 96"/>
                <a:gd name="T50" fmla="*/ 74 w 93"/>
                <a:gd name="T51" fmla="*/ 68 h 96"/>
                <a:gd name="T52" fmla="*/ 89 w 93"/>
                <a:gd name="T53" fmla="*/ 73 h 96"/>
                <a:gd name="T54" fmla="*/ 92 w 93"/>
                <a:gd name="T55" fmla="*/ 86 h 96"/>
                <a:gd name="T56" fmla="*/ 90 w 93"/>
                <a:gd name="T5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96">
                  <a:moveTo>
                    <a:pt x="90" y="96"/>
                  </a:moveTo>
                  <a:cubicBezTo>
                    <a:pt x="81" y="94"/>
                    <a:pt x="81" y="94"/>
                    <a:pt x="81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1" y="81"/>
                    <a:pt x="0" y="76"/>
                    <a:pt x="0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9"/>
                    <a:pt x="6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2"/>
                    <a:pt x="88" y="78"/>
                    <a:pt x="86" y="76"/>
                  </a:cubicBezTo>
                  <a:cubicBezTo>
                    <a:pt x="82" y="71"/>
                    <a:pt x="74" y="71"/>
                    <a:pt x="74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7" y="68"/>
                    <a:pt x="84" y="68"/>
                    <a:pt x="89" y="73"/>
                  </a:cubicBezTo>
                  <a:cubicBezTo>
                    <a:pt x="92" y="76"/>
                    <a:pt x="93" y="81"/>
                    <a:pt x="92" y="86"/>
                  </a:cubicBezTo>
                  <a:lnTo>
                    <a:pt x="90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93">
              <a:extLst>
                <a:ext uri="{FF2B5EF4-FFF2-40B4-BE49-F238E27FC236}">
                  <a16:creationId xmlns:a16="http://schemas.microsoft.com/office/drawing/2014/main" id="{8D8A310C-B853-4143-80E4-BF8599FD6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0" y="1895"/>
              <a:ext cx="213" cy="230"/>
            </a:xfrm>
            <a:custGeom>
              <a:avLst/>
              <a:gdLst>
                <a:gd name="T0" fmla="*/ 83 w 83"/>
                <a:gd name="T1" fmla="*/ 90 h 90"/>
                <a:gd name="T2" fmla="*/ 45 w 83"/>
                <a:gd name="T3" fmla="*/ 90 h 90"/>
                <a:gd name="T4" fmla="*/ 32 w 83"/>
                <a:gd name="T5" fmla="*/ 83 h 90"/>
                <a:gd name="T6" fmla="*/ 32 w 83"/>
                <a:gd name="T7" fmla="*/ 89 h 90"/>
                <a:gd name="T8" fmla="*/ 22 w 83"/>
                <a:gd name="T9" fmla="*/ 89 h 90"/>
                <a:gd name="T10" fmla="*/ 22 w 83"/>
                <a:gd name="T11" fmla="*/ 89 h 90"/>
                <a:gd name="T12" fmla="*/ 22 w 83"/>
                <a:gd name="T13" fmla="*/ 89 h 90"/>
                <a:gd name="T14" fmla="*/ 12 w 83"/>
                <a:gd name="T15" fmla="*/ 89 h 90"/>
                <a:gd name="T16" fmla="*/ 12 w 83"/>
                <a:gd name="T17" fmla="*/ 88 h 90"/>
                <a:gd name="T18" fmla="*/ 12 w 83"/>
                <a:gd name="T19" fmla="*/ 89 h 90"/>
                <a:gd name="T20" fmla="*/ 3 w 83"/>
                <a:gd name="T21" fmla="*/ 89 h 90"/>
                <a:gd name="T22" fmla="*/ 3 w 83"/>
                <a:gd name="T23" fmla="*/ 73 h 90"/>
                <a:gd name="T24" fmla="*/ 7 w 83"/>
                <a:gd name="T25" fmla="*/ 73 h 90"/>
                <a:gd name="T26" fmla="*/ 7 w 83"/>
                <a:gd name="T27" fmla="*/ 86 h 90"/>
                <a:gd name="T28" fmla="*/ 9 w 83"/>
                <a:gd name="T29" fmla="*/ 86 h 90"/>
                <a:gd name="T30" fmla="*/ 12 w 83"/>
                <a:gd name="T31" fmla="*/ 80 h 90"/>
                <a:gd name="T32" fmla="*/ 14 w 83"/>
                <a:gd name="T33" fmla="*/ 86 h 90"/>
                <a:gd name="T34" fmla="*/ 20 w 83"/>
                <a:gd name="T35" fmla="*/ 86 h 90"/>
                <a:gd name="T36" fmla="*/ 22 w 83"/>
                <a:gd name="T37" fmla="*/ 80 h 90"/>
                <a:gd name="T38" fmla="*/ 24 w 83"/>
                <a:gd name="T39" fmla="*/ 86 h 90"/>
                <a:gd name="T40" fmla="*/ 28 w 83"/>
                <a:gd name="T41" fmla="*/ 86 h 90"/>
                <a:gd name="T42" fmla="*/ 28 w 83"/>
                <a:gd name="T43" fmla="*/ 77 h 90"/>
                <a:gd name="T44" fmla="*/ 46 w 83"/>
                <a:gd name="T45" fmla="*/ 87 h 90"/>
                <a:gd name="T46" fmla="*/ 79 w 83"/>
                <a:gd name="T47" fmla="*/ 87 h 90"/>
                <a:gd name="T48" fmla="*/ 79 w 83"/>
                <a:gd name="T49" fmla="*/ 75 h 90"/>
                <a:gd name="T50" fmla="*/ 74 w 83"/>
                <a:gd name="T51" fmla="*/ 69 h 90"/>
                <a:gd name="T52" fmla="*/ 63 w 83"/>
                <a:gd name="T53" fmla="*/ 69 h 90"/>
                <a:gd name="T54" fmla="*/ 62 w 83"/>
                <a:gd name="T55" fmla="*/ 69 h 90"/>
                <a:gd name="T56" fmla="*/ 40 w 83"/>
                <a:gd name="T57" fmla="*/ 51 h 90"/>
                <a:gd name="T58" fmla="*/ 48 w 83"/>
                <a:gd name="T59" fmla="*/ 4 h 90"/>
                <a:gd name="T60" fmla="*/ 45 w 83"/>
                <a:gd name="T61" fmla="*/ 5 h 90"/>
                <a:gd name="T62" fmla="*/ 43 w 83"/>
                <a:gd name="T63" fmla="*/ 11 h 90"/>
                <a:gd name="T64" fmla="*/ 43 w 83"/>
                <a:gd name="T65" fmla="*/ 12 h 90"/>
                <a:gd name="T66" fmla="*/ 7 w 83"/>
                <a:gd name="T67" fmla="*/ 14 h 90"/>
                <a:gd name="T68" fmla="*/ 7 w 83"/>
                <a:gd name="T69" fmla="*/ 52 h 90"/>
                <a:gd name="T70" fmla="*/ 6 w 83"/>
                <a:gd name="T71" fmla="*/ 53 h 90"/>
                <a:gd name="T72" fmla="*/ 4 w 83"/>
                <a:gd name="T73" fmla="*/ 61 h 90"/>
                <a:gd name="T74" fmla="*/ 0 w 83"/>
                <a:gd name="T75" fmla="*/ 61 h 90"/>
                <a:gd name="T76" fmla="*/ 3 w 83"/>
                <a:gd name="T77" fmla="*/ 51 h 90"/>
                <a:gd name="T78" fmla="*/ 3 w 83"/>
                <a:gd name="T79" fmla="*/ 10 h 90"/>
                <a:gd name="T80" fmla="*/ 40 w 83"/>
                <a:gd name="T81" fmla="*/ 9 h 90"/>
                <a:gd name="T82" fmla="*/ 43 w 83"/>
                <a:gd name="T83" fmla="*/ 2 h 90"/>
                <a:gd name="T84" fmla="*/ 51 w 83"/>
                <a:gd name="T85" fmla="*/ 0 h 90"/>
                <a:gd name="T86" fmla="*/ 52 w 83"/>
                <a:gd name="T87" fmla="*/ 1 h 90"/>
                <a:gd name="T88" fmla="*/ 43 w 83"/>
                <a:gd name="T89" fmla="*/ 50 h 90"/>
                <a:gd name="T90" fmla="*/ 62 w 83"/>
                <a:gd name="T91" fmla="*/ 65 h 90"/>
                <a:gd name="T92" fmla="*/ 76 w 83"/>
                <a:gd name="T93" fmla="*/ 66 h 90"/>
                <a:gd name="T94" fmla="*/ 83 w 83"/>
                <a:gd name="T95" fmla="*/ 75 h 90"/>
                <a:gd name="T96" fmla="*/ 83 w 83"/>
                <a:gd name="T97" fmla="*/ 75 h 90"/>
                <a:gd name="T98" fmla="*/ 83 w 83"/>
                <a:gd name="T9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3" h="90">
                  <a:moveTo>
                    <a:pt x="83" y="90"/>
                  </a:moveTo>
                  <a:cubicBezTo>
                    <a:pt x="45" y="90"/>
                    <a:pt x="45" y="90"/>
                    <a:pt x="45" y="90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79" y="87"/>
                    <a:pt x="79" y="87"/>
                    <a:pt x="79" y="87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9" y="74"/>
                    <a:pt x="78" y="71"/>
                    <a:pt x="74" y="69"/>
                  </a:cubicBezTo>
                  <a:cubicBezTo>
                    <a:pt x="71" y="67"/>
                    <a:pt x="67" y="67"/>
                    <a:pt x="63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6" y="4"/>
                    <a:pt x="45" y="5"/>
                  </a:cubicBezTo>
                  <a:cubicBezTo>
                    <a:pt x="44" y="6"/>
                    <a:pt x="43" y="8"/>
                    <a:pt x="43" y="11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3"/>
                    <a:pt x="3" y="56"/>
                    <a:pt x="4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56"/>
                    <a:pt x="2" y="52"/>
                    <a:pt x="3" y="5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6"/>
                    <a:pt x="41" y="4"/>
                    <a:pt x="43" y="2"/>
                  </a:cubicBezTo>
                  <a:cubicBezTo>
                    <a:pt x="46" y="0"/>
                    <a:pt x="50" y="0"/>
                    <a:pt x="51" y="0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8" y="64"/>
                    <a:pt x="72" y="64"/>
                    <a:pt x="76" y="66"/>
                  </a:cubicBezTo>
                  <a:cubicBezTo>
                    <a:pt x="81" y="69"/>
                    <a:pt x="83" y="74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lnTo>
                    <a:pt x="83" y="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Rectangle 294">
              <a:extLst>
                <a:ext uri="{FF2B5EF4-FFF2-40B4-BE49-F238E27FC236}">
                  <a16:creationId xmlns:a16="http://schemas.microsoft.com/office/drawing/2014/main" id="{62C6A65B-D037-459F-8B94-651F54317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2" y="1923"/>
              <a:ext cx="8" cy="1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95">
              <a:extLst>
                <a:ext uri="{FF2B5EF4-FFF2-40B4-BE49-F238E27FC236}">
                  <a16:creationId xmlns:a16="http://schemas.microsoft.com/office/drawing/2014/main" id="{C541C79B-6D8A-4DBC-AD18-F890D5637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" y="2105"/>
              <a:ext cx="240" cy="79"/>
            </a:xfrm>
            <a:custGeom>
              <a:avLst/>
              <a:gdLst>
                <a:gd name="T0" fmla="*/ 76 w 94"/>
                <a:gd name="T1" fmla="*/ 31 h 31"/>
                <a:gd name="T2" fmla="*/ 20 w 94"/>
                <a:gd name="T3" fmla="*/ 31 h 31"/>
                <a:gd name="T4" fmla="*/ 16 w 94"/>
                <a:gd name="T5" fmla="*/ 27 h 31"/>
                <a:gd name="T6" fmla="*/ 18 w 94"/>
                <a:gd name="T7" fmla="*/ 24 h 31"/>
                <a:gd name="T8" fmla="*/ 8 w 94"/>
                <a:gd name="T9" fmla="*/ 24 h 31"/>
                <a:gd name="T10" fmla="*/ 0 w 94"/>
                <a:gd name="T11" fmla="*/ 17 h 31"/>
                <a:gd name="T12" fmla="*/ 8 w 94"/>
                <a:gd name="T13" fmla="*/ 10 h 31"/>
                <a:gd name="T14" fmla="*/ 36 w 94"/>
                <a:gd name="T15" fmla="*/ 10 h 31"/>
                <a:gd name="T16" fmla="*/ 36 w 94"/>
                <a:gd name="T17" fmla="*/ 10 h 31"/>
                <a:gd name="T18" fmla="*/ 36 w 94"/>
                <a:gd name="T19" fmla="*/ 7 h 31"/>
                <a:gd name="T20" fmla="*/ 39 w 94"/>
                <a:gd name="T21" fmla="*/ 7 h 31"/>
                <a:gd name="T22" fmla="*/ 39 w 94"/>
                <a:gd name="T23" fmla="*/ 10 h 31"/>
                <a:gd name="T24" fmla="*/ 36 w 94"/>
                <a:gd name="T25" fmla="*/ 14 h 31"/>
                <a:gd name="T26" fmla="*/ 8 w 94"/>
                <a:gd name="T27" fmla="*/ 14 h 31"/>
                <a:gd name="T28" fmla="*/ 3 w 94"/>
                <a:gd name="T29" fmla="*/ 17 h 31"/>
                <a:gd name="T30" fmla="*/ 8 w 94"/>
                <a:gd name="T31" fmla="*/ 20 h 31"/>
                <a:gd name="T32" fmla="*/ 36 w 94"/>
                <a:gd name="T33" fmla="*/ 20 h 31"/>
                <a:gd name="T34" fmla="*/ 39 w 94"/>
                <a:gd name="T35" fmla="*/ 24 h 31"/>
                <a:gd name="T36" fmla="*/ 36 w 94"/>
                <a:gd name="T37" fmla="*/ 27 h 31"/>
                <a:gd name="T38" fmla="*/ 20 w 94"/>
                <a:gd name="T39" fmla="*/ 27 h 31"/>
                <a:gd name="T40" fmla="*/ 19 w 94"/>
                <a:gd name="T41" fmla="*/ 27 h 31"/>
                <a:gd name="T42" fmla="*/ 20 w 94"/>
                <a:gd name="T43" fmla="*/ 28 h 31"/>
                <a:gd name="T44" fmla="*/ 76 w 94"/>
                <a:gd name="T45" fmla="*/ 28 h 31"/>
                <a:gd name="T46" fmla="*/ 80 w 94"/>
                <a:gd name="T47" fmla="*/ 25 h 31"/>
                <a:gd name="T48" fmla="*/ 76 w 94"/>
                <a:gd name="T49" fmla="*/ 23 h 31"/>
                <a:gd name="T50" fmla="*/ 60 w 94"/>
                <a:gd name="T51" fmla="*/ 23 h 31"/>
                <a:gd name="T52" fmla="*/ 56 w 94"/>
                <a:gd name="T53" fmla="*/ 19 h 31"/>
                <a:gd name="T54" fmla="*/ 60 w 94"/>
                <a:gd name="T55" fmla="*/ 15 h 31"/>
                <a:gd name="T56" fmla="*/ 83 w 94"/>
                <a:gd name="T57" fmla="*/ 15 h 31"/>
                <a:gd name="T58" fmla="*/ 91 w 94"/>
                <a:gd name="T59" fmla="*/ 9 h 31"/>
                <a:gd name="T60" fmla="*/ 83 w 94"/>
                <a:gd name="T61" fmla="*/ 3 h 31"/>
                <a:gd name="T62" fmla="*/ 63 w 94"/>
                <a:gd name="T63" fmla="*/ 3 h 31"/>
                <a:gd name="T64" fmla="*/ 63 w 94"/>
                <a:gd name="T65" fmla="*/ 0 h 31"/>
                <a:gd name="T66" fmla="*/ 83 w 94"/>
                <a:gd name="T67" fmla="*/ 0 h 31"/>
                <a:gd name="T68" fmla="*/ 94 w 94"/>
                <a:gd name="T69" fmla="*/ 9 h 31"/>
                <a:gd name="T70" fmla="*/ 83 w 94"/>
                <a:gd name="T71" fmla="*/ 18 h 31"/>
                <a:gd name="T72" fmla="*/ 60 w 94"/>
                <a:gd name="T73" fmla="*/ 18 h 31"/>
                <a:gd name="T74" fmla="*/ 59 w 94"/>
                <a:gd name="T75" fmla="*/ 19 h 31"/>
                <a:gd name="T76" fmla="*/ 60 w 94"/>
                <a:gd name="T77" fmla="*/ 19 h 31"/>
                <a:gd name="T78" fmla="*/ 76 w 94"/>
                <a:gd name="T79" fmla="*/ 19 h 31"/>
                <a:gd name="T80" fmla="*/ 84 w 94"/>
                <a:gd name="T81" fmla="*/ 25 h 31"/>
                <a:gd name="T82" fmla="*/ 76 w 94"/>
                <a:gd name="T8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4" h="31">
                  <a:moveTo>
                    <a:pt x="76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8" y="31"/>
                    <a:pt x="16" y="30"/>
                    <a:pt x="16" y="27"/>
                  </a:cubicBezTo>
                  <a:cubicBezTo>
                    <a:pt x="16" y="26"/>
                    <a:pt x="17" y="24"/>
                    <a:pt x="1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1"/>
                    <a:pt x="0" y="17"/>
                  </a:cubicBezTo>
                  <a:cubicBezTo>
                    <a:pt x="0" y="13"/>
                    <a:pt x="4" y="10"/>
                    <a:pt x="8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2"/>
                    <a:pt x="38" y="14"/>
                    <a:pt x="3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14"/>
                    <a:pt x="3" y="15"/>
                    <a:pt x="3" y="17"/>
                  </a:cubicBezTo>
                  <a:cubicBezTo>
                    <a:pt x="3" y="19"/>
                    <a:pt x="6" y="20"/>
                    <a:pt x="8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8" y="20"/>
                    <a:pt x="39" y="22"/>
                    <a:pt x="39" y="24"/>
                  </a:cubicBezTo>
                  <a:cubicBezTo>
                    <a:pt x="39" y="25"/>
                    <a:pt x="38" y="27"/>
                    <a:pt x="36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19" y="27"/>
                    <a:pt x="19" y="27"/>
                  </a:cubicBezTo>
                  <a:cubicBezTo>
                    <a:pt x="19" y="28"/>
                    <a:pt x="20" y="28"/>
                    <a:pt x="2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8" y="28"/>
                    <a:pt x="80" y="27"/>
                    <a:pt x="80" y="25"/>
                  </a:cubicBezTo>
                  <a:cubicBezTo>
                    <a:pt x="80" y="24"/>
                    <a:pt x="78" y="23"/>
                    <a:pt x="76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8" y="23"/>
                    <a:pt x="56" y="21"/>
                    <a:pt x="56" y="19"/>
                  </a:cubicBezTo>
                  <a:cubicBezTo>
                    <a:pt x="56" y="16"/>
                    <a:pt x="58" y="15"/>
                    <a:pt x="60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7" y="15"/>
                    <a:pt x="91" y="12"/>
                    <a:pt x="91" y="9"/>
                  </a:cubicBezTo>
                  <a:cubicBezTo>
                    <a:pt x="91" y="6"/>
                    <a:pt x="87" y="3"/>
                    <a:pt x="8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0"/>
                    <a:pt x="94" y="4"/>
                    <a:pt x="94" y="9"/>
                  </a:cubicBezTo>
                  <a:cubicBezTo>
                    <a:pt x="94" y="14"/>
                    <a:pt x="89" y="18"/>
                    <a:pt x="83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9"/>
                  </a:cubicBezTo>
                  <a:cubicBezTo>
                    <a:pt x="59" y="19"/>
                    <a:pt x="59" y="19"/>
                    <a:pt x="60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80" y="19"/>
                    <a:pt x="84" y="22"/>
                    <a:pt x="84" y="25"/>
                  </a:cubicBezTo>
                  <a:cubicBezTo>
                    <a:pt x="84" y="29"/>
                    <a:pt x="80" y="31"/>
                    <a:pt x="76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96">
              <a:extLst>
                <a:ext uri="{FF2B5EF4-FFF2-40B4-BE49-F238E27FC236}">
                  <a16:creationId xmlns:a16="http://schemas.microsoft.com/office/drawing/2014/main" id="{C5E45A0C-6FF1-4F1B-B1CE-15D5CB46F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1" y="1900"/>
              <a:ext cx="108" cy="108"/>
            </a:xfrm>
            <a:custGeom>
              <a:avLst/>
              <a:gdLst>
                <a:gd name="T0" fmla="*/ 5 w 42"/>
                <a:gd name="T1" fmla="*/ 10 h 42"/>
                <a:gd name="T2" fmla="*/ 32 w 42"/>
                <a:gd name="T3" fmla="*/ 38 h 42"/>
                <a:gd name="T4" fmla="*/ 31 w 42"/>
                <a:gd name="T5" fmla="*/ 26 h 42"/>
                <a:gd name="T6" fmla="*/ 30 w 42"/>
                <a:gd name="T7" fmla="*/ 25 h 42"/>
                <a:gd name="T8" fmla="*/ 38 w 42"/>
                <a:gd name="T9" fmla="*/ 18 h 42"/>
                <a:gd name="T10" fmla="*/ 25 w 42"/>
                <a:gd name="T11" fmla="*/ 5 h 42"/>
                <a:gd name="T12" fmla="*/ 18 w 42"/>
                <a:gd name="T13" fmla="*/ 12 h 42"/>
                <a:gd name="T14" fmla="*/ 16 w 42"/>
                <a:gd name="T15" fmla="*/ 11 h 42"/>
                <a:gd name="T16" fmla="*/ 5 w 42"/>
                <a:gd name="T17" fmla="*/ 10 h 42"/>
                <a:gd name="T18" fmla="*/ 32 w 42"/>
                <a:gd name="T19" fmla="*/ 42 h 42"/>
                <a:gd name="T20" fmla="*/ 0 w 42"/>
                <a:gd name="T21" fmla="*/ 9 h 42"/>
                <a:gd name="T22" fmla="*/ 2 w 42"/>
                <a:gd name="T23" fmla="*/ 8 h 42"/>
                <a:gd name="T24" fmla="*/ 14 w 42"/>
                <a:gd name="T25" fmla="*/ 5 h 42"/>
                <a:gd name="T26" fmla="*/ 18 w 42"/>
                <a:gd name="T27" fmla="*/ 8 h 42"/>
                <a:gd name="T28" fmla="*/ 25 w 42"/>
                <a:gd name="T29" fmla="*/ 0 h 42"/>
                <a:gd name="T30" fmla="*/ 42 w 42"/>
                <a:gd name="T31" fmla="*/ 18 h 42"/>
                <a:gd name="T32" fmla="*/ 35 w 42"/>
                <a:gd name="T33" fmla="*/ 25 h 42"/>
                <a:gd name="T34" fmla="*/ 37 w 42"/>
                <a:gd name="T35" fmla="*/ 36 h 42"/>
                <a:gd name="T36" fmla="*/ 33 w 42"/>
                <a:gd name="T37" fmla="*/ 41 h 42"/>
                <a:gd name="T38" fmla="*/ 32 w 42"/>
                <a:gd name="T3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2">
                  <a:moveTo>
                    <a:pt x="5" y="10"/>
                  </a:moveTo>
                  <a:cubicBezTo>
                    <a:pt x="32" y="38"/>
                    <a:pt x="32" y="38"/>
                    <a:pt x="32" y="38"/>
                  </a:cubicBezTo>
                  <a:cubicBezTo>
                    <a:pt x="34" y="35"/>
                    <a:pt x="36" y="31"/>
                    <a:pt x="31" y="26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1" y="6"/>
                    <a:pt x="5" y="10"/>
                  </a:cubicBezTo>
                  <a:moveTo>
                    <a:pt x="32" y="42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6" y="4"/>
                    <a:pt x="11" y="4"/>
                    <a:pt x="14" y="5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8" y="29"/>
                    <a:pt x="38" y="33"/>
                    <a:pt x="37" y="36"/>
                  </a:cubicBezTo>
                  <a:cubicBezTo>
                    <a:pt x="35" y="39"/>
                    <a:pt x="33" y="41"/>
                    <a:pt x="33" y="41"/>
                  </a:cubicBezTo>
                  <a:lnTo>
                    <a:pt x="32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97">
              <a:extLst>
                <a:ext uri="{FF2B5EF4-FFF2-40B4-BE49-F238E27FC236}">
                  <a16:creationId xmlns:a16="http://schemas.microsoft.com/office/drawing/2014/main" id="{5AF2EF10-75D2-4571-8B84-94DD5F8C8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" y="1990"/>
              <a:ext cx="28" cy="61"/>
            </a:xfrm>
            <a:custGeom>
              <a:avLst/>
              <a:gdLst>
                <a:gd name="T0" fmla="*/ 7 w 28"/>
                <a:gd name="T1" fmla="*/ 61 h 61"/>
                <a:gd name="T2" fmla="*/ 0 w 28"/>
                <a:gd name="T3" fmla="*/ 56 h 61"/>
                <a:gd name="T4" fmla="*/ 20 w 28"/>
                <a:gd name="T5" fmla="*/ 0 h 61"/>
                <a:gd name="T6" fmla="*/ 28 w 28"/>
                <a:gd name="T7" fmla="*/ 2 h 61"/>
                <a:gd name="T8" fmla="*/ 7 w 28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1">
                  <a:moveTo>
                    <a:pt x="7" y="61"/>
                  </a:moveTo>
                  <a:lnTo>
                    <a:pt x="0" y="56"/>
                  </a:lnTo>
                  <a:lnTo>
                    <a:pt x="20" y="0"/>
                  </a:lnTo>
                  <a:lnTo>
                    <a:pt x="28" y="2"/>
                  </a:lnTo>
                  <a:lnTo>
                    <a:pt x="7" y="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98">
              <a:extLst>
                <a:ext uri="{FF2B5EF4-FFF2-40B4-BE49-F238E27FC236}">
                  <a16:creationId xmlns:a16="http://schemas.microsoft.com/office/drawing/2014/main" id="{FF33C933-0D1D-43DA-BEC8-BE8BCC42A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" y="1949"/>
              <a:ext cx="59" cy="25"/>
            </a:xfrm>
            <a:custGeom>
              <a:avLst/>
              <a:gdLst>
                <a:gd name="T0" fmla="*/ 3 w 59"/>
                <a:gd name="T1" fmla="*/ 25 h 25"/>
                <a:gd name="T2" fmla="*/ 0 w 59"/>
                <a:gd name="T3" fmla="*/ 18 h 25"/>
                <a:gd name="T4" fmla="*/ 56 w 59"/>
                <a:gd name="T5" fmla="*/ 0 h 25"/>
                <a:gd name="T6" fmla="*/ 59 w 59"/>
                <a:gd name="T7" fmla="*/ 7 h 25"/>
                <a:gd name="T8" fmla="*/ 3 w 5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5">
                  <a:moveTo>
                    <a:pt x="3" y="25"/>
                  </a:moveTo>
                  <a:lnTo>
                    <a:pt x="0" y="18"/>
                  </a:lnTo>
                  <a:lnTo>
                    <a:pt x="56" y="0"/>
                  </a:lnTo>
                  <a:lnTo>
                    <a:pt x="59" y="7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99">
              <a:extLst>
                <a:ext uri="{FF2B5EF4-FFF2-40B4-BE49-F238E27FC236}">
                  <a16:creationId xmlns:a16="http://schemas.microsoft.com/office/drawing/2014/main" id="{DAD28916-FB89-4A70-B346-41EBD1D30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6" y="1969"/>
              <a:ext cx="43" cy="44"/>
            </a:xfrm>
            <a:custGeom>
              <a:avLst/>
              <a:gdLst>
                <a:gd name="T0" fmla="*/ 5 w 43"/>
                <a:gd name="T1" fmla="*/ 44 h 44"/>
                <a:gd name="T2" fmla="*/ 0 w 43"/>
                <a:gd name="T3" fmla="*/ 39 h 44"/>
                <a:gd name="T4" fmla="*/ 38 w 43"/>
                <a:gd name="T5" fmla="*/ 0 h 44"/>
                <a:gd name="T6" fmla="*/ 43 w 43"/>
                <a:gd name="T7" fmla="*/ 5 h 44"/>
                <a:gd name="T8" fmla="*/ 5 w 43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5" y="44"/>
                  </a:moveTo>
                  <a:lnTo>
                    <a:pt x="0" y="39"/>
                  </a:lnTo>
                  <a:lnTo>
                    <a:pt x="38" y="0"/>
                  </a:lnTo>
                  <a:lnTo>
                    <a:pt x="43" y="5"/>
                  </a:lnTo>
                  <a:lnTo>
                    <a:pt x="5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302">
            <a:extLst>
              <a:ext uri="{FF2B5EF4-FFF2-40B4-BE49-F238E27FC236}">
                <a16:creationId xmlns:a16="http://schemas.microsoft.com/office/drawing/2014/main" id="{9EC592B6-F852-4FAF-AC70-74B2A75E15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02600" y="2838450"/>
            <a:ext cx="758825" cy="758825"/>
            <a:chOff x="5104" y="1788"/>
            <a:chExt cx="478" cy="478"/>
          </a:xfrm>
        </p:grpSpPr>
        <p:sp>
          <p:nvSpPr>
            <p:cNvPr id="328" name="AutoShape 301">
              <a:extLst>
                <a:ext uri="{FF2B5EF4-FFF2-40B4-BE49-F238E27FC236}">
                  <a16:creationId xmlns:a16="http://schemas.microsoft.com/office/drawing/2014/main" id="{D8DED225-2FD2-43C3-8201-A94AA5FF45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04" y="17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03">
              <a:extLst>
                <a:ext uri="{FF2B5EF4-FFF2-40B4-BE49-F238E27FC236}">
                  <a16:creationId xmlns:a16="http://schemas.microsoft.com/office/drawing/2014/main" id="{E64A89AF-6046-4420-A344-E0A5EED142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6" y="179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04">
              <a:extLst>
                <a:ext uri="{FF2B5EF4-FFF2-40B4-BE49-F238E27FC236}">
                  <a16:creationId xmlns:a16="http://schemas.microsoft.com/office/drawing/2014/main" id="{AB69739A-B086-40A0-BF38-D338460E0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" y="2077"/>
              <a:ext cx="27" cy="15"/>
            </a:xfrm>
            <a:custGeom>
              <a:avLst/>
              <a:gdLst>
                <a:gd name="T0" fmla="*/ 24 w 27"/>
                <a:gd name="T1" fmla="*/ 15 h 15"/>
                <a:gd name="T2" fmla="*/ 0 w 27"/>
                <a:gd name="T3" fmla="*/ 8 h 15"/>
                <a:gd name="T4" fmla="*/ 2 w 27"/>
                <a:gd name="T5" fmla="*/ 0 h 15"/>
                <a:gd name="T6" fmla="*/ 27 w 27"/>
                <a:gd name="T7" fmla="*/ 8 h 15"/>
                <a:gd name="T8" fmla="*/ 24 w 27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5">
                  <a:moveTo>
                    <a:pt x="24" y="15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27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305">
              <a:extLst>
                <a:ext uri="{FF2B5EF4-FFF2-40B4-BE49-F238E27FC236}">
                  <a16:creationId xmlns:a16="http://schemas.microsoft.com/office/drawing/2014/main" id="{23BD3C2F-D2EC-4E17-B036-44B3BF5A8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2" y="1886"/>
              <a:ext cx="67" cy="108"/>
            </a:xfrm>
            <a:custGeom>
              <a:avLst/>
              <a:gdLst>
                <a:gd name="T0" fmla="*/ 3 w 27"/>
                <a:gd name="T1" fmla="*/ 44 h 44"/>
                <a:gd name="T2" fmla="*/ 0 w 27"/>
                <a:gd name="T3" fmla="*/ 42 h 44"/>
                <a:gd name="T4" fmla="*/ 22 w 27"/>
                <a:gd name="T5" fmla="*/ 4 h 44"/>
                <a:gd name="T6" fmla="*/ 15 w 27"/>
                <a:gd name="T7" fmla="*/ 8 h 44"/>
                <a:gd name="T8" fmla="*/ 12 w 27"/>
                <a:gd name="T9" fmla="*/ 7 h 44"/>
                <a:gd name="T10" fmla="*/ 25 w 27"/>
                <a:gd name="T11" fmla="*/ 1 h 44"/>
                <a:gd name="T12" fmla="*/ 27 w 27"/>
                <a:gd name="T13" fmla="*/ 1 h 44"/>
                <a:gd name="T14" fmla="*/ 3 w 27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44">
                  <a:moveTo>
                    <a:pt x="3" y="44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9" y="3"/>
                    <a:pt x="17" y="4"/>
                    <a:pt x="15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5" y="0"/>
                    <a:pt x="21" y="0"/>
                    <a:pt x="25" y="1"/>
                  </a:cubicBezTo>
                  <a:cubicBezTo>
                    <a:pt x="27" y="1"/>
                    <a:pt x="27" y="1"/>
                    <a:pt x="27" y="1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306">
              <a:extLst>
                <a:ext uri="{FF2B5EF4-FFF2-40B4-BE49-F238E27FC236}">
                  <a16:creationId xmlns:a16="http://schemas.microsoft.com/office/drawing/2014/main" id="{A8B51B86-A62C-4FAB-9CAC-924BA23ACF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8" y="2045"/>
              <a:ext cx="61" cy="20"/>
            </a:xfrm>
            <a:custGeom>
              <a:avLst/>
              <a:gdLst>
                <a:gd name="T0" fmla="*/ 22 w 25"/>
                <a:gd name="T1" fmla="*/ 5 h 8"/>
                <a:gd name="T2" fmla="*/ 22 w 25"/>
                <a:gd name="T3" fmla="*/ 5 h 8"/>
                <a:gd name="T4" fmla="*/ 22 w 25"/>
                <a:gd name="T5" fmla="*/ 3 h 8"/>
                <a:gd name="T6" fmla="*/ 4 w 25"/>
                <a:gd name="T7" fmla="*/ 3 h 8"/>
                <a:gd name="T8" fmla="*/ 4 w 25"/>
                <a:gd name="T9" fmla="*/ 5 h 8"/>
                <a:gd name="T10" fmla="*/ 22 w 25"/>
                <a:gd name="T11" fmla="*/ 5 h 8"/>
                <a:gd name="T12" fmla="*/ 22 w 25"/>
                <a:gd name="T13" fmla="*/ 3 h 8"/>
                <a:gd name="T14" fmla="*/ 22 w 25"/>
                <a:gd name="T15" fmla="*/ 8 h 8"/>
                <a:gd name="T16" fmla="*/ 4 w 25"/>
                <a:gd name="T17" fmla="*/ 8 h 8"/>
                <a:gd name="T18" fmla="*/ 0 w 25"/>
                <a:gd name="T19" fmla="*/ 5 h 8"/>
                <a:gd name="T20" fmla="*/ 0 w 25"/>
                <a:gd name="T21" fmla="*/ 3 h 8"/>
                <a:gd name="T22" fmla="*/ 4 w 25"/>
                <a:gd name="T23" fmla="*/ 0 h 8"/>
                <a:gd name="T24" fmla="*/ 22 w 25"/>
                <a:gd name="T25" fmla="*/ 0 h 8"/>
                <a:gd name="T26" fmla="*/ 25 w 25"/>
                <a:gd name="T27" fmla="*/ 3 h 8"/>
                <a:gd name="T28" fmla="*/ 25 w 25"/>
                <a:gd name="T29" fmla="*/ 5 h 8"/>
                <a:gd name="T30" fmla="*/ 22 w 25"/>
                <a:gd name="T3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8"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moveTo>
                    <a:pt x="22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2" y="5"/>
                    <a:pt x="22" y="5"/>
                    <a:pt x="22" y="5"/>
                  </a:cubicBezTo>
                  <a:lnTo>
                    <a:pt x="22" y="3"/>
                  </a:lnTo>
                  <a:close/>
                  <a:moveTo>
                    <a:pt x="2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5" y="1"/>
                    <a:pt x="25" y="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7"/>
                    <a:pt x="23" y="8"/>
                    <a:pt x="22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307">
              <a:extLst>
                <a:ext uri="{FF2B5EF4-FFF2-40B4-BE49-F238E27FC236}">
                  <a16:creationId xmlns:a16="http://schemas.microsoft.com/office/drawing/2014/main" id="{E87BA32E-A843-4420-BBE2-9CAB87AF6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8" y="1876"/>
              <a:ext cx="228" cy="236"/>
            </a:xfrm>
            <a:custGeom>
              <a:avLst/>
              <a:gdLst>
                <a:gd name="T0" fmla="*/ 90 w 93"/>
                <a:gd name="T1" fmla="*/ 96 h 96"/>
                <a:gd name="T2" fmla="*/ 81 w 93"/>
                <a:gd name="T3" fmla="*/ 94 h 96"/>
                <a:gd name="T4" fmla="*/ 47 w 93"/>
                <a:gd name="T5" fmla="*/ 94 h 96"/>
                <a:gd name="T6" fmla="*/ 31 w 93"/>
                <a:gd name="T7" fmla="*/ 85 h 96"/>
                <a:gd name="T8" fmla="*/ 4 w 93"/>
                <a:gd name="T9" fmla="*/ 85 h 96"/>
                <a:gd name="T10" fmla="*/ 4 w 93"/>
                <a:gd name="T11" fmla="*/ 85 h 96"/>
                <a:gd name="T12" fmla="*/ 0 w 93"/>
                <a:gd name="T13" fmla="*/ 76 h 96"/>
                <a:gd name="T14" fmla="*/ 4 w 93"/>
                <a:gd name="T15" fmla="*/ 76 h 96"/>
                <a:gd name="T16" fmla="*/ 6 w 93"/>
                <a:gd name="T17" fmla="*/ 82 h 96"/>
                <a:gd name="T18" fmla="*/ 32 w 93"/>
                <a:gd name="T19" fmla="*/ 82 h 96"/>
                <a:gd name="T20" fmla="*/ 48 w 93"/>
                <a:gd name="T21" fmla="*/ 90 h 96"/>
                <a:gd name="T22" fmla="*/ 82 w 93"/>
                <a:gd name="T23" fmla="*/ 90 h 96"/>
                <a:gd name="T24" fmla="*/ 88 w 93"/>
                <a:gd name="T25" fmla="*/ 92 h 96"/>
                <a:gd name="T26" fmla="*/ 89 w 93"/>
                <a:gd name="T27" fmla="*/ 86 h 96"/>
                <a:gd name="T28" fmla="*/ 86 w 93"/>
                <a:gd name="T29" fmla="*/ 76 h 96"/>
                <a:gd name="T30" fmla="*/ 74 w 93"/>
                <a:gd name="T31" fmla="*/ 71 h 96"/>
                <a:gd name="T32" fmla="*/ 73 w 93"/>
                <a:gd name="T33" fmla="*/ 71 h 96"/>
                <a:gd name="T34" fmla="*/ 55 w 93"/>
                <a:gd name="T35" fmla="*/ 47 h 96"/>
                <a:gd name="T36" fmla="*/ 67 w 93"/>
                <a:gd name="T37" fmla="*/ 13 h 96"/>
                <a:gd name="T38" fmla="*/ 34 w 93"/>
                <a:gd name="T39" fmla="*/ 4 h 96"/>
                <a:gd name="T40" fmla="*/ 27 w 93"/>
                <a:gd name="T41" fmla="*/ 22 h 96"/>
                <a:gd name="T42" fmla="*/ 24 w 93"/>
                <a:gd name="T43" fmla="*/ 21 h 96"/>
                <a:gd name="T44" fmla="*/ 32 w 93"/>
                <a:gd name="T45" fmla="*/ 0 h 96"/>
                <a:gd name="T46" fmla="*/ 71 w 93"/>
                <a:gd name="T47" fmla="*/ 10 h 96"/>
                <a:gd name="T48" fmla="*/ 58 w 93"/>
                <a:gd name="T49" fmla="*/ 46 h 96"/>
                <a:gd name="T50" fmla="*/ 74 w 93"/>
                <a:gd name="T51" fmla="*/ 68 h 96"/>
                <a:gd name="T52" fmla="*/ 89 w 93"/>
                <a:gd name="T53" fmla="*/ 73 h 96"/>
                <a:gd name="T54" fmla="*/ 92 w 93"/>
                <a:gd name="T55" fmla="*/ 86 h 96"/>
                <a:gd name="T56" fmla="*/ 90 w 93"/>
                <a:gd name="T5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96">
                  <a:moveTo>
                    <a:pt x="90" y="96"/>
                  </a:moveTo>
                  <a:cubicBezTo>
                    <a:pt x="81" y="94"/>
                    <a:pt x="81" y="94"/>
                    <a:pt x="81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1" y="81"/>
                    <a:pt x="0" y="76"/>
                    <a:pt x="0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9"/>
                    <a:pt x="6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2"/>
                    <a:pt x="88" y="78"/>
                    <a:pt x="86" y="76"/>
                  </a:cubicBezTo>
                  <a:cubicBezTo>
                    <a:pt x="82" y="71"/>
                    <a:pt x="74" y="71"/>
                    <a:pt x="74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7" y="68"/>
                    <a:pt x="84" y="68"/>
                    <a:pt x="89" y="73"/>
                  </a:cubicBezTo>
                  <a:cubicBezTo>
                    <a:pt x="92" y="76"/>
                    <a:pt x="93" y="81"/>
                    <a:pt x="92" y="86"/>
                  </a:cubicBezTo>
                  <a:lnTo>
                    <a:pt x="90" y="9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308">
              <a:extLst>
                <a:ext uri="{FF2B5EF4-FFF2-40B4-BE49-F238E27FC236}">
                  <a16:creationId xmlns:a16="http://schemas.microsoft.com/office/drawing/2014/main" id="{6BAF34BE-4456-440F-B6DD-8A8DF7AB6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8" y="1901"/>
              <a:ext cx="203" cy="220"/>
            </a:xfrm>
            <a:custGeom>
              <a:avLst/>
              <a:gdLst>
                <a:gd name="T0" fmla="*/ 83 w 83"/>
                <a:gd name="T1" fmla="*/ 90 h 90"/>
                <a:gd name="T2" fmla="*/ 45 w 83"/>
                <a:gd name="T3" fmla="*/ 90 h 90"/>
                <a:gd name="T4" fmla="*/ 32 w 83"/>
                <a:gd name="T5" fmla="*/ 83 h 90"/>
                <a:gd name="T6" fmla="*/ 32 w 83"/>
                <a:gd name="T7" fmla="*/ 89 h 90"/>
                <a:gd name="T8" fmla="*/ 22 w 83"/>
                <a:gd name="T9" fmla="*/ 89 h 90"/>
                <a:gd name="T10" fmla="*/ 22 w 83"/>
                <a:gd name="T11" fmla="*/ 89 h 90"/>
                <a:gd name="T12" fmla="*/ 22 w 83"/>
                <a:gd name="T13" fmla="*/ 89 h 90"/>
                <a:gd name="T14" fmla="*/ 12 w 83"/>
                <a:gd name="T15" fmla="*/ 89 h 90"/>
                <a:gd name="T16" fmla="*/ 12 w 83"/>
                <a:gd name="T17" fmla="*/ 88 h 90"/>
                <a:gd name="T18" fmla="*/ 12 w 83"/>
                <a:gd name="T19" fmla="*/ 89 h 90"/>
                <a:gd name="T20" fmla="*/ 3 w 83"/>
                <a:gd name="T21" fmla="*/ 89 h 90"/>
                <a:gd name="T22" fmla="*/ 3 w 83"/>
                <a:gd name="T23" fmla="*/ 73 h 90"/>
                <a:gd name="T24" fmla="*/ 7 w 83"/>
                <a:gd name="T25" fmla="*/ 73 h 90"/>
                <a:gd name="T26" fmla="*/ 7 w 83"/>
                <a:gd name="T27" fmla="*/ 86 h 90"/>
                <a:gd name="T28" fmla="*/ 9 w 83"/>
                <a:gd name="T29" fmla="*/ 86 h 90"/>
                <a:gd name="T30" fmla="*/ 12 w 83"/>
                <a:gd name="T31" fmla="*/ 80 h 90"/>
                <a:gd name="T32" fmla="*/ 14 w 83"/>
                <a:gd name="T33" fmla="*/ 86 h 90"/>
                <a:gd name="T34" fmla="*/ 20 w 83"/>
                <a:gd name="T35" fmla="*/ 86 h 90"/>
                <a:gd name="T36" fmla="*/ 22 w 83"/>
                <a:gd name="T37" fmla="*/ 80 h 90"/>
                <a:gd name="T38" fmla="*/ 24 w 83"/>
                <a:gd name="T39" fmla="*/ 86 h 90"/>
                <a:gd name="T40" fmla="*/ 28 w 83"/>
                <a:gd name="T41" fmla="*/ 86 h 90"/>
                <a:gd name="T42" fmla="*/ 28 w 83"/>
                <a:gd name="T43" fmla="*/ 77 h 90"/>
                <a:gd name="T44" fmla="*/ 46 w 83"/>
                <a:gd name="T45" fmla="*/ 87 h 90"/>
                <a:gd name="T46" fmla="*/ 79 w 83"/>
                <a:gd name="T47" fmla="*/ 87 h 90"/>
                <a:gd name="T48" fmla="*/ 79 w 83"/>
                <a:gd name="T49" fmla="*/ 75 h 90"/>
                <a:gd name="T50" fmla="*/ 74 w 83"/>
                <a:gd name="T51" fmla="*/ 69 h 90"/>
                <a:gd name="T52" fmla="*/ 63 w 83"/>
                <a:gd name="T53" fmla="*/ 69 h 90"/>
                <a:gd name="T54" fmla="*/ 62 w 83"/>
                <a:gd name="T55" fmla="*/ 69 h 90"/>
                <a:gd name="T56" fmla="*/ 40 w 83"/>
                <a:gd name="T57" fmla="*/ 51 h 90"/>
                <a:gd name="T58" fmla="*/ 48 w 83"/>
                <a:gd name="T59" fmla="*/ 4 h 90"/>
                <a:gd name="T60" fmla="*/ 45 w 83"/>
                <a:gd name="T61" fmla="*/ 5 h 90"/>
                <a:gd name="T62" fmla="*/ 43 w 83"/>
                <a:gd name="T63" fmla="*/ 11 h 90"/>
                <a:gd name="T64" fmla="*/ 43 w 83"/>
                <a:gd name="T65" fmla="*/ 12 h 90"/>
                <a:gd name="T66" fmla="*/ 7 w 83"/>
                <a:gd name="T67" fmla="*/ 14 h 90"/>
                <a:gd name="T68" fmla="*/ 7 w 83"/>
                <a:gd name="T69" fmla="*/ 52 h 90"/>
                <a:gd name="T70" fmla="*/ 6 w 83"/>
                <a:gd name="T71" fmla="*/ 53 h 90"/>
                <a:gd name="T72" fmla="*/ 4 w 83"/>
                <a:gd name="T73" fmla="*/ 61 h 90"/>
                <a:gd name="T74" fmla="*/ 0 w 83"/>
                <a:gd name="T75" fmla="*/ 61 h 90"/>
                <a:gd name="T76" fmla="*/ 3 w 83"/>
                <a:gd name="T77" fmla="*/ 51 h 90"/>
                <a:gd name="T78" fmla="*/ 3 w 83"/>
                <a:gd name="T79" fmla="*/ 10 h 90"/>
                <a:gd name="T80" fmla="*/ 40 w 83"/>
                <a:gd name="T81" fmla="*/ 9 h 90"/>
                <a:gd name="T82" fmla="*/ 43 w 83"/>
                <a:gd name="T83" fmla="*/ 2 h 90"/>
                <a:gd name="T84" fmla="*/ 51 w 83"/>
                <a:gd name="T85" fmla="*/ 0 h 90"/>
                <a:gd name="T86" fmla="*/ 52 w 83"/>
                <a:gd name="T87" fmla="*/ 1 h 90"/>
                <a:gd name="T88" fmla="*/ 43 w 83"/>
                <a:gd name="T89" fmla="*/ 50 h 90"/>
                <a:gd name="T90" fmla="*/ 62 w 83"/>
                <a:gd name="T91" fmla="*/ 65 h 90"/>
                <a:gd name="T92" fmla="*/ 76 w 83"/>
                <a:gd name="T93" fmla="*/ 66 h 90"/>
                <a:gd name="T94" fmla="*/ 83 w 83"/>
                <a:gd name="T95" fmla="*/ 75 h 90"/>
                <a:gd name="T96" fmla="*/ 83 w 83"/>
                <a:gd name="T97" fmla="*/ 75 h 90"/>
                <a:gd name="T98" fmla="*/ 83 w 83"/>
                <a:gd name="T9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3" h="90">
                  <a:moveTo>
                    <a:pt x="83" y="90"/>
                  </a:moveTo>
                  <a:cubicBezTo>
                    <a:pt x="45" y="90"/>
                    <a:pt x="45" y="90"/>
                    <a:pt x="45" y="90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79" y="87"/>
                    <a:pt x="79" y="87"/>
                    <a:pt x="79" y="87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9" y="74"/>
                    <a:pt x="78" y="71"/>
                    <a:pt x="74" y="69"/>
                  </a:cubicBezTo>
                  <a:cubicBezTo>
                    <a:pt x="71" y="67"/>
                    <a:pt x="67" y="67"/>
                    <a:pt x="63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6" y="4"/>
                    <a:pt x="45" y="5"/>
                  </a:cubicBezTo>
                  <a:cubicBezTo>
                    <a:pt x="44" y="6"/>
                    <a:pt x="43" y="8"/>
                    <a:pt x="43" y="11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3"/>
                    <a:pt x="3" y="56"/>
                    <a:pt x="4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56"/>
                    <a:pt x="2" y="52"/>
                    <a:pt x="3" y="5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6"/>
                    <a:pt x="41" y="4"/>
                    <a:pt x="43" y="2"/>
                  </a:cubicBezTo>
                  <a:cubicBezTo>
                    <a:pt x="46" y="0"/>
                    <a:pt x="50" y="0"/>
                    <a:pt x="51" y="0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8" y="64"/>
                    <a:pt x="72" y="64"/>
                    <a:pt x="76" y="66"/>
                  </a:cubicBezTo>
                  <a:cubicBezTo>
                    <a:pt x="81" y="69"/>
                    <a:pt x="83" y="74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lnTo>
                    <a:pt x="83" y="9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Rectangle 309">
              <a:extLst>
                <a:ext uri="{FF2B5EF4-FFF2-40B4-BE49-F238E27FC236}">
                  <a16:creationId xmlns:a16="http://schemas.microsoft.com/office/drawing/2014/main" id="{ECBDFF01-5BE7-46B7-A4D6-CA35B7922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6" y="1928"/>
              <a:ext cx="7" cy="9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310">
              <a:extLst>
                <a:ext uri="{FF2B5EF4-FFF2-40B4-BE49-F238E27FC236}">
                  <a16:creationId xmlns:a16="http://schemas.microsoft.com/office/drawing/2014/main" id="{5253D865-F7BC-4D13-892E-DACDF90BB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" y="2102"/>
              <a:ext cx="231" cy="76"/>
            </a:xfrm>
            <a:custGeom>
              <a:avLst/>
              <a:gdLst>
                <a:gd name="T0" fmla="*/ 76 w 94"/>
                <a:gd name="T1" fmla="*/ 31 h 31"/>
                <a:gd name="T2" fmla="*/ 20 w 94"/>
                <a:gd name="T3" fmla="*/ 31 h 31"/>
                <a:gd name="T4" fmla="*/ 16 w 94"/>
                <a:gd name="T5" fmla="*/ 27 h 31"/>
                <a:gd name="T6" fmla="*/ 18 w 94"/>
                <a:gd name="T7" fmla="*/ 24 h 31"/>
                <a:gd name="T8" fmla="*/ 8 w 94"/>
                <a:gd name="T9" fmla="*/ 24 h 31"/>
                <a:gd name="T10" fmla="*/ 0 w 94"/>
                <a:gd name="T11" fmla="*/ 17 h 31"/>
                <a:gd name="T12" fmla="*/ 8 w 94"/>
                <a:gd name="T13" fmla="*/ 10 h 31"/>
                <a:gd name="T14" fmla="*/ 36 w 94"/>
                <a:gd name="T15" fmla="*/ 10 h 31"/>
                <a:gd name="T16" fmla="*/ 36 w 94"/>
                <a:gd name="T17" fmla="*/ 10 h 31"/>
                <a:gd name="T18" fmla="*/ 36 w 94"/>
                <a:gd name="T19" fmla="*/ 7 h 31"/>
                <a:gd name="T20" fmla="*/ 39 w 94"/>
                <a:gd name="T21" fmla="*/ 7 h 31"/>
                <a:gd name="T22" fmla="*/ 39 w 94"/>
                <a:gd name="T23" fmla="*/ 10 h 31"/>
                <a:gd name="T24" fmla="*/ 36 w 94"/>
                <a:gd name="T25" fmla="*/ 14 h 31"/>
                <a:gd name="T26" fmla="*/ 8 w 94"/>
                <a:gd name="T27" fmla="*/ 14 h 31"/>
                <a:gd name="T28" fmla="*/ 3 w 94"/>
                <a:gd name="T29" fmla="*/ 17 h 31"/>
                <a:gd name="T30" fmla="*/ 8 w 94"/>
                <a:gd name="T31" fmla="*/ 20 h 31"/>
                <a:gd name="T32" fmla="*/ 36 w 94"/>
                <a:gd name="T33" fmla="*/ 20 h 31"/>
                <a:gd name="T34" fmla="*/ 39 w 94"/>
                <a:gd name="T35" fmla="*/ 24 h 31"/>
                <a:gd name="T36" fmla="*/ 36 w 94"/>
                <a:gd name="T37" fmla="*/ 27 h 31"/>
                <a:gd name="T38" fmla="*/ 20 w 94"/>
                <a:gd name="T39" fmla="*/ 27 h 31"/>
                <a:gd name="T40" fmla="*/ 19 w 94"/>
                <a:gd name="T41" fmla="*/ 27 h 31"/>
                <a:gd name="T42" fmla="*/ 20 w 94"/>
                <a:gd name="T43" fmla="*/ 28 h 31"/>
                <a:gd name="T44" fmla="*/ 76 w 94"/>
                <a:gd name="T45" fmla="*/ 28 h 31"/>
                <a:gd name="T46" fmla="*/ 80 w 94"/>
                <a:gd name="T47" fmla="*/ 25 h 31"/>
                <a:gd name="T48" fmla="*/ 76 w 94"/>
                <a:gd name="T49" fmla="*/ 23 h 31"/>
                <a:gd name="T50" fmla="*/ 60 w 94"/>
                <a:gd name="T51" fmla="*/ 23 h 31"/>
                <a:gd name="T52" fmla="*/ 56 w 94"/>
                <a:gd name="T53" fmla="*/ 19 h 31"/>
                <a:gd name="T54" fmla="*/ 60 w 94"/>
                <a:gd name="T55" fmla="*/ 15 h 31"/>
                <a:gd name="T56" fmla="*/ 83 w 94"/>
                <a:gd name="T57" fmla="*/ 15 h 31"/>
                <a:gd name="T58" fmla="*/ 91 w 94"/>
                <a:gd name="T59" fmla="*/ 9 h 31"/>
                <a:gd name="T60" fmla="*/ 83 w 94"/>
                <a:gd name="T61" fmla="*/ 3 h 31"/>
                <a:gd name="T62" fmla="*/ 63 w 94"/>
                <a:gd name="T63" fmla="*/ 3 h 31"/>
                <a:gd name="T64" fmla="*/ 63 w 94"/>
                <a:gd name="T65" fmla="*/ 0 h 31"/>
                <a:gd name="T66" fmla="*/ 83 w 94"/>
                <a:gd name="T67" fmla="*/ 0 h 31"/>
                <a:gd name="T68" fmla="*/ 94 w 94"/>
                <a:gd name="T69" fmla="*/ 9 h 31"/>
                <a:gd name="T70" fmla="*/ 83 w 94"/>
                <a:gd name="T71" fmla="*/ 18 h 31"/>
                <a:gd name="T72" fmla="*/ 60 w 94"/>
                <a:gd name="T73" fmla="*/ 18 h 31"/>
                <a:gd name="T74" fmla="*/ 59 w 94"/>
                <a:gd name="T75" fmla="*/ 19 h 31"/>
                <a:gd name="T76" fmla="*/ 60 w 94"/>
                <a:gd name="T77" fmla="*/ 19 h 31"/>
                <a:gd name="T78" fmla="*/ 76 w 94"/>
                <a:gd name="T79" fmla="*/ 19 h 31"/>
                <a:gd name="T80" fmla="*/ 84 w 94"/>
                <a:gd name="T81" fmla="*/ 25 h 31"/>
                <a:gd name="T82" fmla="*/ 76 w 94"/>
                <a:gd name="T8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4" h="31">
                  <a:moveTo>
                    <a:pt x="76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8" y="31"/>
                    <a:pt x="16" y="30"/>
                    <a:pt x="16" y="27"/>
                  </a:cubicBezTo>
                  <a:cubicBezTo>
                    <a:pt x="16" y="26"/>
                    <a:pt x="17" y="24"/>
                    <a:pt x="1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1"/>
                    <a:pt x="0" y="17"/>
                  </a:cubicBezTo>
                  <a:cubicBezTo>
                    <a:pt x="0" y="13"/>
                    <a:pt x="4" y="10"/>
                    <a:pt x="8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2"/>
                    <a:pt x="38" y="14"/>
                    <a:pt x="3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6" y="14"/>
                    <a:pt x="3" y="15"/>
                    <a:pt x="3" y="17"/>
                  </a:cubicBezTo>
                  <a:cubicBezTo>
                    <a:pt x="3" y="19"/>
                    <a:pt x="6" y="20"/>
                    <a:pt x="8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8" y="20"/>
                    <a:pt x="39" y="22"/>
                    <a:pt x="39" y="24"/>
                  </a:cubicBezTo>
                  <a:cubicBezTo>
                    <a:pt x="39" y="25"/>
                    <a:pt x="38" y="27"/>
                    <a:pt x="36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19" y="27"/>
                    <a:pt x="19" y="27"/>
                  </a:cubicBezTo>
                  <a:cubicBezTo>
                    <a:pt x="19" y="28"/>
                    <a:pt x="20" y="28"/>
                    <a:pt x="2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8" y="28"/>
                    <a:pt x="80" y="27"/>
                    <a:pt x="80" y="25"/>
                  </a:cubicBezTo>
                  <a:cubicBezTo>
                    <a:pt x="80" y="24"/>
                    <a:pt x="78" y="23"/>
                    <a:pt x="76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8" y="23"/>
                    <a:pt x="56" y="21"/>
                    <a:pt x="56" y="19"/>
                  </a:cubicBezTo>
                  <a:cubicBezTo>
                    <a:pt x="56" y="16"/>
                    <a:pt x="58" y="15"/>
                    <a:pt x="60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7" y="15"/>
                    <a:pt x="91" y="12"/>
                    <a:pt x="91" y="9"/>
                  </a:cubicBezTo>
                  <a:cubicBezTo>
                    <a:pt x="91" y="6"/>
                    <a:pt x="87" y="3"/>
                    <a:pt x="8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0"/>
                    <a:pt x="94" y="4"/>
                    <a:pt x="94" y="9"/>
                  </a:cubicBezTo>
                  <a:cubicBezTo>
                    <a:pt x="94" y="14"/>
                    <a:pt x="89" y="18"/>
                    <a:pt x="83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9"/>
                  </a:cubicBezTo>
                  <a:cubicBezTo>
                    <a:pt x="59" y="19"/>
                    <a:pt x="59" y="19"/>
                    <a:pt x="60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80" y="19"/>
                    <a:pt x="84" y="22"/>
                    <a:pt x="84" y="25"/>
                  </a:cubicBezTo>
                  <a:cubicBezTo>
                    <a:pt x="84" y="29"/>
                    <a:pt x="80" y="31"/>
                    <a:pt x="76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311">
              <a:extLst>
                <a:ext uri="{FF2B5EF4-FFF2-40B4-BE49-F238E27FC236}">
                  <a16:creationId xmlns:a16="http://schemas.microsoft.com/office/drawing/2014/main" id="{16A2B7EB-2E26-4906-80DE-17BCD89A3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8" y="1906"/>
              <a:ext cx="103" cy="103"/>
            </a:xfrm>
            <a:custGeom>
              <a:avLst/>
              <a:gdLst>
                <a:gd name="T0" fmla="*/ 5 w 42"/>
                <a:gd name="T1" fmla="*/ 10 h 42"/>
                <a:gd name="T2" fmla="*/ 32 w 42"/>
                <a:gd name="T3" fmla="*/ 38 h 42"/>
                <a:gd name="T4" fmla="*/ 31 w 42"/>
                <a:gd name="T5" fmla="*/ 26 h 42"/>
                <a:gd name="T6" fmla="*/ 30 w 42"/>
                <a:gd name="T7" fmla="*/ 25 h 42"/>
                <a:gd name="T8" fmla="*/ 38 w 42"/>
                <a:gd name="T9" fmla="*/ 18 h 42"/>
                <a:gd name="T10" fmla="*/ 25 w 42"/>
                <a:gd name="T11" fmla="*/ 5 h 42"/>
                <a:gd name="T12" fmla="*/ 18 w 42"/>
                <a:gd name="T13" fmla="*/ 12 h 42"/>
                <a:gd name="T14" fmla="*/ 16 w 42"/>
                <a:gd name="T15" fmla="*/ 11 h 42"/>
                <a:gd name="T16" fmla="*/ 5 w 42"/>
                <a:gd name="T17" fmla="*/ 10 h 42"/>
                <a:gd name="T18" fmla="*/ 32 w 42"/>
                <a:gd name="T19" fmla="*/ 42 h 42"/>
                <a:gd name="T20" fmla="*/ 0 w 42"/>
                <a:gd name="T21" fmla="*/ 9 h 42"/>
                <a:gd name="T22" fmla="*/ 2 w 42"/>
                <a:gd name="T23" fmla="*/ 8 h 42"/>
                <a:gd name="T24" fmla="*/ 14 w 42"/>
                <a:gd name="T25" fmla="*/ 5 h 42"/>
                <a:gd name="T26" fmla="*/ 18 w 42"/>
                <a:gd name="T27" fmla="*/ 8 h 42"/>
                <a:gd name="T28" fmla="*/ 25 w 42"/>
                <a:gd name="T29" fmla="*/ 0 h 42"/>
                <a:gd name="T30" fmla="*/ 42 w 42"/>
                <a:gd name="T31" fmla="*/ 18 h 42"/>
                <a:gd name="T32" fmla="*/ 35 w 42"/>
                <a:gd name="T33" fmla="*/ 25 h 42"/>
                <a:gd name="T34" fmla="*/ 37 w 42"/>
                <a:gd name="T35" fmla="*/ 36 h 42"/>
                <a:gd name="T36" fmla="*/ 33 w 42"/>
                <a:gd name="T37" fmla="*/ 41 h 42"/>
                <a:gd name="T38" fmla="*/ 32 w 42"/>
                <a:gd name="T3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2">
                  <a:moveTo>
                    <a:pt x="5" y="10"/>
                  </a:moveTo>
                  <a:cubicBezTo>
                    <a:pt x="32" y="38"/>
                    <a:pt x="32" y="38"/>
                    <a:pt x="32" y="38"/>
                  </a:cubicBezTo>
                  <a:cubicBezTo>
                    <a:pt x="34" y="35"/>
                    <a:pt x="36" y="31"/>
                    <a:pt x="31" y="26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1" y="6"/>
                    <a:pt x="5" y="10"/>
                  </a:cubicBezTo>
                  <a:moveTo>
                    <a:pt x="32" y="42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6" y="4"/>
                    <a:pt x="11" y="4"/>
                    <a:pt x="14" y="5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8" y="29"/>
                    <a:pt x="38" y="33"/>
                    <a:pt x="37" y="36"/>
                  </a:cubicBezTo>
                  <a:cubicBezTo>
                    <a:pt x="35" y="39"/>
                    <a:pt x="33" y="41"/>
                    <a:pt x="33" y="41"/>
                  </a:cubicBezTo>
                  <a:lnTo>
                    <a:pt x="32" y="4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312">
              <a:extLst>
                <a:ext uri="{FF2B5EF4-FFF2-40B4-BE49-F238E27FC236}">
                  <a16:creationId xmlns:a16="http://schemas.microsoft.com/office/drawing/2014/main" id="{2BB2EA5B-07CF-4935-AF0A-38A3B252A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" y="1991"/>
              <a:ext cx="27" cy="59"/>
            </a:xfrm>
            <a:custGeom>
              <a:avLst/>
              <a:gdLst>
                <a:gd name="T0" fmla="*/ 8 w 27"/>
                <a:gd name="T1" fmla="*/ 59 h 59"/>
                <a:gd name="T2" fmla="*/ 0 w 27"/>
                <a:gd name="T3" fmla="*/ 54 h 59"/>
                <a:gd name="T4" fmla="*/ 20 w 27"/>
                <a:gd name="T5" fmla="*/ 0 h 59"/>
                <a:gd name="T6" fmla="*/ 27 w 27"/>
                <a:gd name="T7" fmla="*/ 3 h 59"/>
                <a:gd name="T8" fmla="*/ 8 w 27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9">
                  <a:moveTo>
                    <a:pt x="8" y="59"/>
                  </a:moveTo>
                  <a:lnTo>
                    <a:pt x="0" y="54"/>
                  </a:lnTo>
                  <a:lnTo>
                    <a:pt x="20" y="0"/>
                  </a:lnTo>
                  <a:lnTo>
                    <a:pt x="27" y="3"/>
                  </a:lnTo>
                  <a:lnTo>
                    <a:pt x="8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313">
              <a:extLst>
                <a:ext uri="{FF2B5EF4-FFF2-40B4-BE49-F238E27FC236}">
                  <a16:creationId xmlns:a16="http://schemas.microsoft.com/office/drawing/2014/main" id="{586B81EE-E06A-4A51-BCE6-FC78361E8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1952"/>
              <a:ext cx="56" cy="25"/>
            </a:xfrm>
            <a:custGeom>
              <a:avLst/>
              <a:gdLst>
                <a:gd name="T0" fmla="*/ 2 w 56"/>
                <a:gd name="T1" fmla="*/ 25 h 25"/>
                <a:gd name="T2" fmla="*/ 0 w 56"/>
                <a:gd name="T3" fmla="*/ 17 h 25"/>
                <a:gd name="T4" fmla="*/ 53 w 56"/>
                <a:gd name="T5" fmla="*/ 0 h 25"/>
                <a:gd name="T6" fmla="*/ 56 w 56"/>
                <a:gd name="T7" fmla="*/ 8 h 25"/>
                <a:gd name="T8" fmla="*/ 2 w 5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5">
                  <a:moveTo>
                    <a:pt x="2" y="25"/>
                  </a:moveTo>
                  <a:lnTo>
                    <a:pt x="0" y="17"/>
                  </a:lnTo>
                  <a:lnTo>
                    <a:pt x="53" y="0"/>
                  </a:lnTo>
                  <a:lnTo>
                    <a:pt x="56" y="8"/>
                  </a:lnTo>
                  <a:lnTo>
                    <a:pt x="2" y="2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314">
              <a:extLst>
                <a:ext uri="{FF2B5EF4-FFF2-40B4-BE49-F238E27FC236}">
                  <a16:creationId xmlns:a16="http://schemas.microsoft.com/office/drawing/2014/main" id="{AE0DC58B-B51D-4A29-9B98-296D7DFDC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" y="1972"/>
              <a:ext cx="42" cy="42"/>
            </a:xfrm>
            <a:custGeom>
              <a:avLst/>
              <a:gdLst>
                <a:gd name="T0" fmla="*/ 5 w 42"/>
                <a:gd name="T1" fmla="*/ 42 h 42"/>
                <a:gd name="T2" fmla="*/ 0 w 42"/>
                <a:gd name="T3" fmla="*/ 37 h 42"/>
                <a:gd name="T4" fmla="*/ 37 w 42"/>
                <a:gd name="T5" fmla="*/ 0 h 42"/>
                <a:gd name="T6" fmla="*/ 42 w 42"/>
                <a:gd name="T7" fmla="*/ 5 h 42"/>
                <a:gd name="T8" fmla="*/ 5 w 42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5" y="42"/>
                  </a:moveTo>
                  <a:lnTo>
                    <a:pt x="0" y="37"/>
                  </a:lnTo>
                  <a:lnTo>
                    <a:pt x="37" y="0"/>
                  </a:lnTo>
                  <a:lnTo>
                    <a:pt x="42" y="5"/>
                  </a:lnTo>
                  <a:lnTo>
                    <a:pt x="5" y="4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7" name="Group 317">
            <a:extLst>
              <a:ext uri="{FF2B5EF4-FFF2-40B4-BE49-F238E27FC236}">
                <a16:creationId xmlns:a16="http://schemas.microsoft.com/office/drawing/2014/main" id="{3930FB2C-FD39-406E-B516-1FEB6943A2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13" y="4078288"/>
            <a:ext cx="841375" cy="841375"/>
            <a:chOff x="263" y="2569"/>
            <a:chExt cx="530" cy="530"/>
          </a:xfrm>
        </p:grpSpPr>
        <p:sp>
          <p:nvSpPr>
            <p:cNvPr id="358" name="AutoShape 316">
              <a:extLst>
                <a:ext uri="{FF2B5EF4-FFF2-40B4-BE49-F238E27FC236}">
                  <a16:creationId xmlns:a16="http://schemas.microsoft.com/office/drawing/2014/main" id="{ED68AABE-DD63-44DF-A30D-59D6C6F866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3" y="25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318">
              <a:extLst>
                <a:ext uri="{FF2B5EF4-FFF2-40B4-BE49-F238E27FC236}">
                  <a16:creationId xmlns:a16="http://schemas.microsoft.com/office/drawing/2014/main" id="{F76AEACA-F299-40C8-8A10-1C69E09E0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" y="25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19">
              <a:extLst>
                <a:ext uri="{FF2B5EF4-FFF2-40B4-BE49-F238E27FC236}">
                  <a16:creationId xmlns:a16="http://schemas.microsoft.com/office/drawing/2014/main" id="{618D6A45-69FA-4489-95D7-C47B3287CB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" y="25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0">
              <a:extLst>
                <a:ext uri="{FF2B5EF4-FFF2-40B4-BE49-F238E27FC236}">
                  <a16:creationId xmlns:a16="http://schemas.microsoft.com/office/drawing/2014/main" id="{56D93597-34D4-48EA-9C85-7D740CB21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" y="2815"/>
              <a:ext cx="230" cy="212"/>
            </a:xfrm>
            <a:custGeom>
              <a:avLst/>
              <a:gdLst>
                <a:gd name="T0" fmla="*/ 23 w 90"/>
                <a:gd name="T1" fmla="*/ 14 h 83"/>
                <a:gd name="T2" fmla="*/ 33 w 90"/>
                <a:gd name="T3" fmla="*/ 15 h 83"/>
                <a:gd name="T4" fmla="*/ 31 w 90"/>
                <a:gd name="T5" fmla="*/ 28 h 83"/>
                <a:gd name="T6" fmla="*/ 64 w 90"/>
                <a:gd name="T7" fmla="*/ 3 h 83"/>
                <a:gd name="T8" fmla="*/ 69 w 90"/>
                <a:gd name="T9" fmla="*/ 10 h 83"/>
                <a:gd name="T10" fmla="*/ 51 w 90"/>
                <a:gd name="T11" fmla="*/ 25 h 83"/>
                <a:gd name="T12" fmla="*/ 75 w 90"/>
                <a:gd name="T13" fmla="*/ 11 h 83"/>
                <a:gd name="T14" fmla="*/ 81 w 90"/>
                <a:gd name="T15" fmla="*/ 19 h 83"/>
                <a:gd name="T16" fmla="*/ 57 w 90"/>
                <a:gd name="T17" fmla="*/ 36 h 83"/>
                <a:gd name="T18" fmla="*/ 79 w 90"/>
                <a:gd name="T19" fmla="*/ 24 h 83"/>
                <a:gd name="T20" fmla="*/ 84 w 90"/>
                <a:gd name="T21" fmla="*/ 32 h 83"/>
                <a:gd name="T22" fmla="*/ 63 w 90"/>
                <a:gd name="T23" fmla="*/ 46 h 83"/>
                <a:gd name="T24" fmla="*/ 76 w 90"/>
                <a:gd name="T25" fmla="*/ 39 h 83"/>
                <a:gd name="T26" fmla="*/ 79 w 90"/>
                <a:gd name="T27" fmla="*/ 48 h 83"/>
                <a:gd name="T28" fmla="*/ 31 w 90"/>
                <a:gd name="T29" fmla="*/ 75 h 83"/>
                <a:gd name="T30" fmla="*/ 23 w 90"/>
                <a:gd name="T31" fmla="*/ 83 h 83"/>
                <a:gd name="T32" fmla="*/ 0 w 90"/>
                <a:gd name="T33" fmla="*/ 50 h 83"/>
                <a:gd name="T34" fmla="*/ 13 w 90"/>
                <a:gd name="T35" fmla="*/ 42 h 83"/>
                <a:gd name="T36" fmla="*/ 23 w 90"/>
                <a:gd name="T37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83">
                  <a:moveTo>
                    <a:pt x="23" y="14"/>
                  </a:moveTo>
                  <a:cubicBezTo>
                    <a:pt x="28" y="6"/>
                    <a:pt x="37" y="7"/>
                    <a:pt x="33" y="15"/>
                  </a:cubicBezTo>
                  <a:cubicBezTo>
                    <a:pt x="30" y="22"/>
                    <a:pt x="30" y="28"/>
                    <a:pt x="31" y="28"/>
                  </a:cubicBezTo>
                  <a:cubicBezTo>
                    <a:pt x="33" y="28"/>
                    <a:pt x="59" y="7"/>
                    <a:pt x="64" y="3"/>
                  </a:cubicBezTo>
                  <a:cubicBezTo>
                    <a:pt x="69" y="0"/>
                    <a:pt x="76" y="5"/>
                    <a:pt x="69" y="10"/>
                  </a:cubicBezTo>
                  <a:cubicBezTo>
                    <a:pt x="62" y="15"/>
                    <a:pt x="50" y="24"/>
                    <a:pt x="51" y="25"/>
                  </a:cubicBezTo>
                  <a:cubicBezTo>
                    <a:pt x="52" y="26"/>
                    <a:pt x="70" y="14"/>
                    <a:pt x="75" y="11"/>
                  </a:cubicBezTo>
                  <a:cubicBezTo>
                    <a:pt x="80" y="8"/>
                    <a:pt x="86" y="15"/>
                    <a:pt x="81" y="19"/>
                  </a:cubicBezTo>
                  <a:cubicBezTo>
                    <a:pt x="75" y="23"/>
                    <a:pt x="56" y="35"/>
                    <a:pt x="57" y="36"/>
                  </a:cubicBezTo>
                  <a:cubicBezTo>
                    <a:pt x="57" y="37"/>
                    <a:pt x="71" y="30"/>
                    <a:pt x="79" y="24"/>
                  </a:cubicBezTo>
                  <a:cubicBezTo>
                    <a:pt x="86" y="19"/>
                    <a:pt x="90" y="27"/>
                    <a:pt x="84" y="32"/>
                  </a:cubicBezTo>
                  <a:cubicBezTo>
                    <a:pt x="78" y="36"/>
                    <a:pt x="62" y="46"/>
                    <a:pt x="63" y="46"/>
                  </a:cubicBezTo>
                  <a:cubicBezTo>
                    <a:pt x="63" y="47"/>
                    <a:pt x="69" y="43"/>
                    <a:pt x="76" y="39"/>
                  </a:cubicBezTo>
                  <a:cubicBezTo>
                    <a:pt x="83" y="35"/>
                    <a:pt x="88" y="43"/>
                    <a:pt x="79" y="48"/>
                  </a:cubicBezTo>
                  <a:cubicBezTo>
                    <a:pt x="70" y="53"/>
                    <a:pt x="34" y="72"/>
                    <a:pt x="31" y="75"/>
                  </a:cubicBezTo>
                  <a:cubicBezTo>
                    <a:pt x="27" y="77"/>
                    <a:pt x="23" y="83"/>
                    <a:pt x="23" y="8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11" y="48"/>
                    <a:pt x="13" y="42"/>
                  </a:cubicBezTo>
                  <a:cubicBezTo>
                    <a:pt x="15" y="37"/>
                    <a:pt x="19" y="21"/>
                    <a:pt x="2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21">
              <a:extLst>
                <a:ext uri="{FF2B5EF4-FFF2-40B4-BE49-F238E27FC236}">
                  <a16:creationId xmlns:a16="http://schemas.microsoft.com/office/drawing/2014/main" id="{E20D7C18-36EF-4178-93B5-CC765D73D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" y="2771"/>
              <a:ext cx="251" cy="195"/>
            </a:xfrm>
            <a:custGeom>
              <a:avLst/>
              <a:gdLst>
                <a:gd name="T0" fmla="*/ 46 w 98"/>
                <a:gd name="T1" fmla="*/ 0 h 76"/>
                <a:gd name="T2" fmla="*/ 37 w 98"/>
                <a:gd name="T3" fmla="*/ 3 h 76"/>
                <a:gd name="T4" fmla="*/ 21 w 98"/>
                <a:gd name="T5" fmla="*/ 21 h 76"/>
                <a:gd name="T6" fmla="*/ 16 w 98"/>
                <a:gd name="T7" fmla="*/ 26 h 76"/>
                <a:gd name="T8" fmla="*/ 9 w 98"/>
                <a:gd name="T9" fmla="*/ 28 h 76"/>
                <a:gd name="T10" fmla="*/ 5 w 98"/>
                <a:gd name="T11" fmla="*/ 28 h 76"/>
                <a:gd name="T12" fmla="*/ 0 w 98"/>
                <a:gd name="T13" fmla="*/ 27 h 76"/>
                <a:gd name="T14" fmla="*/ 1 w 98"/>
                <a:gd name="T15" fmla="*/ 32 h 76"/>
                <a:gd name="T16" fmla="*/ 10 w 98"/>
                <a:gd name="T17" fmla="*/ 71 h 76"/>
                <a:gd name="T18" fmla="*/ 11 w 98"/>
                <a:gd name="T19" fmla="*/ 76 h 76"/>
                <a:gd name="T20" fmla="*/ 16 w 98"/>
                <a:gd name="T21" fmla="*/ 73 h 76"/>
                <a:gd name="T22" fmla="*/ 25 w 98"/>
                <a:gd name="T23" fmla="*/ 68 h 76"/>
                <a:gd name="T24" fmla="*/ 67 w 98"/>
                <a:gd name="T25" fmla="*/ 63 h 76"/>
                <a:gd name="T26" fmla="*/ 79 w 98"/>
                <a:gd name="T27" fmla="*/ 62 h 76"/>
                <a:gd name="T28" fmla="*/ 89 w 98"/>
                <a:gd name="T29" fmla="*/ 53 h 76"/>
                <a:gd name="T30" fmla="*/ 87 w 98"/>
                <a:gd name="T31" fmla="*/ 49 h 76"/>
                <a:gd name="T32" fmla="*/ 89 w 98"/>
                <a:gd name="T33" fmla="*/ 48 h 76"/>
                <a:gd name="T34" fmla="*/ 97 w 98"/>
                <a:gd name="T35" fmla="*/ 39 h 76"/>
                <a:gd name="T36" fmla="*/ 95 w 98"/>
                <a:gd name="T37" fmla="*/ 34 h 76"/>
                <a:gd name="T38" fmla="*/ 98 w 98"/>
                <a:gd name="T39" fmla="*/ 27 h 76"/>
                <a:gd name="T40" fmla="*/ 90 w 98"/>
                <a:gd name="T41" fmla="*/ 19 h 76"/>
                <a:gd name="T42" fmla="*/ 91 w 98"/>
                <a:gd name="T43" fmla="*/ 15 h 76"/>
                <a:gd name="T44" fmla="*/ 82 w 98"/>
                <a:gd name="T45" fmla="*/ 8 h 76"/>
                <a:gd name="T46" fmla="*/ 80 w 98"/>
                <a:gd name="T47" fmla="*/ 8 h 76"/>
                <a:gd name="T48" fmla="*/ 64 w 98"/>
                <a:gd name="T49" fmla="*/ 12 h 76"/>
                <a:gd name="T50" fmla="*/ 47 w 98"/>
                <a:gd name="T51" fmla="*/ 18 h 76"/>
                <a:gd name="T52" fmla="*/ 51 w 98"/>
                <a:gd name="T53" fmla="*/ 13 h 76"/>
                <a:gd name="T54" fmla="*/ 53 w 98"/>
                <a:gd name="T55" fmla="*/ 4 h 76"/>
                <a:gd name="T56" fmla="*/ 46 w 98"/>
                <a:gd name="T57" fmla="*/ 0 h 76"/>
                <a:gd name="T58" fmla="*/ 46 w 98"/>
                <a:gd name="T59" fmla="*/ 3 h 76"/>
                <a:gd name="T60" fmla="*/ 48 w 98"/>
                <a:gd name="T61" fmla="*/ 10 h 76"/>
                <a:gd name="T62" fmla="*/ 42 w 98"/>
                <a:gd name="T63" fmla="*/ 22 h 76"/>
                <a:gd name="T64" fmla="*/ 42 w 98"/>
                <a:gd name="T65" fmla="*/ 22 h 76"/>
                <a:gd name="T66" fmla="*/ 81 w 98"/>
                <a:gd name="T67" fmla="*/ 11 h 76"/>
                <a:gd name="T68" fmla="*/ 82 w 98"/>
                <a:gd name="T69" fmla="*/ 11 h 76"/>
                <a:gd name="T70" fmla="*/ 83 w 98"/>
                <a:gd name="T71" fmla="*/ 20 h 76"/>
                <a:gd name="T72" fmla="*/ 61 w 98"/>
                <a:gd name="T73" fmla="*/ 26 h 76"/>
                <a:gd name="T74" fmla="*/ 62 w 98"/>
                <a:gd name="T75" fmla="*/ 27 h 76"/>
                <a:gd name="T76" fmla="*/ 89 w 98"/>
                <a:gd name="T77" fmla="*/ 23 h 76"/>
                <a:gd name="T78" fmla="*/ 90 w 98"/>
                <a:gd name="T79" fmla="*/ 23 h 76"/>
                <a:gd name="T80" fmla="*/ 91 w 98"/>
                <a:gd name="T81" fmla="*/ 32 h 76"/>
                <a:gd name="T82" fmla="*/ 62 w 98"/>
                <a:gd name="T83" fmla="*/ 39 h 76"/>
                <a:gd name="T84" fmla="*/ 64 w 98"/>
                <a:gd name="T85" fmla="*/ 39 h 76"/>
                <a:gd name="T86" fmla="*/ 87 w 98"/>
                <a:gd name="T87" fmla="*/ 36 h 76"/>
                <a:gd name="T88" fmla="*/ 89 w 98"/>
                <a:gd name="T89" fmla="*/ 36 h 76"/>
                <a:gd name="T90" fmla="*/ 89 w 98"/>
                <a:gd name="T91" fmla="*/ 45 h 76"/>
                <a:gd name="T92" fmla="*/ 64 w 98"/>
                <a:gd name="T93" fmla="*/ 51 h 76"/>
                <a:gd name="T94" fmla="*/ 64 w 98"/>
                <a:gd name="T95" fmla="*/ 51 h 76"/>
                <a:gd name="T96" fmla="*/ 79 w 98"/>
                <a:gd name="T97" fmla="*/ 49 h 76"/>
                <a:gd name="T98" fmla="*/ 80 w 98"/>
                <a:gd name="T99" fmla="*/ 49 h 76"/>
                <a:gd name="T100" fmla="*/ 78 w 98"/>
                <a:gd name="T101" fmla="*/ 58 h 76"/>
                <a:gd name="T102" fmla="*/ 24 w 98"/>
                <a:gd name="T103" fmla="*/ 65 h 76"/>
                <a:gd name="T104" fmla="*/ 14 w 98"/>
                <a:gd name="T105" fmla="*/ 70 h 76"/>
                <a:gd name="T106" fmla="*/ 4 w 98"/>
                <a:gd name="T107" fmla="*/ 31 h 76"/>
                <a:gd name="T108" fmla="*/ 9 w 98"/>
                <a:gd name="T109" fmla="*/ 31 h 76"/>
                <a:gd name="T110" fmla="*/ 19 w 98"/>
                <a:gd name="T111" fmla="*/ 29 h 76"/>
                <a:gd name="T112" fmla="*/ 40 w 98"/>
                <a:gd name="T113" fmla="*/ 6 h 76"/>
                <a:gd name="T114" fmla="*/ 46 w 98"/>
                <a:gd name="T115" fmla="*/ 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8" h="76">
                  <a:moveTo>
                    <a:pt x="46" y="0"/>
                  </a:moveTo>
                  <a:cubicBezTo>
                    <a:pt x="43" y="0"/>
                    <a:pt x="40" y="1"/>
                    <a:pt x="37" y="3"/>
                  </a:cubicBezTo>
                  <a:cubicBezTo>
                    <a:pt x="32" y="7"/>
                    <a:pt x="26" y="15"/>
                    <a:pt x="21" y="21"/>
                  </a:cubicBezTo>
                  <a:cubicBezTo>
                    <a:pt x="19" y="23"/>
                    <a:pt x="17" y="25"/>
                    <a:pt x="16" y="26"/>
                  </a:cubicBezTo>
                  <a:cubicBezTo>
                    <a:pt x="16" y="27"/>
                    <a:pt x="13" y="28"/>
                    <a:pt x="9" y="28"/>
                  </a:cubicBezTo>
                  <a:cubicBezTo>
                    <a:pt x="7" y="28"/>
                    <a:pt x="5" y="28"/>
                    <a:pt x="5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7" y="72"/>
                    <a:pt x="22" y="69"/>
                    <a:pt x="25" y="68"/>
                  </a:cubicBezTo>
                  <a:cubicBezTo>
                    <a:pt x="27" y="68"/>
                    <a:pt x="53" y="65"/>
                    <a:pt x="67" y="63"/>
                  </a:cubicBezTo>
                  <a:cubicBezTo>
                    <a:pt x="72" y="62"/>
                    <a:pt x="76" y="62"/>
                    <a:pt x="79" y="62"/>
                  </a:cubicBezTo>
                  <a:cubicBezTo>
                    <a:pt x="86" y="61"/>
                    <a:pt x="89" y="56"/>
                    <a:pt x="89" y="53"/>
                  </a:cubicBezTo>
                  <a:cubicBezTo>
                    <a:pt x="89" y="51"/>
                    <a:pt x="88" y="50"/>
                    <a:pt x="87" y="49"/>
                  </a:cubicBezTo>
                  <a:cubicBezTo>
                    <a:pt x="88" y="49"/>
                    <a:pt x="89" y="48"/>
                    <a:pt x="89" y="48"/>
                  </a:cubicBezTo>
                  <a:cubicBezTo>
                    <a:pt x="95" y="47"/>
                    <a:pt x="98" y="42"/>
                    <a:pt x="97" y="39"/>
                  </a:cubicBezTo>
                  <a:cubicBezTo>
                    <a:pt x="97" y="37"/>
                    <a:pt x="96" y="35"/>
                    <a:pt x="95" y="34"/>
                  </a:cubicBezTo>
                  <a:cubicBezTo>
                    <a:pt x="97" y="33"/>
                    <a:pt x="98" y="30"/>
                    <a:pt x="98" y="27"/>
                  </a:cubicBezTo>
                  <a:cubicBezTo>
                    <a:pt x="97" y="23"/>
                    <a:pt x="94" y="19"/>
                    <a:pt x="90" y="19"/>
                  </a:cubicBezTo>
                  <a:cubicBezTo>
                    <a:pt x="91" y="18"/>
                    <a:pt x="91" y="16"/>
                    <a:pt x="91" y="15"/>
                  </a:cubicBezTo>
                  <a:cubicBezTo>
                    <a:pt x="91" y="11"/>
                    <a:pt x="87" y="8"/>
                    <a:pt x="82" y="8"/>
                  </a:cubicBezTo>
                  <a:cubicBezTo>
                    <a:pt x="82" y="8"/>
                    <a:pt x="81" y="8"/>
                    <a:pt x="80" y="8"/>
                  </a:cubicBezTo>
                  <a:cubicBezTo>
                    <a:pt x="78" y="9"/>
                    <a:pt x="72" y="10"/>
                    <a:pt x="64" y="12"/>
                  </a:cubicBezTo>
                  <a:cubicBezTo>
                    <a:pt x="59" y="14"/>
                    <a:pt x="52" y="16"/>
                    <a:pt x="47" y="18"/>
                  </a:cubicBezTo>
                  <a:cubicBezTo>
                    <a:pt x="48" y="16"/>
                    <a:pt x="49" y="15"/>
                    <a:pt x="51" y="13"/>
                  </a:cubicBezTo>
                  <a:cubicBezTo>
                    <a:pt x="55" y="9"/>
                    <a:pt x="54" y="6"/>
                    <a:pt x="53" y="4"/>
                  </a:cubicBezTo>
                  <a:cubicBezTo>
                    <a:pt x="52" y="2"/>
                    <a:pt x="49" y="0"/>
                    <a:pt x="46" y="0"/>
                  </a:cubicBezTo>
                  <a:moveTo>
                    <a:pt x="46" y="3"/>
                  </a:moveTo>
                  <a:cubicBezTo>
                    <a:pt x="50" y="3"/>
                    <a:pt x="52" y="7"/>
                    <a:pt x="48" y="10"/>
                  </a:cubicBezTo>
                  <a:cubicBezTo>
                    <a:pt x="43" y="16"/>
                    <a:pt x="40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4" y="22"/>
                    <a:pt x="75" y="13"/>
                    <a:pt x="81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8" y="11"/>
                    <a:pt x="91" y="18"/>
                    <a:pt x="83" y="20"/>
                  </a:cubicBezTo>
                  <a:cubicBezTo>
                    <a:pt x="75" y="22"/>
                    <a:pt x="60" y="25"/>
                    <a:pt x="61" y="26"/>
                  </a:cubicBezTo>
                  <a:cubicBezTo>
                    <a:pt x="61" y="27"/>
                    <a:pt x="61" y="27"/>
                    <a:pt x="62" y="27"/>
                  </a:cubicBezTo>
                  <a:cubicBezTo>
                    <a:pt x="68" y="27"/>
                    <a:pt x="84" y="24"/>
                    <a:pt x="89" y="23"/>
                  </a:cubicBezTo>
                  <a:cubicBezTo>
                    <a:pt x="89" y="23"/>
                    <a:pt x="89" y="23"/>
                    <a:pt x="90" y="23"/>
                  </a:cubicBezTo>
                  <a:cubicBezTo>
                    <a:pt x="95" y="23"/>
                    <a:pt x="97" y="31"/>
                    <a:pt x="91" y="32"/>
                  </a:cubicBezTo>
                  <a:cubicBezTo>
                    <a:pt x="84" y="34"/>
                    <a:pt x="62" y="38"/>
                    <a:pt x="62" y="39"/>
                  </a:cubicBezTo>
                  <a:cubicBezTo>
                    <a:pt x="62" y="39"/>
                    <a:pt x="63" y="39"/>
                    <a:pt x="64" y="39"/>
                  </a:cubicBezTo>
                  <a:cubicBezTo>
                    <a:pt x="68" y="39"/>
                    <a:pt x="79" y="38"/>
                    <a:pt x="87" y="36"/>
                  </a:cubicBezTo>
                  <a:cubicBezTo>
                    <a:pt x="88" y="36"/>
                    <a:pt x="88" y="36"/>
                    <a:pt x="89" y="36"/>
                  </a:cubicBezTo>
                  <a:cubicBezTo>
                    <a:pt x="96" y="36"/>
                    <a:pt x="95" y="44"/>
                    <a:pt x="89" y="45"/>
                  </a:cubicBezTo>
                  <a:cubicBezTo>
                    <a:pt x="82" y="47"/>
                    <a:pt x="63" y="50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7" y="51"/>
                    <a:pt x="73" y="50"/>
                    <a:pt x="79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7" y="49"/>
                    <a:pt x="88" y="57"/>
                    <a:pt x="78" y="58"/>
                  </a:cubicBezTo>
                  <a:cubicBezTo>
                    <a:pt x="68" y="60"/>
                    <a:pt x="28" y="64"/>
                    <a:pt x="24" y="65"/>
                  </a:cubicBezTo>
                  <a:cubicBezTo>
                    <a:pt x="19" y="66"/>
                    <a:pt x="14" y="70"/>
                    <a:pt x="14" y="70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6" y="31"/>
                    <a:pt x="9" y="31"/>
                  </a:cubicBezTo>
                  <a:cubicBezTo>
                    <a:pt x="12" y="31"/>
                    <a:pt x="17" y="31"/>
                    <a:pt x="19" y="29"/>
                  </a:cubicBezTo>
                  <a:cubicBezTo>
                    <a:pt x="23" y="25"/>
                    <a:pt x="33" y="11"/>
                    <a:pt x="40" y="6"/>
                  </a:cubicBezTo>
                  <a:cubicBezTo>
                    <a:pt x="42" y="4"/>
                    <a:pt x="44" y="3"/>
                    <a:pt x="46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22">
              <a:extLst>
                <a:ext uri="{FF2B5EF4-FFF2-40B4-BE49-F238E27FC236}">
                  <a16:creationId xmlns:a16="http://schemas.microsoft.com/office/drawing/2014/main" id="{010366C0-C6BA-4BCE-98C9-5423F72865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" y="2653"/>
              <a:ext cx="136" cy="85"/>
            </a:xfrm>
            <a:custGeom>
              <a:avLst/>
              <a:gdLst>
                <a:gd name="T0" fmla="*/ 39 w 53"/>
                <a:gd name="T1" fmla="*/ 30 h 33"/>
                <a:gd name="T2" fmla="*/ 50 w 53"/>
                <a:gd name="T3" fmla="*/ 30 h 33"/>
                <a:gd name="T4" fmla="*/ 50 w 53"/>
                <a:gd name="T5" fmla="*/ 3 h 33"/>
                <a:gd name="T6" fmla="*/ 38 w 53"/>
                <a:gd name="T7" fmla="*/ 3 h 33"/>
                <a:gd name="T8" fmla="*/ 35 w 53"/>
                <a:gd name="T9" fmla="*/ 5 h 33"/>
                <a:gd name="T10" fmla="*/ 46 w 53"/>
                <a:gd name="T11" fmla="*/ 5 h 33"/>
                <a:gd name="T12" fmla="*/ 46 w 53"/>
                <a:gd name="T13" fmla="*/ 12 h 33"/>
                <a:gd name="T14" fmla="*/ 9 w 53"/>
                <a:gd name="T15" fmla="*/ 12 h 33"/>
                <a:gd name="T16" fmla="*/ 4 w 53"/>
                <a:gd name="T17" fmla="*/ 18 h 33"/>
                <a:gd name="T18" fmla="*/ 4 w 53"/>
                <a:gd name="T19" fmla="*/ 27 h 33"/>
                <a:gd name="T20" fmla="*/ 14 w 53"/>
                <a:gd name="T21" fmla="*/ 27 h 33"/>
                <a:gd name="T22" fmla="*/ 14 w 53"/>
                <a:gd name="T23" fmla="*/ 23 h 33"/>
                <a:gd name="T24" fmla="*/ 39 w 53"/>
                <a:gd name="T25" fmla="*/ 23 h 33"/>
                <a:gd name="T26" fmla="*/ 39 w 53"/>
                <a:gd name="T27" fmla="*/ 30 h 33"/>
                <a:gd name="T28" fmla="*/ 53 w 53"/>
                <a:gd name="T29" fmla="*/ 33 h 33"/>
                <a:gd name="T30" fmla="*/ 36 w 53"/>
                <a:gd name="T31" fmla="*/ 33 h 33"/>
                <a:gd name="T32" fmla="*/ 36 w 53"/>
                <a:gd name="T33" fmla="*/ 26 h 33"/>
                <a:gd name="T34" fmla="*/ 18 w 53"/>
                <a:gd name="T35" fmla="*/ 26 h 33"/>
                <a:gd name="T36" fmla="*/ 18 w 53"/>
                <a:gd name="T37" fmla="*/ 31 h 33"/>
                <a:gd name="T38" fmla="*/ 0 w 53"/>
                <a:gd name="T39" fmla="*/ 31 h 33"/>
                <a:gd name="T40" fmla="*/ 0 w 53"/>
                <a:gd name="T41" fmla="*/ 18 h 33"/>
                <a:gd name="T42" fmla="*/ 9 w 53"/>
                <a:gd name="T43" fmla="*/ 9 h 33"/>
                <a:gd name="T44" fmla="*/ 42 w 53"/>
                <a:gd name="T45" fmla="*/ 9 h 33"/>
                <a:gd name="T46" fmla="*/ 42 w 53"/>
                <a:gd name="T47" fmla="*/ 8 h 33"/>
                <a:gd name="T48" fmla="*/ 29 w 53"/>
                <a:gd name="T49" fmla="*/ 8 h 33"/>
                <a:gd name="T50" fmla="*/ 29 w 53"/>
                <a:gd name="T51" fmla="*/ 4 h 33"/>
                <a:gd name="T52" fmla="*/ 37 w 53"/>
                <a:gd name="T53" fmla="*/ 0 h 33"/>
                <a:gd name="T54" fmla="*/ 53 w 53"/>
                <a:gd name="T55" fmla="*/ 0 h 33"/>
                <a:gd name="T56" fmla="*/ 53 w 53"/>
                <a:gd name="T5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3" h="33">
                  <a:moveTo>
                    <a:pt x="39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4" y="13"/>
                    <a:pt x="4" y="1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39" y="23"/>
                    <a:pt x="39" y="23"/>
                    <a:pt x="39" y="23"/>
                  </a:cubicBezTo>
                  <a:lnTo>
                    <a:pt x="39" y="30"/>
                  </a:lnTo>
                  <a:close/>
                  <a:moveTo>
                    <a:pt x="53" y="33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1"/>
                    <a:pt x="6" y="9"/>
                    <a:pt x="9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323">
              <a:extLst>
                <a:ext uri="{FF2B5EF4-FFF2-40B4-BE49-F238E27FC236}">
                  <a16:creationId xmlns:a16="http://schemas.microsoft.com/office/drawing/2014/main" id="{0DC90BA1-FC96-440F-B92F-842DF72FC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" y="2733"/>
              <a:ext cx="26" cy="41"/>
            </a:xfrm>
            <a:custGeom>
              <a:avLst/>
              <a:gdLst>
                <a:gd name="T0" fmla="*/ 8 w 26"/>
                <a:gd name="T1" fmla="*/ 41 h 41"/>
                <a:gd name="T2" fmla="*/ 0 w 26"/>
                <a:gd name="T3" fmla="*/ 36 h 41"/>
                <a:gd name="T4" fmla="*/ 18 w 26"/>
                <a:gd name="T5" fmla="*/ 0 h 41"/>
                <a:gd name="T6" fmla="*/ 26 w 26"/>
                <a:gd name="T7" fmla="*/ 5 h 41"/>
                <a:gd name="T8" fmla="*/ 8 w 26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1">
                  <a:moveTo>
                    <a:pt x="8" y="41"/>
                  </a:moveTo>
                  <a:lnTo>
                    <a:pt x="0" y="36"/>
                  </a:lnTo>
                  <a:lnTo>
                    <a:pt x="18" y="0"/>
                  </a:lnTo>
                  <a:lnTo>
                    <a:pt x="26" y="5"/>
                  </a:lnTo>
                  <a:lnTo>
                    <a:pt x="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324">
              <a:extLst>
                <a:ext uri="{FF2B5EF4-FFF2-40B4-BE49-F238E27FC236}">
                  <a16:creationId xmlns:a16="http://schemas.microsoft.com/office/drawing/2014/main" id="{36AD973B-DAAE-4993-BA6C-373BD0E7F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" y="2733"/>
              <a:ext cx="26" cy="41"/>
            </a:xfrm>
            <a:custGeom>
              <a:avLst/>
              <a:gdLst>
                <a:gd name="T0" fmla="*/ 18 w 26"/>
                <a:gd name="T1" fmla="*/ 41 h 41"/>
                <a:gd name="T2" fmla="*/ 0 w 26"/>
                <a:gd name="T3" fmla="*/ 5 h 41"/>
                <a:gd name="T4" fmla="*/ 8 w 26"/>
                <a:gd name="T5" fmla="*/ 0 h 41"/>
                <a:gd name="T6" fmla="*/ 26 w 26"/>
                <a:gd name="T7" fmla="*/ 36 h 41"/>
                <a:gd name="T8" fmla="*/ 18 w 26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1">
                  <a:moveTo>
                    <a:pt x="18" y="41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26" y="36"/>
                  </a:lnTo>
                  <a:lnTo>
                    <a:pt x="1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325">
              <a:extLst>
                <a:ext uri="{FF2B5EF4-FFF2-40B4-BE49-F238E27FC236}">
                  <a16:creationId xmlns:a16="http://schemas.microsoft.com/office/drawing/2014/main" id="{0B19C079-F173-4B1F-92C1-CA502E82D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2735"/>
              <a:ext cx="11" cy="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7" name="Group 328">
            <a:extLst>
              <a:ext uri="{FF2B5EF4-FFF2-40B4-BE49-F238E27FC236}">
                <a16:creationId xmlns:a16="http://schemas.microsoft.com/office/drawing/2014/main" id="{DF7E6B04-C092-484F-82A1-0000F4A8A9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1450" y="4119563"/>
            <a:ext cx="758825" cy="758825"/>
            <a:chOff x="908" y="2595"/>
            <a:chExt cx="478" cy="478"/>
          </a:xfrm>
        </p:grpSpPr>
        <p:sp>
          <p:nvSpPr>
            <p:cNvPr id="368" name="AutoShape 327">
              <a:extLst>
                <a:ext uri="{FF2B5EF4-FFF2-40B4-BE49-F238E27FC236}">
                  <a16:creationId xmlns:a16="http://schemas.microsoft.com/office/drawing/2014/main" id="{5603036E-201C-4C32-9ABA-C10AE61119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8" y="25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29">
              <a:extLst>
                <a:ext uri="{FF2B5EF4-FFF2-40B4-BE49-F238E27FC236}">
                  <a16:creationId xmlns:a16="http://schemas.microsoft.com/office/drawing/2014/main" id="{06EDF252-80A6-49F5-B453-FB8F5EAE5C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0" y="25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0">
              <a:extLst>
                <a:ext uri="{FF2B5EF4-FFF2-40B4-BE49-F238E27FC236}">
                  <a16:creationId xmlns:a16="http://schemas.microsoft.com/office/drawing/2014/main" id="{8690E8FE-BAD0-4C2D-B1AD-B7C8E823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" y="2816"/>
              <a:ext cx="221" cy="203"/>
            </a:xfrm>
            <a:custGeom>
              <a:avLst/>
              <a:gdLst>
                <a:gd name="T0" fmla="*/ 23 w 90"/>
                <a:gd name="T1" fmla="*/ 14 h 83"/>
                <a:gd name="T2" fmla="*/ 33 w 90"/>
                <a:gd name="T3" fmla="*/ 15 h 83"/>
                <a:gd name="T4" fmla="*/ 31 w 90"/>
                <a:gd name="T5" fmla="*/ 28 h 83"/>
                <a:gd name="T6" fmla="*/ 64 w 90"/>
                <a:gd name="T7" fmla="*/ 3 h 83"/>
                <a:gd name="T8" fmla="*/ 69 w 90"/>
                <a:gd name="T9" fmla="*/ 10 h 83"/>
                <a:gd name="T10" fmla="*/ 51 w 90"/>
                <a:gd name="T11" fmla="*/ 25 h 83"/>
                <a:gd name="T12" fmla="*/ 75 w 90"/>
                <a:gd name="T13" fmla="*/ 11 h 83"/>
                <a:gd name="T14" fmla="*/ 81 w 90"/>
                <a:gd name="T15" fmla="*/ 19 h 83"/>
                <a:gd name="T16" fmla="*/ 57 w 90"/>
                <a:gd name="T17" fmla="*/ 36 h 83"/>
                <a:gd name="T18" fmla="*/ 79 w 90"/>
                <a:gd name="T19" fmla="*/ 24 h 83"/>
                <a:gd name="T20" fmla="*/ 84 w 90"/>
                <a:gd name="T21" fmla="*/ 32 h 83"/>
                <a:gd name="T22" fmla="*/ 63 w 90"/>
                <a:gd name="T23" fmla="*/ 46 h 83"/>
                <a:gd name="T24" fmla="*/ 76 w 90"/>
                <a:gd name="T25" fmla="*/ 39 h 83"/>
                <a:gd name="T26" fmla="*/ 79 w 90"/>
                <a:gd name="T27" fmla="*/ 48 h 83"/>
                <a:gd name="T28" fmla="*/ 31 w 90"/>
                <a:gd name="T29" fmla="*/ 75 h 83"/>
                <a:gd name="T30" fmla="*/ 23 w 90"/>
                <a:gd name="T31" fmla="*/ 83 h 83"/>
                <a:gd name="T32" fmla="*/ 0 w 90"/>
                <a:gd name="T33" fmla="*/ 50 h 83"/>
                <a:gd name="T34" fmla="*/ 13 w 90"/>
                <a:gd name="T35" fmla="*/ 42 h 83"/>
                <a:gd name="T36" fmla="*/ 23 w 90"/>
                <a:gd name="T37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83">
                  <a:moveTo>
                    <a:pt x="23" y="14"/>
                  </a:moveTo>
                  <a:cubicBezTo>
                    <a:pt x="28" y="6"/>
                    <a:pt x="37" y="7"/>
                    <a:pt x="33" y="15"/>
                  </a:cubicBezTo>
                  <a:cubicBezTo>
                    <a:pt x="30" y="22"/>
                    <a:pt x="30" y="28"/>
                    <a:pt x="31" y="28"/>
                  </a:cubicBezTo>
                  <a:cubicBezTo>
                    <a:pt x="33" y="28"/>
                    <a:pt x="59" y="7"/>
                    <a:pt x="64" y="3"/>
                  </a:cubicBezTo>
                  <a:cubicBezTo>
                    <a:pt x="69" y="0"/>
                    <a:pt x="76" y="5"/>
                    <a:pt x="69" y="10"/>
                  </a:cubicBezTo>
                  <a:cubicBezTo>
                    <a:pt x="62" y="15"/>
                    <a:pt x="50" y="24"/>
                    <a:pt x="51" y="25"/>
                  </a:cubicBezTo>
                  <a:cubicBezTo>
                    <a:pt x="52" y="26"/>
                    <a:pt x="70" y="14"/>
                    <a:pt x="75" y="11"/>
                  </a:cubicBezTo>
                  <a:cubicBezTo>
                    <a:pt x="80" y="8"/>
                    <a:pt x="86" y="15"/>
                    <a:pt x="81" y="19"/>
                  </a:cubicBezTo>
                  <a:cubicBezTo>
                    <a:pt x="75" y="23"/>
                    <a:pt x="56" y="35"/>
                    <a:pt x="57" y="36"/>
                  </a:cubicBezTo>
                  <a:cubicBezTo>
                    <a:pt x="57" y="37"/>
                    <a:pt x="71" y="30"/>
                    <a:pt x="79" y="24"/>
                  </a:cubicBezTo>
                  <a:cubicBezTo>
                    <a:pt x="86" y="19"/>
                    <a:pt x="90" y="27"/>
                    <a:pt x="84" y="32"/>
                  </a:cubicBezTo>
                  <a:cubicBezTo>
                    <a:pt x="78" y="36"/>
                    <a:pt x="62" y="46"/>
                    <a:pt x="63" y="46"/>
                  </a:cubicBezTo>
                  <a:cubicBezTo>
                    <a:pt x="63" y="47"/>
                    <a:pt x="69" y="43"/>
                    <a:pt x="76" y="39"/>
                  </a:cubicBezTo>
                  <a:cubicBezTo>
                    <a:pt x="83" y="35"/>
                    <a:pt x="88" y="43"/>
                    <a:pt x="79" y="48"/>
                  </a:cubicBezTo>
                  <a:cubicBezTo>
                    <a:pt x="70" y="53"/>
                    <a:pt x="34" y="72"/>
                    <a:pt x="31" y="75"/>
                  </a:cubicBezTo>
                  <a:cubicBezTo>
                    <a:pt x="27" y="77"/>
                    <a:pt x="23" y="83"/>
                    <a:pt x="23" y="8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11" y="48"/>
                    <a:pt x="13" y="42"/>
                  </a:cubicBezTo>
                  <a:cubicBezTo>
                    <a:pt x="15" y="37"/>
                    <a:pt x="19" y="21"/>
                    <a:pt x="23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1">
              <a:extLst>
                <a:ext uri="{FF2B5EF4-FFF2-40B4-BE49-F238E27FC236}">
                  <a16:creationId xmlns:a16="http://schemas.microsoft.com/office/drawing/2014/main" id="{4FAB011A-D867-416A-903E-61DED6CD84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4" y="2774"/>
              <a:ext cx="241" cy="186"/>
            </a:xfrm>
            <a:custGeom>
              <a:avLst/>
              <a:gdLst>
                <a:gd name="T0" fmla="*/ 46 w 98"/>
                <a:gd name="T1" fmla="*/ 0 h 76"/>
                <a:gd name="T2" fmla="*/ 37 w 98"/>
                <a:gd name="T3" fmla="*/ 3 h 76"/>
                <a:gd name="T4" fmla="*/ 21 w 98"/>
                <a:gd name="T5" fmla="*/ 21 h 76"/>
                <a:gd name="T6" fmla="*/ 16 w 98"/>
                <a:gd name="T7" fmla="*/ 26 h 76"/>
                <a:gd name="T8" fmla="*/ 9 w 98"/>
                <a:gd name="T9" fmla="*/ 28 h 76"/>
                <a:gd name="T10" fmla="*/ 5 w 98"/>
                <a:gd name="T11" fmla="*/ 28 h 76"/>
                <a:gd name="T12" fmla="*/ 0 w 98"/>
                <a:gd name="T13" fmla="*/ 27 h 76"/>
                <a:gd name="T14" fmla="*/ 1 w 98"/>
                <a:gd name="T15" fmla="*/ 32 h 76"/>
                <a:gd name="T16" fmla="*/ 10 w 98"/>
                <a:gd name="T17" fmla="*/ 71 h 76"/>
                <a:gd name="T18" fmla="*/ 11 w 98"/>
                <a:gd name="T19" fmla="*/ 76 h 76"/>
                <a:gd name="T20" fmla="*/ 16 w 98"/>
                <a:gd name="T21" fmla="*/ 73 h 76"/>
                <a:gd name="T22" fmla="*/ 25 w 98"/>
                <a:gd name="T23" fmla="*/ 68 h 76"/>
                <a:gd name="T24" fmla="*/ 67 w 98"/>
                <a:gd name="T25" fmla="*/ 63 h 76"/>
                <a:gd name="T26" fmla="*/ 79 w 98"/>
                <a:gd name="T27" fmla="*/ 62 h 76"/>
                <a:gd name="T28" fmla="*/ 89 w 98"/>
                <a:gd name="T29" fmla="*/ 53 h 76"/>
                <a:gd name="T30" fmla="*/ 87 w 98"/>
                <a:gd name="T31" fmla="*/ 49 h 76"/>
                <a:gd name="T32" fmla="*/ 89 w 98"/>
                <a:gd name="T33" fmla="*/ 48 h 76"/>
                <a:gd name="T34" fmla="*/ 97 w 98"/>
                <a:gd name="T35" fmla="*/ 39 h 76"/>
                <a:gd name="T36" fmla="*/ 95 w 98"/>
                <a:gd name="T37" fmla="*/ 34 h 76"/>
                <a:gd name="T38" fmla="*/ 98 w 98"/>
                <a:gd name="T39" fmla="*/ 27 h 76"/>
                <a:gd name="T40" fmla="*/ 90 w 98"/>
                <a:gd name="T41" fmla="*/ 19 h 76"/>
                <a:gd name="T42" fmla="*/ 91 w 98"/>
                <a:gd name="T43" fmla="*/ 15 h 76"/>
                <a:gd name="T44" fmla="*/ 82 w 98"/>
                <a:gd name="T45" fmla="*/ 8 h 76"/>
                <a:gd name="T46" fmla="*/ 80 w 98"/>
                <a:gd name="T47" fmla="*/ 8 h 76"/>
                <a:gd name="T48" fmla="*/ 64 w 98"/>
                <a:gd name="T49" fmla="*/ 12 h 76"/>
                <a:gd name="T50" fmla="*/ 47 w 98"/>
                <a:gd name="T51" fmla="*/ 18 h 76"/>
                <a:gd name="T52" fmla="*/ 51 w 98"/>
                <a:gd name="T53" fmla="*/ 13 h 76"/>
                <a:gd name="T54" fmla="*/ 53 w 98"/>
                <a:gd name="T55" fmla="*/ 4 h 76"/>
                <a:gd name="T56" fmla="*/ 46 w 98"/>
                <a:gd name="T57" fmla="*/ 0 h 76"/>
                <a:gd name="T58" fmla="*/ 46 w 98"/>
                <a:gd name="T59" fmla="*/ 3 h 76"/>
                <a:gd name="T60" fmla="*/ 48 w 98"/>
                <a:gd name="T61" fmla="*/ 10 h 76"/>
                <a:gd name="T62" fmla="*/ 42 w 98"/>
                <a:gd name="T63" fmla="*/ 22 h 76"/>
                <a:gd name="T64" fmla="*/ 42 w 98"/>
                <a:gd name="T65" fmla="*/ 22 h 76"/>
                <a:gd name="T66" fmla="*/ 81 w 98"/>
                <a:gd name="T67" fmla="*/ 11 h 76"/>
                <a:gd name="T68" fmla="*/ 82 w 98"/>
                <a:gd name="T69" fmla="*/ 11 h 76"/>
                <a:gd name="T70" fmla="*/ 83 w 98"/>
                <a:gd name="T71" fmla="*/ 20 h 76"/>
                <a:gd name="T72" fmla="*/ 61 w 98"/>
                <a:gd name="T73" fmla="*/ 26 h 76"/>
                <a:gd name="T74" fmla="*/ 62 w 98"/>
                <a:gd name="T75" fmla="*/ 27 h 76"/>
                <a:gd name="T76" fmla="*/ 89 w 98"/>
                <a:gd name="T77" fmla="*/ 23 h 76"/>
                <a:gd name="T78" fmla="*/ 90 w 98"/>
                <a:gd name="T79" fmla="*/ 23 h 76"/>
                <a:gd name="T80" fmla="*/ 91 w 98"/>
                <a:gd name="T81" fmla="*/ 32 h 76"/>
                <a:gd name="T82" fmla="*/ 62 w 98"/>
                <a:gd name="T83" fmla="*/ 39 h 76"/>
                <a:gd name="T84" fmla="*/ 64 w 98"/>
                <a:gd name="T85" fmla="*/ 39 h 76"/>
                <a:gd name="T86" fmla="*/ 87 w 98"/>
                <a:gd name="T87" fmla="*/ 36 h 76"/>
                <a:gd name="T88" fmla="*/ 89 w 98"/>
                <a:gd name="T89" fmla="*/ 36 h 76"/>
                <a:gd name="T90" fmla="*/ 89 w 98"/>
                <a:gd name="T91" fmla="*/ 45 h 76"/>
                <a:gd name="T92" fmla="*/ 64 w 98"/>
                <a:gd name="T93" fmla="*/ 51 h 76"/>
                <a:gd name="T94" fmla="*/ 64 w 98"/>
                <a:gd name="T95" fmla="*/ 51 h 76"/>
                <a:gd name="T96" fmla="*/ 79 w 98"/>
                <a:gd name="T97" fmla="*/ 49 h 76"/>
                <a:gd name="T98" fmla="*/ 80 w 98"/>
                <a:gd name="T99" fmla="*/ 49 h 76"/>
                <a:gd name="T100" fmla="*/ 78 w 98"/>
                <a:gd name="T101" fmla="*/ 58 h 76"/>
                <a:gd name="T102" fmla="*/ 24 w 98"/>
                <a:gd name="T103" fmla="*/ 65 h 76"/>
                <a:gd name="T104" fmla="*/ 14 w 98"/>
                <a:gd name="T105" fmla="*/ 70 h 76"/>
                <a:gd name="T106" fmla="*/ 4 w 98"/>
                <a:gd name="T107" fmla="*/ 31 h 76"/>
                <a:gd name="T108" fmla="*/ 9 w 98"/>
                <a:gd name="T109" fmla="*/ 31 h 76"/>
                <a:gd name="T110" fmla="*/ 19 w 98"/>
                <a:gd name="T111" fmla="*/ 29 h 76"/>
                <a:gd name="T112" fmla="*/ 40 w 98"/>
                <a:gd name="T113" fmla="*/ 6 h 76"/>
                <a:gd name="T114" fmla="*/ 46 w 98"/>
                <a:gd name="T115" fmla="*/ 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8" h="76">
                  <a:moveTo>
                    <a:pt x="46" y="0"/>
                  </a:moveTo>
                  <a:cubicBezTo>
                    <a:pt x="43" y="0"/>
                    <a:pt x="40" y="1"/>
                    <a:pt x="37" y="3"/>
                  </a:cubicBezTo>
                  <a:cubicBezTo>
                    <a:pt x="32" y="7"/>
                    <a:pt x="26" y="15"/>
                    <a:pt x="21" y="21"/>
                  </a:cubicBezTo>
                  <a:cubicBezTo>
                    <a:pt x="19" y="23"/>
                    <a:pt x="17" y="25"/>
                    <a:pt x="16" y="26"/>
                  </a:cubicBezTo>
                  <a:cubicBezTo>
                    <a:pt x="16" y="27"/>
                    <a:pt x="13" y="28"/>
                    <a:pt x="9" y="28"/>
                  </a:cubicBezTo>
                  <a:cubicBezTo>
                    <a:pt x="7" y="28"/>
                    <a:pt x="5" y="28"/>
                    <a:pt x="5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7" y="72"/>
                    <a:pt x="22" y="69"/>
                    <a:pt x="25" y="68"/>
                  </a:cubicBezTo>
                  <a:cubicBezTo>
                    <a:pt x="27" y="68"/>
                    <a:pt x="53" y="65"/>
                    <a:pt x="67" y="63"/>
                  </a:cubicBezTo>
                  <a:cubicBezTo>
                    <a:pt x="72" y="62"/>
                    <a:pt x="76" y="62"/>
                    <a:pt x="79" y="62"/>
                  </a:cubicBezTo>
                  <a:cubicBezTo>
                    <a:pt x="86" y="61"/>
                    <a:pt x="89" y="56"/>
                    <a:pt x="89" y="53"/>
                  </a:cubicBezTo>
                  <a:cubicBezTo>
                    <a:pt x="89" y="51"/>
                    <a:pt x="88" y="50"/>
                    <a:pt x="87" y="49"/>
                  </a:cubicBezTo>
                  <a:cubicBezTo>
                    <a:pt x="88" y="49"/>
                    <a:pt x="89" y="48"/>
                    <a:pt x="89" y="48"/>
                  </a:cubicBezTo>
                  <a:cubicBezTo>
                    <a:pt x="95" y="47"/>
                    <a:pt x="98" y="42"/>
                    <a:pt x="97" y="39"/>
                  </a:cubicBezTo>
                  <a:cubicBezTo>
                    <a:pt x="97" y="37"/>
                    <a:pt x="96" y="35"/>
                    <a:pt x="95" y="34"/>
                  </a:cubicBezTo>
                  <a:cubicBezTo>
                    <a:pt x="97" y="33"/>
                    <a:pt x="98" y="30"/>
                    <a:pt x="98" y="27"/>
                  </a:cubicBezTo>
                  <a:cubicBezTo>
                    <a:pt x="97" y="23"/>
                    <a:pt x="94" y="19"/>
                    <a:pt x="90" y="19"/>
                  </a:cubicBezTo>
                  <a:cubicBezTo>
                    <a:pt x="91" y="18"/>
                    <a:pt x="91" y="16"/>
                    <a:pt x="91" y="15"/>
                  </a:cubicBezTo>
                  <a:cubicBezTo>
                    <a:pt x="91" y="11"/>
                    <a:pt x="87" y="8"/>
                    <a:pt x="82" y="8"/>
                  </a:cubicBezTo>
                  <a:cubicBezTo>
                    <a:pt x="82" y="8"/>
                    <a:pt x="81" y="8"/>
                    <a:pt x="80" y="8"/>
                  </a:cubicBezTo>
                  <a:cubicBezTo>
                    <a:pt x="78" y="9"/>
                    <a:pt x="72" y="10"/>
                    <a:pt x="64" y="12"/>
                  </a:cubicBezTo>
                  <a:cubicBezTo>
                    <a:pt x="59" y="14"/>
                    <a:pt x="52" y="16"/>
                    <a:pt x="47" y="18"/>
                  </a:cubicBezTo>
                  <a:cubicBezTo>
                    <a:pt x="48" y="16"/>
                    <a:pt x="49" y="15"/>
                    <a:pt x="51" y="13"/>
                  </a:cubicBezTo>
                  <a:cubicBezTo>
                    <a:pt x="55" y="9"/>
                    <a:pt x="54" y="6"/>
                    <a:pt x="53" y="4"/>
                  </a:cubicBezTo>
                  <a:cubicBezTo>
                    <a:pt x="52" y="2"/>
                    <a:pt x="49" y="0"/>
                    <a:pt x="46" y="0"/>
                  </a:cubicBezTo>
                  <a:moveTo>
                    <a:pt x="46" y="3"/>
                  </a:moveTo>
                  <a:cubicBezTo>
                    <a:pt x="50" y="3"/>
                    <a:pt x="52" y="7"/>
                    <a:pt x="48" y="10"/>
                  </a:cubicBezTo>
                  <a:cubicBezTo>
                    <a:pt x="43" y="16"/>
                    <a:pt x="40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4" y="22"/>
                    <a:pt x="75" y="13"/>
                    <a:pt x="81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8" y="11"/>
                    <a:pt x="91" y="18"/>
                    <a:pt x="83" y="20"/>
                  </a:cubicBezTo>
                  <a:cubicBezTo>
                    <a:pt x="75" y="22"/>
                    <a:pt x="60" y="25"/>
                    <a:pt x="61" y="26"/>
                  </a:cubicBezTo>
                  <a:cubicBezTo>
                    <a:pt x="61" y="27"/>
                    <a:pt x="61" y="27"/>
                    <a:pt x="62" y="27"/>
                  </a:cubicBezTo>
                  <a:cubicBezTo>
                    <a:pt x="68" y="27"/>
                    <a:pt x="84" y="24"/>
                    <a:pt x="89" y="23"/>
                  </a:cubicBezTo>
                  <a:cubicBezTo>
                    <a:pt x="89" y="23"/>
                    <a:pt x="89" y="23"/>
                    <a:pt x="90" y="23"/>
                  </a:cubicBezTo>
                  <a:cubicBezTo>
                    <a:pt x="95" y="23"/>
                    <a:pt x="97" y="31"/>
                    <a:pt x="91" y="32"/>
                  </a:cubicBezTo>
                  <a:cubicBezTo>
                    <a:pt x="84" y="34"/>
                    <a:pt x="62" y="38"/>
                    <a:pt x="62" y="39"/>
                  </a:cubicBezTo>
                  <a:cubicBezTo>
                    <a:pt x="62" y="39"/>
                    <a:pt x="63" y="39"/>
                    <a:pt x="64" y="39"/>
                  </a:cubicBezTo>
                  <a:cubicBezTo>
                    <a:pt x="68" y="39"/>
                    <a:pt x="79" y="38"/>
                    <a:pt x="87" y="36"/>
                  </a:cubicBezTo>
                  <a:cubicBezTo>
                    <a:pt x="88" y="36"/>
                    <a:pt x="88" y="36"/>
                    <a:pt x="89" y="36"/>
                  </a:cubicBezTo>
                  <a:cubicBezTo>
                    <a:pt x="96" y="36"/>
                    <a:pt x="95" y="44"/>
                    <a:pt x="89" y="45"/>
                  </a:cubicBezTo>
                  <a:cubicBezTo>
                    <a:pt x="82" y="47"/>
                    <a:pt x="63" y="50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7" y="51"/>
                    <a:pt x="73" y="50"/>
                    <a:pt x="79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7" y="49"/>
                    <a:pt x="88" y="57"/>
                    <a:pt x="78" y="58"/>
                  </a:cubicBezTo>
                  <a:cubicBezTo>
                    <a:pt x="68" y="60"/>
                    <a:pt x="28" y="64"/>
                    <a:pt x="24" y="65"/>
                  </a:cubicBezTo>
                  <a:cubicBezTo>
                    <a:pt x="19" y="66"/>
                    <a:pt x="14" y="70"/>
                    <a:pt x="14" y="70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6" y="31"/>
                    <a:pt x="9" y="31"/>
                  </a:cubicBezTo>
                  <a:cubicBezTo>
                    <a:pt x="12" y="31"/>
                    <a:pt x="17" y="31"/>
                    <a:pt x="19" y="29"/>
                  </a:cubicBezTo>
                  <a:cubicBezTo>
                    <a:pt x="23" y="25"/>
                    <a:pt x="33" y="11"/>
                    <a:pt x="40" y="6"/>
                  </a:cubicBezTo>
                  <a:cubicBezTo>
                    <a:pt x="42" y="4"/>
                    <a:pt x="44" y="3"/>
                    <a:pt x="46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2">
              <a:extLst>
                <a:ext uri="{FF2B5EF4-FFF2-40B4-BE49-F238E27FC236}">
                  <a16:creationId xmlns:a16="http://schemas.microsoft.com/office/drawing/2014/main" id="{C297A4DC-B306-49DC-A979-0BB7BA9C2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6" y="2661"/>
              <a:ext cx="130" cy="81"/>
            </a:xfrm>
            <a:custGeom>
              <a:avLst/>
              <a:gdLst>
                <a:gd name="T0" fmla="*/ 39 w 53"/>
                <a:gd name="T1" fmla="*/ 30 h 33"/>
                <a:gd name="T2" fmla="*/ 50 w 53"/>
                <a:gd name="T3" fmla="*/ 30 h 33"/>
                <a:gd name="T4" fmla="*/ 50 w 53"/>
                <a:gd name="T5" fmla="*/ 3 h 33"/>
                <a:gd name="T6" fmla="*/ 38 w 53"/>
                <a:gd name="T7" fmla="*/ 3 h 33"/>
                <a:gd name="T8" fmla="*/ 35 w 53"/>
                <a:gd name="T9" fmla="*/ 5 h 33"/>
                <a:gd name="T10" fmla="*/ 46 w 53"/>
                <a:gd name="T11" fmla="*/ 5 h 33"/>
                <a:gd name="T12" fmla="*/ 46 w 53"/>
                <a:gd name="T13" fmla="*/ 12 h 33"/>
                <a:gd name="T14" fmla="*/ 9 w 53"/>
                <a:gd name="T15" fmla="*/ 12 h 33"/>
                <a:gd name="T16" fmla="*/ 4 w 53"/>
                <a:gd name="T17" fmla="*/ 18 h 33"/>
                <a:gd name="T18" fmla="*/ 4 w 53"/>
                <a:gd name="T19" fmla="*/ 27 h 33"/>
                <a:gd name="T20" fmla="*/ 14 w 53"/>
                <a:gd name="T21" fmla="*/ 27 h 33"/>
                <a:gd name="T22" fmla="*/ 14 w 53"/>
                <a:gd name="T23" fmla="*/ 23 h 33"/>
                <a:gd name="T24" fmla="*/ 39 w 53"/>
                <a:gd name="T25" fmla="*/ 23 h 33"/>
                <a:gd name="T26" fmla="*/ 39 w 53"/>
                <a:gd name="T27" fmla="*/ 30 h 33"/>
                <a:gd name="T28" fmla="*/ 53 w 53"/>
                <a:gd name="T29" fmla="*/ 33 h 33"/>
                <a:gd name="T30" fmla="*/ 36 w 53"/>
                <a:gd name="T31" fmla="*/ 33 h 33"/>
                <a:gd name="T32" fmla="*/ 36 w 53"/>
                <a:gd name="T33" fmla="*/ 26 h 33"/>
                <a:gd name="T34" fmla="*/ 18 w 53"/>
                <a:gd name="T35" fmla="*/ 26 h 33"/>
                <a:gd name="T36" fmla="*/ 18 w 53"/>
                <a:gd name="T37" fmla="*/ 31 h 33"/>
                <a:gd name="T38" fmla="*/ 0 w 53"/>
                <a:gd name="T39" fmla="*/ 31 h 33"/>
                <a:gd name="T40" fmla="*/ 0 w 53"/>
                <a:gd name="T41" fmla="*/ 18 h 33"/>
                <a:gd name="T42" fmla="*/ 9 w 53"/>
                <a:gd name="T43" fmla="*/ 9 h 33"/>
                <a:gd name="T44" fmla="*/ 42 w 53"/>
                <a:gd name="T45" fmla="*/ 9 h 33"/>
                <a:gd name="T46" fmla="*/ 42 w 53"/>
                <a:gd name="T47" fmla="*/ 8 h 33"/>
                <a:gd name="T48" fmla="*/ 29 w 53"/>
                <a:gd name="T49" fmla="*/ 8 h 33"/>
                <a:gd name="T50" fmla="*/ 29 w 53"/>
                <a:gd name="T51" fmla="*/ 4 h 33"/>
                <a:gd name="T52" fmla="*/ 37 w 53"/>
                <a:gd name="T53" fmla="*/ 0 h 33"/>
                <a:gd name="T54" fmla="*/ 53 w 53"/>
                <a:gd name="T55" fmla="*/ 0 h 33"/>
                <a:gd name="T56" fmla="*/ 53 w 53"/>
                <a:gd name="T5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3" h="33">
                  <a:moveTo>
                    <a:pt x="39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4" y="13"/>
                    <a:pt x="4" y="1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39" y="23"/>
                    <a:pt x="39" y="23"/>
                    <a:pt x="39" y="23"/>
                  </a:cubicBezTo>
                  <a:lnTo>
                    <a:pt x="39" y="30"/>
                  </a:lnTo>
                  <a:close/>
                  <a:moveTo>
                    <a:pt x="53" y="33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1"/>
                    <a:pt x="6" y="9"/>
                    <a:pt x="9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33">
              <a:extLst>
                <a:ext uri="{FF2B5EF4-FFF2-40B4-BE49-F238E27FC236}">
                  <a16:creationId xmlns:a16="http://schemas.microsoft.com/office/drawing/2014/main" id="{6EF1C7D4-4B15-4489-8E9D-1A34B829E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737"/>
              <a:ext cx="25" cy="39"/>
            </a:xfrm>
            <a:custGeom>
              <a:avLst/>
              <a:gdLst>
                <a:gd name="T0" fmla="*/ 8 w 25"/>
                <a:gd name="T1" fmla="*/ 39 h 39"/>
                <a:gd name="T2" fmla="*/ 0 w 25"/>
                <a:gd name="T3" fmla="*/ 34 h 39"/>
                <a:gd name="T4" fmla="*/ 17 w 25"/>
                <a:gd name="T5" fmla="*/ 0 h 39"/>
                <a:gd name="T6" fmla="*/ 25 w 25"/>
                <a:gd name="T7" fmla="*/ 5 h 39"/>
                <a:gd name="T8" fmla="*/ 8 w 25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9">
                  <a:moveTo>
                    <a:pt x="8" y="39"/>
                  </a:moveTo>
                  <a:lnTo>
                    <a:pt x="0" y="34"/>
                  </a:lnTo>
                  <a:lnTo>
                    <a:pt x="17" y="0"/>
                  </a:lnTo>
                  <a:lnTo>
                    <a:pt x="25" y="5"/>
                  </a:lnTo>
                  <a:lnTo>
                    <a:pt x="8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334">
              <a:extLst>
                <a:ext uri="{FF2B5EF4-FFF2-40B4-BE49-F238E27FC236}">
                  <a16:creationId xmlns:a16="http://schemas.microsoft.com/office/drawing/2014/main" id="{CD7E5FC2-1ECE-4FC7-9024-D36A227A4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" y="2737"/>
              <a:ext cx="25" cy="39"/>
            </a:xfrm>
            <a:custGeom>
              <a:avLst/>
              <a:gdLst>
                <a:gd name="T0" fmla="*/ 18 w 25"/>
                <a:gd name="T1" fmla="*/ 39 h 39"/>
                <a:gd name="T2" fmla="*/ 0 w 25"/>
                <a:gd name="T3" fmla="*/ 5 h 39"/>
                <a:gd name="T4" fmla="*/ 8 w 25"/>
                <a:gd name="T5" fmla="*/ 0 h 39"/>
                <a:gd name="T6" fmla="*/ 25 w 25"/>
                <a:gd name="T7" fmla="*/ 34 h 39"/>
                <a:gd name="T8" fmla="*/ 18 w 25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9">
                  <a:moveTo>
                    <a:pt x="18" y="39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25" y="34"/>
                  </a:lnTo>
                  <a:lnTo>
                    <a:pt x="18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335">
              <a:extLst>
                <a:ext uri="{FF2B5EF4-FFF2-40B4-BE49-F238E27FC236}">
                  <a16:creationId xmlns:a16="http://schemas.microsoft.com/office/drawing/2014/main" id="{DB27E29E-91D9-4C6A-9613-9DC9CF4461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2740"/>
              <a:ext cx="10" cy="4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6" name="Group 338">
            <a:extLst>
              <a:ext uri="{FF2B5EF4-FFF2-40B4-BE49-F238E27FC236}">
                <a16:creationId xmlns:a16="http://schemas.microsoft.com/office/drawing/2014/main" id="{88F0110E-50C3-435A-930E-92F1B57BE5B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325" y="4078288"/>
            <a:ext cx="842963" cy="841375"/>
            <a:chOff x="1638" y="2569"/>
            <a:chExt cx="531" cy="530"/>
          </a:xfrm>
        </p:grpSpPr>
        <p:sp>
          <p:nvSpPr>
            <p:cNvPr id="377" name="AutoShape 337">
              <a:extLst>
                <a:ext uri="{FF2B5EF4-FFF2-40B4-BE49-F238E27FC236}">
                  <a16:creationId xmlns:a16="http://schemas.microsoft.com/office/drawing/2014/main" id="{993E5E66-1E5F-458D-B48F-3D408019445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8" y="2569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Oval 339">
              <a:extLst>
                <a:ext uri="{FF2B5EF4-FFF2-40B4-BE49-F238E27FC236}">
                  <a16:creationId xmlns:a16="http://schemas.microsoft.com/office/drawing/2014/main" id="{F80AD0FB-80A5-438E-93E9-D0BA3FA070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8" y="2569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40">
              <a:extLst>
                <a:ext uri="{FF2B5EF4-FFF2-40B4-BE49-F238E27FC236}">
                  <a16:creationId xmlns:a16="http://schemas.microsoft.com/office/drawing/2014/main" id="{16DFF6A4-BF0F-45EC-A71F-F3028FC61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6" y="2587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341">
              <a:extLst>
                <a:ext uri="{FF2B5EF4-FFF2-40B4-BE49-F238E27FC236}">
                  <a16:creationId xmlns:a16="http://schemas.microsoft.com/office/drawing/2014/main" id="{2E8E1BBA-1676-446A-BCC0-156119F6A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9" y="2641"/>
              <a:ext cx="272" cy="391"/>
            </a:xfrm>
            <a:custGeom>
              <a:avLst/>
              <a:gdLst>
                <a:gd name="T0" fmla="*/ 166 w 272"/>
                <a:gd name="T1" fmla="*/ 381 h 391"/>
                <a:gd name="T2" fmla="*/ 187 w 272"/>
                <a:gd name="T3" fmla="*/ 381 h 391"/>
                <a:gd name="T4" fmla="*/ 177 w 272"/>
                <a:gd name="T5" fmla="*/ 148 h 391"/>
                <a:gd name="T6" fmla="*/ 195 w 272"/>
                <a:gd name="T7" fmla="*/ 69 h 391"/>
                <a:gd name="T8" fmla="*/ 249 w 272"/>
                <a:gd name="T9" fmla="*/ 163 h 391"/>
                <a:gd name="T10" fmla="*/ 261 w 272"/>
                <a:gd name="T11" fmla="*/ 156 h 391"/>
                <a:gd name="T12" fmla="*/ 197 w 272"/>
                <a:gd name="T13" fmla="*/ 23 h 391"/>
                <a:gd name="T14" fmla="*/ 159 w 272"/>
                <a:gd name="T15" fmla="*/ 23 h 391"/>
                <a:gd name="T16" fmla="*/ 159 w 272"/>
                <a:gd name="T17" fmla="*/ 7 h 391"/>
                <a:gd name="T18" fmla="*/ 113 w 272"/>
                <a:gd name="T19" fmla="*/ 7 h 391"/>
                <a:gd name="T20" fmla="*/ 113 w 272"/>
                <a:gd name="T21" fmla="*/ 23 h 391"/>
                <a:gd name="T22" fmla="*/ 74 w 272"/>
                <a:gd name="T23" fmla="*/ 23 h 391"/>
                <a:gd name="T24" fmla="*/ 10 w 272"/>
                <a:gd name="T25" fmla="*/ 156 h 391"/>
                <a:gd name="T26" fmla="*/ 23 w 272"/>
                <a:gd name="T27" fmla="*/ 163 h 391"/>
                <a:gd name="T28" fmla="*/ 77 w 272"/>
                <a:gd name="T29" fmla="*/ 69 h 391"/>
                <a:gd name="T30" fmla="*/ 95 w 272"/>
                <a:gd name="T31" fmla="*/ 148 h 391"/>
                <a:gd name="T32" fmla="*/ 84 w 272"/>
                <a:gd name="T33" fmla="*/ 381 h 391"/>
                <a:gd name="T34" fmla="*/ 105 w 272"/>
                <a:gd name="T35" fmla="*/ 381 h 391"/>
                <a:gd name="T36" fmla="*/ 131 w 272"/>
                <a:gd name="T37" fmla="*/ 194 h 391"/>
                <a:gd name="T38" fmla="*/ 141 w 272"/>
                <a:gd name="T39" fmla="*/ 194 h 391"/>
                <a:gd name="T40" fmla="*/ 166 w 272"/>
                <a:gd name="T41" fmla="*/ 381 h 391"/>
                <a:gd name="T42" fmla="*/ 197 w 272"/>
                <a:gd name="T43" fmla="*/ 391 h 391"/>
                <a:gd name="T44" fmla="*/ 159 w 272"/>
                <a:gd name="T45" fmla="*/ 391 h 391"/>
                <a:gd name="T46" fmla="*/ 136 w 272"/>
                <a:gd name="T47" fmla="*/ 215 h 391"/>
                <a:gd name="T48" fmla="*/ 113 w 272"/>
                <a:gd name="T49" fmla="*/ 391 h 391"/>
                <a:gd name="T50" fmla="*/ 74 w 272"/>
                <a:gd name="T51" fmla="*/ 391 h 391"/>
                <a:gd name="T52" fmla="*/ 84 w 272"/>
                <a:gd name="T53" fmla="*/ 148 h 391"/>
                <a:gd name="T54" fmla="*/ 74 w 272"/>
                <a:gd name="T55" fmla="*/ 92 h 391"/>
                <a:gd name="T56" fmla="*/ 25 w 272"/>
                <a:gd name="T57" fmla="*/ 174 h 391"/>
                <a:gd name="T58" fmla="*/ 0 w 272"/>
                <a:gd name="T59" fmla="*/ 161 h 391"/>
                <a:gd name="T60" fmla="*/ 69 w 272"/>
                <a:gd name="T61" fmla="*/ 15 h 391"/>
                <a:gd name="T62" fmla="*/ 105 w 272"/>
                <a:gd name="T63" fmla="*/ 15 h 391"/>
                <a:gd name="T64" fmla="*/ 105 w 272"/>
                <a:gd name="T65" fmla="*/ 0 h 391"/>
                <a:gd name="T66" fmla="*/ 169 w 272"/>
                <a:gd name="T67" fmla="*/ 0 h 391"/>
                <a:gd name="T68" fmla="*/ 169 w 272"/>
                <a:gd name="T69" fmla="*/ 15 h 391"/>
                <a:gd name="T70" fmla="*/ 202 w 272"/>
                <a:gd name="T71" fmla="*/ 15 h 391"/>
                <a:gd name="T72" fmla="*/ 272 w 272"/>
                <a:gd name="T73" fmla="*/ 161 h 391"/>
                <a:gd name="T74" fmla="*/ 246 w 272"/>
                <a:gd name="T75" fmla="*/ 174 h 391"/>
                <a:gd name="T76" fmla="*/ 197 w 272"/>
                <a:gd name="T77" fmla="*/ 92 h 391"/>
                <a:gd name="T78" fmla="*/ 187 w 272"/>
                <a:gd name="T79" fmla="*/ 148 h 391"/>
                <a:gd name="T80" fmla="*/ 197 w 272"/>
                <a:gd name="T81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2" h="391">
                  <a:moveTo>
                    <a:pt x="166" y="381"/>
                  </a:moveTo>
                  <a:lnTo>
                    <a:pt x="187" y="381"/>
                  </a:lnTo>
                  <a:lnTo>
                    <a:pt x="177" y="148"/>
                  </a:lnTo>
                  <a:lnTo>
                    <a:pt x="195" y="69"/>
                  </a:lnTo>
                  <a:lnTo>
                    <a:pt x="249" y="163"/>
                  </a:lnTo>
                  <a:lnTo>
                    <a:pt x="261" y="156"/>
                  </a:lnTo>
                  <a:lnTo>
                    <a:pt x="197" y="23"/>
                  </a:lnTo>
                  <a:lnTo>
                    <a:pt x="159" y="23"/>
                  </a:lnTo>
                  <a:lnTo>
                    <a:pt x="159" y="7"/>
                  </a:lnTo>
                  <a:lnTo>
                    <a:pt x="113" y="7"/>
                  </a:lnTo>
                  <a:lnTo>
                    <a:pt x="113" y="23"/>
                  </a:lnTo>
                  <a:lnTo>
                    <a:pt x="74" y="23"/>
                  </a:lnTo>
                  <a:lnTo>
                    <a:pt x="10" y="156"/>
                  </a:lnTo>
                  <a:lnTo>
                    <a:pt x="23" y="163"/>
                  </a:lnTo>
                  <a:lnTo>
                    <a:pt x="77" y="69"/>
                  </a:lnTo>
                  <a:lnTo>
                    <a:pt x="95" y="148"/>
                  </a:lnTo>
                  <a:lnTo>
                    <a:pt x="84" y="381"/>
                  </a:lnTo>
                  <a:lnTo>
                    <a:pt x="105" y="381"/>
                  </a:lnTo>
                  <a:lnTo>
                    <a:pt x="131" y="194"/>
                  </a:lnTo>
                  <a:lnTo>
                    <a:pt x="141" y="194"/>
                  </a:lnTo>
                  <a:lnTo>
                    <a:pt x="166" y="381"/>
                  </a:lnTo>
                  <a:close/>
                  <a:moveTo>
                    <a:pt x="197" y="391"/>
                  </a:moveTo>
                  <a:lnTo>
                    <a:pt x="159" y="391"/>
                  </a:lnTo>
                  <a:lnTo>
                    <a:pt x="136" y="215"/>
                  </a:lnTo>
                  <a:lnTo>
                    <a:pt x="113" y="391"/>
                  </a:lnTo>
                  <a:lnTo>
                    <a:pt x="74" y="391"/>
                  </a:lnTo>
                  <a:lnTo>
                    <a:pt x="84" y="148"/>
                  </a:lnTo>
                  <a:lnTo>
                    <a:pt x="74" y="92"/>
                  </a:lnTo>
                  <a:lnTo>
                    <a:pt x="25" y="174"/>
                  </a:lnTo>
                  <a:lnTo>
                    <a:pt x="0" y="161"/>
                  </a:lnTo>
                  <a:lnTo>
                    <a:pt x="69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69" y="0"/>
                  </a:lnTo>
                  <a:lnTo>
                    <a:pt x="169" y="15"/>
                  </a:lnTo>
                  <a:lnTo>
                    <a:pt x="202" y="15"/>
                  </a:lnTo>
                  <a:lnTo>
                    <a:pt x="272" y="161"/>
                  </a:lnTo>
                  <a:lnTo>
                    <a:pt x="246" y="174"/>
                  </a:lnTo>
                  <a:lnTo>
                    <a:pt x="197" y="92"/>
                  </a:lnTo>
                  <a:lnTo>
                    <a:pt x="187" y="148"/>
                  </a:lnTo>
                  <a:lnTo>
                    <a:pt x="197" y="3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Freeform 342">
              <a:extLst>
                <a:ext uri="{FF2B5EF4-FFF2-40B4-BE49-F238E27FC236}">
                  <a16:creationId xmlns:a16="http://schemas.microsoft.com/office/drawing/2014/main" id="{E03F538C-2D84-478F-8F27-BD8E0AC1A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4" y="2641"/>
              <a:ext cx="61" cy="35"/>
            </a:xfrm>
            <a:custGeom>
              <a:avLst/>
              <a:gdLst>
                <a:gd name="T0" fmla="*/ 31 w 61"/>
                <a:gd name="T1" fmla="*/ 35 h 35"/>
                <a:gd name="T2" fmla="*/ 0 w 61"/>
                <a:gd name="T3" fmla="*/ 7 h 35"/>
                <a:gd name="T4" fmla="*/ 5 w 61"/>
                <a:gd name="T5" fmla="*/ 0 h 35"/>
                <a:gd name="T6" fmla="*/ 31 w 61"/>
                <a:gd name="T7" fmla="*/ 23 h 35"/>
                <a:gd name="T8" fmla="*/ 56 w 61"/>
                <a:gd name="T9" fmla="*/ 0 h 35"/>
                <a:gd name="T10" fmla="*/ 61 w 61"/>
                <a:gd name="T11" fmla="*/ 7 h 35"/>
                <a:gd name="T12" fmla="*/ 31 w 6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5">
                  <a:moveTo>
                    <a:pt x="31" y="35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31" y="23"/>
                  </a:lnTo>
                  <a:lnTo>
                    <a:pt x="56" y="0"/>
                  </a:lnTo>
                  <a:lnTo>
                    <a:pt x="61" y="7"/>
                  </a:lnTo>
                  <a:lnTo>
                    <a:pt x="31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Rectangle 343">
              <a:extLst>
                <a:ext uri="{FF2B5EF4-FFF2-40B4-BE49-F238E27FC236}">
                  <a16:creationId xmlns:a16="http://schemas.microsoft.com/office/drawing/2014/main" id="{453853A3-0E9F-474C-9DF3-712F47DE8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0" y="2671"/>
              <a:ext cx="10" cy="12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344">
              <a:extLst>
                <a:ext uri="{FF2B5EF4-FFF2-40B4-BE49-F238E27FC236}">
                  <a16:creationId xmlns:a16="http://schemas.microsoft.com/office/drawing/2014/main" id="{D668F829-1583-4AF4-8E5E-962EF66B38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" y="2707"/>
              <a:ext cx="25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Rectangle 345">
              <a:extLst>
                <a:ext uri="{FF2B5EF4-FFF2-40B4-BE49-F238E27FC236}">
                  <a16:creationId xmlns:a16="http://schemas.microsoft.com/office/drawing/2014/main" id="{BCBA25F2-BD50-495D-B9E1-78F4FC302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" y="2707"/>
              <a:ext cx="26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346">
              <a:extLst>
                <a:ext uri="{FF2B5EF4-FFF2-40B4-BE49-F238E27FC236}">
                  <a16:creationId xmlns:a16="http://schemas.microsoft.com/office/drawing/2014/main" id="{BD5309CB-036B-4D7E-8A5C-2E14F7ED2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2787"/>
              <a:ext cx="8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Rectangle 347">
              <a:extLst>
                <a:ext uri="{FF2B5EF4-FFF2-40B4-BE49-F238E27FC236}">
                  <a16:creationId xmlns:a16="http://schemas.microsoft.com/office/drawing/2014/main" id="{3549C749-B482-491E-877D-BE02F628F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" y="2787"/>
              <a:ext cx="8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348">
              <a:extLst>
                <a:ext uri="{FF2B5EF4-FFF2-40B4-BE49-F238E27FC236}">
                  <a16:creationId xmlns:a16="http://schemas.microsoft.com/office/drawing/2014/main" id="{6DB5A565-5703-4E94-869B-2C69D134E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" y="2787"/>
              <a:ext cx="10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Rectangle 349">
              <a:extLst>
                <a:ext uri="{FF2B5EF4-FFF2-40B4-BE49-F238E27FC236}">
                  <a16:creationId xmlns:a16="http://schemas.microsoft.com/office/drawing/2014/main" id="{F25CEC7A-E93E-4A32-AAC7-26A1C3120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3" y="2784"/>
              <a:ext cx="10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Rectangle 350">
              <a:extLst>
                <a:ext uri="{FF2B5EF4-FFF2-40B4-BE49-F238E27FC236}">
                  <a16:creationId xmlns:a16="http://schemas.microsoft.com/office/drawing/2014/main" id="{C546980A-34AE-457C-8501-DD2C9DF7C0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5" y="2784"/>
              <a:ext cx="11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Rectangle 351">
              <a:extLst>
                <a:ext uri="{FF2B5EF4-FFF2-40B4-BE49-F238E27FC236}">
                  <a16:creationId xmlns:a16="http://schemas.microsoft.com/office/drawing/2014/main" id="{A1777EB6-6BC3-40FC-A2DA-6A139A2A02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2" y="2787"/>
              <a:ext cx="8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1" name="Group 354">
            <a:extLst>
              <a:ext uri="{FF2B5EF4-FFF2-40B4-BE49-F238E27FC236}">
                <a16:creationId xmlns:a16="http://schemas.microsoft.com/office/drawing/2014/main" id="{C21D557D-AA0C-4869-AC06-6FC638437F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5213" y="4119563"/>
            <a:ext cx="758825" cy="758825"/>
            <a:chOff x="2271" y="2595"/>
            <a:chExt cx="478" cy="478"/>
          </a:xfrm>
        </p:grpSpPr>
        <p:sp>
          <p:nvSpPr>
            <p:cNvPr id="392" name="AutoShape 353">
              <a:extLst>
                <a:ext uri="{FF2B5EF4-FFF2-40B4-BE49-F238E27FC236}">
                  <a16:creationId xmlns:a16="http://schemas.microsoft.com/office/drawing/2014/main" id="{54BBCD75-143A-4FC9-9ACF-0DCB123BBE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1" y="25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55">
              <a:extLst>
                <a:ext uri="{FF2B5EF4-FFF2-40B4-BE49-F238E27FC236}">
                  <a16:creationId xmlns:a16="http://schemas.microsoft.com/office/drawing/2014/main" id="{3729B876-FC09-47E3-B2C2-40AE60F4E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3" y="25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356">
              <a:extLst>
                <a:ext uri="{FF2B5EF4-FFF2-40B4-BE49-F238E27FC236}">
                  <a16:creationId xmlns:a16="http://schemas.microsoft.com/office/drawing/2014/main" id="{4748465D-A604-449D-A340-65891072E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1" y="2649"/>
              <a:ext cx="260" cy="375"/>
            </a:xfrm>
            <a:custGeom>
              <a:avLst/>
              <a:gdLst>
                <a:gd name="T0" fmla="*/ 160 w 260"/>
                <a:gd name="T1" fmla="*/ 365 h 375"/>
                <a:gd name="T2" fmla="*/ 179 w 260"/>
                <a:gd name="T3" fmla="*/ 365 h 375"/>
                <a:gd name="T4" fmla="*/ 169 w 260"/>
                <a:gd name="T5" fmla="*/ 142 h 375"/>
                <a:gd name="T6" fmla="*/ 187 w 260"/>
                <a:gd name="T7" fmla="*/ 66 h 375"/>
                <a:gd name="T8" fmla="*/ 238 w 260"/>
                <a:gd name="T9" fmla="*/ 157 h 375"/>
                <a:gd name="T10" fmla="*/ 250 w 260"/>
                <a:gd name="T11" fmla="*/ 149 h 375"/>
                <a:gd name="T12" fmla="*/ 189 w 260"/>
                <a:gd name="T13" fmla="*/ 22 h 375"/>
                <a:gd name="T14" fmla="*/ 152 w 260"/>
                <a:gd name="T15" fmla="*/ 22 h 375"/>
                <a:gd name="T16" fmla="*/ 152 w 260"/>
                <a:gd name="T17" fmla="*/ 7 h 375"/>
                <a:gd name="T18" fmla="*/ 108 w 260"/>
                <a:gd name="T19" fmla="*/ 7 h 375"/>
                <a:gd name="T20" fmla="*/ 108 w 260"/>
                <a:gd name="T21" fmla="*/ 22 h 375"/>
                <a:gd name="T22" fmla="*/ 71 w 260"/>
                <a:gd name="T23" fmla="*/ 22 h 375"/>
                <a:gd name="T24" fmla="*/ 10 w 260"/>
                <a:gd name="T25" fmla="*/ 149 h 375"/>
                <a:gd name="T26" fmla="*/ 22 w 260"/>
                <a:gd name="T27" fmla="*/ 157 h 375"/>
                <a:gd name="T28" fmla="*/ 74 w 260"/>
                <a:gd name="T29" fmla="*/ 66 h 375"/>
                <a:gd name="T30" fmla="*/ 91 w 260"/>
                <a:gd name="T31" fmla="*/ 142 h 375"/>
                <a:gd name="T32" fmla="*/ 81 w 260"/>
                <a:gd name="T33" fmla="*/ 365 h 375"/>
                <a:gd name="T34" fmla="*/ 101 w 260"/>
                <a:gd name="T35" fmla="*/ 365 h 375"/>
                <a:gd name="T36" fmla="*/ 125 w 260"/>
                <a:gd name="T37" fmla="*/ 186 h 375"/>
                <a:gd name="T38" fmla="*/ 135 w 260"/>
                <a:gd name="T39" fmla="*/ 186 h 375"/>
                <a:gd name="T40" fmla="*/ 160 w 260"/>
                <a:gd name="T41" fmla="*/ 365 h 375"/>
                <a:gd name="T42" fmla="*/ 189 w 260"/>
                <a:gd name="T43" fmla="*/ 375 h 375"/>
                <a:gd name="T44" fmla="*/ 152 w 260"/>
                <a:gd name="T45" fmla="*/ 375 h 375"/>
                <a:gd name="T46" fmla="*/ 130 w 260"/>
                <a:gd name="T47" fmla="*/ 206 h 375"/>
                <a:gd name="T48" fmla="*/ 108 w 260"/>
                <a:gd name="T49" fmla="*/ 375 h 375"/>
                <a:gd name="T50" fmla="*/ 71 w 260"/>
                <a:gd name="T51" fmla="*/ 375 h 375"/>
                <a:gd name="T52" fmla="*/ 81 w 260"/>
                <a:gd name="T53" fmla="*/ 142 h 375"/>
                <a:gd name="T54" fmla="*/ 71 w 260"/>
                <a:gd name="T55" fmla="*/ 88 h 375"/>
                <a:gd name="T56" fmla="*/ 25 w 260"/>
                <a:gd name="T57" fmla="*/ 167 h 375"/>
                <a:gd name="T58" fmla="*/ 0 w 260"/>
                <a:gd name="T59" fmla="*/ 154 h 375"/>
                <a:gd name="T60" fmla="*/ 66 w 260"/>
                <a:gd name="T61" fmla="*/ 15 h 375"/>
                <a:gd name="T62" fmla="*/ 101 w 260"/>
                <a:gd name="T63" fmla="*/ 15 h 375"/>
                <a:gd name="T64" fmla="*/ 101 w 260"/>
                <a:gd name="T65" fmla="*/ 0 h 375"/>
                <a:gd name="T66" fmla="*/ 162 w 260"/>
                <a:gd name="T67" fmla="*/ 0 h 375"/>
                <a:gd name="T68" fmla="*/ 162 w 260"/>
                <a:gd name="T69" fmla="*/ 15 h 375"/>
                <a:gd name="T70" fmla="*/ 194 w 260"/>
                <a:gd name="T71" fmla="*/ 15 h 375"/>
                <a:gd name="T72" fmla="*/ 260 w 260"/>
                <a:gd name="T73" fmla="*/ 154 h 375"/>
                <a:gd name="T74" fmla="*/ 236 w 260"/>
                <a:gd name="T75" fmla="*/ 167 h 375"/>
                <a:gd name="T76" fmla="*/ 189 w 260"/>
                <a:gd name="T77" fmla="*/ 88 h 375"/>
                <a:gd name="T78" fmla="*/ 179 w 260"/>
                <a:gd name="T79" fmla="*/ 142 h 375"/>
                <a:gd name="T80" fmla="*/ 189 w 260"/>
                <a:gd name="T81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" h="375">
                  <a:moveTo>
                    <a:pt x="160" y="365"/>
                  </a:moveTo>
                  <a:lnTo>
                    <a:pt x="179" y="365"/>
                  </a:lnTo>
                  <a:lnTo>
                    <a:pt x="169" y="142"/>
                  </a:lnTo>
                  <a:lnTo>
                    <a:pt x="187" y="66"/>
                  </a:lnTo>
                  <a:lnTo>
                    <a:pt x="238" y="157"/>
                  </a:lnTo>
                  <a:lnTo>
                    <a:pt x="250" y="149"/>
                  </a:lnTo>
                  <a:lnTo>
                    <a:pt x="189" y="22"/>
                  </a:lnTo>
                  <a:lnTo>
                    <a:pt x="152" y="22"/>
                  </a:lnTo>
                  <a:lnTo>
                    <a:pt x="152" y="7"/>
                  </a:lnTo>
                  <a:lnTo>
                    <a:pt x="108" y="7"/>
                  </a:lnTo>
                  <a:lnTo>
                    <a:pt x="108" y="22"/>
                  </a:lnTo>
                  <a:lnTo>
                    <a:pt x="71" y="22"/>
                  </a:lnTo>
                  <a:lnTo>
                    <a:pt x="10" y="149"/>
                  </a:lnTo>
                  <a:lnTo>
                    <a:pt x="22" y="157"/>
                  </a:lnTo>
                  <a:lnTo>
                    <a:pt x="74" y="66"/>
                  </a:lnTo>
                  <a:lnTo>
                    <a:pt x="91" y="142"/>
                  </a:lnTo>
                  <a:lnTo>
                    <a:pt x="81" y="365"/>
                  </a:lnTo>
                  <a:lnTo>
                    <a:pt x="101" y="365"/>
                  </a:lnTo>
                  <a:lnTo>
                    <a:pt x="125" y="186"/>
                  </a:lnTo>
                  <a:lnTo>
                    <a:pt x="135" y="186"/>
                  </a:lnTo>
                  <a:lnTo>
                    <a:pt x="160" y="365"/>
                  </a:lnTo>
                  <a:close/>
                  <a:moveTo>
                    <a:pt x="189" y="375"/>
                  </a:moveTo>
                  <a:lnTo>
                    <a:pt x="152" y="375"/>
                  </a:lnTo>
                  <a:lnTo>
                    <a:pt x="130" y="206"/>
                  </a:lnTo>
                  <a:lnTo>
                    <a:pt x="108" y="375"/>
                  </a:lnTo>
                  <a:lnTo>
                    <a:pt x="71" y="375"/>
                  </a:lnTo>
                  <a:lnTo>
                    <a:pt x="81" y="142"/>
                  </a:lnTo>
                  <a:lnTo>
                    <a:pt x="71" y="88"/>
                  </a:lnTo>
                  <a:lnTo>
                    <a:pt x="25" y="167"/>
                  </a:lnTo>
                  <a:lnTo>
                    <a:pt x="0" y="154"/>
                  </a:lnTo>
                  <a:lnTo>
                    <a:pt x="66" y="15"/>
                  </a:lnTo>
                  <a:lnTo>
                    <a:pt x="101" y="15"/>
                  </a:lnTo>
                  <a:lnTo>
                    <a:pt x="101" y="0"/>
                  </a:lnTo>
                  <a:lnTo>
                    <a:pt x="162" y="0"/>
                  </a:lnTo>
                  <a:lnTo>
                    <a:pt x="162" y="15"/>
                  </a:lnTo>
                  <a:lnTo>
                    <a:pt x="194" y="15"/>
                  </a:lnTo>
                  <a:lnTo>
                    <a:pt x="260" y="154"/>
                  </a:lnTo>
                  <a:lnTo>
                    <a:pt x="236" y="167"/>
                  </a:lnTo>
                  <a:lnTo>
                    <a:pt x="189" y="88"/>
                  </a:lnTo>
                  <a:lnTo>
                    <a:pt x="179" y="142"/>
                  </a:lnTo>
                  <a:lnTo>
                    <a:pt x="189" y="37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57">
              <a:extLst>
                <a:ext uri="{FF2B5EF4-FFF2-40B4-BE49-F238E27FC236}">
                  <a16:creationId xmlns:a16="http://schemas.microsoft.com/office/drawing/2014/main" id="{7E627ACA-CBE7-441A-844C-BFA2F807C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2" y="2649"/>
              <a:ext cx="59" cy="34"/>
            </a:xfrm>
            <a:custGeom>
              <a:avLst/>
              <a:gdLst>
                <a:gd name="T0" fmla="*/ 29 w 59"/>
                <a:gd name="T1" fmla="*/ 34 h 34"/>
                <a:gd name="T2" fmla="*/ 0 w 59"/>
                <a:gd name="T3" fmla="*/ 7 h 34"/>
                <a:gd name="T4" fmla="*/ 5 w 59"/>
                <a:gd name="T5" fmla="*/ 0 h 34"/>
                <a:gd name="T6" fmla="*/ 29 w 59"/>
                <a:gd name="T7" fmla="*/ 22 h 34"/>
                <a:gd name="T8" fmla="*/ 54 w 59"/>
                <a:gd name="T9" fmla="*/ 0 h 34"/>
                <a:gd name="T10" fmla="*/ 59 w 59"/>
                <a:gd name="T11" fmla="*/ 7 h 34"/>
                <a:gd name="T12" fmla="*/ 29 w 59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4">
                  <a:moveTo>
                    <a:pt x="29" y="34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29" y="22"/>
                  </a:lnTo>
                  <a:lnTo>
                    <a:pt x="54" y="0"/>
                  </a:lnTo>
                  <a:lnTo>
                    <a:pt x="59" y="7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Rectangle 358">
              <a:extLst>
                <a:ext uri="{FF2B5EF4-FFF2-40B4-BE49-F238E27FC236}">
                  <a16:creationId xmlns:a16="http://schemas.microsoft.com/office/drawing/2014/main" id="{78D42F11-0A04-48D5-9B06-67CFAF8E1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6" y="2678"/>
              <a:ext cx="10" cy="11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Rectangle 359">
              <a:extLst>
                <a:ext uri="{FF2B5EF4-FFF2-40B4-BE49-F238E27FC236}">
                  <a16:creationId xmlns:a16="http://schemas.microsoft.com/office/drawing/2014/main" id="{8004B6B2-1AE8-4254-B67C-85A670C88F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2713"/>
              <a:ext cx="25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Rectangle 360">
              <a:extLst>
                <a:ext uri="{FF2B5EF4-FFF2-40B4-BE49-F238E27FC236}">
                  <a16:creationId xmlns:a16="http://schemas.microsoft.com/office/drawing/2014/main" id="{74AB1D9E-0430-4851-8EA6-67B66687E0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6" y="2713"/>
              <a:ext cx="24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Rectangle 361">
              <a:extLst>
                <a:ext uri="{FF2B5EF4-FFF2-40B4-BE49-F238E27FC236}">
                  <a16:creationId xmlns:a16="http://schemas.microsoft.com/office/drawing/2014/main" id="{C1DE6E1A-933C-4FB1-BD60-55688C207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4" y="2789"/>
              <a:ext cx="8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Rectangle 362">
              <a:extLst>
                <a:ext uri="{FF2B5EF4-FFF2-40B4-BE49-F238E27FC236}">
                  <a16:creationId xmlns:a16="http://schemas.microsoft.com/office/drawing/2014/main" id="{582C70DD-A75B-46EE-89B3-DE8CD4704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7" y="2789"/>
              <a:ext cx="7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Rectangle 363">
              <a:extLst>
                <a:ext uri="{FF2B5EF4-FFF2-40B4-BE49-F238E27FC236}">
                  <a16:creationId xmlns:a16="http://schemas.microsoft.com/office/drawing/2014/main" id="{66997585-787F-4A1D-AABC-82F0F70B9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2789"/>
              <a:ext cx="10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Rectangle 364">
              <a:extLst>
                <a:ext uri="{FF2B5EF4-FFF2-40B4-BE49-F238E27FC236}">
                  <a16:creationId xmlns:a16="http://schemas.microsoft.com/office/drawing/2014/main" id="{A2A47A7F-6504-47C2-BD15-DEB983671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8" y="2786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Rectangle 365">
              <a:extLst>
                <a:ext uri="{FF2B5EF4-FFF2-40B4-BE49-F238E27FC236}">
                  <a16:creationId xmlns:a16="http://schemas.microsoft.com/office/drawing/2014/main" id="{1BC181B5-424A-4346-A0FF-6F83590A5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1" y="2786"/>
              <a:ext cx="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Rectangle 366">
              <a:extLst>
                <a:ext uri="{FF2B5EF4-FFF2-40B4-BE49-F238E27FC236}">
                  <a16:creationId xmlns:a16="http://schemas.microsoft.com/office/drawing/2014/main" id="{530B68C7-6F17-41F5-AABB-16ED27C73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9" y="2789"/>
              <a:ext cx="7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5" name="Group 369">
            <a:extLst>
              <a:ext uri="{FF2B5EF4-FFF2-40B4-BE49-F238E27FC236}">
                <a16:creationId xmlns:a16="http://schemas.microsoft.com/office/drawing/2014/main" id="{95888125-CF02-4BAB-9B35-27E43B0F9B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3138" y="4078288"/>
            <a:ext cx="841375" cy="841375"/>
            <a:chOff x="3013" y="2569"/>
            <a:chExt cx="530" cy="530"/>
          </a:xfrm>
        </p:grpSpPr>
        <p:sp>
          <p:nvSpPr>
            <p:cNvPr id="406" name="AutoShape 368">
              <a:extLst>
                <a:ext uri="{FF2B5EF4-FFF2-40B4-BE49-F238E27FC236}">
                  <a16:creationId xmlns:a16="http://schemas.microsoft.com/office/drawing/2014/main" id="{1B205E0D-F513-4753-B2A5-D00AEC6887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13" y="25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Oval 370">
              <a:extLst>
                <a:ext uri="{FF2B5EF4-FFF2-40B4-BE49-F238E27FC236}">
                  <a16:creationId xmlns:a16="http://schemas.microsoft.com/office/drawing/2014/main" id="{9D3215E7-D209-4C0C-9F43-BD913D4B2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" y="25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371">
              <a:extLst>
                <a:ext uri="{FF2B5EF4-FFF2-40B4-BE49-F238E27FC236}">
                  <a16:creationId xmlns:a16="http://schemas.microsoft.com/office/drawing/2014/main" id="{07D186BD-786B-4DC9-9FDD-CBD27B7AC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1" y="25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Freeform 372">
              <a:extLst>
                <a:ext uri="{FF2B5EF4-FFF2-40B4-BE49-F238E27FC236}">
                  <a16:creationId xmlns:a16="http://schemas.microsoft.com/office/drawing/2014/main" id="{8B3331C2-D08A-47EC-97A0-680E163FB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" y="2666"/>
              <a:ext cx="189" cy="338"/>
            </a:xfrm>
            <a:custGeom>
              <a:avLst/>
              <a:gdLst>
                <a:gd name="T0" fmla="*/ 189 w 189"/>
                <a:gd name="T1" fmla="*/ 338 h 338"/>
                <a:gd name="T2" fmla="*/ 107 w 189"/>
                <a:gd name="T3" fmla="*/ 338 h 338"/>
                <a:gd name="T4" fmla="*/ 107 w 189"/>
                <a:gd name="T5" fmla="*/ 103 h 338"/>
                <a:gd name="T6" fmla="*/ 38 w 189"/>
                <a:gd name="T7" fmla="*/ 210 h 338"/>
                <a:gd name="T8" fmla="*/ 0 w 189"/>
                <a:gd name="T9" fmla="*/ 190 h 338"/>
                <a:gd name="T10" fmla="*/ 100 w 189"/>
                <a:gd name="T11" fmla="*/ 0 h 338"/>
                <a:gd name="T12" fmla="*/ 151 w 189"/>
                <a:gd name="T13" fmla="*/ 0 h 338"/>
                <a:gd name="T14" fmla="*/ 151 w 189"/>
                <a:gd name="T15" fmla="*/ 10 h 338"/>
                <a:gd name="T16" fmla="*/ 105 w 189"/>
                <a:gd name="T17" fmla="*/ 10 h 338"/>
                <a:gd name="T18" fmla="*/ 12 w 189"/>
                <a:gd name="T19" fmla="*/ 185 h 338"/>
                <a:gd name="T20" fmla="*/ 36 w 189"/>
                <a:gd name="T21" fmla="*/ 200 h 338"/>
                <a:gd name="T22" fmla="*/ 117 w 189"/>
                <a:gd name="T23" fmla="*/ 74 h 338"/>
                <a:gd name="T24" fmla="*/ 117 w 189"/>
                <a:gd name="T25" fmla="*/ 328 h 338"/>
                <a:gd name="T26" fmla="*/ 189 w 189"/>
                <a:gd name="T27" fmla="*/ 328 h 338"/>
                <a:gd name="T28" fmla="*/ 189 w 189"/>
                <a:gd name="T2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338">
                  <a:moveTo>
                    <a:pt x="189" y="338"/>
                  </a:moveTo>
                  <a:lnTo>
                    <a:pt x="107" y="338"/>
                  </a:lnTo>
                  <a:lnTo>
                    <a:pt x="107" y="103"/>
                  </a:lnTo>
                  <a:lnTo>
                    <a:pt x="38" y="210"/>
                  </a:lnTo>
                  <a:lnTo>
                    <a:pt x="0" y="190"/>
                  </a:lnTo>
                  <a:lnTo>
                    <a:pt x="100" y="0"/>
                  </a:lnTo>
                  <a:lnTo>
                    <a:pt x="151" y="0"/>
                  </a:lnTo>
                  <a:lnTo>
                    <a:pt x="151" y="10"/>
                  </a:lnTo>
                  <a:lnTo>
                    <a:pt x="105" y="10"/>
                  </a:lnTo>
                  <a:lnTo>
                    <a:pt x="12" y="185"/>
                  </a:lnTo>
                  <a:lnTo>
                    <a:pt x="36" y="200"/>
                  </a:lnTo>
                  <a:lnTo>
                    <a:pt x="117" y="74"/>
                  </a:lnTo>
                  <a:lnTo>
                    <a:pt x="117" y="328"/>
                  </a:lnTo>
                  <a:lnTo>
                    <a:pt x="189" y="328"/>
                  </a:lnTo>
                  <a:lnTo>
                    <a:pt x="189" y="3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373">
              <a:extLst>
                <a:ext uri="{FF2B5EF4-FFF2-40B4-BE49-F238E27FC236}">
                  <a16:creationId xmlns:a16="http://schemas.microsoft.com/office/drawing/2014/main" id="{B0720772-E5E0-4CF5-8560-8FA5A9EB0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" y="2666"/>
              <a:ext cx="190" cy="338"/>
            </a:xfrm>
            <a:custGeom>
              <a:avLst/>
              <a:gdLst>
                <a:gd name="T0" fmla="*/ 82 w 190"/>
                <a:gd name="T1" fmla="*/ 338 h 338"/>
                <a:gd name="T2" fmla="*/ 0 w 190"/>
                <a:gd name="T3" fmla="*/ 338 h 338"/>
                <a:gd name="T4" fmla="*/ 0 w 190"/>
                <a:gd name="T5" fmla="*/ 328 h 338"/>
                <a:gd name="T6" fmla="*/ 72 w 190"/>
                <a:gd name="T7" fmla="*/ 328 h 338"/>
                <a:gd name="T8" fmla="*/ 72 w 190"/>
                <a:gd name="T9" fmla="*/ 74 h 338"/>
                <a:gd name="T10" fmla="*/ 154 w 190"/>
                <a:gd name="T11" fmla="*/ 200 h 338"/>
                <a:gd name="T12" fmla="*/ 177 w 190"/>
                <a:gd name="T13" fmla="*/ 185 h 338"/>
                <a:gd name="T14" fmla="*/ 85 w 190"/>
                <a:gd name="T15" fmla="*/ 10 h 338"/>
                <a:gd name="T16" fmla="*/ 39 w 190"/>
                <a:gd name="T17" fmla="*/ 10 h 338"/>
                <a:gd name="T18" fmla="*/ 39 w 190"/>
                <a:gd name="T19" fmla="*/ 0 h 338"/>
                <a:gd name="T20" fmla="*/ 90 w 190"/>
                <a:gd name="T21" fmla="*/ 0 h 338"/>
                <a:gd name="T22" fmla="*/ 190 w 190"/>
                <a:gd name="T23" fmla="*/ 190 h 338"/>
                <a:gd name="T24" fmla="*/ 151 w 190"/>
                <a:gd name="T25" fmla="*/ 210 h 338"/>
                <a:gd name="T26" fmla="*/ 82 w 190"/>
                <a:gd name="T27" fmla="*/ 103 h 338"/>
                <a:gd name="T28" fmla="*/ 82 w 190"/>
                <a:gd name="T29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338">
                  <a:moveTo>
                    <a:pt x="82" y="338"/>
                  </a:moveTo>
                  <a:lnTo>
                    <a:pt x="0" y="338"/>
                  </a:lnTo>
                  <a:lnTo>
                    <a:pt x="0" y="328"/>
                  </a:lnTo>
                  <a:lnTo>
                    <a:pt x="72" y="328"/>
                  </a:lnTo>
                  <a:lnTo>
                    <a:pt x="72" y="74"/>
                  </a:lnTo>
                  <a:lnTo>
                    <a:pt x="154" y="200"/>
                  </a:lnTo>
                  <a:lnTo>
                    <a:pt x="177" y="185"/>
                  </a:lnTo>
                  <a:lnTo>
                    <a:pt x="85" y="10"/>
                  </a:lnTo>
                  <a:lnTo>
                    <a:pt x="39" y="10"/>
                  </a:lnTo>
                  <a:lnTo>
                    <a:pt x="39" y="0"/>
                  </a:lnTo>
                  <a:lnTo>
                    <a:pt x="90" y="0"/>
                  </a:lnTo>
                  <a:lnTo>
                    <a:pt x="190" y="190"/>
                  </a:lnTo>
                  <a:lnTo>
                    <a:pt x="151" y="210"/>
                  </a:lnTo>
                  <a:lnTo>
                    <a:pt x="82" y="103"/>
                  </a:lnTo>
                  <a:lnTo>
                    <a:pt x="82" y="3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Freeform 374">
              <a:extLst>
                <a:ext uri="{FF2B5EF4-FFF2-40B4-BE49-F238E27FC236}">
                  <a16:creationId xmlns:a16="http://schemas.microsoft.com/office/drawing/2014/main" id="{77AC412C-5D55-4616-89CB-136B615C37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5" y="2666"/>
              <a:ext cx="108" cy="110"/>
            </a:xfrm>
            <a:custGeom>
              <a:avLst/>
              <a:gdLst>
                <a:gd name="T0" fmla="*/ 31 w 108"/>
                <a:gd name="T1" fmla="*/ 36 h 110"/>
                <a:gd name="T2" fmla="*/ 54 w 108"/>
                <a:gd name="T3" fmla="*/ 87 h 110"/>
                <a:gd name="T4" fmla="*/ 77 w 108"/>
                <a:gd name="T5" fmla="*/ 36 h 110"/>
                <a:gd name="T6" fmla="*/ 95 w 108"/>
                <a:gd name="T7" fmla="*/ 41 h 110"/>
                <a:gd name="T8" fmla="*/ 87 w 108"/>
                <a:gd name="T9" fmla="*/ 10 h 110"/>
                <a:gd name="T10" fmla="*/ 21 w 108"/>
                <a:gd name="T11" fmla="*/ 10 h 110"/>
                <a:gd name="T12" fmla="*/ 13 w 108"/>
                <a:gd name="T13" fmla="*/ 41 h 110"/>
                <a:gd name="T14" fmla="*/ 31 w 108"/>
                <a:gd name="T15" fmla="*/ 36 h 110"/>
                <a:gd name="T16" fmla="*/ 54 w 108"/>
                <a:gd name="T17" fmla="*/ 110 h 110"/>
                <a:gd name="T18" fmla="*/ 26 w 108"/>
                <a:gd name="T19" fmla="*/ 46 h 110"/>
                <a:gd name="T20" fmla="*/ 0 w 108"/>
                <a:gd name="T21" fmla="*/ 51 h 110"/>
                <a:gd name="T22" fmla="*/ 13 w 108"/>
                <a:gd name="T23" fmla="*/ 0 h 110"/>
                <a:gd name="T24" fmla="*/ 95 w 108"/>
                <a:gd name="T25" fmla="*/ 0 h 110"/>
                <a:gd name="T26" fmla="*/ 108 w 108"/>
                <a:gd name="T27" fmla="*/ 51 h 110"/>
                <a:gd name="T28" fmla="*/ 82 w 108"/>
                <a:gd name="T29" fmla="*/ 46 h 110"/>
                <a:gd name="T30" fmla="*/ 54 w 108"/>
                <a:gd name="T3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110">
                  <a:moveTo>
                    <a:pt x="31" y="36"/>
                  </a:moveTo>
                  <a:lnTo>
                    <a:pt x="54" y="87"/>
                  </a:lnTo>
                  <a:lnTo>
                    <a:pt x="77" y="36"/>
                  </a:lnTo>
                  <a:lnTo>
                    <a:pt x="95" y="41"/>
                  </a:lnTo>
                  <a:lnTo>
                    <a:pt x="87" y="10"/>
                  </a:lnTo>
                  <a:lnTo>
                    <a:pt x="21" y="10"/>
                  </a:lnTo>
                  <a:lnTo>
                    <a:pt x="13" y="41"/>
                  </a:lnTo>
                  <a:lnTo>
                    <a:pt x="31" y="36"/>
                  </a:lnTo>
                  <a:close/>
                  <a:moveTo>
                    <a:pt x="54" y="110"/>
                  </a:moveTo>
                  <a:lnTo>
                    <a:pt x="26" y="46"/>
                  </a:lnTo>
                  <a:lnTo>
                    <a:pt x="0" y="51"/>
                  </a:lnTo>
                  <a:lnTo>
                    <a:pt x="13" y="0"/>
                  </a:lnTo>
                  <a:lnTo>
                    <a:pt x="95" y="0"/>
                  </a:lnTo>
                  <a:lnTo>
                    <a:pt x="108" y="51"/>
                  </a:lnTo>
                  <a:lnTo>
                    <a:pt x="82" y="46"/>
                  </a:lnTo>
                  <a:lnTo>
                    <a:pt x="5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Freeform 375">
              <a:extLst>
                <a:ext uri="{FF2B5EF4-FFF2-40B4-BE49-F238E27FC236}">
                  <a16:creationId xmlns:a16="http://schemas.microsoft.com/office/drawing/2014/main" id="{A5B31223-EAD2-4CE8-A2F6-B71EA4450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6" y="2669"/>
              <a:ext cx="46" cy="56"/>
            </a:xfrm>
            <a:custGeom>
              <a:avLst/>
              <a:gdLst>
                <a:gd name="T0" fmla="*/ 23 w 46"/>
                <a:gd name="T1" fmla="*/ 56 h 56"/>
                <a:gd name="T2" fmla="*/ 0 w 46"/>
                <a:gd name="T3" fmla="*/ 5 h 56"/>
                <a:gd name="T4" fmla="*/ 8 w 46"/>
                <a:gd name="T5" fmla="*/ 0 h 56"/>
                <a:gd name="T6" fmla="*/ 23 w 46"/>
                <a:gd name="T7" fmla="*/ 33 h 56"/>
                <a:gd name="T8" fmla="*/ 39 w 46"/>
                <a:gd name="T9" fmla="*/ 0 h 56"/>
                <a:gd name="T10" fmla="*/ 46 w 46"/>
                <a:gd name="T11" fmla="*/ 5 h 56"/>
                <a:gd name="T12" fmla="*/ 23 w 46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56">
                  <a:moveTo>
                    <a:pt x="23" y="56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23" y="33"/>
                  </a:lnTo>
                  <a:lnTo>
                    <a:pt x="39" y="0"/>
                  </a:lnTo>
                  <a:lnTo>
                    <a:pt x="46" y="5"/>
                  </a:lnTo>
                  <a:lnTo>
                    <a:pt x="23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Rectangle 376">
              <a:extLst>
                <a:ext uri="{FF2B5EF4-FFF2-40B4-BE49-F238E27FC236}">
                  <a16:creationId xmlns:a16="http://schemas.microsoft.com/office/drawing/2014/main" id="{EA7971C0-D912-4FED-A821-058C9B018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4" y="2766"/>
              <a:ext cx="10" cy="20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Rectangle 377">
              <a:extLst>
                <a:ext uri="{FF2B5EF4-FFF2-40B4-BE49-F238E27FC236}">
                  <a16:creationId xmlns:a16="http://schemas.microsoft.com/office/drawing/2014/main" id="{C8D99FF4-0314-4075-9EEF-417C3FD51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8" y="2825"/>
              <a:ext cx="36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Rectangle 378">
              <a:extLst>
                <a:ext uri="{FF2B5EF4-FFF2-40B4-BE49-F238E27FC236}">
                  <a16:creationId xmlns:a16="http://schemas.microsoft.com/office/drawing/2014/main" id="{973D8B05-2EF0-4E75-AB66-F7CB134730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2" y="2825"/>
              <a:ext cx="39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6" name="Group 381">
            <a:extLst>
              <a:ext uri="{FF2B5EF4-FFF2-40B4-BE49-F238E27FC236}">
                <a16:creationId xmlns:a16="http://schemas.microsoft.com/office/drawing/2014/main" id="{9252F0C3-F4D4-4C80-9C40-C1360898B7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0575" y="4119563"/>
            <a:ext cx="758825" cy="758825"/>
            <a:chOff x="3698" y="2595"/>
            <a:chExt cx="478" cy="478"/>
          </a:xfrm>
        </p:grpSpPr>
        <p:sp>
          <p:nvSpPr>
            <p:cNvPr id="417" name="AutoShape 380">
              <a:extLst>
                <a:ext uri="{FF2B5EF4-FFF2-40B4-BE49-F238E27FC236}">
                  <a16:creationId xmlns:a16="http://schemas.microsoft.com/office/drawing/2014/main" id="{1D085D25-623C-4941-A3F8-3DFCD1A715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8" y="25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382">
              <a:extLst>
                <a:ext uri="{FF2B5EF4-FFF2-40B4-BE49-F238E27FC236}">
                  <a16:creationId xmlns:a16="http://schemas.microsoft.com/office/drawing/2014/main" id="{D0C3DC3C-122C-4B60-A1F9-6EB788E7C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0" y="25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383">
              <a:extLst>
                <a:ext uri="{FF2B5EF4-FFF2-40B4-BE49-F238E27FC236}">
                  <a16:creationId xmlns:a16="http://schemas.microsoft.com/office/drawing/2014/main" id="{AC68130C-47CC-483D-B909-FF6E62138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" y="2673"/>
              <a:ext cx="181" cy="324"/>
            </a:xfrm>
            <a:custGeom>
              <a:avLst/>
              <a:gdLst>
                <a:gd name="T0" fmla="*/ 181 w 181"/>
                <a:gd name="T1" fmla="*/ 324 h 324"/>
                <a:gd name="T2" fmla="*/ 103 w 181"/>
                <a:gd name="T3" fmla="*/ 324 h 324"/>
                <a:gd name="T4" fmla="*/ 103 w 181"/>
                <a:gd name="T5" fmla="*/ 98 h 324"/>
                <a:gd name="T6" fmla="*/ 37 w 181"/>
                <a:gd name="T7" fmla="*/ 201 h 324"/>
                <a:gd name="T8" fmla="*/ 0 w 181"/>
                <a:gd name="T9" fmla="*/ 182 h 324"/>
                <a:gd name="T10" fmla="*/ 95 w 181"/>
                <a:gd name="T11" fmla="*/ 0 h 324"/>
                <a:gd name="T12" fmla="*/ 144 w 181"/>
                <a:gd name="T13" fmla="*/ 0 h 324"/>
                <a:gd name="T14" fmla="*/ 144 w 181"/>
                <a:gd name="T15" fmla="*/ 10 h 324"/>
                <a:gd name="T16" fmla="*/ 100 w 181"/>
                <a:gd name="T17" fmla="*/ 10 h 324"/>
                <a:gd name="T18" fmla="*/ 12 w 181"/>
                <a:gd name="T19" fmla="*/ 177 h 324"/>
                <a:gd name="T20" fmla="*/ 34 w 181"/>
                <a:gd name="T21" fmla="*/ 192 h 324"/>
                <a:gd name="T22" fmla="*/ 113 w 181"/>
                <a:gd name="T23" fmla="*/ 72 h 324"/>
                <a:gd name="T24" fmla="*/ 113 w 181"/>
                <a:gd name="T25" fmla="*/ 314 h 324"/>
                <a:gd name="T26" fmla="*/ 181 w 181"/>
                <a:gd name="T27" fmla="*/ 314 h 324"/>
                <a:gd name="T28" fmla="*/ 181 w 181"/>
                <a:gd name="T2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324">
                  <a:moveTo>
                    <a:pt x="181" y="324"/>
                  </a:moveTo>
                  <a:lnTo>
                    <a:pt x="103" y="324"/>
                  </a:lnTo>
                  <a:lnTo>
                    <a:pt x="103" y="98"/>
                  </a:lnTo>
                  <a:lnTo>
                    <a:pt x="37" y="201"/>
                  </a:lnTo>
                  <a:lnTo>
                    <a:pt x="0" y="182"/>
                  </a:lnTo>
                  <a:lnTo>
                    <a:pt x="95" y="0"/>
                  </a:lnTo>
                  <a:lnTo>
                    <a:pt x="144" y="0"/>
                  </a:lnTo>
                  <a:lnTo>
                    <a:pt x="144" y="10"/>
                  </a:lnTo>
                  <a:lnTo>
                    <a:pt x="100" y="10"/>
                  </a:lnTo>
                  <a:lnTo>
                    <a:pt x="12" y="177"/>
                  </a:lnTo>
                  <a:lnTo>
                    <a:pt x="34" y="192"/>
                  </a:lnTo>
                  <a:lnTo>
                    <a:pt x="113" y="72"/>
                  </a:lnTo>
                  <a:lnTo>
                    <a:pt x="113" y="314"/>
                  </a:lnTo>
                  <a:lnTo>
                    <a:pt x="181" y="314"/>
                  </a:lnTo>
                  <a:lnTo>
                    <a:pt x="181" y="3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384">
              <a:extLst>
                <a:ext uri="{FF2B5EF4-FFF2-40B4-BE49-F238E27FC236}">
                  <a16:creationId xmlns:a16="http://schemas.microsoft.com/office/drawing/2014/main" id="{22F001C2-75B2-482F-AF4C-B782C572C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" y="2673"/>
              <a:ext cx="182" cy="324"/>
            </a:xfrm>
            <a:custGeom>
              <a:avLst/>
              <a:gdLst>
                <a:gd name="T0" fmla="*/ 79 w 182"/>
                <a:gd name="T1" fmla="*/ 324 h 324"/>
                <a:gd name="T2" fmla="*/ 0 w 182"/>
                <a:gd name="T3" fmla="*/ 324 h 324"/>
                <a:gd name="T4" fmla="*/ 0 w 182"/>
                <a:gd name="T5" fmla="*/ 314 h 324"/>
                <a:gd name="T6" fmla="*/ 69 w 182"/>
                <a:gd name="T7" fmla="*/ 314 h 324"/>
                <a:gd name="T8" fmla="*/ 69 w 182"/>
                <a:gd name="T9" fmla="*/ 72 h 324"/>
                <a:gd name="T10" fmla="*/ 147 w 182"/>
                <a:gd name="T11" fmla="*/ 192 h 324"/>
                <a:gd name="T12" fmla="*/ 169 w 182"/>
                <a:gd name="T13" fmla="*/ 177 h 324"/>
                <a:gd name="T14" fmla="*/ 81 w 182"/>
                <a:gd name="T15" fmla="*/ 10 h 324"/>
                <a:gd name="T16" fmla="*/ 37 w 182"/>
                <a:gd name="T17" fmla="*/ 10 h 324"/>
                <a:gd name="T18" fmla="*/ 37 w 182"/>
                <a:gd name="T19" fmla="*/ 0 h 324"/>
                <a:gd name="T20" fmla="*/ 86 w 182"/>
                <a:gd name="T21" fmla="*/ 0 h 324"/>
                <a:gd name="T22" fmla="*/ 182 w 182"/>
                <a:gd name="T23" fmla="*/ 182 h 324"/>
                <a:gd name="T24" fmla="*/ 145 w 182"/>
                <a:gd name="T25" fmla="*/ 201 h 324"/>
                <a:gd name="T26" fmla="*/ 79 w 182"/>
                <a:gd name="T27" fmla="*/ 98 h 324"/>
                <a:gd name="T28" fmla="*/ 79 w 182"/>
                <a:gd name="T2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2" h="324">
                  <a:moveTo>
                    <a:pt x="79" y="324"/>
                  </a:moveTo>
                  <a:lnTo>
                    <a:pt x="0" y="324"/>
                  </a:lnTo>
                  <a:lnTo>
                    <a:pt x="0" y="314"/>
                  </a:lnTo>
                  <a:lnTo>
                    <a:pt x="69" y="314"/>
                  </a:lnTo>
                  <a:lnTo>
                    <a:pt x="69" y="72"/>
                  </a:lnTo>
                  <a:lnTo>
                    <a:pt x="147" y="192"/>
                  </a:lnTo>
                  <a:lnTo>
                    <a:pt x="169" y="177"/>
                  </a:lnTo>
                  <a:lnTo>
                    <a:pt x="81" y="10"/>
                  </a:lnTo>
                  <a:lnTo>
                    <a:pt x="37" y="10"/>
                  </a:lnTo>
                  <a:lnTo>
                    <a:pt x="37" y="0"/>
                  </a:lnTo>
                  <a:lnTo>
                    <a:pt x="86" y="0"/>
                  </a:lnTo>
                  <a:lnTo>
                    <a:pt x="182" y="182"/>
                  </a:lnTo>
                  <a:lnTo>
                    <a:pt x="145" y="201"/>
                  </a:lnTo>
                  <a:lnTo>
                    <a:pt x="79" y="98"/>
                  </a:lnTo>
                  <a:lnTo>
                    <a:pt x="79" y="3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385">
              <a:extLst>
                <a:ext uri="{FF2B5EF4-FFF2-40B4-BE49-F238E27FC236}">
                  <a16:creationId xmlns:a16="http://schemas.microsoft.com/office/drawing/2014/main" id="{61FC358E-70B5-48A4-931B-922BE19A0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7" y="2673"/>
              <a:ext cx="103" cy="106"/>
            </a:xfrm>
            <a:custGeom>
              <a:avLst/>
              <a:gdLst>
                <a:gd name="T0" fmla="*/ 29 w 103"/>
                <a:gd name="T1" fmla="*/ 35 h 106"/>
                <a:gd name="T2" fmla="*/ 51 w 103"/>
                <a:gd name="T3" fmla="*/ 84 h 106"/>
                <a:gd name="T4" fmla="*/ 73 w 103"/>
                <a:gd name="T5" fmla="*/ 35 h 106"/>
                <a:gd name="T6" fmla="*/ 90 w 103"/>
                <a:gd name="T7" fmla="*/ 40 h 106"/>
                <a:gd name="T8" fmla="*/ 83 w 103"/>
                <a:gd name="T9" fmla="*/ 10 h 106"/>
                <a:gd name="T10" fmla="*/ 19 w 103"/>
                <a:gd name="T11" fmla="*/ 10 h 106"/>
                <a:gd name="T12" fmla="*/ 12 w 103"/>
                <a:gd name="T13" fmla="*/ 40 h 106"/>
                <a:gd name="T14" fmla="*/ 29 w 103"/>
                <a:gd name="T15" fmla="*/ 35 h 106"/>
                <a:gd name="T16" fmla="*/ 51 w 103"/>
                <a:gd name="T17" fmla="*/ 106 h 106"/>
                <a:gd name="T18" fmla="*/ 24 w 103"/>
                <a:gd name="T19" fmla="*/ 45 h 106"/>
                <a:gd name="T20" fmla="*/ 0 w 103"/>
                <a:gd name="T21" fmla="*/ 49 h 106"/>
                <a:gd name="T22" fmla="*/ 12 w 103"/>
                <a:gd name="T23" fmla="*/ 0 h 106"/>
                <a:gd name="T24" fmla="*/ 90 w 103"/>
                <a:gd name="T25" fmla="*/ 0 h 106"/>
                <a:gd name="T26" fmla="*/ 103 w 103"/>
                <a:gd name="T27" fmla="*/ 49 h 106"/>
                <a:gd name="T28" fmla="*/ 78 w 103"/>
                <a:gd name="T29" fmla="*/ 45 h 106"/>
                <a:gd name="T30" fmla="*/ 51 w 103"/>
                <a:gd name="T3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" h="106">
                  <a:moveTo>
                    <a:pt x="29" y="35"/>
                  </a:moveTo>
                  <a:lnTo>
                    <a:pt x="51" y="84"/>
                  </a:lnTo>
                  <a:lnTo>
                    <a:pt x="73" y="35"/>
                  </a:lnTo>
                  <a:lnTo>
                    <a:pt x="90" y="40"/>
                  </a:lnTo>
                  <a:lnTo>
                    <a:pt x="83" y="10"/>
                  </a:lnTo>
                  <a:lnTo>
                    <a:pt x="19" y="10"/>
                  </a:lnTo>
                  <a:lnTo>
                    <a:pt x="12" y="40"/>
                  </a:lnTo>
                  <a:lnTo>
                    <a:pt x="29" y="35"/>
                  </a:lnTo>
                  <a:close/>
                  <a:moveTo>
                    <a:pt x="51" y="106"/>
                  </a:moveTo>
                  <a:lnTo>
                    <a:pt x="24" y="45"/>
                  </a:lnTo>
                  <a:lnTo>
                    <a:pt x="0" y="49"/>
                  </a:lnTo>
                  <a:lnTo>
                    <a:pt x="12" y="0"/>
                  </a:lnTo>
                  <a:lnTo>
                    <a:pt x="90" y="0"/>
                  </a:lnTo>
                  <a:lnTo>
                    <a:pt x="103" y="49"/>
                  </a:lnTo>
                  <a:lnTo>
                    <a:pt x="78" y="45"/>
                  </a:lnTo>
                  <a:lnTo>
                    <a:pt x="51" y="10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386">
              <a:extLst>
                <a:ext uri="{FF2B5EF4-FFF2-40B4-BE49-F238E27FC236}">
                  <a16:creationId xmlns:a16="http://schemas.microsoft.com/office/drawing/2014/main" id="{3D66C8E6-D4C7-404E-BB00-562CC6BFD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6" y="2676"/>
              <a:ext cx="44" cy="54"/>
            </a:xfrm>
            <a:custGeom>
              <a:avLst/>
              <a:gdLst>
                <a:gd name="T0" fmla="*/ 22 w 44"/>
                <a:gd name="T1" fmla="*/ 54 h 54"/>
                <a:gd name="T2" fmla="*/ 0 w 44"/>
                <a:gd name="T3" fmla="*/ 5 h 54"/>
                <a:gd name="T4" fmla="*/ 8 w 44"/>
                <a:gd name="T5" fmla="*/ 0 h 54"/>
                <a:gd name="T6" fmla="*/ 22 w 44"/>
                <a:gd name="T7" fmla="*/ 32 h 54"/>
                <a:gd name="T8" fmla="*/ 37 w 44"/>
                <a:gd name="T9" fmla="*/ 0 h 54"/>
                <a:gd name="T10" fmla="*/ 44 w 44"/>
                <a:gd name="T11" fmla="*/ 5 h 54"/>
                <a:gd name="T12" fmla="*/ 22 w 44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4">
                  <a:moveTo>
                    <a:pt x="22" y="54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22" y="32"/>
                  </a:lnTo>
                  <a:lnTo>
                    <a:pt x="37" y="0"/>
                  </a:lnTo>
                  <a:lnTo>
                    <a:pt x="44" y="5"/>
                  </a:lnTo>
                  <a:lnTo>
                    <a:pt x="22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387">
              <a:extLst>
                <a:ext uri="{FF2B5EF4-FFF2-40B4-BE49-F238E27FC236}">
                  <a16:creationId xmlns:a16="http://schemas.microsoft.com/office/drawing/2014/main" id="{9714A0E7-EB70-4170-9556-FBB12093D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3" y="2769"/>
              <a:ext cx="10" cy="19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Rectangle 388">
              <a:extLst>
                <a:ext uri="{FF2B5EF4-FFF2-40B4-BE49-F238E27FC236}">
                  <a16:creationId xmlns:a16="http://schemas.microsoft.com/office/drawing/2014/main" id="{16F3F91E-6ECD-443D-BEE4-D917EA57E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9" y="2825"/>
              <a:ext cx="35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389">
              <a:extLst>
                <a:ext uri="{FF2B5EF4-FFF2-40B4-BE49-F238E27FC236}">
                  <a16:creationId xmlns:a16="http://schemas.microsoft.com/office/drawing/2014/main" id="{D18A2387-A1EC-47F5-87DC-5D24F611C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0" y="2825"/>
              <a:ext cx="37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6" name="Group 392">
            <a:extLst>
              <a:ext uri="{FF2B5EF4-FFF2-40B4-BE49-F238E27FC236}">
                <a16:creationId xmlns:a16="http://schemas.microsoft.com/office/drawing/2014/main" id="{99B0336D-1B0D-4BB1-B3D8-7E8CFF8CA5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3575" y="4078288"/>
            <a:ext cx="841375" cy="841375"/>
            <a:chOff x="4418" y="2569"/>
            <a:chExt cx="530" cy="530"/>
          </a:xfrm>
        </p:grpSpPr>
        <p:sp>
          <p:nvSpPr>
            <p:cNvPr id="427" name="AutoShape 391">
              <a:extLst>
                <a:ext uri="{FF2B5EF4-FFF2-40B4-BE49-F238E27FC236}">
                  <a16:creationId xmlns:a16="http://schemas.microsoft.com/office/drawing/2014/main" id="{148F5EC5-7822-46B1-B8ED-49F64D7C558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8" y="25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Oval 393">
              <a:extLst>
                <a:ext uri="{FF2B5EF4-FFF2-40B4-BE49-F238E27FC236}">
                  <a16:creationId xmlns:a16="http://schemas.microsoft.com/office/drawing/2014/main" id="{25427BD5-47F5-4314-AF0C-4E571A922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" y="25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394">
              <a:extLst>
                <a:ext uri="{FF2B5EF4-FFF2-40B4-BE49-F238E27FC236}">
                  <a16:creationId xmlns:a16="http://schemas.microsoft.com/office/drawing/2014/main" id="{226B77A7-CCDE-4263-8786-FC6765A670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6" y="25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395">
              <a:extLst>
                <a:ext uri="{FF2B5EF4-FFF2-40B4-BE49-F238E27FC236}">
                  <a16:creationId xmlns:a16="http://schemas.microsoft.com/office/drawing/2014/main" id="{BAFB517E-FD20-414A-BC8C-C0ACC8EECA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8" y="2656"/>
              <a:ext cx="130" cy="148"/>
            </a:xfrm>
            <a:custGeom>
              <a:avLst/>
              <a:gdLst>
                <a:gd name="T0" fmla="*/ 26 w 51"/>
                <a:gd name="T1" fmla="*/ 55 h 58"/>
                <a:gd name="T2" fmla="*/ 26 w 51"/>
                <a:gd name="T3" fmla="*/ 55 h 58"/>
                <a:gd name="T4" fmla="*/ 41 w 51"/>
                <a:gd name="T5" fmla="*/ 40 h 58"/>
                <a:gd name="T6" fmla="*/ 41 w 51"/>
                <a:gd name="T7" fmla="*/ 36 h 58"/>
                <a:gd name="T8" fmla="*/ 44 w 51"/>
                <a:gd name="T9" fmla="*/ 39 h 58"/>
                <a:gd name="T10" fmla="*/ 46 w 51"/>
                <a:gd name="T11" fmla="*/ 35 h 58"/>
                <a:gd name="T12" fmla="*/ 47 w 51"/>
                <a:gd name="T13" fmla="*/ 28 h 58"/>
                <a:gd name="T14" fmla="*/ 46 w 51"/>
                <a:gd name="T15" fmla="*/ 28 h 58"/>
                <a:gd name="T16" fmla="*/ 44 w 51"/>
                <a:gd name="T17" fmla="*/ 28 h 58"/>
                <a:gd name="T18" fmla="*/ 44 w 51"/>
                <a:gd name="T19" fmla="*/ 26 h 58"/>
                <a:gd name="T20" fmla="*/ 41 w 51"/>
                <a:gd name="T21" fmla="*/ 9 h 58"/>
                <a:gd name="T22" fmla="*/ 26 w 51"/>
                <a:gd name="T23" fmla="*/ 3 h 58"/>
                <a:gd name="T24" fmla="*/ 26 w 51"/>
                <a:gd name="T25" fmla="*/ 3 h 58"/>
                <a:gd name="T26" fmla="*/ 11 w 51"/>
                <a:gd name="T27" fmla="*/ 9 h 58"/>
                <a:gd name="T28" fmla="*/ 7 w 51"/>
                <a:gd name="T29" fmla="*/ 26 h 58"/>
                <a:gd name="T30" fmla="*/ 8 w 51"/>
                <a:gd name="T31" fmla="*/ 28 h 58"/>
                <a:gd name="T32" fmla="*/ 5 w 51"/>
                <a:gd name="T33" fmla="*/ 28 h 58"/>
                <a:gd name="T34" fmla="*/ 4 w 51"/>
                <a:gd name="T35" fmla="*/ 28 h 58"/>
                <a:gd name="T36" fmla="*/ 6 w 51"/>
                <a:gd name="T37" fmla="*/ 35 h 58"/>
                <a:gd name="T38" fmla="*/ 8 w 51"/>
                <a:gd name="T39" fmla="*/ 39 h 58"/>
                <a:gd name="T40" fmla="*/ 10 w 51"/>
                <a:gd name="T41" fmla="*/ 36 h 58"/>
                <a:gd name="T42" fmla="*/ 11 w 51"/>
                <a:gd name="T43" fmla="*/ 40 h 58"/>
                <a:gd name="T44" fmla="*/ 26 w 51"/>
                <a:gd name="T45" fmla="*/ 55 h 58"/>
                <a:gd name="T46" fmla="*/ 26 w 51"/>
                <a:gd name="T47" fmla="*/ 58 h 58"/>
                <a:gd name="T48" fmla="*/ 25 w 51"/>
                <a:gd name="T49" fmla="*/ 58 h 58"/>
                <a:gd name="T50" fmla="*/ 8 w 51"/>
                <a:gd name="T51" fmla="*/ 42 h 58"/>
                <a:gd name="T52" fmla="*/ 7 w 51"/>
                <a:gd name="T53" fmla="*/ 42 h 58"/>
                <a:gd name="T54" fmla="*/ 3 w 51"/>
                <a:gd name="T55" fmla="*/ 37 h 58"/>
                <a:gd name="T56" fmla="*/ 2 w 51"/>
                <a:gd name="T57" fmla="*/ 26 h 58"/>
                <a:gd name="T58" fmla="*/ 4 w 51"/>
                <a:gd name="T59" fmla="*/ 25 h 58"/>
                <a:gd name="T60" fmla="*/ 8 w 51"/>
                <a:gd name="T61" fmla="*/ 6 h 58"/>
                <a:gd name="T62" fmla="*/ 26 w 51"/>
                <a:gd name="T63" fmla="*/ 0 h 58"/>
                <a:gd name="T64" fmla="*/ 26 w 51"/>
                <a:gd name="T65" fmla="*/ 0 h 58"/>
                <a:gd name="T66" fmla="*/ 43 w 51"/>
                <a:gd name="T67" fmla="*/ 6 h 58"/>
                <a:gd name="T68" fmla="*/ 48 w 51"/>
                <a:gd name="T69" fmla="*/ 25 h 58"/>
                <a:gd name="T70" fmla="*/ 50 w 51"/>
                <a:gd name="T71" fmla="*/ 26 h 58"/>
                <a:gd name="T72" fmla="*/ 49 w 51"/>
                <a:gd name="T73" fmla="*/ 37 h 58"/>
                <a:gd name="T74" fmla="*/ 44 w 51"/>
                <a:gd name="T75" fmla="*/ 42 h 58"/>
                <a:gd name="T76" fmla="*/ 44 w 51"/>
                <a:gd name="T77" fmla="*/ 42 h 58"/>
                <a:gd name="T78" fmla="*/ 26 w 51"/>
                <a:gd name="T7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" h="58">
                  <a:moveTo>
                    <a:pt x="26" y="55"/>
                  </a:moveTo>
                  <a:cubicBezTo>
                    <a:pt x="26" y="55"/>
                    <a:pt x="26" y="55"/>
                    <a:pt x="26" y="55"/>
                  </a:cubicBezTo>
                  <a:cubicBezTo>
                    <a:pt x="27" y="55"/>
                    <a:pt x="39" y="51"/>
                    <a:pt x="41" y="40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38"/>
                    <a:pt x="46" y="35"/>
                  </a:cubicBezTo>
                  <a:cubicBezTo>
                    <a:pt x="48" y="29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6" y="15"/>
                    <a:pt x="41" y="9"/>
                  </a:cubicBezTo>
                  <a:cubicBezTo>
                    <a:pt x="37" y="5"/>
                    <a:pt x="33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9" y="3"/>
                    <a:pt x="14" y="5"/>
                    <a:pt x="11" y="9"/>
                  </a:cubicBezTo>
                  <a:cubicBezTo>
                    <a:pt x="5" y="15"/>
                    <a:pt x="7" y="26"/>
                    <a:pt x="7" y="26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4" y="28"/>
                  </a:cubicBezTo>
                  <a:cubicBezTo>
                    <a:pt x="4" y="28"/>
                    <a:pt x="4" y="29"/>
                    <a:pt x="6" y="35"/>
                  </a:cubicBezTo>
                  <a:cubicBezTo>
                    <a:pt x="7" y="38"/>
                    <a:pt x="8" y="39"/>
                    <a:pt x="8" y="39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3" y="51"/>
                    <a:pt x="24" y="55"/>
                    <a:pt x="26" y="55"/>
                  </a:cubicBezTo>
                  <a:moveTo>
                    <a:pt x="26" y="58"/>
                  </a:moveTo>
                  <a:cubicBezTo>
                    <a:pt x="25" y="58"/>
                    <a:pt x="25" y="58"/>
                    <a:pt x="25" y="58"/>
                  </a:cubicBezTo>
                  <a:cubicBezTo>
                    <a:pt x="25" y="58"/>
                    <a:pt x="11" y="55"/>
                    <a:pt x="8" y="42"/>
                  </a:cubicBezTo>
                  <a:cubicBezTo>
                    <a:pt x="8" y="42"/>
                    <a:pt x="8" y="42"/>
                    <a:pt x="7" y="42"/>
                  </a:cubicBezTo>
                  <a:cubicBezTo>
                    <a:pt x="5" y="42"/>
                    <a:pt x="4" y="40"/>
                    <a:pt x="3" y="37"/>
                  </a:cubicBezTo>
                  <a:cubicBezTo>
                    <a:pt x="1" y="31"/>
                    <a:pt x="0" y="28"/>
                    <a:pt x="2" y="26"/>
                  </a:cubicBezTo>
                  <a:cubicBezTo>
                    <a:pt x="2" y="25"/>
                    <a:pt x="3" y="25"/>
                    <a:pt x="4" y="25"/>
                  </a:cubicBezTo>
                  <a:cubicBezTo>
                    <a:pt x="3" y="21"/>
                    <a:pt x="3" y="13"/>
                    <a:pt x="8" y="6"/>
                  </a:cubicBezTo>
                  <a:cubicBezTo>
                    <a:pt x="12" y="2"/>
                    <a:pt x="18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39" y="2"/>
                    <a:pt x="43" y="6"/>
                  </a:cubicBezTo>
                  <a:cubicBezTo>
                    <a:pt x="48" y="13"/>
                    <a:pt x="48" y="21"/>
                    <a:pt x="48" y="25"/>
                  </a:cubicBezTo>
                  <a:cubicBezTo>
                    <a:pt x="49" y="25"/>
                    <a:pt x="49" y="25"/>
                    <a:pt x="50" y="26"/>
                  </a:cubicBezTo>
                  <a:cubicBezTo>
                    <a:pt x="51" y="28"/>
                    <a:pt x="51" y="31"/>
                    <a:pt x="49" y="37"/>
                  </a:cubicBezTo>
                  <a:cubicBezTo>
                    <a:pt x="48" y="40"/>
                    <a:pt x="46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1" y="55"/>
                    <a:pt x="27" y="58"/>
                    <a:pt x="26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396">
              <a:extLst>
                <a:ext uri="{FF2B5EF4-FFF2-40B4-BE49-F238E27FC236}">
                  <a16:creationId xmlns:a16="http://schemas.microsoft.com/office/drawing/2014/main" id="{710C5398-0F76-4516-9E33-14E1946B2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5" y="2792"/>
              <a:ext cx="100" cy="151"/>
            </a:xfrm>
            <a:custGeom>
              <a:avLst/>
              <a:gdLst>
                <a:gd name="T0" fmla="*/ 36 w 39"/>
                <a:gd name="T1" fmla="*/ 9 h 59"/>
                <a:gd name="T2" fmla="*/ 4 w 39"/>
                <a:gd name="T3" fmla="*/ 47 h 59"/>
                <a:gd name="T4" fmla="*/ 3 w 39"/>
                <a:gd name="T5" fmla="*/ 51 h 59"/>
                <a:gd name="T6" fmla="*/ 5 w 39"/>
                <a:gd name="T7" fmla="*/ 55 h 59"/>
                <a:gd name="T8" fmla="*/ 9 w 39"/>
                <a:gd name="T9" fmla="*/ 56 h 59"/>
                <a:gd name="T10" fmla="*/ 13 w 39"/>
                <a:gd name="T11" fmla="*/ 54 h 59"/>
                <a:gd name="T12" fmla="*/ 36 w 39"/>
                <a:gd name="T13" fmla="*/ 27 h 59"/>
                <a:gd name="T14" fmla="*/ 36 w 39"/>
                <a:gd name="T15" fmla="*/ 9 h 59"/>
                <a:gd name="T16" fmla="*/ 9 w 39"/>
                <a:gd name="T17" fmla="*/ 59 h 59"/>
                <a:gd name="T18" fmla="*/ 3 w 39"/>
                <a:gd name="T19" fmla="*/ 57 h 59"/>
                <a:gd name="T20" fmla="*/ 0 w 39"/>
                <a:gd name="T21" fmla="*/ 51 h 59"/>
                <a:gd name="T22" fmla="*/ 2 w 39"/>
                <a:gd name="T23" fmla="*/ 44 h 59"/>
                <a:gd name="T24" fmla="*/ 39 w 39"/>
                <a:gd name="T25" fmla="*/ 0 h 59"/>
                <a:gd name="T26" fmla="*/ 39 w 39"/>
                <a:gd name="T27" fmla="*/ 28 h 59"/>
                <a:gd name="T28" fmla="*/ 16 w 39"/>
                <a:gd name="T29" fmla="*/ 56 h 59"/>
                <a:gd name="T30" fmla="*/ 9 w 39"/>
                <a:gd name="T3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59">
                  <a:moveTo>
                    <a:pt x="36" y="9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48"/>
                    <a:pt x="3" y="49"/>
                    <a:pt x="3" y="51"/>
                  </a:cubicBezTo>
                  <a:cubicBezTo>
                    <a:pt x="3" y="52"/>
                    <a:pt x="4" y="54"/>
                    <a:pt x="5" y="55"/>
                  </a:cubicBezTo>
                  <a:cubicBezTo>
                    <a:pt x="6" y="56"/>
                    <a:pt x="8" y="56"/>
                    <a:pt x="9" y="56"/>
                  </a:cubicBezTo>
                  <a:cubicBezTo>
                    <a:pt x="11" y="56"/>
                    <a:pt x="12" y="55"/>
                    <a:pt x="13" y="54"/>
                  </a:cubicBezTo>
                  <a:cubicBezTo>
                    <a:pt x="36" y="27"/>
                    <a:pt x="36" y="27"/>
                    <a:pt x="36" y="27"/>
                  </a:cubicBezTo>
                  <a:lnTo>
                    <a:pt x="36" y="9"/>
                  </a:lnTo>
                  <a:close/>
                  <a:moveTo>
                    <a:pt x="9" y="59"/>
                  </a:moveTo>
                  <a:cubicBezTo>
                    <a:pt x="7" y="59"/>
                    <a:pt x="5" y="59"/>
                    <a:pt x="3" y="57"/>
                  </a:cubicBezTo>
                  <a:cubicBezTo>
                    <a:pt x="1" y="56"/>
                    <a:pt x="0" y="54"/>
                    <a:pt x="0" y="51"/>
                  </a:cubicBezTo>
                  <a:cubicBezTo>
                    <a:pt x="0" y="49"/>
                    <a:pt x="0" y="46"/>
                    <a:pt x="2" y="4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4" y="58"/>
                    <a:pt x="11" y="59"/>
                    <a:pt x="9" y="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397">
              <a:extLst>
                <a:ext uri="{FF2B5EF4-FFF2-40B4-BE49-F238E27FC236}">
                  <a16:creationId xmlns:a16="http://schemas.microsoft.com/office/drawing/2014/main" id="{0B2D962A-455F-4576-AD10-D6AAC00BC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7" y="2779"/>
              <a:ext cx="87" cy="38"/>
            </a:xfrm>
            <a:custGeom>
              <a:avLst/>
              <a:gdLst>
                <a:gd name="T0" fmla="*/ 8 w 87"/>
                <a:gd name="T1" fmla="*/ 31 h 38"/>
                <a:gd name="T2" fmla="*/ 69 w 87"/>
                <a:gd name="T3" fmla="*/ 31 h 38"/>
                <a:gd name="T4" fmla="*/ 49 w 87"/>
                <a:gd name="T5" fmla="*/ 10 h 38"/>
                <a:gd name="T6" fmla="*/ 20 w 87"/>
                <a:gd name="T7" fmla="*/ 10 h 38"/>
                <a:gd name="T8" fmla="*/ 8 w 87"/>
                <a:gd name="T9" fmla="*/ 20 h 38"/>
                <a:gd name="T10" fmla="*/ 8 w 87"/>
                <a:gd name="T11" fmla="*/ 31 h 38"/>
                <a:gd name="T12" fmla="*/ 87 w 87"/>
                <a:gd name="T13" fmla="*/ 38 h 38"/>
                <a:gd name="T14" fmla="*/ 0 w 87"/>
                <a:gd name="T15" fmla="*/ 38 h 38"/>
                <a:gd name="T16" fmla="*/ 0 w 87"/>
                <a:gd name="T17" fmla="*/ 18 h 38"/>
                <a:gd name="T18" fmla="*/ 15 w 87"/>
                <a:gd name="T19" fmla="*/ 0 h 38"/>
                <a:gd name="T20" fmla="*/ 54 w 87"/>
                <a:gd name="T21" fmla="*/ 0 h 38"/>
                <a:gd name="T22" fmla="*/ 87 w 87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">
                  <a:moveTo>
                    <a:pt x="8" y="31"/>
                  </a:moveTo>
                  <a:lnTo>
                    <a:pt x="69" y="31"/>
                  </a:lnTo>
                  <a:lnTo>
                    <a:pt x="49" y="10"/>
                  </a:lnTo>
                  <a:lnTo>
                    <a:pt x="20" y="10"/>
                  </a:lnTo>
                  <a:lnTo>
                    <a:pt x="8" y="20"/>
                  </a:lnTo>
                  <a:lnTo>
                    <a:pt x="8" y="31"/>
                  </a:lnTo>
                  <a:close/>
                  <a:moveTo>
                    <a:pt x="87" y="38"/>
                  </a:moveTo>
                  <a:lnTo>
                    <a:pt x="0" y="38"/>
                  </a:lnTo>
                  <a:lnTo>
                    <a:pt x="0" y="18"/>
                  </a:lnTo>
                  <a:lnTo>
                    <a:pt x="15" y="0"/>
                  </a:lnTo>
                  <a:lnTo>
                    <a:pt x="54" y="0"/>
                  </a:lnTo>
                  <a:lnTo>
                    <a:pt x="87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Freeform 398">
              <a:extLst>
                <a:ext uri="{FF2B5EF4-FFF2-40B4-BE49-F238E27FC236}">
                  <a16:creationId xmlns:a16="http://schemas.microsoft.com/office/drawing/2014/main" id="{8B297665-4907-4682-8E5A-2B1F17AFB5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4" y="2792"/>
              <a:ext cx="102" cy="151"/>
            </a:xfrm>
            <a:custGeom>
              <a:avLst/>
              <a:gdLst>
                <a:gd name="T0" fmla="*/ 3 w 40"/>
                <a:gd name="T1" fmla="*/ 27 h 59"/>
                <a:gd name="T2" fmla="*/ 26 w 40"/>
                <a:gd name="T3" fmla="*/ 54 h 59"/>
                <a:gd name="T4" fmla="*/ 34 w 40"/>
                <a:gd name="T5" fmla="*/ 55 h 59"/>
                <a:gd name="T6" fmla="*/ 35 w 40"/>
                <a:gd name="T7" fmla="*/ 47 h 59"/>
                <a:gd name="T8" fmla="*/ 3 w 40"/>
                <a:gd name="T9" fmla="*/ 9 h 59"/>
                <a:gd name="T10" fmla="*/ 3 w 40"/>
                <a:gd name="T11" fmla="*/ 27 h 59"/>
                <a:gd name="T12" fmla="*/ 30 w 40"/>
                <a:gd name="T13" fmla="*/ 59 h 59"/>
                <a:gd name="T14" fmla="*/ 23 w 40"/>
                <a:gd name="T15" fmla="*/ 56 h 59"/>
                <a:gd name="T16" fmla="*/ 0 w 40"/>
                <a:gd name="T17" fmla="*/ 28 h 59"/>
                <a:gd name="T18" fmla="*/ 0 w 40"/>
                <a:gd name="T19" fmla="*/ 0 h 59"/>
                <a:gd name="T20" fmla="*/ 37 w 40"/>
                <a:gd name="T21" fmla="*/ 44 h 59"/>
                <a:gd name="T22" fmla="*/ 36 w 40"/>
                <a:gd name="T23" fmla="*/ 57 h 59"/>
                <a:gd name="T24" fmla="*/ 30 w 40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59">
                  <a:moveTo>
                    <a:pt x="3" y="27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8" y="56"/>
                    <a:pt x="31" y="57"/>
                    <a:pt x="34" y="55"/>
                  </a:cubicBezTo>
                  <a:cubicBezTo>
                    <a:pt x="36" y="53"/>
                    <a:pt x="37" y="49"/>
                    <a:pt x="35" y="47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3" y="27"/>
                  </a:lnTo>
                  <a:close/>
                  <a:moveTo>
                    <a:pt x="30" y="59"/>
                  </a:moveTo>
                  <a:cubicBezTo>
                    <a:pt x="28" y="59"/>
                    <a:pt x="25" y="58"/>
                    <a:pt x="23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40" y="48"/>
                    <a:pt x="40" y="54"/>
                    <a:pt x="36" y="57"/>
                  </a:cubicBezTo>
                  <a:cubicBezTo>
                    <a:pt x="34" y="59"/>
                    <a:pt x="32" y="59"/>
                    <a:pt x="30" y="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Freeform 399">
              <a:extLst>
                <a:ext uri="{FF2B5EF4-FFF2-40B4-BE49-F238E27FC236}">
                  <a16:creationId xmlns:a16="http://schemas.microsoft.com/office/drawing/2014/main" id="{BB5124FE-ED1B-4D56-9D5E-B44B9A4D6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4" y="2779"/>
              <a:ext cx="87" cy="38"/>
            </a:xfrm>
            <a:custGeom>
              <a:avLst/>
              <a:gdLst>
                <a:gd name="T0" fmla="*/ 18 w 87"/>
                <a:gd name="T1" fmla="*/ 31 h 38"/>
                <a:gd name="T2" fmla="*/ 80 w 87"/>
                <a:gd name="T3" fmla="*/ 31 h 38"/>
                <a:gd name="T4" fmla="*/ 80 w 87"/>
                <a:gd name="T5" fmla="*/ 20 h 38"/>
                <a:gd name="T6" fmla="*/ 67 w 87"/>
                <a:gd name="T7" fmla="*/ 10 h 38"/>
                <a:gd name="T8" fmla="*/ 39 w 87"/>
                <a:gd name="T9" fmla="*/ 10 h 38"/>
                <a:gd name="T10" fmla="*/ 18 w 87"/>
                <a:gd name="T11" fmla="*/ 31 h 38"/>
                <a:gd name="T12" fmla="*/ 87 w 87"/>
                <a:gd name="T13" fmla="*/ 38 h 38"/>
                <a:gd name="T14" fmla="*/ 0 w 87"/>
                <a:gd name="T15" fmla="*/ 38 h 38"/>
                <a:gd name="T16" fmla="*/ 34 w 87"/>
                <a:gd name="T17" fmla="*/ 0 h 38"/>
                <a:gd name="T18" fmla="*/ 72 w 87"/>
                <a:gd name="T19" fmla="*/ 0 h 38"/>
                <a:gd name="T20" fmla="*/ 87 w 87"/>
                <a:gd name="T21" fmla="*/ 18 h 38"/>
                <a:gd name="T22" fmla="*/ 87 w 87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38">
                  <a:moveTo>
                    <a:pt x="18" y="31"/>
                  </a:moveTo>
                  <a:lnTo>
                    <a:pt x="80" y="31"/>
                  </a:lnTo>
                  <a:lnTo>
                    <a:pt x="80" y="20"/>
                  </a:lnTo>
                  <a:lnTo>
                    <a:pt x="67" y="10"/>
                  </a:lnTo>
                  <a:lnTo>
                    <a:pt x="39" y="10"/>
                  </a:lnTo>
                  <a:lnTo>
                    <a:pt x="18" y="31"/>
                  </a:lnTo>
                  <a:close/>
                  <a:moveTo>
                    <a:pt x="87" y="38"/>
                  </a:moveTo>
                  <a:lnTo>
                    <a:pt x="0" y="38"/>
                  </a:lnTo>
                  <a:lnTo>
                    <a:pt x="34" y="0"/>
                  </a:lnTo>
                  <a:lnTo>
                    <a:pt x="72" y="0"/>
                  </a:lnTo>
                  <a:lnTo>
                    <a:pt x="87" y="18"/>
                  </a:lnTo>
                  <a:lnTo>
                    <a:pt x="87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Freeform 400">
              <a:extLst>
                <a:ext uri="{FF2B5EF4-FFF2-40B4-BE49-F238E27FC236}">
                  <a16:creationId xmlns:a16="http://schemas.microsoft.com/office/drawing/2014/main" id="{E5EB433F-0A0E-4614-B3F3-245CB0F0E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7" y="2822"/>
              <a:ext cx="97" cy="126"/>
            </a:xfrm>
            <a:custGeom>
              <a:avLst/>
              <a:gdLst>
                <a:gd name="T0" fmla="*/ 8 w 97"/>
                <a:gd name="T1" fmla="*/ 118 h 126"/>
                <a:gd name="T2" fmla="*/ 87 w 97"/>
                <a:gd name="T3" fmla="*/ 118 h 126"/>
                <a:gd name="T4" fmla="*/ 87 w 97"/>
                <a:gd name="T5" fmla="*/ 13 h 126"/>
                <a:gd name="T6" fmla="*/ 84 w 97"/>
                <a:gd name="T7" fmla="*/ 8 h 126"/>
                <a:gd name="T8" fmla="*/ 8 w 97"/>
                <a:gd name="T9" fmla="*/ 8 h 126"/>
                <a:gd name="T10" fmla="*/ 8 w 97"/>
                <a:gd name="T11" fmla="*/ 118 h 126"/>
                <a:gd name="T12" fmla="*/ 97 w 97"/>
                <a:gd name="T13" fmla="*/ 126 h 126"/>
                <a:gd name="T14" fmla="*/ 0 w 97"/>
                <a:gd name="T15" fmla="*/ 126 h 126"/>
                <a:gd name="T16" fmla="*/ 0 w 97"/>
                <a:gd name="T17" fmla="*/ 0 h 126"/>
                <a:gd name="T18" fmla="*/ 89 w 97"/>
                <a:gd name="T19" fmla="*/ 0 h 126"/>
                <a:gd name="T20" fmla="*/ 97 w 97"/>
                <a:gd name="T21" fmla="*/ 8 h 126"/>
                <a:gd name="T22" fmla="*/ 97 w 97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26">
                  <a:moveTo>
                    <a:pt x="8" y="118"/>
                  </a:moveTo>
                  <a:lnTo>
                    <a:pt x="87" y="118"/>
                  </a:lnTo>
                  <a:lnTo>
                    <a:pt x="87" y="13"/>
                  </a:lnTo>
                  <a:lnTo>
                    <a:pt x="84" y="8"/>
                  </a:lnTo>
                  <a:lnTo>
                    <a:pt x="8" y="8"/>
                  </a:lnTo>
                  <a:lnTo>
                    <a:pt x="8" y="118"/>
                  </a:lnTo>
                  <a:close/>
                  <a:moveTo>
                    <a:pt x="97" y="126"/>
                  </a:moveTo>
                  <a:lnTo>
                    <a:pt x="0" y="126"/>
                  </a:lnTo>
                  <a:lnTo>
                    <a:pt x="0" y="0"/>
                  </a:lnTo>
                  <a:lnTo>
                    <a:pt x="89" y="0"/>
                  </a:lnTo>
                  <a:lnTo>
                    <a:pt x="97" y="8"/>
                  </a:lnTo>
                  <a:lnTo>
                    <a:pt x="97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401">
              <a:extLst>
                <a:ext uri="{FF2B5EF4-FFF2-40B4-BE49-F238E27FC236}">
                  <a16:creationId xmlns:a16="http://schemas.microsoft.com/office/drawing/2014/main" id="{109598DE-B4ED-43A3-921C-604D244D9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7" y="2958"/>
              <a:ext cx="97" cy="54"/>
            </a:xfrm>
            <a:custGeom>
              <a:avLst/>
              <a:gdLst>
                <a:gd name="T0" fmla="*/ 25 w 97"/>
                <a:gd name="T1" fmla="*/ 46 h 54"/>
                <a:gd name="T2" fmla="*/ 87 w 97"/>
                <a:gd name="T3" fmla="*/ 46 h 54"/>
                <a:gd name="T4" fmla="*/ 87 w 97"/>
                <a:gd name="T5" fmla="*/ 8 h 54"/>
                <a:gd name="T6" fmla="*/ 8 w 97"/>
                <a:gd name="T7" fmla="*/ 8 h 54"/>
                <a:gd name="T8" fmla="*/ 8 w 97"/>
                <a:gd name="T9" fmla="*/ 28 h 54"/>
                <a:gd name="T10" fmla="*/ 25 w 97"/>
                <a:gd name="T11" fmla="*/ 46 h 54"/>
                <a:gd name="T12" fmla="*/ 97 w 97"/>
                <a:gd name="T13" fmla="*/ 54 h 54"/>
                <a:gd name="T14" fmla="*/ 23 w 97"/>
                <a:gd name="T15" fmla="*/ 54 h 54"/>
                <a:gd name="T16" fmla="*/ 0 w 97"/>
                <a:gd name="T17" fmla="*/ 33 h 54"/>
                <a:gd name="T18" fmla="*/ 0 w 97"/>
                <a:gd name="T19" fmla="*/ 0 h 54"/>
                <a:gd name="T20" fmla="*/ 97 w 97"/>
                <a:gd name="T21" fmla="*/ 0 h 54"/>
                <a:gd name="T22" fmla="*/ 97 w 97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54">
                  <a:moveTo>
                    <a:pt x="25" y="46"/>
                  </a:moveTo>
                  <a:lnTo>
                    <a:pt x="87" y="46"/>
                  </a:lnTo>
                  <a:lnTo>
                    <a:pt x="87" y="8"/>
                  </a:lnTo>
                  <a:lnTo>
                    <a:pt x="8" y="8"/>
                  </a:lnTo>
                  <a:lnTo>
                    <a:pt x="8" y="28"/>
                  </a:lnTo>
                  <a:lnTo>
                    <a:pt x="25" y="46"/>
                  </a:lnTo>
                  <a:close/>
                  <a:moveTo>
                    <a:pt x="97" y="54"/>
                  </a:moveTo>
                  <a:lnTo>
                    <a:pt x="23" y="54"/>
                  </a:lnTo>
                  <a:lnTo>
                    <a:pt x="0" y="33"/>
                  </a:lnTo>
                  <a:lnTo>
                    <a:pt x="0" y="0"/>
                  </a:lnTo>
                  <a:lnTo>
                    <a:pt x="97" y="0"/>
                  </a:lnTo>
                  <a:lnTo>
                    <a:pt x="97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Rectangle 402">
              <a:extLst>
                <a:ext uri="{FF2B5EF4-FFF2-40B4-BE49-F238E27FC236}">
                  <a16:creationId xmlns:a16="http://schemas.microsoft.com/office/drawing/2014/main" id="{94FE697D-F390-4257-A001-4FD3A7FEA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8" y="2853"/>
              <a:ext cx="38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403">
              <a:extLst>
                <a:ext uri="{FF2B5EF4-FFF2-40B4-BE49-F238E27FC236}">
                  <a16:creationId xmlns:a16="http://schemas.microsoft.com/office/drawing/2014/main" id="{EFDB39E4-7259-40EA-94E4-7453409759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4" y="2822"/>
              <a:ext cx="97" cy="126"/>
            </a:xfrm>
            <a:custGeom>
              <a:avLst/>
              <a:gdLst>
                <a:gd name="T0" fmla="*/ 10 w 97"/>
                <a:gd name="T1" fmla="*/ 118 h 126"/>
                <a:gd name="T2" fmla="*/ 90 w 97"/>
                <a:gd name="T3" fmla="*/ 118 h 126"/>
                <a:gd name="T4" fmla="*/ 90 w 97"/>
                <a:gd name="T5" fmla="*/ 8 h 126"/>
                <a:gd name="T6" fmla="*/ 13 w 97"/>
                <a:gd name="T7" fmla="*/ 8 h 126"/>
                <a:gd name="T8" fmla="*/ 10 w 97"/>
                <a:gd name="T9" fmla="*/ 13 h 126"/>
                <a:gd name="T10" fmla="*/ 10 w 97"/>
                <a:gd name="T11" fmla="*/ 118 h 126"/>
                <a:gd name="T12" fmla="*/ 97 w 97"/>
                <a:gd name="T13" fmla="*/ 126 h 126"/>
                <a:gd name="T14" fmla="*/ 0 w 97"/>
                <a:gd name="T15" fmla="*/ 126 h 126"/>
                <a:gd name="T16" fmla="*/ 0 w 97"/>
                <a:gd name="T17" fmla="*/ 8 h 126"/>
                <a:gd name="T18" fmla="*/ 8 w 97"/>
                <a:gd name="T19" fmla="*/ 0 h 126"/>
                <a:gd name="T20" fmla="*/ 97 w 97"/>
                <a:gd name="T21" fmla="*/ 0 h 126"/>
                <a:gd name="T22" fmla="*/ 97 w 97"/>
                <a:gd name="T2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26">
                  <a:moveTo>
                    <a:pt x="10" y="118"/>
                  </a:moveTo>
                  <a:lnTo>
                    <a:pt x="90" y="118"/>
                  </a:lnTo>
                  <a:lnTo>
                    <a:pt x="90" y="8"/>
                  </a:lnTo>
                  <a:lnTo>
                    <a:pt x="13" y="8"/>
                  </a:lnTo>
                  <a:lnTo>
                    <a:pt x="10" y="13"/>
                  </a:lnTo>
                  <a:lnTo>
                    <a:pt x="10" y="118"/>
                  </a:lnTo>
                  <a:close/>
                  <a:moveTo>
                    <a:pt x="97" y="126"/>
                  </a:moveTo>
                  <a:lnTo>
                    <a:pt x="0" y="126"/>
                  </a:lnTo>
                  <a:lnTo>
                    <a:pt x="0" y="8"/>
                  </a:lnTo>
                  <a:lnTo>
                    <a:pt x="8" y="0"/>
                  </a:lnTo>
                  <a:lnTo>
                    <a:pt x="97" y="0"/>
                  </a:lnTo>
                  <a:lnTo>
                    <a:pt x="97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Freeform 404">
              <a:extLst>
                <a:ext uri="{FF2B5EF4-FFF2-40B4-BE49-F238E27FC236}">
                  <a16:creationId xmlns:a16="http://schemas.microsoft.com/office/drawing/2014/main" id="{E1D4F84C-BB50-4616-929E-876A029C13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4" y="2958"/>
              <a:ext cx="97" cy="54"/>
            </a:xfrm>
            <a:custGeom>
              <a:avLst/>
              <a:gdLst>
                <a:gd name="T0" fmla="*/ 10 w 97"/>
                <a:gd name="T1" fmla="*/ 46 h 54"/>
                <a:gd name="T2" fmla="*/ 72 w 97"/>
                <a:gd name="T3" fmla="*/ 46 h 54"/>
                <a:gd name="T4" fmla="*/ 90 w 97"/>
                <a:gd name="T5" fmla="*/ 28 h 54"/>
                <a:gd name="T6" fmla="*/ 90 w 97"/>
                <a:gd name="T7" fmla="*/ 8 h 54"/>
                <a:gd name="T8" fmla="*/ 10 w 97"/>
                <a:gd name="T9" fmla="*/ 8 h 54"/>
                <a:gd name="T10" fmla="*/ 10 w 97"/>
                <a:gd name="T11" fmla="*/ 46 h 54"/>
                <a:gd name="T12" fmla="*/ 74 w 97"/>
                <a:gd name="T13" fmla="*/ 54 h 54"/>
                <a:gd name="T14" fmla="*/ 0 w 97"/>
                <a:gd name="T15" fmla="*/ 54 h 54"/>
                <a:gd name="T16" fmla="*/ 0 w 97"/>
                <a:gd name="T17" fmla="*/ 0 h 54"/>
                <a:gd name="T18" fmla="*/ 97 w 97"/>
                <a:gd name="T19" fmla="*/ 0 h 54"/>
                <a:gd name="T20" fmla="*/ 97 w 97"/>
                <a:gd name="T21" fmla="*/ 33 h 54"/>
                <a:gd name="T22" fmla="*/ 74 w 97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54">
                  <a:moveTo>
                    <a:pt x="10" y="46"/>
                  </a:moveTo>
                  <a:lnTo>
                    <a:pt x="72" y="46"/>
                  </a:lnTo>
                  <a:lnTo>
                    <a:pt x="90" y="28"/>
                  </a:lnTo>
                  <a:lnTo>
                    <a:pt x="90" y="8"/>
                  </a:lnTo>
                  <a:lnTo>
                    <a:pt x="10" y="8"/>
                  </a:lnTo>
                  <a:lnTo>
                    <a:pt x="10" y="46"/>
                  </a:lnTo>
                  <a:close/>
                  <a:moveTo>
                    <a:pt x="74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97" y="0"/>
                  </a:lnTo>
                  <a:lnTo>
                    <a:pt x="97" y="33"/>
                  </a:lnTo>
                  <a:lnTo>
                    <a:pt x="7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405">
              <a:extLst>
                <a:ext uri="{FF2B5EF4-FFF2-40B4-BE49-F238E27FC236}">
                  <a16:creationId xmlns:a16="http://schemas.microsoft.com/office/drawing/2014/main" id="{1D6C20D2-0A01-4BAD-B298-34B06C632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2" y="2853"/>
              <a:ext cx="39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1" name="Group 408">
            <a:extLst>
              <a:ext uri="{FF2B5EF4-FFF2-40B4-BE49-F238E27FC236}">
                <a16:creationId xmlns:a16="http://schemas.microsoft.com/office/drawing/2014/main" id="{C60ED358-2072-41EC-BA8C-FB320178C2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96250" y="4119563"/>
            <a:ext cx="758825" cy="758825"/>
            <a:chOff x="5100" y="2595"/>
            <a:chExt cx="478" cy="478"/>
          </a:xfrm>
        </p:grpSpPr>
        <p:sp>
          <p:nvSpPr>
            <p:cNvPr id="442" name="AutoShape 407">
              <a:extLst>
                <a:ext uri="{FF2B5EF4-FFF2-40B4-BE49-F238E27FC236}">
                  <a16:creationId xmlns:a16="http://schemas.microsoft.com/office/drawing/2014/main" id="{2DBC2CC2-09D0-4477-A6FE-6D5A08F6F6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00" y="25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Freeform 409">
              <a:extLst>
                <a:ext uri="{FF2B5EF4-FFF2-40B4-BE49-F238E27FC236}">
                  <a16:creationId xmlns:a16="http://schemas.microsoft.com/office/drawing/2014/main" id="{6E8F964A-5122-4842-84FA-6083E2077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2" y="25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410">
              <a:extLst>
                <a:ext uri="{FF2B5EF4-FFF2-40B4-BE49-F238E27FC236}">
                  <a16:creationId xmlns:a16="http://schemas.microsoft.com/office/drawing/2014/main" id="{0FF21BFC-1844-4F5B-B345-AB91101EDA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" y="2664"/>
              <a:ext cx="126" cy="142"/>
            </a:xfrm>
            <a:custGeom>
              <a:avLst/>
              <a:gdLst>
                <a:gd name="T0" fmla="*/ 26 w 51"/>
                <a:gd name="T1" fmla="*/ 55 h 58"/>
                <a:gd name="T2" fmla="*/ 26 w 51"/>
                <a:gd name="T3" fmla="*/ 55 h 58"/>
                <a:gd name="T4" fmla="*/ 41 w 51"/>
                <a:gd name="T5" fmla="*/ 40 h 58"/>
                <a:gd name="T6" fmla="*/ 41 w 51"/>
                <a:gd name="T7" fmla="*/ 36 h 58"/>
                <a:gd name="T8" fmla="*/ 44 w 51"/>
                <a:gd name="T9" fmla="*/ 39 h 58"/>
                <a:gd name="T10" fmla="*/ 46 w 51"/>
                <a:gd name="T11" fmla="*/ 35 h 58"/>
                <a:gd name="T12" fmla="*/ 47 w 51"/>
                <a:gd name="T13" fmla="*/ 28 h 58"/>
                <a:gd name="T14" fmla="*/ 46 w 51"/>
                <a:gd name="T15" fmla="*/ 28 h 58"/>
                <a:gd name="T16" fmla="*/ 44 w 51"/>
                <a:gd name="T17" fmla="*/ 28 h 58"/>
                <a:gd name="T18" fmla="*/ 44 w 51"/>
                <a:gd name="T19" fmla="*/ 26 h 58"/>
                <a:gd name="T20" fmla="*/ 41 w 51"/>
                <a:gd name="T21" fmla="*/ 9 h 58"/>
                <a:gd name="T22" fmla="*/ 26 w 51"/>
                <a:gd name="T23" fmla="*/ 3 h 58"/>
                <a:gd name="T24" fmla="*/ 26 w 51"/>
                <a:gd name="T25" fmla="*/ 3 h 58"/>
                <a:gd name="T26" fmla="*/ 11 w 51"/>
                <a:gd name="T27" fmla="*/ 9 h 58"/>
                <a:gd name="T28" fmla="*/ 7 w 51"/>
                <a:gd name="T29" fmla="*/ 26 h 58"/>
                <a:gd name="T30" fmla="*/ 8 w 51"/>
                <a:gd name="T31" fmla="*/ 28 h 58"/>
                <a:gd name="T32" fmla="*/ 5 w 51"/>
                <a:gd name="T33" fmla="*/ 28 h 58"/>
                <a:gd name="T34" fmla="*/ 4 w 51"/>
                <a:gd name="T35" fmla="*/ 28 h 58"/>
                <a:gd name="T36" fmla="*/ 6 w 51"/>
                <a:gd name="T37" fmla="*/ 35 h 58"/>
                <a:gd name="T38" fmla="*/ 8 w 51"/>
                <a:gd name="T39" fmla="*/ 39 h 58"/>
                <a:gd name="T40" fmla="*/ 10 w 51"/>
                <a:gd name="T41" fmla="*/ 36 h 58"/>
                <a:gd name="T42" fmla="*/ 11 w 51"/>
                <a:gd name="T43" fmla="*/ 40 h 58"/>
                <a:gd name="T44" fmla="*/ 26 w 51"/>
                <a:gd name="T45" fmla="*/ 55 h 58"/>
                <a:gd name="T46" fmla="*/ 26 w 51"/>
                <a:gd name="T47" fmla="*/ 58 h 58"/>
                <a:gd name="T48" fmla="*/ 25 w 51"/>
                <a:gd name="T49" fmla="*/ 58 h 58"/>
                <a:gd name="T50" fmla="*/ 8 w 51"/>
                <a:gd name="T51" fmla="*/ 42 h 58"/>
                <a:gd name="T52" fmla="*/ 7 w 51"/>
                <a:gd name="T53" fmla="*/ 42 h 58"/>
                <a:gd name="T54" fmla="*/ 3 w 51"/>
                <a:gd name="T55" fmla="*/ 37 h 58"/>
                <a:gd name="T56" fmla="*/ 2 w 51"/>
                <a:gd name="T57" fmla="*/ 26 h 58"/>
                <a:gd name="T58" fmla="*/ 4 w 51"/>
                <a:gd name="T59" fmla="*/ 25 h 58"/>
                <a:gd name="T60" fmla="*/ 8 w 51"/>
                <a:gd name="T61" fmla="*/ 6 h 58"/>
                <a:gd name="T62" fmla="*/ 26 w 51"/>
                <a:gd name="T63" fmla="*/ 0 h 58"/>
                <a:gd name="T64" fmla="*/ 26 w 51"/>
                <a:gd name="T65" fmla="*/ 0 h 58"/>
                <a:gd name="T66" fmla="*/ 43 w 51"/>
                <a:gd name="T67" fmla="*/ 6 h 58"/>
                <a:gd name="T68" fmla="*/ 48 w 51"/>
                <a:gd name="T69" fmla="*/ 25 h 58"/>
                <a:gd name="T70" fmla="*/ 50 w 51"/>
                <a:gd name="T71" fmla="*/ 26 h 58"/>
                <a:gd name="T72" fmla="*/ 49 w 51"/>
                <a:gd name="T73" fmla="*/ 37 h 58"/>
                <a:gd name="T74" fmla="*/ 44 w 51"/>
                <a:gd name="T75" fmla="*/ 42 h 58"/>
                <a:gd name="T76" fmla="*/ 44 w 51"/>
                <a:gd name="T77" fmla="*/ 42 h 58"/>
                <a:gd name="T78" fmla="*/ 26 w 51"/>
                <a:gd name="T7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" h="58">
                  <a:moveTo>
                    <a:pt x="26" y="55"/>
                  </a:moveTo>
                  <a:cubicBezTo>
                    <a:pt x="26" y="55"/>
                    <a:pt x="26" y="55"/>
                    <a:pt x="26" y="55"/>
                  </a:cubicBezTo>
                  <a:cubicBezTo>
                    <a:pt x="27" y="55"/>
                    <a:pt x="39" y="51"/>
                    <a:pt x="41" y="40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5" y="38"/>
                    <a:pt x="46" y="35"/>
                  </a:cubicBezTo>
                  <a:cubicBezTo>
                    <a:pt x="48" y="29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6" y="15"/>
                    <a:pt x="41" y="9"/>
                  </a:cubicBezTo>
                  <a:cubicBezTo>
                    <a:pt x="37" y="5"/>
                    <a:pt x="33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9" y="3"/>
                    <a:pt x="14" y="5"/>
                    <a:pt x="11" y="9"/>
                  </a:cubicBezTo>
                  <a:cubicBezTo>
                    <a:pt x="5" y="15"/>
                    <a:pt x="7" y="26"/>
                    <a:pt x="7" y="26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4" y="28"/>
                  </a:cubicBezTo>
                  <a:cubicBezTo>
                    <a:pt x="4" y="28"/>
                    <a:pt x="4" y="29"/>
                    <a:pt x="6" y="35"/>
                  </a:cubicBezTo>
                  <a:cubicBezTo>
                    <a:pt x="7" y="38"/>
                    <a:pt x="8" y="39"/>
                    <a:pt x="8" y="39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3" y="51"/>
                    <a:pt x="24" y="55"/>
                    <a:pt x="26" y="55"/>
                  </a:cubicBezTo>
                  <a:moveTo>
                    <a:pt x="26" y="58"/>
                  </a:moveTo>
                  <a:cubicBezTo>
                    <a:pt x="25" y="58"/>
                    <a:pt x="25" y="58"/>
                    <a:pt x="25" y="58"/>
                  </a:cubicBezTo>
                  <a:cubicBezTo>
                    <a:pt x="25" y="58"/>
                    <a:pt x="11" y="55"/>
                    <a:pt x="8" y="42"/>
                  </a:cubicBezTo>
                  <a:cubicBezTo>
                    <a:pt x="8" y="42"/>
                    <a:pt x="8" y="42"/>
                    <a:pt x="7" y="42"/>
                  </a:cubicBezTo>
                  <a:cubicBezTo>
                    <a:pt x="5" y="42"/>
                    <a:pt x="4" y="40"/>
                    <a:pt x="3" y="37"/>
                  </a:cubicBezTo>
                  <a:cubicBezTo>
                    <a:pt x="1" y="31"/>
                    <a:pt x="0" y="28"/>
                    <a:pt x="2" y="26"/>
                  </a:cubicBezTo>
                  <a:cubicBezTo>
                    <a:pt x="2" y="25"/>
                    <a:pt x="3" y="25"/>
                    <a:pt x="4" y="25"/>
                  </a:cubicBezTo>
                  <a:cubicBezTo>
                    <a:pt x="3" y="21"/>
                    <a:pt x="3" y="13"/>
                    <a:pt x="8" y="6"/>
                  </a:cubicBezTo>
                  <a:cubicBezTo>
                    <a:pt x="12" y="2"/>
                    <a:pt x="18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4" y="0"/>
                    <a:pt x="39" y="2"/>
                    <a:pt x="43" y="6"/>
                  </a:cubicBezTo>
                  <a:cubicBezTo>
                    <a:pt x="48" y="13"/>
                    <a:pt x="48" y="21"/>
                    <a:pt x="48" y="25"/>
                  </a:cubicBezTo>
                  <a:cubicBezTo>
                    <a:pt x="49" y="25"/>
                    <a:pt x="49" y="25"/>
                    <a:pt x="50" y="26"/>
                  </a:cubicBezTo>
                  <a:cubicBezTo>
                    <a:pt x="51" y="28"/>
                    <a:pt x="51" y="31"/>
                    <a:pt x="49" y="37"/>
                  </a:cubicBezTo>
                  <a:cubicBezTo>
                    <a:pt x="48" y="40"/>
                    <a:pt x="46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1" y="55"/>
                    <a:pt x="27" y="58"/>
                    <a:pt x="26" y="5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411">
              <a:extLst>
                <a:ext uri="{FF2B5EF4-FFF2-40B4-BE49-F238E27FC236}">
                  <a16:creationId xmlns:a16="http://schemas.microsoft.com/office/drawing/2014/main" id="{53ECCB19-9BCA-4A24-A4E4-5389F2ED8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9" y="2794"/>
              <a:ext cx="95" cy="144"/>
            </a:xfrm>
            <a:custGeom>
              <a:avLst/>
              <a:gdLst>
                <a:gd name="T0" fmla="*/ 36 w 39"/>
                <a:gd name="T1" fmla="*/ 9 h 59"/>
                <a:gd name="T2" fmla="*/ 4 w 39"/>
                <a:gd name="T3" fmla="*/ 47 h 59"/>
                <a:gd name="T4" fmla="*/ 3 w 39"/>
                <a:gd name="T5" fmla="*/ 51 h 59"/>
                <a:gd name="T6" fmla="*/ 5 w 39"/>
                <a:gd name="T7" fmla="*/ 55 h 59"/>
                <a:gd name="T8" fmla="*/ 9 w 39"/>
                <a:gd name="T9" fmla="*/ 56 h 59"/>
                <a:gd name="T10" fmla="*/ 13 w 39"/>
                <a:gd name="T11" fmla="*/ 54 h 59"/>
                <a:gd name="T12" fmla="*/ 36 w 39"/>
                <a:gd name="T13" fmla="*/ 27 h 59"/>
                <a:gd name="T14" fmla="*/ 36 w 39"/>
                <a:gd name="T15" fmla="*/ 9 h 59"/>
                <a:gd name="T16" fmla="*/ 9 w 39"/>
                <a:gd name="T17" fmla="*/ 59 h 59"/>
                <a:gd name="T18" fmla="*/ 3 w 39"/>
                <a:gd name="T19" fmla="*/ 57 h 59"/>
                <a:gd name="T20" fmla="*/ 0 w 39"/>
                <a:gd name="T21" fmla="*/ 51 h 59"/>
                <a:gd name="T22" fmla="*/ 2 w 39"/>
                <a:gd name="T23" fmla="*/ 44 h 59"/>
                <a:gd name="T24" fmla="*/ 39 w 39"/>
                <a:gd name="T25" fmla="*/ 0 h 59"/>
                <a:gd name="T26" fmla="*/ 39 w 39"/>
                <a:gd name="T27" fmla="*/ 28 h 59"/>
                <a:gd name="T28" fmla="*/ 16 w 39"/>
                <a:gd name="T29" fmla="*/ 56 h 59"/>
                <a:gd name="T30" fmla="*/ 9 w 39"/>
                <a:gd name="T3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59">
                  <a:moveTo>
                    <a:pt x="36" y="9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48"/>
                    <a:pt x="3" y="49"/>
                    <a:pt x="3" y="51"/>
                  </a:cubicBezTo>
                  <a:cubicBezTo>
                    <a:pt x="3" y="52"/>
                    <a:pt x="4" y="54"/>
                    <a:pt x="5" y="55"/>
                  </a:cubicBezTo>
                  <a:cubicBezTo>
                    <a:pt x="6" y="56"/>
                    <a:pt x="8" y="56"/>
                    <a:pt x="9" y="56"/>
                  </a:cubicBezTo>
                  <a:cubicBezTo>
                    <a:pt x="11" y="56"/>
                    <a:pt x="12" y="55"/>
                    <a:pt x="13" y="54"/>
                  </a:cubicBezTo>
                  <a:cubicBezTo>
                    <a:pt x="36" y="27"/>
                    <a:pt x="36" y="27"/>
                    <a:pt x="36" y="27"/>
                  </a:cubicBezTo>
                  <a:lnTo>
                    <a:pt x="36" y="9"/>
                  </a:lnTo>
                  <a:close/>
                  <a:moveTo>
                    <a:pt x="9" y="59"/>
                  </a:moveTo>
                  <a:cubicBezTo>
                    <a:pt x="7" y="59"/>
                    <a:pt x="5" y="59"/>
                    <a:pt x="3" y="57"/>
                  </a:cubicBezTo>
                  <a:cubicBezTo>
                    <a:pt x="1" y="56"/>
                    <a:pt x="0" y="54"/>
                    <a:pt x="0" y="51"/>
                  </a:cubicBezTo>
                  <a:cubicBezTo>
                    <a:pt x="0" y="49"/>
                    <a:pt x="0" y="46"/>
                    <a:pt x="2" y="44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4" y="58"/>
                    <a:pt x="11" y="59"/>
                    <a:pt x="9" y="5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Freeform 412">
              <a:extLst>
                <a:ext uri="{FF2B5EF4-FFF2-40B4-BE49-F238E27FC236}">
                  <a16:creationId xmlns:a16="http://schemas.microsoft.com/office/drawing/2014/main" id="{D4EDCD05-A12D-4717-BB68-9EC56879CF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2781"/>
              <a:ext cx="83" cy="37"/>
            </a:xfrm>
            <a:custGeom>
              <a:avLst/>
              <a:gdLst>
                <a:gd name="T0" fmla="*/ 7 w 83"/>
                <a:gd name="T1" fmla="*/ 30 h 37"/>
                <a:gd name="T2" fmla="*/ 66 w 83"/>
                <a:gd name="T3" fmla="*/ 30 h 37"/>
                <a:gd name="T4" fmla="*/ 47 w 83"/>
                <a:gd name="T5" fmla="*/ 10 h 37"/>
                <a:gd name="T6" fmla="*/ 20 w 83"/>
                <a:gd name="T7" fmla="*/ 10 h 37"/>
                <a:gd name="T8" fmla="*/ 7 w 83"/>
                <a:gd name="T9" fmla="*/ 20 h 37"/>
                <a:gd name="T10" fmla="*/ 7 w 83"/>
                <a:gd name="T11" fmla="*/ 30 h 37"/>
                <a:gd name="T12" fmla="*/ 83 w 83"/>
                <a:gd name="T13" fmla="*/ 37 h 37"/>
                <a:gd name="T14" fmla="*/ 0 w 83"/>
                <a:gd name="T15" fmla="*/ 37 h 37"/>
                <a:gd name="T16" fmla="*/ 0 w 83"/>
                <a:gd name="T17" fmla="*/ 17 h 37"/>
                <a:gd name="T18" fmla="*/ 15 w 83"/>
                <a:gd name="T19" fmla="*/ 0 h 37"/>
                <a:gd name="T20" fmla="*/ 52 w 83"/>
                <a:gd name="T21" fmla="*/ 0 h 37"/>
                <a:gd name="T22" fmla="*/ 83 w 83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7">
                  <a:moveTo>
                    <a:pt x="7" y="30"/>
                  </a:moveTo>
                  <a:lnTo>
                    <a:pt x="66" y="30"/>
                  </a:lnTo>
                  <a:lnTo>
                    <a:pt x="47" y="10"/>
                  </a:lnTo>
                  <a:lnTo>
                    <a:pt x="20" y="10"/>
                  </a:lnTo>
                  <a:lnTo>
                    <a:pt x="7" y="20"/>
                  </a:lnTo>
                  <a:lnTo>
                    <a:pt x="7" y="30"/>
                  </a:lnTo>
                  <a:close/>
                  <a:moveTo>
                    <a:pt x="83" y="37"/>
                  </a:moveTo>
                  <a:lnTo>
                    <a:pt x="0" y="37"/>
                  </a:lnTo>
                  <a:lnTo>
                    <a:pt x="0" y="17"/>
                  </a:lnTo>
                  <a:lnTo>
                    <a:pt x="15" y="0"/>
                  </a:lnTo>
                  <a:lnTo>
                    <a:pt x="52" y="0"/>
                  </a:lnTo>
                  <a:lnTo>
                    <a:pt x="83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Freeform 413">
              <a:extLst>
                <a:ext uri="{FF2B5EF4-FFF2-40B4-BE49-F238E27FC236}">
                  <a16:creationId xmlns:a16="http://schemas.microsoft.com/office/drawing/2014/main" id="{685496B4-EDA3-4678-8080-00B9E94D0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" y="2794"/>
              <a:ext cx="98" cy="144"/>
            </a:xfrm>
            <a:custGeom>
              <a:avLst/>
              <a:gdLst>
                <a:gd name="T0" fmla="*/ 3 w 40"/>
                <a:gd name="T1" fmla="*/ 27 h 59"/>
                <a:gd name="T2" fmla="*/ 26 w 40"/>
                <a:gd name="T3" fmla="*/ 54 h 59"/>
                <a:gd name="T4" fmla="*/ 34 w 40"/>
                <a:gd name="T5" fmla="*/ 55 h 59"/>
                <a:gd name="T6" fmla="*/ 35 w 40"/>
                <a:gd name="T7" fmla="*/ 47 h 59"/>
                <a:gd name="T8" fmla="*/ 3 w 40"/>
                <a:gd name="T9" fmla="*/ 9 h 59"/>
                <a:gd name="T10" fmla="*/ 3 w 40"/>
                <a:gd name="T11" fmla="*/ 27 h 59"/>
                <a:gd name="T12" fmla="*/ 30 w 40"/>
                <a:gd name="T13" fmla="*/ 59 h 59"/>
                <a:gd name="T14" fmla="*/ 23 w 40"/>
                <a:gd name="T15" fmla="*/ 56 h 59"/>
                <a:gd name="T16" fmla="*/ 0 w 40"/>
                <a:gd name="T17" fmla="*/ 28 h 59"/>
                <a:gd name="T18" fmla="*/ 0 w 40"/>
                <a:gd name="T19" fmla="*/ 0 h 59"/>
                <a:gd name="T20" fmla="*/ 37 w 40"/>
                <a:gd name="T21" fmla="*/ 44 h 59"/>
                <a:gd name="T22" fmla="*/ 36 w 40"/>
                <a:gd name="T23" fmla="*/ 57 h 59"/>
                <a:gd name="T24" fmla="*/ 30 w 40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59">
                  <a:moveTo>
                    <a:pt x="3" y="27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8" y="56"/>
                    <a:pt x="31" y="57"/>
                    <a:pt x="34" y="55"/>
                  </a:cubicBezTo>
                  <a:cubicBezTo>
                    <a:pt x="36" y="53"/>
                    <a:pt x="37" y="49"/>
                    <a:pt x="35" y="47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3" y="27"/>
                  </a:lnTo>
                  <a:close/>
                  <a:moveTo>
                    <a:pt x="30" y="59"/>
                  </a:moveTo>
                  <a:cubicBezTo>
                    <a:pt x="28" y="59"/>
                    <a:pt x="25" y="58"/>
                    <a:pt x="23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40" y="48"/>
                    <a:pt x="40" y="54"/>
                    <a:pt x="36" y="57"/>
                  </a:cubicBezTo>
                  <a:cubicBezTo>
                    <a:pt x="34" y="59"/>
                    <a:pt x="32" y="59"/>
                    <a:pt x="30" y="5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414">
              <a:extLst>
                <a:ext uri="{FF2B5EF4-FFF2-40B4-BE49-F238E27FC236}">
                  <a16:creationId xmlns:a16="http://schemas.microsoft.com/office/drawing/2014/main" id="{4958DC82-6C31-4A37-84C3-95DF0D21A4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0" y="2781"/>
              <a:ext cx="83" cy="37"/>
            </a:xfrm>
            <a:custGeom>
              <a:avLst/>
              <a:gdLst>
                <a:gd name="T0" fmla="*/ 17 w 83"/>
                <a:gd name="T1" fmla="*/ 30 h 37"/>
                <a:gd name="T2" fmla="*/ 76 w 83"/>
                <a:gd name="T3" fmla="*/ 30 h 37"/>
                <a:gd name="T4" fmla="*/ 76 w 83"/>
                <a:gd name="T5" fmla="*/ 20 h 37"/>
                <a:gd name="T6" fmla="*/ 64 w 83"/>
                <a:gd name="T7" fmla="*/ 10 h 37"/>
                <a:gd name="T8" fmla="*/ 37 w 83"/>
                <a:gd name="T9" fmla="*/ 10 h 37"/>
                <a:gd name="T10" fmla="*/ 17 w 83"/>
                <a:gd name="T11" fmla="*/ 30 h 37"/>
                <a:gd name="T12" fmla="*/ 83 w 83"/>
                <a:gd name="T13" fmla="*/ 37 h 37"/>
                <a:gd name="T14" fmla="*/ 0 w 83"/>
                <a:gd name="T15" fmla="*/ 37 h 37"/>
                <a:gd name="T16" fmla="*/ 32 w 83"/>
                <a:gd name="T17" fmla="*/ 0 h 37"/>
                <a:gd name="T18" fmla="*/ 69 w 83"/>
                <a:gd name="T19" fmla="*/ 0 h 37"/>
                <a:gd name="T20" fmla="*/ 83 w 83"/>
                <a:gd name="T21" fmla="*/ 17 h 37"/>
                <a:gd name="T22" fmla="*/ 83 w 83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7">
                  <a:moveTo>
                    <a:pt x="17" y="30"/>
                  </a:moveTo>
                  <a:lnTo>
                    <a:pt x="76" y="30"/>
                  </a:lnTo>
                  <a:lnTo>
                    <a:pt x="76" y="20"/>
                  </a:lnTo>
                  <a:lnTo>
                    <a:pt x="64" y="10"/>
                  </a:lnTo>
                  <a:lnTo>
                    <a:pt x="37" y="10"/>
                  </a:lnTo>
                  <a:lnTo>
                    <a:pt x="17" y="30"/>
                  </a:lnTo>
                  <a:close/>
                  <a:moveTo>
                    <a:pt x="83" y="37"/>
                  </a:moveTo>
                  <a:lnTo>
                    <a:pt x="0" y="37"/>
                  </a:lnTo>
                  <a:lnTo>
                    <a:pt x="32" y="0"/>
                  </a:lnTo>
                  <a:lnTo>
                    <a:pt x="69" y="0"/>
                  </a:lnTo>
                  <a:lnTo>
                    <a:pt x="83" y="17"/>
                  </a:lnTo>
                  <a:lnTo>
                    <a:pt x="83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415">
              <a:extLst>
                <a:ext uri="{FF2B5EF4-FFF2-40B4-BE49-F238E27FC236}">
                  <a16:creationId xmlns:a16="http://schemas.microsoft.com/office/drawing/2014/main" id="{6C6EEECE-ECA6-4C2A-BB92-E03EB687F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2823"/>
              <a:ext cx="93" cy="120"/>
            </a:xfrm>
            <a:custGeom>
              <a:avLst/>
              <a:gdLst>
                <a:gd name="T0" fmla="*/ 7 w 93"/>
                <a:gd name="T1" fmla="*/ 113 h 120"/>
                <a:gd name="T2" fmla="*/ 83 w 93"/>
                <a:gd name="T3" fmla="*/ 113 h 120"/>
                <a:gd name="T4" fmla="*/ 83 w 93"/>
                <a:gd name="T5" fmla="*/ 12 h 120"/>
                <a:gd name="T6" fmla="*/ 81 w 93"/>
                <a:gd name="T7" fmla="*/ 7 h 120"/>
                <a:gd name="T8" fmla="*/ 7 w 93"/>
                <a:gd name="T9" fmla="*/ 7 h 120"/>
                <a:gd name="T10" fmla="*/ 7 w 93"/>
                <a:gd name="T11" fmla="*/ 113 h 120"/>
                <a:gd name="T12" fmla="*/ 93 w 93"/>
                <a:gd name="T13" fmla="*/ 120 h 120"/>
                <a:gd name="T14" fmla="*/ 0 w 93"/>
                <a:gd name="T15" fmla="*/ 120 h 120"/>
                <a:gd name="T16" fmla="*/ 0 w 93"/>
                <a:gd name="T17" fmla="*/ 0 h 120"/>
                <a:gd name="T18" fmla="*/ 86 w 93"/>
                <a:gd name="T19" fmla="*/ 0 h 120"/>
                <a:gd name="T20" fmla="*/ 93 w 93"/>
                <a:gd name="T21" fmla="*/ 7 h 120"/>
                <a:gd name="T22" fmla="*/ 93 w 93"/>
                <a:gd name="T2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120">
                  <a:moveTo>
                    <a:pt x="7" y="113"/>
                  </a:moveTo>
                  <a:lnTo>
                    <a:pt x="83" y="113"/>
                  </a:lnTo>
                  <a:lnTo>
                    <a:pt x="83" y="12"/>
                  </a:lnTo>
                  <a:lnTo>
                    <a:pt x="81" y="7"/>
                  </a:lnTo>
                  <a:lnTo>
                    <a:pt x="7" y="7"/>
                  </a:lnTo>
                  <a:lnTo>
                    <a:pt x="7" y="113"/>
                  </a:lnTo>
                  <a:close/>
                  <a:moveTo>
                    <a:pt x="93" y="120"/>
                  </a:moveTo>
                  <a:lnTo>
                    <a:pt x="0" y="120"/>
                  </a:lnTo>
                  <a:lnTo>
                    <a:pt x="0" y="0"/>
                  </a:lnTo>
                  <a:lnTo>
                    <a:pt x="86" y="0"/>
                  </a:lnTo>
                  <a:lnTo>
                    <a:pt x="93" y="7"/>
                  </a:lnTo>
                  <a:lnTo>
                    <a:pt x="93" y="1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416">
              <a:extLst>
                <a:ext uri="{FF2B5EF4-FFF2-40B4-BE49-F238E27FC236}">
                  <a16:creationId xmlns:a16="http://schemas.microsoft.com/office/drawing/2014/main" id="{1EEDA523-B8AF-46D7-9CDA-497A33158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2953"/>
              <a:ext cx="93" cy="51"/>
            </a:xfrm>
            <a:custGeom>
              <a:avLst/>
              <a:gdLst>
                <a:gd name="T0" fmla="*/ 25 w 93"/>
                <a:gd name="T1" fmla="*/ 44 h 51"/>
                <a:gd name="T2" fmla="*/ 83 w 93"/>
                <a:gd name="T3" fmla="*/ 44 h 51"/>
                <a:gd name="T4" fmla="*/ 83 w 93"/>
                <a:gd name="T5" fmla="*/ 7 h 51"/>
                <a:gd name="T6" fmla="*/ 7 w 93"/>
                <a:gd name="T7" fmla="*/ 7 h 51"/>
                <a:gd name="T8" fmla="*/ 7 w 93"/>
                <a:gd name="T9" fmla="*/ 27 h 51"/>
                <a:gd name="T10" fmla="*/ 25 w 93"/>
                <a:gd name="T11" fmla="*/ 44 h 51"/>
                <a:gd name="T12" fmla="*/ 93 w 93"/>
                <a:gd name="T13" fmla="*/ 51 h 51"/>
                <a:gd name="T14" fmla="*/ 22 w 93"/>
                <a:gd name="T15" fmla="*/ 51 h 51"/>
                <a:gd name="T16" fmla="*/ 0 w 93"/>
                <a:gd name="T17" fmla="*/ 32 h 51"/>
                <a:gd name="T18" fmla="*/ 0 w 93"/>
                <a:gd name="T19" fmla="*/ 0 h 51"/>
                <a:gd name="T20" fmla="*/ 93 w 93"/>
                <a:gd name="T21" fmla="*/ 0 h 51"/>
                <a:gd name="T22" fmla="*/ 93 w 9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1">
                  <a:moveTo>
                    <a:pt x="25" y="44"/>
                  </a:moveTo>
                  <a:lnTo>
                    <a:pt x="83" y="44"/>
                  </a:lnTo>
                  <a:lnTo>
                    <a:pt x="83" y="7"/>
                  </a:lnTo>
                  <a:lnTo>
                    <a:pt x="7" y="7"/>
                  </a:lnTo>
                  <a:lnTo>
                    <a:pt x="7" y="27"/>
                  </a:lnTo>
                  <a:lnTo>
                    <a:pt x="25" y="44"/>
                  </a:lnTo>
                  <a:close/>
                  <a:moveTo>
                    <a:pt x="93" y="51"/>
                  </a:moveTo>
                  <a:lnTo>
                    <a:pt x="22" y="51"/>
                  </a:lnTo>
                  <a:lnTo>
                    <a:pt x="0" y="32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Rectangle 417">
              <a:extLst>
                <a:ext uri="{FF2B5EF4-FFF2-40B4-BE49-F238E27FC236}">
                  <a16:creationId xmlns:a16="http://schemas.microsoft.com/office/drawing/2014/main" id="{CADBA004-A507-4BA9-B8C7-425849009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6" y="2852"/>
              <a:ext cx="37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418">
              <a:extLst>
                <a:ext uri="{FF2B5EF4-FFF2-40B4-BE49-F238E27FC236}">
                  <a16:creationId xmlns:a16="http://schemas.microsoft.com/office/drawing/2014/main" id="{84601147-EB1E-4AA8-9A77-0073F1E10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0" y="2823"/>
              <a:ext cx="93" cy="120"/>
            </a:xfrm>
            <a:custGeom>
              <a:avLst/>
              <a:gdLst>
                <a:gd name="T0" fmla="*/ 10 w 93"/>
                <a:gd name="T1" fmla="*/ 113 h 120"/>
                <a:gd name="T2" fmla="*/ 86 w 93"/>
                <a:gd name="T3" fmla="*/ 113 h 120"/>
                <a:gd name="T4" fmla="*/ 86 w 93"/>
                <a:gd name="T5" fmla="*/ 7 h 120"/>
                <a:gd name="T6" fmla="*/ 12 w 93"/>
                <a:gd name="T7" fmla="*/ 7 h 120"/>
                <a:gd name="T8" fmla="*/ 10 w 93"/>
                <a:gd name="T9" fmla="*/ 12 h 120"/>
                <a:gd name="T10" fmla="*/ 10 w 93"/>
                <a:gd name="T11" fmla="*/ 113 h 120"/>
                <a:gd name="T12" fmla="*/ 93 w 93"/>
                <a:gd name="T13" fmla="*/ 120 h 120"/>
                <a:gd name="T14" fmla="*/ 0 w 93"/>
                <a:gd name="T15" fmla="*/ 120 h 120"/>
                <a:gd name="T16" fmla="*/ 0 w 93"/>
                <a:gd name="T17" fmla="*/ 7 h 120"/>
                <a:gd name="T18" fmla="*/ 8 w 93"/>
                <a:gd name="T19" fmla="*/ 0 h 120"/>
                <a:gd name="T20" fmla="*/ 93 w 93"/>
                <a:gd name="T21" fmla="*/ 0 h 120"/>
                <a:gd name="T22" fmla="*/ 93 w 93"/>
                <a:gd name="T2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120">
                  <a:moveTo>
                    <a:pt x="10" y="113"/>
                  </a:moveTo>
                  <a:lnTo>
                    <a:pt x="86" y="113"/>
                  </a:lnTo>
                  <a:lnTo>
                    <a:pt x="86" y="7"/>
                  </a:lnTo>
                  <a:lnTo>
                    <a:pt x="12" y="7"/>
                  </a:lnTo>
                  <a:lnTo>
                    <a:pt x="10" y="12"/>
                  </a:lnTo>
                  <a:lnTo>
                    <a:pt x="10" y="113"/>
                  </a:lnTo>
                  <a:close/>
                  <a:moveTo>
                    <a:pt x="93" y="120"/>
                  </a:moveTo>
                  <a:lnTo>
                    <a:pt x="0" y="120"/>
                  </a:lnTo>
                  <a:lnTo>
                    <a:pt x="0" y="7"/>
                  </a:lnTo>
                  <a:lnTo>
                    <a:pt x="8" y="0"/>
                  </a:lnTo>
                  <a:lnTo>
                    <a:pt x="93" y="0"/>
                  </a:lnTo>
                  <a:lnTo>
                    <a:pt x="93" y="1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419">
              <a:extLst>
                <a:ext uri="{FF2B5EF4-FFF2-40B4-BE49-F238E27FC236}">
                  <a16:creationId xmlns:a16="http://schemas.microsoft.com/office/drawing/2014/main" id="{CEF5AEBD-3A70-4991-B3C3-9A5E5ED26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0" y="2953"/>
              <a:ext cx="93" cy="51"/>
            </a:xfrm>
            <a:custGeom>
              <a:avLst/>
              <a:gdLst>
                <a:gd name="T0" fmla="*/ 10 w 93"/>
                <a:gd name="T1" fmla="*/ 44 h 51"/>
                <a:gd name="T2" fmla="*/ 69 w 93"/>
                <a:gd name="T3" fmla="*/ 44 h 51"/>
                <a:gd name="T4" fmla="*/ 86 w 93"/>
                <a:gd name="T5" fmla="*/ 27 h 51"/>
                <a:gd name="T6" fmla="*/ 86 w 93"/>
                <a:gd name="T7" fmla="*/ 7 h 51"/>
                <a:gd name="T8" fmla="*/ 10 w 93"/>
                <a:gd name="T9" fmla="*/ 7 h 51"/>
                <a:gd name="T10" fmla="*/ 10 w 93"/>
                <a:gd name="T11" fmla="*/ 44 h 51"/>
                <a:gd name="T12" fmla="*/ 71 w 93"/>
                <a:gd name="T13" fmla="*/ 51 h 51"/>
                <a:gd name="T14" fmla="*/ 0 w 93"/>
                <a:gd name="T15" fmla="*/ 51 h 51"/>
                <a:gd name="T16" fmla="*/ 0 w 93"/>
                <a:gd name="T17" fmla="*/ 0 h 51"/>
                <a:gd name="T18" fmla="*/ 93 w 93"/>
                <a:gd name="T19" fmla="*/ 0 h 51"/>
                <a:gd name="T20" fmla="*/ 93 w 93"/>
                <a:gd name="T21" fmla="*/ 32 h 51"/>
                <a:gd name="T22" fmla="*/ 71 w 9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1">
                  <a:moveTo>
                    <a:pt x="10" y="44"/>
                  </a:moveTo>
                  <a:lnTo>
                    <a:pt x="69" y="44"/>
                  </a:lnTo>
                  <a:lnTo>
                    <a:pt x="86" y="27"/>
                  </a:lnTo>
                  <a:lnTo>
                    <a:pt x="86" y="7"/>
                  </a:lnTo>
                  <a:lnTo>
                    <a:pt x="10" y="7"/>
                  </a:lnTo>
                  <a:lnTo>
                    <a:pt x="10" y="44"/>
                  </a:lnTo>
                  <a:close/>
                  <a:moveTo>
                    <a:pt x="71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32"/>
                  </a:lnTo>
                  <a:lnTo>
                    <a:pt x="71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Rectangle 420">
              <a:extLst>
                <a:ext uri="{FF2B5EF4-FFF2-40B4-BE49-F238E27FC236}">
                  <a16:creationId xmlns:a16="http://schemas.microsoft.com/office/drawing/2014/main" id="{84CF5DC8-74FF-402F-B5A5-D2F3322053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7" y="2852"/>
              <a:ext cx="37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1" name="Group 423">
            <a:extLst>
              <a:ext uri="{FF2B5EF4-FFF2-40B4-BE49-F238E27FC236}">
                <a16:creationId xmlns:a16="http://schemas.microsoft.com/office/drawing/2014/main" id="{7544D874-808D-4182-8561-8D9989E662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3388" y="5439569"/>
            <a:ext cx="841375" cy="841375"/>
            <a:chOff x="273" y="3440"/>
            <a:chExt cx="530" cy="530"/>
          </a:xfrm>
        </p:grpSpPr>
        <p:sp>
          <p:nvSpPr>
            <p:cNvPr id="472" name="AutoShape 422">
              <a:extLst>
                <a:ext uri="{FF2B5EF4-FFF2-40B4-BE49-F238E27FC236}">
                  <a16:creationId xmlns:a16="http://schemas.microsoft.com/office/drawing/2014/main" id="{793B206B-E156-40D6-87BA-9C3F97B4F9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3" y="344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Oval 424">
              <a:extLst>
                <a:ext uri="{FF2B5EF4-FFF2-40B4-BE49-F238E27FC236}">
                  <a16:creationId xmlns:a16="http://schemas.microsoft.com/office/drawing/2014/main" id="{79B48123-B2BA-47F8-8339-0ABAAC1AE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" y="344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425">
              <a:extLst>
                <a:ext uri="{FF2B5EF4-FFF2-40B4-BE49-F238E27FC236}">
                  <a16:creationId xmlns:a16="http://schemas.microsoft.com/office/drawing/2014/main" id="{CD1B5C89-72BF-4002-ADFD-4B599A05B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" y="345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426">
              <a:extLst>
                <a:ext uri="{FF2B5EF4-FFF2-40B4-BE49-F238E27FC236}">
                  <a16:creationId xmlns:a16="http://schemas.microsoft.com/office/drawing/2014/main" id="{BB12EF45-5E03-458A-B526-431238AFF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" y="3634"/>
              <a:ext cx="197" cy="267"/>
            </a:xfrm>
            <a:custGeom>
              <a:avLst/>
              <a:gdLst>
                <a:gd name="T0" fmla="*/ 44 w 77"/>
                <a:gd name="T1" fmla="*/ 87 h 104"/>
                <a:gd name="T2" fmla="*/ 27 w 77"/>
                <a:gd name="T3" fmla="*/ 69 h 104"/>
                <a:gd name="T4" fmla="*/ 44 w 77"/>
                <a:gd name="T5" fmla="*/ 51 h 104"/>
                <a:gd name="T6" fmla="*/ 62 w 77"/>
                <a:gd name="T7" fmla="*/ 69 h 104"/>
                <a:gd name="T8" fmla="*/ 44 w 77"/>
                <a:gd name="T9" fmla="*/ 87 h 104"/>
                <a:gd name="T10" fmla="*/ 76 w 77"/>
                <a:gd name="T11" fmla="*/ 41 h 104"/>
                <a:gd name="T12" fmla="*/ 67 w 77"/>
                <a:gd name="T13" fmla="*/ 36 h 104"/>
                <a:gd name="T14" fmla="*/ 60 w 77"/>
                <a:gd name="T15" fmla="*/ 49 h 104"/>
                <a:gd name="T16" fmla="*/ 47 w 77"/>
                <a:gd name="T17" fmla="*/ 6 h 104"/>
                <a:gd name="T18" fmla="*/ 38 w 77"/>
                <a:gd name="T19" fmla="*/ 9 h 104"/>
                <a:gd name="T20" fmla="*/ 45 w 77"/>
                <a:gd name="T21" fmla="*/ 34 h 104"/>
                <a:gd name="T22" fmla="*/ 32 w 77"/>
                <a:gd name="T23" fmla="*/ 6 h 104"/>
                <a:gd name="T24" fmla="*/ 21 w 77"/>
                <a:gd name="T25" fmla="*/ 9 h 104"/>
                <a:gd name="T26" fmla="*/ 32 w 77"/>
                <a:gd name="T27" fmla="*/ 40 h 104"/>
                <a:gd name="T28" fmla="*/ 20 w 77"/>
                <a:gd name="T29" fmla="*/ 15 h 104"/>
                <a:gd name="T30" fmla="*/ 11 w 77"/>
                <a:gd name="T31" fmla="*/ 19 h 104"/>
                <a:gd name="T32" fmla="*/ 20 w 77"/>
                <a:gd name="T33" fmla="*/ 46 h 104"/>
                <a:gd name="T34" fmla="*/ 13 w 77"/>
                <a:gd name="T35" fmla="*/ 30 h 104"/>
                <a:gd name="T36" fmla="*/ 5 w 77"/>
                <a:gd name="T37" fmla="*/ 36 h 104"/>
                <a:gd name="T38" fmla="*/ 31 w 77"/>
                <a:gd name="T39" fmla="*/ 91 h 104"/>
                <a:gd name="T40" fmla="*/ 32 w 77"/>
                <a:gd name="T41" fmla="*/ 104 h 104"/>
                <a:gd name="T42" fmla="*/ 74 w 77"/>
                <a:gd name="T43" fmla="*/ 89 h 104"/>
                <a:gd name="T44" fmla="*/ 68 w 77"/>
                <a:gd name="T45" fmla="*/ 74 h 104"/>
                <a:gd name="T46" fmla="*/ 76 w 77"/>
                <a:gd name="T47" fmla="*/ 4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104">
                  <a:moveTo>
                    <a:pt x="44" y="87"/>
                  </a:moveTo>
                  <a:cubicBezTo>
                    <a:pt x="34" y="87"/>
                    <a:pt x="27" y="79"/>
                    <a:pt x="27" y="69"/>
                  </a:cubicBezTo>
                  <a:cubicBezTo>
                    <a:pt x="27" y="59"/>
                    <a:pt x="34" y="51"/>
                    <a:pt x="44" y="51"/>
                  </a:cubicBezTo>
                  <a:cubicBezTo>
                    <a:pt x="54" y="51"/>
                    <a:pt x="62" y="59"/>
                    <a:pt x="62" y="69"/>
                  </a:cubicBezTo>
                  <a:cubicBezTo>
                    <a:pt x="62" y="79"/>
                    <a:pt x="54" y="87"/>
                    <a:pt x="44" y="87"/>
                  </a:cubicBezTo>
                  <a:moveTo>
                    <a:pt x="76" y="41"/>
                  </a:moveTo>
                  <a:cubicBezTo>
                    <a:pt x="77" y="32"/>
                    <a:pt x="69" y="27"/>
                    <a:pt x="67" y="36"/>
                  </a:cubicBezTo>
                  <a:cubicBezTo>
                    <a:pt x="65" y="45"/>
                    <a:pt x="61" y="50"/>
                    <a:pt x="60" y="49"/>
                  </a:cubicBezTo>
                  <a:cubicBezTo>
                    <a:pt x="59" y="48"/>
                    <a:pt x="49" y="12"/>
                    <a:pt x="47" y="6"/>
                  </a:cubicBezTo>
                  <a:cubicBezTo>
                    <a:pt x="45" y="0"/>
                    <a:pt x="35" y="0"/>
                    <a:pt x="38" y="9"/>
                  </a:cubicBezTo>
                  <a:cubicBezTo>
                    <a:pt x="41" y="18"/>
                    <a:pt x="47" y="33"/>
                    <a:pt x="45" y="34"/>
                  </a:cubicBezTo>
                  <a:cubicBezTo>
                    <a:pt x="43" y="34"/>
                    <a:pt x="34" y="12"/>
                    <a:pt x="32" y="6"/>
                  </a:cubicBezTo>
                  <a:cubicBezTo>
                    <a:pt x="30" y="0"/>
                    <a:pt x="19" y="2"/>
                    <a:pt x="21" y="9"/>
                  </a:cubicBezTo>
                  <a:cubicBezTo>
                    <a:pt x="24" y="16"/>
                    <a:pt x="33" y="40"/>
                    <a:pt x="32" y="40"/>
                  </a:cubicBezTo>
                  <a:cubicBezTo>
                    <a:pt x="31" y="41"/>
                    <a:pt x="24" y="25"/>
                    <a:pt x="20" y="15"/>
                  </a:cubicBezTo>
                  <a:cubicBezTo>
                    <a:pt x="17" y="6"/>
                    <a:pt x="8" y="11"/>
                    <a:pt x="11" y="19"/>
                  </a:cubicBezTo>
                  <a:cubicBezTo>
                    <a:pt x="13" y="26"/>
                    <a:pt x="21" y="45"/>
                    <a:pt x="20" y="46"/>
                  </a:cubicBezTo>
                  <a:cubicBezTo>
                    <a:pt x="19" y="46"/>
                    <a:pt x="16" y="38"/>
                    <a:pt x="13" y="30"/>
                  </a:cubicBezTo>
                  <a:cubicBezTo>
                    <a:pt x="9" y="22"/>
                    <a:pt x="0" y="26"/>
                    <a:pt x="5" y="36"/>
                  </a:cubicBezTo>
                  <a:cubicBezTo>
                    <a:pt x="10" y="47"/>
                    <a:pt x="29" y="87"/>
                    <a:pt x="31" y="91"/>
                  </a:cubicBezTo>
                  <a:cubicBezTo>
                    <a:pt x="32" y="96"/>
                    <a:pt x="32" y="104"/>
                    <a:pt x="32" y="104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89"/>
                    <a:pt x="66" y="80"/>
                    <a:pt x="68" y="74"/>
                  </a:cubicBezTo>
                  <a:cubicBezTo>
                    <a:pt x="69" y="68"/>
                    <a:pt x="75" y="51"/>
                    <a:pt x="76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427">
              <a:extLst>
                <a:ext uri="{FF2B5EF4-FFF2-40B4-BE49-F238E27FC236}">
                  <a16:creationId xmlns:a16="http://schemas.microsoft.com/office/drawing/2014/main" id="{B5419019-3A48-49A7-8D4C-0BDF0F304A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" y="3775"/>
              <a:ext cx="74" cy="75"/>
            </a:xfrm>
            <a:custGeom>
              <a:avLst/>
              <a:gdLst>
                <a:gd name="T0" fmla="*/ 13 w 29"/>
                <a:gd name="T1" fmla="*/ 27 h 29"/>
                <a:gd name="T2" fmla="*/ 15 w 29"/>
                <a:gd name="T3" fmla="*/ 18 h 29"/>
                <a:gd name="T4" fmla="*/ 12 w 29"/>
                <a:gd name="T5" fmla="*/ 14 h 29"/>
                <a:gd name="T6" fmla="*/ 6 w 29"/>
                <a:gd name="T7" fmla="*/ 14 h 29"/>
                <a:gd name="T8" fmla="*/ 12 w 29"/>
                <a:gd name="T9" fmla="*/ 3 h 29"/>
                <a:gd name="T10" fmla="*/ 18 w 29"/>
                <a:gd name="T11" fmla="*/ 3 h 29"/>
                <a:gd name="T12" fmla="*/ 14 w 29"/>
                <a:gd name="T13" fmla="*/ 10 h 29"/>
                <a:gd name="T14" fmla="*/ 23 w 29"/>
                <a:gd name="T15" fmla="*/ 10 h 29"/>
                <a:gd name="T16" fmla="*/ 13 w 29"/>
                <a:gd name="T17" fmla="*/ 27 h 29"/>
                <a:gd name="T18" fmla="*/ 29 w 29"/>
                <a:gd name="T19" fmla="*/ 14 h 29"/>
                <a:gd name="T20" fmla="*/ 14 w 29"/>
                <a:gd name="T21" fmla="*/ 0 h 29"/>
                <a:gd name="T22" fmla="*/ 5 w 29"/>
                <a:gd name="T23" fmla="*/ 3 h 29"/>
                <a:gd name="T24" fmla="*/ 4 w 29"/>
                <a:gd name="T25" fmla="*/ 2 h 29"/>
                <a:gd name="T26" fmla="*/ 10 w 29"/>
                <a:gd name="T27" fmla="*/ 7 h 29"/>
                <a:gd name="T28" fmla="*/ 8 w 29"/>
                <a:gd name="T29" fmla="*/ 10 h 29"/>
                <a:gd name="T30" fmla="*/ 2 w 29"/>
                <a:gd name="T31" fmla="*/ 4 h 29"/>
                <a:gd name="T32" fmla="*/ 3 w 29"/>
                <a:gd name="T33" fmla="*/ 5 h 29"/>
                <a:gd name="T34" fmla="*/ 0 w 29"/>
                <a:gd name="T35" fmla="*/ 14 h 29"/>
                <a:gd name="T36" fmla="*/ 14 w 29"/>
                <a:gd name="T37" fmla="*/ 29 h 29"/>
                <a:gd name="T38" fmla="*/ 23 w 29"/>
                <a:gd name="T39" fmla="*/ 25 h 29"/>
                <a:gd name="T40" fmla="*/ 24 w 29"/>
                <a:gd name="T41" fmla="*/ 27 h 29"/>
                <a:gd name="T42" fmla="*/ 17 w 29"/>
                <a:gd name="T43" fmla="*/ 19 h 29"/>
                <a:gd name="T44" fmla="*/ 19 w 29"/>
                <a:gd name="T45" fmla="*/ 16 h 29"/>
                <a:gd name="T46" fmla="*/ 27 w 29"/>
                <a:gd name="T47" fmla="*/ 24 h 29"/>
                <a:gd name="T48" fmla="*/ 26 w 29"/>
                <a:gd name="T49" fmla="*/ 23 h 29"/>
                <a:gd name="T50" fmla="*/ 29 w 29"/>
                <a:gd name="T51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" h="29">
                  <a:moveTo>
                    <a:pt x="13" y="27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lnTo>
                    <a:pt x="13" y="27"/>
                  </a:lnTo>
                  <a:close/>
                  <a:moveTo>
                    <a:pt x="29" y="14"/>
                  </a:moveTo>
                  <a:cubicBezTo>
                    <a:pt x="29" y="6"/>
                    <a:pt x="22" y="0"/>
                    <a:pt x="14" y="0"/>
                  </a:cubicBezTo>
                  <a:cubicBezTo>
                    <a:pt x="11" y="0"/>
                    <a:pt x="8" y="1"/>
                    <a:pt x="5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8"/>
                    <a:pt x="0" y="11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18" y="29"/>
                    <a:pt x="21" y="27"/>
                    <a:pt x="23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7" y="21"/>
                    <a:pt x="29" y="18"/>
                    <a:pt x="29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Freeform 428">
              <a:extLst>
                <a:ext uri="{FF2B5EF4-FFF2-40B4-BE49-F238E27FC236}">
                  <a16:creationId xmlns:a16="http://schemas.microsoft.com/office/drawing/2014/main" id="{8C0783E2-D51B-48A2-90BE-F2EA7EDB6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" y="3504"/>
              <a:ext cx="195" cy="269"/>
            </a:xfrm>
            <a:custGeom>
              <a:avLst/>
              <a:gdLst>
                <a:gd name="T0" fmla="*/ 72 w 76"/>
                <a:gd name="T1" fmla="*/ 30 h 105"/>
                <a:gd name="T2" fmla="*/ 63 w 76"/>
                <a:gd name="T3" fmla="*/ 90 h 105"/>
                <a:gd name="T4" fmla="*/ 66 w 76"/>
                <a:gd name="T5" fmla="*/ 102 h 105"/>
                <a:gd name="T6" fmla="*/ 22 w 76"/>
                <a:gd name="T7" fmla="*/ 100 h 105"/>
                <a:gd name="T8" fmla="*/ 23 w 76"/>
                <a:gd name="T9" fmla="*/ 84 h 105"/>
                <a:gd name="T10" fmla="*/ 5 w 76"/>
                <a:gd name="T11" fmla="*/ 56 h 105"/>
                <a:gd name="T12" fmla="*/ 8 w 76"/>
                <a:gd name="T13" fmla="*/ 44 h 105"/>
                <a:gd name="T14" fmla="*/ 12 w 76"/>
                <a:gd name="T15" fmla="*/ 48 h 105"/>
                <a:gd name="T16" fmla="*/ 22 w 76"/>
                <a:gd name="T17" fmla="*/ 58 h 105"/>
                <a:gd name="T18" fmla="*/ 23 w 76"/>
                <a:gd name="T19" fmla="*/ 58 h 105"/>
                <a:gd name="T20" fmla="*/ 22 w 76"/>
                <a:gd name="T21" fmla="*/ 13 h 105"/>
                <a:gd name="T22" fmla="*/ 28 w 76"/>
                <a:gd name="T23" fmla="*/ 7 h 105"/>
                <a:gd name="T24" fmla="*/ 32 w 76"/>
                <a:gd name="T25" fmla="*/ 13 h 105"/>
                <a:gd name="T26" fmla="*/ 33 w 76"/>
                <a:gd name="T27" fmla="*/ 39 h 105"/>
                <a:gd name="T28" fmla="*/ 33 w 76"/>
                <a:gd name="T29" fmla="*/ 39 h 105"/>
                <a:gd name="T30" fmla="*/ 37 w 76"/>
                <a:gd name="T31" fmla="*/ 8 h 105"/>
                <a:gd name="T32" fmla="*/ 42 w 76"/>
                <a:gd name="T33" fmla="*/ 3 h 105"/>
                <a:gd name="T34" fmla="*/ 48 w 76"/>
                <a:gd name="T35" fmla="*/ 9 h 105"/>
                <a:gd name="T36" fmla="*/ 46 w 76"/>
                <a:gd name="T37" fmla="*/ 41 h 105"/>
                <a:gd name="T38" fmla="*/ 46 w 76"/>
                <a:gd name="T39" fmla="*/ 41 h 105"/>
                <a:gd name="T40" fmla="*/ 51 w 76"/>
                <a:gd name="T41" fmla="*/ 14 h 105"/>
                <a:gd name="T42" fmla="*/ 55 w 76"/>
                <a:gd name="T43" fmla="*/ 7 h 105"/>
                <a:gd name="T44" fmla="*/ 61 w 76"/>
                <a:gd name="T45" fmla="*/ 15 h 105"/>
                <a:gd name="T46" fmla="*/ 60 w 76"/>
                <a:gd name="T47" fmla="*/ 43 h 105"/>
                <a:gd name="T48" fmla="*/ 60 w 76"/>
                <a:gd name="T49" fmla="*/ 43 h 105"/>
                <a:gd name="T50" fmla="*/ 62 w 76"/>
                <a:gd name="T51" fmla="*/ 26 h 105"/>
                <a:gd name="T52" fmla="*/ 67 w 76"/>
                <a:gd name="T53" fmla="*/ 20 h 105"/>
                <a:gd name="T54" fmla="*/ 72 w 76"/>
                <a:gd name="T55" fmla="*/ 30 h 105"/>
                <a:gd name="T56" fmla="*/ 73 w 76"/>
                <a:gd name="T57" fmla="*/ 19 h 105"/>
                <a:gd name="T58" fmla="*/ 67 w 76"/>
                <a:gd name="T59" fmla="*/ 17 h 105"/>
                <a:gd name="T60" fmla="*/ 64 w 76"/>
                <a:gd name="T61" fmla="*/ 18 h 105"/>
                <a:gd name="T62" fmla="*/ 64 w 76"/>
                <a:gd name="T63" fmla="*/ 15 h 105"/>
                <a:gd name="T64" fmla="*/ 61 w 76"/>
                <a:gd name="T65" fmla="*/ 7 h 105"/>
                <a:gd name="T66" fmla="*/ 55 w 76"/>
                <a:gd name="T67" fmla="*/ 4 h 105"/>
                <a:gd name="T68" fmla="*/ 51 w 76"/>
                <a:gd name="T69" fmla="*/ 6 h 105"/>
                <a:gd name="T70" fmla="*/ 49 w 76"/>
                <a:gd name="T71" fmla="*/ 2 h 105"/>
                <a:gd name="T72" fmla="*/ 42 w 76"/>
                <a:gd name="T73" fmla="*/ 0 h 105"/>
                <a:gd name="T74" fmla="*/ 33 w 76"/>
                <a:gd name="T75" fmla="*/ 7 h 105"/>
                <a:gd name="T76" fmla="*/ 33 w 76"/>
                <a:gd name="T77" fmla="*/ 6 h 105"/>
                <a:gd name="T78" fmla="*/ 28 w 76"/>
                <a:gd name="T79" fmla="*/ 4 h 105"/>
                <a:gd name="T80" fmla="*/ 19 w 76"/>
                <a:gd name="T81" fmla="*/ 13 h 105"/>
                <a:gd name="T82" fmla="*/ 19 w 76"/>
                <a:gd name="T83" fmla="*/ 31 h 105"/>
                <a:gd name="T84" fmla="*/ 19 w 76"/>
                <a:gd name="T85" fmla="*/ 52 h 105"/>
                <a:gd name="T86" fmla="*/ 15 w 76"/>
                <a:gd name="T87" fmla="*/ 46 h 105"/>
                <a:gd name="T88" fmla="*/ 8 w 76"/>
                <a:gd name="T89" fmla="*/ 41 h 105"/>
                <a:gd name="T90" fmla="*/ 2 w 76"/>
                <a:gd name="T91" fmla="*/ 44 h 105"/>
                <a:gd name="T92" fmla="*/ 2 w 76"/>
                <a:gd name="T93" fmla="*/ 57 h 105"/>
                <a:gd name="T94" fmla="*/ 16 w 76"/>
                <a:gd name="T95" fmla="*/ 79 h 105"/>
                <a:gd name="T96" fmla="*/ 20 w 76"/>
                <a:gd name="T97" fmla="*/ 86 h 105"/>
                <a:gd name="T98" fmla="*/ 18 w 76"/>
                <a:gd name="T99" fmla="*/ 99 h 105"/>
                <a:gd name="T100" fmla="*/ 16 w 76"/>
                <a:gd name="T101" fmla="*/ 104 h 105"/>
                <a:gd name="T102" fmla="*/ 19 w 76"/>
                <a:gd name="T103" fmla="*/ 104 h 105"/>
                <a:gd name="T104" fmla="*/ 25 w 76"/>
                <a:gd name="T105" fmla="*/ 102 h 105"/>
                <a:gd name="T106" fmla="*/ 33 w 76"/>
                <a:gd name="T107" fmla="*/ 104 h 105"/>
                <a:gd name="T108" fmla="*/ 66 w 76"/>
                <a:gd name="T109" fmla="*/ 105 h 105"/>
                <a:gd name="T110" fmla="*/ 71 w 76"/>
                <a:gd name="T111" fmla="*/ 105 h 105"/>
                <a:gd name="T112" fmla="*/ 69 w 76"/>
                <a:gd name="T113" fmla="*/ 101 h 105"/>
                <a:gd name="T114" fmla="*/ 67 w 76"/>
                <a:gd name="T115" fmla="*/ 90 h 105"/>
                <a:gd name="T116" fmla="*/ 73 w 76"/>
                <a:gd name="T117" fmla="*/ 43 h 105"/>
                <a:gd name="T118" fmla="*/ 75 w 76"/>
                <a:gd name="T119" fmla="*/ 30 h 105"/>
                <a:gd name="T120" fmla="*/ 73 w 76"/>
                <a:gd name="T121" fmla="*/ 1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6" h="105">
                  <a:moveTo>
                    <a:pt x="72" y="30"/>
                  </a:moveTo>
                  <a:cubicBezTo>
                    <a:pt x="70" y="41"/>
                    <a:pt x="63" y="85"/>
                    <a:pt x="63" y="90"/>
                  </a:cubicBezTo>
                  <a:cubicBezTo>
                    <a:pt x="63" y="95"/>
                    <a:pt x="66" y="102"/>
                    <a:pt x="66" y="102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6" y="89"/>
                    <a:pt x="23" y="84"/>
                  </a:cubicBezTo>
                  <a:cubicBezTo>
                    <a:pt x="20" y="79"/>
                    <a:pt x="8" y="64"/>
                    <a:pt x="5" y="56"/>
                  </a:cubicBezTo>
                  <a:cubicBezTo>
                    <a:pt x="2" y="50"/>
                    <a:pt x="5" y="44"/>
                    <a:pt x="8" y="44"/>
                  </a:cubicBezTo>
                  <a:cubicBezTo>
                    <a:pt x="9" y="44"/>
                    <a:pt x="11" y="45"/>
                    <a:pt x="12" y="48"/>
                  </a:cubicBezTo>
                  <a:cubicBezTo>
                    <a:pt x="16" y="54"/>
                    <a:pt x="20" y="58"/>
                    <a:pt x="22" y="58"/>
                  </a:cubicBezTo>
                  <a:cubicBezTo>
                    <a:pt x="22" y="58"/>
                    <a:pt x="22" y="58"/>
                    <a:pt x="23" y="58"/>
                  </a:cubicBezTo>
                  <a:cubicBezTo>
                    <a:pt x="23" y="57"/>
                    <a:pt x="22" y="20"/>
                    <a:pt x="22" y="13"/>
                  </a:cubicBezTo>
                  <a:cubicBezTo>
                    <a:pt x="22" y="9"/>
                    <a:pt x="25" y="7"/>
                    <a:pt x="28" y="7"/>
                  </a:cubicBezTo>
                  <a:cubicBezTo>
                    <a:pt x="30" y="7"/>
                    <a:pt x="32" y="9"/>
                    <a:pt x="32" y="13"/>
                  </a:cubicBezTo>
                  <a:cubicBezTo>
                    <a:pt x="32" y="23"/>
                    <a:pt x="31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4" y="39"/>
                    <a:pt x="36" y="15"/>
                    <a:pt x="37" y="8"/>
                  </a:cubicBezTo>
                  <a:cubicBezTo>
                    <a:pt x="37" y="5"/>
                    <a:pt x="40" y="3"/>
                    <a:pt x="42" y="3"/>
                  </a:cubicBezTo>
                  <a:cubicBezTo>
                    <a:pt x="45" y="3"/>
                    <a:pt x="48" y="5"/>
                    <a:pt x="48" y="9"/>
                  </a:cubicBezTo>
                  <a:cubicBezTo>
                    <a:pt x="47" y="16"/>
                    <a:pt x="45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8" y="41"/>
                    <a:pt x="50" y="25"/>
                    <a:pt x="51" y="14"/>
                  </a:cubicBezTo>
                  <a:cubicBezTo>
                    <a:pt x="51" y="9"/>
                    <a:pt x="53" y="7"/>
                    <a:pt x="55" y="7"/>
                  </a:cubicBezTo>
                  <a:cubicBezTo>
                    <a:pt x="58" y="7"/>
                    <a:pt x="61" y="10"/>
                    <a:pt x="61" y="15"/>
                  </a:cubicBezTo>
                  <a:cubicBezTo>
                    <a:pt x="60" y="23"/>
                    <a:pt x="59" y="43"/>
                    <a:pt x="60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3"/>
                    <a:pt x="61" y="34"/>
                    <a:pt x="62" y="26"/>
                  </a:cubicBezTo>
                  <a:cubicBezTo>
                    <a:pt x="63" y="22"/>
                    <a:pt x="65" y="20"/>
                    <a:pt x="67" y="20"/>
                  </a:cubicBezTo>
                  <a:cubicBezTo>
                    <a:pt x="70" y="20"/>
                    <a:pt x="73" y="23"/>
                    <a:pt x="72" y="30"/>
                  </a:cubicBezTo>
                  <a:moveTo>
                    <a:pt x="73" y="19"/>
                  </a:moveTo>
                  <a:cubicBezTo>
                    <a:pt x="71" y="18"/>
                    <a:pt x="69" y="17"/>
                    <a:pt x="67" y="17"/>
                  </a:cubicBezTo>
                  <a:cubicBezTo>
                    <a:pt x="66" y="17"/>
                    <a:pt x="65" y="17"/>
                    <a:pt x="64" y="18"/>
                  </a:cubicBezTo>
                  <a:cubicBezTo>
                    <a:pt x="64" y="17"/>
                    <a:pt x="64" y="16"/>
                    <a:pt x="64" y="15"/>
                  </a:cubicBezTo>
                  <a:cubicBezTo>
                    <a:pt x="64" y="12"/>
                    <a:pt x="63" y="9"/>
                    <a:pt x="61" y="7"/>
                  </a:cubicBezTo>
                  <a:cubicBezTo>
                    <a:pt x="59" y="5"/>
                    <a:pt x="57" y="4"/>
                    <a:pt x="55" y="4"/>
                  </a:cubicBezTo>
                  <a:cubicBezTo>
                    <a:pt x="54" y="4"/>
                    <a:pt x="52" y="5"/>
                    <a:pt x="51" y="6"/>
                  </a:cubicBezTo>
                  <a:cubicBezTo>
                    <a:pt x="50" y="4"/>
                    <a:pt x="49" y="3"/>
                    <a:pt x="49" y="2"/>
                  </a:cubicBezTo>
                  <a:cubicBezTo>
                    <a:pt x="47" y="1"/>
                    <a:pt x="45" y="0"/>
                    <a:pt x="42" y="0"/>
                  </a:cubicBezTo>
                  <a:cubicBezTo>
                    <a:pt x="39" y="0"/>
                    <a:pt x="34" y="2"/>
                    <a:pt x="33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4"/>
                    <a:pt x="30" y="4"/>
                    <a:pt x="28" y="4"/>
                  </a:cubicBezTo>
                  <a:cubicBezTo>
                    <a:pt x="24" y="4"/>
                    <a:pt x="19" y="7"/>
                    <a:pt x="19" y="13"/>
                  </a:cubicBezTo>
                  <a:cubicBezTo>
                    <a:pt x="19" y="16"/>
                    <a:pt x="19" y="23"/>
                    <a:pt x="19" y="31"/>
                  </a:cubicBezTo>
                  <a:cubicBezTo>
                    <a:pt x="19" y="38"/>
                    <a:pt x="19" y="47"/>
                    <a:pt x="19" y="52"/>
                  </a:cubicBezTo>
                  <a:cubicBezTo>
                    <a:pt x="18" y="51"/>
                    <a:pt x="16" y="49"/>
                    <a:pt x="15" y="46"/>
                  </a:cubicBezTo>
                  <a:cubicBezTo>
                    <a:pt x="13" y="42"/>
                    <a:pt x="9" y="41"/>
                    <a:pt x="8" y="41"/>
                  </a:cubicBezTo>
                  <a:cubicBezTo>
                    <a:pt x="5" y="41"/>
                    <a:pt x="3" y="42"/>
                    <a:pt x="2" y="44"/>
                  </a:cubicBezTo>
                  <a:cubicBezTo>
                    <a:pt x="0" y="48"/>
                    <a:pt x="0" y="53"/>
                    <a:pt x="2" y="57"/>
                  </a:cubicBezTo>
                  <a:cubicBezTo>
                    <a:pt x="4" y="63"/>
                    <a:pt x="11" y="73"/>
                    <a:pt x="16" y="79"/>
                  </a:cubicBezTo>
                  <a:cubicBezTo>
                    <a:pt x="17" y="82"/>
                    <a:pt x="19" y="85"/>
                    <a:pt x="20" y="86"/>
                  </a:cubicBezTo>
                  <a:cubicBezTo>
                    <a:pt x="22" y="89"/>
                    <a:pt x="20" y="95"/>
                    <a:pt x="18" y="99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21" y="103"/>
                    <a:pt x="23" y="102"/>
                    <a:pt x="25" y="102"/>
                  </a:cubicBezTo>
                  <a:cubicBezTo>
                    <a:pt x="28" y="102"/>
                    <a:pt x="30" y="103"/>
                    <a:pt x="33" y="104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8" y="99"/>
                    <a:pt x="67" y="93"/>
                    <a:pt x="67" y="90"/>
                  </a:cubicBezTo>
                  <a:cubicBezTo>
                    <a:pt x="67" y="86"/>
                    <a:pt x="71" y="58"/>
                    <a:pt x="73" y="43"/>
                  </a:cubicBezTo>
                  <a:cubicBezTo>
                    <a:pt x="74" y="38"/>
                    <a:pt x="75" y="33"/>
                    <a:pt x="75" y="30"/>
                  </a:cubicBezTo>
                  <a:cubicBezTo>
                    <a:pt x="76" y="24"/>
                    <a:pt x="74" y="21"/>
                    <a:pt x="73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8" name="Group 431">
            <a:extLst>
              <a:ext uri="{FF2B5EF4-FFF2-40B4-BE49-F238E27FC236}">
                <a16:creationId xmlns:a16="http://schemas.microsoft.com/office/drawing/2014/main" id="{EF4A2B25-EAC3-4019-A6B9-8C88E2708E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39863" y="5480844"/>
            <a:ext cx="758825" cy="758825"/>
            <a:chOff x="907" y="3475"/>
            <a:chExt cx="478" cy="478"/>
          </a:xfrm>
        </p:grpSpPr>
        <p:sp>
          <p:nvSpPr>
            <p:cNvPr id="479" name="AutoShape 430">
              <a:extLst>
                <a:ext uri="{FF2B5EF4-FFF2-40B4-BE49-F238E27FC236}">
                  <a16:creationId xmlns:a16="http://schemas.microsoft.com/office/drawing/2014/main" id="{B6690DBC-3D6A-4095-A25B-A4BB3CFDF3D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7" y="34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Freeform 432">
              <a:extLst>
                <a:ext uri="{FF2B5EF4-FFF2-40B4-BE49-F238E27FC236}">
                  <a16:creationId xmlns:a16="http://schemas.microsoft.com/office/drawing/2014/main" id="{0DBC0F1A-A441-48E6-8EB0-FC6B754CB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" y="34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Freeform 433">
              <a:extLst>
                <a:ext uri="{FF2B5EF4-FFF2-40B4-BE49-F238E27FC236}">
                  <a16:creationId xmlns:a16="http://schemas.microsoft.com/office/drawing/2014/main" id="{DCED3C33-965E-46BA-8841-0D98DCEE1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2" y="3647"/>
              <a:ext cx="189" cy="255"/>
            </a:xfrm>
            <a:custGeom>
              <a:avLst/>
              <a:gdLst>
                <a:gd name="T0" fmla="*/ 44 w 77"/>
                <a:gd name="T1" fmla="*/ 87 h 104"/>
                <a:gd name="T2" fmla="*/ 27 w 77"/>
                <a:gd name="T3" fmla="*/ 69 h 104"/>
                <a:gd name="T4" fmla="*/ 44 w 77"/>
                <a:gd name="T5" fmla="*/ 51 h 104"/>
                <a:gd name="T6" fmla="*/ 62 w 77"/>
                <a:gd name="T7" fmla="*/ 69 h 104"/>
                <a:gd name="T8" fmla="*/ 44 w 77"/>
                <a:gd name="T9" fmla="*/ 87 h 104"/>
                <a:gd name="T10" fmla="*/ 76 w 77"/>
                <a:gd name="T11" fmla="*/ 41 h 104"/>
                <a:gd name="T12" fmla="*/ 67 w 77"/>
                <a:gd name="T13" fmla="*/ 36 h 104"/>
                <a:gd name="T14" fmla="*/ 60 w 77"/>
                <a:gd name="T15" fmla="*/ 49 h 104"/>
                <a:gd name="T16" fmla="*/ 47 w 77"/>
                <a:gd name="T17" fmla="*/ 6 h 104"/>
                <a:gd name="T18" fmla="*/ 38 w 77"/>
                <a:gd name="T19" fmla="*/ 9 h 104"/>
                <a:gd name="T20" fmla="*/ 45 w 77"/>
                <a:gd name="T21" fmla="*/ 34 h 104"/>
                <a:gd name="T22" fmla="*/ 32 w 77"/>
                <a:gd name="T23" fmla="*/ 6 h 104"/>
                <a:gd name="T24" fmla="*/ 21 w 77"/>
                <a:gd name="T25" fmla="*/ 9 h 104"/>
                <a:gd name="T26" fmla="*/ 32 w 77"/>
                <a:gd name="T27" fmla="*/ 40 h 104"/>
                <a:gd name="T28" fmla="*/ 20 w 77"/>
                <a:gd name="T29" fmla="*/ 15 h 104"/>
                <a:gd name="T30" fmla="*/ 11 w 77"/>
                <a:gd name="T31" fmla="*/ 19 h 104"/>
                <a:gd name="T32" fmla="*/ 20 w 77"/>
                <a:gd name="T33" fmla="*/ 46 h 104"/>
                <a:gd name="T34" fmla="*/ 13 w 77"/>
                <a:gd name="T35" fmla="*/ 30 h 104"/>
                <a:gd name="T36" fmla="*/ 5 w 77"/>
                <a:gd name="T37" fmla="*/ 36 h 104"/>
                <a:gd name="T38" fmla="*/ 31 w 77"/>
                <a:gd name="T39" fmla="*/ 91 h 104"/>
                <a:gd name="T40" fmla="*/ 32 w 77"/>
                <a:gd name="T41" fmla="*/ 104 h 104"/>
                <a:gd name="T42" fmla="*/ 74 w 77"/>
                <a:gd name="T43" fmla="*/ 89 h 104"/>
                <a:gd name="T44" fmla="*/ 68 w 77"/>
                <a:gd name="T45" fmla="*/ 74 h 104"/>
                <a:gd name="T46" fmla="*/ 76 w 77"/>
                <a:gd name="T47" fmla="*/ 4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104">
                  <a:moveTo>
                    <a:pt x="44" y="87"/>
                  </a:moveTo>
                  <a:cubicBezTo>
                    <a:pt x="34" y="87"/>
                    <a:pt x="27" y="79"/>
                    <a:pt x="27" y="69"/>
                  </a:cubicBezTo>
                  <a:cubicBezTo>
                    <a:pt x="27" y="59"/>
                    <a:pt x="34" y="51"/>
                    <a:pt x="44" y="51"/>
                  </a:cubicBezTo>
                  <a:cubicBezTo>
                    <a:pt x="54" y="51"/>
                    <a:pt x="62" y="59"/>
                    <a:pt x="62" y="69"/>
                  </a:cubicBezTo>
                  <a:cubicBezTo>
                    <a:pt x="62" y="79"/>
                    <a:pt x="54" y="87"/>
                    <a:pt x="44" y="87"/>
                  </a:cubicBezTo>
                  <a:moveTo>
                    <a:pt x="76" y="41"/>
                  </a:moveTo>
                  <a:cubicBezTo>
                    <a:pt x="77" y="32"/>
                    <a:pt x="69" y="27"/>
                    <a:pt x="67" y="36"/>
                  </a:cubicBezTo>
                  <a:cubicBezTo>
                    <a:pt x="65" y="45"/>
                    <a:pt x="61" y="50"/>
                    <a:pt x="60" y="49"/>
                  </a:cubicBezTo>
                  <a:cubicBezTo>
                    <a:pt x="59" y="48"/>
                    <a:pt x="49" y="12"/>
                    <a:pt x="47" y="6"/>
                  </a:cubicBezTo>
                  <a:cubicBezTo>
                    <a:pt x="45" y="0"/>
                    <a:pt x="35" y="0"/>
                    <a:pt x="38" y="9"/>
                  </a:cubicBezTo>
                  <a:cubicBezTo>
                    <a:pt x="41" y="18"/>
                    <a:pt x="47" y="33"/>
                    <a:pt x="45" y="34"/>
                  </a:cubicBezTo>
                  <a:cubicBezTo>
                    <a:pt x="43" y="34"/>
                    <a:pt x="34" y="12"/>
                    <a:pt x="32" y="6"/>
                  </a:cubicBezTo>
                  <a:cubicBezTo>
                    <a:pt x="30" y="0"/>
                    <a:pt x="19" y="2"/>
                    <a:pt x="21" y="9"/>
                  </a:cubicBezTo>
                  <a:cubicBezTo>
                    <a:pt x="24" y="16"/>
                    <a:pt x="33" y="40"/>
                    <a:pt x="32" y="40"/>
                  </a:cubicBezTo>
                  <a:cubicBezTo>
                    <a:pt x="31" y="41"/>
                    <a:pt x="24" y="25"/>
                    <a:pt x="20" y="15"/>
                  </a:cubicBezTo>
                  <a:cubicBezTo>
                    <a:pt x="17" y="6"/>
                    <a:pt x="8" y="11"/>
                    <a:pt x="11" y="19"/>
                  </a:cubicBezTo>
                  <a:cubicBezTo>
                    <a:pt x="13" y="26"/>
                    <a:pt x="21" y="45"/>
                    <a:pt x="20" y="46"/>
                  </a:cubicBezTo>
                  <a:cubicBezTo>
                    <a:pt x="19" y="46"/>
                    <a:pt x="16" y="38"/>
                    <a:pt x="13" y="30"/>
                  </a:cubicBezTo>
                  <a:cubicBezTo>
                    <a:pt x="9" y="22"/>
                    <a:pt x="0" y="26"/>
                    <a:pt x="5" y="36"/>
                  </a:cubicBezTo>
                  <a:cubicBezTo>
                    <a:pt x="10" y="47"/>
                    <a:pt x="29" y="87"/>
                    <a:pt x="31" y="91"/>
                  </a:cubicBezTo>
                  <a:cubicBezTo>
                    <a:pt x="32" y="96"/>
                    <a:pt x="32" y="104"/>
                    <a:pt x="32" y="104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4" y="89"/>
                    <a:pt x="66" y="80"/>
                    <a:pt x="68" y="74"/>
                  </a:cubicBezTo>
                  <a:cubicBezTo>
                    <a:pt x="69" y="68"/>
                    <a:pt x="75" y="51"/>
                    <a:pt x="76" y="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Freeform 434">
              <a:extLst>
                <a:ext uri="{FF2B5EF4-FFF2-40B4-BE49-F238E27FC236}">
                  <a16:creationId xmlns:a16="http://schemas.microsoft.com/office/drawing/2014/main" id="{FC7A1316-93F4-4DAC-85D1-88CD7513F5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" y="3781"/>
              <a:ext cx="71" cy="72"/>
            </a:xfrm>
            <a:custGeom>
              <a:avLst/>
              <a:gdLst>
                <a:gd name="T0" fmla="*/ 13 w 29"/>
                <a:gd name="T1" fmla="*/ 27 h 29"/>
                <a:gd name="T2" fmla="*/ 15 w 29"/>
                <a:gd name="T3" fmla="*/ 18 h 29"/>
                <a:gd name="T4" fmla="*/ 12 w 29"/>
                <a:gd name="T5" fmla="*/ 14 h 29"/>
                <a:gd name="T6" fmla="*/ 6 w 29"/>
                <a:gd name="T7" fmla="*/ 14 h 29"/>
                <a:gd name="T8" fmla="*/ 12 w 29"/>
                <a:gd name="T9" fmla="*/ 3 h 29"/>
                <a:gd name="T10" fmla="*/ 18 w 29"/>
                <a:gd name="T11" fmla="*/ 3 h 29"/>
                <a:gd name="T12" fmla="*/ 14 w 29"/>
                <a:gd name="T13" fmla="*/ 10 h 29"/>
                <a:gd name="T14" fmla="*/ 23 w 29"/>
                <a:gd name="T15" fmla="*/ 10 h 29"/>
                <a:gd name="T16" fmla="*/ 13 w 29"/>
                <a:gd name="T17" fmla="*/ 27 h 29"/>
                <a:gd name="T18" fmla="*/ 29 w 29"/>
                <a:gd name="T19" fmla="*/ 14 h 29"/>
                <a:gd name="T20" fmla="*/ 14 w 29"/>
                <a:gd name="T21" fmla="*/ 0 h 29"/>
                <a:gd name="T22" fmla="*/ 5 w 29"/>
                <a:gd name="T23" fmla="*/ 3 h 29"/>
                <a:gd name="T24" fmla="*/ 4 w 29"/>
                <a:gd name="T25" fmla="*/ 2 h 29"/>
                <a:gd name="T26" fmla="*/ 10 w 29"/>
                <a:gd name="T27" fmla="*/ 7 h 29"/>
                <a:gd name="T28" fmla="*/ 8 w 29"/>
                <a:gd name="T29" fmla="*/ 10 h 29"/>
                <a:gd name="T30" fmla="*/ 2 w 29"/>
                <a:gd name="T31" fmla="*/ 4 h 29"/>
                <a:gd name="T32" fmla="*/ 3 w 29"/>
                <a:gd name="T33" fmla="*/ 5 h 29"/>
                <a:gd name="T34" fmla="*/ 0 w 29"/>
                <a:gd name="T35" fmla="*/ 14 h 29"/>
                <a:gd name="T36" fmla="*/ 14 w 29"/>
                <a:gd name="T37" fmla="*/ 29 h 29"/>
                <a:gd name="T38" fmla="*/ 23 w 29"/>
                <a:gd name="T39" fmla="*/ 25 h 29"/>
                <a:gd name="T40" fmla="*/ 24 w 29"/>
                <a:gd name="T41" fmla="*/ 27 h 29"/>
                <a:gd name="T42" fmla="*/ 17 w 29"/>
                <a:gd name="T43" fmla="*/ 19 h 29"/>
                <a:gd name="T44" fmla="*/ 19 w 29"/>
                <a:gd name="T45" fmla="*/ 16 h 29"/>
                <a:gd name="T46" fmla="*/ 27 w 29"/>
                <a:gd name="T47" fmla="*/ 24 h 29"/>
                <a:gd name="T48" fmla="*/ 26 w 29"/>
                <a:gd name="T49" fmla="*/ 23 h 29"/>
                <a:gd name="T50" fmla="*/ 29 w 29"/>
                <a:gd name="T51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" h="29">
                  <a:moveTo>
                    <a:pt x="13" y="27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lnTo>
                    <a:pt x="13" y="27"/>
                  </a:lnTo>
                  <a:close/>
                  <a:moveTo>
                    <a:pt x="29" y="14"/>
                  </a:moveTo>
                  <a:cubicBezTo>
                    <a:pt x="29" y="6"/>
                    <a:pt x="22" y="0"/>
                    <a:pt x="14" y="0"/>
                  </a:cubicBezTo>
                  <a:cubicBezTo>
                    <a:pt x="11" y="0"/>
                    <a:pt x="8" y="1"/>
                    <a:pt x="5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8"/>
                    <a:pt x="0" y="11"/>
                    <a:pt x="0" y="14"/>
                  </a:cubicBezTo>
                  <a:cubicBezTo>
                    <a:pt x="0" y="22"/>
                    <a:pt x="6" y="29"/>
                    <a:pt x="14" y="29"/>
                  </a:cubicBezTo>
                  <a:cubicBezTo>
                    <a:pt x="18" y="29"/>
                    <a:pt x="21" y="27"/>
                    <a:pt x="23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7" y="21"/>
                    <a:pt x="29" y="18"/>
                    <a:pt x="29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435">
              <a:extLst>
                <a:ext uri="{FF2B5EF4-FFF2-40B4-BE49-F238E27FC236}">
                  <a16:creationId xmlns:a16="http://schemas.microsoft.com/office/drawing/2014/main" id="{8107D3FD-2225-475A-9990-4B9E1D715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" y="3522"/>
              <a:ext cx="186" cy="257"/>
            </a:xfrm>
            <a:custGeom>
              <a:avLst/>
              <a:gdLst>
                <a:gd name="T0" fmla="*/ 72 w 76"/>
                <a:gd name="T1" fmla="*/ 30 h 105"/>
                <a:gd name="T2" fmla="*/ 63 w 76"/>
                <a:gd name="T3" fmla="*/ 90 h 105"/>
                <a:gd name="T4" fmla="*/ 66 w 76"/>
                <a:gd name="T5" fmla="*/ 102 h 105"/>
                <a:gd name="T6" fmla="*/ 22 w 76"/>
                <a:gd name="T7" fmla="*/ 100 h 105"/>
                <a:gd name="T8" fmla="*/ 23 w 76"/>
                <a:gd name="T9" fmla="*/ 84 h 105"/>
                <a:gd name="T10" fmla="*/ 5 w 76"/>
                <a:gd name="T11" fmla="*/ 56 h 105"/>
                <a:gd name="T12" fmla="*/ 8 w 76"/>
                <a:gd name="T13" fmla="*/ 44 h 105"/>
                <a:gd name="T14" fmla="*/ 12 w 76"/>
                <a:gd name="T15" fmla="*/ 48 h 105"/>
                <a:gd name="T16" fmla="*/ 22 w 76"/>
                <a:gd name="T17" fmla="*/ 58 h 105"/>
                <a:gd name="T18" fmla="*/ 23 w 76"/>
                <a:gd name="T19" fmla="*/ 58 h 105"/>
                <a:gd name="T20" fmla="*/ 22 w 76"/>
                <a:gd name="T21" fmla="*/ 13 h 105"/>
                <a:gd name="T22" fmla="*/ 28 w 76"/>
                <a:gd name="T23" fmla="*/ 7 h 105"/>
                <a:gd name="T24" fmla="*/ 32 w 76"/>
                <a:gd name="T25" fmla="*/ 13 h 105"/>
                <a:gd name="T26" fmla="*/ 33 w 76"/>
                <a:gd name="T27" fmla="*/ 39 h 105"/>
                <a:gd name="T28" fmla="*/ 33 w 76"/>
                <a:gd name="T29" fmla="*/ 39 h 105"/>
                <a:gd name="T30" fmla="*/ 37 w 76"/>
                <a:gd name="T31" fmla="*/ 8 h 105"/>
                <a:gd name="T32" fmla="*/ 42 w 76"/>
                <a:gd name="T33" fmla="*/ 3 h 105"/>
                <a:gd name="T34" fmla="*/ 48 w 76"/>
                <a:gd name="T35" fmla="*/ 9 h 105"/>
                <a:gd name="T36" fmla="*/ 46 w 76"/>
                <a:gd name="T37" fmla="*/ 41 h 105"/>
                <a:gd name="T38" fmla="*/ 46 w 76"/>
                <a:gd name="T39" fmla="*/ 41 h 105"/>
                <a:gd name="T40" fmla="*/ 51 w 76"/>
                <a:gd name="T41" fmla="*/ 14 h 105"/>
                <a:gd name="T42" fmla="*/ 55 w 76"/>
                <a:gd name="T43" fmla="*/ 7 h 105"/>
                <a:gd name="T44" fmla="*/ 61 w 76"/>
                <a:gd name="T45" fmla="*/ 15 h 105"/>
                <a:gd name="T46" fmla="*/ 60 w 76"/>
                <a:gd name="T47" fmla="*/ 43 h 105"/>
                <a:gd name="T48" fmla="*/ 60 w 76"/>
                <a:gd name="T49" fmla="*/ 43 h 105"/>
                <a:gd name="T50" fmla="*/ 62 w 76"/>
                <a:gd name="T51" fmla="*/ 26 h 105"/>
                <a:gd name="T52" fmla="*/ 67 w 76"/>
                <a:gd name="T53" fmla="*/ 20 h 105"/>
                <a:gd name="T54" fmla="*/ 72 w 76"/>
                <a:gd name="T55" fmla="*/ 30 h 105"/>
                <a:gd name="T56" fmla="*/ 73 w 76"/>
                <a:gd name="T57" fmla="*/ 19 h 105"/>
                <a:gd name="T58" fmla="*/ 67 w 76"/>
                <a:gd name="T59" fmla="*/ 17 h 105"/>
                <a:gd name="T60" fmla="*/ 64 w 76"/>
                <a:gd name="T61" fmla="*/ 18 h 105"/>
                <a:gd name="T62" fmla="*/ 64 w 76"/>
                <a:gd name="T63" fmla="*/ 15 h 105"/>
                <a:gd name="T64" fmla="*/ 61 w 76"/>
                <a:gd name="T65" fmla="*/ 7 h 105"/>
                <a:gd name="T66" fmla="*/ 55 w 76"/>
                <a:gd name="T67" fmla="*/ 4 h 105"/>
                <a:gd name="T68" fmla="*/ 51 w 76"/>
                <a:gd name="T69" fmla="*/ 6 h 105"/>
                <a:gd name="T70" fmla="*/ 49 w 76"/>
                <a:gd name="T71" fmla="*/ 2 h 105"/>
                <a:gd name="T72" fmla="*/ 42 w 76"/>
                <a:gd name="T73" fmla="*/ 0 h 105"/>
                <a:gd name="T74" fmla="*/ 33 w 76"/>
                <a:gd name="T75" fmla="*/ 7 h 105"/>
                <a:gd name="T76" fmla="*/ 33 w 76"/>
                <a:gd name="T77" fmla="*/ 6 h 105"/>
                <a:gd name="T78" fmla="*/ 28 w 76"/>
                <a:gd name="T79" fmla="*/ 4 h 105"/>
                <a:gd name="T80" fmla="*/ 19 w 76"/>
                <a:gd name="T81" fmla="*/ 13 h 105"/>
                <a:gd name="T82" fmla="*/ 19 w 76"/>
                <a:gd name="T83" fmla="*/ 31 h 105"/>
                <a:gd name="T84" fmla="*/ 19 w 76"/>
                <a:gd name="T85" fmla="*/ 52 h 105"/>
                <a:gd name="T86" fmla="*/ 15 w 76"/>
                <a:gd name="T87" fmla="*/ 46 h 105"/>
                <a:gd name="T88" fmla="*/ 8 w 76"/>
                <a:gd name="T89" fmla="*/ 41 h 105"/>
                <a:gd name="T90" fmla="*/ 2 w 76"/>
                <a:gd name="T91" fmla="*/ 44 h 105"/>
                <a:gd name="T92" fmla="*/ 2 w 76"/>
                <a:gd name="T93" fmla="*/ 57 h 105"/>
                <a:gd name="T94" fmla="*/ 16 w 76"/>
                <a:gd name="T95" fmla="*/ 79 h 105"/>
                <a:gd name="T96" fmla="*/ 20 w 76"/>
                <a:gd name="T97" fmla="*/ 86 h 105"/>
                <a:gd name="T98" fmla="*/ 18 w 76"/>
                <a:gd name="T99" fmla="*/ 99 h 105"/>
                <a:gd name="T100" fmla="*/ 16 w 76"/>
                <a:gd name="T101" fmla="*/ 104 h 105"/>
                <a:gd name="T102" fmla="*/ 19 w 76"/>
                <a:gd name="T103" fmla="*/ 104 h 105"/>
                <a:gd name="T104" fmla="*/ 25 w 76"/>
                <a:gd name="T105" fmla="*/ 102 h 105"/>
                <a:gd name="T106" fmla="*/ 33 w 76"/>
                <a:gd name="T107" fmla="*/ 104 h 105"/>
                <a:gd name="T108" fmla="*/ 66 w 76"/>
                <a:gd name="T109" fmla="*/ 105 h 105"/>
                <a:gd name="T110" fmla="*/ 71 w 76"/>
                <a:gd name="T111" fmla="*/ 105 h 105"/>
                <a:gd name="T112" fmla="*/ 69 w 76"/>
                <a:gd name="T113" fmla="*/ 101 h 105"/>
                <a:gd name="T114" fmla="*/ 67 w 76"/>
                <a:gd name="T115" fmla="*/ 90 h 105"/>
                <a:gd name="T116" fmla="*/ 73 w 76"/>
                <a:gd name="T117" fmla="*/ 43 h 105"/>
                <a:gd name="T118" fmla="*/ 75 w 76"/>
                <a:gd name="T119" fmla="*/ 30 h 105"/>
                <a:gd name="T120" fmla="*/ 73 w 76"/>
                <a:gd name="T121" fmla="*/ 1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6" h="105">
                  <a:moveTo>
                    <a:pt x="72" y="30"/>
                  </a:moveTo>
                  <a:cubicBezTo>
                    <a:pt x="70" y="41"/>
                    <a:pt x="63" y="85"/>
                    <a:pt x="63" y="90"/>
                  </a:cubicBezTo>
                  <a:cubicBezTo>
                    <a:pt x="63" y="95"/>
                    <a:pt x="66" y="102"/>
                    <a:pt x="66" y="102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6" y="89"/>
                    <a:pt x="23" y="84"/>
                  </a:cubicBezTo>
                  <a:cubicBezTo>
                    <a:pt x="20" y="79"/>
                    <a:pt x="8" y="64"/>
                    <a:pt x="5" y="56"/>
                  </a:cubicBezTo>
                  <a:cubicBezTo>
                    <a:pt x="2" y="50"/>
                    <a:pt x="5" y="44"/>
                    <a:pt x="8" y="44"/>
                  </a:cubicBezTo>
                  <a:cubicBezTo>
                    <a:pt x="9" y="44"/>
                    <a:pt x="11" y="45"/>
                    <a:pt x="12" y="48"/>
                  </a:cubicBezTo>
                  <a:cubicBezTo>
                    <a:pt x="16" y="54"/>
                    <a:pt x="20" y="58"/>
                    <a:pt x="22" y="58"/>
                  </a:cubicBezTo>
                  <a:cubicBezTo>
                    <a:pt x="22" y="58"/>
                    <a:pt x="22" y="58"/>
                    <a:pt x="23" y="58"/>
                  </a:cubicBezTo>
                  <a:cubicBezTo>
                    <a:pt x="23" y="57"/>
                    <a:pt x="22" y="20"/>
                    <a:pt x="22" y="13"/>
                  </a:cubicBezTo>
                  <a:cubicBezTo>
                    <a:pt x="22" y="9"/>
                    <a:pt x="25" y="7"/>
                    <a:pt x="28" y="7"/>
                  </a:cubicBezTo>
                  <a:cubicBezTo>
                    <a:pt x="30" y="7"/>
                    <a:pt x="32" y="9"/>
                    <a:pt x="32" y="13"/>
                  </a:cubicBezTo>
                  <a:cubicBezTo>
                    <a:pt x="32" y="23"/>
                    <a:pt x="31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4" y="39"/>
                    <a:pt x="36" y="15"/>
                    <a:pt x="37" y="8"/>
                  </a:cubicBezTo>
                  <a:cubicBezTo>
                    <a:pt x="37" y="5"/>
                    <a:pt x="40" y="3"/>
                    <a:pt x="42" y="3"/>
                  </a:cubicBezTo>
                  <a:cubicBezTo>
                    <a:pt x="45" y="3"/>
                    <a:pt x="48" y="5"/>
                    <a:pt x="48" y="9"/>
                  </a:cubicBezTo>
                  <a:cubicBezTo>
                    <a:pt x="47" y="16"/>
                    <a:pt x="45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8" y="41"/>
                    <a:pt x="50" y="25"/>
                    <a:pt x="51" y="14"/>
                  </a:cubicBezTo>
                  <a:cubicBezTo>
                    <a:pt x="51" y="9"/>
                    <a:pt x="53" y="7"/>
                    <a:pt x="55" y="7"/>
                  </a:cubicBezTo>
                  <a:cubicBezTo>
                    <a:pt x="58" y="7"/>
                    <a:pt x="61" y="10"/>
                    <a:pt x="61" y="15"/>
                  </a:cubicBezTo>
                  <a:cubicBezTo>
                    <a:pt x="60" y="23"/>
                    <a:pt x="59" y="43"/>
                    <a:pt x="60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3"/>
                    <a:pt x="61" y="34"/>
                    <a:pt x="62" y="26"/>
                  </a:cubicBezTo>
                  <a:cubicBezTo>
                    <a:pt x="63" y="22"/>
                    <a:pt x="65" y="20"/>
                    <a:pt x="67" y="20"/>
                  </a:cubicBezTo>
                  <a:cubicBezTo>
                    <a:pt x="70" y="20"/>
                    <a:pt x="73" y="23"/>
                    <a:pt x="72" y="30"/>
                  </a:cubicBezTo>
                  <a:moveTo>
                    <a:pt x="73" y="19"/>
                  </a:moveTo>
                  <a:cubicBezTo>
                    <a:pt x="71" y="18"/>
                    <a:pt x="69" y="17"/>
                    <a:pt x="67" y="17"/>
                  </a:cubicBezTo>
                  <a:cubicBezTo>
                    <a:pt x="66" y="17"/>
                    <a:pt x="65" y="17"/>
                    <a:pt x="64" y="18"/>
                  </a:cubicBezTo>
                  <a:cubicBezTo>
                    <a:pt x="64" y="17"/>
                    <a:pt x="64" y="16"/>
                    <a:pt x="64" y="15"/>
                  </a:cubicBezTo>
                  <a:cubicBezTo>
                    <a:pt x="64" y="12"/>
                    <a:pt x="63" y="9"/>
                    <a:pt x="61" y="7"/>
                  </a:cubicBezTo>
                  <a:cubicBezTo>
                    <a:pt x="59" y="5"/>
                    <a:pt x="57" y="4"/>
                    <a:pt x="55" y="4"/>
                  </a:cubicBezTo>
                  <a:cubicBezTo>
                    <a:pt x="54" y="4"/>
                    <a:pt x="52" y="5"/>
                    <a:pt x="51" y="6"/>
                  </a:cubicBezTo>
                  <a:cubicBezTo>
                    <a:pt x="50" y="4"/>
                    <a:pt x="49" y="3"/>
                    <a:pt x="49" y="2"/>
                  </a:cubicBezTo>
                  <a:cubicBezTo>
                    <a:pt x="47" y="1"/>
                    <a:pt x="45" y="0"/>
                    <a:pt x="42" y="0"/>
                  </a:cubicBezTo>
                  <a:cubicBezTo>
                    <a:pt x="39" y="0"/>
                    <a:pt x="34" y="2"/>
                    <a:pt x="33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2" y="4"/>
                    <a:pt x="30" y="4"/>
                    <a:pt x="28" y="4"/>
                  </a:cubicBezTo>
                  <a:cubicBezTo>
                    <a:pt x="24" y="4"/>
                    <a:pt x="19" y="7"/>
                    <a:pt x="19" y="13"/>
                  </a:cubicBezTo>
                  <a:cubicBezTo>
                    <a:pt x="19" y="16"/>
                    <a:pt x="19" y="23"/>
                    <a:pt x="19" y="31"/>
                  </a:cubicBezTo>
                  <a:cubicBezTo>
                    <a:pt x="19" y="38"/>
                    <a:pt x="19" y="47"/>
                    <a:pt x="19" y="52"/>
                  </a:cubicBezTo>
                  <a:cubicBezTo>
                    <a:pt x="18" y="51"/>
                    <a:pt x="16" y="49"/>
                    <a:pt x="15" y="46"/>
                  </a:cubicBezTo>
                  <a:cubicBezTo>
                    <a:pt x="13" y="42"/>
                    <a:pt x="9" y="41"/>
                    <a:pt x="8" y="41"/>
                  </a:cubicBezTo>
                  <a:cubicBezTo>
                    <a:pt x="5" y="41"/>
                    <a:pt x="3" y="42"/>
                    <a:pt x="2" y="44"/>
                  </a:cubicBezTo>
                  <a:cubicBezTo>
                    <a:pt x="0" y="48"/>
                    <a:pt x="0" y="53"/>
                    <a:pt x="2" y="57"/>
                  </a:cubicBezTo>
                  <a:cubicBezTo>
                    <a:pt x="4" y="63"/>
                    <a:pt x="11" y="73"/>
                    <a:pt x="16" y="79"/>
                  </a:cubicBezTo>
                  <a:cubicBezTo>
                    <a:pt x="17" y="82"/>
                    <a:pt x="19" y="85"/>
                    <a:pt x="20" y="86"/>
                  </a:cubicBezTo>
                  <a:cubicBezTo>
                    <a:pt x="22" y="89"/>
                    <a:pt x="20" y="95"/>
                    <a:pt x="18" y="99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21" y="103"/>
                    <a:pt x="23" y="102"/>
                    <a:pt x="25" y="102"/>
                  </a:cubicBezTo>
                  <a:cubicBezTo>
                    <a:pt x="28" y="102"/>
                    <a:pt x="30" y="103"/>
                    <a:pt x="33" y="104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8" y="99"/>
                    <a:pt x="67" y="93"/>
                    <a:pt x="67" y="90"/>
                  </a:cubicBezTo>
                  <a:cubicBezTo>
                    <a:pt x="67" y="86"/>
                    <a:pt x="71" y="58"/>
                    <a:pt x="73" y="43"/>
                  </a:cubicBezTo>
                  <a:cubicBezTo>
                    <a:pt x="74" y="38"/>
                    <a:pt x="75" y="33"/>
                    <a:pt x="75" y="30"/>
                  </a:cubicBezTo>
                  <a:cubicBezTo>
                    <a:pt x="76" y="24"/>
                    <a:pt x="74" y="21"/>
                    <a:pt x="73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4" name="Group 438">
            <a:extLst>
              <a:ext uri="{FF2B5EF4-FFF2-40B4-BE49-F238E27FC236}">
                <a16:creationId xmlns:a16="http://schemas.microsoft.com/office/drawing/2014/main" id="{B89E6F2A-12D0-4CE0-A791-22335E517C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325" y="5439569"/>
            <a:ext cx="841375" cy="841375"/>
            <a:chOff x="1638" y="3434"/>
            <a:chExt cx="530" cy="530"/>
          </a:xfrm>
        </p:grpSpPr>
        <p:sp>
          <p:nvSpPr>
            <p:cNvPr id="485" name="AutoShape 437">
              <a:extLst>
                <a:ext uri="{FF2B5EF4-FFF2-40B4-BE49-F238E27FC236}">
                  <a16:creationId xmlns:a16="http://schemas.microsoft.com/office/drawing/2014/main" id="{F9506FCF-AC8E-41EE-92F9-57B9E64373D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8" y="343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Oval 439">
              <a:extLst>
                <a:ext uri="{FF2B5EF4-FFF2-40B4-BE49-F238E27FC236}">
                  <a16:creationId xmlns:a16="http://schemas.microsoft.com/office/drawing/2014/main" id="{C689EAE5-4656-43B4-B9FD-2173D849F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8" y="343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440">
              <a:extLst>
                <a:ext uri="{FF2B5EF4-FFF2-40B4-BE49-F238E27FC236}">
                  <a16:creationId xmlns:a16="http://schemas.microsoft.com/office/drawing/2014/main" id="{2EE95CAB-8FC3-4B0A-921D-E042BCAE7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6" y="345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441">
              <a:extLst>
                <a:ext uri="{FF2B5EF4-FFF2-40B4-BE49-F238E27FC236}">
                  <a16:creationId xmlns:a16="http://schemas.microsoft.com/office/drawing/2014/main" id="{D87AA59E-915A-491E-83B9-4D6366586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0" y="3677"/>
              <a:ext cx="41" cy="56"/>
            </a:xfrm>
            <a:custGeom>
              <a:avLst/>
              <a:gdLst>
                <a:gd name="T0" fmla="*/ 15 w 41"/>
                <a:gd name="T1" fmla="*/ 0 h 56"/>
                <a:gd name="T2" fmla="*/ 0 w 41"/>
                <a:gd name="T3" fmla="*/ 26 h 56"/>
                <a:gd name="T4" fmla="*/ 25 w 41"/>
                <a:gd name="T5" fmla="*/ 26 h 56"/>
                <a:gd name="T6" fmla="*/ 18 w 41"/>
                <a:gd name="T7" fmla="*/ 56 h 56"/>
                <a:gd name="T8" fmla="*/ 41 w 41"/>
                <a:gd name="T9" fmla="*/ 15 h 56"/>
                <a:gd name="T10" fmla="*/ 20 w 41"/>
                <a:gd name="T11" fmla="*/ 15 h 56"/>
                <a:gd name="T12" fmla="*/ 30 w 41"/>
                <a:gd name="T13" fmla="*/ 0 h 56"/>
                <a:gd name="T14" fmla="*/ 15 w 41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56">
                  <a:moveTo>
                    <a:pt x="15" y="0"/>
                  </a:moveTo>
                  <a:lnTo>
                    <a:pt x="0" y="26"/>
                  </a:lnTo>
                  <a:lnTo>
                    <a:pt x="25" y="26"/>
                  </a:lnTo>
                  <a:lnTo>
                    <a:pt x="18" y="56"/>
                  </a:lnTo>
                  <a:lnTo>
                    <a:pt x="41" y="15"/>
                  </a:lnTo>
                  <a:lnTo>
                    <a:pt x="20" y="15"/>
                  </a:lnTo>
                  <a:lnTo>
                    <a:pt x="3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Freeform 442">
              <a:extLst>
                <a:ext uri="{FF2B5EF4-FFF2-40B4-BE49-F238E27FC236}">
                  <a16:creationId xmlns:a16="http://schemas.microsoft.com/office/drawing/2014/main" id="{42C5E8DF-80C7-4E87-8E35-01565248B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3797"/>
              <a:ext cx="30" cy="16"/>
            </a:xfrm>
            <a:custGeom>
              <a:avLst/>
              <a:gdLst>
                <a:gd name="T0" fmla="*/ 30 w 30"/>
                <a:gd name="T1" fmla="*/ 16 h 16"/>
                <a:gd name="T2" fmla="*/ 0 w 30"/>
                <a:gd name="T3" fmla="*/ 8 h 16"/>
                <a:gd name="T4" fmla="*/ 2 w 30"/>
                <a:gd name="T5" fmla="*/ 0 h 16"/>
                <a:gd name="T6" fmla="*/ 30 w 30"/>
                <a:gd name="T7" fmla="*/ 8 h 16"/>
                <a:gd name="T8" fmla="*/ 30 w 3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30" y="16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30" y="8"/>
                  </a:lnTo>
                  <a:lnTo>
                    <a:pt x="3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Freeform 443">
              <a:extLst>
                <a:ext uri="{FF2B5EF4-FFF2-40B4-BE49-F238E27FC236}">
                  <a16:creationId xmlns:a16="http://schemas.microsoft.com/office/drawing/2014/main" id="{E97A9AC1-34D0-4C63-8AD7-E9F6708CA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3562"/>
              <a:ext cx="80" cy="130"/>
            </a:xfrm>
            <a:custGeom>
              <a:avLst/>
              <a:gdLst>
                <a:gd name="T0" fmla="*/ 3 w 31"/>
                <a:gd name="T1" fmla="*/ 51 h 51"/>
                <a:gd name="T2" fmla="*/ 0 w 31"/>
                <a:gd name="T3" fmla="*/ 49 h 51"/>
                <a:gd name="T4" fmla="*/ 25 w 31"/>
                <a:gd name="T5" fmla="*/ 4 h 51"/>
                <a:gd name="T6" fmla="*/ 17 w 31"/>
                <a:gd name="T7" fmla="*/ 9 h 51"/>
                <a:gd name="T8" fmla="*/ 14 w 31"/>
                <a:gd name="T9" fmla="*/ 8 h 51"/>
                <a:gd name="T10" fmla="*/ 29 w 31"/>
                <a:gd name="T11" fmla="*/ 1 h 51"/>
                <a:gd name="T12" fmla="*/ 31 w 31"/>
                <a:gd name="T13" fmla="*/ 2 h 51"/>
                <a:gd name="T14" fmla="*/ 3 w 3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1">
                  <a:moveTo>
                    <a:pt x="3" y="51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3" y="4"/>
                    <a:pt x="19" y="4"/>
                    <a:pt x="17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0"/>
                    <a:pt x="25" y="0"/>
                    <a:pt x="29" y="1"/>
                  </a:cubicBezTo>
                  <a:cubicBezTo>
                    <a:pt x="31" y="2"/>
                    <a:pt x="31" y="2"/>
                    <a:pt x="31" y="2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444">
              <a:extLst>
                <a:ext uri="{FF2B5EF4-FFF2-40B4-BE49-F238E27FC236}">
                  <a16:creationId xmlns:a16="http://schemas.microsoft.com/office/drawing/2014/main" id="{4F8C2D5D-BA44-4709-A7C2-139AC763B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1" y="3759"/>
              <a:ext cx="71" cy="23"/>
            </a:xfrm>
            <a:custGeom>
              <a:avLst/>
              <a:gdLst>
                <a:gd name="T0" fmla="*/ 4 w 28"/>
                <a:gd name="T1" fmla="*/ 3 h 9"/>
                <a:gd name="T2" fmla="*/ 3 w 28"/>
                <a:gd name="T3" fmla="*/ 3 h 9"/>
                <a:gd name="T4" fmla="*/ 3 w 28"/>
                <a:gd name="T5" fmla="*/ 5 h 9"/>
                <a:gd name="T6" fmla="*/ 4 w 28"/>
                <a:gd name="T7" fmla="*/ 5 h 9"/>
                <a:gd name="T8" fmla="*/ 25 w 28"/>
                <a:gd name="T9" fmla="*/ 5 h 9"/>
                <a:gd name="T10" fmla="*/ 25 w 28"/>
                <a:gd name="T11" fmla="*/ 5 h 9"/>
                <a:gd name="T12" fmla="*/ 25 w 28"/>
                <a:gd name="T13" fmla="*/ 3 h 9"/>
                <a:gd name="T14" fmla="*/ 25 w 28"/>
                <a:gd name="T15" fmla="*/ 3 h 9"/>
                <a:gd name="T16" fmla="*/ 4 w 28"/>
                <a:gd name="T17" fmla="*/ 3 h 9"/>
                <a:gd name="T18" fmla="*/ 25 w 28"/>
                <a:gd name="T19" fmla="*/ 9 h 9"/>
                <a:gd name="T20" fmla="*/ 4 w 28"/>
                <a:gd name="T21" fmla="*/ 9 h 9"/>
                <a:gd name="T22" fmla="*/ 0 w 28"/>
                <a:gd name="T23" fmla="*/ 5 h 9"/>
                <a:gd name="T24" fmla="*/ 0 w 28"/>
                <a:gd name="T25" fmla="*/ 3 h 9"/>
                <a:gd name="T26" fmla="*/ 4 w 28"/>
                <a:gd name="T27" fmla="*/ 0 h 9"/>
                <a:gd name="T28" fmla="*/ 25 w 28"/>
                <a:gd name="T29" fmla="*/ 0 h 9"/>
                <a:gd name="T30" fmla="*/ 28 w 28"/>
                <a:gd name="T31" fmla="*/ 3 h 9"/>
                <a:gd name="T32" fmla="*/ 28 w 28"/>
                <a:gd name="T33" fmla="*/ 5 h 9"/>
                <a:gd name="T34" fmla="*/ 25 w 2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9">
                  <a:moveTo>
                    <a:pt x="4" y="3"/>
                  </a:moveTo>
                  <a:cubicBezTo>
                    <a:pt x="4" y="3"/>
                    <a:pt x="3" y="3"/>
                    <a:pt x="3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lnTo>
                    <a:pt x="4" y="3"/>
                  </a:lnTo>
                  <a:close/>
                  <a:moveTo>
                    <a:pt x="2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7" y="9"/>
                    <a:pt x="25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445">
              <a:extLst>
                <a:ext uri="{FF2B5EF4-FFF2-40B4-BE49-F238E27FC236}">
                  <a16:creationId xmlns:a16="http://schemas.microsoft.com/office/drawing/2014/main" id="{939C6CE4-F2C6-4056-8AEB-21BE6EDF0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" y="3549"/>
              <a:ext cx="276" cy="289"/>
            </a:xfrm>
            <a:custGeom>
              <a:avLst/>
              <a:gdLst>
                <a:gd name="T0" fmla="*/ 105 w 108"/>
                <a:gd name="T1" fmla="*/ 113 h 113"/>
                <a:gd name="T2" fmla="*/ 94 w 108"/>
                <a:gd name="T3" fmla="*/ 110 h 113"/>
                <a:gd name="T4" fmla="*/ 54 w 108"/>
                <a:gd name="T5" fmla="*/ 110 h 113"/>
                <a:gd name="T6" fmla="*/ 36 w 108"/>
                <a:gd name="T7" fmla="*/ 100 h 113"/>
                <a:gd name="T8" fmla="*/ 4 w 108"/>
                <a:gd name="T9" fmla="*/ 100 h 113"/>
                <a:gd name="T10" fmla="*/ 4 w 108"/>
                <a:gd name="T11" fmla="*/ 99 h 113"/>
                <a:gd name="T12" fmla="*/ 0 w 108"/>
                <a:gd name="T13" fmla="*/ 89 h 113"/>
                <a:gd name="T14" fmla="*/ 3 w 108"/>
                <a:gd name="T15" fmla="*/ 89 h 113"/>
                <a:gd name="T16" fmla="*/ 6 w 108"/>
                <a:gd name="T17" fmla="*/ 97 h 113"/>
                <a:gd name="T18" fmla="*/ 37 w 108"/>
                <a:gd name="T19" fmla="*/ 97 h 113"/>
                <a:gd name="T20" fmla="*/ 55 w 108"/>
                <a:gd name="T21" fmla="*/ 106 h 113"/>
                <a:gd name="T22" fmla="*/ 95 w 108"/>
                <a:gd name="T23" fmla="*/ 107 h 113"/>
                <a:gd name="T24" fmla="*/ 102 w 108"/>
                <a:gd name="T25" fmla="*/ 109 h 113"/>
                <a:gd name="T26" fmla="*/ 103 w 108"/>
                <a:gd name="T27" fmla="*/ 101 h 113"/>
                <a:gd name="T28" fmla="*/ 100 w 108"/>
                <a:gd name="T29" fmla="*/ 89 h 113"/>
                <a:gd name="T30" fmla="*/ 85 w 108"/>
                <a:gd name="T31" fmla="*/ 84 h 113"/>
                <a:gd name="T32" fmla="*/ 85 w 108"/>
                <a:gd name="T33" fmla="*/ 84 h 113"/>
                <a:gd name="T34" fmla="*/ 63 w 108"/>
                <a:gd name="T35" fmla="*/ 55 h 113"/>
                <a:gd name="T36" fmla="*/ 78 w 108"/>
                <a:gd name="T37" fmla="*/ 15 h 113"/>
                <a:gd name="T38" fmla="*/ 39 w 108"/>
                <a:gd name="T39" fmla="*/ 4 h 113"/>
                <a:gd name="T40" fmla="*/ 31 w 108"/>
                <a:gd name="T41" fmla="*/ 26 h 113"/>
                <a:gd name="T42" fmla="*/ 28 w 108"/>
                <a:gd name="T43" fmla="*/ 25 h 113"/>
                <a:gd name="T44" fmla="*/ 36 w 108"/>
                <a:gd name="T45" fmla="*/ 0 h 113"/>
                <a:gd name="T46" fmla="*/ 82 w 108"/>
                <a:gd name="T47" fmla="*/ 13 h 113"/>
                <a:gd name="T48" fmla="*/ 67 w 108"/>
                <a:gd name="T49" fmla="*/ 55 h 113"/>
                <a:gd name="T50" fmla="*/ 86 w 108"/>
                <a:gd name="T51" fmla="*/ 80 h 113"/>
                <a:gd name="T52" fmla="*/ 103 w 108"/>
                <a:gd name="T53" fmla="*/ 86 h 113"/>
                <a:gd name="T54" fmla="*/ 107 w 108"/>
                <a:gd name="T55" fmla="*/ 102 h 113"/>
                <a:gd name="T56" fmla="*/ 105 w 108"/>
                <a:gd name="T5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13">
                  <a:moveTo>
                    <a:pt x="105" y="113"/>
                  </a:moveTo>
                  <a:cubicBezTo>
                    <a:pt x="94" y="110"/>
                    <a:pt x="94" y="110"/>
                    <a:pt x="94" y="110"/>
                  </a:cubicBezTo>
                  <a:cubicBezTo>
                    <a:pt x="54" y="110"/>
                    <a:pt x="54" y="110"/>
                    <a:pt x="54" y="11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99"/>
                    <a:pt x="4" y="99"/>
                    <a:pt x="4" y="99"/>
                  </a:cubicBezTo>
                  <a:cubicBezTo>
                    <a:pt x="0" y="95"/>
                    <a:pt x="0" y="89"/>
                    <a:pt x="0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4" y="93"/>
                    <a:pt x="6" y="97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4" y="96"/>
                    <a:pt x="103" y="92"/>
                    <a:pt x="100" y="89"/>
                  </a:cubicBezTo>
                  <a:cubicBezTo>
                    <a:pt x="95" y="83"/>
                    <a:pt x="86" y="84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80"/>
                    <a:pt x="98" y="81"/>
                    <a:pt x="103" y="86"/>
                  </a:cubicBezTo>
                  <a:cubicBezTo>
                    <a:pt x="106" y="90"/>
                    <a:pt x="108" y="95"/>
                    <a:pt x="107" y="102"/>
                  </a:cubicBezTo>
                  <a:lnTo>
                    <a:pt x="105" y="1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446">
              <a:extLst>
                <a:ext uri="{FF2B5EF4-FFF2-40B4-BE49-F238E27FC236}">
                  <a16:creationId xmlns:a16="http://schemas.microsoft.com/office/drawing/2014/main" id="{D02F369F-F482-4C11-91B5-75161FBE7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1" y="3580"/>
              <a:ext cx="248" cy="271"/>
            </a:xfrm>
            <a:custGeom>
              <a:avLst/>
              <a:gdLst>
                <a:gd name="T0" fmla="*/ 97 w 97"/>
                <a:gd name="T1" fmla="*/ 106 h 106"/>
                <a:gd name="T2" fmla="*/ 53 w 97"/>
                <a:gd name="T3" fmla="*/ 106 h 106"/>
                <a:gd name="T4" fmla="*/ 37 w 97"/>
                <a:gd name="T5" fmla="*/ 97 h 106"/>
                <a:gd name="T6" fmla="*/ 37 w 97"/>
                <a:gd name="T7" fmla="*/ 104 h 106"/>
                <a:gd name="T8" fmla="*/ 26 w 97"/>
                <a:gd name="T9" fmla="*/ 104 h 106"/>
                <a:gd name="T10" fmla="*/ 26 w 97"/>
                <a:gd name="T11" fmla="*/ 103 h 106"/>
                <a:gd name="T12" fmla="*/ 25 w 97"/>
                <a:gd name="T13" fmla="*/ 104 h 106"/>
                <a:gd name="T14" fmla="*/ 15 w 97"/>
                <a:gd name="T15" fmla="*/ 104 h 106"/>
                <a:gd name="T16" fmla="*/ 14 w 97"/>
                <a:gd name="T17" fmla="*/ 103 h 106"/>
                <a:gd name="T18" fmla="*/ 14 w 97"/>
                <a:gd name="T19" fmla="*/ 104 h 106"/>
                <a:gd name="T20" fmla="*/ 4 w 97"/>
                <a:gd name="T21" fmla="*/ 104 h 106"/>
                <a:gd name="T22" fmla="*/ 4 w 97"/>
                <a:gd name="T23" fmla="*/ 86 h 106"/>
                <a:gd name="T24" fmla="*/ 8 w 97"/>
                <a:gd name="T25" fmla="*/ 86 h 106"/>
                <a:gd name="T26" fmla="*/ 8 w 97"/>
                <a:gd name="T27" fmla="*/ 101 h 106"/>
                <a:gd name="T28" fmla="*/ 11 w 97"/>
                <a:gd name="T29" fmla="*/ 101 h 106"/>
                <a:gd name="T30" fmla="*/ 14 w 97"/>
                <a:gd name="T31" fmla="*/ 95 h 106"/>
                <a:gd name="T32" fmla="*/ 17 w 97"/>
                <a:gd name="T33" fmla="*/ 101 h 106"/>
                <a:gd name="T34" fmla="*/ 23 w 97"/>
                <a:gd name="T35" fmla="*/ 101 h 106"/>
                <a:gd name="T36" fmla="*/ 26 w 97"/>
                <a:gd name="T37" fmla="*/ 94 h 106"/>
                <a:gd name="T38" fmla="*/ 29 w 97"/>
                <a:gd name="T39" fmla="*/ 101 h 106"/>
                <a:gd name="T40" fmla="*/ 33 w 97"/>
                <a:gd name="T41" fmla="*/ 101 h 106"/>
                <a:gd name="T42" fmla="*/ 33 w 97"/>
                <a:gd name="T43" fmla="*/ 91 h 106"/>
                <a:gd name="T44" fmla="*/ 54 w 97"/>
                <a:gd name="T45" fmla="*/ 102 h 106"/>
                <a:gd name="T46" fmla="*/ 94 w 97"/>
                <a:gd name="T47" fmla="*/ 102 h 106"/>
                <a:gd name="T48" fmla="*/ 94 w 97"/>
                <a:gd name="T49" fmla="*/ 88 h 106"/>
                <a:gd name="T50" fmla="*/ 88 w 97"/>
                <a:gd name="T51" fmla="*/ 81 h 106"/>
                <a:gd name="T52" fmla="*/ 74 w 97"/>
                <a:gd name="T53" fmla="*/ 81 h 106"/>
                <a:gd name="T54" fmla="*/ 73 w 97"/>
                <a:gd name="T55" fmla="*/ 81 h 106"/>
                <a:gd name="T56" fmla="*/ 47 w 97"/>
                <a:gd name="T57" fmla="*/ 60 h 106"/>
                <a:gd name="T58" fmla="*/ 57 w 97"/>
                <a:gd name="T59" fmla="*/ 4 h 106"/>
                <a:gd name="T60" fmla="*/ 53 w 97"/>
                <a:gd name="T61" fmla="*/ 5 h 106"/>
                <a:gd name="T62" fmla="*/ 50 w 97"/>
                <a:gd name="T63" fmla="*/ 13 h 106"/>
                <a:gd name="T64" fmla="*/ 50 w 97"/>
                <a:gd name="T65" fmla="*/ 14 h 106"/>
                <a:gd name="T66" fmla="*/ 8 w 97"/>
                <a:gd name="T67" fmla="*/ 16 h 106"/>
                <a:gd name="T68" fmla="*/ 8 w 97"/>
                <a:gd name="T69" fmla="*/ 61 h 106"/>
                <a:gd name="T70" fmla="*/ 7 w 97"/>
                <a:gd name="T71" fmla="*/ 62 h 106"/>
                <a:gd name="T72" fmla="*/ 4 w 97"/>
                <a:gd name="T73" fmla="*/ 71 h 106"/>
                <a:gd name="T74" fmla="*/ 1 w 97"/>
                <a:gd name="T75" fmla="*/ 71 h 106"/>
                <a:gd name="T76" fmla="*/ 4 w 97"/>
                <a:gd name="T77" fmla="*/ 60 h 106"/>
                <a:gd name="T78" fmla="*/ 4 w 97"/>
                <a:gd name="T79" fmla="*/ 12 h 106"/>
                <a:gd name="T80" fmla="*/ 47 w 97"/>
                <a:gd name="T81" fmla="*/ 11 h 106"/>
                <a:gd name="T82" fmla="*/ 51 w 97"/>
                <a:gd name="T83" fmla="*/ 3 h 106"/>
                <a:gd name="T84" fmla="*/ 59 w 97"/>
                <a:gd name="T85" fmla="*/ 1 h 106"/>
                <a:gd name="T86" fmla="*/ 61 w 97"/>
                <a:gd name="T87" fmla="*/ 1 h 106"/>
                <a:gd name="T88" fmla="*/ 51 w 97"/>
                <a:gd name="T89" fmla="*/ 58 h 106"/>
                <a:gd name="T90" fmla="*/ 73 w 97"/>
                <a:gd name="T91" fmla="*/ 77 h 106"/>
                <a:gd name="T92" fmla="*/ 89 w 97"/>
                <a:gd name="T93" fmla="*/ 78 h 106"/>
                <a:gd name="T94" fmla="*/ 97 w 97"/>
                <a:gd name="T95" fmla="*/ 88 h 106"/>
                <a:gd name="T96" fmla="*/ 97 w 97"/>
                <a:gd name="T97" fmla="*/ 88 h 106"/>
                <a:gd name="T98" fmla="*/ 97 w 97"/>
                <a:gd name="T9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106">
                  <a:moveTo>
                    <a:pt x="97" y="106"/>
                  </a:moveTo>
                  <a:cubicBezTo>
                    <a:pt x="53" y="106"/>
                    <a:pt x="53" y="106"/>
                    <a:pt x="53" y="106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93" y="87"/>
                    <a:pt x="92" y="83"/>
                    <a:pt x="88" y="81"/>
                  </a:cubicBezTo>
                  <a:cubicBezTo>
                    <a:pt x="84" y="79"/>
                    <a:pt x="79" y="79"/>
                    <a:pt x="74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4"/>
                    <a:pt x="54" y="4"/>
                    <a:pt x="53" y="5"/>
                  </a:cubicBezTo>
                  <a:cubicBezTo>
                    <a:pt x="51" y="7"/>
                    <a:pt x="50" y="9"/>
                    <a:pt x="50" y="1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4" y="65"/>
                    <a:pt x="4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65"/>
                    <a:pt x="3" y="61"/>
                    <a:pt x="4" y="6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7"/>
                    <a:pt x="49" y="5"/>
                    <a:pt x="51" y="3"/>
                  </a:cubicBezTo>
                  <a:cubicBezTo>
                    <a:pt x="54" y="0"/>
                    <a:pt x="59" y="1"/>
                    <a:pt x="59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80" y="75"/>
                    <a:pt x="85" y="75"/>
                    <a:pt x="89" y="78"/>
                  </a:cubicBezTo>
                  <a:cubicBezTo>
                    <a:pt x="95" y="81"/>
                    <a:pt x="97" y="87"/>
                    <a:pt x="97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1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Rectangle 447">
              <a:extLst>
                <a:ext uri="{FF2B5EF4-FFF2-40B4-BE49-F238E27FC236}">
                  <a16:creationId xmlns:a16="http://schemas.microsoft.com/office/drawing/2014/main" id="{B77972D7-4BEE-45B9-A876-0DD355DA1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1" y="3613"/>
              <a:ext cx="8" cy="11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448">
              <a:extLst>
                <a:ext uri="{FF2B5EF4-FFF2-40B4-BE49-F238E27FC236}">
                  <a16:creationId xmlns:a16="http://schemas.microsoft.com/office/drawing/2014/main" id="{EC74F411-D2E5-40A8-8EB7-9C4FD4FDE0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3662"/>
              <a:ext cx="82" cy="82"/>
            </a:xfrm>
            <a:custGeom>
              <a:avLst/>
              <a:gdLst>
                <a:gd name="T0" fmla="*/ 16 w 32"/>
                <a:gd name="T1" fmla="*/ 3 h 32"/>
                <a:gd name="T2" fmla="*/ 3 w 32"/>
                <a:gd name="T3" fmla="*/ 16 h 32"/>
                <a:gd name="T4" fmla="*/ 16 w 32"/>
                <a:gd name="T5" fmla="*/ 29 h 32"/>
                <a:gd name="T6" fmla="*/ 29 w 32"/>
                <a:gd name="T7" fmla="*/ 16 h 32"/>
                <a:gd name="T8" fmla="*/ 16 w 32"/>
                <a:gd name="T9" fmla="*/ 3 h 32"/>
                <a:gd name="T10" fmla="*/ 16 w 32"/>
                <a:gd name="T11" fmla="*/ 32 h 32"/>
                <a:gd name="T12" fmla="*/ 0 w 32"/>
                <a:gd name="T13" fmla="*/ 16 h 32"/>
                <a:gd name="T14" fmla="*/ 16 w 32"/>
                <a:gd name="T15" fmla="*/ 0 h 32"/>
                <a:gd name="T16" fmla="*/ 32 w 32"/>
                <a:gd name="T17" fmla="*/ 16 h 32"/>
                <a:gd name="T18" fmla="*/ 16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"/>
                  </a:moveTo>
                  <a:cubicBezTo>
                    <a:pt x="9" y="3"/>
                    <a:pt x="3" y="9"/>
                    <a:pt x="3" y="16"/>
                  </a:cubicBezTo>
                  <a:cubicBezTo>
                    <a:pt x="3" y="23"/>
                    <a:pt x="9" y="29"/>
                    <a:pt x="16" y="29"/>
                  </a:cubicBezTo>
                  <a:cubicBezTo>
                    <a:pt x="23" y="29"/>
                    <a:pt x="29" y="23"/>
                    <a:pt x="29" y="16"/>
                  </a:cubicBezTo>
                  <a:cubicBezTo>
                    <a:pt x="29" y="9"/>
                    <a:pt x="23" y="3"/>
                    <a:pt x="16" y="3"/>
                  </a:cubicBezTo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Freeform 449">
              <a:extLst>
                <a:ext uri="{FF2B5EF4-FFF2-40B4-BE49-F238E27FC236}">
                  <a16:creationId xmlns:a16="http://schemas.microsoft.com/office/drawing/2014/main" id="{A6435080-F143-4AAA-83BB-55D9B7F0E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" y="3675"/>
              <a:ext cx="59" cy="58"/>
            </a:xfrm>
            <a:custGeom>
              <a:avLst/>
              <a:gdLst>
                <a:gd name="T0" fmla="*/ 51 w 59"/>
                <a:gd name="T1" fmla="*/ 58 h 58"/>
                <a:gd name="T2" fmla="*/ 0 w 59"/>
                <a:gd name="T3" fmla="*/ 5 h 58"/>
                <a:gd name="T4" fmla="*/ 5 w 59"/>
                <a:gd name="T5" fmla="*/ 0 h 58"/>
                <a:gd name="T6" fmla="*/ 59 w 59"/>
                <a:gd name="T7" fmla="*/ 51 h 58"/>
                <a:gd name="T8" fmla="*/ 51 w 59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8">
                  <a:moveTo>
                    <a:pt x="51" y="5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9" y="51"/>
                  </a:lnTo>
                  <a:lnTo>
                    <a:pt x="51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7" name="Group 452">
            <a:extLst>
              <a:ext uri="{FF2B5EF4-FFF2-40B4-BE49-F238E27FC236}">
                <a16:creationId xmlns:a16="http://schemas.microsoft.com/office/drawing/2014/main" id="{86DE0CBB-F79B-41E1-99CE-9AED1CFAD6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7913" y="5480844"/>
            <a:ext cx="758825" cy="758825"/>
            <a:chOff x="2279" y="3474"/>
            <a:chExt cx="478" cy="478"/>
          </a:xfrm>
        </p:grpSpPr>
        <p:sp>
          <p:nvSpPr>
            <p:cNvPr id="498" name="AutoShape 451">
              <a:extLst>
                <a:ext uri="{FF2B5EF4-FFF2-40B4-BE49-F238E27FC236}">
                  <a16:creationId xmlns:a16="http://schemas.microsoft.com/office/drawing/2014/main" id="{2146CE8D-1AD8-428A-ADB5-BBE6C838DD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9" y="347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453">
              <a:extLst>
                <a:ext uri="{FF2B5EF4-FFF2-40B4-BE49-F238E27FC236}">
                  <a16:creationId xmlns:a16="http://schemas.microsoft.com/office/drawing/2014/main" id="{06559044-C192-41AF-A378-A50EB4405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1" y="347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Freeform 454">
              <a:extLst>
                <a:ext uri="{FF2B5EF4-FFF2-40B4-BE49-F238E27FC236}">
                  <a16:creationId xmlns:a16="http://schemas.microsoft.com/office/drawing/2014/main" id="{8525D1F5-E2BB-4974-A9A9-DE8FBE6FD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" y="3692"/>
              <a:ext cx="40" cy="54"/>
            </a:xfrm>
            <a:custGeom>
              <a:avLst/>
              <a:gdLst>
                <a:gd name="T0" fmla="*/ 15 w 40"/>
                <a:gd name="T1" fmla="*/ 0 h 54"/>
                <a:gd name="T2" fmla="*/ 0 w 40"/>
                <a:gd name="T3" fmla="*/ 25 h 54"/>
                <a:gd name="T4" fmla="*/ 25 w 40"/>
                <a:gd name="T5" fmla="*/ 25 h 54"/>
                <a:gd name="T6" fmla="*/ 17 w 40"/>
                <a:gd name="T7" fmla="*/ 54 h 54"/>
                <a:gd name="T8" fmla="*/ 40 w 40"/>
                <a:gd name="T9" fmla="*/ 15 h 54"/>
                <a:gd name="T10" fmla="*/ 20 w 40"/>
                <a:gd name="T11" fmla="*/ 15 h 54"/>
                <a:gd name="T12" fmla="*/ 30 w 40"/>
                <a:gd name="T13" fmla="*/ 0 h 54"/>
                <a:gd name="T14" fmla="*/ 15 w 40"/>
                <a:gd name="T1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54">
                  <a:moveTo>
                    <a:pt x="15" y="0"/>
                  </a:moveTo>
                  <a:lnTo>
                    <a:pt x="0" y="25"/>
                  </a:lnTo>
                  <a:lnTo>
                    <a:pt x="25" y="25"/>
                  </a:lnTo>
                  <a:lnTo>
                    <a:pt x="17" y="54"/>
                  </a:lnTo>
                  <a:lnTo>
                    <a:pt x="40" y="15"/>
                  </a:lnTo>
                  <a:lnTo>
                    <a:pt x="20" y="15"/>
                  </a:lnTo>
                  <a:lnTo>
                    <a:pt x="3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Freeform 455">
              <a:extLst>
                <a:ext uri="{FF2B5EF4-FFF2-40B4-BE49-F238E27FC236}">
                  <a16:creationId xmlns:a16="http://schemas.microsoft.com/office/drawing/2014/main" id="{B4453DC5-5F29-428A-832E-F4A1A3EDE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3807"/>
              <a:ext cx="30" cy="15"/>
            </a:xfrm>
            <a:custGeom>
              <a:avLst/>
              <a:gdLst>
                <a:gd name="T0" fmla="*/ 30 w 30"/>
                <a:gd name="T1" fmla="*/ 15 h 15"/>
                <a:gd name="T2" fmla="*/ 0 w 30"/>
                <a:gd name="T3" fmla="*/ 8 h 15"/>
                <a:gd name="T4" fmla="*/ 3 w 30"/>
                <a:gd name="T5" fmla="*/ 0 h 15"/>
                <a:gd name="T6" fmla="*/ 30 w 30"/>
                <a:gd name="T7" fmla="*/ 8 h 15"/>
                <a:gd name="T8" fmla="*/ 30 w 30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30" y="15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30" y="8"/>
                  </a:lnTo>
                  <a:lnTo>
                    <a:pt x="30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Freeform 456">
              <a:extLst>
                <a:ext uri="{FF2B5EF4-FFF2-40B4-BE49-F238E27FC236}">
                  <a16:creationId xmlns:a16="http://schemas.microsoft.com/office/drawing/2014/main" id="{267325D7-0FDD-43D1-AE48-C16F08045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" y="3582"/>
              <a:ext cx="76" cy="125"/>
            </a:xfrm>
            <a:custGeom>
              <a:avLst/>
              <a:gdLst>
                <a:gd name="T0" fmla="*/ 3 w 31"/>
                <a:gd name="T1" fmla="*/ 51 h 51"/>
                <a:gd name="T2" fmla="*/ 0 w 31"/>
                <a:gd name="T3" fmla="*/ 49 h 51"/>
                <a:gd name="T4" fmla="*/ 25 w 31"/>
                <a:gd name="T5" fmla="*/ 4 h 51"/>
                <a:gd name="T6" fmla="*/ 17 w 31"/>
                <a:gd name="T7" fmla="*/ 9 h 51"/>
                <a:gd name="T8" fmla="*/ 14 w 31"/>
                <a:gd name="T9" fmla="*/ 8 h 51"/>
                <a:gd name="T10" fmla="*/ 29 w 31"/>
                <a:gd name="T11" fmla="*/ 1 h 51"/>
                <a:gd name="T12" fmla="*/ 31 w 31"/>
                <a:gd name="T13" fmla="*/ 2 h 51"/>
                <a:gd name="T14" fmla="*/ 3 w 3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51">
                  <a:moveTo>
                    <a:pt x="3" y="51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3" y="4"/>
                    <a:pt x="19" y="4"/>
                    <a:pt x="17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7" y="0"/>
                    <a:pt x="25" y="0"/>
                    <a:pt x="29" y="1"/>
                  </a:cubicBezTo>
                  <a:cubicBezTo>
                    <a:pt x="31" y="2"/>
                    <a:pt x="31" y="2"/>
                    <a:pt x="31" y="2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Freeform 457">
              <a:extLst>
                <a:ext uri="{FF2B5EF4-FFF2-40B4-BE49-F238E27FC236}">
                  <a16:creationId xmlns:a16="http://schemas.microsoft.com/office/drawing/2014/main" id="{37656E41-FE0F-439D-A713-A1FA3B811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2" y="3771"/>
              <a:ext cx="69" cy="22"/>
            </a:xfrm>
            <a:custGeom>
              <a:avLst/>
              <a:gdLst>
                <a:gd name="T0" fmla="*/ 4 w 28"/>
                <a:gd name="T1" fmla="*/ 3 h 9"/>
                <a:gd name="T2" fmla="*/ 3 w 28"/>
                <a:gd name="T3" fmla="*/ 3 h 9"/>
                <a:gd name="T4" fmla="*/ 3 w 28"/>
                <a:gd name="T5" fmla="*/ 5 h 9"/>
                <a:gd name="T6" fmla="*/ 4 w 28"/>
                <a:gd name="T7" fmla="*/ 5 h 9"/>
                <a:gd name="T8" fmla="*/ 25 w 28"/>
                <a:gd name="T9" fmla="*/ 5 h 9"/>
                <a:gd name="T10" fmla="*/ 25 w 28"/>
                <a:gd name="T11" fmla="*/ 5 h 9"/>
                <a:gd name="T12" fmla="*/ 25 w 28"/>
                <a:gd name="T13" fmla="*/ 3 h 9"/>
                <a:gd name="T14" fmla="*/ 25 w 28"/>
                <a:gd name="T15" fmla="*/ 3 h 9"/>
                <a:gd name="T16" fmla="*/ 4 w 28"/>
                <a:gd name="T17" fmla="*/ 3 h 9"/>
                <a:gd name="T18" fmla="*/ 25 w 28"/>
                <a:gd name="T19" fmla="*/ 9 h 9"/>
                <a:gd name="T20" fmla="*/ 4 w 28"/>
                <a:gd name="T21" fmla="*/ 9 h 9"/>
                <a:gd name="T22" fmla="*/ 0 w 28"/>
                <a:gd name="T23" fmla="*/ 5 h 9"/>
                <a:gd name="T24" fmla="*/ 0 w 28"/>
                <a:gd name="T25" fmla="*/ 3 h 9"/>
                <a:gd name="T26" fmla="*/ 4 w 28"/>
                <a:gd name="T27" fmla="*/ 0 h 9"/>
                <a:gd name="T28" fmla="*/ 25 w 28"/>
                <a:gd name="T29" fmla="*/ 0 h 9"/>
                <a:gd name="T30" fmla="*/ 28 w 28"/>
                <a:gd name="T31" fmla="*/ 3 h 9"/>
                <a:gd name="T32" fmla="*/ 28 w 28"/>
                <a:gd name="T33" fmla="*/ 5 h 9"/>
                <a:gd name="T34" fmla="*/ 25 w 2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9">
                  <a:moveTo>
                    <a:pt x="4" y="3"/>
                  </a:moveTo>
                  <a:cubicBezTo>
                    <a:pt x="4" y="3"/>
                    <a:pt x="3" y="3"/>
                    <a:pt x="3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lnTo>
                    <a:pt x="4" y="3"/>
                  </a:lnTo>
                  <a:close/>
                  <a:moveTo>
                    <a:pt x="25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1"/>
                    <a:pt x="28" y="3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7" y="9"/>
                    <a:pt x="25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Freeform 458">
              <a:extLst>
                <a:ext uri="{FF2B5EF4-FFF2-40B4-BE49-F238E27FC236}">
                  <a16:creationId xmlns:a16="http://schemas.microsoft.com/office/drawing/2014/main" id="{6DCB3832-C623-4209-A91C-6FE2FF295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3570"/>
              <a:ext cx="265" cy="277"/>
            </a:xfrm>
            <a:custGeom>
              <a:avLst/>
              <a:gdLst>
                <a:gd name="T0" fmla="*/ 105 w 108"/>
                <a:gd name="T1" fmla="*/ 113 h 113"/>
                <a:gd name="T2" fmla="*/ 94 w 108"/>
                <a:gd name="T3" fmla="*/ 110 h 113"/>
                <a:gd name="T4" fmla="*/ 54 w 108"/>
                <a:gd name="T5" fmla="*/ 110 h 113"/>
                <a:gd name="T6" fmla="*/ 36 w 108"/>
                <a:gd name="T7" fmla="*/ 100 h 113"/>
                <a:gd name="T8" fmla="*/ 4 w 108"/>
                <a:gd name="T9" fmla="*/ 100 h 113"/>
                <a:gd name="T10" fmla="*/ 4 w 108"/>
                <a:gd name="T11" fmla="*/ 99 h 113"/>
                <a:gd name="T12" fmla="*/ 0 w 108"/>
                <a:gd name="T13" fmla="*/ 89 h 113"/>
                <a:gd name="T14" fmla="*/ 3 w 108"/>
                <a:gd name="T15" fmla="*/ 89 h 113"/>
                <a:gd name="T16" fmla="*/ 6 w 108"/>
                <a:gd name="T17" fmla="*/ 97 h 113"/>
                <a:gd name="T18" fmla="*/ 37 w 108"/>
                <a:gd name="T19" fmla="*/ 97 h 113"/>
                <a:gd name="T20" fmla="*/ 55 w 108"/>
                <a:gd name="T21" fmla="*/ 106 h 113"/>
                <a:gd name="T22" fmla="*/ 95 w 108"/>
                <a:gd name="T23" fmla="*/ 107 h 113"/>
                <a:gd name="T24" fmla="*/ 102 w 108"/>
                <a:gd name="T25" fmla="*/ 109 h 113"/>
                <a:gd name="T26" fmla="*/ 103 w 108"/>
                <a:gd name="T27" fmla="*/ 101 h 113"/>
                <a:gd name="T28" fmla="*/ 100 w 108"/>
                <a:gd name="T29" fmla="*/ 89 h 113"/>
                <a:gd name="T30" fmla="*/ 85 w 108"/>
                <a:gd name="T31" fmla="*/ 84 h 113"/>
                <a:gd name="T32" fmla="*/ 85 w 108"/>
                <a:gd name="T33" fmla="*/ 84 h 113"/>
                <a:gd name="T34" fmla="*/ 63 w 108"/>
                <a:gd name="T35" fmla="*/ 55 h 113"/>
                <a:gd name="T36" fmla="*/ 78 w 108"/>
                <a:gd name="T37" fmla="*/ 15 h 113"/>
                <a:gd name="T38" fmla="*/ 39 w 108"/>
                <a:gd name="T39" fmla="*/ 4 h 113"/>
                <a:gd name="T40" fmla="*/ 31 w 108"/>
                <a:gd name="T41" fmla="*/ 26 h 113"/>
                <a:gd name="T42" fmla="*/ 28 w 108"/>
                <a:gd name="T43" fmla="*/ 25 h 113"/>
                <a:gd name="T44" fmla="*/ 36 w 108"/>
                <a:gd name="T45" fmla="*/ 0 h 113"/>
                <a:gd name="T46" fmla="*/ 82 w 108"/>
                <a:gd name="T47" fmla="*/ 13 h 113"/>
                <a:gd name="T48" fmla="*/ 67 w 108"/>
                <a:gd name="T49" fmla="*/ 55 h 113"/>
                <a:gd name="T50" fmla="*/ 86 w 108"/>
                <a:gd name="T51" fmla="*/ 80 h 113"/>
                <a:gd name="T52" fmla="*/ 103 w 108"/>
                <a:gd name="T53" fmla="*/ 86 h 113"/>
                <a:gd name="T54" fmla="*/ 107 w 108"/>
                <a:gd name="T55" fmla="*/ 102 h 113"/>
                <a:gd name="T56" fmla="*/ 105 w 108"/>
                <a:gd name="T5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8" h="113">
                  <a:moveTo>
                    <a:pt x="105" y="113"/>
                  </a:moveTo>
                  <a:cubicBezTo>
                    <a:pt x="94" y="110"/>
                    <a:pt x="94" y="110"/>
                    <a:pt x="94" y="110"/>
                  </a:cubicBezTo>
                  <a:cubicBezTo>
                    <a:pt x="54" y="110"/>
                    <a:pt x="54" y="110"/>
                    <a:pt x="54" y="11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99"/>
                    <a:pt x="4" y="99"/>
                    <a:pt x="4" y="99"/>
                  </a:cubicBezTo>
                  <a:cubicBezTo>
                    <a:pt x="0" y="95"/>
                    <a:pt x="0" y="89"/>
                    <a:pt x="0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4" y="93"/>
                    <a:pt x="6" y="97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4" y="96"/>
                    <a:pt x="103" y="92"/>
                    <a:pt x="100" y="89"/>
                  </a:cubicBezTo>
                  <a:cubicBezTo>
                    <a:pt x="95" y="83"/>
                    <a:pt x="86" y="84"/>
                    <a:pt x="85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80"/>
                    <a:pt x="98" y="81"/>
                    <a:pt x="103" y="86"/>
                  </a:cubicBezTo>
                  <a:cubicBezTo>
                    <a:pt x="106" y="90"/>
                    <a:pt x="108" y="95"/>
                    <a:pt x="107" y="102"/>
                  </a:cubicBezTo>
                  <a:lnTo>
                    <a:pt x="105" y="1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Freeform 459">
              <a:extLst>
                <a:ext uri="{FF2B5EF4-FFF2-40B4-BE49-F238E27FC236}">
                  <a16:creationId xmlns:a16="http://schemas.microsoft.com/office/drawing/2014/main" id="{F82C093D-3590-4315-909E-4F328D454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2" y="3599"/>
              <a:ext cx="238" cy="260"/>
            </a:xfrm>
            <a:custGeom>
              <a:avLst/>
              <a:gdLst>
                <a:gd name="T0" fmla="*/ 97 w 97"/>
                <a:gd name="T1" fmla="*/ 106 h 106"/>
                <a:gd name="T2" fmla="*/ 53 w 97"/>
                <a:gd name="T3" fmla="*/ 106 h 106"/>
                <a:gd name="T4" fmla="*/ 37 w 97"/>
                <a:gd name="T5" fmla="*/ 97 h 106"/>
                <a:gd name="T6" fmla="*/ 37 w 97"/>
                <a:gd name="T7" fmla="*/ 104 h 106"/>
                <a:gd name="T8" fmla="*/ 26 w 97"/>
                <a:gd name="T9" fmla="*/ 104 h 106"/>
                <a:gd name="T10" fmla="*/ 26 w 97"/>
                <a:gd name="T11" fmla="*/ 103 h 106"/>
                <a:gd name="T12" fmla="*/ 25 w 97"/>
                <a:gd name="T13" fmla="*/ 104 h 106"/>
                <a:gd name="T14" fmla="*/ 15 w 97"/>
                <a:gd name="T15" fmla="*/ 104 h 106"/>
                <a:gd name="T16" fmla="*/ 14 w 97"/>
                <a:gd name="T17" fmla="*/ 103 h 106"/>
                <a:gd name="T18" fmla="*/ 14 w 97"/>
                <a:gd name="T19" fmla="*/ 104 h 106"/>
                <a:gd name="T20" fmla="*/ 4 w 97"/>
                <a:gd name="T21" fmla="*/ 104 h 106"/>
                <a:gd name="T22" fmla="*/ 4 w 97"/>
                <a:gd name="T23" fmla="*/ 86 h 106"/>
                <a:gd name="T24" fmla="*/ 8 w 97"/>
                <a:gd name="T25" fmla="*/ 86 h 106"/>
                <a:gd name="T26" fmla="*/ 8 w 97"/>
                <a:gd name="T27" fmla="*/ 101 h 106"/>
                <a:gd name="T28" fmla="*/ 11 w 97"/>
                <a:gd name="T29" fmla="*/ 101 h 106"/>
                <a:gd name="T30" fmla="*/ 14 w 97"/>
                <a:gd name="T31" fmla="*/ 95 h 106"/>
                <a:gd name="T32" fmla="*/ 17 w 97"/>
                <a:gd name="T33" fmla="*/ 101 h 106"/>
                <a:gd name="T34" fmla="*/ 23 w 97"/>
                <a:gd name="T35" fmla="*/ 101 h 106"/>
                <a:gd name="T36" fmla="*/ 26 w 97"/>
                <a:gd name="T37" fmla="*/ 94 h 106"/>
                <a:gd name="T38" fmla="*/ 29 w 97"/>
                <a:gd name="T39" fmla="*/ 101 h 106"/>
                <a:gd name="T40" fmla="*/ 33 w 97"/>
                <a:gd name="T41" fmla="*/ 101 h 106"/>
                <a:gd name="T42" fmla="*/ 33 w 97"/>
                <a:gd name="T43" fmla="*/ 91 h 106"/>
                <a:gd name="T44" fmla="*/ 54 w 97"/>
                <a:gd name="T45" fmla="*/ 102 h 106"/>
                <a:gd name="T46" fmla="*/ 94 w 97"/>
                <a:gd name="T47" fmla="*/ 102 h 106"/>
                <a:gd name="T48" fmla="*/ 94 w 97"/>
                <a:gd name="T49" fmla="*/ 88 h 106"/>
                <a:gd name="T50" fmla="*/ 88 w 97"/>
                <a:gd name="T51" fmla="*/ 81 h 106"/>
                <a:gd name="T52" fmla="*/ 74 w 97"/>
                <a:gd name="T53" fmla="*/ 81 h 106"/>
                <a:gd name="T54" fmla="*/ 73 w 97"/>
                <a:gd name="T55" fmla="*/ 81 h 106"/>
                <a:gd name="T56" fmla="*/ 47 w 97"/>
                <a:gd name="T57" fmla="*/ 60 h 106"/>
                <a:gd name="T58" fmla="*/ 57 w 97"/>
                <a:gd name="T59" fmla="*/ 4 h 106"/>
                <a:gd name="T60" fmla="*/ 53 w 97"/>
                <a:gd name="T61" fmla="*/ 5 h 106"/>
                <a:gd name="T62" fmla="*/ 50 w 97"/>
                <a:gd name="T63" fmla="*/ 13 h 106"/>
                <a:gd name="T64" fmla="*/ 50 w 97"/>
                <a:gd name="T65" fmla="*/ 14 h 106"/>
                <a:gd name="T66" fmla="*/ 8 w 97"/>
                <a:gd name="T67" fmla="*/ 16 h 106"/>
                <a:gd name="T68" fmla="*/ 8 w 97"/>
                <a:gd name="T69" fmla="*/ 61 h 106"/>
                <a:gd name="T70" fmla="*/ 7 w 97"/>
                <a:gd name="T71" fmla="*/ 62 h 106"/>
                <a:gd name="T72" fmla="*/ 4 w 97"/>
                <a:gd name="T73" fmla="*/ 71 h 106"/>
                <a:gd name="T74" fmla="*/ 1 w 97"/>
                <a:gd name="T75" fmla="*/ 71 h 106"/>
                <a:gd name="T76" fmla="*/ 4 w 97"/>
                <a:gd name="T77" fmla="*/ 60 h 106"/>
                <a:gd name="T78" fmla="*/ 4 w 97"/>
                <a:gd name="T79" fmla="*/ 12 h 106"/>
                <a:gd name="T80" fmla="*/ 47 w 97"/>
                <a:gd name="T81" fmla="*/ 11 h 106"/>
                <a:gd name="T82" fmla="*/ 51 w 97"/>
                <a:gd name="T83" fmla="*/ 3 h 106"/>
                <a:gd name="T84" fmla="*/ 59 w 97"/>
                <a:gd name="T85" fmla="*/ 1 h 106"/>
                <a:gd name="T86" fmla="*/ 61 w 97"/>
                <a:gd name="T87" fmla="*/ 1 h 106"/>
                <a:gd name="T88" fmla="*/ 51 w 97"/>
                <a:gd name="T89" fmla="*/ 58 h 106"/>
                <a:gd name="T90" fmla="*/ 73 w 97"/>
                <a:gd name="T91" fmla="*/ 77 h 106"/>
                <a:gd name="T92" fmla="*/ 89 w 97"/>
                <a:gd name="T93" fmla="*/ 78 h 106"/>
                <a:gd name="T94" fmla="*/ 97 w 97"/>
                <a:gd name="T95" fmla="*/ 88 h 106"/>
                <a:gd name="T96" fmla="*/ 97 w 97"/>
                <a:gd name="T97" fmla="*/ 88 h 106"/>
                <a:gd name="T98" fmla="*/ 97 w 97"/>
                <a:gd name="T9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106">
                  <a:moveTo>
                    <a:pt x="97" y="106"/>
                  </a:moveTo>
                  <a:cubicBezTo>
                    <a:pt x="53" y="106"/>
                    <a:pt x="53" y="106"/>
                    <a:pt x="53" y="106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93" y="87"/>
                    <a:pt x="92" y="83"/>
                    <a:pt x="88" y="81"/>
                  </a:cubicBezTo>
                  <a:cubicBezTo>
                    <a:pt x="84" y="79"/>
                    <a:pt x="79" y="79"/>
                    <a:pt x="74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4"/>
                    <a:pt x="54" y="4"/>
                    <a:pt x="53" y="5"/>
                  </a:cubicBezTo>
                  <a:cubicBezTo>
                    <a:pt x="51" y="7"/>
                    <a:pt x="50" y="9"/>
                    <a:pt x="50" y="1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4" y="65"/>
                    <a:pt x="4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0" y="65"/>
                    <a:pt x="3" y="61"/>
                    <a:pt x="4" y="6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7"/>
                    <a:pt x="49" y="5"/>
                    <a:pt x="51" y="3"/>
                  </a:cubicBezTo>
                  <a:cubicBezTo>
                    <a:pt x="54" y="0"/>
                    <a:pt x="59" y="1"/>
                    <a:pt x="59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80" y="75"/>
                    <a:pt x="85" y="75"/>
                    <a:pt x="89" y="78"/>
                  </a:cubicBezTo>
                  <a:cubicBezTo>
                    <a:pt x="95" y="81"/>
                    <a:pt x="97" y="87"/>
                    <a:pt x="97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10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460">
              <a:extLst>
                <a:ext uri="{FF2B5EF4-FFF2-40B4-BE49-F238E27FC236}">
                  <a16:creationId xmlns:a16="http://schemas.microsoft.com/office/drawing/2014/main" id="{224A7388-654D-435E-9411-735A21170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7" y="3631"/>
              <a:ext cx="7" cy="1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Freeform 461">
              <a:extLst>
                <a:ext uri="{FF2B5EF4-FFF2-40B4-BE49-F238E27FC236}">
                  <a16:creationId xmlns:a16="http://schemas.microsoft.com/office/drawing/2014/main" id="{A65721F1-AFDE-461C-BC6A-F76175B0A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3677"/>
              <a:ext cx="78" cy="79"/>
            </a:xfrm>
            <a:custGeom>
              <a:avLst/>
              <a:gdLst>
                <a:gd name="T0" fmla="*/ 16 w 32"/>
                <a:gd name="T1" fmla="*/ 3 h 32"/>
                <a:gd name="T2" fmla="*/ 3 w 32"/>
                <a:gd name="T3" fmla="*/ 16 h 32"/>
                <a:gd name="T4" fmla="*/ 16 w 32"/>
                <a:gd name="T5" fmla="*/ 29 h 32"/>
                <a:gd name="T6" fmla="*/ 29 w 32"/>
                <a:gd name="T7" fmla="*/ 16 h 32"/>
                <a:gd name="T8" fmla="*/ 16 w 32"/>
                <a:gd name="T9" fmla="*/ 3 h 32"/>
                <a:gd name="T10" fmla="*/ 16 w 32"/>
                <a:gd name="T11" fmla="*/ 32 h 32"/>
                <a:gd name="T12" fmla="*/ 0 w 32"/>
                <a:gd name="T13" fmla="*/ 16 h 32"/>
                <a:gd name="T14" fmla="*/ 16 w 32"/>
                <a:gd name="T15" fmla="*/ 0 h 32"/>
                <a:gd name="T16" fmla="*/ 32 w 32"/>
                <a:gd name="T17" fmla="*/ 16 h 32"/>
                <a:gd name="T18" fmla="*/ 16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"/>
                  </a:moveTo>
                  <a:cubicBezTo>
                    <a:pt x="9" y="3"/>
                    <a:pt x="3" y="9"/>
                    <a:pt x="3" y="16"/>
                  </a:cubicBezTo>
                  <a:cubicBezTo>
                    <a:pt x="3" y="23"/>
                    <a:pt x="9" y="29"/>
                    <a:pt x="16" y="29"/>
                  </a:cubicBezTo>
                  <a:cubicBezTo>
                    <a:pt x="23" y="29"/>
                    <a:pt x="29" y="23"/>
                    <a:pt x="29" y="16"/>
                  </a:cubicBezTo>
                  <a:cubicBezTo>
                    <a:pt x="29" y="9"/>
                    <a:pt x="23" y="3"/>
                    <a:pt x="16" y="3"/>
                  </a:cubicBezTo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Freeform 462">
              <a:extLst>
                <a:ext uri="{FF2B5EF4-FFF2-40B4-BE49-F238E27FC236}">
                  <a16:creationId xmlns:a16="http://schemas.microsoft.com/office/drawing/2014/main" id="{197DBAAD-C8E9-4E6A-9141-58E6E14DB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3690"/>
              <a:ext cx="56" cy="56"/>
            </a:xfrm>
            <a:custGeom>
              <a:avLst/>
              <a:gdLst>
                <a:gd name="T0" fmla="*/ 49 w 56"/>
                <a:gd name="T1" fmla="*/ 56 h 56"/>
                <a:gd name="T2" fmla="*/ 0 w 56"/>
                <a:gd name="T3" fmla="*/ 5 h 56"/>
                <a:gd name="T4" fmla="*/ 5 w 56"/>
                <a:gd name="T5" fmla="*/ 0 h 56"/>
                <a:gd name="T6" fmla="*/ 56 w 56"/>
                <a:gd name="T7" fmla="*/ 49 h 56"/>
                <a:gd name="T8" fmla="*/ 49 w 5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49" y="56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6" y="49"/>
                  </a:lnTo>
                  <a:lnTo>
                    <a:pt x="49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9" name="Group 465">
            <a:extLst>
              <a:ext uri="{FF2B5EF4-FFF2-40B4-BE49-F238E27FC236}">
                <a16:creationId xmlns:a16="http://schemas.microsoft.com/office/drawing/2014/main" id="{1F1BEB50-9FC7-477C-B581-772205A4DD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72025" y="5439569"/>
            <a:ext cx="841375" cy="841375"/>
            <a:chOff x="3006" y="3440"/>
            <a:chExt cx="530" cy="530"/>
          </a:xfrm>
        </p:grpSpPr>
        <p:sp>
          <p:nvSpPr>
            <p:cNvPr id="510" name="AutoShape 464">
              <a:extLst>
                <a:ext uri="{FF2B5EF4-FFF2-40B4-BE49-F238E27FC236}">
                  <a16:creationId xmlns:a16="http://schemas.microsoft.com/office/drawing/2014/main" id="{9D20D2D9-943F-460E-958B-D99DFA35D7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6" y="344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Oval 466">
              <a:extLst>
                <a:ext uri="{FF2B5EF4-FFF2-40B4-BE49-F238E27FC236}">
                  <a16:creationId xmlns:a16="http://schemas.microsoft.com/office/drawing/2014/main" id="{D487A85D-C4A9-483B-9777-4CD6A7AF6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344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Freeform 467">
              <a:extLst>
                <a:ext uri="{FF2B5EF4-FFF2-40B4-BE49-F238E27FC236}">
                  <a16:creationId xmlns:a16="http://schemas.microsoft.com/office/drawing/2014/main" id="{C9CFFE66-9173-4F2F-B757-9C050FFE0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345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Freeform 468">
              <a:extLst>
                <a:ext uri="{FF2B5EF4-FFF2-40B4-BE49-F238E27FC236}">
                  <a16:creationId xmlns:a16="http://schemas.microsoft.com/office/drawing/2014/main" id="{935ABE00-7CFB-4126-9101-1462A1F0C6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3" y="3522"/>
              <a:ext cx="43" cy="18"/>
            </a:xfrm>
            <a:custGeom>
              <a:avLst/>
              <a:gdLst>
                <a:gd name="T0" fmla="*/ 7 w 17"/>
                <a:gd name="T1" fmla="*/ 4 h 7"/>
                <a:gd name="T2" fmla="*/ 10 w 17"/>
                <a:gd name="T3" fmla="*/ 4 h 7"/>
                <a:gd name="T4" fmla="*/ 7 w 17"/>
                <a:gd name="T5" fmla="*/ 4 h 7"/>
                <a:gd name="T6" fmla="*/ 8 w 17"/>
                <a:gd name="T7" fmla="*/ 7 h 7"/>
                <a:gd name="T8" fmla="*/ 0 w 17"/>
                <a:gd name="T9" fmla="*/ 4 h 7"/>
                <a:gd name="T10" fmla="*/ 8 w 17"/>
                <a:gd name="T11" fmla="*/ 0 h 7"/>
                <a:gd name="T12" fmla="*/ 17 w 17"/>
                <a:gd name="T13" fmla="*/ 4 h 7"/>
                <a:gd name="T14" fmla="*/ 8 w 1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7">
                  <a:moveTo>
                    <a:pt x="7" y="4"/>
                  </a:moveTo>
                  <a:cubicBezTo>
                    <a:pt x="8" y="4"/>
                    <a:pt x="9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moveTo>
                    <a:pt x="8" y="7"/>
                  </a:moveTo>
                  <a:cubicBezTo>
                    <a:pt x="6" y="7"/>
                    <a:pt x="0" y="7"/>
                    <a:pt x="0" y="4"/>
                  </a:cubicBezTo>
                  <a:cubicBezTo>
                    <a:pt x="0" y="1"/>
                    <a:pt x="6" y="0"/>
                    <a:pt x="8" y="0"/>
                  </a:cubicBezTo>
                  <a:cubicBezTo>
                    <a:pt x="11" y="0"/>
                    <a:pt x="17" y="1"/>
                    <a:pt x="17" y="4"/>
                  </a:cubicBezTo>
                  <a:cubicBezTo>
                    <a:pt x="17" y="7"/>
                    <a:pt x="11" y="7"/>
                    <a:pt x="8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Freeform 469">
              <a:extLst>
                <a:ext uri="{FF2B5EF4-FFF2-40B4-BE49-F238E27FC236}">
                  <a16:creationId xmlns:a16="http://schemas.microsoft.com/office/drawing/2014/main" id="{DB04B464-7D2E-4A83-B71E-908CB1548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0" y="3532"/>
              <a:ext cx="110" cy="361"/>
            </a:xfrm>
            <a:custGeom>
              <a:avLst/>
              <a:gdLst>
                <a:gd name="T0" fmla="*/ 21 w 43"/>
                <a:gd name="T1" fmla="*/ 141 h 141"/>
                <a:gd name="T2" fmla="*/ 0 w 43"/>
                <a:gd name="T3" fmla="*/ 135 h 141"/>
                <a:gd name="T4" fmla="*/ 0 w 43"/>
                <a:gd name="T5" fmla="*/ 40 h 141"/>
                <a:gd name="T6" fmla="*/ 13 w 43"/>
                <a:gd name="T7" fmla="*/ 26 h 141"/>
                <a:gd name="T8" fmla="*/ 13 w 43"/>
                <a:gd name="T9" fmla="*/ 0 h 141"/>
                <a:gd name="T10" fmla="*/ 16 w 43"/>
                <a:gd name="T11" fmla="*/ 0 h 141"/>
                <a:gd name="T12" fmla="*/ 16 w 43"/>
                <a:gd name="T13" fmla="*/ 27 h 141"/>
                <a:gd name="T14" fmla="*/ 3 w 43"/>
                <a:gd name="T15" fmla="*/ 41 h 141"/>
                <a:gd name="T16" fmla="*/ 3 w 43"/>
                <a:gd name="T17" fmla="*/ 135 h 141"/>
                <a:gd name="T18" fmla="*/ 21 w 43"/>
                <a:gd name="T19" fmla="*/ 138 h 141"/>
                <a:gd name="T20" fmla="*/ 40 w 43"/>
                <a:gd name="T21" fmla="*/ 134 h 141"/>
                <a:gd name="T22" fmla="*/ 40 w 43"/>
                <a:gd name="T23" fmla="*/ 41 h 141"/>
                <a:gd name="T24" fmla="*/ 26 w 43"/>
                <a:gd name="T25" fmla="*/ 27 h 141"/>
                <a:gd name="T26" fmla="*/ 26 w 43"/>
                <a:gd name="T27" fmla="*/ 0 h 141"/>
                <a:gd name="T28" fmla="*/ 30 w 43"/>
                <a:gd name="T29" fmla="*/ 0 h 141"/>
                <a:gd name="T30" fmla="*/ 30 w 43"/>
                <a:gd name="T31" fmla="*/ 26 h 141"/>
                <a:gd name="T32" fmla="*/ 43 w 43"/>
                <a:gd name="T33" fmla="*/ 40 h 141"/>
                <a:gd name="T34" fmla="*/ 43 w 43"/>
                <a:gd name="T35" fmla="*/ 135 h 141"/>
                <a:gd name="T36" fmla="*/ 21 w 43"/>
                <a:gd name="T3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141">
                  <a:moveTo>
                    <a:pt x="21" y="141"/>
                  </a:moveTo>
                  <a:cubicBezTo>
                    <a:pt x="13" y="141"/>
                    <a:pt x="0" y="140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3" y="136"/>
                    <a:pt x="10" y="138"/>
                    <a:pt x="21" y="138"/>
                  </a:cubicBezTo>
                  <a:cubicBezTo>
                    <a:pt x="33" y="138"/>
                    <a:pt x="39" y="136"/>
                    <a:pt x="40" y="134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40"/>
                    <a:pt x="30" y="141"/>
                    <a:pt x="21" y="1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Freeform 470">
              <a:extLst>
                <a:ext uri="{FF2B5EF4-FFF2-40B4-BE49-F238E27FC236}">
                  <a16:creationId xmlns:a16="http://schemas.microsoft.com/office/drawing/2014/main" id="{B2253801-55FE-43BA-BE50-B2C3B1FDA2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1" y="3522"/>
              <a:ext cx="43" cy="18"/>
            </a:xfrm>
            <a:custGeom>
              <a:avLst/>
              <a:gdLst>
                <a:gd name="T0" fmla="*/ 7 w 17"/>
                <a:gd name="T1" fmla="*/ 4 h 7"/>
                <a:gd name="T2" fmla="*/ 10 w 17"/>
                <a:gd name="T3" fmla="*/ 4 h 7"/>
                <a:gd name="T4" fmla="*/ 7 w 17"/>
                <a:gd name="T5" fmla="*/ 4 h 7"/>
                <a:gd name="T6" fmla="*/ 8 w 17"/>
                <a:gd name="T7" fmla="*/ 7 h 7"/>
                <a:gd name="T8" fmla="*/ 0 w 17"/>
                <a:gd name="T9" fmla="*/ 4 h 7"/>
                <a:gd name="T10" fmla="*/ 8 w 17"/>
                <a:gd name="T11" fmla="*/ 0 h 7"/>
                <a:gd name="T12" fmla="*/ 17 w 17"/>
                <a:gd name="T13" fmla="*/ 4 h 7"/>
                <a:gd name="T14" fmla="*/ 8 w 1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7">
                  <a:moveTo>
                    <a:pt x="7" y="4"/>
                  </a:moveTo>
                  <a:cubicBezTo>
                    <a:pt x="8" y="4"/>
                    <a:pt x="9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moveTo>
                    <a:pt x="8" y="7"/>
                  </a:moveTo>
                  <a:cubicBezTo>
                    <a:pt x="6" y="7"/>
                    <a:pt x="0" y="7"/>
                    <a:pt x="0" y="4"/>
                  </a:cubicBezTo>
                  <a:cubicBezTo>
                    <a:pt x="0" y="1"/>
                    <a:pt x="6" y="0"/>
                    <a:pt x="8" y="0"/>
                  </a:cubicBezTo>
                  <a:cubicBezTo>
                    <a:pt x="11" y="0"/>
                    <a:pt x="17" y="1"/>
                    <a:pt x="17" y="4"/>
                  </a:cubicBezTo>
                  <a:cubicBezTo>
                    <a:pt x="17" y="7"/>
                    <a:pt x="11" y="7"/>
                    <a:pt x="8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Freeform 471">
              <a:extLst>
                <a:ext uri="{FF2B5EF4-FFF2-40B4-BE49-F238E27FC236}">
                  <a16:creationId xmlns:a16="http://schemas.microsoft.com/office/drawing/2014/main" id="{2FB24ABA-C4EC-406E-9DA5-973FE1515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" y="3532"/>
              <a:ext cx="112" cy="361"/>
            </a:xfrm>
            <a:custGeom>
              <a:avLst/>
              <a:gdLst>
                <a:gd name="T0" fmla="*/ 22 w 44"/>
                <a:gd name="T1" fmla="*/ 141 h 141"/>
                <a:gd name="T2" fmla="*/ 0 w 44"/>
                <a:gd name="T3" fmla="*/ 134 h 141"/>
                <a:gd name="T4" fmla="*/ 0 w 44"/>
                <a:gd name="T5" fmla="*/ 39 h 141"/>
                <a:gd name="T6" fmla="*/ 14 w 44"/>
                <a:gd name="T7" fmla="*/ 26 h 141"/>
                <a:gd name="T8" fmla="*/ 14 w 44"/>
                <a:gd name="T9" fmla="*/ 0 h 141"/>
                <a:gd name="T10" fmla="*/ 17 w 44"/>
                <a:gd name="T11" fmla="*/ 0 h 141"/>
                <a:gd name="T12" fmla="*/ 17 w 44"/>
                <a:gd name="T13" fmla="*/ 27 h 141"/>
                <a:gd name="T14" fmla="*/ 4 w 44"/>
                <a:gd name="T15" fmla="*/ 41 h 141"/>
                <a:gd name="T16" fmla="*/ 4 w 44"/>
                <a:gd name="T17" fmla="*/ 134 h 141"/>
                <a:gd name="T18" fmla="*/ 22 w 44"/>
                <a:gd name="T19" fmla="*/ 138 h 141"/>
                <a:gd name="T20" fmla="*/ 41 w 44"/>
                <a:gd name="T21" fmla="*/ 134 h 141"/>
                <a:gd name="T22" fmla="*/ 41 w 44"/>
                <a:gd name="T23" fmla="*/ 41 h 141"/>
                <a:gd name="T24" fmla="*/ 27 w 44"/>
                <a:gd name="T25" fmla="*/ 27 h 141"/>
                <a:gd name="T26" fmla="*/ 27 w 44"/>
                <a:gd name="T27" fmla="*/ 0 h 141"/>
                <a:gd name="T28" fmla="*/ 31 w 44"/>
                <a:gd name="T29" fmla="*/ 0 h 141"/>
                <a:gd name="T30" fmla="*/ 31 w 44"/>
                <a:gd name="T31" fmla="*/ 26 h 141"/>
                <a:gd name="T32" fmla="*/ 44 w 44"/>
                <a:gd name="T33" fmla="*/ 39 h 141"/>
                <a:gd name="T34" fmla="*/ 44 w 44"/>
                <a:gd name="T35" fmla="*/ 134 h 141"/>
                <a:gd name="T36" fmla="*/ 22 w 44"/>
                <a:gd name="T3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141">
                  <a:moveTo>
                    <a:pt x="22" y="141"/>
                  </a:moveTo>
                  <a:cubicBezTo>
                    <a:pt x="14" y="141"/>
                    <a:pt x="0" y="140"/>
                    <a:pt x="0" y="13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134"/>
                    <a:pt x="4" y="134"/>
                    <a:pt x="4" y="134"/>
                  </a:cubicBezTo>
                  <a:cubicBezTo>
                    <a:pt x="4" y="136"/>
                    <a:pt x="11" y="138"/>
                    <a:pt x="22" y="138"/>
                  </a:cubicBezTo>
                  <a:cubicBezTo>
                    <a:pt x="34" y="138"/>
                    <a:pt x="40" y="136"/>
                    <a:pt x="41" y="134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4" y="140"/>
                    <a:pt x="31" y="141"/>
                    <a:pt x="22" y="1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Freeform 472">
              <a:extLst>
                <a:ext uri="{FF2B5EF4-FFF2-40B4-BE49-F238E27FC236}">
                  <a16:creationId xmlns:a16="http://schemas.microsoft.com/office/drawing/2014/main" id="{FE00C105-843E-4544-A604-AB0F5814A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" y="3665"/>
              <a:ext cx="325" cy="67"/>
            </a:xfrm>
            <a:custGeom>
              <a:avLst/>
              <a:gdLst>
                <a:gd name="T0" fmla="*/ 63 w 127"/>
                <a:gd name="T1" fmla="*/ 26 h 26"/>
                <a:gd name="T2" fmla="*/ 0 w 127"/>
                <a:gd name="T3" fmla="*/ 2 h 26"/>
                <a:gd name="T4" fmla="*/ 3 w 127"/>
                <a:gd name="T5" fmla="*/ 0 h 26"/>
                <a:gd name="T6" fmla="*/ 63 w 127"/>
                <a:gd name="T7" fmla="*/ 23 h 26"/>
                <a:gd name="T8" fmla="*/ 124 w 127"/>
                <a:gd name="T9" fmla="*/ 0 h 26"/>
                <a:gd name="T10" fmla="*/ 127 w 127"/>
                <a:gd name="T11" fmla="*/ 2 h 26"/>
                <a:gd name="T12" fmla="*/ 63 w 12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6">
                  <a:moveTo>
                    <a:pt x="63" y="26"/>
                  </a:moveTo>
                  <a:cubicBezTo>
                    <a:pt x="14" y="26"/>
                    <a:pt x="1" y="3"/>
                    <a:pt x="0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16" y="23"/>
                    <a:pt x="63" y="23"/>
                  </a:cubicBezTo>
                  <a:cubicBezTo>
                    <a:pt x="111" y="23"/>
                    <a:pt x="124" y="1"/>
                    <a:pt x="124" y="0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6" y="3"/>
                    <a:pt x="113" y="26"/>
                    <a:pt x="63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8" name="Group 475">
            <a:extLst>
              <a:ext uri="{FF2B5EF4-FFF2-40B4-BE49-F238E27FC236}">
                <a16:creationId xmlns:a16="http://schemas.microsoft.com/office/drawing/2014/main" id="{66AF4078-4544-47C6-86B3-AE6DF46322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80100" y="5480844"/>
            <a:ext cx="758825" cy="758825"/>
            <a:chOff x="3704" y="3466"/>
            <a:chExt cx="478" cy="478"/>
          </a:xfrm>
        </p:grpSpPr>
        <p:sp>
          <p:nvSpPr>
            <p:cNvPr id="519" name="AutoShape 474">
              <a:extLst>
                <a:ext uri="{FF2B5EF4-FFF2-40B4-BE49-F238E27FC236}">
                  <a16:creationId xmlns:a16="http://schemas.microsoft.com/office/drawing/2014/main" id="{097C3CDC-4DF9-4D11-B3C3-08226E57B2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04" y="346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Freeform 476">
              <a:extLst>
                <a:ext uri="{FF2B5EF4-FFF2-40B4-BE49-F238E27FC236}">
                  <a16:creationId xmlns:a16="http://schemas.microsoft.com/office/drawing/2014/main" id="{7C0C1319-FEBC-4F4C-B25B-42A7DE386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6" y="346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Freeform 477">
              <a:extLst>
                <a:ext uri="{FF2B5EF4-FFF2-40B4-BE49-F238E27FC236}">
                  <a16:creationId xmlns:a16="http://schemas.microsoft.com/office/drawing/2014/main" id="{2C017231-66A7-487B-B314-E5C02F8C5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8" y="3530"/>
              <a:ext cx="42" cy="17"/>
            </a:xfrm>
            <a:custGeom>
              <a:avLst/>
              <a:gdLst>
                <a:gd name="T0" fmla="*/ 7 w 17"/>
                <a:gd name="T1" fmla="*/ 4 h 7"/>
                <a:gd name="T2" fmla="*/ 10 w 17"/>
                <a:gd name="T3" fmla="*/ 4 h 7"/>
                <a:gd name="T4" fmla="*/ 7 w 17"/>
                <a:gd name="T5" fmla="*/ 4 h 7"/>
                <a:gd name="T6" fmla="*/ 8 w 17"/>
                <a:gd name="T7" fmla="*/ 7 h 7"/>
                <a:gd name="T8" fmla="*/ 0 w 17"/>
                <a:gd name="T9" fmla="*/ 4 h 7"/>
                <a:gd name="T10" fmla="*/ 8 w 17"/>
                <a:gd name="T11" fmla="*/ 0 h 7"/>
                <a:gd name="T12" fmla="*/ 17 w 17"/>
                <a:gd name="T13" fmla="*/ 4 h 7"/>
                <a:gd name="T14" fmla="*/ 8 w 1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7">
                  <a:moveTo>
                    <a:pt x="7" y="4"/>
                  </a:moveTo>
                  <a:cubicBezTo>
                    <a:pt x="8" y="4"/>
                    <a:pt x="9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moveTo>
                    <a:pt x="8" y="7"/>
                  </a:moveTo>
                  <a:cubicBezTo>
                    <a:pt x="6" y="7"/>
                    <a:pt x="0" y="7"/>
                    <a:pt x="0" y="4"/>
                  </a:cubicBezTo>
                  <a:cubicBezTo>
                    <a:pt x="0" y="1"/>
                    <a:pt x="6" y="0"/>
                    <a:pt x="8" y="0"/>
                  </a:cubicBezTo>
                  <a:cubicBezTo>
                    <a:pt x="11" y="0"/>
                    <a:pt x="17" y="1"/>
                    <a:pt x="17" y="4"/>
                  </a:cubicBezTo>
                  <a:cubicBezTo>
                    <a:pt x="17" y="7"/>
                    <a:pt x="11" y="7"/>
                    <a:pt x="8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Freeform 478">
              <a:extLst>
                <a:ext uri="{FF2B5EF4-FFF2-40B4-BE49-F238E27FC236}">
                  <a16:creationId xmlns:a16="http://schemas.microsoft.com/office/drawing/2014/main" id="{3A1D4F4D-3CA4-4DE7-B1F7-38A9BBC3B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" y="3540"/>
              <a:ext cx="106" cy="345"/>
            </a:xfrm>
            <a:custGeom>
              <a:avLst/>
              <a:gdLst>
                <a:gd name="T0" fmla="*/ 21 w 43"/>
                <a:gd name="T1" fmla="*/ 141 h 141"/>
                <a:gd name="T2" fmla="*/ 0 w 43"/>
                <a:gd name="T3" fmla="*/ 135 h 141"/>
                <a:gd name="T4" fmla="*/ 0 w 43"/>
                <a:gd name="T5" fmla="*/ 40 h 141"/>
                <a:gd name="T6" fmla="*/ 13 w 43"/>
                <a:gd name="T7" fmla="*/ 26 h 141"/>
                <a:gd name="T8" fmla="*/ 13 w 43"/>
                <a:gd name="T9" fmla="*/ 0 h 141"/>
                <a:gd name="T10" fmla="*/ 16 w 43"/>
                <a:gd name="T11" fmla="*/ 0 h 141"/>
                <a:gd name="T12" fmla="*/ 16 w 43"/>
                <a:gd name="T13" fmla="*/ 27 h 141"/>
                <a:gd name="T14" fmla="*/ 3 w 43"/>
                <a:gd name="T15" fmla="*/ 41 h 141"/>
                <a:gd name="T16" fmla="*/ 3 w 43"/>
                <a:gd name="T17" fmla="*/ 135 h 141"/>
                <a:gd name="T18" fmla="*/ 21 w 43"/>
                <a:gd name="T19" fmla="*/ 138 h 141"/>
                <a:gd name="T20" fmla="*/ 40 w 43"/>
                <a:gd name="T21" fmla="*/ 134 h 141"/>
                <a:gd name="T22" fmla="*/ 40 w 43"/>
                <a:gd name="T23" fmla="*/ 41 h 141"/>
                <a:gd name="T24" fmla="*/ 26 w 43"/>
                <a:gd name="T25" fmla="*/ 27 h 141"/>
                <a:gd name="T26" fmla="*/ 26 w 43"/>
                <a:gd name="T27" fmla="*/ 0 h 141"/>
                <a:gd name="T28" fmla="*/ 30 w 43"/>
                <a:gd name="T29" fmla="*/ 0 h 141"/>
                <a:gd name="T30" fmla="*/ 30 w 43"/>
                <a:gd name="T31" fmla="*/ 26 h 141"/>
                <a:gd name="T32" fmla="*/ 43 w 43"/>
                <a:gd name="T33" fmla="*/ 40 h 141"/>
                <a:gd name="T34" fmla="*/ 43 w 43"/>
                <a:gd name="T35" fmla="*/ 135 h 141"/>
                <a:gd name="T36" fmla="*/ 21 w 43"/>
                <a:gd name="T3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141">
                  <a:moveTo>
                    <a:pt x="21" y="141"/>
                  </a:moveTo>
                  <a:cubicBezTo>
                    <a:pt x="13" y="141"/>
                    <a:pt x="0" y="140"/>
                    <a:pt x="0" y="13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3" y="136"/>
                    <a:pt x="10" y="138"/>
                    <a:pt x="21" y="138"/>
                  </a:cubicBezTo>
                  <a:cubicBezTo>
                    <a:pt x="33" y="138"/>
                    <a:pt x="39" y="136"/>
                    <a:pt x="40" y="134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40"/>
                    <a:pt x="30" y="141"/>
                    <a:pt x="21" y="1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Freeform 479">
              <a:extLst>
                <a:ext uri="{FF2B5EF4-FFF2-40B4-BE49-F238E27FC236}">
                  <a16:creationId xmlns:a16="http://schemas.microsoft.com/office/drawing/2014/main" id="{C83F5A64-7A66-47E4-B7FE-FA53C544B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1" y="3530"/>
              <a:ext cx="42" cy="17"/>
            </a:xfrm>
            <a:custGeom>
              <a:avLst/>
              <a:gdLst>
                <a:gd name="T0" fmla="*/ 7 w 17"/>
                <a:gd name="T1" fmla="*/ 4 h 7"/>
                <a:gd name="T2" fmla="*/ 10 w 17"/>
                <a:gd name="T3" fmla="*/ 4 h 7"/>
                <a:gd name="T4" fmla="*/ 7 w 17"/>
                <a:gd name="T5" fmla="*/ 4 h 7"/>
                <a:gd name="T6" fmla="*/ 8 w 17"/>
                <a:gd name="T7" fmla="*/ 7 h 7"/>
                <a:gd name="T8" fmla="*/ 0 w 17"/>
                <a:gd name="T9" fmla="*/ 4 h 7"/>
                <a:gd name="T10" fmla="*/ 8 w 17"/>
                <a:gd name="T11" fmla="*/ 0 h 7"/>
                <a:gd name="T12" fmla="*/ 17 w 17"/>
                <a:gd name="T13" fmla="*/ 4 h 7"/>
                <a:gd name="T14" fmla="*/ 8 w 1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7">
                  <a:moveTo>
                    <a:pt x="7" y="4"/>
                  </a:moveTo>
                  <a:cubicBezTo>
                    <a:pt x="8" y="4"/>
                    <a:pt x="9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moveTo>
                    <a:pt x="8" y="7"/>
                  </a:moveTo>
                  <a:cubicBezTo>
                    <a:pt x="6" y="7"/>
                    <a:pt x="0" y="7"/>
                    <a:pt x="0" y="4"/>
                  </a:cubicBezTo>
                  <a:cubicBezTo>
                    <a:pt x="0" y="1"/>
                    <a:pt x="6" y="0"/>
                    <a:pt x="8" y="0"/>
                  </a:cubicBezTo>
                  <a:cubicBezTo>
                    <a:pt x="11" y="0"/>
                    <a:pt x="17" y="1"/>
                    <a:pt x="17" y="4"/>
                  </a:cubicBezTo>
                  <a:cubicBezTo>
                    <a:pt x="17" y="7"/>
                    <a:pt x="11" y="7"/>
                    <a:pt x="8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Freeform 480">
              <a:extLst>
                <a:ext uri="{FF2B5EF4-FFF2-40B4-BE49-F238E27FC236}">
                  <a16:creationId xmlns:a16="http://schemas.microsoft.com/office/drawing/2014/main" id="{D130F51F-EDBA-4A62-8226-E4DDC5D45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3540"/>
              <a:ext cx="108" cy="345"/>
            </a:xfrm>
            <a:custGeom>
              <a:avLst/>
              <a:gdLst>
                <a:gd name="T0" fmla="*/ 22 w 44"/>
                <a:gd name="T1" fmla="*/ 141 h 141"/>
                <a:gd name="T2" fmla="*/ 0 w 44"/>
                <a:gd name="T3" fmla="*/ 134 h 141"/>
                <a:gd name="T4" fmla="*/ 0 w 44"/>
                <a:gd name="T5" fmla="*/ 39 h 141"/>
                <a:gd name="T6" fmla="*/ 14 w 44"/>
                <a:gd name="T7" fmla="*/ 26 h 141"/>
                <a:gd name="T8" fmla="*/ 14 w 44"/>
                <a:gd name="T9" fmla="*/ 0 h 141"/>
                <a:gd name="T10" fmla="*/ 17 w 44"/>
                <a:gd name="T11" fmla="*/ 0 h 141"/>
                <a:gd name="T12" fmla="*/ 17 w 44"/>
                <a:gd name="T13" fmla="*/ 27 h 141"/>
                <a:gd name="T14" fmla="*/ 4 w 44"/>
                <a:gd name="T15" fmla="*/ 41 h 141"/>
                <a:gd name="T16" fmla="*/ 4 w 44"/>
                <a:gd name="T17" fmla="*/ 134 h 141"/>
                <a:gd name="T18" fmla="*/ 22 w 44"/>
                <a:gd name="T19" fmla="*/ 138 h 141"/>
                <a:gd name="T20" fmla="*/ 41 w 44"/>
                <a:gd name="T21" fmla="*/ 134 h 141"/>
                <a:gd name="T22" fmla="*/ 41 w 44"/>
                <a:gd name="T23" fmla="*/ 41 h 141"/>
                <a:gd name="T24" fmla="*/ 27 w 44"/>
                <a:gd name="T25" fmla="*/ 27 h 141"/>
                <a:gd name="T26" fmla="*/ 27 w 44"/>
                <a:gd name="T27" fmla="*/ 0 h 141"/>
                <a:gd name="T28" fmla="*/ 31 w 44"/>
                <a:gd name="T29" fmla="*/ 0 h 141"/>
                <a:gd name="T30" fmla="*/ 31 w 44"/>
                <a:gd name="T31" fmla="*/ 26 h 141"/>
                <a:gd name="T32" fmla="*/ 44 w 44"/>
                <a:gd name="T33" fmla="*/ 39 h 141"/>
                <a:gd name="T34" fmla="*/ 44 w 44"/>
                <a:gd name="T35" fmla="*/ 134 h 141"/>
                <a:gd name="T36" fmla="*/ 22 w 44"/>
                <a:gd name="T3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141">
                  <a:moveTo>
                    <a:pt x="22" y="141"/>
                  </a:moveTo>
                  <a:cubicBezTo>
                    <a:pt x="14" y="141"/>
                    <a:pt x="0" y="140"/>
                    <a:pt x="0" y="13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134"/>
                    <a:pt x="4" y="134"/>
                    <a:pt x="4" y="134"/>
                  </a:cubicBezTo>
                  <a:cubicBezTo>
                    <a:pt x="4" y="136"/>
                    <a:pt x="11" y="138"/>
                    <a:pt x="22" y="138"/>
                  </a:cubicBezTo>
                  <a:cubicBezTo>
                    <a:pt x="34" y="138"/>
                    <a:pt x="40" y="136"/>
                    <a:pt x="41" y="134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4" y="140"/>
                    <a:pt x="31" y="141"/>
                    <a:pt x="22" y="1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Freeform 481">
              <a:extLst>
                <a:ext uri="{FF2B5EF4-FFF2-40B4-BE49-F238E27FC236}">
                  <a16:creationId xmlns:a16="http://schemas.microsoft.com/office/drawing/2014/main" id="{74E99B17-6F3B-410E-8FB5-479A8C658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3667"/>
              <a:ext cx="311" cy="64"/>
            </a:xfrm>
            <a:custGeom>
              <a:avLst/>
              <a:gdLst>
                <a:gd name="T0" fmla="*/ 63 w 127"/>
                <a:gd name="T1" fmla="*/ 26 h 26"/>
                <a:gd name="T2" fmla="*/ 0 w 127"/>
                <a:gd name="T3" fmla="*/ 2 h 26"/>
                <a:gd name="T4" fmla="*/ 3 w 127"/>
                <a:gd name="T5" fmla="*/ 0 h 26"/>
                <a:gd name="T6" fmla="*/ 63 w 127"/>
                <a:gd name="T7" fmla="*/ 23 h 26"/>
                <a:gd name="T8" fmla="*/ 124 w 127"/>
                <a:gd name="T9" fmla="*/ 0 h 26"/>
                <a:gd name="T10" fmla="*/ 127 w 127"/>
                <a:gd name="T11" fmla="*/ 2 h 26"/>
                <a:gd name="T12" fmla="*/ 63 w 12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26">
                  <a:moveTo>
                    <a:pt x="63" y="26"/>
                  </a:moveTo>
                  <a:cubicBezTo>
                    <a:pt x="14" y="26"/>
                    <a:pt x="1" y="3"/>
                    <a:pt x="0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16" y="23"/>
                    <a:pt x="63" y="23"/>
                  </a:cubicBezTo>
                  <a:cubicBezTo>
                    <a:pt x="111" y="23"/>
                    <a:pt x="124" y="1"/>
                    <a:pt x="124" y="0"/>
                  </a:cubicBezTo>
                  <a:cubicBezTo>
                    <a:pt x="127" y="2"/>
                    <a:pt x="127" y="2"/>
                    <a:pt x="127" y="2"/>
                  </a:cubicBezTo>
                  <a:cubicBezTo>
                    <a:pt x="126" y="3"/>
                    <a:pt x="113" y="26"/>
                    <a:pt x="63" y="2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6" name="Group 484">
            <a:extLst>
              <a:ext uri="{FF2B5EF4-FFF2-40B4-BE49-F238E27FC236}">
                <a16:creationId xmlns:a16="http://schemas.microsoft.com/office/drawing/2014/main" id="{1F350A94-AA1D-4266-B994-7CD836F526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0400" y="5439569"/>
            <a:ext cx="841375" cy="841375"/>
            <a:chOff x="4416" y="3413"/>
            <a:chExt cx="530" cy="530"/>
          </a:xfrm>
        </p:grpSpPr>
        <p:sp>
          <p:nvSpPr>
            <p:cNvPr id="527" name="AutoShape 483">
              <a:extLst>
                <a:ext uri="{FF2B5EF4-FFF2-40B4-BE49-F238E27FC236}">
                  <a16:creationId xmlns:a16="http://schemas.microsoft.com/office/drawing/2014/main" id="{937CE5D1-D339-440D-95AD-BFA69CDDA36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6" y="341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Oval 485">
              <a:extLst>
                <a:ext uri="{FF2B5EF4-FFF2-40B4-BE49-F238E27FC236}">
                  <a16:creationId xmlns:a16="http://schemas.microsoft.com/office/drawing/2014/main" id="{36315E95-76BA-42BA-8882-6C9E89DB5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6" y="341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Freeform 486">
              <a:extLst>
                <a:ext uri="{FF2B5EF4-FFF2-40B4-BE49-F238E27FC236}">
                  <a16:creationId xmlns:a16="http://schemas.microsoft.com/office/drawing/2014/main" id="{CF0FD1C6-DD01-4020-9AEC-BD86D124A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4" y="343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Freeform 487">
              <a:extLst>
                <a:ext uri="{FF2B5EF4-FFF2-40B4-BE49-F238E27FC236}">
                  <a16:creationId xmlns:a16="http://schemas.microsoft.com/office/drawing/2014/main" id="{66CE2A35-31B6-446A-AB2F-AE40CA048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5" y="3582"/>
              <a:ext cx="120" cy="59"/>
            </a:xfrm>
            <a:custGeom>
              <a:avLst/>
              <a:gdLst>
                <a:gd name="T0" fmla="*/ 120 w 120"/>
                <a:gd name="T1" fmla="*/ 0 h 59"/>
                <a:gd name="T2" fmla="*/ 0 w 120"/>
                <a:gd name="T3" fmla="*/ 0 h 59"/>
                <a:gd name="T4" fmla="*/ 0 w 120"/>
                <a:gd name="T5" fmla="*/ 59 h 59"/>
                <a:gd name="T6" fmla="*/ 120 w 120"/>
                <a:gd name="T7" fmla="*/ 59 h 59"/>
                <a:gd name="T8" fmla="*/ 120 w 120"/>
                <a:gd name="T9" fmla="*/ 0 h 59"/>
                <a:gd name="T10" fmla="*/ 112 w 120"/>
                <a:gd name="T11" fmla="*/ 49 h 59"/>
                <a:gd name="T12" fmla="*/ 7 w 120"/>
                <a:gd name="T13" fmla="*/ 49 h 59"/>
                <a:gd name="T14" fmla="*/ 7 w 120"/>
                <a:gd name="T15" fmla="*/ 10 h 59"/>
                <a:gd name="T16" fmla="*/ 112 w 120"/>
                <a:gd name="T17" fmla="*/ 10 h 59"/>
                <a:gd name="T18" fmla="*/ 112 w 120"/>
                <a:gd name="T19" fmla="*/ 4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59">
                  <a:moveTo>
                    <a:pt x="120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120" y="59"/>
                  </a:lnTo>
                  <a:lnTo>
                    <a:pt x="120" y="0"/>
                  </a:lnTo>
                  <a:close/>
                  <a:moveTo>
                    <a:pt x="112" y="49"/>
                  </a:moveTo>
                  <a:lnTo>
                    <a:pt x="7" y="49"/>
                  </a:lnTo>
                  <a:lnTo>
                    <a:pt x="7" y="10"/>
                  </a:lnTo>
                  <a:lnTo>
                    <a:pt x="112" y="10"/>
                  </a:lnTo>
                  <a:lnTo>
                    <a:pt x="112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Freeform 488">
              <a:extLst>
                <a:ext uri="{FF2B5EF4-FFF2-40B4-BE49-F238E27FC236}">
                  <a16:creationId xmlns:a16="http://schemas.microsoft.com/office/drawing/2014/main" id="{02F25CC3-ACA7-47DF-9CE1-CDF89F5F20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8" y="3492"/>
              <a:ext cx="133" cy="108"/>
            </a:xfrm>
            <a:custGeom>
              <a:avLst/>
              <a:gdLst>
                <a:gd name="T0" fmla="*/ 107 w 133"/>
                <a:gd name="T1" fmla="*/ 0 h 108"/>
                <a:gd name="T2" fmla="*/ 0 w 133"/>
                <a:gd name="T3" fmla="*/ 57 h 108"/>
                <a:gd name="T4" fmla="*/ 25 w 133"/>
                <a:gd name="T5" fmla="*/ 108 h 108"/>
                <a:gd name="T6" fmla="*/ 133 w 133"/>
                <a:gd name="T7" fmla="*/ 51 h 108"/>
                <a:gd name="T8" fmla="*/ 107 w 133"/>
                <a:gd name="T9" fmla="*/ 0 h 108"/>
                <a:gd name="T10" fmla="*/ 102 w 133"/>
                <a:gd name="T11" fmla="*/ 13 h 108"/>
                <a:gd name="T12" fmla="*/ 123 w 133"/>
                <a:gd name="T13" fmla="*/ 46 h 108"/>
                <a:gd name="T14" fmla="*/ 30 w 133"/>
                <a:gd name="T15" fmla="*/ 95 h 108"/>
                <a:gd name="T16" fmla="*/ 10 w 133"/>
                <a:gd name="T17" fmla="*/ 62 h 108"/>
                <a:gd name="T18" fmla="*/ 102 w 133"/>
                <a:gd name="T19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8">
                  <a:moveTo>
                    <a:pt x="107" y="0"/>
                  </a:moveTo>
                  <a:lnTo>
                    <a:pt x="0" y="57"/>
                  </a:lnTo>
                  <a:lnTo>
                    <a:pt x="25" y="108"/>
                  </a:lnTo>
                  <a:lnTo>
                    <a:pt x="133" y="51"/>
                  </a:lnTo>
                  <a:lnTo>
                    <a:pt x="107" y="0"/>
                  </a:lnTo>
                  <a:close/>
                  <a:moveTo>
                    <a:pt x="102" y="13"/>
                  </a:moveTo>
                  <a:lnTo>
                    <a:pt x="123" y="46"/>
                  </a:lnTo>
                  <a:lnTo>
                    <a:pt x="30" y="95"/>
                  </a:lnTo>
                  <a:lnTo>
                    <a:pt x="10" y="62"/>
                  </a:lnTo>
                  <a:lnTo>
                    <a:pt x="10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Freeform 489">
              <a:extLst>
                <a:ext uri="{FF2B5EF4-FFF2-40B4-BE49-F238E27FC236}">
                  <a16:creationId xmlns:a16="http://schemas.microsoft.com/office/drawing/2014/main" id="{6CEB2B6F-8C06-471C-A019-71E97B6FD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3600"/>
              <a:ext cx="99" cy="133"/>
            </a:xfrm>
            <a:custGeom>
              <a:avLst/>
              <a:gdLst>
                <a:gd name="T0" fmla="*/ 48 w 99"/>
                <a:gd name="T1" fmla="*/ 0 h 133"/>
                <a:gd name="T2" fmla="*/ 0 w 99"/>
                <a:gd name="T3" fmla="*/ 110 h 133"/>
                <a:gd name="T4" fmla="*/ 53 w 99"/>
                <a:gd name="T5" fmla="*/ 133 h 133"/>
                <a:gd name="T6" fmla="*/ 99 w 99"/>
                <a:gd name="T7" fmla="*/ 23 h 133"/>
                <a:gd name="T8" fmla="*/ 48 w 99"/>
                <a:gd name="T9" fmla="*/ 0 h 133"/>
                <a:gd name="T10" fmla="*/ 51 w 99"/>
                <a:gd name="T11" fmla="*/ 10 h 133"/>
                <a:gd name="T12" fmla="*/ 89 w 99"/>
                <a:gd name="T13" fmla="*/ 25 h 133"/>
                <a:gd name="T14" fmla="*/ 48 w 99"/>
                <a:gd name="T15" fmla="*/ 123 h 133"/>
                <a:gd name="T16" fmla="*/ 12 w 99"/>
                <a:gd name="T17" fmla="*/ 107 h 133"/>
                <a:gd name="T18" fmla="*/ 51 w 99"/>
                <a:gd name="T19" fmla="*/ 1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133">
                  <a:moveTo>
                    <a:pt x="48" y="0"/>
                  </a:moveTo>
                  <a:lnTo>
                    <a:pt x="0" y="110"/>
                  </a:lnTo>
                  <a:lnTo>
                    <a:pt x="53" y="133"/>
                  </a:lnTo>
                  <a:lnTo>
                    <a:pt x="99" y="23"/>
                  </a:lnTo>
                  <a:lnTo>
                    <a:pt x="48" y="0"/>
                  </a:lnTo>
                  <a:close/>
                  <a:moveTo>
                    <a:pt x="51" y="10"/>
                  </a:moveTo>
                  <a:lnTo>
                    <a:pt x="89" y="25"/>
                  </a:lnTo>
                  <a:lnTo>
                    <a:pt x="48" y="123"/>
                  </a:lnTo>
                  <a:lnTo>
                    <a:pt x="12" y="107"/>
                  </a:lnTo>
                  <a:lnTo>
                    <a:pt x="5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Freeform 490">
              <a:extLst>
                <a:ext uri="{FF2B5EF4-FFF2-40B4-BE49-F238E27FC236}">
                  <a16:creationId xmlns:a16="http://schemas.microsoft.com/office/drawing/2014/main" id="{07AB5003-EF58-4A14-8DE3-61049A636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5" y="3646"/>
              <a:ext cx="120" cy="54"/>
            </a:xfrm>
            <a:custGeom>
              <a:avLst/>
              <a:gdLst>
                <a:gd name="T0" fmla="*/ 120 w 120"/>
                <a:gd name="T1" fmla="*/ 0 h 54"/>
                <a:gd name="T2" fmla="*/ 0 w 120"/>
                <a:gd name="T3" fmla="*/ 0 h 54"/>
                <a:gd name="T4" fmla="*/ 0 w 120"/>
                <a:gd name="T5" fmla="*/ 54 h 54"/>
                <a:gd name="T6" fmla="*/ 120 w 120"/>
                <a:gd name="T7" fmla="*/ 54 h 54"/>
                <a:gd name="T8" fmla="*/ 120 w 120"/>
                <a:gd name="T9" fmla="*/ 0 h 54"/>
                <a:gd name="T10" fmla="*/ 112 w 120"/>
                <a:gd name="T11" fmla="*/ 46 h 54"/>
                <a:gd name="T12" fmla="*/ 7 w 120"/>
                <a:gd name="T13" fmla="*/ 46 h 54"/>
                <a:gd name="T14" fmla="*/ 7 w 120"/>
                <a:gd name="T15" fmla="*/ 10 h 54"/>
                <a:gd name="T16" fmla="*/ 112 w 120"/>
                <a:gd name="T17" fmla="*/ 10 h 54"/>
                <a:gd name="T18" fmla="*/ 112 w 120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54">
                  <a:moveTo>
                    <a:pt x="120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120" y="54"/>
                  </a:lnTo>
                  <a:lnTo>
                    <a:pt x="120" y="0"/>
                  </a:lnTo>
                  <a:close/>
                  <a:moveTo>
                    <a:pt x="112" y="46"/>
                  </a:moveTo>
                  <a:lnTo>
                    <a:pt x="7" y="46"/>
                  </a:lnTo>
                  <a:lnTo>
                    <a:pt x="7" y="10"/>
                  </a:lnTo>
                  <a:lnTo>
                    <a:pt x="112" y="10"/>
                  </a:lnTo>
                  <a:lnTo>
                    <a:pt x="112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" name="Freeform 491">
              <a:extLst>
                <a:ext uri="{FF2B5EF4-FFF2-40B4-BE49-F238E27FC236}">
                  <a16:creationId xmlns:a16="http://schemas.microsoft.com/office/drawing/2014/main" id="{A09C3240-BE73-49CC-807D-FF731DA82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5" y="3707"/>
              <a:ext cx="120" cy="54"/>
            </a:xfrm>
            <a:custGeom>
              <a:avLst/>
              <a:gdLst>
                <a:gd name="T0" fmla="*/ 120 w 120"/>
                <a:gd name="T1" fmla="*/ 0 h 54"/>
                <a:gd name="T2" fmla="*/ 0 w 120"/>
                <a:gd name="T3" fmla="*/ 0 h 54"/>
                <a:gd name="T4" fmla="*/ 0 w 120"/>
                <a:gd name="T5" fmla="*/ 54 h 54"/>
                <a:gd name="T6" fmla="*/ 120 w 120"/>
                <a:gd name="T7" fmla="*/ 54 h 54"/>
                <a:gd name="T8" fmla="*/ 120 w 120"/>
                <a:gd name="T9" fmla="*/ 0 h 54"/>
                <a:gd name="T10" fmla="*/ 112 w 120"/>
                <a:gd name="T11" fmla="*/ 46 h 54"/>
                <a:gd name="T12" fmla="*/ 7 w 120"/>
                <a:gd name="T13" fmla="*/ 46 h 54"/>
                <a:gd name="T14" fmla="*/ 7 w 120"/>
                <a:gd name="T15" fmla="*/ 8 h 54"/>
                <a:gd name="T16" fmla="*/ 112 w 120"/>
                <a:gd name="T17" fmla="*/ 8 h 54"/>
                <a:gd name="T18" fmla="*/ 112 w 120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54">
                  <a:moveTo>
                    <a:pt x="120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120" y="54"/>
                  </a:lnTo>
                  <a:lnTo>
                    <a:pt x="120" y="0"/>
                  </a:lnTo>
                  <a:close/>
                  <a:moveTo>
                    <a:pt x="112" y="46"/>
                  </a:moveTo>
                  <a:lnTo>
                    <a:pt x="7" y="46"/>
                  </a:lnTo>
                  <a:lnTo>
                    <a:pt x="7" y="8"/>
                  </a:lnTo>
                  <a:lnTo>
                    <a:pt x="112" y="8"/>
                  </a:lnTo>
                  <a:lnTo>
                    <a:pt x="112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Freeform 492">
              <a:extLst>
                <a:ext uri="{FF2B5EF4-FFF2-40B4-BE49-F238E27FC236}">
                  <a16:creationId xmlns:a16="http://schemas.microsoft.com/office/drawing/2014/main" id="{579948B3-6A93-48B4-A1CD-2EE2900C3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5" y="3769"/>
              <a:ext cx="120" cy="56"/>
            </a:xfrm>
            <a:custGeom>
              <a:avLst/>
              <a:gdLst>
                <a:gd name="T0" fmla="*/ 120 w 120"/>
                <a:gd name="T1" fmla="*/ 0 h 56"/>
                <a:gd name="T2" fmla="*/ 0 w 120"/>
                <a:gd name="T3" fmla="*/ 0 h 56"/>
                <a:gd name="T4" fmla="*/ 0 w 120"/>
                <a:gd name="T5" fmla="*/ 56 h 56"/>
                <a:gd name="T6" fmla="*/ 120 w 120"/>
                <a:gd name="T7" fmla="*/ 56 h 56"/>
                <a:gd name="T8" fmla="*/ 120 w 120"/>
                <a:gd name="T9" fmla="*/ 0 h 56"/>
                <a:gd name="T10" fmla="*/ 112 w 120"/>
                <a:gd name="T11" fmla="*/ 48 h 56"/>
                <a:gd name="T12" fmla="*/ 7 w 120"/>
                <a:gd name="T13" fmla="*/ 48 h 56"/>
                <a:gd name="T14" fmla="*/ 7 w 120"/>
                <a:gd name="T15" fmla="*/ 7 h 56"/>
                <a:gd name="T16" fmla="*/ 112 w 120"/>
                <a:gd name="T17" fmla="*/ 7 h 56"/>
                <a:gd name="T18" fmla="*/ 112 w 120"/>
                <a:gd name="T19" fmla="*/ 4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56">
                  <a:moveTo>
                    <a:pt x="120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120" y="56"/>
                  </a:lnTo>
                  <a:lnTo>
                    <a:pt x="120" y="0"/>
                  </a:lnTo>
                  <a:close/>
                  <a:moveTo>
                    <a:pt x="112" y="48"/>
                  </a:moveTo>
                  <a:lnTo>
                    <a:pt x="7" y="48"/>
                  </a:lnTo>
                  <a:lnTo>
                    <a:pt x="7" y="7"/>
                  </a:lnTo>
                  <a:lnTo>
                    <a:pt x="112" y="7"/>
                  </a:lnTo>
                  <a:lnTo>
                    <a:pt x="112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" name="Freeform 493">
              <a:extLst>
                <a:ext uri="{FF2B5EF4-FFF2-40B4-BE49-F238E27FC236}">
                  <a16:creationId xmlns:a16="http://schemas.microsoft.com/office/drawing/2014/main" id="{4EFE9DE2-4CCF-43BD-9531-5DE1655C23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1" y="3725"/>
              <a:ext cx="133" cy="100"/>
            </a:xfrm>
            <a:custGeom>
              <a:avLst/>
              <a:gdLst>
                <a:gd name="T0" fmla="*/ 110 w 133"/>
                <a:gd name="T1" fmla="*/ 0 h 100"/>
                <a:gd name="T2" fmla="*/ 0 w 133"/>
                <a:gd name="T3" fmla="*/ 49 h 100"/>
                <a:gd name="T4" fmla="*/ 23 w 133"/>
                <a:gd name="T5" fmla="*/ 100 h 100"/>
                <a:gd name="T6" fmla="*/ 133 w 133"/>
                <a:gd name="T7" fmla="*/ 51 h 100"/>
                <a:gd name="T8" fmla="*/ 110 w 133"/>
                <a:gd name="T9" fmla="*/ 0 h 100"/>
                <a:gd name="T10" fmla="*/ 105 w 133"/>
                <a:gd name="T11" fmla="*/ 11 h 100"/>
                <a:gd name="T12" fmla="*/ 123 w 133"/>
                <a:gd name="T13" fmla="*/ 46 h 100"/>
                <a:gd name="T14" fmla="*/ 28 w 133"/>
                <a:gd name="T15" fmla="*/ 90 h 100"/>
                <a:gd name="T16" fmla="*/ 10 w 133"/>
                <a:gd name="T17" fmla="*/ 54 h 100"/>
                <a:gd name="T18" fmla="*/ 105 w 133"/>
                <a:gd name="T1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0">
                  <a:moveTo>
                    <a:pt x="110" y="0"/>
                  </a:moveTo>
                  <a:lnTo>
                    <a:pt x="0" y="49"/>
                  </a:lnTo>
                  <a:lnTo>
                    <a:pt x="23" y="100"/>
                  </a:lnTo>
                  <a:lnTo>
                    <a:pt x="133" y="51"/>
                  </a:lnTo>
                  <a:lnTo>
                    <a:pt x="110" y="0"/>
                  </a:lnTo>
                  <a:close/>
                  <a:moveTo>
                    <a:pt x="105" y="11"/>
                  </a:moveTo>
                  <a:lnTo>
                    <a:pt x="123" y="46"/>
                  </a:lnTo>
                  <a:lnTo>
                    <a:pt x="28" y="90"/>
                  </a:lnTo>
                  <a:lnTo>
                    <a:pt x="10" y="54"/>
                  </a:lnTo>
                  <a:lnTo>
                    <a:pt x="105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7" name="Group 496">
            <a:extLst>
              <a:ext uri="{FF2B5EF4-FFF2-40B4-BE49-F238E27FC236}">
                <a16:creationId xmlns:a16="http://schemas.microsoft.com/office/drawing/2014/main" id="{300C21B0-AB70-4760-8189-F616F3E25B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67675" y="5480844"/>
            <a:ext cx="758825" cy="758825"/>
            <a:chOff x="5082" y="3458"/>
            <a:chExt cx="478" cy="478"/>
          </a:xfrm>
        </p:grpSpPr>
        <p:sp>
          <p:nvSpPr>
            <p:cNvPr id="538" name="AutoShape 495">
              <a:extLst>
                <a:ext uri="{FF2B5EF4-FFF2-40B4-BE49-F238E27FC236}">
                  <a16:creationId xmlns:a16="http://schemas.microsoft.com/office/drawing/2014/main" id="{F97D6B7F-D8B6-43BA-AFC6-D59A98C453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2" y="34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Freeform 497">
              <a:extLst>
                <a:ext uri="{FF2B5EF4-FFF2-40B4-BE49-F238E27FC236}">
                  <a16:creationId xmlns:a16="http://schemas.microsoft.com/office/drawing/2014/main" id="{7F488A61-A80E-49E0-BB79-FD3169076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4" y="346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0" name="Freeform 498">
              <a:extLst>
                <a:ext uri="{FF2B5EF4-FFF2-40B4-BE49-F238E27FC236}">
                  <a16:creationId xmlns:a16="http://schemas.microsoft.com/office/drawing/2014/main" id="{9ED7ED57-CE7D-4E35-A47F-477D1B18B2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5" y="3605"/>
              <a:ext cx="115" cy="56"/>
            </a:xfrm>
            <a:custGeom>
              <a:avLst/>
              <a:gdLst>
                <a:gd name="T0" fmla="*/ 115 w 115"/>
                <a:gd name="T1" fmla="*/ 0 h 56"/>
                <a:gd name="T2" fmla="*/ 0 w 115"/>
                <a:gd name="T3" fmla="*/ 0 h 56"/>
                <a:gd name="T4" fmla="*/ 0 w 115"/>
                <a:gd name="T5" fmla="*/ 56 h 56"/>
                <a:gd name="T6" fmla="*/ 115 w 115"/>
                <a:gd name="T7" fmla="*/ 56 h 56"/>
                <a:gd name="T8" fmla="*/ 115 w 115"/>
                <a:gd name="T9" fmla="*/ 0 h 56"/>
                <a:gd name="T10" fmla="*/ 108 w 115"/>
                <a:gd name="T11" fmla="*/ 47 h 56"/>
                <a:gd name="T12" fmla="*/ 7 w 115"/>
                <a:gd name="T13" fmla="*/ 47 h 56"/>
                <a:gd name="T14" fmla="*/ 7 w 115"/>
                <a:gd name="T15" fmla="*/ 10 h 56"/>
                <a:gd name="T16" fmla="*/ 108 w 115"/>
                <a:gd name="T17" fmla="*/ 10 h 56"/>
                <a:gd name="T18" fmla="*/ 108 w 115"/>
                <a:gd name="T19" fmla="*/ 4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56">
                  <a:moveTo>
                    <a:pt x="115" y="0"/>
                  </a:moveTo>
                  <a:lnTo>
                    <a:pt x="0" y="0"/>
                  </a:lnTo>
                  <a:lnTo>
                    <a:pt x="0" y="56"/>
                  </a:lnTo>
                  <a:lnTo>
                    <a:pt x="115" y="56"/>
                  </a:lnTo>
                  <a:lnTo>
                    <a:pt x="115" y="0"/>
                  </a:lnTo>
                  <a:close/>
                  <a:moveTo>
                    <a:pt x="108" y="47"/>
                  </a:moveTo>
                  <a:lnTo>
                    <a:pt x="7" y="47"/>
                  </a:lnTo>
                  <a:lnTo>
                    <a:pt x="7" y="10"/>
                  </a:lnTo>
                  <a:lnTo>
                    <a:pt x="108" y="10"/>
                  </a:lnTo>
                  <a:lnTo>
                    <a:pt x="108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Freeform 499">
              <a:extLst>
                <a:ext uri="{FF2B5EF4-FFF2-40B4-BE49-F238E27FC236}">
                  <a16:creationId xmlns:a16="http://schemas.microsoft.com/office/drawing/2014/main" id="{ED287503-4494-496F-9D4A-CB5A53719E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1" y="3519"/>
              <a:ext cx="128" cy="103"/>
            </a:xfrm>
            <a:custGeom>
              <a:avLst/>
              <a:gdLst>
                <a:gd name="T0" fmla="*/ 103 w 128"/>
                <a:gd name="T1" fmla="*/ 0 h 103"/>
                <a:gd name="T2" fmla="*/ 0 w 128"/>
                <a:gd name="T3" fmla="*/ 54 h 103"/>
                <a:gd name="T4" fmla="*/ 25 w 128"/>
                <a:gd name="T5" fmla="*/ 103 h 103"/>
                <a:gd name="T6" fmla="*/ 128 w 128"/>
                <a:gd name="T7" fmla="*/ 49 h 103"/>
                <a:gd name="T8" fmla="*/ 103 w 128"/>
                <a:gd name="T9" fmla="*/ 0 h 103"/>
                <a:gd name="T10" fmla="*/ 98 w 128"/>
                <a:gd name="T11" fmla="*/ 13 h 103"/>
                <a:gd name="T12" fmla="*/ 118 w 128"/>
                <a:gd name="T13" fmla="*/ 44 h 103"/>
                <a:gd name="T14" fmla="*/ 30 w 128"/>
                <a:gd name="T15" fmla="*/ 91 h 103"/>
                <a:gd name="T16" fmla="*/ 10 w 128"/>
                <a:gd name="T17" fmla="*/ 59 h 103"/>
                <a:gd name="T18" fmla="*/ 98 w 128"/>
                <a:gd name="T19" fmla="*/ 1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03">
                  <a:moveTo>
                    <a:pt x="103" y="0"/>
                  </a:moveTo>
                  <a:lnTo>
                    <a:pt x="0" y="54"/>
                  </a:lnTo>
                  <a:lnTo>
                    <a:pt x="25" y="103"/>
                  </a:lnTo>
                  <a:lnTo>
                    <a:pt x="128" y="49"/>
                  </a:lnTo>
                  <a:lnTo>
                    <a:pt x="103" y="0"/>
                  </a:lnTo>
                  <a:close/>
                  <a:moveTo>
                    <a:pt x="98" y="13"/>
                  </a:moveTo>
                  <a:lnTo>
                    <a:pt x="118" y="44"/>
                  </a:lnTo>
                  <a:lnTo>
                    <a:pt x="30" y="91"/>
                  </a:lnTo>
                  <a:lnTo>
                    <a:pt x="10" y="59"/>
                  </a:lnTo>
                  <a:lnTo>
                    <a:pt x="98" y="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" name="Freeform 500">
              <a:extLst>
                <a:ext uri="{FF2B5EF4-FFF2-40B4-BE49-F238E27FC236}">
                  <a16:creationId xmlns:a16="http://schemas.microsoft.com/office/drawing/2014/main" id="{8B892DF4-5671-4B79-A475-5AA14FFFC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5" y="3622"/>
              <a:ext cx="96" cy="128"/>
            </a:xfrm>
            <a:custGeom>
              <a:avLst/>
              <a:gdLst>
                <a:gd name="T0" fmla="*/ 47 w 96"/>
                <a:gd name="T1" fmla="*/ 0 h 128"/>
                <a:gd name="T2" fmla="*/ 0 w 96"/>
                <a:gd name="T3" fmla="*/ 106 h 128"/>
                <a:gd name="T4" fmla="*/ 52 w 96"/>
                <a:gd name="T5" fmla="*/ 128 h 128"/>
                <a:gd name="T6" fmla="*/ 96 w 96"/>
                <a:gd name="T7" fmla="*/ 22 h 128"/>
                <a:gd name="T8" fmla="*/ 47 w 96"/>
                <a:gd name="T9" fmla="*/ 0 h 128"/>
                <a:gd name="T10" fmla="*/ 49 w 96"/>
                <a:gd name="T11" fmla="*/ 10 h 128"/>
                <a:gd name="T12" fmla="*/ 86 w 96"/>
                <a:gd name="T13" fmla="*/ 25 h 128"/>
                <a:gd name="T14" fmla="*/ 47 w 96"/>
                <a:gd name="T15" fmla="*/ 118 h 128"/>
                <a:gd name="T16" fmla="*/ 12 w 96"/>
                <a:gd name="T17" fmla="*/ 103 h 128"/>
                <a:gd name="T18" fmla="*/ 49 w 96"/>
                <a:gd name="T19" fmla="*/ 1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28">
                  <a:moveTo>
                    <a:pt x="47" y="0"/>
                  </a:moveTo>
                  <a:lnTo>
                    <a:pt x="0" y="106"/>
                  </a:lnTo>
                  <a:lnTo>
                    <a:pt x="52" y="128"/>
                  </a:lnTo>
                  <a:lnTo>
                    <a:pt x="96" y="22"/>
                  </a:lnTo>
                  <a:lnTo>
                    <a:pt x="47" y="0"/>
                  </a:lnTo>
                  <a:close/>
                  <a:moveTo>
                    <a:pt x="49" y="10"/>
                  </a:moveTo>
                  <a:lnTo>
                    <a:pt x="86" y="25"/>
                  </a:lnTo>
                  <a:lnTo>
                    <a:pt x="47" y="118"/>
                  </a:lnTo>
                  <a:lnTo>
                    <a:pt x="12" y="103"/>
                  </a:lnTo>
                  <a:lnTo>
                    <a:pt x="49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" name="Freeform 501">
              <a:extLst>
                <a:ext uri="{FF2B5EF4-FFF2-40B4-BE49-F238E27FC236}">
                  <a16:creationId xmlns:a16="http://schemas.microsoft.com/office/drawing/2014/main" id="{55A60CB9-5D83-4AD2-A2AE-319F87F14C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5" y="3666"/>
              <a:ext cx="115" cy="52"/>
            </a:xfrm>
            <a:custGeom>
              <a:avLst/>
              <a:gdLst>
                <a:gd name="T0" fmla="*/ 115 w 115"/>
                <a:gd name="T1" fmla="*/ 0 h 52"/>
                <a:gd name="T2" fmla="*/ 0 w 115"/>
                <a:gd name="T3" fmla="*/ 0 h 52"/>
                <a:gd name="T4" fmla="*/ 0 w 115"/>
                <a:gd name="T5" fmla="*/ 52 h 52"/>
                <a:gd name="T6" fmla="*/ 115 w 115"/>
                <a:gd name="T7" fmla="*/ 52 h 52"/>
                <a:gd name="T8" fmla="*/ 115 w 115"/>
                <a:gd name="T9" fmla="*/ 0 h 52"/>
                <a:gd name="T10" fmla="*/ 108 w 115"/>
                <a:gd name="T11" fmla="*/ 44 h 52"/>
                <a:gd name="T12" fmla="*/ 7 w 115"/>
                <a:gd name="T13" fmla="*/ 44 h 52"/>
                <a:gd name="T14" fmla="*/ 7 w 115"/>
                <a:gd name="T15" fmla="*/ 10 h 52"/>
                <a:gd name="T16" fmla="*/ 108 w 115"/>
                <a:gd name="T17" fmla="*/ 10 h 52"/>
                <a:gd name="T18" fmla="*/ 108 w 115"/>
                <a:gd name="T1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52">
                  <a:moveTo>
                    <a:pt x="115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115" y="52"/>
                  </a:lnTo>
                  <a:lnTo>
                    <a:pt x="115" y="0"/>
                  </a:lnTo>
                  <a:close/>
                  <a:moveTo>
                    <a:pt x="108" y="44"/>
                  </a:moveTo>
                  <a:lnTo>
                    <a:pt x="7" y="44"/>
                  </a:lnTo>
                  <a:lnTo>
                    <a:pt x="7" y="10"/>
                  </a:lnTo>
                  <a:lnTo>
                    <a:pt x="108" y="10"/>
                  </a:lnTo>
                  <a:lnTo>
                    <a:pt x="108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" name="Freeform 502">
              <a:extLst>
                <a:ext uri="{FF2B5EF4-FFF2-40B4-BE49-F238E27FC236}">
                  <a16:creationId xmlns:a16="http://schemas.microsoft.com/office/drawing/2014/main" id="{10E101F2-45F5-48B9-BD12-59E73D6E4C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5" y="3725"/>
              <a:ext cx="115" cy="52"/>
            </a:xfrm>
            <a:custGeom>
              <a:avLst/>
              <a:gdLst>
                <a:gd name="T0" fmla="*/ 115 w 115"/>
                <a:gd name="T1" fmla="*/ 0 h 52"/>
                <a:gd name="T2" fmla="*/ 0 w 115"/>
                <a:gd name="T3" fmla="*/ 0 h 52"/>
                <a:gd name="T4" fmla="*/ 0 w 115"/>
                <a:gd name="T5" fmla="*/ 52 h 52"/>
                <a:gd name="T6" fmla="*/ 115 w 115"/>
                <a:gd name="T7" fmla="*/ 52 h 52"/>
                <a:gd name="T8" fmla="*/ 115 w 115"/>
                <a:gd name="T9" fmla="*/ 0 h 52"/>
                <a:gd name="T10" fmla="*/ 108 w 115"/>
                <a:gd name="T11" fmla="*/ 44 h 52"/>
                <a:gd name="T12" fmla="*/ 7 w 115"/>
                <a:gd name="T13" fmla="*/ 44 h 52"/>
                <a:gd name="T14" fmla="*/ 7 w 115"/>
                <a:gd name="T15" fmla="*/ 8 h 52"/>
                <a:gd name="T16" fmla="*/ 108 w 115"/>
                <a:gd name="T17" fmla="*/ 8 h 52"/>
                <a:gd name="T18" fmla="*/ 108 w 115"/>
                <a:gd name="T1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52">
                  <a:moveTo>
                    <a:pt x="115" y="0"/>
                  </a:moveTo>
                  <a:lnTo>
                    <a:pt x="0" y="0"/>
                  </a:lnTo>
                  <a:lnTo>
                    <a:pt x="0" y="52"/>
                  </a:lnTo>
                  <a:lnTo>
                    <a:pt x="115" y="52"/>
                  </a:lnTo>
                  <a:lnTo>
                    <a:pt x="115" y="0"/>
                  </a:lnTo>
                  <a:close/>
                  <a:moveTo>
                    <a:pt x="108" y="44"/>
                  </a:moveTo>
                  <a:lnTo>
                    <a:pt x="7" y="44"/>
                  </a:lnTo>
                  <a:lnTo>
                    <a:pt x="7" y="8"/>
                  </a:lnTo>
                  <a:lnTo>
                    <a:pt x="108" y="8"/>
                  </a:lnTo>
                  <a:lnTo>
                    <a:pt x="108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Freeform 503">
              <a:extLst>
                <a:ext uri="{FF2B5EF4-FFF2-40B4-BE49-F238E27FC236}">
                  <a16:creationId xmlns:a16="http://schemas.microsoft.com/office/drawing/2014/main" id="{C29C9A37-38BC-447C-93B5-EF793A858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5" y="3784"/>
              <a:ext cx="115" cy="54"/>
            </a:xfrm>
            <a:custGeom>
              <a:avLst/>
              <a:gdLst>
                <a:gd name="T0" fmla="*/ 115 w 115"/>
                <a:gd name="T1" fmla="*/ 0 h 54"/>
                <a:gd name="T2" fmla="*/ 0 w 115"/>
                <a:gd name="T3" fmla="*/ 0 h 54"/>
                <a:gd name="T4" fmla="*/ 0 w 115"/>
                <a:gd name="T5" fmla="*/ 54 h 54"/>
                <a:gd name="T6" fmla="*/ 115 w 115"/>
                <a:gd name="T7" fmla="*/ 54 h 54"/>
                <a:gd name="T8" fmla="*/ 115 w 115"/>
                <a:gd name="T9" fmla="*/ 0 h 54"/>
                <a:gd name="T10" fmla="*/ 108 w 115"/>
                <a:gd name="T11" fmla="*/ 47 h 54"/>
                <a:gd name="T12" fmla="*/ 7 w 115"/>
                <a:gd name="T13" fmla="*/ 47 h 54"/>
                <a:gd name="T14" fmla="*/ 7 w 115"/>
                <a:gd name="T15" fmla="*/ 7 h 54"/>
                <a:gd name="T16" fmla="*/ 108 w 115"/>
                <a:gd name="T17" fmla="*/ 7 h 54"/>
                <a:gd name="T18" fmla="*/ 108 w 115"/>
                <a:gd name="T19" fmla="*/ 4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54">
                  <a:moveTo>
                    <a:pt x="115" y="0"/>
                  </a:moveTo>
                  <a:lnTo>
                    <a:pt x="0" y="0"/>
                  </a:lnTo>
                  <a:lnTo>
                    <a:pt x="0" y="54"/>
                  </a:lnTo>
                  <a:lnTo>
                    <a:pt x="115" y="54"/>
                  </a:lnTo>
                  <a:lnTo>
                    <a:pt x="115" y="0"/>
                  </a:lnTo>
                  <a:close/>
                  <a:moveTo>
                    <a:pt x="108" y="47"/>
                  </a:moveTo>
                  <a:lnTo>
                    <a:pt x="7" y="47"/>
                  </a:lnTo>
                  <a:lnTo>
                    <a:pt x="7" y="7"/>
                  </a:lnTo>
                  <a:lnTo>
                    <a:pt x="108" y="7"/>
                  </a:lnTo>
                  <a:lnTo>
                    <a:pt x="108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" name="Freeform 504">
              <a:extLst>
                <a:ext uri="{FF2B5EF4-FFF2-40B4-BE49-F238E27FC236}">
                  <a16:creationId xmlns:a16="http://schemas.microsoft.com/office/drawing/2014/main" id="{F2AE49DC-BF1D-487A-B86C-B2F8979871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8" y="3742"/>
              <a:ext cx="127" cy="96"/>
            </a:xfrm>
            <a:custGeom>
              <a:avLst/>
              <a:gdLst>
                <a:gd name="T0" fmla="*/ 105 w 127"/>
                <a:gd name="T1" fmla="*/ 0 h 96"/>
                <a:gd name="T2" fmla="*/ 0 w 127"/>
                <a:gd name="T3" fmla="*/ 47 h 96"/>
                <a:gd name="T4" fmla="*/ 22 w 127"/>
                <a:gd name="T5" fmla="*/ 96 h 96"/>
                <a:gd name="T6" fmla="*/ 127 w 127"/>
                <a:gd name="T7" fmla="*/ 49 h 96"/>
                <a:gd name="T8" fmla="*/ 105 w 127"/>
                <a:gd name="T9" fmla="*/ 0 h 96"/>
                <a:gd name="T10" fmla="*/ 100 w 127"/>
                <a:gd name="T11" fmla="*/ 10 h 96"/>
                <a:gd name="T12" fmla="*/ 117 w 127"/>
                <a:gd name="T13" fmla="*/ 44 h 96"/>
                <a:gd name="T14" fmla="*/ 27 w 127"/>
                <a:gd name="T15" fmla="*/ 86 h 96"/>
                <a:gd name="T16" fmla="*/ 10 w 127"/>
                <a:gd name="T17" fmla="*/ 52 h 96"/>
                <a:gd name="T18" fmla="*/ 100 w 127"/>
                <a:gd name="T19" fmla="*/ 1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96">
                  <a:moveTo>
                    <a:pt x="105" y="0"/>
                  </a:moveTo>
                  <a:lnTo>
                    <a:pt x="0" y="47"/>
                  </a:lnTo>
                  <a:lnTo>
                    <a:pt x="22" y="96"/>
                  </a:lnTo>
                  <a:lnTo>
                    <a:pt x="127" y="49"/>
                  </a:lnTo>
                  <a:lnTo>
                    <a:pt x="105" y="0"/>
                  </a:lnTo>
                  <a:close/>
                  <a:moveTo>
                    <a:pt x="100" y="10"/>
                  </a:moveTo>
                  <a:lnTo>
                    <a:pt x="117" y="44"/>
                  </a:lnTo>
                  <a:lnTo>
                    <a:pt x="27" y="86"/>
                  </a:lnTo>
                  <a:lnTo>
                    <a:pt x="10" y="52"/>
                  </a:lnTo>
                  <a:lnTo>
                    <a:pt x="10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2955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A32D2CE-EF26-4022-8D99-7D8BB1470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36527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lace Rubbis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uards Must  Be in Place Correctl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isles Must Be Kept Clea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lind Intersection Sound Hor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ate Must Be Locke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Belt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lease Attach Your Car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destrian Walkwa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urn Off When Not In U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se Handrail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ty Harness Must Be Wor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heel Chai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duceu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bbon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urs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d Loc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ergy Electricit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erg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yperlin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29" name="Group 4">
            <a:extLst>
              <a:ext uri="{FF2B5EF4-FFF2-40B4-BE49-F238E27FC236}">
                <a16:creationId xmlns:a16="http://schemas.microsoft.com/office/drawing/2014/main" id="{2A3E4E92-CF6D-4CB0-ACAC-40D522575D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650" y="2794000"/>
            <a:ext cx="841375" cy="841375"/>
            <a:chOff x="236" y="1760"/>
            <a:chExt cx="530" cy="530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52378AB1-CAA0-4DC5-99B2-6100071E43C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6" y="176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DE3B4A8B-7771-450E-A12E-69B001506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" y="176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72A046B-558C-4A32-A36F-DE593E64E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" y="177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2DD27D8F-227B-484D-B945-EAB54436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" y="2136"/>
              <a:ext cx="46" cy="44"/>
            </a:xfrm>
            <a:custGeom>
              <a:avLst/>
              <a:gdLst>
                <a:gd name="T0" fmla="*/ 9 w 18"/>
                <a:gd name="T1" fmla="*/ 17 h 17"/>
                <a:gd name="T2" fmla="*/ 7 w 18"/>
                <a:gd name="T3" fmla="*/ 17 h 17"/>
                <a:gd name="T4" fmla="*/ 0 w 18"/>
                <a:gd name="T5" fmla="*/ 3 h 17"/>
                <a:gd name="T6" fmla="*/ 1 w 18"/>
                <a:gd name="T7" fmla="*/ 0 h 17"/>
                <a:gd name="T8" fmla="*/ 4 w 18"/>
                <a:gd name="T9" fmla="*/ 1 h 17"/>
                <a:gd name="T10" fmla="*/ 9 w 18"/>
                <a:gd name="T11" fmla="*/ 12 h 17"/>
                <a:gd name="T12" fmla="*/ 14 w 18"/>
                <a:gd name="T13" fmla="*/ 1 h 17"/>
                <a:gd name="T14" fmla="*/ 17 w 18"/>
                <a:gd name="T15" fmla="*/ 0 h 17"/>
                <a:gd name="T16" fmla="*/ 17 w 18"/>
                <a:gd name="T17" fmla="*/ 3 h 17"/>
                <a:gd name="T18" fmla="*/ 10 w 18"/>
                <a:gd name="T19" fmla="*/ 17 h 17"/>
                <a:gd name="T20" fmla="*/ 9 w 18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cubicBezTo>
                    <a:pt x="8" y="17"/>
                    <a:pt x="8" y="17"/>
                    <a:pt x="7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1"/>
                    <a:pt x="18" y="2"/>
                    <a:pt x="17" y="3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B8FBC9C8-297F-4897-B709-C454E3CAF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" y="2077"/>
              <a:ext cx="10" cy="1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B795030C-6544-4A3C-8875-BC1E33B17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" y="1934"/>
              <a:ext cx="66" cy="246"/>
            </a:xfrm>
            <a:custGeom>
              <a:avLst/>
              <a:gdLst>
                <a:gd name="T0" fmla="*/ 7 w 66"/>
                <a:gd name="T1" fmla="*/ 238 h 246"/>
                <a:gd name="T2" fmla="*/ 58 w 66"/>
                <a:gd name="T3" fmla="*/ 238 h 246"/>
                <a:gd name="T4" fmla="*/ 58 w 66"/>
                <a:gd name="T5" fmla="*/ 8 h 246"/>
                <a:gd name="T6" fmla="*/ 7 w 66"/>
                <a:gd name="T7" fmla="*/ 8 h 246"/>
                <a:gd name="T8" fmla="*/ 7 w 66"/>
                <a:gd name="T9" fmla="*/ 238 h 246"/>
                <a:gd name="T10" fmla="*/ 66 w 66"/>
                <a:gd name="T11" fmla="*/ 246 h 246"/>
                <a:gd name="T12" fmla="*/ 0 w 66"/>
                <a:gd name="T13" fmla="*/ 246 h 246"/>
                <a:gd name="T14" fmla="*/ 0 w 66"/>
                <a:gd name="T15" fmla="*/ 0 h 246"/>
                <a:gd name="T16" fmla="*/ 66 w 66"/>
                <a:gd name="T17" fmla="*/ 0 h 246"/>
                <a:gd name="T18" fmla="*/ 66 w 66"/>
                <a:gd name="T1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246">
                  <a:moveTo>
                    <a:pt x="7" y="238"/>
                  </a:moveTo>
                  <a:lnTo>
                    <a:pt x="58" y="238"/>
                  </a:lnTo>
                  <a:lnTo>
                    <a:pt x="58" y="8"/>
                  </a:lnTo>
                  <a:lnTo>
                    <a:pt x="7" y="8"/>
                  </a:lnTo>
                  <a:lnTo>
                    <a:pt x="7" y="238"/>
                  </a:lnTo>
                  <a:close/>
                  <a:moveTo>
                    <a:pt x="66" y="246"/>
                  </a:moveTo>
                  <a:lnTo>
                    <a:pt x="0" y="246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2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09D6AE4-B2E1-484A-9819-D9C79059E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" y="2021"/>
              <a:ext cx="23" cy="74"/>
            </a:xfrm>
            <a:custGeom>
              <a:avLst/>
              <a:gdLst>
                <a:gd name="T0" fmla="*/ 10 w 23"/>
                <a:gd name="T1" fmla="*/ 64 h 74"/>
                <a:gd name="T2" fmla="*/ 16 w 23"/>
                <a:gd name="T3" fmla="*/ 64 h 74"/>
                <a:gd name="T4" fmla="*/ 16 w 23"/>
                <a:gd name="T5" fmla="*/ 10 h 74"/>
                <a:gd name="T6" fmla="*/ 10 w 23"/>
                <a:gd name="T7" fmla="*/ 10 h 74"/>
                <a:gd name="T8" fmla="*/ 10 w 23"/>
                <a:gd name="T9" fmla="*/ 64 h 74"/>
                <a:gd name="T10" fmla="*/ 23 w 23"/>
                <a:gd name="T11" fmla="*/ 74 h 74"/>
                <a:gd name="T12" fmla="*/ 0 w 23"/>
                <a:gd name="T13" fmla="*/ 74 h 74"/>
                <a:gd name="T14" fmla="*/ 0 w 23"/>
                <a:gd name="T15" fmla="*/ 0 h 74"/>
                <a:gd name="T16" fmla="*/ 23 w 23"/>
                <a:gd name="T17" fmla="*/ 0 h 74"/>
                <a:gd name="T18" fmla="*/ 23 w 23"/>
                <a:gd name="T1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74">
                  <a:moveTo>
                    <a:pt x="10" y="64"/>
                  </a:moveTo>
                  <a:lnTo>
                    <a:pt x="16" y="64"/>
                  </a:lnTo>
                  <a:lnTo>
                    <a:pt x="16" y="10"/>
                  </a:lnTo>
                  <a:lnTo>
                    <a:pt x="10" y="10"/>
                  </a:lnTo>
                  <a:lnTo>
                    <a:pt x="10" y="64"/>
                  </a:lnTo>
                  <a:close/>
                  <a:moveTo>
                    <a:pt x="23" y="74"/>
                  </a:moveTo>
                  <a:lnTo>
                    <a:pt x="0" y="74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5E4B6DD0-F24D-4776-AA91-26A9C9FCC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" y="2044"/>
              <a:ext cx="31" cy="18"/>
            </a:xfrm>
            <a:custGeom>
              <a:avLst/>
              <a:gdLst>
                <a:gd name="T0" fmla="*/ 28 w 31"/>
                <a:gd name="T1" fmla="*/ 18 h 18"/>
                <a:gd name="T2" fmla="*/ 0 w 31"/>
                <a:gd name="T3" fmla="*/ 8 h 18"/>
                <a:gd name="T4" fmla="*/ 3 w 31"/>
                <a:gd name="T5" fmla="*/ 0 h 18"/>
                <a:gd name="T6" fmla="*/ 31 w 31"/>
                <a:gd name="T7" fmla="*/ 10 h 18"/>
                <a:gd name="T8" fmla="*/ 28 w 3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28" y="18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31" y="10"/>
                  </a:lnTo>
                  <a:lnTo>
                    <a:pt x="28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515F00B-1472-4A3A-82AD-A6F2DE22B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" y="1898"/>
              <a:ext cx="248" cy="146"/>
            </a:xfrm>
            <a:custGeom>
              <a:avLst/>
              <a:gdLst>
                <a:gd name="T0" fmla="*/ 5 w 97"/>
                <a:gd name="T1" fmla="*/ 24 h 57"/>
                <a:gd name="T2" fmla="*/ 37 w 97"/>
                <a:gd name="T3" fmla="*/ 37 h 57"/>
                <a:gd name="T4" fmla="*/ 37 w 97"/>
                <a:gd name="T5" fmla="*/ 37 h 57"/>
                <a:gd name="T6" fmla="*/ 58 w 97"/>
                <a:gd name="T7" fmla="*/ 53 h 57"/>
                <a:gd name="T8" fmla="*/ 71 w 97"/>
                <a:gd name="T9" fmla="*/ 52 h 57"/>
                <a:gd name="T10" fmla="*/ 72 w 97"/>
                <a:gd name="T11" fmla="*/ 50 h 57"/>
                <a:gd name="T12" fmla="*/ 71 w 97"/>
                <a:gd name="T13" fmla="*/ 50 h 57"/>
                <a:gd name="T14" fmla="*/ 71 w 97"/>
                <a:gd name="T15" fmla="*/ 49 h 57"/>
                <a:gd name="T16" fmla="*/ 68 w 97"/>
                <a:gd name="T17" fmla="*/ 48 h 57"/>
                <a:gd name="T18" fmla="*/ 58 w 97"/>
                <a:gd name="T19" fmla="*/ 43 h 57"/>
                <a:gd name="T20" fmla="*/ 58 w 97"/>
                <a:gd name="T21" fmla="*/ 42 h 57"/>
                <a:gd name="T22" fmla="*/ 60 w 97"/>
                <a:gd name="T23" fmla="*/ 36 h 57"/>
                <a:gd name="T24" fmla="*/ 69 w 97"/>
                <a:gd name="T25" fmla="*/ 36 h 57"/>
                <a:gd name="T26" fmla="*/ 70 w 97"/>
                <a:gd name="T27" fmla="*/ 36 h 57"/>
                <a:gd name="T28" fmla="*/ 88 w 97"/>
                <a:gd name="T29" fmla="*/ 49 h 57"/>
                <a:gd name="T30" fmla="*/ 91 w 97"/>
                <a:gd name="T31" fmla="*/ 52 h 57"/>
                <a:gd name="T32" fmla="*/ 93 w 97"/>
                <a:gd name="T33" fmla="*/ 51 h 57"/>
                <a:gd name="T34" fmla="*/ 93 w 97"/>
                <a:gd name="T35" fmla="*/ 50 h 57"/>
                <a:gd name="T36" fmla="*/ 93 w 97"/>
                <a:gd name="T37" fmla="*/ 49 h 57"/>
                <a:gd name="T38" fmla="*/ 77 w 97"/>
                <a:gd name="T39" fmla="*/ 33 h 57"/>
                <a:gd name="T40" fmla="*/ 76 w 97"/>
                <a:gd name="T41" fmla="*/ 32 h 57"/>
                <a:gd name="T42" fmla="*/ 71 w 97"/>
                <a:gd name="T43" fmla="*/ 13 h 57"/>
                <a:gd name="T44" fmla="*/ 63 w 97"/>
                <a:gd name="T45" fmla="*/ 9 h 57"/>
                <a:gd name="T46" fmla="*/ 37 w 97"/>
                <a:gd name="T47" fmla="*/ 13 h 57"/>
                <a:gd name="T48" fmla="*/ 14 w 97"/>
                <a:gd name="T49" fmla="*/ 4 h 57"/>
                <a:gd name="T50" fmla="*/ 5 w 97"/>
                <a:gd name="T51" fmla="*/ 24 h 57"/>
                <a:gd name="T52" fmla="*/ 65 w 97"/>
                <a:gd name="T53" fmla="*/ 57 h 57"/>
                <a:gd name="T54" fmla="*/ 58 w 97"/>
                <a:gd name="T55" fmla="*/ 56 h 57"/>
                <a:gd name="T56" fmla="*/ 34 w 97"/>
                <a:gd name="T57" fmla="*/ 39 h 57"/>
                <a:gd name="T58" fmla="*/ 0 w 97"/>
                <a:gd name="T59" fmla="*/ 25 h 57"/>
                <a:gd name="T60" fmla="*/ 12 w 97"/>
                <a:gd name="T61" fmla="*/ 0 h 57"/>
                <a:gd name="T62" fmla="*/ 37 w 97"/>
                <a:gd name="T63" fmla="*/ 10 h 57"/>
                <a:gd name="T64" fmla="*/ 63 w 97"/>
                <a:gd name="T65" fmla="*/ 5 h 57"/>
                <a:gd name="T66" fmla="*/ 74 w 97"/>
                <a:gd name="T67" fmla="*/ 10 h 57"/>
                <a:gd name="T68" fmla="*/ 79 w 97"/>
                <a:gd name="T69" fmla="*/ 30 h 57"/>
                <a:gd name="T70" fmla="*/ 97 w 97"/>
                <a:gd name="T71" fmla="*/ 49 h 57"/>
                <a:gd name="T72" fmla="*/ 96 w 97"/>
                <a:gd name="T73" fmla="*/ 53 h 57"/>
                <a:gd name="T74" fmla="*/ 91 w 97"/>
                <a:gd name="T75" fmla="*/ 55 h 57"/>
                <a:gd name="T76" fmla="*/ 85 w 97"/>
                <a:gd name="T77" fmla="*/ 51 h 57"/>
                <a:gd name="T78" fmla="*/ 69 w 97"/>
                <a:gd name="T79" fmla="*/ 39 h 57"/>
                <a:gd name="T80" fmla="*/ 63 w 97"/>
                <a:gd name="T81" fmla="*/ 40 h 57"/>
                <a:gd name="T82" fmla="*/ 62 w 97"/>
                <a:gd name="T83" fmla="*/ 42 h 57"/>
                <a:gd name="T84" fmla="*/ 68 w 97"/>
                <a:gd name="T85" fmla="*/ 44 h 57"/>
                <a:gd name="T86" fmla="*/ 74 w 97"/>
                <a:gd name="T87" fmla="*/ 46 h 57"/>
                <a:gd name="T88" fmla="*/ 75 w 97"/>
                <a:gd name="T89" fmla="*/ 49 h 57"/>
                <a:gd name="T90" fmla="*/ 74 w 97"/>
                <a:gd name="T91" fmla="*/ 54 h 57"/>
                <a:gd name="T92" fmla="*/ 65 w 97"/>
                <a:gd name="T9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7" h="57">
                  <a:moveTo>
                    <a:pt x="5" y="24"/>
                  </a:move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8"/>
                    <a:pt x="42" y="50"/>
                    <a:pt x="58" y="53"/>
                  </a:cubicBezTo>
                  <a:cubicBezTo>
                    <a:pt x="68" y="54"/>
                    <a:pt x="70" y="52"/>
                    <a:pt x="71" y="52"/>
                  </a:cubicBezTo>
                  <a:cubicBezTo>
                    <a:pt x="72" y="51"/>
                    <a:pt x="72" y="50"/>
                    <a:pt x="72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8"/>
                    <a:pt x="68" y="48"/>
                  </a:cubicBezTo>
                  <a:cubicBezTo>
                    <a:pt x="61" y="48"/>
                    <a:pt x="58" y="43"/>
                    <a:pt x="58" y="43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82" y="40"/>
                    <a:pt x="86" y="46"/>
                    <a:pt x="88" y="49"/>
                  </a:cubicBezTo>
                  <a:cubicBezTo>
                    <a:pt x="89" y="51"/>
                    <a:pt x="90" y="52"/>
                    <a:pt x="91" y="52"/>
                  </a:cubicBezTo>
                  <a:cubicBezTo>
                    <a:pt x="92" y="52"/>
                    <a:pt x="93" y="52"/>
                    <a:pt x="93" y="51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2"/>
                    <a:pt x="82" y="35"/>
                    <a:pt x="77" y="3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5" y="24"/>
                  </a:lnTo>
                  <a:close/>
                  <a:moveTo>
                    <a:pt x="65" y="57"/>
                  </a:moveTo>
                  <a:cubicBezTo>
                    <a:pt x="63" y="57"/>
                    <a:pt x="60" y="56"/>
                    <a:pt x="58" y="56"/>
                  </a:cubicBezTo>
                  <a:cubicBezTo>
                    <a:pt x="41" y="53"/>
                    <a:pt x="35" y="42"/>
                    <a:pt x="34" y="3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83" y="31"/>
                    <a:pt x="97" y="39"/>
                    <a:pt x="97" y="49"/>
                  </a:cubicBezTo>
                  <a:cubicBezTo>
                    <a:pt x="97" y="50"/>
                    <a:pt x="97" y="52"/>
                    <a:pt x="96" y="53"/>
                  </a:cubicBezTo>
                  <a:cubicBezTo>
                    <a:pt x="95" y="54"/>
                    <a:pt x="93" y="55"/>
                    <a:pt x="91" y="55"/>
                  </a:cubicBezTo>
                  <a:cubicBezTo>
                    <a:pt x="88" y="55"/>
                    <a:pt x="87" y="53"/>
                    <a:pt x="85" y="51"/>
                  </a:cubicBezTo>
                  <a:cubicBezTo>
                    <a:pt x="83" y="48"/>
                    <a:pt x="80" y="43"/>
                    <a:pt x="69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4" y="44"/>
                    <a:pt x="68" y="44"/>
                  </a:cubicBezTo>
                  <a:cubicBezTo>
                    <a:pt x="70" y="44"/>
                    <a:pt x="72" y="45"/>
                    <a:pt x="74" y="46"/>
                  </a:cubicBezTo>
                  <a:cubicBezTo>
                    <a:pt x="75" y="47"/>
                    <a:pt x="75" y="49"/>
                    <a:pt x="75" y="49"/>
                  </a:cubicBezTo>
                  <a:cubicBezTo>
                    <a:pt x="75" y="50"/>
                    <a:pt x="75" y="52"/>
                    <a:pt x="74" y="54"/>
                  </a:cubicBezTo>
                  <a:cubicBezTo>
                    <a:pt x="72" y="56"/>
                    <a:pt x="69" y="57"/>
                    <a:pt x="65" y="5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15">
            <a:extLst>
              <a:ext uri="{FF2B5EF4-FFF2-40B4-BE49-F238E27FC236}">
                <a16:creationId xmlns:a16="http://schemas.microsoft.com/office/drawing/2014/main" id="{B9AFB0D7-6EAA-4C71-9BBF-E2AF495CB2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8750" y="2835275"/>
            <a:ext cx="760413" cy="758825"/>
            <a:chOff x="900" y="1786"/>
            <a:chExt cx="479" cy="478"/>
          </a:xfrm>
        </p:grpSpPr>
        <p:sp>
          <p:nvSpPr>
            <p:cNvPr id="40" name="AutoShape 14">
              <a:extLst>
                <a:ext uri="{FF2B5EF4-FFF2-40B4-BE49-F238E27FC236}">
                  <a16:creationId xmlns:a16="http://schemas.microsoft.com/office/drawing/2014/main" id="{C3538791-4F38-4324-A4A8-7DD2D13E7A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0" y="178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61EE50B4-9FA7-4BDA-8847-A1CB1235D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" y="178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3666E0DC-53FB-430E-A1C9-F8A251AAF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32"/>
              <a:ext cx="44" cy="41"/>
            </a:xfrm>
            <a:custGeom>
              <a:avLst/>
              <a:gdLst>
                <a:gd name="T0" fmla="*/ 9 w 18"/>
                <a:gd name="T1" fmla="*/ 17 h 17"/>
                <a:gd name="T2" fmla="*/ 7 w 18"/>
                <a:gd name="T3" fmla="*/ 17 h 17"/>
                <a:gd name="T4" fmla="*/ 0 w 18"/>
                <a:gd name="T5" fmla="*/ 3 h 17"/>
                <a:gd name="T6" fmla="*/ 1 w 18"/>
                <a:gd name="T7" fmla="*/ 0 h 17"/>
                <a:gd name="T8" fmla="*/ 4 w 18"/>
                <a:gd name="T9" fmla="*/ 1 h 17"/>
                <a:gd name="T10" fmla="*/ 9 w 18"/>
                <a:gd name="T11" fmla="*/ 12 h 17"/>
                <a:gd name="T12" fmla="*/ 14 w 18"/>
                <a:gd name="T13" fmla="*/ 1 h 17"/>
                <a:gd name="T14" fmla="*/ 17 w 18"/>
                <a:gd name="T15" fmla="*/ 0 h 17"/>
                <a:gd name="T16" fmla="*/ 17 w 18"/>
                <a:gd name="T17" fmla="*/ 3 h 17"/>
                <a:gd name="T18" fmla="*/ 10 w 18"/>
                <a:gd name="T19" fmla="*/ 17 h 17"/>
                <a:gd name="T20" fmla="*/ 9 w 18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cubicBezTo>
                    <a:pt x="8" y="17"/>
                    <a:pt x="8" y="17"/>
                    <a:pt x="7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1"/>
                    <a:pt x="18" y="2"/>
                    <a:pt x="17" y="3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9" y="1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18">
              <a:extLst>
                <a:ext uri="{FF2B5EF4-FFF2-40B4-BE49-F238E27FC236}">
                  <a16:creationId xmlns:a16="http://schemas.microsoft.com/office/drawing/2014/main" id="{9C0D9CA9-96B2-4A91-A9E0-283F5B0A1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2075"/>
              <a:ext cx="10" cy="96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D3246447-49FF-448B-980C-3AFD6CD59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7" y="1938"/>
              <a:ext cx="64" cy="235"/>
            </a:xfrm>
            <a:custGeom>
              <a:avLst/>
              <a:gdLst>
                <a:gd name="T0" fmla="*/ 7 w 64"/>
                <a:gd name="T1" fmla="*/ 228 h 235"/>
                <a:gd name="T2" fmla="*/ 56 w 64"/>
                <a:gd name="T3" fmla="*/ 228 h 235"/>
                <a:gd name="T4" fmla="*/ 56 w 64"/>
                <a:gd name="T5" fmla="*/ 7 h 235"/>
                <a:gd name="T6" fmla="*/ 7 w 64"/>
                <a:gd name="T7" fmla="*/ 7 h 235"/>
                <a:gd name="T8" fmla="*/ 7 w 64"/>
                <a:gd name="T9" fmla="*/ 228 h 235"/>
                <a:gd name="T10" fmla="*/ 64 w 64"/>
                <a:gd name="T11" fmla="*/ 235 h 235"/>
                <a:gd name="T12" fmla="*/ 0 w 64"/>
                <a:gd name="T13" fmla="*/ 235 h 235"/>
                <a:gd name="T14" fmla="*/ 0 w 64"/>
                <a:gd name="T15" fmla="*/ 0 h 235"/>
                <a:gd name="T16" fmla="*/ 64 w 64"/>
                <a:gd name="T17" fmla="*/ 0 h 235"/>
                <a:gd name="T18" fmla="*/ 64 w 64"/>
                <a:gd name="T19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235">
                  <a:moveTo>
                    <a:pt x="7" y="228"/>
                  </a:moveTo>
                  <a:lnTo>
                    <a:pt x="56" y="228"/>
                  </a:lnTo>
                  <a:lnTo>
                    <a:pt x="56" y="7"/>
                  </a:lnTo>
                  <a:lnTo>
                    <a:pt x="7" y="7"/>
                  </a:lnTo>
                  <a:lnTo>
                    <a:pt x="7" y="228"/>
                  </a:lnTo>
                  <a:close/>
                  <a:moveTo>
                    <a:pt x="64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2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5663DAD0-2FBE-4799-8895-57B9DA8AD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2" y="2021"/>
              <a:ext cx="22" cy="71"/>
            </a:xfrm>
            <a:custGeom>
              <a:avLst/>
              <a:gdLst>
                <a:gd name="T0" fmla="*/ 10 w 22"/>
                <a:gd name="T1" fmla="*/ 62 h 71"/>
                <a:gd name="T2" fmla="*/ 15 w 22"/>
                <a:gd name="T3" fmla="*/ 62 h 71"/>
                <a:gd name="T4" fmla="*/ 15 w 22"/>
                <a:gd name="T5" fmla="*/ 10 h 71"/>
                <a:gd name="T6" fmla="*/ 10 w 22"/>
                <a:gd name="T7" fmla="*/ 10 h 71"/>
                <a:gd name="T8" fmla="*/ 10 w 22"/>
                <a:gd name="T9" fmla="*/ 62 h 71"/>
                <a:gd name="T10" fmla="*/ 22 w 22"/>
                <a:gd name="T11" fmla="*/ 71 h 71"/>
                <a:gd name="T12" fmla="*/ 0 w 22"/>
                <a:gd name="T13" fmla="*/ 71 h 71"/>
                <a:gd name="T14" fmla="*/ 0 w 22"/>
                <a:gd name="T15" fmla="*/ 0 h 71"/>
                <a:gd name="T16" fmla="*/ 22 w 22"/>
                <a:gd name="T17" fmla="*/ 0 h 71"/>
                <a:gd name="T18" fmla="*/ 22 w 22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71">
                  <a:moveTo>
                    <a:pt x="10" y="62"/>
                  </a:moveTo>
                  <a:lnTo>
                    <a:pt x="15" y="62"/>
                  </a:lnTo>
                  <a:lnTo>
                    <a:pt x="15" y="10"/>
                  </a:lnTo>
                  <a:lnTo>
                    <a:pt x="10" y="10"/>
                  </a:lnTo>
                  <a:lnTo>
                    <a:pt x="10" y="62"/>
                  </a:lnTo>
                  <a:close/>
                  <a:moveTo>
                    <a:pt x="22" y="71"/>
                  </a:moveTo>
                  <a:lnTo>
                    <a:pt x="0" y="71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EE2ECABF-B243-4251-A17B-3787E99AD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" y="2043"/>
              <a:ext cx="30" cy="18"/>
            </a:xfrm>
            <a:custGeom>
              <a:avLst/>
              <a:gdLst>
                <a:gd name="T0" fmla="*/ 27 w 30"/>
                <a:gd name="T1" fmla="*/ 18 h 18"/>
                <a:gd name="T2" fmla="*/ 0 w 30"/>
                <a:gd name="T3" fmla="*/ 8 h 18"/>
                <a:gd name="T4" fmla="*/ 3 w 30"/>
                <a:gd name="T5" fmla="*/ 0 h 18"/>
                <a:gd name="T6" fmla="*/ 30 w 30"/>
                <a:gd name="T7" fmla="*/ 10 h 18"/>
                <a:gd name="T8" fmla="*/ 27 w 30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7" y="18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30" y="10"/>
                  </a:lnTo>
                  <a:lnTo>
                    <a:pt x="27" y="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C0577474-181D-4F9F-896F-AE6391B35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" y="1904"/>
              <a:ext cx="238" cy="139"/>
            </a:xfrm>
            <a:custGeom>
              <a:avLst/>
              <a:gdLst>
                <a:gd name="T0" fmla="*/ 5 w 97"/>
                <a:gd name="T1" fmla="*/ 24 h 57"/>
                <a:gd name="T2" fmla="*/ 37 w 97"/>
                <a:gd name="T3" fmla="*/ 37 h 57"/>
                <a:gd name="T4" fmla="*/ 37 w 97"/>
                <a:gd name="T5" fmla="*/ 37 h 57"/>
                <a:gd name="T6" fmla="*/ 58 w 97"/>
                <a:gd name="T7" fmla="*/ 53 h 57"/>
                <a:gd name="T8" fmla="*/ 71 w 97"/>
                <a:gd name="T9" fmla="*/ 52 h 57"/>
                <a:gd name="T10" fmla="*/ 72 w 97"/>
                <a:gd name="T11" fmla="*/ 50 h 57"/>
                <a:gd name="T12" fmla="*/ 71 w 97"/>
                <a:gd name="T13" fmla="*/ 50 h 57"/>
                <a:gd name="T14" fmla="*/ 71 w 97"/>
                <a:gd name="T15" fmla="*/ 49 h 57"/>
                <a:gd name="T16" fmla="*/ 68 w 97"/>
                <a:gd name="T17" fmla="*/ 48 h 57"/>
                <a:gd name="T18" fmla="*/ 58 w 97"/>
                <a:gd name="T19" fmla="*/ 43 h 57"/>
                <a:gd name="T20" fmla="*/ 58 w 97"/>
                <a:gd name="T21" fmla="*/ 42 h 57"/>
                <a:gd name="T22" fmla="*/ 60 w 97"/>
                <a:gd name="T23" fmla="*/ 36 h 57"/>
                <a:gd name="T24" fmla="*/ 69 w 97"/>
                <a:gd name="T25" fmla="*/ 36 h 57"/>
                <a:gd name="T26" fmla="*/ 70 w 97"/>
                <a:gd name="T27" fmla="*/ 36 h 57"/>
                <a:gd name="T28" fmla="*/ 88 w 97"/>
                <a:gd name="T29" fmla="*/ 49 h 57"/>
                <a:gd name="T30" fmla="*/ 91 w 97"/>
                <a:gd name="T31" fmla="*/ 52 h 57"/>
                <a:gd name="T32" fmla="*/ 93 w 97"/>
                <a:gd name="T33" fmla="*/ 51 h 57"/>
                <a:gd name="T34" fmla="*/ 93 w 97"/>
                <a:gd name="T35" fmla="*/ 50 h 57"/>
                <a:gd name="T36" fmla="*/ 93 w 97"/>
                <a:gd name="T37" fmla="*/ 49 h 57"/>
                <a:gd name="T38" fmla="*/ 77 w 97"/>
                <a:gd name="T39" fmla="*/ 33 h 57"/>
                <a:gd name="T40" fmla="*/ 76 w 97"/>
                <a:gd name="T41" fmla="*/ 32 h 57"/>
                <a:gd name="T42" fmla="*/ 71 w 97"/>
                <a:gd name="T43" fmla="*/ 13 h 57"/>
                <a:gd name="T44" fmla="*/ 63 w 97"/>
                <a:gd name="T45" fmla="*/ 9 h 57"/>
                <a:gd name="T46" fmla="*/ 37 w 97"/>
                <a:gd name="T47" fmla="*/ 13 h 57"/>
                <a:gd name="T48" fmla="*/ 14 w 97"/>
                <a:gd name="T49" fmla="*/ 4 h 57"/>
                <a:gd name="T50" fmla="*/ 5 w 97"/>
                <a:gd name="T51" fmla="*/ 24 h 57"/>
                <a:gd name="T52" fmla="*/ 65 w 97"/>
                <a:gd name="T53" fmla="*/ 57 h 57"/>
                <a:gd name="T54" fmla="*/ 58 w 97"/>
                <a:gd name="T55" fmla="*/ 56 h 57"/>
                <a:gd name="T56" fmla="*/ 34 w 97"/>
                <a:gd name="T57" fmla="*/ 39 h 57"/>
                <a:gd name="T58" fmla="*/ 0 w 97"/>
                <a:gd name="T59" fmla="*/ 25 h 57"/>
                <a:gd name="T60" fmla="*/ 12 w 97"/>
                <a:gd name="T61" fmla="*/ 0 h 57"/>
                <a:gd name="T62" fmla="*/ 37 w 97"/>
                <a:gd name="T63" fmla="*/ 10 h 57"/>
                <a:gd name="T64" fmla="*/ 63 w 97"/>
                <a:gd name="T65" fmla="*/ 5 h 57"/>
                <a:gd name="T66" fmla="*/ 74 w 97"/>
                <a:gd name="T67" fmla="*/ 10 h 57"/>
                <a:gd name="T68" fmla="*/ 79 w 97"/>
                <a:gd name="T69" fmla="*/ 30 h 57"/>
                <a:gd name="T70" fmla="*/ 97 w 97"/>
                <a:gd name="T71" fmla="*/ 49 h 57"/>
                <a:gd name="T72" fmla="*/ 96 w 97"/>
                <a:gd name="T73" fmla="*/ 53 h 57"/>
                <a:gd name="T74" fmla="*/ 91 w 97"/>
                <a:gd name="T75" fmla="*/ 55 h 57"/>
                <a:gd name="T76" fmla="*/ 85 w 97"/>
                <a:gd name="T77" fmla="*/ 51 h 57"/>
                <a:gd name="T78" fmla="*/ 69 w 97"/>
                <a:gd name="T79" fmla="*/ 39 h 57"/>
                <a:gd name="T80" fmla="*/ 63 w 97"/>
                <a:gd name="T81" fmla="*/ 40 h 57"/>
                <a:gd name="T82" fmla="*/ 62 w 97"/>
                <a:gd name="T83" fmla="*/ 42 h 57"/>
                <a:gd name="T84" fmla="*/ 68 w 97"/>
                <a:gd name="T85" fmla="*/ 44 h 57"/>
                <a:gd name="T86" fmla="*/ 74 w 97"/>
                <a:gd name="T87" fmla="*/ 46 h 57"/>
                <a:gd name="T88" fmla="*/ 75 w 97"/>
                <a:gd name="T89" fmla="*/ 49 h 57"/>
                <a:gd name="T90" fmla="*/ 74 w 97"/>
                <a:gd name="T91" fmla="*/ 54 h 57"/>
                <a:gd name="T92" fmla="*/ 65 w 97"/>
                <a:gd name="T9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7" h="57">
                  <a:moveTo>
                    <a:pt x="5" y="24"/>
                  </a:move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8"/>
                    <a:pt x="42" y="50"/>
                    <a:pt x="58" y="53"/>
                  </a:cubicBezTo>
                  <a:cubicBezTo>
                    <a:pt x="68" y="54"/>
                    <a:pt x="70" y="52"/>
                    <a:pt x="71" y="52"/>
                  </a:cubicBezTo>
                  <a:cubicBezTo>
                    <a:pt x="72" y="51"/>
                    <a:pt x="72" y="50"/>
                    <a:pt x="72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8"/>
                    <a:pt x="68" y="48"/>
                  </a:cubicBezTo>
                  <a:cubicBezTo>
                    <a:pt x="61" y="48"/>
                    <a:pt x="58" y="43"/>
                    <a:pt x="58" y="43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82" y="40"/>
                    <a:pt x="86" y="46"/>
                    <a:pt x="88" y="49"/>
                  </a:cubicBezTo>
                  <a:cubicBezTo>
                    <a:pt x="89" y="51"/>
                    <a:pt x="90" y="52"/>
                    <a:pt x="91" y="52"/>
                  </a:cubicBezTo>
                  <a:cubicBezTo>
                    <a:pt x="92" y="52"/>
                    <a:pt x="93" y="52"/>
                    <a:pt x="93" y="51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2"/>
                    <a:pt x="82" y="35"/>
                    <a:pt x="77" y="3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14" y="4"/>
                    <a:pt x="14" y="4"/>
                    <a:pt x="14" y="4"/>
                  </a:cubicBezTo>
                  <a:lnTo>
                    <a:pt x="5" y="24"/>
                  </a:lnTo>
                  <a:close/>
                  <a:moveTo>
                    <a:pt x="65" y="57"/>
                  </a:moveTo>
                  <a:cubicBezTo>
                    <a:pt x="63" y="57"/>
                    <a:pt x="60" y="56"/>
                    <a:pt x="58" y="56"/>
                  </a:cubicBezTo>
                  <a:cubicBezTo>
                    <a:pt x="41" y="53"/>
                    <a:pt x="35" y="42"/>
                    <a:pt x="34" y="3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83" y="31"/>
                    <a:pt x="97" y="39"/>
                    <a:pt x="97" y="49"/>
                  </a:cubicBezTo>
                  <a:cubicBezTo>
                    <a:pt x="97" y="50"/>
                    <a:pt x="97" y="52"/>
                    <a:pt x="96" y="53"/>
                  </a:cubicBezTo>
                  <a:cubicBezTo>
                    <a:pt x="95" y="54"/>
                    <a:pt x="93" y="55"/>
                    <a:pt x="91" y="55"/>
                  </a:cubicBezTo>
                  <a:cubicBezTo>
                    <a:pt x="88" y="55"/>
                    <a:pt x="87" y="53"/>
                    <a:pt x="85" y="51"/>
                  </a:cubicBezTo>
                  <a:cubicBezTo>
                    <a:pt x="83" y="48"/>
                    <a:pt x="80" y="43"/>
                    <a:pt x="69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4" y="44"/>
                    <a:pt x="68" y="44"/>
                  </a:cubicBezTo>
                  <a:cubicBezTo>
                    <a:pt x="70" y="44"/>
                    <a:pt x="72" y="45"/>
                    <a:pt x="74" y="46"/>
                  </a:cubicBezTo>
                  <a:cubicBezTo>
                    <a:pt x="75" y="47"/>
                    <a:pt x="75" y="49"/>
                    <a:pt x="75" y="49"/>
                  </a:cubicBezTo>
                  <a:cubicBezTo>
                    <a:pt x="75" y="50"/>
                    <a:pt x="75" y="52"/>
                    <a:pt x="74" y="54"/>
                  </a:cubicBezTo>
                  <a:cubicBezTo>
                    <a:pt x="72" y="56"/>
                    <a:pt x="69" y="57"/>
                    <a:pt x="65" y="5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25">
            <a:extLst>
              <a:ext uri="{FF2B5EF4-FFF2-40B4-BE49-F238E27FC236}">
                <a16:creationId xmlns:a16="http://schemas.microsoft.com/office/drawing/2014/main" id="{F026CDF7-DA0E-4EA8-B1C2-448463EA07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57463" y="2794000"/>
            <a:ext cx="841375" cy="841375"/>
            <a:chOff x="1611" y="1760"/>
            <a:chExt cx="530" cy="530"/>
          </a:xfrm>
        </p:grpSpPr>
        <p:sp>
          <p:nvSpPr>
            <p:cNvPr id="49" name="AutoShape 24">
              <a:extLst>
                <a:ext uri="{FF2B5EF4-FFF2-40B4-BE49-F238E27FC236}">
                  <a16:creationId xmlns:a16="http://schemas.microsoft.com/office/drawing/2014/main" id="{822EC702-5312-49B7-B401-AB160D6E10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11" y="176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26">
              <a:extLst>
                <a:ext uri="{FF2B5EF4-FFF2-40B4-BE49-F238E27FC236}">
                  <a16:creationId xmlns:a16="http://schemas.microsoft.com/office/drawing/2014/main" id="{07EAFC67-F1C7-4A20-BF1B-69318B76B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1" y="176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D5587AA9-2452-42DB-B2B3-61C3BB293A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9" y="177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F4A7A759-E6B5-4B2D-962E-117ABA7E4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5" y="1990"/>
              <a:ext cx="113" cy="100"/>
            </a:xfrm>
            <a:custGeom>
              <a:avLst/>
              <a:gdLst>
                <a:gd name="T0" fmla="*/ 9 w 44"/>
                <a:gd name="T1" fmla="*/ 39 h 39"/>
                <a:gd name="T2" fmla="*/ 6 w 44"/>
                <a:gd name="T3" fmla="*/ 38 h 39"/>
                <a:gd name="T4" fmla="*/ 2 w 44"/>
                <a:gd name="T5" fmla="*/ 35 h 39"/>
                <a:gd name="T6" fmla="*/ 4 w 44"/>
                <a:gd name="T7" fmla="*/ 25 h 39"/>
                <a:gd name="T8" fmla="*/ 15 w 44"/>
                <a:gd name="T9" fmla="*/ 12 h 39"/>
                <a:gd name="T10" fmla="*/ 15 w 44"/>
                <a:gd name="T11" fmla="*/ 1 h 39"/>
                <a:gd name="T12" fmla="*/ 18 w 44"/>
                <a:gd name="T13" fmla="*/ 1 h 39"/>
                <a:gd name="T14" fmla="*/ 18 w 44"/>
                <a:gd name="T15" fmla="*/ 13 h 39"/>
                <a:gd name="T16" fmla="*/ 6 w 44"/>
                <a:gd name="T17" fmla="*/ 27 h 39"/>
                <a:gd name="T18" fmla="*/ 5 w 44"/>
                <a:gd name="T19" fmla="*/ 34 h 39"/>
                <a:gd name="T20" fmla="*/ 5 w 44"/>
                <a:gd name="T21" fmla="*/ 34 h 39"/>
                <a:gd name="T22" fmla="*/ 7 w 44"/>
                <a:gd name="T23" fmla="*/ 35 h 39"/>
                <a:gd name="T24" fmla="*/ 15 w 44"/>
                <a:gd name="T25" fmla="*/ 34 h 39"/>
                <a:gd name="T26" fmla="*/ 36 w 44"/>
                <a:gd name="T27" fmla="*/ 19 h 39"/>
                <a:gd name="T28" fmla="*/ 38 w 44"/>
                <a:gd name="T29" fmla="*/ 5 h 39"/>
                <a:gd name="T30" fmla="*/ 41 w 44"/>
                <a:gd name="T31" fmla="*/ 0 h 39"/>
                <a:gd name="T32" fmla="*/ 44 w 44"/>
                <a:gd name="T33" fmla="*/ 2 h 39"/>
                <a:gd name="T34" fmla="*/ 41 w 44"/>
                <a:gd name="T35" fmla="*/ 6 h 39"/>
                <a:gd name="T36" fmla="*/ 39 w 44"/>
                <a:gd name="T37" fmla="*/ 21 h 39"/>
                <a:gd name="T38" fmla="*/ 17 w 44"/>
                <a:gd name="T39" fmla="*/ 37 h 39"/>
                <a:gd name="T40" fmla="*/ 9 w 44"/>
                <a:gd name="T4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39">
                  <a:moveTo>
                    <a:pt x="9" y="39"/>
                  </a:moveTo>
                  <a:cubicBezTo>
                    <a:pt x="8" y="39"/>
                    <a:pt x="7" y="39"/>
                    <a:pt x="6" y="38"/>
                  </a:cubicBezTo>
                  <a:cubicBezTo>
                    <a:pt x="3" y="38"/>
                    <a:pt x="3" y="36"/>
                    <a:pt x="2" y="35"/>
                  </a:cubicBezTo>
                  <a:cubicBezTo>
                    <a:pt x="0" y="30"/>
                    <a:pt x="2" y="26"/>
                    <a:pt x="4" y="25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3" y="30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6" y="35"/>
                    <a:pt x="7" y="35"/>
                  </a:cubicBezTo>
                  <a:cubicBezTo>
                    <a:pt x="8" y="36"/>
                    <a:pt x="11" y="36"/>
                    <a:pt x="15" y="34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4" y="39"/>
                    <a:pt x="11" y="39"/>
                    <a:pt x="9" y="3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D8D91F47-8563-45F5-B66D-4F2A5FD0F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" y="2059"/>
              <a:ext cx="46" cy="49"/>
            </a:xfrm>
            <a:custGeom>
              <a:avLst/>
              <a:gdLst>
                <a:gd name="T0" fmla="*/ 11 w 18"/>
                <a:gd name="T1" fmla="*/ 19 h 19"/>
                <a:gd name="T2" fmla="*/ 11 w 18"/>
                <a:gd name="T3" fmla="*/ 19 h 19"/>
                <a:gd name="T4" fmla="*/ 1 w 18"/>
                <a:gd name="T5" fmla="*/ 0 h 19"/>
                <a:gd name="T6" fmla="*/ 5 w 18"/>
                <a:gd name="T7" fmla="*/ 1 h 19"/>
                <a:gd name="T8" fmla="*/ 11 w 18"/>
                <a:gd name="T9" fmla="*/ 16 h 19"/>
                <a:gd name="T10" fmla="*/ 14 w 18"/>
                <a:gd name="T11" fmla="*/ 10 h 19"/>
                <a:gd name="T12" fmla="*/ 18 w 18"/>
                <a:gd name="T13" fmla="*/ 11 h 19"/>
                <a:gd name="T14" fmla="*/ 11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1" y="19"/>
                  </a:moveTo>
                  <a:cubicBezTo>
                    <a:pt x="11" y="19"/>
                    <a:pt x="11" y="19"/>
                    <a:pt x="11" y="19"/>
                  </a:cubicBezTo>
                  <a:cubicBezTo>
                    <a:pt x="0" y="18"/>
                    <a:pt x="1" y="1"/>
                    <a:pt x="1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5"/>
                    <a:pt x="11" y="16"/>
                  </a:cubicBezTo>
                  <a:cubicBezTo>
                    <a:pt x="11" y="16"/>
                    <a:pt x="14" y="16"/>
                    <a:pt x="14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7" y="18"/>
                    <a:pt x="13" y="19"/>
                    <a:pt x="11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06FFE9B2-8126-4505-AF62-FC2FFAA8B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" y="2085"/>
              <a:ext cx="48" cy="62"/>
            </a:xfrm>
            <a:custGeom>
              <a:avLst/>
              <a:gdLst>
                <a:gd name="T0" fmla="*/ 13 w 19"/>
                <a:gd name="T1" fmla="*/ 24 h 24"/>
                <a:gd name="T2" fmla="*/ 11 w 19"/>
                <a:gd name="T3" fmla="*/ 24 h 24"/>
                <a:gd name="T4" fmla="*/ 3 w 19"/>
                <a:gd name="T5" fmla="*/ 0 h 24"/>
                <a:gd name="T6" fmla="*/ 6 w 19"/>
                <a:gd name="T7" fmla="*/ 0 h 24"/>
                <a:gd name="T8" fmla="*/ 12 w 19"/>
                <a:gd name="T9" fmla="*/ 21 h 24"/>
                <a:gd name="T10" fmla="*/ 14 w 19"/>
                <a:gd name="T11" fmla="*/ 21 h 24"/>
                <a:gd name="T12" fmla="*/ 14 w 19"/>
                <a:gd name="T13" fmla="*/ 13 h 24"/>
                <a:gd name="T14" fmla="*/ 13 w 19"/>
                <a:gd name="T15" fmla="*/ 0 h 24"/>
                <a:gd name="T16" fmla="*/ 16 w 19"/>
                <a:gd name="T17" fmla="*/ 0 h 24"/>
                <a:gd name="T18" fmla="*/ 17 w 19"/>
                <a:gd name="T19" fmla="*/ 12 h 24"/>
                <a:gd name="T20" fmla="*/ 16 w 19"/>
                <a:gd name="T21" fmla="*/ 23 h 24"/>
                <a:gd name="T22" fmla="*/ 13 w 19"/>
                <a:gd name="T2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4">
                  <a:moveTo>
                    <a:pt x="13" y="24"/>
                  </a:moveTo>
                  <a:cubicBezTo>
                    <a:pt x="12" y="24"/>
                    <a:pt x="12" y="24"/>
                    <a:pt x="11" y="24"/>
                  </a:cubicBezTo>
                  <a:cubicBezTo>
                    <a:pt x="0" y="22"/>
                    <a:pt x="3" y="1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6"/>
                    <a:pt x="5" y="20"/>
                    <a:pt x="12" y="21"/>
                  </a:cubicBezTo>
                  <a:cubicBezTo>
                    <a:pt x="13" y="21"/>
                    <a:pt x="14" y="21"/>
                    <a:pt x="14" y="21"/>
                  </a:cubicBezTo>
                  <a:cubicBezTo>
                    <a:pt x="15" y="20"/>
                    <a:pt x="14" y="16"/>
                    <a:pt x="14" y="13"/>
                  </a:cubicBezTo>
                  <a:cubicBezTo>
                    <a:pt x="13" y="8"/>
                    <a:pt x="12" y="4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4"/>
                    <a:pt x="16" y="8"/>
                    <a:pt x="17" y="12"/>
                  </a:cubicBezTo>
                  <a:cubicBezTo>
                    <a:pt x="18" y="17"/>
                    <a:pt x="19" y="21"/>
                    <a:pt x="16" y="23"/>
                  </a:cubicBezTo>
                  <a:cubicBezTo>
                    <a:pt x="16" y="24"/>
                    <a:pt x="14" y="24"/>
                    <a:pt x="13" y="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F3F5728B-F28B-4BE5-B437-39A26739D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2" y="2083"/>
              <a:ext cx="43" cy="64"/>
            </a:xfrm>
            <a:custGeom>
              <a:avLst/>
              <a:gdLst>
                <a:gd name="T0" fmla="*/ 4 w 17"/>
                <a:gd name="T1" fmla="*/ 5 h 25"/>
                <a:gd name="T2" fmla="*/ 10 w 17"/>
                <a:gd name="T3" fmla="*/ 21 h 25"/>
                <a:gd name="T4" fmla="*/ 12 w 17"/>
                <a:gd name="T5" fmla="*/ 21 h 25"/>
                <a:gd name="T6" fmla="*/ 12 w 17"/>
                <a:gd name="T7" fmla="*/ 13 h 25"/>
                <a:gd name="T8" fmla="*/ 11 w 17"/>
                <a:gd name="T9" fmla="*/ 7 h 25"/>
                <a:gd name="T10" fmla="*/ 4 w 17"/>
                <a:gd name="T11" fmla="*/ 5 h 25"/>
                <a:gd name="T12" fmla="*/ 11 w 17"/>
                <a:gd name="T13" fmla="*/ 25 h 25"/>
                <a:gd name="T14" fmla="*/ 9 w 17"/>
                <a:gd name="T15" fmla="*/ 24 h 25"/>
                <a:gd name="T16" fmla="*/ 0 w 17"/>
                <a:gd name="T17" fmla="*/ 2 h 25"/>
                <a:gd name="T18" fmla="*/ 1 w 17"/>
                <a:gd name="T19" fmla="*/ 0 h 25"/>
                <a:gd name="T20" fmla="*/ 14 w 17"/>
                <a:gd name="T21" fmla="*/ 4 h 25"/>
                <a:gd name="T22" fmla="*/ 14 w 17"/>
                <a:gd name="T23" fmla="*/ 6 h 25"/>
                <a:gd name="T24" fmla="*/ 15 w 17"/>
                <a:gd name="T25" fmla="*/ 12 h 25"/>
                <a:gd name="T26" fmla="*/ 14 w 17"/>
                <a:gd name="T27" fmla="*/ 23 h 25"/>
                <a:gd name="T28" fmla="*/ 11 w 17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5">
                  <a:moveTo>
                    <a:pt x="4" y="5"/>
                  </a:moveTo>
                  <a:cubicBezTo>
                    <a:pt x="3" y="10"/>
                    <a:pt x="4" y="20"/>
                    <a:pt x="10" y="21"/>
                  </a:cubicBezTo>
                  <a:cubicBezTo>
                    <a:pt x="11" y="21"/>
                    <a:pt x="12" y="21"/>
                    <a:pt x="12" y="21"/>
                  </a:cubicBezTo>
                  <a:cubicBezTo>
                    <a:pt x="13" y="20"/>
                    <a:pt x="12" y="16"/>
                    <a:pt x="12" y="13"/>
                  </a:cubicBezTo>
                  <a:cubicBezTo>
                    <a:pt x="11" y="11"/>
                    <a:pt x="11" y="9"/>
                    <a:pt x="11" y="7"/>
                  </a:cubicBezTo>
                  <a:lnTo>
                    <a:pt x="4" y="5"/>
                  </a:lnTo>
                  <a:close/>
                  <a:moveTo>
                    <a:pt x="11" y="25"/>
                  </a:moveTo>
                  <a:cubicBezTo>
                    <a:pt x="10" y="25"/>
                    <a:pt x="10" y="25"/>
                    <a:pt x="9" y="24"/>
                  </a:cubicBezTo>
                  <a:cubicBezTo>
                    <a:pt x="0" y="23"/>
                    <a:pt x="0" y="8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8"/>
                    <a:pt x="15" y="10"/>
                    <a:pt x="15" y="12"/>
                  </a:cubicBezTo>
                  <a:cubicBezTo>
                    <a:pt x="16" y="17"/>
                    <a:pt x="17" y="21"/>
                    <a:pt x="14" y="23"/>
                  </a:cubicBezTo>
                  <a:cubicBezTo>
                    <a:pt x="13" y="24"/>
                    <a:pt x="12" y="25"/>
                    <a:pt x="11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975FCA5D-300C-4DC8-886A-736D16C51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0" y="2095"/>
              <a:ext cx="41" cy="46"/>
            </a:xfrm>
            <a:custGeom>
              <a:avLst/>
              <a:gdLst>
                <a:gd name="T0" fmla="*/ 3 w 16"/>
                <a:gd name="T1" fmla="*/ 4 h 18"/>
                <a:gd name="T2" fmla="*/ 9 w 16"/>
                <a:gd name="T3" fmla="*/ 15 h 18"/>
                <a:gd name="T4" fmla="*/ 12 w 16"/>
                <a:gd name="T5" fmla="*/ 15 h 18"/>
                <a:gd name="T6" fmla="*/ 11 w 16"/>
                <a:gd name="T7" fmla="*/ 7 h 18"/>
                <a:gd name="T8" fmla="*/ 3 w 16"/>
                <a:gd name="T9" fmla="*/ 4 h 18"/>
                <a:gd name="T10" fmla="*/ 10 w 16"/>
                <a:gd name="T11" fmla="*/ 18 h 18"/>
                <a:gd name="T12" fmla="*/ 9 w 16"/>
                <a:gd name="T13" fmla="*/ 18 h 18"/>
                <a:gd name="T14" fmla="*/ 0 w 16"/>
                <a:gd name="T15" fmla="*/ 2 h 18"/>
                <a:gd name="T16" fmla="*/ 0 w 16"/>
                <a:gd name="T17" fmla="*/ 0 h 18"/>
                <a:gd name="T18" fmla="*/ 14 w 16"/>
                <a:gd name="T19" fmla="*/ 4 h 18"/>
                <a:gd name="T20" fmla="*/ 15 w 16"/>
                <a:gd name="T21" fmla="*/ 6 h 18"/>
                <a:gd name="T22" fmla="*/ 14 w 16"/>
                <a:gd name="T23" fmla="*/ 17 h 18"/>
                <a:gd name="T24" fmla="*/ 10 w 16"/>
                <a:gd name="T2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8">
                  <a:moveTo>
                    <a:pt x="3" y="4"/>
                  </a:moveTo>
                  <a:cubicBezTo>
                    <a:pt x="4" y="9"/>
                    <a:pt x="5" y="14"/>
                    <a:pt x="9" y="15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3" y="14"/>
                    <a:pt x="12" y="10"/>
                    <a:pt x="11" y="7"/>
                  </a:cubicBezTo>
                  <a:lnTo>
                    <a:pt x="3" y="4"/>
                  </a:lnTo>
                  <a:close/>
                  <a:moveTo>
                    <a:pt x="10" y="18"/>
                  </a:moveTo>
                  <a:cubicBezTo>
                    <a:pt x="10" y="18"/>
                    <a:pt x="9" y="18"/>
                    <a:pt x="9" y="18"/>
                  </a:cubicBezTo>
                  <a:cubicBezTo>
                    <a:pt x="5" y="17"/>
                    <a:pt x="0" y="14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11"/>
                    <a:pt x="16" y="15"/>
                    <a:pt x="14" y="17"/>
                  </a:cubicBezTo>
                  <a:cubicBezTo>
                    <a:pt x="13" y="18"/>
                    <a:pt x="12" y="18"/>
                    <a:pt x="10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ADDEF3AA-EB2D-4878-A93E-A6C2D1E8B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" y="1862"/>
              <a:ext cx="274" cy="190"/>
            </a:xfrm>
            <a:custGeom>
              <a:avLst/>
              <a:gdLst>
                <a:gd name="T0" fmla="*/ 65 w 107"/>
                <a:gd name="T1" fmla="*/ 74 h 74"/>
                <a:gd name="T2" fmla="*/ 63 w 107"/>
                <a:gd name="T3" fmla="*/ 72 h 74"/>
                <a:gd name="T4" fmla="*/ 82 w 107"/>
                <a:gd name="T5" fmla="*/ 50 h 74"/>
                <a:gd name="T6" fmla="*/ 87 w 107"/>
                <a:gd name="T7" fmla="*/ 57 h 74"/>
                <a:gd name="T8" fmla="*/ 103 w 107"/>
                <a:gd name="T9" fmla="*/ 54 h 74"/>
                <a:gd name="T10" fmla="*/ 71 w 107"/>
                <a:gd name="T11" fmla="*/ 3 h 74"/>
                <a:gd name="T12" fmla="*/ 55 w 107"/>
                <a:gd name="T13" fmla="*/ 16 h 74"/>
                <a:gd name="T14" fmla="*/ 59 w 107"/>
                <a:gd name="T15" fmla="*/ 24 h 74"/>
                <a:gd name="T16" fmla="*/ 14 w 107"/>
                <a:gd name="T17" fmla="*/ 39 h 74"/>
                <a:gd name="T18" fmla="*/ 3 w 107"/>
                <a:gd name="T19" fmla="*/ 54 h 74"/>
                <a:gd name="T20" fmla="*/ 0 w 107"/>
                <a:gd name="T21" fmla="*/ 52 h 74"/>
                <a:gd name="T22" fmla="*/ 12 w 107"/>
                <a:gd name="T23" fmla="*/ 36 h 74"/>
                <a:gd name="T24" fmla="*/ 54 w 107"/>
                <a:gd name="T25" fmla="*/ 22 h 74"/>
                <a:gd name="T26" fmla="*/ 51 w 107"/>
                <a:gd name="T27" fmla="*/ 15 h 74"/>
                <a:gd name="T28" fmla="*/ 70 w 107"/>
                <a:gd name="T29" fmla="*/ 0 h 74"/>
                <a:gd name="T30" fmla="*/ 71 w 107"/>
                <a:gd name="T31" fmla="*/ 0 h 74"/>
                <a:gd name="T32" fmla="*/ 107 w 107"/>
                <a:gd name="T33" fmla="*/ 56 h 74"/>
                <a:gd name="T34" fmla="*/ 107 w 107"/>
                <a:gd name="T35" fmla="*/ 57 h 74"/>
                <a:gd name="T36" fmla="*/ 86 w 107"/>
                <a:gd name="T37" fmla="*/ 61 h 74"/>
                <a:gd name="T38" fmla="*/ 82 w 107"/>
                <a:gd name="T39" fmla="*/ 55 h 74"/>
                <a:gd name="T40" fmla="*/ 65 w 107"/>
                <a:gd name="T4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74">
                  <a:moveTo>
                    <a:pt x="65" y="74"/>
                  </a:moveTo>
                  <a:cubicBezTo>
                    <a:pt x="63" y="72"/>
                    <a:pt x="63" y="72"/>
                    <a:pt x="63" y="72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47"/>
                    <a:pt x="97" y="17"/>
                    <a:pt x="71" y="3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04" y="15"/>
                    <a:pt x="107" y="55"/>
                    <a:pt x="107" y="56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2" y="55"/>
                    <a:pt x="82" y="55"/>
                    <a:pt x="82" y="55"/>
                  </a:cubicBezTo>
                  <a:lnTo>
                    <a:pt x="65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BF2F9B03-84F5-4518-93DD-E12D0C360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" y="1960"/>
              <a:ext cx="149" cy="112"/>
            </a:xfrm>
            <a:custGeom>
              <a:avLst/>
              <a:gdLst>
                <a:gd name="T0" fmla="*/ 110 w 149"/>
                <a:gd name="T1" fmla="*/ 112 h 112"/>
                <a:gd name="T2" fmla="*/ 0 w 149"/>
                <a:gd name="T3" fmla="*/ 76 h 112"/>
                <a:gd name="T4" fmla="*/ 0 w 149"/>
                <a:gd name="T5" fmla="*/ 0 h 112"/>
                <a:gd name="T6" fmla="*/ 149 w 149"/>
                <a:gd name="T7" fmla="*/ 48 h 112"/>
                <a:gd name="T8" fmla="*/ 146 w 149"/>
                <a:gd name="T9" fmla="*/ 56 h 112"/>
                <a:gd name="T10" fmla="*/ 8 w 149"/>
                <a:gd name="T11" fmla="*/ 12 h 112"/>
                <a:gd name="T12" fmla="*/ 8 w 149"/>
                <a:gd name="T13" fmla="*/ 69 h 112"/>
                <a:gd name="T14" fmla="*/ 113 w 149"/>
                <a:gd name="T15" fmla="*/ 105 h 112"/>
                <a:gd name="T16" fmla="*/ 110 w 149"/>
                <a:gd name="T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12">
                  <a:moveTo>
                    <a:pt x="110" y="112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49" y="48"/>
                  </a:lnTo>
                  <a:lnTo>
                    <a:pt x="146" y="56"/>
                  </a:lnTo>
                  <a:lnTo>
                    <a:pt x="8" y="12"/>
                  </a:lnTo>
                  <a:lnTo>
                    <a:pt x="8" y="69"/>
                  </a:lnTo>
                  <a:lnTo>
                    <a:pt x="113" y="105"/>
                  </a:lnTo>
                  <a:lnTo>
                    <a:pt x="110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BB2A4220-4BE0-4941-85F3-B78303B55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" y="2026"/>
              <a:ext cx="189" cy="121"/>
            </a:xfrm>
            <a:custGeom>
              <a:avLst/>
              <a:gdLst>
                <a:gd name="T0" fmla="*/ 189 w 189"/>
                <a:gd name="T1" fmla="*/ 121 h 121"/>
                <a:gd name="T2" fmla="*/ 0 w 189"/>
                <a:gd name="T3" fmla="*/ 57 h 121"/>
                <a:gd name="T4" fmla="*/ 2 w 189"/>
                <a:gd name="T5" fmla="*/ 49 h 121"/>
                <a:gd name="T6" fmla="*/ 182 w 189"/>
                <a:gd name="T7" fmla="*/ 108 h 121"/>
                <a:gd name="T8" fmla="*/ 182 w 189"/>
                <a:gd name="T9" fmla="*/ 49 h 121"/>
                <a:gd name="T10" fmla="*/ 54 w 189"/>
                <a:gd name="T11" fmla="*/ 8 h 121"/>
                <a:gd name="T12" fmla="*/ 56 w 189"/>
                <a:gd name="T13" fmla="*/ 0 h 121"/>
                <a:gd name="T14" fmla="*/ 189 w 189"/>
                <a:gd name="T15" fmla="*/ 44 h 121"/>
                <a:gd name="T16" fmla="*/ 189 w 189"/>
                <a:gd name="T1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9" h="121">
                  <a:moveTo>
                    <a:pt x="189" y="121"/>
                  </a:moveTo>
                  <a:lnTo>
                    <a:pt x="0" y="57"/>
                  </a:lnTo>
                  <a:lnTo>
                    <a:pt x="2" y="49"/>
                  </a:lnTo>
                  <a:lnTo>
                    <a:pt x="182" y="108"/>
                  </a:lnTo>
                  <a:lnTo>
                    <a:pt x="182" y="49"/>
                  </a:lnTo>
                  <a:lnTo>
                    <a:pt x="54" y="8"/>
                  </a:lnTo>
                  <a:lnTo>
                    <a:pt x="56" y="0"/>
                  </a:lnTo>
                  <a:lnTo>
                    <a:pt x="189" y="44"/>
                  </a:lnTo>
                  <a:lnTo>
                    <a:pt x="189" y="1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36">
              <a:extLst>
                <a:ext uri="{FF2B5EF4-FFF2-40B4-BE49-F238E27FC236}">
                  <a16:creationId xmlns:a16="http://schemas.microsoft.com/office/drawing/2014/main" id="{FB2E631B-A711-4D6F-9216-E676BF07A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1" y="2118"/>
              <a:ext cx="11" cy="6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39">
            <a:extLst>
              <a:ext uri="{FF2B5EF4-FFF2-40B4-BE49-F238E27FC236}">
                <a16:creationId xmlns:a16="http://schemas.microsoft.com/office/drawing/2014/main" id="{E3D7E05C-DE54-4073-8ACA-841DCA2541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5213" y="2835275"/>
            <a:ext cx="758825" cy="758825"/>
            <a:chOff x="2271" y="1786"/>
            <a:chExt cx="478" cy="478"/>
          </a:xfrm>
        </p:grpSpPr>
        <p:sp>
          <p:nvSpPr>
            <p:cNvPr id="62" name="AutoShape 38">
              <a:extLst>
                <a:ext uri="{FF2B5EF4-FFF2-40B4-BE49-F238E27FC236}">
                  <a16:creationId xmlns:a16="http://schemas.microsoft.com/office/drawing/2014/main" id="{C2AC2318-6B94-4DC2-B25B-749A1DE274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1" y="17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57ACA78E-989F-4611-BBBC-8E159EB0F4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3" y="17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75DF94DB-726C-41BA-8450-4CDAE908C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1992"/>
              <a:ext cx="108" cy="96"/>
            </a:xfrm>
            <a:custGeom>
              <a:avLst/>
              <a:gdLst>
                <a:gd name="T0" fmla="*/ 9 w 44"/>
                <a:gd name="T1" fmla="*/ 39 h 39"/>
                <a:gd name="T2" fmla="*/ 6 w 44"/>
                <a:gd name="T3" fmla="*/ 38 h 39"/>
                <a:gd name="T4" fmla="*/ 2 w 44"/>
                <a:gd name="T5" fmla="*/ 35 h 39"/>
                <a:gd name="T6" fmla="*/ 4 w 44"/>
                <a:gd name="T7" fmla="*/ 25 h 39"/>
                <a:gd name="T8" fmla="*/ 15 w 44"/>
                <a:gd name="T9" fmla="*/ 12 h 39"/>
                <a:gd name="T10" fmla="*/ 15 w 44"/>
                <a:gd name="T11" fmla="*/ 1 h 39"/>
                <a:gd name="T12" fmla="*/ 18 w 44"/>
                <a:gd name="T13" fmla="*/ 1 h 39"/>
                <a:gd name="T14" fmla="*/ 18 w 44"/>
                <a:gd name="T15" fmla="*/ 13 h 39"/>
                <a:gd name="T16" fmla="*/ 6 w 44"/>
                <a:gd name="T17" fmla="*/ 27 h 39"/>
                <a:gd name="T18" fmla="*/ 5 w 44"/>
                <a:gd name="T19" fmla="*/ 34 h 39"/>
                <a:gd name="T20" fmla="*/ 5 w 44"/>
                <a:gd name="T21" fmla="*/ 34 h 39"/>
                <a:gd name="T22" fmla="*/ 7 w 44"/>
                <a:gd name="T23" fmla="*/ 35 h 39"/>
                <a:gd name="T24" fmla="*/ 15 w 44"/>
                <a:gd name="T25" fmla="*/ 34 h 39"/>
                <a:gd name="T26" fmla="*/ 36 w 44"/>
                <a:gd name="T27" fmla="*/ 19 h 39"/>
                <a:gd name="T28" fmla="*/ 38 w 44"/>
                <a:gd name="T29" fmla="*/ 5 h 39"/>
                <a:gd name="T30" fmla="*/ 41 w 44"/>
                <a:gd name="T31" fmla="*/ 0 h 39"/>
                <a:gd name="T32" fmla="*/ 44 w 44"/>
                <a:gd name="T33" fmla="*/ 2 h 39"/>
                <a:gd name="T34" fmla="*/ 41 w 44"/>
                <a:gd name="T35" fmla="*/ 6 h 39"/>
                <a:gd name="T36" fmla="*/ 39 w 44"/>
                <a:gd name="T37" fmla="*/ 21 h 39"/>
                <a:gd name="T38" fmla="*/ 17 w 44"/>
                <a:gd name="T39" fmla="*/ 37 h 39"/>
                <a:gd name="T40" fmla="*/ 9 w 44"/>
                <a:gd name="T4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39">
                  <a:moveTo>
                    <a:pt x="9" y="39"/>
                  </a:moveTo>
                  <a:cubicBezTo>
                    <a:pt x="8" y="39"/>
                    <a:pt x="7" y="39"/>
                    <a:pt x="6" y="38"/>
                  </a:cubicBezTo>
                  <a:cubicBezTo>
                    <a:pt x="3" y="38"/>
                    <a:pt x="3" y="36"/>
                    <a:pt x="2" y="35"/>
                  </a:cubicBezTo>
                  <a:cubicBezTo>
                    <a:pt x="0" y="30"/>
                    <a:pt x="2" y="26"/>
                    <a:pt x="4" y="25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3" y="30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6" y="35"/>
                    <a:pt x="7" y="35"/>
                  </a:cubicBezTo>
                  <a:cubicBezTo>
                    <a:pt x="8" y="36"/>
                    <a:pt x="11" y="36"/>
                    <a:pt x="15" y="34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4" y="39"/>
                    <a:pt x="11" y="39"/>
                    <a:pt x="9" y="3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2">
              <a:extLst>
                <a:ext uri="{FF2B5EF4-FFF2-40B4-BE49-F238E27FC236}">
                  <a16:creationId xmlns:a16="http://schemas.microsoft.com/office/drawing/2014/main" id="{B1546D0B-EF87-4061-9643-D772CDA26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" y="2058"/>
              <a:ext cx="44" cy="47"/>
            </a:xfrm>
            <a:custGeom>
              <a:avLst/>
              <a:gdLst>
                <a:gd name="T0" fmla="*/ 11 w 18"/>
                <a:gd name="T1" fmla="*/ 19 h 19"/>
                <a:gd name="T2" fmla="*/ 11 w 18"/>
                <a:gd name="T3" fmla="*/ 19 h 19"/>
                <a:gd name="T4" fmla="*/ 1 w 18"/>
                <a:gd name="T5" fmla="*/ 0 h 19"/>
                <a:gd name="T6" fmla="*/ 5 w 18"/>
                <a:gd name="T7" fmla="*/ 1 h 19"/>
                <a:gd name="T8" fmla="*/ 11 w 18"/>
                <a:gd name="T9" fmla="*/ 16 h 19"/>
                <a:gd name="T10" fmla="*/ 14 w 18"/>
                <a:gd name="T11" fmla="*/ 10 h 19"/>
                <a:gd name="T12" fmla="*/ 18 w 18"/>
                <a:gd name="T13" fmla="*/ 11 h 19"/>
                <a:gd name="T14" fmla="*/ 11 w 1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11" y="19"/>
                  </a:moveTo>
                  <a:cubicBezTo>
                    <a:pt x="11" y="19"/>
                    <a:pt x="11" y="19"/>
                    <a:pt x="11" y="19"/>
                  </a:cubicBezTo>
                  <a:cubicBezTo>
                    <a:pt x="0" y="18"/>
                    <a:pt x="1" y="1"/>
                    <a:pt x="1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5"/>
                    <a:pt x="11" y="16"/>
                  </a:cubicBezTo>
                  <a:cubicBezTo>
                    <a:pt x="11" y="16"/>
                    <a:pt x="14" y="16"/>
                    <a:pt x="14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7" y="18"/>
                    <a:pt x="13" y="19"/>
                    <a:pt x="11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3">
              <a:extLst>
                <a:ext uri="{FF2B5EF4-FFF2-40B4-BE49-F238E27FC236}">
                  <a16:creationId xmlns:a16="http://schemas.microsoft.com/office/drawing/2014/main" id="{32B29855-D840-4C28-97B6-0355FCEA6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" y="2083"/>
              <a:ext cx="47" cy="58"/>
            </a:xfrm>
            <a:custGeom>
              <a:avLst/>
              <a:gdLst>
                <a:gd name="T0" fmla="*/ 13 w 19"/>
                <a:gd name="T1" fmla="*/ 24 h 24"/>
                <a:gd name="T2" fmla="*/ 11 w 19"/>
                <a:gd name="T3" fmla="*/ 24 h 24"/>
                <a:gd name="T4" fmla="*/ 3 w 19"/>
                <a:gd name="T5" fmla="*/ 0 h 24"/>
                <a:gd name="T6" fmla="*/ 6 w 19"/>
                <a:gd name="T7" fmla="*/ 0 h 24"/>
                <a:gd name="T8" fmla="*/ 12 w 19"/>
                <a:gd name="T9" fmla="*/ 21 h 24"/>
                <a:gd name="T10" fmla="*/ 14 w 19"/>
                <a:gd name="T11" fmla="*/ 21 h 24"/>
                <a:gd name="T12" fmla="*/ 14 w 19"/>
                <a:gd name="T13" fmla="*/ 13 h 24"/>
                <a:gd name="T14" fmla="*/ 13 w 19"/>
                <a:gd name="T15" fmla="*/ 0 h 24"/>
                <a:gd name="T16" fmla="*/ 16 w 19"/>
                <a:gd name="T17" fmla="*/ 0 h 24"/>
                <a:gd name="T18" fmla="*/ 17 w 19"/>
                <a:gd name="T19" fmla="*/ 12 h 24"/>
                <a:gd name="T20" fmla="*/ 16 w 19"/>
                <a:gd name="T21" fmla="*/ 23 h 24"/>
                <a:gd name="T22" fmla="*/ 13 w 19"/>
                <a:gd name="T2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4">
                  <a:moveTo>
                    <a:pt x="13" y="24"/>
                  </a:moveTo>
                  <a:cubicBezTo>
                    <a:pt x="12" y="24"/>
                    <a:pt x="12" y="24"/>
                    <a:pt x="11" y="24"/>
                  </a:cubicBezTo>
                  <a:cubicBezTo>
                    <a:pt x="0" y="22"/>
                    <a:pt x="3" y="1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6"/>
                    <a:pt x="5" y="20"/>
                    <a:pt x="12" y="21"/>
                  </a:cubicBezTo>
                  <a:cubicBezTo>
                    <a:pt x="13" y="21"/>
                    <a:pt x="14" y="21"/>
                    <a:pt x="14" y="21"/>
                  </a:cubicBezTo>
                  <a:cubicBezTo>
                    <a:pt x="15" y="20"/>
                    <a:pt x="14" y="16"/>
                    <a:pt x="14" y="13"/>
                  </a:cubicBezTo>
                  <a:cubicBezTo>
                    <a:pt x="13" y="8"/>
                    <a:pt x="12" y="4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4"/>
                    <a:pt x="16" y="8"/>
                    <a:pt x="17" y="12"/>
                  </a:cubicBezTo>
                  <a:cubicBezTo>
                    <a:pt x="18" y="17"/>
                    <a:pt x="19" y="21"/>
                    <a:pt x="16" y="23"/>
                  </a:cubicBezTo>
                  <a:cubicBezTo>
                    <a:pt x="16" y="24"/>
                    <a:pt x="14" y="24"/>
                    <a:pt x="13" y="2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4">
              <a:extLst>
                <a:ext uri="{FF2B5EF4-FFF2-40B4-BE49-F238E27FC236}">
                  <a16:creationId xmlns:a16="http://schemas.microsoft.com/office/drawing/2014/main" id="{667494F8-26C8-4BA9-8032-689285597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7" y="2080"/>
              <a:ext cx="41" cy="61"/>
            </a:xfrm>
            <a:custGeom>
              <a:avLst/>
              <a:gdLst>
                <a:gd name="T0" fmla="*/ 4 w 17"/>
                <a:gd name="T1" fmla="*/ 5 h 25"/>
                <a:gd name="T2" fmla="*/ 10 w 17"/>
                <a:gd name="T3" fmla="*/ 21 h 25"/>
                <a:gd name="T4" fmla="*/ 12 w 17"/>
                <a:gd name="T5" fmla="*/ 21 h 25"/>
                <a:gd name="T6" fmla="*/ 12 w 17"/>
                <a:gd name="T7" fmla="*/ 13 h 25"/>
                <a:gd name="T8" fmla="*/ 11 w 17"/>
                <a:gd name="T9" fmla="*/ 7 h 25"/>
                <a:gd name="T10" fmla="*/ 4 w 17"/>
                <a:gd name="T11" fmla="*/ 5 h 25"/>
                <a:gd name="T12" fmla="*/ 11 w 17"/>
                <a:gd name="T13" fmla="*/ 25 h 25"/>
                <a:gd name="T14" fmla="*/ 9 w 17"/>
                <a:gd name="T15" fmla="*/ 24 h 25"/>
                <a:gd name="T16" fmla="*/ 0 w 17"/>
                <a:gd name="T17" fmla="*/ 2 h 25"/>
                <a:gd name="T18" fmla="*/ 1 w 17"/>
                <a:gd name="T19" fmla="*/ 0 h 25"/>
                <a:gd name="T20" fmla="*/ 14 w 17"/>
                <a:gd name="T21" fmla="*/ 4 h 25"/>
                <a:gd name="T22" fmla="*/ 14 w 17"/>
                <a:gd name="T23" fmla="*/ 6 h 25"/>
                <a:gd name="T24" fmla="*/ 15 w 17"/>
                <a:gd name="T25" fmla="*/ 12 h 25"/>
                <a:gd name="T26" fmla="*/ 14 w 17"/>
                <a:gd name="T27" fmla="*/ 23 h 25"/>
                <a:gd name="T28" fmla="*/ 11 w 17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5">
                  <a:moveTo>
                    <a:pt x="4" y="5"/>
                  </a:moveTo>
                  <a:cubicBezTo>
                    <a:pt x="3" y="10"/>
                    <a:pt x="4" y="20"/>
                    <a:pt x="10" y="21"/>
                  </a:cubicBezTo>
                  <a:cubicBezTo>
                    <a:pt x="11" y="21"/>
                    <a:pt x="12" y="21"/>
                    <a:pt x="12" y="21"/>
                  </a:cubicBezTo>
                  <a:cubicBezTo>
                    <a:pt x="13" y="20"/>
                    <a:pt x="12" y="16"/>
                    <a:pt x="12" y="13"/>
                  </a:cubicBezTo>
                  <a:cubicBezTo>
                    <a:pt x="11" y="11"/>
                    <a:pt x="11" y="9"/>
                    <a:pt x="11" y="7"/>
                  </a:cubicBezTo>
                  <a:lnTo>
                    <a:pt x="4" y="5"/>
                  </a:lnTo>
                  <a:close/>
                  <a:moveTo>
                    <a:pt x="11" y="25"/>
                  </a:moveTo>
                  <a:cubicBezTo>
                    <a:pt x="10" y="25"/>
                    <a:pt x="10" y="25"/>
                    <a:pt x="9" y="24"/>
                  </a:cubicBezTo>
                  <a:cubicBezTo>
                    <a:pt x="0" y="23"/>
                    <a:pt x="0" y="8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8"/>
                    <a:pt x="15" y="10"/>
                    <a:pt x="15" y="12"/>
                  </a:cubicBezTo>
                  <a:cubicBezTo>
                    <a:pt x="16" y="17"/>
                    <a:pt x="17" y="21"/>
                    <a:pt x="14" y="23"/>
                  </a:cubicBezTo>
                  <a:cubicBezTo>
                    <a:pt x="13" y="24"/>
                    <a:pt x="12" y="25"/>
                    <a:pt x="11" y="2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5">
              <a:extLst>
                <a:ext uri="{FF2B5EF4-FFF2-40B4-BE49-F238E27FC236}">
                  <a16:creationId xmlns:a16="http://schemas.microsoft.com/office/drawing/2014/main" id="{648F2D8D-A9B3-483C-915E-393D744F8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3" y="2092"/>
              <a:ext cx="40" cy="45"/>
            </a:xfrm>
            <a:custGeom>
              <a:avLst/>
              <a:gdLst>
                <a:gd name="T0" fmla="*/ 3 w 16"/>
                <a:gd name="T1" fmla="*/ 4 h 18"/>
                <a:gd name="T2" fmla="*/ 9 w 16"/>
                <a:gd name="T3" fmla="*/ 15 h 18"/>
                <a:gd name="T4" fmla="*/ 12 w 16"/>
                <a:gd name="T5" fmla="*/ 15 h 18"/>
                <a:gd name="T6" fmla="*/ 11 w 16"/>
                <a:gd name="T7" fmla="*/ 7 h 18"/>
                <a:gd name="T8" fmla="*/ 3 w 16"/>
                <a:gd name="T9" fmla="*/ 4 h 18"/>
                <a:gd name="T10" fmla="*/ 10 w 16"/>
                <a:gd name="T11" fmla="*/ 18 h 18"/>
                <a:gd name="T12" fmla="*/ 9 w 16"/>
                <a:gd name="T13" fmla="*/ 18 h 18"/>
                <a:gd name="T14" fmla="*/ 0 w 16"/>
                <a:gd name="T15" fmla="*/ 2 h 18"/>
                <a:gd name="T16" fmla="*/ 0 w 16"/>
                <a:gd name="T17" fmla="*/ 0 h 18"/>
                <a:gd name="T18" fmla="*/ 14 w 16"/>
                <a:gd name="T19" fmla="*/ 4 h 18"/>
                <a:gd name="T20" fmla="*/ 15 w 16"/>
                <a:gd name="T21" fmla="*/ 6 h 18"/>
                <a:gd name="T22" fmla="*/ 14 w 16"/>
                <a:gd name="T23" fmla="*/ 17 h 18"/>
                <a:gd name="T24" fmla="*/ 10 w 16"/>
                <a:gd name="T2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8">
                  <a:moveTo>
                    <a:pt x="3" y="4"/>
                  </a:moveTo>
                  <a:cubicBezTo>
                    <a:pt x="4" y="9"/>
                    <a:pt x="5" y="14"/>
                    <a:pt x="9" y="15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3" y="14"/>
                    <a:pt x="12" y="10"/>
                    <a:pt x="11" y="7"/>
                  </a:cubicBezTo>
                  <a:lnTo>
                    <a:pt x="3" y="4"/>
                  </a:lnTo>
                  <a:close/>
                  <a:moveTo>
                    <a:pt x="10" y="18"/>
                  </a:moveTo>
                  <a:cubicBezTo>
                    <a:pt x="10" y="18"/>
                    <a:pt x="9" y="18"/>
                    <a:pt x="9" y="18"/>
                  </a:cubicBezTo>
                  <a:cubicBezTo>
                    <a:pt x="5" y="17"/>
                    <a:pt x="0" y="14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11"/>
                    <a:pt x="16" y="15"/>
                    <a:pt x="14" y="17"/>
                  </a:cubicBezTo>
                  <a:cubicBezTo>
                    <a:pt x="13" y="18"/>
                    <a:pt x="12" y="18"/>
                    <a:pt x="10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84623D2C-0584-4A38-B4F7-76CACBE65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1869"/>
              <a:ext cx="262" cy="182"/>
            </a:xfrm>
            <a:custGeom>
              <a:avLst/>
              <a:gdLst>
                <a:gd name="T0" fmla="*/ 65 w 107"/>
                <a:gd name="T1" fmla="*/ 74 h 74"/>
                <a:gd name="T2" fmla="*/ 63 w 107"/>
                <a:gd name="T3" fmla="*/ 72 h 74"/>
                <a:gd name="T4" fmla="*/ 82 w 107"/>
                <a:gd name="T5" fmla="*/ 50 h 74"/>
                <a:gd name="T6" fmla="*/ 87 w 107"/>
                <a:gd name="T7" fmla="*/ 57 h 74"/>
                <a:gd name="T8" fmla="*/ 103 w 107"/>
                <a:gd name="T9" fmla="*/ 54 h 74"/>
                <a:gd name="T10" fmla="*/ 71 w 107"/>
                <a:gd name="T11" fmla="*/ 3 h 74"/>
                <a:gd name="T12" fmla="*/ 55 w 107"/>
                <a:gd name="T13" fmla="*/ 16 h 74"/>
                <a:gd name="T14" fmla="*/ 59 w 107"/>
                <a:gd name="T15" fmla="*/ 24 h 74"/>
                <a:gd name="T16" fmla="*/ 14 w 107"/>
                <a:gd name="T17" fmla="*/ 39 h 74"/>
                <a:gd name="T18" fmla="*/ 3 w 107"/>
                <a:gd name="T19" fmla="*/ 54 h 74"/>
                <a:gd name="T20" fmla="*/ 0 w 107"/>
                <a:gd name="T21" fmla="*/ 52 h 74"/>
                <a:gd name="T22" fmla="*/ 12 w 107"/>
                <a:gd name="T23" fmla="*/ 36 h 74"/>
                <a:gd name="T24" fmla="*/ 54 w 107"/>
                <a:gd name="T25" fmla="*/ 22 h 74"/>
                <a:gd name="T26" fmla="*/ 51 w 107"/>
                <a:gd name="T27" fmla="*/ 15 h 74"/>
                <a:gd name="T28" fmla="*/ 70 w 107"/>
                <a:gd name="T29" fmla="*/ 0 h 74"/>
                <a:gd name="T30" fmla="*/ 71 w 107"/>
                <a:gd name="T31" fmla="*/ 0 h 74"/>
                <a:gd name="T32" fmla="*/ 107 w 107"/>
                <a:gd name="T33" fmla="*/ 56 h 74"/>
                <a:gd name="T34" fmla="*/ 107 w 107"/>
                <a:gd name="T35" fmla="*/ 57 h 74"/>
                <a:gd name="T36" fmla="*/ 86 w 107"/>
                <a:gd name="T37" fmla="*/ 61 h 74"/>
                <a:gd name="T38" fmla="*/ 82 w 107"/>
                <a:gd name="T39" fmla="*/ 55 h 74"/>
                <a:gd name="T40" fmla="*/ 65 w 107"/>
                <a:gd name="T4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74">
                  <a:moveTo>
                    <a:pt x="65" y="74"/>
                  </a:moveTo>
                  <a:cubicBezTo>
                    <a:pt x="63" y="72"/>
                    <a:pt x="63" y="72"/>
                    <a:pt x="63" y="72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47"/>
                    <a:pt x="97" y="17"/>
                    <a:pt x="71" y="3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04" y="15"/>
                    <a:pt x="107" y="55"/>
                    <a:pt x="107" y="56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2" y="55"/>
                    <a:pt x="82" y="55"/>
                    <a:pt x="82" y="55"/>
                  </a:cubicBezTo>
                  <a:lnTo>
                    <a:pt x="65" y="7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92E4619C-4FCE-4767-B2B1-475D31A73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1962"/>
              <a:ext cx="142" cy="108"/>
            </a:xfrm>
            <a:custGeom>
              <a:avLst/>
              <a:gdLst>
                <a:gd name="T0" fmla="*/ 106 w 142"/>
                <a:gd name="T1" fmla="*/ 108 h 108"/>
                <a:gd name="T2" fmla="*/ 0 w 142"/>
                <a:gd name="T3" fmla="*/ 74 h 108"/>
                <a:gd name="T4" fmla="*/ 0 w 142"/>
                <a:gd name="T5" fmla="*/ 0 h 108"/>
                <a:gd name="T6" fmla="*/ 142 w 142"/>
                <a:gd name="T7" fmla="*/ 47 h 108"/>
                <a:gd name="T8" fmla="*/ 140 w 142"/>
                <a:gd name="T9" fmla="*/ 54 h 108"/>
                <a:gd name="T10" fmla="*/ 8 w 142"/>
                <a:gd name="T11" fmla="*/ 13 h 108"/>
                <a:gd name="T12" fmla="*/ 8 w 142"/>
                <a:gd name="T13" fmla="*/ 67 h 108"/>
                <a:gd name="T14" fmla="*/ 108 w 142"/>
                <a:gd name="T15" fmla="*/ 101 h 108"/>
                <a:gd name="T16" fmla="*/ 106 w 142"/>
                <a:gd name="T1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08">
                  <a:moveTo>
                    <a:pt x="106" y="108"/>
                  </a:moveTo>
                  <a:lnTo>
                    <a:pt x="0" y="74"/>
                  </a:lnTo>
                  <a:lnTo>
                    <a:pt x="0" y="0"/>
                  </a:lnTo>
                  <a:lnTo>
                    <a:pt x="142" y="47"/>
                  </a:lnTo>
                  <a:lnTo>
                    <a:pt x="140" y="54"/>
                  </a:lnTo>
                  <a:lnTo>
                    <a:pt x="8" y="13"/>
                  </a:lnTo>
                  <a:lnTo>
                    <a:pt x="8" y="67"/>
                  </a:lnTo>
                  <a:lnTo>
                    <a:pt x="108" y="101"/>
                  </a:lnTo>
                  <a:lnTo>
                    <a:pt x="106" y="10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F267A6E9-45DF-4835-9B0B-F80446D1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2026"/>
              <a:ext cx="182" cy="115"/>
            </a:xfrm>
            <a:custGeom>
              <a:avLst/>
              <a:gdLst>
                <a:gd name="T0" fmla="*/ 182 w 182"/>
                <a:gd name="T1" fmla="*/ 115 h 115"/>
                <a:gd name="T2" fmla="*/ 0 w 182"/>
                <a:gd name="T3" fmla="*/ 54 h 115"/>
                <a:gd name="T4" fmla="*/ 3 w 182"/>
                <a:gd name="T5" fmla="*/ 47 h 115"/>
                <a:gd name="T6" fmla="*/ 175 w 182"/>
                <a:gd name="T7" fmla="*/ 103 h 115"/>
                <a:gd name="T8" fmla="*/ 175 w 182"/>
                <a:gd name="T9" fmla="*/ 47 h 115"/>
                <a:gd name="T10" fmla="*/ 52 w 182"/>
                <a:gd name="T11" fmla="*/ 8 h 115"/>
                <a:gd name="T12" fmla="*/ 54 w 182"/>
                <a:gd name="T13" fmla="*/ 0 h 115"/>
                <a:gd name="T14" fmla="*/ 182 w 182"/>
                <a:gd name="T15" fmla="*/ 42 h 115"/>
                <a:gd name="T16" fmla="*/ 182 w 182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115">
                  <a:moveTo>
                    <a:pt x="182" y="115"/>
                  </a:moveTo>
                  <a:lnTo>
                    <a:pt x="0" y="54"/>
                  </a:lnTo>
                  <a:lnTo>
                    <a:pt x="3" y="47"/>
                  </a:lnTo>
                  <a:lnTo>
                    <a:pt x="175" y="103"/>
                  </a:lnTo>
                  <a:lnTo>
                    <a:pt x="175" y="47"/>
                  </a:lnTo>
                  <a:lnTo>
                    <a:pt x="52" y="8"/>
                  </a:lnTo>
                  <a:lnTo>
                    <a:pt x="54" y="0"/>
                  </a:lnTo>
                  <a:lnTo>
                    <a:pt x="182" y="42"/>
                  </a:lnTo>
                  <a:lnTo>
                    <a:pt x="182" y="1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49">
              <a:extLst>
                <a:ext uri="{FF2B5EF4-FFF2-40B4-BE49-F238E27FC236}">
                  <a16:creationId xmlns:a16="http://schemas.microsoft.com/office/drawing/2014/main" id="{AF3EEBCA-BB52-4E73-B76B-40123EEBE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2" y="2114"/>
              <a:ext cx="10" cy="6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52">
            <a:extLst>
              <a:ext uri="{FF2B5EF4-FFF2-40B4-BE49-F238E27FC236}">
                <a16:creationId xmlns:a16="http://schemas.microsoft.com/office/drawing/2014/main" id="{8C598049-D19E-42EF-A8CD-77CA5F1CD9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0750" y="2794000"/>
            <a:ext cx="841375" cy="841375"/>
            <a:chOff x="2980" y="1760"/>
            <a:chExt cx="530" cy="530"/>
          </a:xfrm>
        </p:grpSpPr>
        <p:sp>
          <p:nvSpPr>
            <p:cNvPr id="74" name="AutoShape 51">
              <a:extLst>
                <a:ext uri="{FF2B5EF4-FFF2-40B4-BE49-F238E27FC236}">
                  <a16:creationId xmlns:a16="http://schemas.microsoft.com/office/drawing/2014/main" id="{CF355BC8-1C41-402A-BD8E-9F50633D29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0" y="176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DEA22FEF-FEA8-4D17-8D5B-7F22EB1D9E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0" y="176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FA83DDEA-7EE1-458D-AD73-215BBFC70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177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id="{4C7B0A13-2EE1-43AD-AD76-477D6B95F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6" y="1870"/>
              <a:ext cx="61" cy="59"/>
            </a:xfrm>
            <a:custGeom>
              <a:avLst/>
              <a:gdLst>
                <a:gd name="T0" fmla="*/ 12 w 24"/>
                <a:gd name="T1" fmla="*/ 3 h 23"/>
                <a:gd name="T2" fmla="*/ 3 w 24"/>
                <a:gd name="T3" fmla="*/ 11 h 23"/>
                <a:gd name="T4" fmla="*/ 12 w 24"/>
                <a:gd name="T5" fmla="*/ 19 h 23"/>
                <a:gd name="T6" fmla="*/ 20 w 24"/>
                <a:gd name="T7" fmla="*/ 11 h 23"/>
                <a:gd name="T8" fmla="*/ 12 w 24"/>
                <a:gd name="T9" fmla="*/ 3 h 23"/>
                <a:gd name="T10" fmla="*/ 12 w 24"/>
                <a:gd name="T11" fmla="*/ 23 h 23"/>
                <a:gd name="T12" fmla="*/ 0 w 24"/>
                <a:gd name="T13" fmla="*/ 11 h 23"/>
                <a:gd name="T14" fmla="*/ 12 w 24"/>
                <a:gd name="T15" fmla="*/ 0 h 23"/>
                <a:gd name="T16" fmla="*/ 24 w 24"/>
                <a:gd name="T17" fmla="*/ 11 h 23"/>
                <a:gd name="T18" fmla="*/ 12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12" y="3"/>
                  </a:moveTo>
                  <a:cubicBezTo>
                    <a:pt x="7" y="3"/>
                    <a:pt x="3" y="7"/>
                    <a:pt x="3" y="11"/>
                  </a:cubicBezTo>
                  <a:cubicBezTo>
                    <a:pt x="3" y="16"/>
                    <a:pt x="7" y="19"/>
                    <a:pt x="12" y="19"/>
                  </a:cubicBezTo>
                  <a:cubicBezTo>
                    <a:pt x="17" y="19"/>
                    <a:pt x="20" y="16"/>
                    <a:pt x="20" y="11"/>
                  </a:cubicBezTo>
                  <a:cubicBezTo>
                    <a:pt x="20" y="7"/>
                    <a:pt x="17" y="3"/>
                    <a:pt x="12" y="3"/>
                  </a:cubicBezTo>
                  <a:moveTo>
                    <a:pt x="12" y="23"/>
                  </a:moveTo>
                  <a:cubicBezTo>
                    <a:pt x="5" y="23"/>
                    <a:pt x="0" y="18"/>
                    <a:pt x="0" y="11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1"/>
                  </a:cubicBezTo>
                  <a:cubicBezTo>
                    <a:pt x="24" y="18"/>
                    <a:pt x="18" y="23"/>
                    <a:pt x="12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92821948-3455-4AD1-8DC2-4A8584AFC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5" y="1931"/>
              <a:ext cx="244" cy="295"/>
            </a:xfrm>
            <a:custGeom>
              <a:avLst/>
              <a:gdLst>
                <a:gd name="T0" fmla="*/ 60 w 95"/>
                <a:gd name="T1" fmla="*/ 107 h 115"/>
                <a:gd name="T2" fmla="*/ 69 w 95"/>
                <a:gd name="T3" fmla="*/ 107 h 115"/>
                <a:gd name="T4" fmla="*/ 70 w 95"/>
                <a:gd name="T5" fmla="*/ 18 h 115"/>
                <a:gd name="T6" fmla="*/ 84 w 95"/>
                <a:gd name="T7" fmla="*/ 24 h 115"/>
                <a:gd name="T8" fmla="*/ 88 w 95"/>
                <a:gd name="T9" fmla="*/ 49 h 115"/>
                <a:gd name="T10" fmla="*/ 92 w 95"/>
                <a:gd name="T11" fmla="*/ 21 h 115"/>
                <a:gd name="T12" fmla="*/ 72 w 95"/>
                <a:gd name="T13" fmla="*/ 4 h 115"/>
                <a:gd name="T14" fmla="*/ 45 w 95"/>
                <a:gd name="T15" fmla="*/ 3 h 115"/>
                <a:gd name="T16" fmla="*/ 29 w 95"/>
                <a:gd name="T17" fmla="*/ 19 h 115"/>
                <a:gd name="T18" fmla="*/ 4 w 95"/>
                <a:gd name="T19" fmla="*/ 23 h 115"/>
                <a:gd name="T20" fmla="*/ 31 w 95"/>
                <a:gd name="T21" fmla="*/ 26 h 115"/>
                <a:gd name="T22" fmla="*/ 47 w 95"/>
                <a:gd name="T23" fmla="*/ 13 h 115"/>
                <a:gd name="T24" fmla="*/ 27 w 95"/>
                <a:gd name="T25" fmla="*/ 61 h 115"/>
                <a:gd name="T26" fmla="*/ 30 w 95"/>
                <a:gd name="T27" fmla="*/ 82 h 115"/>
                <a:gd name="T28" fmla="*/ 42 w 95"/>
                <a:gd name="T29" fmla="*/ 99 h 115"/>
                <a:gd name="T30" fmla="*/ 39 w 95"/>
                <a:gd name="T31" fmla="*/ 79 h 115"/>
                <a:gd name="T32" fmla="*/ 60 w 95"/>
                <a:gd name="T33" fmla="*/ 48 h 115"/>
                <a:gd name="T34" fmla="*/ 57 w 95"/>
                <a:gd name="T35" fmla="*/ 107 h 115"/>
                <a:gd name="T36" fmla="*/ 39 w 95"/>
                <a:gd name="T37" fmla="*/ 69 h 115"/>
                <a:gd name="T38" fmla="*/ 47 w 95"/>
                <a:gd name="T39" fmla="*/ 92 h 115"/>
                <a:gd name="T40" fmla="*/ 43 w 95"/>
                <a:gd name="T41" fmla="*/ 103 h 115"/>
                <a:gd name="T42" fmla="*/ 27 w 95"/>
                <a:gd name="T43" fmla="*/ 83 h 115"/>
                <a:gd name="T44" fmla="*/ 25 w 95"/>
                <a:gd name="T45" fmla="*/ 59 h 115"/>
                <a:gd name="T46" fmla="*/ 44 w 95"/>
                <a:gd name="T47" fmla="*/ 21 h 115"/>
                <a:gd name="T48" fmla="*/ 31 w 95"/>
                <a:gd name="T49" fmla="*/ 30 h 115"/>
                <a:gd name="T50" fmla="*/ 0 w 95"/>
                <a:gd name="T51" fmla="*/ 23 h 115"/>
                <a:gd name="T52" fmla="*/ 28 w 95"/>
                <a:gd name="T53" fmla="*/ 15 h 115"/>
                <a:gd name="T54" fmla="*/ 45 w 95"/>
                <a:gd name="T55" fmla="*/ 0 h 115"/>
                <a:gd name="T56" fmla="*/ 74 w 95"/>
                <a:gd name="T57" fmla="*/ 1 h 115"/>
                <a:gd name="T58" fmla="*/ 95 w 95"/>
                <a:gd name="T59" fmla="*/ 21 h 115"/>
                <a:gd name="T60" fmla="*/ 88 w 95"/>
                <a:gd name="T61" fmla="*/ 52 h 115"/>
                <a:gd name="T62" fmla="*/ 81 w 95"/>
                <a:gd name="T63" fmla="*/ 25 h 115"/>
                <a:gd name="T64" fmla="*/ 73 w 95"/>
                <a:gd name="T65" fmla="*/ 91 h 115"/>
                <a:gd name="T66" fmla="*/ 65 w 95"/>
                <a:gd name="T6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5" h="115">
                  <a:moveTo>
                    <a:pt x="60" y="48"/>
                  </a:moveTo>
                  <a:cubicBezTo>
                    <a:pt x="60" y="107"/>
                    <a:pt x="60" y="107"/>
                    <a:pt x="60" y="107"/>
                  </a:cubicBezTo>
                  <a:cubicBezTo>
                    <a:pt x="60" y="110"/>
                    <a:pt x="62" y="112"/>
                    <a:pt x="65" y="112"/>
                  </a:cubicBezTo>
                  <a:cubicBezTo>
                    <a:pt x="67" y="112"/>
                    <a:pt x="69" y="110"/>
                    <a:pt x="69" y="107"/>
                  </a:cubicBezTo>
                  <a:cubicBezTo>
                    <a:pt x="69" y="91"/>
                    <a:pt x="69" y="91"/>
                    <a:pt x="69" y="91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7"/>
                    <a:pt x="86" y="49"/>
                    <a:pt x="88" y="49"/>
                  </a:cubicBezTo>
                  <a:cubicBezTo>
                    <a:pt x="90" y="49"/>
                    <a:pt x="92" y="47"/>
                    <a:pt x="92" y="45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2" y="20"/>
                    <a:pt x="91" y="19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6" y="19"/>
                    <a:pt x="4" y="20"/>
                    <a:pt x="4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3" y="64"/>
                    <a:pt x="25" y="69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7" y="99"/>
                    <a:pt x="39" y="100"/>
                    <a:pt x="42" y="99"/>
                  </a:cubicBezTo>
                  <a:cubicBezTo>
                    <a:pt x="44" y="99"/>
                    <a:pt x="45" y="96"/>
                    <a:pt x="44" y="9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5" y="68"/>
                    <a:pt x="35" y="68"/>
                    <a:pt x="35" y="68"/>
                  </a:cubicBezTo>
                  <a:lnTo>
                    <a:pt x="60" y="48"/>
                  </a:lnTo>
                  <a:close/>
                  <a:moveTo>
                    <a:pt x="65" y="115"/>
                  </a:moveTo>
                  <a:cubicBezTo>
                    <a:pt x="60" y="115"/>
                    <a:pt x="57" y="111"/>
                    <a:pt x="57" y="107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8" y="94"/>
                    <a:pt x="48" y="97"/>
                    <a:pt x="47" y="98"/>
                  </a:cubicBezTo>
                  <a:cubicBezTo>
                    <a:pt x="46" y="100"/>
                    <a:pt x="45" y="102"/>
                    <a:pt x="43" y="103"/>
                  </a:cubicBezTo>
                  <a:cubicBezTo>
                    <a:pt x="39" y="104"/>
                    <a:pt x="34" y="102"/>
                    <a:pt x="33" y="98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64"/>
                    <a:pt x="23" y="60"/>
                    <a:pt x="25" y="59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4" y="29"/>
                    <a:pt x="32" y="30"/>
                    <a:pt x="31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4" y="30"/>
                    <a:pt x="0" y="26"/>
                    <a:pt x="0" y="23"/>
                  </a:cubicBezTo>
                  <a:cubicBezTo>
                    <a:pt x="0" y="19"/>
                    <a:pt x="4" y="15"/>
                    <a:pt x="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4" y="0"/>
                    <a:pt x="45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3" y="0"/>
                    <a:pt x="74" y="1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5" y="18"/>
                    <a:pt x="95" y="19"/>
                    <a:pt x="95" y="21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9"/>
                    <a:pt x="92" y="52"/>
                    <a:pt x="88" y="52"/>
                  </a:cubicBezTo>
                  <a:cubicBezTo>
                    <a:pt x="84" y="52"/>
                    <a:pt x="81" y="49"/>
                    <a:pt x="81" y="4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107"/>
                    <a:pt x="73" y="107"/>
                    <a:pt x="73" y="107"/>
                  </a:cubicBezTo>
                  <a:cubicBezTo>
                    <a:pt x="73" y="111"/>
                    <a:pt x="69" y="115"/>
                    <a:pt x="65" y="1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7">
              <a:extLst>
                <a:ext uri="{FF2B5EF4-FFF2-40B4-BE49-F238E27FC236}">
                  <a16:creationId xmlns:a16="http://schemas.microsoft.com/office/drawing/2014/main" id="{A3CC3B8F-A0E2-4F55-A11E-5EF210229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" y="1829"/>
              <a:ext cx="35" cy="120"/>
            </a:xfrm>
            <a:custGeom>
              <a:avLst/>
              <a:gdLst>
                <a:gd name="T0" fmla="*/ 3 w 14"/>
                <a:gd name="T1" fmla="*/ 47 h 47"/>
                <a:gd name="T2" fmla="*/ 0 w 14"/>
                <a:gd name="T3" fmla="*/ 46 h 47"/>
                <a:gd name="T4" fmla="*/ 2 w 14"/>
                <a:gd name="T5" fmla="*/ 1 h 47"/>
                <a:gd name="T6" fmla="*/ 5 w 14"/>
                <a:gd name="T7" fmla="*/ 0 h 47"/>
                <a:gd name="T8" fmla="*/ 3 w 1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7">
                  <a:moveTo>
                    <a:pt x="3" y="47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11" y="25"/>
                    <a:pt x="2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4" y="25"/>
                    <a:pt x="3" y="46"/>
                    <a:pt x="3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8">
              <a:extLst>
                <a:ext uri="{FF2B5EF4-FFF2-40B4-BE49-F238E27FC236}">
                  <a16:creationId xmlns:a16="http://schemas.microsoft.com/office/drawing/2014/main" id="{B57D99F2-3E7D-486F-9010-48E3CBB1F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1934"/>
              <a:ext cx="20" cy="108"/>
            </a:xfrm>
            <a:custGeom>
              <a:avLst/>
              <a:gdLst>
                <a:gd name="T0" fmla="*/ 10 w 20"/>
                <a:gd name="T1" fmla="*/ 108 h 108"/>
                <a:gd name="T2" fmla="*/ 0 w 20"/>
                <a:gd name="T3" fmla="*/ 108 h 108"/>
                <a:gd name="T4" fmla="*/ 0 w 20"/>
                <a:gd name="T5" fmla="*/ 41 h 108"/>
                <a:gd name="T6" fmla="*/ 12 w 20"/>
                <a:gd name="T7" fmla="*/ 0 h 108"/>
                <a:gd name="T8" fmla="*/ 20 w 20"/>
                <a:gd name="T9" fmla="*/ 3 h 108"/>
                <a:gd name="T10" fmla="*/ 10 w 20"/>
                <a:gd name="T11" fmla="*/ 44 h 108"/>
                <a:gd name="T12" fmla="*/ 10 w 20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08">
                  <a:moveTo>
                    <a:pt x="10" y="108"/>
                  </a:moveTo>
                  <a:lnTo>
                    <a:pt x="0" y="108"/>
                  </a:lnTo>
                  <a:lnTo>
                    <a:pt x="0" y="41"/>
                  </a:lnTo>
                  <a:lnTo>
                    <a:pt x="12" y="0"/>
                  </a:lnTo>
                  <a:lnTo>
                    <a:pt x="20" y="3"/>
                  </a:lnTo>
                  <a:lnTo>
                    <a:pt x="10" y="44"/>
                  </a:lnTo>
                  <a:lnTo>
                    <a:pt x="10" y="10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59">
              <a:extLst>
                <a:ext uri="{FF2B5EF4-FFF2-40B4-BE49-F238E27FC236}">
                  <a16:creationId xmlns:a16="http://schemas.microsoft.com/office/drawing/2014/main" id="{92AF9510-91F5-47CB-BC49-011417F344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6" y="1934"/>
              <a:ext cx="10" cy="1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60">
              <a:extLst>
                <a:ext uri="{FF2B5EF4-FFF2-40B4-BE49-F238E27FC236}">
                  <a16:creationId xmlns:a16="http://schemas.microsoft.com/office/drawing/2014/main" id="{9C701E28-7335-440E-98C3-D1BD98FFA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" y="1972"/>
              <a:ext cx="41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93E4FCC0-3289-4144-93E0-478AE5A61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2031"/>
              <a:ext cx="72" cy="16"/>
            </a:xfrm>
            <a:custGeom>
              <a:avLst/>
              <a:gdLst>
                <a:gd name="T0" fmla="*/ 19 w 28"/>
                <a:gd name="T1" fmla="*/ 6 h 6"/>
                <a:gd name="T2" fmla="*/ 0 w 28"/>
                <a:gd name="T3" fmla="*/ 1 h 6"/>
                <a:gd name="T4" fmla="*/ 3 w 28"/>
                <a:gd name="T5" fmla="*/ 0 h 6"/>
                <a:gd name="T6" fmla="*/ 3 w 28"/>
                <a:gd name="T7" fmla="*/ 0 h 6"/>
                <a:gd name="T8" fmla="*/ 28 w 28"/>
                <a:gd name="T9" fmla="*/ 2 h 6"/>
                <a:gd name="T10" fmla="*/ 28 w 28"/>
                <a:gd name="T11" fmla="*/ 6 h 6"/>
                <a:gd name="T12" fmla="*/ 19 w 2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">
                  <a:moveTo>
                    <a:pt x="19" y="6"/>
                  </a:moveTo>
                  <a:cubicBezTo>
                    <a:pt x="3" y="6"/>
                    <a:pt x="0" y="2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6" y="4"/>
                    <a:pt x="28" y="2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5" y="6"/>
                    <a:pt x="22" y="6"/>
                    <a:pt x="1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2">
              <a:extLst>
                <a:ext uri="{FF2B5EF4-FFF2-40B4-BE49-F238E27FC236}">
                  <a16:creationId xmlns:a16="http://schemas.microsoft.com/office/drawing/2014/main" id="{656307AC-94EB-4AF3-ADD2-715934FC1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2039"/>
              <a:ext cx="72" cy="33"/>
            </a:xfrm>
            <a:custGeom>
              <a:avLst/>
              <a:gdLst>
                <a:gd name="T0" fmla="*/ 13 w 28"/>
                <a:gd name="T1" fmla="*/ 13 h 13"/>
                <a:gd name="T2" fmla="*/ 0 w 28"/>
                <a:gd name="T3" fmla="*/ 2 h 13"/>
                <a:gd name="T4" fmla="*/ 2 w 28"/>
                <a:gd name="T5" fmla="*/ 0 h 13"/>
                <a:gd name="T6" fmla="*/ 13 w 28"/>
                <a:gd name="T7" fmla="*/ 8 h 13"/>
                <a:gd name="T8" fmla="*/ 28 w 28"/>
                <a:gd name="T9" fmla="*/ 1 h 13"/>
                <a:gd name="T10" fmla="*/ 28 w 28"/>
                <a:gd name="T11" fmla="*/ 4 h 13"/>
                <a:gd name="T12" fmla="*/ 14 w 28"/>
                <a:gd name="T13" fmla="*/ 11 h 13"/>
                <a:gd name="T14" fmla="*/ 13 w 2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3">
                  <a:moveTo>
                    <a:pt x="13" y="1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5" y="6"/>
                    <a:pt x="21" y="2"/>
                    <a:pt x="28" y="1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0" y="5"/>
                    <a:pt x="14" y="11"/>
                    <a:pt x="14" y="11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65">
            <a:extLst>
              <a:ext uri="{FF2B5EF4-FFF2-40B4-BE49-F238E27FC236}">
                <a16:creationId xmlns:a16="http://schemas.microsoft.com/office/drawing/2014/main" id="{CB5D7593-56DB-4A0B-9F16-2585E6B272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7713" y="2835275"/>
            <a:ext cx="758825" cy="758825"/>
            <a:chOff x="3671" y="1786"/>
            <a:chExt cx="478" cy="478"/>
          </a:xfrm>
        </p:grpSpPr>
        <p:sp>
          <p:nvSpPr>
            <p:cNvPr id="86" name="AutoShape 64">
              <a:extLst>
                <a:ext uri="{FF2B5EF4-FFF2-40B4-BE49-F238E27FC236}">
                  <a16:creationId xmlns:a16="http://schemas.microsoft.com/office/drawing/2014/main" id="{5F2DA877-9B21-4769-9A52-7DEAC82EC4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71" y="17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">
              <a:extLst>
                <a:ext uri="{FF2B5EF4-FFF2-40B4-BE49-F238E27FC236}">
                  <a16:creationId xmlns:a16="http://schemas.microsoft.com/office/drawing/2014/main" id="{A17E95DC-301D-437B-8589-F5CF6B0A6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3" y="17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7">
              <a:extLst>
                <a:ext uri="{FF2B5EF4-FFF2-40B4-BE49-F238E27FC236}">
                  <a16:creationId xmlns:a16="http://schemas.microsoft.com/office/drawing/2014/main" id="{75100E13-19F6-4200-94A9-AE6221E7A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2" y="1877"/>
              <a:ext cx="58" cy="56"/>
            </a:xfrm>
            <a:custGeom>
              <a:avLst/>
              <a:gdLst>
                <a:gd name="T0" fmla="*/ 12 w 24"/>
                <a:gd name="T1" fmla="*/ 3 h 23"/>
                <a:gd name="T2" fmla="*/ 3 w 24"/>
                <a:gd name="T3" fmla="*/ 11 h 23"/>
                <a:gd name="T4" fmla="*/ 12 w 24"/>
                <a:gd name="T5" fmla="*/ 19 h 23"/>
                <a:gd name="T6" fmla="*/ 20 w 24"/>
                <a:gd name="T7" fmla="*/ 11 h 23"/>
                <a:gd name="T8" fmla="*/ 12 w 24"/>
                <a:gd name="T9" fmla="*/ 3 h 23"/>
                <a:gd name="T10" fmla="*/ 12 w 24"/>
                <a:gd name="T11" fmla="*/ 23 h 23"/>
                <a:gd name="T12" fmla="*/ 0 w 24"/>
                <a:gd name="T13" fmla="*/ 11 h 23"/>
                <a:gd name="T14" fmla="*/ 12 w 24"/>
                <a:gd name="T15" fmla="*/ 0 h 23"/>
                <a:gd name="T16" fmla="*/ 24 w 24"/>
                <a:gd name="T17" fmla="*/ 11 h 23"/>
                <a:gd name="T18" fmla="*/ 12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12" y="3"/>
                  </a:moveTo>
                  <a:cubicBezTo>
                    <a:pt x="7" y="3"/>
                    <a:pt x="3" y="7"/>
                    <a:pt x="3" y="11"/>
                  </a:cubicBezTo>
                  <a:cubicBezTo>
                    <a:pt x="3" y="16"/>
                    <a:pt x="7" y="19"/>
                    <a:pt x="12" y="19"/>
                  </a:cubicBezTo>
                  <a:cubicBezTo>
                    <a:pt x="17" y="19"/>
                    <a:pt x="20" y="16"/>
                    <a:pt x="20" y="11"/>
                  </a:cubicBezTo>
                  <a:cubicBezTo>
                    <a:pt x="20" y="7"/>
                    <a:pt x="17" y="3"/>
                    <a:pt x="12" y="3"/>
                  </a:cubicBezTo>
                  <a:moveTo>
                    <a:pt x="12" y="23"/>
                  </a:moveTo>
                  <a:cubicBezTo>
                    <a:pt x="5" y="23"/>
                    <a:pt x="0" y="18"/>
                    <a:pt x="0" y="11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1"/>
                  </a:cubicBezTo>
                  <a:cubicBezTo>
                    <a:pt x="24" y="18"/>
                    <a:pt x="18" y="23"/>
                    <a:pt x="12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8">
              <a:extLst>
                <a:ext uri="{FF2B5EF4-FFF2-40B4-BE49-F238E27FC236}">
                  <a16:creationId xmlns:a16="http://schemas.microsoft.com/office/drawing/2014/main" id="{DD5317D7-E0DA-4FB9-84FE-EDBEF503A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" y="1936"/>
              <a:ext cx="233" cy="281"/>
            </a:xfrm>
            <a:custGeom>
              <a:avLst/>
              <a:gdLst>
                <a:gd name="T0" fmla="*/ 60 w 95"/>
                <a:gd name="T1" fmla="*/ 107 h 115"/>
                <a:gd name="T2" fmla="*/ 69 w 95"/>
                <a:gd name="T3" fmla="*/ 107 h 115"/>
                <a:gd name="T4" fmla="*/ 70 w 95"/>
                <a:gd name="T5" fmla="*/ 18 h 115"/>
                <a:gd name="T6" fmla="*/ 84 w 95"/>
                <a:gd name="T7" fmla="*/ 24 h 115"/>
                <a:gd name="T8" fmla="*/ 88 w 95"/>
                <a:gd name="T9" fmla="*/ 49 h 115"/>
                <a:gd name="T10" fmla="*/ 92 w 95"/>
                <a:gd name="T11" fmla="*/ 21 h 115"/>
                <a:gd name="T12" fmla="*/ 72 w 95"/>
                <a:gd name="T13" fmla="*/ 4 h 115"/>
                <a:gd name="T14" fmla="*/ 45 w 95"/>
                <a:gd name="T15" fmla="*/ 3 h 115"/>
                <a:gd name="T16" fmla="*/ 29 w 95"/>
                <a:gd name="T17" fmla="*/ 19 h 115"/>
                <a:gd name="T18" fmla="*/ 4 w 95"/>
                <a:gd name="T19" fmla="*/ 23 h 115"/>
                <a:gd name="T20" fmla="*/ 31 w 95"/>
                <a:gd name="T21" fmla="*/ 26 h 115"/>
                <a:gd name="T22" fmla="*/ 47 w 95"/>
                <a:gd name="T23" fmla="*/ 13 h 115"/>
                <a:gd name="T24" fmla="*/ 27 w 95"/>
                <a:gd name="T25" fmla="*/ 61 h 115"/>
                <a:gd name="T26" fmla="*/ 30 w 95"/>
                <a:gd name="T27" fmla="*/ 82 h 115"/>
                <a:gd name="T28" fmla="*/ 42 w 95"/>
                <a:gd name="T29" fmla="*/ 99 h 115"/>
                <a:gd name="T30" fmla="*/ 39 w 95"/>
                <a:gd name="T31" fmla="*/ 79 h 115"/>
                <a:gd name="T32" fmla="*/ 60 w 95"/>
                <a:gd name="T33" fmla="*/ 48 h 115"/>
                <a:gd name="T34" fmla="*/ 57 w 95"/>
                <a:gd name="T35" fmla="*/ 107 h 115"/>
                <a:gd name="T36" fmla="*/ 39 w 95"/>
                <a:gd name="T37" fmla="*/ 69 h 115"/>
                <a:gd name="T38" fmla="*/ 47 w 95"/>
                <a:gd name="T39" fmla="*/ 92 h 115"/>
                <a:gd name="T40" fmla="*/ 43 w 95"/>
                <a:gd name="T41" fmla="*/ 103 h 115"/>
                <a:gd name="T42" fmla="*/ 27 w 95"/>
                <a:gd name="T43" fmla="*/ 83 h 115"/>
                <a:gd name="T44" fmla="*/ 25 w 95"/>
                <a:gd name="T45" fmla="*/ 59 h 115"/>
                <a:gd name="T46" fmla="*/ 44 w 95"/>
                <a:gd name="T47" fmla="*/ 21 h 115"/>
                <a:gd name="T48" fmla="*/ 31 w 95"/>
                <a:gd name="T49" fmla="*/ 30 h 115"/>
                <a:gd name="T50" fmla="*/ 0 w 95"/>
                <a:gd name="T51" fmla="*/ 23 h 115"/>
                <a:gd name="T52" fmla="*/ 28 w 95"/>
                <a:gd name="T53" fmla="*/ 15 h 115"/>
                <a:gd name="T54" fmla="*/ 45 w 95"/>
                <a:gd name="T55" fmla="*/ 0 h 115"/>
                <a:gd name="T56" fmla="*/ 74 w 95"/>
                <a:gd name="T57" fmla="*/ 1 h 115"/>
                <a:gd name="T58" fmla="*/ 95 w 95"/>
                <a:gd name="T59" fmla="*/ 21 h 115"/>
                <a:gd name="T60" fmla="*/ 88 w 95"/>
                <a:gd name="T61" fmla="*/ 52 h 115"/>
                <a:gd name="T62" fmla="*/ 81 w 95"/>
                <a:gd name="T63" fmla="*/ 25 h 115"/>
                <a:gd name="T64" fmla="*/ 73 w 95"/>
                <a:gd name="T65" fmla="*/ 91 h 115"/>
                <a:gd name="T66" fmla="*/ 65 w 95"/>
                <a:gd name="T6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5" h="115">
                  <a:moveTo>
                    <a:pt x="60" y="48"/>
                  </a:moveTo>
                  <a:cubicBezTo>
                    <a:pt x="60" y="107"/>
                    <a:pt x="60" y="107"/>
                    <a:pt x="60" y="107"/>
                  </a:cubicBezTo>
                  <a:cubicBezTo>
                    <a:pt x="60" y="110"/>
                    <a:pt x="62" y="112"/>
                    <a:pt x="65" y="112"/>
                  </a:cubicBezTo>
                  <a:cubicBezTo>
                    <a:pt x="67" y="112"/>
                    <a:pt x="69" y="110"/>
                    <a:pt x="69" y="107"/>
                  </a:cubicBezTo>
                  <a:cubicBezTo>
                    <a:pt x="69" y="91"/>
                    <a:pt x="69" y="91"/>
                    <a:pt x="69" y="91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7"/>
                    <a:pt x="86" y="49"/>
                    <a:pt x="88" y="49"/>
                  </a:cubicBezTo>
                  <a:cubicBezTo>
                    <a:pt x="90" y="49"/>
                    <a:pt x="92" y="47"/>
                    <a:pt x="92" y="45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2" y="20"/>
                    <a:pt x="91" y="19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4" y="4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6" y="19"/>
                    <a:pt x="4" y="20"/>
                    <a:pt x="4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3" y="64"/>
                    <a:pt x="25" y="69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7" y="99"/>
                    <a:pt x="39" y="100"/>
                    <a:pt x="42" y="99"/>
                  </a:cubicBezTo>
                  <a:cubicBezTo>
                    <a:pt x="44" y="99"/>
                    <a:pt x="45" y="96"/>
                    <a:pt x="44" y="94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5" y="68"/>
                    <a:pt x="35" y="68"/>
                    <a:pt x="35" y="68"/>
                  </a:cubicBezTo>
                  <a:lnTo>
                    <a:pt x="60" y="48"/>
                  </a:lnTo>
                  <a:close/>
                  <a:moveTo>
                    <a:pt x="65" y="115"/>
                  </a:moveTo>
                  <a:cubicBezTo>
                    <a:pt x="60" y="115"/>
                    <a:pt x="57" y="111"/>
                    <a:pt x="57" y="107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8" y="94"/>
                    <a:pt x="48" y="97"/>
                    <a:pt x="47" y="98"/>
                  </a:cubicBezTo>
                  <a:cubicBezTo>
                    <a:pt x="46" y="100"/>
                    <a:pt x="45" y="102"/>
                    <a:pt x="43" y="103"/>
                  </a:cubicBezTo>
                  <a:cubicBezTo>
                    <a:pt x="39" y="104"/>
                    <a:pt x="34" y="102"/>
                    <a:pt x="33" y="98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64"/>
                    <a:pt x="23" y="60"/>
                    <a:pt x="25" y="59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4" y="29"/>
                    <a:pt x="32" y="30"/>
                    <a:pt x="31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4" y="30"/>
                    <a:pt x="0" y="26"/>
                    <a:pt x="0" y="23"/>
                  </a:cubicBezTo>
                  <a:cubicBezTo>
                    <a:pt x="0" y="19"/>
                    <a:pt x="4" y="15"/>
                    <a:pt x="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4" y="0"/>
                    <a:pt x="45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3" y="0"/>
                    <a:pt x="74" y="1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5" y="18"/>
                    <a:pt x="95" y="19"/>
                    <a:pt x="95" y="21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9"/>
                    <a:pt x="92" y="52"/>
                    <a:pt x="88" y="52"/>
                  </a:cubicBezTo>
                  <a:cubicBezTo>
                    <a:pt x="84" y="52"/>
                    <a:pt x="81" y="49"/>
                    <a:pt x="81" y="4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107"/>
                    <a:pt x="73" y="107"/>
                    <a:pt x="73" y="107"/>
                  </a:cubicBezTo>
                  <a:cubicBezTo>
                    <a:pt x="73" y="111"/>
                    <a:pt x="69" y="115"/>
                    <a:pt x="65" y="1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9">
              <a:extLst>
                <a:ext uri="{FF2B5EF4-FFF2-40B4-BE49-F238E27FC236}">
                  <a16:creationId xmlns:a16="http://schemas.microsoft.com/office/drawing/2014/main" id="{7CD3A3E4-20F5-4596-81DB-B3C6B5967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1837"/>
              <a:ext cx="34" cy="116"/>
            </a:xfrm>
            <a:custGeom>
              <a:avLst/>
              <a:gdLst>
                <a:gd name="T0" fmla="*/ 3 w 14"/>
                <a:gd name="T1" fmla="*/ 47 h 47"/>
                <a:gd name="T2" fmla="*/ 0 w 14"/>
                <a:gd name="T3" fmla="*/ 46 h 47"/>
                <a:gd name="T4" fmla="*/ 2 w 14"/>
                <a:gd name="T5" fmla="*/ 1 h 47"/>
                <a:gd name="T6" fmla="*/ 5 w 14"/>
                <a:gd name="T7" fmla="*/ 0 h 47"/>
                <a:gd name="T8" fmla="*/ 3 w 1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7">
                  <a:moveTo>
                    <a:pt x="3" y="47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11" y="25"/>
                    <a:pt x="2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4" y="25"/>
                    <a:pt x="3" y="46"/>
                    <a:pt x="3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0">
              <a:extLst>
                <a:ext uri="{FF2B5EF4-FFF2-40B4-BE49-F238E27FC236}">
                  <a16:creationId xmlns:a16="http://schemas.microsoft.com/office/drawing/2014/main" id="{357ACB3C-0F95-40B1-974B-895EB3DA3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1" y="1938"/>
              <a:ext cx="19" cy="103"/>
            </a:xfrm>
            <a:custGeom>
              <a:avLst/>
              <a:gdLst>
                <a:gd name="T0" fmla="*/ 10 w 19"/>
                <a:gd name="T1" fmla="*/ 103 h 103"/>
                <a:gd name="T2" fmla="*/ 0 w 19"/>
                <a:gd name="T3" fmla="*/ 103 h 103"/>
                <a:gd name="T4" fmla="*/ 0 w 19"/>
                <a:gd name="T5" fmla="*/ 39 h 103"/>
                <a:gd name="T6" fmla="*/ 12 w 19"/>
                <a:gd name="T7" fmla="*/ 0 h 103"/>
                <a:gd name="T8" fmla="*/ 19 w 19"/>
                <a:gd name="T9" fmla="*/ 2 h 103"/>
                <a:gd name="T10" fmla="*/ 10 w 19"/>
                <a:gd name="T11" fmla="*/ 42 h 103"/>
                <a:gd name="T12" fmla="*/ 10 w 19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03">
                  <a:moveTo>
                    <a:pt x="10" y="103"/>
                  </a:moveTo>
                  <a:lnTo>
                    <a:pt x="0" y="103"/>
                  </a:lnTo>
                  <a:lnTo>
                    <a:pt x="0" y="39"/>
                  </a:lnTo>
                  <a:lnTo>
                    <a:pt x="12" y="0"/>
                  </a:lnTo>
                  <a:lnTo>
                    <a:pt x="19" y="2"/>
                  </a:lnTo>
                  <a:lnTo>
                    <a:pt x="10" y="42"/>
                  </a:lnTo>
                  <a:lnTo>
                    <a:pt x="10" y="10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71">
              <a:extLst>
                <a:ext uri="{FF2B5EF4-FFF2-40B4-BE49-F238E27FC236}">
                  <a16:creationId xmlns:a16="http://schemas.microsoft.com/office/drawing/2014/main" id="{97554F80-088C-47DB-A754-B38A2955E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2" y="1938"/>
              <a:ext cx="9" cy="10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72">
              <a:extLst>
                <a:ext uri="{FF2B5EF4-FFF2-40B4-BE49-F238E27FC236}">
                  <a16:creationId xmlns:a16="http://schemas.microsoft.com/office/drawing/2014/main" id="{AA6E9820-946A-45CE-BCB3-EE4A49971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7" y="1975"/>
              <a:ext cx="3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3">
              <a:extLst>
                <a:ext uri="{FF2B5EF4-FFF2-40B4-BE49-F238E27FC236}">
                  <a16:creationId xmlns:a16="http://schemas.microsoft.com/office/drawing/2014/main" id="{9C5ABD25-C139-4495-8A69-0D3FC4C2F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" y="2031"/>
              <a:ext cx="69" cy="15"/>
            </a:xfrm>
            <a:custGeom>
              <a:avLst/>
              <a:gdLst>
                <a:gd name="T0" fmla="*/ 19 w 28"/>
                <a:gd name="T1" fmla="*/ 6 h 6"/>
                <a:gd name="T2" fmla="*/ 0 w 28"/>
                <a:gd name="T3" fmla="*/ 1 h 6"/>
                <a:gd name="T4" fmla="*/ 3 w 28"/>
                <a:gd name="T5" fmla="*/ 0 h 6"/>
                <a:gd name="T6" fmla="*/ 3 w 28"/>
                <a:gd name="T7" fmla="*/ 0 h 6"/>
                <a:gd name="T8" fmla="*/ 28 w 28"/>
                <a:gd name="T9" fmla="*/ 2 h 6"/>
                <a:gd name="T10" fmla="*/ 28 w 28"/>
                <a:gd name="T11" fmla="*/ 6 h 6"/>
                <a:gd name="T12" fmla="*/ 19 w 2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">
                  <a:moveTo>
                    <a:pt x="19" y="6"/>
                  </a:moveTo>
                  <a:cubicBezTo>
                    <a:pt x="3" y="6"/>
                    <a:pt x="0" y="2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6" y="4"/>
                    <a:pt x="28" y="2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5" y="6"/>
                    <a:pt x="22" y="6"/>
                    <a:pt x="19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4">
              <a:extLst>
                <a:ext uri="{FF2B5EF4-FFF2-40B4-BE49-F238E27FC236}">
                  <a16:creationId xmlns:a16="http://schemas.microsoft.com/office/drawing/2014/main" id="{6C803C8B-64C5-4B1C-8A2A-7E6ED6685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4" y="2038"/>
              <a:ext cx="69" cy="32"/>
            </a:xfrm>
            <a:custGeom>
              <a:avLst/>
              <a:gdLst>
                <a:gd name="T0" fmla="*/ 13 w 28"/>
                <a:gd name="T1" fmla="*/ 13 h 13"/>
                <a:gd name="T2" fmla="*/ 0 w 28"/>
                <a:gd name="T3" fmla="*/ 2 h 13"/>
                <a:gd name="T4" fmla="*/ 2 w 28"/>
                <a:gd name="T5" fmla="*/ 0 h 13"/>
                <a:gd name="T6" fmla="*/ 13 w 28"/>
                <a:gd name="T7" fmla="*/ 8 h 13"/>
                <a:gd name="T8" fmla="*/ 28 w 28"/>
                <a:gd name="T9" fmla="*/ 1 h 13"/>
                <a:gd name="T10" fmla="*/ 28 w 28"/>
                <a:gd name="T11" fmla="*/ 4 h 13"/>
                <a:gd name="T12" fmla="*/ 14 w 28"/>
                <a:gd name="T13" fmla="*/ 11 h 13"/>
                <a:gd name="T14" fmla="*/ 13 w 2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3">
                  <a:moveTo>
                    <a:pt x="13" y="1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5" y="6"/>
                    <a:pt x="21" y="2"/>
                    <a:pt x="28" y="1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0" y="5"/>
                    <a:pt x="14" y="11"/>
                    <a:pt x="14" y="11"/>
                  </a:cubicBezTo>
                  <a:lnTo>
                    <a:pt x="13" y="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Group 77">
            <a:extLst>
              <a:ext uri="{FF2B5EF4-FFF2-40B4-BE49-F238E27FC236}">
                <a16:creationId xmlns:a16="http://schemas.microsoft.com/office/drawing/2014/main" id="{A9761ED1-DD94-45E4-81C9-4F64D20645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3250" y="2794000"/>
            <a:ext cx="841375" cy="841375"/>
            <a:chOff x="4380" y="1760"/>
            <a:chExt cx="530" cy="530"/>
          </a:xfrm>
        </p:grpSpPr>
        <p:sp>
          <p:nvSpPr>
            <p:cNvPr id="97" name="AutoShape 76">
              <a:extLst>
                <a:ext uri="{FF2B5EF4-FFF2-40B4-BE49-F238E27FC236}">
                  <a16:creationId xmlns:a16="http://schemas.microsoft.com/office/drawing/2014/main" id="{0B10EA68-B573-46F5-859F-4FEBD3E7CD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0" y="176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78">
              <a:extLst>
                <a:ext uri="{FF2B5EF4-FFF2-40B4-BE49-F238E27FC236}">
                  <a16:creationId xmlns:a16="http://schemas.microsoft.com/office/drawing/2014/main" id="{8E5F9EE6-F5A6-40D4-8576-CDBD2CD19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0" y="176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9">
              <a:extLst>
                <a:ext uri="{FF2B5EF4-FFF2-40B4-BE49-F238E27FC236}">
                  <a16:creationId xmlns:a16="http://schemas.microsoft.com/office/drawing/2014/main" id="{086C6E2E-512A-44BB-BA01-CDEBF064B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8" y="177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0">
              <a:extLst>
                <a:ext uri="{FF2B5EF4-FFF2-40B4-BE49-F238E27FC236}">
                  <a16:creationId xmlns:a16="http://schemas.microsoft.com/office/drawing/2014/main" id="{A033B26B-2644-4E0D-B6FD-EF03C34E6B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3" y="1931"/>
              <a:ext cx="246" cy="259"/>
            </a:xfrm>
            <a:custGeom>
              <a:avLst/>
              <a:gdLst>
                <a:gd name="T0" fmla="*/ 231 w 246"/>
                <a:gd name="T1" fmla="*/ 205 h 259"/>
                <a:gd name="T2" fmla="*/ 233 w 246"/>
                <a:gd name="T3" fmla="*/ 105 h 259"/>
                <a:gd name="T4" fmla="*/ 213 w 246"/>
                <a:gd name="T5" fmla="*/ 93 h 259"/>
                <a:gd name="T6" fmla="*/ 172 w 246"/>
                <a:gd name="T7" fmla="*/ 41 h 259"/>
                <a:gd name="T8" fmla="*/ 162 w 246"/>
                <a:gd name="T9" fmla="*/ 13 h 259"/>
                <a:gd name="T10" fmla="*/ 136 w 246"/>
                <a:gd name="T11" fmla="*/ 0 h 259"/>
                <a:gd name="T12" fmla="*/ 62 w 246"/>
                <a:gd name="T13" fmla="*/ 6 h 259"/>
                <a:gd name="T14" fmla="*/ 13 w 246"/>
                <a:gd name="T15" fmla="*/ 59 h 259"/>
                <a:gd name="T16" fmla="*/ 26 w 246"/>
                <a:gd name="T17" fmla="*/ 82 h 259"/>
                <a:gd name="T18" fmla="*/ 44 w 246"/>
                <a:gd name="T19" fmla="*/ 77 h 259"/>
                <a:gd name="T20" fmla="*/ 87 w 246"/>
                <a:gd name="T21" fmla="*/ 93 h 259"/>
                <a:gd name="T22" fmla="*/ 41 w 246"/>
                <a:gd name="T23" fmla="*/ 103 h 259"/>
                <a:gd name="T24" fmla="*/ 13 w 246"/>
                <a:gd name="T25" fmla="*/ 131 h 259"/>
                <a:gd name="T26" fmla="*/ 0 w 246"/>
                <a:gd name="T27" fmla="*/ 187 h 259"/>
                <a:gd name="T28" fmla="*/ 21 w 246"/>
                <a:gd name="T29" fmla="*/ 228 h 259"/>
                <a:gd name="T30" fmla="*/ 46 w 246"/>
                <a:gd name="T31" fmla="*/ 249 h 259"/>
                <a:gd name="T32" fmla="*/ 98 w 246"/>
                <a:gd name="T33" fmla="*/ 259 h 259"/>
                <a:gd name="T34" fmla="*/ 144 w 246"/>
                <a:gd name="T35" fmla="*/ 239 h 259"/>
                <a:gd name="T36" fmla="*/ 164 w 246"/>
                <a:gd name="T37" fmla="*/ 205 h 259"/>
                <a:gd name="T38" fmla="*/ 169 w 246"/>
                <a:gd name="T39" fmla="*/ 159 h 259"/>
                <a:gd name="T40" fmla="*/ 192 w 246"/>
                <a:gd name="T41" fmla="*/ 216 h 259"/>
                <a:gd name="T42" fmla="*/ 246 w 246"/>
                <a:gd name="T43" fmla="*/ 210 h 259"/>
                <a:gd name="T44" fmla="*/ 149 w 246"/>
                <a:gd name="T45" fmla="*/ 203 h 259"/>
                <a:gd name="T46" fmla="*/ 123 w 246"/>
                <a:gd name="T47" fmla="*/ 231 h 259"/>
                <a:gd name="T48" fmla="*/ 85 w 246"/>
                <a:gd name="T49" fmla="*/ 244 h 259"/>
                <a:gd name="T50" fmla="*/ 44 w 246"/>
                <a:gd name="T51" fmla="*/ 228 h 259"/>
                <a:gd name="T52" fmla="*/ 23 w 246"/>
                <a:gd name="T53" fmla="*/ 203 h 259"/>
                <a:gd name="T54" fmla="*/ 18 w 246"/>
                <a:gd name="T55" fmla="*/ 169 h 259"/>
                <a:gd name="T56" fmla="*/ 28 w 246"/>
                <a:gd name="T57" fmla="*/ 141 h 259"/>
                <a:gd name="T58" fmla="*/ 54 w 246"/>
                <a:gd name="T59" fmla="*/ 116 h 259"/>
                <a:gd name="T60" fmla="*/ 85 w 246"/>
                <a:gd name="T61" fmla="*/ 108 h 259"/>
                <a:gd name="T62" fmla="*/ 100 w 246"/>
                <a:gd name="T63" fmla="*/ 134 h 259"/>
                <a:gd name="T64" fmla="*/ 131 w 246"/>
                <a:gd name="T65" fmla="*/ 149 h 259"/>
                <a:gd name="T66" fmla="*/ 154 w 246"/>
                <a:gd name="T67" fmla="*/ 172 h 259"/>
                <a:gd name="T68" fmla="*/ 123 w 246"/>
                <a:gd name="T69" fmla="*/ 121 h 259"/>
                <a:gd name="T70" fmla="*/ 126 w 246"/>
                <a:gd name="T71" fmla="*/ 136 h 259"/>
                <a:gd name="T72" fmla="*/ 105 w 246"/>
                <a:gd name="T73" fmla="*/ 123 h 259"/>
                <a:gd name="T74" fmla="*/ 220 w 246"/>
                <a:gd name="T75" fmla="*/ 205 h 259"/>
                <a:gd name="T76" fmla="*/ 195 w 246"/>
                <a:gd name="T77" fmla="*/ 131 h 259"/>
                <a:gd name="T78" fmla="*/ 139 w 246"/>
                <a:gd name="T79" fmla="*/ 111 h 259"/>
                <a:gd name="T80" fmla="*/ 113 w 246"/>
                <a:gd name="T81" fmla="*/ 41 h 259"/>
                <a:gd name="T82" fmla="*/ 128 w 246"/>
                <a:gd name="T83" fmla="*/ 31 h 259"/>
                <a:gd name="T84" fmla="*/ 75 w 246"/>
                <a:gd name="T85" fmla="*/ 31 h 259"/>
                <a:gd name="T86" fmla="*/ 23 w 246"/>
                <a:gd name="T87" fmla="*/ 64 h 259"/>
                <a:gd name="T88" fmla="*/ 64 w 246"/>
                <a:gd name="T89" fmla="*/ 18 h 259"/>
                <a:gd name="T90" fmla="*/ 128 w 246"/>
                <a:gd name="T91" fmla="*/ 13 h 259"/>
                <a:gd name="T92" fmla="*/ 154 w 246"/>
                <a:gd name="T93" fmla="*/ 21 h 259"/>
                <a:gd name="T94" fmla="*/ 159 w 246"/>
                <a:gd name="T95" fmla="*/ 47 h 259"/>
                <a:gd name="T96" fmla="*/ 151 w 246"/>
                <a:gd name="T97" fmla="*/ 100 h 259"/>
                <a:gd name="T98" fmla="*/ 218 w 246"/>
                <a:gd name="T99" fmla="*/ 105 h 259"/>
                <a:gd name="T100" fmla="*/ 228 w 246"/>
                <a:gd name="T101" fmla="*/ 12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6" h="259">
                  <a:moveTo>
                    <a:pt x="244" y="208"/>
                  </a:moveTo>
                  <a:lnTo>
                    <a:pt x="241" y="205"/>
                  </a:lnTo>
                  <a:lnTo>
                    <a:pt x="241" y="205"/>
                  </a:lnTo>
                  <a:lnTo>
                    <a:pt x="241" y="205"/>
                  </a:lnTo>
                  <a:lnTo>
                    <a:pt x="231" y="205"/>
                  </a:lnTo>
                  <a:lnTo>
                    <a:pt x="238" y="128"/>
                  </a:lnTo>
                  <a:lnTo>
                    <a:pt x="238" y="121"/>
                  </a:lnTo>
                  <a:lnTo>
                    <a:pt x="238" y="116"/>
                  </a:lnTo>
                  <a:lnTo>
                    <a:pt x="236" y="108"/>
                  </a:lnTo>
                  <a:lnTo>
                    <a:pt x="233" y="105"/>
                  </a:lnTo>
                  <a:lnTo>
                    <a:pt x="231" y="100"/>
                  </a:lnTo>
                  <a:lnTo>
                    <a:pt x="228" y="98"/>
                  </a:lnTo>
                  <a:lnTo>
                    <a:pt x="223" y="95"/>
                  </a:lnTo>
                  <a:lnTo>
                    <a:pt x="218" y="93"/>
                  </a:lnTo>
                  <a:lnTo>
                    <a:pt x="213" y="93"/>
                  </a:lnTo>
                  <a:lnTo>
                    <a:pt x="205" y="90"/>
                  </a:lnTo>
                  <a:lnTo>
                    <a:pt x="197" y="90"/>
                  </a:lnTo>
                  <a:lnTo>
                    <a:pt x="159" y="90"/>
                  </a:lnTo>
                  <a:lnTo>
                    <a:pt x="172" y="47"/>
                  </a:lnTo>
                  <a:lnTo>
                    <a:pt x="172" y="41"/>
                  </a:lnTo>
                  <a:lnTo>
                    <a:pt x="172" y="34"/>
                  </a:lnTo>
                  <a:lnTo>
                    <a:pt x="172" y="34"/>
                  </a:lnTo>
                  <a:lnTo>
                    <a:pt x="169" y="26"/>
                  </a:lnTo>
                  <a:lnTo>
                    <a:pt x="167" y="21"/>
                  </a:lnTo>
                  <a:lnTo>
                    <a:pt x="162" y="13"/>
                  </a:lnTo>
                  <a:lnTo>
                    <a:pt x="156" y="8"/>
                  </a:lnTo>
                  <a:lnTo>
                    <a:pt x="151" y="6"/>
                  </a:lnTo>
                  <a:lnTo>
                    <a:pt x="149" y="6"/>
                  </a:lnTo>
                  <a:lnTo>
                    <a:pt x="144" y="3"/>
                  </a:lnTo>
                  <a:lnTo>
                    <a:pt x="136" y="0"/>
                  </a:lnTo>
                  <a:lnTo>
                    <a:pt x="128" y="0"/>
                  </a:lnTo>
                  <a:lnTo>
                    <a:pt x="75" y="0"/>
                  </a:lnTo>
                  <a:lnTo>
                    <a:pt x="69" y="3"/>
                  </a:lnTo>
                  <a:lnTo>
                    <a:pt x="64" y="3"/>
                  </a:lnTo>
                  <a:lnTo>
                    <a:pt x="62" y="6"/>
                  </a:lnTo>
                  <a:lnTo>
                    <a:pt x="54" y="11"/>
                  </a:lnTo>
                  <a:lnTo>
                    <a:pt x="51" y="16"/>
                  </a:lnTo>
                  <a:lnTo>
                    <a:pt x="16" y="52"/>
                  </a:lnTo>
                  <a:lnTo>
                    <a:pt x="13" y="57"/>
                  </a:lnTo>
                  <a:lnTo>
                    <a:pt x="13" y="59"/>
                  </a:lnTo>
                  <a:lnTo>
                    <a:pt x="13" y="64"/>
                  </a:lnTo>
                  <a:lnTo>
                    <a:pt x="13" y="70"/>
                  </a:lnTo>
                  <a:lnTo>
                    <a:pt x="16" y="75"/>
                  </a:lnTo>
                  <a:lnTo>
                    <a:pt x="21" y="80"/>
                  </a:lnTo>
                  <a:lnTo>
                    <a:pt x="26" y="82"/>
                  </a:lnTo>
                  <a:lnTo>
                    <a:pt x="31" y="82"/>
                  </a:lnTo>
                  <a:lnTo>
                    <a:pt x="34" y="82"/>
                  </a:lnTo>
                  <a:lnTo>
                    <a:pt x="39" y="80"/>
                  </a:lnTo>
                  <a:lnTo>
                    <a:pt x="41" y="80"/>
                  </a:lnTo>
                  <a:lnTo>
                    <a:pt x="44" y="77"/>
                  </a:lnTo>
                  <a:lnTo>
                    <a:pt x="46" y="75"/>
                  </a:lnTo>
                  <a:lnTo>
                    <a:pt x="82" y="41"/>
                  </a:lnTo>
                  <a:lnTo>
                    <a:pt x="103" y="41"/>
                  </a:lnTo>
                  <a:lnTo>
                    <a:pt x="95" y="93"/>
                  </a:lnTo>
                  <a:lnTo>
                    <a:pt x="87" y="93"/>
                  </a:lnTo>
                  <a:lnTo>
                    <a:pt x="82" y="93"/>
                  </a:lnTo>
                  <a:lnTo>
                    <a:pt x="72" y="93"/>
                  </a:lnTo>
                  <a:lnTo>
                    <a:pt x="59" y="95"/>
                  </a:lnTo>
                  <a:lnTo>
                    <a:pt x="51" y="100"/>
                  </a:lnTo>
                  <a:lnTo>
                    <a:pt x="41" y="103"/>
                  </a:lnTo>
                  <a:lnTo>
                    <a:pt x="34" y="108"/>
                  </a:lnTo>
                  <a:lnTo>
                    <a:pt x="28" y="113"/>
                  </a:lnTo>
                  <a:lnTo>
                    <a:pt x="26" y="116"/>
                  </a:lnTo>
                  <a:lnTo>
                    <a:pt x="21" y="123"/>
                  </a:lnTo>
                  <a:lnTo>
                    <a:pt x="13" y="131"/>
                  </a:lnTo>
                  <a:lnTo>
                    <a:pt x="8" y="144"/>
                  </a:lnTo>
                  <a:lnTo>
                    <a:pt x="3" y="152"/>
                  </a:lnTo>
                  <a:lnTo>
                    <a:pt x="0" y="164"/>
                  </a:lnTo>
                  <a:lnTo>
                    <a:pt x="0" y="177"/>
                  </a:lnTo>
                  <a:lnTo>
                    <a:pt x="0" y="187"/>
                  </a:lnTo>
                  <a:lnTo>
                    <a:pt x="5" y="200"/>
                  </a:lnTo>
                  <a:lnTo>
                    <a:pt x="8" y="213"/>
                  </a:lnTo>
                  <a:lnTo>
                    <a:pt x="13" y="218"/>
                  </a:lnTo>
                  <a:lnTo>
                    <a:pt x="18" y="226"/>
                  </a:lnTo>
                  <a:lnTo>
                    <a:pt x="21" y="228"/>
                  </a:lnTo>
                  <a:lnTo>
                    <a:pt x="26" y="233"/>
                  </a:lnTo>
                  <a:lnTo>
                    <a:pt x="28" y="239"/>
                  </a:lnTo>
                  <a:lnTo>
                    <a:pt x="34" y="244"/>
                  </a:lnTo>
                  <a:lnTo>
                    <a:pt x="41" y="246"/>
                  </a:lnTo>
                  <a:lnTo>
                    <a:pt x="46" y="249"/>
                  </a:lnTo>
                  <a:lnTo>
                    <a:pt x="57" y="254"/>
                  </a:lnTo>
                  <a:lnTo>
                    <a:pt x="69" y="259"/>
                  </a:lnTo>
                  <a:lnTo>
                    <a:pt x="80" y="259"/>
                  </a:lnTo>
                  <a:lnTo>
                    <a:pt x="87" y="259"/>
                  </a:lnTo>
                  <a:lnTo>
                    <a:pt x="98" y="259"/>
                  </a:lnTo>
                  <a:lnTo>
                    <a:pt x="113" y="254"/>
                  </a:lnTo>
                  <a:lnTo>
                    <a:pt x="121" y="251"/>
                  </a:lnTo>
                  <a:lnTo>
                    <a:pt x="131" y="246"/>
                  </a:lnTo>
                  <a:lnTo>
                    <a:pt x="136" y="244"/>
                  </a:lnTo>
                  <a:lnTo>
                    <a:pt x="144" y="239"/>
                  </a:lnTo>
                  <a:lnTo>
                    <a:pt x="149" y="231"/>
                  </a:lnTo>
                  <a:lnTo>
                    <a:pt x="151" y="228"/>
                  </a:lnTo>
                  <a:lnTo>
                    <a:pt x="156" y="223"/>
                  </a:lnTo>
                  <a:lnTo>
                    <a:pt x="162" y="216"/>
                  </a:lnTo>
                  <a:lnTo>
                    <a:pt x="164" y="205"/>
                  </a:lnTo>
                  <a:lnTo>
                    <a:pt x="169" y="195"/>
                  </a:lnTo>
                  <a:lnTo>
                    <a:pt x="172" y="180"/>
                  </a:lnTo>
                  <a:lnTo>
                    <a:pt x="172" y="175"/>
                  </a:lnTo>
                  <a:lnTo>
                    <a:pt x="169" y="169"/>
                  </a:lnTo>
                  <a:lnTo>
                    <a:pt x="169" y="159"/>
                  </a:lnTo>
                  <a:lnTo>
                    <a:pt x="167" y="152"/>
                  </a:lnTo>
                  <a:lnTo>
                    <a:pt x="167" y="146"/>
                  </a:lnTo>
                  <a:lnTo>
                    <a:pt x="190" y="144"/>
                  </a:lnTo>
                  <a:lnTo>
                    <a:pt x="190" y="216"/>
                  </a:lnTo>
                  <a:lnTo>
                    <a:pt x="192" y="216"/>
                  </a:lnTo>
                  <a:lnTo>
                    <a:pt x="195" y="218"/>
                  </a:lnTo>
                  <a:lnTo>
                    <a:pt x="244" y="218"/>
                  </a:lnTo>
                  <a:lnTo>
                    <a:pt x="246" y="216"/>
                  </a:lnTo>
                  <a:lnTo>
                    <a:pt x="246" y="213"/>
                  </a:lnTo>
                  <a:lnTo>
                    <a:pt x="246" y="210"/>
                  </a:lnTo>
                  <a:lnTo>
                    <a:pt x="244" y="208"/>
                  </a:lnTo>
                  <a:close/>
                  <a:moveTo>
                    <a:pt x="154" y="182"/>
                  </a:moveTo>
                  <a:lnTo>
                    <a:pt x="151" y="192"/>
                  </a:lnTo>
                  <a:lnTo>
                    <a:pt x="151" y="195"/>
                  </a:lnTo>
                  <a:lnTo>
                    <a:pt x="149" y="203"/>
                  </a:lnTo>
                  <a:lnTo>
                    <a:pt x="144" y="210"/>
                  </a:lnTo>
                  <a:lnTo>
                    <a:pt x="139" y="218"/>
                  </a:lnTo>
                  <a:lnTo>
                    <a:pt x="133" y="223"/>
                  </a:lnTo>
                  <a:lnTo>
                    <a:pt x="126" y="228"/>
                  </a:lnTo>
                  <a:lnTo>
                    <a:pt x="123" y="231"/>
                  </a:lnTo>
                  <a:lnTo>
                    <a:pt x="118" y="233"/>
                  </a:lnTo>
                  <a:lnTo>
                    <a:pt x="108" y="239"/>
                  </a:lnTo>
                  <a:lnTo>
                    <a:pt x="100" y="241"/>
                  </a:lnTo>
                  <a:lnTo>
                    <a:pt x="92" y="241"/>
                  </a:lnTo>
                  <a:lnTo>
                    <a:pt x="85" y="244"/>
                  </a:lnTo>
                  <a:lnTo>
                    <a:pt x="80" y="241"/>
                  </a:lnTo>
                  <a:lnTo>
                    <a:pt x="72" y="241"/>
                  </a:lnTo>
                  <a:lnTo>
                    <a:pt x="62" y="239"/>
                  </a:lnTo>
                  <a:lnTo>
                    <a:pt x="54" y="233"/>
                  </a:lnTo>
                  <a:lnTo>
                    <a:pt x="44" y="228"/>
                  </a:lnTo>
                  <a:lnTo>
                    <a:pt x="41" y="226"/>
                  </a:lnTo>
                  <a:lnTo>
                    <a:pt x="36" y="221"/>
                  </a:lnTo>
                  <a:lnTo>
                    <a:pt x="31" y="216"/>
                  </a:lnTo>
                  <a:lnTo>
                    <a:pt x="28" y="210"/>
                  </a:lnTo>
                  <a:lnTo>
                    <a:pt x="23" y="203"/>
                  </a:lnTo>
                  <a:lnTo>
                    <a:pt x="21" y="195"/>
                  </a:lnTo>
                  <a:lnTo>
                    <a:pt x="18" y="190"/>
                  </a:lnTo>
                  <a:lnTo>
                    <a:pt x="18" y="182"/>
                  </a:lnTo>
                  <a:lnTo>
                    <a:pt x="18" y="175"/>
                  </a:lnTo>
                  <a:lnTo>
                    <a:pt x="18" y="169"/>
                  </a:lnTo>
                  <a:lnTo>
                    <a:pt x="18" y="162"/>
                  </a:lnTo>
                  <a:lnTo>
                    <a:pt x="21" y="157"/>
                  </a:lnTo>
                  <a:lnTo>
                    <a:pt x="21" y="152"/>
                  </a:lnTo>
                  <a:lnTo>
                    <a:pt x="26" y="144"/>
                  </a:lnTo>
                  <a:lnTo>
                    <a:pt x="28" y="141"/>
                  </a:lnTo>
                  <a:lnTo>
                    <a:pt x="31" y="136"/>
                  </a:lnTo>
                  <a:lnTo>
                    <a:pt x="36" y="131"/>
                  </a:lnTo>
                  <a:lnTo>
                    <a:pt x="41" y="123"/>
                  </a:lnTo>
                  <a:lnTo>
                    <a:pt x="44" y="121"/>
                  </a:lnTo>
                  <a:lnTo>
                    <a:pt x="54" y="116"/>
                  </a:lnTo>
                  <a:lnTo>
                    <a:pt x="59" y="113"/>
                  </a:lnTo>
                  <a:lnTo>
                    <a:pt x="64" y="111"/>
                  </a:lnTo>
                  <a:lnTo>
                    <a:pt x="72" y="111"/>
                  </a:lnTo>
                  <a:lnTo>
                    <a:pt x="80" y="108"/>
                  </a:lnTo>
                  <a:lnTo>
                    <a:pt x="85" y="108"/>
                  </a:lnTo>
                  <a:lnTo>
                    <a:pt x="95" y="108"/>
                  </a:lnTo>
                  <a:lnTo>
                    <a:pt x="92" y="116"/>
                  </a:lnTo>
                  <a:lnTo>
                    <a:pt x="95" y="121"/>
                  </a:lnTo>
                  <a:lnTo>
                    <a:pt x="95" y="128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8" y="144"/>
                  </a:lnTo>
                  <a:lnTo>
                    <a:pt x="115" y="146"/>
                  </a:lnTo>
                  <a:lnTo>
                    <a:pt x="123" y="149"/>
                  </a:lnTo>
                  <a:lnTo>
                    <a:pt x="131" y="149"/>
                  </a:lnTo>
                  <a:lnTo>
                    <a:pt x="136" y="149"/>
                  </a:lnTo>
                  <a:lnTo>
                    <a:pt x="149" y="149"/>
                  </a:lnTo>
                  <a:lnTo>
                    <a:pt x="151" y="157"/>
                  </a:lnTo>
                  <a:lnTo>
                    <a:pt x="154" y="164"/>
                  </a:lnTo>
                  <a:lnTo>
                    <a:pt x="154" y="172"/>
                  </a:lnTo>
                  <a:lnTo>
                    <a:pt x="154" y="175"/>
                  </a:lnTo>
                  <a:lnTo>
                    <a:pt x="154" y="182"/>
                  </a:lnTo>
                  <a:close/>
                  <a:moveTo>
                    <a:pt x="105" y="111"/>
                  </a:moveTo>
                  <a:lnTo>
                    <a:pt x="118" y="116"/>
                  </a:lnTo>
                  <a:lnTo>
                    <a:pt x="123" y="121"/>
                  </a:lnTo>
                  <a:lnTo>
                    <a:pt x="128" y="123"/>
                  </a:lnTo>
                  <a:lnTo>
                    <a:pt x="136" y="131"/>
                  </a:lnTo>
                  <a:lnTo>
                    <a:pt x="141" y="139"/>
                  </a:lnTo>
                  <a:lnTo>
                    <a:pt x="136" y="139"/>
                  </a:lnTo>
                  <a:lnTo>
                    <a:pt x="126" y="136"/>
                  </a:lnTo>
                  <a:lnTo>
                    <a:pt x="121" y="136"/>
                  </a:lnTo>
                  <a:lnTo>
                    <a:pt x="115" y="134"/>
                  </a:lnTo>
                  <a:lnTo>
                    <a:pt x="110" y="131"/>
                  </a:lnTo>
                  <a:lnTo>
                    <a:pt x="108" y="126"/>
                  </a:lnTo>
                  <a:lnTo>
                    <a:pt x="105" y="123"/>
                  </a:lnTo>
                  <a:lnTo>
                    <a:pt x="105" y="118"/>
                  </a:lnTo>
                  <a:lnTo>
                    <a:pt x="105" y="116"/>
                  </a:lnTo>
                  <a:lnTo>
                    <a:pt x="105" y="111"/>
                  </a:lnTo>
                  <a:close/>
                  <a:moveTo>
                    <a:pt x="228" y="134"/>
                  </a:moveTo>
                  <a:lnTo>
                    <a:pt x="220" y="205"/>
                  </a:lnTo>
                  <a:lnTo>
                    <a:pt x="203" y="205"/>
                  </a:lnTo>
                  <a:lnTo>
                    <a:pt x="200" y="136"/>
                  </a:lnTo>
                  <a:lnTo>
                    <a:pt x="200" y="134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62" y="136"/>
                  </a:lnTo>
                  <a:lnTo>
                    <a:pt x="154" y="126"/>
                  </a:lnTo>
                  <a:lnTo>
                    <a:pt x="151" y="121"/>
                  </a:lnTo>
                  <a:lnTo>
                    <a:pt x="144" y="116"/>
                  </a:lnTo>
                  <a:lnTo>
                    <a:pt x="139" y="111"/>
                  </a:lnTo>
                  <a:lnTo>
                    <a:pt x="136" y="108"/>
                  </a:lnTo>
                  <a:lnTo>
                    <a:pt x="128" y="103"/>
                  </a:lnTo>
                  <a:lnTo>
                    <a:pt x="118" y="98"/>
                  </a:lnTo>
                  <a:lnTo>
                    <a:pt x="108" y="95"/>
                  </a:lnTo>
                  <a:lnTo>
                    <a:pt x="113" y="41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1" y="36"/>
                  </a:lnTo>
                  <a:lnTo>
                    <a:pt x="131" y="34"/>
                  </a:lnTo>
                  <a:lnTo>
                    <a:pt x="128" y="31"/>
                  </a:lnTo>
                  <a:lnTo>
                    <a:pt x="126" y="29"/>
                  </a:lnTo>
                  <a:lnTo>
                    <a:pt x="123" y="31"/>
                  </a:lnTo>
                  <a:lnTo>
                    <a:pt x="80" y="29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36" y="70"/>
                  </a:lnTo>
                  <a:lnTo>
                    <a:pt x="31" y="70"/>
                  </a:lnTo>
                  <a:lnTo>
                    <a:pt x="28" y="70"/>
                  </a:lnTo>
                  <a:lnTo>
                    <a:pt x="26" y="70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2"/>
                  </a:lnTo>
                  <a:lnTo>
                    <a:pt x="26" y="59"/>
                  </a:lnTo>
                  <a:lnTo>
                    <a:pt x="26" y="57"/>
                  </a:lnTo>
                  <a:lnTo>
                    <a:pt x="64" y="18"/>
                  </a:lnTo>
                  <a:lnTo>
                    <a:pt x="67" y="16"/>
                  </a:lnTo>
                  <a:lnTo>
                    <a:pt x="72" y="13"/>
                  </a:lnTo>
                  <a:lnTo>
                    <a:pt x="75" y="13"/>
                  </a:lnTo>
                  <a:lnTo>
                    <a:pt x="80" y="13"/>
                  </a:lnTo>
                  <a:lnTo>
                    <a:pt x="128" y="13"/>
                  </a:lnTo>
                  <a:lnTo>
                    <a:pt x="136" y="13"/>
                  </a:lnTo>
                  <a:lnTo>
                    <a:pt x="141" y="13"/>
                  </a:lnTo>
                  <a:lnTo>
                    <a:pt x="146" y="16"/>
                  </a:lnTo>
                  <a:lnTo>
                    <a:pt x="149" y="18"/>
                  </a:lnTo>
                  <a:lnTo>
                    <a:pt x="154" y="21"/>
                  </a:lnTo>
                  <a:lnTo>
                    <a:pt x="156" y="26"/>
                  </a:lnTo>
                  <a:lnTo>
                    <a:pt x="159" y="31"/>
                  </a:lnTo>
                  <a:lnTo>
                    <a:pt x="159" y="36"/>
                  </a:lnTo>
                  <a:lnTo>
                    <a:pt x="159" y="41"/>
                  </a:lnTo>
                  <a:lnTo>
                    <a:pt x="159" y="47"/>
                  </a:lnTo>
                  <a:lnTo>
                    <a:pt x="159" y="52"/>
                  </a:lnTo>
                  <a:lnTo>
                    <a:pt x="146" y="95"/>
                  </a:lnTo>
                  <a:lnTo>
                    <a:pt x="146" y="98"/>
                  </a:lnTo>
                  <a:lnTo>
                    <a:pt x="149" y="100"/>
                  </a:lnTo>
                  <a:lnTo>
                    <a:pt x="151" y="100"/>
                  </a:lnTo>
                  <a:lnTo>
                    <a:pt x="154" y="103"/>
                  </a:lnTo>
                  <a:lnTo>
                    <a:pt x="200" y="103"/>
                  </a:lnTo>
                  <a:lnTo>
                    <a:pt x="208" y="103"/>
                  </a:lnTo>
                  <a:lnTo>
                    <a:pt x="215" y="105"/>
                  </a:lnTo>
                  <a:lnTo>
                    <a:pt x="218" y="105"/>
                  </a:lnTo>
                  <a:lnTo>
                    <a:pt x="223" y="111"/>
                  </a:lnTo>
                  <a:lnTo>
                    <a:pt x="226" y="113"/>
                  </a:lnTo>
                  <a:lnTo>
                    <a:pt x="226" y="118"/>
                  </a:lnTo>
                  <a:lnTo>
                    <a:pt x="228" y="126"/>
                  </a:lnTo>
                  <a:lnTo>
                    <a:pt x="228" y="126"/>
                  </a:lnTo>
                  <a:lnTo>
                    <a:pt x="228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1">
              <a:extLst>
                <a:ext uri="{FF2B5EF4-FFF2-40B4-BE49-F238E27FC236}">
                  <a16:creationId xmlns:a16="http://schemas.microsoft.com/office/drawing/2014/main" id="{C38B8702-27BB-40DC-937D-C892435F9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" y="2098"/>
              <a:ext cx="18" cy="15"/>
            </a:xfrm>
            <a:custGeom>
              <a:avLst/>
              <a:gdLst>
                <a:gd name="T0" fmla="*/ 15 w 18"/>
                <a:gd name="T1" fmla="*/ 2 h 15"/>
                <a:gd name="T2" fmla="*/ 10 w 18"/>
                <a:gd name="T3" fmla="*/ 0 h 15"/>
                <a:gd name="T4" fmla="*/ 8 w 18"/>
                <a:gd name="T5" fmla="*/ 0 h 15"/>
                <a:gd name="T6" fmla="*/ 8 w 18"/>
                <a:gd name="T7" fmla="*/ 0 h 15"/>
                <a:gd name="T8" fmla="*/ 5 w 18"/>
                <a:gd name="T9" fmla="*/ 2 h 15"/>
                <a:gd name="T10" fmla="*/ 3 w 18"/>
                <a:gd name="T11" fmla="*/ 2 h 15"/>
                <a:gd name="T12" fmla="*/ 0 w 18"/>
                <a:gd name="T13" fmla="*/ 5 h 15"/>
                <a:gd name="T14" fmla="*/ 0 w 18"/>
                <a:gd name="T15" fmla="*/ 8 h 15"/>
                <a:gd name="T16" fmla="*/ 0 w 18"/>
                <a:gd name="T17" fmla="*/ 13 h 15"/>
                <a:gd name="T18" fmla="*/ 3 w 18"/>
                <a:gd name="T19" fmla="*/ 15 h 15"/>
                <a:gd name="T20" fmla="*/ 5 w 18"/>
                <a:gd name="T21" fmla="*/ 15 h 15"/>
                <a:gd name="T22" fmla="*/ 8 w 18"/>
                <a:gd name="T23" fmla="*/ 15 h 15"/>
                <a:gd name="T24" fmla="*/ 13 w 18"/>
                <a:gd name="T25" fmla="*/ 15 h 15"/>
                <a:gd name="T26" fmla="*/ 15 w 18"/>
                <a:gd name="T27" fmla="*/ 13 h 15"/>
                <a:gd name="T28" fmla="*/ 15 w 18"/>
                <a:gd name="T29" fmla="*/ 10 h 15"/>
                <a:gd name="T30" fmla="*/ 18 w 18"/>
                <a:gd name="T31" fmla="*/ 10 h 15"/>
                <a:gd name="T32" fmla="*/ 15 w 18"/>
                <a:gd name="T33" fmla="*/ 5 h 15"/>
                <a:gd name="T34" fmla="*/ 15 w 18"/>
                <a:gd name="T3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5">
                  <a:moveTo>
                    <a:pt x="15" y="2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13" y="15"/>
                  </a:lnTo>
                  <a:lnTo>
                    <a:pt x="15" y="13"/>
                  </a:lnTo>
                  <a:lnTo>
                    <a:pt x="15" y="10"/>
                  </a:lnTo>
                  <a:lnTo>
                    <a:pt x="18" y="10"/>
                  </a:lnTo>
                  <a:lnTo>
                    <a:pt x="15" y="5"/>
                  </a:lnTo>
                  <a:lnTo>
                    <a:pt x="15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2">
              <a:extLst>
                <a:ext uri="{FF2B5EF4-FFF2-40B4-BE49-F238E27FC236}">
                  <a16:creationId xmlns:a16="http://schemas.microsoft.com/office/drawing/2014/main" id="{85808783-826D-4476-815C-086E2C118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7" y="1862"/>
              <a:ext cx="74" cy="72"/>
            </a:xfrm>
            <a:custGeom>
              <a:avLst/>
              <a:gdLst>
                <a:gd name="T0" fmla="*/ 2 w 74"/>
                <a:gd name="T1" fmla="*/ 44 h 72"/>
                <a:gd name="T2" fmla="*/ 7 w 74"/>
                <a:gd name="T3" fmla="*/ 57 h 72"/>
                <a:gd name="T4" fmla="*/ 18 w 74"/>
                <a:gd name="T5" fmla="*/ 64 h 72"/>
                <a:gd name="T6" fmla="*/ 28 w 74"/>
                <a:gd name="T7" fmla="*/ 69 h 72"/>
                <a:gd name="T8" fmla="*/ 36 w 74"/>
                <a:gd name="T9" fmla="*/ 72 h 72"/>
                <a:gd name="T10" fmla="*/ 48 w 74"/>
                <a:gd name="T11" fmla="*/ 69 h 72"/>
                <a:gd name="T12" fmla="*/ 59 w 74"/>
                <a:gd name="T13" fmla="*/ 64 h 72"/>
                <a:gd name="T14" fmla="*/ 69 w 74"/>
                <a:gd name="T15" fmla="*/ 52 h 72"/>
                <a:gd name="T16" fmla="*/ 71 w 74"/>
                <a:gd name="T17" fmla="*/ 41 h 72"/>
                <a:gd name="T18" fmla="*/ 71 w 74"/>
                <a:gd name="T19" fmla="*/ 26 h 72"/>
                <a:gd name="T20" fmla="*/ 69 w 74"/>
                <a:gd name="T21" fmla="*/ 18 h 72"/>
                <a:gd name="T22" fmla="*/ 59 w 74"/>
                <a:gd name="T23" fmla="*/ 8 h 72"/>
                <a:gd name="T24" fmla="*/ 48 w 74"/>
                <a:gd name="T25" fmla="*/ 3 h 72"/>
                <a:gd name="T26" fmla="*/ 38 w 74"/>
                <a:gd name="T27" fmla="*/ 0 h 72"/>
                <a:gd name="T28" fmla="*/ 28 w 74"/>
                <a:gd name="T29" fmla="*/ 0 h 72"/>
                <a:gd name="T30" fmla="*/ 15 w 74"/>
                <a:gd name="T31" fmla="*/ 5 h 72"/>
                <a:gd name="T32" fmla="*/ 7 w 74"/>
                <a:gd name="T33" fmla="*/ 16 h 72"/>
                <a:gd name="T34" fmla="*/ 2 w 74"/>
                <a:gd name="T35" fmla="*/ 26 h 72"/>
                <a:gd name="T36" fmla="*/ 0 w 74"/>
                <a:gd name="T37" fmla="*/ 36 h 72"/>
                <a:gd name="T38" fmla="*/ 20 w 74"/>
                <a:gd name="T39" fmla="*/ 28 h 72"/>
                <a:gd name="T40" fmla="*/ 25 w 74"/>
                <a:gd name="T41" fmla="*/ 21 h 72"/>
                <a:gd name="T42" fmla="*/ 30 w 74"/>
                <a:gd name="T43" fmla="*/ 18 h 72"/>
                <a:gd name="T44" fmla="*/ 36 w 74"/>
                <a:gd name="T45" fmla="*/ 18 h 72"/>
                <a:gd name="T46" fmla="*/ 43 w 74"/>
                <a:gd name="T47" fmla="*/ 18 h 72"/>
                <a:gd name="T48" fmla="*/ 51 w 74"/>
                <a:gd name="T49" fmla="*/ 23 h 72"/>
                <a:gd name="T50" fmla="*/ 53 w 74"/>
                <a:gd name="T51" fmla="*/ 28 h 72"/>
                <a:gd name="T52" fmla="*/ 56 w 74"/>
                <a:gd name="T53" fmla="*/ 36 h 72"/>
                <a:gd name="T54" fmla="*/ 53 w 74"/>
                <a:gd name="T55" fmla="*/ 44 h 72"/>
                <a:gd name="T56" fmla="*/ 51 w 74"/>
                <a:gd name="T57" fmla="*/ 49 h 72"/>
                <a:gd name="T58" fmla="*/ 43 w 74"/>
                <a:gd name="T59" fmla="*/ 54 h 72"/>
                <a:gd name="T60" fmla="*/ 36 w 74"/>
                <a:gd name="T61" fmla="*/ 54 h 72"/>
                <a:gd name="T62" fmla="*/ 28 w 74"/>
                <a:gd name="T63" fmla="*/ 52 h 72"/>
                <a:gd name="T64" fmla="*/ 23 w 74"/>
                <a:gd name="T65" fmla="*/ 49 h 72"/>
                <a:gd name="T66" fmla="*/ 18 w 74"/>
                <a:gd name="T67" fmla="*/ 39 h 72"/>
                <a:gd name="T68" fmla="*/ 18 w 74"/>
                <a:gd name="T69" fmla="*/ 3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" h="72">
                  <a:moveTo>
                    <a:pt x="0" y="36"/>
                  </a:moveTo>
                  <a:lnTo>
                    <a:pt x="2" y="44"/>
                  </a:lnTo>
                  <a:lnTo>
                    <a:pt x="2" y="49"/>
                  </a:lnTo>
                  <a:lnTo>
                    <a:pt x="7" y="57"/>
                  </a:lnTo>
                  <a:lnTo>
                    <a:pt x="10" y="62"/>
                  </a:lnTo>
                  <a:lnTo>
                    <a:pt x="18" y="64"/>
                  </a:lnTo>
                  <a:lnTo>
                    <a:pt x="20" y="67"/>
                  </a:lnTo>
                  <a:lnTo>
                    <a:pt x="28" y="69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43" y="72"/>
                  </a:lnTo>
                  <a:lnTo>
                    <a:pt x="48" y="69"/>
                  </a:lnTo>
                  <a:lnTo>
                    <a:pt x="53" y="67"/>
                  </a:lnTo>
                  <a:lnTo>
                    <a:pt x="59" y="64"/>
                  </a:lnTo>
                  <a:lnTo>
                    <a:pt x="64" y="59"/>
                  </a:lnTo>
                  <a:lnTo>
                    <a:pt x="69" y="52"/>
                  </a:lnTo>
                  <a:lnTo>
                    <a:pt x="71" y="46"/>
                  </a:lnTo>
                  <a:lnTo>
                    <a:pt x="71" y="41"/>
                  </a:lnTo>
                  <a:lnTo>
                    <a:pt x="74" y="36"/>
                  </a:lnTo>
                  <a:lnTo>
                    <a:pt x="71" y="26"/>
                  </a:lnTo>
                  <a:lnTo>
                    <a:pt x="71" y="21"/>
                  </a:lnTo>
                  <a:lnTo>
                    <a:pt x="69" y="18"/>
                  </a:lnTo>
                  <a:lnTo>
                    <a:pt x="64" y="13"/>
                  </a:lnTo>
                  <a:lnTo>
                    <a:pt x="59" y="8"/>
                  </a:lnTo>
                  <a:lnTo>
                    <a:pt x="56" y="5"/>
                  </a:lnTo>
                  <a:lnTo>
                    <a:pt x="48" y="3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0" y="3"/>
                  </a:lnTo>
                  <a:lnTo>
                    <a:pt x="15" y="5"/>
                  </a:lnTo>
                  <a:lnTo>
                    <a:pt x="12" y="11"/>
                  </a:lnTo>
                  <a:lnTo>
                    <a:pt x="7" y="16"/>
                  </a:lnTo>
                  <a:lnTo>
                    <a:pt x="5" y="21"/>
                  </a:lnTo>
                  <a:lnTo>
                    <a:pt x="2" y="26"/>
                  </a:lnTo>
                  <a:lnTo>
                    <a:pt x="0" y="31"/>
                  </a:lnTo>
                  <a:lnTo>
                    <a:pt x="0" y="36"/>
                  </a:lnTo>
                  <a:close/>
                  <a:moveTo>
                    <a:pt x="18" y="31"/>
                  </a:moveTo>
                  <a:lnTo>
                    <a:pt x="20" y="28"/>
                  </a:lnTo>
                  <a:lnTo>
                    <a:pt x="23" y="23"/>
                  </a:lnTo>
                  <a:lnTo>
                    <a:pt x="25" y="21"/>
                  </a:lnTo>
                  <a:lnTo>
                    <a:pt x="28" y="18"/>
                  </a:lnTo>
                  <a:lnTo>
                    <a:pt x="3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1" y="18"/>
                  </a:lnTo>
                  <a:lnTo>
                    <a:pt x="43" y="18"/>
                  </a:lnTo>
                  <a:lnTo>
                    <a:pt x="48" y="21"/>
                  </a:lnTo>
                  <a:lnTo>
                    <a:pt x="51" y="23"/>
                  </a:lnTo>
                  <a:lnTo>
                    <a:pt x="53" y="26"/>
                  </a:lnTo>
                  <a:lnTo>
                    <a:pt x="53" y="28"/>
                  </a:lnTo>
                  <a:lnTo>
                    <a:pt x="56" y="31"/>
                  </a:lnTo>
                  <a:lnTo>
                    <a:pt x="56" y="36"/>
                  </a:lnTo>
                  <a:lnTo>
                    <a:pt x="56" y="39"/>
                  </a:lnTo>
                  <a:lnTo>
                    <a:pt x="53" y="44"/>
                  </a:lnTo>
                  <a:lnTo>
                    <a:pt x="53" y="46"/>
                  </a:lnTo>
                  <a:lnTo>
                    <a:pt x="51" y="49"/>
                  </a:lnTo>
                  <a:lnTo>
                    <a:pt x="48" y="52"/>
                  </a:lnTo>
                  <a:lnTo>
                    <a:pt x="43" y="54"/>
                  </a:lnTo>
                  <a:lnTo>
                    <a:pt x="41" y="54"/>
                  </a:lnTo>
                  <a:lnTo>
                    <a:pt x="36" y="54"/>
                  </a:lnTo>
                  <a:lnTo>
                    <a:pt x="33" y="54"/>
                  </a:lnTo>
                  <a:lnTo>
                    <a:pt x="28" y="52"/>
                  </a:lnTo>
                  <a:lnTo>
                    <a:pt x="25" y="52"/>
                  </a:lnTo>
                  <a:lnTo>
                    <a:pt x="23" y="49"/>
                  </a:lnTo>
                  <a:lnTo>
                    <a:pt x="20" y="44"/>
                  </a:lnTo>
                  <a:lnTo>
                    <a:pt x="18" y="39"/>
                  </a:lnTo>
                  <a:lnTo>
                    <a:pt x="18" y="36"/>
                  </a:lnTo>
                  <a:lnTo>
                    <a:pt x="18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3" name="Group 85">
            <a:extLst>
              <a:ext uri="{FF2B5EF4-FFF2-40B4-BE49-F238E27FC236}">
                <a16:creationId xmlns:a16="http://schemas.microsoft.com/office/drawing/2014/main" id="{BD6D532F-5FBE-42CE-80B8-654B6CEE18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0981" y="2835275"/>
            <a:ext cx="758825" cy="758825"/>
            <a:chOff x="4964" y="1786"/>
            <a:chExt cx="478" cy="478"/>
          </a:xfrm>
        </p:grpSpPr>
        <p:sp>
          <p:nvSpPr>
            <p:cNvPr id="104" name="AutoShape 84">
              <a:extLst>
                <a:ext uri="{FF2B5EF4-FFF2-40B4-BE49-F238E27FC236}">
                  <a16:creationId xmlns:a16="http://schemas.microsoft.com/office/drawing/2014/main" id="{126F8D56-6465-4EBE-8DCB-301E21A1D0F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64" y="17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6">
              <a:extLst>
                <a:ext uri="{FF2B5EF4-FFF2-40B4-BE49-F238E27FC236}">
                  <a16:creationId xmlns:a16="http://schemas.microsoft.com/office/drawing/2014/main" id="{0E06D2B0-E5B4-40AE-B9C4-AA116B00BF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6" y="17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87">
              <a:extLst>
                <a:ext uri="{FF2B5EF4-FFF2-40B4-BE49-F238E27FC236}">
                  <a16:creationId xmlns:a16="http://schemas.microsoft.com/office/drawing/2014/main" id="{E79FE089-DB23-43DF-A8B3-4134E45B7A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7" y="1936"/>
              <a:ext cx="235" cy="247"/>
            </a:xfrm>
            <a:custGeom>
              <a:avLst/>
              <a:gdLst>
                <a:gd name="T0" fmla="*/ 220 w 235"/>
                <a:gd name="T1" fmla="*/ 196 h 247"/>
                <a:gd name="T2" fmla="*/ 223 w 235"/>
                <a:gd name="T3" fmla="*/ 100 h 247"/>
                <a:gd name="T4" fmla="*/ 203 w 235"/>
                <a:gd name="T5" fmla="*/ 88 h 247"/>
                <a:gd name="T6" fmla="*/ 164 w 235"/>
                <a:gd name="T7" fmla="*/ 39 h 247"/>
                <a:gd name="T8" fmla="*/ 154 w 235"/>
                <a:gd name="T9" fmla="*/ 12 h 247"/>
                <a:gd name="T10" fmla="*/ 129 w 235"/>
                <a:gd name="T11" fmla="*/ 0 h 247"/>
                <a:gd name="T12" fmla="*/ 58 w 235"/>
                <a:gd name="T13" fmla="*/ 4 h 247"/>
                <a:gd name="T14" fmla="*/ 12 w 235"/>
                <a:gd name="T15" fmla="*/ 56 h 247"/>
                <a:gd name="T16" fmla="*/ 24 w 235"/>
                <a:gd name="T17" fmla="*/ 78 h 247"/>
                <a:gd name="T18" fmla="*/ 41 w 235"/>
                <a:gd name="T19" fmla="*/ 73 h 247"/>
                <a:gd name="T20" fmla="*/ 83 w 235"/>
                <a:gd name="T21" fmla="*/ 88 h 247"/>
                <a:gd name="T22" fmla="*/ 39 w 235"/>
                <a:gd name="T23" fmla="*/ 98 h 247"/>
                <a:gd name="T24" fmla="*/ 12 w 235"/>
                <a:gd name="T25" fmla="*/ 125 h 247"/>
                <a:gd name="T26" fmla="*/ 0 w 235"/>
                <a:gd name="T27" fmla="*/ 178 h 247"/>
                <a:gd name="T28" fmla="*/ 19 w 235"/>
                <a:gd name="T29" fmla="*/ 218 h 247"/>
                <a:gd name="T30" fmla="*/ 44 w 235"/>
                <a:gd name="T31" fmla="*/ 237 h 247"/>
                <a:gd name="T32" fmla="*/ 93 w 235"/>
                <a:gd name="T33" fmla="*/ 247 h 247"/>
                <a:gd name="T34" fmla="*/ 137 w 235"/>
                <a:gd name="T35" fmla="*/ 228 h 247"/>
                <a:gd name="T36" fmla="*/ 156 w 235"/>
                <a:gd name="T37" fmla="*/ 196 h 247"/>
                <a:gd name="T38" fmla="*/ 161 w 235"/>
                <a:gd name="T39" fmla="*/ 152 h 247"/>
                <a:gd name="T40" fmla="*/ 183 w 235"/>
                <a:gd name="T41" fmla="*/ 205 h 247"/>
                <a:gd name="T42" fmla="*/ 235 w 235"/>
                <a:gd name="T43" fmla="*/ 201 h 247"/>
                <a:gd name="T44" fmla="*/ 142 w 235"/>
                <a:gd name="T45" fmla="*/ 193 h 247"/>
                <a:gd name="T46" fmla="*/ 117 w 235"/>
                <a:gd name="T47" fmla="*/ 220 h 247"/>
                <a:gd name="T48" fmla="*/ 80 w 235"/>
                <a:gd name="T49" fmla="*/ 232 h 247"/>
                <a:gd name="T50" fmla="*/ 41 w 235"/>
                <a:gd name="T51" fmla="*/ 218 h 247"/>
                <a:gd name="T52" fmla="*/ 22 w 235"/>
                <a:gd name="T53" fmla="*/ 193 h 247"/>
                <a:gd name="T54" fmla="*/ 17 w 235"/>
                <a:gd name="T55" fmla="*/ 161 h 247"/>
                <a:gd name="T56" fmla="*/ 27 w 235"/>
                <a:gd name="T57" fmla="*/ 134 h 247"/>
                <a:gd name="T58" fmla="*/ 51 w 235"/>
                <a:gd name="T59" fmla="*/ 110 h 247"/>
                <a:gd name="T60" fmla="*/ 80 w 235"/>
                <a:gd name="T61" fmla="*/ 102 h 247"/>
                <a:gd name="T62" fmla="*/ 95 w 235"/>
                <a:gd name="T63" fmla="*/ 127 h 247"/>
                <a:gd name="T64" fmla="*/ 125 w 235"/>
                <a:gd name="T65" fmla="*/ 142 h 247"/>
                <a:gd name="T66" fmla="*/ 147 w 235"/>
                <a:gd name="T67" fmla="*/ 164 h 247"/>
                <a:gd name="T68" fmla="*/ 117 w 235"/>
                <a:gd name="T69" fmla="*/ 115 h 247"/>
                <a:gd name="T70" fmla="*/ 120 w 235"/>
                <a:gd name="T71" fmla="*/ 129 h 247"/>
                <a:gd name="T72" fmla="*/ 100 w 235"/>
                <a:gd name="T73" fmla="*/ 117 h 247"/>
                <a:gd name="T74" fmla="*/ 210 w 235"/>
                <a:gd name="T75" fmla="*/ 196 h 247"/>
                <a:gd name="T76" fmla="*/ 186 w 235"/>
                <a:gd name="T77" fmla="*/ 125 h 247"/>
                <a:gd name="T78" fmla="*/ 132 w 235"/>
                <a:gd name="T79" fmla="*/ 105 h 247"/>
                <a:gd name="T80" fmla="*/ 107 w 235"/>
                <a:gd name="T81" fmla="*/ 39 h 247"/>
                <a:gd name="T82" fmla="*/ 122 w 235"/>
                <a:gd name="T83" fmla="*/ 29 h 247"/>
                <a:gd name="T84" fmla="*/ 71 w 235"/>
                <a:gd name="T85" fmla="*/ 29 h 247"/>
                <a:gd name="T86" fmla="*/ 22 w 235"/>
                <a:gd name="T87" fmla="*/ 61 h 247"/>
                <a:gd name="T88" fmla="*/ 61 w 235"/>
                <a:gd name="T89" fmla="*/ 17 h 247"/>
                <a:gd name="T90" fmla="*/ 122 w 235"/>
                <a:gd name="T91" fmla="*/ 12 h 247"/>
                <a:gd name="T92" fmla="*/ 147 w 235"/>
                <a:gd name="T93" fmla="*/ 19 h 247"/>
                <a:gd name="T94" fmla="*/ 152 w 235"/>
                <a:gd name="T95" fmla="*/ 44 h 247"/>
                <a:gd name="T96" fmla="*/ 144 w 235"/>
                <a:gd name="T97" fmla="*/ 95 h 247"/>
                <a:gd name="T98" fmla="*/ 208 w 235"/>
                <a:gd name="T99" fmla="*/ 100 h 247"/>
                <a:gd name="T100" fmla="*/ 218 w 235"/>
                <a:gd name="T101" fmla="*/ 12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5" h="247">
                  <a:moveTo>
                    <a:pt x="232" y="198"/>
                  </a:moveTo>
                  <a:lnTo>
                    <a:pt x="230" y="196"/>
                  </a:lnTo>
                  <a:lnTo>
                    <a:pt x="230" y="196"/>
                  </a:lnTo>
                  <a:lnTo>
                    <a:pt x="230" y="196"/>
                  </a:lnTo>
                  <a:lnTo>
                    <a:pt x="220" y="196"/>
                  </a:lnTo>
                  <a:lnTo>
                    <a:pt x="228" y="122"/>
                  </a:lnTo>
                  <a:lnTo>
                    <a:pt x="228" y="115"/>
                  </a:lnTo>
                  <a:lnTo>
                    <a:pt x="228" y="110"/>
                  </a:lnTo>
                  <a:lnTo>
                    <a:pt x="225" y="102"/>
                  </a:lnTo>
                  <a:lnTo>
                    <a:pt x="223" y="100"/>
                  </a:lnTo>
                  <a:lnTo>
                    <a:pt x="220" y="95"/>
                  </a:lnTo>
                  <a:lnTo>
                    <a:pt x="218" y="93"/>
                  </a:lnTo>
                  <a:lnTo>
                    <a:pt x="213" y="90"/>
                  </a:lnTo>
                  <a:lnTo>
                    <a:pt x="208" y="88"/>
                  </a:lnTo>
                  <a:lnTo>
                    <a:pt x="203" y="88"/>
                  </a:lnTo>
                  <a:lnTo>
                    <a:pt x="196" y="85"/>
                  </a:lnTo>
                  <a:lnTo>
                    <a:pt x="188" y="85"/>
                  </a:lnTo>
                  <a:lnTo>
                    <a:pt x="152" y="85"/>
                  </a:lnTo>
                  <a:lnTo>
                    <a:pt x="164" y="44"/>
                  </a:lnTo>
                  <a:lnTo>
                    <a:pt x="164" y="39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1" y="24"/>
                  </a:lnTo>
                  <a:lnTo>
                    <a:pt x="159" y="19"/>
                  </a:lnTo>
                  <a:lnTo>
                    <a:pt x="154" y="12"/>
                  </a:lnTo>
                  <a:lnTo>
                    <a:pt x="149" y="7"/>
                  </a:lnTo>
                  <a:lnTo>
                    <a:pt x="144" y="4"/>
                  </a:lnTo>
                  <a:lnTo>
                    <a:pt x="142" y="4"/>
                  </a:lnTo>
                  <a:lnTo>
                    <a:pt x="137" y="2"/>
                  </a:lnTo>
                  <a:lnTo>
                    <a:pt x="129" y="0"/>
                  </a:lnTo>
                  <a:lnTo>
                    <a:pt x="122" y="0"/>
                  </a:lnTo>
                  <a:lnTo>
                    <a:pt x="71" y="0"/>
                  </a:lnTo>
                  <a:lnTo>
                    <a:pt x="66" y="2"/>
                  </a:lnTo>
                  <a:lnTo>
                    <a:pt x="61" y="2"/>
                  </a:lnTo>
                  <a:lnTo>
                    <a:pt x="58" y="4"/>
                  </a:lnTo>
                  <a:lnTo>
                    <a:pt x="51" y="9"/>
                  </a:lnTo>
                  <a:lnTo>
                    <a:pt x="49" y="14"/>
                  </a:lnTo>
                  <a:lnTo>
                    <a:pt x="14" y="49"/>
                  </a:lnTo>
                  <a:lnTo>
                    <a:pt x="12" y="53"/>
                  </a:lnTo>
                  <a:lnTo>
                    <a:pt x="12" y="56"/>
                  </a:lnTo>
                  <a:lnTo>
                    <a:pt x="12" y="61"/>
                  </a:lnTo>
                  <a:lnTo>
                    <a:pt x="12" y="66"/>
                  </a:lnTo>
                  <a:lnTo>
                    <a:pt x="14" y="71"/>
                  </a:lnTo>
                  <a:lnTo>
                    <a:pt x="19" y="76"/>
                  </a:lnTo>
                  <a:lnTo>
                    <a:pt x="24" y="78"/>
                  </a:lnTo>
                  <a:lnTo>
                    <a:pt x="29" y="78"/>
                  </a:lnTo>
                  <a:lnTo>
                    <a:pt x="31" y="78"/>
                  </a:lnTo>
                  <a:lnTo>
                    <a:pt x="36" y="76"/>
                  </a:lnTo>
                  <a:lnTo>
                    <a:pt x="39" y="76"/>
                  </a:lnTo>
                  <a:lnTo>
                    <a:pt x="41" y="73"/>
                  </a:lnTo>
                  <a:lnTo>
                    <a:pt x="44" y="71"/>
                  </a:lnTo>
                  <a:lnTo>
                    <a:pt x="78" y="39"/>
                  </a:lnTo>
                  <a:lnTo>
                    <a:pt x="98" y="39"/>
                  </a:lnTo>
                  <a:lnTo>
                    <a:pt x="90" y="88"/>
                  </a:lnTo>
                  <a:lnTo>
                    <a:pt x="83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56" y="90"/>
                  </a:lnTo>
                  <a:lnTo>
                    <a:pt x="49" y="95"/>
                  </a:lnTo>
                  <a:lnTo>
                    <a:pt x="39" y="98"/>
                  </a:lnTo>
                  <a:lnTo>
                    <a:pt x="31" y="102"/>
                  </a:lnTo>
                  <a:lnTo>
                    <a:pt x="27" y="107"/>
                  </a:lnTo>
                  <a:lnTo>
                    <a:pt x="24" y="110"/>
                  </a:lnTo>
                  <a:lnTo>
                    <a:pt x="19" y="117"/>
                  </a:lnTo>
                  <a:lnTo>
                    <a:pt x="12" y="125"/>
                  </a:lnTo>
                  <a:lnTo>
                    <a:pt x="7" y="137"/>
                  </a:lnTo>
                  <a:lnTo>
                    <a:pt x="2" y="144"/>
                  </a:lnTo>
                  <a:lnTo>
                    <a:pt x="0" y="156"/>
                  </a:lnTo>
                  <a:lnTo>
                    <a:pt x="0" y="169"/>
                  </a:lnTo>
                  <a:lnTo>
                    <a:pt x="0" y="178"/>
                  </a:lnTo>
                  <a:lnTo>
                    <a:pt x="4" y="191"/>
                  </a:lnTo>
                  <a:lnTo>
                    <a:pt x="7" y="203"/>
                  </a:lnTo>
                  <a:lnTo>
                    <a:pt x="12" y="208"/>
                  </a:lnTo>
                  <a:lnTo>
                    <a:pt x="17" y="215"/>
                  </a:lnTo>
                  <a:lnTo>
                    <a:pt x="19" y="218"/>
                  </a:lnTo>
                  <a:lnTo>
                    <a:pt x="24" y="223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9" y="235"/>
                  </a:lnTo>
                  <a:lnTo>
                    <a:pt x="44" y="237"/>
                  </a:lnTo>
                  <a:lnTo>
                    <a:pt x="53" y="242"/>
                  </a:lnTo>
                  <a:lnTo>
                    <a:pt x="66" y="247"/>
                  </a:lnTo>
                  <a:lnTo>
                    <a:pt x="76" y="247"/>
                  </a:lnTo>
                  <a:lnTo>
                    <a:pt x="83" y="247"/>
                  </a:lnTo>
                  <a:lnTo>
                    <a:pt x="93" y="247"/>
                  </a:lnTo>
                  <a:lnTo>
                    <a:pt x="107" y="242"/>
                  </a:lnTo>
                  <a:lnTo>
                    <a:pt x="115" y="240"/>
                  </a:lnTo>
                  <a:lnTo>
                    <a:pt x="125" y="235"/>
                  </a:lnTo>
                  <a:lnTo>
                    <a:pt x="129" y="232"/>
                  </a:lnTo>
                  <a:lnTo>
                    <a:pt x="137" y="228"/>
                  </a:lnTo>
                  <a:lnTo>
                    <a:pt x="142" y="220"/>
                  </a:lnTo>
                  <a:lnTo>
                    <a:pt x="144" y="218"/>
                  </a:lnTo>
                  <a:lnTo>
                    <a:pt x="149" y="213"/>
                  </a:lnTo>
                  <a:lnTo>
                    <a:pt x="154" y="205"/>
                  </a:lnTo>
                  <a:lnTo>
                    <a:pt x="156" y="196"/>
                  </a:lnTo>
                  <a:lnTo>
                    <a:pt x="161" y="186"/>
                  </a:lnTo>
                  <a:lnTo>
                    <a:pt x="164" y="171"/>
                  </a:lnTo>
                  <a:lnTo>
                    <a:pt x="164" y="166"/>
                  </a:lnTo>
                  <a:lnTo>
                    <a:pt x="161" y="161"/>
                  </a:lnTo>
                  <a:lnTo>
                    <a:pt x="161" y="152"/>
                  </a:lnTo>
                  <a:lnTo>
                    <a:pt x="159" y="144"/>
                  </a:lnTo>
                  <a:lnTo>
                    <a:pt x="159" y="139"/>
                  </a:lnTo>
                  <a:lnTo>
                    <a:pt x="181" y="137"/>
                  </a:lnTo>
                  <a:lnTo>
                    <a:pt x="181" y="205"/>
                  </a:lnTo>
                  <a:lnTo>
                    <a:pt x="183" y="205"/>
                  </a:lnTo>
                  <a:lnTo>
                    <a:pt x="186" y="208"/>
                  </a:lnTo>
                  <a:lnTo>
                    <a:pt x="232" y="208"/>
                  </a:lnTo>
                  <a:lnTo>
                    <a:pt x="235" y="205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2" y="198"/>
                  </a:lnTo>
                  <a:close/>
                  <a:moveTo>
                    <a:pt x="147" y="174"/>
                  </a:moveTo>
                  <a:lnTo>
                    <a:pt x="144" y="183"/>
                  </a:lnTo>
                  <a:lnTo>
                    <a:pt x="144" y="186"/>
                  </a:lnTo>
                  <a:lnTo>
                    <a:pt x="142" y="193"/>
                  </a:lnTo>
                  <a:lnTo>
                    <a:pt x="137" y="201"/>
                  </a:lnTo>
                  <a:lnTo>
                    <a:pt x="132" y="208"/>
                  </a:lnTo>
                  <a:lnTo>
                    <a:pt x="127" y="213"/>
                  </a:lnTo>
                  <a:lnTo>
                    <a:pt x="120" y="218"/>
                  </a:lnTo>
                  <a:lnTo>
                    <a:pt x="117" y="220"/>
                  </a:lnTo>
                  <a:lnTo>
                    <a:pt x="112" y="223"/>
                  </a:lnTo>
                  <a:lnTo>
                    <a:pt x="103" y="228"/>
                  </a:lnTo>
                  <a:lnTo>
                    <a:pt x="95" y="230"/>
                  </a:lnTo>
                  <a:lnTo>
                    <a:pt x="88" y="230"/>
                  </a:lnTo>
                  <a:lnTo>
                    <a:pt x="80" y="232"/>
                  </a:lnTo>
                  <a:lnTo>
                    <a:pt x="76" y="230"/>
                  </a:lnTo>
                  <a:lnTo>
                    <a:pt x="68" y="230"/>
                  </a:lnTo>
                  <a:lnTo>
                    <a:pt x="58" y="228"/>
                  </a:lnTo>
                  <a:lnTo>
                    <a:pt x="51" y="223"/>
                  </a:lnTo>
                  <a:lnTo>
                    <a:pt x="41" y="218"/>
                  </a:lnTo>
                  <a:lnTo>
                    <a:pt x="39" y="215"/>
                  </a:lnTo>
                  <a:lnTo>
                    <a:pt x="34" y="210"/>
                  </a:lnTo>
                  <a:lnTo>
                    <a:pt x="29" y="205"/>
                  </a:lnTo>
                  <a:lnTo>
                    <a:pt x="27" y="201"/>
                  </a:lnTo>
                  <a:lnTo>
                    <a:pt x="22" y="193"/>
                  </a:lnTo>
                  <a:lnTo>
                    <a:pt x="19" y="186"/>
                  </a:lnTo>
                  <a:lnTo>
                    <a:pt x="17" y="181"/>
                  </a:lnTo>
                  <a:lnTo>
                    <a:pt x="17" y="174"/>
                  </a:lnTo>
                  <a:lnTo>
                    <a:pt x="17" y="166"/>
                  </a:lnTo>
                  <a:lnTo>
                    <a:pt x="17" y="161"/>
                  </a:lnTo>
                  <a:lnTo>
                    <a:pt x="17" y="154"/>
                  </a:lnTo>
                  <a:lnTo>
                    <a:pt x="19" y="149"/>
                  </a:lnTo>
                  <a:lnTo>
                    <a:pt x="19" y="144"/>
                  </a:lnTo>
                  <a:lnTo>
                    <a:pt x="24" y="137"/>
                  </a:lnTo>
                  <a:lnTo>
                    <a:pt x="27" y="134"/>
                  </a:lnTo>
                  <a:lnTo>
                    <a:pt x="29" y="129"/>
                  </a:lnTo>
                  <a:lnTo>
                    <a:pt x="34" y="125"/>
                  </a:lnTo>
                  <a:lnTo>
                    <a:pt x="39" y="117"/>
                  </a:lnTo>
                  <a:lnTo>
                    <a:pt x="41" y="115"/>
                  </a:lnTo>
                  <a:lnTo>
                    <a:pt x="51" y="110"/>
                  </a:lnTo>
                  <a:lnTo>
                    <a:pt x="56" y="107"/>
                  </a:lnTo>
                  <a:lnTo>
                    <a:pt x="61" y="105"/>
                  </a:lnTo>
                  <a:lnTo>
                    <a:pt x="68" y="105"/>
                  </a:lnTo>
                  <a:lnTo>
                    <a:pt x="76" y="102"/>
                  </a:lnTo>
                  <a:lnTo>
                    <a:pt x="80" y="102"/>
                  </a:lnTo>
                  <a:lnTo>
                    <a:pt x="90" y="102"/>
                  </a:lnTo>
                  <a:lnTo>
                    <a:pt x="88" y="110"/>
                  </a:lnTo>
                  <a:lnTo>
                    <a:pt x="90" y="115"/>
                  </a:lnTo>
                  <a:lnTo>
                    <a:pt x="90" y="122"/>
                  </a:lnTo>
                  <a:lnTo>
                    <a:pt x="95" y="127"/>
                  </a:lnTo>
                  <a:lnTo>
                    <a:pt x="95" y="129"/>
                  </a:lnTo>
                  <a:lnTo>
                    <a:pt x="103" y="137"/>
                  </a:lnTo>
                  <a:lnTo>
                    <a:pt x="110" y="139"/>
                  </a:lnTo>
                  <a:lnTo>
                    <a:pt x="117" y="142"/>
                  </a:lnTo>
                  <a:lnTo>
                    <a:pt x="125" y="142"/>
                  </a:lnTo>
                  <a:lnTo>
                    <a:pt x="129" y="142"/>
                  </a:lnTo>
                  <a:lnTo>
                    <a:pt x="142" y="142"/>
                  </a:lnTo>
                  <a:lnTo>
                    <a:pt x="144" y="149"/>
                  </a:lnTo>
                  <a:lnTo>
                    <a:pt x="147" y="156"/>
                  </a:lnTo>
                  <a:lnTo>
                    <a:pt x="147" y="164"/>
                  </a:lnTo>
                  <a:lnTo>
                    <a:pt x="147" y="166"/>
                  </a:lnTo>
                  <a:lnTo>
                    <a:pt x="147" y="174"/>
                  </a:lnTo>
                  <a:close/>
                  <a:moveTo>
                    <a:pt x="100" y="105"/>
                  </a:moveTo>
                  <a:lnTo>
                    <a:pt x="112" y="110"/>
                  </a:lnTo>
                  <a:lnTo>
                    <a:pt x="117" y="115"/>
                  </a:lnTo>
                  <a:lnTo>
                    <a:pt x="122" y="117"/>
                  </a:lnTo>
                  <a:lnTo>
                    <a:pt x="129" y="125"/>
                  </a:lnTo>
                  <a:lnTo>
                    <a:pt x="134" y="132"/>
                  </a:lnTo>
                  <a:lnTo>
                    <a:pt x="129" y="132"/>
                  </a:lnTo>
                  <a:lnTo>
                    <a:pt x="120" y="129"/>
                  </a:lnTo>
                  <a:lnTo>
                    <a:pt x="115" y="129"/>
                  </a:lnTo>
                  <a:lnTo>
                    <a:pt x="110" y="127"/>
                  </a:lnTo>
                  <a:lnTo>
                    <a:pt x="105" y="125"/>
                  </a:lnTo>
                  <a:lnTo>
                    <a:pt x="103" y="120"/>
                  </a:lnTo>
                  <a:lnTo>
                    <a:pt x="100" y="117"/>
                  </a:lnTo>
                  <a:lnTo>
                    <a:pt x="100" y="112"/>
                  </a:lnTo>
                  <a:lnTo>
                    <a:pt x="100" y="110"/>
                  </a:lnTo>
                  <a:lnTo>
                    <a:pt x="100" y="105"/>
                  </a:lnTo>
                  <a:close/>
                  <a:moveTo>
                    <a:pt x="218" y="127"/>
                  </a:moveTo>
                  <a:lnTo>
                    <a:pt x="210" y="196"/>
                  </a:lnTo>
                  <a:lnTo>
                    <a:pt x="193" y="196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54" y="129"/>
                  </a:lnTo>
                  <a:lnTo>
                    <a:pt x="147" y="120"/>
                  </a:lnTo>
                  <a:lnTo>
                    <a:pt x="144" y="115"/>
                  </a:lnTo>
                  <a:lnTo>
                    <a:pt x="137" y="110"/>
                  </a:lnTo>
                  <a:lnTo>
                    <a:pt x="132" y="105"/>
                  </a:lnTo>
                  <a:lnTo>
                    <a:pt x="129" y="102"/>
                  </a:lnTo>
                  <a:lnTo>
                    <a:pt x="122" y="98"/>
                  </a:lnTo>
                  <a:lnTo>
                    <a:pt x="112" y="93"/>
                  </a:lnTo>
                  <a:lnTo>
                    <a:pt x="103" y="90"/>
                  </a:lnTo>
                  <a:lnTo>
                    <a:pt x="107" y="39"/>
                  </a:lnTo>
                  <a:lnTo>
                    <a:pt x="122" y="39"/>
                  </a:lnTo>
                  <a:lnTo>
                    <a:pt x="122" y="36"/>
                  </a:lnTo>
                  <a:lnTo>
                    <a:pt x="125" y="34"/>
                  </a:lnTo>
                  <a:lnTo>
                    <a:pt x="125" y="31"/>
                  </a:lnTo>
                  <a:lnTo>
                    <a:pt x="122" y="29"/>
                  </a:lnTo>
                  <a:lnTo>
                    <a:pt x="120" y="26"/>
                  </a:lnTo>
                  <a:lnTo>
                    <a:pt x="117" y="29"/>
                  </a:lnTo>
                  <a:lnTo>
                    <a:pt x="76" y="26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34" y="66"/>
                  </a:lnTo>
                  <a:lnTo>
                    <a:pt x="29" y="66"/>
                  </a:lnTo>
                  <a:lnTo>
                    <a:pt x="27" y="66"/>
                  </a:lnTo>
                  <a:lnTo>
                    <a:pt x="24" y="66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58"/>
                  </a:lnTo>
                  <a:lnTo>
                    <a:pt x="24" y="56"/>
                  </a:lnTo>
                  <a:lnTo>
                    <a:pt x="24" y="53"/>
                  </a:lnTo>
                  <a:lnTo>
                    <a:pt x="61" y="17"/>
                  </a:lnTo>
                  <a:lnTo>
                    <a:pt x="63" y="14"/>
                  </a:lnTo>
                  <a:lnTo>
                    <a:pt x="68" y="12"/>
                  </a:lnTo>
                  <a:lnTo>
                    <a:pt x="71" y="12"/>
                  </a:lnTo>
                  <a:lnTo>
                    <a:pt x="76" y="12"/>
                  </a:lnTo>
                  <a:lnTo>
                    <a:pt x="122" y="12"/>
                  </a:lnTo>
                  <a:lnTo>
                    <a:pt x="129" y="12"/>
                  </a:lnTo>
                  <a:lnTo>
                    <a:pt x="134" y="12"/>
                  </a:lnTo>
                  <a:lnTo>
                    <a:pt x="139" y="14"/>
                  </a:lnTo>
                  <a:lnTo>
                    <a:pt x="142" y="17"/>
                  </a:lnTo>
                  <a:lnTo>
                    <a:pt x="147" y="19"/>
                  </a:lnTo>
                  <a:lnTo>
                    <a:pt x="149" y="24"/>
                  </a:lnTo>
                  <a:lnTo>
                    <a:pt x="152" y="29"/>
                  </a:lnTo>
                  <a:lnTo>
                    <a:pt x="152" y="34"/>
                  </a:lnTo>
                  <a:lnTo>
                    <a:pt x="152" y="39"/>
                  </a:lnTo>
                  <a:lnTo>
                    <a:pt x="152" y="44"/>
                  </a:lnTo>
                  <a:lnTo>
                    <a:pt x="152" y="49"/>
                  </a:lnTo>
                  <a:lnTo>
                    <a:pt x="139" y="90"/>
                  </a:lnTo>
                  <a:lnTo>
                    <a:pt x="139" y="93"/>
                  </a:lnTo>
                  <a:lnTo>
                    <a:pt x="142" y="95"/>
                  </a:lnTo>
                  <a:lnTo>
                    <a:pt x="144" y="95"/>
                  </a:lnTo>
                  <a:lnTo>
                    <a:pt x="147" y="98"/>
                  </a:lnTo>
                  <a:lnTo>
                    <a:pt x="191" y="98"/>
                  </a:lnTo>
                  <a:lnTo>
                    <a:pt x="198" y="98"/>
                  </a:lnTo>
                  <a:lnTo>
                    <a:pt x="205" y="100"/>
                  </a:lnTo>
                  <a:lnTo>
                    <a:pt x="208" y="100"/>
                  </a:lnTo>
                  <a:lnTo>
                    <a:pt x="213" y="105"/>
                  </a:lnTo>
                  <a:lnTo>
                    <a:pt x="215" y="107"/>
                  </a:lnTo>
                  <a:lnTo>
                    <a:pt x="215" y="112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8" y="1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8">
              <a:extLst>
                <a:ext uri="{FF2B5EF4-FFF2-40B4-BE49-F238E27FC236}">
                  <a16:creationId xmlns:a16="http://schemas.microsoft.com/office/drawing/2014/main" id="{BD8B8573-954B-45F8-9B18-164F2163A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2095"/>
              <a:ext cx="17" cy="15"/>
            </a:xfrm>
            <a:custGeom>
              <a:avLst/>
              <a:gdLst>
                <a:gd name="T0" fmla="*/ 15 w 17"/>
                <a:gd name="T1" fmla="*/ 2 h 15"/>
                <a:gd name="T2" fmla="*/ 10 w 17"/>
                <a:gd name="T3" fmla="*/ 0 h 15"/>
                <a:gd name="T4" fmla="*/ 7 w 17"/>
                <a:gd name="T5" fmla="*/ 0 h 15"/>
                <a:gd name="T6" fmla="*/ 7 w 17"/>
                <a:gd name="T7" fmla="*/ 0 h 15"/>
                <a:gd name="T8" fmla="*/ 5 w 17"/>
                <a:gd name="T9" fmla="*/ 2 h 15"/>
                <a:gd name="T10" fmla="*/ 3 w 17"/>
                <a:gd name="T11" fmla="*/ 2 h 15"/>
                <a:gd name="T12" fmla="*/ 0 w 17"/>
                <a:gd name="T13" fmla="*/ 5 h 15"/>
                <a:gd name="T14" fmla="*/ 0 w 17"/>
                <a:gd name="T15" fmla="*/ 7 h 15"/>
                <a:gd name="T16" fmla="*/ 0 w 17"/>
                <a:gd name="T17" fmla="*/ 12 h 15"/>
                <a:gd name="T18" fmla="*/ 3 w 17"/>
                <a:gd name="T19" fmla="*/ 15 h 15"/>
                <a:gd name="T20" fmla="*/ 5 w 17"/>
                <a:gd name="T21" fmla="*/ 15 h 15"/>
                <a:gd name="T22" fmla="*/ 7 w 17"/>
                <a:gd name="T23" fmla="*/ 15 h 15"/>
                <a:gd name="T24" fmla="*/ 12 w 17"/>
                <a:gd name="T25" fmla="*/ 15 h 15"/>
                <a:gd name="T26" fmla="*/ 15 w 17"/>
                <a:gd name="T27" fmla="*/ 12 h 15"/>
                <a:gd name="T28" fmla="*/ 15 w 17"/>
                <a:gd name="T29" fmla="*/ 10 h 15"/>
                <a:gd name="T30" fmla="*/ 17 w 17"/>
                <a:gd name="T31" fmla="*/ 10 h 15"/>
                <a:gd name="T32" fmla="*/ 15 w 17"/>
                <a:gd name="T33" fmla="*/ 5 h 15"/>
                <a:gd name="T34" fmla="*/ 15 w 17"/>
                <a:gd name="T3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5">
                  <a:moveTo>
                    <a:pt x="15" y="2"/>
                  </a:move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12" y="15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5"/>
                  </a:lnTo>
                  <a:lnTo>
                    <a:pt x="15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9">
              <a:extLst>
                <a:ext uri="{FF2B5EF4-FFF2-40B4-BE49-F238E27FC236}">
                  <a16:creationId xmlns:a16="http://schemas.microsoft.com/office/drawing/2014/main" id="{5DDA9993-66E3-4428-8ADF-1B6CB43F0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4" y="1869"/>
              <a:ext cx="71" cy="69"/>
            </a:xfrm>
            <a:custGeom>
              <a:avLst/>
              <a:gdLst>
                <a:gd name="T0" fmla="*/ 2 w 71"/>
                <a:gd name="T1" fmla="*/ 42 h 69"/>
                <a:gd name="T2" fmla="*/ 7 w 71"/>
                <a:gd name="T3" fmla="*/ 54 h 69"/>
                <a:gd name="T4" fmla="*/ 17 w 71"/>
                <a:gd name="T5" fmla="*/ 62 h 69"/>
                <a:gd name="T6" fmla="*/ 27 w 71"/>
                <a:gd name="T7" fmla="*/ 67 h 69"/>
                <a:gd name="T8" fmla="*/ 34 w 71"/>
                <a:gd name="T9" fmla="*/ 69 h 69"/>
                <a:gd name="T10" fmla="*/ 46 w 71"/>
                <a:gd name="T11" fmla="*/ 67 h 69"/>
                <a:gd name="T12" fmla="*/ 56 w 71"/>
                <a:gd name="T13" fmla="*/ 62 h 69"/>
                <a:gd name="T14" fmla="*/ 66 w 71"/>
                <a:gd name="T15" fmla="*/ 49 h 69"/>
                <a:gd name="T16" fmla="*/ 68 w 71"/>
                <a:gd name="T17" fmla="*/ 40 h 69"/>
                <a:gd name="T18" fmla="*/ 68 w 71"/>
                <a:gd name="T19" fmla="*/ 25 h 69"/>
                <a:gd name="T20" fmla="*/ 66 w 71"/>
                <a:gd name="T21" fmla="*/ 17 h 69"/>
                <a:gd name="T22" fmla="*/ 56 w 71"/>
                <a:gd name="T23" fmla="*/ 8 h 69"/>
                <a:gd name="T24" fmla="*/ 46 w 71"/>
                <a:gd name="T25" fmla="*/ 3 h 69"/>
                <a:gd name="T26" fmla="*/ 37 w 71"/>
                <a:gd name="T27" fmla="*/ 0 h 69"/>
                <a:gd name="T28" fmla="*/ 27 w 71"/>
                <a:gd name="T29" fmla="*/ 0 h 69"/>
                <a:gd name="T30" fmla="*/ 15 w 71"/>
                <a:gd name="T31" fmla="*/ 5 h 69"/>
                <a:gd name="T32" fmla="*/ 7 w 71"/>
                <a:gd name="T33" fmla="*/ 15 h 69"/>
                <a:gd name="T34" fmla="*/ 2 w 71"/>
                <a:gd name="T35" fmla="*/ 25 h 69"/>
                <a:gd name="T36" fmla="*/ 0 w 71"/>
                <a:gd name="T37" fmla="*/ 35 h 69"/>
                <a:gd name="T38" fmla="*/ 19 w 71"/>
                <a:gd name="T39" fmla="*/ 27 h 69"/>
                <a:gd name="T40" fmla="*/ 24 w 71"/>
                <a:gd name="T41" fmla="*/ 20 h 69"/>
                <a:gd name="T42" fmla="*/ 29 w 71"/>
                <a:gd name="T43" fmla="*/ 17 h 69"/>
                <a:gd name="T44" fmla="*/ 34 w 71"/>
                <a:gd name="T45" fmla="*/ 17 h 69"/>
                <a:gd name="T46" fmla="*/ 42 w 71"/>
                <a:gd name="T47" fmla="*/ 17 h 69"/>
                <a:gd name="T48" fmla="*/ 49 w 71"/>
                <a:gd name="T49" fmla="*/ 22 h 69"/>
                <a:gd name="T50" fmla="*/ 51 w 71"/>
                <a:gd name="T51" fmla="*/ 27 h 69"/>
                <a:gd name="T52" fmla="*/ 54 w 71"/>
                <a:gd name="T53" fmla="*/ 35 h 69"/>
                <a:gd name="T54" fmla="*/ 51 w 71"/>
                <a:gd name="T55" fmla="*/ 42 h 69"/>
                <a:gd name="T56" fmla="*/ 49 w 71"/>
                <a:gd name="T57" fmla="*/ 47 h 69"/>
                <a:gd name="T58" fmla="*/ 42 w 71"/>
                <a:gd name="T59" fmla="*/ 52 h 69"/>
                <a:gd name="T60" fmla="*/ 34 w 71"/>
                <a:gd name="T61" fmla="*/ 52 h 69"/>
                <a:gd name="T62" fmla="*/ 27 w 71"/>
                <a:gd name="T63" fmla="*/ 49 h 69"/>
                <a:gd name="T64" fmla="*/ 22 w 71"/>
                <a:gd name="T65" fmla="*/ 47 h 69"/>
                <a:gd name="T66" fmla="*/ 17 w 71"/>
                <a:gd name="T67" fmla="*/ 37 h 69"/>
                <a:gd name="T68" fmla="*/ 17 w 71"/>
                <a:gd name="T69" fmla="*/ 3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" h="69">
                  <a:moveTo>
                    <a:pt x="0" y="35"/>
                  </a:moveTo>
                  <a:lnTo>
                    <a:pt x="2" y="42"/>
                  </a:lnTo>
                  <a:lnTo>
                    <a:pt x="2" y="47"/>
                  </a:lnTo>
                  <a:lnTo>
                    <a:pt x="7" y="54"/>
                  </a:lnTo>
                  <a:lnTo>
                    <a:pt x="10" y="59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7" y="67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2" y="69"/>
                  </a:lnTo>
                  <a:lnTo>
                    <a:pt x="46" y="67"/>
                  </a:lnTo>
                  <a:lnTo>
                    <a:pt x="51" y="64"/>
                  </a:lnTo>
                  <a:lnTo>
                    <a:pt x="56" y="62"/>
                  </a:lnTo>
                  <a:lnTo>
                    <a:pt x="61" y="57"/>
                  </a:lnTo>
                  <a:lnTo>
                    <a:pt x="66" y="49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71" y="35"/>
                  </a:lnTo>
                  <a:lnTo>
                    <a:pt x="68" y="25"/>
                  </a:lnTo>
                  <a:lnTo>
                    <a:pt x="68" y="20"/>
                  </a:lnTo>
                  <a:lnTo>
                    <a:pt x="66" y="17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4" y="5"/>
                  </a:lnTo>
                  <a:lnTo>
                    <a:pt x="46" y="3"/>
                  </a:lnTo>
                  <a:lnTo>
                    <a:pt x="42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19" y="3"/>
                  </a:lnTo>
                  <a:lnTo>
                    <a:pt x="15" y="5"/>
                  </a:lnTo>
                  <a:lnTo>
                    <a:pt x="12" y="10"/>
                  </a:lnTo>
                  <a:lnTo>
                    <a:pt x="7" y="15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0" y="30"/>
                  </a:lnTo>
                  <a:lnTo>
                    <a:pt x="0" y="35"/>
                  </a:lnTo>
                  <a:close/>
                  <a:moveTo>
                    <a:pt x="17" y="30"/>
                  </a:moveTo>
                  <a:lnTo>
                    <a:pt x="19" y="27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9" y="17"/>
                  </a:lnTo>
                  <a:lnTo>
                    <a:pt x="42" y="17"/>
                  </a:lnTo>
                  <a:lnTo>
                    <a:pt x="46" y="20"/>
                  </a:lnTo>
                  <a:lnTo>
                    <a:pt x="49" y="22"/>
                  </a:lnTo>
                  <a:lnTo>
                    <a:pt x="51" y="25"/>
                  </a:lnTo>
                  <a:lnTo>
                    <a:pt x="51" y="27"/>
                  </a:lnTo>
                  <a:lnTo>
                    <a:pt x="54" y="30"/>
                  </a:lnTo>
                  <a:lnTo>
                    <a:pt x="54" y="35"/>
                  </a:lnTo>
                  <a:lnTo>
                    <a:pt x="54" y="37"/>
                  </a:lnTo>
                  <a:lnTo>
                    <a:pt x="51" y="42"/>
                  </a:lnTo>
                  <a:lnTo>
                    <a:pt x="51" y="44"/>
                  </a:lnTo>
                  <a:lnTo>
                    <a:pt x="49" y="47"/>
                  </a:lnTo>
                  <a:lnTo>
                    <a:pt x="46" y="49"/>
                  </a:lnTo>
                  <a:lnTo>
                    <a:pt x="42" y="52"/>
                  </a:lnTo>
                  <a:lnTo>
                    <a:pt x="39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27" y="49"/>
                  </a:lnTo>
                  <a:lnTo>
                    <a:pt x="24" y="49"/>
                  </a:lnTo>
                  <a:lnTo>
                    <a:pt x="22" y="47"/>
                  </a:lnTo>
                  <a:lnTo>
                    <a:pt x="19" y="42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7" y="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92">
            <a:extLst>
              <a:ext uri="{FF2B5EF4-FFF2-40B4-BE49-F238E27FC236}">
                <a16:creationId xmlns:a16="http://schemas.microsoft.com/office/drawing/2014/main" id="{019F85A0-410A-4773-A0AC-9C17B39846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650" y="234157"/>
            <a:ext cx="841375" cy="841375"/>
            <a:chOff x="236" y="132"/>
            <a:chExt cx="530" cy="530"/>
          </a:xfrm>
        </p:grpSpPr>
        <p:sp>
          <p:nvSpPr>
            <p:cNvPr id="110" name="AutoShape 91">
              <a:extLst>
                <a:ext uri="{FF2B5EF4-FFF2-40B4-BE49-F238E27FC236}">
                  <a16:creationId xmlns:a16="http://schemas.microsoft.com/office/drawing/2014/main" id="{25822A94-E094-4A1E-B3F8-7E12224F97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6" y="13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Oval 93">
              <a:extLst>
                <a:ext uri="{FF2B5EF4-FFF2-40B4-BE49-F238E27FC236}">
                  <a16:creationId xmlns:a16="http://schemas.microsoft.com/office/drawing/2014/main" id="{A29EFE3F-47FB-4415-97E9-8AA1725A4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" y="13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FC6EFEA0-5E5E-499D-9B91-C67AD39622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" y="15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A8EA1D38-98D3-4AEC-948C-1227857DF6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" y="242"/>
              <a:ext cx="54" cy="54"/>
            </a:xfrm>
            <a:custGeom>
              <a:avLst/>
              <a:gdLst>
                <a:gd name="T0" fmla="*/ 10 w 21"/>
                <a:gd name="T1" fmla="*/ 3 h 21"/>
                <a:gd name="T2" fmla="*/ 3 w 21"/>
                <a:gd name="T3" fmla="*/ 10 h 21"/>
                <a:gd name="T4" fmla="*/ 10 w 21"/>
                <a:gd name="T5" fmla="*/ 17 h 21"/>
                <a:gd name="T6" fmla="*/ 17 w 21"/>
                <a:gd name="T7" fmla="*/ 10 h 21"/>
                <a:gd name="T8" fmla="*/ 10 w 21"/>
                <a:gd name="T9" fmla="*/ 3 h 21"/>
                <a:gd name="T10" fmla="*/ 10 w 21"/>
                <a:gd name="T11" fmla="*/ 21 h 21"/>
                <a:gd name="T12" fmla="*/ 0 w 21"/>
                <a:gd name="T13" fmla="*/ 10 h 21"/>
                <a:gd name="T14" fmla="*/ 10 w 21"/>
                <a:gd name="T15" fmla="*/ 0 h 21"/>
                <a:gd name="T16" fmla="*/ 21 w 21"/>
                <a:gd name="T17" fmla="*/ 10 h 21"/>
                <a:gd name="T18" fmla="*/ 10 w 21"/>
                <a:gd name="T1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0" y="3"/>
                  </a:moveTo>
                  <a:cubicBezTo>
                    <a:pt x="6" y="3"/>
                    <a:pt x="3" y="6"/>
                    <a:pt x="3" y="10"/>
                  </a:cubicBezTo>
                  <a:cubicBezTo>
                    <a:pt x="3" y="14"/>
                    <a:pt x="6" y="17"/>
                    <a:pt x="10" y="17"/>
                  </a:cubicBezTo>
                  <a:cubicBezTo>
                    <a:pt x="14" y="17"/>
                    <a:pt x="17" y="14"/>
                    <a:pt x="17" y="10"/>
                  </a:cubicBezTo>
                  <a:cubicBezTo>
                    <a:pt x="17" y="6"/>
                    <a:pt x="14" y="3"/>
                    <a:pt x="10" y="3"/>
                  </a:cubicBezTo>
                  <a:moveTo>
                    <a:pt x="10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1"/>
                    <a:pt x="10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6">
              <a:extLst>
                <a:ext uri="{FF2B5EF4-FFF2-40B4-BE49-F238E27FC236}">
                  <a16:creationId xmlns:a16="http://schemas.microsoft.com/office/drawing/2014/main" id="{B7155F33-8FA6-4848-98A9-5B653E1AA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" y="416"/>
              <a:ext cx="110" cy="120"/>
            </a:xfrm>
            <a:custGeom>
              <a:avLst/>
              <a:gdLst>
                <a:gd name="T0" fmla="*/ 87 w 110"/>
                <a:gd name="T1" fmla="*/ 120 h 120"/>
                <a:gd name="T2" fmla="*/ 20 w 110"/>
                <a:gd name="T3" fmla="*/ 120 h 120"/>
                <a:gd name="T4" fmla="*/ 0 w 110"/>
                <a:gd name="T5" fmla="*/ 3 h 120"/>
                <a:gd name="T6" fmla="*/ 7 w 110"/>
                <a:gd name="T7" fmla="*/ 0 h 120"/>
                <a:gd name="T8" fmla="*/ 28 w 110"/>
                <a:gd name="T9" fmla="*/ 110 h 120"/>
                <a:gd name="T10" fmla="*/ 79 w 110"/>
                <a:gd name="T11" fmla="*/ 110 h 120"/>
                <a:gd name="T12" fmla="*/ 102 w 110"/>
                <a:gd name="T13" fmla="*/ 0 h 120"/>
                <a:gd name="T14" fmla="*/ 110 w 110"/>
                <a:gd name="T15" fmla="*/ 3 h 120"/>
                <a:gd name="T16" fmla="*/ 87 w 110"/>
                <a:gd name="T1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120">
                  <a:moveTo>
                    <a:pt x="87" y="120"/>
                  </a:moveTo>
                  <a:lnTo>
                    <a:pt x="20" y="120"/>
                  </a:lnTo>
                  <a:lnTo>
                    <a:pt x="0" y="3"/>
                  </a:lnTo>
                  <a:lnTo>
                    <a:pt x="7" y="0"/>
                  </a:lnTo>
                  <a:lnTo>
                    <a:pt x="28" y="110"/>
                  </a:lnTo>
                  <a:lnTo>
                    <a:pt x="79" y="11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87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7">
              <a:extLst>
                <a:ext uri="{FF2B5EF4-FFF2-40B4-BE49-F238E27FC236}">
                  <a16:creationId xmlns:a16="http://schemas.microsoft.com/office/drawing/2014/main" id="{C2130A03-17AA-4613-894A-82A950D2E8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" y="370"/>
              <a:ext cx="31" cy="31"/>
            </a:xfrm>
            <a:custGeom>
              <a:avLst/>
              <a:gdLst>
                <a:gd name="T0" fmla="*/ 11 w 31"/>
                <a:gd name="T1" fmla="*/ 15 h 31"/>
                <a:gd name="T2" fmla="*/ 16 w 31"/>
                <a:gd name="T3" fmla="*/ 20 h 31"/>
                <a:gd name="T4" fmla="*/ 18 w 31"/>
                <a:gd name="T5" fmla="*/ 15 h 31"/>
                <a:gd name="T6" fmla="*/ 16 w 31"/>
                <a:gd name="T7" fmla="*/ 13 h 31"/>
                <a:gd name="T8" fmla="*/ 11 w 31"/>
                <a:gd name="T9" fmla="*/ 15 h 31"/>
                <a:gd name="T10" fmla="*/ 16 w 31"/>
                <a:gd name="T11" fmla="*/ 31 h 31"/>
                <a:gd name="T12" fmla="*/ 0 w 31"/>
                <a:gd name="T13" fmla="*/ 15 h 31"/>
                <a:gd name="T14" fmla="*/ 16 w 31"/>
                <a:gd name="T15" fmla="*/ 0 h 31"/>
                <a:gd name="T16" fmla="*/ 31 w 31"/>
                <a:gd name="T17" fmla="*/ 15 h 31"/>
                <a:gd name="T18" fmla="*/ 16 w 31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1" y="15"/>
                  </a:moveTo>
                  <a:lnTo>
                    <a:pt x="16" y="20"/>
                  </a:lnTo>
                  <a:lnTo>
                    <a:pt x="18" y="15"/>
                  </a:lnTo>
                  <a:lnTo>
                    <a:pt x="16" y="13"/>
                  </a:lnTo>
                  <a:lnTo>
                    <a:pt x="11" y="15"/>
                  </a:lnTo>
                  <a:close/>
                  <a:moveTo>
                    <a:pt x="16" y="31"/>
                  </a:moveTo>
                  <a:lnTo>
                    <a:pt x="0" y="15"/>
                  </a:lnTo>
                  <a:lnTo>
                    <a:pt x="16" y="0"/>
                  </a:lnTo>
                  <a:lnTo>
                    <a:pt x="31" y="15"/>
                  </a:lnTo>
                  <a:lnTo>
                    <a:pt x="16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8">
              <a:extLst>
                <a:ext uri="{FF2B5EF4-FFF2-40B4-BE49-F238E27FC236}">
                  <a16:creationId xmlns:a16="http://schemas.microsoft.com/office/drawing/2014/main" id="{60DA70D0-EEA5-467C-AE9B-69CD333347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" y="437"/>
              <a:ext cx="33" cy="30"/>
            </a:xfrm>
            <a:custGeom>
              <a:avLst/>
              <a:gdLst>
                <a:gd name="T0" fmla="*/ 12 w 33"/>
                <a:gd name="T1" fmla="*/ 15 h 30"/>
                <a:gd name="T2" fmla="*/ 17 w 33"/>
                <a:gd name="T3" fmla="*/ 20 h 30"/>
                <a:gd name="T4" fmla="*/ 20 w 33"/>
                <a:gd name="T5" fmla="*/ 15 h 30"/>
                <a:gd name="T6" fmla="*/ 17 w 33"/>
                <a:gd name="T7" fmla="*/ 12 h 30"/>
                <a:gd name="T8" fmla="*/ 12 w 33"/>
                <a:gd name="T9" fmla="*/ 15 h 30"/>
                <a:gd name="T10" fmla="*/ 17 w 33"/>
                <a:gd name="T11" fmla="*/ 30 h 30"/>
                <a:gd name="T12" fmla="*/ 0 w 33"/>
                <a:gd name="T13" fmla="*/ 15 h 30"/>
                <a:gd name="T14" fmla="*/ 17 w 33"/>
                <a:gd name="T15" fmla="*/ 0 h 30"/>
                <a:gd name="T16" fmla="*/ 33 w 33"/>
                <a:gd name="T17" fmla="*/ 15 h 30"/>
                <a:gd name="T18" fmla="*/ 17 w 33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0">
                  <a:moveTo>
                    <a:pt x="12" y="15"/>
                  </a:moveTo>
                  <a:lnTo>
                    <a:pt x="17" y="20"/>
                  </a:lnTo>
                  <a:lnTo>
                    <a:pt x="20" y="15"/>
                  </a:lnTo>
                  <a:lnTo>
                    <a:pt x="17" y="12"/>
                  </a:lnTo>
                  <a:lnTo>
                    <a:pt x="12" y="15"/>
                  </a:lnTo>
                  <a:close/>
                  <a:moveTo>
                    <a:pt x="17" y="30"/>
                  </a:moveTo>
                  <a:lnTo>
                    <a:pt x="0" y="15"/>
                  </a:lnTo>
                  <a:lnTo>
                    <a:pt x="17" y="0"/>
                  </a:lnTo>
                  <a:lnTo>
                    <a:pt x="33" y="15"/>
                  </a:lnTo>
                  <a:lnTo>
                    <a:pt x="17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99">
              <a:extLst>
                <a:ext uri="{FF2B5EF4-FFF2-40B4-BE49-F238E27FC236}">
                  <a16:creationId xmlns:a16="http://schemas.microsoft.com/office/drawing/2014/main" id="{F085D72E-3A94-48F3-BDE4-DE1F376E4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" y="408"/>
              <a:ext cx="23" cy="23"/>
            </a:xfrm>
            <a:custGeom>
              <a:avLst/>
              <a:gdLst>
                <a:gd name="T0" fmla="*/ 7 w 23"/>
                <a:gd name="T1" fmla="*/ 8 h 23"/>
                <a:gd name="T2" fmla="*/ 7 w 23"/>
                <a:gd name="T3" fmla="*/ 13 h 23"/>
                <a:gd name="T4" fmla="*/ 15 w 23"/>
                <a:gd name="T5" fmla="*/ 13 h 23"/>
                <a:gd name="T6" fmla="*/ 13 w 23"/>
                <a:gd name="T7" fmla="*/ 8 h 23"/>
                <a:gd name="T8" fmla="*/ 7 w 23"/>
                <a:gd name="T9" fmla="*/ 8 h 23"/>
                <a:gd name="T10" fmla="*/ 0 w 23"/>
                <a:gd name="T11" fmla="*/ 23 h 23"/>
                <a:gd name="T12" fmla="*/ 0 w 23"/>
                <a:gd name="T13" fmla="*/ 0 h 23"/>
                <a:gd name="T14" fmla="*/ 23 w 23"/>
                <a:gd name="T15" fmla="*/ 0 h 23"/>
                <a:gd name="T16" fmla="*/ 23 w 23"/>
                <a:gd name="T17" fmla="*/ 21 h 23"/>
                <a:gd name="T18" fmla="*/ 0 w 23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3">
                  <a:moveTo>
                    <a:pt x="7" y="8"/>
                  </a:moveTo>
                  <a:lnTo>
                    <a:pt x="7" y="13"/>
                  </a:lnTo>
                  <a:lnTo>
                    <a:pt x="15" y="13"/>
                  </a:lnTo>
                  <a:lnTo>
                    <a:pt x="13" y="8"/>
                  </a:lnTo>
                  <a:lnTo>
                    <a:pt x="7" y="8"/>
                  </a:lnTo>
                  <a:close/>
                  <a:moveTo>
                    <a:pt x="0" y="23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0">
              <a:extLst>
                <a:ext uri="{FF2B5EF4-FFF2-40B4-BE49-F238E27FC236}">
                  <a16:creationId xmlns:a16="http://schemas.microsoft.com/office/drawing/2014/main" id="{89EC213B-4BB0-47B2-8FF3-BC0BF4A1C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" y="291"/>
              <a:ext cx="190" cy="253"/>
            </a:xfrm>
            <a:custGeom>
              <a:avLst/>
              <a:gdLst>
                <a:gd name="T0" fmla="*/ 54 w 74"/>
                <a:gd name="T1" fmla="*/ 46 h 99"/>
                <a:gd name="T2" fmla="*/ 54 w 74"/>
                <a:gd name="T3" fmla="*/ 92 h 99"/>
                <a:gd name="T4" fmla="*/ 57 w 74"/>
                <a:gd name="T5" fmla="*/ 95 h 99"/>
                <a:gd name="T6" fmla="*/ 61 w 74"/>
                <a:gd name="T7" fmla="*/ 92 h 99"/>
                <a:gd name="T8" fmla="*/ 61 w 74"/>
                <a:gd name="T9" fmla="*/ 39 h 99"/>
                <a:gd name="T10" fmla="*/ 64 w 74"/>
                <a:gd name="T11" fmla="*/ 39 h 99"/>
                <a:gd name="T12" fmla="*/ 64 w 74"/>
                <a:gd name="T13" fmla="*/ 45 h 99"/>
                <a:gd name="T14" fmla="*/ 67 w 74"/>
                <a:gd name="T15" fmla="*/ 48 h 99"/>
                <a:gd name="T16" fmla="*/ 70 w 74"/>
                <a:gd name="T17" fmla="*/ 45 h 99"/>
                <a:gd name="T18" fmla="*/ 70 w 74"/>
                <a:gd name="T19" fmla="*/ 12 h 99"/>
                <a:gd name="T20" fmla="*/ 69 w 74"/>
                <a:gd name="T21" fmla="*/ 6 h 99"/>
                <a:gd name="T22" fmla="*/ 63 w 74"/>
                <a:gd name="T23" fmla="*/ 4 h 99"/>
                <a:gd name="T24" fmla="*/ 41 w 74"/>
                <a:gd name="T25" fmla="*/ 4 h 99"/>
                <a:gd name="T26" fmla="*/ 34 w 74"/>
                <a:gd name="T27" fmla="*/ 8 h 99"/>
                <a:gd name="T28" fmla="*/ 22 w 74"/>
                <a:gd name="T29" fmla="*/ 24 h 99"/>
                <a:gd name="T30" fmla="*/ 12 w 74"/>
                <a:gd name="T31" fmla="*/ 24 h 99"/>
                <a:gd name="T32" fmla="*/ 6 w 74"/>
                <a:gd name="T33" fmla="*/ 24 h 99"/>
                <a:gd name="T34" fmla="*/ 3 w 74"/>
                <a:gd name="T35" fmla="*/ 27 h 99"/>
                <a:gd name="T36" fmla="*/ 6 w 74"/>
                <a:gd name="T37" fmla="*/ 30 h 99"/>
                <a:gd name="T38" fmla="*/ 24 w 74"/>
                <a:gd name="T39" fmla="*/ 30 h 99"/>
                <a:gd name="T40" fmla="*/ 25 w 74"/>
                <a:gd name="T41" fmla="*/ 30 h 99"/>
                <a:gd name="T42" fmla="*/ 37 w 74"/>
                <a:gd name="T43" fmla="*/ 14 h 99"/>
                <a:gd name="T44" fmla="*/ 37 w 74"/>
                <a:gd name="T45" fmla="*/ 92 h 99"/>
                <a:gd name="T46" fmla="*/ 41 w 74"/>
                <a:gd name="T47" fmla="*/ 95 h 99"/>
                <a:gd name="T48" fmla="*/ 44 w 74"/>
                <a:gd name="T49" fmla="*/ 92 h 99"/>
                <a:gd name="T50" fmla="*/ 44 w 74"/>
                <a:gd name="T51" fmla="*/ 85 h 99"/>
                <a:gd name="T52" fmla="*/ 44 w 74"/>
                <a:gd name="T53" fmla="*/ 46 h 99"/>
                <a:gd name="T54" fmla="*/ 54 w 74"/>
                <a:gd name="T55" fmla="*/ 46 h 99"/>
                <a:gd name="T56" fmla="*/ 57 w 74"/>
                <a:gd name="T57" fmla="*/ 99 h 99"/>
                <a:gd name="T58" fmla="*/ 50 w 74"/>
                <a:gd name="T59" fmla="*/ 92 h 99"/>
                <a:gd name="T60" fmla="*/ 50 w 74"/>
                <a:gd name="T61" fmla="*/ 49 h 99"/>
                <a:gd name="T62" fmla="*/ 48 w 74"/>
                <a:gd name="T63" fmla="*/ 49 h 99"/>
                <a:gd name="T64" fmla="*/ 48 w 74"/>
                <a:gd name="T65" fmla="*/ 92 h 99"/>
                <a:gd name="T66" fmla="*/ 41 w 74"/>
                <a:gd name="T67" fmla="*/ 99 h 99"/>
                <a:gd name="T68" fmla="*/ 34 w 74"/>
                <a:gd name="T69" fmla="*/ 92 h 99"/>
                <a:gd name="T70" fmla="*/ 34 w 74"/>
                <a:gd name="T71" fmla="*/ 24 h 99"/>
                <a:gd name="T72" fmla="*/ 28 w 74"/>
                <a:gd name="T73" fmla="*/ 32 h 99"/>
                <a:gd name="T74" fmla="*/ 24 w 74"/>
                <a:gd name="T75" fmla="*/ 34 h 99"/>
                <a:gd name="T76" fmla="*/ 6 w 74"/>
                <a:gd name="T77" fmla="*/ 34 h 99"/>
                <a:gd name="T78" fmla="*/ 0 w 74"/>
                <a:gd name="T79" fmla="*/ 27 h 99"/>
                <a:gd name="T80" fmla="*/ 6 w 74"/>
                <a:gd name="T81" fmla="*/ 21 h 99"/>
                <a:gd name="T82" fmla="*/ 12 w 74"/>
                <a:gd name="T83" fmla="*/ 21 h 99"/>
                <a:gd name="T84" fmla="*/ 20 w 74"/>
                <a:gd name="T85" fmla="*/ 21 h 99"/>
                <a:gd name="T86" fmla="*/ 31 w 74"/>
                <a:gd name="T87" fmla="*/ 6 h 99"/>
                <a:gd name="T88" fmla="*/ 41 w 74"/>
                <a:gd name="T89" fmla="*/ 1 h 99"/>
                <a:gd name="T90" fmla="*/ 63 w 74"/>
                <a:gd name="T91" fmla="*/ 1 h 99"/>
                <a:gd name="T92" fmla="*/ 71 w 74"/>
                <a:gd name="T93" fmla="*/ 4 h 99"/>
                <a:gd name="T94" fmla="*/ 74 w 74"/>
                <a:gd name="T95" fmla="*/ 12 h 99"/>
                <a:gd name="T96" fmla="*/ 74 w 74"/>
                <a:gd name="T97" fmla="*/ 45 h 99"/>
                <a:gd name="T98" fmla="*/ 67 w 74"/>
                <a:gd name="T99" fmla="*/ 52 h 99"/>
                <a:gd name="T100" fmla="*/ 64 w 74"/>
                <a:gd name="T101" fmla="*/ 51 h 99"/>
                <a:gd name="T102" fmla="*/ 64 w 74"/>
                <a:gd name="T103" fmla="*/ 92 h 99"/>
                <a:gd name="T104" fmla="*/ 57 w 74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" h="99">
                  <a:moveTo>
                    <a:pt x="54" y="46"/>
                  </a:moveTo>
                  <a:cubicBezTo>
                    <a:pt x="54" y="92"/>
                    <a:pt x="54" y="92"/>
                    <a:pt x="54" y="92"/>
                  </a:cubicBezTo>
                  <a:cubicBezTo>
                    <a:pt x="54" y="94"/>
                    <a:pt x="55" y="95"/>
                    <a:pt x="57" y="95"/>
                  </a:cubicBezTo>
                  <a:cubicBezTo>
                    <a:pt x="59" y="95"/>
                    <a:pt x="61" y="94"/>
                    <a:pt x="61" y="9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7"/>
                    <a:pt x="66" y="48"/>
                    <a:pt x="67" y="48"/>
                  </a:cubicBezTo>
                  <a:cubicBezTo>
                    <a:pt x="69" y="48"/>
                    <a:pt x="70" y="47"/>
                    <a:pt x="70" y="45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1"/>
                    <a:pt x="71" y="8"/>
                    <a:pt x="69" y="6"/>
                  </a:cubicBezTo>
                  <a:cubicBezTo>
                    <a:pt x="67" y="5"/>
                    <a:pt x="66" y="4"/>
                    <a:pt x="63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36" y="4"/>
                    <a:pt x="34" y="8"/>
                    <a:pt x="34" y="8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4" y="24"/>
                    <a:pt x="3" y="26"/>
                    <a:pt x="3" y="27"/>
                  </a:cubicBezTo>
                  <a:cubicBezTo>
                    <a:pt x="3" y="29"/>
                    <a:pt x="4" y="30"/>
                    <a:pt x="6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4"/>
                    <a:pt x="39" y="95"/>
                    <a:pt x="41" y="95"/>
                  </a:cubicBezTo>
                  <a:cubicBezTo>
                    <a:pt x="43" y="95"/>
                    <a:pt x="44" y="94"/>
                    <a:pt x="44" y="92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46"/>
                    <a:pt x="44" y="46"/>
                    <a:pt x="44" y="46"/>
                  </a:cubicBezTo>
                  <a:lnTo>
                    <a:pt x="54" y="46"/>
                  </a:lnTo>
                  <a:close/>
                  <a:moveTo>
                    <a:pt x="57" y="99"/>
                  </a:moveTo>
                  <a:cubicBezTo>
                    <a:pt x="53" y="99"/>
                    <a:pt x="50" y="96"/>
                    <a:pt x="50" y="92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6"/>
                    <a:pt x="44" y="99"/>
                    <a:pt x="41" y="99"/>
                  </a:cubicBezTo>
                  <a:cubicBezTo>
                    <a:pt x="37" y="99"/>
                    <a:pt x="34" y="96"/>
                    <a:pt x="34" y="92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3"/>
                    <a:pt x="26" y="34"/>
                    <a:pt x="24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2" y="34"/>
                    <a:pt x="0" y="31"/>
                    <a:pt x="0" y="27"/>
                  </a:cubicBezTo>
                  <a:cubicBezTo>
                    <a:pt x="0" y="24"/>
                    <a:pt x="2" y="21"/>
                    <a:pt x="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4" y="0"/>
                    <a:pt x="41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7" y="1"/>
                    <a:pt x="69" y="2"/>
                    <a:pt x="71" y="4"/>
                  </a:cubicBezTo>
                  <a:cubicBezTo>
                    <a:pt x="74" y="7"/>
                    <a:pt x="74" y="11"/>
                    <a:pt x="74" y="12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9"/>
                    <a:pt x="71" y="52"/>
                    <a:pt x="67" y="52"/>
                  </a:cubicBezTo>
                  <a:cubicBezTo>
                    <a:pt x="66" y="52"/>
                    <a:pt x="65" y="51"/>
                    <a:pt x="64" y="51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6"/>
                    <a:pt x="61" y="99"/>
                    <a:pt x="57" y="9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101">
              <a:extLst>
                <a:ext uri="{FF2B5EF4-FFF2-40B4-BE49-F238E27FC236}">
                  <a16:creationId xmlns:a16="http://schemas.microsoft.com/office/drawing/2014/main" id="{A47E7861-38DC-4371-B097-9B9DDAD08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" y="326"/>
              <a:ext cx="8" cy="6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04">
            <a:extLst>
              <a:ext uri="{FF2B5EF4-FFF2-40B4-BE49-F238E27FC236}">
                <a16:creationId xmlns:a16="http://schemas.microsoft.com/office/drawing/2014/main" id="{33E37E6B-C8DC-4A07-A084-45191186EB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8750" y="275432"/>
            <a:ext cx="760413" cy="758825"/>
            <a:chOff x="900" y="158"/>
            <a:chExt cx="479" cy="478"/>
          </a:xfrm>
        </p:grpSpPr>
        <p:sp>
          <p:nvSpPr>
            <p:cNvPr id="121" name="AutoShape 103">
              <a:extLst>
                <a:ext uri="{FF2B5EF4-FFF2-40B4-BE49-F238E27FC236}">
                  <a16:creationId xmlns:a16="http://schemas.microsoft.com/office/drawing/2014/main" id="{164A8C5A-883E-4664-8273-36ADEBBDFE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0" y="15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5">
              <a:extLst>
                <a:ext uri="{FF2B5EF4-FFF2-40B4-BE49-F238E27FC236}">
                  <a16:creationId xmlns:a16="http://schemas.microsoft.com/office/drawing/2014/main" id="{37E4B98C-180A-4D9C-ABD5-28912E8DCD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" y="16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6">
              <a:extLst>
                <a:ext uri="{FF2B5EF4-FFF2-40B4-BE49-F238E27FC236}">
                  <a16:creationId xmlns:a16="http://schemas.microsoft.com/office/drawing/2014/main" id="{52183F14-E4FA-4F7C-8F4F-40F668C53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8" y="249"/>
              <a:ext cx="52" cy="51"/>
            </a:xfrm>
            <a:custGeom>
              <a:avLst/>
              <a:gdLst>
                <a:gd name="T0" fmla="*/ 10 w 21"/>
                <a:gd name="T1" fmla="*/ 3 h 21"/>
                <a:gd name="T2" fmla="*/ 3 w 21"/>
                <a:gd name="T3" fmla="*/ 10 h 21"/>
                <a:gd name="T4" fmla="*/ 10 w 21"/>
                <a:gd name="T5" fmla="*/ 17 h 21"/>
                <a:gd name="T6" fmla="*/ 17 w 21"/>
                <a:gd name="T7" fmla="*/ 10 h 21"/>
                <a:gd name="T8" fmla="*/ 10 w 21"/>
                <a:gd name="T9" fmla="*/ 3 h 21"/>
                <a:gd name="T10" fmla="*/ 10 w 21"/>
                <a:gd name="T11" fmla="*/ 21 h 21"/>
                <a:gd name="T12" fmla="*/ 0 w 21"/>
                <a:gd name="T13" fmla="*/ 10 h 21"/>
                <a:gd name="T14" fmla="*/ 10 w 21"/>
                <a:gd name="T15" fmla="*/ 0 h 21"/>
                <a:gd name="T16" fmla="*/ 21 w 21"/>
                <a:gd name="T17" fmla="*/ 10 h 21"/>
                <a:gd name="T18" fmla="*/ 10 w 21"/>
                <a:gd name="T1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0" y="3"/>
                  </a:moveTo>
                  <a:cubicBezTo>
                    <a:pt x="6" y="3"/>
                    <a:pt x="3" y="6"/>
                    <a:pt x="3" y="10"/>
                  </a:cubicBezTo>
                  <a:cubicBezTo>
                    <a:pt x="3" y="14"/>
                    <a:pt x="6" y="17"/>
                    <a:pt x="10" y="17"/>
                  </a:cubicBezTo>
                  <a:cubicBezTo>
                    <a:pt x="14" y="17"/>
                    <a:pt x="17" y="14"/>
                    <a:pt x="17" y="10"/>
                  </a:cubicBezTo>
                  <a:cubicBezTo>
                    <a:pt x="17" y="6"/>
                    <a:pt x="14" y="3"/>
                    <a:pt x="10" y="3"/>
                  </a:cubicBezTo>
                  <a:moveTo>
                    <a:pt x="10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1"/>
                    <a:pt x="10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7">
              <a:extLst>
                <a:ext uri="{FF2B5EF4-FFF2-40B4-BE49-F238E27FC236}">
                  <a16:creationId xmlns:a16="http://schemas.microsoft.com/office/drawing/2014/main" id="{C6E20516-C752-43B5-90B7-B8517CC5A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" y="415"/>
              <a:ext cx="106" cy="116"/>
            </a:xfrm>
            <a:custGeom>
              <a:avLst/>
              <a:gdLst>
                <a:gd name="T0" fmla="*/ 84 w 106"/>
                <a:gd name="T1" fmla="*/ 116 h 116"/>
                <a:gd name="T2" fmla="*/ 20 w 106"/>
                <a:gd name="T3" fmla="*/ 116 h 116"/>
                <a:gd name="T4" fmla="*/ 0 w 106"/>
                <a:gd name="T5" fmla="*/ 3 h 116"/>
                <a:gd name="T6" fmla="*/ 8 w 106"/>
                <a:gd name="T7" fmla="*/ 0 h 116"/>
                <a:gd name="T8" fmla="*/ 27 w 106"/>
                <a:gd name="T9" fmla="*/ 106 h 116"/>
                <a:gd name="T10" fmla="*/ 76 w 106"/>
                <a:gd name="T11" fmla="*/ 106 h 116"/>
                <a:gd name="T12" fmla="*/ 99 w 106"/>
                <a:gd name="T13" fmla="*/ 0 h 116"/>
                <a:gd name="T14" fmla="*/ 106 w 106"/>
                <a:gd name="T15" fmla="*/ 3 h 116"/>
                <a:gd name="T16" fmla="*/ 84 w 106"/>
                <a:gd name="T1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16">
                  <a:moveTo>
                    <a:pt x="84" y="116"/>
                  </a:moveTo>
                  <a:lnTo>
                    <a:pt x="20" y="116"/>
                  </a:lnTo>
                  <a:lnTo>
                    <a:pt x="0" y="3"/>
                  </a:lnTo>
                  <a:lnTo>
                    <a:pt x="8" y="0"/>
                  </a:lnTo>
                  <a:lnTo>
                    <a:pt x="27" y="106"/>
                  </a:lnTo>
                  <a:lnTo>
                    <a:pt x="76" y="106"/>
                  </a:lnTo>
                  <a:lnTo>
                    <a:pt x="99" y="0"/>
                  </a:lnTo>
                  <a:lnTo>
                    <a:pt x="106" y="3"/>
                  </a:lnTo>
                  <a:lnTo>
                    <a:pt x="84" y="1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8">
              <a:extLst>
                <a:ext uri="{FF2B5EF4-FFF2-40B4-BE49-F238E27FC236}">
                  <a16:creationId xmlns:a16="http://schemas.microsoft.com/office/drawing/2014/main" id="{07C3224B-6109-4DEE-81BA-60D601851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" y="371"/>
              <a:ext cx="29" cy="30"/>
            </a:xfrm>
            <a:custGeom>
              <a:avLst/>
              <a:gdLst>
                <a:gd name="T0" fmla="*/ 10 w 29"/>
                <a:gd name="T1" fmla="*/ 15 h 30"/>
                <a:gd name="T2" fmla="*/ 14 w 29"/>
                <a:gd name="T3" fmla="*/ 20 h 30"/>
                <a:gd name="T4" fmla="*/ 17 w 29"/>
                <a:gd name="T5" fmla="*/ 15 h 30"/>
                <a:gd name="T6" fmla="*/ 14 w 29"/>
                <a:gd name="T7" fmla="*/ 13 h 30"/>
                <a:gd name="T8" fmla="*/ 10 w 29"/>
                <a:gd name="T9" fmla="*/ 15 h 30"/>
                <a:gd name="T10" fmla="*/ 14 w 29"/>
                <a:gd name="T11" fmla="*/ 30 h 30"/>
                <a:gd name="T12" fmla="*/ 0 w 29"/>
                <a:gd name="T13" fmla="*/ 15 h 30"/>
                <a:gd name="T14" fmla="*/ 14 w 29"/>
                <a:gd name="T15" fmla="*/ 0 h 30"/>
                <a:gd name="T16" fmla="*/ 29 w 29"/>
                <a:gd name="T17" fmla="*/ 15 h 30"/>
                <a:gd name="T18" fmla="*/ 14 w 29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30">
                  <a:moveTo>
                    <a:pt x="10" y="15"/>
                  </a:moveTo>
                  <a:lnTo>
                    <a:pt x="14" y="20"/>
                  </a:lnTo>
                  <a:lnTo>
                    <a:pt x="17" y="15"/>
                  </a:lnTo>
                  <a:lnTo>
                    <a:pt x="14" y="13"/>
                  </a:lnTo>
                  <a:lnTo>
                    <a:pt x="10" y="15"/>
                  </a:lnTo>
                  <a:close/>
                  <a:moveTo>
                    <a:pt x="14" y="30"/>
                  </a:moveTo>
                  <a:lnTo>
                    <a:pt x="0" y="15"/>
                  </a:lnTo>
                  <a:lnTo>
                    <a:pt x="14" y="0"/>
                  </a:lnTo>
                  <a:lnTo>
                    <a:pt x="29" y="15"/>
                  </a:lnTo>
                  <a:lnTo>
                    <a:pt x="14" y="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9">
              <a:extLst>
                <a:ext uri="{FF2B5EF4-FFF2-40B4-BE49-F238E27FC236}">
                  <a16:creationId xmlns:a16="http://schemas.microsoft.com/office/drawing/2014/main" id="{464B7EF9-2619-488D-B0FC-75209F8BDF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" y="435"/>
              <a:ext cx="32" cy="29"/>
            </a:xfrm>
            <a:custGeom>
              <a:avLst/>
              <a:gdLst>
                <a:gd name="T0" fmla="*/ 12 w 32"/>
                <a:gd name="T1" fmla="*/ 15 h 29"/>
                <a:gd name="T2" fmla="*/ 17 w 32"/>
                <a:gd name="T3" fmla="*/ 20 h 29"/>
                <a:gd name="T4" fmla="*/ 19 w 32"/>
                <a:gd name="T5" fmla="*/ 15 h 29"/>
                <a:gd name="T6" fmla="*/ 17 w 32"/>
                <a:gd name="T7" fmla="*/ 12 h 29"/>
                <a:gd name="T8" fmla="*/ 12 w 32"/>
                <a:gd name="T9" fmla="*/ 15 h 29"/>
                <a:gd name="T10" fmla="*/ 17 w 32"/>
                <a:gd name="T11" fmla="*/ 29 h 29"/>
                <a:gd name="T12" fmla="*/ 0 w 32"/>
                <a:gd name="T13" fmla="*/ 15 h 29"/>
                <a:gd name="T14" fmla="*/ 17 w 32"/>
                <a:gd name="T15" fmla="*/ 0 h 29"/>
                <a:gd name="T16" fmla="*/ 32 w 32"/>
                <a:gd name="T17" fmla="*/ 15 h 29"/>
                <a:gd name="T18" fmla="*/ 17 w 32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9">
                  <a:moveTo>
                    <a:pt x="12" y="15"/>
                  </a:moveTo>
                  <a:lnTo>
                    <a:pt x="17" y="20"/>
                  </a:lnTo>
                  <a:lnTo>
                    <a:pt x="19" y="15"/>
                  </a:lnTo>
                  <a:lnTo>
                    <a:pt x="17" y="12"/>
                  </a:lnTo>
                  <a:lnTo>
                    <a:pt x="12" y="15"/>
                  </a:lnTo>
                  <a:close/>
                  <a:moveTo>
                    <a:pt x="17" y="29"/>
                  </a:moveTo>
                  <a:lnTo>
                    <a:pt x="0" y="15"/>
                  </a:lnTo>
                  <a:lnTo>
                    <a:pt x="17" y="0"/>
                  </a:lnTo>
                  <a:lnTo>
                    <a:pt x="32" y="15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0">
              <a:extLst>
                <a:ext uri="{FF2B5EF4-FFF2-40B4-BE49-F238E27FC236}">
                  <a16:creationId xmlns:a16="http://schemas.microsoft.com/office/drawing/2014/main" id="{707ED909-1BBC-41C2-B134-057F1B14A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" y="408"/>
              <a:ext cx="23" cy="22"/>
            </a:xfrm>
            <a:custGeom>
              <a:avLst/>
              <a:gdLst>
                <a:gd name="T0" fmla="*/ 8 w 23"/>
                <a:gd name="T1" fmla="*/ 7 h 22"/>
                <a:gd name="T2" fmla="*/ 8 w 23"/>
                <a:gd name="T3" fmla="*/ 12 h 22"/>
                <a:gd name="T4" fmla="*/ 15 w 23"/>
                <a:gd name="T5" fmla="*/ 12 h 22"/>
                <a:gd name="T6" fmla="*/ 13 w 23"/>
                <a:gd name="T7" fmla="*/ 7 h 22"/>
                <a:gd name="T8" fmla="*/ 8 w 23"/>
                <a:gd name="T9" fmla="*/ 7 h 22"/>
                <a:gd name="T10" fmla="*/ 0 w 23"/>
                <a:gd name="T11" fmla="*/ 22 h 22"/>
                <a:gd name="T12" fmla="*/ 0 w 23"/>
                <a:gd name="T13" fmla="*/ 0 h 22"/>
                <a:gd name="T14" fmla="*/ 23 w 23"/>
                <a:gd name="T15" fmla="*/ 0 h 22"/>
                <a:gd name="T16" fmla="*/ 23 w 23"/>
                <a:gd name="T17" fmla="*/ 20 h 22"/>
                <a:gd name="T18" fmla="*/ 0 w 23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2">
                  <a:moveTo>
                    <a:pt x="8" y="7"/>
                  </a:moveTo>
                  <a:lnTo>
                    <a:pt x="8" y="12"/>
                  </a:lnTo>
                  <a:lnTo>
                    <a:pt x="15" y="12"/>
                  </a:lnTo>
                  <a:lnTo>
                    <a:pt x="13" y="7"/>
                  </a:lnTo>
                  <a:lnTo>
                    <a:pt x="8" y="7"/>
                  </a:lnTo>
                  <a:close/>
                  <a:moveTo>
                    <a:pt x="0" y="22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1">
              <a:extLst>
                <a:ext uri="{FF2B5EF4-FFF2-40B4-BE49-F238E27FC236}">
                  <a16:creationId xmlns:a16="http://schemas.microsoft.com/office/drawing/2014/main" id="{5E10358D-8471-47CA-9C77-19D203248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7" y="295"/>
              <a:ext cx="182" cy="243"/>
            </a:xfrm>
            <a:custGeom>
              <a:avLst/>
              <a:gdLst>
                <a:gd name="T0" fmla="*/ 54 w 74"/>
                <a:gd name="T1" fmla="*/ 46 h 99"/>
                <a:gd name="T2" fmla="*/ 54 w 74"/>
                <a:gd name="T3" fmla="*/ 92 h 99"/>
                <a:gd name="T4" fmla="*/ 57 w 74"/>
                <a:gd name="T5" fmla="*/ 95 h 99"/>
                <a:gd name="T6" fmla="*/ 61 w 74"/>
                <a:gd name="T7" fmla="*/ 92 h 99"/>
                <a:gd name="T8" fmla="*/ 61 w 74"/>
                <a:gd name="T9" fmla="*/ 39 h 99"/>
                <a:gd name="T10" fmla="*/ 64 w 74"/>
                <a:gd name="T11" fmla="*/ 39 h 99"/>
                <a:gd name="T12" fmla="*/ 64 w 74"/>
                <a:gd name="T13" fmla="*/ 45 h 99"/>
                <a:gd name="T14" fmla="*/ 67 w 74"/>
                <a:gd name="T15" fmla="*/ 48 h 99"/>
                <a:gd name="T16" fmla="*/ 70 w 74"/>
                <a:gd name="T17" fmla="*/ 45 h 99"/>
                <a:gd name="T18" fmla="*/ 70 w 74"/>
                <a:gd name="T19" fmla="*/ 12 h 99"/>
                <a:gd name="T20" fmla="*/ 69 w 74"/>
                <a:gd name="T21" fmla="*/ 6 h 99"/>
                <a:gd name="T22" fmla="*/ 63 w 74"/>
                <a:gd name="T23" fmla="*/ 4 h 99"/>
                <a:gd name="T24" fmla="*/ 41 w 74"/>
                <a:gd name="T25" fmla="*/ 4 h 99"/>
                <a:gd name="T26" fmla="*/ 34 w 74"/>
                <a:gd name="T27" fmla="*/ 8 h 99"/>
                <a:gd name="T28" fmla="*/ 22 w 74"/>
                <a:gd name="T29" fmla="*/ 24 h 99"/>
                <a:gd name="T30" fmla="*/ 12 w 74"/>
                <a:gd name="T31" fmla="*/ 24 h 99"/>
                <a:gd name="T32" fmla="*/ 6 w 74"/>
                <a:gd name="T33" fmla="*/ 24 h 99"/>
                <a:gd name="T34" fmla="*/ 3 w 74"/>
                <a:gd name="T35" fmla="*/ 27 h 99"/>
                <a:gd name="T36" fmla="*/ 6 w 74"/>
                <a:gd name="T37" fmla="*/ 30 h 99"/>
                <a:gd name="T38" fmla="*/ 24 w 74"/>
                <a:gd name="T39" fmla="*/ 30 h 99"/>
                <a:gd name="T40" fmla="*/ 25 w 74"/>
                <a:gd name="T41" fmla="*/ 30 h 99"/>
                <a:gd name="T42" fmla="*/ 37 w 74"/>
                <a:gd name="T43" fmla="*/ 14 h 99"/>
                <a:gd name="T44" fmla="*/ 37 w 74"/>
                <a:gd name="T45" fmla="*/ 92 h 99"/>
                <a:gd name="T46" fmla="*/ 41 w 74"/>
                <a:gd name="T47" fmla="*/ 95 h 99"/>
                <a:gd name="T48" fmla="*/ 44 w 74"/>
                <a:gd name="T49" fmla="*/ 92 h 99"/>
                <a:gd name="T50" fmla="*/ 44 w 74"/>
                <a:gd name="T51" fmla="*/ 85 h 99"/>
                <a:gd name="T52" fmla="*/ 44 w 74"/>
                <a:gd name="T53" fmla="*/ 46 h 99"/>
                <a:gd name="T54" fmla="*/ 54 w 74"/>
                <a:gd name="T55" fmla="*/ 46 h 99"/>
                <a:gd name="T56" fmla="*/ 57 w 74"/>
                <a:gd name="T57" fmla="*/ 99 h 99"/>
                <a:gd name="T58" fmla="*/ 50 w 74"/>
                <a:gd name="T59" fmla="*/ 92 h 99"/>
                <a:gd name="T60" fmla="*/ 50 w 74"/>
                <a:gd name="T61" fmla="*/ 49 h 99"/>
                <a:gd name="T62" fmla="*/ 48 w 74"/>
                <a:gd name="T63" fmla="*/ 49 h 99"/>
                <a:gd name="T64" fmla="*/ 48 w 74"/>
                <a:gd name="T65" fmla="*/ 92 h 99"/>
                <a:gd name="T66" fmla="*/ 41 w 74"/>
                <a:gd name="T67" fmla="*/ 99 h 99"/>
                <a:gd name="T68" fmla="*/ 34 w 74"/>
                <a:gd name="T69" fmla="*/ 92 h 99"/>
                <a:gd name="T70" fmla="*/ 34 w 74"/>
                <a:gd name="T71" fmla="*/ 24 h 99"/>
                <a:gd name="T72" fmla="*/ 28 w 74"/>
                <a:gd name="T73" fmla="*/ 32 h 99"/>
                <a:gd name="T74" fmla="*/ 24 w 74"/>
                <a:gd name="T75" fmla="*/ 34 h 99"/>
                <a:gd name="T76" fmla="*/ 6 w 74"/>
                <a:gd name="T77" fmla="*/ 34 h 99"/>
                <a:gd name="T78" fmla="*/ 0 w 74"/>
                <a:gd name="T79" fmla="*/ 27 h 99"/>
                <a:gd name="T80" fmla="*/ 6 w 74"/>
                <a:gd name="T81" fmla="*/ 21 h 99"/>
                <a:gd name="T82" fmla="*/ 12 w 74"/>
                <a:gd name="T83" fmla="*/ 21 h 99"/>
                <a:gd name="T84" fmla="*/ 20 w 74"/>
                <a:gd name="T85" fmla="*/ 21 h 99"/>
                <a:gd name="T86" fmla="*/ 31 w 74"/>
                <a:gd name="T87" fmla="*/ 6 h 99"/>
                <a:gd name="T88" fmla="*/ 41 w 74"/>
                <a:gd name="T89" fmla="*/ 1 h 99"/>
                <a:gd name="T90" fmla="*/ 63 w 74"/>
                <a:gd name="T91" fmla="*/ 1 h 99"/>
                <a:gd name="T92" fmla="*/ 71 w 74"/>
                <a:gd name="T93" fmla="*/ 4 h 99"/>
                <a:gd name="T94" fmla="*/ 74 w 74"/>
                <a:gd name="T95" fmla="*/ 12 h 99"/>
                <a:gd name="T96" fmla="*/ 74 w 74"/>
                <a:gd name="T97" fmla="*/ 45 h 99"/>
                <a:gd name="T98" fmla="*/ 67 w 74"/>
                <a:gd name="T99" fmla="*/ 52 h 99"/>
                <a:gd name="T100" fmla="*/ 64 w 74"/>
                <a:gd name="T101" fmla="*/ 51 h 99"/>
                <a:gd name="T102" fmla="*/ 64 w 74"/>
                <a:gd name="T103" fmla="*/ 92 h 99"/>
                <a:gd name="T104" fmla="*/ 57 w 74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" h="99">
                  <a:moveTo>
                    <a:pt x="54" y="46"/>
                  </a:moveTo>
                  <a:cubicBezTo>
                    <a:pt x="54" y="92"/>
                    <a:pt x="54" y="92"/>
                    <a:pt x="54" y="92"/>
                  </a:cubicBezTo>
                  <a:cubicBezTo>
                    <a:pt x="54" y="94"/>
                    <a:pt x="55" y="95"/>
                    <a:pt x="57" y="95"/>
                  </a:cubicBezTo>
                  <a:cubicBezTo>
                    <a:pt x="59" y="95"/>
                    <a:pt x="61" y="94"/>
                    <a:pt x="61" y="92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7"/>
                    <a:pt x="66" y="48"/>
                    <a:pt x="67" y="48"/>
                  </a:cubicBezTo>
                  <a:cubicBezTo>
                    <a:pt x="69" y="48"/>
                    <a:pt x="70" y="47"/>
                    <a:pt x="70" y="45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1"/>
                    <a:pt x="71" y="8"/>
                    <a:pt x="69" y="6"/>
                  </a:cubicBezTo>
                  <a:cubicBezTo>
                    <a:pt x="67" y="5"/>
                    <a:pt x="66" y="4"/>
                    <a:pt x="63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36" y="4"/>
                    <a:pt x="34" y="8"/>
                    <a:pt x="34" y="8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4" y="24"/>
                    <a:pt x="3" y="26"/>
                    <a:pt x="3" y="27"/>
                  </a:cubicBezTo>
                  <a:cubicBezTo>
                    <a:pt x="3" y="29"/>
                    <a:pt x="4" y="30"/>
                    <a:pt x="6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94"/>
                    <a:pt x="39" y="95"/>
                    <a:pt x="41" y="95"/>
                  </a:cubicBezTo>
                  <a:cubicBezTo>
                    <a:pt x="43" y="95"/>
                    <a:pt x="44" y="94"/>
                    <a:pt x="44" y="92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46"/>
                    <a:pt x="44" y="46"/>
                    <a:pt x="44" y="46"/>
                  </a:cubicBezTo>
                  <a:lnTo>
                    <a:pt x="54" y="46"/>
                  </a:lnTo>
                  <a:close/>
                  <a:moveTo>
                    <a:pt x="57" y="99"/>
                  </a:moveTo>
                  <a:cubicBezTo>
                    <a:pt x="53" y="99"/>
                    <a:pt x="50" y="96"/>
                    <a:pt x="50" y="92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6"/>
                    <a:pt x="44" y="99"/>
                    <a:pt x="41" y="99"/>
                  </a:cubicBezTo>
                  <a:cubicBezTo>
                    <a:pt x="37" y="99"/>
                    <a:pt x="34" y="96"/>
                    <a:pt x="34" y="92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7" y="33"/>
                    <a:pt x="26" y="34"/>
                    <a:pt x="24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2" y="34"/>
                    <a:pt x="0" y="31"/>
                    <a:pt x="0" y="27"/>
                  </a:cubicBezTo>
                  <a:cubicBezTo>
                    <a:pt x="0" y="24"/>
                    <a:pt x="2" y="21"/>
                    <a:pt x="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4" y="0"/>
                    <a:pt x="41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7" y="1"/>
                    <a:pt x="69" y="2"/>
                    <a:pt x="71" y="4"/>
                  </a:cubicBezTo>
                  <a:cubicBezTo>
                    <a:pt x="74" y="7"/>
                    <a:pt x="74" y="11"/>
                    <a:pt x="74" y="12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9"/>
                    <a:pt x="71" y="52"/>
                    <a:pt x="67" y="52"/>
                  </a:cubicBezTo>
                  <a:cubicBezTo>
                    <a:pt x="66" y="52"/>
                    <a:pt x="65" y="51"/>
                    <a:pt x="64" y="51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6"/>
                    <a:pt x="61" y="99"/>
                    <a:pt x="57" y="9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112">
              <a:extLst>
                <a:ext uri="{FF2B5EF4-FFF2-40B4-BE49-F238E27FC236}">
                  <a16:creationId xmlns:a16="http://schemas.microsoft.com/office/drawing/2014/main" id="{3843305D-2AC6-4DE0-9542-8369FF620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7" y="330"/>
              <a:ext cx="7" cy="6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15">
            <a:extLst>
              <a:ext uri="{FF2B5EF4-FFF2-40B4-BE49-F238E27FC236}">
                <a16:creationId xmlns:a16="http://schemas.microsoft.com/office/drawing/2014/main" id="{99D18B3B-04A5-4DE9-9E22-3F8C00B447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57463" y="234157"/>
            <a:ext cx="841375" cy="841375"/>
            <a:chOff x="1611" y="132"/>
            <a:chExt cx="530" cy="530"/>
          </a:xfrm>
        </p:grpSpPr>
        <p:sp>
          <p:nvSpPr>
            <p:cNvPr id="131" name="AutoShape 114">
              <a:extLst>
                <a:ext uri="{FF2B5EF4-FFF2-40B4-BE49-F238E27FC236}">
                  <a16:creationId xmlns:a16="http://schemas.microsoft.com/office/drawing/2014/main" id="{570C7099-9725-4A2F-956C-1CE0F99530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11" y="13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Oval 116">
              <a:extLst>
                <a:ext uri="{FF2B5EF4-FFF2-40B4-BE49-F238E27FC236}">
                  <a16:creationId xmlns:a16="http://schemas.microsoft.com/office/drawing/2014/main" id="{A1FBB367-99EC-4BF9-97BA-79B755375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1" y="13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7">
              <a:extLst>
                <a:ext uri="{FF2B5EF4-FFF2-40B4-BE49-F238E27FC236}">
                  <a16:creationId xmlns:a16="http://schemas.microsoft.com/office/drawing/2014/main" id="{ED509262-BC10-4B11-9F2F-E97A3DA1C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9" y="15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8">
              <a:extLst>
                <a:ext uri="{FF2B5EF4-FFF2-40B4-BE49-F238E27FC236}">
                  <a16:creationId xmlns:a16="http://schemas.microsoft.com/office/drawing/2014/main" id="{4C0FBFE4-5EC7-4EA2-9C3C-266C55FC8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0" y="455"/>
              <a:ext cx="281" cy="71"/>
            </a:xfrm>
            <a:custGeom>
              <a:avLst/>
              <a:gdLst>
                <a:gd name="T0" fmla="*/ 96 w 110"/>
                <a:gd name="T1" fmla="*/ 0 h 28"/>
                <a:gd name="T2" fmla="*/ 96 w 110"/>
                <a:gd name="T3" fmla="*/ 3 h 28"/>
                <a:gd name="T4" fmla="*/ 85 w 110"/>
                <a:gd name="T5" fmla="*/ 3 h 28"/>
                <a:gd name="T6" fmla="*/ 85 w 110"/>
                <a:gd name="T7" fmla="*/ 19 h 28"/>
                <a:gd name="T8" fmla="*/ 1 w 110"/>
                <a:gd name="T9" fmla="*/ 19 h 28"/>
                <a:gd name="T10" fmla="*/ 1 w 110"/>
                <a:gd name="T11" fmla="*/ 23 h 28"/>
                <a:gd name="T12" fmla="*/ 89 w 110"/>
                <a:gd name="T13" fmla="*/ 23 h 28"/>
                <a:gd name="T14" fmla="*/ 89 w 110"/>
                <a:gd name="T15" fmla="*/ 6 h 28"/>
                <a:gd name="T16" fmla="*/ 99 w 110"/>
                <a:gd name="T17" fmla="*/ 6 h 28"/>
                <a:gd name="T18" fmla="*/ 99 w 110"/>
                <a:gd name="T19" fmla="*/ 3 h 28"/>
                <a:gd name="T20" fmla="*/ 107 w 110"/>
                <a:gd name="T21" fmla="*/ 3 h 28"/>
                <a:gd name="T22" fmla="*/ 107 w 110"/>
                <a:gd name="T23" fmla="*/ 25 h 28"/>
                <a:gd name="T24" fmla="*/ 1 w 110"/>
                <a:gd name="T25" fmla="*/ 25 h 28"/>
                <a:gd name="T26" fmla="*/ 0 w 110"/>
                <a:gd name="T27" fmla="*/ 27 h 28"/>
                <a:gd name="T28" fmla="*/ 0 w 110"/>
                <a:gd name="T29" fmla="*/ 28 h 28"/>
                <a:gd name="T30" fmla="*/ 110 w 110"/>
                <a:gd name="T31" fmla="*/ 28 h 28"/>
                <a:gd name="T32" fmla="*/ 110 w 110"/>
                <a:gd name="T33" fmla="*/ 0 h 28"/>
                <a:gd name="T34" fmla="*/ 96 w 110"/>
                <a:gd name="T3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8">
                  <a:moveTo>
                    <a:pt x="96" y="0"/>
                  </a:moveTo>
                  <a:cubicBezTo>
                    <a:pt x="96" y="3"/>
                    <a:pt x="96" y="3"/>
                    <a:pt x="96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9">
              <a:extLst>
                <a:ext uri="{FF2B5EF4-FFF2-40B4-BE49-F238E27FC236}">
                  <a16:creationId xmlns:a16="http://schemas.microsoft.com/office/drawing/2014/main" id="{DEDC4B8D-670F-4014-ACA8-6D8B755C9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0" y="519"/>
              <a:ext cx="2" cy="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0">
              <a:extLst>
                <a:ext uri="{FF2B5EF4-FFF2-40B4-BE49-F238E27FC236}">
                  <a16:creationId xmlns:a16="http://schemas.microsoft.com/office/drawing/2014/main" id="{9A636F22-15DA-403E-846F-CCDBC58B2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" y="329"/>
              <a:ext cx="154" cy="174"/>
            </a:xfrm>
            <a:custGeom>
              <a:avLst/>
              <a:gdLst>
                <a:gd name="T0" fmla="*/ 56 w 60"/>
                <a:gd name="T1" fmla="*/ 27 h 68"/>
                <a:gd name="T2" fmla="*/ 60 w 60"/>
                <a:gd name="T3" fmla="*/ 26 h 68"/>
                <a:gd name="T4" fmla="*/ 59 w 60"/>
                <a:gd name="T5" fmla="*/ 21 h 68"/>
                <a:gd name="T6" fmla="*/ 58 w 60"/>
                <a:gd name="T7" fmla="*/ 15 h 68"/>
                <a:gd name="T8" fmla="*/ 51 w 60"/>
                <a:gd name="T9" fmla="*/ 12 h 68"/>
                <a:gd name="T10" fmla="*/ 50 w 60"/>
                <a:gd name="T11" fmla="*/ 9 h 68"/>
                <a:gd name="T12" fmla="*/ 52 w 60"/>
                <a:gd name="T13" fmla="*/ 5 h 68"/>
                <a:gd name="T14" fmla="*/ 45 w 60"/>
                <a:gd name="T15" fmla="*/ 5 h 68"/>
                <a:gd name="T16" fmla="*/ 41 w 60"/>
                <a:gd name="T17" fmla="*/ 5 h 68"/>
                <a:gd name="T18" fmla="*/ 43 w 60"/>
                <a:gd name="T19" fmla="*/ 7 h 68"/>
                <a:gd name="T20" fmla="*/ 46 w 60"/>
                <a:gd name="T21" fmla="*/ 10 h 68"/>
                <a:gd name="T22" fmla="*/ 49 w 60"/>
                <a:gd name="T23" fmla="*/ 14 h 68"/>
                <a:gd name="T24" fmla="*/ 51 w 60"/>
                <a:gd name="T25" fmla="*/ 18 h 68"/>
                <a:gd name="T26" fmla="*/ 52 w 60"/>
                <a:gd name="T27" fmla="*/ 22 h 68"/>
                <a:gd name="T28" fmla="*/ 53 w 60"/>
                <a:gd name="T29" fmla="*/ 27 h 68"/>
                <a:gd name="T30" fmla="*/ 53 w 60"/>
                <a:gd name="T31" fmla="*/ 27 h 68"/>
                <a:gd name="T32" fmla="*/ 53 w 60"/>
                <a:gd name="T33" fmla="*/ 32 h 68"/>
                <a:gd name="T34" fmla="*/ 53 w 60"/>
                <a:gd name="T35" fmla="*/ 33 h 68"/>
                <a:gd name="T36" fmla="*/ 52 w 60"/>
                <a:gd name="T37" fmla="*/ 37 h 68"/>
                <a:gd name="T38" fmla="*/ 52 w 60"/>
                <a:gd name="T39" fmla="*/ 38 h 68"/>
                <a:gd name="T40" fmla="*/ 51 w 60"/>
                <a:gd name="T41" fmla="*/ 42 h 68"/>
                <a:gd name="T42" fmla="*/ 49 w 60"/>
                <a:gd name="T43" fmla="*/ 46 h 68"/>
                <a:gd name="T44" fmla="*/ 46 w 60"/>
                <a:gd name="T45" fmla="*/ 50 h 68"/>
                <a:gd name="T46" fmla="*/ 45 w 60"/>
                <a:gd name="T47" fmla="*/ 50 h 68"/>
                <a:gd name="T48" fmla="*/ 42 w 60"/>
                <a:gd name="T49" fmla="*/ 53 h 68"/>
                <a:gd name="T50" fmla="*/ 42 w 60"/>
                <a:gd name="T51" fmla="*/ 53 h 68"/>
                <a:gd name="T52" fmla="*/ 38 w 60"/>
                <a:gd name="T53" fmla="*/ 56 h 68"/>
                <a:gd name="T54" fmla="*/ 35 w 60"/>
                <a:gd name="T55" fmla="*/ 58 h 68"/>
                <a:gd name="T56" fmla="*/ 34 w 60"/>
                <a:gd name="T57" fmla="*/ 58 h 68"/>
                <a:gd name="T58" fmla="*/ 31 w 60"/>
                <a:gd name="T59" fmla="*/ 59 h 68"/>
                <a:gd name="T60" fmla="*/ 28 w 60"/>
                <a:gd name="T61" fmla="*/ 61 h 68"/>
                <a:gd name="T62" fmla="*/ 25 w 60"/>
                <a:gd name="T63" fmla="*/ 60 h 68"/>
                <a:gd name="T64" fmla="*/ 20 w 60"/>
                <a:gd name="T65" fmla="*/ 60 h 68"/>
                <a:gd name="T66" fmla="*/ 20 w 60"/>
                <a:gd name="T67" fmla="*/ 60 h 68"/>
                <a:gd name="T68" fmla="*/ 16 w 60"/>
                <a:gd name="T69" fmla="*/ 60 h 68"/>
                <a:gd name="T70" fmla="*/ 15 w 60"/>
                <a:gd name="T71" fmla="*/ 59 h 68"/>
                <a:gd name="T72" fmla="*/ 13 w 60"/>
                <a:gd name="T73" fmla="*/ 60 h 68"/>
                <a:gd name="T74" fmla="*/ 11 w 60"/>
                <a:gd name="T75" fmla="*/ 58 h 68"/>
                <a:gd name="T76" fmla="*/ 9 w 60"/>
                <a:gd name="T77" fmla="*/ 58 h 68"/>
                <a:gd name="T78" fmla="*/ 7 w 60"/>
                <a:gd name="T79" fmla="*/ 56 h 68"/>
                <a:gd name="T80" fmla="*/ 6 w 60"/>
                <a:gd name="T81" fmla="*/ 56 h 68"/>
                <a:gd name="T82" fmla="*/ 0 w 60"/>
                <a:gd name="T83" fmla="*/ 60 h 68"/>
                <a:gd name="T84" fmla="*/ 5 w 60"/>
                <a:gd name="T85" fmla="*/ 59 h 68"/>
                <a:gd name="T86" fmla="*/ 9 w 60"/>
                <a:gd name="T87" fmla="*/ 61 h 68"/>
                <a:gd name="T88" fmla="*/ 8 w 60"/>
                <a:gd name="T89" fmla="*/ 65 h 68"/>
                <a:gd name="T90" fmla="*/ 15 w 60"/>
                <a:gd name="T91" fmla="*/ 63 h 68"/>
                <a:gd name="T92" fmla="*/ 20 w 60"/>
                <a:gd name="T93" fmla="*/ 64 h 68"/>
                <a:gd name="T94" fmla="*/ 25 w 60"/>
                <a:gd name="T95" fmla="*/ 64 h 68"/>
                <a:gd name="T96" fmla="*/ 31 w 60"/>
                <a:gd name="T97" fmla="*/ 63 h 68"/>
                <a:gd name="T98" fmla="*/ 35 w 60"/>
                <a:gd name="T99" fmla="*/ 61 h 68"/>
                <a:gd name="T100" fmla="*/ 38 w 60"/>
                <a:gd name="T101" fmla="*/ 65 h 68"/>
                <a:gd name="T102" fmla="*/ 42 w 60"/>
                <a:gd name="T103" fmla="*/ 62 h 68"/>
                <a:gd name="T104" fmla="*/ 47 w 60"/>
                <a:gd name="T105" fmla="*/ 59 h 68"/>
                <a:gd name="T106" fmla="*/ 49 w 60"/>
                <a:gd name="T107" fmla="*/ 52 h 68"/>
                <a:gd name="T108" fmla="*/ 53 w 60"/>
                <a:gd name="T109" fmla="*/ 47 h 68"/>
                <a:gd name="T110" fmla="*/ 54 w 60"/>
                <a:gd name="T111" fmla="*/ 42 h 68"/>
                <a:gd name="T112" fmla="*/ 55 w 60"/>
                <a:gd name="T113" fmla="*/ 38 h 68"/>
                <a:gd name="T114" fmla="*/ 56 w 60"/>
                <a:gd name="T115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" h="68">
                  <a:moveTo>
                    <a:pt x="57" y="32"/>
                  </a:moveTo>
                  <a:cubicBezTo>
                    <a:pt x="57" y="31"/>
                    <a:pt x="58" y="31"/>
                    <a:pt x="58" y="31"/>
                  </a:cubicBezTo>
                  <a:cubicBezTo>
                    <a:pt x="59" y="31"/>
                    <a:pt x="60" y="32"/>
                    <a:pt x="60" y="32"/>
                  </a:cubicBezTo>
                  <a:cubicBezTo>
                    <a:pt x="60" y="28"/>
                    <a:pt x="57" y="29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6"/>
                    <a:pt x="57" y="26"/>
                  </a:cubicBezTo>
                  <a:cubicBezTo>
                    <a:pt x="57" y="26"/>
                    <a:pt x="58" y="25"/>
                    <a:pt x="58" y="25"/>
                  </a:cubicBezTo>
                  <a:cubicBezTo>
                    <a:pt x="59" y="25"/>
                    <a:pt x="60" y="26"/>
                    <a:pt x="60" y="26"/>
                  </a:cubicBezTo>
                  <a:cubicBezTo>
                    <a:pt x="60" y="22"/>
                    <a:pt x="56" y="24"/>
                    <a:pt x="55" y="22"/>
                  </a:cubicBezTo>
                  <a:cubicBezTo>
                    <a:pt x="55" y="22"/>
                    <a:pt x="55" y="21"/>
                    <a:pt x="56" y="21"/>
                  </a:cubicBezTo>
                  <a:cubicBezTo>
                    <a:pt x="56" y="20"/>
                    <a:pt x="57" y="20"/>
                    <a:pt x="57" y="20"/>
                  </a:cubicBezTo>
                  <a:cubicBezTo>
                    <a:pt x="58" y="20"/>
                    <a:pt x="59" y="21"/>
                    <a:pt x="59" y="21"/>
                  </a:cubicBezTo>
                  <a:cubicBezTo>
                    <a:pt x="58" y="16"/>
                    <a:pt x="55" y="19"/>
                    <a:pt x="54" y="17"/>
                  </a:cubicBezTo>
                  <a:cubicBezTo>
                    <a:pt x="54" y="17"/>
                    <a:pt x="54" y="17"/>
                    <a:pt x="54" y="16"/>
                  </a:cubicBezTo>
                  <a:cubicBezTo>
                    <a:pt x="54" y="15"/>
                    <a:pt x="55" y="15"/>
                    <a:pt x="56" y="15"/>
                  </a:cubicBezTo>
                  <a:cubicBezTo>
                    <a:pt x="57" y="15"/>
                    <a:pt x="58" y="15"/>
                    <a:pt x="58" y="15"/>
                  </a:cubicBezTo>
                  <a:cubicBezTo>
                    <a:pt x="57" y="13"/>
                    <a:pt x="55" y="13"/>
                    <a:pt x="54" y="13"/>
                  </a:cubicBezTo>
                  <a:cubicBezTo>
                    <a:pt x="54" y="13"/>
                    <a:pt x="53" y="13"/>
                    <a:pt x="5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2" y="10"/>
                    <a:pt x="53" y="10"/>
                    <a:pt x="5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4" y="9"/>
                    <a:pt x="53" y="8"/>
                    <a:pt x="52" y="8"/>
                  </a:cubicBezTo>
                  <a:cubicBezTo>
                    <a:pt x="51" y="8"/>
                    <a:pt x="50" y="9"/>
                    <a:pt x="50" y="9"/>
                  </a:cubicBezTo>
                  <a:cubicBezTo>
                    <a:pt x="49" y="9"/>
                    <a:pt x="49" y="9"/>
                    <a:pt x="49" y="8"/>
                  </a:cubicBezTo>
                  <a:cubicBezTo>
                    <a:pt x="49" y="8"/>
                    <a:pt x="48" y="8"/>
                    <a:pt x="48" y="8"/>
                  </a:cubicBezTo>
                  <a:cubicBezTo>
                    <a:pt x="49" y="6"/>
                    <a:pt x="51" y="5"/>
                    <a:pt x="51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1" y="4"/>
                    <a:pt x="50" y="4"/>
                    <a:pt x="49" y="4"/>
                  </a:cubicBezTo>
                  <a:cubicBezTo>
                    <a:pt x="48" y="4"/>
                    <a:pt x="47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4" y="4"/>
                  </a:cubicBezTo>
                  <a:cubicBezTo>
                    <a:pt x="44" y="1"/>
                    <a:pt x="47" y="1"/>
                    <a:pt x="47" y="1"/>
                  </a:cubicBezTo>
                  <a:cubicBezTo>
                    <a:pt x="47" y="1"/>
                    <a:pt x="46" y="0"/>
                    <a:pt x="45" y="0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5" y="9"/>
                    <a:pt x="45" y="10"/>
                    <a:pt x="46" y="10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7" y="11"/>
                    <a:pt x="47" y="12"/>
                    <a:pt x="48" y="12"/>
                  </a:cubicBezTo>
                  <a:cubicBezTo>
                    <a:pt x="48" y="13"/>
                    <a:pt x="48" y="13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50" y="16"/>
                    <a:pt x="51" y="16"/>
                  </a:cubicBezTo>
                  <a:cubicBezTo>
                    <a:pt x="50" y="17"/>
                    <a:pt x="50" y="17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2" y="20"/>
                    <a:pt x="52" y="20"/>
                  </a:cubicBezTo>
                  <a:cubicBezTo>
                    <a:pt x="52" y="21"/>
                    <a:pt x="52" y="22"/>
                    <a:pt x="52" y="22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3" y="24"/>
                    <a:pt x="53" y="24"/>
                    <a:pt x="53" y="25"/>
                  </a:cubicBezTo>
                  <a:cubicBezTo>
                    <a:pt x="53" y="25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4" y="30"/>
                  </a:cubicBezTo>
                  <a:cubicBezTo>
                    <a:pt x="53" y="30"/>
                    <a:pt x="53" y="31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4"/>
                    <a:pt x="53" y="34"/>
                    <a:pt x="53" y="35"/>
                  </a:cubicBezTo>
                  <a:cubicBezTo>
                    <a:pt x="53" y="35"/>
                    <a:pt x="53" y="36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2" y="39"/>
                    <a:pt x="52" y="39"/>
                    <a:pt x="52" y="40"/>
                  </a:cubicBezTo>
                  <a:cubicBezTo>
                    <a:pt x="52" y="40"/>
                    <a:pt x="51" y="41"/>
                    <a:pt x="51" y="41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3"/>
                    <a:pt x="50" y="44"/>
                    <a:pt x="50" y="44"/>
                  </a:cubicBezTo>
                  <a:cubicBezTo>
                    <a:pt x="50" y="45"/>
                    <a:pt x="49" y="45"/>
                    <a:pt x="49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7"/>
                    <a:pt x="48" y="48"/>
                    <a:pt x="48" y="48"/>
                  </a:cubicBezTo>
                  <a:cubicBezTo>
                    <a:pt x="47" y="49"/>
                    <a:pt x="46" y="49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1"/>
                    <a:pt x="45" y="52"/>
                    <a:pt x="44" y="52"/>
                  </a:cubicBezTo>
                  <a:cubicBezTo>
                    <a:pt x="44" y="52"/>
                    <a:pt x="43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0" y="55"/>
                    <a:pt x="40" y="55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3" y="59"/>
                    <a:pt x="33" y="59"/>
                    <a:pt x="32" y="60"/>
                  </a:cubicBez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1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4" y="60"/>
                    <a:pt x="23" y="61"/>
                    <a:pt x="23" y="61"/>
                  </a:cubicBezTo>
                  <a:cubicBezTo>
                    <a:pt x="22" y="61"/>
                    <a:pt x="21" y="60"/>
                    <a:pt x="21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9" y="60"/>
                    <a:pt x="18" y="60"/>
                    <a:pt x="18" y="61"/>
                  </a:cubicBezTo>
                  <a:cubicBezTo>
                    <a:pt x="17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3" y="59"/>
                    <a:pt x="13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9" y="58"/>
                    <a:pt x="9" y="58"/>
                  </a:cubicBezTo>
                  <a:cubicBezTo>
                    <a:pt x="9" y="58"/>
                    <a:pt x="8" y="58"/>
                    <a:pt x="8" y="58"/>
                  </a:cubicBezTo>
                  <a:cubicBezTo>
                    <a:pt x="8" y="57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5"/>
                    <a:pt x="5" y="55"/>
                    <a:pt x="4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4" y="55"/>
                    <a:pt x="4" y="55"/>
                    <a:pt x="4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0"/>
                    <a:pt x="1" y="60"/>
                  </a:cubicBezTo>
                  <a:cubicBezTo>
                    <a:pt x="2" y="60"/>
                    <a:pt x="3" y="58"/>
                    <a:pt x="4" y="58"/>
                  </a:cubicBezTo>
                  <a:cubicBezTo>
                    <a:pt x="4" y="58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6" y="62"/>
                    <a:pt x="3" y="62"/>
                    <a:pt x="3" y="62"/>
                  </a:cubicBezTo>
                  <a:cubicBezTo>
                    <a:pt x="4" y="63"/>
                    <a:pt x="4" y="63"/>
                    <a:pt x="5" y="63"/>
                  </a:cubicBezTo>
                  <a:cubicBezTo>
                    <a:pt x="7" y="63"/>
                    <a:pt x="8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10" y="61"/>
                    <a:pt x="10" y="61"/>
                    <a:pt x="10" y="62"/>
                  </a:cubicBezTo>
                  <a:cubicBezTo>
                    <a:pt x="11" y="64"/>
                    <a:pt x="8" y="65"/>
                    <a:pt x="8" y="65"/>
                  </a:cubicBezTo>
                  <a:cubicBezTo>
                    <a:pt x="9" y="65"/>
                    <a:pt x="9" y="65"/>
                    <a:pt x="10" y="65"/>
                  </a:cubicBezTo>
                  <a:cubicBezTo>
                    <a:pt x="13" y="65"/>
                    <a:pt x="13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5" y="63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5"/>
                    <a:pt x="14" y="67"/>
                    <a:pt x="14" y="67"/>
                  </a:cubicBezTo>
                  <a:cubicBezTo>
                    <a:pt x="14" y="67"/>
                    <a:pt x="15" y="67"/>
                    <a:pt x="15" y="67"/>
                  </a:cubicBezTo>
                  <a:cubicBezTo>
                    <a:pt x="18" y="67"/>
                    <a:pt x="18" y="64"/>
                    <a:pt x="20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1" y="64"/>
                    <a:pt x="21" y="64"/>
                  </a:cubicBezTo>
                  <a:cubicBezTo>
                    <a:pt x="22" y="66"/>
                    <a:pt x="20" y="68"/>
                    <a:pt x="20" y="68"/>
                  </a:cubicBezTo>
                  <a:cubicBezTo>
                    <a:pt x="25" y="68"/>
                    <a:pt x="23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8" y="65"/>
                    <a:pt x="26" y="68"/>
                    <a:pt x="26" y="68"/>
                  </a:cubicBezTo>
                  <a:cubicBezTo>
                    <a:pt x="31" y="67"/>
                    <a:pt x="29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3" y="64"/>
                    <a:pt x="32" y="67"/>
                    <a:pt x="32" y="67"/>
                  </a:cubicBezTo>
                  <a:cubicBezTo>
                    <a:pt x="36" y="65"/>
                    <a:pt x="34" y="62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9" y="62"/>
                    <a:pt x="38" y="65"/>
                    <a:pt x="38" y="65"/>
                  </a:cubicBezTo>
                  <a:cubicBezTo>
                    <a:pt x="41" y="63"/>
                    <a:pt x="39" y="60"/>
                    <a:pt x="40" y="59"/>
                  </a:cubicBezTo>
                  <a:cubicBezTo>
                    <a:pt x="40" y="59"/>
                    <a:pt x="40" y="59"/>
                    <a:pt x="41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3" y="59"/>
                    <a:pt x="42" y="62"/>
                    <a:pt x="42" y="62"/>
                  </a:cubicBezTo>
                  <a:cubicBezTo>
                    <a:pt x="46" y="60"/>
                    <a:pt x="43" y="57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7" y="56"/>
                    <a:pt x="47" y="59"/>
                    <a:pt x="47" y="59"/>
                  </a:cubicBezTo>
                  <a:cubicBezTo>
                    <a:pt x="50" y="56"/>
                    <a:pt x="47" y="54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1" y="52"/>
                    <a:pt x="52" y="54"/>
                    <a:pt x="52" y="54"/>
                  </a:cubicBezTo>
                  <a:cubicBezTo>
                    <a:pt x="54" y="51"/>
                    <a:pt x="50" y="50"/>
                    <a:pt x="51" y="48"/>
                  </a:cubicBezTo>
                  <a:cubicBezTo>
                    <a:pt x="51" y="48"/>
                    <a:pt x="52" y="47"/>
                    <a:pt x="52" y="47"/>
                  </a:cubicBezTo>
                  <a:cubicBezTo>
                    <a:pt x="52" y="47"/>
                    <a:pt x="52" y="47"/>
                    <a:pt x="53" y="47"/>
                  </a:cubicBezTo>
                  <a:cubicBezTo>
                    <a:pt x="54" y="47"/>
                    <a:pt x="55" y="50"/>
                    <a:pt x="55" y="50"/>
                  </a:cubicBezTo>
                  <a:cubicBezTo>
                    <a:pt x="57" y="46"/>
                    <a:pt x="53" y="45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7" y="42"/>
                    <a:pt x="58" y="44"/>
                    <a:pt x="58" y="44"/>
                  </a:cubicBezTo>
                  <a:cubicBezTo>
                    <a:pt x="59" y="40"/>
                    <a:pt x="55" y="40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6" y="38"/>
                    <a:pt x="56" y="37"/>
                    <a:pt x="56" y="37"/>
                  </a:cubicBezTo>
                  <a:cubicBezTo>
                    <a:pt x="56" y="37"/>
                    <a:pt x="57" y="37"/>
                    <a:pt x="57" y="37"/>
                  </a:cubicBezTo>
                  <a:cubicBezTo>
                    <a:pt x="59" y="37"/>
                    <a:pt x="60" y="38"/>
                    <a:pt x="60" y="38"/>
                  </a:cubicBezTo>
                  <a:cubicBezTo>
                    <a:pt x="60" y="34"/>
                    <a:pt x="56" y="35"/>
                    <a:pt x="56" y="33"/>
                  </a:cubicBezTo>
                  <a:cubicBezTo>
                    <a:pt x="56" y="33"/>
                    <a:pt x="56" y="33"/>
                    <a:pt x="56" y="32"/>
                  </a:cubicBezTo>
                  <a:cubicBezTo>
                    <a:pt x="56" y="32"/>
                    <a:pt x="56" y="32"/>
                    <a:pt x="57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1">
              <a:extLst>
                <a:ext uri="{FF2B5EF4-FFF2-40B4-BE49-F238E27FC236}">
                  <a16:creationId xmlns:a16="http://schemas.microsoft.com/office/drawing/2014/main" id="{308A593D-BA72-4BE3-A2DD-94F8F7322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1" y="378"/>
              <a:ext cx="56" cy="64"/>
            </a:xfrm>
            <a:custGeom>
              <a:avLst/>
              <a:gdLst>
                <a:gd name="T0" fmla="*/ 17 w 22"/>
                <a:gd name="T1" fmla="*/ 0 h 25"/>
                <a:gd name="T2" fmla="*/ 15 w 22"/>
                <a:gd name="T3" fmla="*/ 3 h 25"/>
                <a:gd name="T4" fmla="*/ 19 w 22"/>
                <a:gd name="T5" fmla="*/ 11 h 25"/>
                <a:gd name="T6" fmla="*/ 9 w 22"/>
                <a:gd name="T7" fmla="*/ 21 h 25"/>
                <a:gd name="T8" fmla="*/ 2 w 22"/>
                <a:gd name="T9" fmla="*/ 19 h 25"/>
                <a:gd name="T10" fmla="*/ 0 w 22"/>
                <a:gd name="T11" fmla="*/ 22 h 25"/>
                <a:gd name="T12" fmla="*/ 9 w 22"/>
                <a:gd name="T13" fmla="*/ 25 h 25"/>
                <a:gd name="T14" fmla="*/ 22 w 22"/>
                <a:gd name="T15" fmla="*/ 11 h 25"/>
                <a:gd name="T16" fmla="*/ 17 w 22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5">
                  <a:moveTo>
                    <a:pt x="17" y="0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7" y="5"/>
                    <a:pt x="19" y="8"/>
                    <a:pt x="19" y="11"/>
                  </a:cubicBezTo>
                  <a:cubicBezTo>
                    <a:pt x="19" y="17"/>
                    <a:pt x="14" y="21"/>
                    <a:pt x="9" y="21"/>
                  </a:cubicBezTo>
                  <a:cubicBezTo>
                    <a:pt x="6" y="21"/>
                    <a:pt x="4" y="20"/>
                    <a:pt x="2" y="1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3" y="24"/>
                    <a:pt x="5" y="25"/>
                    <a:pt x="9" y="25"/>
                  </a:cubicBezTo>
                  <a:cubicBezTo>
                    <a:pt x="16" y="25"/>
                    <a:pt x="22" y="19"/>
                    <a:pt x="22" y="11"/>
                  </a:cubicBezTo>
                  <a:cubicBezTo>
                    <a:pt x="22" y="6"/>
                    <a:pt x="20" y="3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2">
              <a:extLst>
                <a:ext uri="{FF2B5EF4-FFF2-40B4-BE49-F238E27FC236}">
                  <a16:creationId xmlns:a16="http://schemas.microsoft.com/office/drawing/2014/main" id="{9A6139EA-0CAA-4CDF-8F27-6DFAE91B8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" y="247"/>
              <a:ext cx="246" cy="261"/>
            </a:xfrm>
            <a:custGeom>
              <a:avLst/>
              <a:gdLst>
                <a:gd name="T0" fmla="*/ 19 w 96"/>
                <a:gd name="T1" fmla="*/ 29 h 102"/>
                <a:gd name="T2" fmla="*/ 94 w 96"/>
                <a:gd name="T3" fmla="*/ 20 h 102"/>
                <a:gd name="T4" fmla="*/ 32 w 96"/>
                <a:gd name="T5" fmla="*/ 100 h 102"/>
                <a:gd name="T6" fmla="*/ 34 w 96"/>
                <a:gd name="T7" fmla="*/ 101 h 102"/>
                <a:gd name="T8" fmla="*/ 96 w 96"/>
                <a:gd name="T9" fmla="*/ 19 h 102"/>
                <a:gd name="T10" fmla="*/ 95 w 96"/>
                <a:gd name="T11" fmla="*/ 18 h 102"/>
                <a:gd name="T12" fmla="*/ 18 w 96"/>
                <a:gd name="T13" fmla="*/ 28 h 102"/>
                <a:gd name="T14" fmla="*/ 24 w 96"/>
                <a:gd name="T15" fmla="*/ 102 h 102"/>
                <a:gd name="T16" fmla="*/ 25 w 96"/>
                <a:gd name="T17" fmla="*/ 101 h 102"/>
                <a:gd name="T18" fmla="*/ 19 w 96"/>
                <a:gd name="T19" fmla="*/ 2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19" y="29"/>
                  </a:moveTo>
                  <a:cubicBezTo>
                    <a:pt x="37" y="6"/>
                    <a:pt x="71" y="2"/>
                    <a:pt x="94" y="2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3" y="100"/>
                    <a:pt x="33" y="101"/>
                    <a:pt x="34" y="101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71" y="0"/>
                    <a:pt x="36" y="4"/>
                    <a:pt x="18" y="28"/>
                  </a:cubicBezTo>
                  <a:cubicBezTo>
                    <a:pt x="0" y="51"/>
                    <a:pt x="4" y="83"/>
                    <a:pt x="24" y="102"/>
                  </a:cubicBezTo>
                  <a:cubicBezTo>
                    <a:pt x="24" y="102"/>
                    <a:pt x="25" y="101"/>
                    <a:pt x="25" y="101"/>
                  </a:cubicBezTo>
                  <a:cubicBezTo>
                    <a:pt x="5" y="82"/>
                    <a:pt x="2" y="51"/>
                    <a:pt x="19" y="2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3">
              <a:extLst>
                <a:ext uri="{FF2B5EF4-FFF2-40B4-BE49-F238E27FC236}">
                  <a16:creationId xmlns:a16="http://schemas.microsoft.com/office/drawing/2014/main" id="{272D7020-4644-4506-A8CA-1AC9376C7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" y="252"/>
              <a:ext cx="236" cy="254"/>
            </a:xfrm>
            <a:custGeom>
              <a:avLst/>
              <a:gdLst>
                <a:gd name="T0" fmla="*/ 24 w 92"/>
                <a:gd name="T1" fmla="*/ 98 h 99"/>
                <a:gd name="T2" fmla="*/ 19 w 92"/>
                <a:gd name="T3" fmla="*/ 29 h 99"/>
                <a:gd name="T4" fmla="*/ 60 w 92"/>
                <a:gd name="T5" fmla="*/ 8 h 99"/>
                <a:gd name="T6" fmla="*/ 90 w 92"/>
                <a:gd name="T7" fmla="*/ 18 h 99"/>
                <a:gd name="T8" fmla="*/ 29 w 92"/>
                <a:gd name="T9" fmla="*/ 97 h 99"/>
                <a:gd name="T10" fmla="*/ 30 w 92"/>
                <a:gd name="T11" fmla="*/ 98 h 99"/>
                <a:gd name="T12" fmla="*/ 92 w 92"/>
                <a:gd name="T13" fmla="*/ 18 h 99"/>
                <a:gd name="T14" fmla="*/ 17 w 92"/>
                <a:gd name="T15" fmla="*/ 27 h 99"/>
                <a:gd name="T16" fmla="*/ 23 w 92"/>
                <a:gd name="T17" fmla="*/ 99 h 99"/>
                <a:gd name="T18" fmla="*/ 24 w 92"/>
                <a:gd name="T19" fmla="*/ 9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9">
                  <a:moveTo>
                    <a:pt x="24" y="98"/>
                  </a:moveTo>
                  <a:cubicBezTo>
                    <a:pt x="5" y="80"/>
                    <a:pt x="2" y="50"/>
                    <a:pt x="19" y="29"/>
                  </a:cubicBezTo>
                  <a:cubicBezTo>
                    <a:pt x="29" y="15"/>
                    <a:pt x="44" y="8"/>
                    <a:pt x="60" y="8"/>
                  </a:cubicBezTo>
                  <a:cubicBezTo>
                    <a:pt x="70" y="8"/>
                    <a:pt x="81" y="11"/>
                    <a:pt x="90" y="1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97"/>
                    <a:pt x="30" y="98"/>
                    <a:pt x="30" y="9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69" y="0"/>
                    <a:pt x="35" y="4"/>
                    <a:pt x="17" y="27"/>
                  </a:cubicBezTo>
                  <a:cubicBezTo>
                    <a:pt x="0" y="49"/>
                    <a:pt x="3" y="80"/>
                    <a:pt x="23" y="99"/>
                  </a:cubicBezTo>
                  <a:cubicBezTo>
                    <a:pt x="23" y="98"/>
                    <a:pt x="24" y="98"/>
                    <a:pt x="24" y="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4">
              <a:extLst>
                <a:ext uri="{FF2B5EF4-FFF2-40B4-BE49-F238E27FC236}">
                  <a16:creationId xmlns:a16="http://schemas.microsoft.com/office/drawing/2014/main" id="{8D873D31-7BCC-4058-8E43-5B4700C1A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506"/>
              <a:ext cx="10" cy="7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4 w 4"/>
                <a:gd name="T5" fmla="*/ 3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3" y="2"/>
                    <a:pt x="4" y="3"/>
                  </a:cubicBezTo>
                  <a:cubicBezTo>
                    <a:pt x="3" y="2"/>
                    <a:pt x="1" y="1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25">
              <a:extLst>
                <a:ext uri="{FF2B5EF4-FFF2-40B4-BE49-F238E27FC236}">
                  <a16:creationId xmlns:a16="http://schemas.microsoft.com/office/drawing/2014/main" id="{643047FC-4CE7-44A2-BE5E-BDF34AC51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503"/>
              <a:ext cx="8" cy="10"/>
            </a:xfrm>
            <a:custGeom>
              <a:avLst/>
              <a:gdLst>
                <a:gd name="T0" fmla="*/ 0 w 8"/>
                <a:gd name="T1" fmla="*/ 10 h 10"/>
                <a:gd name="T2" fmla="*/ 8 w 8"/>
                <a:gd name="T3" fmla="*/ 0 h 10"/>
                <a:gd name="T4" fmla="*/ 0 w 8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lnTo>
                    <a:pt x="8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26">
              <a:extLst>
                <a:ext uri="{FF2B5EF4-FFF2-40B4-BE49-F238E27FC236}">
                  <a16:creationId xmlns:a16="http://schemas.microsoft.com/office/drawing/2014/main" id="{CFD12759-D184-4EBC-9B8B-0C90A41FD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506"/>
              <a:ext cx="3" cy="2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27">
              <a:extLst>
                <a:ext uri="{FF2B5EF4-FFF2-40B4-BE49-F238E27FC236}">
                  <a16:creationId xmlns:a16="http://schemas.microsoft.com/office/drawing/2014/main" id="{68D827EC-1873-4A3F-83D1-E58C424C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" y="501"/>
              <a:ext cx="36" cy="30"/>
            </a:xfrm>
            <a:custGeom>
              <a:avLst/>
              <a:gdLst>
                <a:gd name="T0" fmla="*/ 11 w 14"/>
                <a:gd name="T1" fmla="*/ 0 h 12"/>
                <a:gd name="T2" fmla="*/ 10 w 14"/>
                <a:gd name="T3" fmla="*/ 1 h 12"/>
                <a:gd name="T4" fmla="*/ 12 w 14"/>
                <a:gd name="T5" fmla="*/ 5 h 12"/>
                <a:gd name="T6" fmla="*/ 7 w 14"/>
                <a:gd name="T7" fmla="*/ 11 h 12"/>
                <a:gd name="T8" fmla="*/ 2 w 14"/>
                <a:gd name="T9" fmla="*/ 5 h 12"/>
                <a:gd name="T10" fmla="*/ 3 w 14"/>
                <a:gd name="T11" fmla="*/ 2 h 12"/>
                <a:gd name="T12" fmla="*/ 3 w 14"/>
                <a:gd name="T13" fmla="*/ 2 h 12"/>
                <a:gd name="T14" fmla="*/ 2 w 14"/>
                <a:gd name="T15" fmla="*/ 1 h 12"/>
                <a:gd name="T16" fmla="*/ 0 w 14"/>
                <a:gd name="T17" fmla="*/ 5 h 12"/>
                <a:gd name="T18" fmla="*/ 7 w 14"/>
                <a:gd name="T19" fmla="*/ 12 h 12"/>
                <a:gd name="T20" fmla="*/ 14 w 14"/>
                <a:gd name="T21" fmla="*/ 5 h 12"/>
                <a:gd name="T22" fmla="*/ 11 w 14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2">
                  <a:moveTo>
                    <a:pt x="11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2"/>
                    <a:pt x="12" y="4"/>
                    <a:pt x="12" y="5"/>
                  </a:cubicBezTo>
                  <a:cubicBezTo>
                    <a:pt x="12" y="8"/>
                    <a:pt x="10" y="11"/>
                    <a:pt x="7" y="11"/>
                  </a:cubicBezTo>
                  <a:cubicBezTo>
                    <a:pt x="4" y="11"/>
                    <a:pt x="2" y="8"/>
                    <a:pt x="2" y="5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1" y="12"/>
                    <a:pt x="14" y="9"/>
                    <a:pt x="14" y="5"/>
                  </a:cubicBezTo>
                  <a:cubicBezTo>
                    <a:pt x="14" y="3"/>
                    <a:pt x="13" y="1"/>
                    <a:pt x="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8">
              <a:extLst>
                <a:ext uri="{FF2B5EF4-FFF2-40B4-BE49-F238E27FC236}">
                  <a16:creationId xmlns:a16="http://schemas.microsoft.com/office/drawing/2014/main" id="{9545B9DD-75F5-41DD-B77D-2931AF421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" y="503"/>
              <a:ext cx="25" cy="26"/>
            </a:xfrm>
            <a:custGeom>
              <a:avLst/>
              <a:gdLst>
                <a:gd name="T0" fmla="*/ 5 w 10"/>
                <a:gd name="T1" fmla="*/ 10 h 10"/>
                <a:gd name="T2" fmla="*/ 10 w 10"/>
                <a:gd name="T3" fmla="*/ 4 h 10"/>
                <a:gd name="T4" fmla="*/ 8 w 10"/>
                <a:gd name="T5" fmla="*/ 0 h 10"/>
                <a:gd name="T6" fmla="*/ 7 w 10"/>
                <a:gd name="T7" fmla="*/ 1 h 10"/>
                <a:gd name="T8" fmla="*/ 9 w 10"/>
                <a:gd name="T9" fmla="*/ 4 h 10"/>
                <a:gd name="T10" fmla="*/ 5 w 10"/>
                <a:gd name="T11" fmla="*/ 8 h 10"/>
                <a:gd name="T12" fmla="*/ 1 w 10"/>
                <a:gd name="T13" fmla="*/ 4 h 10"/>
                <a:gd name="T14" fmla="*/ 2 w 10"/>
                <a:gd name="T15" fmla="*/ 2 h 10"/>
                <a:gd name="T16" fmla="*/ 1 w 10"/>
                <a:gd name="T17" fmla="*/ 1 h 10"/>
                <a:gd name="T18" fmla="*/ 0 w 10"/>
                <a:gd name="T19" fmla="*/ 4 h 10"/>
                <a:gd name="T20" fmla="*/ 5 w 10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8" y="10"/>
                    <a:pt x="10" y="7"/>
                    <a:pt x="10" y="4"/>
                  </a:cubicBezTo>
                  <a:cubicBezTo>
                    <a:pt x="10" y="3"/>
                    <a:pt x="10" y="1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2"/>
                    <a:pt x="9" y="3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  <a:cubicBezTo>
                    <a:pt x="3" y="8"/>
                    <a:pt x="1" y="6"/>
                    <a:pt x="1" y="4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7"/>
                    <a:pt x="2" y="10"/>
                    <a:pt x="5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9">
              <a:extLst>
                <a:ext uri="{FF2B5EF4-FFF2-40B4-BE49-F238E27FC236}">
                  <a16:creationId xmlns:a16="http://schemas.microsoft.com/office/drawing/2014/main" id="{C1B5AFA0-6CAC-4E20-A890-C64F695D5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506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0">
              <a:extLst>
                <a:ext uri="{FF2B5EF4-FFF2-40B4-BE49-F238E27FC236}">
                  <a16:creationId xmlns:a16="http://schemas.microsoft.com/office/drawing/2014/main" id="{AB4F45DA-6987-42D4-ADA5-D6CC6D2DF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" y="495"/>
              <a:ext cx="23" cy="11"/>
            </a:xfrm>
            <a:custGeom>
              <a:avLst/>
              <a:gdLst>
                <a:gd name="T0" fmla="*/ 9 w 9"/>
                <a:gd name="T1" fmla="*/ 2 h 4"/>
                <a:gd name="T2" fmla="*/ 5 w 9"/>
                <a:gd name="T3" fmla="*/ 0 h 4"/>
                <a:gd name="T4" fmla="*/ 0 w 9"/>
                <a:gd name="T5" fmla="*/ 3 h 4"/>
                <a:gd name="T6" fmla="*/ 1 w 9"/>
                <a:gd name="T7" fmla="*/ 4 h 4"/>
                <a:gd name="T8" fmla="*/ 5 w 9"/>
                <a:gd name="T9" fmla="*/ 2 h 4"/>
                <a:gd name="T10" fmla="*/ 8 w 9"/>
                <a:gd name="T11" fmla="*/ 3 h 4"/>
                <a:gd name="T12" fmla="*/ 9 w 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9" y="2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1" y="1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2" y="3"/>
                    <a:pt x="4" y="2"/>
                    <a:pt x="5" y="2"/>
                  </a:cubicBezTo>
                  <a:cubicBezTo>
                    <a:pt x="6" y="2"/>
                    <a:pt x="7" y="2"/>
                    <a:pt x="8" y="3"/>
                  </a:cubicBezTo>
                  <a:lnTo>
                    <a:pt x="9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1">
              <a:extLst>
                <a:ext uri="{FF2B5EF4-FFF2-40B4-BE49-F238E27FC236}">
                  <a16:creationId xmlns:a16="http://schemas.microsoft.com/office/drawing/2014/main" id="{5546CA01-68B9-4904-83BD-8761FBE4E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503"/>
              <a:ext cx="2" cy="3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0 w 2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2">
              <a:extLst>
                <a:ext uri="{FF2B5EF4-FFF2-40B4-BE49-F238E27FC236}">
                  <a16:creationId xmlns:a16="http://schemas.microsoft.com/office/drawing/2014/main" id="{E99DDF1C-8CAA-4C85-8A07-05E1DAA40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501"/>
              <a:ext cx="18" cy="7"/>
            </a:xfrm>
            <a:custGeom>
              <a:avLst/>
              <a:gdLst>
                <a:gd name="T0" fmla="*/ 4 w 7"/>
                <a:gd name="T1" fmla="*/ 0 h 3"/>
                <a:gd name="T2" fmla="*/ 0 w 7"/>
                <a:gd name="T3" fmla="*/ 2 h 3"/>
                <a:gd name="T4" fmla="*/ 1 w 7"/>
                <a:gd name="T5" fmla="*/ 3 h 3"/>
                <a:gd name="T6" fmla="*/ 4 w 7"/>
                <a:gd name="T7" fmla="*/ 2 h 3"/>
                <a:gd name="T8" fmla="*/ 6 w 7"/>
                <a:gd name="T9" fmla="*/ 2 h 3"/>
                <a:gd name="T10" fmla="*/ 7 w 7"/>
                <a:gd name="T11" fmla="*/ 1 h 3"/>
                <a:gd name="T12" fmla="*/ 4 w 7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4" y="0"/>
                  </a:move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3">
              <a:extLst>
                <a:ext uri="{FF2B5EF4-FFF2-40B4-BE49-F238E27FC236}">
                  <a16:creationId xmlns:a16="http://schemas.microsoft.com/office/drawing/2014/main" id="{99DB8BBE-A021-46A1-810A-19246F79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503"/>
              <a:ext cx="2" cy="3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0 w 2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4">
              <a:extLst>
                <a:ext uri="{FF2B5EF4-FFF2-40B4-BE49-F238E27FC236}">
                  <a16:creationId xmlns:a16="http://schemas.microsoft.com/office/drawing/2014/main" id="{72B2876C-3E18-45FE-BF73-31E456E3C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303"/>
              <a:ext cx="59" cy="54"/>
            </a:xfrm>
            <a:custGeom>
              <a:avLst/>
              <a:gdLst>
                <a:gd name="T0" fmla="*/ 13 w 59"/>
                <a:gd name="T1" fmla="*/ 23 h 54"/>
                <a:gd name="T2" fmla="*/ 23 w 59"/>
                <a:gd name="T3" fmla="*/ 11 h 54"/>
                <a:gd name="T4" fmla="*/ 46 w 59"/>
                <a:gd name="T5" fmla="*/ 31 h 54"/>
                <a:gd name="T6" fmla="*/ 49 w 59"/>
                <a:gd name="T7" fmla="*/ 41 h 54"/>
                <a:gd name="T8" fmla="*/ 39 w 59"/>
                <a:gd name="T9" fmla="*/ 44 h 54"/>
                <a:gd name="T10" fmla="*/ 13 w 59"/>
                <a:gd name="T11" fmla="*/ 23 h 54"/>
                <a:gd name="T12" fmla="*/ 59 w 59"/>
                <a:gd name="T13" fmla="*/ 49 h 54"/>
                <a:gd name="T14" fmla="*/ 54 w 59"/>
                <a:gd name="T15" fmla="*/ 13 h 54"/>
                <a:gd name="T16" fmla="*/ 49 w 59"/>
                <a:gd name="T17" fmla="*/ 21 h 54"/>
                <a:gd name="T18" fmla="*/ 21 w 59"/>
                <a:gd name="T19" fmla="*/ 0 h 54"/>
                <a:gd name="T20" fmla="*/ 0 w 59"/>
                <a:gd name="T21" fmla="*/ 23 h 54"/>
                <a:gd name="T22" fmla="*/ 28 w 59"/>
                <a:gd name="T23" fmla="*/ 47 h 54"/>
                <a:gd name="T24" fmla="*/ 23 w 59"/>
                <a:gd name="T25" fmla="*/ 54 h 54"/>
                <a:gd name="T26" fmla="*/ 59 w 59"/>
                <a:gd name="T27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4">
                  <a:moveTo>
                    <a:pt x="13" y="23"/>
                  </a:moveTo>
                  <a:lnTo>
                    <a:pt x="23" y="11"/>
                  </a:lnTo>
                  <a:lnTo>
                    <a:pt x="46" y="31"/>
                  </a:lnTo>
                  <a:lnTo>
                    <a:pt x="49" y="41"/>
                  </a:lnTo>
                  <a:lnTo>
                    <a:pt x="39" y="44"/>
                  </a:lnTo>
                  <a:lnTo>
                    <a:pt x="13" y="23"/>
                  </a:lnTo>
                  <a:close/>
                  <a:moveTo>
                    <a:pt x="59" y="49"/>
                  </a:moveTo>
                  <a:lnTo>
                    <a:pt x="54" y="13"/>
                  </a:lnTo>
                  <a:lnTo>
                    <a:pt x="49" y="21"/>
                  </a:lnTo>
                  <a:lnTo>
                    <a:pt x="21" y="0"/>
                  </a:lnTo>
                  <a:lnTo>
                    <a:pt x="0" y="23"/>
                  </a:lnTo>
                  <a:lnTo>
                    <a:pt x="28" y="47"/>
                  </a:lnTo>
                  <a:lnTo>
                    <a:pt x="23" y="54"/>
                  </a:lnTo>
                  <a:lnTo>
                    <a:pt x="59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1" name="Group 137">
            <a:extLst>
              <a:ext uri="{FF2B5EF4-FFF2-40B4-BE49-F238E27FC236}">
                <a16:creationId xmlns:a16="http://schemas.microsoft.com/office/drawing/2014/main" id="{B0794A30-0395-4FB3-BDB3-5C9C71D19F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5213" y="275432"/>
            <a:ext cx="758825" cy="758825"/>
            <a:chOff x="2271" y="158"/>
            <a:chExt cx="478" cy="478"/>
          </a:xfrm>
        </p:grpSpPr>
        <p:sp>
          <p:nvSpPr>
            <p:cNvPr id="152" name="AutoShape 136">
              <a:extLst>
                <a:ext uri="{FF2B5EF4-FFF2-40B4-BE49-F238E27FC236}">
                  <a16:creationId xmlns:a16="http://schemas.microsoft.com/office/drawing/2014/main" id="{FEC040E7-F8F3-4EBC-BD1F-EE2B69CDD5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1" y="1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8">
              <a:extLst>
                <a:ext uri="{FF2B5EF4-FFF2-40B4-BE49-F238E27FC236}">
                  <a16:creationId xmlns:a16="http://schemas.microsoft.com/office/drawing/2014/main" id="{E7AABDD2-14C8-4917-ABB0-A53B2DD341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3" y="16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9">
              <a:extLst>
                <a:ext uri="{FF2B5EF4-FFF2-40B4-BE49-F238E27FC236}">
                  <a16:creationId xmlns:a16="http://schemas.microsoft.com/office/drawing/2014/main" id="{72FD5B63-176C-400F-91CF-CE08940DA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452"/>
              <a:ext cx="270" cy="69"/>
            </a:xfrm>
            <a:custGeom>
              <a:avLst/>
              <a:gdLst>
                <a:gd name="T0" fmla="*/ 96 w 110"/>
                <a:gd name="T1" fmla="*/ 0 h 28"/>
                <a:gd name="T2" fmla="*/ 96 w 110"/>
                <a:gd name="T3" fmla="*/ 3 h 28"/>
                <a:gd name="T4" fmla="*/ 85 w 110"/>
                <a:gd name="T5" fmla="*/ 3 h 28"/>
                <a:gd name="T6" fmla="*/ 85 w 110"/>
                <a:gd name="T7" fmla="*/ 19 h 28"/>
                <a:gd name="T8" fmla="*/ 1 w 110"/>
                <a:gd name="T9" fmla="*/ 19 h 28"/>
                <a:gd name="T10" fmla="*/ 1 w 110"/>
                <a:gd name="T11" fmla="*/ 23 h 28"/>
                <a:gd name="T12" fmla="*/ 89 w 110"/>
                <a:gd name="T13" fmla="*/ 23 h 28"/>
                <a:gd name="T14" fmla="*/ 89 w 110"/>
                <a:gd name="T15" fmla="*/ 6 h 28"/>
                <a:gd name="T16" fmla="*/ 99 w 110"/>
                <a:gd name="T17" fmla="*/ 6 h 28"/>
                <a:gd name="T18" fmla="*/ 99 w 110"/>
                <a:gd name="T19" fmla="*/ 3 h 28"/>
                <a:gd name="T20" fmla="*/ 107 w 110"/>
                <a:gd name="T21" fmla="*/ 3 h 28"/>
                <a:gd name="T22" fmla="*/ 107 w 110"/>
                <a:gd name="T23" fmla="*/ 25 h 28"/>
                <a:gd name="T24" fmla="*/ 1 w 110"/>
                <a:gd name="T25" fmla="*/ 25 h 28"/>
                <a:gd name="T26" fmla="*/ 0 w 110"/>
                <a:gd name="T27" fmla="*/ 27 h 28"/>
                <a:gd name="T28" fmla="*/ 0 w 110"/>
                <a:gd name="T29" fmla="*/ 28 h 28"/>
                <a:gd name="T30" fmla="*/ 110 w 110"/>
                <a:gd name="T31" fmla="*/ 28 h 28"/>
                <a:gd name="T32" fmla="*/ 110 w 110"/>
                <a:gd name="T33" fmla="*/ 0 h 28"/>
                <a:gd name="T34" fmla="*/ 96 w 110"/>
                <a:gd name="T3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28">
                  <a:moveTo>
                    <a:pt x="96" y="0"/>
                  </a:moveTo>
                  <a:cubicBezTo>
                    <a:pt x="96" y="3"/>
                    <a:pt x="96" y="3"/>
                    <a:pt x="96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0">
              <a:extLst>
                <a:ext uri="{FF2B5EF4-FFF2-40B4-BE49-F238E27FC236}">
                  <a16:creationId xmlns:a16="http://schemas.microsoft.com/office/drawing/2014/main" id="{1DA592AD-38D4-4EE5-B023-23EF515E2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513"/>
              <a:ext cx="3" cy="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41">
              <a:extLst>
                <a:ext uri="{FF2B5EF4-FFF2-40B4-BE49-F238E27FC236}">
                  <a16:creationId xmlns:a16="http://schemas.microsoft.com/office/drawing/2014/main" id="{A10792E9-E335-4005-9016-EB47E36FF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" y="332"/>
              <a:ext cx="147" cy="167"/>
            </a:xfrm>
            <a:custGeom>
              <a:avLst/>
              <a:gdLst>
                <a:gd name="T0" fmla="*/ 56 w 60"/>
                <a:gd name="T1" fmla="*/ 27 h 68"/>
                <a:gd name="T2" fmla="*/ 60 w 60"/>
                <a:gd name="T3" fmla="*/ 26 h 68"/>
                <a:gd name="T4" fmla="*/ 59 w 60"/>
                <a:gd name="T5" fmla="*/ 21 h 68"/>
                <a:gd name="T6" fmla="*/ 58 w 60"/>
                <a:gd name="T7" fmla="*/ 15 h 68"/>
                <a:gd name="T8" fmla="*/ 51 w 60"/>
                <a:gd name="T9" fmla="*/ 12 h 68"/>
                <a:gd name="T10" fmla="*/ 50 w 60"/>
                <a:gd name="T11" fmla="*/ 9 h 68"/>
                <a:gd name="T12" fmla="*/ 52 w 60"/>
                <a:gd name="T13" fmla="*/ 5 h 68"/>
                <a:gd name="T14" fmla="*/ 45 w 60"/>
                <a:gd name="T15" fmla="*/ 5 h 68"/>
                <a:gd name="T16" fmla="*/ 41 w 60"/>
                <a:gd name="T17" fmla="*/ 5 h 68"/>
                <a:gd name="T18" fmla="*/ 43 w 60"/>
                <a:gd name="T19" fmla="*/ 7 h 68"/>
                <a:gd name="T20" fmla="*/ 46 w 60"/>
                <a:gd name="T21" fmla="*/ 10 h 68"/>
                <a:gd name="T22" fmla="*/ 49 w 60"/>
                <a:gd name="T23" fmla="*/ 14 h 68"/>
                <a:gd name="T24" fmla="*/ 51 w 60"/>
                <a:gd name="T25" fmla="*/ 18 h 68"/>
                <a:gd name="T26" fmla="*/ 52 w 60"/>
                <a:gd name="T27" fmla="*/ 22 h 68"/>
                <a:gd name="T28" fmla="*/ 53 w 60"/>
                <a:gd name="T29" fmla="*/ 27 h 68"/>
                <a:gd name="T30" fmla="*/ 53 w 60"/>
                <a:gd name="T31" fmla="*/ 27 h 68"/>
                <a:gd name="T32" fmla="*/ 53 w 60"/>
                <a:gd name="T33" fmla="*/ 32 h 68"/>
                <a:gd name="T34" fmla="*/ 53 w 60"/>
                <a:gd name="T35" fmla="*/ 33 h 68"/>
                <a:gd name="T36" fmla="*/ 52 w 60"/>
                <a:gd name="T37" fmla="*/ 37 h 68"/>
                <a:gd name="T38" fmla="*/ 52 w 60"/>
                <a:gd name="T39" fmla="*/ 38 h 68"/>
                <a:gd name="T40" fmla="*/ 51 w 60"/>
                <a:gd name="T41" fmla="*/ 42 h 68"/>
                <a:gd name="T42" fmla="*/ 49 w 60"/>
                <a:gd name="T43" fmla="*/ 46 h 68"/>
                <a:gd name="T44" fmla="*/ 46 w 60"/>
                <a:gd name="T45" fmla="*/ 50 h 68"/>
                <a:gd name="T46" fmla="*/ 45 w 60"/>
                <a:gd name="T47" fmla="*/ 50 h 68"/>
                <a:gd name="T48" fmla="*/ 42 w 60"/>
                <a:gd name="T49" fmla="*/ 53 h 68"/>
                <a:gd name="T50" fmla="*/ 42 w 60"/>
                <a:gd name="T51" fmla="*/ 53 h 68"/>
                <a:gd name="T52" fmla="*/ 38 w 60"/>
                <a:gd name="T53" fmla="*/ 56 h 68"/>
                <a:gd name="T54" fmla="*/ 35 w 60"/>
                <a:gd name="T55" fmla="*/ 58 h 68"/>
                <a:gd name="T56" fmla="*/ 34 w 60"/>
                <a:gd name="T57" fmla="*/ 58 h 68"/>
                <a:gd name="T58" fmla="*/ 31 w 60"/>
                <a:gd name="T59" fmla="*/ 59 h 68"/>
                <a:gd name="T60" fmla="*/ 28 w 60"/>
                <a:gd name="T61" fmla="*/ 61 h 68"/>
                <a:gd name="T62" fmla="*/ 25 w 60"/>
                <a:gd name="T63" fmla="*/ 60 h 68"/>
                <a:gd name="T64" fmla="*/ 20 w 60"/>
                <a:gd name="T65" fmla="*/ 60 h 68"/>
                <a:gd name="T66" fmla="*/ 20 w 60"/>
                <a:gd name="T67" fmla="*/ 60 h 68"/>
                <a:gd name="T68" fmla="*/ 16 w 60"/>
                <a:gd name="T69" fmla="*/ 60 h 68"/>
                <a:gd name="T70" fmla="*/ 15 w 60"/>
                <a:gd name="T71" fmla="*/ 59 h 68"/>
                <a:gd name="T72" fmla="*/ 13 w 60"/>
                <a:gd name="T73" fmla="*/ 60 h 68"/>
                <a:gd name="T74" fmla="*/ 11 w 60"/>
                <a:gd name="T75" fmla="*/ 58 h 68"/>
                <a:gd name="T76" fmla="*/ 9 w 60"/>
                <a:gd name="T77" fmla="*/ 58 h 68"/>
                <a:gd name="T78" fmla="*/ 7 w 60"/>
                <a:gd name="T79" fmla="*/ 56 h 68"/>
                <a:gd name="T80" fmla="*/ 6 w 60"/>
                <a:gd name="T81" fmla="*/ 56 h 68"/>
                <a:gd name="T82" fmla="*/ 0 w 60"/>
                <a:gd name="T83" fmla="*/ 60 h 68"/>
                <a:gd name="T84" fmla="*/ 5 w 60"/>
                <a:gd name="T85" fmla="*/ 59 h 68"/>
                <a:gd name="T86" fmla="*/ 9 w 60"/>
                <a:gd name="T87" fmla="*/ 61 h 68"/>
                <a:gd name="T88" fmla="*/ 8 w 60"/>
                <a:gd name="T89" fmla="*/ 65 h 68"/>
                <a:gd name="T90" fmla="*/ 15 w 60"/>
                <a:gd name="T91" fmla="*/ 63 h 68"/>
                <a:gd name="T92" fmla="*/ 20 w 60"/>
                <a:gd name="T93" fmla="*/ 64 h 68"/>
                <a:gd name="T94" fmla="*/ 25 w 60"/>
                <a:gd name="T95" fmla="*/ 64 h 68"/>
                <a:gd name="T96" fmla="*/ 31 w 60"/>
                <a:gd name="T97" fmla="*/ 63 h 68"/>
                <a:gd name="T98" fmla="*/ 35 w 60"/>
                <a:gd name="T99" fmla="*/ 61 h 68"/>
                <a:gd name="T100" fmla="*/ 38 w 60"/>
                <a:gd name="T101" fmla="*/ 65 h 68"/>
                <a:gd name="T102" fmla="*/ 42 w 60"/>
                <a:gd name="T103" fmla="*/ 62 h 68"/>
                <a:gd name="T104" fmla="*/ 47 w 60"/>
                <a:gd name="T105" fmla="*/ 59 h 68"/>
                <a:gd name="T106" fmla="*/ 49 w 60"/>
                <a:gd name="T107" fmla="*/ 52 h 68"/>
                <a:gd name="T108" fmla="*/ 53 w 60"/>
                <a:gd name="T109" fmla="*/ 47 h 68"/>
                <a:gd name="T110" fmla="*/ 54 w 60"/>
                <a:gd name="T111" fmla="*/ 42 h 68"/>
                <a:gd name="T112" fmla="*/ 55 w 60"/>
                <a:gd name="T113" fmla="*/ 38 h 68"/>
                <a:gd name="T114" fmla="*/ 56 w 60"/>
                <a:gd name="T115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" h="68">
                  <a:moveTo>
                    <a:pt x="57" y="32"/>
                  </a:moveTo>
                  <a:cubicBezTo>
                    <a:pt x="57" y="31"/>
                    <a:pt x="58" y="31"/>
                    <a:pt x="58" y="31"/>
                  </a:cubicBezTo>
                  <a:cubicBezTo>
                    <a:pt x="59" y="31"/>
                    <a:pt x="60" y="32"/>
                    <a:pt x="60" y="32"/>
                  </a:cubicBezTo>
                  <a:cubicBezTo>
                    <a:pt x="60" y="28"/>
                    <a:pt x="57" y="29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6"/>
                    <a:pt x="57" y="26"/>
                  </a:cubicBezTo>
                  <a:cubicBezTo>
                    <a:pt x="57" y="26"/>
                    <a:pt x="58" y="25"/>
                    <a:pt x="58" y="25"/>
                  </a:cubicBezTo>
                  <a:cubicBezTo>
                    <a:pt x="59" y="25"/>
                    <a:pt x="60" y="26"/>
                    <a:pt x="60" y="26"/>
                  </a:cubicBezTo>
                  <a:cubicBezTo>
                    <a:pt x="60" y="22"/>
                    <a:pt x="56" y="24"/>
                    <a:pt x="55" y="22"/>
                  </a:cubicBezTo>
                  <a:cubicBezTo>
                    <a:pt x="55" y="22"/>
                    <a:pt x="55" y="21"/>
                    <a:pt x="56" y="21"/>
                  </a:cubicBezTo>
                  <a:cubicBezTo>
                    <a:pt x="56" y="20"/>
                    <a:pt x="57" y="20"/>
                    <a:pt x="57" y="20"/>
                  </a:cubicBezTo>
                  <a:cubicBezTo>
                    <a:pt x="58" y="20"/>
                    <a:pt x="59" y="21"/>
                    <a:pt x="59" y="21"/>
                  </a:cubicBezTo>
                  <a:cubicBezTo>
                    <a:pt x="58" y="16"/>
                    <a:pt x="55" y="19"/>
                    <a:pt x="54" y="17"/>
                  </a:cubicBezTo>
                  <a:cubicBezTo>
                    <a:pt x="54" y="17"/>
                    <a:pt x="54" y="17"/>
                    <a:pt x="54" y="16"/>
                  </a:cubicBezTo>
                  <a:cubicBezTo>
                    <a:pt x="54" y="15"/>
                    <a:pt x="55" y="15"/>
                    <a:pt x="56" y="15"/>
                  </a:cubicBezTo>
                  <a:cubicBezTo>
                    <a:pt x="57" y="15"/>
                    <a:pt x="58" y="15"/>
                    <a:pt x="58" y="15"/>
                  </a:cubicBezTo>
                  <a:cubicBezTo>
                    <a:pt x="57" y="13"/>
                    <a:pt x="55" y="13"/>
                    <a:pt x="54" y="13"/>
                  </a:cubicBezTo>
                  <a:cubicBezTo>
                    <a:pt x="54" y="13"/>
                    <a:pt x="53" y="13"/>
                    <a:pt x="5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2" y="10"/>
                    <a:pt x="53" y="10"/>
                    <a:pt x="5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4" y="9"/>
                    <a:pt x="53" y="8"/>
                    <a:pt x="52" y="8"/>
                  </a:cubicBezTo>
                  <a:cubicBezTo>
                    <a:pt x="51" y="8"/>
                    <a:pt x="50" y="9"/>
                    <a:pt x="50" y="9"/>
                  </a:cubicBezTo>
                  <a:cubicBezTo>
                    <a:pt x="49" y="9"/>
                    <a:pt x="49" y="9"/>
                    <a:pt x="49" y="8"/>
                  </a:cubicBezTo>
                  <a:cubicBezTo>
                    <a:pt x="49" y="8"/>
                    <a:pt x="48" y="8"/>
                    <a:pt x="48" y="8"/>
                  </a:cubicBezTo>
                  <a:cubicBezTo>
                    <a:pt x="49" y="6"/>
                    <a:pt x="51" y="5"/>
                    <a:pt x="51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1" y="4"/>
                    <a:pt x="50" y="4"/>
                    <a:pt x="49" y="4"/>
                  </a:cubicBezTo>
                  <a:cubicBezTo>
                    <a:pt x="48" y="4"/>
                    <a:pt x="47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4" y="4"/>
                  </a:cubicBezTo>
                  <a:cubicBezTo>
                    <a:pt x="44" y="1"/>
                    <a:pt x="47" y="1"/>
                    <a:pt x="47" y="1"/>
                  </a:cubicBezTo>
                  <a:cubicBezTo>
                    <a:pt x="47" y="1"/>
                    <a:pt x="46" y="0"/>
                    <a:pt x="45" y="0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6"/>
                    <a:pt x="42" y="6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5" y="9"/>
                    <a:pt x="45" y="10"/>
                    <a:pt x="46" y="10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7" y="11"/>
                    <a:pt x="47" y="12"/>
                    <a:pt x="48" y="12"/>
                  </a:cubicBezTo>
                  <a:cubicBezTo>
                    <a:pt x="48" y="13"/>
                    <a:pt x="48" y="13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50" y="16"/>
                    <a:pt x="51" y="16"/>
                  </a:cubicBezTo>
                  <a:cubicBezTo>
                    <a:pt x="50" y="17"/>
                    <a:pt x="50" y="17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2" y="20"/>
                    <a:pt x="52" y="20"/>
                  </a:cubicBezTo>
                  <a:cubicBezTo>
                    <a:pt x="52" y="21"/>
                    <a:pt x="52" y="22"/>
                    <a:pt x="52" y="22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3" y="24"/>
                    <a:pt x="53" y="24"/>
                    <a:pt x="53" y="25"/>
                  </a:cubicBezTo>
                  <a:cubicBezTo>
                    <a:pt x="53" y="25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4" y="30"/>
                  </a:cubicBezTo>
                  <a:cubicBezTo>
                    <a:pt x="53" y="30"/>
                    <a:pt x="53" y="31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4"/>
                    <a:pt x="53" y="34"/>
                    <a:pt x="53" y="35"/>
                  </a:cubicBezTo>
                  <a:cubicBezTo>
                    <a:pt x="53" y="35"/>
                    <a:pt x="53" y="36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2" y="39"/>
                    <a:pt x="52" y="39"/>
                    <a:pt x="52" y="40"/>
                  </a:cubicBezTo>
                  <a:cubicBezTo>
                    <a:pt x="52" y="40"/>
                    <a:pt x="51" y="41"/>
                    <a:pt x="51" y="41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3"/>
                    <a:pt x="50" y="44"/>
                    <a:pt x="50" y="44"/>
                  </a:cubicBezTo>
                  <a:cubicBezTo>
                    <a:pt x="50" y="45"/>
                    <a:pt x="49" y="45"/>
                    <a:pt x="49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7"/>
                    <a:pt x="48" y="48"/>
                    <a:pt x="48" y="48"/>
                  </a:cubicBezTo>
                  <a:cubicBezTo>
                    <a:pt x="47" y="49"/>
                    <a:pt x="46" y="49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1"/>
                    <a:pt x="45" y="52"/>
                    <a:pt x="44" y="52"/>
                  </a:cubicBezTo>
                  <a:cubicBezTo>
                    <a:pt x="44" y="52"/>
                    <a:pt x="43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0" y="55"/>
                    <a:pt x="40" y="55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3" y="59"/>
                    <a:pt x="33" y="59"/>
                    <a:pt x="32" y="60"/>
                  </a:cubicBez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1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4" y="60"/>
                    <a:pt x="23" y="61"/>
                    <a:pt x="23" y="61"/>
                  </a:cubicBezTo>
                  <a:cubicBezTo>
                    <a:pt x="22" y="61"/>
                    <a:pt x="21" y="60"/>
                    <a:pt x="21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9" y="60"/>
                    <a:pt x="18" y="60"/>
                    <a:pt x="18" y="61"/>
                  </a:cubicBezTo>
                  <a:cubicBezTo>
                    <a:pt x="17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3" y="59"/>
                    <a:pt x="13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9" y="58"/>
                    <a:pt x="9" y="58"/>
                  </a:cubicBezTo>
                  <a:cubicBezTo>
                    <a:pt x="9" y="58"/>
                    <a:pt x="8" y="58"/>
                    <a:pt x="8" y="58"/>
                  </a:cubicBezTo>
                  <a:cubicBezTo>
                    <a:pt x="8" y="57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5"/>
                    <a:pt x="5" y="55"/>
                    <a:pt x="4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4" y="55"/>
                    <a:pt x="4" y="55"/>
                    <a:pt x="4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0"/>
                    <a:pt x="1" y="60"/>
                  </a:cubicBezTo>
                  <a:cubicBezTo>
                    <a:pt x="2" y="60"/>
                    <a:pt x="3" y="58"/>
                    <a:pt x="4" y="58"/>
                  </a:cubicBezTo>
                  <a:cubicBezTo>
                    <a:pt x="4" y="58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6" y="62"/>
                    <a:pt x="3" y="62"/>
                    <a:pt x="3" y="62"/>
                  </a:cubicBezTo>
                  <a:cubicBezTo>
                    <a:pt x="4" y="63"/>
                    <a:pt x="4" y="63"/>
                    <a:pt x="5" y="63"/>
                  </a:cubicBezTo>
                  <a:cubicBezTo>
                    <a:pt x="7" y="63"/>
                    <a:pt x="8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10" y="61"/>
                    <a:pt x="10" y="61"/>
                    <a:pt x="10" y="62"/>
                  </a:cubicBezTo>
                  <a:cubicBezTo>
                    <a:pt x="11" y="64"/>
                    <a:pt x="8" y="65"/>
                    <a:pt x="8" y="65"/>
                  </a:cubicBezTo>
                  <a:cubicBezTo>
                    <a:pt x="9" y="65"/>
                    <a:pt x="9" y="65"/>
                    <a:pt x="10" y="65"/>
                  </a:cubicBezTo>
                  <a:cubicBezTo>
                    <a:pt x="13" y="65"/>
                    <a:pt x="13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5" y="63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5"/>
                    <a:pt x="14" y="67"/>
                    <a:pt x="14" y="67"/>
                  </a:cubicBezTo>
                  <a:cubicBezTo>
                    <a:pt x="14" y="67"/>
                    <a:pt x="15" y="67"/>
                    <a:pt x="15" y="67"/>
                  </a:cubicBezTo>
                  <a:cubicBezTo>
                    <a:pt x="18" y="67"/>
                    <a:pt x="18" y="64"/>
                    <a:pt x="20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1" y="64"/>
                    <a:pt x="21" y="64"/>
                  </a:cubicBezTo>
                  <a:cubicBezTo>
                    <a:pt x="22" y="66"/>
                    <a:pt x="20" y="68"/>
                    <a:pt x="20" y="68"/>
                  </a:cubicBezTo>
                  <a:cubicBezTo>
                    <a:pt x="25" y="68"/>
                    <a:pt x="23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8" y="65"/>
                    <a:pt x="26" y="68"/>
                    <a:pt x="26" y="68"/>
                  </a:cubicBezTo>
                  <a:cubicBezTo>
                    <a:pt x="31" y="67"/>
                    <a:pt x="29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3" y="64"/>
                    <a:pt x="32" y="67"/>
                    <a:pt x="32" y="67"/>
                  </a:cubicBezTo>
                  <a:cubicBezTo>
                    <a:pt x="36" y="65"/>
                    <a:pt x="34" y="62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9" y="62"/>
                    <a:pt x="38" y="65"/>
                    <a:pt x="38" y="65"/>
                  </a:cubicBezTo>
                  <a:cubicBezTo>
                    <a:pt x="41" y="63"/>
                    <a:pt x="39" y="60"/>
                    <a:pt x="40" y="59"/>
                  </a:cubicBezTo>
                  <a:cubicBezTo>
                    <a:pt x="40" y="59"/>
                    <a:pt x="40" y="59"/>
                    <a:pt x="41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3" y="59"/>
                    <a:pt x="42" y="62"/>
                    <a:pt x="42" y="62"/>
                  </a:cubicBezTo>
                  <a:cubicBezTo>
                    <a:pt x="46" y="60"/>
                    <a:pt x="43" y="57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7" y="56"/>
                    <a:pt x="47" y="59"/>
                    <a:pt x="47" y="59"/>
                  </a:cubicBezTo>
                  <a:cubicBezTo>
                    <a:pt x="50" y="56"/>
                    <a:pt x="47" y="54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1" y="52"/>
                    <a:pt x="52" y="54"/>
                    <a:pt x="52" y="54"/>
                  </a:cubicBezTo>
                  <a:cubicBezTo>
                    <a:pt x="54" y="51"/>
                    <a:pt x="50" y="50"/>
                    <a:pt x="51" y="48"/>
                  </a:cubicBezTo>
                  <a:cubicBezTo>
                    <a:pt x="51" y="48"/>
                    <a:pt x="52" y="47"/>
                    <a:pt x="52" y="47"/>
                  </a:cubicBezTo>
                  <a:cubicBezTo>
                    <a:pt x="52" y="47"/>
                    <a:pt x="52" y="47"/>
                    <a:pt x="53" y="47"/>
                  </a:cubicBezTo>
                  <a:cubicBezTo>
                    <a:pt x="54" y="47"/>
                    <a:pt x="55" y="50"/>
                    <a:pt x="55" y="50"/>
                  </a:cubicBezTo>
                  <a:cubicBezTo>
                    <a:pt x="57" y="46"/>
                    <a:pt x="53" y="45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7" y="42"/>
                    <a:pt x="58" y="44"/>
                    <a:pt x="58" y="44"/>
                  </a:cubicBezTo>
                  <a:cubicBezTo>
                    <a:pt x="59" y="40"/>
                    <a:pt x="55" y="40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6" y="38"/>
                    <a:pt x="56" y="37"/>
                    <a:pt x="56" y="37"/>
                  </a:cubicBezTo>
                  <a:cubicBezTo>
                    <a:pt x="56" y="37"/>
                    <a:pt x="57" y="37"/>
                    <a:pt x="57" y="37"/>
                  </a:cubicBezTo>
                  <a:cubicBezTo>
                    <a:pt x="59" y="37"/>
                    <a:pt x="60" y="38"/>
                    <a:pt x="60" y="38"/>
                  </a:cubicBezTo>
                  <a:cubicBezTo>
                    <a:pt x="60" y="34"/>
                    <a:pt x="56" y="35"/>
                    <a:pt x="56" y="33"/>
                  </a:cubicBezTo>
                  <a:cubicBezTo>
                    <a:pt x="56" y="33"/>
                    <a:pt x="56" y="33"/>
                    <a:pt x="56" y="32"/>
                  </a:cubicBezTo>
                  <a:cubicBezTo>
                    <a:pt x="56" y="32"/>
                    <a:pt x="56" y="32"/>
                    <a:pt x="57" y="3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2">
              <a:extLst>
                <a:ext uri="{FF2B5EF4-FFF2-40B4-BE49-F238E27FC236}">
                  <a16:creationId xmlns:a16="http://schemas.microsoft.com/office/drawing/2014/main" id="{E93E986D-841F-4F84-937A-AAD59436B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379"/>
              <a:ext cx="54" cy="61"/>
            </a:xfrm>
            <a:custGeom>
              <a:avLst/>
              <a:gdLst>
                <a:gd name="T0" fmla="*/ 17 w 22"/>
                <a:gd name="T1" fmla="*/ 0 h 25"/>
                <a:gd name="T2" fmla="*/ 15 w 22"/>
                <a:gd name="T3" fmla="*/ 3 h 25"/>
                <a:gd name="T4" fmla="*/ 19 w 22"/>
                <a:gd name="T5" fmla="*/ 11 h 25"/>
                <a:gd name="T6" fmla="*/ 9 w 22"/>
                <a:gd name="T7" fmla="*/ 21 h 25"/>
                <a:gd name="T8" fmla="*/ 2 w 22"/>
                <a:gd name="T9" fmla="*/ 19 h 25"/>
                <a:gd name="T10" fmla="*/ 0 w 22"/>
                <a:gd name="T11" fmla="*/ 22 h 25"/>
                <a:gd name="T12" fmla="*/ 9 w 22"/>
                <a:gd name="T13" fmla="*/ 25 h 25"/>
                <a:gd name="T14" fmla="*/ 22 w 22"/>
                <a:gd name="T15" fmla="*/ 11 h 25"/>
                <a:gd name="T16" fmla="*/ 17 w 22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5">
                  <a:moveTo>
                    <a:pt x="17" y="0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7" y="5"/>
                    <a:pt x="19" y="8"/>
                    <a:pt x="19" y="11"/>
                  </a:cubicBezTo>
                  <a:cubicBezTo>
                    <a:pt x="19" y="17"/>
                    <a:pt x="14" y="21"/>
                    <a:pt x="9" y="21"/>
                  </a:cubicBezTo>
                  <a:cubicBezTo>
                    <a:pt x="6" y="21"/>
                    <a:pt x="4" y="20"/>
                    <a:pt x="2" y="1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3" y="24"/>
                    <a:pt x="5" y="25"/>
                    <a:pt x="9" y="25"/>
                  </a:cubicBezTo>
                  <a:cubicBezTo>
                    <a:pt x="16" y="25"/>
                    <a:pt x="22" y="19"/>
                    <a:pt x="22" y="11"/>
                  </a:cubicBezTo>
                  <a:cubicBezTo>
                    <a:pt x="22" y="6"/>
                    <a:pt x="20" y="3"/>
                    <a:pt x="1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43">
              <a:extLst>
                <a:ext uri="{FF2B5EF4-FFF2-40B4-BE49-F238E27FC236}">
                  <a16:creationId xmlns:a16="http://schemas.microsoft.com/office/drawing/2014/main" id="{001D6ECE-8244-4C4A-9B85-E022A9BBB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" y="254"/>
              <a:ext cx="236" cy="250"/>
            </a:xfrm>
            <a:custGeom>
              <a:avLst/>
              <a:gdLst>
                <a:gd name="T0" fmla="*/ 19 w 96"/>
                <a:gd name="T1" fmla="*/ 29 h 102"/>
                <a:gd name="T2" fmla="*/ 94 w 96"/>
                <a:gd name="T3" fmla="*/ 20 h 102"/>
                <a:gd name="T4" fmla="*/ 32 w 96"/>
                <a:gd name="T5" fmla="*/ 100 h 102"/>
                <a:gd name="T6" fmla="*/ 34 w 96"/>
                <a:gd name="T7" fmla="*/ 101 h 102"/>
                <a:gd name="T8" fmla="*/ 96 w 96"/>
                <a:gd name="T9" fmla="*/ 19 h 102"/>
                <a:gd name="T10" fmla="*/ 95 w 96"/>
                <a:gd name="T11" fmla="*/ 18 h 102"/>
                <a:gd name="T12" fmla="*/ 18 w 96"/>
                <a:gd name="T13" fmla="*/ 28 h 102"/>
                <a:gd name="T14" fmla="*/ 24 w 96"/>
                <a:gd name="T15" fmla="*/ 102 h 102"/>
                <a:gd name="T16" fmla="*/ 25 w 96"/>
                <a:gd name="T17" fmla="*/ 101 h 102"/>
                <a:gd name="T18" fmla="*/ 19 w 96"/>
                <a:gd name="T19" fmla="*/ 2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19" y="29"/>
                  </a:moveTo>
                  <a:cubicBezTo>
                    <a:pt x="37" y="6"/>
                    <a:pt x="71" y="2"/>
                    <a:pt x="94" y="2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3" y="100"/>
                    <a:pt x="33" y="101"/>
                    <a:pt x="34" y="101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71" y="0"/>
                    <a:pt x="36" y="4"/>
                    <a:pt x="18" y="28"/>
                  </a:cubicBezTo>
                  <a:cubicBezTo>
                    <a:pt x="0" y="51"/>
                    <a:pt x="4" y="83"/>
                    <a:pt x="24" y="102"/>
                  </a:cubicBezTo>
                  <a:cubicBezTo>
                    <a:pt x="24" y="102"/>
                    <a:pt x="25" y="101"/>
                    <a:pt x="25" y="101"/>
                  </a:cubicBezTo>
                  <a:cubicBezTo>
                    <a:pt x="5" y="82"/>
                    <a:pt x="2" y="51"/>
                    <a:pt x="19" y="2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4">
              <a:extLst>
                <a:ext uri="{FF2B5EF4-FFF2-40B4-BE49-F238E27FC236}">
                  <a16:creationId xmlns:a16="http://schemas.microsoft.com/office/drawing/2014/main" id="{11A1D57B-2E4B-40A0-AEEA-5F25E6CA7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258"/>
              <a:ext cx="226" cy="243"/>
            </a:xfrm>
            <a:custGeom>
              <a:avLst/>
              <a:gdLst>
                <a:gd name="T0" fmla="*/ 24 w 92"/>
                <a:gd name="T1" fmla="*/ 98 h 99"/>
                <a:gd name="T2" fmla="*/ 19 w 92"/>
                <a:gd name="T3" fmla="*/ 29 h 99"/>
                <a:gd name="T4" fmla="*/ 60 w 92"/>
                <a:gd name="T5" fmla="*/ 8 h 99"/>
                <a:gd name="T6" fmla="*/ 90 w 92"/>
                <a:gd name="T7" fmla="*/ 18 h 99"/>
                <a:gd name="T8" fmla="*/ 29 w 92"/>
                <a:gd name="T9" fmla="*/ 97 h 99"/>
                <a:gd name="T10" fmla="*/ 30 w 92"/>
                <a:gd name="T11" fmla="*/ 98 h 99"/>
                <a:gd name="T12" fmla="*/ 92 w 92"/>
                <a:gd name="T13" fmla="*/ 18 h 99"/>
                <a:gd name="T14" fmla="*/ 17 w 92"/>
                <a:gd name="T15" fmla="*/ 27 h 99"/>
                <a:gd name="T16" fmla="*/ 23 w 92"/>
                <a:gd name="T17" fmla="*/ 99 h 99"/>
                <a:gd name="T18" fmla="*/ 24 w 92"/>
                <a:gd name="T19" fmla="*/ 9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9">
                  <a:moveTo>
                    <a:pt x="24" y="98"/>
                  </a:moveTo>
                  <a:cubicBezTo>
                    <a:pt x="5" y="80"/>
                    <a:pt x="2" y="50"/>
                    <a:pt x="19" y="29"/>
                  </a:cubicBezTo>
                  <a:cubicBezTo>
                    <a:pt x="29" y="15"/>
                    <a:pt x="44" y="8"/>
                    <a:pt x="60" y="8"/>
                  </a:cubicBezTo>
                  <a:cubicBezTo>
                    <a:pt x="70" y="8"/>
                    <a:pt x="81" y="11"/>
                    <a:pt x="90" y="18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97"/>
                    <a:pt x="30" y="98"/>
                    <a:pt x="30" y="9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69" y="0"/>
                    <a:pt x="35" y="4"/>
                    <a:pt x="17" y="27"/>
                  </a:cubicBezTo>
                  <a:cubicBezTo>
                    <a:pt x="0" y="49"/>
                    <a:pt x="3" y="80"/>
                    <a:pt x="23" y="99"/>
                  </a:cubicBezTo>
                  <a:cubicBezTo>
                    <a:pt x="23" y="98"/>
                    <a:pt x="24" y="98"/>
                    <a:pt x="24" y="9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5">
              <a:extLst>
                <a:ext uri="{FF2B5EF4-FFF2-40B4-BE49-F238E27FC236}">
                  <a16:creationId xmlns:a16="http://schemas.microsoft.com/office/drawing/2014/main" id="{60B7719E-4721-4DD7-9C17-642BB3972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501"/>
              <a:ext cx="9" cy="8"/>
            </a:xfrm>
            <a:custGeom>
              <a:avLst/>
              <a:gdLst>
                <a:gd name="T0" fmla="*/ 0 w 4"/>
                <a:gd name="T1" fmla="*/ 0 h 3"/>
                <a:gd name="T2" fmla="*/ 0 w 4"/>
                <a:gd name="T3" fmla="*/ 0 h 3"/>
                <a:gd name="T4" fmla="*/ 4 w 4"/>
                <a:gd name="T5" fmla="*/ 3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3" y="2"/>
                    <a:pt x="4" y="3"/>
                  </a:cubicBezTo>
                  <a:cubicBezTo>
                    <a:pt x="3" y="2"/>
                    <a:pt x="1" y="1"/>
                    <a:pt x="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46">
              <a:extLst>
                <a:ext uri="{FF2B5EF4-FFF2-40B4-BE49-F238E27FC236}">
                  <a16:creationId xmlns:a16="http://schemas.microsoft.com/office/drawing/2014/main" id="{C7D9E27F-4B95-44B3-AE98-77B99BC6A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8" y="499"/>
              <a:ext cx="8" cy="10"/>
            </a:xfrm>
            <a:custGeom>
              <a:avLst/>
              <a:gdLst>
                <a:gd name="T0" fmla="*/ 0 w 8"/>
                <a:gd name="T1" fmla="*/ 10 h 10"/>
                <a:gd name="T2" fmla="*/ 8 w 8"/>
                <a:gd name="T3" fmla="*/ 0 h 10"/>
                <a:gd name="T4" fmla="*/ 0 w 8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lnTo>
                    <a:pt x="8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7">
              <a:extLst>
                <a:ext uri="{FF2B5EF4-FFF2-40B4-BE49-F238E27FC236}">
                  <a16:creationId xmlns:a16="http://schemas.microsoft.com/office/drawing/2014/main" id="{010C91BB-3CEC-4BED-AAE7-78F5F4846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501"/>
              <a:ext cx="2" cy="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48">
              <a:extLst>
                <a:ext uri="{FF2B5EF4-FFF2-40B4-BE49-F238E27FC236}">
                  <a16:creationId xmlns:a16="http://schemas.microsoft.com/office/drawing/2014/main" id="{5F0CB96F-D9E5-4AD6-AFC1-7C5909604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1" y="496"/>
              <a:ext cx="35" cy="30"/>
            </a:xfrm>
            <a:custGeom>
              <a:avLst/>
              <a:gdLst>
                <a:gd name="T0" fmla="*/ 11 w 14"/>
                <a:gd name="T1" fmla="*/ 0 h 12"/>
                <a:gd name="T2" fmla="*/ 10 w 14"/>
                <a:gd name="T3" fmla="*/ 1 h 12"/>
                <a:gd name="T4" fmla="*/ 12 w 14"/>
                <a:gd name="T5" fmla="*/ 5 h 12"/>
                <a:gd name="T6" fmla="*/ 7 w 14"/>
                <a:gd name="T7" fmla="*/ 11 h 12"/>
                <a:gd name="T8" fmla="*/ 2 w 14"/>
                <a:gd name="T9" fmla="*/ 5 h 12"/>
                <a:gd name="T10" fmla="*/ 3 w 14"/>
                <a:gd name="T11" fmla="*/ 2 h 12"/>
                <a:gd name="T12" fmla="*/ 3 w 14"/>
                <a:gd name="T13" fmla="*/ 2 h 12"/>
                <a:gd name="T14" fmla="*/ 2 w 14"/>
                <a:gd name="T15" fmla="*/ 1 h 12"/>
                <a:gd name="T16" fmla="*/ 0 w 14"/>
                <a:gd name="T17" fmla="*/ 5 h 12"/>
                <a:gd name="T18" fmla="*/ 7 w 14"/>
                <a:gd name="T19" fmla="*/ 12 h 12"/>
                <a:gd name="T20" fmla="*/ 14 w 14"/>
                <a:gd name="T21" fmla="*/ 5 h 12"/>
                <a:gd name="T22" fmla="*/ 11 w 14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2">
                  <a:moveTo>
                    <a:pt x="11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2"/>
                    <a:pt x="12" y="4"/>
                    <a:pt x="12" y="5"/>
                  </a:cubicBezTo>
                  <a:cubicBezTo>
                    <a:pt x="12" y="8"/>
                    <a:pt x="10" y="11"/>
                    <a:pt x="7" y="11"/>
                  </a:cubicBezTo>
                  <a:cubicBezTo>
                    <a:pt x="4" y="11"/>
                    <a:pt x="2" y="8"/>
                    <a:pt x="2" y="5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2"/>
                    <a:pt x="0" y="3"/>
                    <a:pt x="0" y="5"/>
                  </a:cubicBezTo>
                  <a:cubicBezTo>
                    <a:pt x="0" y="9"/>
                    <a:pt x="3" y="12"/>
                    <a:pt x="7" y="12"/>
                  </a:cubicBezTo>
                  <a:cubicBezTo>
                    <a:pt x="11" y="12"/>
                    <a:pt x="14" y="9"/>
                    <a:pt x="14" y="5"/>
                  </a:cubicBezTo>
                  <a:cubicBezTo>
                    <a:pt x="14" y="3"/>
                    <a:pt x="13" y="1"/>
                    <a:pt x="1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9">
              <a:extLst>
                <a:ext uri="{FF2B5EF4-FFF2-40B4-BE49-F238E27FC236}">
                  <a16:creationId xmlns:a16="http://schemas.microsoft.com/office/drawing/2014/main" id="{E1656CD0-6DCC-45D6-B9C5-6235F5FF0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" y="499"/>
              <a:ext cx="25" cy="24"/>
            </a:xfrm>
            <a:custGeom>
              <a:avLst/>
              <a:gdLst>
                <a:gd name="T0" fmla="*/ 5 w 10"/>
                <a:gd name="T1" fmla="*/ 10 h 10"/>
                <a:gd name="T2" fmla="*/ 10 w 10"/>
                <a:gd name="T3" fmla="*/ 4 h 10"/>
                <a:gd name="T4" fmla="*/ 8 w 10"/>
                <a:gd name="T5" fmla="*/ 0 h 10"/>
                <a:gd name="T6" fmla="*/ 7 w 10"/>
                <a:gd name="T7" fmla="*/ 1 h 10"/>
                <a:gd name="T8" fmla="*/ 9 w 10"/>
                <a:gd name="T9" fmla="*/ 4 h 10"/>
                <a:gd name="T10" fmla="*/ 5 w 10"/>
                <a:gd name="T11" fmla="*/ 8 h 10"/>
                <a:gd name="T12" fmla="*/ 1 w 10"/>
                <a:gd name="T13" fmla="*/ 4 h 10"/>
                <a:gd name="T14" fmla="*/ 2 w 10"/>
                <a:gd name="T15" fmla="*/ 2 h 10"/>
                <a:gd name="T16" fmla="*/ 1 w 10"/>
                <a:gd name="T17" fmla="*/ 1 h 10"/>
                <a:gd name="T18" fmla="*/ 0 w 10"/>
                <a:gd name="T19" fmla="*/ 4 h 10"/>
                <a:gd name="T20" fmla="*/ 5 w 10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8" y="10"/>
                    <a:pt x="10" y="7"/>
                    <a:pt x="10" y="4"/>
                  </a:cubicBezTo>
                  <a:cubicBezTo>
                    <a:pt x="10" y="3"/>
                    <a:pt x="10" y="1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2"/>
                    <a:pt x="9" y="3"/>
                    <a:pt x="9" y="4"/>
                  </a:cubicBezTo>
                  <a:cubicBezTo>
                    <a:pt x="9" y="6"/>
                    <a:pt x="7" y="8"/>
                    <a:pt x="5" y="8"/>
                  </a:cubicBezTo>
                  <a:cubicBezTo>
                    <a:pt x="3" y="8"/>
                    <a:pt x="1" y="6"/>
                    <a:pt x="1" y="4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7"/>
                    <a:pt x="2" y="10"/>
                    <a:pt x="5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50">
              <a:extLst>
                <a:ext uri="{FF2B5EF4-FFF2-40B4-BE49-F238E27FC236}">
                  <a16:creationId xmlns:a16="http://schemas.microsoft.com/office/drawing/2014/main" id="{AF1607B9-08E8-42F6-A563-403CFBD00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501"/>
              <a:ext cx="2" cy="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1">
              <a:extLst>
                <a:ext uri="{FF2B5EF4-FFF2-40B4-BE49-F238E27FC236}">
                  <a16:creationId xmlns:a16="http://schemas.microsoft.com/office/drawing/2014/main" id="{A9BB909B-6FA3-4F77-8186-D0E4B2B5D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" y="491"/>
              <a:ext cx="22" cy="10"/>
            </a:xfrm>
            <a:custGeom>
              <a:avLst/>
              <a:gdLst>
                <a:gd name="T0" fmla="*/ 9 w 9"/>
                <a:gd name="T1" fmla="*/ 2 h 4"/>
                <a:gd name="T2" fmla="*/ 5 w 9"/>
                <a:gd name="T3" fmla="*/ 0 h 4"/>
                <a:gd name="T4" fmla="*/ 0 w 9"/>
                <a:gd name="T5" fmla="*/ 3 h 4"/>
                <a:gd name="T6" fmla="*/ 1 w 9"/>
                <a:gd name="T7" fmla="*/ 4 h 4"/>
                <a:gd name="T8" fmla="*/ 5 w 9"/>
                <a:gd name="T9" fmla="*/ 2 h 4"/>
                <a:gd name="T10" fmla="*/ 8 w 9"/>
                <a:gd name="T11" fmla="*/ 3 h 4"/>
                <a:gd name="T12" fmla="*/ 9 w 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9" y="2"/>
                  </a:move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1" y="1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2" y="3"/>
                    <a:pt x="4" y="2"/>
                    <a:pt x="5" y="2"/>
                  </a:cubicBezTo>
                  <a:cubicBezTo>
                    <a:pt x="6" y="2"/>
                    <a:pt x="7" y="2"/>
                    <a:pt x="8" y="3"/>
                  </a:cubicBezTo>
                  <a:lnTo>
                    <a:pt x="9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52">
              <a:extLst>
                <a:ext uri="{FF2B5EF4-FFF2-40B4-BE49-F238E27FC236}">
                  <a16:creationId xmlns:a16="http://schemas.microsoft.com/office/drawing/2014/main" id="{A8D67B3D-DEA3-4055-978B-5127E7883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" y="499"/>
              <a:ext cx="3" cy="2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0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53">
              <a:extLst>
                <a:ext uri="{FF2B5EF4-FFF2-40B4-BE49-F238E27FC236}">
                  <a16:creationId xmlns:a16="http://schemas.microsoft.com/office/drawing/2014/main" id="{35AB30C4-EAD3-4D04-8028-D793E9AAE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496"/>
              <a:ext cx="17" cy="8"/>
            </a:xfrm>
            <a:custGeom>
              <a:avLst/>
              <a:gdLst>
                <a:gd name="T0" fmla="*/ 4 w 7"/>
                <a:gd name="T1" fmla="*/ 0 h 3"/>
                <a:gd name="T2" fmla="*/ 0 w 7"/>
                <a:gd name="T3" fmla="*/ 2 h 3"/>
                <a:gd name="T4" fmla="*/ 1 w 7"/>
                <a:gd name="T5" fmla="*/ 3 h 3"/>
                <a:gd name="T6" fmla="*/ 4 w 7"/>
                <a:gd name="T7" fmla="*/ 2 h 3"/>
                <a:gd name="T8" fmla="*/ 6 w 7"/>
                <a:gd name="T9" fmla="*/ 2 h 3"/>
                <a:gd name="T10" fmla="*/ 7 w 7"/>
                <a:gd name="T11" fmla="*/ 1 h 3"/>
                <a:gd name="T12" fmla="*/ 4 w 7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4" y="0"/>
                  </a:move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5" y="0"/>
                    <a:pt x="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4">
              <a:extLst>
                <a:ext uri="{FF2B5EF4-FFF2-40B4-BE49-F238E27FC236}">
                  <a16:creationId xmlns:a16="http://schemas.microsoft.com/office/drawing/2014/main" id="{E7C51F58-9662-49C4-98C0-A8499C0CB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" y="499"/>
              <a:ext cx="3" cy="2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0 h 2"/>
                <a:gd name="T4" fmla="*/ 0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5">
              <a:extLst>
                <a:ext uri="{FF2B5EF4-FFF2-40B4-BE49-F238E27FC236}">
                  <a16:creationId xmlns:a16="http://schemas.microsoft.com/office/drawing/2014/main" id="{36554CF9-01F0-4676-9DAE-4072474D0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0" y="308"/>
              <a:ext cx="57" cy="51"/>
            </a:xfrm>
            <a:custGeom>
              <a:avLst/>
              <a:gdLst>
                <a:gd name="T0" fmla="*/ 13 w 57"/>
                <a:gd name="T1" fmla="*/ 22 h 51"/>
                <a:gd name="T2" fmla="*/ 23 w 57"/>
                <a:gd name="T3" fmla="*/ 9 h 51"/>
                <a:gd name="T4" fmla="*/ 45 w 57"/>
                <a:gd name="T5" fmla="*/ 29 h 51"/>
                <a:gd name="T6" fmla="*/ 47 w 57"/>
                <a:gd name="T7" fmla="*/ 39 h 51"/>
                <a:gd name="T8" fmla="*/ 37 w 57"/>
                <a:gd name="T9" fmla="*/ 41 h 51"/>
                <a:gd name="T10" fmla="*/ 13 w 57"/>
                <a:gd name="T11" fmla="*/ 22 h 51"/>
                <a:gd name="T12" fmla="*/ 57 w 57"/>
                <a:gd name="T13" fmla="*/ 46 h 51"/>
                <a:gd name="T14" fmla="*/ 52 w 57"/>
                <a:gd name="T15" fmla="*/ 12 h 51"/>
                <a:gd name="T16" fmla="*/ 47 w 57"/>
                <a:gd name="T17" fmla="*/ 19 h 51"/>
                <a:gd name="T18" fmla="*/ 20 w 57"/>
                <a:gd name="T19" fmla="*/ 0 h 51"/>
                <a:gd name="T20" fmla="*/ 0 w 57"/>
                <a:gd name="T21" fmla="*/ 22 h 51"/>
                <a:gd name="T22" fmla="*/ 27 w 57"/>
                <a:gd name="T23" fmla="*/ 44 h 51"/>
                <a:gd name="T24" fmla="*/ 23 w 57"/>
                <a:gd name="T25" fmla="*/ 51 h 51"/>
                <a:gd name="T26" fmla="*/ 57 w 57"/>
                <a:gd name="T27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51">
                  <a:moveTo>
                    <a:pt x="13" y="22"/>
                  </a:moveTo>
                  <a:lnTo>
                    <a:pt x="23" y="9"/>
                  </a:lnTo>
                  <a:lnTo>
                    <a:pt x="45" y="29"/>
                  </a:lnTo>
                  <a:lnTo>
                    <a:pt x="47" y="39"/>
                  </a:lnTo>
                  <a:lnTo>
                    <a:pt x="37" y="41"/>
                  </a:lnTo>
                  <a:lnTo>
                    <a:pt x="13" y="22"/>
                  </a:lnTo>
                  <a:close/>
                  <a:moveTo>
                    <a:pt x="57" y="46"/>
                  </a:moveTo>
                  <a:lnTo>
                    <a:pt x="52" y="12"/>
                  </a:lnTo>
                  <a:lnTo>
                    <a:pt x="47" y="19"/>
                  </a:lnTo>
                  <a:lnTo>
                    <a:pt x="20" y="0"/>
                  </a:lnTo>
                  <a:lnTo>
                    <a:pt x="0" y="22"/>
                  </a:lnTo>
                  <a:lnTo>
                    <a:pt x="27" y="44"/>
                  </a:lnTo>
                  <a:lnTo>
                    <a:pt x="23" y="51"/>
                  </a:lnTo>
                  <a:lnTo>
                    <a:pt x="57" y="4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58">
            <a:extLst>
              <a:ext uri="{FF2B5EF4-FFF2-40B4-BE49-F238E27FC236}">
                <a16:creationId xmlns:a16="http://schemas.microsoft.com/office/drawing/2014/main" id="{47063CB9-00AE-4642-BA80-E8821605D8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0750" y="234157"/>
            <a:ext cx="841375" cy="841375"/>
            <a:chOff x="2980" y="132"/>
            <a:chExt cx="530" cy="530"/>
          </a:xfrm>
        </p:grpSpPr>
        <p:sp>
          <p:nvSpPr>
            <p:cNvPr id="172" name="AutoShape 157">
              <a:extLst>
                <a:ext uri="{FF2B5EF4-FFF2-40B4-BE49-F238E27FC236}">
                  <a16:creationId xmlns:a16="http://schemas.microsoft.com/office/drawing/2014/main" id="{85C2D251-C6A9-4FE4-BE93-09089C31DD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0" y="13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59">
              <a:extLst>
                <a:ext uri="{FF2B5EF4-FFF2-40B4-BE49-F238E27FC236}">
                  <a16:creationId xmlns:a16="http://schemas.microsoft.com/office/drawing/2014/main" id="{38127CB2-27F2-42D3-9CD6-67FAC520F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0" y="13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60">
              <a:extLst>
                <a:ext uri="{FF2B5EF4-FFF2-40B4-BE49-F238E27FC236}">
                  <a16:creationId xmlns:a16="http://schemas.microsoft.com/office/drawing/2014/main" id="{D2C2E043-8EF8-4EA7-BB38-784B6E51A6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15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61">
              <a:extLst>
                <a:ext uri="{FF2B5EF4-FFF2-40B4-BE49-F238E27FC236}">
                  <a16:creationId xmlns:a16="http://schemas.microsoft.com/office/drawing/2014/main" id="{C0C36477-69EC-4496-AD0E-6D4052BDF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201"/>
              <a:ext cx="10" cy="10"/>
            </a:xfrm>
            <a:custGeom>
              <a:avLst/>
              <a:gdLst>
                <a:gd name="T0" fmla="*/ 0 w 10"/>
                <a:gd name="T1" fmla="*/ 3 h 10"/>
                <a:gd name="T2" fmla="*/ 0 w 10"/>
                <a:gd name="T3" fmla="*/ 10 h 10"/>
                <a:gd name="T4" fmla="*/ 10 w 10"/>
                <a:gd name="T5" fmla="*/ 8 h 10"/>
                <a:gd name="T6" fmla="*/ 7 w 10"/>
                <a:gd name="T7" fmla="*/ 0 h 10"/>
                <a:gd name="T8" fmla="*/ 0 w 10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3"/>
                  </a:moveTo>
                  <a:lnTo>
                    <a:pt x="0" y="10"/>
                  </a:lnTo>
                  <a:lnTo>
                    <a:pt x="10" y="8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62">
              <a:extLst>
                <a:ext uri="{FF2B5EF4-FFF2-40B4-BE49-F238E27FC236}">
                  <a16:creationId xmlns:a16="http://schemas.microsoft.com/office/drawing/2014/main" id="{A4BA514C-54CC-48CB-A3C7-F86C70AA8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7" y="221"/>
              <a:ext cx="20" cy="41"/>
            </a:xfrm>
            <a:custGeom>
              <a:avLst/>
              <a:gdLst>
                <a:gd name="T0" fmla="*/ 2 w 20"/>
                <a:gd name="T1" fmla="*/ 16 h 41"/>
                <a:gd name="T2" fmla="*/ 0 w 20"/>
                <a:gd name="T3" fmla="*/ 3 h 41"/>
                <a:gd name="T4" fmla="*/ 7 w 20"/>
                <a:gd name="T5" fmla="*/ 0 h 41"/>
                <a:gd name="T6" fmla="*/ 12 w 20"/>
                <a:gd name="T7" fmla="*/ 13 h 41"/>
                <a:gd name="T8" fmla="*/ 2 w 20"/>
                <a:gd name="T9" fmla="*/ 16 h 41"/>
                <a:gd name="T10" fmla="*/ 10 w 20"/>
                <a:gd name="T11" fmla="*/ 41 h 41"/>
                <a:gd name="T12" fmla="*/ 7 w 20"/>
                <a:gd name="T13" fmla="*/ 29 h 41"/>
                <a:gd name="T14" fmla="*/ 15 w 20"/>
                <a:gd name="T15" fmla="*/ 26 h 41"/>
                <a:gd name="T16" fmla="*/ 20 w 20"/>
                <a:gd name="T17" fmla="*/ 39 h 41"/>
                <a:gd name="T18" fmla="*/ 10 w 20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41">
                  <a:moveTo>
                    <a:pt x="2" y="16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2" y="13"/>
                  </a:lnTo>
                  <a:lnTo>
                    <a:pt x="2" y="16"/>
                  </a:lnTo>
                  <a:close/>
                  <a:moveTo>
                    <a:pt x="10" y="41"/>
                  </a:moveTo>
                  <a:lnTo>
                    <a:pt x="7" y="29"/>
                  </a:lnTo>
                  <a:lnTo>
                    <a:pt x="15" y="26"/>
                  </a:lnTo>
                  <a:lnTo>
                    <a:pt x="20" y="39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63">
              <a:extLst>
                <a:ext uri="{FF2B5EF4-FFF2-40B4-BE49-F238E27FC236}">
                  <a16:creationId xmlns:a16="http://schemas.microsoft.com/office/drawing/2014/main" id="{4D540A13-C1D7-4C69-BC18-E83C1614CF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2" y="273"/>
              <a:ext cx="95" cy="302"/>
            </a:xfrm>
            <a:custGeom>
              <a:avLst/>
              <a:gdLst>
                <a:gd name="T0" fmla="*/ 3 w 95"/>
                <a:gd name="T1" fmla="*/ 15 h 302"/>
                <a:gd name="T2" fmla="*/ 0 w 95"/>
                <a:gd name="T3" fmla="*/ 2 h 302"/>
                <a:gd name="T4" fmla="*/ 8 w 95"/>
                <a:gd name="T5" fmla="*/ 0 h 302"/>
                <a:gd name="T6" fmla="*/ 13 w 95"/>
                <a:gd name="T7" fmla="*/ 13 h 302"/>
                <a:gd name="T8" fmla="*/ 3 w 95"/>
                <a:gd name="T9" fmla="*/ 15 h 302"/>
                <a:gd name="T10" fmla="*/ 10 w 95"/>
                <a:gd name="T11" fmla="*/ 41 h 302"/>
                <a:gd name="T12" fmla="*/ 8 w 95"/>
                <a:gd name="T13" fmla="*/ 28 h 302"/>
                <a:gd name="T14" fmla="*/ 15 w 95"/>
                <a:gd name="T15" fmla="*/ 25 h 302"/>
                <a:gd name="T16" fmla="*/ 21 w 95"/>
                <a:gd name="T17" fmla="*/ 41 h 302"/>
                <a:gd name="T18" fmla="*/ 10 w 95"/>
                <a:gd name="T19" fmla="*/ 41 h 302"/>
                <a:gd name="T20" fmla="*/ 18 w 95"/>
                <a:gd name="T21" fmla="*/ 69 h 302"/>
                <a:gd name="T22" fmla="*/ 15 w 95"/>
                <a:gd name="T23" fmla="*/ 56 h 302"/>
                <a:gd name="T24" fmla="*/ 23 w 95"/>
                <a:gd name="T25" fmla="*/ 53 h 302"/>
                <a:gd name="T26" fmla="*/ 26 w 95"/>
                <a:gd name="T27" fmla="*/ 66 h 302"/>
                <a:gd name="T28" fmla="*/ 18 w 95"/>
                <a:gd name="T29" fmla="*/ 69 h 302"/>
                <a:gd name="T30" fmla="*/ 26 w 95"/>
                <a:gd name="T31" fmla="*/ 94 h 302"/>
                <a:gd name="T32" fmla="*/ 23 w 95"/>
                <a:gd name="T33" fmla="*/ 82 h 302"/>
                <a:gd name="T34" fmla="*/ 31 w 95"/>
                <a:gd name="T35" fmla="*/ 79 h 302"/>
                <a:gd name="T36" fmla="*/ 33 w 95"/>
                <a:gd name="T37" fmla="*/ 92 h 302"/>
                <a:gd name="T38" fmla="*/ 26 w 95"/>
                <a:gd name="T39" fmla="*/ 94 h 302"/>
                <a:gd name="T40" fmla="*/ 33 w 95"/>
                <a:gd name="T41" fmla="*/ 120 h 302"/>
                <a:gd name="T42" fmla="*/ 31 w 95"/>
                <a:gd name="T43" fmla="*/ 107 h 302"/>
                <a:gd name="T44" fmla="*/ 38 w 95"/>
                <a:gd name="T45" fmla="*/ 105 h 302"/>
                <a:gd name="T46" fmla="*/ 41 w 95"/>
                <a:gd name="T47" fmla="*/ 117 h 302"/>
                <a:gd name="T48" fmla="*/ 33 w 95"/>
                <a:gd name="T49" fmla="*/ 120 h 302"/>
                <a:gd name="T50" fmla="*/ 41 w 95"/>
                <a:gd name="T51" fmla="*/ 146 h 302"/>
                <a:gd name="T52" fmla="*/ 38 w 95"/>
                <a:gd name="T53" fmla="*/ 133 h 302"/>
                <a:gd name="T54" fmla="*/ 46 w 95"/>
                <a:gd name="T55" fmla="*/ 130 h 302"/>
                <a:gd name="T56" fmla="*/ 49 w 95"/>
                <a:gd name="T57" fmla="*/ 143 h 302"/>
                <a:gd name="T58" fmla="*/ 41 w 95"/>
                <a:gd name="T59" fmla="*/ 146 h 302"/>
                <a:gd name="T60" fmla="*/ 49 w 95"/>
                <a:gd name="T61" fmla="*/ 171 h 302"/>
                <a:gd name="T62" fmla="*/ 46 w 95"/>
                <a:gd name="T63" fmla="*/ 158 h 302"/>
                <a:gd name="T64" fmla="*/ 54 w 95"/>
                <a:gd name="T65" fmla="*/ 156 h 302"/>
                <a:gd name="T66" fmla="*/ 56 w 95"/>
                <a:gd name="T67" fmla="*/ 169 h 302"/>
                <a:gd name="T68" fmla="*/ 49 w 95"/>
                <a:gd name="T69" fmla="*/ 171 h 302"/>
                <a:gd name="T70" fmla="*/ 56 w 95"/>
                <a:gd name="T71" fmla="*/ 197 h 302"/>
                <a:gd name="T72" fmla="*/ 54 w 95"/>
                <a:gd name="T73" fmla="*/ 184 h 302"/>
                <a:gd name="T74" fmla="*/ 61 w 95"/>
                <a:gd name="T75" fmla="*/ 182 h 302"/>
                <a:gd name="T76" fmla="*/ 64 w 95"/>
                <a:gd name="T77" fmla="*/ 194 h 302"/>
                <a:gd name="T78" fmla="*/ 56 w 95"/>
                <a:gd name="T79" fmla="*/ 197 h 302"/>
                <a:gd name="T80" fmla="*/ 64 w 95"/>
                <a:gd name="T81" fmla="*/ 225 h 302"/>
                <a:gd name="T82" fmla="*/ 61 w 95"/>
                <a:gd name="T83" fmla="*/ 210 h 302"/>
                <a:gd name="T84" fmla="*/ 69 w 95"/>
                <a:gd name="T85" fmla="*/ 210 h 302"/>
                <a:gd name="T86" fmla="*/ 72 w 95"/>
                <a:gd name="T87" fmla="*/ 222 h 302"/>
                <a:gd name="T88" fmla="*/ 64 w 95"/>
                <a:gd name="T89" fmla="*/ 225 h 302"/>
                <a:gd name="T90" fmla="*/ 72 w 95"/>
                <a:gd name="T91" fmla="*/ 251 h 302"/>
                <a:gd name="T92" fmla="*/ 69 w 95"/>
                <a:gd name="T93" fmla="*/ 238 h 302"/>
                <a:gd name="T94" fmla="*/ 77 w 95"/>
                <a:gd name="T95" fmla="*/ 235 h 302"/>
                <a:gd name="T96" fmla="*/ 79 w 95"/>
                <a:gd name="T97" fmla="*/ 248 h 302"/>
                <a:gd name="T98" fmla="*/ 72 w 95"/>
                <a:gd name="T99" fmla="*/ 251 h 302"/>
                <a:gd name="T100" fmla="*/ 79 w 95"/>
                <a:gd name="T101" fmla="*/ 276 h 302"/>
                <a:gd name="T102" fmla="*/ 77 w 95"/>
                <a:gd name="T103" fmla="*/ 263 h 302"/>
                <a:gd name="T104" fmla="*/ 85 w 95"/>
                <a:gd name="T105" fmla="*/ 261 h 302"/>
                <a:gd name="T106" fmla="*/ 87 w 95"/>
                <a:gd name="T107" fmla="*/ 274 h 302"/>
                <a:gd name="T108" fmla="*/ 79 w 95"/>
                <a:gd name="T109" fmla="*/ 276 h 302"/>
                <a:gd name="T110" fmla="*/ 87 w 95"/>
                <a:gd name="T111" fmla="*/ 302 h 302"/>
                <a:gd name="T112" fmla="*/ 82 w 95"/>
                <a:gd name="T113" fmla="*/ 289 h 302"/>
                <a:gd name="T114" fmla="*/ 92 w 95"/>
                <a:gd name="T115" fmla="*/ 286 h 302"/>
                <a:gd name="T116" fmla="*/ 95 w 95"/>
                <a:gd name="T117" fmla="*/ 299 h 302"/>
                <a:gd name="T118" fmla="*/ 87 w 95"/>
                <a:gd name="T11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02">
                  <a:moveTo>
                    <a:pt x="3" y="15"/>
                  </a:moveTo>
                  <a:lnTo>
                    <a:pt x="0" y="2"/>
                  </a:lnTo>
                  <a:lnTo>
                    <a:pt x="8" y="0"/>
                  </a:lnTo>
                  <a:lnTo>
                    <a:pt x="13" y="13"/>
                  </a:lnTo>
                  <a:lnTo>
                    <a:pt x="3" y="15"/>
                  </a:lnTo>
                  <a:close/>
                  <a:moveTo>
                    <a:pt x="10" y="41"/>
                  </a:moveTo>
                  <a:lnTo>
                    <a:pt x="8" y="28"/>
                  </a:lnTo>
                  <a:lnTo>
                    <a:pt x="15" y="25"/>
                  </a:lnTo>
                  <a:lnTo>
                    <a:pt x="21" y="41"/>
                  </a:lnTo>
                  <a:lnTo>
                    <a:pt x="10" y="41"/>
                  </a:lnTo>
                  <a:close/>
                  <a:moveTo>
                    <a:pt x="18" y="69"/>
                  </a:moveTo>
                  <a:lnTo>
                    <a:pt x="15" y="56"/>
                  </a:lnTo>
                  <a:lnTo>
                    <a:pt x="23" y="53"/>
                  </a:lnTo>
                  <a:lnTo>
                    <a:pt x="26" y="66"/>
                  </a:lnTo>
                  <a:lnTo>
                    <a:pt x="18" y="69"/>
                  </a:lnTo>
                  <a:close/>
                  <a:moveTo>
                    <a:pt x="26" y="94"/>
                  </a:moveTo>
                  <a:lnTo>
                    <a:pt x="23" y="82"/>
                  </a:lnTo>
                  <a:lnTo>
                    <a:pt x="31" y="79"/>
                  </a:lnTo>
                  <a:lnTo>
                    <a:pt x="33" y="92"/>
                  </a:lnTo>
                  <a:lnTo>
                    <a:pt x="26" y="94"/>
                  </a:lnTo>
                  <a:close/>
                  <a:moveTo>
                    <a:pt x="33" y="120"/>
                  </a:moveTo>
                  <a:lnTo>
                    <a:pt x="31" y="107"/>
                  </a:lnTo>
                  <a:lnTo>
                    <a:pt x="38" y="105"/>
                  </a:lnTo>
                  <a:lnTo>
                    <a:pt x="41" y="117"/>
                  </a:lnTo>
                  <a:lnTo>
                    <a:pt x="33" y="120"/>
                  </a:lnTo>
                  <a:close/>
                  <a:moveTo>
                    <a:pt x="41" y="146"/>
                  </a:moveTo>
                  <a:lnTo>
                    <a:pt x="38" y="133"/>
                  </a:lnTo>
                  <a:lnTo>
                    <a:pt x="46" y="130"/>
                  </a:lnTo>
                  <a:lnTo>
                    <a:pt x="49" y="143"/>
                  </a:lnTo>
                  <a:lnTo>
                    <a:pt x="41" y="146"/>
                  </a:lnTo>
                  <a:close/>
                  <a:moveTo>
                    <a:pt x="49" y="171"/>
                  </a:moveTo>
                  <a:lnTo>
                    <a:pt x="46" y="158"/>
                  </a:lnTo>
                  <a:lnTo>
                    <a:pt x="54" y="156"/>
                  </a:lnTo>
                  <a:lnTo>
                    <a:pt x="56" y="169"/>
                  </a:lnTo>
                  <a:lnTo>
                    <a:pt x="49" y="171"/>
                  </a:lnTo>
                  <a:close/>
                  <a:moveTo>
                    <a:pt x="56" y="197"/>
                  </a:moveTo>
                  <a:lnTo>
                    <a:pt x="54" y="184"/>
                  </a:lnTo>
                  <a:lnTo>
                    <a:pt x="61" y="182"/>
                  </a:lnTo>
                  <a:lnTo>
                    <a:pt x="64" y="194"/>
                  </a:lnTo>
                  <a:lnTo>
                    <a:pt x="56" y="197"/>
                  </a:lnTo>
                  <a:close/>
                  <a:moveTo>
                    <a:pt x="64" y="225"/>
                  </a:moveTo>
                  <a:lnTo>
                    <a:pt x="61" y="210"/>
                  </a:lnTo>
                  <a:lnTo>
                    <a:pt x="69" y="210"/>
                  </a:lnTo>
                  <a:lnTo>
                    <a:pt x="72" y="222"/>
                  </a:lnTo>
                  <a:lnTo>
                    <a:pt x="64" y="225"/>
                  </a:lnTo>
                  <a:close/>
                  <a:moveTo>
                    <a:pt x="72" y="251"/>
                  </a:moveTo>
                  <a:lnTo>
                    <a:pt x="69" y="238"/>
                  </a:lnTo>
                  <a:lnTo>
                    <a:pt x="77" y="235"/>
                  </a:lnTo>
                  <a:lnTo>
                    <a:pt x="79" y="248"/>
                  </a:lnTo>
                  <a:lnTo>
                    <a:pt x="72" y="251"/>
                  </a:lnTo>
                  <a:close/>
                  <a:moveTo>
                    <a:pt x="79" y="276"/>
                  </a:moveTo>
                  <a:lnTo>
                    <a:pt x="77" y="263"/>
                  </a:lnTo>
                  <a:lnTo>
                    <a:pt x="85" y="261"/>
                  </a:lnTo>
                  <a:lnTo>
                    <a:pt x="87" y="274"/>
                  </a:lnTo>
                  <a:lnTo>
                    <a:pt x="79" y="276"/>
                  </a:lnTo>
                  <a:close/>
                  <a:moveTo>
                    <a:pt x="87" y="302"/>
                  </a:moveTo>
                  <a:lnTo>
                    <a:pt x="82" y="289"/>
                  </a:lnTo>
                  <a:lnTo>
                    <a:pt x="92" y="286"/>
                  </a:lnTo>
                  <a:lnTo>
                    <a:pt x="95" y="299"/>
                  </a:lnTo>
                  <a:lnTo>
                    <a:pt x="87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64">
              <a:extLst>
                <a:ext uri="{FF2B5EF4-FFF2-40B4-BE49-F238E27FC236}">
                  <a16:creationId xmlns:a16="http://schemas.microsoft.com/office/drawing/2014/main" id="{35E5E0B2-DDE9-44B1-90E7-AB035D203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" y="585"/>
              <a:ext cx="10" cy="10"/>
            </a:xfrm>
            <a:custGeom>
              <a:avLst/>
              <a:gdLst>
                <a:gd name="T0" fmla="*/ 0 w 10"/>
                <a:gd name="T1" fmla="*/ 3 h 10"/>
                <a:gd name="T2" fmla="*/ 2 w 10"/>
                <a:gd name="T3" fmla="*/ 10 h 10"/>
                <a:gd name="T4" fmla="*/ 10 w 10"/>
                <a:gd name="T5" fmla="*/ 8 h 10"/>
                <a:gd name="T6" fmla="*/ 10 w 10"/>
                <a:gd name="T7" fmla="*/ 0 h 10"/>
                <a:gd name="T8" fmla="*/ 0 w 10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3"/>
                  </a:moveTo>
                  <a:lnTo>
                    <a:pt x="2" y="10"/>
                  </a:lnTo>
                  <a:lnTo>
                    <a:pt x="10" y="8"/>
                  </a:lnTo>
                  <a:lnTo>
                    <a:pt x="1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65">
              <a:extLst>
                <a:ext uri="{FF2B5EF4-FFF2-40B4-BE49-F238E27FC236}">
                  <a16:creationId xmlns:a16="http://schemas.microsoft.com/office/drawing/2014/main" id="{CB7C6727-7900-4DAD-8CD6-643D64C42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1" y="201"/>
              <a:ext cx="10" cy="10"/>
            </a:xfrm>
            <a:custGeom>
              <a:avLst/>
              <a:gdLst>
                <a:gd name="T0" fmla="*/ 0 w 10"/>
                <a:gd name="T1" fmla="*/ 8 h 10"/>
                <a:gd name="T2" fmla="*/ 10 w 10"/>
                <a:gd name="T3" fmla="*/ 10 h 10"/>
                <a:gd name="T4" fmla="*/ 10 w 10"/>
                <a:gd name="T5" fmla="*/ 3 h 10"/>
                <a:gd name="T6" fmla="*/ 2 w 10"/>
                <a:gd name="T7" fmla="*/ 0 h 10"/>
                <a:gd name="T8" fmla="*/ 0 w 10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8"/>
                  </a:moveTo>
                  <a:lnTo>
                    <a:pt x="10" y="10"/>
                  </a:lnTo>
                  <a:lnTo>
                    <a:pt x="10" y="3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66">
              <a:extLst>
                <a:ext uri="{FF2B5EF4-FFF2-40B4-BE49-F238E27FC236}">
                  <a16:creationId xmlns:a16="http://schemas.microsoft.com/office/drawing/2014/main" id="{8B6B8897-6C4C-4C69-A91E-9239475452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5" y="221"/>
              <a:ext cx="21" cy="41"/>
            </a:xfrm>
            <a:custGeom>
              <a:avLst/>
              <a:gdLst>
                <a:gd name="T0" fmla="*/ 18 w 21"/>
                <a:gd name="T1" fmla="*/ 16 h 41"/>
                <a:gd name="T2" fmla="*/ 8 w 21"/>
                <a:gd name="T3" fmla="*/ 13 h 41"/>
                <a:gd name="T4" fmla="*/ 13 w 21"/>
                <a:gd name="T5" fmla="*/ 0 h 41"/>
                <a:gd name="T6" fmla="*/ 21 w 21"/>
                <a:gd name="T7" fmla="*/ 3 h 41"/>
                <a:gd name="T8" fmla="*/ 18 w 21"/>
                <a:gd name="T9" fmla="*/ 16 h 41"/>
                <a:gd name="T10" fmla="*/ 10 w 21"/>
                <a:gd name="T11" fmla="*/ 41 h 41"/>
                <a:gd name="T12" fmla="*/ 0 w 21"/>
                <a:gd name="T13" fmla="*/ 39 h 41"/>
                <a:gd name="T14" fmla="*/ 5 w 21"/>
                <a:gd name="T15" fmla="*/ 26 h 41"/>
                <a:gd name="T16" fmla="*/ 13 w 21"/>
                <a:gd name="T17" fmla="*/ 29 h 41"/>
                <a:gd name="T18" fmla="*/ 10 w 21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41">
                  <a:moveTo>
                    <a:pt x="18" y="16"/>
                  </a:moveTo>
                  <a:lnTo>
                    <a:pt x="8" y="13"/>
                  </a:lnTo>
                  <a:lnTo>
                    <a:pt x="13" y="0"/>
                  </a:lnTo>
                  <a:lnTo>
                    <a:pt x="21" y="3"/>
                  </a:lnTo>
                  <a:lnTo>
                    <a:pt x="18" y="16"/>
                  </a:lnTo>
                  <a:close/>
                  <a:moveTo>
                    <a:pt x="10" y="41"/>
                  </a:moveTo>
                  <a:lnTo>
                    <a:pt x="0" y="39"/>
                  </a:lnTo>
                  <a:lnTo>
                    <a:pt x="5" y="26"/>
                  </a:lnTo>
                  <a:lnTo>
                    <a:pt x="13" y="29"/>
                  </a:lnTo>
                  <a:lnTo>
                    <a:pt x="1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67">
              <a:extLst>
                <a:ext uri="{FF2B5EF4-FFF2-40B4-BE49-F238E27FC236}">
                  <a16:creationId xmlns:a16="http://schemas.microsoft.com/office/drawing/2014/main" id="{FE9AED28-DFA0-461B-95DD-3DA8B2EAD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6" y="273"/>
              <a:ext cx="94" cy="302"/>
            </a:xfrm>
            <a:custGeom>
              <a:avLst/>
              <a:gdLst>
                <a:gd name="T0" fmla="*/ 92 w 94"/>
                <a:gd name="T1" fmla="*/ 15 h 302"/>
                <a:gd name="T2" fmla="*/ 82 w 94"/>
                <a:gd name="T3" fmla="*/ 13 h 302"/>
                <a:gd name="T4" fmla="*/ 87 w 94"/>
                <a:gd name="T5" fmla="*/ 0 h 302"/>
                <a:gd name="T6" fmla="*/ 94 w 94"/>
                <a:gd name="T7" fmla="*/ 2 h 302"/>
                <a:gd name="T8" fmla="*/ 92 w 94"/>
                <a:gd name="T9" fmla="*/ 15 h 302"/>
                <a:gd name="T10" fmla="*/ 84 w 94"/>
                <a:gd name="T11" fmla="*/ 41 h 302"/>
                <a:gd name="T12" fmla="*/ 74 w 94"/>
                <a:gd name="T13" fmla="*/ 41 h 302"/>
                <a:gd name="T14" fmla="*/ 79 w 94"/>
                <a:gd name="T15" fmla="*/ 25 h 302"/>
                <a:gd name="T16" fmla="*/ 87 w 94"/>
                <a:gd name="T17" fmla="*/ 28 h 302"/>
                <a:gd name="T18" fmla="*/ 84 w 94"/>
                <a:gd name="T19" fmla="*/ 41 h 302"/>
                <a:gd name="T20" fmla="*/ 76 w 94"/>
                <a:gd name="T21" fmla="*/ 69 h 302"/>
                <a:gd name="T22" fmla="*/ 69 w 94"/>
                <a:gd name="T23" fmla="*/ 66 h 302"/>
                <a:gd name="T24" fmla="*/ 71 w 94"/>
                <a:gd name="T25" fmla="*/ 53 h 302"/>
                <a:gd name="T26" fmla="*/ 79 w 94"/>
                <a:gd name="T27" fmla="*/ 56 h 302"/>
                <a:gd name="T28" fmla="*/ 76 w 94"/>
                <a:gd name="T29" fmla="*/ 69 h 302"/>
                <a:gd name="T30" fmla="*/ 69 w 94"/>
                <a:gd name="T31" fmla="*/ 94 h 302"/>
                <a:gd name="T32" fmla="*/ 61 w 94"/>
                <a:gd name="T33" fmla="*/ 92 h 302"/>
                <a:gd name="T34" fmla="*/ 64 w 94"/>
                <a:gd name="T35" fmla="*/ 79 h 302"/>
                <a:gd name="T36" fmla="*/ 71 w 94"/>
                <a:gd name="T37" fmla="*/ 82 h 302"/>
                <a:gd name="T38" fmla="*/ 69 w 94"/>
                <a:gd name="T39" fmla="*/ 94 h 302"/>
                <a:gd name="T40" fmla="*/ 61 w 94"/>
                <a:gd name="T41" fmla="*/ 120 h 302"/>
                <a:gd name="T42" fmla="*/ 53 w 94"/>
                <a:gd name="T43" fmla="*/ 117 h 302"/>
                <a:gd name="T44" fmla="*/ 56 w 94"/>
                <a:gd name="T45" fmla="*/ 105 h 302"/>
                <a:gd name="T46" fmla="*/ 64 w 94"/>
                <a:gd name="T47" fmla="*/ 107 h 302"/>
                <a:gd name="T48" fmla="*/ 61 w 94"/>
                <a:gd name="T49" fmla="*/ 120 h 302"/>
                <a:gd name="T50" fmla="*/ 53 w 94"/>
                <a:gd name="T51" fmla="*/ 146 h 302"/>
                <a:gd name="T52" fmla="*/ 46 w 94"/>
                <a:gd name="T53" fmla="*/ 143 h 302"/>
                <a:gd name="T54" fmla="*/ 48 w 94"/>
                <a:gd name="T55" fmla="*/ 130 h 302"/>
                <a:gd name="T56" fmla="*/ 56 w 94"/>
                <a:gd name="T57" fmla="*/ 133 h 302"/>
                <a:gd name="T58" fmla="*/ 53 w 94"/>
                <a:gd name="T59" fmla="*/ 146 h 302"/>
                <a:gd name="T60" fmla="*/ 46 w 94"/>
                <a:gd name="T61" fmla="*/ 171 h 302"/>
                <a:gd name="T62" fmla="*/ 38 w 94"/>
                <a:gd name="T63" fmla="*/ 169 h 302"/>
                <a:gd name="T64" fmla="*/ 41 w 94"/>
                <a:gd name="T65" fmla="*/ 156 h 302"/>
                <a:gd name="T66" fmla="*/ 48 w 94"/>
                <a:gd name="T67" fmla="*/ 158 h 302"/>
                <a:gd name="T68" fmla="*/ 46 w 94"/>
                <a:gd name="T69" fmla="*/ 171 h 302"/>
                <a:gd name="T70" fmla="*/ 38 w 94"/>
                <a:gd name="T71" fmla="*/ 197 h 302"/>
                <a:gd name="T72" fmla="*/ 30 w 94"/>
                <a:gd name="T73" fmla="*/ 194 h 302"/>
                <a:gd name="T74" fmla="*/ 33 w 94"/>
                <a:gd name="T75" fmla="*/ 182 h 302"/>
                <a:gd name="T76" fmla="*/ 41 w 94"/>
                <a:gd name="T77" fmla="*/ 184 h 302"/>
                <a:gd name="T78" fmla="*/ 38 w 94"/>
                <a:gd name="T79" fmla="*/ 197 h 302"/>
                <a:gd name="T80" fmla="*/ 30 w 94"/>
                <a:gd name="T81" fmla="*/ 225 h 302"/>
                <a:gd name="T82" fmla="*/ 23 w 94"/>
                <a:gd name="T83" fmla="*/ 222 h 302"/>
                <a:gd name="T84" fmla="*/ 25 w 94"/>
                <a:gd name="T85" fmla="*/ 210 h 302"/>
                <a:gd name="T86" fmla="*/ 33 w 94"/>
                <a:gd name="T87" fmla="*/ 210 h 302"/>
                <a:gd name="T88" fmla="*/ 30 w 94"/>
                <a:gd name="T89" fmla="*/ 225 h 302"/>
                <a:gd name="T90" fmla="*/ 23 w 94"/>
                <a:gd name="T91" fmla="*/ 251 h 302"/>
                <a:gd name="T92" fmla="*/ 15 w 94"/>
                <a:gd name="T93" fmla="*/ 248 h 302"/>
                <a:gd name="T94" fmla="*/ 18 w 94"/>
                <a:gd name="T95" fmla="*/ 235 h 302"/>
                <a:gd name="T96" fmla="*/ 25 w 94"/>
                <a:gd name="T97" fmla="*/ 238 h 302"/>
                <a:gd name="T98" fmla="*/ 23 w 94"/>
                <a:gd name="T99" fmla="*/ 251 h 302"/>
                <a:gd name="T100" fmla="*/ 15 w 94"/>
                <a:gd name="T101" fmla="*/ 276 h 302"/>
                <a:gd name="T102" fmla="*/ 7 w 94"/>
                <a:gd name="T103" fmla="*/ 274 h 302"/>
                <a:gd name="T104" fmla="*/ 10 w 94"/>
                <a:gd name="T105" fmla="*/ 261 h 302"/>
                <a:gd name="T106" fmla="*/ 18 w 94"/>
                <a:gd name="T107" fmla="*/ 263 h 302"/>
                <a:gd name="T108" fmla="*/ 15 w 94"/>
                <a:gd name="T109" fmla="*/ 276 h 302"/>
                <a:gd name="T110" fmla="*/ 7 w 94"/>
                <a:gd name="T111" fmla="*/ 302 h 302"/>
                <a:gd name="T112" fmla="*/ 0 w 94"/>
                <a:gd name="T113" fmla="*/ 299 h 302"/>
                <a:gd name="T114" fmla="*/ 2 w 94"/>
                <a:gd name="T115" fmla="*/ 286 h 302"/>
                <a:gd name="T116" fmla="*/ 12 w 94"/>
                <a:gd name="T117" fmla="*/ 289 h 302"/>
                <a:gd name="T118" fmla="*/ 7 w 94"/>
                <a:gd name="T11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" h="302">
                  <a:moveTo>
                    <a:pt x="92" y="15"/>
                  </a:moveTo>
                  <a:lnTo>
                    <a:pt x="82" y="13"/>
                  </a:lnTo>
                  <a:lnTo>
                    <a:pt x="87" y="0"/>
                  </a:lnTo>
                  <a:lnTo>
                    <a:pt x="94" y="2"/>
                  </a:lnTo>
                  <a:lnTo>
                    <a:pt x="92" y="15"/>
                  </a:lnTo>
                  <a:close/>
                  <a:moveTo>
                    <a:pt x="84" y="41"/>
                  </a:moveTo>
                  <a:lnTo>
                    <a:pt x="74" y="41"/>
                  </a:lnTo>
                  <a:lnTo>
                    <a:pt x="79" y="25"/>
                  </a:lnTo>
                  <a:lnTo>
                    <a:pt x="87" y="28"/>
                  </a:lnTo>
                  <a:lnTo>
                    <a:pt x="84" y="41"/>
                  </a:lnTo>
                  <a:close/>
                  <a:moveTo>
                    <a:pt x="76" y="69"/>
                  </a:moveTo>
                  <a:lnTo>
                    <a:pt x="69" y="66"/>
                  </a:lnTo>
                  <a:lnTo>
                    <a:pt x="71" y="53"/>
                  </a:lnTo>
                  <a:lnTo>
                    <a:pt x="79" y="56"/>
                  </a:lnTo>
                  <a:lnTo>
                    <a:pt x="76" y="69"/>
                  </a:lnTo>
                  <a:close/>
                  <a:moveTo>
                    <a:pt x="69" y="94"/>
                  </a:moveTo>
                  <a:lnTo>
                    <a:pt x="61" y="92"/>
                  </a:lnTo>
                  <a:lnTo>
                    <a:pt x="64" y="79"/>
                  </a:lnTo>
                  <a:lnTo>
                    <a:pt x="71" y="82"/>
                  </a:lnTo>
                  <a:lnTo>
                    <a:pt x="69" y="94"/>
                  </a:lnTo>
                  <a:close/>
                  <a:moveTo>
                    <a:pt x="61" y="120"/>
                  </a:moveTo>
                  <a:lnTo>
                    <a:pt x="53" y="117"/>
                  </a:lnTo>
                  <a:lnTo>
                    <a:pt x="56" y="105"/>
                  </a:lnTo>
                  <a:lnTo>
                    <a:pt x="64" y="107"/>
                  </a:lnTo>
                  <a:lnTo>
                    <a:pt x="61" y="120"/>
                  </a:lnTo>
                  <a:close/>
                  <a:moveTo>
                    <a:pt x="53" y="146"/>
                  </a:moveTo>
                  <a:lnTo>
                    <a:pt x="46" y="143"/>
                  </a:lnTo>
                  <a:lnTo>
                    <a:pt x="48" y="130"/>
                  </a:lnTo>
                  <a:lnTo>
                    <a:pt x="56" y="133"/>
                  </a:lnTo>
                  <a:lnTo>
                    <a:pt x="53" y="146"/>
                  </a:lnTo>
                  <a:close/>
                  <a:moveTo>
                    <a:pt x="46" y="171"/>
                  </a:moveTo>
                  <a:lnTo>
                    <a:pt x="38" y="169"/>
                  </a:lnTo>
                  <a:lnTo>
                    <a:pt x="41" y="156"/>
                  </a:lnTo>
                  <a:lnTo>
                    <a:pt x="48" y="158"/>
                  </a:lnTo>
                  <a:lnTo>
                    <a:pt x="46" y="171"/>
                  </a:lnTo>
                  <a:close/>
                  <a:moveTo>
                    <a:pt x="38" y="197"/>
                  </a:moveTo>
                  <a:lnTo>
                    <a:pt x="30" y="194"/>
                  </a:lnTo>
                  <a:lnTo>
                    <a:pt x="33" y="182"/>
                  </a:lnTo>
                  <a:lnTo>
                    <a:pt x="41" y="184"/>
                  </a:lnTo>
                  <a:lnTo>
                    <a:pt x="38" y="197"/>
                  </a:lnTo>
                  <a:close/>
                  <a:moveTo>
                    <a:pt x="30" y="225"/>
                  </a:moveTo>
                  <a:lnTo>
                    <a:pt x="23" y="222"/>
                  </a:lnTo>
                  <a:lnTo>
                    <a:pt x="25" y="210"/>
                  </a:lnTo>
                  <a:lnTo>
                    <a:pt x="33" y="210"/>
                  </a:lnTo>
                  <a:lnTo>
                    <a:pt x="30" y="225"/>
                  </a:lnTo>
                  <a:close/>
                  <a:moveTo>
                    <a:pt x="23" y="251"/>
                  </a:moveTo>
                  <a:lnTo>
                    <a:pt x="15" y="248"/>
                  </a:lnTo>
                  <a:lnTo>
                    <a:pt x="18" y="235"/>
                  </a:lnTo>
                  <a:lnTo>
                    <a:pt x="25" y="238"/>
                  </a:lnTo>
                  <a:lnTo>
                    <a:pt x="23" y="251"/>
                  </a:lnTo>
                  <a:close/>
                  <a:moveTo>
                    <a:pt x="15" y="276"/>
                  </a:moveTo>
                  <a:lnTo>
                    <a:pt x="7" y="274"/>
                  </a:lnTo>
                  <a:lnTo>
                    <a:pt x="10" y="261"/>
                  </a:lnTo>
                  <a:lnTo>
                    <a:pt x="18" y="263"/>
                  </a:lnTo>
                  <a:lnTo>
                    <a:pt x="15" y="276"/>
                  </a:lnTo>
                  <a:close/>
                  <a:moveTo>
                    <a:pt x="7" y="302"/>
                  </a:moveTo>
                  <a:lnTo>
                    <a:pt x="0" y="299"/>
                  </a:lnTo>
                  <a:lnTo>
                    <a:pt x="2" y="286"/>
                  </a:lnTo>
                  <a:lnTo>
                    <a:pt x="12" y="289"/>
                  </a:lnTo>
                  <a:lnTo>
                    <a:pt x="7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68">
              <a:extLst>
                <a:ext uri="{FF2B5EF4-FFF2-40B4-BE49-F238E27FC236}">
                  <a16:creationId xmlns:a16="http://schemas.microsoft.com/office/drawing/2014/main" id="{68D94B9A-9638-40E8-97D2-4C87709FC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" y="585"/>
              <a:ext cx="11" cy="10"/>
            </a:xfrm>
            <a:custGeom>
              <a:avLst/>
              <a:gdLst>
                <a:gd name="T0" fmla="*/ 0 w 11"/>
                <a:gd name="T1" fmla="*/ 8 h 10"/>
                <a:gd name="T2" fmla="*/ 8 w 11"/>
                <a:gd name="T3" fmla="*/ 10 h 10"/>
                <a:gd name="T4" fmla="*/ 11 w 11"/>
                <a:gd name="T5" fmla="*/ 3 h 10"/>
                <a:gd name="T6" fmla="*/ 0 w 11"/>
                <a:gd name="T7" fmla="*/ 0 h 10"/>
                <a:gd name="T8" fmla="*/ 0 w 11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0" y="8"/>
                  </a:moveTo>
                  <a:lnTo>
                    <a:pt x="8" y="10"/>
                  </a:lnTo>
                  <a:lnTo>
                    <a:pt x="11" y="3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69">
              <a:extLst>
                <a:ext uri="{FF2B5EF4-FFF2-40B4-BE49-F238E27FC236}">
                  <a16:creationId xmlns:a16="http://schemas.microsoft.com/office/drawing/2014/main" id="{8E042F6A-D5E3-4DDA-94CC-2F885C868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3" y="283"/>
              <a:ext cx="61" cy="69"/>
            </a:xfrm>
            <a:custGeom>
              <a:avLst/>
              <a:gdLst>
                <a:gd name="T0" fmla="*/ 4 w 24"/>
                <a:gd name="T1" fmla="*/ 15 h 27"/>
                <a:gd name="T2" fmla="*/ 21 w 24"/>
                <a:gd name="T3" fmla="*/ 23 h 27"/>
                <a:gd name="T4" fmla="*/ 21 w 24"/>
                <a:gd name="T5" fmla="*/ 13 h 27"/>
                <a:gd name="T6" fmla="*/ 4 w 24"/>
                <a:gd name="T7" fmla="*/ 5 h 27"/>
                <a:gd name="T8" fmla="*/ 4 w 24"/>
                <a:gd name="T9" fmla="*/ 15 h 27"/>
                <a:gd name="T10" fmla="*/ 22 w 24"/>
                <a:gd name="T11" fmla="*/ 27 h 27"/>
                <a:gd name="T12" fmla="*/ 22 w 24"/>
                <a:gd name="T13" fmla="*/ 27 h 27"/>
                <a:gd name="T14" fmla="*/ 1 w 24"/>
                <a:gd name="T15" fmla="*/ 18 h 27"/>
                <a:gd name="T16" fmla="*/ 0 w 24"/>
                <a:gd name="T17" fmla="*/ 16 h 27"/>
                <a:gd name="T18" fmla="*/ 0 w 24"/>
                <a:gd name="T19" fmla="*/ 2 h 27"/>
                <a:gd name="T20" fmla="*/ 1 w 24"/>
                <a:gd name="T21" fmla="*/ 1 h 27"/>
                <a:gd name="T22" fmla="*/ 3 w 24"/>
                <a:gd name="T23" fmla="*/ 0 h 27"/>
                <a:gd name="T24" fmla="*/ 23 w 24"/>
                <a:gd name="T25" fmla="*/ 10 h 27"/>
                <a:gd name="T26" fmla="*/ 24 w 24"/>
                <a:gd name="T27" fmla="*/ 12 h 27"/>
                <a:gd name="T28" fmla="*/ 24 w 24"/>
                <a:gd name="T29" fmla="*/ 26 h 27"/>
                <a:gd name="T30" fmla="*/ 23 w 24"/>
                <a:gd name="T31" fmla="*/ 27 h 27"/>
                <a:gd name="T32" fmla="*/ 22 w 24"/>
                <a:gd name="T3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7">
                  <a:moveTo>
                    <a:pt x="4" y="15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5"/>
                  </a:ln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7"/>
                    <a:pt x="0" y="17"/>
                    <a:pt x="0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1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7"/>
                    <a:pt x="23" y="27"/>
                  </a:cubicBezTo>
                  <a:cubicBezTo>
                    <a:pt x="23" y="27"/>
                    <a:pt x="23" y="27"/>
                    <a:pt x="22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70">
              <a:extLst>
                <a:ext uri="{FF2B5EF4-FFF2-40B4-BE49-F238E27FC236}">
                  <a16:creationId xmlns:a16="http://schemas.microsoft.com/office/drawing/2014/main" id="{F5E6883C-461E-4063-9FCE-6754A86ABC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7" y="283"/>
              <a:ext cx="61" cy="69"/>
            </a:xfrm>
            <a:custGeom>
              <a:avLst/>
              <a:gdLst>
                <a:gd name="T0" fmla="*/ 3 w 24"/>
                <a:gd name="T1" fmla="*/ 13 h 27"/>
                <a:gd name="T2" fmla="*/ 3 w 24"/>
                <a:gd name="T3" fmla="*/ 23 h 27"/>
                <a:gd name="T4" fmla="*/ 20 w 24"/>
                <a:gd name="T5" fmla="*/ 15 h 27"/>
                <a:gd name="T6" fmla="*/ 20 w 24"/>
                <a:gd name="T7" fmla="*/ 5 h 27"/>
                <a:gd name="T8" fmla="*/ 3 w 24"/>
                <a:gd name="T9" fmla="*/ 13 h 27"/>
                <a:gd name="T10" fmla="*/ 1 w 24"/>
                <a:gd name="T11" fmla="*/ 27 h 27"/>
                <a:gd name="T12" fmla="*/ 1 w 24"/>
                <a:gd name="T13" fmla="*/ 27 h 27"/>
                <a:gd name="T14" fmla="*/ 0 w 24"/>
                <a:gd name="T15" fmla="*/ 26 h 27"/>
                <a:gd name="T16" fmla="*/ 0 w 24"/>
                <a:gd name="T17" fmla="*/ 12 h 27"/>
                <a:gd name="T18" fmla="*/ 1 w 24"/>
                <a:gd name="T19" fmla="*/ 10 h 27"/>
                <a:gd name="T20" fmla="*/ 21 w 24"/>
                <a:gd name="T21" fmla="*/ 0 h 27"/>
                <a:gd name="T22" fmla="*/ 23 w 24"/>
                <a:gd name="T23" fmla="*/ 1 h 27"/>
                <a:gd name="T24" fmla="*/ 24 w 24"/>
                <a:gd name="T25" fmla="*/ 2 h 27"/>
                <a:gd name="T26" fmla="*/ 24 w 24"/>
                <a:gd name="T27" fmla="*/ 16 h 27"/>
                <a:gd name="T28" fmla="*/ 23 w 24"/>
                <a:gd name="T29" fmla="*/ 18 h 27"/>
                <a:gd name="T30" fmla="*/ 2 w 24"/>
                <a:gd name="T31" fmla="*/ 27 h 27"/>
                <a:gd name="T32" fmla="*/ 1 w 24"/>
                <a:gd name="T3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7">
                  <a:moveTo>
                    <a:pt x="3" y="1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3" y="13"/>
                  </a:ln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1"/>
                    <a:pt x="24" y="1"/>
                    <a:pt x="24" y="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7"/>
                    <a:pt x="23" y="17"/>
                    <a:pt x="23" y="1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1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71">
              <a:extLst>
                <a:ext uri="{FF2B5EF4-FFF2-40B4-BE49-F238E27FC236}">
                  <a16:creationId xmlns:a16="http://schemas.microsoft.com/office/drawing/2014/main" id="{262A5CAC-854A-4C62-8D14-D678E194A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3" y="260"/>
              <a:ext cx="115" cy="56"/>
            </a:xfrm>
            <a:custGeom>
              <a:avLst/>
              <a:gdLst>
                <a:gd name="T0" fmla="*/ 6 w 45"/>
                <a:gd name="T1" fmla="*/ 11 h 22"/>
                <a:gd name="T2" fmla="*/ 22 w 45"/>
                <a:gd name="T3" fmla="*/ 19 h 22"/>
                <a:gd name="T4" fmla="*/ 39 w 45"/>
                <a:gd name="T5" fmla="*/ 11 h 22"/>
                <a:gd name="T6" fmla="*/ 22 w 45"/>
                <a:gd name="T7" fmla="*/ 3 h 22"/>
                <a:gd name="T8" fmla="*/ 6 w 45"/>
                <a:gd name="T9" fmla="*/ 11 h 22"/>
                <a:gd name="T10" fmla="*/ 22 w 45"/>
                <a:gd name="T11" fmla="*/ 22 h 22"/>
                <a:gd name="T12" fmla="*/ 22 w 45"/>
                <a:gd name="T13" fmla="*/ 22 h 22"/>
                <a:gd name="T14" fmla="*/ 1 w 45"/>
                <a:gd name="T15" fmla="*/ 13 h 22"/>
                <a:gd name="T16" fmla="*/ 0 w 45"/>
                <a:gd name="T17" fmla="*/ 11 h 22"/>
                <a:gd name="T18" fmla="*/ 1 w 45"/>
                <a:gd name="T19" fmla="*/ 10 h 22"/>
                <a:gd name="T20" fmla="*/ 22 w 45"/>
                <a:gd name="T21" fmla="*/ 0 h 22"/>
                <a:gd name="T22" fmla="*/ 23 w 45"/>
                <a:gd name="T23" fmla="*/ 0 h 22"/>
                <a:gd name="T24" fmla="*/ 44 w 45"/>
                <a:gd name="T25" fmla="*/ 9 h 22"/>
                <a:gd name="T26" fmla="*/ 45 w 45"/>
                <a:gd name="T27" fmla="*/ 11 h 22"/>
                <a:gd name="T28" fmla="*/ 44 w 45"/>
                <a:gd name="T29" fmla="*/ 13 h 22"/>
                <a:gd name="T30" fmla="*/ 23 w 45"/>
                <a:gd name="T31" fmla="*/ 22 h 22"/>
                <a:gd name="T32" fmla="*/ 22 w 45"/>
                <a:gd name="T3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22">
                  <a:moveTo>
                    <a:pt x="6" y="11"/>
                  </a:moveTo>
                  <a:cubicBezTo>
                    <a:pt x="22" y="19"/>
                    <a:pt x="22" y="19"/>
                    <a:pt x="22" y="19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22" y="3"/>
                    <a:pt x="22" y="3"/>
                    <a:pt x="22" y="3"/>
                  </a:cubicBezTo>
                  <a:lnTo>
                    <a:pt x="6" y="11"/>
                  </a:lnTo>
                  <a:close/>
                  <a:moveTo>
                    <a:pt x="22" y="22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0" y="12"/>
                    <a:pt x="0" y="11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10"/>
                    <a:pt x="45" y="10"/>
                    <a:pt x="45" y="11"/>
                  </a:cubicBezTo>
                  <a:cubicBezTo>
                    <a:pt x="45" y="12"/>
                    <a:pt x="44" y="12"/>
                    <a:pt x="44" y="1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2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72">
              <a:extLst>
                <a:ext uri="{FF2B5EF4-FFF2-40B4-BE49-F238E27FC236}">
                  <a16:creationId xmlns:a16="http://schemas.microsoft.com/office/drawing/2014/main" id="{7171FC93-389E-4CA8-AF6E-70A37931C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3" y="408"/>
              <a:ext cx="64" cy="49"/>
            </a:xfrm>
            <a:custGeom>
              <a:avLst/>
              <a:gdLst>
                <a:gd name="T0" fmla="*/ 4 w 25"/>
                <a:gd name="T1" fmla="*/ 10 h 19"/>
                <a:gd name="T2" fmla="*/ 22 w 25"/>
                <a:gd name="T3" fmla="*/ 15 h 19"/>
                <a:gd name="T4" fmla="*/ 22 w 25"/>
                <a:gd name="T5" fmla="*/ 9 h 19"/>
                <a:gd name="T6" fmla="*/ 4 w 25"/>
                <a:gd name="T7" fmla="*/ 4 h 19"/>
                <a:gd name="T8" fmla="*/ 4 w 25"/>
                <a:gd name="T9" fmla="*/ 10 h 19"/>
                <a:gd name="T10" fmla="*/ 24 w 25"/>
                <a:gd name="T11" fmla="*/ 19 h 19"/>
                <a:gd name="T12" fmla="*/ 23 w 25"/>
                <a:gd name="T13" fmla="*/ 19 h 19"/>
                <a:gd name="T14" fmla="*/ 2 w 25"/>
                <a:gd name="T15" fmla="*/ 13 h 19"/>
                <a:gd name="T16" fmla="*/ 0 w 25"/>
                <a:gd name="T17" fmla="*/ 11 h 19"/>
                <a:gd name="T18" fmla="*/ 0 w 25"/>
                <a:gd name="T19" fmla="*/ 2 h 19"/>
                <a:gd name="T20" fmla="*/ 1 w 25"/>
                <a:gd name="T21" fmla="*/ 0 h 19"/>
                <a:gd name="T22" fmla="*/ 2 w 25"/>
                <a:gd name="T23" fmla="*/ 0 h 19"/>
                <a:gd name="T24" fmla="*/ 24 w 25"/>
                <a:gd name="T25" fmla="*/ 7 h 19"/>
                <a:gd name="T26" fmla="*/ 25 w 25"/>
                <a:gd name="T27" fmla="*/ 8 h 19"/>
                <a:gd name="T28" fmla="*/ 25 w 25"/>
                <a:gd name="T29" fmla="*/ 18 h 19"/>
                <a:gd name="T30" fmla="*/ 25 w 25"/>
                <a:gd name="T31" fmla="*/ 19 h 19"/>
                <a:gd name="T32" fmla="*/ 24 w 25"/>
                <a:gd name="T3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9">
                  <a:moveTo>
                    <a:pt x="4" y="10"/>
                  </a:moveTo>
                  <a:cubicBezTo>
                    <a:pt x="22" y="15"/>
                    <a:pt x="22" y="15"/>
                    <a:pt x="22" y="15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0"/>
                  </a:lnTo>
                  <a:close/>
                  <a:moveTo>
                    <a:pt x="24" y="19"/>
                  </a:moveTo>
                  <a:cubicBezTo>
                    <a:pt x="24" y="19"/>
                    <a:pt x="23" y="19"/>
                    <a:pt x="23" y="1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5" y="7"/>
                    <a:pt x="25" y="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9"/>
                    <a:pt x="25" y="19"/>
                  </a:cubicBezTo>
                  <a:cubicBezTo>
                    <a:pt x="24" y="19"/>
                    <a:pt x="24" y="19"/>
                    <a:pt x="24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73">
              <a:extLst>
                <a:ext uri="{FF2B5EF4-FFF2-40B4-BE49-F238E27FC236}">
                  <a16:creationId xmlns:a16="http://schemas.microsoft.com/office/drawing/2014/main" id="{FBE0F9F0-391E-419D-AA18-546CEC5F2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0" y="408"/>
              <a:ext cx="64" cy="49"/>
            </a:xfrm>
            <a:custGeom>
              <a:avLst/>
              <a:gdLst>
                <a:gd name="T0" fmla="*/ 3 w 25"/>
                <a:gd name="T1" fmla="*/ 9 h 19"/>
                <a:gd name="T2" fmla="*/ 3 w 25"/>
                <a:gd name="T3" fmla="*/ 15 h 19"/>
                <a:gd name="T4" fmla="*/ 22 w 25"/>
                <a:gd name="T5" fmla="*/ 10 h 19"/>
                <a:gd name="T6" fmla="*/ 22 w 25"/>
                <a:gd name="T7" fmla="*/ 4 h 19"/>
                <a:gd name="T8" fmla="*/ 3 w 25"/>
                <a:gd name="T9" fmla="*/ 9 h 19"/>
                <a:gd name="T10" fmla="*/ 2 w 25"/>
                <a:gd name="T11" fmla="*/ 19 h 19"/>
                <a:gd name="T12" fmla="*/ 1 w 25"/>
                <a:gd name="T13" fmla="*/ 19 h 19"/>
                <a:gd name="T14" fmla="*/ 0 w 25"/>
                <a:gd name="T15" fmla="*/ 18 h 19"/>
                <a:gd name="T16" fmla="*/ 0 w 25"/>
                <a:gd name="T17" fmla="*/ 8 h 19"/>
                <a:gd name="T18" fmla="*/ 1 w 25"/>
                <a:gd name="T19" fmla="*/ 7 h 19"/>
                <a:gd name="T20" fmla="*/ 23 w 25"/>
                <a:gd name="T21" fmla="*/ 0 h 19"/>
                <a:gd name="T22" fmla="*/ 25 w 25"/>
                <a:gd name="T23" fmla="*/ 0 h 19"/>
                <a:gd name="T24" fmla="*/ 25 w 25"/>
                <a:gd name="T25" fmla="*/ 2 h 19"/>
                <a:gd name="T26" fmla="*/ 25 w 25"/>
                <a:gd name="T27" fmla="*/ 11 h 19"/>
                <a:gd name="T28" fmla="*/ 24 w 25"/>
                <a:gd name="T29" fmla="*/ 13 h 19"/>
                <a:gd name="T30" fmla="*/ 2 w 25"/>
                <a:gd name="T31" fmla="*/ 19 h 19"/>
                <a:gd name="T32" fmla="*/ 2 w 25"/>
                <a:gd name="T3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9">
                  <a:moveTo>
                    <a:pt x="3" y="9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3" y="9"/>
                  </a:lnTo>
                  <a:close/>
                  <a:moveTo>
                    <a:pt x="2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5" y="0"/>
                  </a:cubicBezTo>
                  <a:cubicBezTo>
                    <a:pt x="25" y="1"/>
                    <a:pt x="25" y="1"/>
                    <a:pt x="25" y="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3"/>
                    <a:pt x="24" y="13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74">
              <a:extLst>
                <a:ext uri="{FF2B5EF4-FFF2-40B4-BE49-F238E27FC236}">
                  <a16:creationId xmlns:a16="http://schemas.microsoft.com/office/drawing/2014/main" id="{9EE74532-EA79-46EA-82D5-37DDDE460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3" y="393"/>
              <a:ext cx="121" cy="41"/>
            </a:xfrm>
            <a:custGeom>
              <a:avLst/>
              <a:gdLst>
                <a:gd name="T0" fmla="*/ 8 w 47"/>
                <a:gd name="T1" fmla="*/ 8 h 16"/>
                <a:gd name="T2" fmla="*/ 24 w 47"/>
                <a:gd name="T3" fmla="*/ 12 h 16"/>
                <a:gd name="T4" fmla="*/ 39 w 47"/>
                <a:gd name="T5" fmla="*/ 8 h 16"/>
                <a:gd name="T6" fmla="*/ 24 w 47"/>
                <a:gd name="T7" fmla="*/ 3 h 16"/>
                <a:gd name="T8" fmla="*/ 8 w 47"/>
                <a:gd name="T9" fmla="*/ 8 h 16"/>
                <a:gd name="T10" fmla="*/ 24 w 47"/>
                <a:gd name="T11" fmla="*/ 16 h 16"/>
                <a:gd name="T12" fmla="*/ 23 w 47"/>
                <a:gd name="T13" fmla="*/ 16 h 16"/>
                <a:gd name="T14" fmla="*/ 2 w 47"/>
                <a:gd name="T15" fmla="*/ 10 h 16"/>
                <a:gd name="T16" fmla="*/ 0 w 47"/>
                <a:gd name="T17" fmla="*/ 8 h 16"/>
                <a:gd name="T18" fmla="*/ 2 w 47"/>
                <a:gd name="T19" fmla="*/ 6 h 16"/>
                <a:gd name="T20" fmla="*/ 23 w 47"/>
                <a:gd name="T21" fmla="*/ 0 h 16"/>
                <a:gd name="T22" fmla="*/ 24 w 47"/>
                <a:gd name="T23" fmla="*/ 0 h 16"/>
                <a:gd name="T24" fmla="*/ 46 w 47"/>
                <a:gd name="T25" fmla="*/ 6 h 16"/>
                <a:gd name="T26" fmla="*/ 47 w 47"/>
                <a:gd name="T27" fmla="*/ 8 h 16"/>
                <a:gd name="T28" fmla="*/ 46 w 47"/>
                <a:gd name="T29" fmla="*/ 9 h 16"/>
                <a:gd name="T30" fmla="*/ 24 w 47"/>
                <a:gd name="T31" fmla="*/ 16 h 16"/>
                <a:gd name="T32" fmla="*/ 24 w 47"/>
                <a:gd name="T3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16">
                  <a:moveTo>
                    <a:pt x="8" y="8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4" y="3"/>
                    <a:pt x="24" y="3"/>
                    <a:pt x="24" y="3"/>
                  </a:cubicBezTo>
                  <a:lnTo>
                    <a:pt x="8" y="8"/>
                  </a:lnTo>
                  <a:close/>
                  <a:moveTo>
                    <a:pt x="24" y="16"/>
                  </a:moveTo>
                  <a:cubicBezTo>
                    <a:pt x="24" y="16"/>
                    <a:pt x="23" y="16"/>
                    <a:pt x="23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6"/>
                    <a:pt x="47" y="7"/>
                    <a:pt x="47" y="8"/>
                  </a:cubicBezTo>
                  <a:cubicBezTo>
                    <a:pt x="47" y="9"/>
                    <a:pt x="47" y="9"/>
                    <a:pt x="46" y="9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75">
              <a:extLst>
                <a:ext uri="{FF2B5EF4-FFF2-40B4-BE49-F238E27FC236}">
                  <a16:creationId xmlns:a16="http://schemas.microsoft.com/office/drawing/2014/main" id="{3BA03D3D-118B-421E-8330-90B8433812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3" y="283"/>
              <a:ext cx="51" cy="79"/>
            </a:xfrm>
            <a:custGeom>
              <a:avLst/>
              <a:gdLst>
                <a:gd name="T0" fmla="*/ 19 w 20"/>
                <a:gd name="T1" fmla="*/ 20 h 31"/>
                <a:gd name="T2" fmla="*/ 19 w 20"/>
                <a:gd name="T3" fmla="*/ 20 h 31"/>
                <a:gd name="T4" fmla="*/ 3 w 20"/>
                <a:gd name="T5" fmla="*/ 12 h 31"/>
                <a:gd name="T6" fmla="*/ 3 w 20"/>
                <a:gd name="T7" fmla="*/ 26 h 31"/>
                <a:gd name="T8" fmla="*/ 17 w 20"/>
                <a:gd name="T9" fmla="*/ 19 h 31"/>
                <a:gd name="T10" fmla="*/ 17 w 20"/>
                <a:gd name="T11" fmla="*/ 5 h 31"/>
                <a:gd name="T12" fmla="*/ 3 w 20"/>
                <a:gd name="T13" fmla="*/ 12 h 31"/>
                <a:gd name="T14" fmla="*/ 1 w 20"/>
                <a:gd name="T15" fmla="*/ 31 h 31"/>
                <a:gd name="T16" fmla="*/ 1 w 20"/>
                <a:gd name="T17" fmla="*/ 30 h 31"/>
                <a:gd name="T18" fmla="*/ 0 w 20"/>
                <a:gd name="T19" fmla="*/ 29 h 31"/>
                <a:gd name="T20" fmla="*/ 0 w 20"/>
                <a:gd name="T21" fmla="*/ 11 h 31"/>
                <a:gd name="T22" fmla="*/ 1 w 20"/>
                <a:gd name="T23" fmla="*/ 9 h 31"/>
                <a:gd name="T24" fmla="*/ 18 w 20"/>
                <a:gd name="T25" fmla="*/ 0 h 31"/>
                <a:gd name="T26" fmla="*/ 20 w 20"/>
                <a:gd name="T27" fmla="*/ 0 h 31"/>
                <a:gd name="T28" fmla="*/ 20 w 20"/>
                <a:gd name="T29" fmla="*/ 2 h 31"/>
                <a:gd name="T30" fmla="*/ 20 w 20"/>
                <a:gd name="T31" fmla="*/ 20 h 31"/>
                <a:gd name="T32" fmla="*/ 20 w 20"/>
                <a:gd name="T33" fmla="*/ 21 h 31"/>
                <a:gd name="T34" fmla="*/ 2 w 20"/>
                <a:gd name="T35" fmla="*/ 30 h 31"/>
                <a:gd name="T36" fmla="*/ 1 w 20"/>
                <a:gd name="T3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31"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3" y="12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3" y="12"/>
                  </a:lnTo>
                  <a:close/>
                  <a:moveTo>
                    <a:pt x="1" y="31"/>
                  </a:moveTo>
                  <a:cubicBezTo>
                    <a:pt x="1" y="31"/>
                    <a:pt x="1" y="30"/>
                    <a:pt x="1" y="30"/>
                  </a:cubicBezTo>
                  <a:cubicBezTo>
                    <a:pt x="0" y="30"/>
                    <a:pt x="0" y="29"/>
                    <a:pt x="0" y="2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1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20" y="0"/>
                  </a:cubicBezTo>
                  <a:cubicBezTo>
                    <a:pt x="20" y="1"/>
                    <a:pt x="20" y="1"/>
                    <a:pt x="20" y="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1"/>
                    <a:pt x="20" y="2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1"/>
                    <a:pt x="1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76">
              <a:extLst>
                <a:ext uri="{FF2B5EF4-FFF2-40B4-BE49-F238E27FC236}">
                  <a16:creationId xmlns:a16="http://schemas.microsoft.com/office/drawing/2014/main" id="{897B220E-313F-4CDE-9934-8225B988E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4" y="286"/>
              <a:ext cx="57" cy="76"/>
            </a:xfrm>
            <a:custGeom>
              <a:avLst/>
              <a:gdLst>
                <a:gd name="T0" fmla="*/ 3 w 22"/>
                <a:gd name="T1" fmla="*/ 19 h 30"/>
                <a:gd name="T2" fmla="*/ 19 w 22"/>
                <a:gd name="T3" fmla="*/ 25 h 30"/>
                <a:gd name="T4" fmla="*/ 19 w 22"/>
                <a:gd name="T5" fmla="*/ 11 h 30"/>
                <a:gd name="T6" fmla="*/ 3 w 22"/>
                <a:gd name="T7" fmla="*/ 5 h 30"/>
                <a:gd name="T8" fmla="*/ 3 w 22"/>
                <a:gd name="T9" fmla="*/ 19 h 30"/>
                <a:gd name="T10" fmla="*/ 20 w 22"/>
                <a:gd name="T11" fmla="*/ 30 h 30"/>
                <a:gd name="T12" fmla="*/ 20 w 22"/>
                <a:gd name="T13" fmla="*/ 29 h 30"/>
                <a:gd name="T14" fmla="*/ 1 w 22"/>
                <a:gd name="T15" fmla="*/ 22 h 30"/>
                <a:gd name="T16" fmla="*/ 0 w 22"/>
                <a:gd name="T17" fmla="*/ 20 h 30"/>
                <a:gd name="T18" fmla="*/ 0 w 22"/>
                <a:gd name="T19" fmla="*/ 2 h 30"/>
                <a:gd name="T20" fmla="*/ 1 w 22"/>
                <a:gd name="T21" fmla="*/ 1 h 30"/>
                <a:gd name="T22" fmla="*/ 2 w 22"/>
                <a:gd name="T23" fmla="*/ 0 h 30"/>
                <a:gd name="T24" fmla="*/ 21 w 22"/>
                <a:gd name="T25" fmla="*/ 8 h 30"/>
                <a:gd name="T26" fmla="*/ 22 w 22"/>
                <a:gd name="T27" fmla="*/ 10 h 30"/>
                <a:gd name="T28" fmla="*/ 22 w 22"/>
                <a:gd name="T29" fmla="*/ 28 h 30"/>
                <a:gd name="T30" fmla="*/ 21 w 22"/>
                <a:gd name="T31" fmla="*/ 29 h 30"/>
                <a:gd name="T32" fmla="*/ 20 w 22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0">
                  <a:moveTo>
                    <a:pt x="3" y="19"/>
                  </a:moveTo>
                  <a:cubicBezTo>
                    <a:pt x="19" y="25"/>
                    <a:pt x="19" y="25"/>
                    <a:pt x="19" y="25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9"/>
                  </a:lnTo>
                  <a:close/>
                  <a:moveTo>
                    <a:pt x="20" y="30"/>
                  </a:moveTo>
                  <a:cubicBezTo>
                    <a:pt x="20" y="30"/>
                    <a:pt x="20" y="29"/>
                    <a:pt x="20" y="29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9"/>
                    <a:pt x="22" y="9"/>
                    <a:pt x="22" y="10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9"/>
                    <a:pt x="21" y="29"/>
                  </a:cubicBezTo>
                  <a:cubicBezTo>
                    <a:pt x="21" y="29"/>
                    <a:pt x="21" y="30"/>
                    <a:pt x="20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77">
              <a:extLst>
                <a:ext uri="{FF2B5EF4-FFF2-40B4-BE49-F238E27FC236}">
                  <a16:creationId xmlns:a16="http://schemas.microsoft.com/office/drawing/2014/main" id="{64BC1876-713C-4D88-A312-B06B35BFF3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4" y="262"/>
              <a:ext cx="100" cy="54"/>
            </a:xfrm>
            <a:custGeom>
              <a:avLst/>
              <a:gdLst>
                <a:gd name="T0" fmla="*/ 6 w 39"/>
                <a:gd name="T1" fmla="*/ 11 h 21"/>
                <a:gd name="T2" fmla="*/ 20 w 39"/>
                <a:gd name="T3" fmla="*/ 17 h 21"/>
                <a:gd name="T4" fmla="*/ 34 w 39"/>
                <a:gd name="T5" fmla="*/ 10 h 21"/>
                <a:gd name="T6" fmla="*/ 19 w 39"/>
                <a:gd name="T7" fmla="*/ 4 h 21"/>
                <a:gd name="T8" fmla="*/ 6 w 39"/>
                <a:gd name="T9" fmla="*/ 11 h 21"/>
                <a:gd name="T10" fmla="*/ 20 w 39"/>
                <a:gd name="T11" fmla="*/ 21 h 21"/>
                <a:gd name="T12" fmla="*/ 20 w 39"/>
                <a:gd name="T13" fmla="*/ 20 h 21"/>
                <a:gd name="T14" fmla="*/ 1 w 39"/>
                <a:gd name="T15" fmla="*/ 13 h 21"/>
                <a:gd name="T16" fmla="*/ 0 w 39"/>
                <a:gd name="T17" fmla="*/ 11 h 21"/>
                <a:gd name="T18" fmla="*/ 1 w 39"/>
                <a:gd name="T19" fmla="*/ 9 h 21"/>
                <a:gd name="T20" fmla="*/ 18 w 39"/>
                <a:gd name="T21" fmla="*/ 0 h 21"/>
                <a:gd name="T22" fmla="*/ 19 w 39"/>
                <a:gd name="T23" fmla="*/ 0 h 21"/>
                <a:gd name="T24" fmla="*/ 38 w 39"/>
                <a:gd name="T25" fmla="*/ 8 h 21"/>
                <a:gd name="T26" fmla="*/ 39 w 39"/>
                <a:gd name="T27" fmla="*/ 10 h 21"/>
                <a:gd name="T28" fmla="*/ 39 w 39"/>
                <a:gd name="T29" fmla="*/ 11 h 21"/>
                <a:gd name="T30" fmla="*/ 21 w 39"/>
                <a:gd name="T31" fmla="*/ 20 h 21"/>
                <a:gd name="T32" fmla="*/ 20 w 39"/>
                <a:gd name="T3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21">
                  <a:moveTo>
                    <a:pt x="6" y="11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6" y="11"/>
                  </a:lnTo>
                  <a:close/>
                  <a:moveTo>
                    <a:pt x="20" y="21"/>
                  </a:moveTo>
                  <a:cubicBezTo>
                    <a:pt x="20" y="21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10"/>
                    <a:pt x="0" y="10"/>
                    <a:pt x="1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9"/>
                    <a:pt x="39" y="9"/>
                    <a:pt x="39" y="10"/>
                  </a:cubicBezTo>
                  <a:cubicBezTo>
                    <a:pt x="39" y="10"/>
                    <a:pt x="39" y="11"/>
                    <a:pt x="39" y="1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1"/>
                    <a:pt x="20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78">
              <a:extLst>
                <a:ext uri="{FF2B5EF4-FFF2-40B4-BE49-F238E27FC236}">
                  <a16:creationId xmlns:a16="http://schemas.microsoft.com/office/drawing/2014/main" id="{609428E5-5686-4BE0-A1C1-A420BCF41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1" y="378"/>
              <a:ext cx="80" cy="28"/>
            </a:xfrm>
            <a:custGeom>
              <a:avLst/>
              <a:gdLst>
                <a:gd name="T0" fmla="*/ 28 w 31"/>
                <a:gd name="T1" fmla="*/ 6 h 11"/>
                <a:gd name="T2" fmla="*/ 28 w 31"/>
                <a:gd name="T3" fmla="*/ 6 h 11"/>
                <a:gd name="T4" fmla="*/ 4 w 31"/>
                <a:gd name="T5" fmla="*/ 5 h 11"/>
                <a:gd name="T6" fmla="*/ 16 w 31"/>
                <a:gd name="T7" fmla="*/ 7 h 11"/>
                <a:gd name="T8" fmla="*/ 28 w 31"/>
                <a:gd name="T9" fmla="*/ 5 h 11"/>
                <a:gd name="T10" fmla="*/ 16 w 31"/>
                <a:gd name="T11" fmla="*/ 3 h 11"/>
                <a:gd name="T12" fmla="*/ 4 w 31"/>
                <a:gd name="T13" fmla="*/ 5 h 11"/>
                <a:gd name="T14" fmla="*/ 16 w 31"/>
                <a:gd name="T15" fmla="*/ 11 h 11"/>
                <a:gd name="T16" fmla="*/ 0 w 31"/>
                <a:gd name="T17" fmla="*/ 5 h 11"/>
                <a:gd name="T18" fmla="*/ 16 w 31"/>
                <a:gd name="T19" fmla="*/ 0 h 11"/>
                <a:gd name="T20" fmla="*/ 31 w 31"/>
                <a:gd name="T21" fmla="*/ 5 h 11"/>
                <a:gd name="T22" fmla="*/ 16 w 31"/>
                <a:gd name="T2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11">
                  <a:moveTo>
                    <a:pt x="28" y="6"/>
                  </a:moveTo>
                  <a:cubicBezTo>
                    <a:pt x="28" y="6"/>
                    <a:pt x="28" y="6"/>
                    <a:pt x="28" y="6"/>
                  </a:cubicBezTo>
                  <a:close/>
                  <a:moveTo>
                    <a:pt x="4" y="5"/>
                  </a:moveTo>
                  <a:cubicBezTo>
                    <a:pt x="5" y="6"/>
                    <a:pt x="9" y="7"/>
                    <a:pt x="16" y="7"/>
                  </a:cubicBezTo>
                  <a:cubicBezTo>
                    <a:pt x="22" y="7"/>
                    <a:pt x="26" y="6"/>
                    <a:pt x="28" y="5"/>
                  </a:cubicBezTo>
                  <a:cubicBezTo>
                    <a:pt x="26" y="4"/>
                    <a:pt x="22" y="3"/>
                    <a:pt x="16" y="3"/>
                  </a:cubicBezTo>
                  <a:cubicBezTo>
                    <a:pt x="9" y="3"/>
                    <a:pt x="5" y="4"/>
                    <a:pt x="4" y="5"/>
                  </a:cubicBezTo>
                  <a:moveTo>
                    <a:pt x="16" y="11"/>
                  </a:moveTo>
                  <a:cubicBezTo>
                    <a:pt x="14" y="11"/>
                    <a:pt x="0" y="11"/>
                    <a:pt x="0" y="5"/>
                  </a:cubicBezTo>
                  <a:cubicBezTo>
                    <a:pt x="0" y="0"/>
                    <a:pt x="14" y="0"/>
                    <a:pt x="16" y="0"/>
                  </a:cubicBezTo>
                  <a:cubicBezTo>
                    <a:pt x="17" y="0"/>
                    <a:pt x="31" y="0"/>
                    <a:pt x="31" y="5"/>
                  </a:cubicBezTo>
                  <a:cubicBezTo>
                    <a:pt x="31" y="11"/>
                    <a:pt x="17" y="11"/>
                    <a:pt x="1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79">
              <a:extLst>
                <a:ext uri="{FF2B5EF4-FFF2-40B4-BE49-F238E27FC236}">
                  <a16:creationId xmlns:a16="http://schemas.microsoft.com/office/drawing/2014/main" id="{5BE4ABBF-25FF-4F86-A002-52E8DF312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" y="388"/>
              <a:ext cx="80" cy="105"/>
            </a:xfrm>
            <a:custGeom>
              <a:avLst/>
              <a:gdLst>
                <a:gd name="T0" fmla="*/ 16 w 31"/>
                <a:gd name="T1" fmla="*/ 41 h 41"/>
                <a:gd name="T2" fmla="*/ 0 w 31"/>
                <a:gd name="T3" fmla="*/ 36 h 41"/>
                <a:gd name="T4" fmla="*/ 0 w 31"/>
                <a:gd name="T5" fmla="*/ 1 h 41"/>
                <a:gd name="T6" fmla="*/ 2 w 31"/>
                <a:gd name="T7" fmla="*/ 0 h 41"/>
                <a:gd name="T8" fmla="*/ 4 w 31"/>
                <a:gd name="T9" fmla="*/ 1 h 41"/>
                <a:gd name="T10" fmla="*/ 4 w 31"/>
                <a:gd name="T11" fmla="*/ 36 h 41"/>
                <a:gd name="T12" fmla="*/ 16 w 31"/>
                <a:gd name="T13" fmla="*/ 38 h 41"/>
                <a:gd name="T14" fmla="*/ 28 w 31"/>
                <a:gd name="T15" fmla="*/ 36 h 41"/>
                <a:gd name="T16" fmla="*/ 28 w 31"/>
                <a:gd name="T17" fmla="*/ 1 h 41"/>
                <a:gd name="T18" fmla="*/ 30 w 31"/>
                <a:gd name="T19" fmla="*/ 0 h 41"/>
                <a:gd name="T20" fmla="*/ 31 w 31"/>
                <a:gd name="T21" fmla="*/ 1 h 41"/>
                <a:gd name="T22" fmla="*/ 31 w 31"/>
                <a:gd name="T23" fmla="*/ 36 h 41"/>
                <a:gd name="T24" fmla="*/ 16 w 31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41">
                  <a:moveTo>
                    <a:pt x="16" y="41"/>
                  </a:moveTo>
                  <a:cubicBezTo>
                    <a:pt x="14" y="41"/>
                    <a:pt x="0" y="41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8" y="38"/>
                    <a:pt x="16" y="38"/>
                  </a:cubicBezTo>
                  <a:cubicBezTo>
                    <a:pt x="23" y="38"/>
                    <a:pt x="27" y="36"/>
                    <a:pt x="28" y="36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0" y="0"/>
                    <a:pt x="31" y="0"/>
                    <a:pt x="31" y="1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41"/>
                    <a:pt x="17" y="41"/>
                    <a:pt x="16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80">
              <a:extLst>
                <a:ext uri="{FF2B5EF4-FFF2-40B4-BE49-F238E27FC236}">
                  <a16:creationId xmlns:a16="http://schemas.microsoft.com/office/drawing/2014/main" id="{03859DB8-0A9C-4156-88C1-090C3B0FC8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1" y="447"/>
              <a:ext cx="80" cy="18"/>
            </a:xfrm>
            <a:custGeom>
              <a:avLst/>
              <a:gdLst>
                <a:gd name="T0" fmla="*/ 4 w 31"/>
                <a:gd name="T1" fmla="*/ 2 h 7"/>
                <a:gd name="T2" fmla="*/ 4 w 31"/>
                <a:gd name="T3" fmla="*/ 2 h 7"/>
                <a:gd name="T4" fmla="*/ 16 w 31"/>
                <a:gd name="T5" fmla="*/ 7 h 7"/>
                <a:gd name="T6" fmla="*/ 0 w 31"/>
                <a:gd name="T7" fmla="*/ 2 h 7"/>
                <a:gd name="T8" fmla="*/ 2 w 31"/>
                <a:gd name="T9" fmla="*/ 0 h 7"/>
                <a:gd name="T10" fmla="*/ 4 w 31"/>
                <a:gd name="T11" fmla="*/ 2 h 7"/>
                <a:gd name="T12" fmla="*/ 16 w 31"/>
                <a:gd name="T13" fmla="*/ 4 h 7"/>
                <a:gd name="T14" fmla="*/ 28 w 31"/>
                <a:gd name="T15" fmla="*/ 1 h 7"/>
                <a:gd name="T16" fmla="*/ 30 w 31"/>
                <a:gd name="T17" fmla="*/ 0 h 7"/>
                <a:gd name="T18" fmla="*/ 31 w 31"/>
                <a:gd name="T19" fmla="*/ 2 h 7"/>
                <a:gd name="T20" fmla="*/ 16 w 31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lose/>
                  <a:moveTo>
                    <a:pt x="16" y="7"/>
                  </a:moveTo>
                  <a:cubicBezTo>
                    <a:pt x="14" y="7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"/>
                    <a:pt x="9" y="4"/>
                    <a:pt x="16" y="4"/>
                  </a:cubicBezTo>
                  <a:cubicBezTo>
                    <a:pt x="23" y="4"/>
                    <a:pt x="27" y="2"/>
                    <a:pt x="28" y="1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7"/>
                    <a:pt x="17" y="7"/>
                    <a:pt x="16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81">
              <a:extLst>
                <a:ext uri="{FF2B5EF4-FFF2-40B4-BE49-F238E27FC236}">
                  <a16:creationId xmlns:a16="http://schemas.microsoft.com/office/drawing/2014/main" id="{1A3F4509-DEE8-49E1-A8CF-1007B7E84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1" y="419"/>
              <a:ext cx="80" cy="18"/>
            </a:xfrm>
            <a:custGeom>
              <a:avLst/>
              <a:gdLst>
                <a:gd name="T0" fmla="*/ 4 w 31"/>
                <a:gd name="T1" fmla="*/ 2 h 7"/>
                <a:gd name="T2" fmla="*/ 4 w 31"/>
                <a:gd name="T3" fmla="*/ 2 h 7"/>
                <a:gd name="T4" fmla="*/ 16 w 31"/>
                <a:gd name="T5" fmla="*/ 7 h 7"/>
                <a:gd name="T6" fmla="*/ 0 w 31"/>
                <a:gd name="T7" fmla="*/ 2 h 7"/>
                <a:gd name="T8" fmla="*/ 2 w 31"/>
                <a:gd name="T9" fmla="*/ 0 h 7"/>
                <a:gd name="T10" fmla="*/ 4 w 31"/>
                <a:gd name="T11" fmla="*/ 1 h 7"/>
                <a:gd name="T12" fmla="*/ 16 w 31"/>
                <a:gd name="T13" fmla="*/ 4 h 7"/>
                <a:gd name="T14" fmla="*/ 28 w 31"/>
                <a:gd name="T15" fmla="*/ 1 h 7"/>
                <a:gd name="T16" fmla="*/ 30 w 31"/>
                <a:gd name="T17" fmla="*/ 0 h 7"/>
                <a:gd name="T18" fmla="*/ 31 w 31"/>
                <a:gd name="T19" fmla="*/ 2 h 7"/>
                <a:gd name="T20" fmla="*/ 16 w 31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lose/>
                  <a:moveTo>
                    <a:pt x="16" y="7"/>
                  </a:moveTo>
                  <a:cubicBezTo>
                    <a:pt x="14" y="7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9" y="4"/>
                    <a:pt x="16" y="4"/>
                  </a:cubicBezTo>
                  <a:cubicBezTo>
                    <a:pt x="23" y="4"/>
                    <a:pt x="27" y="2"/>
                    <a:pt x="28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7"/>
                    <a:pt x="17" y="7"/>
                    <a:pt x="16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6" name="Group 184">
            <a:extLst>
              <a:ext uri="{FF2B5EF4-FFF2-40B4-BE49-F238E27FC236}">
                <a16:creationId xmlns:a16="http://schemas.microsoft.com/office/drawing/2014/main" id="{534306EA-0243-4F59-9BA5-8E6C074B5B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7713" y="275432"/>
            <a:ext cx="758825" cy="758825"/>
            <a:chOff x="3671" y="158"/>
            <a:chExt cx="478" cy="478"/>
          </a:xfrm>
        </p:grpSpPr>
        <p:sp>
          <p:nvSpPr>
            <p:cNvPr id="197" name="AutoShape 183">
              <a:extLst>
                <a:ext uri="{FF2B5EF4-FFF2-40B4-BE49-F238E27FC236}">
                  <a16:creationId xmlns:a16="http://schemas.microsoft.com/office/drawing/2014/main" id="{42DD1B8E-DC5A-49BD-ACAB-E1DC40E07C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71" y="1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85">
              <a:extLst>
                <a:ext uri="{FF2B5EF4-FFF2-40B4-BE49-F238E27FC236}">
                  <a16:creationId xmlns:a16="http://schemas.microsoft.com/office/drawing/2014/main" id="{36E9ED00-22BC-4CDD-BA38-C727ABABB0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3" y="16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86">
              <a:extLst>
                <a:ext uri="{FF2B5EF4-FFF2-40B4-BE49-F238E27FC236}">
                  <a16:creationId xmlns:a16="http://schemas.microsoft.com/office/drawing/2014/main" id="{187D6E79-6A34-4AC7-8CDA-7ED68B86F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6" y="209"/>
              <a:ext cx="10" cy="10"/>
            </a:xfrm>
            <a:custGeom>
              <a:avLst/>
              <a:gdLst>
                <a:gd name="T0" fmla="*/ 0 w 10"/>
                <a:gd name="T1" fmla="*/ 3 h 10"/>
                <a:gd name="T2" fmla="*/ 0 w 10"/>
                <a:gd name="T3" fmla="*/ 10 h 10"/>
                <a:gd name="T4" fmla="*/ 10 w 10"/>
                <a:gd name="T5" fmla="*/ 8 h 10"/>
                <a:gd name="T6" fmla="*/ 7 w 10"/>
                <a:gd name="T7" fmla="*/ 0 h 10"/>
                <a:gd name="T8" fmla="*/ 0 w 10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3"/>
                  </a:moveTo>
                  <a:lnTo>
                    <a:pt x="0" y="10"/>
                  </a:lnTo>
                  <a:lnTo>
                    <a:pt x="10" y="8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87">
              <a:extLst>
                <a:ext uri="{FF2B5EF4-FFF2-40B4-BE49-F238E27FC236}">
                  <a16:creationId xmlns:a16="http://schemas.microsoft.com/office/drawing/2014/main" id="{698E1A83-1797-49CC-8BBD-3E5177E46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1" y="229"/>
              <a:ext cx="19" cy="39"/>
            </a:xfrm>
            <a:custGeom>
              <a:avLst/>
              <a:gdLst>
                <a:gd name="T0" fmla="*/ 2 w 19"/>
                <a:gd name="T1" fmla="*/ 15 h 39"/>
                <a:gd name="T2" fmla="*/ 0 w 19"/>
                <a:gd name="T3" fmla="*/ 3 h 39"/>
                <a:gd name="T4" fmla="*/ 7 w 19"/>
                <a:gd name="T5" fmla="*/ 0 h 39"/>
                <a:gd name="T6" fmla="*/ 12 w 19"/>
                <a:gd name="T7" fmla="*/ 12 h 39"/>
                <a:gd name="T8" fmla="*/ 2 w 19"/>
                <a:gd name="T9" fmla="*/ 15 h 39"/>
                <a:gd name="T10" fmla="*/ 10 w 19"/>
                <a:gd name="T11" fmla="*/ 39 h 39"/>
                <a:gd name="T12" fmla="*/ 7 w 19"/>
                <a:gd name="T13" fmla="*/ 27 h 39"/>
                <a:gd name="T14" fmla="*/ 15 w 19"/>
                <a:gd name="T15" fmla="*/ 25 h 39"/>
                <a:gd name="T16" fmla="*/ 19 w 19"/>
                <a:gd name="T17" fmla="*/ 37 h 39"/>
                <a:gd name="T18" fmla="*/ 10 w 19"/>
                <a:gd name="T1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39">
                  <a:moveTo>
                    <a:pt x="2" y="15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2" y="12"/>
                  </a:lnTo>
                  <a:lnTo>
                    <a:pt x="2" y="15"/>
                  </a:lnTo>
                  <a:close/>
                  <a:moveTo>
                    <a:pt x="10" y="39"/>
                  </a:moveTo>
                  <a:lnTo>
                    <a:pt x="7" y="27"/>
                  </a:lnTo>
                  <a:lnTo>
                    <a:pt x="15" y="25"/>
                  </a:lnTo>
                  <a:lnTo>
                    <a:pt x="19" y="37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88">
              <a:extLst>
                <a:ext uri="{FF2B5EF4-FFF2-40B4-BE49-F238E27FC236}">
                  <a16:creationId xmlns:a16="http://schemas.microsoft.com/office/drawing/2014/main" id="{8388F733-0098-43F9-9C3E-4ED67CECB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6" y="278"/>
              <a:ext cx="90" cy="289"/>
            </a:xfrm>
            <a:custGeom>
              <a:avLst/>
              <a:gdLst>
                <a:gd name="T0" fmla="*/ 2 w 90"/>
                <a:gd name="T1" fmla="*/ 15 h 289"/>
                <a:gd name="T2" fmla="*/ 0 w 90"/>
                <a:gd name="T3" fmla="*/ 3 h 289"/>
                <a:gd name="T4" fmla="*/ 7 w 90"/>
                <a:gd name="T5" fmla="*/ 0 h 289"/>
                <a:gd name="T6" fmla="*/ 12 w 90"/>
                <a:gd name="T7" fmla="*/ 12 h 289"/>
                <a:gd name="T8" fmla="*/ 2 w 90"/>
                <a:gd name="T9" fmla="*/ 15 h 289"/>
                <a:gd name="T10" fmla="*/ 9 w 90"/>
                <a:gd name="T11" fmla="*/ 39 h 289"/>
                <a:gd name="T12" fmla="*/ 7 w 90"/>
                <a:gd name="T13" fmla="*/ 27 h 289"/>
                <a:gd name="T14" fmla="*/ 14 w 90"/>
                <a:gd name="T15" fmla="*/ 25 h 289"/>
                <a:gd name="T16" fmla="*/ 19 w 90"/>
                <a:gd name="T17" fmla="*/ 39 h 289"/>
                <a:gd name="T18" fmla="*/ 9 w 90"/>
                <a:gd name="T19" fmla="*/ 39 h 289"/>
                <a:gd name="T20" fmla="*/ 17 w 90"/>
                <a:gd name="T21" fmla="*/ 66 h 289"/>
                <a:gd name="T22" fmla="*/ 14 w 90"/>
                <a:gd name="T23" fmla="*/ 54 h 289"/>
                <a:gd name="T24" fmla="*/ 22 w 90"/>
                <a:gd name="T25" fmla="*/ 52 h 289"/>
                <a:gd name="T26" fmla="*/ 24 w 90"/>
                <a:gd name="T27" fmla="*/ 64 h 289"/>
                <a:gd name="T28" fmla="*/ 17 w 90"/>
                <a:gd name="T29" fmla="*/ 66 h 289"/>
                <a:gd name="T30" fmla="*/ 24 w 90"/>
                <a:gd name="T31" fmla="*/ 91 h 289"/>
                <a:gd name="T32" fmla="*/ 22 w 90"/>
                <a:gd name="T33" fmla="*/ 79 h 289"/>
                <a:gd name="T34" fmla="*/ 29 w 90"/>
                <a:gd name="T35" fmla="*/ 76 h 289"/>
                <a:gd name="T36" fmla="*/ 31 w 90"/>
                <a:gd name="T37" fmla="*/ 88 h 289"/>
                <a:gd name="T38" fmla="*/ 24 w 90"/>
                <a:gd name="T39" fmla="*/ 91 h 289"/>
                <a:gd name="T40" fmla="*/ 31 w 90"/>
                <a:gd name="T41" fmla="*/ 115 h 289"/>
                <a:gd name="T42" fmla="*/ 29 w 90"/>
                <a:gd name="T43" fmla="*/ 103 h 289"/>
                <a:gd name="T44" fmla="*/ 36 w 90"/>
                <a:gd name="T45" fmla="*/ 101 h 289"/>
                <a:gd name="T46" fmla="*/ 39 w 90"/>
                <a:gd name="T47" fmla="*/ 113 h 289"/>
                <a:gd name="T48" fmla="*/ 31 w 90"/>
                <a:gd name="T49" fmla="*/ 115 h 289"/>
                <a:gd name="T50" fmla="*/ 39 w 90"/>
                <a:gd name="T51" fmla="*/ 140 h 289"/>
                <a:gd name="T52" fmla="*/ 36 w 90"/>
                <a:gd name="T53" fmla="*/ 128 h 289"/>
                <a:gd name="T54" fmla="*/ 44 w 90"/>
                <a:gd name="T55" fmla="*/ 125 h 289"/>
                <a:gd name="T56" fmla="*/ 46 w 90"/>
                <a:gd name="T57" fmla="*/ 137 h 289"/>
                <a:gd name="T58" fmla="*/ 39 w 90"/>
                <a:gd name="T59" fmla="*/ 140 h 289"/>
                <a:gd name="T60" fmla="*/ 46 w 90"/>
                <a:gd name="T61" fmla="*/ 164 h 289"/>
                <a:gd name="T62" fmla="*/ 44 w 90"/>
                <a:gd name="T63" fmla="*/ 152 h 289"/>
                <a:gd name="T64" fmla="*/ 51 w 90"/>
                <a:gd name="T65" fmla="*/ 150 h 289"/>
                <a:gd name="T66" fmla="*/ 53 w 90"/>
                <a:gd name="T67" fmla="*/ 162 h 289"/>
                <a:gd name="T68" fmla="*/ 46 w 90"/>
                <a:gd name="T69" fmla="*/ 164 h 289"/>
                <a:gd name="T70" fmla="*/ 53 w 90"/>
                <a:gd name="T71" fmla="*/ 189 h 289"/>
                <a:gd name="T72" fmla="*/ 51 w 90"/>
                <a:gd name="T73" fmla="*/ 177 h 289"/>
                <a:gd name="T74" fmla="*/ 58 w 90"/>
                <a:gd name="T75" fmla="*/ 174 h 289"/>
                <a:gd name="T76" fmla="*/ 61 w 90"/>
                <a:gd name="T77" fmla="*/ 186 h 289"/>
                <a:gd name="T78" fmla="*/ 53 w 90"/>
                <a:gd name="T79" fmla="*/ 189 h 289"/>
                <a:gd name="T80" fmla="*/ 61 w 90"/>
                <a:gd name="T81" fmla="*/ 216 h 289"/>
                <a:gd name="T82" fmla="*/ 58 w 90"/>
                <a:gd name="T83" fmla="*/ 201 h 289"/>
                <a:gd name="T84" fmla="*/ 66 w 90"/>
                <a:gd name="T85" fmla="*/ 201 h 289"/>
                <a:gd name="T86" fmla="*/ 68 w 90"/>
                <a:gd name="T87" fmla="*/ 213 h 289"/>
                <a:gd name="T88" fmla="*/ 61 w 90"/>
                <a:gd name="T89" fmla="*/ 216 h 289"/>
                <a:gd name="T90" fmla="*/ 68 w 90"/>
                <a:gd name="T91" fmla="*/ 240 h 289"/>
                <a:gd name="T92" fmla="*/ 66 w 90"/>
                <a:gd name="T93" fmla="*/ 228 h 289"/>
                <a:gd name="T94" fmla="*/ 73 w 90"/>
                <a:gd name="T95" fmla="*/ 226 h 289"/>
                <a:gd name="T96" fmla="*/ 76 w 90"/>
                <a:gd name="T97" fmla="*/ 238 h 289"/>
                <a:gd name="T98" fmla="*/ 68 w 90"/>
                <a:gd name="T99" fmla="*/ 240 h 289"/>
                <a:gd name="T100" fmla="*/ 76 w 90"/>
                <a:gd name="T101" fmla="*/ 265 h 289"/>
                <a:gd name="T102" fmla="*/ 73 w 90"/>
                <a:gd name="T103" fmla="*/ 253 h 289"/>
                <a:gd name="T104" fmla="*/ 80 w 90"/>
                <a:gd name="T105" fmla="*/ 250 h 289"/>
                <a:gd name="T106" fmla="*/ 83 w 90"/>
                <a:gd name="T107" fmla="*/ 262 h 289"/>
                <a:gd name="T108" fmla="*/ 76 w 90"/>
                <a:gd name="T109" fmla="*/ 265 h 289"/>
                <a:gd name="T110" fmla="*/ 83 w 90"/>
                <a:gd name="T111" fmla="*/ 289 h 289"/>
                <a:gd name="T112" fmla="*/ 78 w 90"/>
                <a:gd name="T113" fmla="*/ 277 h 289"/>
                <a:gd name="T114" fmla="*/ 88 w 90"/>
                <a:gd name="T115" fmla="*/ 275 h 289"/>
                <a:gd name="T116" fmla="*/ 90 w 90"/>
                <a:gd name="T117" fmla="*/ 287 h 289"/>
                <a:gd name="T118" fmla="*/ 83 w 90"/>
                <a:gd name="T11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0" h="289">
                  <a:moveTo>
                    <a:pt x="2" y="15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2" y="12"/>
                  </a:lnTo>
                  <a:lnTo>
                    <a:pt x="2" y="15"/>
                  </a:lnTo>
                  <a:close/>
                  <a:moveTo>
                    <a:pt x="9" y="39"/>
                  </a:moveTo>
                  <a:lnTo>
                    <a:pt x="7" y="27"/>
                  </a:lnTo>
                  <a:lnTo>
                    <a:pt x="14" y="25"/>
                  </a:lnTo>
                  <a:lnTo>
                    <a:pt x="19" y="39"/>
                  </a:lnTo>
                  <a:lnTo>
                    <a:pt x="9" y="39"/>
                  </a:lnTo>
                  <a:close/>
                  <a:moveTo>
                    <a:pt x="17" y="66"/>
                  </a:moveTo>
                  <a:lnTo>
                    <a:pt x="14" y="54"/>
                  </a:lnTo>
                  <a:lnTo>
                    <a:pt x="22" y="52"/>
                  </a:lnTo>
                  <a:lnTo>
                    <a:pt x="24" y="64"/>
                  </a:lnTo>
                  <a:lnTo>
                    <a:pt x="17" y="66"/>
                  </a:lnTo>
                  <a:close/>
                  <a:moveTo>
                    <a:pt x="24" y="91"/>
                  </a:moveTo>
                  <a:lnTo>
                    <a:pt x="22" y="79"/>
                  </a:lnTo>
                  <a:lnTo>
                    <a:pt x="29" y="76"/>
                  </a:lnTo>
                  <a:lnTo>
                    <a:pt x="31" y="88"/>
                  </a:lnTo>
                  <a:lnTo>
                    <a:pt x="24" y="91"/>
                  </a:lnTo>
                  <a:close/>
                  <a:moveTo>
                    <a:pt x="31" y="115"/>
                  </a:moveTo>
                  <a:lnTo>
                    <a:pt x="29" y="103"/>
                  </a:lnTo>
                  <a:lnTo>
                    <a:pt x="36" y="101"/>
                  </a:lnTo>
                  <a:lnTo>
                    <a:pt x="39" y="113"/>
                  </a:lnTo>
                  <a:lnTo>
                    <a:pt x="31" y="115"/>
                  </a:lnTo>
                  <a:close/>
                  <a:moveTo>
                    <a:pt x="39" y="140"/>
                  </a:moveTo>
                  <a:lnTo>
                    <a:pt x="36" y="128"/>
                  </a:lnTo>
                  <a:lnTo>
                    <a:pt x="44" y="125"/>
                  </a:lnTo>
                  <a:lnTo>
                    <a:pt x="46" y="137"/>
                  </a:lnTo>
                  <a:lnTo>
                    <a:pt x="39" y="140"/>
                  </a:lnTo>
                  <a:close/>
                  <a:moveTo>
                    <a:pt x="46" y="164"/>
                  </a:moveTo>
                  <a:lnTo>
                    <a:pt x="44" y="152"/>
                  </a:lnTo>
                  <a:lnTo>
                    <a:pt x="51" y="150"/>
                  </a:lnTo>
                  <a:lnTo>
                    <a:pt x="53" y="162"/>
                  </a:lnTo>
                  <a:lnTo>
                    <a:pt x="46" y="164"/>
                  </a:lnTo>
                  <a:close/>
                  <a:moveTo>
                    <a:pt x="53" y="189"/>
                  </a:moveTo>
                  <a:lnTo>
                    <a:pt x="51" y="177"/>
                  </a:lnTo>
                  <a:lnTo>
                    <a:pt x="58" y="174"/>
                  </a:lnTo>
                  <a:lnTo>
                    <a:pt x="61" y="186"/>
                  </a:lnTo>
                  <a:lnTo>
                    <a:pt x="53" y="189"/>
                  </a:lnTo>
                  <a:close/>
                  <a:moveTo>
                    <a:pt x="61" y="216"/>
                  </a:moveTo>
                  <a:lnTo>
                    <a:pt x="58" y="201"/>
                  </a:lnTo>
                  <a:lnTo>
                    <a:pt x="66" y="201"/>
                  </a:lnTo>
                  <a:lnTo>
                    <a:pt x="68" y="213"/>
                  </a:lnTo>
                  <a:lnTo>
                    <a:pt x="61" y="216"/>
                  </a:lnTo>
                  <a:close/>
                  <a:moveTo>
                    <a:pt x="68" y="240"/>
                  </a:moveTo>
                  <a:lnTo>
                    <a:pt x="66" y="228"/>
                  </a:lnTo>
                  <a:lnTo>
                    <a:pt x="73" y="226"/>
                  </a:lnTo>
                  <a:lnTo>
                    <a:pt x="76" y="238"/>
                  </a:lnTo>
                  <a:lnTo>
                    <a:pt x="68" y="240"/>
                  </a:lnTo>
                  <a:close/>
                  <a:moveTo>
                    <a:pt x="76" y="265"/>
                  </a:moveTo>
                  <a:lnTo>
                    <a:pt x="73" y="253"/>
                  </a:lnTo>
                  <a:lnTo>
                    <a:pt x="80" y="250"/>
                  </a:lnTo>
                  <a:lnTo>
                    <a:pt x="83" y="262"/>
                  </a:lnTo>
                  <a:lnTo>
                    <a:pt x="76" y="265"/>
                  </a:lnTo>
                  <a:close/>
                  <a:moveTo>
                    <a:pt x="83" y="289"/>
                  </a:moveTo>
                  <a:lnTo>
                    <a:pt x="78" y="277"/>
                  </a:lnTo>
                  <a:lnTo>
                    <a:pt x="88" y="275"/>
                  </a:lnTo>
                  <a:lnTo>
                    <a:pt x="90" y="287"/>
                  </a:lnTo>
                  <a:lnTo>
                    <a:pt x="83" y="28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89">
              <a:extLst>
                <a:ext uri="{FF2B5EF4-FFF2-40B4-BE49-F238E27FC236}">
                  <a16:creationId xmlns:a16="http://schemas.microsoft.com/office/drawing/2014/main" id="{70D87B7E-261C-4D61-95AD-0A8222E2B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" y="577"/>
              <a:ext cx="10" cy="10"/>
            </a:xfrm>
            <a:custGeom>
              <a:avLst/>
              <a:gdLst>
                <a:gd name="T0" fmla="*/ 0 w 10"/>
                <a:gd name="T1" fmla="*/ 3 h 10"/>
                <a:gd name="T2" fmla="*/ 3 w 10"/>
                <a:gd name="T3" fmla="*/ 10 h 10"/>
                <a:gd name="T4" fmla="*/ 10 w 10"/>
                <a:gd name="T5" fmla="*/ 8 h 10"/>
                <a:gd name="T6" fmla="*/ 10 w 10"/>
                <a:gd name="T7" fmla="*/ 0 h 10"/>
                <a:gd name="T8" fmla="*/ 0 w 10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3"/>
                  </a:moveTo>
                  <a:lnTo>
                    <a:pt x="3" y="10"/>
                  </a:lnTo>
                  <a:lnTo>
                    <a:pt x="10" y="8"/>
                  </a:lnTo>
                  <a:lnTo>
                    <a:pt x="1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90">
              <a:extLst>
                <a:ext uri="{FF2B5EF4-FFF2-40B4-BE49-F238E27FC236}">
                  <a16:creationId xmlns:a16="http://schemas.microsoft.com/office/drawing/2014/main" id="{72F6BF6F-C5CF-4149-A6FC-4AA366784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" y="209"/>
              <a:ext cx="10" cy="10"/>
            </a:xfrm>
            <a:custGeom>
              <a:avLst/>
              <a:gdLst>
                <a:gd name="T0" fmla="*/ 0 w 10"/>
                <a:gd name="T1" fmla="*/ 8 h 10"/>
                <a:gd name="T2" fmla="*/ 10 w 10"/>
                <a:gd name="T3" fmla="*/ 10 h 10"/>
                <a:gd name="T4" fmla="*/ 10 w 10"/>
                <a:gd name="T5" fmla="*/ 3 h 10"/>
                <a:gd name="T6" fmla="*/ 2 w 10"/>
                <a:gd name="T7" fmla="*/ 0 h 10"/>
                <a:gd name="T8" fmla="*/ 0 w 10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8"/>
                  </a:moveTo>
                  <a:lnTo>
                    <a:pt x="10" y="10"/>
                  </a:lnTo>
                  <a:lnTo>
                    <a:pt x="10" y="3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91">
              <a:extLst>
                <a:ext uri="{FF2B5EF4-FFF2-40B4-BE49-F238E27FC236}">
                  <a16:creationId xmlns:a16="http://schemas.microsoft.com/office/drawing/2014/main" id="{037A8361-726E-4ED0-86AC-D56466D82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2" y="229"/>
              <a:ext cx="20" cy="39"/>
            </a:xfrm>
            <a:custGeom>
              <a:avLst/>
              <a:gdLst>
                <a:gd name="T0" fmla="*/ 17 w 20"/>
                <a:gd name="T1" fmla="*/ 15 h 39"/>
                <a:gd name="T2" fmla="*/ 7 w 20"/>
                <a:gd name="T3" fmla="*/ 12 h 39"/>
                <a:gd name="T4" fmla="*/ 12 w 20"/>
                <a:gd name="T5" fmla="*/ 0 h 39"/>
                <a:gd name="T6" fmla="*/ 20 w 20"/>
                <a:gd name="T7" fmla="*/ 3 h 39"/>
                <a:gd name="T8" fmla="*/ 17 w 20"/>
                <a:gd name="T9" fmla="*/ 15 h 39"/>
                <a:gd name="T10" fmla="*/ 10 w 20"/>
                <a:gd name="T11" fmla="*/ 39 h 39"/>
                <a:gd name="T12" fmla="*/ 0 w 20"/>
                <a:gd name="T13" fmla="*/ 37 h 39"/>
                <a:gd name="T14" fmla="*/ 5 w 20"/>
                <a:gd name="T15" fmla="*/ 25 h 39"/>
                <a:gd name="T16" fmla="*/ 12 w 20"/>
                <a:gd name="T17" fmla="*/ 27 h 39"/>
                <a:gd name="T18" fmla="*/ 10 w 20"/>
                <a:gd name="T1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39">
                  <a:moveTo>
                    <a:pt x="17" y="15"/>
                  </a:moveTo>
                  <a:lnTo>
                    <a:pt x="7" y="12"/>
                  </a:lnTo>
                  <a:lnTo>
                    <a:pt x="12" y="0"/>
                  </a:lnTo>
                  <a:lnTo>
                    <a:pt x="20" y="3"/>
                  </a:lnTo>
                  <a:lnTo>
                    <a:pt x="17" y="15"/>
                  </a:lnTo>
                  <a:close/>
                  <a:moveTo>
                    <a:pt x="10" y="39"/>
                  </a:moveTo>
                  <a:lnTo>
                    <a:pt x="0" y="37"/>
                  </a:lnTo>
                  <a:lnTo>
                    <a:pt x="5" y="25"/>
                  </a:lnTo>
                  <a:lnTo>
                    <a:pt x="12" y="27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92">
              <a:extLst>
                <a:ext uri="{FF2B5EF4-FFF2-40B4-BE49-F238E27FC236}">
                  <a16:creationId xmlns:a16="http://schemas.microsoft.com/office/drawing/2014/main" id="{62DFC70E-CAE4-4DC1-B6B5-C95CB4408C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6" y="278"/>
              <a:ext cx="91" cy="289"/>
            </a:xfrm>
            <a:custGeom>
              <a:avLst/>
              <a:gdLst>
                <a:gd name="T0" fmla="*/ 88 w 91"/>
                <a:gd name="T1" fmla="*/ 15 h 289"/>
                <a:gd name="T2" fmla="*/ 79 w 91"/>
                <a:gd name="T3" fmla="*/ 12 h 289"/>
                <a:gd name="T4" fmla="*/ 84 w 91"/>
                <a:gd name="T5" fmla="*/ 0 h 289"/>
                <a:gd name="T6" fmla="*/ 91 w 91"/>
                <a:gd name="T7" fmla="*/ 3 h 289"/>
                <a:gd name="T8" fmla="*/ 88 w 91"/>
                <a:gd name="T9" fmla="*/ 15 h 289"/>
                <a:gd name="T10" fmla="*/ 81 w 91"/>
                <a:gd name="T11" fmla="*/ 39 h 289"/>
                <a:gd name="T12" fmla="*/ 71 w 91"/>
                <a:gd name="T13" fmla="*/ 39 h 289"/>
                <a:gd name="T14" fmla="*/ 76 w 91"/>
                <a:gd name="T15" fmla="*/ 25 h 289"/>
                <a:gd name="T16" fmla="*/ 84 w 91"/>
                <a:gd name="T17" fmla="*/ 27 h 289"/>
                <a:gd name="T18" fmla="*/ 81 w 91"/>
                <a:gd name="T19" fmla="*/ 39 h 289"/>
                <a:gd name="T20" fmla="*/ 74 w 91"/>
                <a:gd name="T21" fmla="*/ 66 h 289"/>
                <a:gd name="T22" fmla="*/ 66 w 91"/>
                <a:gd name="T23" fmla="*/ 64 h 289"/>
                <a:gd name="T24" fmla="*/ 69 w 91"/>
                <a:gd name="T25" fmla="*/ 52 h 289"/>
                <a:gd name="T26" fmla="*/ 76 w 91"/>
                <a:gd name="T27" fmla="*/ 54 h 289"/>
                <a:gd name="T28" fmla="*/ 74 w 91"/>
                <a:gd name="T29" fmla="*/ 66 h 289"/>
                <a:gd name="T30" fmla="*/ 66 w 91"/>
                <a:gd name="T31" fmla="*/ 91 h 289"/>
                <a:gd name="T32" fmla="*/ 59 w 91"/>
                <a:gd name="T33" fmla="*/ 88 h 289"/>
                <a:gd name="T34" fmla="*/ 61 w 91"/>
                <a:gd name="T35" fmla="*/ 76 h 289"/>
                <a:gd name="T36" fmla="*/ 69 w 91"/>
                <a:gd name="T37" fmla="*/ 79 h 289"/>
                <a:gd name="T38" fmla="*/ 66 w 91"/>
                <a:gd name="T39" fmla="*/ 91 h 289"/>
                <a:gd name="T40" fmla="*/ 59 w 91"/>
                <a:gd name="T41" fmla="*/ 115 h 289"/>
                <a:gd name="T42" fmla="*/ 52 w 91"/>
                <a:gd name="T43" fmla="*/ 113 h 289"/>
                <a:gd name="T44" fmla="*/ 54 w 91"/>
                <a:gd name="T45" fmla="*/ 101 h 289"/>
                <a:gd name="T46" fmla="*/ 61 w 91"/>
                <a:gd name="T47" fmla="*/ 103 h 289"/>
                <a:gd name="T48" fmla="*/ 59 w 91"/>
                <a:gd name="T49" fmla="*/ 115 h 289"/>
                <a:gd name="T50" fmla="*/ 52 w 91"/>
                <a:gd name="T51" fmla="*/ 140 h 289"/>
                <a:gd name="T52" fmla="*/ 44 w 91"/>
                <a:gd name="T53" fmla="*/ 137 h 289"/>
                <a:gd name="T54" fmla="*/ 47 w 91"/>
                <a:gd name="T55" fmla="*/ 125 h 289"/>
                <a:gd name="T56" fmla="*/ 54 w 91"/>
                <a:gd name="T57" fmla="*/ 128 h 289"/>
                <a:gd name="T58" fmla="*/ 52 w 91"/>
                <a:gd name="T59" fmla="*/ 140 h 289"/>
                <a:gd name="T60" fmla="*/ 44 w 91"/>
                <a:gd name="T61" fmla="*/ 164 h 289"/>
                <a:gd name="T62" fmla="*/ 37 w 91"/>
                <a:gd name="T63" fmla="*/ 162 h 289"/>
                <a:gd name="T64" fmla="*/ 39 w 91"/>
                <a:gd name="T65" fmla="*/ 150 h 289"/>
                <a:gd name="T66" fmla="*/ 47 w 91"/>
                <a:gd name="T67" fmla="*/ 152 h 289"/>
                <a:gd name="T68" fmla="*/ 44 w 91"/>
                <a:gd name="T69" fmla="*/ 164 h 289"/>
                <a:gd name="T70" fmla="*/ 37 w 91"/>
                <a:gd name="T71" fmla="*/ 189 h 289"/>
                <a:gd name="T72" fmla="*/ 30 w 91"/>
                <a:gd name="T73" fmla="*/ 186 h 289"/>
                <a:gd name="T74" fmla="*/ 32 w 91"/>
                <a:gd name="T75" fmla="*/ 174 h 289"/>
                <a:gd name="T76" fmla="*/ 39 w 91"/>
                <a:gd name="T77" fmla="*/ 177 h 289"/>
                <a:gd name="T78" fmla="*/ 37 w 91"/>
                <a:gd name="T79" fmla="*/ 189 h 289"/>
                <a:gd name="T80" fmla="*/ 30 w 91"/>
                <a:gd name="T81" fmla="*/ 216 h 289"/>
                <a:gd name="T82" fmla="*/ 22 w 91"/>
                <a:gd name="T83" fmla="*/ 213 h 289"/>
                <a:gd name="T84" fmla="*/ 25 w 91"/>
                <a:gd name="T85" fmla="*/ 201 h 289"/>
                <a:gd name="T86" fmla="*/ 32 w 91"/>
                <a:gd name="T87" fmla="*/ 201 h 289"/>
                <a:gd name="T88" fmla="*/ 30 w 91"/>
                <a:gd name="T89" fmla="*/ 216 h 289"/>
                <a:gd name="T90" fmla="*/ 22 w 91"/>
                <a:gd name="T91" fmla="*/ 240 h 289"/>
                <a:gd name="T92" fmla="*/ 15 w 91"/>
                <a:gd name="T93" fmla="*/ 238 h 289"/>
                <a:gd name="T94" fmla="*/ 17 w 91"/>
                <a:gd name="T95" fmla="*/ 226 h 289"/>
                <a:gd name="T96" fmla="*/ 25 w 91"/>
                <a:gd name="T97" fmla="*/ 228 h 289"/>
                <a:gd name="T98" fmla="*/ 22 w 91"/>
                <a:gd name="T99" fmla="*/ 240 h 289"/>
                <a:gd name="T100" fmla="*/ 15 w 91"/>
                <a:gd name="T101" fmla="*/ 265 h 289"/>
                <a:gd name="T102" fmla="*/ 8 w 91"/>
                <a:gd name="T103" fmla="*/ 262 h 289"/>
                <a:gd name="T104" fmla="*/ 10 w 91"/>
                <a:gd name="T105" fmla="*/ 250 h 289"/>
                <a:gd name="T106" fmla="*/ 17 w 91"/>
                <a:gd name="T107" fmla="*/ 253 h 289"/>
                <a:gd name="T108" fmla="*/ 15 w 91"/>
                <a:gd name="T109" fmla="*/ 265 h 289"/>
                <a:gd name="T110" fmla="*/ 8 w 91"/>
                <a:gd name="T111" fmla="*/ 289 h 289"/>
                <a:gd name="T112" fmla="*/ 0 w 91"/>
                <a:gd name="T113" fmla="*/ 287 h 289"/>
                <a:gd name="T114" fmla="*/ 3 w 91"/>
                <a:gd name="T115" fmla="*/ 275 h 289"/>
                <a:gd name="T116" fmla="*/ 12 w 91"/>
                <a:gd name="T117" fmla="*/ 277 h 289"/>
                <a:gd name="T118" fmla="*/ 8 w 91"/>
                <a:gd name="T11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1" h="289">
                  <a:moveTo>
                    <a:pt x="88" y="15"/>
                  </a:moveTo>
                  <a:lnTo>
                    <a:pt x="79" y="12"/>
                  </a:lnTo>
                  <a:lnTo>
                    <a:pt x="84" y="0"/>
                  </a:lnTo>
                  <a:lnTo>
                    <a:pt x="91" y="3"/>
                  </a:lnTo>
                  <a:lnTo>
                    <a:pt x="88" y="15"/>
                  </a:lnTo>
                  <a:close/>
                  <a:moveTo>
                    <a:pt x="81" y="39"/>
                  </a:moveTo>
                  <a:lnTo>
                    <a:pt x="71" y="39"/>
                  </a:lnTo>
                  <a:lnTo>
                    <a:pt x="76" y="25"/>
                  </a:lnTo>
                  <a:lnTo>
                    <a:pt x="84" y="27"/>
                  </a:lnTo>
                  <a:lnTo>
                    <a:pt x="81" y="39"/>
                  </a:lnTo>
                  <a:close/>
                  <a:moveTo>
                    <a:pt x="74" y="66"/>
                  </a:moveTo>
                  <a:lnTo>
                    <a:pt x="66" y="64"/>
                  </a:lnTo>
                  <a:lnTo>
                    <a:pt x="69" y="52"/>
                  </a:lnTo>
                  <a:lnTo>
                    <a:pt x="76" y="54"/>
                  </a:lnTo>
                  <a:lnTo>
                    <a:pt x="74" y="66"/>
                  </a:lnTo>
                  <a:close/>
                  <a:moveTo>
                    <a:pt x="66" y="91"/>
                  </a:moveTo>
                  <a:lnTo>
                    <a:pt x="59" y="88"/>
                  </a:lnTo>
                  <a:lnTo>
                    <a:pt x="61" y="76"/>
                  </a:lnTo>
                  <a:lnTo>
                    <a:pt x="69" y="79"/>
                  </a:lnTo>
                  <a:lnTo>
                    <a:pt x="66" y="91"/>
                  </a:lnTo>
                  <a:close/>
                  <a:moveTo>
                    <a:pt x="59" y="115"/>
                  </a:moveTo>
                  <a:lnTo>
                    <a:pt x="52" y="113"/>
                  </a:lnTo>
                  <a:lnTo>
                    <a:pt x="54" y="101"/>
                  </a:lnTo>
                  <a:lnTo>
                    <a:pt x="61" y="103"/>
                  </a:lnTo>
                  <a:lnTo>
                    <a:pt x="59" y="115"/>
                  </a:lnTo>
                  <a:close/>
                  <a:moveTo>
                    <a:pt x="52" y="140"/>
                  </a:moveTo>
                  <a:lnTo>
                    <a:pt x="44" y="137"/>
                  </a:lnTo>
                  <a:lnTo>
                    <a:pt x="47" y="125"/>
                  </a:lnTo>
                  <a:lnTo>
                    <a:pt x="54" y="128"/>
                  </a:lnTo>
                  <a:lnTo>
                    <a:pt x="52" y="140"/>
                  </a:lnTo>
                  <a:close/>
                  <a:moveTo>
                    <a:pt x="44" y="164"/>
                  </a:moveTo>
                  <a:lnTo>
                    <a:pt x="37" y="162"/>
                  </a:lnTo>
                  <a:lnTo>
                    <a:pt x="39" y="150"/>
                  </a:lnTo>
                  <a:lnTo>
                    <a:pt x="47" y="152"/>
                  </a:lnTo>
                  <a:lnTo>
                    <a:pt x="44" y="164"/>
                  </a:lnTo>
                  <a:close/>
                  <a:moveTo>
                    <a:pt x="37" y="189"/>
                  </a:moveTo>
                  <a:lnTo>
                    <a:pt x="30" y="186"/>
                  </a:lnTo>
                  <a:lnTo>
                    <a:pt x="32" y="174"/>
                  </a:lnTo>
                  <a:lnTo>
                    <a:pt x="39" y="177"/>
                  </a:lnTo>
                  <a:lnTo>
                    <a:pt x="37" y="189"/>
                  </a:lnTo>
                  <a:close/>
                  <a:moveTo>
                    <a:pt x="30" y="216"/>
                  </a:moveTo>
                  <a:lnTo>
                    <a:pt x="22" y="213"/>
                  </a:lnTo>
                  <a:lnTo>
                    <a:pt x="25" y="201"/>
                  </a:lnTo>
                  <a:lnTo>
                    <a:pt x="32" y="201"/>
                  </a:lnTo>
                  <a:lnTo>
                    <a:pt x="30" y="216"/>
                  </a:lnTo>
                  <a:close/>
                  <a:moveTo>
                    <a:pt x="22" y="240"/>
                  </a:moveTo>
                  <a:lnTo>
                    <a:pt x="15" y="238"/>
                  </a:lnTo>
                  <a:lnTo>
                    <a:pt x="17" y="226"/>
                  </a:lnTo>
                  <a:lnTo>
                    <a:pt x="25" y="228"/>
                  </a:lnTo>
                  <a:lnTo>
                    <a:pt x="22" y="240"/>
                  </a:lnTo>
                  <a:close/>
                  <a:moveTo>
                    <a:pt x="15" y="265"/>
                  </a:moveTo>
                  <a:lnTo>
                    <a:pt x="8" y="262"/>
                  </a:lnTo>
                  <a:lnTo>
                    <a:pt x="10" y="250"/>
                  </a:lnTo>
                  <a:lnTo>
                    <a:pt x="17" y="253"/>
                  </a:lnTo>
                  <a:lnTo>
                    <a:pt x="15" y="265"/>
                  </a:lnTo>
                  <a:close/>
                  <a:moveTo>
                    <a:pt x="8" y="289"/>
                  </a:moveTo>
                  <a:lnTo>
                    <a:pt x="0" y="287"/>
                  </a:lnTo>
                  <a:lnTo>
                    <a:pt x="3" y="275"/>
                  </a:lnTo>
                  <a:lnTo>
                    <a:pt x="12" y="277"/>
                  </a:lnTo>
                  <a:lnTo>
                    <a:pt x="8" y="28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93">
              <a:extLst>
                <a:ext uri="{FF2B5EF4-FFF2-40B4-BE49-F238E27FC236}">
                  <a16:creationId xmlns:a16="http://schemas.microsoft.com/office/drawing/2014/main" id="{43CA3583-A996-4910-947A-F33CE640A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1" y="577"/>
              <a:ext cx="10" cy="10"/>
            </a:xfrm>
            <a:custGeom>
              <a:avLst/>
              <a:gdLst>
                <a:gd name="T0" fmla="*/ 0 w 10"/>
                <a:gd name="T1" fmla="*/ 8 h 10"/>
                <a:gd name="T2" fmla="*/ 8 w 10"/>
                <a:gd name="T3" fmla="*/ 10 h 10"/>
                <a:gd name="T4" fmla="*/ 10 w 10"/>
                <a:gd name="T5" fmla="*/ 3 h 10"/>
                <a:gd name="T6" fmla="*/ 0 w 10"/>
                <a:gd name="T7" fmla="*/ 0 h 10"/>
                <a:gd name="T8" fmla="*/ 0 w 10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0" y="8"/>
                  </a:moveTo>
                  <a:lnTo>
                    <a:pt x="8" y="10"/>
                  </a:lnTo>
                  <a:lnTo>
                    <a:pt x="10" y="3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94">
              <a:extLst>
                <a:ext uri="{FF2B5EF4-FFF2-40B4-BE49-F238E27FC236}">
                  <a16:creationId xmlns:a16="http://schemas.microsoft.com/office/drawing/2014/main" id="{A75BD164-11C4-403A-8137-2274AF0809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5" y="288"/>
              <a:ext cx="59" cy="66"/>
            </a:xfrm>
            <a:custGeom>
              <a:avLst/>
              <a:gdLst>
                <a:gd name="T0" fmla="*/ 4 w 24"/>
                <a:gd name="T1" fmla="*/ 15 h 27"/>
                <a:gd name="T2" fmla="*/ 21 w 24"/>
                <a:gd name="T3" fmla="*/ 23 h 27"/>
                <a:gd name="T4" fmla="*/ 21 w 24"/>
                <a:gd name="T5" fmla="*/ 13 h 27"/>
                <a:gd name="T6" fmla="*/ 4 w 24"/>
                <a:gd name="T7" fmla="*/ 5 h 27"/>
                <a:gd name="T8" fmla="*/ 4 w 24"/>
                <a:gd name="T9" fmla="*/ 15 h 27"/>
                <a:gd name="T10" fmla="*/ 22 w 24"/>
                <a:gd name="T11" fmla="*/ 27 h 27"/>
                <a:gd name="T12" fmla="*/ 22 w 24"/>
                <a:gd name="T13" fmla="*/ 27 h 27"/>
                <a:gd name="T14" fmla="*/ 1 w 24"/>
                <a:gd name="T15" fmla="*/ 18 h 27"/>
                <a:gd name="T16" fmla="*/ 0 w 24"/>
                <a:gd name="T17" fmla="*/ 16 h 27"/>
                <a:gd name="T18" fmla="*/ 0 w 24"/>
                <a:gd name="T19" fmla="*/ 2 h 27"/>
                <a:gd name="T20" fmla="*/ 1 w 24"/>
                <a:gd name="T21" fmla="*/ 1 h 27"/>
                <a:gd name="T22" fmla="*/ 3 w 24"/>
                <a:gd name="T23" fmla="*/ 0 h 27"/>
                <a:gd name="T24" fmla="*/ 23 w 24"/>
                <a:gd name="T25" fmla="*/ 10 h 27"/>
                <a:gd name="T26" fmla="*/ 24 w 24"/>
                <a:gd name="T27" fmla="*/ 12 h 27"/>
                <a:gd name="T28" fmla="*/ 24 w 24"/>
                <a:gd name="T29" fmla="*/ 26 h 27"/>
                <a:gd name="T30" fmla="*/ 23 w 24"/>
                <a:gd name="T31" fmla="*/ 27 h 27"/>
                <a:gd name="T32" fmla="*/ 22 w 24"/>
                <a:gd name="T3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7">
                  <a:moveTo>
                    <a:pt x="4" y="15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5"/>
                  </a:ln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7"/>
                    <a:pt x="0" y="17"/>
                    <a:pt x="0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1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4" y="27"/>
                    <a:pt x="23" y="27"/>
                  </a:cubicBezTo>
                  <a:cubicBezTo>
                    <a:pt x="23" y="27"/>
                    <a:pt x="23" y="27"/>
                    <a:pt x="22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95">
              <a:extLst>
                <a:ext uri="{FF2B5EF4-FFF2-40B4-BE49-F238E27FC236}">
                  <a16:creationId xmlns:a16="http://schemas.microsoft.com/office/drawing/2014/main" id="{E1C86032-7AFD-4E17-8CDF-AD9E4B30E4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6" y="288"/>
              <a:ext cx="59" cy="66"/>
            </a:xfrm>
            <a:custGeom>
              <a:avLst/>
              <a:gdLst>
                <a:gd name="T0" fmla="*/ 3 w 24"/>
                <a:gd name="T1" fmla="*/ 13 h 27"/>
                <a:gd name="T2" fmla="*/ 3 w 24"/>
                <a:gd name="T3" fmla="*/ 23 h 27"/>
                <a:gd name="T4" fmla="*/ 20 w 24"/>
                <a:gd name="T5" fmla="*/ 15 h 27"/>
                <a:gd name="T6" fmla="*/ 20 w 24"/>
                <a:gd name="T7" fmla="*/ 5 h 27"/>
                <a:gd name="T8" fmla="*/ 3 w 24"/>
                <a:gd name="T9" fmla="*/ 13 h 27"/>
                <a:gd name="T10" fmla="*/ 1 w 24"/>
                <a:gd name="T11" fmla="*/ 27 h 27"/>
                <a:gd name="T12" fmla="*/ 1 w 24"/>
                <a:gd name="T13" fmla="*/ 27 h 27"/>
                <a:gd name="T14" fmla="*/ 0 w 24"/>
                <a:gd name="T15" fmla="*/ 26 h 27"/>
                <a:gd name="T16" fmla="*/ 0 w 24"/>
                <a:gd name="T17" fmla="*/ 12 h 27"/>
                <a:gd name="T18" fmla="*/ 1 w 24"/>
                <a:gd name="T19" fmla="*/ 10 h 27"/>
                <a:gd name="T20" fmla="*/ 21 w 24"/>
                <a:gd name="T21" fmla="*/ 0 h 27"/>
                <a:gd name="T22" fmla="*/ 23 w 24"/>
                <a:gd name="T23" fmla="*/ 1 h 27"/>
                <a:gd name="T24" fmla="*/ 24 w 24"/>
                <a:gd name="T25" fmla="*/ 2 h 27"/>
                <a:gd name="T26" fmla="*/ 24 w 24"/>
                <a:gd name="T27" fmla="*/ 16 h 27"/>
                <a:gd name="T28" fmla="*/ 23 w 24"/>
                <a:gd name="T29" fmla="*/ 18 h 27"/>
                <a:gd name="T30" fmla="*/ 2 w 24"/>
                <a:gd name="T31" fmla="*/ 27 h 27"/>
                <a:gd name="T32" fmla="*/ 1 w 24"/>
                <a:gd name="T3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7">
                  <a:moveTo>
                    <a:pt x="3" y="13"/>
                  </a:moveTo>
                  <a:cubicBezTo>
                    <a:pt x="3" y="23"/>
                    <a:pt x="3" y="23"/>
                    <a:pt x="3" y="23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3" y="13"/>
                  </a:ln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1"/>
                    <a:pt x="24" y="1"/>
                    <a:pt x="24" y="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7"/>
                    <a:pt x="23" y="17"/>
                    <a:pt x="23" y="1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1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96">
              <a:extLst>
                <a:ext uri="{FF2B5EF4-FFF2-40B4-BE49-F238E27FC236}">
                  <a16:creationId xmlns:a16="http://schemas.microsoft.com/office/drawing/2014/main" id="{BDACD1EC-1175-418D-BA33-BFA752ED18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5" y="266"/>
              <a:ext cx="110" cy="54"/>
            </a:xfrm>
            <a:custGeom>
              <a:avLst/>
              <a:gdLst>
                <a:gd name="T0" fmla="*/ 6 w 45"/>
                <a:gd name="T1" fmla="*/ 11 h 22"/>
                <a:gd name="T2" fmla="*/ 22 w 45"/>
                <a:gd name="T3" fmla="*/ 19 h 22"/>
                <a:gd name="T4" fmla="*/ 39 w 45"/>
                <a:gd name="T5" fmla="*/ 11 h 22"/>
                <a:gd name="T6" fmla="*/ 22 w 45"/>
                <a:gd name="T7" fmla="*/ 3 h 22"/>
                <a:gd name="T8" fmla="*/ 6 w 45"/>
                <a:gd name="T9" fmla="*/ 11 h 22"/>
                <a:gd name="T10" fmla="*/ 22 w 45"/>
                <a:gd name="T11" fmla="*/ 22 h 22"/>
                <a:gd name="T12" fmla="*/ 22 w 45"/>
                <a:gd name="T13" fmla="*/ 22 h 22"/>
                <a:gd name="T14" fmla="*/ 1 w 45"/>
                <a:gd name="T15" fmla="*/ 13 h 22"/>
                <a:gd name="T16" fmla="*/ 0 w 45"/>
                <a:gd name="T17" fmla="*/ 11 h 22"/>
                <a:gd name="T18" fmla="*/ 1 w 45"/>
                <a:gd name="T19" fmla="*/ 10 h 22"/>
                <a:gd name="T20" fmla="*/ 22 w 45"/>
                <a:gd name="T21" fmla="*/ 0 h 22"/>
                <a:gd name="T22" fmla="*/ 23 w 45"/>
                <a:gd name="T23" fmla="*/ 0 h 22"/>
                <a:gd name="T24" fmla="*/ 44 w 45"/>
                <a:gd name="T25" fmla="*/ 9 h 22"/>
                <a:gd name="T26" fmla="*/ 45 w 45"/>
                <a:gd name="T27" fmla="*/ 11 h 22"/>
                <a:gd name="T28" fmla="*/ 44 w 45"/>
                <a:gd name="T29" fmla="*/ 13 h 22"/>
                <a:gd name="T30" fmla="*/ 23 w 45"/>
                <a:gd name="T31" fmla="*/ 22 h 22"/>
                <a:gd name="T32" fmla="*/ 22 w 45"/>
                <a:gd name="T3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22">
                  <a:moveTo>
                    <a:pt x="6" y="11"/>
                  </a:moveTo>
                  <a:cubicBezTo>
                    <a:pt x="22" y="19"/>
                    <a:pt x="22" y="19"/>
                    <a:pt x="22" y="19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22" y="3"/>
                    <a:pt x="22" y="3"/>
                    <a:pt x="22" y="3"/>
                  </a:cubicBezTo>
                  <a:lnTo>
                    <a:pt x="6" y="11"/>
                  </a:lnTo>
                  <a:close/>
                  <a:moveTo>
                    <a:pt x="22" y="22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0" y="12"/>
                    <a:pt x="0" y="11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10"/>
                    <a:pt x="45" y="10"/>
                    <a:pt x="45" y="11"/>
                  </a:cubicBezTo>
                  <a:cubicBezTo>
                    <a:pt x="45" y="12"/>
                    <a:pt x="44" y="12"/>
                    <a:pt x="44" y="1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2" y="2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97">
              <a:extLst>
                <a:ext uri="{FF2B5EF4-FFF2-40B4-BE49-F238E27FC236}">
                  <a16:creationId xmlns:a16="http://schemas.microsoft.com/office/drawing/2014/main" id="{E8F0B0A7-3CFC-48A2-A4DE-8B4AD059E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8" y="408"/>
              <a:ext cx="61" cy="47"/>
            </a:xfrm>
            <a:custGeom>
              <a:avLst/>
              <a:gdLst>
                <a:gd name="T0" fmla="*/ 4 w 25"/>
                <a:gd name="T1" fmla="*/ 10 h 19"/>
                <a:gd name="T2" fmla="*/ 22 w 25"/>
                <a:gd name="T3" fmla="*/ 15 h 19"/>
                <a:gd name="T4" fmla="*/ 22 w 25"/>
                <a:gd name="T5" fmla="*/ 9 h 19"/>
                <a:gd name="T6" fmla="*/ 4 w 25"/>
                <a:gd name="T7" fmla="*/ 4 h 19"/>
                <a:gd name="T8" fmla="*/ 4 w 25"/>
                <a:gd name="T9" fmla="*/ 10 h 19"/>
                <a:gd name="T10" fmla="*/ 24 w 25"/>
                <a:gd name="T11" fmla="*/ 19 h 19"/>
                <a:gd name="T12" fmla="*/ 23 w 25"/>
                <a:gd name="T13" fmla="*/ 19 h 19"/>
                <a:gd name="T14" fmla="*/ 2 w 25"/>
                <a:gd name="T15" fmla="*/ 13 h 19"/>
                <a:gd name="T16" fmla="*/ 0 w 25"/>
                <a:gd name="T17" fmla="*/ 11 h 19"/>
                <a:gd name="T18" fmla="*/ 0 w 25"/>
                <a:gd name="T19" fmla="*/ 2 h 19"/>
                <a:gd name="T20" fmla="*/ 1 w 25"/>
                <a:gd name="T21" fmla="*/ 0 h 19"/>
                <a:gd name="T22" fmla="*/ 2 w 25"/>
                <a:gd name="T23" fmla="*/ 0 h 19"/>
                <a:gd name="T24" fmla="*/ 24 w 25"/>
                <a:gd name="T25" fmla="*/ 7 h 19"/>
                <a:gd name="T26" fmla="*/ 25 w 25"/>
                <a:gd name="T27" fmla="*/ 8 h 19"/>
                <a:gd name="T28" fmla="*/ 25 w 25"/>
                <a:gd name="T29" fmla="*/ 18 h 19"/>
                <a:gd name="T30" fmla="*/ 25 w 25"/>
                <a:gd name="T31" fmla="*/ 19 h 19"/>
                <a:gd name="T32" fmla="*/ 24 w 25"/>
                <a:gd name="T3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9">
                  <a:moveTo>
                    <a:pt x="4" y="10"/>
                  </a:moveTo>
                  <a:cubicBezTo>
                    <a:pt x="22" y="15"/>
                    <a:pt x="22" y="15"/>
                    <a:pt x="22" y="15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0"/>
                  </a:lnTo>
                  <a:close/>
                  <a:moveTo>
                    <a:pt x="24" y="19"/>
                  </a:moveTo>
                  <a:cubicBezTo>
                    <a:pt x="24" y="19"/>
                    <a:pt x="23" y="19"/>
                    <a:pt x="23" y="1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5" y="7"/>
                    <a:pt x="25" y="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9"/>
                    <a:pt x="25" y="19"/>
                  </a:cubicBezTo>
                  <a:cubicBezTo>
                    <a:pt x="24" y="19"/>
                    <a:pt x="24" y="19"/>
                    <a:pt x="24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98">
              <a:extLst>
                <a:ext uri="{FF2B5EF4-FFF2-40B4-BE49-F238E27FC236}">
                  <a16:creationId xmlns:a16="http://schemas.microsoft.com/office/drawing/2014/main" id="{CF620911-C5EC-4826-86D3-D53E538DFA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408"/>
              <a:ext cx="61" cy="47"/>
            </a:xfrm>
            <a:custGeom>
              <a:avLst/>
              <a:gdLst>
                <a:gd name="T0" fmla="*/ 3 w 25"/>
                <a:gd name="T1" fmla="*/ 9 h 19"/>
                <a:gd name="T2" fmla="*/ 3 w 25"/>
                <a:gd name="T3" fmla="*/ 15 h 19"/>
                <a:gd name="T4" fmla="*/ 22 w 25"/>
                <a:gd name="T5" fmla="*/ 10 h 19"/>
                <a:gd name="T6" fmla="*/ 22 w 25"/>
                <a:gd name="T7" fmla="*/ 4 h 19"/>
                <a:gd name="T8" fmla="*/ 3 w 25"/>
                <a:gd name="T9" fmla="*/ 9 h 19"/>
                <a:gd name="T10" fmla="*/ 2 w 25"/>
                <a:gd name="T11" fmla="*/ 19 h 19"/>
                <a:gd name="T12" fmla="*/ 1 w 25"/>
                <a:gd name="T13" fmla="*/ 19 h 19"/>
                <a:gd name="T14" fmla="*/ 0 w 25"/>
                <a:gd name="T15" fmla="*/ 18 h 19"/>
                <a:gd name="T16" fmla="*/ 0 w 25"/>
                <a:gd name="T17" fmla="*/ 8 h 19"/>
                <a:gd name="T18" fmla="*/ 1 w 25"/>
                <a:gd name="T19" fmla="*/ 7 h 19"/>
                <a:gd name="T20" fmla="*/ 23 w 25"/>
                <a:gd name="T21" fmla="*/ 0 h 19"/>
                <a:gd name="T22" fmla="*/ 25 w 25"/>
                <a:gd name="T23" fmla="*/ 0 h 19"/>
                <a:gd name="T24" fmla="*/ 25 w 25"/>
                <a:gd name="T25" fmla="*/ 2 h 19"/>
                <a:gd name="T26" fmla="*/ 25 w 25"/>
                <a:gd name="T27" fmla="*/ 11 h 19"/>
                <a:gd name="T28" fmla="*/ 24 w 25"/>
                <a:gd name="T29" fmla="*/ 13 h 19"/>
                <a:gd name="T30" fmla="*/ 2 w 25"/>
                <a:gd name="T31" fmla="*/ 19 h 19"/>
                <a:gd name="T32" fmla="*/ 2 w 25"/>
                <a:gd name="T3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9">
                  <a:moveTo>
                    <a:pt x="3" y="9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3" y="9"/>
                  </a:lnTo>
                  <a:close/>
                  <a:moveTo>
                    <a:pt x="2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5" y="0"/>
                  </a:cubicBezTo>
                  <a:cubicBezTo>
                    <a:pt x="25" y="1"/>
                    <a:pt x="25" y="1"/>
                    <a:pt x="25" y="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3"/>
                    <a:pt x="24" y="13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99">
              <a:extLst>
                <a:ext uri="{FF2B5EF4-FFF2-40B4-BE49-F238E27FC236}">
                  <a16:creationId xmlns:a16="http://schemas.microsoft.com/office/drawing/2014/main" id="{D6F81268-9C53-45AE-BE42-8C7DA4FFE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8" y="393"/>
              <a:ext cx="115" cy="40"/>
            </a:xfrm>
            <a:custGeom>
              <a:avLst/>
              <a:gdLst>
                <a:gd name="T0" fmla="*/ 8 w 47"/>
                <a:gd name="T1" fmla="*/ 8 h 16"/>
                <a:gd name="T2" fmla="*/ 24 w 47"/>
                <a:gd name="T3" fmla="*/ 12 h 16"/>
                <a:gd name="T4" fmla="*/ 39 w 47"/>
                <a:gd name="T5" fmla="*/ 8 h 16"/>
                <a:gd name="T6" fmla="*/ 24 w 47"/>
                <a:gd name="T7" fmla="*/ 3 h 16"/>
                <a:gd name="T8" fmla="*/ 8 w 47"/>
                <a:gd name="T9" fmla="*/ 8 h 16"/>
                <a:gd name="T10" fmla="*/ 24 w 47"/>
                <a:gd name="T11" fmla="*/ 16 h 16"/>
                <a:gd name="T12" fmla="*/ 23 w 47"/>
                <a:gd name="T13" fmla="*/ 16 h 16"/>
                <a:gd name="T14" fmla="*/ 2 w 47"/>
                <a:gd name="T15" fmla="*/ 10 h 16"/>
                <a:gd name="T16" fmla="*/ 0 w 47"/>
                <a:gd name="T17" fmla="*/ 8 h 16"/>
                <a:gd name="T18" fmla="*/ 2 w 47"/>
                <a:gd name="T19" fmla="*/ 6 h 16"/>
                <a:gd name="T20" fmla="*/ 23 w 47"/>
                <a:gd name="T21" fmla="*/ 0 h 16"/>
                <a:gd name="T22" fmla="*/ 24 w 47"/>
                <a:gd name="T23" fmla="*/ 0 h 16"/>
                <a:gd name="T24" fmla="*/ 46 w 47"/>
                <a:gd name="T25" fmla="*/ 6 h 16"/>
                <a:gd name="T26" fmla="*/ 47 w 47"/>
                <a:gd name="T27" fmla="*/ 8 h 16"/>
                <a:gd name="T28" fmla="*/ 46 w 47"/>
                <a:gd name="T29" fmla="*/ 9 h 16"/>
                <a:gd name="T30" fmla="*/ 24 w 47"/>
                <a:gd name="T31" fmla="*/ 16 h 16"/>
                <a:gd name="T32" fmla="*/ 24 w 47"/>
                <a:gd name="T3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16">
                  <a:moveTo>
                    <a:pt x="8" y="8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4" y="3"/>
                    <a:pt x="24" y="3"/>
                    <a:pt x="24" y="3"/>
                  </a:cubicBezTo>
                  <a:lnTo>
                    <a:pt x="8" y="8"/>
                  </a:lnTo>
                  <a:close/>
                  <a:moveTo>
                    <a:pt x="24" y="16"/>
                  </a:moveTo>
                  <a:cubicBezTo>
                    <a:pt x="24" y="16"/>
                    <a:pt x="23" y="16"/>
                    <a:pt x="23" y="1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6"/>
                    <a:pt x="47" y="7"/>
                    <a:pt x="47" y="8"/>
                  </a:cubicBezTo>
                  <a:cubicBezTo>
                    <a:pt x="47" y="9"/>
                    <a:pt x="47" y="9"/>
                    <a:pt x="46" y="9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00">
              <a:extLst>
                <a:ext uri="{FF2B5EF4-FFF2-40B4-BE49-F238E27FC236}">
                  <a16:creationId xmlns:a16="http://schemas.microsoft.com/office/drawing/2014/main" id="{5860F549-75DD-4C39-B98D-992636770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4" y="288"/>
              <a:ext cx="49" cy="76"/>
            </a:xfrm>
            <a:custGeom>
              <a:avLst/>
              <a:gdLst>
                <a:gd name="T0" fmla="*/ 19 w 20"/>
                <a:gd name="T1" fmla="*/ 20 h 31"/>
                <a:gd name="T2" fmla="*/ 19 w 20"/>
                <a:gd name="T3" fmla="*/ 20 h 31"/>
                <a:gd name="T4" fmla="*/ 3 w 20"/>
                <a:gd name="T5" fmla="*/ 12 h 31"/>
                <a:gd name="T6" fmla="*/ 3 w 20"/>
                <a:gd name="T7" fmla="*/ 26 h 31"/>
                <a:gd name="T8" fmla="*/ 17 w 20"/>
                <a:gd name="T9" fmla="*/ 19 h 31"/>
                <a:gd name="T10" fmla="*/ 17 w 20"/>
                <a:gd name="T11" fmla="*/ 5 h 31"/>
                <a:gd name="T12" fmla="*/ 3 w 20"/>
                <a:gd name="T13" fmla="*/ 12 h 31"/>
                <a:gd name="T14" fmla="*/ 1 w 20"/>
                <a:gd name="T15" fmla="*/ 31 h 31"/>
                <a:gd name="T16" fmla="*/ 1 w 20"/>
                <a:gd name="T17" fmla="*/ 30 h 31"/>
                <a:gd name="T18" fmla="*/ 0 w 20"/>
                <a:gd name="T19" fmla="*/ 29 h 31"/>
                <a:gd name="T20" fmla="*/ 0 w 20"/>
                <a:gd name="T21" fmla="*/ 11 h 31"/>
                <a:gd name="T22" fmla="*/ 1 w 20"/>
                <a:gd name="T23" fmla="*/ 9 h 31"/>
                <a:gd name="T24" fmla="*/ 18 w 20"/>
                <a:gd name="T25" fmla="*/ 0 h 31"/>
                <a:gd name="T26" fmla="*/ 20 w 20"/>
                <a:gd name="T27" fmla="*/ 0 h 31"/>
                <a:gd name="T28" fmla="*/ 20 w 20"/>
                <a:gd name="T29" fmla="*/ 2 h 31"/>
                <a:gd name="T30" fmla="*/ 20 w 20"/>
                <a:gd name="T31" fmla="*/ 20 h 31"/>
                <a:gd name="T32" fmla="*/ 20 w 20"/>
                <a:gd name="T33" fmla="*/ 21 h 31"/>
                <a:gd name="T34" fmla="*/ 2 w 20"/>
                <a:gd name="T35" fmla="*/ 30 h 31"/>
                <a:gd name="T36" fmla="*/ 1 w 20"/>
                <a:gd name="T3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31"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3" y="12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3" y="12"/>
                  </a:lnTo>
                  <a:close/>
                  <a:moveTo>
                    <a:pt x="1" y="31"/>
                  </a:moveTo>
                  <a:cubicBezTo>
                    <a:pt x="1" y="31"/>
                    <a:pt x="1" y="30"/>
                    <a:pt x="1" y="30"/>
                  </a:cubicBezTo>
                  <a:cubicBezTo>
                    <a:pt x="0" y="30"/>
                    <a:pt x="0" y="29"/>
                    <a:pt x="0" y="2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1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20" y="0"/>
                  </a:cubicBezTo>
                  <a:cubicBezTo>
                    <a:pt x="20" y="1"/>
                    <a:pt x="20" y="1"/>
                    <a:pt x="20" y="2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1"/>
                    <a:pt x="20" y="2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1"/>
                    <a:pt x="1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01">
              <a:extLst>
                <a:ext uri="{FF2B5EF4-FFF2-40B4-BE49-F238E27FC236}">
                  <a16:creationId xmlns:a16="http://schemas.microsoft.com/office/drawing/2014/main" id="{81F31F85-3F50-4EDF-A1CF-C1521B6DC8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7" y="290"/>
              <a:ext cx="54" cy="74"/>
            </a:xfrm>
            <a:custGeom>
              <a:avLst/>
              <a:gdLst>
                <a:gd name="T0" fmla="*/ 3 w 22"/>
                <a:gd name="T1" fmla="*/ 19 h 30"/>
                <a:gd name="T2" fmla="*/ 19 w 22"/>
                <a:gd name="T3" fmla="*/ 25 h 30"/>
                <a:gd name="T4" fmla="*/ 19 w 22"/>
                <a:gd name="T5" fmla="*/ 11 h 30"/>
                <a:gd name="T6" fmla="*/ 3 w 22"/>
                <a:gd name="T7" fmla="*/ 5 h 30"/>
                <a:gd name="T8" fmla="*/ 3 w 22"/>
                <a:gd name="T9" fmla="*/ 19 h 30"/>
                <a:gd name="T10" fmla="*/ 20 w 22"/>
                <a:gd name="T11" fmla="*/ 30 h 30"/>
                <a:gd name="T12" fmla="*/ 20 w 22"/>
                <a:gd name="T13" fmla="*/ 29 h 30"/>
                <a:gd name="T14" fmla="*/ 1 w 22"/>
                <a:gd name="T15" fmla="*/ 22 h 30"/>
                <a:gd name="T16" fmla="*/ 0 w 22"/>
                <a:gd name="T17" fmla="*/ 20 h 30"/>
                <a:gd name="T18" fmla="*/ 0 w 22"/>
                <a:gd name="T19" fmla="*/ 2 h 30"/>
                <a:gd name="T20" fmla="*/ 1 w 22"/>
                <a:gd name="T21" fmla="*/ 1 h 30"/>
                <a:gd name="T22" fmla="*/ 2 w 22"/>
                <a:gd name="T23" fmla="*/ 0 h 30"/>
                <a:gd name="T24" fmla="*/ 21 w 22"/>
                <a:gd name="T25" fmla="*/ 8 h 30"/>
                <a:gd name="T26" fmla="*/ 22 w 22"/>
                <a:gd name="T27" fmla="*/ 10 h 30"/>
                <a:gd name="T28" fmla="*/ 22 w 22"/>
                <a:gd name="T29" fmla="*/ 28 h 30"/>
                <a:gd name="T30" fmla="*/ 21 w 22"/>
                <a:gd name="T31" fmla="*/ 29 h 30"/>
                <a:gd name="T32" fmla="*/ 20 w 22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0">
                  <a:moveTo>
                    <a:pt x="3" y="19"/>
                  </a:moveTo>
                  <a:cubicBezTo>
                    <a:pt x="19" y="25"/>
                    <a:pt x="19" y="25"/>
                    <a:pt x="19" y="25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9"/>
                  </a:lnTo>
                  <a:close/>
                  <a:moveTo>
                    <a:pt x="20" y="30"/>
                  </a:moveTo>
                  <a:cubicBezTo>
                    <a:pt x="20" y="30"/>
                    <a:pt x="20" y="29"/>
                    <a:pt x="20" y="29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9"/>
                    <a:pt x="22" y="9"/>
                    <a:pt x="22" y="10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9"/>
                    <a:pt x="21" y="29"/>
                  </a:cubicBezTo>
                  <a:cubicBezTo>
                    <a:pt x="21" y="29"/>
                    <a:pt x="21" y="30"/>
                    <a:pt x="20" y="3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02">
              <a:extLst>
                <a:ext uri="{FF2B5EF4-FFF2-40B4-BE49-F238E27FC236}">
                  <a16:creationId xmlns:a16="http://schemas.microsoft.com/office/drawing/2014/main" id="{47162F9F-C264-4D3E-BFCD-53C9894CF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7" y="268"/>
              <a:ext cx="96" cy="52"/>
            </a:xfrm>
            <a:custGeom>
              <a:avLst/>
              <a:gdLst>
                <a:gd name="T0" fmla="*/ 6 w 39"/>
                <a:gd name="T1" fmla="*/ 11 h 21"/>
                <a:gd name="T2" fmla="*/ 20 w 39"/>
                <a:gd name="T3" fmla="*/ 17 h 21"/>
                <a:gd name="T4" fmla="*/ 34 w 39"/>
                <a:gd name="T5" fmla="*/ 10 h 21"/>
                <a:gd name="T6" fmla="*/ 19 w 39"/>
                <a:gd name="T7" fmla="*/ 4 h 21"/>
                <a:gd name="T8" fmla="*/ 6 w 39"/>
                <a:gd name="T9" fmla="*/ 11 h 21"/>
                <a:gd name="T10" fmla="*/ 20 w 39"/>
                <a:gd name="T11" fmla="*/ 21 h 21"/>
                <a:gd name="T12" fmla="*/ 20 w 39"/>
                <a:gd name="T13" fmla="*/ 20 h 21"/>
                <a:gd name="T14" fmla="*/ 1 w 39"/>
                <a:gd name="T15" fmla="*/ 13 h 21"/>
                <a:gd name="T16" fmla="*/ 0 w 39"/>
                <a:gd name="T17" fmla="*/ 11 h 21"/>
                <a:gd name="T18" fmla="*/ 1 w 39"/>
                <a:gd name="T19" fmla="*/ 9 h 21"/>
                <a:gd name="T20" fmla="*/ 18 w 39"/>
                <a:gd name="T21" fmla="*/ 0 h 21"/>
                <a:gd name="T22" fmla="*/ 19 w 39"/>
                <a:gd name="T23" fmla="*/ 0 h 21"/>
                <a:gd name="T24" fmla="*/ 38 w 39"/>
                <a:gd name="T25" fmla="*/ 8 h 21"/>
                <a:gd name="T26" fmla="*/ 39 w 39"/>
                <a:gd name="T27" fmla="*/ 10 h 21"/>
                <a:gd name="T28" fmla="*/ 39 w 39"/>
                <a:gd name="T29" fmla="*/ 11 h 21"/>
                <a:gd name="T30" fmla="*/ 21 w 39"/>
                <a:gd name="T31" fmla="*/ 20 h 21"/>
                <a:gd name="T32" fmla="*/ 20 w 39"/>
                <a:gd name="T3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21">
                  <a:moveTo>
                    <a:pt x="6" y="11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19" y="4"/>
                    <a:pt x="19" y="4"/>
                    <a:pt x="19" y="4"/>
                  </a:cubicBezTo>
                  <a:lnTo>
                    <a:pt x="6" y="11"/>
                  </a:lnTo>
                  <a:close/>
                  <a:moveTo>
                    <a:pt x="20" y="21"/>
                  </a:moveTo>
                  <a:cubicBezTo>
                    <a:pt x="20" y="21"/>
                    <a:pt x="20" y="20"/>
                    <a:pt x="20" y="2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10"/>
                    <a:pt x="0" y="10"/>
                    <a:pt x="1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9"/>
                    <a:pt x="39" y="9"/>
                    <a:pt x="39" y="10"/>
                  </a:cubicBezTo>
                  <a:cubicBezTo>
                    <a:pt x="39" y="10"/>
                    <a:pt x="39" y="11"/>
                    <a:pt x="39" y="1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1"/>
                    <a:pt x="20" y="2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03">
              <a:extLst>
                <a:ext uri="{FF2B5EF4-FFF2-40B4-BE49-F238E27FC236}">
                  <a16:creationId xmlns:a16="http://schemas.microsoft.com/office/drawing/2014/main" id="{33E94198-49AE-4DC9-AD56-F8E1CA060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2" y="379"/>
              <a:ext cx="76" cy="27"/>
            </a:xfrm>
            <a:custGeom>
              <a:avLst/>
              <a:gdLst>
                <a:gd name="T0" fmla="*/ 28 w 31"/>
                <a:gd name="T1" fmla="*/ 6 h 11"/>
                <a:gd name="T2" fmla="*/ 28 w 31"/>
                <a:gd name="T3" fmla="*/ 6 h 11"/>
                <a:gd name="T4" fmla="*/ 4 w 31"/>
                <a:gd name="T5" fmla="*/ 5 h 11"/>
                <a:gd name="T6" fmla="*/ 16 w 31"/>
                <a:gd name="T7" fmla="*/ 7 h 11"/>
                <a:gd name="T8" fmla="*/ 28 w 31"/>
                <a:gd name="T9" fmla="*/ 5 h 11"/>
                <a:gd name="T10" fmla="*/ 16 w 31"/>
                <a:gd name="T11" fmla="*/ 3 h 11"/>
                <a:gd name="T12" fmla="*/ 4 w 31"/>
                <a:gd name="T13" fmla="*/ 5 h 11"/>
                <a:gd name="T14" fmla="*/ 16 w 31"/>
                <a:gd name="T15" fmla="*/ 11 h 11"/>
                <a:gd name="T16" fmla="*/ 0 w 31"/>
                <a:gd name="T17" fmla="*/ 5 h 11"/>
                <a:gd name="T18" fmla="*/ 16 w 31"/>
                <a:gd name="T19" fmla="*/ 0 h 11"/>
                <a:gd name="T20" fmla="*/ 31 w 31"/>
                <a:gd name="T21" fmla="*/ 5 h 11"/>
                <a:gd name="T22" fmla="*/ 16 w 31"/>
                <a:gd name="T2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11">
                  <a:moveTo>
                    <a:pt x="28" y="6"/>
                  </a:moveTo>
                  <a:cubicBezTo>
                    <a:pt x="28" y="6"/>
                    <a:pt x="28" y="6"/>
                    <a:pt x="28" y="6"/>
                  </a:cubicBezTo>
                  <a:close/>
                  <a:moveTo>
                    <a:pt x="4" y="5"/>
                  </a:moveTo>
                  <a:cubicBezTo>
                    <a:pt x="5" y="6"/>
                    <a:pt x="9" y="7"/>
                    <a:pt x="16" y="7"/>
                  </a:cubicBezTo>
                  <a:cubicBezTo>
                    <a:pt x="22" y="7"/>
                    <a:pt x="26" y="6"/>
                    <a:pt x="28" y="5"/>
                  </a:cubicBezTo>
                  <a:cubicBezTo>
                    <a:pt x="26" y="4"/>
                    <a:pt x="22" y="3"/>
                    <a:pt x="16" y="3"/>
                  </a:cubicBezTo>
                  <a:cubicBezTo>
                    <a:pt x="9" y="3"/>
                    <a:pt x="5" y="4"/>
                    <a:pt x="4" y="5"/>
                  </a:cubicBezTo>
                  <a:moveTo>
                    <a:pt x="16" y="11"/>
                  </a:moveTo>
                  <a:cubicBezTo>
                    <a:pt x="14" y="11"/>
                    <a:pt x="0" y="11"/>
                    <a:pt x="0" y="5"/>
                  </a:cubicBezTo>
                  <a:cubicBezTo>
                    <a:pt x="0" y="0"/>
                    <a:pt x="14" y="0"/>
                    <a:pt x="16" y="0"/>
                  </a:cubicBezTo>
                  <a:cubicBezTo>
                    <a:pt x="17" y="0"/>
                    <a:pt x="31" y="0"/>
                    <a:pt x="31" y="5"/>
                  </a:cubicBezTo>
                  <a:cubicBezTo>
                    <a:pt x="31" y="11"/>
                    <a:pt x="17" y="11"/>
                    <a:pt x="16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04">
              <a:extLst>
                <a:ext uri="{FF2B5EF4-FFF2-40B4-BE49-F238E27FC236}">
                  <a16:creationId xmlns:a16="http://schemas.microsoft.com/office/drawing/2014/main" id="{C7BEA8B6-9E19-4F1E-B19B-27B260C9B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" y="388"/>
              <a:ext cx="76" cy="101"/>
            </a:xfrm>
            <a:custGeom>
              <a:avLst/>
              <a:gdLst>
                <a:gd name="T0" fmla="*/ 16 w 31"/>
                <a:gd name="T1" fmla="*/ 41 h 41"/>
                <a:gd name="T2" fmla="*/ 0 w 31"/>
                <a:gd name="T3" fmla="*/ 36 h 41"/>
                <a:gd name="T4" fmla="*/ 0 w 31"/>
                <a:gd name="T5" fmla="*/ 1 h 41"/>
                <a:gd name="T6" fmla="*/ 2 w 31"/>
                <a:gd name="T7" fmla="*/ 0 h 41"/>
                <a:gd name="T8" fmla="*/ 4 w 31"/>
                <a:gd name="T9" fmla="*/ 1 h 41"/>
                <a:gd name="T10" fmla="*/ 4 w 31"/>
                <a:gd name="T11" fmla="*/ 36 h 41"/>
                <a:gd name="T12" fmla="*/ 16 w 31"/>
                <a:gd name="T13" fmla="*/ 38 h 41"/>
                <a:gd name="T14" fmla="*/ 28 w 31"/>
                <a:gd name="T15" fmla="*/ 36 h 41"/>
                <a:gd name="T16" fmla="*/ 28 w 31"/>
                <a:gd name="T17" fmla="*/ 1 h 41"/>
                <a:gd name="T18" fmla="*/ 30 w 31"/>
                <a:gd name="T19" fmla="*/ 0 h 41"/>
                <a:gd name="T20" fmla="*/ 31 w 31"/>
                <a:gd name="T21" fmla="*/ 1 h 41"/>
                <a:gd name="T22" fmla="*/ 31 w 31"/>
                <a:gd name="T23" fmla="*/ 36 h 41"/>
                <a:gd name="T24" fmla="*/ 16 w 31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41">
                  <a:moveTo>
                    <a:pt x="16" y="41"/>
                  </a:moveTo>
                  <a:cubicBezTo>
                    <a:pt x="14" y="41"/>
                    <a:pt x="0" y="41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8" y="38"/>
                    <a:pt x="16" y="38"/>
                  </a:cubicBezTo>
                  <a:cubicBezTo>
                    <a:pt x="23" y="38"/>
                    <a:pt x="27" y="36"/>
                    <a:pt x="28" y="36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0" y="0"/>
                    <a:pt x="31" y="0"/>
                    <a:pt x="31" y="1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41"/>
                    <a:pt x="17" y="41"/>
                    <a:pt x="16" y="4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205">
              <a:extLst>
                <a:ext uri="{FF2B5EF4-FFF2-40B4-BE49-F238E27FC236}">
                  <a16:creationId xmlns:a16="http://schemas.microsoft.com/office/drawing/2014/main" id="{7E144FE7-A0E4-4E88-969D-37BBA9717E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2" y="445"/>
              <a:ext cx="76" cy="17"/>
            </a:xfrm>
            <a:custGeom>
              <a:avLst/>
              <a:gdLst>
                <a:gd name="T0" fmla="*/ 4 w 31"/>
                <a:gd name="T1" fmla="*/ 2 h 7"/>
                <a:gd name="T2" fmla="*/ 4 w 31"/>
                <a:gd name="T3" fmla="*/ 2 h 7"/>
                <a:gd name="T4" fmla="*/ 16 w 31"/>
                <a:gd name="T5" fmla="*/ 7 h 7"/>
                <a:gd name="T6" fmla="*/ 0 w 31"/>
                <a:gd name="T7" fmla="*/ 2 h 7"/>
                <a:gd name="T8" fmla="*/ 2 w 31"/>
                <a:gd name="T9" fmla="*/ 0 h 7"/>
                <a:gd name="T10" fmla="*/ 4 w 31"/>
                <a:gd name="T11" fmla="*/ 2 h 7"/>
                <a:gd name="T12" fmla="*/ 16 w 31"/>
                <a:gd name="T13" fmla="*/ 4 h 7"/>
                <a:gd name="T14" fmla="*/ 28 w 31"/>
                <a:gd name="T15" fmla="*/ 1 h 7"/>
                <a:gd name="T16" fmla="*/ 30 w 31"/>
                <a:gd name="T17" fmla="*/ 0 h 7"/>
                <a:gd name="T18" fmla="*/ 31 w 31"/>
                <a:gd name="T19" fmla="*/ 2 h 7"/>
                <a:gd name="T20" fmla="*/ 16 w 31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lose/>
                  <a:moveTo>
                    <a:pt x="16" y="7"/>
                  </a:moveTo>
                  <a:cubicBezTo>
                    <a:pt x="14" y="7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"/>
                    <a:pt x="9" y="4"/>
                    <a:pt x="16" y="4"/>
                  </a:cubicBezTo>
                  <a:cubicBezTo>
                    <a:pt x="23" y="4"/>
                    <a:pt x="27" y="2"/>
                    <a:pt x="28" y="1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7"/>
                    <a:pt x="17" y="7"/>
                    <a:pt x="16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06">
              <a:extLst>
                <a:ext uri="{FF2B5EF4-FFF2-40B4-BE49-F238E27FC236}">
                  <a16:creationId xmlns:a16="http://schemas.microsoft.com/office/drawing/2014/main" id="{88DCBB2E-079D-4AD1-B437-234FFCF6A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2" y="418"/>
              <a:ext cx="76" cy="17"/>
            </a:xfrm>
            <a:custGeom>
              <a:avLst/>
              <a:gdLst>
                <a:gd name="T0" fmla="*/ 4 w 31"/>
                <a:gd name="T1" fmla="*/ 2 h 7"/>
                <a:gd name="T2" fmla="*/ 4 w 31"/>
                <a:gd name="T3" fmla="*/ 2 h 7"/>
                <a:gd name="T4" fmla="*/ 16 w 31"/>
                <a:gd name="T5" fmla="*/ 7 h 7"/>
                <a:gd name="T6" fmla="*/ 0 w 31"/>
                <a:gd name="T7" fmla="*/ 2 h 7"/>
                <a:gd name="T8" fmla="*/ 2 w 31"/>
                <a:gd name="T9" fmla="*/ 0 h 7"/>
                <a:gd name="T10" fmla="*/ 4 w 31"/>
                <a:gd name="T11" fmla="*/ 1 h 7"/>
                <a:gd name="T12" fmla="*/ 16 w 31"/>
                <a:gd name="T13" fmla="*/ 4 h 7"/>
                <a:gd name="T14" fmla="*/ 28 w 31"/>
                <a:gd name="T15" fmla="*/ 1 h 7"/>
                <a:gd name="T16" fmla="*/ 30 w 31"/>
                <a:gd name="T17" fmla="*/ 0 h 7"/>
                <a:gd name="T18" fmla="*/ 31 w 31"/>
                <a:gd name="T19" fmla="*/ 2 h 7"/>
                <a:gd name="T20" fmla="*/ 16 w 31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7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lose/>
                  <a:moveTo>
                    <a:pt x="16" y="7"/>
                  </a:moveTo>
                  <a:cubicBezTo>
                    <a:pt x="14" y="7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9" y="4"/>
                    <a:pt x="16" y="4"/>
                  </a:cubicBezTo>
                  <a:cubicBezTo>
                    <a:pt x="23" y="4"/>
                    <a:pt x="27" y="2"/>
                    <a:pt x="28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7"/>
                    <a:pt x="17" y="7"/>
                    <a:pt x="16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0" name="Group 209">
            <a:extLst>
              <a:ext uri="{FF2B5EF4-FFF2-40B4-BE49-F238E27FC236}">
                <a16:creationId xmlns:a16="http://schemas.microsoft.com/office/drawing/2014/main" id="{6AD49986-F2FF-4CE7-BC79-F4EC71BB25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750" y="4117975"/>
            <a:ext cx="841375" cy="839788"/>
            <a:chOff x="260" y="2594"/>
            <a:chExt cx="530" cy="529"/>
          </a:xfrm>
        </p:grpSpPr>
        <p:sp>
          <p:nvSpPr>
            <p:cNvPr id="241" name="AutoShape 208">
              <a:extLst>
                <a:ext uri="{FF2B5EF4-FFF2-40B4-BE49-F238E27FC236}">
                  <a16:creationId xmlns:a16="http://schemas.microsoft.com/office/drawing/2014/main" id="{FB351A34-5C40-49D9-9025-60E14A7AD8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" y="259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210">
              <a:extLst>
                <a:ext uri="{FF2B5EF4-FFF2-40B4-BE49-F238E27FC236}">
                  <a16:creationId xmlns:a16="http://schemas.microsoft.com/office/drawing/2014/main" id="{D64FC676-D365-4502-92B3-353B20CA2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" y="25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11">
              <a:extLst>
                <a:ext uri="{FF2B5EF4-FFF2-40B4-BE49-F238E27FC236}">
                  <a16:creationId xmlns:a16="http://schemas.microsoft.com/office/drawing/2014/main" id="{EDF3C0FC-1A0D-4483-B119-5D1FF0F68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" y="261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12">
              <a:extLst>
                <a:ext uri="{FF2B5EF4-FFF2-40B4-BE49-F238E27FC236}">
                  <a16:creationId xmlns:a16="http://schemas.microsoft.com/office/drawing/2014/main" id="{D90EE5AE-C0BD-4547-AB31-D4E51DB7E2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" y="2704"/>
              <a:ext cx="318" cy="312"/>
            </a:xfrm>
            <a:custGeom>
              <a:avLst/>
              <a:gdLst>
                <a:gd name="T0" fmla="*/ 231 w 318"/>
                <a:gd name="T1" fmla="*/ 2 h 312"/>
                <a:gd name="T2" fmla="*/ 200 w 318"/>
                <a:gd name="T3" fmla="*/ 25 h 312"/>
                <a:gd name="T4" fmla="*/ 177 w 318"/>
                <a:gd name="T5" fmla="*/ 61 h 312"/>
                <a:gd name="T6" fmla="*/ 185 w 318"/>
                <a:gd name="T7" fmla="*/ 25 h 312"/>
                <a:gd name="T8" fmla="*/ 144 w 318"/>
                <a:gd name="T9" fmla="*/ 7 h 312"/>
                <a:gd name="T10" fmla="*/ 144 w 318"/>
                <a:gd name="T11" fmla="*/ 43 h 312"/>
                <a:gd name="T12" fmla="*/ 121 w 318"/>
                <a:gd name="T13" fmla="*/ 46 h 312"/>
                <a:gd name="T14" fmla="*/ 95 w 318"/>
                <a:gd name="T15" fmla="*/ 2 h 312"/>
                <a:gd name="T16" fmla="*/ 36 w 318"/>
                <a:gd name="T17" fmla="*/ 33 h 312"/>
                <a:gd name="T18" fmla="*/ 31 w 318"/>
                <a:gd name="T19" fmla="*/ 89 h 312"/>
                <a:gd name="T20" fmla="*/ 85 w 318"/>
                <a:gd name="T21" fmla="*/ 133 h 312"/>
                <a:gd name="T22" fmla="*/ 113 w 318"/>
                <a:gd name="T23" fmla="*/ 179 h 312"/>
                <a:gd name="T24" fmla="*/ 111 w 318"/>
                <a:gd name="T25" fmla="*/ 220 h 312"/>
                <a:gd name="T26" fmla="*/ 126 w 318"/>
                <a:gd name="T27" fmla="*/ 260 h 312"/>
                <a:gd name="T28" fmla="*/ 141 w 318"/>
                <a:gd name="T29" fmla="*/ 289 h 312"/>
                <a:gd name="T30" fmla="*/ 164 w 318"/>
                <a:gd name="T31" fmla="*/ 309 h 312"/>
                <a:gd name="T32" fmla="*/ 192 w 318"/>
                <a:gd name="T33" fmla="*/ 276 h 312"/>
                <a:gd name="T34" fmla="*/ 180 w 318"/>
                <a:gd name="T35" fmla="*/ 245 h 312"/>
                <a:gd name="T36" fmla="*/ 216 w 318"/>
                <a:gd name="T37" fmla="*/ 204 h 312"/>
                <a:gd name="T38" fmla="*/ 210 w 318"/>
                <a:gd name="T39" fmla="*/ 166 h 312"/>
                <a:gd name="T40" fmla="*/ 231 w 318"/>
                <a:gd name="T41" fmla="*/ 115 h 312"/>
                <a:gd name="T42" fmla="*/ 308 w 318"/>
                <a:gd name="T43" fmla="*/ 66 h 312"/>
                <a:gd name="T44" fmla="*/ 77 w 318"/>
                <a:gd name="T45" fmla="*/ 102 h 312"/>
                <a:gd name="T46" fmla="*/ 98 w 318"/>
                <a:gd name="T47" fmla="*/ 71 h 312"/>
                <a:gd name="T48" fmla="*/ 36 w 318"/>
                <a:gd name="T49" fmla="*/ 79 h 312"/>
                <a:gd name="T50" fmla="*/ 80 w 318"/>
                <a:gd name="T51" fmla="*/ 46 h 312"/>
                <a:gd name="T52" fmla="*/ 16 w 318"/>
                <a:gd name="T53" fmla="*/ 53 h 312"/>
                <a:gd name="T54" fmla="*/ 93 w 318"/>
                <a:gd name="T55" fmla="*/ 13 h 312"/>
                <a:gd name="T56" fmla="*/ 108 w 318"/>
                <a:gd name="T57" fmla="*/ 30 h 312"/>
                <a:gd name="T58" fmla="*/ 151 w 318"/>
                <a:gd name="T59" fmla="*/ 76 h 312"/>
                <a:gd name="T60" fmla="*/ 105 w 318"/>
                <a:gd name="T61" fmla="*/ 92 h 312"/>
                <a:gd name="T62" fmla="*/ 118 w 318"/>
                <a:gd name="T63" fmla="*/ 120 h 312"/>
                <a:gd name="T64" fmla="*/ 118 w 318"/>
                <a:gd name="T65" fmla="*/ 97 h 312"/>
                <a:gd name="T66" fmla="*/ 113 w 318"/>
                <a:gd name="T67" fmla="*/ 151 h 312"/>
                <a:gd name="T68" fmla="*/ 100 w 318"/>
                <a:gd name="T69" fmla="*/ 122 h 312"/>
                <a:gd name="T70" fmla="*/ 151 w 318"/>
                <a:gd name="T71" fmla="*/ 112 h 312"/>
                <a:gd name="T72" fmla="*/ 139 w 318"/>
                <a:gd name="T73" fmla="*/ 273 h 312"/>
                <a:gd name="T74" fmla="*/ 146 w 318"/>
                <a:gd name="T75" fmla="*/ 253 h 312"/>
                <a:gd name="T76" fmla="*/ 126 w 318"/>
                <a:gd name="T77" fmla="*/ 214 h 312"/>
                <a:gd name="T78" fmla="*/ 131 w 318"/>
                <a:gd name="T79" fmla="*/ 186 h 312"/>
                <a:gd name="T80" fmla="*/ 154 w 318"/>
                <a:gd name="T81" fmla="*/ 36 h 312"/>
                <a:gd name="T82" fmla="*/ 149 w 318"/>
                <a:gd name="T83" fmla="*/ 15 h 312"/>
                <a:gd name="T84" fmla="*/ 172 w 318"/>
                <a:gd name="T85" fmla="*/ 20 h 312"/>
                <a:gd name="T86" fmla="*/ 162 w 318"/>
                <a:gd name="T87" fmla="*/ 38 h 312"/>
                <a:gd name="T88" fmla="*/ 177 w 318"/>
                <a:gd name="T89" fmla="*/ 276 h 312"/>
                <a:gd name="T90" fmla="*/ 198 w 318"/>
                <a:gd name="T91" fmla="*/ 202 h 312"/>
                <a:gd name="T92" fmla="*/ 164 w 318"/>
                <a:gd name="T93" fmla="*/ 179 h 312"/>
                <a:gd name="T94" fmla="*/ 213 w 318"/>
                <a:gd name="T95" fmla="*/ 143 h 312"/>
                <a:gd name="T96" fmla="*/ 167 w 318"/>
                <a:gd name="T97" fmla="*/ 112 h 312"/>
                <a:gd name="T98" fmla="*/ 210 w 318"/>
                <a:gd name="T99" fmla="*/ 128 h 312"/>
                <a:gd name="T100" fmla="*/ 198 w 318"/>
                <a:gd name="T101" fmla="*/ 99 h 312"/>
                <a:gd name="T102" fmla="*/ 208 w 318"/>
                <a:gd name="T103" fmla="*/ 117 h 312"/>
                <a:gd name="T104" fmla="*/ 295 w 318"/>
                <a:gd name="T105" fmla="*/ 66 h 312"/>
                <a:gd name="T106" fmla="*/ 239 w 318"/>
                <a:gd name="T107" fmla="*/ 46 h 312"/>
                <a:gd name="T108" fmla="*/ 267 w 318"/>
                <a:gd name="T109" fmla="*/ 74 h 312"/>
                <a:gd name="T110" fmla="*/ 221 w 318"/>
                <a:gd name="T111" fmla="*/ 71 h 312"/>
                <a:gd name="T112" fmla="*/ 221 w 318"/>
                <a:gd name="T113" fmla="*/ 79 h 312"/>
                <a:gd name="T114" fmla="*/ 213 w 318"/>
                <a:gd name="T115" fmla="*/ 92 h 312"/>
                <a:gd name="T116" fmla="*/ 172 w 318"/>
                <a:gd name="T117" fmla="*/ 99 h 312"/>
                <a:gd name="T118" fmla="*/ 210 w 318"/>
                <a:gd name="T119" fmla="*/ 43 h 312"/>
                <a:gd name="T120" fmla="*/ 218 w 318"/>
                <a:gd name="T121" fmla="*/ 15 h 312"/>
                <a:gd name="T122" fmla="*/ 267 w 318"/>
                <a:gd name="T123" fmla="*/ 3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8" h="312">
                  <a:moveTo>
                    <a:pt x="290" y="38"/>
                  </a:moveTo>
                  <a:lnTo>
                    <a:pt x="282" y="33"/>
                  </a:lnTo>
                  <a:lnTo>
                    <a:pt x="274" y="30"/>
                  </a:lnTo>
                  <a:lnTo>
                    <a:pt x="262" y="23"/>
                  </a:lnTo>
                  <a:lnTo>
                    <a:pt x="239" y="5"/>
                  </a:lnTo>
                  <a:lnTo>
                    <a:pt x="233" y="2"/>
                  </a:lnTo>
                  <a:lnTo>
                    <a:pt x="231" y="2"/>
                  </a:lnTo>
                  <a:lnTo>
                    <a:pt x="226" y="2"/>
                  </a:lnTo>
                  <a:lnTo>
                    <a:pt x="218" y="2"/>
                  </a:lnTo>
                  <a:lnTo>
                    <a:pt x="213" y="5"/>
                  </a:lnTo>
                  <a:lnTo>
                    <a:pt x="208" y="10"/>
                  </a:lnTo>
                  <a:lnTo>
                    <a:pt x="203" y="15"/>
                  </a:lnTo>
                  <a:lnTo>
                    <a:pt x="200" y="23"/>
                  </a:lnTo>
                  <a:lnTo>
                    <a:pt x="200" y="25"/>
                  </a:lnTo>
                  <a:lnTo>
                    <a:pt x="200" y="36"/>
                  </a:lnTo>
                  <a:lnTo>
                    <a:pt x="203" y="38"/>
                  </a:lnTo>
                  <a:lnTo>
                    <a:pt x="200" y="43"/>
                  </a:lnTo>
                  <a:lnTo>
                    <a:pt x="198" y="48"/>
                  </a:lnTo>
                  <a:lnTo>
                    <a:pt x="192" y="51"/>
                  </a:lnTo>
                  <a:lnTo>
                    <a:pt x="187" y="56"/>
                  </a:lnTo>
                  <a:lnTo>
                    <a:pt x="177" y="61"/>
                  </a:lnTo>
                  <a:lnTo>
                    <a:pt x="167" y="66"/>
                  </a:lnTo>
                  <a:lnTo>
                    <a:pt x="167" y="46"/>
                  </a:lnTo>
                  <a:lnTo>
                    <a:pt x="175" y="43"/>
                  </a:lnTo>
                  <a:lnTo>
                    <a:pt x="180" y="38"/>
                  </a:lnTo>
                  <a:lnTo>
                    <a:pt x="182" y="36"/>
                  </a:lnTo>
                  <a:lnTo>
                    <a:pt x="182" y="30"/>
                  </a:lnTo>
                  <a:lnTo>
                    <a:pt x="185" y="25"/>
                  </a:lnTo>
                  <a:lnTo>
                    <a:pt x="182" y="18"/>
                  </a:lnTo>
                  <a:lnTo>
                    <a:pt x="180" y="10"/>
                  </a:lnTo>
                  <a:lnTo>
                    <a:pt x="172" y="5"/>
                  </a:lnTo>
                  <a:lnTo>
                    <a:pt x="167" y="2"/>
                  </a:lnTo>
                  <a:lnTo>
                    <a:pt x="159" y="0"/>
                  </a:lnTo>
                  <a:lnTo>
                    <a:pt x="151" y="2"/>
                  </a:lnTo>
                  <a:lnTo>
                    <a:pt x="144" y="7"/>
                  </a:lnTo>
                  <a:lnTo>
                    <a:pt x="136" y="15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6" y="30"/>
                  </a:lnTo>
                  <a:lnTo>
                    <a:pt x="136" y="36"/>
                  </a:lnTo>
                  <a:lnTo>
                    <a:pt x="141" y="41"/>
                  </a:lnTo>
                  <a:lnTo>
                    <a:pt x="144" y="43"/>
                  </a:lnTo>
                  <a:lnTo>
                    <a:pt x="151" y="46"/>
                  </a:lnTo>
                  <a:lnTo>
                    <a:pt x="151" y="66"/>
                  </a:lnTo>
                  <a:lnTo>
                    <a:pt x="141" y="61"/>
                  </a:lnTo>
                  <a:lnTo>
                    <a:pt x="131" y="56"/>
                  </a:lnTo>
                  <a:lnTo>
                    <a:pt x="126" y="53"/>
                  </a:lnTo>
                  <a:lnTo>
                    <a:pt x="123" y="51"/>
                  </a:lnTo>
                  <a:lnTo>
                    <a:pt x="121" y="46"/>
                  </a:lnTo>
                  <a:lnTo>
                    <a:pt x="116" y="38"/>
                  </a:lnTo>
                  <a:lnTo>
                    <a:pt x="118" y="28"/>
                  </a:lnTo>
                  <a:lnTo>
                    <a:pt x="118" y="20"/>
                  </a:lnTo>
                  <a:lnTo>
                    <a:pt x="116" y="15"/>
                  </a:lnTo>
                  <a:lnTo>
                    <a:pt x="111" y="7"/>
                  </a:lnTo>
                  <a:lnTo>
                    <a:pt x="103" y="5"/>
                  </a:lnTo>
                  <a:lnTo>
                    <a:pt x="95" y="2"/>
                  </a:lnTo>
                  <a:lnTo>
                    <a:pt x="87" y="2"/>
                  </a:lnTo>
                  <a:lnTo>
                    <a:pt x="82" y="5"/>
                  </a:lnTo>
                  <a:lnTo>
                    <a:pt x="77" y="7"/>
                  </a:lnTo>
                  <a:lnTo>
                    <a:pt x="72" y="10"/>
                  </a:lnTo>
                  <a:lnTo>
                    <a:pt x="57" y="23"/>
                  </a:lnTo>
                  <a:lnTo>
                    <a:pt x="44" y="30"/>
                  </a:lnTo>
                  <a:lnTo>
                    <a:pt x="36" y="33"/>
                  </a:lnTo>
                  <a:lnTo>
                    <a:pt x="29" y="38"/>
                  </a:lnTo>
                  <a:lnTo>
                    <a:pt x="16" y="41"/>
                  </a:lnTo>
                  <a:lnTo>
                    <a:pt x="0" y="46"/>
                  </a:lnTo>
                  <a:lnTo>
                    <a:pt x="8" y="61"/>
                  </a:lnTo>
                  <a:lnTo>
                    <a:pt x="16" y="71"/>
                  </a:lnTo>
                  <a:lnTo>
                    <a:pt x="23" y="82"/>
                  </a:lnTo>
                  <a:lnTo>
                    <a:pt x="31" y="89"/>
                  </a:lnTo>
                  <a:lnTo>
                    <a:pt x="41" y="97"/>
                  </a:lnTo>
                  <a:lnTo>
                    <a:pt x="49" y="102"/>
                  </a:lnTo>
                  <a:lnTo>
                    <a:pt x="62" y="107"/>
                  </a:lnTo>
                  <a:lnTo>
                    <a:pt x="77" y="112"/>
                  </a:lnTo>
                  <a:lnTo>
                    <a:pt x="87" y="115"/>
                  </a:lnTo>
                  <a:lnTo>
                    <a:pt x="85" y="125"/>
                  </a:lnTo>
                  <a:lnTo>
                    <a:pt x="85" y="133"/>
                  </a:lnTo>
                  <a:lnTo>
                    <a:pt x="85" y="140"/>
                  </a:lnTo>
                  <a:lnTo>
                    <a:pt x="87" y="145"/>
                  </a:lnTo>
                  <a:lnTo>
                    <a:pt x="95" y="156"/>
                  </a:lnTo>
                  <a:lnTo>
                    <a:pt x="103" y="163"/>
                  </a:lnTo>
                  <a:lnTo>
                    <a:pt x="113" y="168"/>
                  </a:lnTo>
                  <a:lnTo>
                    <a:pt x="123" y="171"/>
                  </a:lnTo>
                  <a:lnTo>
                    <a:pt x="113" y="179"/>
                  </a:lnTo>
                  <a:lnTo>
                    <a:pt x="111" y="184"/>
                  </a:lnTo>
                  <a:lnTo>
                    <a:pt x="108" y="189"/>
                  </a:lnTo>
                  <a:lnTo>
                    <a:pt x="105" y="194"/>
                  </a:lnTo>
                  <a:lnTo>
                    <a:pt x="103" y="199"/>
                  </a:lnTo>
                  <a:lnTo>
                    <a:pt x="105" y="207"/>
                  </a:lnTo>
                  <a:lnTo>
                    <a:pt x="108" y="214"/>
                  </a:lnTo>
                  <a:lnTo>
                    <a:pt x="111" y="220"/>
                  </a:lnTo>
                  <a:lnTo>
                    <a:pt x="116" y="227"/>
                  </a:lnTo>
                  <a:lnTo>
                    <a:pt x="123" y="232"/>
                  </a:lnTo>
                  <a:lnTo>
                    <a:pt x="131" y="237"/>
                  </a:lnTo>
                  <a:lnTo>
                    <a:pt x="141" y="243"/>
                  </a:lnTo>
                  <a:lnTo>
                    <a:pt x="131" y="250"/>
                  </a:lnTo>
                  <a:lnTo>
                    <a:pt x="128" y="255"/>
                  </a:lnTo>
                  <a:lnTo>
                    <a:pt x="126" y="260"/>
                  </a:lnTo>
                  <a:lnTo>
                    <a:pt x="123" y="266"/>
                  </a:lnTo>
                  <a:lnTo>
                    <a:pt x="123" y="268"/>
                  </a:lnTo>
                  <a:lnTo>
                    <a:pt x="126" y="276"/>
                  </a:lnTo>
                  <a:lnTo>
                    <a:pt x="131" y="281"/>
                  </a:lnTo>
                  <a:lnTo>
                    <a:pt x="134" y="283"/>
                  </a:lnTo>
                  <a:lnTo>
                    <a:pt x="136" y="286"/>
                  </a:lnTo>
                  <a:lnTo>
                    <a:pt x="141" y="289"/>
                  </a:lnTo>
                  <a:lnTo>
                    <a:pt x="149" y="291"/>
                  </a:lnTo>
                  <a:lnTo>
                    <a:pt x="154" y="291"/>
                  </a:lnTo>
                  <a:lnTo>
                    <a:pt x="154" y="307"/>
                  </a:lnTo>
                  <a:lnTo>
                    <a:pt x="157" y="309"/>
                  </a:lnTo>
                  <a:lnTo>
                    <a:pt x="159" y="312"/>
                  </a:lnTo>
                  <a:lnTo>
                    <a:pt x="162" y="309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64" y="304"/>
                  </a:lnTo>
                  <a:lnTo>
                    <a:pt x="164" y="291"/>
                  </a:lnTo>
                  <a:lnTo>
                    <a:pt x="175" y="289"/>
                  </a:lnTo>
                  <a:lnTo>
                    <a:pt x="180" y="286"/>
                  </a:lnTo>
                  <a:lnTo>
                    <a:pt x="185" y="283"/>
                  </a:lnTo>
                  <a:lnTo>
                    <a:pt x="192" y="276"/>
                  </a:lnTo>
                  <a:lnTo>
                    <a:pt x="192" y="271"/>
                  </a:lnTo>
                  <a:lnTo>
                    <a:pt x="195" y="268"/>
                  </a:lnTo>
                  <a:lnTo>
                    <a:pt x="192" y="263"/>
                  </a:lnTo>
                  <a:lnTo>
                    <a:pt x="192" y="258"/>
                  </a:lnTo>
                  <a:lnTo>
                    <a:pt x="187" y="253"/>
                  </a:lnTo>
                  <a:lnTo>
                    <a:pt x="182" y="248"/>
                  </a:lnTo>
                  <a:lnTo>
                    <a:pt x="180" y="245"/>
                  </a:lnTo>
                  <a:lnTo>
                    <a:pt x="177" y="243"/>
                  </a:lnTo>
                  <a:lnTo>
                    <a:pt x="190" y="235"/>
                  </a:lnTo>
                  <a:lnTo>
                    <a:pt x="195" y="232"/>
                  </a:lnTo>
                  <a:lnTo>
                    <a:pt x="205" y="225"/>
                  </a:lnTo>
                  <a:lnTo>
                    <a:pt x="210" y="217"/>
                  </a:lnTo>
                  <a:lnTo>
                    <a:pt x="213" y="209"/>
                  </a:lnTo>
                  <a:lnTo>
                    <a:pt x="216" y="204"/>
                  </a:lnTo>
                  <a:lnTo>
                    <a:pt x="216" y="199"/>
                  </a:lnTo>
                  <a:lnTo>
                    <a:pt x="213" y="189"/>
                  </a:lnTo>
                  <a:lnTo>
                    <a:pt x="210" y="184"/>
                  </a:lnTo>
                  <a:lnTo>
                    <a:pt x="205" y="181"/>
                  </a:lnTo>
                  <a:lnTo>
                    <a:pt x="200" y="176"/>
                  </a:lnTo>
                  <a:lnTo>
                    <a:pt x="195" y="171"/>
                  </a:lnTo>
                  <a:lnTo>
                    <a:pt x="210" y="166"/>
                  </a:lnTo>
                  <a:lnTo>
                    <a:pt x="216" y="163"/>
                  </a:lnTo>
                  <a:lnTo>
                    <a:pt x="226" y="156"/>
                  </a:lnTo>
                  <a:lnTo>
                    <a:pt x="231" y="145"/>
                  </a:lnTo>
                  <a:lnTo>
                    <a:pt x="233" y="138"/>
                  </a:lnTo>
                  <a:lnTo>
                    <a:pt x="233" y="130"/>
                  </a:lnTo>
                  <a:lnTo>
                    <a:pt x="233" y="122"/>
                  </a:lnTo>
                  <a:lnTo>
                    <a:pt x="231" y="115"/>
                  </a:lnTo>
                  <a:lnTo>
                    <a:pt x="249" y="110"/>
                  </a:lnTo>
                  <a:lnTo>
                    <a:pt x="264" y="105"/>
                  </a:lnTo>
                  <a:lnTo>
                    <a:pt x="272" y="99"/>
                  </a:lnTo>
                  <a:lnTo>
                    <a:pt x="282" y="94"/>
                  </a:lnTo>
                  <a:lnTo>
                    <a:pt x="292" y="84"/>
                  </a:lnTo>
                  <a:lnTo>
                    <a:pt x="297" y="79"/>
                  </a:lnTo>
                  <a:lnTo>
                    <a:pt x="308" y="66"/>
                  </a:lnTo>
                  <a:lnTo>
                    <a:pt x="310" y="61"/>
                  </a:lnTo>
                  <a:lnTo>
                    <a:pt x="318" y="46"/>
                  </a:lnTo>
                  <a:lnTo>
                    <a:pt x="303" y="41"/>
                  </a:lnTo>
                  <a:lnTo>
                    <a:pt x="290" y="38"/>
                  </a:lnTo>
                  <a:close/>
                  <a:moveTo>
                    <a:pt x="98" y="102"/>
                  </a:moveTo>
                  <a:lnTo>
                    <a:pt x="95" y="105"/>
                  </a:lnTo>
                  <a:lnTo>
                    <a:pt x="77" y="102"/>
                  </a:lnTo>
                  <a:lnTo>
                    <a:pt x="64" y="97"/>
                  </a:lnTo>
                  <a:lnTo>
                    <a:pt x="87" y="87"/>
                  </a:lnTo>
                  <a:lnTo>
                    <a:pt x="100" y="79"/>
                  </a:lnTo>
                  <a:lnTo>
                    <a:pt x="100" y="76"/>
                  </a:lnTo>
                  <a:lnTo>
                    <a:pt x="100" y="74"/>
                  </a:lnTo>
                  <a:lnTo>
                    <a:pt x="98" y="71"/>
                  </a:lnTo>
                  <a:lnTo>
                    <a:pt x="98" y="71"/>
                  </a:lnTo>
                  <a:lnTo>
                    <a:pt x="95" y="69"/>
                  </a:lnTo>
                  <a:lnTo>
                    <a:pt x="93" y="71"/>
                  </a:lnTo>
                  <a:lnTo>
                    <a:pt x="77" y="79"/>
                  </a:lnTo>
                  <a:lnTo>
                    <a:pt x="62" y="87"/>
                  </a:lnTo>
                  <a:lnTo>
                    <a:pt x="52" y="89"/>
                  </a:lnTo>
                  <a:lnTo>
                    <a:pt x="44" y="87"/>
                  </a:lnTo>
                  <a:lnTo>
                    <a:pt x="36" y="79"/>
                  </a:lnTo>
                  <a:lnTo>
                    <a:pt x="57" y="71"/>
                  </a:lnTo>
                  <a:lnTo>
                    <a:pt x="67" y="66"/>
                  </a:lnTo>
                  <a:lnTo>
                    <a:pt x="85" y="56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1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7" y="48"/>
                  </a:lnTo>
                  <a:lnTo>
                    <a:pt x="59" y="56"/>
                  </a:lnTo>
                  <a:lnTo>
                    <a:pt x="47" y="64"/>
                  </a:lnTo>
                  <a:lnTo>
                    <a:pt x="29" y="71"/>
                  </a:lnTo>
                  <a:lnTo>
                    <a:pt x="21" y="64"/>
                  </a:lnTo>
                  <a:lnTo>
                    <a:pt x="16" y="53"/>
                  </a:lnTo>
                  <a:lnTo>
                    <a:pt x="29" y="48"/>
                  </a:lnTo>
                  <a:lnTo>
                    <a:pt x="41" y="43"/>
                  </a:lnTo>
                  <a:lnTo>
                    <a:pt x="54" y="36"/>
                  </a:lnTo>
                  <a:lnTo>
                    <a:pt x="67" y="30"/>
                  </a:lnTo>
                  <a:lnTo>
                    <a:pt x="85" y="15"/>
                  </a:lnTo>
                  <a:lnTo>
                    <a:pt x="90" y="13"/>
                  </a:lnTo>
                  <a:lnTo>
                    <a:pt x="93" y="13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3" y="18"/>
                  </a:lnTo>
                  <a:lnTo>
                    <a:pt x="105" y="20"/>
                  </a:lnTo>
                  <a:lnTo>
                    <a:pt x="108" y="25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05" y="38"/>
                  </a:lnTo>
                  <a:lnTo>
                    <a:pt x="108" y="46"/>
                  </a:lnTo>
                  <a:lnTo>
                    <a:pt x="113" y="53"/>
                  </a:lnTo>
                  <a:lnTo>
                    <a:pt x="118" y="61"/>
                  </a:lnTo>
                  <a:lnTo>
                    <a:pt x="126" y="66"/>
                  </a:lnTo>
                  <a:lnTo>
                    <a:pt x="136" y="71"/>
                  </a:lnTo>
                  <a:lnTo>
                    <a:pt x="151" y="76"/>
                  </a:lnTo>
                  <a:lnTo>
                    <a:pt x="151" y="102"/>
                  </a:lnTo>
                  <a:lnTo>
                    <a:pt x="136" y="92"/>
                  </a:lnTo>
                  <a:lnTo>
                    <a:pt x="128" y="89"/>
                  </a:lnTo>
                  <a:lnTo>
                    <a:pt x="121" y="87"/>
                  </a:lnTo>
                  <a:lnTo>
                    <a:pt x="118" y="87"/>
                  </a:lnTo>
                  <a:lnTo>
                    <a:pt x="111" y="89"/>
                  </a:lnTo>
                  <a:lnTo>
                    <a:pt x="105" y="92"/>
                  </a:lnTo>
                  <a:lnTo>
                    <a:pt x="103" y="94"/>
                  </a:lnTo>
                  <a:lnTo>
                    <a:pt x="98" y="97"/>
                  </a:lnTo>
                  <a:lnTo>
                    <a:pt x="98" y="102"/>
                  </a:lnTo>
                  <a:close/>
                  <a:moveTo>
                    <a:pt x="141" y="107"/>
                  </a:moveTo>
                  <a:lnTo>
                    <a:pt x="126" y="117"/>
                  </a:lnTo>
                  <a:lnTo>
                    <a:pt x="123" y="117"/>
                  </a:lnTo>
                  <a:lnTo>
                    <a:pt x="118" y="120"/>
                  </a:lnTo>
                  <a:lnTo>
                    <a:pt x="113" y="117"/>
                  </a:lnTo>
                  <a:lnTo>
                    <a:pt x="108" y="115"/>
                  </a:lnTo>
                  <a:lnTo>
                    <a:pt x="108" y="110"/>
                  </a:lnTo>
                  <a:lnTo>
                    <a:pt x="108" y="107"/>
                  </a:lnTo>
                  <a:lnTo>
                    <a:pt x="108" y="102"/>
                  </a:lnTo>
                  <a:lnTo>
                    <a:pt x="113" y="99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26" y="99"/>
                  </a:lnTo>
                  <a:lnTo>
                    <a:pt x="131" y="102"/>
                  </a:lnTo>
                  <a:lnTo>
                    <a:pt x="136" y="105"/>
                  </a:lnTo>
                  <a:lnTo>
                    <a:pt x="141" y="107"/>
                  </a:lnTo>
                  <a:close/>
                  <a:moveTo>
                    <a:pt x="118" y="153"/>
                  </a:moveTo>
                  <a:lnTo>
                    <a:pt x="113" y="151"/>
                  </a:lnTo>
                  <a:lnTo>
                    <a:pt x="108" y="148"/>
                  </a:lnTo>
                  <a:lnTo>
                    <a:pt x="103" y="140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0"/>
                  </a:lnTo>
                  <a:lnTo>
                    <a:pt x="100" y="128"/>
                  </a:lnTo>
                  <a:lnTo>
                    <a:pt x="100" y="122"/>
                  </a:lnTo>
                  <a:lnTo>
                    <a:pt x="113" y="128"/>
                  </a:lnTo>
                  <a:lnTo>
                    <a:pt x="118" y="130"/>
                  </a:lnTo>
                  <a:lnTo>
                    <a:pt x="128" y="128"/>
                  </a:lnTo>
                  <a:lnTo>
                    <a:pt x="131" y="125"/>
                  </a:lnTo>
                  <a:lnTo>
                    <a:pt x="136" y="122"/>
                  </a:lnTo>
                  <a:lnTo>
                    <a:pt x="144" y="117"/>
                  </a:lnTo>
                  <a:lnTo>
                    <a:pt x="151" y="112"/>
                  </a:lnTo>
                  <a:lnTo>
                    <a:pt x="151" y="161"/>
                  </a:lnTo>
                  <a:lnTo>
                    <a:pt x="126" y="156"/>
                  </a:lnTo>
                  <a:lnTo>
                    <a:pt x="118" y="153"/>
                  </a:lnTo>
                  <a:close/>
                  <a:moveTo>
                    <a:pt x="154" y="281"/>
                  </a:moveTo>
                  <a:lnTo>
                    <a:pt x="149" y="278"/>
                  </a:lnTo>
                  <a:lnTo>
                    <a:pt x="141" y="276"/>
                  </a:lnTo>
                  <a:lnTo>
                    <a:pt x="139" y="273"/>
                  </a:lnTo>
                  <a:lnTo>
                    <a:pt x="136" y="271"/>
                  </a:lnTo>
                  <a:lnTo>
                    <a:pt x="136" y="268"/>
                  </a:lnTo>
                  <a:lnTo>
                    <a:pt x="136" y="266"/>
                  </a:lnTo>
                  <a:lnTo>
                    <a:pt x="136" y="263"/>
                  </a:lnTo>
                  <a:lnTo>
                    <a:pt x="136" y="260"/>
                  </a:lnTo>
                  <a:lnTo>
                    <a:pt x="141" y="258"/>
                  </a:lnTo>
                  <a:lnTo>
                    <a:pt x="146" y="253"/>
                  </a:lnTo>
                  <a:lnTo>
                    <a:pt x="149" y="250"/>
                  </a:lnTo>
                  <a:lnTo>
                    <a:pt x="154" y="248"/>
                  </a:lnTo>
                  <a:lnTo>
                    <a:pt x="154" y="281"/>
                  </a:lnTo>
                  <a:close/>
                  <a:moveTo>
                    <a:pt x="154" y="230"/>
                  </a:moveTo>
                  <a:lnTo>
                    <a:pt x="136" y="222"/>
                  </a:lnTo>
                  <a:lnTo>
                    <a:pt x="128" y="217"/>
                  </a:lnTo>
                  <a:lnTo>
                    <a:pt x="126" y="214"/>
                  </a:lnTo>
                  <a:lnTo>
                    <a:pt x="121" y="209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199"/>
                  </a:lnTo>
                  <a:lnTo>
                    <a:pt x="123" y="191"/>
                  </a:lnTo>
                  <a:lnTo>
                    <a:pt x="128" y="186"/>
                  </a:lnTo>
                  <a:lnTo>
                    <a:pt x="131" y="186"/>
                  </a:lnTo>
                  <a:lnTo>
                    <a:pt x="139" y="181"/>
                  </a:lnTo>
                  <a:lnTo>
                    <a:pt x="149" y="179"/>
                  </a:lnTo>
                  <a:lnTo>
                    <a:pt x="154" y="179"/>
                  </a:lnTo>
                  <a:lnTo>
                    <a:pt x="154" y="230"/>
                  </a:lnTo>
                  <a:close/>
                  <a:moveTo>
                    <a:pt x="162" y="38"/>
                  </a:moveTo>
                  <a:lnTo>
                    <a:pt x="159" y="38"/>
                  </a:lnTo>
                  <a:lnTo>
                    <a:pt x="154" y="36"/>
                  </a:lnTo>
                  <a:lnTo>
                    <a:pt x="151" y="36"/>
                  </a:lnTo>
                  <a:lnTo>
                    <a:pt x="149" y="33"/>
                  </a:lnTo>
                  <a:lnTo>
                    <a:pt x="146" y="30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0"/>
                  </a:lnTo>
                  <a:lnTo>
                    <a:pt x="149" y="15"/>
                  </a:lnTo>
                  <a:lnTo>
                    <a:pt x="151" y="13"/>
                  </a:lnTo>
                  <a:lnTo>
                    <a:pt x="157" y="13"/>
                  </a:lnTo>
                  <a:lnTo>
                    <a:pt x="159" y="10"/>
                  </a:lnTo>
                  <a:lnTo>
                    <a:pt x="162" y="13"/>
                  </a:lnTo>
                  <a:lnTo>
                    <a:pt x="164" y="13"/>
                  </a:lnTo>
                  <a:lnTo>
                    <a:pt x="169" y="15"/>
                  </a:lnTo>
                  <a:lnTo>
                    <a:pt x="172" y="20"/>
                  </a:lnTo>
                  <a:lnTo>
                    <a:pt x="172" y="23"/>
                  </a:lnTo>
                  <a:lnTo>
                    <a:pt x="172" y="25"/>
                  </a:lnTo>
                  <a:lnTo>
                    <a:pt x="172" y="28"/>
                  </a:lnTo>
                  <a:lnTo>
                    <a:pt x="172" y="30"/>
                  </a:lnTo>
                  <a:lnTo>
                    <a:pt x="167" y="36"/>
                  </a:lnTo>
                  <a:lnTo>
                    <a:pt x="164" y="36"/>
                  </a:lnTo>
                  <a:lnTo>
                    <a:pt x="162" y="38"/>
                  </a:lnTo>
                  <a:close/>
                  <a:moveTo>
                    <a:pt x="177" y="255"/>
                  </a:moveTo>
                  <a:lnTo>
                    <a:pt x="180" y="260"/>
                  </a:lnTo>
                  <a:lnTo>
                    <a:pt x="182" y="263"/>
                  </a:lnTo>
                  <a:lnTo>
                    <a:pt x="182" y="266"/>
                  </a:lnTo>
                  <a:lnTo>
                    <a:pt x="182" y="271"/>
                  </a:lnTo>
                  <a:lnTo>
                    <a:pt x="180" y="273"/>
                  </a:lnTo>
                  <a:lnTo>
                    <a:pt x="177" y="276"/>
                  </a:lnTo>
                  <a:lnTo>
                    <a:pt x="169" y="278"/>
                  </a:lnTo>
                  <a:lnTo>
                    <a:pt x="164" y="281"/>
                  </a:lnTo>
                  <a:lnTo>
                    <a:pt x="164" y="248"/>
                  </a:lnTo>
                  <a:lnTo>
                    <a:pt x="177" y="255"/>
                  </a:lnTo>
                  <a:close/>
                  <a:moveTo>
                    <a:pt x="198" y="194"/>
                  </a:moveTo>
                  <a:lnTo>
                    <a:pt x="198" y="199"/>
                  </a:lnTo>
                  <a:lnTo>
                    <a:pt x="198" y="202"/>
                  </a:lnTo>
                  <a:lnTo>
                    <a:pt x="198" y="207"/>
                  </a:lnTo>
                  <a:lnTo>
                    <a:pt x="195" y="209"/>
                  </a:lnTo>
                  <a:lnTo>
                    <a:pt x="190" y="217"/>
                  </a:lnTo>
                  <a:lnTo>
                    <a:pt x="187" y="220"/>
                  </a:lnTo>
                  <a:lnTo>
                    <a:pt x="180" y="222"/>
                  </a:lnTo>
                  <a:lnTo>
                    <a:pt x="164" y="230"/>
                  </a:lnTo>
                  <a:lnTo>
                    <a:pt x="164" y="179"/>
                  </a:lnTo>
                  <a:lnTo>
                    <a:pt x="177" y="181"/>
                  </a:lnTo>
                  <a:lnTo>
                    <a:pt x="182" y="184"/>
                  </a:lnTo>
                  <a:lnTo>
                    <a:pt x="187" y="186"/>
                  </a:lnTo>
                  <a:lnTo>
                    <a:pt x="195" y="191"/>
                  </a:lnTo>
                  <a:lnTo>
                    <a:pt x="198" y="194"/>
                  </a:lnTo>
                  <a:close/>
                  <a:moveTo>
                    <a:pt x="218" y="138"/>
                  </a:moveTo>
                  <a:lnTo>
                    <a:pt x="213" y="143"/>
                  </a:lnTo>
                  <a:lnTo>
                    <a:pt x="210" y="148"/>
                  </a:lnTo>
                  <a:lnTo>
                    <a:pt x="203" y="151"/>
                  </a:lnTo>
                  <a:lnTo>
                    <a:pt x="200" y="153"/>
                  </a:lnTo>
                  <a:lnTo>
                    <a:pt x="192" y="156"/>
                  </a:lnTo>
                  <a:lnTo>
                    <a:pt x="182" y="158"/>
                  </a:lnTo>
                  <a:lnTo>
                    <a:pt x="167" y="161"/>
                  </a:lnTo>
                  <a:lnTo>
                    <a:pt x="167" y="112"/>
                  </a:lnTo>
                  <a:lnTo>
                    <a:pt x="175" y="117"/>
                  </a:lnTo>
                  <a:lnTo>
                    <a:pt x="182" y="122"/>
                  </a:lnTo>
                  <a:lnTo>
                    <a:pt x="190" y="128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5" y="128"/>
                  </a:lnTo>
                  <a:lnTo>
                    <a:pt x="210" y="128"/>
                  </a:lnTo>
                  <a:lnTo>
                    <a:pt x="218" y="122"/>
                  </a:lnTo>
                  <a:lnTo>
                    <a:pt x="218" y="130"/>
                  </a:lnTo>
                  <a:lnTo>
                    <a:pt x="218" y="138"/>
                  </a:lnTo>
                  <a:close/>
                  <a:moveTo>
                    <a:pt x="177" y="107"/>
                  </a:moveTo>
                  <a:lnTo>
                    <a:pt x="185" y="102"/>
                  </a:lnTo>
                  <a:lnTo>
                    <a:pt x="190" y="99"/>
                  </a:lnTo>
                  <a:lnTo>
                    <a:pt x="198" y="99"/>
                  </a:lnTo>
                  <a:lnTo>
                    <a:pt x="200" y="97"/>
                  </a:lnTo>
                  <a:lnTo>
                    <a:pt x="205" y="99"/>
                  </a:lnTo>
                  <a:lnTo>
                    <a:pt x="208" y="102"/>
                  </a:lnTo>
                  <a:lnTo>
                    <a:pt x="210" y="107"/>
                  </a:lnTo>
                  <a:lnTo>
                    <a:pt x="210" y="110"/>
                  </a:lnTo>
                  <a:lnTo>
                    <a:pt x="210" y="115"/>
                  </a:lnTo>
                  <a:lnTo>
                    <a:pt x="208" y="117"/>
                  </a:lnTo>
                  <a:lnTo>
                    <a:pt x="203" y="117"/>
                  </a:lnTo>
                  <a:lnTo>
                    <a:pt x="200" y="120"/>
                  </a:lnTo>
                  <a:lnTo>
                    <a:pt x="195" y="117"/>
                  </a:lnTo>
                  <a:lnTo>
                    <a:pt x="187" y="115"/>
                  </a:lnTo>
                  <a:lnTo>
                    <a:pt x="182" y="112"/>
                  </a:lnTo>
                  <a:lnTo>
                    <a:pt x="177" y="107"/>
                  </a:lnTo>
                  <a:close/>
                  <a:moveTo>
                    <a:pt x="295" y="66"/>
                  </a:moveTo>
                  <a:lnTo>
                    <a:pt x="290" y="71"/>
                  </a:lnTo>
                  <a:lnTo>
                    <a:pt x="277" y="66"/>
                  </a:lnTo>
                  <a:lnTo>
                    <a:pt x="264" y="61"/>
                  </a:lnTo>
                  <a:lnTo>
                    <a:pt x="254" y="53"/>
                  </a:lnTo>
                  <a:lnTo>
                    <a:pt x="241" y="46"/>
                  </a:lnTo>
                  <a:lnTo>
                    <a:pt x="239" y="46"/>
                  </a:lnTo>
                  <a:lnTo>
                    <a:pt x="239" y="46"/>
                  </a:lnTo>
                  <a:lnTo>
                    <a:pt x="236" y="48"/>
                  </a:lnTo>
                  <a:lnTo>
                    <a:pt x="233" y="51"/>
                  </a:lnTo>
                  <a:lnTo>
                    <a:pt x="233" y="53"/>
                  </a:lnTo>
                  <a:lnTo>
                    <a:pt x="233" y="56"/>
                  </a:lnTo>
                  <a:lnTo>
                    <a:pt x="236" y="56"/>
                  </a:lnTo>
                  <a:lnTo>
                    <a:pt x="251" y="66"/>
                  </a:lnTo>
                  <a:lnTo>
                    <a:pt x="267" y="74"/>
                  </a:lnTo>
                  <a:lnTo>
                    <a:pt x="282" y="79"/>
                  </a:lnTo>
                  <a:lnTo>
                    <a:pt x="272" y="87"/>
                  </a:lnTo>
                  <a:lnTo>
                    <a:pt x="267" y="89"/>
                  </a:lnTo>
                  <a:lnTo>
                    <a:pt x="251" y="84"/>
                  </a:lnTo>
                  <a:lnTo>
                    <a:pt x="236" y="76"/>
                  </a:lnTo>
                  <a:lnTo>
                    <a:pt x="223" y="71"/>
                  </a:lnTo>
                  <a:lnTo>
                    <a:pt x="221" y="71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6"/>
                  </a:lnTo>
                  <a:lnTo>
                    <a:pt x="218" y="79"/>
                  </a:lnTo>
                  <a:lnTo>
                    <a:pt x="221" y="79"/>
                  </a:lnTo>
                  <a:lnTo>
                    <a:pt x="241" y="92"/>
                  </a:lnTo>
                  <a:lnTo>
                    <a:pt x="254" y="97"/>
                  </a:lnTo>
                  <a:lnTo>
                    <a:pt x="233" y="102"/>
                  </a:lnTo>
                  <a:lnTo>
                    <a:pt x="223" y="105"/>
                  </a:lnTo>
                  <a:lnTo>
                    <a:pt x="221" y="97"/>
                  </a:lnTo>
                  <a:lnTo>
                    <a:pt x="216" y="94"/>
                  </a:lnTo>
                  <a:lnTo>
                    <a:pt x="213" y="92"/>
                  </a:lnTo>
                  <a:lnTo>
                    <a:pt x="208" y="89"/>
                  </a:lnTo>
                  <a:lnTo>
                    <a:pt x="203" y="87"/>
                  </a:lnTo>
                  <a:lnTo>
                    <a:pt x="200" y="87"/>
                  </a:lnTo>
                  <a:lnTo>
                    <a:pt x="195" y="87"/>
                  </a:lnTo>
                  <a:lnTo>
                    <a:pt x="187" y="89"/>
                  </a:lnTo>
                  <a:lnTo>
                    <a:pt x="177" y="97"/>
                  </a:lnTo>
                  <a:lnTo>
                    <a:pt x="172" y="99"/>
                  </a:lnTo>
                  <a:lnTo>
                    <a:pt x="167" y="102"/>
                  </a:lnTo>
                  <a:lnTo>
                    <a:pt x="167" y="76"/>
                  </a:lnTo>
                  <a:lnTo>
                    <a:pt x="182" y="71"/>
                  </a:lnTo>
                  <a:lnTo>
                    <a:pt x="192" y="66"/>
                  </a:lnTo>
                  <a:lnTo>
                    <a:pt x="200" y="61"/>
                  </a:lnTo>
                  <a:lnTo>
                    <a:pt x="208" y="51"/>
                  </a:lnTo>
                  <a:lnTo>
                    <a:pt x="210" y="43"/>
                  </a:lnTo>
                  <a:lnTo>
                    <a:pt x="213" y="38"/>
                  </a:lnTo>
                  <a:lnTo>
                    <a:pt x="210" y="28"/>
                  </a:lnTo>
                  <a:lnTo>
                    <a:pt x="210" y="25"/>
                  </a:lnTo>
                  <a:lnTo>
                    <a:pt x="213" y="20"/>
                  </a:lnTo>
                  <a:lnTo>
                    <a:pt x="213" y="18"/>
                  </a:lnTo>
                  <a:lnTo>
                    <a:pt x="216" y="18"/>
                  </a:lnTo>
                  <a:lnTo>
                    <a:pt x="218" y="15"/>
                  </a:lnTo>
                  <a:lnTo>
                    <a:pt x="223" y="13"/>
                  </a:lnTo>
                  <a:lnTo>
                    <a:pt x="226" y="13"/>
                  </a:lnTo>
                  <a:lnTo>
                    <a:pt x="231" y="13"/>
                  </a:lnTo>
                  <a:lnTo>
                    <a:pt x="236" y="15"/>
                  </a:lnTo>
                  <a:lnTo>
                    <a:pt x="244" y="20"/>
                  </a:lnTo>
                  <a:lnTo>
                    <a:pt x="262" y="36"/>
                  </a:lnTo>
                  <a:lnTo>
                    <a:pt x="267" y="38"/>
                  </a:lnTo>
                  <a:lnTo>
                    <a:pt x="277" y="43"/>
                  </a:lnTo>
                  <a:lnTo>
                    <a:pt x="285" y="48"/>
                  </a:lnTo>
                  <a:lnTo>
                    <a:pt x="295" y="51"/>
                  </a:lnTo>
                  <a:lnTo>
                    <a:pt x="303" y="53"/>
                  </a:lnTo>
                  <a:lnTo>
                    <a:pt x="295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215">
            <a:extLst>
              <a:ext uri="{FF2B5EF4-FFF2-40B4-BE49-F238E27FC236}">
                <a16:creationId xmlns:a16="http://schemas.microsoft.com/office/drawing/2014/main" id="{B3805266-087B-4B84-9A34-3591EDC1BC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58913" y="4157663"/>
            <a:ext cx="758825" cy="760412"/>
            <a:chOff x="919" y="2619"/>
            <a:chExt cx="478" cy="479"/>
          </a:xfrm>
        </p:grpSpPr>
        <p:sp>
          <p:nvSpPr>
            <p:cNvPr id="246" name="AutoShape 214">
              <a:extLst>
                <a:ext uri="{FF2B5EF4-FFF2-40B4-BE49-F238E27FC236}">
                  <a16:creationId xmlns:a16="http://schemas.microsoft.com/office/drawing/2014/main" id="{F001A2CC-701E-4424-8F6C-BEA8B3C6DA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9" y="2619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6">
              <a:extLst>
                <a:ext uri="{FF2B5EF4-FFF2-40B4-BE49-F238E27FC236}">
                  <a16:creationId xmlns:a16="http://schemas.microsoft.com/office/drawing/2014/main" id="{70B93C47-7A48-4756-AA40-7C07039DD0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" y="2621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17">
              <a:extLst>
                <a:ext uri="{FF2B5EF4-FFF2-40B4-BE49-F238E27FC236}">
                  <a16:creationId xmlns:a16="http://schemas.microsoft.com/office/drawing/2014/main" id="{47745496-6D1A-4784-969B-1D48479D3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" y="2710"/>
              <a:ext cx="304" cy="300"/>
            </a:xfrm>
            <a:custGeom>
              <a:avLst/>
              <a:gdLst>
                <a:gd name="T0" fmla="*/ 221 w 304"/>
                <a:gd name="T1" fmla="*/ 2 h 300"/>
                <a:gd name="T2" fmla="*/ 191 w 304"/>
                <a:gd name="T3" fmla="*/ 24 h 300"/>
                <a:gd name="T4" fmla="*/ 169 w 304"/>
                <a:gd name="T5" fmla="*/ 59 h 300"/>
                <a:gd name="T6" fmla="*/ 177 w 304"/>
                <a:gd name="T7" fmla="*/ 24 h 300"/>
                <a:gd name="T8" fmla="*/ 138 w 304"/>
                <a:gd name="T9" fmla="*/ 7 h 300"/>
                <a:gd name="T10" fmla="*/ 138 w 304"/>
                <a:gd name="T11" fmla="*/ 42 h 300"/>
                <a:gd name="T12" fmla="*/ 115 w 304"/>
                <a:gd name="T13" fmla="*/ 44 h 300"/>
                <a:gd name="T14" fmla="*/ 91 w 304"/>
                <a:gd name="T15" fmla="*/ 2 h 300"/>
                <a:gd name="T16" fmla="*/ 35 w 304"/>
                <a:gd name="T17" fmla="*/ 32 h 300"/>
                <a:gd name="T18" fmla="*/ 30 w 304"/>
                <a:gd name="T19" fmla="*/ 86 h 300"/>
                <a:gd name="T20" fmla="*/ 81 w 304"/>
                <a:gd name="T21" fmla="*/ 128 h 300"/>
                <a:gd name="T22" fmla="*/ 108 w 304"/>
                <a:gd name="T23" fmla="*/ 172 h 300"/>
                <a:gd name="T24" fmla="*/ 106 w 304"/>
                <a:gd name="T25" fmla="*/ 211 h 300"/>
                <a:gd name="T26" fmla="*/ 120 w 304"/>
                <a:gd name="T27" fmla="*/ 250 h 300"/>
                <a:gd name="T28" fmla="*/ 135 w 304"/>
                <a:gd name="T29" fmla="*/ 277 h 300"/>
                <a:gd name="T30" fmla="*/ 157 w 304"/>
                <a:gd name="T31" fmla="*/ 297 h 300"/>
                <a:gd name="T32" fmla="*/ 184 w 304"/>
                <a:gd name="T33" fmla="*/ 265 h 300"/>
                <a:gd name="T34" fmla="*/ 172 w 304"/>
                <a:gd name="T35" fmla="*/ 236 h 300"/>
                <a:gd name="T36" fmla="*/ 206 w 304"/>
                <a:gd name="T37" fmla="*/ 196 h 300"/>
                <a:gd name="T38" fmla="*/ 201 w 304"/>
                <a:gd name="T39" fmla="*/ 160 h 300"/>
                <a:gd name="T40" fmla="*/ 221 w 304"/>
                <a:gd name="T41" fmla="*/ 110 h 300"/>
                <a:gd name="T42" fmla="*/ 294 w 304"/>
                <a:gd name="T43" fmla="*/ 64 h 300"/>
                <a:gd name="T44" fmla="*/ 74 w 304"/>
                <a:gd name="T45" fmla="*/ 98 h 300"/>
                <a:gd name="T46" fmla="*/ 93 w 304"/>
                <a:gd name="T47" fmla="*/ 69 h 300"/>
                <a:gd name="T48" fmla="*/ 35 w 304"/>
                <a:gd name="T49" fmla="*/ 76 h 300"/>
                <a:gd name="T50" fmla="*/ 76 w 304"/>
                <a:gd name="T51" fmla="*/ 44 h 300"/>
                <a:gd name="T52" fmla="*/ 15 w 304"/>
                <a:gd name="T53" fmla="*/ 51 h 300"/>
                <a:gd name="T54" fmla="*/ 88 w 304"/>
                <a:gd name="T55" fmla="*/ 12 h 300"/>
                <a:gd name="T56" fmla="*/ 103 w 304"/>
                <a:gd name="T57" fmla="*/ 29 h 300"/>
                <a:gd name="T58" fmla="*/ 145 w 304"/>
                <a:gd name="T59" fmla="*/ 74 h 300"/>
                <a:gd name="T60" fmla="*/ 101 w 304"/>
                <a:gd name="T61" fmla="*/ 88 h 300"/>
                <a:gd name="T62" fmla="*/ 113 w 304"/>
                <a:gd name="T63" fmla="*/ 115 h 300"/>
                <a:gd name="T64" fmla="*/ 113 w 304"/>
                <a:gd name="T65" fmla="*/ 93 h 300"/>
                <a:gd name="T66" fmla="*/ 108 w 304"/>
                <a:gd name="T67" fmla="*/ 145 h 300"/>
                <a:gd name="T68" fmla="*/ 96 w 304"/>
                <a:gd name="T69" fmla="*/ 118 h 300"/>
                <a:gd name="T70" fmla="*/ 145 w 304"/>
                <a:gd name="T71" fmla="*/ 108 h 300"/>
                <a:gd name="T72" fmla="*/ 133 w 304"/>
                <a:gd name="T73" fmla="*/ 263 h 300"/>
                <a:gd name="T74" fmla="*/ 140 w 304"/>
                <a:gd name="T75" fmla="*/ 243 h 300"/>
                <a:gd name="T76" fmla="*/ 120 w 304"/>
                <a:gd name="T77" fmla="*/ 206 h 300"/>
                <a:gd name="T78" fmla="*/ 125 w 304"/>
                <a:gd name="T79" fmla="*/ 179 h 300"/>
                <a:gd name="T80" fmla="*/ 147 w 304"/>
                <a:gd name="T81" fmla="*/ 34 h 300"/>
                <a:gd name="T82" fmla="*/ 142 w 304"/>
                <a:gd name="T83" fmla="*/ 15 h 300"/>
                <a:gd name="T84" fmla="*/ 164 w 304"/>
                <a:gd name="T85" fmla="*/ 20 h 300"/>
                <a:gd name="T86" fmla="*/ 155 w 304"/>
                <a:gd name="T87" fmla="*/ 37 h 300"/>
                <a:gd name="T88" fmla="*/ 169 w 304"/>
                <a:gd name="T89" fmla="*/ 265 h 300"/>
                <a:gd name="T90" fmla="*/ 189 w 304"/>
                <a:gd name="T91" fmla="*/ 194 h 300"/>
                <a:gd name="T92" fmla="*/ 157 w 304"/>
                <a:gd name="T93" fmla="*/ 172 h 300"/>
                <a:gd name="T94" fmla="*/ 204 w 304"/>
                <a:gd name="T95" fmla="*/ 137 h 300"/>
                <a:gd name="T96" fmla="*/ 160 w 304"/>
                <a:gd name="T97" fmla="*/ 108 h 300"/>
                <a:gd name="T98" fmla="*/ 201 w 304"/>
                <a:gd name="T99" fmla="*/ 123 h 300"/>
                <a:gd name="T100" fmla="*/ 189 w 304"/>
                <a:gd name="T101" fmla="*/ 96 h 300"/>
                <a:gd name="T102" fmla="*/ 199 w 304"/>
                <a:gd name="T103" fmla="*/ 113 h 300"/>
                <a:gd name="T104" fmla="*/ 282 w 304"/>
                <a:gd name="T105" fmla="*/ 64 h 300"/>
                <a:gd name="T106" fmla="*/ 228 w 304"/>
                <a:gd name="T107" fmla="*/ 44 h 300"/>
                <a:gd name="T108" fmla="*/ 255 w 304"/>
                <a:gd name="T109" fmla="*/ 71 h 300"/>
                <a:gd name="T110" fmla="*/ 211 w 304"/>
                <a:gd name="T111" fmla="*/ 69 h 300"/>
                <a:gd name="T112" fmla="*/ 211 w 304"/>
                <a:gd name="T113" fmla="*/ 76 h 300"/>
                <a:gd name="T114" fmla="*/ 204 w 304"/>
                <a:gd name="T115" fmla="*/ 88 h 300"/>
                <a:gd name="T116" fmla="*/ 164 w 304"/>
                <a:gd name="T117" fmla="*/ 96 h 300"/>
                <a:gd name="T118" fmla="*/ 201 w 304"/>
                <a:gd name="T119" fmla="*/ 42 h 300"/>
                <a:gd name="T120" fmla="*/ 209 w 304"/>
                <a:gd name="T121" fmla="*/ 15 h 300"/>
                <a:gd name="T122" fmla="*/ 255 w 304"/>
                <a:gd name="T123" fmla="*/ 3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4" h="300">
                  <a:moveTo>
                    <a:pt x="277" y="37"/>
                  </a:moveTo>
                  <a:lnTo>
                    <a:pt x="270" y="32"/>
                  </a:lnTo>
                  <a:lnTo>
                    <a:pt x="263" y="29"/>
                  </a:lnTo>
                  <a:lnTo>
                    <a:pt x="250" y="22"/>
                  </a:lnTo>
                  <a:lnTo>
                    <a:pt x="228" y="5"/>
                  </a:lnTo>
                  <a:lnTo>
                    <a:pt x="223" y="2"/>
                  </a:lnTo>
                  <a:lnTo>
                    <a:pt x="221" y="2"/>
                  </a:lnTo>
                  <a:lnTo>
                    <a:pt x="216" y="2"/>
                  </a:lnTo>
                  <a:lnTo>
                    <a:pt x="209" y="2"/>
                  </a:lnTo>
                  <a:lnTo>
                    <a:pt x="204" y="5"/>
                  </a:lnTo>
                  <a:lnTo>
                    <a:pt x="199" y="10"/>
                  </a:lnTo>
                  <a:lnTo>
                    <a:pt x="194" y="15"/>
                  </a:lnTo>
                  <a:lnTo>
                    <a:pt x="191" y="22"/>
                  </a:lnTo>
                  <a:lnTo>
                    <a:pt x="191" y="24"/>
                  </a:lnTo>
                  <a:lnTo>
                    <a:pt x="191" y="34"/>
                  </a:lnTo>
                  <a:lnTo>
                    <a:pt x="194" y="37"/>
                  </a:lnTo>
                  <a:lnTo>
                    <a:pt x="191" y="42"/>
                  </a:lnTo>
                  <a:lnTo>
                    <a:pt x="189" y="47"/>
                  </a:lnTo>
                  <a:lnTo>
                    <a:pt x="184" y="49"/>
                  </a:lnTo>
                  <a:lnTo>
                    <a:pt x="179" y="54"/>
                  </a:lnTo>
                  <a:lnTo>
                    <a:pt x="169" y="59"/>
                  </a:lnTo>
                  <a:lnTo>
                    <a:pt x="160" y="64"/>
                  </a:lnTo>
                  <a:lnTo>
                    <a:pt x="160" y="44"/>
                  </a:lnTo>
                  <a:lnTo>
                    <a:pt x="167" y="42"/>
                  </a:lnTo>
                  <a:lnTo>
                    <a:pt x="172" y="37"/>
                  </a:lnTo>
                  <a:lnTo>
                    <a:pt x="174" y="34"/>
                  </a:lnTo>
                  <a:lnTo>
                    <a:pt x="174" y="29"/>
                  </a:lnTo>
                  <a:lnTo>
                    <a:pt x="177" y="24"/>
                  </a:lnTo>
                  <a:lnTo>
                    <a:pt x="174" y="17"/>
                  </a:lnTo>
                  <a:lnTo>
                    <a:pt x="172" y="10"/>
                  </a:lnTo>
                  <a:lnTo>
                    <a:pt x="164" y="5"/>
                  </a:lnTo>
                  <a:lnTo>
                    <a:pt x="160" y="2"/>
                  </a:lnTo>
                  <a:lnTo>
                    <a:pt x="152" y="0"/>
                  </a:lnTo>
                  <a:lnTo>
                    <a:pt x="145" y="2"/>
                  </a:lnTo>
                  <a:lnTo>
                    <a:pt x="138" y="7"/>
                  </a:lnTo>
                  <a:lnTo>
                    <a:pt x="130" y="15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0" y="29"/>
                  </a:lnTo>
                  <a:lnTo>
                    <a:pt x="130" y="34"/>
                  </a:lnTo>
                  <a:lnTo>
                    <a:pt x="135" y="39"/>
                  </a:lnTo>
                  <a:lnTo>
                    <a:pt x="138" y="42"/>
                  </a:lnTo>
                  <a:lnTo>
                    <a:pt x="145" y="44"/>
                  </a:lnTo>
                  <a:lnTo>
                    <a:pt x="145" y="64"/>
                  </a:lnTo>
                  <a:lnTo>
                    <a:pt x="135" y="59"/>
                  </a:lnTo>
                  <a:lnTo>
                    <a:pt x="125" y="54"/>
                  </a:lnTo>
                  <a:lnTo>
                    <a:pt x="120" y="51"/>
                  </a:lnTo>
                  <a:lnTo>
                    <a:pt x="118" y="49"/>
                  </a:lnTo>
                  <a:lnTo>
                    <a:pt x="115" y="44"/>
                  </a:lnTo>
                  <a:lnTo>
                    <a:pt x="111" y="37"/>
                  </a:lnTo>
                  <a:lnTo>
                    <a:pt x="113" y="27"/>
                  </a:lnTo>
                  <a:lnTo>
                    <a:pt x="113" y="20"/>
                  </a:lnTo>
                  <a:lnTo>
                    <a:pt x="111" y="15"/>
                  </a:lnTo>
                  <a:lnTo>
                    <a:pt x="106" y="7"/>
                  </a:lnTo>
                  <a:lnTo>
                    <a:pt x="98" y="5"/>
                  </a:lnTo>
                  <a:lnTo>
                    <a:pt x="91" y="2"/>
                  </a:lnTo>
                  <a:lnTo>
                    <a:pt x="84" y="2"/>
                  </a:lnTo>
                  <a:lnTo>
                    <a:pt x="79" y="5"/>
                  </a:lnTo>
                  <a:lnTo>
                    <a:pt x="74" y="7"/>
                  </a:lnTo>
                  <a:lnTo>
                    <a:pt x="69" y="10"/>
                  </a:lnTo>
                  <a:lnTo>
                    <a:pt x="54" y="22"/>
                  </a:lnTo>
                  <a:lnTo>
                    <a:pt x="42" y="29"/>
                  </a:lnTo>
                  <a:lnTo>
                    <a:pt x="35" y="32"/>
                  </a:lnTo>
                  <a:lnTo>
                    <a:pt x="27" y="37"/>
                  </a:lnTo>
                  <a:lnTo>
                    <a:pt x="15" y="39"/>
                  </a:lnTo>
                  <a:lnTo>
                    <a:pt x="0" y="44"/>
                  </a:lnTo>
                  <a:lnTo>
                    <a:pt x="8" y="59"/>
                  </a:lnTo>
                  <a:lnTo>
                    <a:pt x="15" y="69"/>
                  </a:lnTo>
                  <a:lnTo>
                    <a:pt x="22" y="78"/>
                  </a:lnTo>
                  <a:lnTo>
                    <a:pt x="30" y="86"/>
                  </a:lnTo>
                  <a:lnTo>
                    <a:pt x="39" y="93"/>
                  </a:lnTo>
                  <a:lnTo>
                    <a:pt x="47" y="98"/>
                  </a:lnTo>
                  <a:lnTo>
                    <a:pt x="59" y="103"/>
                  </a:lnTo>
                  <a:lnTo>
                    <a:pt x="74" y="108"/>
                  </a:lnTo>
                  <a:lnTo>
                    <a:pt x="84" y="110"/>
                  </a:lnTo>
                  <a:lnTo>
                    <a:pt x="81" y="120"/>
                  </a:lnTo>
                  <a:lnTo>
                    <a:pt x="81" y="128"/>
                  </a:lnTo>
                  <a:lnTo>
                    <a:pt x="81" y="135"/>
                  </a:lnTo>
                  <a:lnTo>
                    <a:pt x="84" y="140"/>
                  </a:lnTo>
                  <a:lnTo>
                    <a:pt x="91" y="150"/>
                  </a:lnTo>
                  <a:lnTo>
                    <a:pt x="98" y="157"/>
                  </a:lnTo>
                  <a:lnTo>
                    <a:pt x="108" y="162"/>
                  </a:lnTo>
                  <a:lnTo>
                    <a:pt x="118" y="164"/>
                  </a:lnTo>
                  <a:lnTo>
                    <a:pt x="108" y="172"/>
                  </a:lnTo>
                  <a:lnTo>
                    <a:pt x="106" y="177"/>
                  </a:lnTo>
                  <a:lnTo>
                    <a:pt x="103" y="182"/>
                  </a:lnTo>
                  <a:lnTo>
                    <a:pt x="101" y="187"/>
                  </a:lnTo>
                  <a:lnTo>
                    <a:pt x="98" y="192"/>
                  </a:lnTo>
                  <a:lnTo>
                    <a:pt x="101" y="199"/>
                  </a:lnTo>
                  <a:lnTo>
                    <a:pt x="103" y="206"/>
                  </a:lnTo>
                  <a:lnTo>
                    <a:pt x="106" y="211"/>
                  </a:lnTo>
                  <a:lnTo>
                    <a:pt x="111" y="219"/>
                  </a:lnTo>
                  <a:lnTo>
                    <a:pt x="118" y="223"/>
                  </a:lnTo>
                  <a:lnTo>
                    <a:pt x="125" y="228"/>
                  </a:lnTo>
                  <a:lnTo>
                    <a:pt x="135" y="233"/>
                  </a:lnTo>
                  <a:lnTo>
                    <a:pt x="125" y="241"/>
                  </a:lnTo>
                  <a:lnTo>
                    <a:pt x="123" y="246"/>
                  </a:lnTo>
                  <a:lnTo>
                    <a:pt x="120" y="250"/>
                  </a:lnTo>
                  <a:lnTo>
                    <a:pt x="118" y="255"/>
                  </a:lnTo>
                  <a:lnTo>
                    <a:pt x="118" y="258"/>
                  </a:lnTo>
                  <a:lnTo>
                    <a:pt x="120" y="265"/>
                  </a:lnTo>
                  <a:lnTo>
                    <a:pt x="125" y="270"/>
                  </a:lnTo>
                  <a:lnTo>
                    <a:pt x="128" y="273"/>
                  </a:lnTo>
                  <a:lnTo>
                    <a:pt x="130" y="275"/>
                  </a:lnTo>
                  <a:lnTo>
                    <a:pt x="135" y="277"/>
                  </a:lnTo>
                  <a:lnTo>
                    <a:pt x="142" y="280"/>
                  </a:lnTo>
                  <a:lnTo>
                    <a:pt x="147" y="280"/>
                  </a:lnTo>
                  <a:lnTo>
                    <a:pt x="147" y="295"/>
                  </a:lnTo>
                  <a:lnTo>
                    <a:pt x="150" y="297"/>
                  </a:lnTo>
                  <a:lnTo>
                    <a:pt x="152" y="300"/>
                  </a:lnTo>
                  <a:lnTo>
                    <a:pt x="155" y="297"/>
                  </a:lnTo>
                  <a:lnTo>
                    <a:pt x="157" y="297"/>
                  </a:lnTo>
                  <a:lnTo>
                    <a:pt x="157" y="297"/>
                  </a:lnTo>
                  <a:lnTo>
                    <a:pt x="157" y="292"/>
                  </a:lnTo>
                  <a:lnTo>
                    <a:pt x="157" y="280"/>
                  </a:lnTo>
                  <a:lnTo>
                    <a:pt x="167" y="277"/>
                  </a:lnTo>
                  <a:lnTo>
                    <a:pt x="172" y="275"/>
                  </a:lnTo>
                  <a:lnTo>
                    <a:pt x="177" y="273"/>
                  </a:lnTo>
                  <a:lnTo>
                    <a:pt x="184" y="265"/>
                  </a:lnTo>
                  <a:lnTo>
                    <a:pt x="184" y="260"/>
                  </a:lnTo>
                  <a:lnTo>
                    <a:pt x="187" y="258"/>
                  </a:lnTo>
                  <a:lnTo>
                    <a:pt x="184" y="253"/>
                  </a:lnTo>
                  <a:lnTo>
                    <a:pt x="184" y="248"/>
                  </a:lnTo>
                  <a:lnTo>
                    <a:pt x="179" y="243"/>
                  </a:lnTo>
                  <a:lnTo>
                    <a:pt x="174" y="238"/>
                  </a:lnTo>
                  <a:lnTo>
                    <a:pt x="172" y="236"/>
                  </a:lnTo>
                  <a:lnTo>
                    <a:pt x="169" y="233"/>
                  </a:lnTo>
                  <a:lnTo>
                    <a:pt x="182" y="226"/>
                  </a:lnTo>
                  <a:lnTo>
                    <a:pt x="187" y="223"/>
                  </a:lnTo>
                  <a:lnTo>
                    <a:pt x="196" y="216"/>
                  </a:lnTo>
                  <a:lnTo>
                    <a:pt x="201" y="209"/>
                  </a:lnTo>
                  <a:lnTo>
                    <a:pt x="204" y="201"/>
                  </a:lnTo>
                  <a:lnTo>
                    <a:pt x="206" y="196"/>
                  </a:lnTo>
                  <a:lnTo>
                    <a:pt x="206" y="192"/>
                  </a:lnTo>
                  <a:lnTo>
                    <a:pt x="204" y="182"/>
                  </a:lnTo>
                  <a:lnTo>
                    <a:pt x="201" y="177"/>
                  </a:lnTo>
                  <a:lnTo>
                    <a:pt x="196" y="174"/>
                  </a:lnTo>
                  <a:lnTo>
                    <a:pt x="191" y="169"/>
                  </a:lnTo>
                  <a:lnTo>
                    <a:pt x="187" y="164"/>
                  </a:lnTo>
                  <a:lnTo>
                    <a:pt x="201" y="160"/>
                  </a:lnTo>
                  <a:lnTo>
                    <a:pt x="206" y="157"/>
                  </a:lnTo>
                  <a:lnTo>
                    <a:pt x="216" y="150"/>
                  </a:lnTo>
                  <a:lnTo>
                    <a:pt x="221" y="140"/>
                  </a:lnTo>
                  <a:lnTo>
                    <a:pt x="223" y="133"/>
                  </a:lnTo>
                  <a:lnTo>
                    <a:pt x="223" y="125"/>
                  </a:lnTo>
                  <a:lnTo>
                    <a:pt x="223" y="118"/>
                  </a:lnTo>
                  <a:lnTo>
                    <a:pt x="221" y="110"/>
                  </a:lnTo>
                  <a:lnTo>
                    <a:pt x="238" y="106"/>
                  </a:lnTo>
                  <a:lnTo>
                    <a:pt x="253" y="101"/>
                  </a:lnTo>
                  <a:lnTo>
                    <a:pt x="260" y="96"/>
                  </a:lnTo>
                  <a:lnTo>
                    <a:pt x="270" y="91"/>
                  </a:lnTo>
                  <a:lnTo>
                    <a:pt x="280" y="81"/>
                  </a:lnTo>
                  <a:lnTo>
                    <a:pt x="285" y="76"/>
                  </a:lnTo>
                  <a:lnTo>
                    <a:pt x="294" y="64"/>
                  </a:lnTo>
                  <a:lnTo>
                    <a:pt x="297" y="59"/>
                  </a:lnTo>
                  <a:lnTo>
                    <a:pt x="304" y="44"/>
                  </a:lnTo>
                  <a:lnTo>
                    <a:pt x="290" y="39"/>
                  </a:lnTo>
                  <a:lnTo>
                    <a:pt x="277" y="37"/>
                  </a:lnTo>
                  <a:close/>
                  <a:moveTo>
                    <a:pt x="93" y="98"/>
                  </a:moveTo>
                  <a:lnTo>
                    <a:pt x="91" y="101"/>
                  </a:lnTo>
                  <a:lnTo>
                    <a:pt x="74" y="98"/>
                  </a:lnTo>
                  <a:lnTo>
                    <a:pt x="62" y="93"/>
                  </a:lnTo>
                  <a:lnTo>
                    <a:pt x="84" y="83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6" y="71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1" y="66"/>
                  </a:lnTo>
                  <a:lnTo>
                    <a:pt x="88" y="69"/>
                  </a:lnTo>
                  <a:lnTo>
                    <a:pt x="74" y="76"/>
                  </a:lnTo>
                  <a:lnTo>
                    <a:pt x="59" y="83"/>
                  </a:lnTo>
                  <a:lnTo>
                    <a:pt x="49" y="86"/>
                  </a:lnTo>
                  <a:lnTo>
                    <a:pt x="42" y="83"/>
                  </a:lnTo>
                  <a:lnTo>
                    <a:pt x="35" y="76"/>
                  </a:lnTo>
                  <a:lnTo>
                    <a:pt x="54" y="69"/>
                  </a:lnTo>
                  <a:lnTo>
                    <a:pt x="64" y="64"/>
                  </a:lnTo>
                  <a:lnTo>
                    <a:pt x="81" y="54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49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4" y="47"/>
                  </a:lnTo>
                  <a:lnTo>
                    <a:pt x="57" y="54"/>
                  </a:lnTo>
                  <a:lnTo>
                    <a:pt x="44" y="61"/>
                  </a:lnTo>
                  <a:lnTo>
                    <a:pt x="27" y="69"/>
                  </a:lnTo>
                  <a:lnTo>
                    <a:pt x="20" y="61"/>
                  </a:lnTo>
                  <a:lnTo>
                    <a:pt x="15" y="51"/>
                  </a:lnTo>
                  <a:lnTo>
                    <a:pt x="27" y="47"/>
                  </a:lnTo>
                  <a:lnTo>
                    <a:pt x="39" y="42"/>
                  </a:lnTo>
                  <a:lnTo>
                    <a:pt x="52" y="34"/>
                  </a:lnTo>
                  <a:lnTo>
                    <a:pt x="64" y="29"/>
                  </a:lnTo>
                  <a:lnTo>
                    <a:pt x="81" y="15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93" y="12"/>
                  </a:lnTo>
                  <a:lnTo>
                    <a:pt x="96" y="15"/>
                  </a:lnTo>
                  <a:lnTo>
                    <a:pt x="98" y="17"/>
                  </a:lnTo>
                  <a:lnTo>
                    <a:pt x="101" y="20"/>
                  </a:lnTo>
                  <a:lnTo>
                    <a:pt x="103" y="24"/>
                  </a:lnTo>
                  <a:lnTo>
                    <a:pt x="103" y="27"/>
                  </a:lnTo>
                  <a:lnTo>
                    <a:pt x="103" y="29"/>
                  </a:lnTo>
                  <a:lnTo>
                    <a:pt x="101" y="37"/>
                  </a:lnTo>
                  <a:lnTo>
                    <a:pt x="103" y="44"/>
                  </a:lnTo>
                  <a:lnTo>
                    <a:pt x="108" y="51"/>
                  </a:lnTo>
                  <a:lnTo>
                    <a:pt x="113" y="59"/>
                  </a:lnTo>
                  <a:lnTo>
                    <a:pt x="120" y="64"/>
                  </a:lnTo>
                  <a:lnTo>
                    <a:pt x="130" y="69"/>
                  </a:lnTo>
                  <a:lnTo>
                    <a:pt x="145" y="74"/>
                  </a:lnTo>
                  <a:lnTo>
                    <a:pt x="145" y="98"/>
                  </a:lnTo>
                  <a:lnTo>
                    <a:pt x="130" y="88"/>
                  </a:lnTo>
                  <a:lnTo>
                    <a:pt x="123" y="86"/>
                  </a:lnTo>
                  <a:lnTo>
                    <a:pt x="115" y="83"/>
                  </a:lnTo>
                  <a:lnTo>
                    <a:pt x="113" y="83"/>
                  </a:lnTo>
                  <a:lnTo>
                    <a:pt x="106" y="86"/>
                  </a:lnTo>
                  <a:lnTo>
                    <a:pt x="101" y="88"/>
                  </a:lnTo>
                  <a:lnTo>
                    <a:pt x="98" y="91"/>
                  </a:lnTo>
                  <a:lnTo>
                    <a:pt x="93" y="93"/>
                  </a:lnTo>
                  <a:lnTo>
                    <a:pt x="93" y="98"/>
                  </a:lnTo>
                  <a:close/>
                  <a:moveTo>
                    <a:pt x="135" y="103"/>
                  </a:moveTo>
                  <a:lnTo>
                    <a:pt x="120" y="113"/>
                  </a:lnTo>
                  <a:lnTo>
                    <a:pt x="118" y="113"/>
                  </a:lnTo>
                  <a:lnTo>
                    <a:pt x="113" y="115"/>
                  </a:lnTo>
                  <a:lnTo>
                    <a:pt x="108" y="113"/>
                  </a:lnTo>
                  <a:lnTo>
                    <a:pt x="103" y="110"/>
                  </a:lnTo>
                  <a:lnTo>
                    <a:pt x="103" y="106"/>
                  </a:lnTo>
                  <a:lnTo>
                    <a:pt x="103" y="103"/>
                  </a:lnTo>
                  <a:lnTo>
                    <a:pt x="103" y="98"/>
                  </a:lnTo>
                  <a:lnTo>
                    <a:pt x="108" y="96"/>
                  </a:lnTo>
                  <a:lnTo>
                    <a:pt x="113" y="93"/>
                  </a:lnTo>
                  <a:lnTo>
                    <a:pt x="113" y="93"/>
                  </a:lnTo>
                  <a:lnTo>
                    <a:pt x="120" y="96"/>
                  </a:lnTo>
                  <a:lnTo>
                    <a:pt x="125" y="98"/>
                  </a:lnTo>
                  <a:lnTo>
                    <a:pt x="130" y="101"/>
                  </a:lnTo>
                  <a:lnTo>
                    <a:pt x="135" y="103"/>
                  </a:lnTo>
                  <a:close/>
                  <a:moveTo>
                    <a:pt x="113" y="147"/>
                  </a:moveTo>
                  <a:lnTo>
                    <a:pt x="108" y="145"/>
                  </a:lnTo>
                  <a:lnTo>
                    <a:pt x="103" y="142"/>
                  </a:lnTo>
                  <a:lnTo>
                    <a:pt x="98" y="135"/>
                  </a:lnTo>
                  <a:lnTo>
                    <a:pt x="96" y="130"/>
                  </a:lnTo>
                  <a:lnTo>
                    <a:pt x="96" y="128"/>
                  </a:lnTo>
                  <a:lnTo>
                    <a:pt x="96" y="125"/>
                  </a:lnTo>
                  <a:lnTo>
                    <a:pt x="96" y="123"/>
                  </a:lnTo>
                  <a:lnTo>
                    <a:pt x="96" y="118"/>
                  </a:lnTo>
                  <a:lnTo>
                    <a:pt x="108" y="123"/>
                  </a:lnTo>
                  <a:lnTo>
                    <a:pt x="113" y="125"/>
                  </a:lnTo>
                  <a:lnTo>
                    <a:pt x="123" y="123"/>
                  </a:lnTo>
                  <a:lnTo>
                    <a:pt x="125" y="120"/>
                  </a:lnTo>
                  <a:lnTo>
                    <a:pt x="130" y="118"/>
                  </a:lnTo>
                  <a:lnTo>
                    <a:pt x="138" y="113"/>
                  </a:lnTo>
                  <a:lnTo>
                    <a:pt x="145" y="108"/>
                  </a:lnTo>
                  <a:lnTo>
                    <a:pt x="145" y="155"/>
                  </a:lnTo>
                  <a:lnTo>
                    <a:pt x="120" y="150"/>
                  </a:lnTo>
                  <a:lnTo>
                    <a:pt x="113" y="147"/>
                  </a:lnTo>
                  <a:close/>
                  <a:moveTo>
                    <a:pt x="147" y="270"/>
                  </a:moveTo>
                  <a:lnTo>
                    <a:pt x="142" y="268"/>
                  </a:lnTo>
                  <a:lnTo>
                    <a:pt x="135" y="265"/>
                  </a:lnTo>
                  <a:lnTo>
                    <a:pt x="133" y="263"/>
                  </a:lnTo>
                  <a:lnTo>
                    <a:pt x="130" y="260"/>
                  </a:lnTo>
                  <a:lnTo>
                    <a:pt x="130" y="258"/>
                  </a:lnTo>
                  <a:lnTo>
                    <a:pt x="130" y="255"/>
                  </a:lnTo>
                  <a:lnTo>
                    <a:pt x="130" y="253"/>
                  </a:lnTo>
                  <a:lnTo>
                    <a:pt x="130" y="250"/>
                  </a:lnTo>
                  <a:lnTo>
                    <a:pt x="135" y="248"/>
                  </a:lnTo>
                  <a:lnTo>
                    <a:pt x="140" y="243"/>
                  </a:lnTo>
                  <a:lnTo>
                    <a:pt x="142" y="241"/>
                  </a:lnTo>
                  <a:lnTo>
                    <a:pt x="147" y="238"/>
                  </a:lnTo>
                  <a:lnTo>
                    <a:pt x="147" y="270"/>
                  </a:lnTo>
                  <a:close/>
                  <a:moveTo>
                    <a:pt x="147" y="221"/>
                  </a:moveTo>
                  <a:lnTo>
                    <a:pt x="130" y="214"/>
                  </a:lnTo>
                  <a:lnTo>
                    <a:pt x="123" y="209"/>
                  </a:lnTo>
                  <a:lnTo>
                    <a:pt x="120" y="206"/>
                  </a:lnTo>
                  <a:lnTo>
                    <a:pt x="115" y="201"/>
                  </a:lnTo>
                  <a:lnTo>
                    <a:pt x="115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8" y="184"/>
                  </a:lnTo>
                  <a:lnTo>
                    <a:pt x="123" y="179"/>
                  </a:lnTo>
                  <a:lnTo>
                    <a:pt x="125" y="179"/>
                  </a:lnTo>
                  <a:lnTo>
                    <a:pt x="133" y="174"/>
                  </a:lnTo>
                  <a:lnTo>
                    <a:pt x="142" y="172"/>
                  </a:lnTo>
                  <a:lnTo>
                    <a:pt x="147" y="172"/>
                  </a:lnTo>
                  <a:lnTo>
                    <a:pt x="147" y="221"/>
                  </a:lnTo>
                  <a:close/>
                  <a:moveTo>
                    <a:pt x="155" y="37"/>
                  </a:moveTo>
                  <a:lnTo>
                    <a:pt x="152" y="37"/>
                  </a:lnTo>
                  <a:lnTo>
                    <a:pt x="147" y="34"/>
                  </a:lnTo>
                  <a:lnTo>
                    <a:pt x="145" y="34"/>
                  </a:lnTo>
                  <a:lnTo>
                    <a:pt x="142" y="32"/>
                  </a:lnTo>
                  <a:lnTo>
                    <a:pt x="140" y="29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42" y="15"/>
                  </a:lnTo>
                  <a:lnTo>
                    <a:pt x="145" y="12"/>
                  </a:lnTo>
                  <a:lnTo>
                    <a:pt x="150" y="12"/>
                  </a:lnTo>
                  <a:lnTo>
                    <a:pt x="152" y="10"/>
                  </a:lnTo>
                  <a:lnTo>
                    <a:pt x="155" y="12"/>
                  </a:lnTo>
                  <a:lnTo>
                    <a:pt x="157" y="12"/>
                  </a:lnTo>
                  <a:lnTo>
                    <a:pt x="162" y="15"/>
                  </a:lnTo>
                  <a:lnTo>
                    <a:pt x="164" y="20"/>
                  </a:lnTo>
                  <a:lnTo>
                    <a:pt x="164" y="22"/>
                  </a:lnTo>
                  <a:lnTo>
                    <a:pt x="164" y="24"/>
                  </a:lnTo>
                  <a:lnTo>
                    <a:pt x="164" y="27"/>
                  </a:lnTo>
                  <a:lnTo>
                    <a:pt x="164" y="29"/>
                  </a:lnTo>
                  <a:lnTo>
                    <a:pt x="160" y="34"/>
                  </a:lnTo>
                  <a:lnTo>
                    <a:pt x="157" y="34"/>
                  </a:lnTo>
                  <a:lnTo>
                    <a:pt x="155" y="37"/>
                  </a:lnTo>
                  <a:close/>
                  <a:moveTo>
                    <a:pt x="169" y="246"/>
                  </a:moveTo>
                  <a:lnTo>
                    <a:pt x="172" y="250"/>
                  </a:lnTo>
                  <a:lnTo>
                    <a:pt x="174" y="253"/>
                  </a:lnTo>
                  <a:lnTo>
                    <a:pt x="174" y="255"/>
                  </a:lnTo>
                  <a:lnTo>
                    <a:pt x="174" y="260"/>
                  </a:lnTo>
                  <a:lnTo>
                    <a:pt x="172" y="263"/>
                  </a:lnTo>
                  <a:lnTo>
                    <a:pt x="169" y="265"/>
                  </a:lnTo>
                  <a:lnTo>
                    <a:pt x="162" y="268"/>
                  </a:lnTo>
                  <a:lnTo>
                    <a:pt x="157" y="270"/>
                  </a:lnTo>
                  <a:lnTo>
                    <a:pt x="157" y="238"/>
                  </a:lnTo>
                  <a:lnTo>
                    <a:pt x="169" y="246"/>
                  </a:lnTo>
                  <a:close/>
                  <a:moveTo>
                    <a:pt x="189" y="187"/>
                  </a:moveTo>
                  <a:lnTo>
                    <a:pt x="189" y="192"/>
                  </a:lnTo>
                  <a:lnTo>
                    <a:pt x="189" y="194"/>
                  </a:lnTo>
                  <a:lnTo>
                    <a:pt x="189" y="199"/>
                  </a:lnTo>
                  <a:lnTo>
                    <a:pt x="187" y="201"/>
                  </a:lnTo>
                  <a:lnTo>
                    <a:pt x="182" y="209"/>
                  </a:lnTo>
                  <a:lnTo>
                    <a:pt x="179" y="211"/>
                  </a:lnTo>
                  <a:lnTo>
                    <a:pt x="172" y="214"/>
                  </a:lnTo>
                  <a:lnTo>
                    <a:pt x="157" y="221"/>
                  </a:lnTo>
                  <a:lnTo>
                    <a:pt x="157" y="172"/>
                  </a:lnTo>
                  <a:lnTo>
                    <a:pt x="169" y="174"/>
                  </a:lnTo>
                  <a:lnTo>
                    <a:pt x="174" y="177"/>
                  </a:lnTo>
                  <a:lnTo>
                    <a:pt x="179" y="179"/>
                  </a:lnTo>
                  <a:lnTo>
                    <a:pt x="187" y="184"/>
                  </a:lnTo>
                  <a:lnTo>
                    <a:pt x="189" y="187"/>
                  </a:lnTo>
                  <a:close/>
                  <a:moveTo>
                    <a:pt x="209" y="133"/>
                  </a:moveTo>
                  <a:lnTo>
                    <a:pt x="204" y="137"/>
                  </a:lnTo>
                  <a:lnTo>
                    <a:pt x="201" y="142"/>
                  </a:lnTo>
                  <a:lnTo>
                    <a:pt x="194" y="145"/>
                  </a:lnTo>
                  <a:lnTo>
                    <a:pt x="191" y="147"/>
                  </a:lnTo>
                  <a:lnTo>
                    <a:pt x="184" y="150"/>
                  </a:lnTo>
                  <a:lnTo>
                    <a:pt x="174" y="152"/>
                  </a:lnTo>
                  <a:lnTo>
                    <a:pt x="160" y="155"/>
                  </a:lnTo>
                  <a:lnTo>
                    <a:pt x="160" y="108"/>
                  </a:lnTo>
                  <a:lnTo>
                    <a:pt x="167" y="113"/>
                  </a:lnTo>
                  <a:lnTo>
                    <a:pt x="174" y="118"/>
                  </a:lnTo>
                  <a:lnTo>
                    <a:pt x="182" y="123"/>
                  </a:lnTo>
                  <a:lnTo>
                    <a:pt x="191" y="125"/>
                  </a:lnTo>
                  <a:lnTo>
                    <a:pt x="191" y="125"/>
                  </a:lnTo>
                  <a:lnTo>
                    <a:pt x="196" y="123"/>
                  </a:lnTo>
                  <a:lnTo>
                    <a:pt x="201" y="123"/>
                  </a:lnTo>
                  <a:lnTo>
                    <a:pt x="209" y="118"/>
                  </a:lnTo>
                  <a:lnTo>
                    <a:pt x="209" y="125"/>
                  </a:lnTo>
                  <a:lnTo>
                    <a:pt x="209" y="133"/>
                  </a:lnTo>
                  <a:close/>
                  <a:moveTo>
                    <a:pt x="169" y="103"/>
                  </a:moveTo>
                  <a:lnTo>
                    <a:pt x="177" y="98"/>
                  </a:lnTo>
                  <a:lnTo>
                    <a:pt x="182" y="96"/>
                  </a:lnTo>
                  <a:lnTo>
                    <a:pt x="189" y="96"/>
                  </a:lnTo>
                  <a:lnTo>
                    <a:pt x="191" y="93"/>
                  </a:lnTo>
                  <a:lnTo>
                    <a:pt x="196" y="96"/>
                  </a:lnTo>
                  <a:lnTo>
                    <a:pt x="199" y="98"/>
                  </a:lnTo>
                  <a:lnTo>
                    <a:pt x="201" y="103"/>
                  </a:lnTo>
                  <a:lnTo>
                    <a:pt x="201" y="106"/>
                  </a:lnTo>
                  <a:lnTo>
                    <a:pt x="201" y="110"/>
                  </a:lnTo>
                  <a:lnTo>
                    <a:pt x="199" y="113"/>
                  </a:lnTo>
                  <a:lnTo>
                    <a:pt x="194" y="113"/>
                  </a:lnTo>
                  <a:lnTo>
                    <a:pt x="191" y="115"/>
                  </a:lnTo>
                  <a:lnTo>
                    <a:pt x="187" y="113"/>
                  </a:lnTo>
                  <a:lnTo>
                    <a:pt x="179" y="110"/>
                  </a:lnTo>
                  <a:lnTo>
                    <a:pt x="174" y="108"/>
                  </a:lnTo>
                  <a:lnTo>
                    <a:pt x="169" y="103"/>
                  </a:lnTo>
                  <a:close/>
                  <a:moveTo>
                    <a:pt x="282" y="64"/>
                  </a:moveTo>
                  <a:lnTo>
                    <a:pt x="277" y="69"/>
                  </a:lnTo>
                  <a:lnTo>
                    <a:pt x="265" y="64"/>
                  </a:lnTo>
                  <a:lnTo>
                    <a:pt x="253" y="59"/>
                  </a:lnTo>
                  <a:lnTo>
                    <a:pt x="243" y="51"/>
                  </a:lnTo>
                  <a:lnTo>
                    <a:pt x="231" y="44"/>
                  </a:lnTo>
                  <a:lnTo>
                    <a:pt x="228" y="44"/>
                  </a:lnTo>
                  <a:lnTo>
                    <a:pt x="228" y="44"/>
                  </a:lnTo>
                  <a:lnTo>
                    <a:pt x="226" y="47"/>
                  </a:lnTo>
                  <a:lnTo>
                    <a:pt x="223" y="49"/>
                  </a:lnTo>
                  <a:lnTo>
                    <a:pt x="223" y="51"/>
                  </a:lnTo>
                  <a:lnTo>
                    <a:pt x="223" y="54"/>
                  </a:lnTo>
                  <a:lnTo>
                    <a:pt x="226" y="54"/>
                  </a:lnTo>
                  <a:lnTo>
                    <a:pt x="240" y="64"/>
                  </a:lnTo>
                  <a:lnTo>
                    <a:pt x="255" y="71"/>
                  </a:lnTo>
                  <a:lnTo>
                    <a:pt x="270" y="76"/>
                  </a:lnTo>
                  <a:lnTo>
                    <a:pt x="260" y="83"/>
                  </a:lnTo>
                  <a:lnTo>
                    <a:pt x="255" y="86"/>
                  </a:lnTo>
                  <a:lnTo>
                    <a:pt x="240" y="81"/>
                  </a:lnTo>
                  <a:lnTo>
                    <a:pt x="226" y="74"/>
                  </a:lnTo>
                  <a:lnTo>
                    <a:pt x="214" y="69"/>
                  </a:lnTo>
                  <a:lnTo>
                    <a:pt x="211" y="69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9" y="74"/>
                  </a:lnTo>
                  <a:lnTo>
                    <a:pt x="209" y="76"/>
                  </a:lnTo>
                  <a:lnTo>
                    <a:pt x="211" y="76"/>
                  </a:lnTo>
                  <a:lnTo>
                    <a:pt x="231" y="88"/>
                  </a:lnTo>
                  <a:lnTo>
                    <a:pt x="243" y="93"/>
                  </a:lnTo>
                  <a:lnTo>
                    <a:pt x="223" y="98"/>
                  </a:lnTo>
                  <a:lnTo>
                    <a:pt x="214" y="101"/>
                  </a:lnTo>
                  <a:lnTo>
                    <a:pt x="211" y="93"/>
                  </a:lnTo>
                  <a:lnTo>
                    <a:pt x="206" y="91"/>
                  </a:lnTo>
                  <a:lnTo>
                    <a:pt x="204" y="88"/>
                  </a:lnTo>
                  <a:lnTo>
                    <a:pt x="199" y="86"/>
                  </a:lnTo>
                  <a:lnTo>
                    <a:pt x="194" y="83"/>
                  </a:lnTo>
                  <a:lnTo>
                    <a:pt x="191" y="83"/>
                  </a:lnTo>
                  <a:lnTo>
                    <a:pt x="187" y="83"/>
                  </a:lnTo>
                  <a:lnTo>
                    <a:pt x="179" y="86"/>
                  </a:lnTo>
                  <a:lnTo>
                    <a:pt x="169" y="93"/>
                  </a:lnTo>
                  <a:lnTo>
                    <a:pt x="164" y="96"/>
                  </a:lnTo>
                  <a:lnTo>
                    <a:pt x="160" y="98"/>
                  </a:lnTo>
                  <a:lnTo>
                    <a:pt x="160" y="74"/>
                  </a:lnTo>
                  <a:lnTo>
                    <a:pt x="174" y="69"/>
                  </a:lnTo>
                  <a:lnTo>
                    <a:pt x="184" y="64"/>
                  </a:lnTo>
                  <a:lnTo>
                    <a:pt x="191" y="59"/>
                  </a:lnTo>
                  <a:lnTo>
                    <a:pt x="199" y="49"/>
                  </a:lnTo>
                  <a:lnTo>
                    <a:pt x="201" y="42"/>
                  </a:lnTo>
                  <a:lnTo>
                    <a:pt x="204" y="37"/>
                  </a:lnTo>
                  <a:lnTo>
                    <a:pt x="201" y="27"/>
                  </a:lnTo>
                  <a:lnTo>
                    <a:pt x="201" y="24"/>
                  </a:lnTo>
                  <a:lnTo>
                    <a:pt x="204" y="20"/>
                  </a:lnTo>
                  <a:lnTo>
                    <a:pt x="204" y="17"/>
                  </a:lnTo>
                  <a:lnTo>
                    <a:pt x="206" y="17"/>
                  </a:lnTo>
                  <a:lnTo>
                    <a:pt x="209" y="15"/>
                  </a:lnTo>
                  <a:lnTo>
                    <a:pt x="214" y="12"/>
                  </a:lnTo>
                  <a:lnTo>
                    <a:pt x="216" y="12"/>
                  </a:lnTo>
                  <a:lnTo>
                    <a:pt x="221" y="12"/>
                  </a:lnTo>
                  <a:lnTo>
                    <a:pt x="226" y="15"/>
                  </a:lnTo>
                  <a:lnTo>
                    <a:pt x="233" y="20"/>
                  </a:lnTo>
                  <a:lnTo>
                    <a:pt x="250" y="34"/>
                  </a:lnTo>
                  <a:lnTo>
                    <a:pt x="255" y="37"/>
                  </a:lnTo>
                  <a:lnTo>
                    <a:pt x="265" y="42"/>
                  </a:lnTo>
                  <a:lnTo>
                    <a:pt x="272" y="47"/>
                  </a:lnTo>
                  <a:lnTo>
                    <a:pt x="282" y="49"/>
                  </a:lnTo>
                  <a:lnTo>
                    <a:pt x="290" y="51"/>
                  </a:lnTo>
                  <a:lnTo>
                    <a:pt x="282" y="6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9" name="Group 220">
            <a:extLst>
              <a:ext uri="{FF2B5EF4-FFF2-40B4-BE49-F238E27FC236}">
                <a16:creationId xmlns:a16="http://schemas.microsoft.com/office/drawing/2014/main" id="{083DA4D4-1309-4F30-BC99-98762AB11A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5563" y="4117975"/>
            <a:ext cx="841375" cy="839788"/>
            <a:chOff x="1635" y="2594"/>
            <a:chExt cx="530" cy="529"/>
          </a:xfrm>
        </p:grpSpPr>
        <p:sp>
          <p:nvSpPr>
            <p:cNvPr id="250" name="AutoShape 219">
              <a:extLst>
                <a:ext uri="{FF2B5EF4-FFF2-40B4-BE49-F238E27FC236}">
                  <a16:creationId xmlns:a16="http://schemas.microsoft.com/office/drawing/2014/main" id="{6AF60889-3B9F-4203-8BBE-33539CD4DA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5" y="259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221">
              <a:extLst>
                <a:ext uri="{FF2B5EF4-FFF2-40B4-BE49-F238E27FC236}">
                  <a16:creationId xmlns:a16="http://schemas.microsoft.com/office/drawing/2014/main" id="{AD2A04B0-FDC6-44A2-BFF3-6A896EAC7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5" y="25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222">
              <a:extLst>
                <a:ext uri="{FF2B5EF4-FFF2-40B4-BE49-F238E27FC236}">
                  <a16:creationId xmlns:a16="http://schemas.microsoft.com/office/drawing/2014/main" id="{17D7C457-6F09-4438-9E47-27C766C6F1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3" y="261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23">
              <a:extLst>
                <a:ext uri="{FF2B5EF4-FFF2-40B4-BE49-F238E27FC236}">
                  <a16:creationId xmlns:a16="http://schemas.microsoft.com/office/drawing/2014/main" id="{38B2D8E4-26AC-467E-8D50-19537C57C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3" y="2701"/>
              <a:ext cx="256" cy="315"/>
            </a:xfrm>
            <a:custGeom>
              <a:avLst/>
              <a:gdLst>
                <a:gd name="T0" fmla="*/ 213 w 256"/>
                <a:gd name="T1" fmla="*/ 315 h 315"/>
                <a:gd name="T2" fmla="*/ 190 w 256"/>
                <a:gd name="T3" fmla="*/ 171 h 315"/>
                <a:gd name="T4" fmla="*/ 208 w 256"/>
                <a:gd name="T5" fmla="*/ 148 h 315"/>
                <a:gd name="T6" fmla="*/ 215 w 256"/>
                <a:gd name="T7" fmla="*/ 123 h 315"/>
                <a:gd name="T8" fmla="*/ 215 w 256"/>
                <a:gd name="T9" fmla="*/ 102 h 315"/>
                <a:gd name="T10" fmla="*/ 208 w 256"/>
                <a:gd name="T11" fmla="*/ 79 h 315"/>
                <a:gd name="T12" fmla="*/ 172 w 256"/>
                <a:gd name="T13" fmla="*/ 13 h 315"/>
                <a:gd name="T14" fmla="*/ 146 w 256"/>
                <a:gd name="T15" fmla="*/ 3 h 315"/>
                <a:gd name="T16" fmla="*/ 128 w 256"/>
                <a:gd name="T17" fmla="*/ 0 h 315"/>
                <a:gd name="T18" fmla="*/ 95 w 256"/>
                <a:gd name="T19" fmla="*/ 5 h 315"/>
                <a:gd name="T20" fmla="*/ 80 w 256"/>
                <a:gd name="T21" fmla="*/ 18 h 315"/>
                <a:gd name="T22" fmla="*/ 72 w 256"/>
                <a:gd name="T23" fmla="*/ 28 h 315"/>
                <a:gd name="T24" fmla="*/ 41 w 256"/>
                <a:gd name="T25" fmla="*/ 102 h 315"/>
                <a:gd name="T26" fmla="*/ 44 w 256"/>
                <a:gd name="T27" fmla="*/ 125 h 315"/>
                <a:gd name="T28" fmla="*/ 54 w 256"/>
                <a:gd name="T29" fmla="*/ 154 h 315"/>
                <a:gd name="T30" fmla="*/ 67 w 256"/>
                <a:gd name="T31" fmla="*/ 171 h 315"/>
                <a:gd name="T32" fmla="*/ 44 w 256"/>
                <a:gd name="T33" fmla="*/ 315 h 315"/>
                <a:gd name="T34" fmla="*/ 182 w 256"/>
                <a:gd name="T35" fmla="*/ 72 h 315"/>
                <a:gd name="T36" fmla="*/ 197 w 256"/>
                <a:gd name="T37" fmla="*/ 97 h 315"/>
                <a:gd name="T38" fmla="*/ 200 w 256"/>
                <a:gd name="T39" fmla="*/ 115 h 315"/>
                <a:gd name="T40" fmla="*/ 192 w 256"/>
                <a:gd name="T41" fmla="*/ 141 h 315"/>
                <a:gd name="T42" fmla="*/ 179 w 256"/>
                <a:gd name="T43" fmla="*/ 161 h 315"/>
                <a:gd name="T44" fmla="*/ 169 w 256"/>
                <a:gd name="T45" fmla="*/ 90 h 315"/>
                <a:gd name="T46" fmla="*/ 182 w 256"/>
                <a:gd name="T47" fmla="*/ 72 h 315"/>
                <a:gd name="T48" fmla="*/ 103 w 256"/>
                <a:gd name="T49" fmla="*/ 85 h 315"/>
                <a:gd name="T50" fmla="*/ 141 w 256"/>
                <a:gd name="T51" fmla="*/ 85 h 315"/>
                <a:gd name="T52" fmla="*/ 128 w 256"/>
                <a:gd name="T53" fmla="*/ 113 h 315"/>
                <a:gd name="T54" fmla="*/ 87 w 256"/>
                <a:gd name="T55" fmla="*/ 31 h 315"/>
                <a:gd name="T56" fmla="*/ 103 w 256"/>
                <a:gd name="T57" fmla="*/ 21 h 315"/>
                <a:gd name="T58" fmla="*/ 115 w 256"/>
                <a:gd name="T59" fmla="*/ 16 h 315"/>
                <a:gd name="T60" fmla="*/ 128 w 256"/>
                <a:gd name="T61" fmla="*/ 16 h 315"/>
                <a:gd name="T62" fmla="*/ 146 w 256"/>
                <a:gd name="T63" fmla="*/ 18 h 315"/>
                <a:gd name="T64" fmla="*/ 164 w 256"/>
                <a:gd name="T65" fmla="*/ 26 h 315"/>
                <a:gd name="T66" fmla="*/ 172 w 256"/>
                <a:gd name="T67" fmla="*/ 41 h 315"/>
                <a:gd name="T68" fmla="*/ 172 w 256"/>
                <a:gd name="T69" fmla="*/ 54 h 315"/>
                <a:gd name="T70" fmla="*/ 164 w 256"/>
                <a:gd name="T71" fmla="*/ 72 h 315"/>
                <a:gd name="T72" fmla="*/ 144 w 256"/>
                <a:gd name="T73" fmla="*/ 74 h 315"/>
                <a:gd name="T74" fmla="*/ 110 w 256"/>
                <a:gd name="T75" fmla="*/ 74 h 315"/>
                <a:gd name="T76" fmla="*/ 87 w 256"/>
                <a:gd name="T77" fmla="*/ 64 h 315"/>
                <a:gd name="T78" fmla="*/ 82 w 256"/>
                <a:gd name="T79" fmla="*/ 46 h 315"/>
                <a:gd name="T80" fmla="*/ 62 w 256"/>
                <a:gd name="T81" fmla="*/ 136 h 315"/>
                <a:gd name="T82" fmla="*/ 56 w 256"/>
                <a:gd name="T83" fmla="*/ 118 h 315"/>
                <a:gd name="T84" fmla="*/ 56 w 256"/>
                <a:gd name="T85" fmla="*/ 105 h 315"/>
                <a:gd name="T86" fmla="*/ 62 w 256"/>
                <a:gd name="T87" fmla="*/ 87 h 315"/>
                <a:gd name="T88" fmla="*/ 82 w 256"/>
                <a:gd name="T89" fmla="*/ 82 h 315"/>
                <a:gd name="T90" fmla="*/ 110 w 256"/>
                <a:gd name="T91" fmla="*/ 115 h 315"/>
                <a:gd name="T92" fmla="*/ 238 w 256"/>
                <a:gd name="T93" fmla="*/ 240 h 315"/>
                <a:gd name="T94" fmla="*/ 77 w 256"/>
                <a:gd name="T95" fmla="*/ 161 h 315"/>
                <a:gd name="T96" fmla="*/ 62 w 256"/>
                <a:gd name="T97" fmla="*/ 136 h 315"/>
                <a:gd name="T98" fmla="*/ 118 w 256"/>
                <a:gd name="T99" fmla="*/ 223 h 315"/>
                <a:gd name="T100" fmla="*/ 18 w 256"/>
                <a:gd name="T101" fmla="*/ 24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15">
                  <a:moveTo>
                    <a:pt x="128" y="233"/>
                  </a:moveTo>
                  <a:lnTo>
                    <a:pt x="213" y="315"/>
                  </a:lnTo>
                  <a:lnTo>
                    <a:pt x="256" y="238"/>
                  </a:lnTo>
                  <a:lnTo>
                    <a:pt x="190" y="171"/>
                  </a:lnTo>
                  <a:lnTo>
                    <a:pt x="200" y="159"/>
                  </a:lnTo>
                  <a:lnTo>
                    <a:pt x="208" y="148"/>
                  </a:lnTo>
                  <a:lnTo>
                    <a:pt x="213" y="136"/>
                  </a:lnTo>
                  <a:lnTo>
                    <a:pt x="215" y="123"/>
                  </a:lnTo>
                  <a:lnTo>
                    <a:pt x="215" y="115"/>
                  </a:lnTo>
                  <a:lnTo>
                    <a:pt x="215" y="102"/>
                  </a:lnTo>
                  <a:lnTo>
                    <a:pt x="213" y="90"/>
                  </a:lnTo>
                  <a:lnTo>
                    <a:pt x="208" y="79"/>
                  </a:lnTo>
                  <a:lnTo>
                    <a:pt x="179" y="21"/>
                  </a:lnTo>
                  <a:lnTo>
                    <a:pt x="172" y="13"/>
                  </a:lnTo>
                  <a:lnTo>
                    <a:pt x="161" y="5"/>
                  </a:lnTo>
                  <a:lnTo>
                    <a:pt x="146" y="3"/>
                  </a:lnTo>
                  <a:lnTo>
                    <a:pt x="136" y="0"/>
                  </a:lnTo>
                  <a:lnTo>
                    <a:pt x="128" y="0"/>
                  </a:lnTo>
                  <a:lnTo>
                    <a:pt x="110" y="3"/>
                  </a:lnTo>
                  <a:lnTo>
                    <a:pt x="95" y="5"/>
                  </a:lnTo>
                  <a:lnTo>
                    <a:pt x="87" y="10"/>
                  </a:lnTo>
                  <a:lnTo>
                    <a:pt x="80" y="18"/>
                  </a:lnTo>
                  <a:lnTo>
                    <a:pt x="74" y="23"/>
                  </a:lnTo>
                  <a:lnTo>
                    <a:pt x="72" y="28"/>
                  </a:lnTo>
                  <a:lnTo>
                    <a:pt x="46" y="87"/>
                  </a:lnTo>
                  <a:lnTo>
                    <a:pt x="41" y="102"/>
                  </a:lnTo>
                  <a:lnTo>
                    <a:pt x="41" y="115"/>
                  </a:lnTo>
                  <a:lnTo>
                    <a:pt x="44" y="125"/>
                  </a:lnTo>
                  <a:lnTo>
                    <a:pt x="46" y="141"/>
                  </a:lnTo>
                  <a:lnTo>
                    <a:pt x="54" y="154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0" y="238"/>
                  </a:lnTo>
                  <a:lnTo>
                    <a:pt x="44" y="315"/>
                  </a:lnTo>
                  <a:lnTo>
                    <a:pt x="128" y="233"/>
                  </a:lnTo>
                  <a:close/>
                  <a:moveTo>
                    <a:pt x="182" y="72"/>
                  </a:moveTo>
                  <a:lnTo>
                    <a:pt x="185" y="67"/>
                  </a:lnTo>
                  <a:lnTo>
                    <a:pt x="197" y="97"/>
                  </a:lnTo>
                  <a:lnTo>
                    <a:pt x="200" y="108"/>
                  </a:lnTo>
                  <a:lnTo>
                    <a:pt x="200" y="115"/>
                  </a:lnTo>
                  <a:lnTo>
                    <a:pt x="197" y="128"/>
                  </a:lnTo>
                  <a:lnTo>
                    <a:pt x="192" y="141"/>
                  </a:lnTo>
                  <a:lnTo>
                    <a:pt x="187" y="154"/>
                  </a:lnTo>
                  <a:lnTo>
                    <a:pt x="179" y="161"/>
                  </a:lnTo>
                  <a:lnTo>
                    <a:pt x="138" y="123"/>
                  </a:lnTo>
                  <a:lnTo>
                    <a:pt x="169" y="90"/>
                  </a:lnTo>
                  <a:lnTo>
                    <a:pt x="177" y="77"/>
                  </a:lnTo>
                  <a:lnTo>
                    <a:pt x="182" y="72"/>
                  </a:lnTo>
                  <a:close/>
                  <a:moveTo>
                    <a:pt x="128" y="113"/>
                  </a:moveTo>
                  <a:lnTo>
                    <a:pt x="103" y="85"/>
                  </a:lnTo>
                  <a:lnTo>
                    <a:pt x="123" y="85"/>
                  </a:lnTo>
                  <a:lnTo>
                    <a:pt x="141" y="85"/>
                  </a:lnTo>
                  <a:lnTo>
                    <a:pt x="154" y="85"/>
                  </a:lnTo>
                  <a:lnTo>
                    <a:pt x="128" y="113"/>
                  </a:lnTo>
                  <a:close/>
                  <a:moveTo>
                    <a:pt x="85" y="39"/>
                  </a:moveTo>
                  <a:lnTo>
                    <a:pt x="87" y="31"/>
                  </a:lnTo>
                  <a:lnTo>
                    <a:pt x="92" y="26"/>
                  </a:lnTo>
                  <a:lnTo>
                    <a:pt x="103" y="21"/>
                  </a:lnTo>
                  <a:lnTo>
                    <a:pt x="105" y="18"/>
                  </a:lnTo>
                  <a:lnTo>
                    <a:pt x="115" y="16"/>
                  </a:lnTo>
                  <a:lnTo>
                    <a:pt x="126" y="16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6" y="18"/>
                  </a:lnTo>
                  <a:lnTo>
                    <a:pt x="156" y="21"/>
                  </a:lnTo>
                  <a:lnTo>
                    <a:pt x="164" y="26"/>
                  </a:lnTo>
                  <a:lnTo>
                    <a:pt x="169" y="33"/>
                  </a:lnTo>
                  <a:lnTo>
                    <a:pt x="172" y="41"/>
                  </a:lnTo>
                  <a:lnTo>
                    <a:pt x="174" y="46"/>
                  </a:lnTo>
                  <a:lnTo>
                    <a:pt x="172" y="54"/>
                  </a:lnTo>
                  <a:lnTo>
                    <a:pt x="169" y="64"/>
                  </a:lnTo>
                  <a:lnTo>
                    <a:pt x="164" y="72"/>
                  </a:lnTo>
                  <a:lnTo>
                    <a:pt x="159" y="77"/>
                  </a:lnTo>
                  <a:lnTo>
                    <a:pt x="144" y="74"/>
                  </a:lnTo>
                  <a:lnTo>
                    <a:pt x="128" y="74"/>
                  </a:lnTo>
                  <a:lnTo>
                    <a:pt x="110" y="74"/>
                  </a:lnTo>
                  <a:lnTo>
                    <a:pt x="97" y="77"/>
                  </a:lnTo>
                  <a:lnTo>
                    <a:pt x="87" y="64"/>
                  </a:lnTo>
                  <a:lnTo>
                    <a:pt x="85" y="56"/>
                  </a:lnTo>
                  <a:lnTo>
                    <a:pt x="82" y="46"/>
                  </a:lnTo>
                  <a:lnTo>
                    <a:pt x="85" y="39"/>
                  </a:lnTo>
                  <a:close/>
                  <a:moveTo>
                    <a:pt x="62" y="136"/>
                  </a:moveTo>
                  <a:lnTo>
                    <a:pt x="59" y="128"/>
                  </a:lnTo>
                  <a:lnTo>
                    <a:pt x="56" y="118"/>
                  </a:lnTo>
                  <a:lnTo>
                    <a:pt x="56" y="113"/>
                  </a:lnTo>
                  <a:lnTo>
                    <a:pt x="56" y="105"/>
                  </a:lnTo>
                  <a:lnTo>
                    <a:pt x="59" y="92"/>
                  </a:lnTo>
                  <a:lnTo>
                    <a:pt x="62" y="87"/>
                  </a:lnTo>
                  <a:lnTo>
                    <a:pt x="72" y="67"/>
                  </a:lnTo>
                  <a:lnTo>
                    <a:pt x="82" y="82"/>
                  </a:lnTo>
                  <a:lnTo>
                    <a:pt x="90" y="95"/>
                  </a:lnTo>
                  <a:lnTo>
                    <a:pt x="110" y="115"/>
                  </a:lnTo>
                  <a:lnTo>
                    <a:pt x="123" y="128"/>
                  </a:lnTo>
                  <a:lnTo>
                    <a:pt x="238" y="240"/>
                  </a:lnTo>
                  <a:lnTo>
                    <a:pt x="210" y="292"/>
                  </a:lnTo>
                  <a:lnTo>
                    <a:pt x="77" y="161"/>
                  </a:lnTo>
                  <a:lnTo>
                    <a:pt x="67" y="148"/>
                  </a:lnTo>
                  <a:lnTo>
                    <a:pt x="62" y="136"/>
                  </a:lnTo>
                  <a:close/>
                  <a:moveTo>
                    <a:pt x="77" y="184"/>
                  </a:moveTo>
                  <a:lnTo>
                    <a:pt x="118" y="223"/>
                  </a:lnTo>
                  <a:lnTo>
                    <a:pt x="46" y="292"/>
                  </a:lnTo>
                  <a:lnTo>
                    <a:pt x="18" y="240"/>
                  </a:lnTo>
                  <a:lnTo>
                    <a:pt x="77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4" name="Group 226">
            <a:extLst>
              <a:ext uri="{FF2B5EF4-FFF2-40B4-BE49-F238E27FC236}">
                <a16:creationId xmlns:a16="http://schemas.microsoft.com/office/drawing/2014/main" id="{8F5CA580-25D1-4750-ACDE-E6A163A692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3625" y="4157663"/>
            <a:ext cx="758825" cy="760412"/>
            <a:chOff x="2270" y="2619"/>
            <a:chExt cx="478" cy="479"/>
          </a:xfrm>
        </p:grpSpPr>
        <p:sp>
          <p:nvSpPr>
            <p:cNvPr id="255" name="AutoShape 225">
              <a:extLst>
                <a:ext uri="{FF2B5EF4-FFF2-40B4-BE49-F238E27FC236}">
                  <a16:creationId xmlns:a16="http://schemas.microsoft.com/office/drawing/2014/main" id="{0878DD31-4D3B-491E-83D2-2E0E00887A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0" y="2619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227">
              <a:extLst>
                <a:ext uri="{FF2B5EF4-FFF2-40B4-BE49-F238E27FC236}">
                  <a16:creationId xmlns:a16="http://schemas.microsoft.com/office/drawing/2014/main" id="{D0DEDF65-0904-4803-AD2F-30855601AD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2" y="2621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8">
              <a:extLst>
                <a:ext uri="{FF2B5EF4-FFF2-40B4-BE49-F238E27FC236}">
                  <a16:creationId xmlns:a16="http://schemas.microsoft.com/office/drawing/2014/main" id="{C773410E-6815-4C8B-A1E9-83C66C1C3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8" y="2707"/>
              <a:ext cx="245" cy="303"/>
            </a:xfrm>
            <a:custGeom>
              <a:avLst/>
              <a:gdLst>
                <a:gd name="T0" fmla="*/ 203 w 245"/>
                <a:gd name="T1" fmla="*/ 303 h 303"/>
                <a:gd name="T2" fmla="*/ 181 w 245"/>
                <a:gd name="T3" fmla="*/ 165 h 303"/>
                <a:gd name="T4" fmla="*/ 198 w 245"/>
                <a:gd name="T5" fmla="*/ 143 h 303"/>
                <a:gd name="T6" fmla="*/ 206 w 245"/>
                <a:gd name="T7" fmla="*/ 118 h 303"/>
                <a:gd name="T8" fmla="*/ 206 w 245"/>
                <a:gd name="T9" fmla="*/ 99 h 303"/>
                <a:gd name="T10" fmla="*/ 198 w 245"/>
                <a:gd name="T11" fmla="*/ 77 h 303"/>
                <a:gd name="T12" fmla="*/ 164 w 245"/>
                <a:gd name="T13" fmla="*/ 13 h 303"/>
                <a:gd name="T14" fmla="*/ 139 w 245"/>
                <a:gd name="T15" fmla="*/ 3 h 303"/>
                <a:gd name="T16" fmla="*/ 122 w 245"/>
                <a:gd name="T17" fmla="*/ 0 h 303"/>
                <a:gd name="T18" fmla="*/ 90 w 245"/>
                <a:gd name="T19" fmla="*/ 5 h 303"/>
                <a:gd name="T20" fmla="*/ 76 w 245"/>
                <a:gd name="T21" fmla="*/ 18 h 303"/>
                <a:gd name="T22" fmla="*/ 68 w 245"/>
                <a:gd name="T23" fmla="*/ 27 h 303"/>
                <a:gd name="T24" fmla="*/ 39 w 245"/>
                <a:gd name="T25" fmla="*/ 99 h 303"/>
                <a:gd name="T26" fmla="*/ 41 w 245"/>
                <a:gd name="T27" fmla="*/ 121 h 303"/>
                <a:gd name="T28" fmla="*/ 51 w 245"/>
                <a:gd name="T29" fmla="*/ 148 h 303"/>
                <a:gd name="T30" fmla="*/ 63 w 245"/>
                <a:gd name="T31" fmla="*/ 165 h 303"/>
                <a:gd name="T32" fmla="*/ 41 w 245"/>
                <a:gd name="T33" fmla="*/ 303 h 303"/>
                <a:gd name="T34" fmla="*/ 174 w 245"/>
                <a:gd name="T35" fmla="*/ 69 h 303"/>
                <a:gd name="T36" fmla="*/ 188 w 245"/>
                <a:gd name="T37" fmla="*/ 94 h 303"/>
                <a:gd name="T38" fmla="*/ 191 w 245"/>
                <a:gd name="T39" fmla="*/ 111 h 303"/>
                <a:gd name="T40" fmla="*/ 184 w 245"/>
                <a:gd name="T41" fmla="*/ 136 h 303"/>
                <a:gd name="T42" fmla="*/ 171 w 245"/>
                <a:gd name="T43" fmla="*/ 155 h 303"/>
                <a:gd name="T44" fmla="*/ 161 w 245"/>
                <a:gd name="T45" fmla="*/ 86 h 303"/>
                <a:gd name="T46" fmla="*/ 174 w 245"/>
                <a:gd name="T47" fmla="*/ 69 h 303"/>
                <a:gd name="T48" fmla="*/ 98 w 245"/>
                <a:gd name="T49" fmla="*/ 81 h 303"/>
                <a:gd name="T50" fmla="*/ 134 w 245"/>
                <a:gd name="T51" fmla="*/ 81 h 303"/>
                <a:gd name="T52" fmla="*/ 122 w 245"/>
                <a:gd name="T53" fmla="*/ 109 h 303"/>
                <a:gd name="T54" fmla="*/ 83 w 245"/>
                <a:gd name="T55" fmla="*/ 30 h 303"/>
                <a:gd name="T56" fmla="*/ 98 w 245"/>
                <a:gd name="T57" fmla="*/ 20 h 303"/>
                <a:gd name="T58" fmla="*/ 110 w 245"/>
                <a:gd name="T59" fmla="*/ 15 h 303"/>
                <a:gd name="T60" fmla="*/ 122 w 245"/>
                <a:gd name="T61" fmla="*/ 15 h 303"/>
                <a:gd name="T62" fmla="*/ 139 w 245"/>
                <a:gd name="T63" fmla="*/ 18 h 303"/>
                <a:gd name="T64" fmla="*/ 157 w 245"/>
                <a:gd name="T65" fmla="*/ 25 h 303"/>
                <a:gd name="T66" fmla="*/ 164 w 245"/>
                <a:gd name="T67" fmla="*/ 40 h 303"/>
                <a:gd name="T68" fmla="*/ 164 w 245"/>
                <a:gd name="T69" fmla="*/ 52 h 303"/>
                <a:gd name="T70" fmla="*/ 157 w 245"/>
                <a:gd name="T71" fmla="*/ 69 h 303"/>
                <a:gd name="T72" fmla="*/ 137 w 245"/>
                <a:gd name="T73" fmla="*/ 72 h 303"/>
                <a:gd name="T74" fmla="*/ 105 w 245"/>
                <a:gd name="T75" fmla="*/ 72 h 303"/>
                <a:gd name="T76" fmla="*/ 83 w 245"/>
                <a:gd name="T77" fmla="*/ 62 h 303"/>
                <a:gd name="T78" fmla="*/ 78 w 245"/>
                <a:gd name="T79" fmla="*/ 45 h 303"/>
                <a:gd name="T80" fmla="*/ 58 w 245"/>
                <a:gd name="T81" fmla="*/ 131 h 303"/>
                <a:gd name="T82" fmla="*/ 54 w 245"/>
                <a:gd name="T83" fmla="*/ 113 h 303"/>
                <a:gd name="T84" fmla="*/ 54 w 245"/>
                <a:gd name="T85" fmla="*/ 101 h 303"/>
                <a:gd name="T86" fmla="*/ 58 w 245"/>
                <a:gd name="T87" fmla="*/ 84 h 303"/>
                <a:gd name="T88" fmla="*/ 78 w 245"/>
                <a:gd name="T89" fmla="*/ 79 h 303"/>
                <a:gd name="T90" fmla="*/ 105 w 245"/>
                <a:gd name="T91" fmla="*/ 111 h 303"/>
                <a:gd name="T92" fmla="*/ 228 w 245"/>
                <a:gd name="T93" fmla="*/ 231 h 303"/>
                <a:gd name="T94" fmla="*/ 73 w 245"/>
                <a:gd name="T95" fmla="*/ 155 h 303"/>
                <a:gd name="T96" fmla="*/ 58 w 245"/>
                <a:gd name="T97" fmla="*/ 131 h 303"/>
                <a:gd name="T98" fmla="*/ 112 w 245"/>
                <a:gd name="T99" fmla="*/ 214 h 303"/>
                <a:gd name="T100" fmla="*/ 17 w 245"/>
                <a:gd name="T101" fmla="*/ 23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5" h="303">
                  <a:moveTo>
                    <a:pt x="122" y="224"/>
                  </a:moveTo>
                  <a:lnTo>
                    <a:pt x="203" y="303"/>
                  </a:lnTo>
                  <a:lnTo>
                    <a:pt x="245" y="229"/>
                  </a:lnTo>
                  <a:lnTo>
                    <a:pt x="181" y="165"/>
                  </a:lnTo>
                  <a:lnTo>
                    <a:pt x="191" y="153"/>
                  </a:lnTo>
                  <a:lnTo>
                    <a:pt x="198" y="143"/>
                  </a:lnTo>
                  <a:lnTo>
                    <a:pt x="203" y="131"/>
                  </a:lnTo>
                  <a:lnTo>
                    <a:pt x="206" y="118"/>
                  </a:lnTo>
                  <a:lnTo>
                    <a:pt x="206" y="111"/>
                  </a:lnTo>
                  <a:lnTo>
                    <a:pt x="206" y="99"/>
                  </a:lnTo>
                  <a:lnTo>
                    <a:pt x="203" y="86"/>
                  </a:lnTo>
                  <a:lnTo>
                    <a:pt x="198" y="77"/>
                  </a:lnTo>
                  <a:lnTo>
                    <a:pt x="171" y="20"/>
                  </a:lnTo>
                  <a:lnTo>
                    <a:pt x="164" y="13"/>
                  </a:lnTo>
                  <a:lnTo>
                    <a:pt x="154" y="5"/>
                  </a:lnTo>
                  <a:lnTo>
                    <a:pt x="139" y="3"/>
                  </a:lnTo>
                  <a:lnTo>
                    <a:pt x="130" y="0"/>
                  </a:lnTo>
                  <a:lnTo>
                    <a:pt x="122" y="0"/>
                  </a:lnTo>
                  <a:lnTo>
                    <a:pt x="105" y="3"/>
                  </a:lnTo>
                  <a:lnTo>
                    <a:pt x="90" y="5"/>
                  </a:lnTo>
                  <a:lnTo>
                    <a:pt x="83" y="10"/>
                  </a:lnTo>
                  <a:lnTo>
                    <a:pt x="76" y="18"/>
                  </a:lnTo>
                  <a:lnTo>
                    <a:pt x="71" y="23"/>
                  </a:lnTo>
                  <a:lnTo>
                    <a:pt x="68" y="27"/>
                  </a:lnTo>
                  <a:lnTo>
                    <a:pt x="44" y="84"/>
                  </a:lnTo>
                  <a:lnTo>
                    <a:pt x="39" y="99"/>
                  </a:lnTo>
                  <a:lnTo>
                    <a:pt x="39" y="111"/>
                  </a:lnTo>
                  <a:lnTo>
                    <a:pt x="41" y="121"/>
                  </a:lnTo>
                  <a:lnTo>
                    <a:pt x="44" y="136"/>
                  </a:lnTo>
                  <a:lnTo>
                    <a:pt x="51" y="148"/>
                  </a:lnTo>
                  <a:lnTo>
                    <a:pt x="56" y="155"/>
                  </a:lnTo>
                  <a:lnTo>
                    <a:pt x="63" y="165"/>
                  </a:lnTo>
                  <a:lnTo>
                    <a:pt x="0" y="229"/>
                  </a:lnTo>
                  <a:lnTo>
                    <a:pt x="41" y="303"/>
                  </a:lnTo>
                  <a:lnTo>
                    <a:pt x="122" y="224"/>
                  </a:lnTo>
                  <a:close/>
                  <a:moveTo>
                    <a:pt x="174" y="69"/>
                  </a:moveTo>
                  <a:lnTo>
                    <a:pt x="176" y="64"/>
                  </a:lnTo>
                  <a:lnTo>
                    <a:pt x="188" y="94"/>
                  </a:lnTo>
                  <a:lnTo>
                    <a:pt x="191" y="104"/>
                  </a:lnTo>
                  <a:lnTo>
                    <a:pt x="191" y="111"/>
                  </a:lnTo>
                  <a:lnTo>
                    <a:pt x="188" y="123"/>
                  </a:lnTo>
                  <a:lnTo>
                    <a:pt x="184" y="136"/>
                  </a:lnTo>
                  <a:lnTo>
                    <a:pt x="179" y="148"/>
                  </a:lnTo>
                  <a:lnTo>
                    <a:pt x="171" y="155"/>
                  </a:lnTo>
                  <a:lnTo>
                    <a:pt x="132" y="118"/>
                  </a:lnTo>
                  <a:lnTo>
                    <a:pt x="161" y="86"/>
                  </a:lnTo>
                  <a:lnTo>
                    <a:pt x="169" y="74"/>
                  </a:lnTo>
                  <a:lnTo>
                    <a:pt x="174" y="69"/>
                  </a:lnTo>
                  <a:close/>
                  <a:moveTo>
                    <a:pt x="122" y="109"/>
                  </a:moveTo>
                  <a:lnTo>
                    <a:pt x="98" y="81"/>
                  </a:lnTo>
                  <a:lnTo>
                    <a:pt x="117" y="81"/>
                  </a:lnTo>
                  <a:lnTo>
                    <a:pt x="134" y="81"/>
                  </a:lnTo>
                  <a:lnTo>
                    <a:pt x="147" y="81"/>
                  </a:lnTo>
                  <a:lnTo>
                    <a:pt x="122" y="109"/>
                  </a:lnTo>
                  <a:close/>
                  <a:moveTo>
                    <a:pt x="81" y="37"/>
                  </a:moveTo>
                  <a:lnTo>
                    <a:pt x="83" y="30"/>
                  </a:lnTo>
                  <a:lnTo>
                    <a:pt x="88" y="25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10" y="15"/>
                  </a:lnTo>
                  <a:lnTo>
                    <a:pt x="120" y="15"/>
                  </a:lnTo>
                  <a:lnTo>
                    <a:pt x="122" y="15"/>
                  </a:lnTo>
                  <a:lnTo>
                    <a:pt x="132" y="15"/>
                  </a:lnTo>
                  <a:lnTo>
                    <a:pt x="139" y="18"/>
                  </a:lnTo>
                  <a:lnTo>
                    <a:pt x="149" y="20"/>
                  </a:lnTo>
                  <a:lnTo>
                    <a:pt x="157" y="25"/>
                  </a:lnTo>
                  <a:lnTo>
                    <a:pt x="161" y="32"/>
                  </a:lnTo>
                  <a:lnTo>
                    <a:pt x="164" y="40"/>
                  </a:lnTo>
                  <a:lnTo>
                    <a:pt x="166" y="45"/>
                  </a:lnTo>
                  <a:lnTo>
                    <a:pt x="164" y="52"/>
                  </a:lnTo>
                  <a:lnTo>
                    <a:pt x="161" y="62"/>
                  </a:lnTo>
                  <a:lnTo>
                    <a:pt x="157" y="69"/>
                  </a:lnTo>
                  <a:lnTo>
                    <a:pt x="152" y="74"/>
                  </a:lnTo>
                  <a:lnTo>
                    <a:pt x="137" y="72"/>
                  </a:lnTo>
                  <a:lnTo>
                    <a:pt x="122" y="72"/>
                  </a:lnTo>
                  <a:lnTo>
                    <a:pt x="105" y="72"/>
                  </a:lnTo>
                  <a:lnTo>
                    <a:pt x="93" y="74"/>
                  </a:lnTo>
                  <a:lnTo>
                    <a:pt x="83" y="62"/>
                  </a:lnTo>
                  <a:lnTo>
                    <a:pt x="81" y="54"/>
                  </a:lnTo>
                  <a:lnTo>
                    <a:pt x="78" y="45"/>
                  </a:lnTo>
                  <a:lnTo>
                    <a:pt x="81" y="37"/>
                  </a:lnTo>
                  <a:close/>
                  <a:moveTo>
                    <a:pt x="58" y="131"/>
                  </a:moveTo>
                  <a:lnTo>
                    <a:pt x="56" y="123"/>
                  </a:lnTo>
                  <a:lnTo>
                    <a:pt x="54" y="113"/>
                  </a:lnTo>
                  <a:lnTo>
                    <a:pt x="54" y="109"/>
                  </a:lnTo>
                  <a:lnTo>
                    <a:pt x="54" y="101"/>
                  </a:lnTo>
                  <a:lnTo>
                    <a:pt x="56" y="89"/>
                  </a:lnTo>
                  <a:lnTo>
                    <a:pt x="58" y="84"/>
                  </a:lnTo>
                  <a:lnTo>
                    <a:pt x="68" y="64"/>
                  </a:lnTo>
                  <a:lnTo>
                    <a:pt x="78" y="79"/>
                  </a:lnTo>
                  <a:lnTo>
                    <a:pt x="85" y="91"/>
                  </a:lnTo>
                  <a:lnTo>
                    <a:pt x="105" y="111"/>
                  </a:lnTo>
                  <a:lnTo>
                    <a:pt x="117" y="123"/>
                  </a:lnTo>
                  <a:lnTo>
                    <a:pt x="228" y="231"/>
                  </a:lnTo>
                  <a:lnTo>
                    <a:pt x="201" y="280"/>
                  </a:lnTo>
                  <a:lnTo>
                    <a:pt x="73" y="155"/>
                  </a:lnTo>
                  <a:lnTo>
                    <a:pt x="63" y="143"/>
                  </a:lnTo>
                  <a:lnTo>
                    <a:pt x="58" y="131"/>
                  </a:lnTo>
                  <a:close/>
                  <a:moveTo>
                    <a:pt x="73" y="177"/>
                  </a:moveTo>
                  <a:lnTo>
                    <a:pt x="112" y="214"/>
                  </a:lnTo>
                  <a:lnTo>
                    <a:pt x="44" y="280"/>
                  </a:lnTo>
                  <a:lnTo>
                    <a:pt x="17" y="231"/>
                  </a:lnTo>
                  <a:lnTo>
                    <a:pt x="73" y="17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31">
            <a:extLst>
              <a:ext uri="{FF2B5EF4-FFF2-40B4-BE49-F238E27FC236}">
                <a16:creationId xmlns:a16="http://schemas.microsoft.com/office/drawing/2014/main" id="{9005F0A5-BEAD-47DF-8258-1AE7C67FF7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3925" y="4117975"/>
            <a:ext cx="842963" cy="839788"/>
            <a:chOff x="2982" y="2594"/>
            <a:chExt cx="531" cy="529"/>
          </a:xfrm>
        </p:grpSpPr>
        <p:sp>
          <p:nvSpPr>
            <p:cNvPr id="259" name="AutoShape 230">
              <a:extLst>
                <a:ext uri="{FF2B5EF4-FFF2-40B4-BE49-F238E27FC236}">
                  <a16:creationId xmlns:a16="http://schemas.microsoft.com/office/drawing/2014/main" id="{55795440-FCFE-44D1-A7C3-D2C2149DAB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2" y="2594"/>
              <a:ext cx="531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232">
              <a:extLst>
                <a:ext uri="{FF2B5EF4-FFF2-40B4-BE49-F238E27FC236}">
                  <a16:creationId xmlns:a16="http://schemas.microsoft.com/office/drawing/2014/main" id="{AE98711F-215D-4926-B449-F7769AEA0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" y="259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33">
              <a:extLst>
                <a:ext uri="{FF2B5EF4-FFF2-40B4-BE49-F238E27FC236}">
                  <a16:creationId xmlns:a16="http://schemas.microsoft.com/office/drawing/2014/main" id="{6644921B-BFE7-4BB0-98F8-FB77AFA898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0" y="2612"/>
              <a:ext cx="498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34">
              <a:extLst>
                <a:ext uri="{FF2B5EF4-FFF2-40B4-BE49-F238E27FC236}">
                  <a16:creationId xmlns:a16="http://schemas.microsoft.com/office/drawing/2014/main" id="{7B15DEFB-8C18-4178-9513-707424B05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3" y="2699"/>
              <a:ext cx="251" cy="327"/>
            </a:xfrm>
            <a:custGeom>
              <a:avLst/>
              <a:gdLst>
                <a:gd name="T0" fmla="*/ 246 w 251"/>
                <a:gd name="T1" fmla="*/ 314 h 327"/>
                <a:gd name="T2" fmla="*/ 167 w 251"/>
                <a:gd name="T3" fmla="*/ 242 h 327"/>
                <a:gd name="T4" fmla="*/ 221 w 251"/>
                <a:gd name="T5" fmla="*/ 230 h 327"/>
                <a:gd name="T6" fmla="*/ 221 w 251"/>
                <a:gd name="T7" fmla="*/ 225 h 327"/>
                <a:gd name="T8" fmla="*/ 223 w 251"/>
                <a:gd name="T9" fmla="*/ 225 h 327"/>
                <a:gd name="T10" fmla="*/ 226 w 251"/>
                <a:gd name="T11" fmla="*/ 222 h 327"/>
                <a:gd name="T12" fmla="*/ 223 w 251"/>
                <a:gd name="T13" fmla="*/ 138 h 327"/>
                <a:gd name="T14" fmla="*/ 195 w 251"/>
                <a:gd name="T15" fmla="*/ 97 h 327"/>
                <a:gd name="T16" fmla="*/ 139 w 251"/>
                <a:gd name="T17" fmla="*/ 0 h 327"/>
                <a:gd name="T18" fmla="*/ 36 w 251"/>
                <a:gd name="T19" fmla="*/ 25 h 327"/>
                <a:gd name="T20" fmla="*/ 33 w 251"/>
                <a:gd name="T21" fmla="*/ 127 h 327"/>
                <a:gd name="T22" fmla="*/ 23 w 251"/>
                <a:gd name="T23" fmla="*/ 202 h 327"/>
                <a:gd name="T24" fmla="*/ 28 w 251"/>
                <a:gd name="T25" fmla="*/ 225 h 327"/>
                <a:gd name="T26" fmla="*/ 31 w 251"/>
                <a:gd name="T27" fmla="*/ 227 h 327"/>
                <a:gd name="T28" fmla="*/ 85 w 251"/>
                <a:gd name="T29" fmla="*/ 242 h 327"/>
                <a:gd name="T30" fmla="*/ 0 w 251"/>
                <a:gd name="T31" fmla="*/ 314 h 327"/>
                <a:gd name="T32" fmla="*/ 3 w 251"/>
                <a:gd name="T33" fmla="*/ 319 h 327"/>
                <a:gd name="T34" fmla="*/ 10 w 251"/>
                <a:gd name="T35" fmla="*/ 322 h 327"/>
                <a:gd name="T36" fmla="*/ 87 w 251"/>
                <a:gd name="T37" fmla="*/ 294 h 327"/>
                <a:gd name="T38" fmla="*/ 123 w 251"/>
                <a:gd name="T39" fmla="*/ 322 h 327"/>
                <a:gd name="T40" fmla="*/ 123 w 251"/>
                <a:gd name="T41" fmla="*/ 327 h 327"/>
                <a:gd name="T42" fmla="*/ 131 w 251"/>
                <a:gd name="T43" fmla="*/ 327 h 327"/>
                <a:gd name="T44" fmla="*/ 128 w 251"/>
                <a:gd name="T45" fmla="*/ 322 h 327"/>
                <a:gd name="T46" fmla="*/ 241 w 251"/>
                <a:gd name="T47" fmla="*/ 322 h 327"/>
                <a:gd name="T48" fmla="*/ 246 w 251"/>
                <a:gd name="T49" fmla="*/ 319 h 327"/>
                <a:gd name="T50" fmla="*/ 44 w 251"/>
                <a:gd name="T51" fmla="*/ 28 h 327"/>
                <a:gd name="T52" fmla="*/ 115 w 251"/>
                <a:gd name="T53" fmla="*/ 7 h 327"/>
                <a:gd name="T54" fmla="*/ 185 w 251"/>
                <a:gd name="T55" fmla="*/ 18 h 327"/>
                <a:gd name="T56" fmla="*/ 151 w 251"/>
                <a:gd name="T57" fmla="*/ 79 h 327"/>
                <a:gd name="T58" fmla="*/ 67 w 251"/>
                <a:gd name="T59" fmla="*/ 89 h 327"/>
                <a:gd name="T60" fmla="*/ 67 w 251"/>
                <a:gd name="T61" fmla="*/ 214 h 327"/>
                <a:gd name="T62" fmla="*/ 36 w 251"/>
                <a:gd name="T63" fmla="*/ 156 h 327"/>
                <a:gd name="T64" fmla="*/ 67 w 251"/>
                <a:gd name="T65" fmla="*/ 104 h 327"/>
                <a:gd name="T66" fmla="*/ 126 w 251"/>
                <a:gd name="T67" fmla="*/ 89 h 327"/>
                <a:gd name="T68" fmla="*/ 192 w 251"/>
                <a:gd name="T69" fmla="*/ 112 h 327"/>
                <a:gd name="T70" fmla="*/ 215 w 251"/>
                <a:gd name="T71" fmla="*/ 168 h 327"/>
                <a:gd name="T72" fmla="*/ 190 w 251"/>
                <a:gd name="T73" fmla="*/ 191 h 327"/>
                <a:gd name="T74" fmla="*/ 164 w 251"/>
                <a:gd name="T75" fmla="*/ 145 h 327"/>
                <a:gd name="T76" fmla="*/ 115 w 251"/>
                <a:gd name="T77" fmla="*/ 140 h 327"/>
                <a:gd name="T78" fmla="*/ 62 w 251"/>
                <a:gd name="T79" fmla="*/ 176 h 327"/>
                <a:gd name="T80" fmla="*/ 126 w 251"/>
                <a:gd name="T81" fmla="*/ 309 h 327"/>
                <a:gd name="T82" fmla="*/ 123 w 251"/>
                <a:gd name="T83" fmla="*/ 258 h 327"/>
                <a:gd name="T84" fmla="*/ 159 w 251"/>
                <a:gd name="T85" fmla="*/ 281 h 327"/>
                <a:gd name="T86" fmla="*/ 128 w 251"/>
                <a:gd name="T87" fmla="*/ 250 h 327"/>
                <a:gd name="T88" fmla="*/ 87 w 251"/>
                <a:gd name="T89" fmla="*/ 235 h 327"/>
                <a:gd name="T90" fmla="*/ 69 w 251"/>
                <a:gd name="T91" fmla="*/ 184 h 327"/>
                <a:gd name="T92" fmla="*/ 113 w 251"/>
                <a:gd name="T93" fmla="*/ 148 h 327"/>
                <a:gd name="T94" fmla="*/ 177 w 251"/>
                <a:gd name="T95" fmla="*/ 156 h 327"/>
                <a:gd name="T96" fmla="*/ 174 w 251"/>
                <a:gd name="T97" fmla="*/ 21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1" h="327">
                  <a:moveTo>
                    <a:pt x="246" y="319"/>
                  </a:moveTo>
                  <a:lnTo>
                    <a:pt x="246" y="317"/>
                  </a:lnTo>
                  <a:lnTo>
                    <a:pt x="251" y="314"/>
                  </a:lnTo>
                  <a:lnTo>
                    <a:pt x="246" y="314"/>
                  </a:lnTo>
                  <a:lnTo>
                    <a:pt x="244" y="312"/>
                  </a:lnTo>
                  <a:lnTo>
                    <a:pt x="241" y="309"/>
                  </a:lnTo>
                  <a:lnTo>
                    <a:pt x="167" y="281"/>
                  </a:lnTo>
                  <a:lnTo>
                    <a:pt x="167" y="242"/>
                  </a:lnTo>
                  <a:lnTo>
                    <a:pt x="177" y="230"/>
                  </a:lnTo>
                  <a:lnTo>
                    <a:pt x="180" y="227"/>
                  </a:lnTo>
                  <a:lnTo>
                    <a:pt x="218" y="227"/>
                  </a:lnTo>
                  <a:lnTo>
                    <a:pt x="221" y="230"/>
                  </a:lnTo>
                  <a:lnTo>
                    <a:pt x="221" y="227"/>
                  </a:lnTo>
                  <a:lnTo>
                    <a:pt x="223" y="230"/>
                  </a:lnTo>
                  <a:lnTo>
                    <a:pt x="223" y="230"/>
                  </a:lnTo>
                  <a:lnTo>
                    <a:pt x="221" y="225"/>
                  </a:lnTo>
                  <a:lnTo>
                    <a:pt x="223" y="230"/>
                  </a:lnTo>
                  <a:lnTo>
                    <a:pt x="223" y="225"/>
                  </a:lnTo>
                  <a:lnTo>
                    <a:pt x="226" y="227"/>
                  </a:lnTo>
                  <a:lnTo>
                    <a:pt x="223" y="225"/>
                  </a:lnTo>
                  <a:lnTo>
                    <a:pt x="223" y="222"/>
                  </a:lnTo>
                  <a:lnTo>
                    <a:pt x="228" y="225"/>
                  </a:lnTo>
                  <a:lnTo>
                    <a:pt x="228" y="225"/>
                  </a:lnTo>
                  <a:lnTo>
                    <a:pt x="226" y="222"/>
                  </a:lnTo>
                  <a:lnTo>
                    <a:pt x="228" y="202"/>
                  </a:lnTo>
                  <a:lnTo>
                    <a:pt x="231" y="179"/>
                  </a:lnTo>
                  <a:lnTo>
                    <a:pt x="228" y="156"/>
                  </a:lnTo>
                  <a:lnTo>
                    <a:pt x="223" y="138"/>
                  </a:lnTo>
                  <a:lnTo>
                    <a:pt x="218" y="122"/>
                  </a:lnTo>
                  <a:lnTo>
                    <a:pt x="210" y="110"/>
                  </a:lnTo>
                  <a:lnTo>
                    <a:pt x="200" y="99"/>
                  </a:lnTo>
                  <a:lnTo>
                    <a:pt x="195" y="97"/>
                  </a:lnTo>
                  <a:lnTo>
                    <a:pt x="215" y="25"/>
                  </a:lnTo>
                  <a:lnTo>
                    <a:pt x="203" y="18"/>
                  </a:lnTo>
                  <a:lnTo>
                    <a:pt x="172" y="5"/>
                  </a:lnTo>
                  <a:lnTo>
                    <a:pt x="139" y="0"/>
                  </a:lnTo>
                  <a:lnTo>
                    <a:pt x="123" y="0"/>
                  </a:lnTo>
                  <a:lnTo>
                    <a:pt x="92" y="2"/>
                  </a:lnTo>
                  <a:lnTo>
                    <a:pt x="54" y="15"/>
                  </a:lnTo>
                  <a:lnTo>
                    <a:pt x="36" y="25"/>
                  </a:lnTo>
                  <a:lnTo>
                    <a:pt x="56" y="97"/>
                  </a:lnTo>
                  <a:lnTo>
                    <a:pt x="46" y="104"/>
                  </a:lnTo>
                  <a:lnTo>
                    <a:pt x="38" y="117"/>
                  </a:lnTo>
                  <a:lnTo>
                    <a:pt x="33" y="127"/>
                  </a:lnTo>
                  <a:lnTo>
                    <a:pt x="26" y="145"/>
                  </a:lnTo>
                  <a:lnTo>
                    <a:pt x="23" y="163"/>
                  </a:lnTo>
                  <a:lnTo>
                    <a:pt x="21" y="179"/>
                  </a:lnTo>
                  <a:lnTo>
                    <a:pt x="23" y="202"/>
                  </a:lnTo>
                  <a:lnTo>
                    <a:pt x="28" y="222"/>
                  </a:lnTo>
                  <a:lnTo>
                    <a:pt x="23" y="225"/>
                  </a:lnTo>
                  <a:lnTo>
                    <a:pt x="23" y="225"/>
                  </a:lnTo>
                  <a:lnTo>
                    <a:pt x="28" y="225"/>
                  </a:lnTo>
                  <a:lnTo>
                    <a:pt x="28" y="225"/>
                  </a:lnTo>
                  <a:lnTo>
                    <a:pt x="28" y="230"/>
                  </a:lnTo>
                  <a:lnTo>
                    <a:pt x="31" y="225"/>
                  </a:lnTo>
                  <a:lnTo>
                    <a:pt x="31" y="227"/>
                  </a:lnTo>
                  <a:lnTo>
                    <a:pt x="31" y="230"/>
                  </a:lnTo>
                  <a:lnTo>
                    <a:pt x="33" y="227"/>
                  </a:lnTo>
                  <a:lnTo>
                    <a:pt x="72" y="227"/>
                  </a:lnTo>
                  <a:lnTo>
                    <a:pt x="85" y="242"/>
                  </a:lnTo>
                  <a:lnTo>
                    <a:pt x="85" y="281"/>
                  </a:lnTo>
                  <a:lnTo>
                    <a:pt x="5" y="312"/>
                  </a:lnTo>
                  <a:lnTo>
                    <a:pt x="5" y="314"/>
                  </a:lnTo>
                  <a:lnTo>
                    <a:pt x="0" y="314"/>
                  </a:lnTo>
                  <a:lnTo>
                    <a:pt x="5" y="317"/>
                  </a:lnTo>
                  <a:lnTo>
                    <a:pt x="5" y="317"/>
                  </a:lnTo>
                  <a:lnTo>
                    <a:pt x="3" y="319"/>
                  </a:lnTo>
                  <a:lnTo>
                    <a:pt x="3" y="319"/>
                  </a:lnTo>
                  <a:lnTo>
                    <a:pt x="5" y="319"/>
                  </a:lnTo>
                  <a:lnTo>
                    <a:pt x="8" y="322"/>
                  </a:lnTo>
                  <a:lnTo>
                    <a:pt x="8" y="324"/>
                  </a:lnTo>
                  <a:lnTo>
                    <a:pt x="10" y="322"/>
                  </a:lnTo>
                  <a:lnTo>
                    <a:pt x="8" y="327"/>
                  </a:lnTo>
                  <a:lnTo>
                    <a:pt x="10" y="322"/>
                  </a:lnTo>
                  <a:lnTo>
                    <a:pt x="13" y="322"/>
                  </a:lnTo>
                  <a:lnTo>
                    <a:pt x="87" y="294"/>
                  </a:lnTo>
                  <a:lnTo>
                    <a:pt x="121" y="322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3" y="322"/>
                  </a:lnTo>
                  <a:lnTo>
                    <a:pt x="123" y="327"/>
                  </a:lnTo>
                  <a:lnTo>
                    <a:pt x="123" y="322"/>
                  </a:lnTo>
                  <a:lnTo>
                    <a:pt x="123" y="327"/>
                  </a:lnTo>
                  <a:lnTo>
                    <a:pt x="123" y="327"/>
                  </a:lnTo>
                  <a:lnTo>
                    <a:pt x="126" y="322"/>
                  </a:lnTo>
                  <a:lnTo>
                    <a:pt x="128" y="322"/>
                  </a:lnTo>
                  <a:lnTo>
                    <a:pt x="131" y="327"/>
                  </a:lnTo>
                  <a:lnTo>
                    <a:pt x="131" y="327"/>
                  </a:lnTo>
                  <a:lnTo>
                    <a:pt x="128" y="322"/>
                  </a:lnTo>
                  <a:lnTo>
                    <a:pt x="131" y="324"/>
                  </a:lnTo>
                  <a:lnTo>
                    <a:pt x="131" y="324"/>
                  </a:lnTo>
                  <a:lnTo>
                    <a:pt x="128" y="322"/>
                  </a:lnTo>
                  <a:lnTo>
                    <a:pt x="133" y="324"/>
                  </a:lnTo>
                  <a:lnTo>
                    <a:pt x="131" y="322"/>
                  </a:lnTo>
                  <a:lnTo>
                    <a:pt x="164" y="294"/>
                  </a:lnTo>
                  <a:lnTo>
                    <a:pt x="241" y="322"/>
                  </a:lnTo>
                  <a:lnTo>
                    <a:pt x="244" y="322"/>
                  </a:lnTo>
                  <a:lnTo>
                    <a:pt x="244" y="322"/>
                  </a:lnTo>
                  <a:lnTo>
                    <a:pt x="249" y="322"/>
                  </a:lnTo>
                  <a:lnTo>
                    <a:pt x="246" y="319"/>
                  </a:lnTo>
                  <a:lnTo>
                    <a:pt x="249" y="319"/>
                  </a:lnTo>
                  <a:lnTo>
                    <a:pt x="249" y="319"/>
                  </a:lnTo>
                  <a:lnTo>
                    <a:pt x="246" y="319"/>
                  </a:lnTo>
                  <a:close/>
                  <a:moveTo>
                    <a:pt x="44" y="28"/>
                  </a:moveTo>
                  <a:lnTo>
                    <a:pt x="62" y="20"/>
                  </a:lnTo>
                  <a:lnTo>
                    <a:pt x="80" y="12"/>
                  </a:lnTo>
                  <a:lnTo>
                    <a:pt x="100" y="7"/>
                  </a:lnTo>
                  <a:lnTo>
                    <a:pt x="115" y="7"/>
                  </a:lnTo>
                  <a:lnTo>
                    <a:pt x="126" y="7"/>
                  </a:lnTo>
                  <a:lnTo>
                    <a:pt x="146" y="7"/>
                  </a:lnTo>
                  <a:lnTo>
                    <a:pt x="167" y="12"/>
                  </a:lnTo>
                  <a:lnTo>
                    <a:pt x="185" y="18"/>
                  </a:lnTo>
                  <a:lnTo>
                    <a:pt x="208" y="28"/>
                  </a:lnTo>
                  <a:lnTo>
                    <a:pt x="187" y="92"/>
                  </a:lnTo>
                  <a:lnTo>
                    <a:pt x="169" y="84"/>
                  </a:lnTo>
                  <a:lnTo>
                    <a:pt x="151" y="79"/>
                  </a:lnTo>
                  <a:lnTo>
                    <a:pt x="128" y="76"/>
                  </a:lnTo>
                  <a:lnTo>
                    <a:pt x="103" y="79"/>
                  </a:lnTo>
                  <a:lnTo>
                    <a:pt x="82" y="84"/>
                  </a:lnTo>
                  <a:lnTo>
                    <a:pt x="67" y="89"/>
                  </a:lnTo>
                  <a:lnTo>
                    <a:pt x="64" y="92"/>
                  </a:lnTo>
                  <a:lnTo>
                    <a:pt x="44" y="28"/>
                  </a:lnTo>
                  <a:close/>
                  <a:moveTo>
                    <a:pt x="64" y="199"/>
                  </a:moveTo>
                  <a:lnTo>
                    <a:pt x="67" y="214"/>
                  </a:lnTo>
                  <a:lnTo>
                    <a:pt x="38" y="214"/>
                  </a:lnTo>
                  <a:lnTo>
                    <a:pt x="36" y="189"/>
                  </a:lnTo>
                  <a:lnTo>
                    <a:pt x="36" y="179"/>
                  </a:lnTo>
                  <a:lnTo>
                    <a:pt x="36" y="156"/>
                  </a:lnTo>
                  <a:lnTo>
                    <a:pt x="41" y="138"/>
                  </a:lnTo>
                  <a:lnTo>
                    <a:pt x="46" y="125"/>
                  </a:lnTo>
                  <a:lnTo>
                    <a:pt x="56" y="115"/>
                  </a:lnTo>
                  <a:lnTo>
                    <a:pt x="67" y="104"/>
                  </a:lnTo>
                  <a:lnTo>
                    <a:pt x="82" y="97"/>
                  </a:lnTo>
                  <a:lnTo>
                    <a:pt x="103" y="92"/>
                  </a:lnTo>
                  <a:lnTo>
                    <a:pt x="121" y="89"/>
                  </a:lnTo>
                  <a:lnTo>
                    <a:pt x="126" y="89"/>
                  </a:lnTo>
                  <a:lnTo>
                    <a:pt x="154" y="92"/>
                  </a:lnTo>
                  <a:lnTo>
                    <a:pt x="169" y="97"/>
                  </a:lnTo>
                  <a:lnTo>
                    <a:pt x="185" y="104"/>
                  </a:lnTo>
                  <a:lnTo>
                    <a:pt x="192" y="112"/>
                  </a:lnTo>
                  <a:lnTo>
                    <a:pt x="200" y="120"/>
                  </a:lnTo>
                  <a:lnTo>
                    <a:pt x="208" y="135"/>
                  </a:lnTo>
                  <a:lnTo>
                    <a:pt x="213" y="150"/>
                  </a:lnTo>
                  <a:lnTo>
                    <a:pt x="215" y="168"/>
                  </a:lnTo>
                  <a:lnTo>
                    <a:pt x="215" y="184"/>
                  </a:lnTo>
                  <a:lnTo>
                    <a:pt x="213" y="214"/>
                  </a:lnTo>
                  <a:lnTo>
                    <a:pt x="185" y="214"/>
                  </a:lnTo>
                  <a:lnTo>
                    <a:pt x="190" y="191"/>
                  </a:lnTo>
                  <a:lnTo>
                    <a:pt x="190" y="181"/>
                  </a:lnTo>
                  <a:lnTo>
                    <a:pt x="187" y="168"/>
                  </a:lnTo>
                  <a:lnTo>
                    <a:pt x="185" y="148"/>
                  </a:lnTo>
                  <a:lnTo>
                    <a:pt x="164" y="145"/>
                  </a:lnTo>
                  <a:lnTo>
                    <a:pt x="151" y="140"/>
                  </a:lnTo>
                  <a:lnTo>
                    <a:pt x="139" y="133"/>
                  </a:lnTo>
                  <a:lnTo>
                    <a:pt x="133" y="130"/>
                  </a:lnTo>
                  <a:lnTo>
                    <a:pt x="115" y="140"/>
                  </a:lnTo>
                  <a:lnTo>
                    <a:pt x="92" y="145"/>
                  </a:lnTo>
                  <a:lnTo>
                    <a:pt x="80" y="145"/>
                  </a:lnTo>
                  <a:lnTo>
                    <a:pt x="67" y="145"/>
                  </a:lnTo>
                  <a:lnTo>
                    <a:pt x="62" y="176"/>
                  </a:lnTo>
                  <a:lnTo>
                    <a:pt x="62" y="179"/>
                  </a:lnTo>
                  <a:lnTo>
                    <a:pt x="64" y="199"/>
                  </a:lnTo>
                  <a:close/>
                  <a:moveTo>
                    <a:pt x="159" y="281"/>
                  </a:moveTo>
                  <a:lnTo>
                    <a:pt x="126" y="309"/>
                  </a:lnTo>
                  <a:lnTo>
                    <a:pt x="92" y="281"/>
                  </a:lnTo>
                  <a:lnTo>
                    <a:pt x="92" y="250"/>
                  </a:lnTo>
                  <a:lnTo>
                    <a:pt x="113" y="258"/>
                  </a:lnTo>
                  <a:lnTo>
                    <a:pt x="123" y="258"/>
                  </a:lnTo>
                  <a:lnTo>
                    <a:pt x="146" y="255"/>
                  </a:lnTo>
                  <a:lnTo>
                    <a:pt x="154" y="253"/>
                  </a:lnTo>
                  <a:lnTo>
                    <a:pt x="159" y="250"/>
                  </a:lnTo>
                  <a:lnTo>
                    <a:pt x="159" y="281"/>
                  </a:lnTo>
                  <a:close/>
                  <a:moveTo>
                    <a:pt x="164" y="235"/>
                  </a:moveTo>
                  <a:lnTo>
                    <a:pt x="154" y="242"/>
                  </a:lnTo>
                  <a:lnTo>
                    <a:pt x="141" y="250"/>
                  </a:lnTo>
                  <a:lnTo>
                    <a:pt x="128" y="250"/>
                  </a:lnTo>
                  <a:lnTo>
                    <a:pt x="126" y="250"/>
                  </a:lnTo>
                  <a:lnTo>
                    <a:pt x="115" y="250"/>
                  </a:lnTo>
                  <a:lnTo>
                    <a:pt x="100" y="245"/>
                  </a:lnTo>
                  <a:lnTo>
                    <a:pt x="87" y="235"/>
                  </a:lnTo>
                  <a:lnTo>
                    <a:pt x="80" y="222"/>
                  </a:lnTo>
                  <a:lnTo>
                    <a:pt x="72" y="207"/>
                  </a:lnTo>
                  <a:lnTo>
                    <a:pt x="69" y="189"/>
                  </a:lnTo>
                  <a:lnTo>
                    <a:pt x="69" y="184"/>
                  </a:lnTo>
                  <a:lnTo>
                    <a:pt x="72" y="163"/>
                  </a:lnTo>
                  <a:lnTo>
                    <a:pt x="74" y="153"/>
                  </a:lnTo>
                  <a:lnTo>
                    <a:pt x="95" y="153"/>
                  </a:lnTo>
                  <a:lnTo>
                    <a:pt x="113" y="148"/>
                  </a:lnTo>
                  <a:lnTo>
                    <a:pt x="128" y="143"/>
                  </a:lnTo>
                  <a:lnTo>
                    <a:pt x="133" y="138"/>
                  </a:lnTo>
                  <a:lnTo>
                    <a:pt x="151" y="148"/>
                  </a:lnTo>
                  <a:lnTo>
                    <a:pt x="177" y="156"/>
                  </a:lnTo>
                  <a:lnTo>
                    <a:pt x="182" y="173"/>
                  </a:lnTo>
                  <a:lnTo>
                    <a:pt x="182" y="181"/>
                  </a:lnTo>
                  <a:lnTo>
                    <a:pt x="180" y="202"/>
                  </a:lnTo>
                  <a:lnTo>
                    <a:pt x="174" y="217"/>
                  </a:lnTo>
                  <a:lnTo>
                    <a:pt x="164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35">
              <a:extLst>
                <a:ext uri="{FF2B5EF4-FFF2-40B4-BE49-F238E27FC236}">
                  <a16:creationId xmlns:a16="http://schemas.microsoft.com/office/drawing/2014/main" id="{B506AD36-5F5A-4894-A022-319FE0146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2722"/>
              <a:ext cx="41" cy="38"/>
            </a:xfrm>
            <a:custGeom>
              <a:avLst/>
              <a:gdLst>
                <a:gd name="T0" fmla="*/ 16 w 41"/>
                <a:gd name="T1" fmla="*/ 0 h 38"/>
                <a:gd name="T2" fmla="*/ 16 w 41"/>
                <a:gd name="T3" fmla="*/ 15 h 38"/>
                <a:gd name="T4" fmla="*/ 0 w 41"/>
                <a:gd name="T5" fmla="*/ 15 h 38"/>
                <a:gd name="T6" fmla="*/ 0 w 41"/>
                <a:gd name="T7" fmla="*/ 23 h 38"/>
                <a:gd name="T8" fmla="*/ 16 w 41"/>
                <a:gd name="T9" fmla="*/ 23 h 38"/>
                <a:gd name="T10" fmla="*/ 16 w 41"/>
                <a:gd name="T11" fmla="*/ 38 h 38"/>
                <a:gd name="T12" fmla="*/ 26 w 41"/>
                <a:gd name="T13" fmla="*/ 38 h 38"/>
                <a:gd name="T14" fmla="*/ 26 w 41"/>
                <a:gd name="T15" fmla="*/ 23 h 38"/>
                <a:gd name="T16" fmla="*/ 41 w 41"/>
                <a:gd name="T17" fmla="*/ 23 h 38"/>
                <a:gd name="T18" fmla="*/ 41 w 41"/>
                <a:gd name="T19" fmla="*/ 15 h 38"/>
                <a:gd name="T20" fmla="*/ 26 w 41"/>
                <a:gd name="T21" fmla="*/ 15 h 38"/>
                <a:gd name="T22" fmla="*/ 26 w 41"/>
                <a:gd name="T23" fmla="*/ 0 h 38"/>
                <a:gd name="T24" fmla="*/ 16 w 41"/>
                <a:gd name="T2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38">
                  <a:moveTo>
                    <a:pt x="16" y="0"/>
                  </a:moveTo>
                  <a:lnTo>
                    <a:pt x="16" y="15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38"/>
                  </a:lnTo>
                  <a:lnTo>
                    <a:pt x="26" y="38"/>
                  </a:lnTo>
                  <a:lnTo>
                    <a:pt x="26" y="23"/>
                  </a:lnTo>
                  <a:lnTo>
                    <a:pt x="41" y="23"/>
                  </a:lnTo>
                  <a:lnTo>
                    <a:pt x="41" y="15"/>
                  </a:lnTo>
                  <a:lnTo>
                    <a:pt x="26" y="15"/>
                  </a:lnTo>
                  <a:lnTo>
                    <a:pt x="2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236">
              <a:extLst>
                <a:ext uri="{FF2B5EF4-FFF2-40B4-BE49-F238E27FC236}">
                  <a16:creationId xmlns:a16="http://schemas.microsoft.com/office/drawing/2014/main" id="{9B1FC223-958D-40E4-AF7E-E107C46DB1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6" y="292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237">
              <a:extLst>
                <a:ext uri="{FF2B5EF4-FFF2-40B4-BE49-F238E27FC236}">
                  <a16:creationId xmlns:a16="http://schemas.microsoft.com/office/drawing/2014/main" id="{CE3E6A69-2381-4ED0-998E-F8C041B42D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1" y="292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38">
              <a:extLst>
                <a:ext uri="{FF2B5EF4-FFF2-40B4-BE49-F238E27FC236}">
                  <a16:creationId xmlns:a16="http://schemas.microsoft.com/office/drawing/2014/main" id="{A6070BB4-CA3A-4507-AE9C-7EC4370F0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9" y="2926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239">
              <a:extLst>
                <a:ext uri="{FF2B5EF4-FFF2-40B4-BE49-F238E27FC236}">
                  <a16:creationId xmlns:a16="http://schemas.microsoft.com/office/drawing/2014/main" id="{F8A12AAD-E8A5-4B54-91CE-7C95D4464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6" y="292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8" name="Group 242">
            <a:extLst>
              <a:ext uri="{FF2B5EF4-FFF2-40B4-BE49-F238E27FC236}">
                <a16:creationId xmlns:a16="http://schemas.microsoft.com/office/drawing/2014/main" id="{3AA0BFFF-6D02-4576-B3E2-FC7F812825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7713" y="4157663"/>
            <a:ext cx="758825" cy="760412"/>
            <a:chOff x="3671" y="2619"/>
            <a:chExt cx="478" cy="479"/>
          </a:xfrm>
        </p:grpSpPr>
        <p:sp>
          <p:nvSpPr>
            <p:cNvPr id="269" name="AutoShape 241">
              <a:extLst>
                <a:ext uri="{FF2B5EF4-FFF2-40B4-BE49-F238E27FC236}">
                  <a16:creationId xmlns:a16="http://schemas.microsoft.com/office/drawing/2014/main" id="{BE75E05D-EC85-4D4E-8668-B5C7657723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71" y="2619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43">
              <a:extLst>
                <a:ext uri="{FF2B5EF4-FFF2-40B4-BE49-F238E27FC236}">
                  <a16:creationId xmlns:a16="http://schemas.microsoft.com/office/drawing/2014/main" id="{8251729E-2864-4E2F-9C52-5E4106702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3" y="2621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44">
              <a:extLst>
                <a:ext uri="{FF2B5EF4-FFF2-40B4-BE49-F238E27FC236}">
                  <a16:creationId xmlns:a16="http://schemas.microsoft.com/office/drawing/2014/main" id="{133CB9D8-B726-41CB-BAFB-F06D5E0FF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1" y="2705"/>
              <a:ext cx="240" cy="314"/>
            </a:xfrm>
            <a:custGeom>
              <a:avLst/>
              <a:gdLst>
                <a:gd name="T0" fmla="*/ 235 w 240"/>
                <a:gd name="T1" fmla="*/ 302 h 314"/>
                <a:gd name="T2" fmla="*/ 159 w 240"/>
                <a:gd name="T3" fmla="*/ 233 h 314"/>
                <a:gd name="T4" fmla="*/ 211 w 240"/>
                <a:gd name="T5" fmla="*/ 221 h 314"/>
                <a:gd name="T6" fmla="*/ 211 w 240"/>
                <a:gd name="T7" fmla="*/ 216 h 314"/>
                <a:gd name="T8" fmla="*/ 213 w 240"/>
                <a:gd name="T9" fmla="*/ 216 h 314"/>
                <a:gd name="T10" fmla="*/ 216 w 240"/>
                <a:gd name="T11" fmla="*/ 214 h 314"/>
                <a:gd name="T12" fmla="*/ 213 w 240"/>
                <a:gd name="T13" fmla="*/ 133 h 314"/>
                <a:gd name="T14" fmla="*/ 186 w 240"/>
                <a:gd name="T15" fmla="*/ 93 h 314"/>
                <a:gd name="T16" fmla="*/ 132 w 240"/>
                <a:gd name="T17" fmla="*/ 0 h 314"/>
                <a:gd name="T18" fmla="*/ 34 w 240"/>
                <a:gd name="T19" fmla="*/ 25 h 314"/>
                <a:gd name="T20" fmla="*/ 32 w 240"/>
                <a:gd name="T21" fmla="*/ 123 h 314"/>
                <a:gd name="T22" fmla="*/ 22 w 240"/>
                <a:gd name="T23" fmla="*/ 194 h 314"/>
                <a:gd name="T24" fmla="*/ 27 w 240"/>
                <a:gd name="T25" fmla="*/ 216 h 314"/>
                <a:gd name="T26" fmla="*/ 30 w 240"/>
                <a:gd name="T27" fmla="*/ 219 h 314"/>
                <a:gd name="T28" fmla="*/ 81 w 240"/>
                <a:gd name="T29" fmla="*/ 233 h 314"/>
                <a:gd name="T30" fmla="*/ 0 w 240"/>
                <a:gd name="T31" fmla="*/ 302 h 314"/>
                <a:gd name="T32" fmla="*/ 3 w 240"/>
                <a:gd name="T33" fmla="*/ 307 h 314"/>
                <a:gd name="T34" fmla="*/ 10 w 240"/>
                <a:gd name="T35" fmla="*/ 310 h 314"/>
                <a:gd name="T36" fmla="*/ 83 w 240"/>
                <a:gd name="T37" fmla="*/ 282 h 314"/>
                <a:gd name="T38" fmla="*/ 118 w 240"/>
                <a:gd name="T39" fmla="*/ 310 h 314"/>
                <a:gd name="T40" fmla="*/ 118 w 240"/>
                <a:gd name="T41" fmla="*/ 314 h 314"/>
                <a:gd name="T42" fmla="*/ 125 w 240"/>
                <a:gd name="T43" fmla="*/ 314 h 314"/>
                <a:gd name="T44" fmla="*/ 123 w 240"/>
                <a:gd name="T45" fmla="*/ 310 h 314"/>
                <a:gd name="T46" fmla="*/ 231 w 240"/>
                <a:gd name="T47" fmla="*/ 310 h 314"/>
                <a:gd name="T48" fmla="*/ 235 w 240"/>
                <a:gd name="T49" fmla="*/ 307 h 314"/>
                <a:gd name="T50" fmla="*/ 42 w 240"/>
                <a:gd name="T51" fmla="*/ 27 h 314"/>
                <a:gd name="T52" fmla="*/ 110 w 240"/>
                <a:gd name="T53" fmla="*/ 7 h 314"/>
                <a:gd name="T54" fmla="*/ 177 w 240"/>
                <a:gd name="T55" fmla="*/ 17 h 314"/>
                <a:gd name="T56" fmla="*/ 145 w 240"/>
                <a:gd name="T57" fmla="*/ 76 h 314"/>
                <a:gd name="T58" fmla="*/ 64 w 240"/>
                <a:gd name="T59" fmla="*/ 86 h 314"/>
                <a:gd name="T60" fmla="*/ 64 w 240"/>
                <a:gd name="T61" fmla="*/ 206 h 314"/>
                <a:gd name="T62" fmla="*/ 34 w 240"/>
                <a:gd name="T63" fmla="*/ 150 h 314"/>
                <a:gd name="T64" fmla="*/ 64 w 240"/>
                <a:gd name="T65" fmla="*/ 101 h 314"/>
                <a:gd name="T66" fmla="*/ 120 w 240"/>
                <a:gd name="T67" fmla="*/ 86 h 314"/>
                <a:gd name="T68" fmla="*/ 184 w 240"/>
                <a:gd name="T69" fmla="*/ 108 h 314"/>
                <a:gd name="T70" fmla="*/ 206 w 240"/>
                <a:gd name="T71" fmla="*/ 162 h 314"/>
                <a:gd name="T72" fmla="*/ 182 w 240"/>
                <a:gd name="T73" fmla="*/ 184 h 314"/>
                <a:gd name="T74" fmla="*/ 157 w 240"/>
                <a:gd name="T75" fmla="*/ 140 h 314"/>
                <a:gd name="T76" fmla="*/ 110 w 240"/>
                <a:gd name="T77" fmla="*/ 135 h 314"/>
                <a:gd name="T78" fmla="*/ 59 w 240"/>
                <a:gd name="T79" fmla="*/ 169 h 314"/>
                <a:gd name="T80" fmla="*/ 120 w 240"/>
                <a:gd name="T81" fmla="*/ 297 h 314"/>
                <a:gd name="T82" fmla="*/ 118 w 240"/>
                <a:gd name="T83" fmla="*/ 248 h 314"/>
                <a:gd name="T84" fmla="*/ 152 w 240"/>
                <a:gd name="T85" fmla="*/ 270 h 314"/>
                <a:gd name="T86" fmla="*/ 123 w 240"/>
                <a:gd name="T87" fmla="*/ 241 h 314"/>
                <a:gd name="T88" fmla="*/ 83 w 240"/>
                <a:gd name="T89" fmla="*/ 226 h 314"/>
                <a:gd name="T90" fmla="*/ 66 w 240"/>
                <a:gd name="T91" fmla="*/ 177 h 314"/>
                <a:gd name="T92" fmla="*/ 108 w 240"/>
                <a:gd name="T93" fmla="*/ 142 h 314"/>
                <a:gd name="T94" fmla="*/ 169 w 240"/>
                <a:gd name="T95" fmla="*/ 150 h 314"/>
                <a:gd name="T96" fmla="*/ 167 w 240"/>
                <a:gd name="T97" fmla="*/ 209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314">
                  <a:moveTo>
                    <a:pt x="235" y="307"/>
                  </a:moveTo>
                  <a:lnTo>
                    <a:pt x="235" y="305"/>
                  </a:lnTo>
                  <a:lnTo>
                    <a:pt x="240" y="302"/>
                  </a:lnTo>
                  <a:lnTo>
                    <a:pt x="235" y="302"/>
                  </a:lnTo>
                  <a:lnTo>
                    <a:pt x="233" y="300"/>
                  </a:lnTo>
                  <a:lnTo>
                    <a:pt x="231" y="297"/>
                  </a:lnTo>
                  <a:lnTo>
                    <a:pt x="159" y="270"/>
                  </a:lnTo>
                  <a:lnTo>
                    <a:pt x="159" y="233"/>
                  </a:lnTo>
                  <a:lnTo>
                    <a:pt x="169" y="221"/>
                  </a:lnTo>
                  <a:lnTo>
                    <a:pt x="172" y="219"/>
                  </a:lnTo>
                  <a:lnTo>
                    <a:pt x="208" y="219"/>
                  </a:lnTo>
                  <a:lnTo>
                    <a:pt x="211" y="221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3" y="221"/>
                  </a:lnTo>
                  <a:lnTo>
                    <a:pt x="211" y="216"/>
                  </a:lnTo>
                  <a:lnTo>
                    <a:pt x="213" y="221"/>
                  </a:lnTo>
                  <a:lnTo>
                    <a:pt x="213" y="216"/>
                  </a:lnTo>
                  <a:lnTo>
                    <a:pt x="216" y="219"/>
                  </a:lnTo>
                  <a:lnTo>
                    <a:pt x="213" y="216"/>
                  </a:lnTo>
                  <a:lnTo>
                    <a:pt x="213" y="214"/>
                  </a:lnTo>
                  <a:lnTo>
                    <a:pt x="218" y="216"/>
                  </a:lnTo>
                  <a:lnTo>
                    <a:pt x="218" y="216"/>
                  </a:lnTo>
                  <a:lnTo>
                    <a:pt x="216" y="214"/>
                  </a:lnTo>
                  <a:lnTo>
                    <a:pt x="218" y="194"/>
                  </a:lnTo>
                  <a:lnTo>
                    <a:pt x="221" y="172"/>
                  </a:lnTo>
                  <a:lnTo>
                    <a:pt x="218" y="150"/>
                  </a:lnTo>
                  <a:lnTo>
                    <a:pt x="213" y="133"/>
                  </a:lnTo>
                  <a:lnTo>
                    <a:pt x="208" y="118"/>
                  </a:lnTo>
                  <a:lnTo>
                    <a:pt x="201" y="106"/>
                  </a:lnTo>
                  <a:lnTo>
                    <a:pt x="191" y="96"/>
                  </a:lnTo>
                  <a:lnTo>
                    <a:pt x="186" y="93"/>
                  </a:lnTo>
                  <a:lnTo>
                    <a:pt x="206" y="25"/>
                  </a:lnTo>
                  <a:lnTo>
                    <a:pt x="194" y="17"/>
                  </a:lnTo>
                  <a:lnTo>
                    <a:pt x="164" y="5"/>
                  </a:lnTo>
                  <a:lnTo>
                    <a:pt x="132" y="0"/>
                  </a:lnTo>
                  <a:lnTo>
                    <a:pt x="118" y="0"/>
                  </a:lnTo>
                  <a:lnTo>
                    <a:pt x="88" y="2"/>
                  </a:lnTo>
                  <a:lnTo>
                    <a:pt x="52" y="15"/>
                  </a:lnTo>
                  <a:lnTo>
                    <a:pt x="34" y="25"/>
                  </a:lnTo>
                  <a:lnTo>
                    <a:pt x="54" y="93"/>
                  </a:lnTo>
                  <a:lnTo>
                    <a:pt x="44" y="101"/>
                  </a:lnTo>
                  <a:lnTo>
                    <a:pt x="37" y="113"/>
                  </a:lnTo>
                  <a:lnTo>
                    <a:pt x="32" y="123"/>
                  </a:lnTo>
                  <a:lnTo>
                    <a:pt x="25" y="140"/>
                  </a:lnTo>
                  <a:lnTo>
                    <a:pt x="22" y="157"/>
                  </a:lnTo>
                  <a:lnTo>
                    <a:pt x="20" y="172"/>
                  </a:lnTo>
                  <a:lnTo>
                    <a:pt x="22" y="194"/>
                  </a:lnTo>
                  <a:lnTo>
                    <a:pt x="27" y="214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21"/>
                  </a:lnTo>
                  <a:lnTo>
                    <a:pt x="30" y="216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2" y="219"/>
                  </a:lnTo>
                  <a:lnTo>
                    <a:pt x="69" y="219"/>
                  </a:lnTo>
                  <a:lnTo>
                    <a:pt x="81" y="233"/>
                  </a:lnTo>
                  <a:lnTo>
                    <a:pt x="81" y="270"/>
                  </a:lnTo>
                  <a:lnTo>
                    <a:pt x="5" y="300"/>
                  </a:lnTo>
                  <a:lnTo>
                    <a:pt x="5" y="302"/>
                  </a:lnTo>
                  <a:lnTo>
                    <a:pt x="0" y="302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5" y="307"/>
                  </a:lnTo>
                  <a:lnTo>
                    <a:pt x="7" y="310"/>
                  </a:lnTo>
                  <a:lnTo>
                    <a:pt x="7" y="312"/>
                  </a:lnTo>
                  <a:lnTo>
                    <a:pt x="10" y="310"/>
                  </a:lnTo>
                  <a:lnTo>
                    <a:pt x="7" y="314"/>
                  </a:lnTo>
                  <a:lnTo>
                    <a:pt x="10" y="310"/>
                  </a:lnTo>
                  <a:lnTo>
                    <a:pt x="12" y="310"/>
                  </a:lnTo>
                  <a:lnTo>
                    <a:pt x="83" y="282"/>
                  </a:lnTo>
                  <a:lnTo>
                    <a:pt x="115" y="310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8" y="310"/>
                  </a:lnTo>
                  <a:lnTo>
                    <a:pt x="118" y="314"/>
                  </a:lnTo>
                  <a:lnTo>
                    <a:pt x="118" y="310"/>
                  </a:lnTo>
                  <a:lnTo>
                    <a:pt x="118" y="314"/>
                  </a:lnTo>
                  <a:lnTo>
                    <a:pt x="118" y="314"/>
                  </a:lnTo>
                  <a:lnTo>
                    <a:pt x="120" y="310"/>
                  </a:lnTo>
                  <a:lnTo>
                    <a:pt x="123" y="310"/>
                  </a:lnTo>
                  <a:lnTo>
                    <a:pt x="125" y="314"/>
                  </a:lnTo>
                  <a:lnTo>
                    <a:pt x="125" y="314"/>
                  </a:lnTo>
                  <a:lnTo>
                    <a:pt x="123" y="310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3" y="310"/>
                  </a:lnTo>
                  <a:lnTo>
                    <a:pt x="128" y="312"/>
                  </a:lnTo>
                  <a:lnTo>
                    <a:pt x="125" y="310"/>
                  </a:lnTo>
                  <a:lnTo>
                    <a:pt x="157" y="282"/>
                  </a:lnTo>
                  <a:lnTo>
                    <a:pt x="231" y="310"/>
                  </a:lnTo>
                  <a:lnTo>
                    <a:pt x="233" y="310"/>
                  </a:lnTo>
                  <a:lnTo>
                    <a:pt x="233" y="310"/>
                  </a:lnTo>
                  <a:lnTo>
                    <a:pt x="238" y="310"/>
                  </a:lnTo>
                  <a:lnTo>
                    <a:pt x="235" y="307"/>
                  </a:lnTo>
                  <a:lnTo>
                    <a:pt x="238" y="307"/>
                  </a:lnTo>
                  <a:lnTo>
                    <a:pt x="238" y="307"/>
                  </a:lnTo>
                  <a:lnTo>
                    <a:pt x="235" y="307"/>
                  </a:lnTo>
                  <a:close/>
                  <a:moveTo>
                    <a:pt x="42" y="27"/>
                  </a:moveTo>
                  <a:lnTo>
                    <a:pt x="59" y="20"/>
                  </a:lnTo>
                  <a:lnTo>
                    <a:pt x="76" y="12"/>
                  </a:lnTo>
                  <a:lnTo>
                    <a:pt x="96" y="7"/>
                  </a:lnTo>
                  <a:lnTo>
                    <a:pt x="110" y="7"/>
                  </a:lnTo>
                  <a:lnTo>
                    <a:pt x="120" y="7"/>
                  </a:lnTo>
                  <a:lnTo>
                    <a:pt x="140" y="7"/>
                  </a:lnTo>
                  <a:lnTo>
                    <a:pt x="159" y="12"/>
                  </a:lnTo>
                  <a:lnTo>
                    <a:pt x="177" y="17"/>
                  </a:lnTo>
                  <a:lnTo>
                    <a:pt x="199" y="27"/>
                  </a:lnTo>
                  <a:lnTo>
                    <a:pt x="179" y="88"/>
                  </a:lnTo>
                  <a:lnTo>
                    <a:pt x="162" y="81"/>
                  </a:lnTo>
                  <a:lnTo>
                    <a:pt x="145" y="76"/>
                  </a:lnTo>
                  <a:lnTo>
                    <a:pt x="123" y="74"/>
                  </a:lnTo>
                  <a:lnTo>
                    <a:pt x="98" y="76"/>
                  </a:lnTo>
                  <a:lnTo>
                    <a:pt x="79" y="81"/>
                  </a:lnTo>
                  <a:lnTo>
                    <a:pt x="64" y="86"/>
                  </a:lnTo>
                  <a:lnTo>
                    <a:pt x="61" y="88"/>
                  </a:lnTo>
                  <a:lnTo>
                    <a:pt x="42" y="27"/>
                  </a:lnTo>
                  <a:close/>
                  <a:moveTo>
                    <a:pt x="61" y="192"/>
                  </a:moveTo>
                  <a:lnTo>
                    <a:pt x="64" y="206"/>
                  </a:lnTo>
                  <a:lnTo>
                    <a:pt x="37" y="206"/>
                  </a:lnTo>
                  <a:lnTo>
                    <a:pt x="34" y="182"/>
                  </a:lnTo>
                  <a:lnTo>
                    <a:pt x="34" y="172"/>
                  </a:lnTo>
                  <a:lnTo>
                    <a:pt x="34" y="150"/>
                  </a:lnTo>
                  <a:lnTo>
                    <a:pt x="39" y="133"/>
                  </a:lnTo>
                  <a:lnTo>
                    <a:pt x="44" y="120"/>
                  </a:lnTo>
                  <a:lnTo>
                    <a:pt x="54" y="111"/>
                  </a:lnTo>
                  <a:lnTo>
                    <a:pt x="64" y="101"/>
                  </a:lnTo>
                  <a:lnTo>
                    <a:pt x="79" y="93"/>
                  </a:lnTo>
                  <a:lnTo>
                    <a:pt x="98" y="88"/>
                  </a:lnTo>
                  <a:lnTo>
                    <a:pt x="115" y="86"/>
                  </a:lnTo>
                  <a:lnTo>
                    <a:pt x="120" y="86"/>
                  </a:lnTo>
                  <a:lnTo>
                    <a:pt x="147" y="88"/>
                  </a:lnTo>
                  <a:lnTo>
                    <a:pt x="162" y="93"/>
                  </a:lnTo>
                  <a:lnTo>
                    <a:pt x="177" y="101"/>
                  </a:lnTo>
                  <a:lnTo>
                    <a:pt x="184" y="108"/>
                  </a:lnTo>
                  <a:lnTo>
                    <a:pt x="191" y="115"/>
                  </a:lnTo>
                  <a:lnTo>
                    <a:pt x="199" y="130"/>
                  </a:lnTo>
                  <a:lnTo>
                    <a:pt x="204" y="145"/>
                  </a:lnTo>
                  <a:lnTo>
                    <a:pt x="206" y="162"/>
                  </a:lnTo>
                  <a:lnTo>
                    <a:pt x="206" y="177"/>
                  </a:lnTo>
                  <a:lnTo>
                    <a:pt x="204" y="206"/>
                  </a:lnTo>
                  <a:lnTo>
                    <a:pt x="177" y="206"/>
                  </a:lnTo>
                  <a:lnTo>
                    <a:pt x="182" y="184"/>
                  </a:lnTo>
                  <a:lnTo>
                    <a:pt x="182" y="174"/>
                  </a:lnTo>
                  <a:lnTo>
                    <a:pt x="179" y="162"/>
                  </a:lnTo>
                  <a:lnTo>
                    <a:pt x="177" y="142"/>
                  </a:lnTo>
                  <a:lnTo>
                    <a:pt x="157" y="140"/>
                  </a:lnTo>
                  <a:lnTo>
                    <a:pt x="145" y="135"/>
                  </a:lnTo>
                  <a:lnTo>
                    <a:pt x="132" y="128"/>
                  </a:lnTo>
                  <a:lnTo>
                    <a:pt x="128" y="125"/>
                  </a:lnTo>
                  <a:lnTo>
                    <a:pt x="110" y="135"/>
                  </a:lnTo>
                  <a:lnTo>
                    <a:pt x="88" y="140"/>
                  </a:lnTo>
                  <a:lnTo>
                    <a:pt x="76" y="140"/>
                  </a:lnTo>
                  <a:lnTo>
                    <a:pt x="64" y="140"/>
                  </a:lnTo>
                  <a:lnTo>
                    <a:pt x="59" y="169"/>
                  </a:lnTo>
                  <a:lnTo>
                    <a:pt x="59" y="172"/>
                  </a:lnTo>
                  <a:lnTo>
                    <a:pt x="61" y="192"/>
                  </a:lnTo>
                  <a:close/>
                  <a:moveTo>
                    <a:pt x="152" y="270"/>
                  </a:moveTo>
                  <a:lnTo>
                    <a:pt x="120" y="297"/>
                  </a:lnTo>
                  <a:lnTo>
                    <a:pt x="88" y="270"/>
                  </a:lnTo>
                  <a:lnTo>
                    <a:pt x="88" y="241"/>
                  </a:lnTo>
                  <a:lnTo>
                    <a:pt x="108" y="248"/>
                  </a:lnTo>
                  <a:lnTo>
                    <a:pt x="118" y="248"/>
                  </a:lnTo>
                  <a:lnTo>
                    <a:pt x="140" y="246"/>
                  </a:lnTo>
                  <a:lnTo>
                    <a:pt x="147" y="243"/>
                  </a:lnTo>
                  <a:lnTo>
                    <a:pt x="152" y="241"/>
                  </a:lnTo>
                  <a:lnTo>
                    <a:pt x="152" y="270"/>
                  </a:lnTo>
                  <a:close/>
                  <a:moveTo>
                    <a:pt x="157" y="226"/>
                  </a:moveTo>
                  <a:lnTo>
                    <a:pt x="147" y="233"/>
                  </a:lnTo>
                  <a:lnTo>
                    <a:pt x="135" y="241"/>
                  </a:lnTo>
                  <a:lnTo>
                    <a:pt x="123" y="241"/>
                  </a:lnTo>
                  <a:lnTo>
                    <a:pt x="120" y="241"/>
                  </a:lnTo>
                  <a:lnTo>
                    <a:pt x="110" y="241"/>
                  </a:lnTo>
                  <a:lnTo>
                    <a:pt x="96" y="236"/>
                  </a:lnTo>
                  <a:lnTo>
                    <a:pt x="83" y="226"/>
                  </a:lnTo>
                  <a:lnTo>
                    <a:pt x="76" y="214"/>
                  </a:lnTo>
                  <a:lnTo>
                    <a:pt x="69" y="199"/>
                  </a:lnTo>
                  <a:lnTo>
                    <a:pt x="66" y="182"/>
                  </a:lnTo>
                  <a:lnTo>
                    <a:pt x="66" y="177"/>
                  </a:lnTo>
                  <a:lnTo>
                    <a:pt x="69" y="157"/>
                  </a:lnTo>
                  <a:lnTo>
                    <a:pt x="71" y="147"/>
                  </a:lnTo>
                  <a:lnTo>
                    <a:pt x="91" y="147"/>
                  </a:lnTo>
                  <a:lnTo>
                    <a:pt x="108" y="142"/>
                  </a:lnTo>
                  <a:lnTo>
                    <a:pt x="123" y="138"/>
                  </a:lnTo>
                  <a:lnTo>
                    <a:pt x="128" y="133"/>
                  </a:lnTo>
                  <a:lnTo>
                    <a:pt x="145" y="142"/>
                  </a:lnTo>
                  <a:lnTo>
                    <a:pt x="169" y="150"/>
                  </a:lnTo>
                  <a:lnTo>
                    <a:pt x="174" y="167"/>
                  </a:lnTo>
                  <a:lnTo>
                    <a:pt x="174" y="174"/>
                  </a:lnTo>
                  <a:lnTo>
                    <a:pt x="172" y="194"/>
                  </a:lnTo>
                  <a:lnTo>
                    <a:pt x="167" y="209"/>
                  </a:lnTo>
                  <a:lnTo>
                    <a:pt x="157" y="2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45">
              <a:extLst>
                <a:ext uri="{FF2B5EF4-FFF2-40B4-BE49-F238E27FC236}">
                  <a16:creationId xmlns:a16="http://schemas.microsoft.com/office/drawing/2014/main" id="{A79BBC7F-7E58-4608-9E2F-D47658C47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2727"/>
              <a:ext cx="39" cy="37"/>
            </a:xfrm>
            <a:custGeom>
              <a:avLst/>
              <a:gdLst>
                <a:gd name="T0" fmla="*/ 14 w 39"/>
                <a:gd name="T1" fmla="*/ 0 h 37"/>
                <a:gd name="T2" fmla="*/ 14 w 39"/>
                <a:gd name="T3" fmla="*/ 15 h 37"/>
                <a:gd name="T4" fmla="*/ 0 w 39"/>
                <a:gd name="T5" fmla="*/ 15 h 37"/>
                <a:gd name="T6" fmla="*/ 0 w 39"/>
                <a:gd name="T7" fmla="*/ 22 h 37"/>
                <a:gd name="T8" fmla="*/ 14 w 39"/>
                <a:gd name="T9" fmla="*/ 22 h 37"/>
                <a:gd name="T10" fmla="*/ 14 w 39"/>
                <a:gd name="T11" fmla="*/ 37 h 37"/>
                <a:gd name="T12" fmla="*/ 24 w 39"/>
                <a:gd name="T13" fmla="*/ 37 h 37"/>
                <a:gd name="T14" fmla="*/ 24 w 39"/>
                <a:gd name="T15" fmla="*/ 22 h 37"/>
                <a:gd name="T16" fmla="*/ 39 w 39"/>
                <a:gd name="T17" fmla="*/ 22 h 37"/>
                <a:gd name="T18" fmla="*/ 39 w 39"/>
                <a:gd name="T19" fmla="*/ 15 h 37"/>
                <a:gd name="T20" fmla="*/ 24 w 39"/>
                <a:gd name="T21" fmla="*/ 15 h 37"/>
                <a:gd name="T22" fmla="*/ 24 w 39"/>
                <a:gd name="T23" fmla="*/ 0 h 37"/>
                <a:gd name="T24" fmla="*/ 14 w 39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7">
                  <a:moveTo>
                    <a:pt x="14" y="0"/>
                  </a:moveTo>
                  <a:lnTo>
                    <a:pt x="14" y="15"/>
                  </a:lnTo>
                  <a:lnTo>
                    <a:pt x="0" y="15"/>
                  </a:lnTo>
                  <a:lnTo>
                    <a:pt x="0" y="22"/>
                  </a:lnTo>
                  <a:lnTo>
                    <a:pt x="14" y="22"/>
                  </a:lnTo>
                  <a:lnTo>
                    <a:pt x="14" y="37"/>
                  </a:lnTo>
                  <a:lnTo>
                    <a:pt x="24" y="37"/>
                  </a:lnTo>
                  <a:lnTo>
                    <a:pt x="24" y="22"/>
                  </a:lnTo>
                  <a:lnTo>
                    <a:pt x="39" y="22"/>
                  </a:lnTo>
                  <a:lnTo>
                    <a:pt x="39" y="15"/>
                  </a:lnTo>
                  <a:lnTo>
                    <a:pt x="24" y="15"/>
                  </a:lnTo>
                  <a:lnTo>
                    <a:pt x="2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246">
              <a:extLst>
                <a:ext uri="{FF2B5EF4-FFF2-40B4-BE49-F238E27FC236}">
                  <a16:creationId xmlns:a16="http://schemas.microsoft.com/office/drawing/2014/main" id="{9F5F595C-60B6-41EB-BE22-1CE4DC2D3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" y="291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Rectangle 247">
              <a:extLst>
                <a:ext uri="{FF2B5EF4-FFF2-40B4-BE49-F238E27FC236}">
                  <a16:creationId xmlns:a16="http://schemas.microsoft.com/office/drawing/2014/main" id="{0ACFC99E-8170-45B7-A2E7-00EB55803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9" y="292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Rectangle 248">
              <a:extLst>
                <a:ext uri="{FF2B5EF4-FFF2-40B4-BE49-F238E27FC236}">
                  <a16:creationId xmlns:a16="http://schemas.microsoft.com/office/drawing/2014/main" id="{E566047F-CB58-4B46-B9C4-A4E237DAB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" y="292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Rectangle 249">
              <a:extLst>
                <a:ext uri="{FF2B5EF4-FFF2-40B4-BE49-F238E27FC236}">
                  <a16:creationId xmlns:a16="http://schemas.microsoft.com/office/drawing/2014/main" id="{880F6D94-2531-4065-878E-06F534749E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3" y="292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252">
            <a:extLst>
              <a:ext uri="{FF2B5EF4-FFF2-40B4-BE49-F238E27FC236}">
                <a16:creationId xmlns:a16="http://schemas.microsoft.com/office/drawing/2014/main" id="{DFBC1A86-E5EF-4926-BFCC-4C3C80CA07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650" y="4117975"/>
            <a:ext cx="841375" cy="839788"/>
            <a:chOff x="4396" y="2594"/>
            <a:chExt cx="530" cy="529"/>
          </a:xfrm>
        </p:grpSpPr>
        <p:sp>
          <p:nvSpPr>
            <p:cNvPr id="278" name="AutoShape 251">
              <a:extLst>
                <a:ext uri="{FF2B5EF4-FFF2-40B4-BE49-F238E27FC236}">
                  <a16:creationId xmlns:a16="http://schemas.microsoft.com/office/drawing/2014/main" id="{FB5851B0-28C1-44A4-9A70-4407C32F61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6" y="259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253">
              <a:extLst>
                <a:ext uri="{FF2B5EF4-FFF2-40B4-BE49-F238E27FC236}">
                  <a16:creationId xmlns:a16="http://schemas.microsoft.com/office/drawing/2014/main" id="{CB9EE5D8-D9F9-4F31-BB07-337E363E5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5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54">
              <a:extLst>
                <a:ext uri="{FF2B5EF4-FFF2-40B4-BE49-F238E27FC236}">
                  <a16:creationId xmlns:a16="http://schemas.microsoft.com/office/drawing/2014/main" id="{9D91ED30-F7E4-4343-A88E-3E614668C8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4" y="261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55">
              <a:extLst>
                <a:ext uri="{FF2B5EF4-FFF2-40B4-BE49-F238E27FC236}">
                  <a16:creationId xmlns:a16="http://schemas.microsoft.com/office/drawing/2014/main" id="{FC1C5F89-C215-4B6D-9778-F28202FD4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" y="2878"/>
              <a:ext cx="41" cy="66"/>
            </a:xfrm>
            <a:custGeom>
              <a:avLst/>
              <a:gdLst>
                <a:gd name="T0" fmla="*/ 30 w 41"/>
                <a:gd name="T1" fmla="*/ 38 h 66"/>
                <a:gd name="T2" fmla="*/ 33 w 41"/>
                <a:gd name="T3" fmla="*/ 38 h 66"/>
                <a:gd name="T4" fmla="*/ 33 w 41"/>
                <a:gd name="T5" fmla="*/ 35 h 66"/>
                <a:gd name="T6" fmla="*/ 36 w 41"/>
                <a:gd name="T7" fmla="*/ 33 h 66"/>
                <a:gd name="T8" fmla="*/ 38 w 41"/>
                <a:gd name="T9" fmla="*/ 30 h 66"/>
                <a:gd name="T10" fmla="*/ 38 w 41"/>
                <a:gd name="T11" fmla="*/ 30 h 66"/>
                <a:gd name="T12" fmla="*/ 41 w 41"/>
                <a:gd name="T13" fmla="*/ 28 h 66"/>
                <a:gd name="T14" fmla="*/ 41 w 41"/>
                <a:gd name="T15" fmla="*/ 23 h 66"/>
                <a:gd name="T16" fmla="*/ 41 w 41"/>
                <a:gd name="T17" fmla="*/ 20 h 66"/>
                <a:gd name="T18" fmla="*/ 41 w 41"/>
                <a:gd name="T19" fmla="*/ 20 h 66"/>
                <a:gd name="T20" fmla="*/ 41 w 41"/>
                <a:gd name="T21" fmla="*/ 17 h 66"/>
                <a:gd name="T22" fmla="*/ 41 w 41"/>
                <a:gd name="T23" fmla="*/ 15 h 66"/>
                <a:gd name="T24" fmla="*/ 38 w 41"/>
                <a:gd name="T25" fmla="*/ 12 h 66"/>
                <a:gd name="T26" fmla="*/ 38 w 41"/>
                <a:gd name="T27" fmla="*/ 12 h 66"/>
                <a:gd name="T28" fmla="*/ 38 w 41"/>
                <a:gd name="T29" fmla="*/ 10 h 66"/>
                <a:gd name="T30" fmla="*/ 36 w 41"/>
                <a:gd name="T31" fmla="*/ 7 h 66"/>
                <a:gd name="T32" fmla="*/ 36 w 41"/>
                <a:gd name="T33" fmla="*/ 7 h 66"/>
                <a:gd name="T34" fmla="*/ 33 w 41"/>
                <a:gd name="T35" fmla="*/ 5 h 66"/>
                <a:gd name="T36" fmla="*/ 30 w 41"/>
                <a:gd name="T37" fmla="*/ 5 h 66"/>
                <a:gd name="T38" fmla="*/ 30 w 41"/>
                <a:gd name="T39" fmla="*/ 2 h 66"/>
                <a:gd name="T40" fmla="*/ 28 w 41"/>
                <a:gd name="T41" fmla="*/ 2 h 66"/>
                <a:gd name="T42" fmla="*/ 25 w 41"/>
                <a:gd name="T43" fmla="*/ 2 h 66"/>
                <a:gd name="T44" fmla="*/ 25 w 41"/>
                <a:gd name="T45" fmla="*/ 2 h 66"/>
                <a:gd name="T46" fmla="*/ 23 w 41"/>
                <a:gd name="T47" fmla="*/ 0 h 66"/>
                <a:gd name="T48" fmla="*/ 20 w 41"/>
                <a:gd name="T49" fmla="*/ 0 h 66"/>
                <a:gd name="T50" fmla="*/ 18 w 41"/>
                <a:gd name="T51" fmla="*/ 0 h 66"/>
                <a:gd name="T52" fmla="*/ 15 w 41"/>
                <a:gd name="T53" fmla="*/ 2 h 66"/>
                <a:gd name="T54" fmla="*/ 15 w 41"/>
                <a:gd name="T55" fmla="*/ 2 h 66"/>
                <a:gd name="T56" fmla="*/ 12 w 41"/>
                <a:gd name="T57" fmla="*/ 2 h 66"/>
                <a:gd name="T58" fmla="*/ 10 w 41"/>
                <a:gd name="T59" fmla="*/ 2 h 66"/>
                <a:gd name="T60" fmla="*/ 7 w 41"/>
                <a:gd name="T61" fmla="*/ 5 h 66"/>
                <a:gd name="T62" fmla="*/ 7 w 41"/>
                <a:gd name="T63" fmla="*/ 5 h 66"/>
                <a:gd name="T64" fmla="*/ 5 w 41"/>
                <a:gd name="T65" fmla="*/ 7 h 66"/>
                <a:gd name="T66" fmla="*/ 5 w 41"/>
                <a:gd name="T67" fmla="*/ 7 h 66"/>
                <a:gd name="T68" fmla="*/ 2 w 41"/>
                <a:gd name="T69" fmla="*/ 10 h 66"/>
                <a:gd name="T70" fmla="*/ 2 w 41"/>
                <a:gd name="T71" fmla="*/ 12 h 66"/>
                <a:gd name="T72" fmla="*/ 2 w 41"/>
                <a:gd name="T73" fmla="*/ 12 h 66"/>
                <a:gd name="T74" fmla="*/ 0 w 41"/>
                <a:gd name="T75" fmla="*/ 15 h 66"/>
                <a:gd name="T76" fmla="*/ 0 w 41"/>
                <a:gd name="T77" fmla="*/ 17 h 66"/>
                <a:gd name="T78" fmla="*/ 0 w 41"/>
                <a:gd name="T79" fmla="*/ 20 h 66"/>
                <a:gd name="T80" fmla="*/ 0 w 41"/>
                <a:gd name="T81" fmla="*/ 20 h 66"/>
                <a:gd name="T82" fmla="*/ 0 w 41"/>
                <a:gd name="T83" fmla="*/ 23 h 66"/>
                <a:gd name="T84" fmla="*/ 0 w 41"/>
                <a:gd name="T85" fmla="*/ 28 h 66"/>
                <a:gd name="T86" fmla="*/ 2 w 41"/>
                <a:gd name="T87" fmla="*/ 30 h 66"/>
                <a:gd name="T88" fmla="*/ 2 w 41"/>
                <a:gd name="T89" fmla="*/ 30 h 66"/>
                <a:gd name="T90" fmla="*/ 5 w 41"/>
                <a:gd name="T91" fmla="*/ 33 h 66"/>
                <a:gd name="T92" fmla="*/ 7 w 41"/>
                <a:gd name="T93" fmla="*/ 35 h 66"/>
                <a:gd name="T94" fmla="*/ 7 w 41"/>
                <a:gd name="T95" fmla="*/ 38 h 66"/>
                <a:gd name="T96" fmla="*/ 10 w 41"/>
                <a:gd name="T97" fmla="*/ 38 h 66"/>
                <a:gd name="T98" fmla="*/ 30 w 41"/>
                <a:gd name="T9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66">
                  <a:moveTo>
                    <a:pt x="30" y="66"/>
                  </a:moveTo>
                  <a:lnTo>
                    <a:pt x="30" y="38"/>
                  </a:lnTo>
                  <a:lnTo>
                    <a:pt x="30" y="38"/>
                  </a:lnTo>
                  <a:lnTo>
                    <a:pt x="33" y="38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6" y="35"/>
                  </a:lnTo>
                  <a:lnTo>
                    <a:pt x="36" y="33"/>
                  </a:lnTo>
                  <a:lnTo>
                    <a:pt x="38" y="33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66"/>
                  </a:lnTo>
                  <a:lnTo>
                    <a:pt x="30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56">
              <a:extLst>
                <a:ext uri="{FF2B5EF4-FFF2-40B4-BE49-F238E27FC236}">
                  <a16:creationId xmlns:a16="http://schemas.microsoft.com/office/drawing/2014/main" id="{F5E5048A-FF01-4E10-A305-71B31D852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4" y="2714"/>
              <a:ext cx="236" cy="271"/>
            </a:xfrm>
            <a:custGeom>
              <a:avLst/>
              <a:gdLst>
                <a:gd name="T0" fmla="*/ 236 w 236"/>
                <a:gd name="T1" fmla="*/ 243 h 271"/>
                <a:gd name="T2" fmla="*/ 228 w 236"/>
                <a:gd name="T3" fmla="*/ 138 h 271"/>
                <a:gd name="T4" fmla="*/ 213 w 236"/>
                <a:gd name="T5" fmla="*/ 128 h 271"/>
                <a:gd name="T6" fmla="*/ 210 w 236"/>
                <a:gd name="T7" fmla="*/ 69 h 271"/>
                <a:gd name="T8" fmla="*/ 198 w 236"/>
                <a:gd name="T9" fmla="*/ 38 h 271"/>
                <a:gd name="T10" fmla="*/ 175 w 236"/>
                <a:gd name="T11" fmla="*/ 15 h 271"/>
                <a:gd name="T12" fmla="*/ 149 w 236"/>
                <a:gd name="T13" fmla="*/ 3 h 271"/>
                <a:gd name="T14" fmla="*/ 118 w 236"/>
                <a:gd name="T15" fmla="*/ 0 h 271"/>
                <a:gd name="T16" fmla="*/ 77 w 236"/>
                <a:gd name="T17" fmla="*/ 5 h 271"/>
                <a:gd name="T18" fmla="*/ 52 w 236"/>
                <a:gd name="T19" fmla="*/ 23 h 271"/>
                <a:gd name="T20" fmla="*/ 34 w 236"/>
                <a:gd name="T21" fmla="*/ 49 h 271"/>
                <a:gd name="T22" fmla="*/ 26 w 236"/>
                <a:gd name="T23" fmla="*/ 84 h 271"/>
                <a:gd name="T24" fmla="*/ 26 w 236"/>
                <a:gd name="T25" fmla="*/ 128 h 271"/>
                <a:gd name="T26" fmla="*/ 8 w 236"/>
                <a:gd name="T27" fmla="*/ 138 h 271"/>
                <a:gd name="T28" fmla="*/ 0 w 236"/>
                <a:gd name="T29" fmla="*/ 156 h 271"/>
                <a:gd name="T30" fmla="*/ 6 w 236"/>
                <a:gd name="T31" fmla="*/ 256 h 271"/>
                <a:gd name="T32" fmla="*/ 21 w 236"/>
                <a:gd name="T33" fmla="*/ 271 h 271"/>
                <a:gd name="T34" fmla="*/ 31 w 236"/>
                <a:gd name="T35" fmla="*/ 271 h 271"/>
                <a:gd name="T36" fmla="*/ 221 w 236"/>
                <a:gd name="T37" fmla="*/ 268 h 271"/>
                <a:gd name="T38" fmla="*/ 233 w 236"/>
                <a:gd name="T39" fmla="*/ 253 h 271"/>
                <a:gd name="T40" fmla="*/ 39 w 236"/>
                <a:gd name="T41" fmla="*/ 77 h 271"/>
                <a:gd name="T42" fmla="*/ 46 w 236"/>
                <a:gd name="T43" fmla="*/ 51 h 271"/>
                <a:gd name="T44" fmla="*/ 67 w 236"/>
                <a:gd name="T45" fmla="*/ 26 h 271"/>
                <a:gd name="T46" fmla="*/ 93 w 236"/>
                <a:gd name="T47" fmla="*/ 15 h 271"/>
                <a:gd name="T48" fmla="*/ 113 w 236"/>
                <a:gd name="T49" fmla="*/ 13 h 271"/>
                <a:gd name="T50" fmla="*/ 128 w 236"/>
                <a:gd name="T51" fmla="*/ 13 h 271"/>
                <a:gd name="T52" fmla="*/ 154 w 236"/>
                <a:gd name="T53" fmla="*/ 18 h 271"/>
                <a:gd name="T54" fmla="*/ 180 w 236"/>
                <a:gd name="T55" fmla="*/ 36 h 271"/>
                <a:gd name="T56" fmla="*/ 195 w 236"/>
                <a:gd name="T57" fmla="*/ 64 h 271"/>
                <a:gd name="T58" fmla="*/ 198 w 236"/>
                <a:gd name="T59" fmla="*/ 89 h 271"/>
                <a:gd name="T60" fmla="*/ 167 w 236"/>
                <a:gd name="T61" fmla="*/ 125 h 271"/>
                <a:gd name="T62" fmla="*/ 164 w 236"/>
                <a:gd name="T63" fmla="*/ 69 h 271"/>
                <a:gd name="T64" fmla="*/ 151 w 236"/>
                <a:gd name="T65" fmla="*/ 54 h 271"/>
                <a:gd name="T66" fmla="*/ 139 w 236"/>
                <a:gd name="T67" fmla="*/ 46 h 271"/>
                <a:gd name="T68" fmla="*/ 121 w 236"/>
                <a:gd name="T69" fmla="*/ 41 h 271"/>
                <a:gd name="T70" fmla="*/ 98 w 236"/>
                <a:gd name="T71" fmla="*/ 46 h 271"/>
                <a:gd name="T72" fmla="*/ 82 w 236"/>
                <a:gd name="T73" fmla="*/ 56 h 271"/>
                <a:gd name="T74" fmla="*/ 72 w 236"/>
                <a:gd name="T75" fmla="*/ 72 h 271"/>
                <a:gd name="T76" fmla="*/ 70 w 236"/>
                <a:gd name="T77" fmla="*/ 89 h 271"/>
                <a:gd name="T78" fmla="*/ 39 w 236"/>
                <a:gd name="T79" fmla="*/ 125 h 271"/>
                <a:gd name="T80" fmla="*/ 154 w 236"/>
                <a:gd name="T81" fmla="*/ 89 h 271"/>
                <a:gd name="T82" fmla="*/ 82 w 236"/>
                <a:gd name="T83" fmla="*/ 125 h 271"/>
                <a:gd name="T84" fmla="*/ 85 w 236"/>
                <a:gd name="T85" fmla="*/ 74 h 271"/>
                <a:gd name="T86" fmla="*/ 93 w 236"/>
                <a:gd name="T87" fmla="*/ 64 h 271"/>
                <a:gd name="T88" fmla="*/ 110 w 236"/>
                <a:gd name="T89" fmla="*/ 54 h 271"/>
                <a:gd name="T90" fmla="*/ 126 w 236"/>
                <a:gd name="T91" fmla="*/ 54 h 271"/>
                <a:gd name="T92" fmla="*/ 141 w 236"/>
                <a:gd name="T93" fmla="*/ 61 h 271"/>
                <a:gd name="T94" fmla="*/ 151 w 236"/>
                <a:gd name="T95" fmla="*/ 74 h 271"/>
                <a:gd name="T96" fmla="*/ 154 w 236"/>
                <a:gd name="T97" fmla="*/ 89 h 271"/>
                <a:gd name="T98" fmla="*/ 221 w 236"/>
                <a:gd name="T99" fmla="*/ 250 h 271"/>
                <a:gd name="T100" fmla="*/ 213 w 236"/>
                <a:gd name="T101" fmla="*/ 258 h 271"/>
                <a:gd name="T102" fmla="*/ 205 w 236"/>
                <a:gd name="T103" fmla="*/ 258 h 271"/>
                <a:gd name="T104" fmla="*/ 26 w 236"/>
                <a:gd name="T105" fmla="*/ 258 h 271"/>
                <a:gd name="T106" fmla="*/ 18 w 236"/>
                <a:gd name="T107" fmla="*/ 253 h 271"/>
                <a:gd name="T108" fmla="*/ 13 w 236"/>
                <a:gd name="T109" fmla="*/ 243 h 271"/>
                <a:gd name="T110" fmla="*/ 16 w 236"/>
                <a:gd name="T111" fmla="*/ 148 h 271"/>
                <a:gd name="T112" fmla="*/ 26 w 236"/>
                <a:gd name="T113" fmla="*/ 141 h 271"/>
                <a:gd name="T114" fmla="*/ 31 w 236"/>
                <a:gd name="T115" fmla="*/ 138 h 271"/>
                <a:gd name="T116" fmla="*/ 210 w 236"/>
                <a:gd name="T117" fmla="*/ 141 h 271"/>
                <a:gd name="T118" fmla="*/ 221 w 236"/>
                <a:gd name="T119" fmla="*/ 148 h 271"/>
                <a:gd name="T120" fmla="*/ 223 w 236"/>
                <a:gd name="T121" fmla="*/ 156 h 271"/>
                <a:gd name="T122" fmla="*/ 221 w 236"/>
                <a:gd name="T123" fmla="*/ 24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6" h="271">
                  <a:moveTo>
                    <a:pt x="236" y="245"/>
                  </a:moveTo>
                  <a:lnTo>
                    <a:pt x="236" y="243"/>
                  </a:lnTo>
                  <a:lnTo>
                    <a:pt x="233" y="146"/>
                  </a:lnTo>
                  <a:lnTo>
                    <a:pt x="228" y="138"/>
                  </a:lnTo>
                  <a:lnTo>
                    <a:pt x="221" y="130"/>
                  </a:lnTo>
                  <a:lnTo>
                    <a:pt x="213" y="128"/>
                  </a:lnTo>
                  <a:lnTo>
                    <a:pt x="210" y="128"/>
                  </a:lnTo>
                  <a:lnTo>
                    <a:pt x="210" y="69"/>
                  </a:lnTo>
                  <a:lnTo>
                    <a:pt x="205" y="51"/>
                  </a:lnTo>
                  <a:lnTo>
                    <a:pt x="198" y="38"/>
                  </a:lnTo>
                  <a:lnTo>
                    <a:pt x="185" y="23"/>
                  </a:lnTo>
                  <a:lnTo>
                    <a:pt x="175" y="15"/>
                  </a:lnTo>
                  <a:lnTo>
                    <a:pt x="162" y="8"/>
                  </a:lnTo>
                  <a:lnTo>
                    <a:pt x="149" y="3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95" y="0"/>
                  </a:lnTo>
                  <a:lnTo>
                    <a:pt x="77" y="5"/>
                  </a:lnTo>
                  <a:lnTo>
                    <a:pt x="64" y="13"/>
                  </a:lnTo>
                  <a:lnTo>
                    <a:pt x="52" y="23"/>
                  </a:lnTo>
                  <a:lnTo>
                    <a:pt x="41" y="33"/>
                  </a:lnTo>
                  <a:lnTo>
                    <a:pt x="34" y="49"/>
                  </a:lnTo>
                  <a:lnTo>
                    <a:pt x="29" y="66"/>
                  </a:lnTo>
                  <a:lnTo>
                    <a:pt x="26" y="84"/>
                  </a:lnTo>
                  <a:lnTo>
                    <a:pt x="26" y="89"/>
                  </a:lnTo>
                  <a:lnTo>
                    <a:pt x="26" y="128"/>
                  </a:lnTo>
                  <a:lnTo>
                    <a:pt x="16" y="130"/>
                  </a:lnTo>
                  <a:lnTo>
                    <a:pt x="8" y="138"/>
                  </a:lnTo>
                  <a:lnTo>
                    <a:pt x="3" y="146"/>
                  </a:lnTo>
                  <a:lnTo>
                    <a:pt x="0" y="156"/>
                  </a:lnTo>
                  <a:lnTo>
                    <a:pt x="3" y="250"/>
                  </a:lnTo>
                  <a:lnTo>
                    <a:pt x="6" y="256"/>
                  </a:lnTo>
                  <a:lnTo>
                    <a:pt x="11" y="263"/>
                  </a:lnTo>
                  <a:lnTo>
                    <a:pt x="21" y="271"/>
                  </a:lnTo>
                  <a:lnTo>
                    <a:pt x="29" y="271"/>
                  </a:lnTo>
                  <a:lnTo>
                    <a:pt x="31" y="271"/>
                  </a:lnTo>
                  <a:lnTo>
                    <a:pt x="213" y="271"/>
                  </a:lnTo>
                  <a:lnTo>
                    <a:pt x="221" y="268"/>
                  </a:lnTo>
                  <a:lnTo>
                    <a:pt x="228" y="261"/>
                  </a:lnTo>
                  <a:lnTo>
                    <a:pt x="233" y="253"/>
                  </a:lnTo>
                  <a:lnTo>
                    <a:pt x="236" y="245"/>
                  </a:lnTo>
                  <a:close/>
                  <a:moveTo>
                    <a:pt x="39" y="77"/>
                  </a:moveTo>
                  <a:lnTo>
                    <a:pt x="41" y="69"/>
                  </a:lnTo>
                  <a:lnTo>
                    <a:pt x="46" y="51"/>
                  </a:lnTo>
                  <a:lnTo>
                    <a:pt x="57" y="36"/>
                  </a:lnTo>
                  <a:lnTo>
                    <a:pt x="67" y="26"/>
                  </a:lnTo>
                  <a:lnTo>
                    <a:pt x="80" y="18"/>
                  </a:lnTo>
                  <a:lnTo>
                    <a:pt x="93" y="15"/>
                  </a:lnTo>
                  <a:lnTo>
                    <a:pt x="105" y="13"/>
                  </a:lnTo>
                  <a:lnTo>
                    <a:pt x="113" y="13"/>
                  </a:lnTo>
                  <a:lnTo>
                    <a:pt x="118" y="13"/>
                  </a:lnTo>
                  <a:lnTo>
                    <a:pt x="128" y="13"/>
                  </a:lnTo>
                  <a:lnTo>
                    <a:pt x="141" y="13"/>
                  </a:lnTo>
                  <a:lnTo>
                    <a:pt x="154" y="18"/>
                  </a:lnTo>
                  <a:lnTo>
                    <a:pt x="169" y="26"/>
                  </a:lnTo>
                  <a:lnTo>
                    <a:pt x="180" y="36"/>
                  </a:lnTo>
                  <a:lnTo>
                    <a:pt x="190" y="49"/>
                  </a:lnTo>
                  <a:lnTo>
                    <a:pt x="195" y="64"/>
                  </a:lnTo>
                  <a:lnTo>
                    <a:pt x="198" y="77"/>
                  </a:lnTo>
                  <a:lnTo>
                    <a:pt x="198" y="89"/>
                  </a:lnTo>
                  <a:lnTo>
                    <a:pt x="198" y="125"/>
                  </a:lnTo>
                  <a:lnTo>
                    <a:pt x="167" y="125"/>
                  </a:lnTo>
                  <a:lnTo>
                    <a:pt x="167" y="79"/>
                  </a:lnTo>
                  <a:lnTo>
                    <a:pt x="164" y="69"/>
                  </a:lnTo>
                  <a:lnTo>
                    <a:pt x="159" y="59"/>
                  </a:lnTo>
                  <a:lnTo>
                    <a:pt x="151" y="54"/>
                  </a:lnTo>
                  <a:lnTo>
                    <a:pt x="146" y="49"/>
                  </a:lnTo>
                  <a:lnTo>
                    <a:pt x="139" y="46"/>
                  </a:lnTo>
                  <a:lnTo>
                    <a:pt x="128" y="43"/>
                  </a:lnTo>
                  <a:lnTo>
                    <a:pt x="121" y="41"/>
                  </a:lnTo>
                  <a:lnTo>
                    <a:pt x="108" y="43"/>
                  </a:lnTo>
                  <a:lnTo>
                    <a:pt x="98" y="46"/>
                  </a:lnTo>
                  <a:lnTo>
                    <a:pt x="90" y="49"/>
                  </a:lnTo>
                  <a:lnTo>
                    <a:pt x="82" y="56"/>
                  </a:lnTo>
                  <a:lnTo>
                    <a:pt x="77" y="61"/>
                  </a:lnTo>
                  <a:lnTo>
                    <a:pt x="72" y="72"/>
                  </a:lnTo>
                  <a:lnTo>
                    <a:pt x="70" y="79"/>
                  </a:lnTo>
                  <a:lnTo>
                    <a:pt x="70" y="89"/>
                  </a:lnTo>
                  <a:lnTo>
                    <a:pt x="70" y="125"/>
                  </a:lnTo>
                  <a:lnTo>
                    <a:pt x="39" y="125"/>
                  </a:lnTo>
                  <a:lnTo>
                    <a:pt x="39" y="77"/>
                  </a:lnTo>
                  <a:close/>
                  <a:moveTo>
                    <a:pt x="154" y="89"/>
                  </a:moveTo>
                  <a:lnTo>
                    <a:pt x="154" y="125"/>
                  </a:lnTo>
                  <a:lnTo>
                    <a:pt x="82" y="125"/>
                  </a:lnTo>
                  <a:lnTo>
                    <a:pt x="82" y="84"/>
                  </a:lnTo>
                  <a:lnTo>
                    <a:pt x="85" y="74"/>
                  </a:lnTo>
                  <a:lnTo>
                    <a:pt x="87" y="66"/>
                  </a:lnTo>
                  <a:lnTo>
                    <a:pt x="93" y="64"/>
                  </a:lnTo>
                  <a:lnTo>
                    <a:pt x="100" y="59"/>
                  </a:lnTo>
                  <a:lnTo>
                    <a:pt x="110" y="54"/>
                  </a:lnTo>
                  <a:lnTo>
                    <a:pt x="118" y="54"/>
                  </a:lnTo>
                  <a:lnTo>
                    <a:pt x="126" y="54"/>
                  </a:lnTo>
                  <a:lnTo>
                    <a:pt x="136" y="59"/>
                  </a:lnTo>
                  <a:lnTo>
                    <a:pt x="141" y="61"/>
                  </a:lnTo>
                  <a:lnTo>
                    <a:pt x="149" y="66"/>
                  </a:lnTo>
                  <a:lnTo>
                    <a:pt x="151" y="74"/>
                  </a:lnTo>
                  <a:lnTo>
                    <a:pt x="154" y="82"/>
                  </a:lnTo>
                  <a:lnTo>
                    <a:pt x="154" y="89"/>
                  </a:lnTo>
                  <a:close/>
                  <a:moveTo>
                    <a:pt x="221" y="248"/>
                  </a:moveTo>
                  <a:lnTo>
                    <a:pt x="221" y="250"/>
                  </a:lnTo>
                  <a:lnTo>
                    <a:pt x="218" y="253"/>
                  </a:lnTo>
                  <a:lnTo>
                    <a:pt x="213" y="258"/>
                  </a:lnTo>
                  <a:lnTo>
                    <a:pt x="210" y="258"/>
                  </a:lnTo>
                  <a:lnTo>
                    <a:pt x="205" y="258"/>
                  </a:lnTo>
                  <a:lnTo>
                    <a:pt x="31" y="258"/>
                  </a:lnTo>
                  <a:lnTo>
                    <a:pt x="26" y="258"/>
                  </a:lnTo>
                  <a:lnTo>
                    <a:pt x="23" y="256"/>
                  </a:lnTo>
                  <a:lnTo>
                    <a:pt x="18" y="253"/>
                  </a:lnTo>
                  <a:lnTo>
                    <a:pt x="16" y="248"/>
                  </a:lnTo>
                  <a:lnTo>
                    <a:pt x="13" y="243"/>
                  </a:lnTo>
                  <a:lnTo>
                    <a:pt x="13" y="153"/>
                  </a:lnTo>
                  <a:lnTo>
                    <a:pt x="16" y="148"/>
                  </a:lnTo>
                  <a:lnTo>
                    <a:pt x="18" y="143"/>
                  </a:lnTo>
                  <a:lnTo>
                    <a:pt x="26" y="141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208" y="138"/>
                  </a:lnTo>
                  <a:lnTo>
                    <a:pt x="210" y="141"/>
                  </a:lnTo>
                  <a:lnTo>
                    <a:pt x="215" y="143"/>
                  </a:lnTo>
                  <a:lnTo>
                    <a:pt x="221" y="148"/>
                  </a:lnTo>
                  <a:lnTo>
                    <a:pt x="221" y="153"/>
                  </a:lnTo>
                  <a:lnTo>
                    <a:pt x="223" y="156"/>
                  </a:lnTo>
                  <a:lnTo>
                    <a:pt x="223" y="243"/>
                  </a:lnTo>
                  <a:lnTo>
                    <a:pt x="221" y="2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3" name="Group 259">
            <a:extLst>
              <a:ext uri="{FF2B5EF4-FFF2-40B4-BE49-F238E27FC236}">
                <a16:creationId xmlns:a16="http://schemas.microsoft.com/office/drawing/2014/main" id="{7777F5AE-1EFA-4F2E-8D9B-7D61A37B74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5450" y="4157663"/>
            <a:ext cx="758825" cy="760412"/>
            <a:chOff x="5068" y="2619"/>
            <a:chExt cx="478" cy="479"/>
          </a:xfrm>
        </p:grpSpPr>
        <p:sp>
          <p:nvSpPr>
            <p:cNvPr id="284" name="AutoShape 258">
              <a:extLst>
                <a:ext uri="{FF2B5EF4-FFF2-40B4-BE49-F238E27FC236}">
                  <a16:creationId xmlns:a16="http://schemas.microsoft.com/office/drawing/2014/main" id="{5180ED36-7B32-4B0C-A945-5CCBB9D7201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8" y="2619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60">
              <a:extLst>
                <a:ext uri="{FF2B5EF4-FFF2-40B4-BE49-F238E27FC236}">
                  <a16:creationId xmlns:a16="http://schemas.microsoft.com/office/drawing/2014/main" id="{24E9AC3B-D0BB-4924-B5B2-8A0E0B9F9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0" y="2621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61">
              <a:extLst>
                <a:ext uri="{FF2B5EF4-FFF2-40B4-BE49-F238E27FC236}">
                  <a16:creationId xmlns:a16="http://schemas.microsoft.com/office/drawing/2014/main" id="{68EA73BC-468E-4254-B7CA-533E2C1AE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9" y="2877"/>
              <a:ext cx="39" cy="64"/>
            </a:xfrm>
            <a:custGeom>
              <a:avLst/>
              <a:gdLst>
                <a:gd name="T0" fmla="*/ 29 w 39"/>
                <a:gd name="T1" fmla="*/ 37 h 64"/>
                <a:gd name="T2" fmla="*/ 31 w 39"/>
                <a:gd name="T3" fmla="*/ 37 h 64"/>
                <a:gd name="T4" fmla="*/ 31 w 39"/>
                <a:gd name="T5" fmla="*/ 34 h 64"/>
                <a:gd name="T6" fmla="*/ 34 w 39"/>
                <a:gd name="T7" fmla="*/ 32 h 64"/>
                <a:gd name="T8" fmla="*/ 36 w 39"/>
                <a:gd name="T9" fmla="*/ 29 h 64"/>
                <a:gd name="T10" fmla="*/ 36 w 39"/>
                <a:gd name="T11" fmla="*/ 29 h 64"/>
                <a:gd name="T12" fmla="*/ 39 w 39"/>
                <a:gd name="T13" fmla="*/ 27 h 64"/>
                <a:gd name="T14" fmla="*/ 39 w 39"/>
                <a:gd name="T15" fmla="*/ 22 h 64"/>
                <a:gd name="T16" fmla="*/ 39 w 39"/>
                <a:gd name="T17" fmla="*/ 20 h 64"/>
                <a:gd name="T18" fmla="*/ 39 w 39"/>
                <a:gd name="T19" fmla="*/ 20 h 64"/>
                <a:gd name="T20" fmla="*/ 39 w 39"/>
                <a:gd name="T21" fmla="*/ 17 h 64"/>
                <a:gd name="T22" fmla="*/ 39 w 39"/>
                <a:gd name="T23" fmla="*/ 15 h 64"/>
                <a:gd name="T24" fmla="*/ 36 w 39"/>
                <a:gd name="T25" fmla="*/ 12 h 64"/>
                <a:gd name="T26" fmla="*/ 36 w 39"/>
                <a:gd name="T27" fmla="*/ 12 h 64"/>
                <a:gd name="T28" fmla="*/ 36 w 39"/>
                <a:gd name="T29" fmla="*/ 10 h 64"/>
                <a:gd name="T30" fmla="*/ 34 w 39"/>
                <a:gd name="T31" fmla="*/ 7 h 64"/>
                <a:gd name="T32" fmla="*/ 34 w 39"/>
                <a:gd name="T33" fmla="*/ 7 h 64"/>
                <a:gd name="T34" fmla="*/ 31 w 39"/>
                <a:gd name="T35" fmla="*/ 5 h 64"/>
                <a:gd name="T36" fmla="*/ 29 w 39"/>
                <a:gd name="T37" fmla="*/ 5 h 64"/>
                <a:gd name="T38" fmla="*/ 29 w 39"/>
                <a:gd name="T39" fmla="*/ 2 h 64"/>
                <a:gd name="T40" fmla="*/ 27 w 39"/>
                <a:gd name="T41" fmla="*/ 2 h 64"/>
                <a:gd name="T42" fmla="*/ 24 w 39"/>
                <a:gd name="T43" fmla="*/ 2 h 64"/>
                <a:gd name="T44" fmla="*/ 24 w 39"/>
                <a:gd name="T45" fmla="*/ 2 h 64"/>
                <a:gd name="T46" fmla="*/ 22 w 39"/>
                <a:gd name="T47" fmla="*/ 0 h 64"/>
                <a:gd name="T48" fmla="*/ 19 w 39"/>
                <a:gd name="T49" fmla="*/ 0 h 64"/>
                <a:gd name="T50" fmla="*/ 17 w 39"/>
                <a:gd name="T51" fmla="*/ 0 h 64"/>
                <a:gd name="T52" fmla="*/ 14 w 39"/>
                <a:gd name="T53" fmla="*/ 2 h 64"/>
                <a:gd name="T54" fmla="*/ 14 w 39"/>
                <a:gd name="T55" fmla="*/ 2 h 64"/>
                <a:gd name="T56" fmla="*/ 12 w 39"/>
                <a:gd name="T57" fmla="*/ 2 h 64"/>
                <a:gd name="T58" fmla="*/ 9 w 39"/>
                <a:gd name="T59" fmla="*/ 2 h 64"/>
                <a:gd name="T60" fmla="*/ 7 w 39"/>
                <a:gd name="T61" fmla="*/ 5 h 64"/>
                <a:gd name="T62" fmla="*/ 7 w 39"/>
                <a:gd name="T63" fmla="*/ 5 h 64"/>
                <a:gd name="T64" fmla="*/ 5 w 39"/>
                <a:gd name="T65" fmla="*/ 7 h 64"/>
                <a:gd name="T66" fmla="*/ 5 w 39"/>
                <a:gd name="T67" fmla="*/ 7 h 64"/>
                <a:gd name="T68" fmla="*/ 2 w 39"/>
                <a:gd name="T69" fmla="*/ 10 h 64"/>
                <a:gd name="T70" fmla="*/ 2 w 39"/>
                <a:gd name="T71" fmla="*/ 12 h 64"/>
                <a:gd name="T72" fmla="*/ 2 w 39"/>
                <a:gd name="T73" fmla="*/ 12 h 64"/>
                <a:gd name="T74" fmla="*/ 0 w 39"/>
                <a:gd name="T75" fmla="*/ 15 h 64"/>
                <a:gd name="T76" fmla="*/ 0 w 39"/>
                <a:gd name="T77" fmla="*/ 17 h 64"/>
                <a:gd name="T78" fmla="*/ 0 w 39"/>
                <a:gd name="T79" fmla="*/ 20 h 64"/>
                <a:gd name="T80" fmla="*/ 0 w 39"/>
                <a:gd name="T81" fmla="*/ 20 h 64"/>
                <a:gd name="T82" fmla="*/ 0 w 39"/>
                <a:gd name="T83" fmla="*/ 22 h 64"/>
                <a:gd name="T84" fmla="*/ 0 w 39"/>
                <a:gd name="T85" fmla="*/ 27 h 64"/>
                <a:gd name="T86" fmla="*/ 2 w 39"/>
                <a:gd name="T87" fmla="*/ 29 h 64"/>
                <a:gd name="T88" fmla="*/ 2 w 39"/>
                <a:gd name="T89" fmla="*/ 29 h 64"/>
                <a:gd name="T90" fmla="*/ 5 w 39"/>
                <a:gd name="T91" fmla="*/ 32 h 64"/>
                <a:gd name="T92" fmla="*/ 7 w 39"/>
                <a:gd name="T93" fmla="*/ 34 h 64"/>
                <a:gd name="T94" fmla="*/ 7 w 39"/>
                <a:gd name="T95" fmla="*/ 37 h 64"/>
                <a:gd name="T96" fmla="*/ 9 w 39"/>
                <a:gd name="T97" fmla="*/ 37 h 64"/>
                <a:gd name="T98" fmla="*/ 29 w 39"/>
                <a:gd name="T9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9" h="64">
                  <a:moveTo>
                    <a:pt x="29" y="64"/>
                  </a:moveTo>
                  <a:lnTo>
                    <a:pt x="29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4" y="34"/>
                  </a:lnTo>
                  <a:lnTo>
                    <a:pt x="34" y="32"/>
                  </a:lnTo>
                  <a:lnTo>
                    <a:pt x="36" y="32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64"/>
                  </a:lnTo>
                  <a:lnTo>
                    <a:pt x="29" y="6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62">
              <a:extLst>
                <a:ext uri="{FF2B5EF4-FFF2-40B4-BE49-F238E27FC236}">
                  <a16:creationId xmlns:a16="http://schemas.microsoft.com/office/drawing/2014/main" id="{3C635026-CD5E-4242-AFD6-E4D044759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5" y="2720"/>
              <a:ext cx="226" cy="260"/>
            </a:xfrm>
            <a:custGeom>
              <a:avLst/>
              <a:gdLst>
                <a:gd name="T0" fmla="*/ 226 w 226"/>
                <a:gd name="T1" fmla="*/ 233 h 260"/>
                <a:gd name="T2" fmla="*/ 219 w 226"/>
                <a:gd name="T3" fmla="*/ 132 h 260"/>
                <a:gd name="T4" fmla="*/ 204 w 226"/>
                <a:gd name="T5" fmla="*/ 123 h 260"/>
                <a:gd name="T6" fmla="*/ 201 w 226"/>
                <a:gd name="T7" fmla="*/ 66 h 260"/>
                <a:gd name="T8" fmla="*/ 189 w 226"/>
                <a:gd name="T9" fmla="*/ 37 h 260"/>
                <a:gd name="T10" fmla="*/ 167 w 226"/>
                <a:gd name="T11" fmla="*/ 14 h 260"/>
                <a:gd name="T12" fmla="*/ 143 w 226"/>
                <a:gd name="T13" fmla="*/ 2 h 260"/>
                <a:gd name="T14" fmla="*/ 113 w 226"/>
                <a:gd name="T15" fmla="*/ 0 h 260"/>
                <a:gd name="T16" fmla="*/ 74 w 226"/>
                <a:gd name="T17" fmla="*/ 5 h 260"/>
                <a:gd name="T18" fmla="*/ 49 w 226"/>
                <a:gd name="T19" fmla="*/ 22 h 260"/>
                <a:gd name="T20" fmla="*/ 32 w 226"/>
                <a:gd name="T21" fmla="*/ 46 h 260"/>
                <a:gd name="T22" fmla="*/ 25 w 226"/>
                <a:gd name="T23" fmla="*/ 81 h 260"/>
                <a:gd name="T24" fmla="*/ 25 w 226"/>
                <a:gd name="T25" fmla="*/ 123 h 260"/>
                <a:gd name="T26" fmla="*/ 8 w 226"/>
                <a:gd name="T27" fmla="*/ 132 h 260"/>
                <a:gd name="T28" fmla="*/ 0 w 226"/>
                <a:gd name="T29" fmla="*/ 150 h 260"/>
                <a:gd name="T30" fmla="*/ 5 w 226"/>
                <a:gd name="T31" fmla="*/ 245 h 260"/>
                <a:gd name="T32" fmla="*/ 20 w 226"/>
                <a:gd name="T33" fmla="*/ 260 h 260"/>
                <a:gd name="T34" fmla="*/ 30 w 226"/>
                <a:gd name="T35" fmla="*/ 260 h 260"/>
                <a:gd name="T36" fmla="*/ 211 w 226"/>
                <a:gd name="T37" fmla="*/ 258 h 260"/>
                <a:gd name="T38" fmla="*/ 224 w 226"/>
                <a:gd name="T39" fmla="*/ 243 h 260"/>
                <a:gd name="T40" fmla="*/ 37 w 226"/>
                <a:gd name="T41" fmla="*/ 73 h 260"/>
                <a:gd name="T42" fmla="*/ 45 w 226"/>
                <a:gd name="T43" fmla="*/ 49 h 260"/>
                <a:gd name="T44" fmla="*/ 64 w 226"/>
                <a:gd name="T45" fmla="*/ 24 h 260"/>
                <a:gd name="T46" fmla="*/ 89 w 226"/>
                <a:gd name="T47" fmla="*/ 14 h 260"/>
                <a:gd name="T48" fmla="*/ 108 w 226"/>
                <a:gd name="T49" fmla="*/ 12 h 260"/>
                <a:gd name="T50" fmla="*/ 123 w 226"/>
                <a:gd name="T51" fmla="*/ 12 h 260"/>
                <a:gd name="T52" fmla="*/ 148 w 226"/>
                <a:gd name="T53" fmla="*/ 17 h 260"/>
                <a:gd name="T54" fmla="*/ 172 w 226"/>
                <a:gd name="T55" fmla="*/ 34 h 260"/>
                <a:gd name="T56" fmla="*/ 187 w 226"/>
                <a:gd name="T57" fmla="*/ 61 h 260"/>
                <a:gd name="T58" fmla="*/ 189 w 226"/>
                <a:gd name="T59" fmla="*/ 86 h 260"/>
                <a:gd name="T60" fmla="*/ 160 w 226"/>
                <a:gd name="T61" fmla="*/ 120 h 260"/>
                <a:gd name="T62" fmla="*/ 157 w 226"/>
                <a:gd name="T63" fmla="*/ 66 h 260"/>
                <a:gd name="T64" fmla="*/ 145 w 226"/>
                <a:gd name="T65" fmla="*/ 51 h 260"/>
                <a:gd name="T66" fmla="*/ 133 w 226"/>
                <a:gd name="T67" fmla="*/ 44 h 260"/>
                <a:gd name="T68" fmla="*/ 116 w 226"/>
                <a:gd name="T69" fmla="*/ 39 h 260"/>
                <a:gd name="T70" fmla="*/ 94 w 226"/>
                <a:gd name="T71" fmla="*/ 44 h 260"/>
                <a:gd name="T72" fmla="*/ 79 w 226"/>
                <a:gd name="T73" fmla="*/ 54 h 260"/>
                <a:gd name="T74" fmla="*/ 69 w 226"/>
                <a:gd name="T75" fmla="*/ 68 h 260"/>
                <a:gd name="T76" fmla="*/ 67 w 226"/>
                <a:gd name="T77" fmla="*/ 86 h 260"/>
                <a:gd name="T78" fmla="*/ 37 w 226"/>
                <a:gd name="T79" fmla="*/ 120 h 260"/>
                <a:gd name="T80" fmla="*/ 148 w 226"/>
                <a:gd name="T81" fmla="*/ 86 h 260"/>
                <a:gd name="T82" fmla="*/ 79 w 226"/>
                <a:gd name="T83" fmla="*/ 120 h 260"/>
                <a:gd name="T84" fmla="*/ 81 w 226"/>
                <a:gd name="T85" fmla="*/ 71 h 260"/>
                <a:gd name="T86" fmla="*/ 89 w 226"/>
                <a:gd name="T87" fmla="*/ 61 h 260"/>
                <a:gd name="T88" fmla="*/ 106 w 226"/>
                <a:gd name="T89" fmla="*/ 51 h 260"/>
                <a:gd name="T90" fmla="*/ 121 w 226"/>
                <a:gd name="T91" fmla="*/ 51 h 260"/>
                <a:gd name="T92" fmla="*/ 135 w 226"/>
                <a:gd name="T93" fmla="*/ 59 h 260"/>
                <a:gd name="T94" fmla="*/ 145 w 226"/>
                <a:gd name="T95" fmla="*/ 71 h 260"/>
                <a:gd name="T96" fmla="*/ 148 w 226"/>
                <a:gd name="T97" fmla="*/ 86 h 260"/>
                <a:gd name="T98" fmla="*/ 211 w 226"/>
                <a:gd name="T99" fmla="*/ 240 h 260"/>
                <a:gd name="T100" fmla="*/ 204 w 226"/>
                <a:gd name="T101" fmla="*/ 248 h 260"/>
                <a:gd name="T102" fmla="*/ 197 w 226"/>
                <a:gd name="T103" fmla="*/ 248 h 260"/>
                <a:gd name="T104" fmla="*/ 25 w 226"/>
                <a:gd name="T105" fmla="*/ 248 h 260"/>
                <a:gd name="T106" fmla="*/ 18 w 226"/>
                <a:gd name="T107" fmla="*/ 243 h 260"/>
                <a:gd name="T108" fmla="*/ 13 w 226"/>
                <a:gd name="T109" fmla="*/ 233 h 260"/>
                <a:gd name="T110" fmla="*/ 15 w 226"/>
                <a:gd name="T111" fmla="*/ 142 h 260"/>
                <a:gd name="T112" fmla="*/ 25 w 226"/>
                <a:gd name="T113" fmla="*/ 135 h 260"/>
                <a:gd name="T114" fmla="*/ 30 w 226"/>
                <a:gd name="T115" fmla="*/ 132 h 260"/>
                <a:gd name="T116" fmla="*/ 201 w 226"/>
                <a:gd name="T117" fmla="*/ 135 h 260"/>
                <a:gd name="T118" fmla="*/ 211 w 226"/>
                <a:gd name="T119" fmla="*/ 142 h 260"/>
                <a:gd name="T120" fmla="*/ 214 w 226"/>
                <a:gd name="T121" fmla="*/ 150 h 260"/>
                <a:gd name="T122" fmla="*/ 211 w 226"/>
                <a:gd name="T123" fmla="*/ 23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6" h="260">
                  <a:moveTo>
                    <a:pt x="226" y="236"/>
                  </a:moveTo>
                  <a:lnTo>
                    <a:pt x="226" y="233"/>
                  </a:lnTo>
                  <a:lnTo>
                    <a:pt x="224" y="140"/>
                  </a:lnTo>
                  <a:lnTo>
                    <a:pt x="219" y="132"/>
                  </a:lnTo>
                  <a:lnTo>
                    <a:pt x="211" y="125"/>
                  </a:lnTo>
                  <a:lnTo>
                    <a:pt x="204" y="123"/>
                  </a:lnTo>
                  <a:lnTo>
                    <a:pt x="201" y="123"/>
                  </a:lnTo>
                  <a:lnTo>
                    <a:pt x="201" y="66"/>
                  </a:lnTo>
                  <a:lnTo>
                    <a:pt x="197" y="49"/>
                  </a:lnTo>
                  <a:lnTo>
                    <a:pt x="189" y="37"/>
                  </a:lnTo>
                  <a:lnTo>
                    <a:pt x="177" y="22"/>
                  </a:lnTo>
                  <a:lnTo>
                    <a:pt x="167" y="14"/>
                  </a:lnTo>
                  <a:lnTo>
                    <a:pt x="155" y="7"/>
                  </a:lnTo>
                  <a:lnTo>
                    <a:pt x="143" y="2"/>
                  </a:lnTo>
                  <a:lnTo>
                    <a:pt x="121" y="0"/>
                  </a:lnTo>
                  <a:lnTo>
                    <a:pt x="113" y="0"/>
                  </a:lnTo>
                  <a:lnTo>
                    <a:pt x="91" y="0"/>
                  </a:lnTo>
                  <a:lnTo>
                    <a:pt x="74" y="5"/>
                  </a:lnTo>
                  <a:lnTo>
                    <a:pt x="62" y="12"/>
                  </a:lnTo>
                  <a:lnTo>
                    <a:pt x="49" y="22"/>
                  </a:lnTo>
                  <a:lnTo>
                    <a:pt x="40" y="32"/>
                  </a:lnTo>
                  <a:lnTo>
                    <a:pt x="32" y="46"/>
                  </a:lnTo>
                  <a:lnTo>
                    <a:pt x="27" y="64"/>
                  </a:lnTo>
                  <a:lnTo>
                    <a:pt x="25" y="81"/>
                  </a:lnTo>
                  <a:lnTo>
                    <a:pt x="25" y="86"/>
                  </a:lnTo>
                  <a:lnTo>
                    <a:pt x="25" y="123"/>
                  </a:lnTo>
                  <a:lnTo>
                    <a:pt x="15" y="125"/>
                  </a:lnTo>
                  <a:lnTo>
                    <a:pt x="8" y="132"/>
                  </a:lnTo>
                  <a:lnTo>
                    <a:pt x="3" y="140"/>
                  </a:lnTo>
                  <a:lnTo>
                    <a:pt x="0" y="150"/>
                  </a:lnTo>
                  <a:lnTo>
                    <a:pt x="3" y="240"/>
                  </a:lnTo>
                  <a:lnTo>
                    <a:pt x="5" y="245"/>
                  </a:lnTo>
                  <a:lnTo>
                    <a:pt x="10" y="253"/>
                  </a:lnTo>
                  <a:lnTo>
                    <a:pt x="20" y="260"/>
                  </a:lnTo>
                  <a:lnTo>
                    <a:pt x="27" y="260"/>
                  </a:lnTo>
                  <a:lnTo>
                    <a:pt x="30" y="260"/>
                  </a:lnTo>
                  <a:lnTo>
                    <a:pt x="204" y="260"/>
                  </a:lnTo>
                  <a:lnTo>
                    <a:pt x="211" y="258"/>
                  </a:lnTo>
                  <a:lnTo>
                    <a:pt x="219" y="250"/>
                  </a:lnTo>
                  <a:lnTo>
                    <a:pt x="224" y="243"/>
                  </a:lnTo>
                  <a:lnTo>
                    <a:pt x="226" y="236"/>
                  </a:lnTo>
                  <a:close/>
                  <a:moveTo>
                    <a:pt x="37" y="73"/>
                  </a:moveTo>
                  <a:lnTo>
                    <a:pt x="40" y="66"/>
                  </a:lnTo>
                  <a:lnTo>
                    <a:pt x="45" y="49"/>
                  </a:lnTo>
                  <a:lnTo>
                    <a:pt x="54" y="34"/>
                  </a:lnTo>
                  <a:lnTo>
                    <a:pt x="64" y="24"/>
                  </a:lnTo>
                  <a:lnTo>
                    <a:pt x="76" y="17"/>
                  </a:lnTo>
                  <a:lnTo>
                    <a:pt x="89" y="14"/>
                  </a:lnTo>
                  <a:lnTo>
                    <a:pt x="101" y="12"/>
                  </a:lnTo>
                  <a:lnTo>
                    <a:pt x="108" y="12"/>
                  </a:lnTo>
                  <a:lnTo>
                    <a:pt x="113" y="12"/>
                  </a:lnTo>
                  <a:lnTo>
                    <a:pt x="123" y="12"/>
                  </a:lnTo>
                  <a:lnTo>
                    <a:pt x="135" y="12"/>
                  </a:lnTo>
                  <a:lnTo>
                    <a:pt x="148" y="17"/>
                  </a:lnTo>
                  <a:lnTo>
                    <a:pt x="162" y="24"/>
                  </a:lnTo>
                  <a:lnTo>
                    <a:pt x="172" y="34"/>
                  </a:lnTo>
                  <a:lnTo>
                    <a:pt x="182" y="46"/>
                  </a:lnTo>
                  <a:lnTo>
                    <a:pt x="187" y="61"/>
                  </a:lnTo>
                  <a:lnTo>
                    <a:pt x="189" y="73"/>
                  </a:lnTo>
                  <a:lnTo>
                    <a:pt x="189" y="86"/>
                  </a:lnTo>
                  <a:lnTo>
                    <a:pt x="189" y="120"/>
                  </a:lnTo>
                  <a:lnTo>
                    <a:pt x="160" y="120"/>
                  </a:lnTo>
                  <a:lnTo>
                    <a:pt x="160" y="76"/>
                  </a:lnTo>
                  <a:lnTo>
                    <a:pt x="157" y="66"/>
                  </a:lnTo>
                  <a:lnTo>
                    <a:pt x="152" y="56"/>
                  </a:lnTo>
                  <a:lnTo>
                    <a:pt x="145" y="51"/>
                  </a:lnTo>
                  <a:lnTo>
                    <a:pt x="140" y="46"/>
                  </a:lnTo>
                  <a:lnTo>
                    <a:pt x="133" y="44"/>
                  </a:lnTo>
                  <a:lnTo>
                    <a:pt x="123" y="41"/>
                  </a:lnTo>
                  <a:lnTo>
                    <a:pt x="116" y="39"/>
                  </a:lnTo>
                  <a:lnTo>
                    <a:pt x="103" y="41"/>
                  </a:lnTo>
                  <a:lnTo>
                    <a:pt x="94" y="44"/>
                  </a:lnTo>
                  <a:lnTo>
                    <a:pt x="86" y="46"/>
                  </a:lnTo>
                  <a:lnTo>
                    <a:pt x="79" y="54"/>
                  </a:lnTo>
                  <a:lnTo>
                    <a:pt x="74" y="59"/>
                  </a:lnTo>
                  <a:lnTo>
                    <a:pt x="69" y="68"/>
                  </a:lnTo>
                  <a:lnTo>
                    <a:pt x="67" y="76"/>
                  </a:lnTo>
                  <a:lnTo>
                    <a:pt x="67" y="86"/>
                  </a:lnTo>
                  <a:lnTo>
                    <a:pt x="67" y="120"/>
                  </a:lnTo>
                  <a:lnTo>
                    <a:pt x="37" y="120"/>
                  </a:lnTo>
                  <a:lnTo>
                    <a:pt x="37" y="73"/>
                  </a:lnTo>
                  <a:close/>
                  <a:moveTo>
                    <a:pt x="148" y="86"/>
                  </a:moveTo>
                  <a:lnTo>
                    <a:pt x="148" y="120"/>
                  </a:lnTo>
                  <a:lnTo>
                    <a:pt x="79" y="120"/>
                  </a:lnTo>
                  <a:lnTo>
                    <a:pt x="79" y="81"/>
                  </a:lnTo>
                  <a:lnTo>
                    <a:pt x="81" y="71"/>
                  </a:lnTo>
                  <a:lnTo>
                    <a:pt x="84" y="64"/>
                  </a:lnTo>
                  <a:lnTo>
                    <a:pt x="89" y="61"/>
                  </a:lnTo>
                  <a:lnTo>
                    <a:pt x="96" y="56"/>
                  </a:lnTo>
                  <a:lnTo>
                    <a:pt x="106" y="51"/>
                  </a:lnTo>
                  <a:lnTo>
                    <a:pt x="113" y="51"/>
                  </a:lnTo>
                  <a:lnTo>
                    <a:pt x="121" y="51"/>
                  </a:lnTo>
                  <a:lnTo>
                    <a:pt x="130" y="56"/>
                  </a:lnTo>
                  <a:lnTo>
                    <a:pt x="135" y="59"/>
                  </a:lnTo>
                  <a:lnTo>
                    <a:pt x="143" y="64"/>
                  </a:lnTo>
                  <a:lnTo>
                    <a:pt x="145" y="71"/>
                  </a:lnTo>
                  <a:lnTo>
                    <a:pt x="148" y="78"/>
                  </a:lnTo>
                  <a:lnTo>
                    <a:pt x="148" y="86"/>
                  </a:lnTo>
                  <a:close/>
                  <a:moveTo>
                    <a:pt x="211" y="238"/>
                  </a:moveTo>
                  <a:lnTo>
                    <a:pt x="211" y="240"/>
                  </a:lnTo>
                  <a:lnTo>
                    <a:pt x="209" y="243"/>
                  </a:lnTo>
                  <a:lnTo>
                    <a:pt x="204" y="248"/>
                  </a:lnTo>
                  <a:lnTo>
                    <a:pt x="201" y="248"/>
                  </a:lnTo>
                  <a:lnTo>
                    <a:pt x="197" y="248"/>
                  </a:lnTo>
                  <a:lnTo>
                    <a:pt x="30" y="248"/>
                  </a:lnTo>
                  <a:lnTo>
                    <a:pt x="25" y="248"/>
                  </a:lnTo>
                  <a:lnTo>
                    <a:pt x="23" y="245"/>
                  </a:lnTo>
                  <a:lnTo>
                    <a:pt x="18" y="243"/>
                  </a:lnTo>
                  <a:lnTo>
                    <a:pt x="15" y="238"/>
                  </a:lnTo>
                  <a:lnTo>
                    <a:pt x="13" y="233"/>
                  </a:lnTo>
                  <a:lnTo>
                    <a:pt x="13" y="147"/>
                  </a:lnTo>
                  <a:lnTo>
                    <a:pt x="15" y="142"/>
                  </a:lnTo>
                  <a:lnTo>
                    <a:pt x="18" y="137"/>
                  </a:lnTo>
                  <a:lnTo>
                    <a:pt x="25" y="135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199" y="132"/>
                  </a:lnTo>
                  <a:lnTo>
                    <a:pt x="201" y="135"/>
                  </a:lnTo>
                  <a:lnTo>
                    <a:pt x="206" y="137"/>
                  </a:lnTo>
                  <a:lnTo>
                    <a:pt x="211" y="142"/>
                  </a:lnTo>
                  <a:lnTo>
                    <a:pt x="211" y="147"/>
                  </a:lnTo>
                  <a:lnTo>
                    <a:pt x="214" y="150"/>
                  </a:lnTo>
                  <a:lnTo>
                    <a:pt x="214" y="233"/>
                  </a:lnTo>
                  <a:lnTo>
                    <a:pt x="211" y="2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2" name="Group 265">
            <a:extLst>
              <a:ext uri="{FF2B5EF4-FFF2-40B4-BE49-F238E27FC236}">
                <a16:creationId xmlns:a16="http://schemas.microsoft.com/office/drawing/2014/main" id="{6A994ACB-48D0-440A-8E7F-C3EBE8241BA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0050" y="5437188"/>
            <a:ext cx="839788" cy="841375"/>
            <a:chOff x="252" y="3425"/>
            <a:chExt cx="529" cy="530"/>
          </a:xfrm>
        </p:grpSpPr>
        <p:sp>
          <p:nvSpPr>
            <p:cNvPr id="313" name="AutoShape 264">
              <a:extLst>
                <a:ext uri="{FF2B5EF4-FFF2-40B4-BE49-F238E27FC236}">
                  <a16:creationId xmlns:a16="http://schemas.microsoft.com/office/drawing/2014/main" id="{76F4C166-88E9-4CAD-97EC-6B780E514B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2" y="3425"/>
              <a:ext cx="529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Oval 266">
              <a:extLst>
                <a:ext uri="{FF2B5EF4-FFF2-40B4-BE49-F238E27FC236}">
                  <a16:creationId xmlns:a16="http://schemas.microsoft.com/office/drawing/2014/main" id="{B34B60A6-A8E6-482B-A6BC-556F9C2C9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" y="3425"/>
              <a:ext cx="529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67">
              <a:extLst>
                <a:ext uri="{FF2B5EF4-FFF2-40B4-BE49-F238E27FC236}">
                  <a16:creationId xmlns:a16="http://schemas.microsoft.com/office/drawing/2014/main" id="{7B89391A-282C-4612-B928-E3829DF971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3519"/>
              <a:ext cx="182" cy="331"/>
            </a:xfrm>
            <a:custGeom>
              <a:avLst/>
              <a:gdLst>
                <a:gd name="T0" fmla="*/ 528 w 551"/>
                <a:gd name="T1" fmla="*/ 97 h 1001"/>
                <a:gd name="T2" fmla="*/ 469 w 551"/>
                <a:gd name="T3" fmla="*/ 77 h 1001"/>
                <a:gd name="T4" fmla="*/ 397 w 551"/>
                <a:gd name="T5" fmla="*/ 99 h 1001"/>
                <a:gd name="T6" fmla="*/ 173 w 551"/>
                <a:gd name="T7" fmla="*/ 0 h 1001"/>
                <a:gd name="T8" fmla="*/ 102 w 551"/>
                <a:gd name="T9" fmla="*/ 99 h 1001"/>
                <a:gd name="T10" fmla="*/ 63 w 551"/>
                <a:gd name="T11" fmla="*/ 94 h 1001"/>
                <a:gd name="T12" fmla="*/ 23 w 551"/>
                <a:gd name="T13" fmla="*/ 99 h 1001"/>
                <a:gd name="T14" fmla="*/ 2 w 551"/>
                <a:gd name="T15" fmla="*/ 118 h 1001"/>
                <a:gd name="T16" fmla="*/ 148 w 551"/>
                <a:gd name="T17" fmla="*/ 189 h 1001"/>
                <a:gd name="T18" fmla="*/ 38 w 551"/>
                <a:gd name="T19" fmla="*/ 855 h 1001"/>
                <a:gd name="T20" fmla="*/ 501 w 551"/>
                <a:gd name="T21" fmla="*/ 1001 h 1001"/>
                <a:gd name="T22" fmla="*/ 501 w 551"/>
                <a:gd name="T23" fmla="*/ 842 h 1001"/>
                <a:gd name="T24" fmla="*/ 509 w 551"/>
                <a:gd name="T25" fmla="*/ 189 h 1001"/>
                <a:gd name="T26" fmla="*/ 548 w 551"/>
                <a:gd name="T27" fmla="*/ 105 h 1001"/>
                <a:gd name="T28" fmla="*/ 152 w 551"/>
                <a:gd name="T29" fmla="*/ 125 h 1001"/>
                <a:gd name="T30" fmla="*/ 34 w 551"/>
                <a:gd name="T31" fmla="*/ 125 h 1001"/>
                <a:gd name="T32" fmla="*/ 391 w 551"/>
                <a:gd name="T33" fmla="*/ 440 h 1001"/>
                <a:gd name="T34" fmla="*/ 252 w 551"/>
                <a:gd name="T35" fmla="*/ 725 h 1001"/>
                <a:gd name="T36" fmla="*/ 157 w 551"/>
                <a:gd name="T37" fmla="*/ 443 h 1001"/>
                <a:gd name="T38" fmla="*/ 157 w 551"/>
                <a:gd name="T39" fmla="*/ 443 h 1001"/>
                <a:gd name="T40" fmla="*/ 370 w 551"/>
                <a:gd name="T41" fmla="*/ 95 h 1001"/>
                <a:gd name="T42" fmla="*/ 276 w 551"/>
                <a:gd name="T43" fmla="*/ 171 h 1001"/>
                <a:gd name="T44" fmla="*/ 358 w 551"/>
                <a:gd name="T45" fmla="*/ 118 h 1001"/>
                <a:gd name="T46" fmla="*/ 322 w 551"/>
                <a:gd name="T47" fmla="*/ 26 h 1001"/>
                <a:gd name="T48" fmla="*/ 181 w 551"/>
                <a:gd name="T49" fmla="*/ 95 h 1001"/>
                <a:gd name="T50" fmla="*/ 178 w 551"/>
                <a:gd name="T51" fmla="*/ 139 h 1001"/>
                <a:gd name="T52" fmla="*/ 178 w 551"/>
                <a:gd name="T53" fmla="*/ 139 h 1001"/>
                <a:gd name="T54" fmla="*/ 274 w 551"/>
                <a:gd name="T55" fmla="*/ 320 h 1001"/>
                <a:gd name="T56" fmla="*/ 168 w 551"/>
                <a:gd name="T57" fmla="*/ 281 h 1001"/>
                <a:gd name="T58" fmla="*/ 168 w 551"/>
                <a:gd name="T59" fmla="*/ 281 h 1001"/>
                <a:gd name="T60" fmla="*/ 273 w 551"/>
                <a:gd name="T61" fmla="*/ 494 h 1001"/>
                <a:gd name="T62" fmla="*/ 273 w 551"/>
                <a:gd name="T63" fmla="*/ 526 h 1001"/>
                <a:gd name="T64" fmla="*/ 157 w 551"/>
                <a:gd name="T65" fmla="*/ 611 h 1001"/>
                <a:gd name="T66" fmla="*/ 393 w 551"/>
                <a:gd name="T67" fmla="*/ 842 h 1001"/>
                <a:gd name="T68" fmla="*/ 414 w 551"/>
                <a:gd name="T69" fmla="*/ 826 h 1001"/>
                <a:gd name="T70" fmla="*/ 414 w 551"/>
                <a:gd name="T71" fmla="*/ 826 h 1001"/>
                <a:gd name="T72" fmla="*/ 388 w 551"/>
                <a:gd name="T73" fmla="*/ 396 h 1001"/>
                <a:gd name="T74" fmla="*/ 373 w 551"/>
                <a:gd name="T75" fmla="*/ 140 h 1001"/>
                <a:gd name="T76" fmla="*/ 488 w 551"/>
                <a:gd name="T77" fmla="*/ 975 h 1001"/>
                <a:gd name="T78" fmla="*/ 117 w 551"/>
                <a:gd name="T79" fmla="*/ 868 h 1001"/>
                <a:gd name="T80" fmla="*/ 488 w 551"/>
                <a:gd name="T81" fmla="*/ 975 h 1001"/>
                <a:gd name="T82" fmla="*/ 399 w 551"/>
                <a:gd name="T83" fmla="*/ 125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51" h="1001">
                  <a:moveTo>
                    <a:pt x="537" y="99"/>
                  </a:moveTo>
                  <a:cubicBezTo>
                    <a:pt x="528" y="99"/>
                    <a:pt x="528" y="99"/>
                    <a:pt x="528" y="99"/>
                  </a:cubicBezTo>
                  <a:cubicBezTo>
                    <a:pt x="528" y="97"/>
                    <a:pt x="528" y="97"/>
                    <a:pt x="528" y="97"/>
                  </a:cubicBezTo>
                  <a:cubicBezTo>
                    <a:pt x="528" y="86"/>
                    <a:pt x="519" y="77"/>
                    <a:pt x="508" y="77"/>
                  </a:cubicBezTo>
                  <a:cubicBezTo>
                    <a:pt x="498" y="77"/>
                    <a:pt x="490" y="84"/>
                    <a:pt x="489" y="94"/>
                  </a:cubicBezTo>
                  <a:cubicBezTo>
                    <a:pt x="487" y="84"/>
                    <a:pt x="479" y="77"/>
                    <a:pt x="469" y="77"/>
                  </a:cubicBezTo>
                  <a:cubicBezTo>
                    <a:pt x="458" y="77"/>
                    <a:pt x="450" y="86"/>
                    <a:pt x="450" y="97"/>
                  </a:cubicBezTo>
                  <a:cubicBezTo>
                    <a:pt x="450" y="99"/>
                    <a:pt x="450" y="99"/>
                    <a:pt x="450" y="99"/>
                  </a:cubicBezTo>
                  <a:cubicBezTo>
                    <a:pt x="397" y="99"/>
                    <a:pt x="397" y="99"/>
                    <a:pt x="397" y="99"/>
                  </a:cubicBezTo>
                  <a:cubicBezTo>
                    <a:pt x="391" y="12"/>
                    <a:pt x="391" y="12"/>
                    <a:pt x="391" y="12"/>
                  </a:cubicBezTo>
                  <a:cubicBezTo>
                    <a:pt x="391" y="5"/>
                    <a:pt x="385" y="0"/>
                    <a:pt x="37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66" y="0"/>
                    <a:pt x="161" y="5"/>
                    <a:pt x="160" y="12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02" y="99"/>
                    <a:pt x="102" y="99"/>
                    <a:pt x="102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86"/>
                    <a:pt x="93" y="77"/>
                    <a:pt x="82" y="77"/>
                  </a:cubicBezTo>
                  <a:cubicBezTo>
                    <a:pt x="72" y="77"/>
                    <a:pt x="64" y="84"/>
                    <a:pt x="63" y="94"/>
                  </a:cubicBezTo>
                  <a:cubicBezTo>
                    <a:pt x="61" y="84"/>
                    <a:pt x="53" y="77"/>
                    <a:pt x="43" y="77"/>
                  </a:cubicBezTo>
                  <a:cubicBezTo>
                    <a:pt x="32" y="77"/>
                    <a:pt x="23" y="86"/>
                    <a:pt x="23" y="97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0" y="99"/>
                    <a:pt x="5" y="102"/>
                    <a:pt x="3" y="105"/>
                  </a:cubicBezTo>
                  <a:cubicBezTo>
                    <a:pt x="1" y="109"/>
                    <a:pt x="0" y="114"/>
                    <a:pt x="2" y="118"/>
                  </a:cubicBezTo>
                  <a:cubicBezTo>
                    <a:pt x="30" y="182"/>
                    <a:pt x="30" y="182"/>
                    <a:pt x="30" y="182"/>
                  </a:cubicBezTo>
                  <a:cubicBezTo>
                    <a:pt x="32" y="186"/>
                    <a:pt x="37" y="189"/>
                    <a:pt x="42" y="189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04" y="842"/>
                    <a:pt x="104" y="842"/>
                    <a:pt x="104" y="842"/>
                  </a:cubicBezTo>
                  <a:cubicBezTo>
                    <a:pt x="51" y="842"/>
                    <a:pt x="51" y="842"/>
                    <a:pt x="51" y="842"/>
                  </a:cubicBezTo>
                  <a:cubicBezTo>
                    <a:pt x="44" y="842"/>
                    <a:pt x="38" y="848"/>
                    <a:pt x="38" y="855"/>
                  </a:cubicBezTo>
                  <a:cubicBezTo>
                    <a:pt x="38" y="988"/>
                    <a:pt x="38" y="988"/>
                    <a:pt x="38" y="988"/>
                  </a:cubicBezTo>
                  <a:cubicBezTo>
                    <a:pt x="38" y="995"/>
                    <a:pt x="44" y="1001"/>
                    <a:pt x="51" y="1001"/>
                  </a:cubicBezTo>
                  <a:cubicBezTo>
                    <a:pt x="501" y="1001"/>
                    <a:pt x="501" y="1001"/>
                    <a:pt x="501" y="1001"/>
                  </a:cubicBezTo>
                  <a:cubicBezTo>
                    <a:pt x="508" y="1001"/>
                    <a:pt x="514" y="995"/>
                    <a:pt x="514" y="988"/>
                  </a:cubicBezTo>
                  <a:cubicBezTo>
                    <a:pt x="514" y="855"/>
                    <a:pt x="514" y="855"/>
                    <a:pt x="514" y="855"/>
                  </a:cubicBezTo>
                  <a:cubicBezTo>
                    <a:pt x="514" y="848"/>
                    <a:pt x="508" y="842"/>
                    <a:pt x="501" y="842"/>
                  </a:cubicBezTo>
                  <a:cubicBezTo>
                    <a:pt x="441" y="842"/>
                    <a:pt x="441" y="842"/>
                    <a:pt x="441" y="842"/>
                  </a:cubicBezTo>
                  <a:cubicBezTo>
                    <a:pt x="402" y="189"/>
                    <a:pt x="402" y="189"/>
                    <a:pt x="402" y="189"/>
                  </a:cubicBezTo>
                  <a:cubicBezTo>
                    <a:pt x="509" y="189"/>
                    <a:pt x="509" y="189"/>
                    <a:pt x="509" y="189"/>
                  </a:cubicBezTo>
                  <a:cubicBezTo>
                    <a:pt x="514" y="189"/>
                    <a:pt x="519" y="186"/>
                    <a:pt x="521" y="182"/>
                  </a:cubicBezTo>
                  <a:cubicBezTo>
                    <a:pt x="549" y="118"/>
                    <a:pt x="549" y="118"/>
                    <a:pt x="549" y="118"/>
                  </a:cubicBezTo>
                  <a:cubicBezTo>
                    <a:pt x="551" y="114"/>
                    <a:pt x="551" y="109"/>
                    <a:pt x="548" y="105"/>
                  </a:cubicBezTo>
                  <a:cubicBezTo>
                    <a:pt x="546" y="102"/>
                    <a:pt x="542" y="99"/>
                    <a:pt x="537" y="99"/>
                  </a:cubicBezTo>
                  <a:close/>
                  <a:moveTo>
                    <a:pt x="34" y="125"/>
                  </a:moveTo>
                  <a:cubicBezTo>
                    <a:pt x="152" y="125"/>
                    <a:pt x="152" y="125"/>
                    <a:pt x="152" y="125"/>
                  </a:cubicBezTo>
                  <a:cubicBezTo>
                    <a:pt x="149" y="163"/>
                    <a:pt x="149" y="163"/>
                    <a:pt x="149" y="163"/>
                  </a:cubicBezTo>
                  <a:cubicBezTo>
                    <a:pt x="51" y="163"/>
                    <a:pt x="51" y="163"/>
                    <a:pt x="51" y="163"/>
                  </a:cubicBezTo>
                  <a:lnTo>
                    <a:pt x="34" y="125"/>
                  </a:lnTo>
                  <a:close/>
                  <a:moveTo>
                    <a:pt x="400" y="586"/>
                  </a:moveTo>
                  <a:cubicBezTo>
                    <a:pt x="295" y="510"/>
                    <a:pt x="295" y="510"/>
                    <a:pt x="295" y="510"/>
                  </a:cubicBezTo>
                  <a:cubicBezTo>
                    <a:pt x="391" y="440"/>
                    <a:pt x="391" y="440"/>
                    <a:pt x="391" y="440"/>
                  </a:cubicBezTo>
                  <a:lnTo>
                    <a:pt x="400" y="586"/>
                  </a:lnTo>
                  <a:close/>
                  <a:moveTo>
                    <a:pt x="144" y="635"/>
                  </a:moveTo>
                  <a:cubicBezTo>
                    <a:pt x="252" y="725"/>
                    <a:pt x="252" y="725"/>
                    <a:pt x="252" y="725"/>
                  </a:cubicBezTo>
                  <a:cubicBezTo>
                    <a:pt x="132" y="826"/>
                    <a:pt x="132" y="826"/>
                    <a:pt x="132" y="826"/>
                  </a:cubicBezTo>
                  <a:lnTo>
                    <a:pt x="144" y="635"/>
                  </a:lnTo>
                  <a:close/>
                  <a:moveTo>
                    <a:pt x="157" y="443"/>
                  </a:moveTo>
                  <a:cubicBezTo>
                    <a:pt x="251" y="510"/>
                    <a:pt x="251" y="510"/>
                    <a:pt x="251" y="510"/>
                  </a:cubicBezTo>
                  <a:cubicBezTo>
                    <a:pt x="148" y="585"/>
                    <a:pt x="148" y="585"/>
                    <a:pt x="148" y="585"/>
                  </a:cubicBezTo>
                  <a:lnTo>
                    <a:pt x="157" y="443"/>
                  </a:lnTo>
                  <a:close/>
                  <a:moveTo>
                    <a:pt x="305" y="63"/>
                  </a:moveTo>
                  <a:cubicBezTo>
                    <a:pt x="367" y="33"/>
                    <a:pt x="367" y="33"/>
                    <a:pt x="367" y="33"/>
                  </a:cubicBezTo>
                  <a:cubicBezTo>
                    <a:pt x="370" y="95"/>
                    <a:pt x="370" y="95"/>
                    <a:pt x="370" y="95"/>
                  </a:cubicBezTo>
                  <a:lnTo>
                    <a:pt x="305" y="63"/>
                  </a:lnTo>
                  <a:close/>
                  <a:moveTo>
                    <a:pt x="358" y="118"/>
                  </a:moveTo>
                  <a:cubicBezTo>
                    <a:pt x="276" y="171"/>
                    <a:pt x="276" y="171"/>
                    <a:pt x="276" y="171"/>
                  </a:cubicBezTo>
                  <a:cubicBezTo>
                    <a:pt x="193" y="118"/>
                    <a:pt x="193" y="118"/>
                    <a:pt x="193" y="118"/>
                  </a:cubicBezTo>
                  <a:cubicBezTo>
                    <a:pt x="276" y="78"/>
                    <a:pt x="276" y="78"/>
                    <a:pt x="276" y="78"/>
                  </a:cubicBezTo>
                  <a:lnTo>
                    <a:pt x="358" y="118"/>
                  </a:lnTo>
                  <a:close/>
                  <a:moveTo>
                    <a:pt x="276" y="49"/>
                  </a:moveTo>
                  <a:cubicBezTo>
                    <a:pt x="229" y="26"/>
                    <a:pt x="229" y="26"/>
                    <a:pt x="229" y="26"/>
                  </a:cubicBezTo>
                  <a:cubicBezTo>
                    <a:pt x="322" y="26"/>
                    <a:pt x="322" y="26"/>
                    <a:pt x="322" y="26"/>
                  </a:cubicBezTo>
                  <a:lnTo>
                    <a:pt x="276" y="49"/>
                  </a:lnTo>
                  <a:close/>
                  <a:moveTo>
                    <a:pt x="246" y="63"/>
                  </a:moveTo>
                  <a:cubicBezTo>
                    <a:pt x="181" y="95"/>
                    <a:pt x="181" y="95"/>
                    <a:pt x="181" y="95"/>
                  </a:cubicBezTo>
                  <a:cubicBezTo>
                    <a:pt x="185" y="33"/>
                    <a:pt x="185" y="33"/>
                    <a:pt x="185" y="33"/>
                  </a:cubicBezTo>
                  <a:lnTo>
                    <a:pt x="246" y="63"/>
                  </a:lnTo>
                  <a:close/>
                  <a:moveTo>
                    <a:pt x="178" y="139"/>
                  </a:moveTo>
                  <a:cubicBezTo>
                    <a:pt x="252" y="186"/>
                    <a:pt x="252" y="186"/>
                    <a:pt x="252" y="186"/>
                  </a:cubicBezTo>
                  <a:cubicBezTo>
                    <a:pt x="171" y="238"/>
                    <a:pt x="171" y="238"/>
                    <a:pt x="171" y="238"/>
                  </a:cubicBezTo>
                  <a:lnTo>
                    <a:pt x="178" y="139"/>
                  </a:lnTo>
                  <a:close/>
                  <a:moveTo>
                    <a:pt x="276" y="20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274" y="320"/>
                    <a:pt x="274" y="320"/>
                    <a:pt x="274" y="320"/>
                  </a:cubicBezTo>
                  <a:cubicBezTo>
                    <a:pt x="184" y="260"/>
                    <a:pt x="184" y="260"/>
                    <a:pt x="184" y="260"/>
                  </a:cubicBezTo>
                  <a:lnTo>
                    <a:pt x="276" y="201"/>
                  </a:lnTo>
                  <a:close/>
                  <a:moveTo>
                    <a:pt x="168" y="281"/>
                  </a:moveTo>
                  <a:cubicBezTo>
                    <a:pt x="251" y="336"/>
                    <a:pt x="251" y="336"/>
                    <a:pt x="251" y="336"/>
                  </a:cubicBezTo>
                  <a:cubicBezTo>
                    <a:pt x="161" y="395"/>
                    <a:pt x="161" y="395"/>
                    <a:pt x="161" y="395"/>
                  </a:cubicBezTo>
                  <a:lnTo>
                    <a:pt x="168" y="281"/>
                  </a:lnTo>
                  <a:close/>
                  <a:moveTo>
                    <a:pt x="274" y="351"/>
                  </a:moveTo>
                  <a:cubicBezTo>
                    <a:pt x="376" y="419"/>
                    <a:pt x="376" y="419"/>
                    <a:pt x="376" y="419"/>
                  </a:cubicBezTo>
                  <a:cubicBezTo>
                    <a:pt x="273" y="494"/>
                    <a:pt x="273" y="494"/>
                    <a:pt x="273" y="494"/>
                  </a:cubicBezTo>
                  <a:cubicBezTo>
                    <a:pt x="170" y="420"/>
                    <a:pt x="170" y="420"/>
                    <a:pt x="170" y="420"/>
                  </a:cubicBezTo>
                  <a:lnTo>
                    <a:pt x="274" y="351"/>
                  </a:lnTo>
                  <a:close/>
                  <a:moveTo>
                    <a:pt x="273" y="526"/>
                  </a:moveTo>
                  <a:cubicBezTo>
                    <a:pt x="389" y="611"/>
                    <a:pt x="389" y="611"/>
                    <a:pt x="389" y="611"/>
                  </a:cubicBezTo>
                  <a:cubicBezTo>
                    <a:pt x="273" y="708"/>
                    <a:pt x="273" y="708"/>
                    <a:pt x="273" y="708"/>
                  </a:cubicBezTo>
                  <a:cubicBezTo>
                    <a:pt x="157" y="611"/>
                    <a:pt x="157" y="611"/>
                    <a:pt x="157" y="611"/>
                  </a:cubicBezTo>
                  <a:lnTo>
                    <a:pt x="273" y="526"/>
                  </a:lnTo>
                  <a:close/>
                  <a:moveTo>
                    <a:pt x="273" y="742"/>
                  </a:moveTo>
                  <a:cubicBezTo>
                    <a:pt x="393" y="842"/>
                    <a:pt x="393" y="842"/>
                    <a:pt x="393" y="842"/>
                  </a:cubicBezTo>
                  <a:cubicBezTo>
                    <a:pt x="152" y="842"/>
                    <a:pt x="152" y="842"/>
                    <a:pt x="152" y="842"/>
                  </a:cubicBezTo>
                  <a:lnTo>
                    <a:pt x="273" y="742"/>
                  </a:lnTo>
                  <a:close/>
                  <a:moveTo>
                    <a:pt x="414" y="826"/>
                  </a:moveTo>
                  <a:cubicBezTo>
                    <a:pt x="293" y="725"/>
                    <a:pt x="293" y="725"/>
                    <a:pt x="293" y="725"/>
                  </a:cubicBezTo>
                  <a:cubicBezTo>
                    <a:pt x="402" y="633"/>
                    <a:pt x="402" y="633"/>
                    <a:pt x="402" y="633"/>
                  </a:cubicBezTo>
                  <a:lnTo>
                    <a:pt x="414" y="826"/>
                  </a:lnTo>
                  <a:close/>
                  <a:moveTo>
                    <a:pt x="298" y="336"/>
                  </a:moveTo>
                  <a:cubicBezTo>
                    <a:pt x="381" y="280"/>
                    <a:pt x="381" y="280"/>
                    <a:pt x="381" y="280"/>
                  </a:cubicBezTo>
                  <a:cubicBezTo>
                    <a:pt x="388" y="396"/>
                    <a:pt x="388" y="396"/>
                    <a:pt x="388" y="396"/>
                  </a:cubicBezTo>
                  <a:lnTo>
                    <a:pt x="298" y="336"/>
                  </a:lnTo>
                  <a:close/>
                  <a:moveTo>
                    <a:pt x="301" y="186"/>
                  </a:moveTo>
                  <a:cubicBezTo>
                    <a:pt x="373" y="140"/>
                    <a:pt x="373" y="140"/>
                    <a:pt x="373" y="140"/>
                  </a:cubicBezTo>
                  <a:cubicBezTo>
                    <a:pt x="379" y="235"/>
                    <a:pt x="379" y="235"/>
                    <a:pt x="379" y="235"/>
                  </a:cubicBezTo>
                  <a:lnTo>
                    <a:pt x="301" y="186"/>
                  </a:lnTo>
                  <a:close/>
                  <a:moveTo>
                    <a:pt x="488" y="975"/>
                  </a:moveTo>
                  <a:cubicBezTo>
                    <a:pt x="64" y="975"/>
                    <a:pt x="64" y="975"/>
                    <a:pt x="64" y="975"/>
                  </a:cubicBezTo>
                  <a:cubicBezTo>
                    <a:pt x="64" y="868"/>
                    <a:pt x="64" y="868"/>
                    <a:pt x="64" y="868"/>
                  </a:cubicBezTo>
                  <a:cubicBezTo>
                    <a:pt x="117" y="868"/>
                    <a:pt x="117" y="868"/>
                    <a:pt x="117" y="868"/>
                  </a:cubicBezTo>
                  <a:cubicBezTo>
                    <a:pt x="429" y="868"/>
                    <a:pt x="429" y="868"/>
                    <a:pt x="429" y="868"/>
                  </a:cubicBezTo>
                  <a:cubicBezTo>
                    <a:pt x="488" y="868"/>
                    <a:pt x="488" y="868"/>
                    <a:pt x="488" y="868"/>
                  </a:cubicBezTo>
                  <a:lnTo>
                    <a:pt x="488" y="975"/>
                  </a:lnTo>
                  <a:close/>
                  <a:moveTo>
                    <a:pt x="501" y="163"/>
                  </a:moveTo>
                  <a:cubicBezTo>
                    <a:pt x="402" y="163"/>
                    <a:pt x="402" y="163"/>
                    <a:pt x="402" y="163"/>
                  </a:cubicBezTo>
                  <a:cubicBezTo>
                    <a:pt x="399" y="125"/>
                    <a:pt x="399" y="125"/>
                    <a:pt x="399" y="125"/>
                  </a:cubicBezTo>
                  <a:cubicBezTo>
                    <a:pt x="517" y="125"/>
                    <a:pt x="517" y="125"/>
                    <a:pt x="517" y="125"/>
                  </a:cubicBezTo>
                  <a:lnTo>
                    <a:pt x="501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68">
              <a:extLst>
                <a:ext uri="{FF2B5EF4-FFF2-40B4-BE49-F238E27FC236}">
                  <a16:creationId xmlns:a16="http://schemas.microsoft.com/office/drawing/2014/main" id="{B1A3D15A-A832-43BA-A600-237F633378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" y="3446"/>
              <a:ext cx="489" cy="489"/>
            </a:xfrm>
            <a:custGeom>
              <a:avLst/>
              <a:gdLst>
                <a:gd name="T0" fmla="*/ 741 w 1482"/>
                <a:gd name="T1" fmla="*/ 0 h 1481"/>
                <a:gd name="T2" fmla="*/ 0 w 1482"/>
                <a:gd name="T3" fmla="*/ 741 h 1481"/>
                <a:gd name="T4" fmla="*/ 741 w 1482"/>
                <a:gd name="T5" fmla="*/ 1481 h 1481"/>
                <a:gd name="T6" fmla="*/ 1482 w 1482"/>
                <a:gd name="T7" fmla="*/ 741 h 1481"/>
                <a:gd name="T8" fmla="*/ 741 w 1482"/>
                <a:gd name="T9" fmla="*/ 0 h 1481"/>
                <a:gd name="T10" fmla="*/ 741 w 1482"/>
                <a:gd name="T11" fmla="*/ 1445 h 1481"/>
                <a:gd name="T12" fmla="*/ 36 w 1482"/>
                <a:gd name="T13" fmla="*/ 741 h 1481"/>
                <a:gd name="T14" fmla="*/ 741 w 1482"/>
                <a:gd name="T15" fmla="*/ 36 h 1481"/>
                <a:gd name="T16" fmla="*/ 1446 w 1482"/>
                <a:gd name="T17" fmla="*/ 741 h 1481"/>
                <a:gd name="T18" fmla="*/ 741 w 1482"/>
                <a:gd name="T19" fmla="*/ 1445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2" h="1481">
                  <a:moveTo>
                    <a:pt x="741" y="0"/>
                  </a:moveTo>
                  <a:cubicBezTo>
                    <a:pt x="333" y="0"/>
                    <a:pt x="0" y="332"/>
                    <a:pt x="0" y="741"/>
                  </a:cubicBezTo>
                  <a:cubicBezTo>
                    <a:pt x="0" y="1149"/>
                    <a:pt x="333" y="1481"/>
                    <a:pt x="741" y="1481"/>
                  </a:cubicBezTo>
                  <a:cubicBezTo>
                    <a:pt x="1149" y="1481"/>
                    <a:pt x="1482" y="1149"/>
                    <a:pt x="1482" y="741"/>
                  </a:cubicBezTo>
                  <a:cubicBezTo>
                    <a:pt x="1482" y="332"/>
                    <a:pt x="1149" y="0"/>
                    <a:pt x="741" y="0"/>
                  </a:cubicBezTo>
                  <a:close/>
                  <a:moveTo>
                    <a:pt x="741" y="1445"/>
                  </a:moveTo>
                  <a:cubicBezTo>
                    <a:pt x="352" y="1445"/>
                    <a:pt x="36" y="1129"/>
                    <a:pt x="36" y="741"/>
                  </a:cubicBezTo>
                  <a:cubicBezTo>
                    <a:pt x="36" y="352"/>
                    <a:pt x="352" y="36"/>
                    <a:pt x="741" y="36"/>
                  </a:cubicBezTo>
                  <a:cubicBezTo>
                    <a:pt x="1130" y="36"/>
                    <a:pt x="1446" y="352"/>
                    <a:pt x="1446" y="741"/>
                  </a:cubicBezTo>
                  <a:cubicBezTo>
                    <a:pt x="1446" y="1129"/>
                    <a:pt x="1130" y="1445"/>
                    <a:pt x="741" y="14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7" name="Group 271">
            <a:extLst>
              <a:ext uri="{FF2B5EF4-FFF2-40B4-BE49-F238E27FC236}">
                <a16:creationId xmlns:a16="http://schemas.microsoft.com/office/drawing/2014/main" id="{34E9001A-568F-46AE-916A-3CEAC3426C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9388" y="5478463"/>
            <a:ext cx="762000" cy="758825"/>
            <a:chOff x="913" y="3451"/>
            <a:chExt cx="480" cy="478"/>
          </a:xfrm>
        </p:grpSpPr>
        <p:sp>
          <p:nvSpPr>
            <p:cNvPr id="318" name="AutoShape 270">
              <a:extLst>
                <a:ext uri="{FF2B5EF4-FFF2-40B4-BE49-F238E27FC236}">
                  <a16:creationId xmlns:a16="http://schemas.microsoft.com/office/drawing/2014/main" id="{4DC1FAA3-98C0-4587-8632-8BC035D5A48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3" y="3451"/>
              <a:ext cx="480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72">
              <a:extLst>
                <a:ext uri="{FF2B5EF4-FFF2-40B4-BE49-F238E27FC236}">
                  <a16:creationId xmlns:a16="http://schemas.microsoft.com/office/drawing/2014/main" id="{984A120A-69D1-41BD-9D2F-C60C6D9263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" y="3795"/>
              <a:ext cx="154" cy="51"/>
            </a:xfrm>
            <a:custGeom>
              <a:avLst/>
              <a:gdLst>
                <a:gd name="T0" fmla="*/ 463 w 476"/>
                <a:gd name="T1" fmla="*/ 159 h 159"/>
                <a:gd name="T2" fmla="*/ 13 w 476"/>
                <a:gd name="T3" fmla="*/ 159 h 159"/>
                <a:gd name="T4" fmla="*/ 0 w 476"/>
                <a:gd name="T5" fmla="*/ 146 h 159"/>
                <a:gd name="T6" fmla="*/ 0 w 476"/>
                <a:gd name="T7" fmla="*/ 13 h 159"/>
                <a:gd name="T8" fmla="*/ 13 w 476"/>
                <a:gd name="T9" fmla="*/ 0 h 159"/>
                <a:gd name="T10" fmla="*/ 463 w 476"/>
                <a:gd name="T11" fmla="*/ 0 h 159"/>
                <a:gd name="T12" fmla="*/ 476 w 476"/>
                <a:gd name="T13" fmla="*/ 13 h 159"/>
                <a:gd name="T14" fmla="*/ 476 w 476"/>
                <a:gd name="T15" fmla="*/ 146 h 159"/>
                <a:gd name="T16" fmla="*/ 463 w 476"/>
                <a:gd name="T17" fmla="*/ 159 h 159"/>
                <a:gd name="T18" fmla="*/ 26 w 476"/>
                <a:gd name="T19" fmla="*/ 133 h 159"/>
                <a:gd name="T20" fmla="*/ 450 w 476"/>
                <a:gd name="T21" fmla="*/ 133 h 159"/>
                <a:gd name="T22" fmla="*/ 450 w 476"/>
                <a:gd name="T23" fmla="*/ 26 h 159"/>
                <a:gd name="T24" fmla="*/ 26 w 476"/>
                <a:gd name="T25" fmla="*/ 26 h 159"/>
                <a:gd name="T26" fmla="*/ 26 w 476"/>
                <a:gd name="T27" fmla="*/ 13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6" h="159">
                  <a:moveTo>
                    <a:pt x="463" y="159"/>
                  </a:moveTo>
                  <a:cubicBezTo>
                    <a:pt x="13" y="159"/>
                    <a:pt x="13" y="159"/>
                    <a:pt x="13" y="159"/>
                  </a:cubicBezTo>
                  <a:cubicBezTo>
                    <a:pt x="6" y="159"/>
                    <a:pt x="0" y="153"/>
                    <a:pt x="0" y="14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463" y="0"/>
                    <a:pt x="463" y="0"/>
                    <a:pt x="463" y="0"/>
                  </a:cubicBezTo>
                  <a:cubicBezTo>
                    <a:pt x="470" y="0"/>
                    <a:pt x="476" y="6"/>
                    <a:pt x="476" y="13"/>
                  </a:cubicBezTo>
                  <a:cubicBezTo>
                    <a:pt x="476" y="146"/>
                    <a:pt x="476" y="146"/>
                    <a:pt x="476" y="146"/>
                  </a:cubicBezTo>
                  <a:cubicBezTo>
                    <a:pt x="476" y="153"/>
                    <a:pt x="470" y="159"/>
                    <a:pt x="463" y="159"/>
                  </a:cubicBezTo>
                  <a:close/>
                  <a:moveTo>
                    <a:pt x="26" y="133"/>
                  </a:moveTo>
                  <a:cubicBezTo>
                    <a:pt x="450" y="133"/>
                    <a:pt x="450" y="133"/>
                    <a:pt x="450" y="133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26" y="26"/>
                    <a:pt x="26" y="26"/>
                    <a:pt x="26" y="26"/>
                  </a:cubicBezTo>
                  <a:lnTo>
                    <a:pt x="26" y="1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3">
              <a:extLst>
                <a:ext uri="{FF2B5EF4-FFF2-40B4-BE49-F238E27FC236}">
                  <a16:creationId xmlns:a16="http://schemas.microsoft.com/office/drawing/2014/main" id="{183FFCBA-7270-4499-8A26-5BF40E42EC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3523"/>
              <a:ext cx="178" cy="280"/>
            </a:xfrm>
            <a:custGeom>
              <a:avLst/>
              <a:gdLst>
                <a:gd name="T0" fmla="*/ 528 w 551"/>
                <a:gd name="T1" fmla="*/ 99 h 868"/>
                <a:gd name="T2" fmla="*/ 508 w 551"/>
                <a:gd name="T3" fmla="*/ 77 h 868"/>
                <a:gd name="T4" fmla="*/ 469 w 551"/>
                <a:gd name="T5" fmla="*/ 77 h 868"/>
                <a:gd name="T6" fmla="*/ 450 w 551"/>
                <a:gd name="T7" fmla="*/ 99 h 868"/>
                <a:gd name="T8" fmla="*/ 391 w 551"/>
                <a:gd name="T9" fmla="*/ 12 h 868"/>
                <a:gd name="T10" fmla="*/ 173 w 551"/>
                <a:gd name="T11" fmla="*/ 0 h 868"/>
                <a:gd name="T12" fmla="*/ 154 w 551"/>
                <a:gd name="T13" fmla="*/ 99 h 868"/>
                <a:gd name="T14" fmla="*/ 102 w 551"/>
                <a:gd name="T15" fmla="*/ 97 h 868"/>
                <a:gd name="T16" fmla="*/ 63 w 551"/>
                <a:gd name="T17" fmla="*/ 94 h 868"/>
                <a:gd name="T18" fmla="*/ 23 w 551"/>
                <a:gd name="T19" fmla="*/ 97 h 868"/>
                <a:gd name="T20" fmla="*/ 14 w 551"/>
                <a:gd name="T21" fmla="*/ 99 h 868"/>
                <a:gd name="T22" fmla="*/ 2 w 551"/>
                <a:gd name="T23" fmla="*/ 118 h 868"/>
                <a:gd name="T24" fmla="*/ 42 w 551"/>
                <a:gd name="T25" fmla="*/ 189 h 868"/>
                <a:gd name="T26" fmla="*/ 104 w 551"/>
                <a:gd name="T27" fmla="*/ 854 h 868"/>
                <a:gd name="T28" fmla="*/ 117 w 551"/>
                <a:gd name="T29" fmla="*/ 868 h 868"/>
                <a:gd name="T30" fmla="*/ 438 w 551"/>
                <a:gd name="T31" fmla="*/ 864 h 868"/>
                <a:gd name="T32" fmla="*/ 402 w 551"/>
                <a:gd name="T33" fmla="*/ 189 h 868"/>
                <a:gd name="T34" fmla="*/ 521 w 551"/>
                <a:gd name="T35" fmla="*/ 182 h 868"/>
                <a:gd name="T36" fmla="*/ 548 w 551"/>
                <a:gd name="T37" fmla="*/ 105 h 868"/>
                <a:gd name="T38" fmla="*/ 252 w 551"/>
                <a:gd name="T39" fmla="*/ 186 h 868"/>
                <a:gd name="T40" fmla="*/ 178 w 551"/>
                <a:gd name="T41" fmla="*/ 139 h 868"/>
                <a:gd name="T42" fmla="*/ 193 w 551"/>
                <a:gd name="T43" fmla="*/ 118 h 868"/>
                <a:gd name="T44" fmla="*/ 358 w 551"/>
                <a:gd name="T45" fmla="*/ 118 h 868"/>
                <a:gd name="T46" fmla="*/ 193 w 551"/>
                <a:gd name="T47" fmla="*/ 118 h 868"/>
                <a:gd name="T48" fmla="*/ 367 w 551"/>
                <a:gd name="T49" fmla="*/ 258 h 868"/>
                <a:gd name="T50" fmla="*/ 184 w 551"/>
                <a:gd name="T51" fmla="*/ 260 h 868"/>
                <a:gd name="T52" fmla="*/ 301 w 551"/>
                <a:gd name="T53" fmla="*/ 186 h 868"/>
                <a:gd name="T54" fmla="*/ 379 w 551"/>
                <a:gd name="T55" fmla="*/ 235 h 868"/>
                <a:gd name="T56" fmla="*/ 305 w 551"/>
                <a:gd name="T57" fmla="*/ 63 h 868"/>
                <a:gd name="T58" fmla="*/ 370 w 551"/>
                <a:gd name="T59" fmla="*/ 95 h 868"/>
                <a:gd name="T60" fmla="*/ 276 w 551"/>
                <a:gd name="T61" fmla="*/ 49 h 868"/>
                <a:gd name="T62" fmla="*/ 322 w 551"/>
                <a:gd name="T63" fmla="*/ 26 h 868"/>
                <a:gd name="T64" fmla="*/ 246 w 551"/>
                <a:gd name="T65" fmla="*/ 63 h 868"/>
                <a:gd name="T66" fmla="*/ 185 w 551"/>
                <a:gd name="T67" fmla="*/ 33 h 868"/>
                <a:gd name="T68" fmla="*/ 168 w 551"/>
                <a:gd name="T69" fmla="*/ 281 h 868"/>
                <a:gd name="T70" fmla="*/ 161 w 551"/>
                <a:gd name="T71" fmla="*/ 395 h 868"/>
                <a:gd name="T72" fmla="*/ 274 w 551"/>
                <a:gd name="T73" fmla="*/ 351 h 868"/>
                <a:gd name="T74" fmla="*/ 273 w 551"/>
                <a:gd name="T75" fmla="*/ 494 h 868"/>
                <a:gd name="T76" fmla="*/ 274 w 551"/>
                <a:gd name="T77" fmla="*/ 351 h 868"/>
                <a:gd name="T78" fmla="*/ 389 w 551"/>
                <a:gd name="T79" fmla="*/ 611 h 868"/>
                <a:gd name="T80" fmla="*/ 157 w 551"/>
                <a:gd name="T81" fmla="*/ 611 h 868"/>
                <a:gd name="T82" fmla="*/ 295 w 551"/>
                <a:gd name="T83" fmla="*/ 510 h 868"/>
                <a:gd name="T84" fmla="*/ 400 w 551"/>
                <a:gd name="T85" fmla="*/ 586 h 868"/>
                <a:gd name="T86" fmla="*/ 298 w 551"/>
                <a:gd name="T87" fmla="*/ 336 h 868"/>
                <a:gd name="T88" fmla="*/ 388 w 551"/>
                <a:gd name="T89" fmla="*/ 396 h 868"/>
                <a:gd name="T90" fmla="*/ 51 w 551"/>
                <a:gd name="T91" fmla="*/ 163 h 868"/>
                <a:gd name="T92" fmla="*/ 152 w 551"/>
                <a:gd name="T93" fmla="*/ 125 h 868"/>
                <a:gd name="T94" fmla="*/ 51 w 551"/>
                <a:gd name="T95" fmla="*/ 163 h 868"/>
                <a:gd name="T96" fmla="*/ 251 w 551"/>
                <a:gd name="T97" fmla="*/ 510 h 868"/>
                <a:gd name="T98" fmla="*/ 157 w 551"/>
                <a:gd name="T99" fmla="*/ 443 h 868"/>
                <a:gd name="T100" fmla="*/ 252 w 551"/>
                <a:gd name="T101" fmla="*/ 725 h 868"/>
                <a:gd name="T102" fmla="*/ 144 w 551"/>
                <a:gd name="T103" fmla="*/ 635 h 868"/>
                <a:gd name="T104" fmla="*/ 273 w 551"/>
                <a:gd name="T105" fmla="*/ 742 h 868"/>
                <a:gd name="T106" fmla="*/ 152 w 551"/>
                <a:gd name="T107" fmla="*/ 842 h 868"/>
                <a:gd name="T108" fmla="*/ 293 w 551"/>
                <a:gd name="T109" fmla="*/ 725 h 868"/>
                <a:gd name="T110" fmla="*/ 414 w 551"/>
                <a:gd name="T111" fmla="*/ 826 h 868"/>
                <a:gd name="T112" fmla="*/ 402 w 551"/>
                <a:gd name="T113" fmla="*/ 163 h 868"/>
                <a:gd name="T114" fmla="*/ 517 w 551"/>
                <a:gd name="T115" fmla="*/ 12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1" h="868">
                  <a:moveTo>
                    <a:pt x="537" y="99"/>
                  </a:moveTo>
                  <a:cubicBezTo>
                    <a:pt x="528" y="99"/>
                    <a:pt x="528" y="99"/>
                    <a:pt x="528" y="99"/>
                  </a:cubicBezTo>
                  <a:cubicBezTo>
                    <a:pt x="528" y="97"/>
                    <a:pt x="528" y="97"/>
                    <a:pt x="528" y="97"/>
                  </a:cubicBezTo>
                  <a:cubicBezTo>
                    <a:pt x="528" y="86"/>
                    <a:pt x="519" y="77"/>
                    <a:pt x="508" y="77"/>
                  </a:cubicBezTo>
                  <a:cubicBezTo>
                    <a:pt x="498" y="77"/>
                    <a:pt x="490" y="84"/>
                    <a:pt x="489" y="94"/>
                  </a:cubicBezTo>
                  <a:cubicBezTo>
                    <a:pt x="487" y="84"/>
                    <a:pt x="479" y="77"/>
                    <a:pt x="469" y="77"/>
                  </a:cubicBezTo>
                  <a:cubicBezTo>
                    <a:pt x="458" y="77"/>
                    <a:pt x="450" y="86"/>
                    <a:pt x="450" y="97"/>
                  </a:cubicBezTo>
                  <a:cubicBezTo>
                    <a:pt x="450" y="99"/>
                    <a:pt x="450" y="99"/>
                    <a:pt x="450" y="99"/>
                  </a:cubicBezTo>
                  <a:cubicBezTo>
                    <a:pt x="397" y="99"/>
                    <a:pt x="397" y="99"/>
                    <a:pt x="397" y="99"/>
                  </a:cubicBezTo>
                  <a:cubicBezTo>
                    <a:pt x="391" y="12"/>
                    <a:pt x="391" y="12"/>
                    <a:pt x="391" y="12"/>
                  </a:cubicBezTo>
                  <a:cubicBezTo>
                    <a:pt x="391" y="5"/>
                    <a:pt x="385" y="0"/>
                    <a:pt x="37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66" y="0"/>
                    <a:pt x="161" y="5"/>
                    <a:pt x="160" y="12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02" y="99"/>
                    <a:pt x="102" y="99"/>
                    <a:pt x="102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86"/>
                    <a:pt x="93" y="77"/>
                    <a:pt x="82" y="77"/>
                  </a:cubicBezTo>
                  <a:cubicBezTo>
                    <a:pt x="72" y="77"/>
                    <a:pt x="64" y="84"/>
                    <a:pt x="63" y="94"/>
                  </a:cubicBezTo>
                  <a:cubicBezTo>
                    <a:pt x="61" y="84"/>
                    <a:pt x="53" y="77"/>
                    <a:pt x="43" y="77"/>
                  </a:cubicBezTo>
                  <a:cubicBezTo>
                    <a:pt x="32" y="77"/>
                    <a:pt x="23" y="86"/>
                    <a:pt x="23" y="97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0" y="99"/>
                    <a:pt x="5" y="102"/>
                    <a:pt x="3" y="105"/>
                  </a:cubicBezTo>
                  <a:cubicBezTo>
                    <a:pt x="1" y="109"/>
                    <a:pt x="0" y="114"/>
                    <a:pt x="2" y="118"/>
                  </a:cubicBezTo>
                  <a:cubicBezTo>
                    <a:pt x="30" y="182"/>
                    <a:pt x="30" y="182"/>
                    <a:pt x="30" y="182"/>
                  </a:cubicBezTo>
                  <a:cubicBezTo>
                    <a:pt x="32" y="186"/>
                    <a:pt x="37" y="189"/>
                    <a:pt x="42" y="189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04" y="854"/>
                    <a:pt x="104" y="854"/>
                    <a:pt x="104" y="854"/>
                  </a:cubicBezTo>
                  <a:cubicBezTo>
                    <a:pt x="103" y="858"/>
                    <a:pt x="105" y="861"/>
                    <a:pt x="107" y="864"/>
                  </a:cubicBezTo>
                  <a:cubicBezTo>
                    <a:pt x="110" y="867"/>
                    <a:pt x="113" y="868"/>
                    <a:pt x="117" y="868"/>
                  </a:cubicBezTo>
                  <a:cubicBezTo>
                    <a:pt x="429" y="868"/>
                    <a:pt x="429" y="868"/>
                    <a:pt x="429" y="868"/>
                  </a:cubicBezTo>
                  <a:cubicBezTo>
                    <a:pt x="432" y="868"/>
                    <a:pt x="436" y="867"/>
                    <a:pt x="438" y="864"/>
                  </a:cubicBezTo>
                  <a:cubicBezTo>
                    <a:pt x="441" y="861"/>
                    <a:pt x="442" y="858"/>
                    <a:pt x="442" y="854"/>
                  </a:cubicBezTo>
                  <a:cubicBezTo>
                    <a:pt x="402" y="189"/>
                    <a:pt x="402" y="189"/>
                    <a:pt x="402" y="189"/>
                  </a:cubicBezTo>
                  <a:cubicBezTo>
                    <a:pt x="509" y="189"/>
                    <a:pt x="509" y="189"/>
                    <a:pt x="509" y="189"/>
                  </a:cubicBezTo>
                  <a:cubicBezTo>
                    <a:pt x="514" y="189"/>
                    <a:pt x="519" y="186"/>
                    <a:pt x="521" y="182"/>
                  </a:cubicBezTo>
                  <a:cubicBezTo>
                    <a:pt x="549" y="118"/>
                    <a:pt x="549" y="118"/>
                    <a:pt x="549" y="118"/>
                  </a:cubicBezTo>
                  <a:cubicBezTo>
                    <a:pt x="551" y="114"/>
                    <a:pt x="551" y="109"/>
                    <a:pt x="548" y="105"/>
                  </a:cubicBezTo>
                  <a:cubicBezTo>
                    <a:pt x="546" y="102"/>
                    <a:pt x="542" y="99"/>
                    <a:pt x="537" y="99"/>
                  </a:cubicBezTo>
                  <a:close/>
                  <a:moveTo>
                    <a:pt x="252" y="186"/>
                  </a:moveTo>
                  <a:cubicBezTo>
                    <a:pt x="171" y="238"/>
                    <a:pt x="171" y="238"/>
                    <a:pt x="171" y="238"/>
                  </a:cubicBezTo>
                  <a:cubicBezTo>
                    <a:pt x="178" y="139"/>
                    <a:pt x="178" y="139"/>
                    <a:pt x="178" y="139"/>
                  </a:cubicBezTo>
                  <a:lnTo>
                    <a:pt x="252" y="186"/>
                  </a:lnTo>
                  <a:close/>
                  <a:moveTo>
                    <a:pt x="193" y="118"/>
                  </a:moveTo>
                  <a:cubicBezTo>
                    <a:pt x="276" y="78"/>
                    <a:pt x="276" y="78"/>
                    <a:pt x="276" y="78"/>
                  </a:cubicBezTo>
                  <a:cubicBezTo>
                    <a:pt x="358" y="118"/>
                    <a:pt x="358" y="118"/>
                    <a:pt x="358" y="118"/>
                  </a:cubicBezTo>
                  <a:cubicBezTo>
                    <a:pt x="276" y="171"/>
                    <a:pt x="276" y="171"/>
                    <a:pt x="276" y="171"/>
                  </a:cubicBezTo>
                  <a:lnTo>
                    <a:pt x="193" y="118"/>
                  </a:lnTo>
                  <a:close/>
                  <a:moveTo>
                    <a:pt x="276" y="20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274" y="320"/>
                    <a:pt x="274" y="320"/>
                    <a:pt x="274" y="320"/>
                  </a:cubicBezTo>
                  <a:cubicBezTo>
                    <a:pt x="184" y="260"/>
                    <a:pt x="184" y="260"/>
                    <a:pt x="184" y="260"/>
                  </a:cubicBezTo>
                  <a:lnTo>
                    <a:pt x="276" y="201"/>
                  </a:lnTo>
                  <a:close/>
                  <a:moveTo>
                    <a:pt x="301" y="186"/>
                  </a:moveTo>
                  <a:cubicBezTo>
                    <a:pt x="373" y="140"/>
                    <a:pt x="373" y="140"/>
                    <a:pt x="373" y="140"/>
                  </a:cubicBezTo>
                  <a:cubicBezTo>
                    <a:pt x="379" y="235"/>
                    <a:pt x="379" y="235"/>
                    <a:pt x="379" y="235"/>
                  </a:cubicBezTo>
                  <a:lnTo>
                    <a:pt x="301" y="186"/>
                  </a:lnTo>
                  <a:close/>
                  <a:moveTo>
                    <a:pt x="305" y="63"/>
                  </a:moveTo>
                  <a:cubicBezTo>
                    <a:pt x="367" y="33"/>
                    <a:pt x="367" y="33"/>
                    <a:pt x="367" y="33"/>
                  </a:cubicBezTo>
                  <a:cubicBezTo>
                    <a:pt x="370" y="95"/>
                    <a:pt x="370" y="95"/>
                    <a:pt x="370" y="95"/>
                  </a:cubicBezTo>
                  <a:lnTo>
                    <a:pt x="305" y="63"/>
                  </a:lnTo>
                  <a:close/>
                  <a:moveTo>
                    <a:pt x="276" y="49"/>
                  </a:moveTo>
                  <a:cubicBezTo>
                    <a:pt x="229" y="26"/>
                    <a:pt x="229" y="26"/>
                    <a:pt x="229" y="26"/>
                  </a:cubicBezTo>
                  <a:cubicBezTo>
                    <a:pt x="322" y="26"/>
                    <a:pt x="322" y="26"/>
                    <a:pt x="322" y="26"/>
                  </a:cubicBezTo>
                  <a:lnTo>
                    <a:pt x="276" y="49"/>
                  </a:lnTo>
                  <a:close/>
                  <a:moveTo>
                    <a:pt x="246" y="63"/>
                  </a:moveTo>
                  <a:cubicBezTo>
                    <a:pt x="181" y="95"/>
                    <a:pt x="181" y="95"/>
                    <a:pt x="181" y="95"/>
                  </a:cubicBezTo>
                  <a:cubicBezTo>
                    <a:pt x="185" y="33"/>
                    <a:pt x="185" y="33"/>
                    <a:pt x="185" y="33"/>
                  </a:cubicBezTo>
                  <a:lnTo>
                    <a:pt x="246" y="63"/>
                  </a:lnTo>
                  <a:close/>
                  <a:moveTo>
                    <a:pt x="168" y="281"/>
                  </a:moveTo>
                  <a:cubicBezTo>
                    <a:pt x="251" y="336"/>
                    <a:pt x="251" y="336"/>
                    <a:pt x="251" y="336"/>
                  </a:cubicBezTo>
                  <a:cubicBezTo>
                    <a:pt x="161" y="395"/>
                    <a:pt x="161" y="395"/>
                    <a:pt x="161" y="395"/>
                  </a:cubicBezTo>
                  <a:lnTo>
                    <a:pt x="168" y="281"/>
                  </a:lnTo>
                  <a:close/>
                  <a:moveTo>
                    <a:pt x="274" y="351"/>
                  </a:moveTo>
                  <a:cubicBezTo>
                    <a:pt x="376" y="419"/>
                    <a:pt x="376" y="419"/>
                    <a:pt x="376" y="419"/>
                  </a:cubicBezTo>
                  <a:cubicBezTo>
                    <a:pt x="273" y="494"/>
                    <a:pt x="273" y="494"/>
                    <a:pt x="273" y="494"/>
                  </a:cubicBezTo>
                  <a:cubicBezTo>
                    <a:pt x="170" y="420"/>
                    <a:pt x="170" y="420"/>
                    <a:pt x="170" y="420"/>
                  </a:cubicBezTo>
                  <a:lnTo>
                    <a:pt x="274" y="351"/>
                  </a:lnTo>
                  <a:close/>
                  <a:moveTo>
                    <a:pt x="273" y="526"/>
                  </a:moveTo>
                  <a:cubicBezTo>
                    <a:pt x="389" y="611"/>
                    <a:pt x="389" y="611"/>
                    <a:pt x="389" y="611"/>
                  </a:cubicBezTo>
                  <a:cubicBezTo>
                    <a:pt x="273" y="708"/>
                    <a:pt x="273" y="708"/>
                    <a:pt x="273" y="708"/>
                  </a:cubicBezTo>
                  <a:cubicBezTo>
                    <a:pt x="157" y="611"/>
                    <a:pt x="157" y="611"/>
                    <a:pt x="157" y="611"/>
                  </a:cubicBezTo>
                  <a:lnTo>
                    <a:pt x="273" y="526"/>
                  </a:lnTo>
                  <a:close/>
                  <a:moveTo>
                    <a:pt x="295" y="510"/>
                  </a:moveTo>
                  <a:cubicBezTo>
                    <a:pt x="391" y="440"/>
                    <a:pt x="391" y="440"/>
                    <a:pt x="391" y="440"/>
                  </a:cubicBezTo>
                  <a:cubicBezTo>
                    <a:pt x="400" y="586"/>
                    <a:pt x="400" y="586"/>
                    <a:pt x="400" y="586"/>
                  </a:cubicBezTo>
                  <a:lnTo>
                    <a:pt x="295" y="510"/>
                  </a:lnTo>
                  <a:close/>
                  <a:moveTo>
                    <a:pt x="298" y="336"/>
                  </a:moveTo>
                  <a:cubicBezTo>
                    <a:pt x="381" y="280"/>
                    <a:pt x="381" y="280"/>
                    <a:pt x="381" y="280"/>
                  </a:cubicBezTo>
                  <a:cubicBezTo>
                    <a:pt x="388" y="396"/>
                    <a:pt x="388" y="396"/>
                    <a:pt x="388" y="396"/>
                  </a:cubicBezTo>
                  <a:lnTo>
                    <a:pt x="298" y="336"/>
                  </a:lnTo>
                  <a:close/>
                  <a:moveTo>
                    <a:pt x="51" y="163"/>
                  </a:moveTo>
                  <a:cubicBezTo>
                    <a:pt x="34" y="125"/>
                    <a:pt x="34" y="125"/>
                    <a:pt x="34" y="125"/>
                  </a:cubicBezTo>
                  <a:cubicBezTo>
                    <a:pt x="152" y="125"/>
                    <a:pt x="152" y="125"/>
                    <a:pt x="152" y="125"/>
                  </a:cubicBezTo>
                  <a:cubicBezTo>
                    <a:pt x="149" y="163"/>
                    <a:pt x="149" y="163"/>
                    <a:pt x="149" y="163"/>
                  </a:cubicBezTo>
                  <a:lnTo>
                    <a:pt x="51" y="163"/>
                  </a:lnTo>
                  <a:close/>
                  <a:moveTo>
                    <a:pt x="157" y="443"/>
                  </a:moveTo>
                  <a:cubicBezTo>
                    <a:pt x="251" y="510"/>
                    <a:pt x="251" y="510"/>
                    <a:pt x="251" y="510"/>
                  </a:cubicBezTo>
                  <a:cubicBezTo>
                    <a:pt x="148" y="585"/>
                    <a:pt x="148" y="585"/>
                    <a:pt x="148" y="585"/>
                  </a:cubicBezTo>
                  <a:lnTo>
                    <a:pt x="157" y="443"/>
                  </a:lnTo>
                  <a:close/>
                  <a:moveTo>
                    <a:pt x="144" y="635"/>
                  </a:moveTo>
                  <a:cubicBezTo>
                    <a:pt x="252" y="725"/>
                    <a:pt x="252" y="725"/>
                    <a:pt x="252" y="725"/>
                  </a:cubicBezTo>
                  <a:cubicBezTo>
                    <a:pt x="132" y="826"/>
                    <a:pt x="132" y="826"/>
                    <a:pt x="132" y="826"/>
                  </a:cubicBezTo>
                  <a:lnTo>
                    <a:pt x="144" y="635"/>
                  </a:lnTo>
                  <a:close/>
                  <a:moveTo>
                    <a:pt x="152" y="842"/>
                  </a:moveTo>
                  <a:cubicBezTo>
                    <a:pt x="273" y="742"/>
                    <a:pt x="273" y="742"/>
                    <a:pt x="273" y="742"/>
                  </a:cubicBezTo>
                  <a:cubicBezTo>
                    <a:pt x="393" y="842"/>
                    <a:pt x="393" y="842"/>
                    <a:pt x="393" y="842"/>
                  </a:cubicBezTo>
                  <a:lnTo>
                    <a:pt x="152" y="842"/>
                  </a:lnTo>
                  <a:close/>
                  <a:moveTo>
                    <a:pt x="414" y="826"/>
                  </a:moveTo>
                  <a:cubicBezTo>
                    <a:pt x="293" y="725"/>
                    <a:pt x="293" y="725"/>
                    <a:pt x="293" y="725"/>
                  </a:cubicBezTo>
                  <a:cubicBezTo>
                    <a:pt x="402" y="633"/>
                    <a:pt x="402" y="633"/>
                    <a:pt x="402" y="633"/>
                  </a:cubicBezTo>
                  <a:lnTo>
                    <a:pt x="414" y="826"/>
                  </a:lnTo>
                  <a:close/>
                  <a:moveTo>
                    <a:pt x="501" y="163"/>
                  </a:moveTo>
                  <a:cubicBezTo>
                    <a:pt x="402" y="163"/>
                    <a:pt x="402" y="163"/>
                    <a:pt x="402" y="163"/>
                  </a:cubicBezTo>
                  <a:cubicBezTo>
                    <a:pt x="399" y="125"/>
                    <a:pt x="399" y="125"/>
                    <a:pt x="399" y="125"/>
                  </a:cubicBezTo>
                  <a:cubicBezTo>
                    <a:pt x="517" y="125"/>
                    <a:pt x="517" y="125"/>
                    <a:pt x="517" y="125"/>
                  </a:cubicBezTo>
                  <a:lnTo>
                    <a:pt x="501" y="16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74">
              <a:extLst>
                <a:ext uri="{FF2B5EF4-FFF2-40B4-BE49-F238E27FC236}">
                  <a16:creationId xmlns:a16="http://schemas.microsoft.com/office/drawing/2014/main" id="{0C2C2D17-5FE3-427F-9FF7-C73681FE1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" y="3451"/>
              <a:ext cx="480" cy="478"/>
            </a:xfrm>
            <a:custGeom>
              <a:avLst/>
              <a:gdLst>
                <a:gd name="T0" fmla="*/ 741 w 1482"/>
                <a:gd name="T1" fmla="*/ 0 h 1481"/>
                <a:gd name="T2" fmla="*/ 0 w 1482"/>
                <a:gd name="T3" fmla="*/ 741 h 1481"/>
                <a:gd name="T4" fmla="*/ 741 w 1482"/>
                <a:gd name="T5" fmla="*/ 1481 h 1481"/>
                <a:gd name="T6" fmla="*/ 1482 w 1482"/>
                <a:gd name="T7" fmla="*/ 741 h 1481"/>
                <a:gd name="T8" fmla="*/ 741 w 1482"/>
                <a:gd name="T9" fmla="*/ 0 h 1481"/>
                <a:gd name="T10" fmla="*/ 741 w 1482"/>
                <a:gd name="T11" fmla="*/ 1445 h 1481"/>
                <a:gd name="T12" fmla="*/ 36 w 1482"/>
                <a:gd name="T13" fmla="*/ 741 h 1481"/>
                <a:gd name="T14" fmla="*/ 741 w 1482"/>
                <a:gd name="T15" fmla="*/ 36 h 1481"/>
                <a:gd name="T16" fmla="*/ 1446 w 1482"/>
                <a:gd name="T17" fmla="*/ 741 h 1481"/>
                <a:gd name="T18" fmla="*/ 741 w 1482"/>
                <a:gd name="T19" fmla="*/ 1445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2" h="1481">
                  <a:moveTo>
                    <a:pt x="741" y="0"/>
                  </a:moveTo>
                  <a:cubicBezTo>
                    <a:pt x="333" y="0"/>
                    <a:pt x="0" y="332"/>
                    <a:pt x="0" y="741"/>
                  </a:cubicBezTo>
                  <a:cubicBezTo>
                    <a:pt x="0" y="1149"/>
                    <a:pt x="333" y="1481"/>
                    <a:pt x="741" y="1481"/>
                  </a:cubicBezTo>
                  <a:cubicBezTo>
                    <a:pt x="1149" y="1481"/>
                    <a:pt x="1482" y="1149"/>
                    <a:pt x="1482" y="741"/>
                  </a:cubicBezTo>
                  <a:cubicBezTo>
                    <a:pt x="1482" y="332"/>
                    <a:pt x="1149" y="0"/>
                    <a:pt x="741" y="0"/>
                  </a:cubicBezTo>
                  <a:close/>
                  <a:moveTo>
                    <a:pt x="741" y="1445"/>
                  </a:moveTo>
                  <a:cubicBezTo>
                    <a:pt x="352" y="1445"/>
                    <a:pt x="36" y="1129"/>
                    <a:pt x="36" y="741"/>
                  </a:cubicBezTo>
                  <a:cubicBezTo>
                    <a:pt x="36" y="352"/>
                    <a:pt x="352" y="36"/>
                    <a:pt x="741" y="36"/>
                  </a:cubicBezTo>
                  <a:cubicBezTo>
                    <a:pt x="1130" y="36"/>
                    <a:pt x="1446" y="352"/>
                    <a:pt x="1446" y="741"/>
                  </a:cubicBezTo>
                  <a:cubicBezTo>
                    <a:pt x="1446" y="1129"/>
                    <a:pt x="1130" y="1445"/>
                    <a:pt x="741" y="144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Group 4">
            <a:extLst>
              <a:ext uri="{FF2B5EF4-FFF2-40B4-BE49-F238E27FC236}">
                <a16:creationId xmlns:a16="http://schemas.microsoft.com/office/drawing/2014/main" id="{107B86EE-6FBD-4893-A19C-0C696E3FA1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3250" y="234157"/>
            <a:ext cx="841375" cy="839787"/>
            <a:chOff x="4467" y="225"/>
            <a:chExt cx="530" cy="529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E5453EB-E4A2-4527-A95E-1F7A043E40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67" y="225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2713674E-7081-4198-897E-DABFCA900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" y="228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29B37386-B134-4E1C-96F4-681486150D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" y="249"/>
              <a:ext cx="484" cy="483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A0EC6455-1386-4FD8-A749-61B7243062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6" y="404"/>
              <a:ext cx="375" cy="179"/>
            </a:xfrm>
            <a:custGeom>
              <a:avLst/>
              <a:gdLst>
                <a:gd name="T0" fmla="*/ 41 w 138"/>
                <a:gd name="T1" fmla="*/ 30 h 66"/>
                <a:gd name="T2" fmla="*/ 88 w 138"/>
                <a:gd name="T3" fmla="*/ 30 h 66"/>
                <a:gd name="T4" fmla="*/ 133 w 138"/>
                <a:gd name="T5" fmla="*/ 0 h 66"/>
                <a:gd name="T6" fmla="*/ 138 w 138"/>
                <a:gd name="T7" fmla="*/ 0 h 66"/>
                <a:gd name="T8" fmla="*/ 138 w 138"/>
                <a:gd name="T9" fmla="*/ 66 h 66"/>
                <a:gd name="T10" fmla="*/ 133 w 138"/>
                <a:gd name="T11" fmla="*/ 66 h 66"/>
                <a:gd name="T12" fmla="*/ 88 w 138"/>
                <a:gd name="T13" fmla="*/ 37 h 66"/>
                <a:gd name="T14" fmla="*/ 41 w 138"/>
                <a:gd name="T15" fmla="*/ 37 h 66"/>
                <a:gd name="T16" fmla="*/ 42 w 138"/>
                <a:gd name="T17" fmla="*/ 33 h 66"/>
                <a:gd name="T18" fmla="*/ 21 w 138"/>
                <a:gd name="T19" fmla="*/ 53 h 66"/>
                <a:gd name="T20" fmla="*/ 0 w 138"/>
                <a:gd name="T21" fmla="*/ 33 h 66"/>
                <a:gd name="T22" fmla="*/ 21 w 138"/>
                <a:gd name="T23" fmla="*/ 12 h 66"/>
                <a:gd name="T24" fmla="*/ 42 w 138"/>
                <a:gd name="T25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8" h="66">
                  <a:moveTo>
                    <a:pt x="41" y="30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133" y="30"/>
                    <a:pt x="133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36"/>
                    <a:pt x="88" y="37"/>
                    <a:pt x="88" y="37"/>
                  </a:cubicBezTo>
                  <a:cubicBezTo>
                    <a:pt x="41" y="37"/>
                    <a:pt x="41" y="37"/>
                    <a:pt x="41" y="37"/>
                  </a:cubicBezTo>
                  <a:moveTo>
                    <a:pt x="42" y="33"/>
                  </a:moveTo>
                  <a:cubicBezTo>
                    <a:pt x="42" y="44"/>
                    <a:pt x="32" y="53"/>
                    <a:pt x="21" y="53"/>
                  </a:cubicBezTo>
                  <a:cubicBezTo>
                    <a:pt x="10" y="53"/>
                    <a:pt x="0" y="44"/>
                    <a:pt x="0" y="33"/>
                  </a:cubicBezTo>
                  <a:cubicBezTo>
                    <a:pt x="0" y="21"/>
                    <a:pt x="10" y="12"/>
                    <a:pt x="21" y="12"/>
                  </a:cubicBezTo>
                  <a:cubicBezTo>
                    <a:pt x="32" y="12"/>
                    <a:pt x="42" y="21"/>
                    <a:pt x="42" y="33"/>
                  </a:cubicBez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97B6E128-BEDD-481B-AAC1-368D87FA7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" y="469"/>
              <a:ext cx="19" cy="49"/>
            </a:xfrm>
            <a:custGeom>
              <a:avLst/>
              <a:gdLst>
                <a:gd name="T0" fmla="*/ 4 w 7"/>
                <a:gd name="T1" fmla="*/ 18 h 18"/>
                <a:gd name="T2" fmla="*/ 3 w 7"/>
                <a:gd name="T3" fmla="*/ 18 h 18"/>
                <a:gd name="T4" fmla="*/ 0 w 7"/>
                <a:gd name="T5" fmla="*/ 16 h 18"/>
                <a:gd name="T6" fmla="*/ 0 w 7"/>
                <a:gd name="T7" fmla="*/ 3 h 18"/>
                <a:gd name="T8" fmla="*/ 3 w 7"/>
                <a:gd name="T9" fmla="*/ 0 h 18"/>
                <a:gd name="T10" fmla="*/ 4 w 7"/>
                <a:gd name="T11" fmla="*/ 0 h 18"/>
                <a:gd name="T12" fmla="*/ 7 w 7"/>
                <a:gd name="T13" fmla="*/ 3 h 18"/>
                <a:gd name="T14" fmla="*/ 7 w 7"/>
                <a:gd name="T15" fmla="*/ 16 h 18"/>
                <a:gd name="T16" fmla="*/ 4 w 7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8">
                  <a:moveTo>
                    <a:pt x="4" y="18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6" y="18"/>
                    <a:pt x="4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653C16CA-7034-4062-85E4-1E0795F0E7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0981" y="275432"/>
            <a:ext cx="758825" cy="758825"/>
            <a:chOff x="5055" y="278"/>
            <a:chExt cx="478" cy="478"/>
          </a:xfrm>
        </p:grpSpPr>
        <p:sp>
          <p:nvSpPr>
            <p:cNvPr id="14" name="AutoShape 10">
              <a:extLst>
                <a:ext uri="{FF2B5EF4-FFF2-40B4-BE49-F238E27FC236}">
                  <a16:creationId xmlns:a16="http://schemas.microsoft.com/office/drawing/2014/main" id="{2B6D2AF8-BC6C-4822-A174-2EC95341E5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5" y="2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C42A0C32-D93C-4E6A-B239-7ED677277C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7" y="28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B327B23B-550D-454E-AE6D-D39BAB22D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6" y="467"/>
              <a:ext cx="111" cy="108"/>
            </a:xfrm>
            <a:custGeom>
              <a:avLst/>
              <a:gdLst>
                <a:gd name="T0" fmla="*/ 22 w 45"/>
                <a:gd name="T1" fmla="*/ 3 h 44"/>
                <a:gd name="T2" fmla="*/ 3 w 45"/>
                <a:gd name="T3" fmla="*/ 22 h 44"/>
                <a:gd name="T4" fmla="*/ 22 w 45"/>
                <a:gd name="T5" fmla="*/ 41 h 44"/>
                <a:gd name="T6" fmla="*/ 41 w 45"/>
                <a:gd name="T7" fmla="*/ 22 h 44"/>
                <a:gd name="T8" fmla="*/ 22 w 45"/>
                <a:gd name="T9" fmla="*/ 3 h 44"/>
                <a:gd name="T10" fmla="*/ 22 w 45"/>
                <a:gd name="T11" fmla="*/ 44 h 44"/>
                <a:gd name="T12" fmla="*/ 0 w 45"/>
                <a:gd name="T13" fmla="*/ 22 h 44"/>
                <a:gd name="T14" fmla="*/ 22 w 45"/>
                <a:gd name="T15" fmla="*/ 0 h 44"/>
                <a:gd name="T16" fmla="*/ 45 w 45"/>
                <a:gd name="T17" fmla="*/ 22 h 44"/>
                <a:gd name="T18" fmla="*/ 22 w 45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4">
                  <a:moveTo>
                    <a:pt x="22" y="3"/>
                  </a:moveTo>
                  <a:cubicBezTo>
                    <a:pt x="12" y="3"/>
                    <a:pt x="3" y="11"/>
                    <a:pt x="3" y="22"/>
                  </a:cubicBezTo>
                  <a:cubicBezTo>
                    <a:pt x="3" y="32"/>
                    <a:pt x="12" y="41"/>
                    <a:pt x="22" y="41"/>
                  </a:cubicBezTo>
                  <a:cubicBezTo>
                    <a:pt x="33" y="41"/>
                    <a:pt x="41" y="32"/>
                    <a:pt x="41" y="22"/>
                  </a:cubicBezTo>
                  <a:cubicBezTo>
                    <a:pt x="41" y="11"/>
                    <a:pt x="33" y="3"/>
                    <a:pt x="22" y="3"/>
                  </a:cubicBezTo>
                  <a:moveTo>
                    <a:pt x="22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5" y="0"/>
                    <a:pt x="45" y="9"/>
                    <a:pt x="45" y="22"/>
                  </a:cubicBezTo>
                  <a:cubicBezTo>
                    <a:pt x="45" y="34"/>
                    <a:pt x="35" y="44"/>
                    <a:pt x="22" y="4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A7E8A07D-F6A1-4180-BE11-ECC593A1E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435"/>
              <a:ext cx="243" cy="171"/>
            </a:xfrm>
            <a:custGeom>
              <a:avLst/>
              <a:gdLst>
                <a:gd name="T0" fmla="*/ 99 w 99"/>
                <a:gd name="T1" fmla="*/ 70 h 70"/>
                <a:gd name="T2" fmla="*/ 90 w 99"/>
                <a:gd name="T3" fmla="*/ 70 h 70"/>
                <a:gd name="T4" fmla="*/ 90 w 99"/>
                <a:gd name="T5" fmla="*/ 68 h 70"/>
                <a:gd name="T6" fmla="*/ 84 w 99"/>
                <a:gd name="T7" fmla="*/ 52 h 70"/>
                <a:gd name="T8" fmla="*/ 47 w 99"/>
                <a:gd name="T9" fmla="*/ 40 h 70"/>
                <a:gd name="T10" fmla="*/ 47 w 99"/>
                <a:gd name="T11" fmla="*/ 40 h 70"/>
                <a:gd name="T12" fmla="*/ 0 w 99"/>
                <a:gd name="T13" fmla="*/ 40 h 70"/>
                <a:gd name="T14" fmla="*/ 0 w 99"/>
                <a:gd name="T15" fmla="*/ 37 h 70"/>
                <a:gd name="T16" fmla="*/ 47 w 99"/>
                <a:gd name="T17" fmla="*/ 37 h 70"/>
                <a:gd name="T18" fmla="*/ 86 w 99"/>
                <a:gd name="T19" fmla="*/ 50 h 70"/>
                <a:gd name="T20" fmla="*/ 94 w 99"/>
                <a:gd name="T21" fmla="*/ 67 h 70"/>
                <a:gd name="T22" fmla="*/ 95 w 99"/>
                <a:gd name="T23" fmla="*/ 67 h 70"/>
                <a:gd name="T24" fmla="*/ 95 w 99"/>
                <a:gd name="T25" fmla="*/ 3 h 70"/>
                <a:gd name="T26" fmla="*/ 94 w 99"/>
                <a:gd name="T27" fmla="*/ 3 h 70"/>
                <a:gd name="T28" fmla="*/ 86 w 99"/>
                <a:gd name="T29" fmla="*/ 20 h 70"/>
                <a:gd name="T30" fmla="*/ 47 w 99"/>
                <a:gd name="T31" fmla="*/ 33 h 70"/>
                <a:gd name="T32" fmla="*/ 0 w 99"/>
                <a:gd name="T33" fmla="*/ 33 h 70"/>
                <a:gd name="T34" fmla="*/ 0 w 99"/>
                <a:gd name="T35" fmla="*/ 30 h 70"/>
                <a:gd name="T36" fmla="*/ 47 w 99"/>
                <a:gd name="T37" fmla="*/ 30 h 70"/>
                <a:gd name="T38" fmla="*/ 84 w 99"/>
                <a:gd name="T39" fmla="*/ 18 h 70"/>
                <a:gd name="T40" fmla="*/ 90 w 99"/>
                <a:gd name="T41" fmla="*/ 2 h 70"/>
                <a:gd name="T42" fmla="*/ 90 w 99"/>
                <a:gd name="T43" fmla="*/ 0 h 70"/>
                <a:gd name="T44" fmla="*/ 99 w 99"/>
                <a:gd name="T45" fmla="*/ 0 h 70"/>
                <a:gd name="T46" fmla="*/ 99 w 99"/>
                <a:gd name="T4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70">
                  <a:moveTo>
                    <a:pt x="99" y="70"/>
                  </a:moveTo>
                  <a:cubicBezTo>
                    <a:pt x="90" y="70"/>
                    <a:pt x="90" y="70"/>
                    <a:pt x="90" y="70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2"/>
                    <a:pt x="88" y="57"/>
                    <a:pt x="84" y="52"/>
                  </a:cubicBezTo>
                  <a:cubicBezTo>
                    <a:pt x="72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8" y="37"/>
                    <a:pt x="73" y="37"/>
                    <a:pt x="86" y="50"/>
                  </a:cubicBezTo>
                  <a:cubicBezTo>
                    <a:pt x="91" y="55"/>
                    <a:pt x="93" y="60"/>
                    <a:pt x="94" y="67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3" y="10"/>
                    <a:pt x="91" y="16"/>
                    <a:pt x="86" y="20"/>
                  </a:cubicBezTo>
                  <a:cubicBezTo>
                    <a:pt x="73" y="33"/>
                    <a:pt x="48" y="33"/>
                    <a:pt x="47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72" y="30"/>
                    <a:pt x="84" y="18"/>
                  </a:cubicBezTo>
                  <a:cubicBezTo>
                    <a:pt x="88" y="13"/>
                    <a:pt x="90" y="8"/>
                    <a:pt x="90" y="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9" y="0"/>
                    <a:pt x="99" y="0"/>
                    <a:pt x="99" y="0"/>
                  </a:cubicBezTo>
                  <a:lnTo>
                    <a:pt x="99" y="7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E2ADDAE2-1718-4799-BC64-4794D19DF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499"/>
              <a:ext cx="17" cy="44"/>
            </a:xfrm>
            <a:custGeom>
              <a:avLst/>
              <a:gdLst>
                <a:gd name="T0" fmla="*/ 5 w 7"/>
                <a:gd name="T1" fmla="*/ 18 h 18"/>
                <a:gd name="T2" fmla="*/ 3 w 7"/>
                <a:gd name="T3" fmla="*/ 18 h 18"/>
                <a:gd name="T4" fmla="*/ 0 w 7"/>
                <a:gd name="T5" fmla="*/ 16 h 18"/>
                <a:gd name="T6" fmla="*/ 0 w 7"/>
                <a:gd name="T7" fmla="*/ 3 h 18"/>
                <a:gd name="T8" fmla="*/ 3 w 7"/>
                <a:gd name="T9" fmla="*/ 0 h 18"/>
                <a:gd name="T10" fmla="*/ 5 w 7"/>
                <a:gd name="T11" fmla="*/ 0 h 18"/>
                <a:gd name="T12" fmla="*/ 7 w 7"/>
                <a:gd name="T13" fmla="*/ 3 h 18"/>
                <a:gd name="T14" fmla="*/ 7 w 7"/>
                <a:gd name="T15" fmla="*/ 16 h 18"/>
                <a:gd name="T16" fmla="*/ 5 w 7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8">
                  <a:moveTo>
                    <a:pt x="5" y="18"/>
                  </a:move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6" y="18"/>
                    <a:pt x="5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18">
            <a:extLst>
              <a:ext uri="{FF2B5EF4-FFF2-40B4-BE49-F238E27FC236}">
                <a16:creationId xmlns:a16="http://schemas.microsoft.com/office/drawing/2014/main" id="{F27D6F5B-99BF-4712-B03F-A65ED2226B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8750" y="1583532"/>
            <a:ext cx="758825" cy="760412"/>
            <a:chOff x="985" y="1063"/>
            <a:chExt cx="478" cy="479"/>
          </a:xfrm>
        </p:grpSpPr>
        <p:sp>
          <p:nvSpPr>
            <p:cNvPr id="24" name="AutoShape 17">
              <a:extLst>
                <a:ext uri="{FF2B5EF4-FFF2-40B4-BE49-F238E27FC236}">
                  <a16:creationId xmlns:a16="http://schemas.microsoft.com/office/drawing/2014/main" id="{68C850E8-D077-4372-9215-EA3442C156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5" y="1063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8F001CBC-580B-44CD-A985-47AE4B64FF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" y="1065"/>
              <a:ext cx="476" cy="477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1D706079-1142-450A-8B81-7653ADA43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" y="1284"/>
              <a:ext cx="203" cy="155"/>
            </a:xfrm>
            <a:custGeom>
              <a:avLst/>
              <a:gdLst>
                <a:gd name="T0" fmla="*/ 10 w 83"/>
                <a:gd name="T1" fmla="*/ 3 h 63"/>
                <a:gd name="T2" fmla="*/ 4 w 83"/>
                <a:gd name="T3" fmla="*/ 10 h 63"/>
                <a:gd name="T4" fmla="*/ 4 w 83"/>
                <a:gd name="T5" fmla="*/ 53 h 63"/>
                <a:gd name="T6" fmla="*/ 10 w 83"/>
                <a:gd name="T7" fmla="*/ 59 h 63"/>
                <a:gd name="T8" fmla="*/ 73 w 83"/>
                <a:gd name="T9" fmla="*/ 59 h 63"/>
                <a:gd name="T10" fmla="*/ 79 w 83"/>
                <a:gd name="T11" fmla="*/ 53 h 63"/>
                <a:gd name="T12" fmla="*/ 79 w 83"/>
                <a:gd name="T13" fmla="*/ 10 h 63"/>
                <a:gd name="T14" fmla="*/ 73 w 83"/>
                <a:gd name="T15" fmla="*/ 3 h 63"/>
                <a:gd name="T16" fmla="*/ 10 w 83"/>
                <a:gd name="T17" fmla="*/ 3 h 63"/>
                <a:gd name="T18" fmla="*/ 73 w 83"/>
                <a:gd name="T19" fmla="*/ 63 h 63"/>
                <a:gd name="T20" fmla="*/ 10 w 83"/>
                <a:gd name="T21" fmla="*/ 63 h 63"/>
                <a:gd name="T22" fmla="*/ 0 w 83"/>
                <a:gd name="T23" fmla="*/ 53 h 63"/>
                <a:gd name="T24" fmla="*/ 0 w 83"/>
                <a:gd name="T25" fmla="*/ 10 h 63"/>
                <a:gd name="T26" fmla="*/ 10 w 83"/>
                <a:gd name="T27" fmla="*/ 0 h 63"/>
                <a:gd name="T28" fmla="*/ 73 w 83"/>
                <a:gd name="T29" fmla="*/ 0 h 63"/>
                <a:gd name="T30" fmla="*/ 83 w 83"/>
                <a:gd name="T31" fmla="*/ 10 h 63"/>
                <a:gd name="T32" fmla="*/ 83 w 83"/>
                <a:gd name="T33" fmla="*/ 53 h 63"/>
                <a:gd name="T34" fmla="*/ 73 w 83"/>
                <a:gd name="T3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3" h="63">
                  <a:moveTo>
                    <a:pt x="10" y="3"/>
                  </a:moveTo>
                  <a:cubicBezTo>
                    <a:pt x="6" y="3"/>
                    <a:pt x="4" y="6"/>
                    <a:pt x="4" y="10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4" y="57"/>
                    <a:pt x="6" y="59"/>
                    <a:pt x="10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7" y="59"/>
                    <a:pt x="79" y="57"/>
                    <a:pt x="79" y="53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6"/>
                    <a:pt x="77" y="3"/>
                    <a:pt x="73" y="3"/>
                  </a:cubicBezTo>
                  <a:lnTo>
                    <a:pt x="10" y="3"/>
                  </a:lnTo>
                  <a:close/>
                  <a:moveTo>
                    <a:pt x="73" y="63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5" y="63"/>
                    <a:pt x="0" y="58"/>
                    <a:pt x="0" y="5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8" y="0"/>
                    <a:pt x="83" y="4"/>
                    <a:pt x="83" y="1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8"/>
                    <a:pt x="78" y="63"/>
                    <a:pt x="73" y="6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6DB83F84-E5C8-49A7-B432-BA4D56673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" y="1205"/>
              <a:ext cx="78" cy="82"/>
            </a:xfrm>
            <a:custGeom>
              <a:avLst/>
              <a:gdLst>
                <a:gd name="T0" fmla="*/ 2 w 32"/>
                <a:gd name="T1" fmla="*/ 33 h 33"/>
                <a:gd name="T2" fmla="*/ 9 w 32"/>
                <a:gd name="T3" fmla="*/ 9 h 33"/>
                <a:gd name="T4" fmla="*/ 32 w 32"/>
                <a:gd name="T5" fmla="*/ 0 h 33"/>
                <a:gd name="T6" fmla="*/ 32 w 32"/>
                <a:gd name="T7" fmla="*/ 7 h 33"/>
                <a:gd name="T8" fmla="*/ 14 w 32"/>
                <a:gd name="T9" fmla="*/ 14 h 33"/>
                <a:gd name="T10" fmla="*/ 9 w 32"/>
                <a:gd name="T11" fmla="*/ 32 h 33"/>
                <a:gd name="T12" fmla="*/ 2 w 3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3">
                  <a:moveTo>
                    <a:pt x="2" y="33"/>
                  </a:moveTo>
                  <a:cubicBezTo>
                    <a:pt x="2" y="33"/>
                    <a:pt x="0" y="19"/>
                    <a:pt x="9" y="9"/>
                  </a:cubicBezTo>
                  <a:cubicBezTo>
                    <a:pt x="14" y="3"/>
                    <a:pt x="22" y="0"/>
                    <a:pt x="32" y="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4" y="7"/>
                    <a:pt x="18" y="9"/>
                    <a:pt x="14" y="14"/>
                  </a:cubicBezTo>
                  <a:cubicBezTo>
                    <a:pt x="8" y="21"/>
                    <a:pt x="9" y="32"/>
                    <a:pt x="9" y="32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7457B19D-64C2-4F96-8CD4-46DC46480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" y="1205"/>
              <a:ext cx="79" cy="82"/>
            </a:xfrm>
            <a:custGeom>
              <a:avLst/>
              <a:gdLst>
                <a:gd name="T0" fmla="*/ 30 w 32"/>
                <a:gd name="T1" fmla="*/ 33 h 33"/>
                <a:gd name="T2" fmla="*/ 23 w 32"/>
                <a:gd name="T3" fmla="*/ 32 h 33"/>
                <a:gd name="T4" fmla="*/ 27 w 32"/>
                <a:gd name="T5" fmla="*/ 33 h 33"/>
                <a:gd name="T6" fmla="*/ 23 w 32"/>
                <a:gd name="T7" fmla="*/ 32 h 33"/>
                <a:gd name="T8" fmla="*/ 18 w 32"/>
                <a:gd name="T9" fmla="*/ 14 h 33"/>
                <a:gd name="T10" fmla="*/ 0 w 32"/>
                <a:gd name="T11" fmla="*/ 7 h 33"/>
                <a:gd name="T12" fmla="*/ 0 w 32"/>
                <a:gd name="T13" fmla="*/ 0 h 33"/>
                <a:gd name="T14" fmla="*/ 24 w 32"/>
                <a:gd name="T15" fmla="*/ 9 h 33"/>
                <a:gd name="T16" fmla="*/ 30 w 32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3">
                  <a:moveTo>
                    <a:pt x="30" y="3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4" y="21"/>
                    <a:pt x="18" y="14"/>
                  </a:cubicBezTo>
                  <a:cubicBezTo>
                    <a:pt x="14" y="9"/>
                    <a:pt x="8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8" y="3"/>
                    <a:pt x="24" y="9"/>
                  </a:cubicBezTo>
                  <a:cubicBezTo>
                    <a:pt x="32" y="19"/>
                    <a:pt x="30" y="33"/>
                    <a:pt x="30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3">
              <a:extLst>
                <a:ext uri="{FF2B5EF4-FFF2-40B4-BE49-F238E27FC236}">
                  <a16:creationId xmlns:a16="http://schemas.microsoft.com/office/drawing/2014/main" id="{28DF50DC-E08D-45B9-B869-C09F1259C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26"/>
              <a:ext cx="20" cy="32"/>
            </a:xfrm>
            <a:custGeom>
              <a:avLst/>
              <a:gdLst>
                <a:gd name="T0" fmla="*/ 5 w 8"/>
                <a:gd name="T1" fmla="*/ 13 h 13"/>
                <a:gd name="T2" fmla="*/ 3 w 8"/>
                <a:gd name="T3" fmla="*/ 13 h 13"/>
                <a:gd name="T4" fmla="*/ 0 w 8"/>
                <a:gd name="T5" fmla="*/ 10 h 13"/>
                <a:gd name="T6" fmla="*/ 0 w 8"/>
                <a:gd name="T7" fmla="*/ 3 h 13"/>
                <a:gd name="T8" fmla="*/ 3 w 8"/>
                <a:gd name="T9" fmla="*/ 0 h 13"/>
                <a:gd name="T10" fmla="*/ 5 w 8"/>
                <a:gd name="T11" fmla="*/ 0 h 13"/>
                <a:gd name="T12" fmla="*/ 8 w 8"/>
                <a:gd name="T13" fmla="*/ 3 h 13"/>
                <a:gd name="T14" fmla="*/ 8 w 8"/>
                <a:gd name="T15" fmla="*/ 10 h 13"/>
                <a:gd name="T16" fmla="*/ 5 w 8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3">
                  <a:moveTo>
                    <a:pt x="5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1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1"/>
                    <a:pt x="8" y="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7" y="13"/>
                    <a:pt x="5" y="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24">
              <a:extLst>
                <a:ext uri="{FF2B5EF4-FFF2-40B4-BE49-F238E27FC236}">
                  <a16:creationId xmlns:a16="http://schemas.microsoft.com/office/drawing/2014/main" id="{081E36CE-8FAB-482B-BC29-C6C7CCA879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" y="1343"/>
              <a:ext cx="10" cy="3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5">
              <a:extLst>
                <a:ext uri="{FF2B5EF4-FFF2-40B4-BE49-F238E27FC236}">
                  <a16:creationId xmlns:a16="http://schemas.microsoft.com/office/drawing/2014/main" id="{480DBF01-93AE-4B16-8E68-76435AF8C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" y="1213"/>
              <a:ext cx="56" cy="42"/>
            </a:xfrm>
            <a:custGeom>
              <a:avLst/>
              <a:gdLst>
                <a:gd name="T0" fmla="*/ 52 w 56"/>
                <a:gd name="T1" fmla="*/ 42 h 42"/>
                <a:gd name="T2" fmla="*/ 0 w 56"/>
                <a:gd name="T3" fmla="*/ 5 h 42"/>
                <a:gd name="T4" fmla="*/ 5 w 56"/>
                <a:gd name="T5" fmla="*/ 0 h 42"/>
                <a:gd name="T6" fmla="*/ 56 w 56"/>
                <a:gd name="T7" fmla="*/ 37 h 42"/>
                <a:gd name="T8" fmla="*/ 52 w 56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2">
                  <a:moveTo>
                    <a:pt x="52" y="42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6" y="37"/>
                  </a:lnTo>
                  <a:lnTo>
                    <a:pt x="52" y="4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6">
              <a:extLst>
                <a:ext uri="{FF2B5EF4-FFF2-40B4-BE49-F238E27FC236}">
                  <a16:creationId xmlns:a16="http://schemas.microsoft.com/office/drawing/2014/main" id="{2BCC0E36-1B2D-434C-A00C-EFEE1FBA0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1166"/>
              <a:ext cx="86" cy="76"/>
            </a:xfrm>
            <a:custGeom>
              <a:avLst/>
              <a:gdLst>
                <a:gd name="T0" fmla="*/ 9 w 35"/>
                <a:gd name="T1" fmla="*/ 5 h 31"/>
                <a:gd name="T2" fmla="*/ 6 w 35"/>
                <a:gd name="T3" fmla="*/ 6 h 31"/>
                <a:gd name="T4" fmla="*/ 4 w 35"/>
                <a:gd name="T5" fmla="*/ 8 h 31"/>
                <a:gd name="T6" fmla="*/ 4 w 35"/>
                <a:gd name="T7" fmla="*/ 11 h 31"/>
                <a:gd name="T8" fmla="*/ 5 w 35"/>
                <a:gd name="T9" fmla="*/ 12 h 31"/>
                <a:gd name="T10" fmla="*/ 25 w 35"/>
                <a:gd name="T11" fmla="*/ 27 h 31"/>
                <a:gd name="T12" fmla="*/ 27 w 35"/>
                <a:gd name="T13" fmla="*/ 27 h 31"/>
                <a:gd name="T14" fmla="*/ 29 w 35"/>
                <a:gd name="T15" fmla="*/ 26 h 31"/>
                <a:gd name="T16" fmla="*/ 31 w 35"/>
                <a:gd name="T17" fmla="*/ 23 h 31"/>
                <a:gd name="T18" fmla="*/ 31 w 35"/>
                <a:gd name="T19" fmla="*/ 21 h 31"/>
                <a:gd name="T20" fmla="*/ 30 w 35"/>
                <a:gd name="T21" fmla="*/ 19 h 31"/>
                <a:gd name="T22" fmla="*/ 10 w 35"/>
                <a:gd name="T23" fmla="*/ 5 h 31"/>
                <a:gd name="T24" fmla="*/ 9 w 35"/>
                <a:gd name="T25" fmla="*/ 5 h 31"/>
                <a:gd name="T26" fmla="*/ 26 w 35"/>
                <a:gd name="T27" fmla="*/ 31 h 31"/>
                <a:gd name="T28" fmla="*/ 23 w 35"/>
                <a:gd name="T29" fmla="*/ 29 h 31"/>
                <a:gd name="T30" fmla="*/ 3 w 35"/>
                <a:gd name="T31" fmla="*/ 15 h 31"/>
                <a:gd name="T32" fmla="*/ 0 w 35"/>
                <a:gd name="T33" fmla="*/ 11 h 31"/>
                <a:gd name="T34" fmla="*/ 2 w 35"/>
                <a:gd name="T35" fmla="*/ 6 h 31"/>
                <a:gd name="T36" fmla="*/ 4 w 35"/>
                <a:gd name="T37" fmla="*/ 4 h 31"/>
                <a:gd name="T38" fmla="*/ 12 w 35"/>
                <a:gd name="T39" fmla="*/ 2 h 31"/>
                <a:gd name="T40" fmla="*/ 32 w 35"/>
                <a:gd name="T41" fmla="*/ 17 h 31"/>
                <a:gd name="T42" fmla="*/ 34 w 35"/>
                <a:gd name="T43" fmla="*/ 21 h 31"/>
                <a:gd name="T44" fmla="*/ 33 w 35"/>
                <a:gd name="T45" fmla="*/ 25 h 31"/>
                <a:gd name="T46" fmla="*/ 31 w 35"/>
                <a:gd name="T47" fmla="*/ 28 h 31"/>
                <a:gd name="T48" fmla="*/ 27 w 35"/>
                <a:gd name="T49" fmla="*/ 31 h 31"/>
                <a:gd name="T50" fmla="*/ 26 w 35"/>
                <a:gd name="T5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" h="31">
                  <a:moveTo>
                    <a:pt x="9" y="5"/>
                  </a:moveTo>
                  <a:cubicBezTo>
                    <a:pt x="8" y="5"/>
                    <a:pt x="7" y="5"/>
                    <a:pt x="6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1"/>
                    <a:pt x="4" y="12"/>
                    <a:pt x="5" y="12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6" y="27"/>
                    <a:pt x="27" y="27"/>
                  </a:cubicBezTo>
                  <a:cubicBezTo>
                    <a:pt x="27" y="27"/>
                    <a:pt x="28" y="27"/>
                    <a:pt x="29" y="26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2"/>
                    <a:pt x="31" y="21"/>
                  </a:cubicBezTo>
                  <a:cubicBezTo>
                    <a:pt x="31" y="21"/>
                    <a:pt x="31" y="20"/>
                    <a:pt x="30" y="19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moveTo>
                    <a:pt x="26" y="31"/>
                  </a:moveTo>
                  <a:cubicBezTo>
                    <a:pt x="25" y="31"/>
                    <a:pt x="24" y="30"/>
                    <a:pt x="23" y="29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4"/>
                    <a:pt x="1" y="13"/>
                    <a:pt x="0" y="11"/>
                  </a:cubicBezTo>
                  <a:cubicBezTo>
                    <a:pt x="0" y="9"/>
                    <a:pt x="1" y="8"/>
                    <a:pt x="2" y="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9" y="0"/>
                    <a:pt x="12" y="2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3" y="18"/>
                    <a:pt x="34" y="19"/>
                    <a:pt x="34" y="21"/>
                  </a:cubicBezTo>
                  <a:cubicBezTo>
                    <a:pt x="35" y="22"/>
                    <a:pt x="34" y="24"/>
                    <a:pt x="33" y="25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0" y="29"/>
                    <a:pt x="29" y="30"/>
                    <a:pt x="27" y="31"/>
                  </a:cubicBezTo>
                  <a:cubicBezTo>
                    <a:pt x="27" y="31"/>
                    <a:pt x="27" y="31"/>
                    <a:pt x="26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7">
              <a:extLst>
                <a:ext uri="{FF2B5EF4-FFF2-40B4-BE49-F238E27FC236}">
                  <a16:creationId xmlns:a16="http://schemas.microsoft.com/office/drawing/2014/main" id="{575E46B8-647E-487B-95C7-003DF496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213"/>
              <a:ext cx="56" cy="42"/>
            </a:xfrm>
            <a:custGeom>
              <a:avLst/>
              <a:gdLst>
                <a:gd name="T0" fmla="*/ 5 w 56"/>
                <a:gd name="T1" fmla="*/ 42 h 42"/>
                <a:gd name="T2" fmla="*/ 0 w 56"/>
                <a:gd name="T3" fmla="*/ 37 h 42"/>
                <a:gd name="T4" fmla="*/ 51 w 56"/>
                <a:gd name="T5" fmla="*/ 0 h 42"/>
                <a:gd name="T6" fmla="*/ 56 w 56"/>
                <a:gd name="T7" fmla="*/ 5 h 42"/>
                <a:gd name="T8" fmla="*/ 5 w 56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2">
                  <a:moveTo>
                    <a:pt x="5" y="42"/>
                  </a:moveTo>
                  <a:lnTo>
                    <a:pt x="0" y="37"/>
                  </a:lnTo>
                  <a:lnTo>
                    <a:pt x="51" y="0"/>
                  </a:lnTo>
                  <a:lnTo>
                    <a:pt x="56" y="5"/>
                  </a:lnTo>
                  <a:lnTo>
                    <a:pt x="5" y="4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8">
              <a:extLst>
                <a:ext uri="{FF2B5EF4-FFF2-40B4-BE49-F238E27FC236}">
                  <a16:creationId xmlns:a16="http://schemas.microsoft.com/office/drawing/2014/main" id="{17044FF4-1EC4-4629-BC75-68E4588D9B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7" y="1166"/>
              <a:ext cx="85" cy="76"/>
            </a:xfrm>
            <a:custGeom>
              <a:avLst/>
              <a:gdLst>
                <a:gd name="T0" fmla="*/ 26 w 35"/>
                <a:gd name="T1" fmla="*/ 5 h 31"/>
                <a:gd name="T2" fmla="*/ 25 w 35"/>
                <a:gd name="T3" fmla="*/ 5 h 31"/>
                <a:gd name="T4" fmla="*/ 5 w 35"/>
                <a:gd name="T5" fmla="*/ 19 h 31"/>
                <a:gd name="T6" fmla="*/ 4 w 35"/>
                <a:gd name="T7" fmla="*/ 21 h 31"/>
                <a:gd name="T8" fmla="*/ 4 w 35"/>
                <a:gd name="T9" fmla="*/ 23 h 31"/>
                <a:gd name="T10" fmla="*/ 6 w 35"/>
                <a:gd name="T11" fmla="*/ 26 h 31"/>
                <a:gd name="T12" fmla="*/ 10 w 35"/>
                <a:gd name="T13" fmla="*/ 27 h 31"/>
                <a:gd name="T14" fmla="*/ 30 w 35"/>
                <a:gd name="T15" fmla="*/ 12 h 31"/>
                <a:gd name="T16" fmla="*/ 31 w 35"/>
                <a:gd name="T17" fmla="*/ 11 h 31"/>
                <a:gd name="T18" fmla="*/ 31 w 35"/>
                <a:gd name="T19" fmla="*/ 8 h 31"/>
                <a:gd name="T20" fmla="*/ 29 w 35"/>
                <a:gd name="T21" fmla="*/ 6 h 31"/>
                <a:gd name="T22" fmla="*/ 26 w 35"/>
                <a:gd name="T23" fmla="*/ 5 h 31"/>
                <a:gd name="T24" fmla="*/ 9 w 35"/>
                <a:gd name="T25" fmla="*/ 31 h 31"/>
                <a:gd name="T26" fmla="*/ 4 w 35"/>
                <a:gd name="T27" fmla="*/ 28 h 31"/>
                <a:gd name="T28" fmla="*/ 2 w 35"/>
                <a:gd name="T29" fmla="*/ 25 h 31"/>
                <a:gd name="T30" fmla="*/ 1 w 35"/>
                <a:gd name="T31" fmla="*/ 21 h 31"/>
                <a:gd name="T32" fmla="*/ 3 w 35"/>
                <a:gd name="T33" fmla="*/ 17 h 31"/>
                <a:gd name="T34" fmla="*/ 23 w 35"/>
                <a:gd name="T35" fmla="*/ 2 h 31"/>
                <a:gd name="T36" fmla="*/ 31 w 35"/>
                <a:gd name="T37" fmla="*/ 4 h 31"/>
                <a:gd name="T38" fmla="*/ 33 w 35"/>
                <a:gd name="T39" fmla="*/ 6 h 31"/>
                <a:gd name="T40" fmla="*/ 35 w 35"/>
                <a:gd name="T41" fmla="*/ 11 h 31"/>
                <a:gd name="T42" fmla="*/ 32 w 35"/>
                <a:gd name="T43" fmla="*/ 15 h 31"/>
                <a:gd name="T44" fmla="*/ 12 w 35"/>
                <a:gd name="T45" fmla="*/ 29 h 31"/>
                <a:gd name="T46" fmla="*/ 9 w 35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" h="31">
                  <a:moveTo>
                    <a:pt x="26" y="5"/>
                  </a:moveTo>
                  <a:cubicBezTo>
                    <a:pt x="26" y="5"/>
                    <a:pt x="25" y="5"/>
                    <a:pt x="25" y="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4" y="20"/>
                    <a:pt x="4" y="21"/>
                    <a:pt x="4" y="21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7"/>
                    <a:pt x="9" y="28"/>
                    <a:pt x="10" y="2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2"/>
                    <a:pt x="31" y="11"/>
                    <a:pt x="31" y="11"/>
                  </a:cubicBezTo>
                  <a:cubicBezTo>
                    <a:pt x="31" y="10"/>
                    <a:pt x="31" y="9"/>
                    <a:pt x="31" y="8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5"/>
                    <a:pt x="27" y="5"/>
                    <a:pt x="26" y="5"/>
                  </a:cubicBezTo>
                  <a:moveTo>
                    <a:pt x="9" y="31"/>
                  </a:moveTo>
                  <a:cubicBezTo>
                    <a:pt x="7" y="31"/>
                    <a:pt x="5" y="30"/>
                    <a:pt x="4" y="2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1" y="19"/>
                    <a:pt x="2" y="18"/>
                    <a:pt x="3" y="1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6" y="0"/>
                    <a:pt x="29" y="1"/>
                    <a:pt x="31" y="4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8"/>
                    <a:pt x="35" y="9"/>
                    <a:pt x="35" y="11"/>
                  </a:cubicBezTo>
                  <a:cubicBezTo>
                    <a:pt x="34" y="13"/>
                    <a:pt x="33" y="14"/>
                    <a:pt x="32" y="15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30"/>
                    <a:pt x="10" y="31"/>
                    <a:pt x="9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31">
            <a:extLst>
              <a:ext uri="{FF2B5EF4-FFF2-40B4-BE49-F238E27FC236}">
                <a16:creationId xmlns:a16="http://schemas.microsoft.com/office/drawing/2014/main" id="{3E9908F2-D6BC-4DDA-B23F-975A600AA1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650" y="1543845"/>
            <a:ext cx="841375" cy="839787"/>
            <a:chOff x="345" y="1095"/>
            <a:chExt cx="530" cy="529"/>
          </a:xfrm>
        </p:grpSpPr>
        <p:sp>
          <p:nvSpPr>
            <p:cNvPr id="231" name="AutoShape 30">
              <a:extLst>
                <a:ext uri="{FF2B5EF4-FFF2-40B4-BE49-F238E27FC236}">
                  <a16:creationId xmlns:a16="http://schemas.microsoft.com/office/drawing/2014/main" id="{295B2EA2-BE81-4379-B417-08F7B9CA55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5" y="1095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Oval 32">
              <a:extLst>
                <a:ext uri="{FF2B5EF4-FFF2-40B4-BE49-F238E27FC236}">
                  <a16:creationId xmlns:a16="http://schemas.microsoft.com/office/drawing/2014/main" id="{EDD8DCBA-05B0-46C6-A183-E6D043692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" y="1098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33">
              <a:extLst>
                <a:ext uri="{FF2B5EF4-FFF2-40B4-BE49-F238E27FC236}">
                  <a16:creationId xmlns:a16="http://schemas.microsoft.com/office/drawing/2014/main" id="{5B0DB57B-7EA0-4F7E-B0EB-B74FFF5A3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" y="1119"/>
              <a:ext cx="484" cy="483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4">
              <a:extLst>
                <a:ext uri="{FF2B5EF4-FFF2-40B4-BE49-F238E27FC236}">
                  <a16:creationId xmlns:a16="http://schemas.microsoft.com/office/drawing/2014/main" id="{AD547E6B-7918-45A4-8937-DE69B85EF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1345"/>
              <a:ext cx="215" cy="160"/>
            </a:xfrm>
            <a:custGeom>
              <a:avLst/>
              <a:gdLst>
                <a:gd name="T0" fmla="*/ 71 w 79"/>
                <a:gd name="T1" fmla="*/ 59 h 59"/>
                <a:gd name="T2" fmla="*/ 8 w 79"/>
                <a:gd name="T3" fmla="*/ 59 h 59"/>
                <a:gd name="T4" fmla="*/ 0 w 79"/>
                <a:gd name="T5" fmla="*/ 51 h 59"/>
                <a:gd name="T6" fmla="*/ 0 w 79"/>
                <a:gd name="T7" fmla="*/ 8 h 59"/>
                <a:gd name="T8" fmla="*/ 8 w 79"/>
                <a:gd name="T9" fmla="*/ 0 h 59"/>
                <a:gd name="T10" fmla="*/ 71 w 79"/>
                <a:gd name="T11" fmla="*/ 0 h 59"/>
                <a:gd name="T12" fmla="*/ 79 w 79"/>
                <a:gd name="T13" fmla="*/ 8 h 59"/>
                <a:gd name="T14" fmla="*/ 79 w 79"/>
                <a:gd name="T15" fmla="*/ 51 h 59"/>
                <a:gd name="T16" fmla="*/ 71 w 79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59">
                  <a:moveTo>
                    <a:pt x="71" y="59"/>
                  </a:moveTo>
                  <a:cubicBezTo>
                    <a:pt x="8" y="59"/>
                    <a:pt x="8" y="59"/>
                    <a:pt x="8" y="59"/>
                  </a:cubicBezTo>
                  <a:cubicBezTo>
                    <a:pt x="3" y="59"/>
                    <a:pt x="0" y="55"/>
                    <a:pt x="0" y="5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5" y="0"/>
                    <a:pt x="79" y="3"/>
                    <a:pt x="79" y="8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5"/>
                    <a:pt x="75" y="59"/>
                    <a:pt x="71" y="59"/>
                  </a:cubicBez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5">
              <a:extLst>
                <a:ext uri="{FF2B5EF4-FFF2-40B4-BE49-F238E27FC236}">
                  <a16:creationId xmlns:a16="http://schemas.microsoft.com/office/drawing/2014/main" id="{36476691-F292-43D7-A6FC-98AC1E2C8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252"/>
              <a:ext cx="87" cy="90"/>
            </a:xfrm>
            <a:custGeom>
              <a:avLst/>
              <a:gdLst>
                <a:gd name="T0" fmla="*/ 2 w 32"/>
                <a:gd name="T1" fmla="*/ 33 h 33"/>
                <a:gd name="T2" fmla="*/ 9 w 32"/>
                <a:gd name="T3" fmla="*/ 9 h 33"/>
                <a:gd name="T4" fmla="*/ 32 w 32"/>
                <a:gd name="T5" fmla="*/ 0 h 33"/>
                <a:gd name="T6" fmla="*/ 32 w 32"/>
                <a:gd name="T7" fmla="*/ 7 h 33"/>
                <a:gd name="T8" fmla="*/ 14 w 32"/>
                <a:gd name="T9" fmla="*/ 14 h 33"/>
                <a:gd name="T10" fmla="*/ 9 w 32"/>
                <a:gd name="T11" fmla="*/ 32 h 33"/>
                <a:gd name="T12" fmla="*/ 2 w 3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3">
                  <a:moveTo>
                    <a:pt x="2" y="33"/>
                  </a:moveTo>
                  <a:cubicBezTo>
                    <a:pt x="2" y="33"/>
                    <a:pt x="0" y="19"/>
                    <a:pt x="9" y="9"/>
                  </a:cubicBezTo>
                  <a:cubicBezTo>
                    <a:pt x="14" y="3"/>
                    <a:pt x="22" y="0"/>
                    <a:pt x="32" y="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4" y="7"/>
                    <a:pt x="18" y="9"/>
                    <a:pt x="14" y="14"/>
                  </a:cubicBezTo>
                  <a:cubicBezTo>
                    <a:pt x="8" y="21"/>
                    <a:pt x="9" y="32"/>
                    <a:pt x="9" y="32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36">
              <a:extLst>
                <a:ext uri="{FF2B5EF4-FFF2-40B4-BE49-F238E27FC236}">
                  <a16:creationId xmlns:a16="http://schemas.microsoft.com/office/drawing/2014/main" id="{9FD9BA35-8233-4D61-9D85-DEA4723AE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" y="1252"/>
              <a:ext cx="87" cy="90"/>
            </a:xfrm>
            <a:custGeom>
              <a:avLst/>
              <a:gdLst>
                <a:gd name="T0" fmla="*/ 30 w 32"/>
                <a:gd name="T1" fmla="*/ 33 h 33"/>
                <a:gd name="T2" fmla="*/ 23 w 32"/>
                <a:gd name="T3" fmla="*/ 32 h 33"/>
                <a:gd name="T4" fmla="*/ 27 w 32"/>
                <a:gd name="T5" fmla="*/ 33 h 33"/>
                <a:gd name="T6" fmla="*/ 23 w 32"/>
                <a:gd name="T7" fmla="*/ 32 h 33"/>
                <a:gd name="T8" fmla="*/ 18 w 32"/>
                <a:gd name="T9" fmla="*/ 14 h 33"/>
                <a:gd name="T10" fmla="*/ 0 w 32"/>
                <a:gd name="T11" fmla="*/ 7 h 33"/>
                <a:gd name="T12" fmla="*/ 0 w 32"/>
                <a:gd name="T13" fmla="*/ 0 h 33"/>
                <a:gd name="T14" fmla="*/ 24 w 32"/>
                <a:gd name="T15" fmla="*/ 9 h 33"/>
                <a:gd name="T16" fmla="*/ 30 w 32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3">
                  <a:moveTo>
                    <a:pt x="30" y="3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4" y="21"/>
                    <a:pt x="18" y="14"/>
                  </a:cubicBezTo>
                  <a:cubicBezTo>
                    <a:pt x="14" y="9"/>
                    <a:pt x="8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0"/>
                    <a:pt x="18" y="3"/>
                    <a:pt x="24" y="9"/>
                  </a:cubicBezTo>
                  <a:cubicBezTo>
                    <a:pt x="32" y="19"/>
                    <a:pt x="30" y="33"/>
                    <a:pt x="30" y="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37">
              <a:extLst>
                <a:ext uri="{FF2B5EF4-FFF2-40B4-BE49-F238E27FC236}">
                  <a16:creationId xmlns:a16="http://schemas.microsoft.com/office/drawing/2014/main" id="{255B3894-D1D9-412B-ACE4-6B70018D3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1385"/>
              <a:ext cx="21" cy="36"/>
            </a:xfrm>
            <a:custGeom>
              <a:avLst/>
              <a:gdLst>
                <a:gd name="T0" fmla="*/ 5 w 8"/>
                <a:gd name="T1" fmla="*/ 13 h 13"/>
                <a:gd name="T2" fmla="*/ 3 w 8"/>
                <a:gd name="T3" fmla="*/ 13 h 13"/>
                <a:gd name="T4" fmla="*/ 0 w 8"/>
                <a:gd name="T5" fmla="*/ 10 h 13"/>
                <a:gd name="T6" fmla="*/ 0 w 8"/>
                <a:gd name="T7" fmla="*/ 3 h 13"/>
                <a:gd name="T8" fmla="*/ 3 w 8"/>
                <a:gd name="T9" fmla="*/ 0 h 13"/>
                <a:gd name="T10" fmla="*/ 5 w 8"/>
                <a:gd name="T11" fmla="*/ 0 h 13"/>
                <a:gd name="T12" fmla="*/ 8 w 8"/>
                <a:gd name="T13" fmla="*/ 3 h 13"/>
                <a:gd name="T14" fmla="*/ 8 w 8"/>
                <a:gd name="T15" fmla="*/ 10 h 13"/>
                <a:gd name="T16" fmla="*/ 5 w 8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3">
                  <a:moveTo>
                    <a:pt x="5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1" y="13"/>
                    <a:pt x="0" y="11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1"/>
                    <a:pt x="8" y="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7" y="13"/>
                    <a:pt x="5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8">
              <a:extLst>
                <a:ext uri="{FF2B5EF4-FFF2-40B4-BE49-F238E27FC236}">
                  <a16:creationId xmlns:a16="http://schemas.microsoft.com/office/drawing/2014/main" id="{2E733F25-338F-43F2-B9DF-FC269769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" y="1214"/>
              <a:ext cx="321" cy="234"/>
            </a:xfrm>
            <a:custGeom>
              <a:avLst/>
              <a:gdLst>
                <a:gd name="T0" fmla="*/ 87 w 118"/>
                <a:gd name="T1" fmla="*/ 22 h 86"/>
                <a:gd name="T2" fmla="*/ 89 w 118"/>
                <a:gd name="T3" fmla="*/ 25 h 86"/>
                <a:gd name="T4" fmla="*/ 95 w 118"/>
                <a:gd name="T5" fmla="*/ 26 h 86"/>
                <a:gd name="T6" fmla="*/ 115 w 118"/>
                <a:gd name="T7" fmla="*/ 12 h 86"/>
                <a:gd name="T8" fmla="*/ 116 w 118"/>
                <a:gd name="T9" fmla="*/ 5 h 86"/>
                <a:gd name="T10" fmla="*/ 114 w 118"/>
                <a:gd name="T11" fmla="*/ 3 h 86"/>
                <a:gd name="T12" fmla="*/ 108 w 118"/>
                <a:gd name="T13" fmla="*/ 2 h 86"/>
                <a:gd name="T14" fmla="*/ 88 w 118"/>
                <a:gd name="T15" fmla="*/ 16 h 86"/>
                <a:gd name="T16" fmla="*/ 87 w 118"/>
                <a:gd name="T17" fmla="*/ 22 h 86"/>
                <a:gd name="T18" fmla="*/ 96 w 118"/>
                <a:gd name="T19" fmla="*/ 18 h 86"/>
                <a:gd name="T20" fmla="*/ 75 w 118"/>
                <a:gd name="T21" fmla="*/ 33 h 86"/>
                <a:gd name="T22" fmla="*/ 31 w 118"/>
                <a:gd name="T23" fmla="*/ 22 h 86"/>
                <a:gd name="T24" fmla="*/ 29 w 118"/>
                <a:gd name="T25" fmla="*/ 25 h 86"/>
                <a:gd name="T26" fmla="*/ 23 w 118"/>
                <a:gd name="T27" fmla="*/ 26 h 86"/>
                <a:gd name="T28" fmla="*/ 3 w 118"/>
                <a:gd name="T29" fmla="*/ 12 h 86"/>
                <a:gd name="T30" fmla="*/ 2 w 118"/>
                <a:gd name="T31" fmla="*/ 5 h 86"/>
                <a:gd name="T32" fmla="*/ 4 w 118"/>
                <a:gd name="T33" fmla="*/ 3 h 86"/>
                <a:gd name="T34" fmla="*/ 10 w 118"/>
                <a:gd name="T35" fmla="*/ 2 h 86"/>
                <a:gd name="T36" fmla="*/ 30 w 118"/>
                <a:gd name="T37" fmla="*/ 16 h 86"/>
                <a:gd name="T38" fmla="*/ 31 w 118"/>
                <a:gd name="T39" fmla="*/ 22 h 86"/>
                <a:gd name="T40" fmla="*/ 22 w 118"/>
                <a:gd name="T41" fmla="*/ 18 h 86"/>
                <a:gd name="T42" fmla="*/ 43 w 118"/>
                <a:gd name="T43" fmla="*/ 33 h 86"/>
                <a:gd name="T44" fmla="*/ 59 w 118"/>
                <a:gd name="T45" fmla="*/ 70 h 86"/>
                <a:gd name="T46" fmla="*/ 59 w 118"/>
                <a:gd name="T4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86">
                  <a:moveTo>
                    <a:pt x="87" y="22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91" y="27"/>
                    <a:pt x="93" y="28"/>
                    <a:pt x="95" y="26"/>
                  </a:cubicBezTo>
                  <a:cubicBezTo>
                    <a:pt x="115" y="12"/>
                    <a:pt x="115" y="12"/>
                    <a:pt x="115" y="12"/>
                  </a:cubicBezTo>
                  <a:cubicBezTo>
                    <a:pt x="117" y="10"/>
                    <a:pt x="118" y="7"/>
                    <a:pt x="116" y="5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3" y="1"/>
                    <a:pt x="110" y="0"/>
                    <a:pt x="108" y="2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8"/>
                    <a:pt x="86" y="20"/>
                    <a:pt x="87" y="22"/>
                  </a:cubicBezTo>
                  <a:close/>
                  <a:moveTo>
                    <a:pt x="96" y="18"/>
                  </a:moveTo>
                  <a:cubicBezTo>
                    <a:pt x="75" y="33"/>
                    <a:pt x="75" y="33"/>
                    <a:pt x="75" y="33"/>
                  </a:cubicBezTo>
                  <a:moveTo>
                    <a:pt x="31" y="22"/>
                  </a:moveTo>
                  <a:cubicBezTo>
                    <a:pt x="29" y="25"/>
                    <a:pt x="29" y="25"/>
                    <a:pt x="29" y="25"/>
                  </a:cubicBezTo>
                  <a:cubicBezTo>
                    <a:pt x="27" y="27"/>
                    <a:pt x="25" y="28"/>
                    <a:pt x="2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0"/>
                    <a:pt x="0" y="7"/>
                    <a:pt x="2" y="5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1"/>
                    <a:pt x="8" y="0"/>
                    <a:pt x="10" y="2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2" y="18"/>
                    <a:pt x="32" y="20"/>
                    <a:pt x="31" y="22"/>
                  </a:cubicBezTo>
                  <a:close/>
                  <a:moveTo>
                    <a:pt x="22" y="18"/>
                  </a:moveTo>
                  <a:cubicBezTo>
                    <a:pt x="43" y="33"/>
                    <a:pt x="43" y="33"/>
                    <a:pt x="43" y="33"/>
                  </a:cubicBezTo>
                  <a:moveTo>
                    <a:pt x="59" y="70"/>
                  </a:moveTo>
                  <a:cubicBezTo>
                    <a:pt x="59" y="86"/>
                    <a:pt x="59" y="86"/>
                    <a:pt x="59" y="86"/>
                  </a:cubicBezTo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1" name="Group 41">
            <a:extLst>
              <a:ext uri="{FF2B5EF4-FFF2-40B4-BE49-F238E27FC236}">
                <a16:creationId xmlns:a16="http://schemas.microsoft.com/office/drawing/2014/main" id="{2FD531A7-0212-462D-831A-370191585B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5213" y="1583532"/>
            <a:ext cx="758825" cy="758825"/>
            <a:chOff x="2409" y="1101"/>
            <a:chExt cx="478" cy="478"/>
          </a:xfrm>
        </p:grpSpPr>
        <p:sp>
          <p:nvSpPr>
            <p:cNvPr id="292" name="AutoShape 40">
              <a:extLst>
                <a:ext uri="{FF2B5EF4-FFF2-40B4-BE49-F238E27FC236}">
                  <a16:creationId xmlns:a16="http://schemas.microsoft.com/office/drawing/2014/main" id="{AB6F5860-1538-47A3-8873-783C9AF16DD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09" y="11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42">
              <a:extLst>
                <a:ext uri="{FF2B5EF4-FFF2-40B4-BE49-F238E27FC236}">
                  <a16:creationId xmlns:a16="http://schemas.microsoft.com/office/drawing/2014/main" id="{EB503058-E254-4708-909E-AB56F26719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1" y="1103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43">
              <a:extLst>
                <a:ext uri="{FF2B5EF4-FFF2-40B4-BE49-F238E27FC236}">
                  <a16:creationId xmlns:a16="http://schemas.microsoft.com/office/drawing/2014/main" id="{C7701BAD-B7C9-41A9-A279-5983D08B1A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7" y="1273"/>
              <a:ext cx="122" cy="122"/>
            </a:xfrm>
            <a:custGeom>
              <a:avLst/>
              <a:gdLst>
                <a:gd name="T0" fmla="*/ 7 w 122"/>
                <a:gd name="T1" fmla="*/ 115 h 122"/>
                <a:gd name="T2" fmla="*/ 113 w 122"/>
                <a:gd name="T3" fmla="*/ 115 h 122"/>
                <a:gd name="T4" fmla="*/ 113 w 122"/>
                <a:gd name="T5" fmla="*/ 9 h 122"/>
                <a:gd name="T6" fmla="*/ 7 w 122"/>
                <a:gd name="T7" fmla="*/ 9 h 122"/>
                <a:gd name="T8" fmla="*/ 7 w 122"/>
                <a:gd name="T9" fmla="*/ 115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0 h 122"/>
                <a:gd name="T16" fmla="*/ 122 w 122"/>
                <a:gd name="T17" fmla="*/ 0 h 122"/>
                <a:gd name="T18" fmla="*/ 122 w 122"/>
                <a:gd name="T19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22">
                  <a:moveTo>
                    <a:pt x="7" y="115"/>
                  </a:moveTo>
                  <a:lnTo>
                    <a:pt x="113" y="115"/>
                  </a:lnTo>
                  <a:lnTo>
                    <a:pt x="113" y="9"/>
                  </a:lnTo>
                  <a:lnTo>
                    <a:pt x="7" y="9"/>
                  </a:lnTo>
                  <a:lnTo>
                    <a:pt x="7" y="115"/>
                  </a:lnTo>
                  <a:close/>
                  <a:moveTo>
                    <a:pt x="122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122" y="0"/>
                  </a:lnTo>
                  <a:lnTo>
                    <a:pt x="122" y="1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44">
              <a:extLst>
                <a:ext uri="{FF2B5EF4-FFF2-40B4-BE49-F238E27FC236}">
                  <a16:creationId xmlns:a16="http://schemas.microsoft.com/office/drawing/2014/main" id="{A22DBD5B-0715-480C-902C-AAE81C9A60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1" y="1309"/>
              <a:ext cx="52" cy="52"/>
            </a:xfrm>
            <a:custGeom>
              <a:avLst/>
              <a:gdLst>
                <a:gd name="T0" fmla="*/ 10 w 52"/>
                <a:gd name="T1" fmla="*/ 42 h 52"/>
                <a:gd name="T2" fmla="*/ 44 w 52"/>
                <a:gd name="T3" fmla="*/ 42 h 52"/>
                <a:gd name="T4" fmla="*/ 44 w 52"/>
                <a:gd name="T5" fmla="*/ 8 h 52"/>
                <a:gd name="T6" fmla="*/ 10 w 52"/>
                <a:gd name="T7" fmla="*/ 8 h 52"/>
                <a:gd name="T8" fmla="*/ 10 w 52"/>
                <a:gd name="T9" fmla="*/ 42 h 52"/>
                <a:gd name="T10" fmla="*/ 52 w 52"/>
                <a:gd name="T11" fmla="*/ 52 h 52"/>
                <a:gd name="T12" fmla="*/ 0 w 52"/>
                <a:gd name="T13" fmla="*/ 52 h 52"/>
                <a:gd name="T14" fmla="*/ 0 w 52"/>
                <a:gd name="T15" fmla="*/ 0 h 52"/>
                <a:gd name="T16" fmla="*/ 52 w 52"/>
                <a:gd name="T17" fmla="*/ 0 h 52"/>
                <a:gd name="T18" fmla="*/ 52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10" y="42"/>
                  </a:moveTo>
                  <a:lnTo>
                    <a:pt x="44" y="42"/>
                  </a:lnTo>
                  <a:lnTo>
                    <a:pt x="44" y="8"/>
                  </a:lnTo>
                  <a:lnTo>
                    <a:pt x="10" y="8"/>
                  </a:lnTo>
                  <a:lnTo>
                    <a:pt x="10" y="42"/>
                  </a:lnTo>
                  <a:close/>
                  <a:moveTo>
                    <a:pt x="52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45">
              <a:extLst>
                <a:ext uri="{FF2B5EF4-FFF2-40B4-BE49-F238E27FC236}">
                  <a16:creationId xmlns:a16="http://schemas.microsoft.com/office/drawing/2014/main" id="{3FBF68A6-2B39-448E-B708-BD5097ED3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2" y="1273"/>
              <a:ext cx="73" cy="122"/>
            </a:xfrm>
            <a:custGeom>
              <a:avLst/>
              <a:gdLst>
                <a:gd name="T0" fmla="*/ 7 w 73"/>
                <a:gd name="T1" fmla="*/ 115 h 122"/>
                <a:gd name="T2" fmla="*/ 51 w 73"/>
                <a:gd name="T3" fmla="*/ 115 h 122"/>
                <a:gd name="T4" fmla="*/ 66 w 73"/>
                <a:gd name="T5" fmla="*/ 90 h 122"/>
                <a:gd name="T6" fmla="*/ 66 w 73"/>
                <a:gd name="T7" fmla="*/ 31 h 122"/>
                <a:gd name="T8" fmla="*/ 51 w 73"/>
                <a:gd name="T9" fmla="*/ 9 h 122"/>
                <a:gd name="T10" fmla="*/ 7 w 73"/>
                <a:gd name="T11" fmla="*/ 9 h 122"/>
                <a:gd name="T12" fmla="*/ 7 w 73"/>
                <a:gd name="T13" fmla="*/ 115 h 122"/>
                <a:gd name="T14" fmla="*/ 56 w 73"/>
                <a:gd name="T15" fmla="*/ 122 h 122"/>
                <a:gd name="T16" fmla="*/ 0 w 73"/>
                <a:gd name="T17" fmla="*/ 122 h 122"/>
                <a:gd name="T18" fmla="*/ 0 w 73"/>
                <a:gd name="T19" fmla="*/ 0 h 122"/>
                <a:gd name="T20" fmla="*/ 56 w 73"/>
                <a:gd name="T21" fmla="*/ 0 h 122"/>
                <a:gd name="T22" fmla="*/ 73 w 73"/>
                <a:gd name="T23" fmla="*/ 31 h 122"/>
                <a:gd name="T24" fmla="*/ 73 w 73"/>
                <a:gd name="T25" fmla="*/ 93 h 122"/>
                <a:gd name="T26" fmla="*/ 56 w 73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" h="122">
                  <a:moveTo>
                    <a:pt x="7" y="115"/>
                  </a:moveTo>
                  <a:lnTo>
                    <a:pt x="51" y="115"/>
                  </a:lnTo>
                  <a:lnTo>
                    <a:pt x="66" y="90"/>
                  </a:lnTo>
                  <a:lnTo>
                    <a:pt x="66" y="31"/>
                  </a:lnTo>
                  <a:lnTo>
                    <a:pt x="51" y="9"/>
                  </a:lnTo>
                  <a:lnTo>
                    <a:pt x="7" y="9"/>
                  </a:lnTo>
                  <a:lnTo>
                    <a:pt x="7" y="115"/>
                  </a:lnTo>
                  <a:close/>
                  <a:moveTo>
                    <a:pt x="56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56" y="0"/>
                  </a:lnTo>
                  <a:lnTo>
                    <a:pt x="73" y="31"/>
                  </a:lnTo>
                  <a:lnTo>
                    <a:pt x="73" y="93"/>
                  </a:lnTo>
                  <a:lnTo>
                    <a:pt x="56" y="1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Rectangle 46">
              <a:extLst>
                <a:ext uri="{FF2B5EF4-FFF2-40B4-BE49-F238E27FC236}">
                  <a16:creationId xmlns:a16="http://schemas.microsoft.com/office/drawing/2014/main" id="{ED315EDA-79EB-4897-B6B9-D9118EA87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6" y="1295"/>
              <a:ext cx="8" cy="8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47">
              <a:extLst>
                <a:ext uri="{FF2B5EF4-FFF2-40B4-BE49-F238E27FC236}">
                  <a16:creationId xmlns:a16="http://schemas.microsoft.com/office/drawing/2014/main" id="{9A877A35-62A7-4434-A817-C431316B9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1295"/>
              <a:ext cx="66" cy="78"/>
            </a:xfrm>
            <a:custGeom>
              <a:avLst/>
              <a:gdLst>
                <a:gd name="T0" fmla="*/ 7 w 66"/>
                <a:gd name="T1" fmla="*/ 68 h 78"/>
                <a:gd name="T2" fmla="*/ 59 w 66"/>
                <a:gd name="T3" fmla="*/ 68 h 78"/>
                <a:gd name="T4" fmla="*/ 59 w 66"/>
                <a:gd name="T5" fmla="*/ 9 h 78"/>
                <a:gd name="T6" fmla="*/ 7 w 66"/>
                <a:gd name="T7" fmla="*/ 9 h 78"/>
                <a:gd name="T8" fmla="*/ 7 w 66"/>
                <a:gd name="T9" fmla="*/ 68 h 78"/>
                <a:gd name="T10" fmla="*/ 66 w 66"/>
                <a:gd name="T11" fmla="*/ 78 h 78"/>
                <a:gd name="T12" fmla="*/ 0 w 66"/>
                <a:gd name="T13" fmla="*/ 78 h 78"/>
                <a:gd name="T14" fmla="*/ 0 w 66"/>
                <a:gd name="T15" fmla="*/ 0 h 78"/>
                <a:gd name="T16" fmla="*/ 66 w 66"/>
                <a:gd name="T17" fmla="*/ 0 h 78"/>
                <a:gd name="T18" fmla="*/ 66 w 66"/>
                <a:gd name="T1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78">
                  <a:moveTo>
                    <a:pt x="7" y="68"/>
                  </a:moveTo>
                  <a:lnTo>
                    <a:pt x="59" y="68"/>
                  </a:lnTo>
                  <a:lnTo>
                    <a:pt x="59" y="9"/>
                  </a:lnTo>
                  <a:lnTo>
                    <a:pt x="7" y="9"/>
                  </a:lnTo>
                  <a:lnTo>
                    <a:pt x="7" y="68"/>
                  </a:lnTo>
                  <a:close/>
                  <a:moveTo>
                    <a:pt x="66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7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48">
              <a:extLst>
                <a:ext uri="{FF2B5EF4-FFF2-40B4-BE49-F238E27FC236}">
                  <a16:creationId xmlns:a16="http://schemas.microsoft.com/office/drawing/2014/main" id="{F233FFD7-8FA5-4C7E-B570-7A669407D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8" y="1290"/>
              <a:ext cx="61" cy="88"/>
            </a:xfrm>
            <a:custGeom>
              <a:avLst/>
              <a:gdLst>
                <a:gd name="T0" fmla="*/ 6 w 25"/>
                <a:gd name="T1" fmla="*/ 33 h 36"/>
                <a:gd name="T2" fmla="*/ 15 w 25"/>
                <a:gd name="T3" fmla="*/ 33 h 36"/>
                <a:gd name="T4" fmla="*/ 22 w 25"/>
                <a:gd name="T5" fmla="*/ 27 h 36"/>
                <a:gd name="T6" fmla="*/ 22 w 25"/>
                <a:gd name="T7" fmla="*/ 10 h 36"/>
                <a:gd name="T8" fmla="*/ 15 w 25"/>
                <a:gd name="T9" fmla="*/ 4 h 36"/>
                <a:gd name="T10" fmla="*/ 6 w 25"/>
                <a:gd name="T11" fmla="*/ 4 h 36"/>
                <a:gd name="T12" fmla="*/ 7 w 25"/>
                <a:gd name="T13" fmla="*/ 6 h 36"/>
                <a:gd name="T14" fmla="*/ 7 w 25"/>
                <a:gd name="T15" fmla="*/ 7 h 36"/>
                <a:gd name="T16" fmla="*/ 15 w 25"/>
                <a:gd name="T17" fmla="*/ 7 h 36"/>
                <a:gd name="T18" fmla="*/ 18 w 25"/>
                <a:gd name="T19" fmla="*/ 10 h 36"/>
                <a:gd name="T20" fmla="*/ 18 w 25"/>
                <a:gd name="T21" fmla="*/ 27 h 36"/>
                <a:gd name="T22" fmla="*/ 15 w 25"/>
                <a:gd name="T23" fmla="*/ 29 h 36"/>
                <a:gd name="T24" fmla="*/ 7 w 25"/>
                <a:gd name="T25" fmla="*/ 29 h 36"/>
                <a:gd name="T26" fmla="*/ 7 w 25"/>
                <a:gd name="T27" fmla="*/ 31 h 36"/>
                <a:gd name="T28" fmla="*/ 6 w 25"/>
                <a:gd name="T29" fmla="*/ 33 h 36"/>
                <a:gd name="T30" fmla="*/ 15 w 25"/>
                <a:gd name="T31" fmla="*/ 36 h 36"/>
                <a:gd name="T32" fmla="*/ 0 w 25"/>
                <a:gd name="T33" fmla="*/ 36 h 36"/>
                <a:gd name="T34" fmla="*/ 4 w 25"/>
                <a:gd name="T35" fmla="*/ 30 h 36"/>
                <a:gd name="T36" fmla="*/ 4 w 25"/>
                <a:gd name="T37" fmla="*/ 26 h 36"/>
                <a:gd name="T38" fmla="*/ 15 w 25"/>
                <a:gd name="T39" fmla="*/ 26 h 36"/>
                <a:gd name="T40" fmla="*/ 15 w 25"/>
                <a:gd name="T41" fmla="*/ 11 h 36"/>
                <a:gd name="T42" fmla="*/ 4 w 25"/>
                <a:gd name="T43" fmla="*/ 11 h 36"/>
                <a:gd name="T44" fmla="*/ 4 w 25"/>
                <a:gd name="T45" fmla="*/ 6 h 36"/>
                <a:gd name="T46" fmla="*/ 0 w 25"/>
                <a:gd name="T47" fmla="*/ 0 h 36"/>
                <a:gd name="T48" fmla="*/ 15 w 25"/>
                <a:gd name="T49" fmla="*/ 0 h 36"/>
                <a:gd name="T50" fmla="*/ 25 w 25"/>
                <a:gd name="T51" fmla="*/ 10 h 36"/>
                <a:gd name="T52" fmla="*/ 25 w 25"/>
                <a:gd name="T53" fmla="*/ 27 h 36"/>
                <a:gd name="T54" fmla="*/ 15 w 25"/>
                <a:gd name="T5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" h="36">
                  <a:moveTo>
                    <a:pt x="6" y="33"/>
                  </a:moveTo>
                  <a:cubicBezTo>
                    <a:pt x="15" y="33"/>
                    <a:pt x="15" y="33"/>
                    <a:pt x="15" y="33"/>
                  </a:cubicBezTo>
                  <a:cubicBezTo>
                    <a:pt x="19" y="33"/>
                    <a:pt x="22" y="30"/>
                    <a:pt x="22" y="27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19" y="4"/>
                    <a:pt x="1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7"/>
                    <a:pt x="18" y="9"/>
                    <a:pt x="18" y="10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8"/>
                    <a:pt x="17" y="29"/>
                    <a:pt x="15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1"/>
                    <a:pt x="7" y="31"/>
                    <a:pt x="7" y="31"/>
                  </a:cubicBezTo>
                  <a:lnTo>
                    <a:pt x="6" y="33"/>
                  </a:lnTo>
                  <a:close/>
                  <a:moveTo>
                    <a:pt x="15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1" y="0"/>
                    <a:pt x="25" y="5"/>
                    <a:pt x="25" y="10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32"/>
                    <a:pt x="21" y="36"/>
                    <a:pt x="15" y="3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49">
              <a:extLst>
                <a:ext uri="{FF2B5EF4-FFF2-40B4-BE49-F238E27FC236}">
                  <a16:creationId xmlns:a16="http://schemas.microsoft.com/office/drawing/2014/main" id="{A4997E87-2ABB-4288-BF03-418A15A5C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4" y="1295"/>
              <a:ext cx="64" cy="78"/>
            </a:xfrm>
            <a:custGeom>
              <a:avLst/>
              <a:gdLst>
                <a:gd name="T0" fmla="*/ 8 w 64"/>
                <a:gd name="T1" fmla="*/ 68 h 78"/>
                <a:gd name="T2" fmla="*/ 57 w 64"/>
                <a:gd name="T3" fmla="*/ 68 h 78"/>
                <a:gd name="T4" fmla="*/ 57 w 64"/>
                <a:gd name="T5" fmla="*/ 9 h 78"/>
                <a:gd name="T6" fmla="*/ 8 w 64"/>
                <a:gd name="T7" fmla="*/ 9 h 78"/>
                <a:gd name="T8" fmla="*/ 8 w 64"/>
                <a:gd name="T9" fmla="*/ 68 h 78"/>
                <a:gd name="T10" fmla="*/ 64 w 64"/>
                <a:gd name="T11" fmla="*/ 78 h 78"/>
                <a:gd name="T12" fmla="*/ 0 w 64"/>
                <a:gd name="T13" fmla="*/ 78 h 78"/>
                <a:gd name="T14" fmla="*/ 0 w 64"/>
                <a:gd name="T15" fmla="*/ 0 h 78"/>
                <a:gd name="T16" fmla="*/ 64 w 64"/>
                <a:gd name="T17" fmla="*/ 0 h 78"/>
                <a:gd name="T18" fmla="*/ 64 w 64"/>
                <a:gd name="T1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78">
                  <a:moveTo>
                    <a:pt x="8" y="68"/>
                  </a:moveTo>
                  <a:lnTo>
                    <a:pt x="57" y="68"/>
                  </a:lnTo>
                  <a:lnTo>
                    <a:pt x="57" y="9"/>
                  </a:lnTo>
                  <a:lnTo>
                    <a:pt x="8" y="9"/>
                  </a:lnTo>
                  <a:lnTo>
                    <a:pt x="8" y="68"/>
                  </a:lnTo>
                  <a:close/>
                  <a:moveTo>
                    <a:pt x="64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7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50">
              <a:extLst>
                <a:ext uri="{FF2B5EF4-FFF2-40B4-BE49-F238E27FC236}">
                  <a16:creationId xmlns:a16="http://schemas.microsoft.com/office/drawing/2014/main" id="{99BCD0F3-7564-4933-97C4-FB941FF4B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" y="1405"/>
              <a:ext cx="46" cy="44"/>
            </a:xfrm>
            <a:custGeom>
              <a:avLst/>
              <a:gdLst>
                <a:gd name="T0" fmla="*/ 2 w 46"/>
                <a:gd name="T1" fmla="*/ 44 h 44"/>
                <a:gd name="T2" fmla="*/ 0 w 46"/>
                <a:gd name="T3" fmla="*/ 37 h 44"/>
                <a:gd name="T4" fmla="*/ 27 w 46"/>
                <a:gd name="T5" fmla="*/ 22 h 44"/>
                <a:gd name="T6" fmla="*/ 0 w 46"/>
                <a:gd name="T7" fmla="*/ 7 h 44"/>
                <a:gd name="T8" fmla="*/ 2 w 46"/>
                <a:gd name="T9" fmla="*/ 0 h 44"/>
                <a:gd name="T10" fmla="*/ 46 w 46"/>
                <a:gd name="T11" fmla="*/ 22 h 44"/>
                <a:gd name="T12" fmla="*/ 2 w 46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4">
                  <a:moveTo>
                    <a:pt x="2" y="44"/>
                  </a:moveTo>
                  <a:lnTo>
                    <a:pt x="0" y="37"/>
                  </a:lnTo>
                  <a:lnTo>
                    <a:pt x="27" y="22"/>
                  </a:lnTo>
                  <a:lnTo>
                    <a:pt x="0" y="7"/>
                  </a:lnTo>
                  <a:lnTo>
                    <a:pt x="2" y="0"/>
                  </a:lnTo>
                  <a:lnTo>
                    <a:pt x="46" y="22"/>
                  </a:lnTo>
                  <a:lnTo>
                    <a:pt x="2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Rectangle 51">
              <a:extLst>
                <a:ext uri="{FF2B5EF4-FFF2-40B4-BE49-F238E27FC236}">
                  <a16:creationId xmlns:a16="http://schemas.microsoft.com/office/drawing/2014/main" id="{158BB150-9764-4C5D-9AAC-0ABDD20F3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6" y="1422"/>
              <a:ext cx="9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52">
              <a:extLst>
                <a:ext uri="{FF2B5EF4-FFF2-40B4-BE49-F238E27FC236}">
                  <a16:creationId xmlns:a16="http://schemas.microsoft.com/office/drawing/2014/main" id="{A6603730-69EA-401A-82FE-C77864AED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" y="1405"/>
              <a:ext cx="47" cy="44"/>
            </a:xfrm>
            <a:custGeom>
              <a:avLst/>
              <a:gdLst>
                <a:gd name="T0" fmla="*/ 42 w 47"/>
                <a:gd name="T1" fmla="*/ 44 h 44"/>
                <a:gd name="T2" fmla="*/ 0 w 47"/>
                <a:gd name="T3" fmla="*/ 22 h 44"/>
                <a:gd name="T4" fmla="*/ 42 w 47"/>
                <a:gd name="T5" fmla="*/ 0 h 44"/>
                <a:gd name="T6" fmla="*/ 47 w 47"/>
                <a:gd name="T7" fmla="*/ 7 h 44"/>
                <a:gd name="T8" fmla="*/ 17 w 47"/>
                <a:gd name="T9" fmla="*/ 22 h 44"/>
                <a:gd name="T10" fmla="*/ 47 w 47"/>
                <a:gd name="T11" fmla="*/ 37 h 44"/>
                <a:gd name="T12" fmla="*/ 42 w 47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4">
                  <a:moveTo>
                    <a:pt x="42" y="44"/>
                  </a:moveTo>
                  <a:lnTo>
                    <a:pt x="0" y="22"/>
                  </a:lnTo>
                  <a:lnTo>
                    <a:pt x="42" y="0"/>
                  </a:lnTo>
                  <a:lnTo>
                    <a:pt x="47" y="7"/>
                  </a:lnTo>
                  <a:lnTo>
                    <a:pt x="17" y="22"/>
                  </a:lnTo>
                  <a:lnTo>
                    <a:pt x="47" y="37"/>
                  </a:lnTo>
                  <a:lnTo>
                    <a:pt x="42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Rectangle 53">
              <a:extLst>
                <a:ext uri="{FF2B5EF4-FFF2-40B4-BE49-F238E27FC236}">
                  <a16:creationId xmlns:a16="http://schemas.microsoft.com/office/drawing/2014/main" id="{829F3C8F-EEA1-4F85-8A58-48A924172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9" y="1422"/>
              <a:ext cx="98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5" name="Group 56">
            <a:extLst>
              <a:ext uri="{FF2B5EF4-FFF2-40B4-BE49-F238E27FC236}">
                <a16:creationId xmlns:a16="http://schemas.microsoft.com/office/drawing/2014/main" id="{3F361699-BB3C-41DB-8C8F-A276ED5576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71751" y="1548607"/>
            <a:ext cx="841375" cy="841375"/>
            <a:chOff x="1586" y="1149"/>
            <a:chExt cx="530" cy="530"/>
          </a:xfrm>
        </p:grpSpPr>
        <p:sp>
          <p:nvSpPr>
            <p:cNvPr id="306" name="AutoShape 55">
              <a:extLst>
                <a:ext uri="{FF2B5EF4-FFF2-40B4-BE49-F238E27FC236}">
                  <a16:creationId xmlns:a16="http://schemas.microsoft.com/office/drawing/2014/main" id="{EC332739-D2DC-418A-843D-EDAE663B71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86" y="114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57">
              <a:extLst>
                <a:ext uri="{FF2B5EF4-FFF2-40B4-BE49-F238E27FC236}">
                  <a16:creationId xmlns:a16="http://schemas.microsoft.com/office/drawing/2014/main" id="{4A7EE312-38AD-4759-A5EC-5A673B28E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9" y="1152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58">
              <a:extLst>
                <a:ext uri="{FF2B5EF4-FFF2-40B4-BE49-F238E27FC236}">
                  <a16:creationId xmlns:a16="http://schemas.microsoft.com/office/drawing/2014/main" id="{9EF22A76-4564-4B0F-8339-61AA3482E7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0" y="1173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59">
              <a:extLst>
                <a:ext uri="{FF2B5EF4-FFF2-40B4-BE49-F238E27FC236}">
                  <a16:creationId xmlns:a16="http://schemas.microsoft.com/office/drawing/2014/main" id="{CA03BD2C-DEED-4CF2-90E2-84011F09E0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1" y="1345"/>
              <a:ext cx="405" cy="185"/>
            </a:xfrm>
            <a:custGeom>
              <a:avLst/>
              <a:gdLst>
                <a:gd name="T0" fmla="*/ 82 w 149"/>
                <a:gd name="T1" fmla="*/ 61 h 68"/>
                <a:gd name="T2" fmla="*/ 122 w 149"/>
                <a:gd name="T3" fmla="*/ 61 h 68"/>
                <a:gd name="T4" fmla="*/ 96 w 149"/>
                <a:gd name="T5" fmla="*/ 54 h 68"/>
                <a:gd name="T6" fmla="*/ 82 w 149"/>
                <a:gd name="T7" fmla="*/ 61 h 68"/>
                <a:gd name="T8" fmla="*/ 96 w 149"/>
                <a:gd name="T9" fmla="*/ 68 h 68"/>
                <a:gd name="T10" fmla="*/ 68 w 149"/>
                <a:gd name="T11" fmla="*/ 61 h 68"/>
                <a:gd name="T12" fmla="*/ 28 w 149"/>
                <a:gd name="T13" fmla="*/ 61 h 68"/>
                <a:gd name="T14" fmla="*/ 53 w 149"/>
                <a:gd name="T15" fmla="*/ 54 h 68"/>
                <a:gd name="T16" fmla="*/ 68 w 149"/>
                <a:gd name="T17" fmla="*/ 61 h 68"/>
                <a:gd name="T18" fmla="*/ 53 w 149"/>
                <a:gd name="T19" fmla="*/ 68 h 68"/>
                <a:gd name="T20" fmla="*/ 149 w 149"/>
                <a:gd name="T21" fmla="*/ 37 h 68"/>
                <a:gd name="T22" fmla="*/ 127 w 149"/>
                <a:gd name="T23" fmla="*/ 37 h 68"/>
                <a:gd name="T24" fmla="*/ 127 w 149"/>
                <a:gd name="T25" fmla="*/ 9 h 68"/>
                <a:gd name="T26" fmla="*/ 149 w 149"/>
                <a:gd name="T27" fmla="*/ 9 h 68"/>
                <a:gd name="T28" fmla="*/ 149 w 149"/>
                <a:gd name="T29" fmla="*/ 37 h 68"/>
                <a:gd name="T30" fmla="*/ 60 w 149"/>
                <a:gd name="T31" fmla="*/ 39 h 68"/>
                <a:gd name="T32" fmla="*/ 48 w 149"/>
                <a:gd name="T33" fmla="*/ 39 h 68"/>
                <a:gd name="T34" fmla="*/ 50 w 149"/>
                <a:gd name="T35" fmla="*/ 35 h 68"/>
                <a:gd name="T36" fmla="*/ 51 w 149"/>
                <a:gd name="T37" fmla="*/ 33 h 68"/>
                <a:gd name="T38" fmla="*/ 60 w 149"/>
                <a:gd name="T39" fmla="*/ 33 h 68"/>
                <a:gd name="T40" fmla="*/ 61 w 149"/>
                <a:gd name="T41" fmla="*/ 32 h 68"/>
                <a:gd name="T42" fmla="*/ 61 w 149"/>
                <a:gd name="T43" fmla="*/ 15 h 68"/>
                <a:gd name="T44" fmla="*/ 60 w 149"/>
                <a:gd name="T45" fmla="*/ 14 h 68"/>
                <a:gd name="T46" fmla="*/ 50 w 149"/>
                <a:gd name="T47" fmla="*/ 14 h 68"/>
                <a:gd name="T48" fmla="*/ 50 w 149"/>
                <a:gd name="T49" fmla="*/ 11 h 68"/>
                <a:gd name="T50" fmla="*/ 48 w 149"/>
                <a:gd name="T51" fmla="*/ 7 h 68"/>
                <a:gd name="T52" fmla="*/ 60 w 149"/>
                <a:gd name="T53" fmla="*/ 7 h 68"/>
                <a:gd name="T54" fmla="*/ 68 w 149"/>
                <a:gd name="T55" fmla="*/ 15 h 68"/>
                <a:gd name="T56" fmla="*/ 68 w 149"/>
                <a:gd name="T57" fmla="*/ 32 h 68"/>
                <a:gd name="T58" fmla="*/ 60 w 149"/>
                <a:gd name="T59" fmla="*/ 39 h 68"/>
                <a:gd name="T60" fmla="*/ 0 w 149"/>
                <a:gd name="T61" fmla="*/ 37 h 68"/>
                <a:gd name="T62" fmla="*/ 23 w 149"/>
                <a:gd name="T63" fmla="*/ 37 h 68"/>
                <a:gd name="T64" fmla="*/ 23 w 149"/>
                <a:gd name="T65" fmla="*/ 9 h 68"/>
                <a:gd name="T66" fmla="*/ 0 w 149"/>
                <a:gd name="T67" fmla="*/ 9 h 68"/>
                <a:gd name="T68" fmla="*/ 0 w 149"/>
                <a:gd name="T69" fmla="*/ 37 h 68"/>
                <a:gd name="T70" fmla="*/ 30 w 149"/>
                <a:gd name="T71" fmla="*/ 7 h 68"/>
                <a:gd name="T72" fmla="*/ 30 w 149"/>
                <a:gd name="T73" fmla="*/ 40 h 68"/>
                <a:gd name="T74" fmla="*/ 44 w 149"/>
                <a:gd name="T75" fmla="*/ 47 h 68"/>
                <a:gd name="T76" fmla="*/ 23 w 149"/>
                <a:gd name="T77" fmla="*/ 47 h 68"/>
                <a:gd name="T78" fmla="*/ 23 w 149"/>
                <a:gd name="T79" fmla="*/ 0 h 68"/>
                <a:gd name="T80" fmla="*/ 44 w 149"/>
                <a:gd name="T81" fmla="*/ 0 h 68"/>
                <a:gd name="T82" fmla="*/ 50 w 149"/>
                <a:gd name="T83" fmla="*/ 11 h 68"/>
                <a:gd name="T84" fmla="*/ 50 w 149"/>
                <a:gd name="T85" fmla="*/ 35 h 68"/>
                <a:gd name="T86" fmla="*/ 44 w 149"/>
                <a:gd name="T87" fmla="*/ 47 h 68"/>
                <a:gd name="T88" fmla="*/ 107 w 149"/>
                <a:gd name="T89" fmla="*/ 32 h 68"/>
                <a:gd name="T90" fmla="*/ 89 w 149"/>
                <a:gd name="T91" fmla="*/ 32 h 68"/>
                <a:gd name="T92" fmla="*/ 89 w 149"/>
                <a:gd name="T93" fmla="*/ 15 h 68"/>
                <a:gd name="T94" fmla="*/ 107 w 149"/>
                <a:gd name="T95" fmla="*/ 15 h 68"/>
                <a:gd name="T96" fmla="*/ 107 w 149"/>
                <a:gd name="T97" fmla="*/ 32 h 68"/>
                <a:gd name="T98" fmla="*/ 121 w 149"/>
                <a:gd name="T99" fmla="*/ 47 h 68"/>
                <a:gd name="T100" fmla="*/ 74 w 149"/>
                <a:gd name="T101" fmla="*/ 47 h 68"/>
                <a:gd name="T102" fmla="*/ 74 w 149"/>
                <a:gd name="T103" fmla="*/ 0 h 68"/>
                <a:gd name="T104" fmla="*/ 121 w 149"/>
                <a:gd name="T105" fmla="*/ 0 h 68"/>
                <a:gd name="T106" fmla="*/ 121 w 149"/>
                <a:gd name="T107" fmla="*/ 4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9" h="68">
                  <a:moveTo>
                    <a:pt x="82" y="61"/>
                  </a:moveTo>
                  <a:cubicBezTo>
                    <a:pt x="122" y="61"/>
                    <a:pt x="122" y="61"/>
                    <a:pt x="122" y="61"/>
                  </a:cubicBezTo>
                  <a:moveTo>
                    <a:pt x="96" y="54"/>
                  </a:moveTo>
                  <a:cubicBezTo>
                    <a:pt x="82" y="61"/>
                    <a:pt x="82" y="61"/>
                    <a:pt x="82" y="61"/>
                  </a:cubicBezTo>
                  <a:cubicBezTo>
                    <a:pt x="96" y="68"/>
                    <a:pt x="96" y="68"/>
                    <a:pt x="96" y="68"/>
                  </a:cubicBezTo>
                  <a:moveTo>
                    <a:pt x="68" y="61"/>
                  </a:moveTo>
                  <a:cubicBezTo>
                    <a:pt x="28" y="61"/>
                    <a:pt x="28" y="61"/>
                    <a:pt x="28" y="61"/>
                  </a:cubicBezTo>
                  <a:moveTo>
                    <a:pt x="53" y="54"/>
                  </a:moveTo>
                  <a:cubicBezTo>
                    <a:pt x="68" y="61"/>
                    <a:pt x="68" y="61"/>
                    <a:pt x="68" y="61"/>
                  </a:cubicBezTo>
                  <a:cubicBezTo>
                    <a:pt x="53" y="68"/>
                    <a:pt x="53" y="68"/>
                    <a:pt x="53" y="68"/>
                  </a:cubicBezTo>
                  <a:moveTo>
                    <a:pt x="149" y="37"/>
                  </a:moveTo>
                  <a:cubicBezTo>
                    <a:pt x="127" y="37"/>
                    <a:pt x="127" y="37"/>
                    <a:pt x="127" y="37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49" y="9"/>
                    <a:pt x="149" y="9"/>
                    <a:pt x="149" y="9"/>
                  </a:cubicBezTo>
                  <a:lnTo>
                    <a:pt x="149" y="37"/>
                  </a:lnTo>
                  <a:close/>
                  <a:moveTo>
                    <a:pt x="60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3"/>
                    <a:pt x="61" y="32"/>
                    <a:pt x="61" y="32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4"/>
                    <a:pt x="6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5" y="7"/>
                    <a:pt x="68" y="11"/>
                    <a:pt x="68" y="15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6"/>
                    <a:pt x="65" y="39"/>
                    <a:pt x="60" y="39"/>
                  </a:cubicBezTo>
                  <a:close/>
                  <a:moveTo>
                    <a:pt x="0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0" y="37"/>
                  </a:lnTo>
                  <a:close/>
                  <a:moveTo>
                    <a:pt x="30" y="7"/>
                  </a:moveTo>
                  <a:cubicBezTo>
                    <a:pt x="30" y="40"/>
                    <a:pt x="30" y="40"/>
                    <a:pt x="30" y="40"/>
                  </a:cubicBezTo>
                  <a:moveTo>
                    <a:pt x="44" y="47"/>
                  </a:moveTo>
                  <a:cubicBezTo>
                    <a:pt x="23" y="47"/>
                    <a:pt x="23" y="47"/>
                    <a:pt x="23" y="4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35"/>
                    <a:pt x="50" y="35"/>
                    <a:pt x="50" y="35"/>
                  </a:cubicBezTo>
                  <a:lnTo>
                    <a:pt x="44" y="47"/>
                  </a:lnTo>
                  <a:close/>
                  <a:moveTo>
                    <a:pt x="107" y="32"/>
                  </a:moveTo>
                  <a:cubicBezTo>
                    <a:pt x="89" y="32"/>
                    <a:pt x="89" y="32"/>
                    <a:pt x="89" y="32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107" y="15"/>
                    <a:pt x="107" y="15"/>
                    <a:pt x="107" y="15"/>
                  </a:cubicBezTo>
                  <a:lnTo>
                    <a:pt x="107" y="32"/>
                  </a:lnTo>
                  <a:close/>
                  <a:moveTo>
                    <a:pt x="121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47"/>
                  </a:ln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4" name="Group 62">
            <a:extLst>
              <a:ext uri="{FF2B5EF4-FFF2-40B4-BE49-F238E27FC236}">
                <a16:creationId xmlns:a16="http://schemas.microsoft.com/office/drawing/2014/main" id="{131123CE-2218-4494-9FDE-51D67E86F1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7713" y="1583532"/>
            <a:ext cx="758825" cy="758825"/>
            <a:chOff x="3722" y="1084"/>
            <a:chExt cx="478" cy="478"/>
          </a:xfrm>
        </p:grpSpPr>
        <p:sp>
          <p:nvSpPr>
            <p:cNvPr id="325" name="AutoShape 61">
              <a:extLst>
                <a:ext uri="{FF2B5EF4-FFF2-40B4-BE49-F238E27FC236}">
                  <a16:creationId xmlns:a16="http://schemas.microsoft.com/office/drawing/2014/main" id="{54E798C6-FD23-4F94-9695-5C9369CF32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22" y="108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63">
              <a:extLst>
                <a:ext uri="{FF2B5EF4-FFF2-40B4-BE49-F238E27FC236}">
                  <a16:creationId xmlns:a16="http://schemas.microsoft.com/office/drawing/2014/main" id="{571A8EDF-12F8-4F86-99B8-BC9FF05DEA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4" y="1086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64">
              <a:extLst>
                <a:ext uri="{FF2B5EF4-FFF2-40B4-BE49-F238E27FC236}">
                  <a16:creationId xmlns:a16="http://schemas.microsoft.com/office/drawing/2014/main" id="{9FF46CAE-015E-4C39-AAAA-AC5C5B8CCC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1260"/>
              <a:ext cx="280" cy="189"/>
            </a:xfrm>
            <a:custGeom>
              <a:avLst/>
              <a:gdLst>
                <a:gd name="T0" fmla="*/ 113 w 114"/>
                <a:gd name="T1" fmla="*/ 72 h 77"/>
                <a:gd name="T2" fmla="*/ 110 w 114"/>
                <a:gd name="T3" fmla="*/ 75 h 77"/>
                <a:gd name="T4" fmla="*/ 4 w 114"/>
                <a:gd name="T5" fmla="*/ 75 h 77"/>
                <a:gd name="T6" fmla="*/ 1 w 114"/>
                <a:gd name="T7" fmla="*/ 72 h 77"/>
                <a:gd name="T8" fmla="*/ 1 w 114"/>
                <a:gd name="T9" fmla="*/ 5 h 77"/>
                <a:gd name="T10" fmla="*/ 4 w 114"/>
                <a:gd name="T11" fmla="*/ 2 h 77"/>
                <a:gd name="T12" fmla="*/ 110 w 114"/>
                <a:gd name="T13" fmla="*/ 2 h 77"/>
                <a:gd name="T14" fmla="*/ 113 w 114"/>
                <a:gd name="T15" fmla="*/ 5 h 77"/>
                <a:gd name="T16" fmla="*/ 113 w 114"/>
                <a:gd name="T17" fmla="*/ 72 h 77"/>
                <a:gd name="T18" fmla="*/ 110 w 114"/>
                <a:gd name="T19" fmla="*/ 0 h 77"/>
                <a:gd name="T20" fmla="*/ 4 w 114"/>
                <a:gd name="T21" fmla="*/ 0 h 77"/>
                <a:gd name="T22" fmla="*/ 0 w 114"/>
                <a:gd name="T23" fmla="*/ 5 h 77"/>
                <a:gd name="T24" fmla="*/ 0 w 114"/>
                <a:gd name="T25" fmla="*/ 72 h 77"/>
                <a:gd name="T26" fmla="*/ 4 w 114"/>
                <a:gd name="T27" fmla="*/ 77 h 77"/>
                <a:gd name="T28" fmla="*/ 110 w 114"/>
                <a:gd name="T29" fmla="*/ 77 h 77"/>
                <a:gd name="T30" fmla="*/ 114 w 114"/>
                <a:gd name="T31" fmla="*/ 72 h 77"/>
                <a:gd name="T32" fmla="*/ 114 w 114"/>
                <a:gd name="T33" fmla="*/ 5 h 77"/>
                <a:gd name="T34" fmla="*/ 110 w 114"/>
                <a:gd name="T3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77">
                  <a:moveTo>
                    <a:pt x="113" y="72"/>
                  </a:moveTo>
                  <a:cubicBezTo>
                    <a:pt x="113" y="74"/>
                    <a:pt x="111" y="75"/>
                    <a:pt x="110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3" y="75"/>
                    <a:pt x="1" y="74"/>
                    <a:pt x="1" y="7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3" y="3"/>
                    <a:pt x="113" y="5"/>
                  </a:cubicBezTo>
                  <a:lnTo>
                    <a:pt x="113" y="72"/>
                  </a:lnTo>
                  <a:close/>
                  <a:moveTo>
                    <a:pt x="11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5"/>
                    <a:pt x="2" y="77"/>
                    <a:pt x="4" y="77"/>
                  </a:cubicBezTo>
                  <a:cubicBezTo>
                    <a:pt x="110" y="77"/>
                    <a:pt x="110" y="77"/>
                    <a:pt x="110" y="77"/>
                  </a:cubicBezTo>
                  <a:cubicBezTo>
                    <a:pt x="112" y="77"/>
                    <a:pt x="114" y="75"/>
                    <a:pt x="114" y="72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14" y="2"/>
                    <a:pt x="112" y="0"/>
                    <a:pt x="11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65">
              <a:extLst>
                <a:ext uri="{FF2B5EF4-FFF2-40B4-BE49-F238E27FC236}">
                  <a16:creationId xmlns:a16="http://schemas.microsoft.com/office/drawing/2014/main" id="{47BB1A65-548A-46F9-93EA-9898BB96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5" y="1265"/>
              <a:ext cx="275" cy="179"/>
            </a:xfrm>
            <a:custGeom>
              <a:avLst/>
              <a:gdLst>
                <a:gd name="T0" fmla="*/ 110 w 112"/>
                <a:gd name="T1" fmla="*/ 70 h 73"/>
                <a:gd name="T2" fmla="*/ 109 w 112"/>
                <a:gd name="T3" fmla="*/ 71 h 73"/>
                <a:gd name="T4" fmla="*/ 3 w 112"/>
                <a:gd name="T5" fmla="*/ 71 h 73"/>
                <a:gd name="T6" fmla="*/ 2 w 112"/>
                <a:gd name="T7" fmla="*/ 70 h 73"/>
                <a:gd name="T8" fmla="*/ 2 w 112"/>
                <a:gd name="T9" fmla="*/ 3 h 73"/>
                <a:gd name="T10" fmla="*/ 3 w 112"/>
                <a:gd name="T11" fmla="*/ 2 h 73"/>
                <a:gd name="T12" fmla="*/ 109 w 112"/>
                <a:gd name="T13" fmla="*/ 2 h 73"/>
                <a:gd name="T14" fmla="*/ 110 w 112"/>
                <a:gd name="T15" fmla="*/ 3 h 73"/>
                <a:gd name="T16" fmla="*/ 110 w 112"/>
                <a:gd name="T17" fmla="*/ 70 h 73"/>
                <a:gd name="T18" fmla="*/ 109 w 112"/>
                <a:gd name="T19" fmla="*/ 0 h 73"/>
                <a:gd name="T20" fmla="*/ 3 w 112"/>
                <a:gd name="T21" fmla="*/ 0 h 73"/>
                <a:gd name="T22" fmla="*/ 0 w 112"/>
                <a:gd name="T23" fmla="*/ 3 h 73"/>
                <a:gd name="T24" fmla="*/ 0 w 112"/>
                <a:gd name="T25" fmla="*/ 70 h 73"/>
                <a:gd name="T26" fmla="*/ 3 w 112"/>
                <a:gd name="T27" fmla="*/ 73 h 73"/>
                <a:gd name="T28" fmla="*/ 109 w 112"/>
                <a:gd name="T29" fmla="*/ 73 h 73"/>
                <a:gd name="T30" fmla="*/ 112 w 112"/>
                <a:gd name="T31" fmla="*/ 70 h 73"/>
                <a:gd name="T32" fmla="*/ 112 w 112"/>
                <a:gd name="T33" fmla="*/ 3 h 73"/>
                <a:gd name="T34" fmla="*/ 109 w 112"/>
                <a:gd name="T3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73">
                  <a:moveTo>
                    <a:pt x="110" y="70"/>
                  </a:moveTo>
                  <a:cubicBezTo>
                    <a:pt x="110" y="71"/>
                    <a:pt x="110" y="71"/>
                    <a:pt x="109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2" y="71"/>
                    <a:pt x="2" y="71"/>
                    <a:pt x="2" y="7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10" y="2"/>
                    <a:pt x="110" y="2"/>
                    <a:pt x="110" y="3"/>
                  </a:cubicBezTo>
                  <a:lnTo>
                    <a:pt x="110" y="70"/>
                  </a:lnTo>
                  <a:close/>
                  <a:moveTo>
                    <a:pt x="10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2"/>
                    <a:pt x="2" y="73"/>
                    <a:pt x="3" y="73"/>
                  </a:cubicBezTo>
                  <a:cubicBezTo>
                    <a:pt x="109" y="73"/>
                    <a:pt x="109" y="73"/>
                    <a:pt x="109" y="73"/>
                  </a:cubicBezTo>
                  <a:cubicBezTo>
                    <a:pt x="110" y="73"/>
                    <a:pt x="112" y="72"/>
                    <a:pt x="112" y="70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1"/>
                    <a:pt x="110" y="0"/>
                    <a:pt x="10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66">
              <a:extLst>
                <a:ext uri="{FF2B5EF4-FFF2-40B4-BE49-F238E27FC236}">
                  <a16:creationId xmlns:a16="http://schemas.microsoft.com/office/drawing/2014/main" id="{E5139796-CDAA-4CCD-992B-2B5820B9D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0" y="1204"/>
              <a:ext cx="44" cy="61"/>
            </a:xfrm>
            <a:custGeom>
              <a:avLst/>
              <a:gdLst>
                <a:gd name="T0" fmla="*/ 9 w 18"/>
                <a:gd name="T1" fmla="*/ 14 h 25"/>
                <a:gd name="T2" fmla="*/ 5 w 18"/>
                <a:gd name="T3" fmla="*/ 10 h 25"/>
                <a:gd name="T4" fmla="*/ 9 w 18"/>
                <a:gd name="T5" fmla="*/ 6 h 25"/>
                <a:gd name="T6" fmla="*/ 13 w 18"/>
                <a:gd name="T7" fmla="*/ 10 h 25"/>
                <a:gd name="T8" fmla="*/ 9 w 18"/>
                <a:gd name="T9" fmla="*/ 14 h 25"/>
                <a:gd name="T10" fmla="*/ 18 w 18"/>
                <a:gd name="T11" fmla="*/ 0 h 25"/>
                <a:gd name="T12" fmla="*/ 0 w 18"/>
                <a:gd name="T13" fmla="*/ 0 h 25"/>
                <a:gd name="T14" fmla="*/ 0 w 18"/>
                <a:gd name="T15" fmla="*/ 25 h 25"/>
                <a:gd name="T16" fmla="*/ 18 w 18"/>
                <a:gd name="T17" fmla="*/ 25 h 25"/>
                <a:gd name="T18" fmla="*/ 18 w 18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5">
                  <a:moveTo>
                    <a:pt x="9" y="14"/>
                  </a:moveTo>
                  <a:cubicBezTo>
                    <a:pt x="7" y="14"/>
                    <a:pt x="5" y="12"/>
                    <a:pt x="5" y="10"/>
                  </a:cubicBezTo>
                  <a:cubicBezTo>
                    <a:pt x="5" y="8"/>
                    <a:pt x="7" y="6"/>
                    <a:pt x="9" y="6"/>
                  </a:cubicBezTo>
                  <a:cubicBezTo>
                    <a:pt x="11" y="6"/>
                    <a:pt x="13" y="8"/>
                    <a:pt x="13" y="10"/>
                  </a:cubicBezTo>
                  <a:cubicBezTo>
                    <a:pt x="13" y="12"/>
                    <a:pt x="11" y="14"/>
                    <a:pt x="9" y="14"/>
                  </a:cubicBezTo>
                  <a:moveTo>
                    <a:pt x="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8" y="25"/>
                    <a:pt x="18" y="25"/>
                    <a:pt x="18" y="25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Rectangle 67">
              <a:extLst>
                <a:ext uri="{FF2B5EF4-FFF2-40B4-BE49-F238E27FC236}">
                  <a16:creationId xmlns:a16="http://schemas.microsoft.com/office/drawing/2014/main" id="{ED82FCEC-5FB3-4D48-BFBC-68AB245EE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1265"/>
              <a:ext cx="44" cy="2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Rectangle 68">
              <a:extLst>
                <a:ext uri="{FF2B5EF4-FFF2-40B4-BE49-F238E27FC236}">
                  <a16:creationId xmlns:a16="http://schemas.microsoft.com/office/drawing/2014/main" id="{F4CF65CE-4769-423A-85AE-DA2C0FF01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7" y="1283"/>
              <a:ext cx="233" cy="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69">
              <a:extLst>
                <a:ext uri="{FF2B5EF4-FFF2-40B4-BE49-F238E27FC236}">
                  <a16:creationId xmlns:a16="http://schemas.microsoft.com/office/drawing/2014/main" id="{C108BA20-E47B-4B73-B47A-5EF6B6CBF5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7" y="1319"/>
              <a:ext cx="78" cy="89"/>
            </a:xfrm>
            <a:custGeom>
              <a:avLst/>
              <a:gdLst>
                <a:gd name="T0" fmla="*/ 4 w 32"/>
                <a:gd name="T1" fmla="*/ 34 h 36"/>
                <a:gd name="T2" fmla="*/ 16 w 32"/>
                <a:gd name="T3" fmla="*/ 18 h 36"/>
                <a:gd name="T4" fmla="*/ 26 w 32"/>
                <a:gd name="T5" fmla="*/ 34 h 36"/>
                <a:gd name="T6" fmla="*/ 4 w 32"/>
                <a:gd name="T7" fmla="*/ 34 h 36"/>
                <a:gd name="T8" fmla="*/ 16 w 32"/>
                <a:gd name="T9" fmla="*/ 6 h 36"/>
                <a:gd name="T10" fmla="*/ 21 w 32"/>
                <a:gd name="T11" fmla="*/ 11 h 36"/>
                <a:gd name="T12" fmla="*/ 16 w 32"/>
                <a:gd name="T13" fmla="*/ 16 h 36"/>
                <a:gd name="T14" fmla="*/ 10 w 32"/>
                <a:gd name="T15" fmla="*/ 11 h 36"/>
                <a:gd name="T16" fmla="*/ 16 w 32"/>
                <a:gd name="T17" fmla="*/ 6 h 36"/>
                <a:gd name="T18" fmla="*/ 0 w 32"/>
                <a:gd name="T19" fmla="*/ 36 h 36"/>
                <a:gd name="T20" fmla="*/ 32 w 32"/>
                <a:gd name="T21" fmla="*/ 36 h 36"/>
                <a:gd name="T22" fmla="*/ 32 w 32"/>
                <a:gd name="T23" fmla="*/ 0 h 36"/>
                <a:gd name="T24" fmla="*/ 0 w 32"/>
                <a:gd name="T25" fmla="*/ 0 h 36"/>
                <a:gd name="T26" fmla="*/ 0 w 32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6">
                  <a:moveTo>
                    <a:pt x="4" y="34"/>
                  </a:moveTo>
                  <a:cubicBezTo>
                    <a:pt x="4" y="34"/>
                    <a:pt x="5" y="19"/>
                    <a:pt x="16" y="18"/>
                  </a:cubicBezTo>
                  <a:cubicBezTo>
                    <a:pt x="26" y="18"/>
                    <a:pt x="26" y="34"/>
                    <a:pt x="26" y="34"/>
                  </a:cubicBezTo>
                  <a:lnTo>
                    <a:pt x="4" y="34"/>
                  </a:lnTo>
                  <a:close/>
                  <a:moveTo>
                    <a:pt x="16" y="6"/>
                  </a:moveTo>
                  <a:cubicBezTo>
                    <a:pt x="19" y="6"/>
                    <a:pt x="21" y="8"/>
                    <a:pt x="21" y="11"/>
                  </a:cubicBezTo>
                  <a:cubicBezTo>
                    <a:pt x="21" y="14"/>
                    <a:pt x="19" y="16"/>
                    <a:pt x="16" y="16"/>
                  </a:cubicBezTo>
                  <a:cubicBezTo>
                    <a:pt x="13" y="16"/>
                    <a:pt x="10" y="14"/>
                    <a:pt x="10" y="11"/>
                  </a:cubicBezTo>
                  <a:cubicBezTo>
                    <a:pt x="10" y="8"/>
                    <a:pt x="13" y="6"/>
                    <a:pt x="16" y="6"/>
                  </a:cubicBezTo>
                  <a:moveTo>
                    <a:pt x="0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Rectangle 70">
              <a:extLst>
                <a:ext uri="{FF2B5EF4-FFF2-40B4-BE49-F238E27FC236}">
                  <a16:creationId xmlns:a16="http://schemas.microsoft.com/office/drawing/2014/main" id="{9D39EA2C-1378-4969-A0A4-D753802D6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2" y="1410"/>
              <a:ext cx="118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7" name="Group 87">
            <a:extLst>
              <a:ext uri="{FF2B5EF4-FFF2-40B4-BE49-F238E27FC236}">
                <a16:creationId xmlns:a16="http://schemas.microsoft.com/office/drawing/2014/main" id="{94EBDBCB-0A72-458F-9EA6-252A064047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0750" y="1548607"/>
            <a:ext cx="841375" cy="841375"/>
            <a:chOff x="3118" y="1151"/>
            <a:chExt cx="530" cy="530"/>
          </a:xfrm>
        </p:grpSpPr>
        <p:sp>
          <p:nvSpPr>
            <p:cNvPr id="348" name="AutoShape 86">
              <a:extLst>
                <a:ext uri="{FF2B5EF4-FFF2-40B4-BE49-F238E27FC236}">
                  <a16:creationId xmlns:a16="http://schemas.microsoft.com/office/drawing/2014/main" id="{FA02B5C5-F3B4-4487-A5C9-E99F78627A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18" y="115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Oval 88">
              <a:extLst>
                <a:ext uri="{FF2B5EF4-FFF2-40B4-BE49-F238E27FC236}">
                  <a16:creationId xmlns:a16="http://schemas.microsoft.com/office/drawing/2014/main" id="{86C83593-E036-4643-9316-5A33715639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1" y="115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89">
              <a:extLst>
                <a:ext uri="{FF2B5EF4-FFF2-40B4-BE49-F238E27FC236}">
                  <a16:creationId xmlns:a16="http://schemas.microsoft.com/office/drawing/2014/main" id="{26251AEF-707B-42DF-9C65-780A65107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1175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90">
              <a:extLst>
                <a:ext uri="{FF2B5EF4-FFF2-40B4-BE49-F238E27FC236}">
                  <a16:creationId xmlns:a16="http://schemas.microsoft.com/office/drawing/2014/main" id="{5AD93271-9824-4A86-91E7-B92BF9AE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2" y="1352"/>
              <a:ext cx="305" cy="199"/>
            </a:xfrm>
            <a:custGeom>
              <a:avLst/>
              <a:gdLst>
                <a:gd name="T0" fmla="*/ 109 w 112"/>
                <a:gd name="T1" fmla="*/ 73 h 73"/>
                <a:gd name="T2" fmla="*/ 3 w 112"/>
                <a:gd name="T3" fmla="*/ 73 h 73"/>
                <a:gd name="T4" fmla="*/ 0 w 112"/>
                <a:gd name="T5" fmla="*/ 71 h 73"/>
                <a:gd name="T6" fmla="*/ 0 w 112"/>
                <a:gd name="T7" fmla="*/ 3 h 73"/>
                <a:gd name="T8" fmla="*/ 3 w 112"/>
                <a:gd name="T9" fmla="*/ 0 h 73"/>
                <a:gd name="T10" fmla="*/ 109 w 112"/>
                <a:gd name="T11" fmla="*/ 0 h 73"/>
                <a:gd name="T12" fmla="*/ 112 w 112"/>
                <a:gd name="T13" fmla="*/ 3 h 73"/>
                <a:gd name="T14" fmla="*/ 112 w 112"/>
                <a:gd name="T15" fmla="*/ 71 h 73"/>
                <a:gd name="T16" fmla="*/ 109 w 112"/>
                <a:gd name="T1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73">
                  <a:moveTo>
                    <a:pt x="109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1" y="73"/>
                    <a:pt x="0" y="72"/>
                    <a:pt x="0" y="7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1" y="0"/>
                    <a:pt x="112" y="1"/>
                    <a:pt x="112" y="3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2"/>
                    <a:pt x="111" y="73"/>
                    <a:pt x="109" y="7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91">
              <a:extLst>
                <a:ext uri="{FF2B5EF4-FFF2-40B4-BE49-F238E27FC236}">
                  <a16:creationId xmlns:a16="http://schemas.microsoft.com/office/drawing/2014/main" id="{E45F57F1-D187-4B11-B3D3-CD20121AD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2" y="1352"/>
              <a:ext cx="305" cy="199"/>
            </a:xfrm>
            <a:custGeom>
              <a:avLst/>
              <a:gdLst>
                <a:gd name="T0" fmla="*/ 109 w 112"/>
                <a:gd name="T1" fmla="*/ 73 h 73"/>
                <a:gd name="T2" fmla="*/ 3 w 112"/>
                <a:gd name="T3" fmla="*/ 73 h 73"/>
                <a:gd name="T4" fmla="*/ 0 w 112"/>
                <a:gd name="T5" fmla="*/ 71 h 73"/>
                <a:gd name="T6" fmla="*/ 0 w 112"/>
                <a:gd name="T7" fmla="*/ 3 h 73"/>
                <a:gd name="T8" fmla="*/ 3 w 112"/>
                <a:gd name="T9" fmla="*/ 0 h 73"/>
                <a:gd name="T10" fmla="*/ 109 w 112"/>
                <a:gd name="T11" fmla="*/ 0 h 73"/>
                <a:gd name="T12" fmla="*/ 112 w 112"/>
                <a:gd name="T13" fmla="*/ 3 h 73"/>
                <a:gd name="T14" fmla="*/ 112 w 112"/>
                <a:gd name="T15" fmla="*/ 71 h 73"/>
                <a:gd name="T16" fmla="*/ 109 w 112"/>
                <a:gd name="T1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2" h="73">
                  <a:moveTo>
                    <a:pt x="109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1" y="73"/>
                    <a:pt x="0" y="72"/>
                    <a:pt x="0" y="7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1" y="0"/>
                    <a:pt x="112" y="1"/>
                    <a:pt x="112" y="3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2"/>
                    <a:pt x="111" y="73"/>
                    <a:pt x="109" y="73"/>
                  </a:cubicBez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92">
              <a:extLst>
                <a:ext uri="{FF2B5EF4-FFF2-40B4-BE49-F238E27FC236}">
                  <a16:creationId xmlns:a16="http://schemas.microsoft.com/office/drawing/2014/main" id="{866E53DD-6F1B-4BF8-A4EF-95A8CF0A26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0" y="1284"/>
              <a:ext cx="49" cy="93"/>
            </a:xfrm>
            <a:custGeom>
              <a:avLst/>
              <a:gdLst>
                <a:gd name="T0" fmla="*/ 9 w 18"/>
                <a:gd name="T1" fmla="*/ 14 h 34"/>
                <a:gd name="T2" fmla="*/ 5 w 18"/>
                <a:gd name="T3" fmla="*/ 10 h 34"/>
                <a:gd name="T4" fmla="*/ 9 w 18"/>
                <a:gd name="T5" fmla="*/ 6 h 34"/>
                <a:gd name="T6" fmla="*/ 13 w 18"/>
                <a:gd name="T7" fmla="*/ 10 h 34"/>
                <a:gd name="T8" fmla="*/ 9 w 18"/>
                <a:gd name="T9" fmla="*/ 14 h 34"/>
                <a:gd name="T10" fmla="*/ 0 w 18"/>
                <a:gd name="T11" fmla="*/ 34 h 34"/>
                <a:gd name="T12" fmla="*/ 18 w 18"/>
                <a:gd name="T13" fmla="*/ 34 h 34"/>
                <a:gd name="T14" fmla="*/ 18 w 18"/>
                <a:gd name="T15" fmla="*/ 0 h 34"/>
                <a:gd name="T16" fmla="*/ 0 w 18"/>
                <a:gd name="T17" fmla="*/ 0 h 34"/>
                <a:gd name="T18" fmla="*/ 0 w 18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34">
                  <a:moveTo>
                    <a:pt x="9" y="14"/>
                  </a:moveTo>
                  <a:cubicBezTo>
                    <a:pt x="7" y="14"/>
                    <a:pt x="5" y="12"/>
                    <a:pt x="5" y="10"/>
                  </a:cubicBezTo>
                  <a:cubicBezTo>
                    <a:pt x="5" y="8"/>
                    <a:pt x="7" y="6"/>
                    <a:pt x="9" y="6"/>
                  </a:cubicBezTo>
                  <a:cubicBezTo>
                    <a:pt x="11" y="6"/>
                    <a:pt x="13" y="8"/>
                    <a:pt x="13" y="10"/>
                  </a:cubicBezTo>
                  <a:cubicBezTo>
                    <a:pt x="13" y="12"/>
                    <a:pt x="11" y="14"/>
                    <a:pt x="9" y="14"/>
                  </a:cubicBezTo>
                  <a:moveTo>
                    <a:pt x="0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Line 93">
              <a:extLst>
                <a:ext uri="{FF2B5EF4-FFF2-40B4-BE49-F238E27FC236}">
                  <a16:creationId xmlns:a16="http://schemas.microsoft.com/office/drawing/2014/main" id="{571EAFDF-931B-4032-A0DA-0BF08883F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4" y="1377"/>
              <a:ext cx="261" cy="0"/>
            </a:xfrm>
            <a:prstGeom prst="line">
              <a:avLst/>
            </a:pr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94">
              <a:extLst>
                <a:ext uri="{FF2B5EF4-FFF2-40B4-BE49-F238E27FC236}">
                  <a16:creationId xmlns:a16="http://schemas.microsoft.com/office/drawing/2014/main" id="{707B8029-F348-4D02-A5C6-68617311C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4" y="1412"/>
              <a:ext cx="90" cy="9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Rectangle 95">
              <a:extLst>
                <a:ext uri="{FF2B5EF4-FFF2-40B4-BE49-F238E27FC236}">
                  <a16:creationId xmlns:a16="http://schemas.microsoft.com/office/drawing/2014/main" id="{CAA32201-CFEE-4DC2-A82C-1CA1B53E3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4" y="1412"/>
              <a:ext cx="90" cy="98"/>
            </a:xfrm>
            <a:prstGeom prst="rect">
              <a:avLst/>
            </a:pr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96">
              <a:extLst>
                <a:ext uri="{FF2B5EF4-FFF2-40B4-BE49-F238E27FC236}">
                  <a16:creationId xmlns:a16="http://schemas.microsoft.com/office/drawing/2014/main" id="{D9A08652-1C01-4D52-93FC-7220148C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1461"/>
              <a:ext cx="60" cy="43"/>
            </a:xfrm>
            <a:custGeom>
              <a:avLst/>
              <a:gdLst>
                <a:gd name="T0" fmla="*/ 0 w 22"/>
                <a:gd name="T1" fmla="*/ 16 h 16"/>
                <a:gd name="T2" fmla="*/ 12 w 22"/>
                <a:gd name="T3" fmla="*/ 0 h 16"/>
                <a:gd name="T4" fmla="*/ 22 w 22"/>
                <a:gd name="T5" fmla="*/ 16 h 16"/>
                <a:gd name="T6" fmla="*/ 0 w 2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6">
                  <a:moveTo>
                    <a:pt x="0" y="16"/>
                  </a:moveTo>
                  <a:cubicBezTo>
                    <a:pt x="0" y="16"/>
                    <a:pt x="1" y="1"/>
                    <a:pt x="12" y="0"/>
                  </a:cubicBezTo>
                  <a:cubicBezTo>
                    <a:pt x="22" y="0"/>
                    <a:pt x="22" y="16"/>
                    <a:pt x="22" y="16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Oval 97">
              <a:extLst>
                <a:ext uri="{FF2B5EF4-FFF2-40B4-BE49-F238E27FC236}">
                  <a16:creationId xmlns:a16="http://schemas.microsoft.com/office/drawing/2014/main" id="{4352C641-6CF7-42C7-B2B5-F77BC214A1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" y="1428"/>
              <a:ext cx="30" cy="2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Line 98">
              <a:extLst>
                <a:ext uri="{FF2B5EF4-FFF2-40B4-BE49-F238E27FC236}">
                  <a16:creationId xmlns:a16="http://schemas.microsoft.com/office/drawing/2014/main" id="{833082FD-8976-4214-AE5A-3C086467B3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84" y="1518"/>
              <a:ext cx="131" cy="0"/>
            </a:xfrm>
            <a:prstGeom prst="line">
              <a:avLst/>
            </a:pr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0" name="Group 101">
            <a:extLst>
              <a:ext uri="{FF2B5EF4-FFF2-40B4-BE49-F238E27FC236}">
                <a16:creationId xmlns:a16="http://schemas.microsoft.com/office/drawing/2014/main" id="{E6399ED1-4216-46A8-A046-F5CCEFDF17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53250" y="1548607"/>
            <a:ext cx="841375" cy="841375"/>
            <a:chOff x="4417" y="1070"/>
            <a:chExt cx="530" cy="530"/>
          </a:xfrm>
        </p:grpSpPr>
        <p:sp>
          <p:nvSpPr>
            <p:cNvPr id="361" name="AutoShape 100">
              <a:extLst>
                <a:ext uri="{FF2B5EF4-FFF2-40B4-BE49-F238E27FC236}">
                  <a16:creationId xmlns:a16="http://schemas.microsoft.com/office/drawing/2014/main" id="{81CF66F1-E1A1-449E-AB70-3CA95C3BA9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7" y="107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Oval 102">
              <a:extLst>
                <a:ext uri="{FF2B5EF4-FFF2-40B4-BE49-F238E27FC236}">
                  <a16:creationId xmlns:a16="http://schemas.microsoft.com/office/drawing/2014/main" id="{6A691302-E9B8-4002-97DA-2BA213064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0" y="1073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103">
              <a:extLst>
                <a:ext uri="{FF2B5EF4-FFF2-40B4-BE49-F238E27FC236}">
                  <a16:creationId xmlns:a16="http://schemas.microsoft.com/office/drawing/2014/main" id="{0E5B41B7-6163-4AD9-9F4A-23929A5062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1" y="1094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104">
              <a:extLst>
                <a:ext uri="{FF2B5EF4-FFF2-40B4-BE49-F238E27FC236}">
                  <a16:creationId xmlns:a16="http://schemas.microsoft.com/office/drawing/2014/main" id="{648CEA50-5CE7-4A3B-81DF-4A0C13C55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9" y="1162"/>
              <a:ext cx="65" cy="68"/>
            </a:xfrm>
            <a:custGeom>
              <a:avLst/>
              <a:gdLst>
                <a:gd name="T0" fmla="*/ 12 w 24"/>
                <a:gd name="T1" fmla="*/ 4 h 25"/>
                <a:gd name="T2" fmla="*/ 3 w 24"/>
                <a:gd name="T3" fmla="*/ 13 h 25"/>
                <a:gd name="T4" fmla="*/ 12 w 24"/>
                <a:gd name="T5" fmla="*/ 21 h 25"/>
                <a:gd name="T6" fmla="*/ 21 w 24"/>
                <a:gd name="T7" fmla="*/ 13 h 25"/>
                <a:gd name="T8" fmla="*/ 12 w 24"/>
                <a:gd name="T9" fmla="*/ 4 h 25"/>
                <a:gd name="T10" fmla="*/ 12 w 24"/>
                <a:gd name="T11" fmla="*/ 25 h 25"/>
                <a:gd name="T12" fmla="*/ 0 w 24"/>
                <a:gd name="T13" fmla="*/ 13 h 25"/>
                <a:gd name="T14" fmla="*/ 12 w 24"/>
                <a:gd name="T15" fmla="*/ 0 h 25"/>
                <a:gd name="T16" fmla="*/ 24 w 24"/>
                <a:gd name="T17" fmla="*/ 13 h 25"/>
                <a:gd name="T18" fmla="*/ 12 w 24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4"/>
                  </a:moveTo>
                  <a:cubicBezTo>
                    <a:pt x="7" y="4"/>
                    <a:pt x="3" y="8"/>
                    <a:pt x="3" y="13"/>
                  </a:cubicBezTo>
                  <a:cubicBezTo>
                    <a:pt x="3" y="17"/>
                    <a:pt x="7" y="21"/>
                    <a:pt x="12" y="21"/>
                  </a:cubicBezTo>
                  <a:cubicBezTo>
                    <a:pt x="17" y="21"/>
                    <a:pt x="21" y="17"/>
                    <a:pt x="21" y="13"/>
                  </a:cubicBezTo>
                  <a:cubicBezTo>
                    <a:pt x="21" y="8"/>
                    <a:pt x="17" y="4"/>
                    <a:pt x="12" y="4"/>
                  </a:cubicBezTo>
                  <a:moveTo>
                    <a:pt x="12" y="25"/>
                  </a:moveTo>
                  <a:cubicBezTo>
                    <a:pt x="5" y="25"/>
                    <a:pt x="0" y="19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3"/>
                  </a:cubicBezTo>
                  <a:cubicBezTo>
                    <a:pt x="24" y="19"/>
                    <a:pt x="19" y="25"/>
                    <a:pt x="12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105">
              <a:extLst>
                <a:ext uri="{FF2B5EF4-FFF2-40B4-BE49-F238E27FC236}">
                  <a16:creationId xmlns:a16="http://schemas.microsoft.com/office/drawing/2014/main" id="{8B508625-09FC-4575-AE9B-D2DD47348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5" y="1222"/>
              <a:ext cx="212" cy="288"/>
            </a:xfrm>
            <a:custGeom>
              <a:avLst/>
              <a:gdLst>
                <a:gd name="T0" fmla="*/ 17 w 78"/>
                <a:gd name="T1" fmla="*/ 72 h 106"/>
                <a:gd name="T2" fmla="*/ 7 w 78"/>
                <a:gd name="T3" fmla="*/ 102 h 106"/>
                <a:gd name="T4" fmla="*/ 13 w 78"/>
                <a:gd name="T5" fmla="*/ 100 h 106"/>
                <a:gd name="T6" fmla="*/ 28 w 78"/>
                <a:gd name="T7" fmla="*/ 74 h 106"/>
                <a:gd name="T8" fmla="*/ 51 w 78"/>
                <a:gd name="T9" fmla="*/ 74 h 106"/>
                <a:gd name="T10" fmla="*/ 57 w 78"/>
                <a:gd name="T11" fmla="*/ 100 h 106"/>
                <a:gd name="T12" fmla="*/ 64 w 78"/>
                <a:gd name="T13" fmla="*/ 99 h 106"/>
                <a:gd name="T14" fmla="*/ 60 w 78"/>
                <a:gd name="T15" fmla="*/ 71 h 106"/>
                <a:gd name="T16" fmla="*/ 41 w 78"/>
                <a:gd name="T17" fmla="*/ 47 h 106"/>
                <a:gd name="T18" fmla="*/ 54 w 78"/>
                <a:gd name="T19" fmla="*/ 34 h 106"/>
                <a:gd name="T20" fmla="*/ 68 w 78"/>
                <a:gd name="T21" fmla="*/ 45 h 106"/>
                <a:gd name="T22" fmla="*/ 73 w 78"/>
                <a:gd name="T23" fmla="*/ 39 h 106"/>
                <a:gd name="T24" fmla="*/ 48 w 78"/>
                <a:gd name="T25" fmla="*/ 11 h 106"/>
                <a:gd name="T26" fmla="*/ 32 w 78"/>
                <a:gd name="T27" fmla="*/ 7 h 106"/>
                <a:gd name="T28" fmla="*/ 11 w 78"/>
                <a:gd name="T29" fmla="*/ 24 h 106"/>
                <a:gd name="T30" fmla="*/ 11 w 78"/>
                <a:gd name="T31" fmla="*/ 48 h 106"/>
                <a:gd name="T32" fmla="*/ 18 w 78"/>
                <a:gd name="T33" fmla="*/ 28 h 106"/>
                <a:gd name="T34" fmla="*/ 9 w 78"/>
                <a:gd name="T35" fmla="*/ 106 h 106"/>
                <a:gd name="T36" fmla="*/ 2 w 78"/>
                <a:gd name="T37" fmla="*/ 94 h 106"/>
                <a:gd name="T38" fmla="*/ 24 w 78"/>
                <a:gd name="T39" fmla="*/ 28 h 106"/>
                <a:gd name="T40" fmla="*/ 21 w 78"/>
                <a:gd name="T41" fmla="*/ 31 h 106"/>
                <a:gd name="T42" fmla="*/ 10 w 78"/>
                <a:gd name="T43" fmla="*/ 51 h 106"/>
                <a:gd name="T44" fmla="*/ 7 w 78"/>
                <a:gd name="T45" fmla="*/ 24 h 106"/>
                <a:gd name="T46" fmla="*/ 30 w 78"/>
                <a:gd name="T47" fmla="*/ 4 h 106"/>
                <a:gd name="T48" fmla="*/ 51 w 78"/>
                <a:gd name="T49" fmla="*/ 9 h 106"/>
                <a:gd name="T50" fmla="*/ 75 w 78"/>
                <a:gd name="T51" fmla="*/ 36 h 106"/>
                <a:gd name="T52" fmla="*/ 66 w 78"/>
                <a:gd name="T53" fmla="*/ 48 h 106"/>
                <a:gd name="T54" fmla="*/ 51 w 78"/>
                <a:gd name="T55" fmla="*/ 36 h 106"/>
                <a:gd name="T56" fmla="*/ 45 w 78"/>
                <a:gd name="T57" fmla="*/ 46 h 106"/>
                <a:gd name="T58" fmla="*/ 64 w 78"/>
                <a:gd name="T59" fmla="*/ 70 h 106"/>
                <a:gd name="T60" fmla="*/ 66 w 78"/>
                <a:gd name="T61" fmla="*/ 101 h 106"/>
                <a:gd name="T62" fmla="*/ 55 w 78"/>
                <a:gd name="T63" fmla="*/ 103 h 106"/>
                <a:gd name="T64" fmla="*/ 48 w 78"/>
                <a:gd name="T65" fmla="*/ 76 h 106"/>
                <a:gd name="T66" fmla="*/ 31 w 78"/>
                <a:gd name="T67" fmla="*/ 75 h 106"/>
                <a:gd name="T68" fmla="*/ 16 w 78"/>
                <a:gd name="T69" fmla="*/ 101 h 106"/>
                <a:gd name="T70" fmla="*/ 9 w 78"/>
                <a:gd name="T7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8" h="106">
                  <a:moveTo>
                    <a:pt x="29" y="19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3" y="98"/>
                    <a:pt x="4" y="100"/>
                    <a:pt x="7" y="102"/>
                  </a:cubicBezTo>
                  <a:cubicBezTo>
                    <a:pt x="8" y="102"/>
                    <a:pt x="9" y="102"/>
                    <a:pt x="10" y="102"/>
                  </a:cubicBezTo>
                  <a:cubicBezTo>
                    <a:pt x="11" y="102"/>
                    <a:pt x="12" y="101"/>
                    <a:pt x="13" y="100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4"/>
                    <a:pt x="28" y="7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5" y="99"/>
                    <a:pt x="56" y="100"/>
                    <a:pt x="57" y="100"/>
                  </a:cubicBezTo>
                  <a:cubicBezTo>
                    <a:pt x="58" y="101"/>
                    <a:pt x="59" y="101"/>
                    <a:pt x="61" y="101"/>
                  </a:cubicBezTo>
                  <a:cubicBezTo>
                    <a:pt x="62" y="101"/>
                    <a:pt x="63" y="100"/>
                    <a:pt x="64" y="99"/>
                  </a:cubicBezTo>
                  <a:cubicBezTo>
                    <a:pt x="64" y="98"/>
                    <a:pt x="65" y="97"/>
                    <a:pt x="64" y="96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5"/>
                    <a:pt x="54" y="3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9" y="47"/>
                    <a:pt x="72" y="46"/>
                    <a:pt x="73" y="45"/>
                  </a:cubicBezTo>
                  <a:cubicBezTo>
                    <a:pt x="75" y="43"/>
                    <a:pt x="74" y="40"/>
                    <a:pt x="73" y="3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6" y="6"/>
                    <a:pt x="41" y="5"/>
                  </a:cubicBezTo>
                  <a:cubicBezTo>
                    <a:pt x="36" y="4"/>
                    <a:pt x="32" y="7"/>
                    <a:pt x="32" y="7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6"/>
                    <a:pt x="9" y="48"/>
                    <a:pt x="11" y="48"/>
                  </a:cubicBezTo>
                  <a:cubicBezTo>
                    <a:pt x="13" y="48"/>
                    <a:pt x="15" y="47"/>
                    <a:pt x="15" y="45"/>
                  </a:cubicBezTo>
                  <a:cubicBezTo>
                    <a:pt x="18" y="28"/>
                    <a:pt x="18" y="28"/>
                    <a:pt x="18" y="28"/>
                  </a:cubicBezTo>
                  <a:lnTo>
                    <a:pt x="29" y="19"/>
                  </a:lnTo>
                  <a:close/>
                  <a:moveTo>
                    <a:pt x="9" y="106"/>
                  </a:moveTo>
                  <a:cubicBezTo>
                    <a:pt x="7" y="106"/>
                    <a:pt x="6" y="105"/>
                    <a:pt x="5" y="105"/>
                  </a:cubicBezTo>
                  <a:cubicBezTo>
                    <a:pt x="1" y="103"/>
                    <a:pt x="0" y="98"/>
                    <a:pt x="2" y="94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8" y="49"/>
                    <a:pt x="14" y="52"/>
                    <a:pt x="10" y="51"/>
                  </a:cubicBezTo>
                  <a:cubicBezTo>
                    <a:pt x="6" y="51"/>
                    <a:pt x="3" y="47"/>
                    <a:pt x="4" y="4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8" y="23"/>
                    <a:pt x="8" y="22"/>
                    <a:pt x="9" y="21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5" y="0"/>
                    <a:pt x="42" y="2"/>
                  </a:cubicBezTo>
                  <a:cubicBezTo>
                    <a:pt x="48" y="3"/>
                    <a:pt x="51" y="9"/>
                    <a:pt x="51" y="9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8" y="39"/>
                    <a:pt x="78" y="44"/>
                    <a:pt x="76" y="47"/>
                  </a:cubicBezTo>
                  <a:cubicBezTo>
                    <a:pt x="73" y="50"/>
                    <a:pt x="69" y="50"/>
                    <a:pt x="66" y="48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1" y="37"/>
                    <a:pt x="51" y="36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8"/>
                    <a:pt x="63" y="69"/>
                    <a:pt x="64" y="70"/>
                  </a:cubicBezTo>
                  <a:cubicBezTo>
                    <a:pt x="68" y="95"/>
                    <a:pt x="68" y="95"/>
                    <a:pt x="68" y="95"/>
                  </a:cubicBezTo>
                  <a:cubicBezTo>
                    <a:pt x="68" y="97"/>
                    <a:pt x="68" y="99"/>
                    <a:pt x="66" y="101"/>
                  </a:cubicBezTo>
                  <a:cubicBezTo>
                    <a:pt x="65" y="103"/>
                    <a:pt x="63" y="104"/>
                    <a:pt x="61" y="104"/>
                  </a:cubicBezTo>
                  <a:cubicBezTo>
                    <a:pt x="59" y="105"/>
                    <a:pt x="57" y="104"/>
                    <a:pt x="55" y="103"/>
                  </a:cubicBezTo>
                  <a:cubicBezTo>
                    <a:pt x="53" y="102"/>
                    <a:pt x="52" y="100"/>
                    <a:pt x="52" y="98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1" y="76"/>
                    <a:pt x="31" y="77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5" y="103"/>
                    <a:pt x="13" y="105"/>
                    <a:pt x="11" y="105"/>
                  </a:cubicBezTo>
                  <a:cubicBezTo>
                    <a:pt x="10" y="106"/>
                    <a:pt x="10" y="106"/>
                    <a:pt x="9" y="1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6" name="Group 108">
            <a:extLst>
              <a:ext uri="{FF2B5EF4-FFF2-40B4-BE49-F238E27FC236}">
                <a16:creationId xmlns:a16="http://schemas.microsoft.com/office/drawing/2014/main" id="{5856570C-53C3-49C6-A014-FC4E2AA407A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0981" y="1583532"/>
            <a:ext cx="760413" cy="760412"/>
            <a:chOff x="5184" y="1085"/>
            <a:chExt cx="479" cy="479"/>
          </a:xfrm>
        </p:grpSpPr>
        <p:sp>
          <p:nvSpPr>
            <p:cNvPr id="367" name="AutoShape 107">
              <a:extLst>
                <a:ext uri="{FF2B5EF4-FFF2-40B4-BE49-F238E27FC236}">
                  <a16:creationId xmlns:a16="http://schemas.microsoft.com/office/drawing/2014/main" id="{0F049B5D-8AF7-4E9F-9879-FB5BF5DD88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84" y="1085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109">
              <a:extLst>
                <a:ext uri="{FF2B5EF4-FFF2-40B4-BE49-F238E27FC236}">
                  <a16:creationId xmlns:a16="http://schemas.microsoft.com/office/drawing/2014/main" id="{1B6B0906-5B69-4B37-8C8E-E15499B0D4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6" y="1087"/>
              <a:ext cx="477" cy="477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110">
              <a:extLst>
                <a:ext uri="{FF2B5EF4-FFF2-40B4-BE49-F238E27FC236}">
                  <a16:creationId xmlns:a16="http://schemas.microsoft.com/office/drawing/2014/main" id="{3C628E97-4DEA-43BE-BD3A-555EB48AD2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5" y="1178"/>
              <a:ext cx="59" cy="59"/>
            </a:xfrm>
            <a:custGeom>
              <a:avLst/>
              <a:gdLst>
                <a:gd name="T0" fmla="*/ 12 w 24"/>
                <a:gd name="T1" fmla="*/ 3 h 24"/>
                <a:gd name="T2" fmla="*/ 3 w 24"/>
                <a:gd name="T3" fmla="*/ 12 h 24"/>
                <a:gd name="T4" fmla="*/ 12 w 24"/>
                <a:gd name="T5" fmla="*/ 21 h 24"/>
                <a:gd name="T6" fmla="*/ 21 w 24"/>
                <a:gd name="T7" fmla="*/ 12 h 24"/>
                <a:gd name="T8" fmla="*/ 12 w 24"/>
                <a:gd name="T9" fmla="*/ 3 h 24"/>
                <a:gd name="T10" fmla="*/ 12 w 24"/>
                <a:gd name="T11" fmla="*/ 24 h 24"/>
                <a:gd name="T12" fmla="*/ 0 w 24"/>
                <a:gd name="T13" fmla="*/ 12 h 24"/>
                <a:gd name="T14" fmla="*/ 12 w 24"/>
                <a:gd name="T15" fmla="*/ 0 h 24"/>
                <a:gd name="T16" fmla="*/ 24 w 24"/>
                <a:gd name="T17" fmla="*/ 12 h 24"/>
                <a:gd name="T18" fmla="*/ 12 w 24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3"/>
                  </a:moveTo>
                  <a:cubicBezTo>
                    <a:pt x="7" y="3"/>
                    <a:pt x="3" y="7"/>
                    <a:pt x="3" y="12"/>
                  </a:cubicBezTo>
                  <a:cubicBezTo>
                    <a:pt x="3" y="17"/>
                    <a:pt x="7" y="21"/>
                    <a:pt x="12" y="21"/>
                  </a:cubicBezTo>
                  <a:cubicBezTo>
                    <a:pt x="17" y="21"/>
                    <a:pt x="21" y="17"/>
                    <a:pt x="21" y="12"/>
                  </a:cubicBezTo>
                  <a:cubicBezTo>
                    <a:pt x="21" y="7"/>
                    <a:pt x="17" y="3"/>
                    <a:pt x="12" y="3"/>
                  </a:cubicBezTo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111">
              <a:extLst>
                <a:ext uri="{FF2B5EF4-FFF2-40B4-BE49-F238E27FC236}">
                  <a16:creationId xmlns:a16="http://schemas.microsoft.com/office/drawing/2014/main" id="{8EB7F8AF-D77F-4F01-B89C-4E14E1735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1" y="1230"/>
              <a:ext cx="192" cy="260"/>
            </a:xfrm>
            <a:custGeom>
              <a:avLst/>
              <a:gdLst>
                <a:gd name="T0" fmla="*/ 17 w 78"/>
                <a:gd name="T1" fmla="*/ 72 h 106"/>
                <a:gd name="T2" fmla="*/ 4 w 78"/>
                <a:gd name="T3" fmla="*/ 99 h 106"/>
                <a:gd name="T4" fmla="*/ 12 w 78"/>
                <a:gd name="T5" fmla="*/ 100 h 106"/>
                <a:gd name="T6" fmla="*/ 27 w 78"/>
                <a:gd name="T7" fmla="*/ 74 h 106"/>
                <a:gd name="T8" fmla="*/ 50 w 78"/>
                <a:gd name="T9" fmla="*/ 74 h 106"/>
                <a:gd name="T10" fmla="*/ 60 w 78"/>
                <a:gd name="T11" fmla="*/ 101 h 106"/>
                <a:gd name="T12" fmla="*/ 59 w 78"/>
                <a:gd name="T13" fmla="*/ 71 h 106"/>
                <a:gd name="T14" fmla="*/ 40 w 78"/>
                <a:gd name="T15" fmla="*/ 47 h 106"/>
                <a:gd name="T16" fmla="*/ 53 w 78"/>
                <a:gd name="T17" fmla="*/ 34 h 106"/>
                <a:gd name="T18" fmla="*/ 67 w 78"/>
                <a:gd name="T19" fmla="*/ 45 h 106"/>
                <a:gd name="T20" fmla="*/ 72 w 78"/>
                <a:gd name="T21" fmla="*/ 39 h 106"/>
                <a:gd name="T22" fmla="*/ 47 w 78"/>
                <a:gd name="T23" fmla="*/ 11 h 106"/>
                <a:gd name="T24" fmla="*/ 31 w 78"/>
                <a:gd name="T25" fmla="*/ 7 h 106"/>
                <a:gd name="T26" fmla="*/ 10 w 78"/>
                <a:gd name="T27" fmla="*/ 25 h 106"/>
                <a:gd name="T28" fmla="*/ 7 w 78"/>
                <a:gd name="T29" fmla="*/ 47 h 106"/>
                <a:gd name="T30" fmla="*/ 15 w 78"/>
                <a:gd name="T31" fmla="*/ 45 h 106"/>
                <a:gd name="T32" fmla="*/ 29 w 78"/>
                <a:gd name="T33" fmla="*/ 19 h 106"/>
                <a:gd name="T34" fmla="*/ 4 w 78"/>
                <a:gd name="T35" fmla="*/ 105 h 106"/>
                <a:gd name="T36" fmla="*/ 1 w 78"/>
                <a:gd name="T37" fmla="*/ 94 h 106"/>
                <a:gd name="T38" fmla="*/ 23 w 78"/>
                <a:gd name="T39" fmla="*/ 28 h 106"/>
                <a:gd name="T40" fmla="*/ 20 w 78"/>
                <a:gd name="T41" fmla="*/ 31 h 106"/>
                <a:gd name="T42" fmla="*/ 9 w 78"/>
                <a:gd name="T43" fmla="*/ 52 h 106"/>
                <a:gd name="T44" fmla="*/ 3 w 78"/>
                <a:gd name="T45" fmla="*/ 43 h 106"/>
                <a:gd name="T46" fmla="*/ 8 w 78"/>
                <a:gd name="T47" fmla="*/ 21 h 106"/>
                <a:gd name="T48" fmla="*/ 41 w 78"/>
                <a:gd name="T49" fmla="*/ 2 h 106"/>
                <a:gd name="T50" fmla="*/ 61 w 78"/>
                <a:gd name="T51" fmla="*/ 27 h 106"/>
                <a:gd name="T52" fmla="*/ 75 w 78"/>
                <a:gd name="T53" fmla="*/ 47 h 106"/>
                <a:gd name="T54" fmla="*/ 51 w 78"/>
                <a:gd name="T55" fmla="*/ 37 h 106"/>
                <a:gd name="T56" fmla="*/ 47 w 78"/>
                <a:gd name="T57" fmla="*/ 31 h 106"/>
                <a:gd name="T58" fmla="*/ 61 w 78"/>
                <a:gd name="T59" fmla="*/ 68 h 106"/>
                <a:gd name="T60" fmla="*/ 67 w 78"/>
                <a:gd name="T61" fmla="*/ 95 h 106"/>
                <a:gd name="T62" fmla="*/ 51 w 78"/>
                <a:gd name="T63" fmla="*/ 98 h 106"/>
                <a:gd name="T64" fmla="*/ 34 w 78"/>
                <a:gd name="T65" fmla="*/ 62 h 106"/>
                <a:gd name="T66" fmla="*/ 30 w 78"/>
                <a:gd name="T67" fmla="*/ 77 h 106"/>
                <a:gd name="T68" fmla="*/ 8 w 78"/>
                <a:gd name="T6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106">
                  <a:moveTo>
                    <a:pt x="29" y="19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3" y="96"/>
                    <a:pt x="3" y="98"/>
                    <a:pt x="4" y="99"/>
                  </a:cubicBezTo>
                  <a:cubicBezTo>
                    <a:pt x="4" y="100"/>
                    <a:pt x="5" y="101"/>
                    <a:pt x="6" y="102"/>
                  </a:cubicBezTo>
                  <a:cubicBezTo>
                    <a:pt x="8" y="103"/>
                    <a:pt x="11" y="102"/>
                    <a:pt x="12" y="100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4"/>
                    <a:pt x="27" y="7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5" y="100"/>
                    <a:pt x="57" y="102"/>
                    <a:pt x="60" y="101"/>
                  </a:cubicBezTo>
                  <a:cubicBezTo>
                    <a:pt x="62" y="101"/>
                    <a:pt x="64" y="98"/>
                    <a:pt x="64" y="96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0"/>
                    <a:pt x="59" y="7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9" y="47"/>
                    <a:pt x="71" y="47"/>
                    <a:pt x="72" y="45"/>
                  </a:cubicBezTo>
                  <a:cubicBezTo>
                    <a:pt x="74" y="43"/>
                    <a:pt x="74" y="41"/>
                    <a:pt x="72" y="3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5" y="7"/>
                    <a:pt x="40" y="5"/>
                  </a:cubicBezTo>
                  <a:cubicBezTo>
                    <a:pt x="35" y="4"/>
                    <a:pt x="31" y="7"/>
                    <a:pt x="31" y="7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5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5"/>
                    <a:pt x="7" y="46"/>
                    <a:pt x="7" y="47"/>
                  </a:cubicBezTo>
                  <a:cubicBezTo>
                    <a:pt x="8" y="47"/>
                    <a:pt x="9" y="48"/>
                    <a:pt x="10" y="48"/>
                  </a:cubicBezTo>
                  <a:cubicBezTo>
                    <a:pt x="12" y="49"/>
                    <a:pt x="14" y="47"/>
                    <a:pt x="15" y="45"/>
                  </a:cubicBezTo>
                  <a:cubicBezTo>
                    <a:pt x="17" y="28"/>
                    <a:pt x="17" y="28"/>
                    <a:pt x="17" y="28"/>
                  </a:cubicBezTo>
                  <a:lnTo>
                    <a:pt x="29" y="19"/>
                  </a:lnTo>
                  <a:close/>
                  <a:moveTo>
                    <a:pt x="8" y="106"/>
                  </a:moveTo>
                  <a:cubicBezTo>
                    <a:pt x="7" y="106"/>
                    <a:pt x="5" y="105"/>
                    <a:pt x="4" y="105"/>
                  </a:cubicBezTo>
                  <a:cubicBezTo>
                    <a:pt x="2" y="104"/>
                    <a:pt x="1" y="102"/>
                    <a:pt x="0" y="100"/>
                  </a:cubicBezTo>
                  <a:cubicBezTo>
                    <a:pt x="0" y="98"/>
                    <a:pt x="0" y="96"/>
                    <a:pt x="1" y="94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50"/>
                    <a:pt x="13" y="52"/>
                    <a:pt x="9" y="52"/>
                  </a:cubicBezTo>
                  <a:cubicBezTo>
                    <a:pt x="7" y="51"/>
                    <a:pt x="6" y="50"/>
                    <a:pt x="5" y="48"/>
                  </a:cubicBezTo>
                  <a:cubicBezTo>
                    <a:pt x="3" y="47"/>
                    <a:pt x="3" y="45"/>
                    <a:pt x="3" y="4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3"/>
                    <a:pt x="8" y="22"/>
                    <a:pt x="8" y="21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4"/>
                    <a:pt x="34" y="0"/>
                    <a:pt x="41" y="2"/>
                  </a:cubicBezTo>
                  <a:cubicBezTo>
                    <a:pt x="47" y="4"/>
                    <a:pt x="50" y="9"/>
                    <a:pt x="50" y="10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7" y="39"/>
                    <a:pt x="78" y="44"/>
                    <a:pt x="75" y="47"/>
                  </a:cubicBezTo>
                  <a:cubicBezTo>
                    <a:pt x="73" y="50"/>
                    <a:pt x="68" y="51"/>
                    <a:pt x="65" y="48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0" y="37"/>
                    <a:pt x="50" y="36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61" y="68"/>
                    <a:pt x="61" y="68"/>
                    <a:pt x="61" y="68"/>
                  </a:cubicBezTo>
                  <a:cubicBezTo>
                    <a:pt x="62" y="69"/>
                    <a:pt x="63" y="69"/>
                    <a:pt x="63" y="70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8" y="100"/>
                    <a:pt x="65" y="104"/>
                    <a:pt x="60" y="105"/>
                  </a:cubicBezTo>
                  <a:cubicBezTo>
                    <a:pt x="56" y="105"/>
                    <a:pt x="52" y="102"/>
                    <a:pt x="51" y="98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0" y="76"/>
                    <a:pt x="30" y="77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4" y="104"/>
                    <a:pt x="11" y="106"/>
                    <a:pt x="8" y="10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5" name="Group 114">
            <a:extLst>
              <a:ext uri="{FF2B5EF4-FFF2-40B4-BE49-F238E27FC236}">
                <a16:creationId xmlns:a16="http://schemas.microsoft.com/office/drawing/2014/main" id="{F45DEC62-CCAF-4C90-99B0-85E00D4CCB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3625" y="5478463"/>
            <a:ext cx="758825" cy="758825"/>
            <a:chOff x="2469" y="3575"/>
            <a:chExt cx="478" cy="478"/>
          </a:xfrm>
        </p:grpSpPr>
        <p:sp>
          <p:nvSpPr>
            <p:cNvPr id="376" name="AutoShape 113">
              <a:extLst>
                <a:ext uri="{FF2B5EF4-FFF2-40B4-BE49-F238E27FC236}">
                  <a16:creationId xmlns:a16="http://schemas.microsoft.com/office/drawing/2014/main" id="{BA0C4083-AD1C-4E09-BB37-AC08FAD51C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69" y="35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115">
              <a:extLst>
                <a:ext uri="{FF2B5EF4-FFF2-40B4-BE49-F238E27FC236}">
                  <a16:creationId xmlns:a16="http://schemas.microsoft.com/office/drawing/2014/main" id="{4E0AA9A5-2B70-4F7D-8561-BBF7741B7D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1" y="35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116">
              <a:extLst>
                <a:ext uri="{FF2B5EF4-FFF2-40B4-BE49-F238E27FC236}">
                  <a16:creationId xmlns:a16="http://schemas.microsoft.com/office/drawing/2014/main" id="{59421BD2-2237-49C3-BD09-DBE21F034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9" y="3646"/>
              <a:ext cx="253" cy="302"/>
            </a:xfrm>
            <a:custGeom>
              <a:avLst/>
              <a:gdLst>
                <a:gd name="T0" fmla="*/ 97 w 103"/>
                <a:gd name="T1" fmla="*/ 64 h 123"/>
                <a:gd name="T2" fmla="*/ 72 w 103"/>
                <a:gd name="T3" fmla="*/ 48 h 123"/>
                <a:gd name="T4" fmla="*/ 77 w 103"/>
                <a:gd name="T5" fmla="*/ 91 h 123"/>
                <a:gd name="T6" fmla="*/ 73 w 103"/>
                <a:gd name="T7" fmla="*/ 103 h 123"/>
                <a:gd name="T8" fmla="*/ 82 w 103"/>
                <a:gd name="T9" fmla="*/ 107 h 123"/>
                <a:gd name="T10" fmla="*/ 82 w 103"/>
                <a:gd name="T11" fmla="*/ 111 h 123"/>
                <a:gd name="T12" fmla="*/ 90 w 103"/>
                <a:gd name="T13" fmla="*/ 115 h 123"/>
                <a:gd name="T14" fmla="*/ 12 w 103"/>
                <a:gd name="T15" fmla="*/ 115 h 123"/>
                <a:gd name="T16" fmla="*/ 21 w 103"/>
                <a:gd name="T17" fmla="*/ 111 h 123"/>
                <a:gd name="T18" fmla="*/ 21 w 103"/>
                <a:gd name="T19" fmla="*/ 107 h 123"/>
                <a:gd name="T20" fmla="*/ 45 w 103"/>
                <a:gd name="T21" fmla="*/ 98 h 123"/>
                <a:gd name="T22" fmla="*/ 26 w 103"/>
                <a:gd name="T23" fmla="*/ 91 h 123"/>
                <a:gd name="T24" fmla="*/ 28 w 103"/>
                <a:gd name="T25" fmla="*/ 61 h 123"/>
                <a:gd name="T26" fmla="*/ 16 w 103"/>
                <a:gd name="T27" fmla="*/ 49 h 123"/>
                <a:gd name="T28" fmla="*/ 47 w 103"/>
                <a:gd name="T29" fmla="*/ 76 h 123"/>
                <a:gd name="T30" fmla="*/ 47 w 103"/>
                <a:gd name="T31" fmla="*/ 76 h 123"/>
                <a:gd name="T32" fmla="*/ 33 w 103"/>
                <a:gd name="T33" fmla="*/ 60 h 123"/>
                <a:gd name="T34" fmla="*/ 32 w 103"/>
                <a:gd name="T35" fmla="*/ 23 h 123"/>
                <a:gd name="T36" fmla="*/ 27 w 103"/>
                <a:gd name="T37" fmla="*/ 31 h 123"/>
                <a:gd name="T38" fmla="*/ 37 w 103"/>
                <a:gd name="T39" fmla="*/ 40 h 123"/>
                <a:gd name="T40" fmla="*/ 48 w 103"/>
                <a:gd name="T41" fmla="*/ 31 h 123"/>
                <a:gd name="T42" fmla="*/ 40 w 103"/>
                <a:gd name="T43" fmla="*/ 25 h 123"/>
                <a:gd name="T44" fmla="*/ 43 w 103"/>
                <a:gd name="T45" fmla="*/ 15 h 123"/>
                <a:gd name="T46" fmla="*/ 51 w 103"/>
                <a:gd name="T47" fmla="*/ 7 h 123"/>
                <a:gd name="T48" fmla="*/ 58 w 103"/>
                <a:gd name="T49" fmla="*/ 6 h 123"/>
                <a:gd name="T50" fmla="*/ 58 w 103"/>
                <a:gd name="T51" fmla="*/ 6 h 123"/>
                <a:gd name="T52" fmla="*/ 55 w 103"/>
                <a:gd name="T53" fmla="*/ 31 h 123"/>
                <a:gd name="T54" fmla="*/ 66 w 103"/>
                <a:gd name="T55" fmla="*/ 40 h 123"/>
                <a:gd name="T56" fmla="*/ 66 w 103"/>
                <a:gd name="T57" fmla="*/ 40 h 123"/>
                <a:gd name="T58" fmla="*/ 68 w 103"/>
                <a:gd name="T59" fmla="*/ 31 h 123"/>
                <a:gd name="T60" fmla="*/ 70 w 103"/>
                <a:gd name="T61" fmla="*/ 60 h 123"/>
                <a:gd name="T62" fmla="*/ 70 w 103"/>
                <a:gd name="T63" fmla="*/ 60 h 123"/>
                <a:gd name="T64" fmla="*/ 76 w 103"/>
                <a:gd name="T65" fmla="*/ 85 h 123"/>
                <a:gd name="T66" fmla="*/ 51 w 103"/>
                <a:gd name="T67" fmla="*/ 74 h 123"/>
                <a:gd name="T68" fmla="*/ 51 w 103"/>
                <a:gd name="T69" fmla="*/ 48 h 123"/>
                <a:gd name="T70" fmla="*/ 51 w 103"/>
                <a:gd name="T71" fmla="*/ 48 h 123"/>
                <a:gd name="T72" fmla="*/ 52 w 103"/>
                <a:gd name="T73" fmla="*/ 43 h 123"/>
                <a:gd name="T74" fmla="*/ 49 w 103"/>
                <a:gd name="T75" fmla="*/ 35 h 123"/>
                <a:gd name="T76" fmla="*/ 51 w 103"/>
                <a:gd name="T77" fmla="*/ 13 h 123"/>
                <a:gd name="T78" fmla="*/ 58 w 103"/>
                <a:gd name="T79" fmla="*/ 23 h 123"/>
                <a:gd name="T80" fmla="*/ 58 w 103"/>
                <a:gd name="T81" fmla="*/ 23 h 123"/>
                <a:gd name="T82" fmla="*/ 51 w 103"/>
                <a:gd name="T83" fmla="*/ 100 h 123"/>
                <a:gd name="T84" fmla="*/ 51 w 103"/>
                <a:gd name="T85" fmla="*/ 78 h 123"/>
                <a:gd name="T86" fmla="*/ 30 w 103"/>
                <a:gd name="T87" fmla="*/ 88 h 123"/>
                <a:gd name="T88" fmla="*/ 87 w 103"/>
                <a:gd name="T89" fmla="*/ 44 h 123"/>
                <a:gd name="T90" fmla="*/ 71 w 103"/>
                <a:gd name="T91" fmla="*/ 43 h 123"/>
                <a:gd name="T92" fmla="*/ 82 w 103"/>
                <a:gd name="T93" fmla="*/ 34 h 123"/>
                <a:gd name="T94" fmla="*/ 72 w 103"/>
                <a:gd name="T95" fmla="*/ 19 h 123"/>
                <a:gd name="T96" fmla="*/ 60 w 103"/>
                <a:gd name="T97" fmla="*/ 0 h 123"/>
                <a:gd name="T98" fmla="*/ 41 w 103"/>
                <a:gd name="T99" fmla="*/ 2 h 123"/>
                <a:gd name="T100" fmla="*/ 29 w 103"/>
                <a:gd name="T101" fmla="*/ 20 h 123"/>
                <a:gd name="T102" fmla="*/ 23 w 103"/>
                <a:gd name="T103" fmla="*/ 35 h 123"/>
                <a:gd name="T104" fmla="*/ 16 w 103"/>
                <a:gd name="T105" fmla="*/ 43 h 123"/>
                <a:gd name="T106" fmla="*/ 15 w 103"/>
                <a:gd name="T107" fmla="*/ 45 h 123"/>
                <a:gd name="T108" fmla="*/ 2 w 103"/>
                <a:gd name="T109" fmla="*/ 68 h 123"/>
                <a:gd name="T110" fmla="*/ 10 w 103"/>
                <a:gd name="T111" fmla="*/ 103 h 123"/>
                <a:gd name="T112" fmla="*/ 10 w 103"/>
                <a:gd name="T113" fmla="*/ 123 h 123"/>
                <a:gd name="T114" fmla="*/ 94 w 103"/>
                <a:gd name="T115" fmla="*/ 105 h 123"/>
                <a:gd name="T116" fmla="*/ 81 w 103"/>
                <a:gd name="T117" fmla="*/ 89 h 123"/>
                <a:gd name="T118" fmla="*/ 76 w 103"/>
                <a:gd name="T119" fmla="*/ 68 h 123"/>
                <a:gd name="T120" fmla="*/ 102 w 103"/>
                <a:gd name="T121" fmla="*/ 6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3" h="123">
                  <a:moveTo>
                    <a:pt x="77" y="64"/>
                  </a:moveTo>
                  <a:cubicBezTo>
                    <a:pt x="86" y="49"/>
                    <a:pt x="86" y="49"/>
                    <a:pt x="86" y="49"/>
                  </a:cubicBezTo>
                  <a:cubicBezTo>
                    <a:pt x="97" y="64"/>
                    <a:pt x="97" y="64"/>
                    <a:pt x="97" y="64"/>
                  </a:cubicBezTo>
                  <a:lnTo>
                    <a:pt x="77" y="64"/>
                  </a:lnTo>
                  <a:close/>
                  <a:moveTo>
                    <a:pt x="74" y="60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82" y="48"/>
                    <a:pt x="82" y="48"/>
                    <a:pt x="82" y="48"/>
                  </a:cubicBezTo>
                  <a:lnTo>
                    <a:pt x="74" y="60"/>
                  </a:lnTo>
                  <a:close/>
                  <a:moveTo>
                    <a:pt x="77" y="91"/>
                  </a:moveTo>
                  <a:cubicBezTo>
                    <a:pt x="80" y="103"/>
                    <a:pt x="80" y="103"/>
                    <a:pt x="80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58" y="98"/>
                    <a:pt x="58" y="98"/>
                    <a:pt x="58" y="98"/>
                  </a:cubicBezTo>
                  <a:lnTo>
                    <a:pt x="77" y="91"/>
                  </a:lnTo>
                  <a:close/>
                  <a:moveTo>
                    <a:pt x="82" y="107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1" y="111"/>
                    <a:pt x="80" y="112"/>
                    <a:pt x="80" y="113"/>
                  </a:cubicBezTo>
                  <a:cubicBezTo>
                    <a:pt x="80" y="114"/>
                    <a:pt x="81" y="115"/>
                    <a:pt x="82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0" y="119"/>
                    <a:pt x="90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22" y="115"/>
                    <a:pt x="23" y="114"/>
                    <a:pt x="23" y="113"/>
                  </a:cubicBezTo>
                  <a:cubicBezTo>
                    <a:pt x="23" y="112"/>
                    <a:pt x="22" y="111"/>
                    <a:pt x="21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21" y="107"/>
                    <a:pt x="21" y="107"/>
                    <a:pt x="21" y="107"/>
                  </a:cubicBezTo>
                  <a:lnTo>
                    <a:pt x="82" y="107"/>
                  </a:lnTo>
                  <a:close/>
                  <a:moveTo>
                    <a:pt x="26" y="91"/>
                  </a:moveTo>
                  <a:cubicBezTo>
                    <a:pt x="45" y="98"/>
                    <a:pt x="45" y="98"/>
                    <a:pt x="45" y="98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3" y="103"/>
                    <a:pt x="23" y="103"/>
                    <a:pt x="23" y="103"/>
                  </a:cubicBezTo>
                  <a:lnTo>
                    <a:pt x="26" y="91"/>
                  </a:lnTo>
                  <a:close/>
                  <a:moveTo>
                    <a:pt x="20" y="48"/>
                  </a:moveTo>
                  <a:cubicBezTo>
                    <a:pt x="31" y="48"/>
                    <a:pt x="31" y="48"/>
                    <a:pt x="31" y="48"/>
                  </a:cubicBezTo>
                  <a:cubicBezTo>
                    <a:pt x="28" y="61"/>
                    <a:pt x="28" y="61"/>
                    <a:pt x="28" y="61"/>
                  </a:cubicBezTo>
                  <a:lnTo>
                    <a:pt x="20" y="48"/>
                  </a:lnTo>
                  <a:close/>
                  <a:moveTo>
                    <a:pt x="6" y="64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26" y="64"/>
                    <a:pt x="26" y="64"/>
                    <a:pt x="26" y="64"/>
                  </a:cubicBezTo>
                  <a:lnTo>
                    <a:pt x="6" y="64"/>
                  </a:lnTo>
                  <a:close/>
                  <a:moveTo>
                    <a:pt x="47" y="76"/>
                  </a:moveTo>
                  <a:cubicBezTo>
                    <a:pt x="27" y="85"/>
                    <a:pt x="27" y="85"/>
                    <a:pt x="27" y="85"/>
                  </a:cubicBezTo>
                  <a:cubicBezTo>
                    <a:pt x="31" y="69"/>
                    <a:pt x="31" y="69"/>
                    <a:pt x="31" y="69"/>
                  </a:cubicBezTo>
                  <a:lnTo>
                    <a:pt x="47" y="76"/>
                  </a:lnTo>
                  <a:close/>
                  <a:moveTo>
                    <a:pt x="35" y="48"/>
                  </a:moveTo>
                  <a:cubicBezTo>
                    <a:pt x="46" y="48"/>
                    <a:pt x="46" y="48"/>
                    <a:pt x="46" y="48"/>
                  </a:cubicBezTo>
                  <a:cubicBezTo>
                    <a:pt x="33" y="60"/>
                    <a:pt x="33" y="60"/>
                    <a:pt x="33" y="60"/>
                  </a:cubicBezTo>
                  <a:lnTo>
                    <a:pt x="35" y="48"/>
                  </a:lnTo>
                  <a:close/>
                  <a:moveTo>
                    <a:pt x="27" y="31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5" y="31"/>
                    <a:pt x="35" y="31"/>
                    <a:pt x="35" y="31"/>
                  </a:cubicBezTo>
                  <a:lnTo>
                    <a:pt x="27" y="31"/>
                  </a:lnTo>
                  <a:close/>
                  <a:moveTo>
                    <a:pt x="38" y="35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37" y="40"/>
                    <a:pt x="37" y="40"/>
                    <a:pt x="37" y="40"/>
                  </a:cubicBezTo>
                  <a:lnTo>
                    <a:pt x="38" y="35"/>
                  </a:lnTo>
                  <a:close/>
                  <a:moveTo>
                    <a:pt x="40" y="25"/>
                  </a:move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39" y="31"/>
                    <a:pt x="39" y="31"/>
                    <a:pt x="39" y="31"/>
                  </a:cubicBezTo>
                  <a:lnTo>
                    <a:pt x="40" y="25"/>
                  </a:lnTo>
                  <a:close/>
                  <a:moveTo>
                    <a:pt x="44" y="6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3" y="15"/>
                    <a:pt x="43" y="15"/>
                    <a:pt x="43" y="15"/>
                  </a:cubicBezTo>
                  <a:lnTo>
                    <a:pt x="44" y="6"/>
                  </a:lnTo>
                  <a:close/>
                  <a:moveTo>
                    <a:pt x="54" y="4"/>
                  </a:moveTo>
                  <a:cubicBezTo>
                    <a:pt x="51" y="7"/>
                    <a:pt x="51" y="7"/>
                    <a:pt x="51" y="7"/>
                  </a:cubicBezTo>
                  <a:cubicBezTo>
                    <a:pt x="48" y="4"/>
                    <a:pt x="48" y="4"/>
                    <a:pt x="48" y="4"/>
                  </a:cubicBezTo>
                  <a:lnTo>
                    <a:pt x="54" y="4"/>
                  </a:lnTo>
                  <a:close/>
                  <a:moveTo>
                    <a:pt x="58" y="6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54" y="10"/>
                    <a:pt x="54" y="10"/>
                    <a:pt x="54" y="10"/>
                  </a:cubicBezTo>
                  <a:lnTo>
                    <a:pt x="58" y="6"/>
                  </a:lnTo>
                  <a:close/>
                  <a:moveTo>
                    <a:pt x="62" y="24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4" y="31"/>
                    <a:pt x="54" y="31"/>
                    <a:pt x="54" y="31"/>
                  </a:cubicBezTo>
                  <a:lnTo>
                    <a:pt x="62" y="24"/>
                  </a:lnTo>
                  <a:close/>
                  <a:moveTo>
                    <a:pt x="66" y="40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5" y="35"/>
                    <a:pt x="65" y="35"/>
                    <a:pt x="65" y="35"/>
                  </a:cubicBezTo>
                  <a:lnTo>
                    <a:pt x="66" y="40"/>
                  </a:lnTo>
                  <a:close/>
                  <a:moveTo>
                    <a:pt x="71" y="23"/>
                  </a:moveTo>
                  <a:cubicBezTo>
                    <a:pt x="76" y="31"/>
                    <a:pt x="76" y="31"/>
                    <a:pt x="76" y="31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6" y="23"/>
                    <a:pt x="66" y="23"/>
                    <a:pt x="66" y="23"/>
                  </a:cubicBezTo>
                  <a:lnTo>
                    <a:pt x="71" y="23"/>
                  </a:lnTo>
                  <a:close/>
                  <a:moveTo>
                    <a:pt x="70" y="60"/>
                  </a:moveTo>
                  <a:cubicBezTo>
                    <a:pt x="57" y="48"/>
                    <a:pt x="57" y="48"/>
                    <a:pt x="57" y="48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70" y="60"/>
                  </a:lnTo>
                  <a:close/>
                  <a:moveTo>
                    <a:pt x="56" y="76"/>
                  </a:moveTo>
                  <a:cubicBezTo>
                    <a:pt x="72" y="69"/>
                    <a:pt x="72" y="69"/>
                    <a:pt x="72" y="69"/>
                  </a:cubicBezTo>
                  <a:cubicBezTo>
                    <a:pt x="76" y="85"/>
                    <a:pt x="76" y="85"/>
                    <a:pt x="76" y="85"/>
                  </a:cubicBezTo>
                  <a:lnTo>
                    <a:pt x="56" y="76"/>
                  </a:lnTo>
                  <a:close/>
                  <a:moveTo>
                    <a:pt x="64" y="68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39" y="68"/>
                    <a:pt x="39" y="68"/>
                    <a:pt x="39" y="68"/>
                  </a:cubicBezTo>
                  <a:lnTo>
                    <a:pt x="64" y="68"/>
                  </a:lnTo>
                  <a:close/>
                  <a:moveTo>
                    <a:pt x="51" y="48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34" y="64"/>
                    <a:pt x="34" y="64"/>
                    <a:pt x="34" y="64"/>
                  </a:cubicBezTo>
                  <a:lnTo>
                    <a:pt x="51" y="48"/>
                  </a:lnTo>
                  <a:close/>
                  <a:moveTo>
                    <a:pt x="53" y="35"/>
                  </a:moveTo>
                  <a:cubicBezTo>
                    <a:pt x="63" y="43"/>
                    <a:pt x="63" y="43"/>
                    <a:pt x="63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9" y="35"/>
                    <a:pt x="49" y="35"/>
                    <a:pt x="49" y="35"/>
                  </a:cubicBezTo>
                  <a:lnTo>
                    <a:pt x="53" y="35"/>
                  </a:lnTo>
                  <a:close/>
                  <a:moveTo>
                    <a:pt x="45" y="19"/>
                  </a:moveTo>
                  <a:cubicBezTo>
                    <a:pt x="51" y="13"/>
                    <a:pt x="51" y="13"/>
                    <a:pt x="51" y="13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45" y="19"/>
                  </a:lnTo>
                  <a:close/>
                  <a:moveTo>
                    <a:pt x="58" y="23"/>
                  </a:moveTo>
                  <a:cubicBezTo>
                    <a:pt x="51" y="28"/>
                    <a:pt x="51" y="28"/>
                    <a:pt x="51" y="28"/>
                  </a:cubicBezTo>
                  <a:cubicBezTo>
                    <a:pt x="45" y="23"/>
                    <a:pt x="45" y="23"/>
                    <a:pt x="45" y="23"/>
                  </a:cubicBezTo>
                  <a:lnTo>
                    <a:pt x="58" y="23"/>
                  </a:lnTo>
                  <a:close/>
                  <a:moveTo>
                    <a:pt x="60" y="103"/>
                  </a:moveTo>
                  <a:cubicBezTo>
                    <a:pt x="43" y="103"/>
                    <a:pt x="43" y="103"/>
                    <a:pt x="43" y="103"/>
                  </a:cubicBezTo>
                  <a:cubicBezTo>
                    <a:pt x="51" y="100"/>
                    <a:pt x="51" y="100"/>
                    <a:pt x="51" y="100"/>
                  </a:cubicBezTo>
                  <a:lnTo>
                    <a:pt x="60" y="103"/>
                  </a:lnTo>
                  <a:close/>
                  <a:moveTo>
                    <a:pt x="30" y="8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51" y="96"/>
                    <a:pt x="51" y="96"/>
                    <a:pt x="51" y="96"/>
                  </a:cubicBezTo>
                  <a:lnTo>
                    <a:pt x="30" y="88"/>
                  </a:lnTo>
                  <a:close/>
                  <a:moveTo>
                    <a:pt x="102" y="65"/>
                  </a:move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7" y="44"/>
                    <a:pt x="87" y="44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86" y="43"/>
                    <a:pt x="86" y="43"/>
                    <a:pt x="85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1" y="35"/>
                    <a:pt x="81" y="35"/>
                    <a:pt x="82" y="34"/>
                  </a:cubicBezTo>
                  <a:cubicBezTo>
                    <a:pt x="82" y="33"/>
                    <a:pt x="82" y="33"/>
                    <a:pt x="82" y="32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1" y="1"/>
                    <a:pt x="61" y="1"/>
                    <a:pt x="60" y="0"/>
                  </a:cubicBezTo>
                  <a:cubicBezTo>
                    <a:pt x="60" y="0"/>
                    <a:pt x="59" y="0"/>
                    <a:pt x="5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1" y="1"/>
                    <a:pt x="41" y="2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0" y="19"/>
                    <a:pt x="30" y="19"/>
                    <a:pt x="29" y="20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0" y="33"/>
                    <a:pt x="20" y="34"/>
                    <a:pt x="21" y="34"/>
                  </a:cubicBezTo>
                  <a:cubicBezTo>
                    <a:pt x="21" y="35"/>
                    <a:pt x="22" y="35"/>
                    <a:pt x="23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4"/>
                    <a:pt x="15" y="44"/>
                  </a:cubicBezTo>
                  <a:cubicBezTo>
                    <a:pt x="15" y="44"/>
                    <a:pt x="15" y="44"/>
                    <a:pt x="15" y="4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1" y="68"/>
                    <a:pt x="1" y="68"/>
                    <a:pt x="2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9" y="103"/>
                    <a:pt x="8" y="104"/>
                    <a:pt x="8" y="105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3"/>
                    <a:pt x="9" y="123"/>
                    <a:pt x="10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4" y="123"/>
                    <a:pt x="94" y="123"/>
                    <a:pt x="94" y="121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4"/>
                    <a:pt x="94" y="103"/>
                    <a:pt x="92" y="103"/>
                  </a:cubicBezTo>
                  <a:cubicBezTo>
                    <a:pt x="84" y="103"/>
                    <a:pt x="84" y="103"/>
                    <a:pt x="84" y="10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1" y="88"/>
                    <a:pt x="81" y="88"/>
                    <a:pt x="80" y="8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1" y="68"/>
                    <a:pt x="102" y="68"/>
                    <a:pt x="102" y="67"/>
                  </a:cubicBezTo>
                  <a:cubicBezTo>
                    <a:pt x="103" y="66"/>
                    <a:pt x="103" y="65"/>
                    <a:pt x="102" y="6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9" name="Group 119">
            <a:extLst>
              <a:ext uri="{FF2B5EF4-FFF2-40B4-BE49-F238E27FC236}">
                <a16:creationId xmlns:a16="http://schemas.microsoft.com/office/drawing/2014/main" id="{BF420B95-F0F6-4797-A53C-BF3A265D1C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5563" y="5437188"/>
            <a:ext cx="841375" cy="841375"/>
            <a:chOff x="1798" y="3561"/>
            <a:chExt cx="530" cy="530"/>
          </a:xfrm>
        </p:grpSpPr>
        <p:sp>
          <p:nvSpPr>
            <p:cNvPr id="380" name="AutoShape 118">
              <a:extLst>
                <a:ext uri="{FF2B5EF4-FFF2-40B4-BE49-F238E27FC236}">
                  <a16:creationId xmlns:a16="http://schemas.microsoft.com/office/drawing/2014/main" id="{A9E2D8F9-5E08-4216-9900-B61AA70077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98" y="35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Oval 120">
              <a:extLst>
                <a:ext uri="{FF2B5EF4-FFF2-40B4-BE49-F238E27FC236}">
                  <a16:creationId xmlns:a16="http://schemas.microsoft.com/office/drawing/2014/main" id="{43A8597C-2797-460E-B427-28AFAD714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356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121">
              <a:extLst>
                <a:ext uri="{FF2B5EF4-FFF2-40B4-BE49-F238E27FC236}">
                  <a16:creationId xmlns:a16="http://schemas.microsoft.com/office/drawing/2014/main" id="{745A463B-BE07-4FE5-AFDA-15674B2A4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6" y="357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122">
              <a:extLst>
                <a:ext uri="{FF2B5EF4-FFF2-40B4-BE49-F238E27FC236}">
                  <a16:creationId xmlns:a16="http://schemas.microsoft.com/office/drawing/2014/main" id="{92EF5FB4-30B1-42A3-90A5-BB849FC735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9" y="3650"/>
              <a:ext cx="263" cy="315"/>
            </a:xfrm>
            <a:custGeom>
              <a:avLst/>
              <a:gdLst>
                <a:gd name="T0" fmla="*/ 97 w 103"/>
                <a:gd name="T1" fmla="*/ 64 h 123"/>
                <a:gd name="T2" fmla="*/ 72 w 103"/>
                <a:gd name="T3" fmla="*/ 48 h 123"/>
                <a:gd name="T4" fmla="*/ 77 w 103"/>
                <a:gd name="T5" fmla="*/ 91 h 123"/>
                <a:gd name="T6" fmla="*/ 73 w 103"/>
                <a:gd name="T7" fmla="*/ 103 h 123"/>
                <a:gd name="T8" fmla="*/ 82 w 103"/>
                <a:gd name="T9" fmla="*/ 107 h 123"/>
                <a:gd name="T10" fmla="*/ 82 w 103"/>
                <a:gd name="T11" fmla="*/ 111 h 123"/>
                <a:gd name="T12" fmla="*/ 90 w 103"/>
                <a:gd name="T13" fmla="*/ 115 h 123"/>
                <a:gd name="T14" fmla="*/ 12 w 103"/>
                <a:gd name="T15" fmla="*/ 115 h 123"/>
                <a:gd name="T16" fmla="*/ 21 w 103"/>
                <a:gd name="T17" fmla="*/ 111 h 123"/>
                <a:gd name="T18" fmla="*/ 21 w 103"/>
                <a:gd name="T19" fmla="*/ 107 h 123"/>
                <a:gd name="T20" fmla="*/ 45 w 103"/>
                <a:gd name="T21" fmla="*/ 98 h 123"/>
                <a:gd name="T22" fmla="*/ 26 w 103"/>
                <a:gd name="T23" fmla="*/ 91 h 123"/>
                <a:gd name="T24" fmla="*/ 28 w 103"/>
                <a:gd name="T25" fmla="*/ 61 h 123"/>
                <a:gd name="T26" fmla="*/ 16 w 103"/>
                <a:gd name="T27" fmla="*/ 49 h 123"/>
                <a:gd name="T28" fmla="*/ 47 w 103"/>
                <a:gd name="T29" fmla="*/ 76 h 123"/>
                <a:gd name="T30" fmla="*/ 47 w 103"/>
                <a:gd name="T31" fmla="*/ 76 h 123"/>
                <a:gd name="T32" fmla="*/ 33 w 103"/>
                <a:gd name="T33" fmla="*/ 60 h 123"/>
                <a:gd name="T34" fmla="*/ 32 w 103"/>
                <a:gd name="T35" fmla="*/ 23 h 123"/>
                <a:gd name="T36" fmla="*/ 27 w 103"/>
                <a:gd name="T37" fmla="*/ 31 h 123"/>
                <a:gd name="T38" fmla="*/ 37 w 103"/>
                <a:gd name="T39" fmla="*/ 40 h 123"/>
                <a:gd name="T40" fmla="*/ 48 w 103"/>
                <a:gd name="T41" fmla="*/ 31 h 123"/>
                <a:gd name="T42" fmla="*/ 40 w 103"/>
                <a:gd name="T43" fmla="*/ 25 h 123"/>
                <a:gd name="T44" fmla="*/ 43 w 103"/>
                <a:gd name="T45" fmla="*/ 15 h 123"/>
                <a:gd name="T46" fmla="*/ 51 w 103"/>
                <a:gd name="T47" fmla="*/ 7 h 123"/>
                <a:gd name="T48" fmla="*/ 58 w 103"/>
                <a:gd name="T49" fmla="*/ 6 h 123"/>
                <a:gd name="T50" fmla="*/ 58 w 103"/>
                <a:gd name="T51" fmla="*/ 6 h 123"/>
                <a:gd name="T52" fmla="*/ 55 w 103"/>
                <a:gd name="T53" fmla="*/ 31 h 123"/>
                <a:gd name="T54" fmla="*/ 66 w 103"/>
                <a:gd name="T55" fmla="*/ 40 h 123"/>
                <a:gd name="T56" fmla="*/ 66 w 103"/>
                <a:gd name="T57" fmla="*/ 40 h 123"/>
                <a:gd name="T58" fmla="*/ 68 w 103"/>
                <a:gd name="T59" fmla="*/ 31 h 123"/>
                <a:gd name="T60" fmla="*/ 70 w 103"/>
                <a:gd name="T61" fmla="*/ 60 h 123"/>
                <a:gd name="T62" fmla="*/ 70 w 103"/>
                <a:gd name="T63" fmla="*/ 60 h 123"/>
                <a:gd name="T64" fmla="*/ 76 w 103"/>
                <a:gd name="T65" fmla="*/ 85 h 123"/>
                <a:gd name="T66" fmla="*/ 51 w 103"/>
                <a:gd name="T67" fmla="*/ 74 h 123"/>
                <a:gd name="T68" fmla="*/ 51 w 103"/>
                <a:gd name="T69" fmla="*/ 48 h 123"/>
                <a:gd name="T70" fmla="*/ 51 w 103"/>
                <a:gd name="T71" fmla="*/ 48 h 123"/>
                <a:gd name="T72" fmla="*/ 52 w 103"/>
                <a:gd name="T73" fmla="*/ 43 h 123"/>
                <a:gd name="T74" fmla="*/ 49 w 103"/>
                <a:gd name="T75" fmla="*/ 35 h 123"/>
                <a:gd name="T76" fmla="*/ 51 w 103"/>
                <a:gd name="T77" fmla="*/ 13 h 123"/>
                <a:gd name="T78" fmla="*/ 58 w 103"/>
                <a:gd name="T79" fmla="*/ 23 h 123"/>
                <a:gd name="T80" fmla="*/ 58 w 103"/>
                <a:gd name="T81" fmla="*/ 23 h 123"/>
                <a:gd name="T82" fmla="*/ 51 w 103"/>
                <a:gd name="T83" fmla="*/ 100 h 123"/>
                <a:gd name="T84" fmla="*/ 51 w 103"/>
                <a:gd name="T85" fmla="*/ 78 h 123"/>
                <a:gd name="T86" fmla="*/ 30 w 103"/>
                <a:gd name="T87" fmla="*/ 88 h 123"/>
                <a:gd name="T88" fmla="*/ 87 w 103"/>
                <a:gd name="T89" fmla="*/ 44 h 123"/>
                <a:gd name="T90" fmla="*/ 71 w 103"/>
                <a:gd name="T91" fmla="*/ 43 h 123"/>
                <a:gd name="T92" fmla="*/ 82 w 103"/>
                <a:gd name="T93" fmla="*/ 34 h 123"/>
                <a:gd name="T94" fmla="*/ 72 w 103"/>
                <a:gd name="T95" fmla="*/ 19 h 123"/>
                <a:gd name="T96" fmla="*/ 60 w 103"/>
                <a:gd name="T97" fmla="*/ 0 h 123"/>
                <a:gd name="T98" fmla="*/ 41 w 103"/>
                <a:gd name="T99" fmla="*/ 2 h 123"/>
                <a:gd name="T100" fmla="*/ 29 w 103"/>
                <a:gd name="T101" fmla="*/ 20 h 123"/>
                <a:gd name="T102" fmla="*/ 23 w 103"/>
                <a:gd name="T103" fmla="*/ 35 h 123"/>
                <a:gd name="T104" fmla="*/ 16 w 103"/>
                <a:gd name="T105" fmla="*/ 43 h 123"/>
                <a:gd name="T106" fmla="*/ 15 w 103"/>
                <a:gd name="T107" fmla="*/ 45 h 123"/>
                <a:gd name="T108" fmla="*/ 2 w 103"/>
                <a:gd name="T109" fmla="*/ 68 h 123"/>
                <a:gd name="T110" fmla="*/ 10 w 103"/>
                <a:gd name="T111" fmla="*/ 103 h 123"/>
                <a:gd name="T112" fmla="*/ 10 w 103"/>
                <a:gd name="T113" fmla="*/ 123 h 123"/>
                <a:gd name="T114" fmla="*/ 94 w 103"/>
                <a:gd name="T115" fmla="*/ 105 h 123"/>
                <a:gd name="T116" fmla="*/ 81 w 103"/>
                <a:gd name="T117" fmla="*/ 89 h 123"/>
                <a:gd name="T118" fmla="*/ 76 w 103"/>
                <a:gd name="T119" fmla="*/ 68 h 123"/>
                <a:gd name="T120" fmla="*/ 102 w 103"/>
                <a:gd name="T121" fmla="*/ 6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3" h="123">
                  <a:moveTo>
                    <a:pt x="77" y="64"/>
                  </a:moveTo>
                  <a:cubicBezTo>
                    <a:pt x="86" y="49"/>
                    <a:pt x="86" y="49"/>
                    <a:pt x="86" y="49"/>
                  </a:cubicBezTo>
                  <a:cubicBezTo>
                    <a:pt x="97" y="64"/>
                    <a:pt x="97" y="64"/>
                    <a:pt x="97" y="64"/>
                  </a:cubicBezTo>
                  <a:lnTo>
                    <a:pt x="77" y="64"/>
                  </a:lnTo>
                  <a:close/>
                  <a:moveTo>
                    <a:pt x="74" y="60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82" y="48"/>
                    <a:pt x="82" y="48"/>
                    <a:pt x="82" y="48"/>
                  </a:cubicBezTo>
                  <a:lnTo>
                    <a:pt x="74" y="60"/>
                  </a:lnTo>
                  <a:close/>
                  <a:moveTo>
                    <a:pt x="77" y="91"/>
                  </a:moveTo>
                  <a:cubicBezTo>
                    <a:pt x="80" y="103"/>
                    <a:pt x="80" y="103"/>
                    <a:pt x="80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58" y="98"/>
                    <a:pt x="58" y="98"/>
                    <a:pt x="58" y="98"/>
                  </a:cubicBezTo>
                  <a:lnTo>
                    <a:pt x="77" y="91"/>
                  </a:lnTo>
                  <a:close/>
                  <a:moveTo>
                    <a:pt x="82" y="107"/>
                  </a:moveTo>
                  <a:cubicBezTo>
                    <a:pt x="90" y="107"/>
                    <a:pt x="90" y="107"/>
                    <a:pt x="90" y="107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1" y="111"/>
                    <a:pt x="80" y="112"/>
                    <a:pt x="80" y="113"/>
                  </a:cubicBezTo>
                  <a:cubicBezTo>
                    <a:pt x="80" y="114"/>
                    <a:pt x="81" y="115"/>
                    <a:pt x="82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0" y="119"/>
                    <a:pt x="90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22" y="115"/>
                    <a:pt x="23" y="114"/>
                    <a:pt x="23" y="113"/>
                  </a:cubicBezTo>
                  <a:cubicBezTo>
                    <a:pt x="23" y="112"/>
                    <a:pt x="22" y="111"/>
                    <a:pt x="21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21" y="107"/>
                    <a:pt x="21" y="107"/>
                    <a:pt x="21" y="107"/>
                  </a:cubicBezTo>
                  <a:lnTo>
                    <a:pt x="82" y="107"/>
                  </a:lnTo>
                  <a:close/>
                  <a:moveTo>
                    <a:pt x="26" y="91"/>
                  </a:moveTo>
                  <a:cubicBezTo>
                    <a:pt x="45" y="98"/>
                    <a:pt x="45" y="98"/>
                    <a:pt x="45" y="98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3" y="103"/>
                    <a:pt x="23" y="103"/>
                    <a:pt x="23" y="103"/>
                  </a:cubicBezTo>
                  <a:lnTo>
                    <a:pt x="26" y="91"/>
                  </a:lnTo>
                  <a:close/>
                  <a:moveTo>
                    <a:pt x="20" y="48"/>
                  </a:moveTo>
                  <a:cubicBezTo>
                    <a:pt x="31" y="48"/>
                    <a:pt x="31" y="48"/>
                    <a:pt x="31" y="48"/>
                  </a:cubicBezTo>
                  <a:cubicBezTo>
                    <a:pt x="28" y="61"/>
                    <a:pt x="28" y="61"/>
                    <a:pt x="28" y="61"/>
                  </a:cubicBezTo>
                  <a:lnTo>
                    <a:pt x="20" y="48"/>
                  </a:lnTo>
                  <a:close/>
                  <a:moveTo>
                    <a:pt x="6" y="64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26" y="64"/>
                    <a:pt x="26" y="64"/>
                    <a:pt x="26" y="64"/>
                  </a:cubicBezTo>
                  <a:lnTo>
                    <a:pt x="6" y="64"/>
                  </a:lnTo>
                  <a:close/>
                  <a:moveTo>
                    <a:pt x="47" y="76"/>
                  </a:moveTo>
                  <a:cubicBezTo>
                    <a:pt x="27" y="85"/>
                    <a:pt x="27" y="85"/>
                    <a:pt x="27" y="85"/>
                  </a:cubicBezTo>
                  <a:cubicBezTo>
                    <a:pt x="31" y="69"/>
                    <a:pt x="31" y="69"/>
                    <a:pt x="31" y="69"/>
                  </a:cubicBezTo>
                  <a:lnTo>
                    <a:pt x="47" y="76"/>
                  </a:lnTo>
                  <a:close/>
                  <a:moveTo>
                    <a:pt x="35" y="48"/>
                  </a:moveTo>
                  <a:cubicBezTo>
                    <a:pt x="46" y="48"/>
                    <a:pt x="46" y="48"/>
                    <a:pt x="46" y="48"/>
                  </a:cubicBezTo>
                  <a:cubicBezTo>
                    <a:pt x="33" y="60"/>
                    <a:pt x="33" y="60"/>
                    <a:pt x="33" y="60"/>
                  </a:cubicBezTo>
                  <a:lnTo>
                    <a:pt x="35" y="48"/>
                  </a:lnTo>
                  <a:close/>
                  <a:moveTo>
                    <a:pt x="27" y="31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5" y="31"/>
                    <a:pt x="35" y="31"/>
                    <a:pt x="35" y="31"/>
                  </a:cubicBezTo>
                  <a:lnTo>
                    <a:pt x="27" y="31"/>
                  </a:lnTo>
                  <a:close/>
                  <a:moveTo>
                    <a:pt x="38" y="35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37" y="40"/>
                    <a:pt x="37" y="40"/>
                    <a:pt x="37" y="40"/>
                  </a:cubicBezTo>
                  <a:lnTo>
                    <a:pt x="38" y="35"/>
                  </a:lnTo>
                  <a:close/>
                  <a:moveTo>
                    <a:pt x="40" y="25"/>
                  </a:move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39" y="31"/>
                    <a:pt x="39" y="31"/>
                    <a:pt x="39" y="31"/>
                  </a:cubicBezTo>
                  <a:lnTo>
                    <a:pt x="40" y="25"/>
                  </a:lnTo>
                  <a:close/>
                  <a:moveTo>
                    <a:pt x="44" y="6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3" y="15"/>
                    <a:pt x="43" y="15"/>
                    <a:pt x="43" y="15"/>
                  </a:cubicBezTo>
                  <a:lnTo>
                    <a:pt x="44" y="6"/>
                  </a:lnTo>
                  <a:close/>
                  <a:moveTo>
                    <a:pt x="54" y="4"/>
                  </a:moveTo>
                  <a:cubicBezTo>
                    <a:pt x="51" y="7"/>
                    <a:pt x="51" y="7"/>
                    <a:pt x="51" y="7"/>
                  </a:cubicBezTo>
                  <a:cubicBezTo>
                    <a:pt x="48" y="4"/>
                    <a:pt x="48" y="4"/>
                    <a:pt x="48" y="4"/>
                  </a:cubicBezTo>
                  <a:lnTo>
                    <a:pt x="54" y="4"/>
                  </a:lnTo>
                  <a:close/>
                  <a:moveTo>
                    <a:pt x="58" y="6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54" y="10"/>
                    <a:pt x="54" y="10"/>
                    <a:pt x="54" y="10"/>
                  </a:cubicBezTo>
                  <a:lnTo>
                    <a:pt x="58" y="6"/>
                  </a:lnTo>
                  <a:close/>
                  <a:moveTo>
                    <a:pt x="62" y="24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4" y="31"/>
                    <a:pt x="54" y="31"/>
                    <a:pt x="54" y="31"/>
                  </a:cubicBezTo>
                  <a:lnTo>
                    <a:pt x="62" y="24"/>
                  </a:lnTo>
                  <a:close/>
                  <a:moveTo>
                    <a:pt x="66" y="40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5" y="35"/>
                    <a:pt x="65" y="35"/>
                    <a:pt x="65" y="35"/>
                  </a:cubicBezTo>
                  <a:lnTo>
                    <a:pt x="66" y="40"/>
                  </a:lnTo>
                  <a:close/>
                  <a:moveTo>
                    <a:pt x="71" y="23"/>
                  </a:moveTo>
                  <a:cubicBezTo>
                    <a:pt x="76" y="31"/>
                    <a:pt x="76" y="31"/>
                    <a:pt x="76" y="31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6" y="23"/>
                    <a:pt x="66" y="23"/>
                    <a:pt x="66" y="23"/>
                  </a:cubicBezTo>
                  <a:lnTo>
                    <a:pt x="71" y="23"/>
                  </a:lnTo>
                  <a:close/>
                  <a:moveTo>
                    <a:pt x="70" y="60"/>
                  </a:moveTo>
                  <a:cubicBezTo>
                    <a:pt x="57" y="48"/>
                    <a:pt x="57" y="48"/>
                    <a:pt x="57" y="48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70" y="60"/>
                  </a:lnTo>
                  <a:close/>
                  <a:moveTo>
                    <a:pt x="56" y="76"/>
                  </a:moveTo>
                  <a:cubicBezTo>
                    <a:pt x="72" y="69"/>
                    <a:pt x="72" y="69"/>
                    <a:pt x="72" y="69"/>
                  </a:cubicBezTo>
                  <a:cubicBezTo>
                    <a:pt x="76" y="85"/>
                    <a:pt x="76" y="85"/>
                    <a:pt x="76" y="85"/>
                  </a:cubicBezTo>
                  <a:lnTo>
                    <a:pt x="56" y="76"/>
                  </a:lnTo>
                  <a:close/>
                  <a:moveTo>
                    <a:pt x="64" y="68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39" y="68"/>
                    <a:pt x="39" y="68"/>
                    <a:pt x="39" y="68"/>
                  </a:cubicBezTo>
                  <a:lnTo>
                    <a:pt x="64" y="68"/>
                  </a:lnTo>
                  <a:close/>
                  <a:moveTo>
                    <a:pt x="51" y="48"/>
                  </a:moveTo>
                  <a:cubicBezTo>
                    <a:pt x="68" y="64"/>
                    <a:pt x="68" y="64"/>
                    <a:pt x="68" y="64"/>
                  </a:cubicBezTo>
                  <a:cubicBezTo>
                    <a:pt x="34" y="64"/>
                    <a:pt x="34" y="64"/>
                    <a:pt x="34" y="64"/>
                  </a:cubicBezTo>
                  <a:lnTo>
                    <a:pt x="51" y="48"/>
                  </a:lnTo>
                  <a:close/>
                  <a:moveTo>
                    <a:pt x="53" y="35"/>
                  </a:moveTo>
                  <a:cubicBezTo>
                    <a:pt x="63" y="43"/>
                    <a:pt x="63" y="43"/>
                    <a:pt x="63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9" y="35"/>
                    <a:pt x="49" y="35"/>
                    <a:pt x="49" y="35"/>
                  </a:cubicBezTo>
                  <a:lnTo>
                    <a:pt x="53" y="35"/>
                  </a:lnTo>
                  <a:close/>
                  <a:moveTo>
                    <a:pt x="45" y="19"/>
                  </a:moveTo>
                  <a:cubicBezTo>
                    <a:pt x="51" y="13"/>
                    <a:pt x="51" y="13"/>
                    <a:pt x="51" y="13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45" y="19"/>
                  </a:lnTo>
                  <a:close/>
                  <a:moveTo>
                    <a:pt x="58" y="23"/>
                  </a:moveTo>
                  <a:cubicBezTo>
                    <a:pt x="51" y="28"/>
                    <a:pt x="51" y="28"/>
                    <a:pt x="51" y="28"/>
                  </a:cubicBezTo>
                  <a:cubicBezTo>
                    <a:pt x="45" y="23"/>
                    <a:pt x="45" y="23"/>
                    <a:pt x="45" y="23"/>
                  </a:cubicBezTo>
                  <a:lnTo>
                    <a:pt x="58" y="23"/>
                  </a:lnTo>
                  <a:close/>
                  <a:moveTo>
                    <a:pt x="60" y="103"/>
                  </a:moveTo>
                  <a:cubicBezTo>
                    <a:pt x="43" y="103"/>
                    <a:pt x="43" y="103"/>
                    <a:pt x="43" y="103"/>
                  </a:cubicBezTo>
                  <a:cubicBezTo>
                    <a:pt x="51" y="100"/>
                    <a:pt x="51" y="100"/>
                    <a:pt x="51" y="100"/>
                  </a:cubicBezTo>
                  <a:lnTo>
                    <a:pt x="60" y="103"/>
                  </a:lnTo>
                  <a:close/>
                  <a:moveTo>
                    <a:pt x="30" y="8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51" y="96"/>
                    <a:pt x="51" y="96"/>
                    <a:pt x="51" y="96"/>
                  </a:cubicBezTo>
                  <a:lnTo>
                    <a:pt x="30" y="88"/>
                  </a:lnTo>
                  <a:close/>
                  <a:moveTo>
                    <a:pt x="102" y="65"/>
                  </a:move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7" y="44"/>
                    <a:pt x="87" y="44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86" y="43"/>
                    <a:pt x="86" y="43"/>
                    <a:pt x="85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1" y="35"/>
                    <a:pt x="81" y="35"/>
                    <a:pt x="82" y="34"/>
                  </a:cubicBezTo>
                  <a:cubicBezTo>
                    <a:pt x="82" y="33"/>
                    <a:pt x="82" y="33"/>
                    <a:pt x="82" y="32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1" y="1"/>
                    <a:pt x="61" y="1"/>
                    <a:pt x="60" y="0"/>
                  </a:cubicBezTo>
                  <a:cubicBezTo>
                    <a:pt x="60" y="0"/>
                    <a:pt x="59" y="0"/>
                    <a:pt x="5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1" y="1"/>
                    <a:pt x="41" y="2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0" y="19"/>
                    <a:pt x="30" y="19"/>
                    <a:pt x="29" y="20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0" y="33"/>
                    <a:pt x="20" y="34"/>
                    <a:pt x="21" y="34"/>
                  </a:cubicBezTo>
                  <a:cubicBezTo>
                    <a:pt x="21" y="35"/>
                    <a:pt x="22" y="35"/>
                    <a:pt x="23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4"/>
                    <a:pt x="15" y="44"/>
                  </a:cubicBezTo>
                  <a:cubicBezTo>
                    <a:pt x="15" y="44"/>
                    <a:pt x="15" y="44"/>
                    <a:pt x="15" y="4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1" y="68"/>
                    <a:pt x="1" y="68"/>
                    <a:pt x="2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9" y="103"/>
                    <a:pt x="8" y="104"/>
                    <a:pt x="8" y="105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3"/>
                    <a:pt x="9" y="123"/>
                    <a:pt x="10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4" y="123"/>
                    <a:pt x="94" y="123"/>
                    <a:pt x="94" y="121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4"/>
                    <a:pt x="94" y="103"/>
                    <a:pt x="92" y="103"/>
                  </a:cubicBezTo>
                  <a:cubicBezTo>
                    <a:pt x="84" y="103"/>
                    <a:pt x="84" y="103"/>
                    <a:pt x="84" y="10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1" y="88"/>
                    <a:pt x="81" y="88"/>
                    <a:pt x="80" y="8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1" y="68"/>
                    <a:pt x="102" y="68"/>
                    <a:pt x="102" y="67"/>
                  </a:cubicBezTo>
                  <a:cubicBezTo>
                    <a:pt x="103" y="66"/>
                    <a:pt x="103" y="65"/>
                    <a:pt x="102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8" name="Group 125">
            <a:extLst>
              <a:ext uri="{FF2B5EF4-FFF2-40B4-BE49-F238E27FC236}">
                <a16:creationId xmlns:a16="http://schemas.microsoft.com/office/drawing/2014/main" id="{10A2C7EB-584C-4AA6-90A8-8A6D6AB24AA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33925" y="5437188"/>
            <a:ext cx="841375" cy="839788"/>
            <a:chOff x="3153" y="3524"/>
            <a:chExt cx="530" cy="529"/>
          </a:xfrm>
        </p:grpSpPr>
        <p:sp>
          <p:nvSpPr>
            <p:cNvPr id="389" name="AutoShape 124">
              <a:extLst>
                <a:ext uri="{FF2B5EF4-FFF2-40B4-BE49-F238E27FC236}">
                  <a16:creationId xmlns:a16="http://schemas.microsoft.com/office/drawing/2014/main" id="{295A6D8B-C4AA-4B21-8A66-6051E9482F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53" y="352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Oval 126">
              <a:extLst>
                <a:ext uri="{FF2B5EF4-FFF2-40B4-BE49-F238E27FC236}">
                  <a16:creationId xmlns:a16="http://schemas.microsoft.com/office/drawing/2014/main" id="{B5D9B262-972B-4E29-AFA2-9E7C9D45B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" y="3527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127">
              <a:extLst>
                <a:ext uri="{FF2B5EF4-FFF2-40B4-BE49-F238E27FC236}">
                  <a16:creationId xmlns:a16="http://schemas.microsoft.com/office/drawing/2014/main" id="{E9C11BA8-DE70-40FE-9F0F-852A145A3A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7" y="3548"/>
              <a:ext cx="484" cy="483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128">
              <a:extLst>
                <a:ext uri="{FF2B5EF4-FFF2-40B4-BE49-F238E27FC236}">
                  <a16:creationId xmlns:a16="http://schemas.microsoft.com/office/drawing/2014/main" id="{A14BE482-239F-4F05-97E2-B8E3F1CBCE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9" y="3635"/>
              <a:ext cx="150" cy="329"/>
            </a:xfrm>
            <a:custGeom>
              <a:avLst/>
              <a:gdLst>
                <a:gd name="T0" fmla="*/ 4 w 55"/>
                <a:gd name="T1" fmla="*/ 37 h 121"/>
                <a:gd name="T2" fmla="*/ 50 w 55"/>
                <a:gd name="T3" fmla="*/ 27 h 121"/>
                <a:gd name="T4" fmla="*/ 46 w 55"/>
                <a:gd name="T5" fmla="*/ 50 h 121"/>
                <a:gd name="T6" fmla="*/ 19 w 55"/>
                <a:gd name="T7" fmla="*/ 76 h 121"/>
                <a:gd name="T8" fmla="*/ 9 w 55"/>
                <a:gd name="T9" fmla="*/ 41 h 121"/>
                <a:gd name="T10" fmla="*/ 46 w 55"/>
                <a:gd name="T11" fmla="*/ 50 h 121"/>
                <a:gd name="T12" fmla="*/ 20 w 55"/>
                <a:gd name="T13" fmla="*/ 89 h 121"/>
                <a:gd name="T14" fmla="*/ 34 w 55"/>
                <a:gd name="T15" fmla="*/ 80 h 121"/>
                <a:gd name="T16" fmla="*/ 30 w 55"/>
                <a:gd name="T17" fmla="*/ 117 h 121"/>
                <a:gd name="T18" fmla="*/ 25 w 55"/>
                <a:gd name="T19" fmla="*/ 94 h 121"/>
                <a:gd name="T20" fmla="*/ 30 w 55"/>
                <a:gd name="T21" fmla="*/ 117 h 121"/>
                <a:gd name="T22" fmla="*/ 18 w 55"/>
                <a:gd name="T23" fmla="*/ 5 h 121"/>
                <a:gd name="T24" fmla="*/ 14 w 55"/>
                <a:gd name="T25" fmla="*/ 23 h 121"/>
                <a:gd name="T26" fmla="*/ 36 w 55"/>
                <a:gd name="T27" fmla="*/ 5 h 121"/>
                <a:gd name="T28" fmla="*/ 41 w 55"/>
                <a:gd name="T29" fmla="*/ 23 h 121"/>
                <a:gd name="T30" fmla="*/ 36 w 55"/>
                <a:gd name="T31" fmla="*/ 5 h 121"/>
                <a:gd name="T32" fmla="*/ 46 w 55"/>
                <a:gd name="T33" fmla="*/ 23 h 121"/>
                <a:gd name="T34" fmla="*/ 43 w 55"/>
                <a:gd name="T35" fmla="*/ 0 h 121"/>
                <a:gd name="T36" fmla="*/ 32 w 55"/>
                <a:gd name="T37" fmla="*/ 2 h 121"/>
                <a:gd name="T38" fmla="*/ 23 w 55"/>
                <a:gd name="T39" fmla="*/ 23 h 121"/>
                <a:gd name="T40" fmla="*/ 20 w 55"/>
                <a:gd name="T41" fmla="*/ 0 h 121"/>
                <a:gd name="T42" fmla="*/ 9 w 55"/>
                <a:gd name="T43" fmla="*/ 2 h 121"/>
                <a:gd name="T44" fmla="*/ 2 w 55"/>
                <a:gd name="T45" fmla="*/ 23 h 121"/>
                <a:gd name="T46" fmla="*/ 0 w 55"/>
                <a:gd name="T47" fmla="*/ 39 h 121"/>
                <a:gd name="T48" fmla="*/ 4 w 55"/>
                <a:gd name="T49" fmla="*/ 41 h 121"/>
                <a:gd name="T50" fmla="*/ 16 w 55"/>
                <a:gd name="T51" fmla="*/ 79 h 121"/>
                <a:gd name="T52" fmla="*/ 18 w 55"/>
                <a:gd name="T53" fmla="*/ 94 h 121"/>
                <a:gd name="T54" fmla="*/ 20 w 55"/>
                <a:gd name="T55" fmla="*/ 119 h 121"/>
                <a:gd name="T56" fmla="*/ 32 w 55"/>
                <a:gd name="T57" fmla="*/ 121 h 121"/>
                <a:gd name="T58" fmla="*/ 34 w 55"/>
                <a:gd name="T59" fmla="*/ 94 h 121"/>
                <a:gd name="T60" fmla="*/ 39 w 55"/>
                <a:gd name="T61" fmla="*/ 92 h 121"/>
                <a:gd name="T62" fmla="*/ 50 w 55"/>
                <a:gd name="T63" fmla="*/ 50 h 121"/>
                <a:gd name="T64" fmla="*/ 53 w 55"/>
                <a:gd name="T65" fmla="*/ 41 h 121"/>
                <a:gd name="T66" fmla="*/ 55 w 55"/>
                <a:gd name="T67" fmla="*/ 2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" h="121">
                  <a:moveTo>
                    <a:pt x="50" y="37"/>
                  </a:moveTo>
                  <a:cubicBezTo>
                    <a:pt x="4" y="37"/>
                    <a:pt x="4" y="37"/>
                    <a:pt x="4" y="3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50" y="27"/>
                    <a:pt x="50" y="27"/>
                    <a:pt x="50" y="27"/>
                  </a:cubicBezTo>
                  <a:lnTo>
                    <a:pt x="50" y="37"/>
                  </a:lnTo>
                  <a:close/>
                  <a:moveTo>
                    <a:pt x="46" y="50"/>
                  </a:moveTo>
                  <a:cubicBezTo>
                    <a:pt x="46" y="60"/>
                    <a:pt x="42" y="69"/>
                    <a:pt x="35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3" y="69"/>
                    <a:pt x="9" y="60"/>
                    <a:pt x="9" y="50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46" y="41"/>
                    <a:pt x="46" y="41"/>
                    <a:pt x="46" y="41"/>
                  </a:cubicBezTo>
                  <a:lnTo>
                    <a:pt x="46" y="50"/>
                  </a:lnTo>
                  <a:close/>
                  <a:moveTo>
                    <a:pt x="34" y="89"/>
                  </a:moveTo>
                  <a:cubicBezTo>
                    <a:pt x="20" y="89"/>
                    <a:pt x="20" y="89"/>
                    <a:pt x="20" y="89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34" y="80"/>
                    <a:pt x="34" y="80"/>
                    <a:pt x="34" y="80"/>
                  </a:cubicBezTo>
                  <a:lnTo>
                    <a:pt x="34" y="89"/>
                  </a:lnTo>
                  <a:close/>
                  <a:moveTo>
                    <a:pt x="30" y="117"/>
                  </a:moveTo>
                  <a:cubicBezTo>
                    <a:pt x="25" y="117"/>
                    <a:pt x="25" y="117"/>
                    <a:pt x="25" y="117"/>
                  </a:cubicBezTo>
                  <a:cubicBezTo>
                    <a:pt x="25" y="94"/>
                    <a:pt x="25" y="94"/>
                    <a:pt x="25" y="94"/>
                  </a:cubicBezTo>
                  <a:cubicBezTo>
                    <a:pt x="30" y="94"/>
                    <a:pt x="30" y="94"/>
                    <a:pt x="30" y="94"/>
                  </a:cubicBezTo>
                  <a:lnTo>
                    <a:pt x="30" y="117"/>
                  </a:lnTo>
                  <a:close/>
                  <a:moveTo>
                    <a:pt x="14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4" y="23"/>
                    <a:pt x="14" y="23"/>
                    <a:pt x="14" y="23"/>
                  </a:cubicBezTo>
                  <a:lnTo>
                    <a:pt x="14" y="5"/>
                  </a:lnTo>
                  <a:close/>
                  <a:moveTo>
                    <a:pt x="36" y="5"/>
                  </a:moveTo>
                  <a:cubicBezTo>
                    <a:pt x="41" y="5"/>
                    <a:pt x="41" y="5"/>
                    <a:pt x="41" y="5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6" y="23"/>
                    <a:pt x="36" y="23"/>
                    <a:pt x="36" y="23"/>
                  </a:cubicBezTo>
                  <a:lnTo>
                    <a:pt x="36" y="5"/>
                  </a:lnTo>
                  <a:close/>
                  <a:moveTo>
                    <a:pt x="53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"/>
                    <a:pt x="45" y="0"/>
                    <a:pt x="4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4"/>
                    <a:pt x="0" y="2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61"/>
                    <a:pt x="8" y="71"/>
                    <a:pt x="16" y="79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3"/>
                    <a:pt x="17" y="94"/>
                    <a:pt x="18" y="94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20" y="120"/>
                    <a:pt x="21" y="121"/>
                    <a:pt x="23" y="121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3" y="121"/>
                    <a:pt x="34" y="120"/>
                    <a:pt x="34" y="119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8" y="94"/>
                    <a:pt x="39" y="93"/>
                    <a:pt x="39" y="92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46" y="71"/>
                    <a:pt x="50" y="61"/>
                    <a:pt x="50" y="50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4" y="41"/>
                    <a:pt x="55" y="40"/>
                    <a:pt x="55" y="39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4"/>
                    <a:pt x="54" y="23"/>
                    <a:pt x="53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129">
              <a:extLst>
                <a:ext uri="{FF2B5EF4-FFF2-40B4-BE49-F238E27FC236}">
                  <a16:creationId xmlns:a16="http://schemas.microsoft.com/office/drawing/2014/main" id="{0DFB27AC-9E3E-4B08-9101-E1D0C0C90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6" y="3684"/>
              <a:ext cx="158" cy="206"/>
            </a:xfrm>
            <a:custGeom>
              <a:avLst/>
              <a:gdLst>
                <a:gd name="T0" fmla="*/ 27 w 58"/>
                <a:gd name="T1" fmla="*/ 62 h 76"/>
                <a:gd name="T2" fmla="*/ 34 w 58"/>
                <a:gd name="T3" fmla="*/ 42 h 76"/>
                <a:gd name="T4" fmla="*/ 33 w 58"/>
                <a:gd name="T5" fmla="*/ 39 h 76"/>
                <a:gd name="T6" fmla="*/ 32 w 58"/>
                <a:gd name="T7" fmla="*/ 39 h 76"/>
                <a:gd name="T8" fmla="*/ 8 w 58"/>
                <a:gd name="T9" fmla="*/ 39 h 76"/>
                <a:gd name="T10" fmla="*/ 30 w 58"/>
                <a:gd name="T11" fmla="*/ 14 h 76"/>
                <a:gd name="T12" fmla="*/ 23 w 58"/>
                <a:gd name="T13" fmla="*/ 31 h 76"/>
                <a:gd name="T14" fmla="*/ 25 w 58"/>
                <a:gd name="T15" fmla="*/ 34 h 76"/>
                <a:gd name="T16" fmla="*/ 25 w 58"/>
                <a:gd name="T17" fmla="*/ 35 h 76"/>
                <a:gd name="T18" fmla="*/ 50 w 58"/>
                <a:gd name="T19" fmla="*/ 35 h 76"/>
                <a:gd name="T20" fmla="*/ 27 w 58"/>
                <a:gd name="T21" fmla="*/ 62 h 76"/>
                <a:gd name="T22" fmla="*/ 55 w 58"/>
                <a:gd name="T23" fmla="*/ 30 h 76"/>
                <a:gd name="T24" fmla="*/ 29 w 58"/>
                <a:gd name="T25" fmla="*/ 30 h 76"/>
                <a:gd name="T26" fmla="*/ 39 w 58"/>
                <a:gd name="T27" fmla="*/ 3 h 76"/>
                <a:gd name="T28" fmla="*/ 38 w 58"/>
                <a:gd name="T29" fmla="*/ 0 h 76"/>
                <a:gd name="T30" fmla="*/ 35 w 58"/>
                <a:gd name="T31" fmla="*/ 1 h 76"/>
                <a:gd name="T32" fmla="*/ 1 w 58"/>
                <a:gd name="T33" fmla="*/ 40 h 76"/>
                <a:gd name="T34" fmla="*/ 1 w 58"/>
                <a:gd name="T35" fmla="*/ 43 h 76"/>
                <a:gd name="T36" fmla="*/ 3 w 58"/>
                <a:gd name="T37" fmla="*/ 44 h 76"/>
                <a:gd name="T38" fmla="*/ 29 w 58"/>
                <a:gd name="T39" fmla="*/ 44 h 76"/>
                <a:gd name="T40" fmla="*/ 19 w 58"/>
                <a:gd name="T41" fmla="*/ 73 h 76"/>
                <a:gd name="T42" fmla="*/ 20 w 58"/>
                <a:gd name="T43" fmla="*/ 76 h 76"/>
                <a:gd name="T44" fmla="*/ 23 w 58"/>
                <a:gd name="T45" fmla="*/ 75 h 76"/>
                <a:gd name="T46" fmla="*/ 57 w 58"/>
                <a:gd name="T47" fmla="*/ 34 h 76"/>
                <a:gd name="T48" fmla="*/ 57 w 58"/>
                <a:gd name="T49" fmla="*/ 30 h 76"/>
                <a:gd name="T50" fmla="*/ 55 w 58"/>
                <a:gd name="T51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" h="76">
                  <a:moveTo>
                    <a:pt x="27" y="62"/>
                  </a:moveTo>
                  <a:cubicBezTo>
                    <a:pt x="34" y="42"/>
                    <a:pt x="34" y="42"/>
                    <a:pt x="34" y="42"/>
                  </a:cubicBezTo>
                  <a:cubicBezTo>
                    <a:pt x="35" y="41"/>
                    <a:pt x="34" y="40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3"/>
                    <a:pt x="23" y="34"/>
                    <a:pt x="25" y="34"/>
                  </a:cubicBezTo>
                  <a:cubicBezTo>
                    <a:pt x="25" y="34"/>
                    <a:pt x="25" y="35"/>
                    <a:pt x="25" y="35"/>
                  </a:cubicBezTo>
                  <a:cubicBezTo>
                    <a:pt x="50" y="35"/>
                    <a:pt x="50" y="35"/>
                    <a:pt x="50" y="35"/>
                  </a:cubicBezTo>
                  <a:lnTo>
                    <a:pt x="27" y="62"/>
                  </a:lnTo>
                  <a:close/>
                  <a:moveTo>
                    <a:pt x="55" y="30"/>
                  </a:moveTo>
                  <a:cubicBezTo>
                    <a:pt x="29" y="30"/>
                    <a:pt x="29" y="30"/>
                    <a:pt x="29" y="30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1"/>
                    <a:pt x="38" y="0"/>
                  </a:cubicBezTo>
                  <a:cubicBezTo>
                    <a:pt x="37" y="0"/>
                    <a:pt x="36" y="0"/>
                    <a:pt x="35" y="1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1" y="43"/>
                    <a:pt x="2" y="44"/>
                    <a:pt x="3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8" y="74"/>
                    <a:pt x="19" y="75"/>
                    <a:pt x="20" y="76"/>
                  </a:cubicBezTo>
                  <a:cubicBezTo>
                    <a:pt x="21" y="76"/>
                    <a:pt x="22" y="76"/>
                    <a:pt x="23" y="75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8" y="33"/>
                    <a:pt x="58" y="31"/>
                    <a:pt x="57" y="30"/>
                  </a:cubicBezTo>
                  <a:cubicBezTo>
                    <a:pt x="56" y="30"/>
                    <a:pt x="56" y="30"/>
                    <a:pt x="55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4" name="Group 132">
            <a:extLst>
              <a:ext uri="{FF2B5EF4-FFF2-40B4-BE49-F238E27FC236}">
                <a16:creationId xmlns:a16="http://schemas.microsoft.com/office/drawing/2014/main" id="{00692054-48D0-4E02-AE5C-6C2316CCFD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27713" y="5478463"/>
            <a:ext cx="758825" cy="758825"/>
            <a:chOff x="3829" y="3546"/>
            <a:chExt cx="478" cy="478"/>
          </a:xfrm>
        </p:grpSpPr>
        <p:sp>
          <p:nvSpPr>
            <p:cNvPr id="395" name="AutoShape 131">
              <a:extLst>
                <a:ext uri="{FF2B5EF4-FFF2-40B4-BE49-F238E27FC236}">
                  <a16:creationId xmlns:a16="http://schemas.microsoft.com/office/drawing/2014/main" id="{9125B5C0-0986-467D-BBF0-0698C756E9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29" y="354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133">
              <a:extLst>
                <a:ext uri="{FF2B5EF4-FFF2-40B4-BE49-F238E27FC236}">
                  <a16:creationId xmlns:a16="http://schemas.microsoft.com/office/drawing/2014/main" id="{A0CBE452-FF89-4BC3-A6BD-690733164A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1" y="3548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134">
              <a:extLst>
                <a:ext uri="{FF2B5EF4-FFF2-40B4-BE49-F238E27FC236}">
                  <a16:creationId xmlns:a16="http://schemas.microsoft.com/office/drawing/2014/main" id="{A0FBFC3C-C0D4-449C-877E-3E11ACEF7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2" y="3646"/>
              <a:ext cx="135" cy="297"/>
            </a:xfrm>
            <a:custGeom>
              <a:avLst/>
              <a:gdLst>
                <a:gd name="T0" fmla="*/ 4 w 55"/>
                <a:gd name="T1" fmla="*/ 36 h 121"/>
                <a:gd name="T2" fmla="*/ 50 w 55"/>
                <a:gd name="T3" fmla="*/ 27 h 121"/>
                <a:gd name="T4" fmla="*/ 45 w 55"/>
                <a:gd name="T5" fmla="*/ 50 h 121"/>
                <a:gd name="T6" fmla="*/ 19 w 55"/>
                <a:gd name="T7" fmla="*/ 75 h 121"/>
                <a:gd name="T8" fmla="*/ 9 w 55"/>
                <a:gd name="T9" fmla="*/ 41 h 121"/>
                <a:gd name="T10" fmla="*/ 45 w 55"/>
                <a:gd name="T11" fmla="*/ 50 h 121"/>
                <a:gd name="T12" fmla="*/ 20 w 55"/>
                <a:gd name="T13" fmla="*/ 89 h 121"/>
                <a:gd name="T14" fmla="*/ 34 w 55"/>
                <a:gd name="T15" fmla="*/ 80 h 121"/>
                <a:gd name="T16" fmla="*/ 29 w 55"/>
                <a:gd name="T17" fmla="*/ 117 h 121"/>
                <a:gd name="T18" fmla="*/ 25 w 55"/>
                <a:gd name="T19" fmla="*/ 94 h 121"/>
                <a:gd name="T20" fmla="*/ 29 w 55"/>
                <a:gd name="T21" fmla="*/ 117 h 121"/>
                <a:gd name="T22" fmla="*/ 18 w 55"/>
                <a:gd name="T23" fmla="*/ 4 h 121"/>
                <a:gd name="T24" fmla="*/ 13 w 55"/>
                <a:gd name="T25" fmla="*/ 23 h 121"/>
                <a:gd name="T26" fmla="*/ 36 w 55"/>
                <a:gd name="T27" fmla="*/ 4 h 121"/>
                <a:gd name="T28" fmla="*/ 41 w 55"/>
                <a:gd name="T29" fmla="*/ 23 h 121"/>
                <a:gd name="T30" fmla="*/ 36 w 55"/>
                <a:gd name="T31" fmla="*/ 4 h 121"/>
                <a:gd name="T32" fmla="*/ 45 w 55"/>
                <a:gd name="T33" fmla="*/ 23 h 121"/>
                <a:gd name="T34" fmla="*/ 43 w 55"/>
                <a:gd name="T35" fmla="*/ 0 h 121"/>
                <a:gd name="T36" fmla="*/ 32 w 55"/>
                <a:gd name="T37" fmla="*/ 2 h 121"/>
                <a:gd name="T38" fmla="*/ 22 w 55"/>
                <a:gd name="T39" fmla="*/ 23 h 121"/>
                <a:gd name="T40" fmla="*/ 20 w 55"/>
                <a:gd name="T41" fmla="*/ 0 h 121"/>
                <a:gd name="T42" fmla="*/ 9 w 55"/>
                <a:gd name="T43" fmla="*/ 2 h 121"/>
                <a:gd name="T44" fmla="*/ 2 w 55"/>
                <a:gd name="T45" fmla="*/ 23 h 121"/>
                <a:gd name="T46" fmla="*/ 0 w 55"/>
                <a:gd name="T47" fmla="*/ 39 h 121"/>
                <a:gd name="T48" fmla="*/ 4 w 55"/>
                <a:gd name="T49" fmla="*/ 41 h 121"/>
                <a:gd name="T50" fmla="*/ 16 w 55"/>
                <a:gd name="T51" fmla="*/ 79 h 121"/>
                <a:gd name="T52" fmla="*/ 18 w 55"/>
                <a:gd name="T53" fmla="*/ 94 h 121"/>
                <a:gd name="T54" fmla="*/ 20 w 55"/>
                <a:gd name="T55" fmla="*/ 119 h 121"/>
                <a:gd name="T56" fmla="*/ 32 w 55"/>
                <a:gd name="T57" fmla="*/ 121 h 121"/>
                <a:gd name="T58" fmla="*/ 34 w 55"/>
                <a:gd name="T59" fmla="*/ 94 h 121"/>
                <a:gd name="T60" fmla="*/ 38 w 55"/>
                <a:gd name="T61" fmla="*/ 91 h 121"/>
                <a:gd name="T62" fmla="*/ 50 w 55"/>
                <a:gd name="T63" fmla="*/ 50 h 121"/>
                <a:gd name="T64" fmla="*/ 52 w 55"/>
                <a:gd name="T65" fmla="*/ 41 h 121"/>
                <a:gd name="T66" fmla="*/ 55 w 55"/>
                <a:gd name="T67" fmla="*/ 2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" h="121">
                  <a:moveTo>
                    <a:pt x="50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50" y="27"/>
                    <a:pt x="50" y="27"/>
                    <a:pt x="50" y="27"/>
                  </a:cubicBezTo>
                  <a:lnTo>
                    <a:pt x="50" y="36"/>
                  </a:lnTo>
                  <a:close/>
                  <a:moveTo>
                    <a:pt x="45" y="50"/>
                  </a:moveTo>
                  <a:cubicBezTo>
                    <a:pt x="45" y="59"/>
                    <a:pt x="42" y="69"/>
                    <a:pt x="35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2" y="69"/>
                    <a:pt x="9" y="59"/>
                    <a:pt x="9" y="50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45" y="41"/>
                    <a:pt x="45" y="41"/>
                    <a:pt x="45" y="41"/>
                  </a:cubicBezTo>
                  <a:lnTo>
                    <a:pt x="45" y="50"/>
                  </a:lnTo>
                  <a:close/>
                  <a:moveTo>
                    <a:pt x="34" y="89"/>
                  </a:moveTo>
                  <a:cubicBezTo>
                    <a:pt x="20" y="89"/>
                    <a:pt x="20" y="89"/>
                    <a:pt x="20" y="89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34" y="80"/>
                    <a:pt x="34" y="80"/>
                    <a:pt x="34" y="80"/>
                  </a:cubicBezTo>
                  <a:lnTo>
                    <a:pt x="34" y="89"/>
                  </a:lnTo>
                  <a:close/>
                  <a:moveTo>
                    <a:pt x="29" y="117"/>
                  </a:moveTo>
                  <a:cubicBezTo>
                    <a:pt x="25" y="117"/>
                    <a:pt x="25" y="117"/>
                    <a:pt x="25" y="117"/>
                  </a:cubicBezTo>
                  <a:cubicBezTo>
                    <a:pt x="25" y="94"/>
                    <a:pt x="25" y="94"/>
                    <a:pt x="25" y="94"/>
                  </a:cubicBezTo>
                  <a:cubicBezTo>
                    <a:pt x="29" y="94"/>
                    <a:pt x="29" y="94"/>
                    <a:pt x="29" y="94"/>
                  </a:cubicBezTo>
                  <a:lnTo>
                    <a:pt x="29" y="117"/>
                  </a:lnTo>
                  <a:close/>
                  <a:moveTo>
                    <a:pt x="13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3" y="23"/>
                    <a:pt x="13" y="23"/>
                    <a:pt x="13" y="23"/>
                  </a:cubicBezTo>
                  <a:lnTo>
                    <a:pt x="13" y="4"/>
                  </a:lnTo>
                  <a:close/>
                  <a:moveTo>
                    <a:pt x="36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6" y="23"/>
                    <a:pt x="36" y="23"/>
                    <a:pt x="36" y="23"/>
                  </a:cubicBezTo>
                  <a:lnTo>
                    <a:pt x="36" y="4"/>
                  </a:lnTo>
                  <a:close/>
                  <a:moveTo>
                    <a:pt x="52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4" y="0"/>
                    <a:pt x="4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2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1" y="0"/>
                    <a:pt x="2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1" y="23"/>
                    <a:pt x="0" y="24"/>
                    <a:pt x="0" y="2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61"/>
                    <a:pt x="8" y="71"/>
                    <a:pt x="16" y="79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3"/>
                    <a:pt x="17" y="94"/>
                    <a:pt x="18" y="94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20" y="120"/>
                    <a:pt x="21" y="121"/>
                    <a:pt x="22" y="121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3" y="121"/>
                    <a:pt x="34" y="120"/>
                    <a:pt x="34" y="119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7" y="94"/>
                    <a:pt x="38" y="93"/>
                    <a:pt x="38" y="91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46" y="71"/>
                    <a:pt x="50" y="61"/>
                    <a:pt x="50" y="50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4" y="41"/>
                    <a:pt x="55" y="40"/>
                    <a:pt x="55" y="39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4"/>
                    <a:pt x="54" y="23"/>
                    <a:pt x="52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135">
              <a:extLst>
                <a:ext uri="{FF2B5EF4-FFF2-40B4-BE49-F238E27FC236}">
                  <a16:creationId xmlns:a16="http://schemas.microsoft.com/office/drawing/2014/main" id="{34459F9A-8F66-44D1-9459-F04E9DD2AB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5" y="3691"/>
              <a:ext cx="142" cy="186"/>
            </a:xfrm>
            <a:custGeom>
              <a:avLst/>
              <a:gdLst>
                <a:gd name="T0" fmla="*/ 27 w 58"/>
                <a:gd name="T1" fmla="*/ 62 h 76"/>
                <a:gd name="T2" fmla="*/ 34 w 58"/>
                <a:gd name="T3" fmla="*/ 42 h 76"/>
                <a:gd name="T4" fmla="*/ 33 w 58"/>
                <a:gd name="T5" fmla="*/ 39 h 76"/>
                <a:gd name="T6" fmla="*/ 32 w 58"/>
                <a:gd name="T7" fmla="*/ 39 h 76"/>
                <a:gd name="T8" fmla="*/ 7 w 58"/>
                <a:gd name="T9" fmla="*/ 39 h 76"/>
                <a:gd name="T10" fmla="*/ 30 w 58"/>
                <a:gd name="T11" fmla="*/ 13 h 76"/>
                <a:gd name="T12" fmla="*/ 23 w 58"/>
                <a:gd name="T13" fmla="*/ 31 h 76"/>
                <a:gd name="T14" fmla="*/ 24 w 58"/>
                <a:gd name="T15" fmla="*/ 34 h 76"/>
                <a:gd name="T16" fmla="*/ 25 w 58"/>
                <a:gd name="T17" fmla="*/ 34 h 76"/>
                <a:gd name="T18" fmla="*/ 50 w 58"/>
                <a:gd name="T19" fmla="*/ 34 h 76"/>
                <a:gd name="T20" fmla="*/ 27 w 58"/>
                <a:gd name="T21" fmla="*/ 62 h 76"/>
                <a:gd name="T22" fmla="*/ 55 w 58"/>
                <a:gd name="T23" fmla="*/ 30 h 76"/>
                <a:gd name="T24" fmla="*/ 29 w 58"/>
                <a:gd name="T25" fmla="*/ 30 h 76"/>
                <a:gd name="T26" fmla="*/ 39 w 58"/>
                <a:gd name="T27" fmla="*/ 3 h 76"/>
                <a:gd name="T28" fmla="*/ 37 w 58"/>
                <a:gd name="T29" fmla="*/ 0 h 76"/>
                <a:gd name="T30" fmla="*/ 35 w 58"/>
                <a:gd name="T31" fmla="*/ 1 h 76"/>
                <a:gd name="T32" fmla="*/ 1 w 58"/>
                <a:gd name="T33" fmla="*/ 40 h 76"/>
                <a:gd name="T34" fmla="*/ 1 w 58"/>
                <a:gd name="T35" fmla="*/ 43 h 76"/>
                <a:gd name="T36" fmla="*/ 2 w 58"/>
                <a:gd name="T37" fmla="*/ 44 h 76"/>
                <a:gd name="T38" fmla="*/ 29 w 58"/>
                <a:gd name="T39" fmla="*/ 44 h 76"/>
                <a:gd name="T40" fmla="*/ 18 w 58"/>
                <a:gd name="T41" fmla="*/ 73 h 76"/>
                <a:gd name="T42" fmla="*/ 20 w 58"/>
                <a:gd name="T43" fmla="*/ 75 h 76"/>
                <a:gd name="T44" fmla="*/ 22 w 58"/>
                <a:gd name="T45" fmla="*/ 75 h 76"/>
                <a:gd name="T46" fmla="*/ 57 w 58"/>
                <a:gd name="T47" fmla="*/ 34 h 76"/>
                <a:gd name="T48" fmla="*/ 56 w 58"/>
                <a:gd name="T49" fmla="*/ 30 h 76"/>
                <a:gd name="T50" fmla="*/ 55 w 58"/>
                <a:gd name="T51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" h="76">
                  <a:moveTo>
                    <a:pt x="27" y="62"/>
                  </a:moveTo>
                  <a:cubicBezTo>
                    <a:pt x="34" y="42"/>
                    <a:pt x="34" y="42"/>
                    <a:pt x="34" y="42"/>
                  </a:cubicBezTo>
                  <a:cubicBezTo>
                    <a:pt x="35" y="41"/>
                    <a:pt x="34" y="40"/>
                    <a:pt x="33" y="39"/>
                  </a:cubicBezTo>
                  <a:cubicBezTo>
                    <a:pt x="33" y="39"/>
                    <a:pt x="32" y="39"/>
                    <a:pt x="32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2"/>
                    <a:pt x="23" y="34"/>
                    <a:pt x="24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50" y="34"/>
                    <a:pt x="50" y="34"/>
                    <a:pt x="50" y="34"/>
                  </a:cubicBezTo>
                  <a:lnTo>
                    <a:pt x="27" y="62"/>
                  </a:lnTo>
                  <a:close/>
                  <a:moveTo>
                    <a:pt x="55" y="30"/>
                  </a:moveTo>
                  <a:cubicBezTo>
                    <a:pt x="29" y="30"/>
                    <a:pt x="29" y="30"/>
                    <a:pt x="29" y="30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1"/>
                    <a:pt x="37" y="0"/>
                  </a:cubicBezTo>
                  <a:cubicBezTo>
                    <a:pt x="37" y="0"/>
                    <a:pt x="36" y="0"/>
                    <a:pt x="35" y="1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1"/>
                    <a:pt x="0" y="42"/>
                    <a:pt x="1" y="43"/>
                  </a:cubicBezTo>
                  <a:cubicBezTo>
                    <a:pt x="1" y="43"/>
                    <a:pt x="2" y="44"/>
                    <a:pt x="2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18" y="74"/>
                    <a:pt x="19" y="75"/>
                    <a:pt x="20" y="75"/>
                  </a:cubicBezTo>
                  <a:cubicBezTo>
                    <a:pt x="21" y="76"/>
                    <a:pt x="22" y="76"/>
                    <a:pt x="22" y="75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8" y="33"/>
                    <a:pt x="57" y="31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3" name="Group 138">
            <a:extLst>
              <a:ext uri="{FF2B5EF4-FFF2-40B4-BE49-F238E27FC236}">
                <a16:creationId xmlns:a16="http://schemas.microsoft.com/office/drawing/2014/main" id="{0176DDE0-73C8-4291-9082-C2F61B56AC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650" y="5437188"/>
            <a:ext cx="841375" cy="841375"/>
            <a:chOff x="4666" y="3485"/>
            <a:chExt cx="530" cy="530"/>
          </a:xfrm>
        </p:grpSpPr>
        <p:sp>
          <p:nvSpPr>
            <p:cNvPr id="404" name="AutoShape 137">
              <a:extLst>
                <a:ext uri="{FF2B5EF4-FFF2-40B4-BE49-F238E27FC236}">
                  <a16:creationId xmlns:a16="http://schemas.microsoft.com/office/drawing/2014/main" id="{49A0EB97-1E35-4C9F-9981-334B099AAE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666" y="34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Oval 139">
              <a:extLst>
                <a:ext uri="{FF2B5EF4-FFF2-40B4-BE49-F238E27FC236}">
                  <a16:creationId xmlns:a16="http://schemas.microsoft.com/office/drawing/2014/main" id="{4467792C-F855-4C04-9C8D-09A528AF3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9" y="348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140">
              <a:extLst>
                <a:ext uri="{FF2B5EF4-FFF2-40B4-BE49-F238E27FC236}">
                  <a16:creationId xmlns:a16="http://schemas.microsoft.com/office/drawing/2014/main" id="{37880EDC-47F9-4E21-A610-788F07A8C9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0" y="3509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141">
              <a:extLst>
                <a:ext uri="{FF2B5EF4-FFF2-40B4-BE49-F238E27FC236}">
                  <a16:creationId xmlns:a16="http://schemas.microsoft.com/office/drawing/2014/main" id="{DC7A0791-AF7F-4086-B215-CD096213D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" y="3662"/>
              <a:ext cx="60" cy="62"/>
            </a:xfrm>
            <a:custGeom>
              <a:avLst/>
              <a:gdLst>
                <a:gd name="T0" fmla="*/ 10 w 22"/>
                <a:gd name="T1" fmla="*/ 23 h 23"/>
                <a:gd name="T2" fmla="*/ 9 w 22"/>
                <a:gd name="T3" fmla="*/ 23 h 23"/>
                <a:gd name="T4" fmla="*/ 9 w 22"/>
                <a:gd name="T5" fmla="*/ 20 h 23"/>
                <a:gd name="T6" fmla="*/ 18 w 22"/>
                <a:gd name="T7" fmla="*/ 11 h 23"/>
                <a:gd name="T8" fmla="*/ 19 w 22"/>
                <a:gd name="T9" fmla="*/ 8 h 23"/>
                <a:gd name="T10" fmla="*/ 18 w 22"/>
                <a:gd name="T11" fmla="*/ 5 h 23"/>
                <a:gd name="T12" fmla="*/ 12 w 22"/>
                <a:gd name="T13" fmla="*/ 5 h 23"/>
                <a:gd name="T14" fmla="*/ 3 w 22"/>
                <a:gd name="T15" fmla="*/ 14 h 23"/>
                <a:gd name="T16" fmla="*/ 0 w 22"/>
                <a:gd name="T17" fmla="*/ 14 h 23"/>
                <a:gd name="T18" fmla="*/ 0 w 22"/>
                <a:gd name="T19" fmla="*/ 12 h 23"/>
                <a:gd name="T20" fmla="*/ 9 w 22"/>
                <a:gd name="T21" fmla="*/ 3 h 23"/>
                <a:gd name="T22" fmla="*/ 20 w 22"/>
                <a:gd name="T23" fmla="*/ 3 h 23"/>
                <a:gd name="T24" fmla="*/ 22 w 22"/>
                <a:gd name="T25" fmla="*/ 8 h 23"/>
                <a:gd name="T26" fmla="*/ 20 w 22"/>
                <a:gd name="T27" fmla="*/ 14 h 23"/>
                <a:gd name="T28" fmla="*/ 11 w 22"/>
                <a:gd name="T29" fmla="*/ 23 h 23"/>
                <a:gd name="T30" fmla="*/ 10 w 22"/>
                <a:gd name="T3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3">
                  <a:moveTo>
                    <a:pt x="10" y="23"/>
                  </a:moveTo>
                  <a:cubicBezTo>
                    <a:pt x="10" y="23"/>
                    <a:pt x="9" y="23"/>
                    <a:pt x="9" y="23"/>
                  </a:cubicBezTo>
                  <a:cubicBezTo>
                    <a:pt x="8" y="22"/>
                    <a:pt x="8" y="21"/>
                    <a:pt x="9" y="2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9" y="7"/>
                    <a:pt x="19" y="6"/>
                    <a:pt x="18" y="5"/>
                  </a:cubicBezTo>
                  <a:cubicBezTo>
                    <a:pt x="16" y="4"/>
                    <a:pt x="13" y="4"/>
                    <a:pt x="12" y="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5"/>
                    <a:pt x="1" y="15"/>
                    <a:pt x="0" y="14"/>
                  </a:cubicBezTo>
                  <a:cubicBezTo>
                    <a:pt x="0" y="13"/>
                    <a:pt x="0" y="12"/>
                    <a:pt x="0" y="1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2" y="0"/>
                    <a:pt x="17" y="0"/>
                    <a:pt x="20" y="3"/>
                  </a:cubicBezTo>
                  <a:cubicBezTo>
                    <a:pt x="22" y="4"/>
                    <a:pt x="22" y="6"/>
                    <a:pt x="22" y="8"/>
                  </a:cubicBezTo>
                  <a:cubicBezTo>
                    <a:pt x="22" y="10"/>
                    <a:pt x="22" y="12"/>
                    <a:pt x="20" y="14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0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142">
              <a:extLst>
                <a:ext uri="{FF2B5EF4-FFF2-40B4-BE49-F238E27FC236}">
                  <a16:creationId xmlns:a16="http://schemas.microsoft.com/office/drawing/2014/main" id="{C838AA44-FF6F-483D-901C-991AFBE3B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2" y="3681"/>
              <a:ext cx="144" cy="141"/>
            </a:xfrm>
            <a:custGeom>
              <a:avLst/>
              <a:gdLst>
                <a:gd name="T0" fmla="*/ 2 w 53"/>
                <a:gd name="T1" fmla="*/ 52 h 52"/>
                <a:gd name="T2" fmla="*/ 1 w 53"/>
                <a:gd name="T3" fmla="*/ 52 h 52"/>
                <a:gd name="T4" fmla="*/ 1 w 53"/>
                <a:gd name="T5" fmla="*/ 49 h 52"/>
                <a:gd name="T6" fmla="*/ 50 w 53"/>
                <a:gd name="T7" fmla="*/ 0 h 52"/>
                <a:gd name="T8" fmla="*/ 52 w 53"/>
                <a:gd name="T9" fmla="*/ 0 h 52"/>
                <a:gd name="T10" fmla="*/ 52 w 53"/>
                <a:gd name="T11" fmla="*/ 3 h 52"/>
                <a:gd name="T12" fmla="*/ 4 w 53"/>
                <a:gd name="T13" fmla="*/ 52 h 52"/>
                <a:gd name="T14" fmla="*/ 2 w 5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52">
                  <a:moveTo>
                    <a:pt x="2" y="52"/>
                  </a:moveTo>
                  <a:cubicBezTo>
                    <a:pt x="2" y="52"/>
                    <a:pt x="1" y="52"/>
                    <a:pt x="1" y="52"/>
                  </a:cubicBezTo>
                  <a:cubicBezTo>
                    <a:pt x="0" y="51"/>
                    <a:pt x="0" y="50"/>
                    <a:pt x="1" y="4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2" y="0"/>
                    <a:pt x="52" y="0"/>
                  </a:cubicBezTo>
                  <a:cubicBezTo>
                    <a:pt x="53" y="1"/>
                    <a:pt x="53" y="2"/>
                    <a:pt x="52" y="3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2"/>
                    <a:pt x="3" y="52"/>
                    <a:pt x="2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Freeform 143">
              <a:extLst>
                <a:ext uri="{FF2B5EF4-FFF2-40B4-BE49-F238E27FC236}">
                  <a16:creationId xmlns:a16="http://schemas.microsoft.com/office/drawing/2014/main" id="{7EC12B4B-3564-4658-B60D-3C7363B2A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" y="3613"/>
              <a:ext cx="142" cy="141"/>
            </a:xfrm>
            <a:custGeom>
              <a:avLst/>
              <a:gdLst>
                <a:gd name="T0" fmla="*/ 22 w 52"/>
                <a:gd name="T1" fmla="*/ 52 h 52"/>
                <a:gd name="T2" fmla="*/ 15 w 52"/>
                <a:gd name="T3" fmla="*/ 49 h 52"/>
                <a:gd name="T4" fmla="*/ 15 w 52"/>
                <a:gd name="T5" fmla="*/ 46 h 52"/>
                <a:gd name="T6" fmla="*/ 17 w 52"/>
                <a:gd name="T7" fmla="*/ 46 h 52"/>
                <a:gd name="T8" fmla="*/ 22 w 52"/>
                <a:gd name="T9" fmla="*/ 48 h 52"/>
                <a:gd name="T10" fmla="*/ 26 w 52"/>
                <a:gd name="T11" fmla="*/ 46 h 52"/>
                <a:gd name="T12" fmla="*/ 43 w 52"/>
                <a:gd name="T13" fmla="*/ 30 h 52"/>
                <a:gd name="T14" fmla="*/ 47 w 52"/>
                <a:gd name="T15" fmla="*/ 20 h 52"/>
                <a:gd name="T16" fmla="*/ 43 w 52"/>
                <a:gd name="T17" fmla="*/ 9 h 52"/>
                <a:gd name="T18" fmla="*/ 22 w 52"/>
                <a:gd name="T19" fmla="*/ 9 h 52"/>
                <a:gd name="T20" fmla="*/ 6 w 52"/>
                <a:gd name="T21" fmla="*/ 26 h 52"/>
                <a:gd name="T22" fmla="*/ 4 w 52"/>
                <a:gd name="T23" fmla="*/ 30 h 52"/>
                <a:gd name="T24" fmla="*/ 6 w 52"/>
                <a:gd name="T25" fmla="*/ 35 h 52"/>
                <a:gd name="T26" fmla="*/ 6 w 52"/>
                <a:gd name="T27" fmla="*/ 37 h 52"/>
                <a:gd name="T28" fmla="*/ 3 w 52"/>
                <a:gd name="T29" fmla="*/ 37 h 52"/>
                <a:gd name="T30" fmla="*/ 0 w 52"/>
                <a:gd name="T31" fmla="*/ 30 h 52"/>
                <a:gd name="T32" fmla="*/ 3 w 52"/>
                <a:gd name="T33" fmla="*/ 23 h 52"/>
                <a:gd name="T34" fmla="*/ 20 w 52"/>
                <a:gd name="T35" fmla="*/ 7 h 52"/>
                <a:gd name="T36" fmla="*/ 45 w 52"/>
                <a:gd name="T37" fmla="*/ 7 h 52"/>
                <a:gd name="T38" fmla="*/ 45 w 52"/>
                <a:gd name="T39" fmla="*/ 32 h 52"/>
                <a:gd name="T40" fmla="*/ 29 w 52"/>
                <a:gd name="T41" fmla="*/ 49 h 52"/>
                <a:gd name="T42" fmla="*/ 22 w 52"/>
                <a:gd name="T4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" h="52">
                  <a:moveTo>
                    <a:pt x="22" y="52"/>
                  </a:moveTo>
                  <a:cubicBezTo>
                    <a:pt x="19" y="52"/>
                    <a:pt x="17" y="51"/>
                    <a:pt x="15" y="49"/>
                  </a:cubicBezTo>
                  <a:cubicBezTo>
                    <a:pt x="14" y="48"/>
                    <a:pt x="14" y="47"/>
                    <a:pt x="15" y="46"/>
                  </a:cubicBezTo>
                  <a:cubicBezTo>
                    <a:pt x="16" y="46"/>
                    <a:pt x="17" y="46"/>
                    <a:pt x="17" y="46"/>
                  </a:cubicBezTo>
                  <a:cubicBezTo>
                    <a:pt x="19" y="48"/>
                    <a:pt x="20" y="48"/>
                    <a:pt x="22" y="48"/>
                  </a:cubicBezTo>
                  <a:cubicBezTo>
                    <a:pt x="23" y="48"/>
                    <a:pt x="25" y="48"/>
                    <a:pt x="26" y="46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5" y="27"/>
                    <a:pt x="47" y="24"/>
                    <a:pt x="47" y="20"/>
                  </a:cubicBezTo>
                  <a:cubicBezTo>
                    <a:pt x="47" y="16"/>
                    <a:pt x="45" y="12"/>
                    <a:pt x="43" y="9"/>
                  </a:cubicBezTo>
                  <a:cubicBezTo>
                    <a:pt x="37" y="4"/>
                    <a:pt x="28" y="4"/>
                    <a:pt x="22" y="9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7"/>
                    <a:pt x="4" y="29"/>
                    <a:pt x="4" y="30"/>
                  </a:cubicBezTo>
                  <a:cubicBezTo>
                    <a:pt x="4" y="32"/>
                    <a:pt x="4" y="33"/>
                    <a:pt x="6" y="35"/>
                  </a:cubicBezTo>
                  <a:cubicBezTo>
                    <a:pt x="6" y="35"/>
                    <a:pt x="6" y="36"/>
                    <a:pt x="6" y="37"/>
                  </a:cubicBezTo>
                  <a:cubicBezTo>
                    <a:pt x="5" y="38"/>
                    <a:pt x="4" y="38"/>
                    <a:pt x="3" y="37"/>
                  </a:cubicBezTo>
                  <a:cubicBezTo>
                    <a:pt x="1" y="35"/>
                    <a:pt x="0" y="33"/>
                    <a:pt x="0" y="30"/>
                  </a:cubicBezTo>
                  <a:cubicBezTo>
                    <a:pt x="0" y="28"/>
                    <a:pt x="1" y="25"/>
                    <a:pt x="3" y="2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7" y="0"/>
                    <a:pt x="38" y="0"/>
                    <a:pt x="45" y="7"/>
                  </a:cubicBezTo>
                  <a:cubicBezTo>
                    <a:pt x="52" y="14"/>
                    <a:pt x="52" y="25"/>
                    <a:pt x="45" y="32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7" y="51"/>
                    <a:pt x="24" y="52"/>
                    <a:pt x="22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144">
              <a:extLst>
                <a:ext uri="{FF2B5EF4-FFF2-40B4-BE49-F238E27FC236}">
                  <a16:creationId xmlns:a16="http://schemas.microsoft.com/office/drawing/2014/main" id="{72AE3617-E949-4E7B-B676-5FDA58CDE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" y="3749"/>
              <a:ext cx="139" cy="138"/>
            </a:xfrm>
            <a:custGeom>
              <a:avLst/>
              <a:gdLst>
                <a:gd name="T0" fmla="*/ 18 w 51"/>
                <a:gd name="T1" fmla="*/ 51 h 51"/>
                <a:gd name="T2" fmla="*/ 6 w 51"/>
                <a:gd name="T3" fmla="*/ 45 h 51"/>
                <a:gd name="T4" fmla="*/ 0 w 51"/>
                <a:gd name="T5" fmla="*/ 33 h 51"/>
                <a:gd name="T6" fmla="*/ 6 w 51"/>
                <a:gd name="T7" fmla="*/ 20 h 51"/>
                <a:gd name="T8" fmla="*/ 22 w 51"/>
                <a:gd name="T9" fmla="*/ 4 h 51"/>
                <a:gd name="T10" fmla="*/ 36 w 51"/>
                <a:gd name="T11" fmla="*/ 4 h 51"/>
                <a:gd name="T12" fmla="*/ 36 w 51"/>
                <a:gd name="T13" fmla="*/ 6 h 51"/>
                <a:gd name="T14" fmla="*/ 33 w 51"/>
                <a:gd name="T15" fmla="*/ 6 h 51"/>
                <a:gd name="T16" fmla="*/ 24 w 51"/>
                <a:gd name="T17" fmla="*/ 6 h 51"/>
                <a:gd name="T18" fmla="*/ 8 w 51"/>
                <a:gd name="T19" fmla="*/ 22 h 51"/>
                <a:gd name="T20" fmla="*/ 4 w 51"/>
                <a:gd name="T21" fmla="*/ 33 h 51"/>
                <a:gd name="T22" fmla="*/ 8 w 51"/>
                <a:gd name="T23" fmla="*/ 43 h 51"/>
                <a:gd name="T24" fmla="*/ 18 w 51"/>
                <a:gd name="T25" fmla="*/ 47 h 51"/>
                <a:gd name="T26" fmla="*/ 29 w 51"/>
                <a:gd name="T27" fmla="*/ 43 h 51"/>
                <a:gd name="T28" fmla="*/ 45 w 51"/>
                <a:gd name="T29" fmla="*/ 26 h 51"/>
                <a:gd name="T30" fmla="*/ 45 w 51"/>
                <a:gd name="T31" fmla="*/ 18 h 51"/>
                <a:gd name="T32" fmla="*/ 45 w 51"/>
                <a:gd name="T33" fmla="*/ 15 h 51"/>
                <a:gd name="T34" fmla="*/ 47 w 51"/>
                <a:gd name="T35" fmla="*/ 15 h 51"/>
                <a:gd name="T36" fmla="*/ 47 w 51"/>
                <a:gd name="T37" fmla="*/ 29 h 51"/>
                <a:gd name="T38" fmla="*/ 31 w 51"/>
                <a:gd name="T39" fmla="*/ 45 h 51"/>
                <a:gd name="T40" fmla="*/ 18 w 51"/>
                <a:gd name="T4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51">
                  <a:moveTo>
                    <a:pt x="18" y="51"/>
                  </a:moveTo>
                  <a:cubicBezTo>
                    <a:pt x="14" y="51"/>
                    <a:pt x="9" y="49"/>
                    <a:pt x="6" y="45"/>
                  </a:cubicBezTo>
                  <a:cubicBezTo>
                    <a:pt x="2" y="42"/>
                    <a:pt x="0" y="37"/>
                    <a:pt x="0" y="33"/>
                  </a:cubicBezTo>
                  <a:cubicBezTo>
                    <a:pt x="0" y="28"/>
                    <a:pt x="2" y="23"/>
                    <a:pt x="6" y="20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6" y="0"/>
                    <a:pt x="32" y="0"/>
                    <a:pt x="36" y="4"/>
                  </a:cubicBezTo>
                  <a:cubicBezTo>
                    <a:pt x="36" y="4"/>
                    <a:pt x="36" y="5"/>
                    <a:pt x="36" y="6"/>
                  </a:cubicBezTo>
                  <a:cubicBezTo>
                    <a:pt x="35" y="7"/>
                    <a:pt x="34" y="7"/>
                    <a:pt x="33" y="6"/>
                  </a:cubicBezTo>
                  <a:cubicBezTo>
                    <a:pt x="31" y="4"/>
                    <a:pt x="27" y="4"/>
                    <a:pt x="24" y="6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5" y="25"/>
                    <a:pt x="4" y="29"/>
                    <a:pt x="4" y="33"/>
                  </a:cubicBezTo>
                  <a:cubicBezTo>
                    <a:pt x="4" y="36"/>
                    <a:pt x="5" y="40"/>
                    <a:pt x="8" y="43"/>
                  </a:cubicBezTo>
                  <a:cubicBezTo>
                    <a:pt x="11" y="46"/>
                    <a:pt x="14" y="47"/>
                    <a:pt x="18" y="47"/>
                  </a:cubicBezTo>
                  <a:cubicBezTo>
                    <a:pt x="22" y="47"/>
                    <a:pt x="26" y="46"/>
                    <a:pt x="29" y="43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7" y="24"/>
                    <a:pt x="47" y="20"/>
                    <a:pt x="45" y="18"/>
                  </a:cubicBezTo>
                  <a:cubicBezTo>
                    <a:pt x="44" y="17"/>
                    <a:pt x="44" y="16"/>
                    <a:pt x="45" y="15"/>
                  </a:cubicBezTo>
                  <a:cubicBezTo>
                    <a:pt x="46" y="15"/>
                    <a:pt x="47" y="15"/>
                    <a:pt x="47" y="15"/>
                  </a:cubicBezTo>
                  <a:cubicBezTo>
                    <a:pt x="51" y="19"/>
                    <a:pt x="51" y="25"/>
                    <a:pt x="47" y="29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28" y="49"/>
                    <a:pt x="23" y="51"/>
                    <a:pt x="18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Freeform 145">
              <a:extLst>
                <a:ext uri="{FF2B5EF4-FFF2-40B4-BE49-F238E27FC236}">
                  <a16:creationId xmlns:a16="http://schemas.microsoft.com/office/drawing/2014/main" id="{5A09AB73-3ACE-4E8C-BCDA-F8A0680BD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" y="3779"/>
              <a:ext cx="65" cy="62"/>
            </a:xfrm>
            <a:custGeom>
              <a:avLst/>
              <a:gdLst>
                <a:gd name="T0" fmla="*/ 9 w 24"/>
                <a:gd name="T1" fmla="*/ 23 h 23"/>
                <a:gd name="T2" fmla="*/ 3 w 24"/>
                <a:gd name="T3" fmla="*/ 21 h 23"/>
                <a:gd name="T4" fmla="*/ 3 w 24"/>
                <a:gd name="T5" fmla="*/ 10 h 23"/>
                <a:gd name="T6" fmla="*/ 12 w 24"/>
                <a:gd name="T7" fmla="*/ 1 h 23"/>
                <a:gd name="T8" fmla="*/ 15 w 24"/>
                <a:gd name="T9" fmla="*/ 1 h 23"/>
                <a:gd name="T10" fmla="*/ 15 w 24"/>
                <a:gd name="T11" fmla="*/ 3 h 23"/>
                <a:gd name="T12" fmla="*/ 6 w 24"/>
                <a:gd name="T13" fmla="*/ 12 h 23"/>
                <a:gd name="T14" fmla="*/ 5 w 24"/>
                <a:gd name="T15" fmla="*/ 15 h 23"/>
                <a:gd name="T16" fmla="*/ 6 w 24"/>
                <a:gd name="T17" fmla="*/ 18 h 23"/>
                <a:gd name="T18" fmla="*/ 12 w 24"/>
                <a:gd name="T19" fmla="*/ 18 h 23"/>
                <a:gd name="T20" fmla="*/ 21 w 24"/>
                <a:gd name="T21" fmla="*/ 9 h 23"/>
                <a:gd name="T22" fmla="*/ 23 w 24"/>
                <a:gd name="T23" fmla="*/ 9 h 23"/>
                <a:gd name="T24" fmla="*/ 23 w 24"/>
                <a:gd name="T25" fmla="*/ 12 h 23"/>
                <a:gd name="T26" fmla="*/ 14 w 24"/>
                <a:gd name="T27" fmla="*/ 21 h 23"/>
                <a:gd name="T28" fmla="*/ 9 w 24"/>
                <a:gd name="T2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23">
                  <a:moveTo>
                    <a:pt x="9" y="23"/>
                  </a:moveTo>
                  <a:cubicBezTo>
                    <a:pt x="7" y="23"/>
                    <a:pt x="5" y="22"/>
                    <a:pt x="3" y="21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5" y="2"/>
                    <a:pt x="15" y="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3"/>
                    <a:pt x="5" y="14"/>
                    <a:pt x="5" y="15"/>
                  </a:cubicBezTo>
                  <a:cubicBezTo>
                    <a:pt x="5" y="16"/>
                    <a:pt x="5" y="17"/>
                    <a:pt x="6" y="18"/>
                  </a:cubicBezTo>
                  <a:cubicBezTo>
                    <a:pt x="8" y="20"/>
                    <a:pt x="10" y="20"/>
                    <a:pt x="12" y="1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3" y="9"/>
                    <a:pt x="23" y="9"/>
                  </a:cubicBezTo>
                  <a:cubicBezTo>
                    <a:pt x="24" y="10"/>
                    <a:pt x="24" y="11"/>
                    <a:pt x="23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3" y="22"/>
                    <a:pt x="11" y="23"/>
                    <a:pt x="9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2" name="Group 148">
            <a:extLst>
              <a:ext uri="{FF2B5EF4-FFF2-40B4-BE49-F238E27FC236}">
                <a16:creationId xmlns:a16="http://schemas.microsoft.com/office/drawing/2014/main" id="{B21F3E72-071D-4529-8EB7-6A5AFA2D62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45450" y="5478463"/>
            <a:ext cx="758825" cy="758825"/>
            <a:chOff x="5084" y="3585"/>
            <a:chExt cx="478" cy="478"/>
          </a:xfrm>
        </p:grpSpPr>
        <p:sp>
          <p:nvSpPr>
            <p:cNvPr id="413" name="AutoShape 147">
              <a:extLst>
                <a:ext uri="{FF2B5EF4-FFF2-40B4-BE49-F238E27FC236}">
                  <a16:creationId xmlns:a16="http://schemas.microsoft.com/office/drawing/2014/main" id="{CF2274BD-FADF-4CB0-9783-80112B0127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4" y="358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149">
              <a:extLst>
                <a:ext uri="{FF2B5EF4-FFF2-40B4-BE49-F238E27FC236}">
                  <a16:creationId xmlns:a16="http://schemas.microsoft.com/office/drawing/2014/main" id="{E613F91B-0A1B-466D-8403-2FD94E1FC9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6" y="3587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3 w 194"/>
                <a:gd name="T11" fmla="*/ 163 h 194"/>
                <a:gd name="T12" fmla="*/ 97 w 194"/>
                <a:gd name="T13" fmla="*/ 190 h 194"/>
                <a:gd name="T14" fmla="*/ 31 w 194"/>
                <a:gd name="T15" fmla="*/ 163 h 194"/>
                <a:gd name="T16" fmla="*/ 4 w 194"/>
                <a:gd name="T17" fmla="*/ 97 h 194"/>
                <a:gd name="T18" fmla="*/ 31 w 194"/>
                <a:gd name="T19" fmla="*/ 31 h 194"/>
                <a:gd name="T20" fmla="*/ 97 w 194"/>
                <a:gd name="T21" fmla="*/ 4 h 194"/>
                <a:gd name="T22" fmla="*/ 163 w 194"/>
                <a:gd name="T23" fmla="*/ 31 h 194"/>
                <a:gd name="T24" fmla="*/ 190 w 194"/>
                <a:gd name="T25" fmla="*/ 97 h 194"/>
                <a:gd name="T26" fmla="*/ 163 w 194"/>
                <a:gd name="T27" fmla="*/ 16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3" y="163"/>
                  </a:moveTo>
                  <a:cubicBezTo>
                    <a:pt x="145" y="180"/>
                    <a:pt x="122" y="190"/>
                    <a:pt x="97" y="190"/>
                  </a:cubicBezTo>
                  <a:cubicBezTo>
                    <a:pt x="72" y="190"/>
                    <a:pt x="49" y="180"/>
                    <a:pt x="31" y="163"/>
                  </a:cubicBezTo>
                  <a:cubicBezTo>
                    <a:pt x="14" y="145"/>
                    <a:pt x="4" y="122"/>
                    <a:pt x="4" y="97"/>
                  </a:cubicBezTo>
                  <a:cubicBezTo>
                    <a:pt x="4" y="72"/>
                    <a:pt x="14" y="49"/>
                    <a:pt x="31" y="31"/>
                  </a:cubicBezTo>
                  <a:cubicBezTo>
                    <a:pt x="49" y="14"/>
                    <a:pt x="72" y="4"/>
                    <a:pt x="97" y="4"/>
                  </a:cubicBezTo>
                  <a:cubicBezTo>
                    <a:pt x="122" y="4"/>
                    <a:pt x="145" y="14"/>
                    <a:pt x="163" y="31"/>
                  </a:cubicBezTo>
                  <a:cubicBezTo>
                    <a:pt x="180" y="49"/>
                    <a:pt x="190" y="72"/>
                    <a:pt x="190" y="97"/>
                  </a:cubicBezTo>
                  <a:cubicBezTo>
                    <a:pt x="190" y="122"/>
                    <a:pt x="180" y="145"/>
                    <a:pt x="163" y="163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150">
              <a:extLst>
                <a:ext uri="{FF2B5EF4-FFF2-40B4-BE49-F238E27FC236}">
                  <a16:creationId xmlns:a16="http://schemas.microsoft.com/office/drawing/2014/main" id="{7788F706-D6AE-437F-8D6B-5692C662F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" y="3744"/>
              <a:ext cx="56" cy="57"/>
            </a:xfrm>
            <a:custGeom>
              <a:avLst/>
              <a:gdLst>
                <a:gd name="T0" fmla="*/ 10 w 23"/>
                <a:gd name="T1" fmla="*/ 23 h 23"/>
                <a:gd name="T2" fmla="*/ 9 w 23"/>
                <a:gd name="T3" fmla="*/ 22 h 23"/>
                <a:gd name="T4" fmla="*/ 9 w 23"/>
                <a:gd name="T5" fmla="*/ 20 h 23"/>
                <a:gd name="T6" fmla="*/ 18 w 23"/>
                <a:gd name="T7" fmla="*/ 11 h 23"/>
                <a:gd name="T8" fmla="*/ 19 w 23"/>
                <a:gd name="T9" fmla="*/ 8 h 23"/>
                <a:gd name="T10" fmla="*/ 18 w 23"/>
                <a:gd name="T11" fmla="*/ 5 h 23"/>
                <a:gd name="T12" fmla="*/ 12 w 23"/>
                <a:gd name="T13" fmla="*/ 5 h 23"/>
                <a:gd name="T14" fmla="*/ 3 w 23"/>
                <a:gd name="T15" fmla="*/ 14 h 23"/>
                <a:gd name="T16" fmla="*/ 1 w 23"/>
                <a:gd name="T17" fmla="*/ 14 h 23"/>
                <a:gd name="T18" fmla="*/ 1 w 23"/>
                <a:gd name="T19" fmla="*/ 11 h 23"/>
                <a:gd name="T20" fmla="*/ 9 w 23"/>
                <a:gd name="T21" fmla="*/ 3 h 23"/>
                <a:gd name="T22" fmla="*/ 20 w 23"/>
                <a:gd name="T23" fmla="*/ 3 h 23"/>
                <a:gd name="T24" fmla="*/ 23 w 23"/>
                <a:gd name="T25" fmla="*/ 8 h 23"/>
                <a:gd name="T26" fmla="*/ 20 w 23"/>
                <a:gd name="T27" fmla="*/ 14 h 23"/>
                <a:gd name="T28" fmla="*/ 12 w 23"/>
                <a:gd name="T29" fmla="*/ 22 h 23"/>
                <a:gd name="T30" fmla="*/ 10 w 23"/>
                <a:gd name="T3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23">
                  <a:moveTo>
                    <a:pt x="10" y="23"/>
                  </a:moveTo>
                  <a:cubicBezTo>
                    <a:pt x="10" y="23"/>
                    <a:pt x="9" y="23"/>
                    <a:pt x="9" y="22"/>
                  </a:cubicBezTo>
                  <a:cubicBezTo>
                    <a:pt x="8" y="22"/>
                    <a:pt x="8" y="21"/>
                    <a:pt x="9" y="2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9" y="7"/>
                    <a:pt x="19" y="6"/>
                    <a:pt x="18" y="5"/>
                  </a:cubicBezTo>
                  <a:cubicBezTo>
                    <a:pt x="16" y="3"/>
                    <a:pt x="14" y="3"/>
                    <a:pt x="12" y="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5"/>
                    <a:pt x="1" y="15"/>
                    <a:pt x="1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2" y="0"/>
                    <a:pt x="17" y="0"/>
                    <a:pt x="20" y="3"/>
                  </a:cubicBezTo>
                  <a:cubicBezTo>
                    <a:pt x="22" y="4"/>
                    <a:pt x="23" y="6"/>
                    <a:pt x="23" y="8"/>
                  </a:cubicBezTo>
                  <a:cubicBezTo>
                    <a:pt x="23" y="10"/>
                    <a:pt x="22" y="12"/>
                    <a:pt x="20" y="14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3"/>
                    <a:pt x="11" y="23"/>
                    <a:pt x="10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151">
              <a:extLst>
                <a:ext uri="{FF2B5EF4-FFF2-40B4-BE49-F238E27FC236}">
                  <a16:creationId xmlns:a16="http://schemas.microsoft.com/office/drawing/2014/main" id="{D38A56EF-D402-4B0A-8A29-CE29E66C6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" y="3761"/>
              <a:ext cx="128" cy="128"/>
            </a:xfrm>
            <a:custGeom>
              <a:avLst/>
              <a:gdLst>
                <a:gd name="T0" fmla="*/ 2 w 52"/>
                <a:gd name="T1" fmla="*/ 52 h 52"/>
                <a:gd name="T2" fmla="*/ 0 w 52"/>
                <a:gd name="T3" fmla="*/ 52 h 52"/>
                <a:gd name="T4" fmla="*/ 0 w 52"/>
                <a:gd name="T5" fmla="*/ 49 h 52"/>
                <a:gd name="T6" fmla="*/ 49 w 52"/>
                <a:gd name="T7" fmla="*/ 0 h 52"/>
                <a:gd name="T8" fmla="*/ 52 w 52"/>
                <a:gd name="T9" fmla="*/ 0 h 52"/>
                <a:gd name="T10" fmla="*/ 52 w 52"/>
                <a:gd name="T11" fmla="*/ 3 h 52"/>
                <a:gd name="T12" fmla="*/ 3 w 52"/>
                <a:gd name="T13" fmla="*/ 52 h 52"/>
                <a:gd name="T14" fmla="*/ 2 w 52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52">
                  <a:moveTo>
                    <a:pt x="2" y="52"/>
                  </a:moveTo>
                  <a:cubicBezTo>
                    <a:pt x="1" y="52"/>
                    <a:pt x="1" y="52"/>
                    <a:pt x="0" y="52"/>
                  </a:cubicBezTo>
                  <a:cubicBezTo>
                    <a:pt x="0" y="51"/>
                    <a:pt x="0" y="50"/>
                    <a:pt x="0" y="49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0" y="0"/>
                    <a:pt x="51" y="0"/>
                    <a:pt x="52" y="0"/>
                  </a:cubicBezTo>
                  <a:cubicBezTo>
                    <a:pt x="52" y="1"/>
                    <a:pt x="52" y="2"/>
                    <a:pt x="52" y="3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2"/>
                    <a:pt x="2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152">
              <a:extLst>
                <a:ext uri="{FF2B5EF4-FFF2-40B4-BE49-F238E27FC236}">
                  <a16:creationId xmlns:a16="http://schemas.microsoft.com/office/drawing/2014/main" id="{E8AA2734-5554-4077-B2A5-F5CF14AA5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" y="3700"/>
              <a:ext cx="125" cy="125"/>
            </a:xfrm>
            <a:custGeom>
              <a:avLst/>
              <a:gdLst>
                <a:gd name="T0" fmla="*/ 21 w 51"/>
                <a:gd name="T1" fmla="*/ 51 h 51"/>
                <a:gd name="T2" fmla="*/ 14 w 51"/>
                <a:gd name="T3" fmla="*/ 49 h 51"/>
                <a:gd name="T4" fmla="*/ 14 w 51"/>
                <a:gd name="T5" fmla="*/ 46 h 51"/>
                <a:gd name="T6" fmla="*/ 17 w 51"/>
                <a:gd name="T7" fmla="*/ 46 h 51"/>
                <a:gd name="T8" fmla="*/ 21 w 51"/>
                <a:gd name="T9" fmla="*/ 48 h 51"/>
                <a:gd name="T10" fmla="*/ 25 w 51"/>
                <a:gd name="T11" fmla="*/ 46 h 51"/>
                <a:gd name="T12" fmla="*/ 42 w 51"/>
                <a:gd name="T13" fmla="*/ 30 h 51"/>
                <a:gd name="T14" fmla="*/ 46 w 51"/>
                <a:gd name="T15" fmla="*/ 20 h 51"/>
                <a:gd name="T16" fmla="*/ 42 w 51"/>
                <a:gd name="T17" fmla="*/ 9 h 51"/>
                <a:gd name="T18" fmla="*/ 21 w 51"/>
                <a:gd name="T19" fmla="*/ 9 h 51"/>
                <a:gd name="T20" fmla="*/ 5 w 51"/>
                <a:gd name="T21" fmla="*/ 26 h 51"/>
                <a:gd name="T22" fmla="*/ 3 w 51"/>
                <a:gd name="T23" fmla="*/ 30 h 51"/>
                <a:gd name="T24" fmla="*/ 5 w 51"/>
                <a:gd name="T25" fmla="*/ 34 h 51"/>
                <a:gd name="T26" fmla="*/ 5 w 51"/>
                <a:gd name="T27" fmla="*/ 37 h 51"/>
                <a:gd name="T28" fmla="*/ 2 w 51"/>
                <a:gd name="T29" fmla="*/ 37 h 51"/>
                <a:gd name="T30" fmla="*/ 0 w 51"/>
                <a:gd name="T31" fmla="*/ 30 h 51"/>
                <a:gd name="T32" fmla="*/ 2 w 51"/>
                <a:gd name="T33" fmla="*/ 23 h 51"/>
                <a:gd name="T34" fmla="*/ 19 w 51"/>
                <a:gd name="T35" fmla="*/ 7 h 51"/>
                <a:gd name="T36" fmla="*/ 44 w 51"/>
                <a:gd name="T37" fmla="*/ 7 h 51"/>
                <a:gd name="T38" fmla="*/ 44 w 51"/>
                <a:gd name="T39" fmla="*/ 32 h 51"/>
                <a:gd name="T40" fmla="*/ 28 w 51"/>
                <a:gd name="T41" fmla="*/ 49 h 51"/>
                <a:gd name="T42" fmla="*/ 21 w 51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" h="51">
                  <a:moveTo>
                    <a:pt x="21" y="51"/>
                  </a:moveTo>
                  <a:cubicBezTo>
                    <a:pt x="18" y="51"/>
                    <a:pt x="16" y="50"/>
                    <a:pt x="14" y="49"/>
                  </a:cubicBezTo>
                  <a:cubicBezTo>
                    <a:pt x="13" y="48"/>
                    <a:pt x="13" y="47"/>
                    <a:pt x="14" y="46"/>
                  </a:cubicBezTo>
                  <a:cubicBezTo>
                    <a:pt x="15" y="46"/>
                    <a:pt x="16" y="46"/>
                    <a:pt x="17" y="46"/>
                  </a:cubicBezTo>
                  <a:cubicBezTo>
                    <a:pt x="18" y="47"/>
                    <a:pt x="19" y="48"/>
                    <a:pt x="21" y="48"/>
                  </a:cubicBezTo>
                  <a:cubicBezTo>
                    <a:pt x="23" y="48"/>
                    <a:pt x="24" y="47"/>
                    <a:pt x="25" y="46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4" y="27"/>
                    <a:pt x="46" y="23"/>
                    <a:pt x="46" y="20"/>
                  </a:cubicBezTo>
                  <a:cubicBezTo>
                    <a:pt x="46" y="16"/>
                    <a:pt x="44" y="12"/>
                    <a:pt x="42" y="9"/>
                  </a:cubicBezTo>
                  <a:cubicBezTo>
                    <a:pt x="36" y="4"/>
                    <a:pt x="27" y="4"/>
                    <a:pt x="21" y="9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7"/>
                    <a:pt x="3" y="28"/>
                    <a:pt x="3" y="30"/>
                  </a:cubicBezTo>
                  <a:cubicBezTo>
                    <a:pt x="3" y="32"/>
                    <a:pt x="4" y="33"/>
                    <a:pt x="5" y="34"/>
                  </a:cubicBezTo>
                  <a:cubicBezTo>
                    <a:pt x="5" y="35"/>
                    <a:pt x="5" y="36"/>
                    <a:pt x="5" y="37"/>
                  </a:cubicBezTo>
                  <a:cubicBezTo>
                    <a:pt x="4" y="38"/>
                    <a:pt x="3" y="38"/>
                    <a:pt x="2" y="37"/>
                  </a:cubicBezTo>
                  <a:cubicBezTo>
                    <a:pt x="1" y="35"/>
                    <a:pt x="0" y="33"/>
                    <a:pt x="0" y="30"/>
                  </a:cubicBezTo>
                  <a:cubicBezTo>
                    <a:pt x="0" y="27"/>
                    <a:pt x="1" y="25"/>
                    <a:pt x="2" y="23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6" y="0"/>
                    <a:pt x="37" y="0"/>
                    <a:pt x="44" y="7"/>
                  </a:cubicBezTo>
                  <a:cubicBezTo>
                    <a:pt x="51" y="14"/>
                    <a:pt x="51" y="25"/>
                    <a:pt x="44" y="32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6" y="50"/>
                    <a:pt x="24" y="51"/>
                    <a:pt x="21" y="5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153">
              <a:extLst>
                <a:ext uri="{FF2B5EF4-FFF2-40B4-BE49-F238E27FC236}">
                  <a16:creationId xmlns:a16="http://schemas.microsoft.com/office/drawing/2014/main" id="{6EE52A66-A47C-47D2-B96C-91E109046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4" y="3823"/>
              <a:ext cx="123" cy="122"/>
            </a:xfrm>
            <a:custGeom>
              <a:avLst/>
              <a:gdLst>
                <a:gd name="T0" fmla="*/ 18 w 50"/>
                <a:gd name="T1" fmla="*/ 50 h 50"/>
                <a:gd name="T2" fmla="*/ 5 w 50"/>
                <a:gd name="T3" fmla="*/ 45 h 50"/>
                <a:gd name="T4" fmla="*/ 0 w 50"/>
                <a:gd name="T5" fmla="*/ 32 h 50"/>
                <a:gd name="T6" fmla="*/ 5 w 50"/>
                <a:gd name="T7" fmla="*/ 20 h 50"/>
                <a:gd name="T8" fmla="*/ 21 w 50"/>
                <a:gd name="T9" fmla="*/ 3 h 50"/>
                <a:gd name="T10" fmla="*/ 35 w 50"/>
                <a:gd name="T11" fmla="*/ 3 h 50"/>
                <a:gd name="T12" fmla="*/ 35 w 50"/>
                <a:gd name="T13" fmla="*/ 6 h 50"/>
                <a:gd name="T14" fmla="*/ 32 w 50"/>
                <a:gd name="T15" fmla="*/ 6 h 50"/>
                <a:gd name="T16" fmla="*/ 24 w 50"/>
                <a:gd name="T17" fmla="*/ 6 h 50"/>
                <a:gd name="T18" fmla="*/ 7 w 50"/>
                <a:gd name="T19" fmla="*/ 22 h 50"/>
                <a:gd name="T20" fmla="*/ 3 w 50"/>
                <a:gd name="T21" fmla="*/ 32 h 50"/>
                <a:gd name="T22" fmla="*/ 7 w 50"/>
                <a:gd name="T23" fmla="*/ 43 h 50"/>
                <a:gd name="T24" fmla="*/ 18 w 50"/>
                <a:gd name="T25" fmla="*/ 47 h 50"/>
                <a:gd name="T26" fmla="*/ 28 w 50"/>
                <a:gd name="T27" fmla="*/ 43 h 50"/>
                <a:gd name="T28" fmla="*/ 44 w 50"/>
                <a:gd name="T29" fmla="*/ 26 h 50"/>
                <a:gd name="T30" fmla="*/ 44 w 50"/>
                <a:gd name="T31" fmla="*/ 18 h 50"/>
                <a:gd name="T32" fmla="*/ 44 w 50"/>
                <a:gd name="T33" fmla="*/ 15 h 50"/>
                <a:gd name="T34" fmla="*/ 47 w 50"/>
                <a:gd name="T35" fmla="*/ 15 h 50"/>
                <a:gd name="T36" fmla="*/ 47 w 50"/>
                <a:gd name="T37" fmla="*/ 29 h 50"/>
                <a:gd name="T38" fmla="*/ 30 w 50"/>
                <a:gd name="T39" fmla="*/ 45 h 50"/>
                <a:gd name="T40" fmla="*/ 18 w 50"/>
                <a:gd name="T4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50">
                  <a:moveTo>
                    <a:pt x="18" y="50"/>
                  </a:moveTo>
                  <a:cubicBezTo>
                    <a:pt x="13" y="50"/>
                    <a:pt x="8" y="49"/>
                    <a:pt x="5" y="45"/>
                  </a:cubicBezTo>
                  <a:cubicBezTo>
                    <a:pt x="1" y="42"/>
                    <a:pt x="0" y="37"/>
                    <a:pt x="0" y="32"/>
                  </a:cubicBezTo>
                  <a:cubicBezTo>
                    <a:pt x="0" y="28"/>
                    <a:pt x="1" y="23"/>
                    <a:pt x="5" y="20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5" y="0"/>
                    <a:pt x="31" y="0"/>
                    <a:pt x="35" y="3"/>
                  </a:cubicBezTo>
                  <a:cubicBezTo>
                    <a:pt x="36" y="4"/>
                    <a:pt x="36" y="5"/>
                    <a:pt x="35" y="6"/>
                  </a:cubicBezTo>
                  <a:cubicBezTo>
                    <a:pt x="34" y="6"/>
                    <a:pt x="33" y="6"/>
                    <a:pt x="32" y="6"/>
                  </a:cubicBezTo>
                  <a:cubicBezTo>
                    <a:pt x="30" y="3"/>
                    <a:pt x="26" y="3"/>
                    <a:pt x="24" y="6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5" y="25"/>
                    <a:pt x="3" y="29"/>
                    <a:pt x="3" y="32"/>
                  </a:cubicBezTo>
                  <a:cubicBezTo>
                    <a:pt x="3" y="36"/>
                    <a:pt x="5" y="40"/>
                    <a:pt x="7" y="43"/>
                  </a:cubicBezTo>
                  <a:cubicBezTo>
                    <a:pt x="10" y="45"/>
                    <a:pt x="14" y="47"/>
                    <a:pt x="18" y="47"/>
                  </a:cubicBezTo>
                  <a:cubicBezTo>
                    <a:pt x="21" y="47"/>
                    <a:pt x="25" y="45"/>
                    <a:pt x="28" y="43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7" y="24"/>
                    <a:pt x="47" y="20"/>
                    <a:pt x="44" y="18"/>
                  </a:cubicBezTo>
                  <a:cubicBezTo>
                    <a:pt x="44" y="17"/>
                    <a:pt x="44" y="16"/>
                    <a:pt x="44" y="15"/>
                  </a:cubicBezTo>
                  <a:cubicBezTo>
                    <a:pt x="45" y="14"/>
                    <a:pt x="46" y="14"/>
                    <a:pt x="47" y="15"/>
                  </a:cubicBezTo>
                  <a:cubicBezTo>
                    <a:pt x="50" y="19"/>
                    <a:pt x="50" y="25"/>
                    <a:pt x="47" y="29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7" y="49"/>
                    <a:pt x="22" y="50"/>
                    <a:pt x="18" y="5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154">
              <a:extLst>
                <a:ext uri="{FF2B5EF4-FFF2-40B4-BE49-F238E27FC236}">
                  <a16:creationId xmlns:a16="http://schemas.microsoft.com/office/drawing/2014/main" id="{2D620EC8-F76F-4808-ADB3-E0718EA84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" y="3850"/>
              <a:ext cx="57" cy="56"/>
            </a:xfrm>
            <a:custGeom>
              <a:avLst/>
              <a:gdLst>
                <a:gd name="T0" fmla="*/ 8 w 23"/>
                <a:gd name="T1" fmla="*/ 23 h 23"/>
                <a:gd name="T2" fmla="*/ 3 w 23"/>
                <a:gd name="T3" fmla="*/ 20 h 23"/>
                <a:gd name="T4" fmla="*/ 3 w 23"/>
                <a:gd name="T5" fmla="*/ 9 h 23"/>
                <a:gd name="T6" fmla="*/ 11 w 23"/>
                <a:gd name="T7" fmla="*/ 1 h 23"/>
                <a:gd name="T8" fmla="*/ 14 w 23"/>
                <a:gd name="T9" fmla="*/ 1 h 23"/>
                <a:gd name="T10" fmla="*/ 14 w 23"/>
                <a:gd name="T11" fmla="*/ 3 h 23"/>
                <a:gd name="T12" fmla="*/ 5 w 23"/>
                <a:gd name="T13" fmla="*/ 12 h 23"/>
                <a:gd name="T14" fmla="*/ 4 w 23"/>
                <a:gd name="T15" fmla="*/ 15 h 23"/>
                <a:gd name="T16" fmla="*/ 5 w 23"/>
                <a:gd name="T17" fmla="*/ 18 h 23"/>
                <a:gd name="T18" fmla="*/ 11 w 23"/>
                <a:gd name="T19" fmla="*/ 18 h 23"/>
                <a:gd name="T20" fmla="*/ 20 w 23"/>
                <a:gd name="T21" fmla="*/ 9 h 23"/>
                <a:gd name="T22" fmla="*/ 22 w 23"/>
                <a:gd name="T23" fmla="*/ 9 h 23"/>
                <a:gd name="T24" fmla="*/ 22 w 23"/>
                <a:gd name="T25" fmla="*/ 12 h 23"/>
                <a:gd name="T26" fmla="*/ 14 w 23"/>
                <a:gd name="T27" fmla="*/ 20 h 23"/>
                <a:gd name="T28" fmla="*/ 8 w 23"/>
                <a:gd name="T2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" h="23">
                  <a:moveTo>
                    <a:pt x="8" y="23"/>
                  </a:moveTo>
                  <a:cubicBezTo>
                    <a:pt x="6" y="23"/>
                    <a:pt x="4" y="22"/>
                    <a:pt x="3" y="20"/>
                  </a:cubicBezTo>
                  <a:cubicBezTo>
                    <a:pt x="0" y="17"/>
                    <a:pt x="0" y="12"/>
                    <a:pt x="3" y="9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5" y="1"/>
                    <a:pt x="15" y="2"/>
                    <a:pt x="14" y="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4"/>
                    <a:pt x="4" y="15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7" y="20"/>
                    <a:pt x="9" y="20"/>
                    <a:pt x="11" y="1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8"/>
                    <a:pt x="22" y="8"/>
                    <a:pt x="22" y="9"/>
                  </a:cubicBezTo>
                  <a:cubicBezTo>
                    <a:pt x="23" y="10"/>
                    <a:pt x="23" y="11"/>
                    <a:pt x="22" y="12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2" y="22"/>
                    <a:pt x="10" y="23"/>
                    <a:pt x="8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18746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35ED5D-B63F-414F-B8CB-96959E8FC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754587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ght-size Dat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obotic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b Porta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chnolog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obal Acces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jecto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mera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 Cam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udio Antenn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udio Sca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blet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blet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mart Watc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mart Pho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mart Phone Cha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ttery Charge Level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ttery Charge Level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ttery No Pow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ttery Charg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mart Phone Tap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F54F5ABF-C970-4464-BC38-5C6D5311ED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7" y="287337"/>
            <a:ext cx="841375" cy="839788"/>
            <a:chOff x="458" y="326"/>
            <a:chExt cx="530" cy="529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BDCCD291-327B-4CCE-B134-9D6B4880DB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8" y="326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4D10D1F6-E759-4C6B-800A-C8D040F17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" y="554"/>
              <a:ext cx="11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6">
              <a:extLst>
                <a:ext uri="{FF2B5EF4-FFF2-40B4-BE49-F238E27FC236}">
                  <a16:creationId xmlns:a16="http://schemas.microsoft.com/office/drawing/2014/main" id="{2EBEF37C-3287-4E72-81F8-0183013FD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" y="329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0796ADE3-3F79-4FBF-B105-DB50EF3DD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" y="350"/>
              <a:ext cx="484" cy="483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B5B69A2-97DB-451E-AB62-A01E27AA07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" y="475"/>
              <a:ext cx="185" cy="228"/>
            </a:xfrm>
            <a:custGeom>
              <a:avLst/>
              <a:gdLst>
                <a:gd name="T0" fmla="*/ 34 w 68"/>
                <a:gd name="T1" fmla="*/ 44 h 84"/>
                <a:gd name="T2" fmla="*/ 3 w 68"/>
                <a:gd name="T3" fmla="*/ 33 h 84"/>
                <a:gd name="T4" fmla="*/ 3 w 68"/>
                <a:gd name="T5" fmla="*/ 21 h 84"/>
                <a:gd name="T6" fmla="*/ 34 w 68"/>
                <a:gd name="T7" fmla="*/ 28 h 84"/>
                <a:gd name="T8" fmla="*/ 65 w 68"/>
                <a:gd name="T9" fmla="*/ 21 h 84"/>
                <a:gd name="T10" fmla="*/ 65 w 68"/>
                <a:gd name="T11" fmla="*/ 33 h 84"/>
                <a:gd name="T12" fmla="*/ 34 w 68"/>
                <a:gd name="T13" fmla="*/ 44 h 84"/>
                <a:gd name="T14" fmla="*/ 34 w 68"/>
                <a:gd name="T15" fmla="*/ 62 h 84"/>
                <a:gd name="T16" fmla="*/ 3 w 68"/>
                <a:gd name="T17" fmla="*/ 51 h 84"/>
                <a:gd name="T18" fmla="*/ 3 w 68"/>
                <a:gd name="T19" fmla="*/ 39 h 84"/>
                <a:gd name="T20" fmla="*/ 34 w 68"/>
                <a:gd name="T21" fmla="*/ 47 h 84"/>
                <a:gd name="T22" fmla="*/ 65 w 68"/>
                <a:gd name="T23" fmla="*/ 39 h 84"/>
                <a:gd name="T24" fmla="*/ 65 w 68"/>
                <a:gd name="T25" fmla="*/ 51 h 84"/>
                <a:gd name="T26" fmla="*/ 34 w 68"/>
                <a:gd name="T27" fmla="*/ 62 h 84"/>
                <a:gd name="T28" fmla="*/ 34 w 68"/>
                <a:gd name="T29" fmla="*/ 80 h 84"/>
                <a:gd name="T30" fmla="*/ 3 w 68"/>
                <a:gd name="T31" fmla="*/ 70 h 84"/>
                <a:gd name="T32" fmla="*/ 3 w 68"/>
                <a:gd name="T33" fmla="*/ 57 h 84"/>
                <a:gd name="T34" fmla="*/ 34 w 68"/>
                <a:gd name="T35" fmla="*/ 65 h 84"/>
                <a:gd name="T36" fmla="*/ 65 w 68"/>
                <a:gd name="T37" fmla="*/ 57 h 84"/>
                <a:gd name="T38" fmla="*/ 65 w 68"/>
                <a:gd name="T39" fmla="*/ 70 h 84"/>
                <a:gd name="T40" fmla="*/ 34 w 68"/>
                <a:gd name="T41" fmla="*/ 80 h 84"/>
                <a:gd name="T42" fmla="*/ 34 w 68"/>
                <a:gd name="T43" fmla="*/ 4 h 84"/>
                <a:gd name="T44" fmla="*/ 65 w 68"/>
                <a:gd name="T45" fmla="*/ 14 h 84"/>
                <a:gd name="T46" fmla="*/ 34 w 68"/>
                <a:gd name="T47" fmla="*/ 25 h 84"/>
                <a:gd name="T48" fmla="*/ 3 w 68"/>
                <a:gd name="T49" fmla="*/ 14 h 84"/>
                <a:gd name="T50" fmla="*/ 34 w 68"/>
                <a:gd name="T51" fmla="*/ 4 h 84"/>
                <a:gd name="T52" fmla="*/ 34 w 68"/>
                <a:gd name="T53" fmla="*/ 0 h 84"/>
                <a:gd name="T54" fmla="*/ 0 w 68"/>
                <a:gd name="T55" fmla="*/ 14 h 84"/>
                <a:gd name="T56" fmla="*/ 0 w 68"/>
                <a:gd name="T57" fmla="*/ 70 h 84"/>
                <a:gd name="T58" fmla="*/ 34 w 68"/>
                <a:gd name="T59" fmla="*/ 84 h 84"/>
                <a:gd name="T60" fmla="*/ 68 w 68"/>
                <a:gd name="T61" fmla="*/ 70 h 84"/>
                <a:gd name="T62" fmla="*/ 68 w 68"/>
                <a:gd name="T63" fmla="*/ 14 h 84"/>
                <a:gd name="T64" fmla="*/ 34 w 68"/>
                <a:gd name="T6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" h="84">
                  <a:moveTo>
                    <a:pt x="34" y="44"/>
                  </a:moveTo>
                  <a:cubicBezTo>
                    <a:pt x="16" y="44"/>
                    <a:pt x="3" y="38"/>
                    <a:pt x="3" y="3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8" y="25"/>
                    <a:pt x="20" y="28"/>
                    <a:pt x="34" y="28"/>
                  </a:cubicBezTo>
                  <a:cubicBezTo>
                    <a:pt x="48" y="28"/>
                    <a:pt x="59" y="25"/>
                    <a:pt x="65" y="21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8"/>
                    <a:pt x="52" y="44"/>
                    <a:pt x="34" y="44"/>
                  </a:cubicBezTo>
                  <a:moveTo>
                    <a:pt x="34" y="62"/>
                  </a:moveTo>
                  <a:cubicBezTo>
                    <a:pt x="16" y="62"/>
                    <a:pt x="3" y="56"/>
                    <a:pt x="3" y="5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8" y="44"/>
                    <a:pt x="20" y="47"/>
                    <a:pt x="34" y="47"/>
                  </a:cubicBezTo>
                  <a:cubicBezTo>
                    <a:pt x="48" y="47"/>
                    <a:pt x="59" y="44"/>
                    <a:pt x="65" y="39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6"/>
                    <a:pt x="52" y="62"/>
                    <a:pt x="34" y="62"/>
                  </a:cubicBezTo>
                  <a:moveTo>
                    <a:pt x="34" y="80"/>
                  </a:moveTo>
                  <a:cubicBezTo>
                    <a:pt x="16" y="80"/>
                    <a:pt x="3" y="75"/>
                    <a:pt x="3" y="70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8" y="62"/>
                    <a:pt x="20" y="65"/>
                    <a:pt x="34" y="65"/>
                  </a:cubicBezTo>
                  <a:cubicBezTo>
                    <a:pt x="48" y="65"/>
                    <a:pt x="59" y="62"/>
                    <a:pt x="65" y="57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5"/>
                    <a:pt x="52" y="80"/>
                    <a:pt x="34" y="80"/>
                  </a:cubicBezTo>
                  <a:moveTo>
                    <a:pt x="34" y="4"/>
                  </a:moveTo>
                  <a:cubicBezTo>
                    <a:pt x="52" y="4"/>
                    <a:pt x="65" y="9"/>
                    <a:pt x="65" y="14"/>
                  </a:cubicBezTo>
                  <a:cubicBezTo>
                    <a:pt x="65" y="19"/>
                    <a:pt x="52" y="25"/>
                    <a:pt x="34" y="25"/>
                  </a:cubicBezTo>
                  <a:cubicBezTo>
                    <a:pt x="16" y="25"/>
                    <a:pt x="3" y="19"/>
                    <a:pt x="3" y="14"/>
                  </a:cubicBezTo>
                  <a:cubicBezTo>
                    <a:pt x="3" y="9"/>
                    <a:pt x="16" y="4"/>
                    <a:pt x="34" y="4"/>
                  </a:cubicBezTo>
                  <a:moveTo>
                    <a:pt x="34" y="0"/>
                  </a:moveTo>
                  <a:cubicBezTo>
                    <a:pt x="14" y="0"/>
                    <a:pt x="0" y="6"/>
                    <a:pt x="0" y="14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8"/>
                    <a:pt x="14" y="84"/>
                    <a:pt x="34" y="84"/>
                  </a:cubicBezTo>
                  <a:cubicBezTo>
                    <a:pt x="53" y="84"/>
                    <a:pt x="68" y="78"/>
                    <a:pt x="68" y="70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6"/>
                    <a:pt x="53" y="0"/>
                    <a:pt x="3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BD858FAB-6738-4657-909E-6927F8151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" y="603"/>
              <a:ext cx="11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2E33B9CB-8F1C-4FB3-864E-F36C57179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" y="654"/>
              <a:ext cx="11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C5A69CA-95A6-43DC-AE40-6E76E3969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" y="695"/>
              <a:ext cx="41" cy="41"/>
            </a:xfrm>
            <a:custGeom>
              <a:avLst/>
              <a:gdLst>
                <a:gd name="T0" fmla="*/ 36 w 41"/>
                <a:gd name="T1" fmla="*/ 0 h 41"/>
                <a:gd name="T2" fmla="*/ 8 w 41"/>
                <a:gd name="T3" fmla="*/ 27 h 41"/>
                <a:gd name="T4" fmla="*/ 8 w 41"/>
                <a:gd name="T5" fmla="*/ 3 h 41"/>
                <a:gd name="T6" fmla="*/ 0 w 41"/>
                <a:gd name="T7" fmla="*/ 3 h 41"/>
                <a:gd name="T8" fmla="*/ 0 w 41"/>
                <a:gd name="T9" fmla="*/ 41 h 41"/>
                <a:gd name="T10" fmla="*/ 38 w 41"/>
                <a:gd name="T11" fmla="*/ 41 h 41"/>
                <a:gd name="T12" fmla="*/ 38 w 41"/>
                <a:gd name="T13" fmla="*/ 33 h 41"/>
                <a:gd name="T14" fmla="*/ 14 w 41"/>
                <a:gd name="T15" fmla="*/ 33 h 41"/>
                <a:gd name="T16" fmla="*/ 41 w 41"/>
                <a:gd name="T17" fmla="*/ 5 h 41"/>
                <a:gd name="T18" fmla="*/ 36 w 41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36" y="0"/>
                  </a:moveTo>
                  <a:lnTo>
                    <a:pt x="8" y="27"/>
                  </a:lnTo>
                  <a:lnTo>
                    <a:pt x="8" y="3"/>
                  </a:lnTo>
                  <a:lnTo>
                    <a:pt x="0" y="3"/>
                  </a:lnTo>
                  <a:lnTo>
                    <a:pt x="0" y="41"/>
                  </a:lnTo>
                  <a:lnTo>
                    <a:pt x="38" y="41"/>
                  </a:lnTo>
                  <a:lnTo>
                    <a:pt x="38" y="33"/>
                  </a:lnTo>
                  <a:lnTo>
                    <a:pt x="14" y="33"/>
                  </a:lnTo>
                  <a:lnTo>
                    <a:pt x="41" y="5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9FA1A906-FB21-4123-A587-2D1C4E5FB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" y="445"/>
              <a:ext cx="41" cy="44"/>
            </a:xfrm>
            <a:custGeom>
              <a:avLst/>
              <a:gdLst>
                <a:gd name="T0" fmla="*/ 38 w 41"/>
                <a:gd name="T1" fmla="*/ 9 h 44"/>
                <a:gd name="T2" fmla="*/ 38 w 41"/>
                <a:gd name="T3" fmla="*/ 0 h 44"/>
                <a:gd name="T4" fmla="*/ 0 w 41"/>
                <a:gd name="T5" fmla="*/ 0 h 44"/>
                <a:gd name="T6" fmla="*/ 0 w 41"/>
                <a:gd name="T7" fmla="*/ 38 h 44"/>
                <a:gd name="T8" fmla="*/ 8 w 41"/>
                <a:gd name="T9" fmla="*/ 38 h 44"/>
                <a:gd name="T10" fmla="*/ 8 w 41"/>
                <a:gd name="T11" fmla="*/ 14 h 44"/>
                <a:gd name="T12" fmla="*/ 36 w 41"/>
                <a:gd name="T13" fmla="*/ 44 h 44"/>
                <a:gd name="T14" fmla="*/ 41 w 41"/>
                <a:gd name="T15" fmla="*/ 36 h 44"/>
                <a:gd name="T16" fmla="*/ 14 w 41"/>
                <a:gd name="T17" fmla="*/ 9 h 44"/>
                <a:gd name="T18" fmla="*/ 38 w 41"/>
                <a:gd name="T19" fmla="*/ 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4">
                  <a:moveTo>
                    <a:pt x="38" y="9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8" y="38"/>
                  </a:lnTo>
                  <a:lnTo>
                    <a:pt x="8" y="14"/>
                  </a:lnTo>
                  <a:lnTo>
                    <a:pt x="36" y="44"/>
                  </a:lnTo>
                  <a:lnTo>
                    <a:pt x="41" y="36"/>
                  </a:lnTo>
                  <a:lnTo>
                    <a:pt x="14" y="9"/>
                  </a:lnTo>
                  <a:lnTo>
                    <a:pt x="38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31E6C297-A7CB-4EB6-BD03-33DEF435A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" y="445"/>
              <a:ext cx="43" cy="44"/>
            </a:xfrm>
            <a:custGeom>
              <a:avLst/>
              <a:gdLst>
                <a:gd name="T0" fmla="*/ 3 w 43"/>
                <a:gd name="T1" fmla="*/ 0 h 44"/>
                <a:gd name="T2" fmla="*/ 3 w 43"/>
                <a:gd name="T3" fmla="*/ 9 h 44"/>
                <a:gd name="T4" fmla="*/ 27 w 43"/>
                <a:gd name="T5" fmla="*/ 9 h 44"/>
                <a:gd name="T6" fmla="*/ 0 w 43"/>
                <a:gd name="T7" fmla="*/ 36 h 44"/>
                <a:gd name="T8" fmla="*/ 8 w 43"/>
                <a:gd name="T9" fmla="*/ 44 h 44"/>
                <a:gd name="T10" fmla="*/ 35 w 43"/>
                <a:gd name="T11" fmla="*/ 14 h 44"/>
                <a:gd name="T12" fmla="*/ 35 w 43"/>
                <a:gd name="T13" fmla="*/ 38 h 44"/>
                <a:gd name="T14" fmla="*/ 43 w 43"/>
                <a:gd name="T15" fmla="*/ 38 h 44"/>
                <a:gd name="T16" fmla="*/ 43 w 43"/>
                <a:gd name="T17" fmla="*/ 0 h 44"/>
                <a:gd name="T18" fmla="*/ 3 w 4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3" y="0"/>
                  </a:moveTo>
                  <a:lnTo>
                    <a:pt x="3" y="9"/>
                  </a:lnTo>
                  <a:lnTo>
                    <a:pt x="27" y="9"/>
                  </a:lnTo>
                  <a:lnTo>
                    <a:pt x="0" y="36"/>
                  </a:lnTo>
                  <a:lnTo>
                    <a:pt x="8" y="44"/>
                  </a:lnTo>
                  <a:lnTo>
                    <a:pt x="35" y="14"/>
                  </a:lnTo>
                  <a:lnTo>
                    <a:pt x="35" y="38"/>
                  </a:lnTo>
                  <a:lnTo>
                    <a:pt x="43" y="38"/>
                  </a:lnTo>
                  <a:lnTo>
                    <a:pt x="4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653EA899-41C9-4F94-A0CA-8D2D3FC57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" y="690"/>
              <a:ext cx="43" cy="43"/>
            </a:xfrm>
            <a:custGeom>
              <a:avLst/>
              <a:gdLst>
                <a:gd name="T0" fmla="*/ 35 w 43"/>
                <a:gd name="T1" fmla="*/ 29 h 43"/>
                <a:gd name="T2" fmla="*/ 8 w 43"/>
                <a:gd name="T3" fmla="*/ 0 h 43"/>
                <a:gd name="T4" fmla="*/ 0 w 43"/>
                <a:gd name="T5" fmla="*/ 8 h 43"/>
                <a:gd name="T6" fmla="*/ 27 w 43"/>
                <a:gd name="T7" fmla="*/ 35 h 43"/>
                <a:gd name="T8" fmla="*/ 3 w 43"/>
                <a:gd name="T9" fmla="*/ 35 h 43"/>
                <a:gd name="T10" fmla="*/ 3 w 43"/>
                <a:gd name="T11" fmla="*/ 43 h 43"/>
                <a:gd name="T12" fmla="*/ 43 w 43"/>
                <a:gd name="T13" fmla="*/ 43 h 43"/>
                <a:gd name="T14" fmla="*/ 43 w 43"/>
                <a:gd name="T15" fmla="*/ 5 h 43"/>
                <a:gd name="T16" fmla="*/ 35 w 43"/>
                <a:gd name="T17" fmla="*/ 5 h 43"/>
                <a:gd name="T18" fmla="*/ 35 w 43"/>
                <a:gd name="T1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35" y="29"/>
                  </a:moveTo>
                  <a:lnTo>
                    <a:pt x="8" y="0"/>
                  </a:lnTo>
                  <a:lnTo>
                    <a:pt x="0" y="8"/>
                  </a:lnTo>
                  <a:lnTo>
                    <a:pt x="27" y="35"/>
                  </a:lnTo>
                  <a:lnTo>
                    <a:pt x="3" y="35"/>
                  </a:lnTo>
                  <a:lnTo>
                    <a:pt x="3" y="43"/>
                  </a:lnTo>
                  <a:lnTo>
                    <a:pt x="43" y="43"/>
                  </a:lnTo>
                  <a:lnTo>
                    <a:pt x="43" y="5"/>
                  </a:lnTo>
                  <a:lnTo>
                    <a:pt x="35" y="5"/>
                  </a:lnTo>
                  <a:lnTo>
                    <a:pt x="35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7">
            <a:extLst>
              <a:ext uri="{FF2B5EF4-FFF2-40B4-BE49-F238E27FC236}">
                <a16:creationId xmlns:a16="http://schemas.microsoft.com/office/drawing/2014/main" id="{A336C9BF-F1E6-43D1-8C29-7EF84EB419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924" y="327819"/>
            <a:ext cx="758825" cy="758825"/>
            <a:chOff x="1061" y="326"/>
            <a:chExt cx="478" cy="478"/>
          </a:xfrm>
        </p:grpSpPr>
        <p:sp>
          <p:nvSpPr>
            <p:cNvPr id="20" name="AutoShape 16">
              <a:extLst>
                <a:ext uri="{FF2B5EF4-FFF2-40B4-BE49-F238E27FC236}">
                  <a16:creationId xmlns:a16="http://schemas.microsoft.com/office/drawing/2014/main" id="{55D34248-85FE-4366-8C49-99CA7C0709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61" y="32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1F621525-0A42-4BBC-B51A-3B5FD8A09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3" y="328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3 h 194"/>
                <a:gd name="T12" fmla="*/ 97 w 194"/>
                <a:gd name="T13" fmla="*/ 190 h 194"/>
                <a:gd name="T14" fmla="*/ 32 w 194"/>
                <a:gd name="T15" fmla="*/ 163 h 194"/>
                <a:gd name="T16" fmla="*/ 5 w 194"/>
                <a:gd name="T17" fmla="*/ 97 h 194"/>
                <a:gd name="T18" fmla="*/ 32 w 194"/>
                <a:gd name="T19" fmla="*/ 31 h 194"/>
                <a:gd name="T20" fmla="*/ 97 w 194"/>
                <a:gd name="T21" fmla="*/ 4 h 194"/>
                <a:gd name="T22" fmla="*/ 162 w 194"/>
                <a:gd name="T23" fmla="*/ 31 h 194"/>
                <a:gd name="T24" fmla="*/ 189 w 194"/>
                <a:gd name="T25" fmla="*/ 97 h 194"/>
                <a:gd name="T26" fmla="*/ 162 w 194"/>
                <a:gd name="T27" fmla="*/ 16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3"/>
                  </a:moveTo>
                  <a:cubicBezTo>
                    <a:pt x="145" y="180"/>
                    <a:pt x="122" y="190"/>
                    <a:pt x="97" y="190"/>
                  </a:cubicBezTo>
                  <a:cubicBezTo>
                    <a:pt x="72" y="190"/>
                    <a:pt x="49" y="180"/>
                    <a:pt x="32" y="163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1"/>
                  </a:cubicBezTo>
                  <a:cubicBezTo>
                    <a:pt x="49" y="14"/>
                    <a:pt x="72" y="4"/>
                    <a:pt x="97" y="4"/>
                  </a:cubicBezTo>
                  <a:cubicBezTo>
                    <a:pt x="122" y="4"/>
                    <a:pt x="145" y="14"/>
                    <a:pt x="162" y="31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3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78BAA5A5-20AF-4CA4-85D2-E431EAD79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8" y="461"/>
              <a:ext cx="167" cy="203"/>
            </a:xfrm>
            <a:custGeom>
              <a:avLst/>
              <a:gdLst>
                <a:gd name="T0" fmla="*/ 34 w 68"/>
                <a:gd name="T1" fmla="*/ 44 h 83"/>
                <a:gd name="T2" fmla="*/ 3 w 68"/>
                <a:gd name="T3" fmla="*/ 33 h 83"/>
                <a:gd name="T4" fmla="*/ 3 w 68"/>
                <a:gd name="T5" fmla="*/ 20 h 83"/>
                <a:gd name="T6" fmla="*/ 34 w 68"/>
                <a:gd name="T7" fmla="*/ 28 h 83"/>
                <a:gd name="T8" fmla="*/ 65 w 68"/>
                <a:gd name="T9" fmla="*/ 20 h 83"/>
                <a:gd name="T10" fmla="*/ 65 w 68"/>
                <a:gd name="T11" fmla="*/ 33 h 83"/>
                <a:gd name="T12" fmla="*/ 34 w 68"/>
                <a:gd name="T13" fmla="*/ 44 h 83"/>
                <a:gd name="T14" fmla="*/ 34 w 68"/>
                <a:gd name="T15" fmla="*/ 62 h 83"/>
                <a:gd name="T16" fmla="*/ 3 w 68"/>
                <a:gd name="T17" fmla="*/ 51 h 83"/>
                <a:gd name="T18" fmla="*/ 3 w 68"/>
                <a:gd name="T19" fmla="*/ 39 h 83"/>
                <a:gd name="T20" fmla="*/ 34 w 68"/>
                <a:gd name="T21" fmla="*/ 47 h 83"/>
                <a:gd name="T22" fmla="*/ 65 w 68"/>
                <a:gd name="T23" fmla="*/ 39 h 83"/>
                <a:gd name="T24" fmla="*/ 65 w 68"/>
                <a:gd name="T25" fmla="*/ 51 h 83"/>
                <a:gd name="T26" fmla="*/ 34 w 68"/>
                <a:gd name="T27" fmla="*/ 62 h 83"/>
                <a:gd name="T28" fmla="*/ 34 w 68"/>
                <a:gd name="T29" fmla="*/ 80 h 83"/>
                <a:gd name="T30" fmla="*/ 3 w 68"/>
                <a:gd name="T31" fmla="*/ 70 h 83"/>
                <a:gd name="T32" fmla="*/ 3 w 68"/>
                <a:gd name="T33" fmla="*/ 57 h 83"/>
                <a:gd name="T34" fmla="*/ 34 w 68"/>
                <a:gd name="T35" fmla="*/ 65 h 83"/>
                <a:gd name="T36" fmla="*/ 65 w 68"/>
                <a:gd name="T37" fmla="*/ 57 h 83"/>
                <a:gd name="T38" fmla="*/ 65 w 68"/>
                <a:gd name="T39" fmla="*/ 70 h 83"/>
                <a:gd name="T40" fmla="*/ 34 w 68"/>
                <a:gd name="T41" fmla="*/ 80 h 83"/>
                <a:gd name="T42" fmla="*/ 34 w 68"/>
                <a:gd name="T43" fmla="*/ 4 h 83"/>
                <a:gd name="T44" fmla="*/ 65 w 68"/>
                <a:gd name="T45" fmla="*/ 14 h 83"/>
                <a:gd name="T46" fmla="*/ 34 w 68"/>
                <a:gd name="T47" fmla="*/ 25 h 83"/>
                <a:gd name="T48" fmla="*/ 3 w 68"/>
                <a:gd name="T49" fmla="*/ 14 h 83"/>
                <a:gd name="T50" fmla="*/ 34 w 68"/>
                <a:gd name="T51" fmla="*/ 4 h 83"/>
                <a:gd name="T52" fmla="*/ 34 w 68"/>
                <a:gd name="T53" fmla="*/ 0 h 83"/>
                <a:gd name="T54" fmla="*/ 0 w 68"/>
                <a:gd name="T55" fmla="*/ 14 h 83"/>
                <a:gd name="T56" fmla="*/ 0 w 68"/>
                <a:gd name="T57" fmla="*/ 70 h 83"/>
                <a:gd name="T58" fmla="*/ 34 w 68"/>
                <a:gd name="T59" fmla="*/ 83 h 83"/>
                <a:gd name="T60" fmla="*/ 68 w 68"/>
                <a:gd name="T61" fmla="*/ 70 h 83"/>
                <a:gd name="T62" fmla="*/ 68 w 68"/>
                <a:gd name="T63" fmla="*/ 14 h 83"/>
                <a:gd name="T64" fmla="*/ 34 w 68"/>
                <a:gd name="T6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" h="83">
                  <a:moveTo>
                    <a:pt x="34" y="44"/>
                  </a:moveTo>
                  <a:cubicBezTo>
                    <a:pt x="16" y="44"/>
                    <a:pt x="3" y="38"/>
                    <a:pt x="3" y="3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8" y="25"/>
                    <a:pt x="20" y="28"/>
                    <a:pt x="34" y="28"/>
                  </a:cubicBezTo>
                  <a:cubicBezTo>
                    <a:pt x="48" y="28"/>
                    <a:pt x="60" y="25"/>
                    <a:pt x="65" y="20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8"/>
                    <a:pt x="52" y="44"/>
                    <a:pt x="34" y="44"/>
                  </a:cubicBezTo>
                  <a:moveTo>
                    <a:pt x="34" y="62"/>
                  </a:moveTo>
                  <a:cubicBezTo>
                    <a:pt x="16" y="62"/>
                    <a:pt x="3" y="56"/>
                    <a:pt x="3" y="5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8" y="44"/>
                    <a:pt x="20" y="47"/>
                    <a:pt x="34" y="47"/>
                  </a:cubicBezTo>
                  <a:cubicBezTo>
                    <a:pt x="48" y="47"/>
                    <a:pt x="60" y="44"/>
                    <a:pt x="65" y="39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6"/>
                    <a:pt x="52" y="62"/>
                    <a:pt x="34" y="62"/>
                  </a:cubicBezTo>
                  <a:moveTo>
                    <a:pt x="34" y="80"/>
                  </a:moveTo>
                  <a:cubicBezTo>
                    <a:pt x="16" y="80"/>
                    <a:pt x="3" y="75"/>
                    <a:pt x="3" y="70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8" y="62"/>
                    <a:pt x="20" y="65"/>
                    <a:pt x="34" y="65"/>
                  </a:cubicBezTo>
                  <a:cubicBezTo>
                    <a:pt x="48" y="65"/>
                    <a:pt x="60" y="62"/>
                    <a:pt x="65" y="57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5"/>
                    <a:pt x="52" y="80"/>
                    <a:pt x="34" y="80"/>
                  </a:cubicBezTo>
                  <a:moveTo>
                    <a:pt x="34" y="4"/>
                  </a:moveTo>
                  <a:cubicBezTo>
                    <a:pt x="52" y="4"/>
                    <a:pt x="65" y="9"/>
                    <a:pt x="65" y="14"/>
                  </a:cubicBezTo>
                  <a:cubicBezTo>
                    <a:pt x="65" y="19"/>
                    <a:pt x="52" y="25"/>
                    <a:pt x="34" y="25"/>
                  </a:cubicBezTo>
                  <a:cubicBezTo>
                    <a:pt x="16" y="25"/>
                    <a:pt x="3" y="19"/>
                    <a:pt x="3" y="14"/>
                  </a:cubicBezTo>
                  <a:cubicBezTo>
                    <a:pt x="3" y="9"/>
                    <a:pt x="16" y="4"/>
                    <a:pt x="34" y="4"/>
                  </a:cubicBezTo>
                  <a:moveTo>
                    <a:pt x="34" y="0"/>
                  </a:moveTo>
                  <a:cubicBezTo>
                    <a:pt x="15" y="0"/>
                    <a:pt x="0" y="6"/>
                    <a:pt x="0" y="14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7"/>
                    <a:pt x="15" y="83"/>
                    <a:pt x="34" y="83"/>
                  </a:cubicBezTo>
                  <a:cubicBezTo>
                    <a:pt x="53" y="83"/>
                    <a:pt x="68" y="77"/>
                    <a:pt x="68" y="70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6"/>
                    <a:pt x="53" y="0"/>
                    <a:pt x="3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id="{4F03519F-9C44-4704-AF4F-DCC4E04A9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8" y="532"/>
              <a:ext cx="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:a16="http://schemas.microsoft.com/office/drawing/2014/main" id="{48015F07-53DE-4FDB-BC87-DC673405E7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8" y="576"/>
              <a:ext cx="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:a16="http://schemas.microsoft.com/office/drawing/2014/main" id="{2870F79A-00EC-4FF1-845E-BD8948E96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8" y="623"/>
              <a:ext cx="9" cy="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9100E532-4F7A-467F-B158-61EF1C825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" y="436"/>
              <a:ext cx="40" cy="40"/>
            </a:xfrm>
            <a:custGeom>
              <a:avLst/>
              <a:gdLst>
                <a:gd name="T0" fmla="*/ 35 w 40"/>
                <a:gd name="T1" fmla="*/ 8 h 40"/>
                <a:gd name="T2" fmla="*/ 35 w 40"/>
                <a:gd name="T3" fmla="*/ 0 h 40"/>
                <a:gd name="T4" fmla="*/ 0 w 40"/>
                <a:gd name="T5" fmla="*/ 0 h 40"/>
                <a:gd name="T6" fmla="*/ 0 w 40"/>
                <a:gd name="T7" fmla="*/ 35 h 40"/>
                <a:gd name="T8" fmla="*/ 8 w 40"/>
                <a:gd name="T9" fmla="*/ 35 h 40"/>
                <a:gd name="T10" fmla="*/ 8 w 40"/>
                <a:gd name="T11" fmla="*/ 13 h 40"/>
                <a:gd name="T12" fmla="*/ 32 w 40"/>
                <a:gd name="T13" fmla="*/ 40 h 40"/>
                <a:gd name="T14" fmla="*/ 40 w 40"/>
                <a:gd name="T15" fmla="*/ 32 h 40"/>
                <a:gd name="T16" fmla="*/ 13 w 40"/>
                <a:gd name="T17" fmla="*/ 8 h 40"/>
                <a:gd name="T18" fmla="*/ 35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35" y="8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8" y="35"/>
                  </a:lnTo>
                  <a:lnTo>
                    <a:pt x="8" y="13"/>
                  </a:lnTo>
                  <a:lnTo>
                    <a:pt x="32" y="40"/>
                  </a:lnTo>
                  <a:lnTo>
                    <a:pt x="40" y="32"/>
                  </a:lnTo>
                  <a:lnTo>
                    <a:pt x="13" y="8"/>
                  </a:lnTo>
                  <a:lnTo>
                    <a:pt x="35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4A68D43B-1955-42C8-B280-636DE97B9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" y="657"/>
              <a:ext cx="40" cy="39"/>
            </a:xfrm>
            <a:custGeom>
              <a:avLst/>
              <a:gdLst>
                <a:gd name="T0" fmla="*/ 32 w 40"/>
                <a:gd name="T1" fmla="*/ 0 h 39"/>
                <a:gd name="T2" fmla="*/ 8 w 40"/>
                <a:gd name="T3" fmla="*/ 27 h 39"/>
                <a:gd name="T4" fmla="*/ 8 w 40"/>
                <a:gd name="T5" fmla="*/ 5 h 39"/>
                <a:gd name="T6" fmla="*/ 0 w 40"/>
                <a:gd name="T7" fmla="*/ 5 h 39"/>
                <a:gd name="T8" fmla="*/ 0 w 40"/>
                <a:gd name="T9" fmla="*/ 39 h 39"/>
                <a:gd name="T10" fmla="*/ 35 w 40"/>
                <a:gd name="T11" fmla="*/ 39 h 39"/>
                <a:gd name="T12" fmla="*/ 35 w 40"/>
                <a:gd name="T13" fmla="*/ 32 h 39"/>
                <a:gd name="T14" fmla="*/ 13 w 40"/>
                <a:gd name="T15" fmla="*/ 32 h 39"/>
                <a:gd name="T16" fmla="*/ 40 w 40"/>
                <a:gd name="T17" fmla="*/ 7 h 39"/>
                <a:gd name="T18" fmla="*/ 32 w 40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9">
                  <a:moveTo>
                    <a:pt x="32" y="0"/>
                  </a:moveTo>
                  <a:lnTo>
                    <a:pt x="8" y="27"/>
                  </a:lnTo>
                  <a:lnTo>
                    <a:pt x="8" y="5"/>
                  </a:lnTo>
                  <a:lnTo>
                    <a:pt x="0" y="5"/>
                  </a:lnTo>
                  <a:lnTo>
                    <a:pt x="0" y="39"/>
                  </a:lnTo>
                  <a:lnTo>
                    <a:pt x="35" y="39"/>
                  </a:lnTo>
                  <a:lnTo>
                    <a:pt x="35" y="32"/>
                  </a:lnTo>
                  <a:lnTo>
                    <a:pt x="13" y="32"/>
                  </a:lnTo>
                  <a:lnTo>
                    <a:pt x="40" y="7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65BDBA7F-8BB0-48B7-ACF9-546E4F2F1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657"/>
              <a:ext cx="39" cy="39"/>
            </a:xfrm>
            <a:custGeom>
              <a:avLst/>
              <a:gdLst>
                <a:gd name="T0" fmla="*/ 32 w 39"/>
                <a:gd name="T1" fmla="*/ 27 h 39"/>
                <a:gd name="T2" fmla="*/ 7 w 39"/>
                <a:gd name="T3" fmla="*/ 0 h 39"/>
                <a:gd name="T4" fmla="*/ 0 w 39"/>
                <a:gd name="T5" fmla="*/ 7 h 39"/>
                <a:gd name="T6" fmla="*/ 27 w 39"/>
                <a:gd name="T7" fmla="*/ 32 h 39"/>
                <a:gd name="T8" fmla="*/ 5 w 39"/>
                <a:gd name="T9" fmla="*/ 32 h 39"/>
                <a:gd name="T10" fmla="*/ 5 w 39"/>
                <a:gd name="T11" fmla="*/ 39 h 39"/>
                <a:gd name="T12" fmla="*/ 39 w 39"/>
                <a:gd name="T13" fmla="*/ 39 h 39"/>
                <a:gd name="T14" fmla="*/ 39 w 39"/>
                <a:gd name="T15" fmla="*/ 5 h 39"/>
                <a:gd name="T16" fmla="*/ 32 w 39"/>
                <a:gd name="T17" fmla="*/ 5 h 39"/>
                <a:gd name="T18" fmla="*/ 32 w 39"/>
                <a:gd name="T19" fmla="*/ 2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9">
                  <a:moveTo>
                    <a:pt x="32" y="27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27" y="32"/>
                  </a:lnTo>
                  <a:lnTo>
                    <a:pt x="5" y="32"/>
                  </a:lnTo>
                  <a:lnTo>
                    <a:pt x="5" y="39"/>
                  </a:lnTo>
                  <a:lnTo>
                    <a:pt x="39" y="39"/>
                  </a:lnTo>
                  <a:lnTo>
                    <a:pt x="39" y="5"/>
                  </a:lnTo>
                  <a:lnTo>
                    <a:pt x="32" y="5"/>
                  </a:lnTo>
                  <a:lnTo>
                    <a:pt x="32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A2E42A1E-3F29-48AB-8742-2C6621710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436"/>
              <a:ext cx="39" cy="40"/>
            </a:xfrm>
            <a:custGeom>
              <a:avLst/>
              <a:gdLst>
                <a:gd name="T0" fmla="*/ 5 w 39"/>
                <a:gd name="T1" fmla="*/ 0 h 40"/>
                <a:gd name="T2" fmla="*/ 5 w 39"/>
                <a:gd name="T3" fmla="*/ 8 h 40"/>
                <a:gd name="T4" fmla="*/ 27 w 39"/>
                <a:gd name="T5" fmla="*/ 8 h 40"/>
                <a:gd name="T6" fmla="*/ 0 w 39"/>
                <a:gd name="T7" fmla="*/ 32 h 40"/>
                <a:gd name="T8" fmla="*/ 7 w 39"/>
                <a:gd name="T9" fmla="*/ 40 h 40"/>
                <a:gd name="T10" fmla="*/ 32 w 39"/>
                <a:gd name="T11" fmla="*/ 13 h 40"/>
                <a:gd name="T12" fmla="*/ 32 w 39"/>
                <a:gd name="T13" fmla="*/ 35 h 40"/>
                <a:gd name="T14" fmla="*/ 39 w 39"/>
                <a:gd name="T15" fmla="*/ 35 h 40"/>
                <a:gd name="T16" fmla="*/ 39 w 39"/>
                <a:gd name="T17" fmla="*/ 0 h 40"/>
                <a:gd name="T18" fmla="*/ 5 w 39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0">
                  <a:moveTo>
                    <a:pt x="5" y="0"/>
                  </a:moveTo>
                  <a:lnTo>
                    <a:pt x="5" y="8"/>
                  </a:lnTo>
                  <a:lnTo>
                    <a:pt x="27" y="8"/>
                  </a:lnTo>
                  <a:lnTo>
                    <a:pt x="0" y="32"/>
                  </a:lnTo>
                  <a:lnTo>
                    <a:pt x="7" y="40"/>
                  </a:lnTo>
                  <a:lnTo>
                    <a:pt x="32" y="13"/>
                  </a:lnTo>
                  <a:lnTo>
                    <a:pt x="32" y="35"/>
                  </a:lnTo>
                  <a:lnTo>
                    <a:pt x="39" y="35"/>
                  </a:lnTo>
                  <a:lnTo>
                    <a:pt x="3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29">
            <a:extLst>
              <a:ext uri="{FF2B5EF4-FFF2-40B4-BE49-F238E27FC236}">
                <a16:creationId xmlns:a16="http://schemas.microsoft.com/office/drawing/2014/main" id="{10137A01-A31C-46EA-8597-0BFBFCF1EC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1055" y="286544"/>
            <a:ext cx="841375" cy="841375"/>
            <a:chOff x="1700" y="325"/>
            <a:chExt cx="530" cy="530"/>
          </a:xfrm>
        </p:grpSpPr>
        <p:sp>
          <p:nvSpPr>
            <p:cNvPr id="35" name="AutoShape 28">
              <a:extLst>
                <a:ext uri="{FF2B5EF4-FFF2-40B4-BE49-F238E27FC236}">
                  <a16:creationId xmlns:a16="http://schemas.microsoft.com/office/drawing/2014/main" id="{E5E0D357-463C-4EAB-86E3-3C445C0A37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00" y="32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7EF8D8E7-57C9-4AB2-8E68-FA629F489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3" y="32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>
              <a:extLst>
                <a:ext uri="{FF2B5EF4-FFF2-40B4-BE49-F238E27FC236}">
                  <a16:creationId xmlns:a16="http://schemas.microsoft.com/office/drawing/2014/main" id="{13890CC1-EC52-4A4E-A39F-2C4FE76A1B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4" y="349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>
              <a:extLst>
                <a:ext uri="{FF2B5EF4-FFF2-40B4-BE49-F238E27FC236}">
                  <a16:creationId xmlns:a16="http://schemas.microsoft.com/office/drawing/2014/main" id="{C8725EE5-6237-4DF9-8BAB-957276BEF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3" y="393"/>
              <a:ext cx="288" cy="378"/>
            </a:xfrm>
            <a:custGeom>
              <a:avLst/>
              <a:gdLst>
                <a:gd name="T0" fmla="*/ 96 w 106"/>
                <a:gd name="T1" fmla="*/ 115 h 139"/>
                <a:gd name="T2" fmla="*/ 32 w 106"/>
                <a:gd name="T3" fmla="*/ 91 h 139"/>
                <a:gd name="T4" fmla="*/ 89 w 106"/>
                <a:gd name="T5" fmla="*/ 82 h 139"/>
                <a:gd name="T6" fmla="*/ 89 w 106"/>
                <a:gd name="T7" fmla="*/ 118 h 139"/>
                <a:gd name="T8" fmla="*/ 28 w 106"/>
                <a:gd name="T9" fmla="*/ 130 h 139"/>
                <a:gd name="T10" fmla="*/ 35 w 106"/>
                <a:gd name="T11" fmla="*/ 133 h 139"/>
                <a:gd name="T12" fmla="*/ 10 w 106"/>
                <a:gd name="T13" fmla="*/ 76 h 139"/>
                <a:gd name="T14" fmla="*/ 16 w 106"/>
                <a:gd name="T15" fmla="*/ 78 h 139"/>
                <a:gd name="T16" fmla="*/ 26 w 106"/>
                <a:gd name="T17" fmla="*/ 98 h 139"/>
                <a:gd name="T18" fmla="*/ 29 w 106"/>
                <a:gd name="T19" fmla="*/ 88 h 139"/>
                <a:gd name="T20" fmla="*/ 29 w 106"/>
                <a:gd name="T21" fmla="*/ 92 h 139"/>
                <a:gd name="T22" fmla="*/ 55 w 106"/>
                <a:gd name="T23" fmla="*/ 57 h 139"/>
                <a:gd name="T24" fmla="*/ 28 w 106"/>
                <a:gd name="T25" fmla="*/ 57 h 139"/>
                <a:gd name="T26" fmla="*/ 30 w 106"/>
                <a:gd name="T27" fmla="*/ 23 h 139"/>
                <a:gd name="T28" fmla="*/ 37 w 106"/>
                <a:gd name="T29" fmla="*/ 16 h 139"/>
                <a:gd name="T30" fmla="*/ 35 w 106"/>
                <a:gd name="T31" fmla="*/ 40 h 139"/>
                <a:gd name="T32" fmla="*/ 32 w 106"/>
                <a:gd name="T33" fmla="*/ 49 h 139"/>
                <a:gd name="T34" fmla="*/ 50 w 106"/>
                <a:gd name="T35" fmla="*/ 33 h 139"/>
                <a:gd name="T36" fmla="*/ 57 w 106"/>
                <a:gd name="T37" fmla="*/ 3 h 139"/>
                <a:gd name="T38" fmla="*/ 55 w 106"/>
                <a:gd name="T39" fmla="*/ 33 h 139"/>
                <a:gd name="T40" fmla="*/ 52 w 106"/>
                <a:gd name="T41" fmla="*/ 54 h 139"/>
                <a:gd name="T42" fmla="*/ 86 w 106"/>
                <a:gd name="T43" fmla="*/ 57 h 139"/>
                <a:gd name="T44" fmla="*/ 64 w 106"/>
                <a:gd name="T45" fmla="*/ 78 h 139"/>
                <a:gd name="T46" fmla="*/ 66 w 106"/>
                <a:gd name="T47" fmla="*/ 33 h 139"/>
                <a:gd name="T48" fmla="*/ 73 w 106"/>
                <a:gd name="T49" fmla="*/ 12 h 139"/>
                <a:gd name="T50" fmla="*/ 71 w 106"/>
                <a:gd name="T51" fmla="*/ 33 h 139"/>
                <a:gd name="T52" fmla="*/ 68 w 106"/>
                <a:gd name="T53" fmla="*/ 54 h 139"/>
                <a:gd name="T54" fmla="*/ 86 w 106"/>
                <a:gd name="T55" fmla="*/ 39 h 139"/>
                <a:gd name="T56" fmla="*/ 85 w 106"/>
                <a:gd name="T57" fmla="*/ 25 h 139"/>
                <a:gd name="T58" fmla="*/ 91 w 106"/>
                <a:gd name="T59" fmla="*/ 39 h 139"/>
                <a:gd name="T60" fmla="*/ 90 w 106"/>
                <a:gd name="T61" fmla="*/ 54 h 139"/>
                <a:gd name="T62" fmla="*/ 92 w 106"/>
                <a:gd name="T63" fmla="*/ 101 h 139"/>
                <a:gd name="T64" fmla="*/ 97 w 106"/>
                <a:gd name="T65" fmla="*/ 104 h 139"/>
                <a:gd name="T66" fmla="*/ 96 w 106"/>
                <a:gd name="T67" fmla="*/ 54 h 139"/>
                <a:gd name="T68" fmla="*/ 92 w 106"/>
                <a:gd name="T69" fmla="*/ 43 h 139"/>
                <a:gd name="T70" fmla="*/ 94 w 106"/>
                <a:gd name="T71" fmla="*/ 32 h 139"/>
                <a:gd name="T72" fmla="*/ 82 w 106"/>
                <a:gd name="T73" fmla="*/ 33 h 139"/>
                <a:gd name="T74" fmla="*/ 83 w 106"/>
                <a:gd name="T75" fmla="*/ 52 h 139"/>
                <a:gd name="T76" fmla="*/ 74 w 106"/>
                <a:gd name="T77" fmla="*/ 37 h 139"/>
                <a:gd name="T78" fmla="*/ 76 w 106"/>
                <a:gd name="T79" fmla="*/ 19 h 139"/>
                <a:gd name="T80" fmla="*/ 63 w 106"/>
                <a:gd name="T81" fmla="*/ 20 h 139"/>
                <a:gd name="T82" fmla="*/ 65 w 106"/>
                <a:gd name="T83" fmla="*/ 52 h 139"/>
                <a:gd name="T84" fmla="*/ 58 w 106"/>
                <a:gd name="T85" fmla="*/ 54 h 139"/>
                <a:gd name="T86" fmla="*/ 59 w 106"/>
                <a:gd name="T87" fmla="*/ 35 h 139"/>
                <a:gd name="T88" fmla="*/ 47 w 106"/>
                <a:gd name="T89" fmla="*/ 0 h 139"/>
                <a:gd name="T90" fmla="*/ 49 w 106"/>
                <a:gd name="T91" fmla="*/ 35 h 139"/>
                <a:gd name="T92" fmla="*/ 38 w 106"/>
                <a:gd name="T93" fmla="*/ 54 h 139"/>
                <a:gd name="T94" fmla="*/ 40 w 106"/>
                <a:gd name="T95" fmla="*/ 35 h 139"/>
                <a:gd name="T96" fmla="*/ 27 w 106"/>
                <a:gd name="T97" fmla="*/ 9 h 139"/>
                <a:gd name="T98" fmla="*/ 29 w 106"/>
                <a:gd name="T99" fmla="*/ 35 h 139"/>
                <a:gd name="T100" fmla="*/ 25 w 106"/>
                <a:gd name="T101" fmla="*/ 54 h 139"/>
                <a:gd name="T102" fmla="*/ 0 w 106"/>
                <a:gd name="T103" fmla="*/ 70 h 139"/>
                <a:gd name="T104" fmla="*/ 28 w 106"/>
                <a:gd name="T105" fmla="*/ 101 h 139"/>
                <a:gd name="T106" fmla="*/ 25 w 106"/>
                <a:gd name="T107" fmla="*/ 121 h 139"/>
                <a:gd name="T108" fmla="*/ 96 w 106"/>
                <a:gd name="T109" fmla="*/ 133 h 139"/>
                <a:gd name="T110" fmla="*/ 101 w 106"/>
                <a:gd name="T111" fmla="*/ 11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6" h="139">
                  <a:moveTo>
                    <a:pt x="96" y="115"/>
                  </a:moveTo>
                  <a:cubicBezTo>
                    <a:pt x="92" y="115"/>
                    <a:pt x="92" y="115"/>
                    <a:pt x="92" y="115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96" y="107"/>
                    <a:pt x="96" y="107"/>
                    <a:pt x="96" y="107"/>
                  </a:cubicBezTo>
                  <a:lnTo>
                    <a:pt x="96" y="115"/>
                  </a:lnTo>
                  <a:close/>
                  <a:moveTo>
                    <a:pt x="89" y="121"/>
                  </a:moveTo>
                  <a:cubicBezTo>
                    <a:pt x="32" y="121"/>
                    <a:pt x="32" y="121"/>
                    <a:pt x="32" y="121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89" y="115"/>
                    <a:pt x="89" y="115"/>
                    <a:pt x="89" y="115"/>
                  </a:cubicBezTo>
                  <a:cubicBezTo>
                    <a:pt x="89" y="118"/>
                    <a:pt x="89" y="118"/>
                    <a:pt x="89" y="118"/>
                  </a:cubicBezTo>
                  <a:lnTo>
                    <a:pt x="89" y="121"/>
                  </a:lnTo>
                  <a:close/>
                  <a:moveTo>
                    <a:pt x="93" y="124"/>
                  </a:moveTo>
                  <a:cubicBezTo>
                    <a:pt x="93" y="130"/>
                    <a:pt x="93" y="130"/>
                    <a:pt x="93" y="130"/>
                  </a:cubicBezTo>
                  <a:cubicBezTo>
                    <a:pt x="86" y="130"/>
                    <a:pt x="86" y="130"/>
                    <a:pt x="86" y="130"/>
                  </a:cubicBezTo>
                  <a:cubicBezTo>
                    <a:pt x="35" y="130"/>
                    <a:pt x="35" y="130"/>
                    <a:pt x="35" y="130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89" y="124"/>
                    <a:pt x="89" y="124"/>
                    <a:pt x="89" y="124"/>
                  </a:cubicBezTo>
                  <a:lnTo>
                    <a:pt x="93" y="124"/>
                  </a:lnTo>
                  <a:close/>
                  <a:moveTo>
                    <a:pt x="86" y="136"/>
                  </a:moveTo>
                  <a:cubicBezTo>
                    <a:pt x="35" y="136"/>
                    <a:pt x="35" y="136"/>
                    <a:pt x="35" y="136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86" y="133"/>
                    <a:pt x="86" y="133"/>
                    <a:pt x="86" y="133"/>
                  </a:cubicBezTo>
                  <a:lnTo>
                    <a:pt x="86" y="136"/>
                  </a:lnTo>
                  <a:close/>
                  <a:moveTo>
                    <a:pt x="26" y="100"/>
                  </a:moveTo>
                  <a:cubicBezTo>
                    <a:pt x="11" y="83"/>
                    <a:pt x="11" y="83"/>
                    <a:pt x="11" y="83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6" y="98"/>
                    <a:pt x="26" y="98"/>
                    <a:pt x="26" y="98"/>
                  </a:cubicBezTo>
                  <a:lnTo>
                    <a:pt x="26" y="100"/>
                  </a:lnTo>
                  <a:close/>
                  <a:moveTo>
                    <a:pt x="29" y="87"/>
                  </a:moveTo>
                  <a:cubicBezTo>
                    <a:pt x="28" y="87"/>
                    <a:pt x="28" y="87"/>
                    <a:pt x="28" y="87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8"/>
                    <a:pt x="29" y="88"/>
                    <a:pt x="29" y="88"/>
                  </a:cubicBezTo>
                  <a:lnTo>
                    <a:pt x="29" y="87"/>
                  </a:lnTo>
                  <a:close/>
                  <a:moveTo>
                    <a:pt x="29" y="97"/>
                  </a:moveTo>
                  <a:cubicBezTo>
                    <a:pt x="28" y="97"/>
                    <a:pt x="28" y="97"/>
                    <a:pt x="28" y="97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7"/>
                    <a:pt x="29" y="97"/>
                    <a:pt x="29" y="97"/>
                  </a:cubicBezTo>
                  <a:close/>
                  <a:moveTo>
                    <a:pt x="28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7" y="57"/>
                    <a:pt x="57" y="57"/>
                    <a:pt x="57" y="5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28" y="77"/>
                    <a:pt x="28" y="77"/>
                    <a:pt x="28" y="77"/>
                  </a:cubicBezTo>
                  <a:lnTo>
                    <a:pt x="28" y="57"/>
                  </a:lnTo>
                  <a:close/>
                  <a:moveTo>
                    <a:pt x="30" y="49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30" y="49"/>
                  </a:lnTo>
                  <a:close/>
                  <a:moveTo>
                    <a:pt x="50" y="49"/>
                  </a:moveTo>
                  <a:cubicBezTo>
                    <a:pt x="50" y="40"/>
                    <a:pt x="50" y="40"/>
                    <a:pt x="50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2" y="49"/>
                    <a:pt x="52" y="49"/>
                    <a:pt x="52" y="49"/>
                  </a:cubicBezTo>
                  <a:lnTo>
                    <a:pt x="50" y="49"/>
                  </a:lnTo>
                  <a:close/>
                  <a:moveTo>
                    <a:pt x="64" y="57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78"/>
                    <a:pt x="64" y="78"/>
                    <a:pt x="64" y="78"/>
                  </a:cubicBezTo>
                  <a:lnTo>
                    <a:pt x="64" y="57"/>
                  </a:lnTo>
                  <a:close/>
                  <a:moveTo>
                    <a:pt x="66" y="49"/>
                  </a:moveTo>
                  <a:cubicBezTo>
                    <a:pt x="66" y="40"/>
                    <a:pt x="66" y="40"/>
                    <a:pt x="66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33"/>
                    <a:pt x="68" y="33"/>
                    <a:pt x="68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49"/>
                    <a:pt x="68" y="49"/>
                    <a:pt x="68" y="49"/>
                  </a:cubicBezTo>
                  <a:lnTo>
                    <a:pt x="66" y="49"/>
                  </a:lnTo>
                  <a:close/>
                  <a:moveTo>
                    <a:pt x="85" y="49"/>
                  </a:moveTo>
                  <a:cubicBezTo>
                    <a:pt x="85" y="46"/>
                    <a:pt x="85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49"/>
                    <a:pt x="86" y="49"/>
                    <a:pt x="86" y="49"/>
                  </a:cubicBezTo>
                  <a:lnTo>
                    <a:pt x="85" y="49"/>
                  </a:lnTo>
                  <a:close/>
                  <a:moveTo>
                    <a:pt x="94" y="104"/>
                  </a:moveTo>
                  <a:cubicBezTo>
                    <a:pt x="92" y="104"/>
                    <a:pt x="92" y="104"/>
                    <a:pt x="92" y="104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4" y="101"/>
                    <a:pt x="94" y="101"/>
                    <a:pt x="94" y="101"/>
                  </a:cubicBezTo>
                  <a:lnTo>
                    <a:pt x="94" y="104"/>
                  </a:lnTo>
                  <a:close/>
                  <a:moveTo>
                    <a:pt x="101" y="110"/>
                  </a:moveTo>
                  <a:cubicBezTo>
                    <a:pt x="99" y="110"/>
                    <a:pt x="99" y="110"/>
                    <a:pt x="99" y="110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97" y="104"/>
                    <a:pt x="97" y="104"/>
                    <a:pt x="97" y="104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2" y="98"/>
                    <a:pt x="92" y="98"/>
                    <a:pt x="92" y="98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89" y="139"/>
                    <a:pt x="89" y="139"/>
                    <a:pt x="89" y="139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6" y="121"/>
                    <a:pt x="96" y="121"/>
                    <a:pt x="96" y="121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99" y="113"/>
                    <a:pt x="99" y="113"/>
                    <a:pt x="99" y="113"/>
                  </a:cubicBezTo>
                  <a:cubicBezTo>
                    <a:pt x="101" y="113"/>
                    <a:pt x="101" y="113"/>
                    <a:pt x="101" y="113"/>
                  </a:cubicBezTo>
                  <a:cubicBezTo>
                    <a:pt x="101" y="113"/>
                    <a:pt x="103" y="113"/>
                    <a:pt x="103" y="115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6" y="111"/>
                    <a:pt x="103" y="110"/>
                    <a:pt x="101" y="1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35">
            <a:extLst>
              <a:ext uri="{FF2B5EF4-FFF2-40B4-BE49-F238E27FC236}">
                <a16:creationId xmlns:a16="http://schemas.microsoft.com/office/drawing/2014/main" id="{7E2CAB04-D718-4746-AB92-33397A9385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843" y="327819"/>
            <a:ext cx="758825" cy="758825"/>
            <a:chOff x="2101" y="357"/>
            <a:chExt cx="478" cy="478"/>
          </a:xfrm>
        </p:grpSpPr>
        <p:sp>
          <p:nvSpPr>
            <p:cNvPr id="40" name="AutoShape 34">
              <a:extLst>
                <a:ext uri="{FF2B5EF4-FFF2-40B4-BE49-F238E27FC236}">
                  <a16:creationId xmlns:a16="http://schemas.microsoft.com/office/drawing/2014/main" id="{13AFDE3C-6A19-4C8B-B0A6-F4962B5C4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01" y="35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40A36B98-65C0-4F4D-8F25-5E571F7CA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" y="359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3 h 194"/>
                <a:gd name="T12" fmla="*/ 97 w 194"/>
                <a:gd name="T13" fmla="*/ 190 h 194"/>
                <a:gd name="T14" fmla="*/ 32 w 194"/>
                <a:gd name="T15" fmla="*/ 163 h 194"/>
                <a:gd name="T16" fmla="*/ 5 w 194"/>
                <a:gd name="T17" fmla="*/ 97 h 194"/>
                <a:gd name="T18" fmla="*/ 32 w 194"/>
                <a:gd name="T19" fmla="*/ 31 h 194"/>
                <a:gd name="T20" fmla="*/ 97 w 194"/>
                <a:gd name="T21" fmla="*/ 4 h 194"/>
                <a:gd name="T22" fmla="*/ 162 w 194"/>
                <a:gd name="T23" fmla="*/ 31 h 194"/>
                <a:gd name="T24" fmla="*/ 189 w 194"/>
                <a:gd name="T25" fmla="*/ 97 h 194"/>
                <a:gd name="T26" fmla="*/ 162 w 194"/>
                <a:gd name="T27" fmla="*/ 16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3"/>
                  </a:moveTo>
                  <a:cubicBezTo>
                    <a:pt x="145" y="180"/>
                    <a:pt x="122" y="190"/>
                    <a:pt x="97" y="190"/>
                  </a:cubicBezTo>
                  <a:cubicBezTo>
                    <a:pt x="72" y="190"/>
                    <a:pt x="49" y="180"/>
                    <a:pt x="32" y="163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1"/>
                  </a:cubicBezTo>
                  <a:cubicBezTo>
                    <a:pt x="49" y="14"/>
                    <a:pt x="72" y="4"/>
                    <a:pt x="97" y="4"/>
                  </a:cubicBezTo>
                  <a:cubicBezTo>
                    <a:pt x="122" y="4"/>
                    <a:pt x="145" y="14"/>
                    <a:pt x="162" y="31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3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0671EE93-BC29-4A69-9BF7-5917A9CAA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418"/>
              <a:ext cx="260" cy="341"/>
            </a:xfrm>
            <a:custGeom>
              <a:avLst/>
              <a:gdLst>
                <a:gd name="T0" fmla="*/ 96 w 106"/>
                <a:gd name="T1" fmla="*/ 115 h 139"/>
                <a:gd name="T2" fmla="*/ 32 w 106"/>
                <a:gd name="T3" fmla="*/ 91 h 139"/>
                <a:gd name="T4" fmla="*/ 89 w 106"/>
                <a:gd name="T5" fmla="*/ 83 h 139"/>
                <a:gd name="T6" fmla="*/ 89 w 106"/>
                <a:gd name="T7" fmla="*/ 118 h 139"/>
                <a:gd name="T8" fmla="*/ 28 w 106"/>
                <a:gd name="T9" fmla="*/ 130 h 139"/>
                <a:gd name="T10" fmla="*/ 35 w 106"/>
                <a:gd name="T11" fmla="*/ 133 h 139"/>
                <a:gd name="T12" fmla="*/ 10 w 106"/>
                <a:gd name="T13" fmla="*/ 76 h 139"/>
                <a:gd name="T14" fmla="*/ 16 w 106"/>
                <a:gd name="T15" fmla="*/ 78 h 139"/>
                <a:gd name="T16" fmla="*/ 26 w 106"/>
                <a:gd name="T17" fmla="*/ 98 h 139"/>
                <a:gd name="T18" fmla="*/ 29 w 106"/>
                <a:gd name="T19" fmla="*/ 88 h 139"/>
                <a:gd name="T20" fmla="*/ 29 w 106"/>
                <a:gd name="T21" fmla="*/ 97 h 139"/>
                <a:gd name="T22" fmla="*/ 57 w 106"/>
                <a:gd name="T23" fmla="*/ 57 h 139"/>
                <a:gd name="T24" fmla="*/ 30 w 106"/>
                <a:gd name="T25" fmla="*/ 49 h 139"/>
                <a:gd name="T26" fmla="*/ 32 w 106"/>
                <a:gd name="T27" fmla="*/ 23 h 139"/>
                <a:gd name="T28" fmla="*/ 35 w 106"/>
                <a:gd name="T29" fmla="*/ 16 h 139"/>
                <a:gd name="T30" fmla="*/ 37 w 106"/>
                <a:gd name="T31" fmla="*/ 40 h 139"/>
                <a:gd name="T32" fmla="*/ 30 w 106"/>
                <a:gd name="T33" fmla="*/ 49 h 139"/>
                <a:gd name="T34" fmla="*/ 50 w 106"/>
                <a:gd name="T35" fmla="*/ 14 h 139"/>
                <a:gd name="T36" fmla="*/ 57 w 106"/>
                <a:gd name="T37" fmla="*/ 7 h 139"/>
                <a:gd name="T38" fmla="*/ 55 w 106"/>
                <a:gd name="T39" fmla="*/ 40 h 139"/>
                <a:gd name="T40" fmla="*/ 52 w 106"/>
                <a:gd name="T41" fmla="*/ 49 h 139"/>
                <a:gd name="T42" fmla="*/ 90 w 106"/>
                <a:gd name="T43" fmla="*/ 57 h 139"/>
                <a:gd name="T44" fmla="*/ 64 w 106"/>
                <a:gd name="T45" fmla="*/ 57 h 139"/>
                <a:gd name="T46" fmla="*/ 66 w 106"/>
                <a:gd name="T47" fmla="*/ 23 h 139"/>
                <a:gd name="T48" fmla="*/ 73 w 106"/>
                <a:gd name="T49" fmla="*/ 16 h 139"/>
                <a:gd name="T50" fmla="*/ 71 w 106"/>
                <a:gd name="T51" fmla="*/ 40 h 139"/>
                <a:gd name="T52" fmla="*/ 68 w 106"/>
                <a:gd name="T53" fmla="*/ 49 h 139"/>
                <a:gd name="T54" fmla="*/ 85 w 106"/>
                <a:gd name="T55" fmla="*/ 39 h 139"/>
                <a:gd name="T56" fmla="*/ 91 w 106"/>
                <a:gd name="T57" fmla="*/ 25 h 139"/>
                <a:gd name="T58" fmla="*/ 90 w 106"/>
                <a:gd name="T59" fmla="*/ 39 h 139"/>
                <a:gd name="T60" fmla="*/ 86 w 106"/>
                <a:gd name="T61" fmla="*/ 54 h 139"/>
                <a:gd name="T62" fmla="*/ 94 w 106"/>
                <a:gd name="T63" fmla="*/ 101 h 139"/>
                <a:gd name="T64" fmla="*/ 97 w 106"/>
                <a:gd name="T65" fmla="*/ 98 h 139"/>
                <a:gd name="T66" fmla="*/ 94 w 106"/>
                <a:gd name="T67" fmla="*/ 54 h 139"/>
                <a:gd name="T68" fmla="*/ 93 w 106"/>
                <a:gd name="T69" fmla="*/ 42 h 139"/>
                <a:gd name="T70" fmla="*/ 94 w 106"/>
                <a:gd name="T71" fmla="*/ 22 h 139"/>
                <a:gd name="T72" fmla="*/ 82 w 106"/>
                <a:gd name="T73" fmla="*/ 42 h 139"/>
                <a:gd name="T74" fmla="*/ 83 w 106"/>
                <a:gd name="T75" fmla="*/ 54 h 139"/>
                <a:gd name="T76" fmla="*/ 74 w 106"/>
                <a:gd name="T77" fmla="*/ 36 h 139"/>
                <a:gd name="T78" fmla="*/ 76 w 106"/>
                <a:gd name="T79" fmla="*/ 9 h 139"/>
                <a:gd name="T80" fmla="*/ 63 w 106"/>
                <a:gd name="T81" fmla="*/ 36 h 139"/>
                <a:gd name="T82" fmla="*/ 65 w 106"/>
                <a:gd name="T83" fmla="*/ 54 h 139"/>
                <a:gd name="T84" fmla="*/ 58 w 106"/>
                <a:gd name="T85" fmla="*/ 52 h 139"/>
                <a:gd name="T86" fmla="*/ 59 w 106"/>
                <a:gd name="T87" fmla="*/ 11 h 139"/>
                <a:gd name="T88" fmla="*/ 47 w 106"/>
                <a:gd name="T89" fmla="*/ 10 h 139"/>
                <a:gd name="T90" fmla="*/ 49 w 106"/>
                <a:gd name="T91" fmla="*/ 37 h 139"/>
                <a:gd name="T92" fmla="*/ 38 w 106"/>
                <a:gd name="T93" fmla="*/ 52 h 139"/>
                <a:gd name="T94" fmla="*/ 40 w 106"/>
                <a:gd name="T95" fmla="*/ 20 h 139"/>
                <a:gd name="T96" fmla="*/ 27 w 106"/>
                <a:gd name="T97" fmla="*/ 19 h 139"/>
                <a:gd name="T98" fmla="*/ 29 w 106"/>
                <a:gd name="T99" fmla="*/ 37 h 139"/>
                <a:gd name="T100" fmla="*/ 25 w 106"/>
                <a:gd name="T101" fmla="*/ 78 h 139"/>
                <a:gd name="T102" fmla="*/ 7 w 106"/>
                <a:gd name="T103" fmla="*/ 83 h 139"/>
                <a:gd name="T104" fmla="*/ 29 w 106"/>
                <a:gd name="T105" fmla="*/ 101 h 139"/>
                <a:gd name="T106" fmla="*/ 25 w 106"/>
                <a:gd name="T107" fmla="*/ 133 h 139"/>
                <a:gd name="T108" fmla="*/ 96 w 106"/>
                <a:gd name="T109" fmla="*/ 121 h 139"/>
                <a:gd name="T110" fmla="*/ 103 w 106"/>
                <a:gd name="T111" fmla="*/ 1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6" h="139">
                  <a:moveTo>
                    <a:pt x="96" y="115"/>
                  </a:moveTo>
                  <a:cubicBezTo>
                    <a:pt x="92" y="115"/>
                    <a:pt x="92" y="115"/>
                    <a:pt x="92" y="115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96" y="107"/>
                    <a:pt x="96" y="107"/>
                    <a:pt x="96" y="107"/>
                  </a:cubicBezTo>
                  <a:lnTo>
                    <a:pt x="96" y="115"/>
                  </a:lnTo>
                  <a:close/>
                  <a:moveTo>
                    <a:pt x="89" y="121"/>
                  </a:moveTo>
                  <a:cubicBezTo>
                    <a:pt x="32" y="121"/>
                    <a:pt x="32" y="121"/>
                    <a:pt x="32" y="121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89" y="115"/>
                    <a:pt x="89" y="115"/>
                    <a:pt x="89" y="115"/>
                  </a:cubicBezTo>
                  <a:cubicBezTo>
                    <a:pt x="89" y="118"/>
                    <a:pt x="89" y="118"/>
                    <a:pt x="89" y="118"/>
                  </a:cubicBezTo>
                  <a:lnTo>
                    <a:pt x="89" y="121"/>
                  </a:lnTo>
                  <a:close/>
                  <a:moveTo>
                    <a:pt x="93" y="124"/>
                  </a:moveTo>
                  <a:cubicBezTo>
                    <a:pt x="93" y="130"/>
                    <a:pt x="93" y="130"/>
                    <a:pt x="93" y="130"/>
                  </a:cubicBezTo>
                  <a:cubicBezTo>
                    <a:pt x="86" y="130"/>
                    <a:pt x="86" y="130"/>
                    <a:pt x="86" y="130"/>
                  </a:cubicBezTo>
                  <a:cubicBezTo>
                    <a:pt x="35" y="130"/>
                    <a:pt x="35" y="130"/>
                    <a:pt x="35" y="130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89" y="124"/>
                    <a:pt x="89" y="124"/>
                    <a:pt x="89" y="124"/>
                  </a:cubicBezTo>
                  <a:lnTo>
                    <a:pt x="93" y="124"/>
                  </a:lnTo>
                  <a:close/>
                  <a:moveTo>
                    <a:pt x="86" y="136"/>
                  </a:moveTo>
                  <a:cubicBezTo>
                    <a:pt x="35" y="136"/>
                    <a:pt x="35" y="136"/>
                    <a:pt x="35" y="136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86" y="133"/>
                    <a:pt x="86" y="133"/>
                    <a:pt x="86" y="133"/>
                  </a:cubicBezTo>
                  <a:lnTo>
                    <a:pt x="86" y="136"/>
                  </a:lnTo>
                  <a:close/>
                  <a:moveTo>
                    <a:pt x="26" y="101"/>
                  </a:moveTo>
                  <a:cubicBezTo>
                    <a:pt x="11" y="83"/>
                    <a:pt x="11" y="83"/>
                    <a:pt x="11" y="83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6" y="98"/>
                    <a:pt x="26" y="98"/>
                    <a:pt x="26" y="98"/>
                  </a:cubicBezTo>
                  <a:lnTo>
                    <a:pt x="26" y="101"/>
                  </a:lnTo>
                  <a:close/>
                  <a:moveTo>
                    <a:pt x="29" y="88"/>
                  </a:moveTo>
                  <a:cubicBezTo>
                    <a:pt x="29" y="87"/>
                    <a:pt x="29" y="87"/>
                    <a:pt x="29" y="87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8"/>
                    <a:pt x="29" y="88"/>
                    <a:pt x="29" y="88"/>
                  </a:cubicBezTo>
                  <a:close/>
                  <a:moveTo>
                    <a:pt x="29" y="97"/>
                  </a:moveTo>
                  <a:cubicBezTo>
                    <a:pt x="29" y="97"/>
                    <a:pt x="29" y="97"/>
                    <a:pt x="29" y="97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7"/>
                    <a:pt x="29" y="97"/>
                    <a:pt x="29" y="97"/>
                  </a:cubicBezTo>
                  <a:close/>
                  <a:moveTo>
                    <a:pt x="28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7" y="57"/>
                    <a:pt x="57" y="57"/>
                    <a:pt x="57" y="5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28" y="77"/>
                    <a:pt x="28" y="77"/>
                    <a:pt x="28" y="77"/>
                  </a:cubicBezTo>
                  <a:lnTo>
                    <a:pt x="28" y="57"/>
                  </a:lnTo>
                  <a:close/>
                  <a:moveTo>
                    <a:pt x="30" y="49"/>
                  </a:moveTo>
                  <a:cubicBezTo>
                    <a:pt x="30" y="40"/>
                    <a:pt x="30" y="40"/>
                    <a:pt x="30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30" y="49"/>
                  </a:lnTo>
                  <a:close/>
                  <a:moveTo>
                    <a:pt x="50" y="49"/>
                  </a:moveTo>
                  <a:cubicBezTo>
                    <a:pt x="50" y="40"/>
                    <a:pt x="50" y="40"/>
                    <a:pt x="50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2" y="49"/>
                    <a:pt x="52" y="49"/>
                    <a:pt x="52" y="49"/>
                  </a:cubicBezTo>
                  <a:lnTo>
                    <a:pt x="50" y="49"/>
                  </a:lnTo>
                  <a:close/>
                  <a:moveTo>
                    <a:pt x="64" y="57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4" y="78"/>
                    <a:pt x="64" y="78"/>
                    <a:pt x="64" y="78"/>
                  </a:cubicBezTo>
                  <a:lnTo>
                    <a:pt x="64" y="57"/>
                  </a:lnTo>
                  <a:close/>
                  <a:moveTo>
                    <a:pt x="66" y="49"/>
                  </a:moveTo>
                  <a:cubicBezTo>
                    <a:pt x="66" y="40"/>
                    <a:pt x="66" y="40"/>
                    <a:pt x="66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33"/>
                    <a:pt x="68" y="33"/>
                    <a:pt x="68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49"/>
                    <a:pt x="68" y="49"/>
                    <a:pt x="68" y="49"/>
                  </a:cubicBezTo>
                  <a:lnTo>
                    <a:pt x="66" y="49"/>
                  </a:lnTo>
                  <a:close/>
                  <a:moveTo>
                    <a:pt x="85" y="49"/>
                  </a:moveTo>
                  <a:cubicBezTo>
                    <a:pt x="85" y="46"/>
                    <a:pt x="85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49"/>
                    <a:pt x="86" y="49"/>
                    <a:pt x="86" y="49"/>
                  </a:cubicBezTo>
                  <a:lnTo>
                    <a:pt x="85" y="49"/>
                  </a:lnTo>
                  <a:close/>
                  <a:moveTo>
                    <a:pt x="94" y="104"/>
                  </a:moveTo>
                  <a:cubicBezTo>
                    <a:pt x="92" y="104"/>
                    <a:pt x="92" y="104"/>
                    <a:pt x="92" y="104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94" y="101"/>
                    <a:pt x="94" y="101"/>
                    <a:pt x="94" y="101"/>
                  </a:cubicBezTo>
                  <a:lnTo>
                    <a:pt x="94" y="104"/>
                  </a:lnTo>
                  <a:close/>
                  <a:moveTo>
                    <a:pt x="101" y="110"/>
                  </a:moveTo>
                  <a:cubicBezTo>
                    <a:pt x="99" y="110"/>
                    <a:pt x="99" y="110"/>
                    <a:pt x="99" y="110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97" y="104"/>
                    <a:pt x="97" y="104"/>
                    <a:pt x="97" y="104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2" y="98"/>
                    <a:pt x="92" y="98"/>
                    <a:pt x="92" y="98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89" y="139"/>
                    <a:pt x="89" y="139"/>
                    <a:pt x="89" y="139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6" y="121"/>
                    <a:pt x="96" y="121"/>
                    <a:pt x="96" y="121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99" y="113"/>
                    <a:pt x="99" y="113"/>
                    <a:pt x="99" y="113"/>
                  </a:cubicBezTo>
                  <a:cubicBezTo>
                    <a:pt x="101" y="113"/>
                    <a:pt x="101" y="113"/>
                    <a:pt x="101" y="113"/>
                  </a:cubicBezTo>
                  <a:cubicBezTo>
                    <a:pt x="101" y="113"/>
                    <a:pt x="103" y="113"/>
                    <a:pt x="103" y="115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6" y="111"/>
                    <a:pt x="103" y="110"/>
                    <a:pt x="101" y="1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0">
            <a:extLst>
              <a:ext uri="{FF2B5EF4-FFF2-40B4-BE49-F238E27FC236}">
                <a16:creationId xmlns:a16="http://schemas.microsoft.com/office/drawing/2014/main" id="{99214048-4B53-40CB-B660-AEC89E40ED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6906" y="292101"/>
            <a:ext cx="841375" cy="841375"/>
            <a:chOff x="3095" y="275"/>
            <a:chExt cx="530" cy="530"/>
          </a:xfrm>
        </p:grpSpPr>
        <p:sp>
          <p:nvSpPr>
            <p:cNvPr id="48" name="AutoShape 39">
              <a:extLst>
                <a:ext uri="{FF2B5EF4-FFF2-40B4-BE49-F238E27FC236}">
                  <a16:creationId xmlns:a16="http://schemas.microsoft.com/office/drawing/2014/main" id="{7FC30078-8AE7-400D-A2D0-E356BCC5C4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95" y="27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41">
              <a:extLst>
                <a:ext uri="{FF2B5EF4-FFF2-40B4-BE49-F238E27FC236}">
                  <a16:creationId xmlns:a16="http://schemas.microsoft.com/office/drawing/2014/main" id="{634A5CE7-957B-4602-9813-0CACDF455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8" y="27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79ABA4B5-BE17-43FE-89FC-B58317910D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9" y="299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43">
              <a:extLst>
                <a:ext uri="{FF2B5EF4-FFF2-40B4-BE49-F238E27FC236}">
                  <a16:creationId xmlns:a16="http://schemas.microsoft.com/office/drawing/2014/main" id="{809F7635-A095-404F-9693-9A1960F47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6" y="609"/>
              <a:ext cx="11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764100D1-0A4B-434E-9DC5-B642A5F02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" y="424"/>
              <a:ext cx="326" cy="267"/>
            </a:xfrm>
            <a:custGeom>
              <a:avLst/>
              <a:gdLst>
                <a:gd name="T0" fmla="*/ 79 w 120"/>
                <a:gd name="T1" fmla="*/ 75 h 98"/>
                <a:gd name="T2" fmla="*/ 42 w 120"/>
                <a:gd name="T3" fmla="*/ 75 h 98"/>
                <a:gd name="T4" fmla="*/ 4 w 120"/>
                <a:gd name="T5" fmla="*/ 75 h 98"/>
                <a:gd name="T6" fmla="*/ 4 w 120"/>
                <a:gd name="T7" fmla="*/ 65 h 98"/>
                <a:gd name="T8" fmla="*/ 117 w 120"/>
                <a:gd name="T9" fmla="*/ 65 h 98"/>
                <a:gd name="T10" fmla="*/ 117 w 120"/>
                <a:gd name="T11" fmla="*/ 75 h 98"/>
                <a:gd name="T12" fmla="*/ 79 w 120"/>
                <a:gd name="T13" fmla="*/ 75 h 98"/>
                <a:gd name="T14" fmla="*/ 78 w 120"/>
                <a:gd name="T15" fmla="*/ 86 h 98"/>
                <a:gd name="T16" fmla="*/ 83 w 120"/>
                <a:gd name="T17" fmla="*/ 94 h 98"/>
                <a:gd name="T18" fmla="*/ 37 w 120"/>
                <a:gd name="T19" fmla="*/ 94 h 98"/>
                <a:gd name="T20" fmla="*/ 43 w 120"/>
                <a:gd name="T21" fmla="*/ 86 h 98"/>
                <a:gd name="T22" fmla="*/ 44 w 120"/>
                <a:gd name="T23" fmla="*/ 78 h 98"/>
                <a:gd name="T24" fmla="*/ 77 w 120"/>
                <a:gd name="T25" fmla="*/ 78 h 98"/>
                <a:gd name="T26" fmla="*/ 78 w 120"/>
                <a:gd name="T27" fmla="*/ 86 h 98"/>
                <a:gd name="T28" fmla="*/ 117 w 120"/>
                <a:gd name="T29" fmla="*/ 61 h 98"/>
                <a:gd name="T30" fmla="*/ 4 w 120"/>
                <a:gd name="T31" fmla="*/ 61 h 98"/>
                <a:gd name="T32" fmla="*/ 4 w 120"/>
                <a:gd name="T33" fmla="*/ 4 h 98"/>
                <a:gd name="T34" fmla="*/ 117 w 120"/>
                <a:gd name="T35" fmla="*/ 4 h 98"/>
                <a:gd name="T36" fmla="*/ 117 w 120"/>
                <a:gd name="T37" fmla="*/ 61 h 98"/>
                <a:gd name="T38" fmla="*/ 118 w 120"/>
                <a:gd name="T39" fmla="*/ 0 h 98"/>
                <a:gd name="T40" fmla="*/ 3 w 120"/>
                <a:gd name="T41" fmla="*/ 0 h 98"/>
                <a:gd name="T42" fmla="*/ 0 w 120"/>
                <a:gd name="T43" fmla="*/ 3 h 98"/>
                <a:gd name="T44" fmla="*/ 0 w 120"/>
                <a:gd name="T45" fmla="*/ 75 h 98"/>
                <a:gd name="T46" fmla="*/ 3 w 120"/>
                <a:gd name="T47" fmla="*/ 78 h 98"/>
                <a:gd name="T48" fmla="*/ 40 w 120"/>
                <a:gd name="T49" fmla="*/ 78 h 98"/>
                <a:gd name="T50" fmla="*/ 40 w 120"/>
                <a:gd name="T51" fmla="*/ 85 h 98"/>
                <a:gd name="T52" fmla="*/ 33 w 120"/>
                <a:gd name="T53" fmla="*/ 93 h 98"/>
                <a:gd name="T54" fmla="*/ 32 w 120"/>
                <a:gd name="T55" fmla="*/ 96 h 98"/>
                <a:gd name="T56" fmla="*/ 35 w 120"/>
                <a:gd name="T57" fmla="*/ 98 h 98"/>
                <a:gd name="T58" fmla="*/ 86 w 120"/>
                <a:gd name="T59" fmla="*/ 98 h 98"/>
                <a:gd name="T60" fmla="*/ 89 w 120"/>
                <a:gd name="T61" fmla="*/ 96 h 98"/>
                <a:gd name="T62" fmla="*/ 87 w 120"/>
                <a:gd name="T63" fmla="*/ 93 h 98"/>
                <a:gd name="T64" fmla="*/ 81 w 120"/>
                <a:gd name="T65" fmla="*/ 85 h 98"/>
                <a:gd name="T66" fmla="*/ 80 w 120"/>
                <a:gd name="T67" fmla="*/ 78 h 98"/>
                <a:gd name="T68" fmla="*/ 118 w 120"/>
                <a:gd name="T69" fmla="*/ 78 h 98"/>
                <a:gd name="T70" fmla="*/ 120 w 120"/>
                <a:gd name="T71" fmla="*/ 75 h 98"/>
                <a:gd name="T72" fmla="*/ 120 w 120"/>
                <a:gd name="T73" fmla="*/ 3 h 98"/>
                <a:gd name="T74" fmla="*/ 118 w 120"/>
                <a:gd name="T7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98">
                  <a:moveTo>
                    <a:pt x="79" y="75"/>
                  </a:moveTo>
                  <a:cubicBezTo>
                    <a:pt x="42" y="75"/>
                    <a:pt x="42" y="75"/>
                    <a:pt x="42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75"/>
                    <a:pt x="117" y="75"/>
                    <a:pt x="117" y="75"/>
                  </a:cubicBezTo>
                  <a:lnTo>
                    <a:pt x="79" y="75"/>
                  </a:lnTo>
                  <a:close/>
                  <a:moveTo>
                    <a:pt x="78" y="86"/>
                  </a:moveTo>
                  <a:cubicBezTo>
                    <a:pt x="78" y="89"/>
                    <a:pt x="80" y="92"/>
                    <a:pt x="83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40" y="92"/>
                    <a:pt x="42" y="89"/>
                    <a:pt x="43" y="86"/>
                  </a:cubicBezTo>
                  <a:cubicBezTo>
                    <a:pt x="44" y="83"/>
                    <a:pt x="44" y="80"/>
                    <a:pt x="44" y="78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80"/>
                    <a:pt x="77" y="83"/>
                    <a:pt x="78" y="86"/>
                  </a:cubicBezTo>
                  <a:moveTo>
                    <a:pt x="117" y="61"/>
                  </a:moveTo>
                  <a:cubicBezTo>
                    <a:pt x="4" y="61"/>
                    <a:pt x="4" y="61"/>
                    <a:pt x="4" y="6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17" y="4"/>
                    <a:pt x="117" y="4"/>
                    <a:pt x="117" y="4"/>
                  </a:cubicBezTo>
                  <a:lnTo>
                    <a:pt x="117" y="61"/>
                  </a:lnTo>
                  <a:close/>
                  <a:moveTo>
                    <a:pt x="11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7"/>
                    <a:pt x="1" y="78"/>
                    <a:pt x="3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80"/>
                    <a:pt x="40" y="82"/>
                    <a:pt x="40" y="85"/>
                  </a:cubicBezTo>
                  <a:cubicBezTo>
                    <a:pt x="39" y="88"/>
                    <a:pt x="37" y="91"/>
                    <a:pt x="33" y="93"/>
                  </a:cubicBezTo>
                  <a:cubicBezTo>
                    <a:pt x="32" y="93"/>
                    <a:pt x="32" y="94"/>
                    <a:pt x="32" y="96"/>
                  </a:cubicBezTo>
                  <a:cubicBezTo>
                    <a:pt x="32" y="97"/>
                    <a:pt x="33" y="98"/>
                    <a:pt x="35" y="98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7" y="98"/>
                    <a:pt x="88" y="97"/>
                    <a:pt x="89" y="96"/>
                  </a:cubicBezTo>
                  <a:cubicBezTo>
                    <a:pt x="89" y="94"/>
                    <a:pt x="88" y="93"/>
                    <a:pt x="87" y="93"/>
                  </a:cubicBezTo>
                  <a:cubicBezTo>
                    <a:pt x="84" y="91"/>
                    <a:pt x="81" y="88"/>
                    <a:pt x="81" y="85"/>
                  </a:cubicBezTo>
                  <a:cubicBezTo>
                    <a:pt x="80" y="82"/>
                    <a:pt x="80" y="80"/>
                    <a:pt x="80" y="78"/>
                  </a:cubicBezTo>
                  <a:cubicBezTo>
                    <a:pt x="118" y="78"/>
                    <a:pt x="118" y="78"/>
                    <a:pt x="118" y="78"/>
                  </a:cubicBezTo>
                  <a:cubicBezTo>
                    <a:pt x="119" y="78"/>
                    <a:pt x="120" y="77"/>
                    <a:pt x="120" y="75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2"/>
                    <a:pt x="119" y="0"/>
                    <a:pt x="11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45">
              <a:extLst>
                <a:ext uri="{FF2B5EF4-FFF2-40B4-BE49-F238E27FC236}">
                  <a16:creationId xmlns:a16="http://schemas.microsoft.com/office/drawing/2014/main" id="{5559623E-190F-4B84-8DD1-7F20B7CDA9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9" y="563"/>
              <a:ext cx="11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46">
              <a:extLst>
                <a:ext uri="{FF2B5EF4-FFF2-40B4-BE49-F238E27FC236}">
                  <a16:creationId xmlns:a16="http://schemas.microsoft.com/office/drawing/2014/main" id="{A0D44D7B-90F1-4DE8-9052-D10F1EC55A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6" y="563"/>
              <a:ext cx="11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7">
              <a:extLst>
                <a:ext uri="{FF2B5EF4-FFF2-40B4-BE49-F238E27FC236}">
                  <a16:creationId xmlns:a16="http://schemas.microsoft.com/office/drawing/2014/main" id="{8E6EB0BA-0D7D-4F25-90DC-2C6997D1F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3" y="563"/>
              <a:ext cx="14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94214B5C-954C-4C4E-AD6E-D2E5527B03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2" y="452"/>
              <a:ext cx="120" cy="111"/>
            </a:xfrm>
            <a:custGeom>
              <a:avLst/>
              <a:gdLst>
                <a:gd name="T0" fmla="*/ 4 w 44"/>
                <a:gd name="T1" fmla="*/ 10 h 41"/>
                <a:gd name="T2" fmla="*/ 10 w 44"/>
                <a:gd name="T3" fmla="*/ 4 h 41"/>
                <a:gd name="T4" fmla="*/ 26 w 44"/>
                <a:gd name="T5" fmla="*/ 4 h 41"/>
                <a:gd name="T6" fmla="*/ 32 w 44"/>
                <a:gd name="T7" fmla="*/ 10 h 41"/>
                <a:gd name="T8" fmla="*/ 32 w 44"/>
                <a:gd name="T9" fmla="*/ 21 h 41"/>
                <a:gd name="T10" fmla="*/ 26 w 44"/>
                <a:gd name="T11" fmla="*/ 18 h 41"/>
                <a:gd name="T12" fmla="*/ 24 w 44"/>
                <a:gd name="T13" fmla="*/ 17 h 41"/>
                <a:gd name="T14" fmla="*/ 24 w 44"/>
                <a:gd name="T15" fmla="*/ 18 h 41"/>
                <a:gd name="T16" fmla="*/ 23 w 44"/>
                <a:gd name="T17" fmla="*/ 20 h 41"/>
                <a:gd name="T18" fmla="*/ 28 w 44"/>
                <a:gd name="T19" fmla="*/ 31 h 41"/>
                <a:gd name="T20" fmla="*/ 26 w 44"/>
                <a:gd name="T21" fmla="*/ 32 h 41"/>
                <a:gd name="T22" fmla="*/ 10 w 44"/>
                <a:gd name="T23" fmla="*/ 32 h 41"/>
                <a:gd name="T24" fmla="*/ 4 w 44"/>
                <a:gd name="T25" fmla="*/ 26 h 41"/>
                <a:gd name="T26" fmla="*/ 4 w 44"/>
                <a:gd name="T27" fmla="*/ 10 h 41"/>
                <a:gd name="T28" fmla="*/ 35 w 44"/>
                <a:gd name="T29" fmla="*/ 31 h 41"/>
                <a:gd name="T30" fmla="*/ 35 w 44"/>
                <a:gd name="T31" fmla="*/ 31 h 41"/>
                <a:gd name="T32" fmla="*/ 35 w 44"/>
                <a:gd name="T33" fmla="*/ 31 h 41"/>
                <a:gd name="T34" fmla="*/ 35 w 44"/>
                <a:gd name="T35" fmla="*/ 31 h 41"/>
                <a:gd name="T36" fmla="*/ 35 w 44"/>
                <a:gd name="T37" fmla="*/ 32 h 41"/>
                <a:gd name="T38" fmla="*/ 34 w 44"/>
                <a:gd name="T39" fmla="*/ 32 h 41"/>
                <a:gd name="T40" fmla="*/ 33 w 44"/>
                <a:gd name="T41" fmla="*/ 34 h 41"/>
                <a:gd name="T42" fmla="*/ 28 w 44"/>
                <a:gd name="T43" fmla="*/ 23 h 41"/>
                <a:gd name="T44" fmla="*/ 38 w 44"/>
                <a:gd name="T45" fmla="*/ 30 h 41"/>
                <a:gd name="T46" fmla="*/ 35 w 44"/>
                <a:gd name="T47" fmla="*/ 31 h 41"/>
                <a:gd name="T48" fmla="*/ 10 w 44"/>
                <a:gd name="T49" fmla="*/ 35 h 41"/>
                <a:gd name="T50" fmla="*/ 26 w 44"/>
                <a:gd name="T51" fmla="*/ 35 h 41"/>
                <a:gd name="T52" fmla="*/ 29 w 44"/>
                <a:gd name="T53" fmla="*/ 35 h 41"/>
                <a:gd name="T54" fmla="*/ 30 w 44"/>
                <a:gd name="T55" fmla="*/ 39 h 41"/>
                <a:gd name="T56" fmla="*/ 32 w 44"/>
                <a:gd name="T57" fmla="*/ 40 h 41"/>
                <a:gd name="T58" fmla="*/ 32 w 44"/>
                <a:gd name="T59" fmla="*/ 40 h 41"/>
                <a:gd name="T60" fmla="*/ 34 w 44"/>
                <a:gd name="T61" fmla="*/ 39 h 41"/>
                <a:gd name="T62" fmla="*/ 36 w 44"/>
                <a:gd name="T63" fmla="*/ 35 h 41"/>
                <a:gd name="T64" fmla="*/ 40 w 44"/>
                <a:gd name="T65" fmla="*/ 41 h 41"/>
                <a:gd name="T66" fmla="*/ 41 w 44"/>
                <a:gd name="T67" fmla="*/ 41 h 41"/>
                <a:gd name="T68" fmla="*/ 43 w 44"/>
                <a:gd name="T69" fmla="*/ 41 h 41"/>
                <a:gd name="T70" fmla="*/ 43 w 44"/>
                <a:gd name="T71" fmla="*/ 38 h 41"/>
                <a:gd name="T72" fmla="*/ 39 w 44"/>
                <a:gd name="T73" fmla="*/ 33 h 41"/>
                <a:gd name="T74" fmla="*/ 43 w 44"/>
                <a:gd name="T75" fmla="*/ 32 h 41"/>
                <a:gd name="T76" fmla="*/ 44 w 44"/>
                <a:gd name="T77" fmla="*/ 30 h 41"/>
                <a:gd name="T78" fmla="*/ 43 w 44"/>
                <a:gd name="T79" fmla="*/ 29 h 41"/>
                <a:gd name="T80" fmla="*/ 35 w 44"/>
                <a:gd name="T81" fmla="*/ 24 h 41"/>
                <a:gd name="T82" fmla="*/ 35 w 44"/>
                <a:gd name="T83" fmla="*/ 10 h 41"/>
                <a:gd name="T84" fmla="*/ 26 w 44"/>
                <a:gd name="T85" fmla="*/ 0 h 41"/>
                <a:gd name="T86" fmla="*/ 10 w 44"/>
                <a:gd name="T87" fmla="*/ 0 h 41"/>
                <a:gd name="T88" fmla="*/ 0 w 44"/>
                <a:gd name="T89" fmla="*/ 10 h 41"/>
                <a:gd name="T90" fmla="*/ 0 w 44"/>
                <a:gd name="T91" fmla="*/ 26 h 41"/>
                <a:gd name="T92" fmla="*/ 10 w 44"/>
                <a:gd name="T9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4" h="41">
                  <a:moveTo>
                    <a:pt x="4" y="10"/>
                  </a:moveTo>
                  <a:cubicBezTo>
                    <a:pt x="4" y="7"/>
                    <a:pt x="7" y="4"/>
                    <a:pt x="10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9" y="4"/>
                    <a:pt x="32" y="7"/>
                    <a:pt x="32" y="1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7"/>
                    <a:pt x="25" y="17"/>
                    <a:pt x="24" y="17"/>
                  </a:cubicBezTo>
                  <a:cubicBezTo>
                    <a:pt x="24" y="17"/>
                    <a:pt x="24" y="18"/>
                    <a:pt x="24" y="18"/>
                  </a:cubicBezTo>
                  <a:cubicBezTo>
                    <a:pt x="23" y="18"/>
                    <a:pt x="23" y="19"/>
                    <a:pt x="23" y="2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2"/>
                    <a:pt x="26" y="32"/>
                    <a:pt x="26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7" y="32"/>
                    <a:pt x="4" y="29"/>
                    <a:pt x="4" y="26"/>
                  </a:cubicBezTo>
                  <a:lnTo>
                    <a:pt x="4" y="10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2"/>
                  </a:cubicBezTo>
                  <a:cubicBezTo>
                    <a:pt x="35" y="32"/>
                    <a:pt x="34" y="32"/>
                    <a:pt x="34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38" y="30"/>
                    <a:pt x="38" y="30"/>
                    <a:pt x="38" y="30"/>
                  </a:cubicBezTo>
                  <a:lnTo>
                    <a:pt x="35" y="31"/>
                  </a:lnTo>
                  <a:close/>
                  <a:moveTo>
                    <a:pt x="10" y="35"/>
                  </a:moveTo>
                  <a:cubicBezTo>
                    <a:pt x="26" y="35"/>
                    <a:pt x="26" y="35"/>
                    <a:pt x="26" y="35"/>
                  </a:cubicBezTo>
                  <a:cubicBezTo>
                    <a:pt x="27" y="35"/>
                    <a:pt x="28" y="35"/>
                    <a:pt x="29" y="3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9"/>
                    <a:pt x="31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3" y="40"/>
                    <a:pt x="33" y="40"/>
                    <a:pt x="34" y="39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41" y="41"/>
                    <a:pt x="41" y="41"/>
                  </a:cubicBezTo>
                  <a:cubicBezTo>
                    <a:pt x="42" y="41"/>
                    <a:pt x="42" y="41"/>
                    <a:pt x="43" y="41"/>
                  </a:cubicBezTo>
                  <a:cubicBezTo>
                    <a:pt x="43" y="40"/>
                    <a:pt x="43" y="39"/>
                    <a:pt x="43" y="38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4" y="31"/>
                    <a:pt x="44" y="30"/>
                  </a:cubicBezTo>
                  <a:cubicBezTo>
                    <a:pt x="44" y="30"/>
                    <a:pt x="44" y="29"/>
                    <a:pt x="43" y="29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5"/>
                    <a:pt x="31" y="0"/>
                    <a:pt x="2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1"/>
                    <a:pt x="5" y="35"/>
                    <a:pt x="10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51">
            <a:extLst>
              <a:ext uri="{FF2B5EF4-FFF2-40B4-BE49-F238E27FC236}">
                <a16:creationId xmlns:a16="http://schemas.microsoft.com/office/drawing/2014/main" id="{86FCB631-5873-4161-8494-1DE743E4A1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73693" y="333376"/>
            <a:ext cx="758825" cy="758825"/>
            <a:chOff x="3704" y="407"/>
            <a:chExt cx="478" cy="478"/>
          </a:xfrm>
        </p:grpSpPr>
        <p:sp>
          <p:nvSpPr>
            <p:cNvPr id="58" name="AutoShape 50">
              <a:extLst>
                <a:ext uri="{FF2B5EF4-FFF2-40B4-BE49-F238E27FC236}">
                  <a16:creationId xmlns:a16="http://schemas.microsoft.com/office/drawing/2014/main" id="{D2620EC7-B0A5-4DDC-BDD0-DA2B04B8E0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04" y="40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93DC2962-770C-452E-AE0A-CF44706DA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6" y="409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3">
              <a:extLst>
                <a:ext uri="{FF2B5EF4-FFF2-40B4-BE49-F238E27FC236}">
                  <a16:creationId xmlns:a16="http://schemas.microsoft.com/office/drawing/2014/main" id="{7E85494A-A753-4416-8B55-3AFDCFB25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9" y="709"/>
              <a:ext cx="10" cy="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11ABE721-9DB1-4F06-A5BD-A64CA92B7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7" y="542"/>
              <a:ext cx="294" cy="238"/>
            </a:xfrm>
            <a:custGeom>
              <a:avLst/>
              <a:gdLst>
                <a:gd name="T0" fmla="*/ 78 w 120"/>
                <a:gd name="T1" fmla="*/ 74 h 97"/>
                <a:gd name="T2" fmla="*/ 42 w 120"/>
                <a:gd name="T3" fmla="*/ 74 h 97"/>
                <a:gd name="T4" fmla="*/ 3 w 120"/>
                <a:gd name="T5" fmla="*/ 74 h 97"/>
                <a:gd name="T6" fmla="*/ 3 w 120"/>
                <a:gd name="T7" fmla="*/ 64 h 97"/>
                <a:gd name="T8" fmla="*/ 117 w 120"/>
                <a:gd name="T9" fmla="*/ 64 h 97"/>
                <a:gd name="T10" fmla="*/ 117 w 120"/>
                <a:gd name="T11" fmla="*/ 74 h 97"/>
                <a:gd name="T12" fmla="*/ 78 w 120"/>
                <a:gd name="T13" fmla="*/ 74 h 97"/>
                <a:gd name="T14" fmla="*/ 77 w 120"/>
                <a:gd name="T15" fmla="*/ 85 h 97"/>
                <a:gd name="T16" fmla="*/ 83 w 120"/>
                <a:gd name="T17" fmla="*/ 94 h 97"/>
                <a:gd name="T18" fmla="*/ 37 w 120"/>
                <a:gd name="T19" fmla="*/ 94 h 97"/>
                <a:gd name="T20" fmla="*/ 43 w 120"/>
                <a:gd name="T21" fmla="*/ 85 h 97"/>
                <a:gd name="T22" fmla="*/ 43 w 120"/>
                <a:gd name="T23" fmla="*/ 78 h 97"/>
                <a:gd name="T24" fmla="*/ 77 w 120"/>
                <a:gd name="T25" fmla="*/ 78 h 97"/>
                <a:gd name="T26" fmla="*/ 77 w 120"/>
                <a:gd name="T27" fmla="*/ 85 h 97"/>
                <a:gd name="T28" fmla="*/ 117 w 120"/>
                <a:gd name="T29" fmla="*/ 61 h 97"/>
                <a:gd name="T30" fmla="*/ 3 w 120"/>
                <a:gd name="T31" fmla="*/ 61 h 97"/>
                <a:gd name="T32" fmla="*/ 3 w 120"/>
                <a:gd name="T33" fmla="*/ 4 h 97"/>
                <a:gd name="T34" fmla="*/ 117 w 120"/>
                <a:gd name="T35" fmla="*/ 4 h 97"/>
                <a:gd name="T36" fmla="*/ 117 w 120"/>
                <a:gd name="T37" fmla="*/ 61 h 97"/>
                <a:gd name="T38" fmla="*/ 117 w 120"/>
                <a:gd name="T39" fmla="*/ 0 h 97"/>
                <a:gd name="T40" fmla="*/ 3 w 120"/>
                <a:gd name="T41" fmla="*/ 0 h 97"/>
                <a:gd name="T42" fmla="*/ 0 w 120"/>
                <a:gd name="T43" fmla="*/ 3 h 97"/>
                <a:gd name="T44" fmla="*/ 0 w 120"/>
                <a:gd name="T45" fmla="*/ 75 h 97"/>
                <a:gd name="T46" fmla="*/ 3 w 120"/>
                <a:gd name="T47" fmla="*/ 78 h 97"/>
                <a:gd name="T48" fmla="*/ 40 w 120"/>
                <a:gd name="T49" fmla="*/ 78 h 97"/>
                <a:gd name="T50" fmla="*/ 39 w 120"/>
                <a:gd name="T51" fmla="*/ 85 h 97"/>
                <a:gd name="T52" fmla="*/ 33 w 120"/>
                <a:gd name="T53" fmla="*/ 92 h 97"/>
                <a:gd name="T54" fmla="*/ 32 w 120"/>
                <a:gd name="T55" fmla="*/ 95 h 97"/>
                <a:gd name="T56" fmla="*/ 35 w 120"/>
                <a:gd name="T57" fmla="*/ 97 h 97"/>
                <a:gd name="T58" fmla="*/ 85 w 120"/>
                <a:gd name="T59" fmla="*/ 97 h 97"/>
                <a:gd name="T60" fmla="*/ 88 w 120"/>
                <a:gd name="T61" fmla="*/ 95 h 97"/>
                <a:gd name="T62" fmla="*/ 87 w 120"/>
                <a:gd name="T63" fmla="*/ 92 h 97"/>
                <a:gd name="T64" fmla="*/ 81 w 120"/>
                <a:gd name="T65" fmla="*/ 85 h 97"/>
                <a:gd name="T66" fmla="*/ 80 w 120"/>
                <a:gd name="T67" fmla="*/ 78 h 97"/>
                <a:gd name="T68" fmla="*/ 117 w 120"/>
                <a:gd name="T69" fmla="*/ 78 h 97"/>
                <a:gd name="T70" fmla="*/ 120 w 120"/>
                <a:gd name="T71" fmla="*/ 75 h 97"/>
                <a:gd name="T72" fmla="*/ 120 w 120"/>
                <a:gd name="T73" fmla="*/ 3 h 97"/>
                <a:gd name="T74" fmla="*/ 117 w 120"/>
                <a:gd name="T7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97">
                  <a:moveTo>
                    <a:pt x="78" y="74"/>
                  </a:moveTo>
                  <a:cubicBezTo>
                    <a:pt x="42" y="74"/>
                    <a:pt x="42" y="74"/>
                    <a:pt x="42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4"/>
                    <a:pt x="117" y="74"/>
                    <a:pt x="117" y="74"/>
                  </a:cubicBezTo>
                  <a:lnTo>
                    <a:pt x="78" y="74"/>
                  </a:lnTo>
                  <a:close/>
                  <a:moveTo>
                    <a:pt x="77" y="85"/>
                  </a:moveTo>
                  <a:cubicBezTo>
                    <a:pt x="78" y="89"/>
                    <a:pt x="80" y="92"/>
                    <a:pt x="83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40" y="92"/>
                    <a:pt x="42" y="89"/>
                    <a:pt x="43" y="85"/>
                  </a:cubicBezTo>
                  <a:cubicBezTo>
                    <a:pt x="43" y="82"/>
                    <a:pt x="43" y="79"/>
                    <a:pt x="43" y="78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79"/>
                    <a:pt x="77" y="82"/>
                    <a:pt x="77" y="85"/>
                  </a:cubicBezTo>
                  <a:moveTo>
                    <a:pt x="117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17" y="4"/>
                    <a:pt x="117" y="4"/>
                    <a:pt x="117" y="4"/>
                  </a:cubicBezTo>
                  <a:lnTo>
                    <a:pt x="117" y="61"/>
                  </a:lnTo>
                  <a:close/>
                  <a:moveTo>
                    <a:pt x="11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6"/>
                    <a:pt x="1" y="78"/>
                    <a:pt x="3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9"/>
                    <a:pt x="40" y="82"/>
                    <a:pt x="39" y="85"/>
                  </a:cubicBezTo>
                  <a:cubicBezTo>
                    <a:pt x="39" y="88"/>
                    <a:pt x="37" y="91"/>
                    <a:pt x="33" y="92"/>
                  </a:cubicBezTo>
                  <a:cubicBezTo>
                    <a:pt x="32" y="93"/>
                    <a:pt x="31" y="94"/>
                    <a:pt x="32" y="95"/>
                  </a:cubicBezTo>
                  <a:cubicBezTo>
                    <a:pt x="32" y="96"/>
                    <a:pt x="33" y="97"/>
                    <a:pt x="35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7" y="97"/>
                    <a:pt x="88" y="96"/>
                    <a:pt x="88" y="95"/>
                  </a:cubicBezTo>
                  <a:cubicBezTo>
                    <a:pt x="89" y="94"/>
                    <a:pt x="88" y="93"/>
                    <a:pt x="87" y="92"/>
                  </a:cubicBezTo>
                  <a:cubicBezTo>
                    <a:pt x="83" y="91"/>
                    <a:pt x="81" y="88"/>
                    <a:pt x="81" y="85"/>
                  </a:cubicBezTo>
                  <a:cubicBezTo>
                    <a:pt x="80" y="82"/>
                    <a:pt x="80" y="79"/>
                    <a:pt x="80" y="78"/>
                  </a:cubicBezTo>
                  <a:cubicBezTo>
                    <a:pt x="117" y="78"/>
                    <a:pt x="117" y="78"/>
                    <a:pt x="117" y="78"/>
                  </a:cubicBezTo>
                  <a:cubicBezTo>
                    <a:pt x="119" y="78"/>
                    <a:pt x="120" y="76"/>
                    <a:pt x="120" y="75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1"/>
                    <a:pt x="119" y="0"/>
                    <a:pt x="11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5">
              <a:extLst>
                <a:ext uri="{FF2B5EF4-FFF2-40B4-BE49-F238E27FC236}">
                  <a16:creationId xmlns:a16="http://schemas.microsoft.com/office/drawing/2014/main" id="{4174EA0A-C958-48B0-B3CF-16C47C100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5" y="667"/>
              <a:ext cx="10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56">
              <a:extLst>
                <a:ext uri="{FF2B5EF4-FFF2-40B4-BE49-F238E27FC236}">
                  <a16:creationId xmlns:a16="http://schemas.microsoft.com/office/drawing/2014/main" id="{0FC5DAA9-C45D-4885-86A0-E0DF339C7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9" y="667"/>
              <a:ext cx="10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57">
              <a:extLst>
                <a:ext uri="{FF2B5EF4-FFF2-40B4-BE49-F238E27FC236}">
                  <a16:creationId xmlns:a16="http://schemas.microsoft.com/office/drawing/2014/main" id="{AC7F3695-9704-48E1-AB7B-635285C38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4" y="667"/>
              <a:ext cx="10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4F5E4108-5D71-41BE-A1ED-50A63EE69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0" y="566"/>
              <a:ext cx="108" cy="101"/>
            </a:xfrm>
            <a:custGeom>
              <a:avLst/>
              <a:gdLst>
                <a:gd name="T0" fmla="*/ 4 w 44"/>
                <a:gd name="T1" fmla="*/ 10 h 41"/>
                <a:gd name="T2" fmla="*/ 10 w 44"/>
                <a:gd name="T3" fmla="*/ 3 h 41"/>
                <a:gd name="T4" fmla="*/ 25 w 44"/>
                <a:gd name="T5" fmla="*/ 3 h 41"/>
                <a:gd name="T6" fmla="*/ 32 w 44"/>
                <a:gd name="T7" fmla="*/ 10 h 41"/>
                <a:gd name="T8" fmla="*/ 32 w 44"/>
                <a:gd name="T9" fmla="*/ 21 h 41"/>
                <a:gd name="T10" fmla="*/ 26 w 44"/>
                <a:gd name="T11" fmla="*/ 17 h 41"/>
                <a:gd name="T12" fmla="*/ 24 w 44"/>
                <a:gd name="T13" fmla="*/ 17 h 41"/>
                <a:gd name="T14" fmla="*/ 24 w 44"/>
                <a:gd name="T15" fmla="*/ 17 h 41"/>
                <a:gd name="T16" fmla="*/ 23 w 44"/>
                <a:gd name="T17" fmla="*/ 19 h 41"/>
                <a:gd name="T18" fmla="*/ 27 w 44"/>
                <a:gd name="T19" fmla="*/ 31 h 41"/>
                <a:gd name="T20" fmla="*/ 25 w 44"/>
                <a:gd name="T21" fmla="*/ 31 h 41"/>
                <a:gd name="T22" fmla="*/ 10 w 44"/>
                <a:gd name="T23" fmla="*/ 31 h 41"/>
                <a:gd name="T24" fmla="*/ 4 w 44"/>
                <a:gd name="T25" fmla="*/ 25 h 41"/>
                <a:gd name="T26" fmla="*/ 4 w 44"/>
                <a:gd name="T27" fmla="*/ 10 h 41"/>
                <a:gd name="T28" fmla="*/ 35 w 44"/>
                <a:gd name="T29" fmla="*/ 31 h 41"/>
                <a:gd name="T30" fmla="*/ 35 w 44"/>
                <a:gd name="T31" fmla="*/ 31 h 41"/>
                <a:gd name="T32" fmla="*/ 35 w 44"/>
                <a:gd name="T33" fmla="*/ 31 h 41"/>
                <a:gd name="T34" fmla="*/ 35 w 44"/>
                <a:gd name="T35" fmla="*/ 31 h 41"/>
                <a:gd name="T36" fmla="*/ 34 w 44"/>
                <a:gd name="T37" fmla="*/ 31 h 41"/>
                <a:gd name="T38" fmla="*/ 34 w 44"/>
                <a:gd name="T39" fmla="*/ 31 h 41"/>
                <a:gd name="T40" fmla="*/ 32 w 44"/>
                <a:gd name="T41" fmla="*/ 34 h 41"/>
                <a:gd name="T42" fmla="*/ 28 w 44"/>
                <a:gd name="T43" fmla="*/ 23 h 41"/>
                <a:gd name="T44" fmla="*/ 38 w 44"/>
                <a:gd name="T45" fmla="*/ 29 h 41"/>
                <a:gd name="T46" fmla="*/ 35 w 44"/>
                <a:gd name="T47" fmla="*/ 31 h 41"/>
                <a:gd name="T48" fmla="*/ 10 w 44"/>
                <a:gd name="T49" fmla="*/ 35 h 41"/>
                <a:gd name="T50" fmla="*/ 25 w 44"/>
                <a:gd name="T51" fmla="*/ 35 h 41"/>
                <a:gd name="T52" fmla="*/ 29 w 44"/>
                <a:gd name="T53" fmla="*/ 34 h 41"/>
                <a:gd name="T54" fmla="*/ 30 w 44"/>
                <a:gd name="T55" fmla="*/ 38 h 41"/>
                <a:gd name="T56" fmla="*/ 32 w 44"/>
                <a:gd name="T57" fmla="*/ 40 h 41"/>
                <a:gd name="T58" fmla="*/ 32 w 44"/>
                <a:gd name="T59" fmla="*/ 40 h 41"/>
                <a:gd name="T60" fmla="*/ 33 w 44"/>
                <a:gd name="T61" fmla="*/ 39 h 41"/>
                <a:gd name="T62" fmla="*/ 36 w 44"/>
                <a:gd name="T63" fmla="*/ 35 h 41"/>
                <a:gd name="T64" fmla="*/ 40 w 44"/>
                <a:gd name="T65" fmla="*/ 40 h 41"/>
                <a:gd name="T66" fmla="*/ 41 w 44"/>
                <a:gd name="T67" fmla="*/ 41 h 41"/>
                <a:gd name="T68" fmla="*/ 42 w 44"/>
                <a:gd name="T69" fmla="*/ 40 h 41"/>
                <a:gd name="T70" fmla="*/ 43 w 44"/>
                <a:gd name="T71" fmla="*/ 38 h 41"/>
                <a:gd name="T72" fmla="*/ 38 w 44"/>
                <a:gd name="T73" fmla="*/ 33 h 41"/>
                <a:gd name="T74" fmla="*/ 43 w 44"/>
                <a:gd name="T75" fmla="*/ 31 h 41"/>
                <a:gd name="T76" fmla="*/ 44 w 44"/>
                <a:gd name="T77" fmla="*/ 30 h 41"/>
                <a:gd name="T78" fmla="*/ 43 w 44"/>
                <a:gd name="T79" fmla="*/ 28 h 41"/>
                <a:gd name="T80" fmla="*/ 35 w 44"/>
                <a:gd name="T81" fmla="*/ 23 h 41"/>
                <a:gd name="T82" fmla="*/ 35 w 44"/>
                <a:gd name="T83" fmla="*/ 10 h 41"/>
                <a:gd name="T84" fmla="*/ 25 w 44"/>
                <a:gd name="T85" fmla="*/ 0 h 41"/>
                <a:gd name="T86" fmla="*/ 10 w 44"/>
                <a:gd name="T87" fmla="*/ 0 h 41"/>
                <a:gd name="T88" fmla="*/ 0 w 44"/>
                <a:gd name="T89" fmla="*/ 10 h 41"/>
                <a:gd name="T90" fmla="*/ 0 w 44"/>
                <a:gd name="T91" fmla="*/ 25 h 41"/>
                <a:gd name="T92" fmla="*/ 10 w 44"/>
                <a:gd name="T93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4" h="41">
                  <a:moveTo>
                    <a:pt x="4" y="10"/>
                  </a:moveTo>
                  <a:cubicBezTo>
                    <a:pt x="4" y="6"/>
                    <a:pt x="6" y="3"/>
                    <a:pt x="1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3"/>
                    <a:pt x="32" y="6"/>
                    <a:pt x="32" y="1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8"/>
                    <a:pt x="23" y="18"/>
                    <a:pt x="23" y="19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5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6" y="31"/>
                    <a:pt x="4" y="29"/>
                    <a:pt x="4" y="25"/>
                  </a:cubicBezTo>
                  <a:lnTo>
                    <a:pt x="4" y="10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38" y="29"/>
                    <a:pt x="38" y="29"/>
                    <a:pt x="38" y="29"/>
                  </a:cubicBezTo>
                  <a:lnTo>
                    <a:pt x="35" y="31"/>
                  </a:lnTo>
                  <a:close/>
                  <a:moveTo>
                    <a:pt x="10" y="35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6" y="35"/>
                    <a:pt x="28" y="35"/>
                    <a:pt x="29" y="34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1" y="39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39"/>
                    <a:pt x="33" y="39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1"/>
                    <a:pt x="41" y="41"/>
                    <a:pt x="41" y="41"/>
                  </a:cubicBezTo>
                  <a:cubicBezTo>
                    <a:pt x="42" y="41"/>
                    <a:pt x="42" y="41"/>
                    <a:pt x="42" y="40"/>
                  </a:cubicBezTo>
                  <a:cubicBezTo>
                    <a:pt x="43" y="40"/>
                    <a:pt x="43" y="39"/>
                    <a:pt x="43" y="38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4" y="30"/>
                    <a:pt x="44" y="30"/>
                  </a:cubicBezTo>
                  <a:cubicBezTo>
                    <a:pt x="44" y="29"/>
                    <a:pt x="43" y="29"/>
                    <a:pt x="43" y="28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4"/>
                    <a:pt x="31" y="0"/>
                    <a:pt x="2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0"/>
                    <a:pt x="4" y="35"/>
                    <a:pt x="10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1">
            <a:extLst>
              <a:ext uri="{FF2B5EF4-FFF2-40B4-BE49-F238E27FC236}">
                <a16:creationId xmlns:a16="http://schemas.microsoft.com/office/drawing/2014/main" id="{04130166-F1B4-4047-8854-768545C112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6298" y="333376"/>
            <a:ext cx="760412" cy="758825"/>
            <a:chOff x="5065" y="439"/>
            <a:chExt cx="479" cy="478"/>
          </a:xfrm>
        </p:grpSpPr>
        <p:sp>
          <p:nvSpPr>
            <p:cNvPr id="71" name="AutoShape 60">
              <a:extLst>
                <a:ext uri="{FF2B5EF4-FFF2-40B4-BE49-F238E27FC236}">
                  <a16:creationId xmlns:a16="http://schemas.microsoft.com/office/drawing/2014/main" id="{A480446B-F73D-42BC-99EF-DDAA9B9FB6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5" y="43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2">
              <a:extLst>
                <a:ext uri="{FF2B5EF4-FFF2-40B4-BE49-F238E27FC236}">
                  <a16:creationId xmlns:a16="http://schemas.microsoft.com/office/drawing/2014/main" id="{5E814B42-613D-4977-9207-427F3EB59E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" y="441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8A972630-348C-4D8B-AE11-7DCFEC6B21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542"/>
              <a:ext cx="329" cy="275"/>
            </a:xfrm>
            <a:custGeom>
              <a:avLst/>
              <a:gdLst>
                <a:gd name="T0" fmla="*/ 129 w 134"/>
                <a:gd name="T1" fmla="*/ 64 h 112"/>
                <a:gd name="T2" fmla="*/ 99 w 134"/>
                <a:gd name="T3" fmla="*/ 63 h 112"/>
                <a:gd name="T4" fmla="*/ 100 w 134"/>
                <a:gd name="T5" fmla="*/ 48 h 112"/>
                <a:gd name="T6" fmla="*/ 130 w 134"/>
                <a:gd name="T7" fmla="*/ 49 h 112"/>
                <a:gd name="T8" fmla="*/ 83 w 134"/>
                <a:gd name="T9" fmla="*/ 49 h 112"/>
                <a:gd name="T10" fmla="*/ 82 w 134"/>
                <a:gd name="T11" fmla="*/ 64 h 112"/>
                <a:gd name="T12" fmla="*/ 51 w 134"/>
                <a:gd name="T13" fmla="*/ 63 h 112"/>
                <a:gd name="T14" fmla="*/ 52 w 134"/>
                <a:gd name="T15" fmla="*/ 48 h 112"/>
                <a:gd name="T16" fmla="*/ 83 w 134"/>
                <a:gd name="T17" fmla="*/ 49 h 112"/>
                <a:gd name="T18" fmla="*/ 83 w 134"/>
                <a:gd name="T19" fmla="*/ 108 h 112"/>
                <a:gd name="T20" fmla="*/ 52 w 134"/>
                <a:gd name="T21" fmla="*/ 109 h 112"/>
                <a:gd name="T22" fmla="*/ 51 w 134"/>
                <a:gd name="T23" fmla="*/ 94 h 112"/>
                <a:gd name="T24" fmla="*/ 82 w 134"/>
                <a:gd name="T25" fmla="*/ 93 h 112"/>
                <a:gd name="T26" fmla="*/ 35 w 134"/>
                <a:gd name="T27" fmla="*/ 49 h 112"/>
                <a:gd name="T28" fmla="*/ 34 w 134"/>
                <a:gd name="T29" fmla="*/ 64 h 112"/>
                <a:gd name="T30" fmla="*/ 4 w 134"/>
                <a:gd name="T31" fmla="*/ 63 h 112"/>
                <a:gd name="T32" fmla="*/ 5 w 134"/>
                <a:gd name="T33" fmla="*/ 48 h 112"/>
                <a:gd name="T34" fmla="*/ 35 w 134"/>
                <a:gd name="T35" fmla="*/ 49 h 112"/>
                <a:gd name="T36" fmla="*/ 51 w 134"/>
                <a:gd name="T37" fmla="*/ 4 h 112"/>
                <a:gd name="T38" fmla="*/ 82 w 134"/>
                <a:gd name="T39" fmla="*/ 3 h 112"/>
                <a:gd name="T40" fmla="*/ 83 w 134"/>
                <a:gd name="T41" fmla="*/ 18 h 112"/>
                <a:gd name="T42" fmla="*/ 52 w 134"/>
                <a:gd name="T43" fmla="*/ 19 h 112"/>
                <a:gd name="T44" fmla="*/ 129 w 134"/>
                <a:gd name="T45" fmla="*/ 45 h 112"/>
                <a:gd name="T46" fmla="*/ 117 w 134"/>
                <a:gd name="T47" fmla="*/ 38 h 112"/>
                <a:gd name="T48" fmla="*/ 69 w 134"/>
                <a:gd name="T49" fmla="*/ 32 h 112"/>
                <a:gd name="T50" fmla="*/ 82 w 134"/>
                <a:gd name="T51" fmla="*/ 22 h 112"/>
                <a:gd name="T52" fmla="*/ 86 w 134"/>
                <a:gd name="T53" fmla="*/ 4 h 112"/>
                <a:gd name="T54" fmla="*/ 52 w 134"/>
                <a:gd name="T55" fmla="*/ 0 h 112"/>
                <a:gd name="T56" fmla="*/ 48 w 134"/>
                <a:gd name="T57" fmla="*/ 18 h 112"/>
                <a:gd name="T58" fmla="*/ 65 w 134"/>
                <a:gd name="T59" fmla="*/ 22 h 112"/>
                <a:gd name="T60" fmla="*/ 23 w 134"/>
                <a:gd name="T61" fmla="*/ 32 h 112"/>
                <a:gd name="T62" fmla="*/ 17 w 134"/>
                <a:gd name="T63" fmla="*/ 45 h 112"/>
                <a:gd name="T64" fmla="*/ 0 w 134"/>
                <a:gd name="T65" fmla="*/ 49 h 112"/>
                <a:gd name="T66" fmla="*/ 5 w 134"/>
                <a:gd name="T67" fmla="*/ 67 h 112"/>
                <a:gd name="T68" fmla="*/ 38 w 134"/>
                <a:gd name="T69" fmla="*/ 63 h 112"/>
                <a:gd name="T70" fmla="*/ 34 w 134"/>
                <a:gd name="T71" fmla="*/ 45 h 112"/>
                <a:gd name="T72" fmla="*/ 21 w 134"/>
                <a:gd name="T73" fmla="*/ 38 h 112"/>
                <a:gd name="T74" fmla="*/ 65 w 134"/>
                <a:gd name="T75" fmla="*/ 35 h 112"/>
                <a:gd name="T76" fmla="*/ 52 w 134"/>
                <a:gd name="T77" fmla="*/ 45 h 112"/>
                <a:gd name="T78" fmla="*/ 48 w 134"/>
                <a:gd name="T79" fmla="*/ 63 h 112"/>
                <a:gd name="T80" fmla="*/ 65 w 134"/>
                <a:gd name="T81" fmla="*/ 67 h 112"/>
                <a:gd name="T82" fmla="*/ 52 w 134"/>
                <a:gd name="T83" fmla="*/ 90 h 112"/>
                <a:gd name="T84" fmla="*/ 48 w 134"/>
                <a:gd name="T85" fmla="*/ 108 h 112"/>
                <a:gd name="T86" fmla="*/ 82 w 134"/>
                <a:gd name="T87" fmla="*/ 112 h 112"/>
                <a:gd name="T88" fmla="*/ 86 w 134"/>
                <a:gd name="T89" fmla="*/ 94 h 112"/>
                <a:gd name="T90" fmla="*/ 69 w 134"/>
                <a:gd name="T91" fmla="*/ 90 h 112"/>
                <a:gd name="T92" fmla="*/ 82 w 134"/>
                <a:gd name="T93" fmla="*/ 67 h 112"/>
                <a:gd name="T94" fmla="*/ 86 w 134"/>
                <a:gd name="T95" fmla="*/ 49 h 112"/>
                <a:gd name="T96" fmla="*/ 69 w 134"/>
                <a:gd name="T97" fmla="*/ 45 h 112"/>
                <a:gd name="T98" fmla="*/ 111 w 134"/>
                <a:gd name="T99" fmla="*/ 35 h 112"/>
                <a:gd name="T100" fmla="*/ 113 w 134"/>
                <a:gd name="T101" fmla="*/ 45 h 112"/>
                <a:gd name="T102" fmla="*/ 96 w 134"/>
                <a:gd name="T103" fmla="*/ 49 h 112"/>
                <a:gd name="T104" fmla="*/ 100 w 134"/>
                <a:gd name="T105" fmla="*/ 67 h 112"/>
                <a:gd name="T106" fmla="*/ 134 w 134"/>
                <a:gd name="T107" fmla="*/ 63 h 112"/>
                <a:gd name="T108" fmla="*/ 129 w 134"/>
                <a:gd name="T109" fmla="*/ 4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4" h="112">
                  <a:moveTo>
                    <a:pt x="130" y="63"/>
                  </a:moveTo>
                  <a:cubicBezTo>
                    <a:pt x="130" y="63"/>
                    <a:pt x="130" y="64"/>
                    <a:pt x="129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100" y="64"/>
                    <a:pt x="99" y="63"/>
                    <a:pt x="99" y="63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100" y="48"/>
                    <a:pt x="100" y="48"/>
                  </a:cubicBezTo>
                  <a:cubicBezTo>
                    <a:pt x="129" y="48"/>
                    <a:pt x="129" y="48"/>
                    <a:pt x="129" y="48"/>
                  </a:cubicBezTo>
                  <a:cubicBezTo>
                    <a:pt x="130" y="48"/>
                    <a:pt x="130" y="49"/>
                    <a:pt x="130" y="49"/>
                  </a:cubicBezTo>
                  <a:lnTo>
                    <a:pt x="130" y="63"/>
                  </a:lnTo>
                  <a:close/>
                  <a:moveTo>
                    <a:pt x="83" y="49"/>
                  </a:moveTo>
                  <a:cubicBezTo>
                    <a:pt x="83" y="63"/>
                    <a:pt x="83" y="63"/>
                    <a:pt x="83" y="63"/>
                  </a:cubicBezTo>
                  <a:cubicBezTo>
                    <a:pt x="83" y="63"/>
                    <a:pt x="82" y="64"/>
                    <a:pt x="8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1" y="63"/>
                    <a:pt x="51" y="6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9"/>
                    <a:pt x="52" y="48"/>
                    <a:pt x="5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3" y="49"/>
                    <a:pt x="83" y="49"/>
                  </a:cubicBezTo>
                  <a:moveTo>
                    <a:pt x="83" y="94"/>
                  </a:moveTo>
                  <a:cubicBezTo>
                    <a:pt x="83" y="108"/>
                    <a:pt x="83" y="108"/>
                    <a:pt x="83" y="108"/>
                  </a:cubicBezTo>
                  <a:cubicBezTo>
                    <a:pt x="83" y="109"/>
                    <a:pt x="82" y="109"/>
                    <a:pt x="82" y="109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2" y="109"/>
                    <a:pt x="51" y="109"/>
                    <a:pt x="51" y="108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2" y="93"/>
                    <a:pt x="52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2" y="93"/>
                    <a:pt x="83" y="94"/>
                    <a:pt x="83" y="94"/>
                  </a:cubicBezTo>
                  <a:moveTo>
                    <a:pt x="35" y="49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4" y="64"/>
                    <a:pt x="34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4" y="64"/>
                    <a:pt x="4" y="63"/>
                    <a:pt x="4" y="63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4" y="48"/>
                    <a:pt x="5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5" y="49"/>
                    <a:pt x="35" y="49"/>
                  </a:cubicBezTo>
                  <a:moveTo>
                    <a:pt x="51" y="18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2" y="3"/>
                    <a:pt x="52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3"/>
                    <a:pt x="83" y="3"/>
                    <a:pt x="83" y="4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3" y="18"/>
                    <a:pt x="82" y="19"/>
                    <a:pt x="8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1" y="18"/>
                    <a:pt x="51" y="18"/>
                  </a:cubicBezTo>
                  <a:moveTo>
                    <a:pt x="129" y="45"/>
                  </a:moveTo>
                  <a:cubicBezTo>
                    <a:pt x="117" y="45"/>
                    <a:pt x="117" y="45"/>
                    <a:pt x="117" y="45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4"/>
                    <a:pt x="114" y="32"/>
                    <a:pt x="111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4" y="22"/>
                    <a:pt x="86" y="20"/>
                    <a:pt x="86" y="18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2"/>
                    <a:pt x="84" y="0"/>
                    <a:pt x="8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0" y="0"/>
                    <a:pt x="48" y="2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8" y="20"/>
                    <a:pt x="50" y="22"/>
                    <a:pt x="52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2"/>
                    <a:pt x="17" y="34"/>
                    <a:pt x="17" y="38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2" y="45"/>
                    <a:pt x="0" y="47"/>
                    <a:pt x="0" y="49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5"/>
                    <a:pt x="2" y="67"/>
                    <a:pt x="5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6" y="67"/>
                    <a:pt x="38" y="65"/>
                    <a:pt x="38" y="63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7"/>
                    <a:pt x="36" y="45"/>
                    <a:pt x="34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6"/>
                    <a:pt x="22" y="35"/>
                    <a:pt x="23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0" y="45"/>
                    <a:pt x="48" y="47"/>
                    <a:pt x="48" y="49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5"/>
                    <a:pt x="50" y="67"/>
                    <a:pt x="52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0" y="90"/>
                    <a:pt x="48" y="92"/>
                    <a:pt x="48" y="94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10"/>
                    <a:pt x="50" y="112"/>
                    <a:pt x="52" y="112"/>
                  </a:cubicBezTo>
                  <a:cubicBezTo>
                    <a:pt x="82" y="112"/>
                    <a:pt x="82" y="112"/>
                    <a:pt x="82" y="112"/>
                  </a:cubicBezTo>
                  <a:cubicBezTo>
                    <a:pt x="84" y="112"/>
                    <a:pt x="86" y="110"/>
                    <a:pt x="86" y="108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92"/>
                    <a:pt x="84" y="90"/>
                    <a:pt x="82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4" y="67"/>
                    <a:pt x="86" y="65"/>
                    <a:pt x="86" y="63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7"/>
                    <a:pt x="84" y="45"/>
                    <a:pt x="82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2" y="35"/>
                    <a:pt x="113" y="36"/>
                    <a:pt x="113" y="38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98" y="45"/>
                    <a:pt x="96" y="47"/>
                    <a:pt x="96" y="49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65"/>
                    <a:pt x="98" y="67"/>
                    <a:pt x="100" y="67"/>
                  </a:cubicBezTo>
                  <a:cubicBezTo>
                    <a:pt x="129" y="67"/>
                    <a:pt x="129" y="67"/>
                    <a:pt x="129" y="67"/>
                  </a:cubicBezTo>
                  <a:cubicBezTo>
                    <a:pt x="132" y="67"/>
                    <a:pt x="134" y="65"/>
                    <a:pt x="134" y="63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134" y="47"/>
                    <a:pt x="132" y="45"/>
                    <a:pt x="129" y="4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Group 66">
            <a:extLst>
              <a:ext uri="{FF2B5EF4-FFF2-40B4-BE49-F238E27FC236}">
                <a16:creationId xmlns:a16="http://schemas.microsoft.com/office/drawing/2014/main" id="{B88A00CB-AF15-4CE7-85D9-9F76FA2C2D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094" y="292101"/>
            <a:ext cx="841375" cy="841375"/>
            <a:chOff x="4444" y="295"/>
            <a:chExt cx="530" cy="530"/>
          </a:xfrm>
        </p:grpSpPr>
        <p:sp>
          <p:nvSpPr>
            <p:cNvPr id="75" name="AutoShape 65">
              <a:extLst>
                <a:ext uri="{FF2B5EF4-FFF2-40B4-BE49-F238E27FC236}">
                  <a16:creationId xmlns:a16="http://schemas.microsoft.com/office/drawing/2014/main" id="{65AC64C7-1EA1-431E-A275-730006264D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4" y="2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D64E26CA-E949-4EED-A1DD-3612FF490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7" y="29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8">
              <a:extLst>
                <a:ext uri="{FF2B5EF4-FFF2-40B4-BE49-F238E27FC236}">
                  <a16:creationId xmlns:a16="http://schemas.microsoft.com/office/drawing/2014/main" id="{73B11F6D-5A2C-4A31-BC11-D4C5B94B4A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8" y="319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9">
              <a:extLst>
                <a:ext uri="{FF2B5EF4-FFF2-40B4-BE49-F238E27FC236}">
                  <a16:creationId xmlns:a16="http://schemas.microsoft.com/office/drawing/2014/main" id="{0529FF3A-E6E5-4F71-92BF-D1A783AEA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1" y="409"/>
              <a:ext cx="362" cy="307"/>
            </a:xfrm>
            <a:custGeom>
              <a:avLst/>
              <a:gdLst>
                <a:gd name="T0" fmla="*/ 129 w 133"/>
                <a:gd name="T1" fmla="*/ 64 h 113"/>
                <a:gd name="T2" fmla="*/ 99 w 133"/>
                <a:gd name="T3" fmla="*/ 63 h 113"/>
                <a:gd name="T4" fmla="*/ 100 w 133"/>
                <a:gd name="T5" fmla="*/ 48 h 113"/>
                <a:gd name="T6" fmla="*/ 130 w 133"/>
                <a:gd name="T7" fmla="*/ 49 h 113"/>
                <a:gd name="T8" fmla="*/ 82 w 133"/>
                <a:gd name="T9" fmla="*/ 49 h 113"/>
                <a:gd name="T10" fmla="*/ 81 w 133"/>
                <a:gd name="T11" fmla="*/ 64 h 113"/>
                <a:gd name="T12" fmla="*/ 51 w 133"/>
                <a:gd name="T13" fmla="*/ 63 h 113"/>
                <a:gd name="T14" fmla="*/ 52 w 133"/>
                <a:gd name="T15" fmla="*/ 48 h 113"/>
                <a:gd name="T16" fmla="*/ 82 w 133"/>
                <a:gd name="T17" fmla="*/ 49 h 113"/>
                <a:gd name="T18" fmla="*/ 82 w 133"/>
                <a:gd name="T19" fmla="*/ 108 h 113"/>
                <a:gd name="T20" fmla="*/ 52 w 133"/>
                <a:gd name="T21" fmla="*/ 109 h 113"/>
                <a:gd name="T22" fmla="*/ 51 w 133"/>
                <a:gd name="T23" fmla="*/ 95 h 113"/>
                <a:gd name="T24" fmla="*/ 81 w 133"/>
                <a:gd name="T25" fmla="*/ 94 h 113"/>
                <a:gd name="T26" fmla="*/ 34 w 133"/>
                <a:gd name="T27" fmla="*/ 49 h 113"/>
                <a:gd name="T28" fmla="*/ 33 w 133"/>
                <a:gd name="T29" fmla="*/ 64 h 113"/>
                <a:gd name="T30" fmla="*/ 3 w 133"/>
                <a:gd name="T31" fmla="*/ 63 h 113"/>
                <a:gd name="T32" fmla="*/ 4 w 133"/>
                <a:gd name="T33" fmla="*/ 48 h 113"/>
                <a:gd name="T34" fmla="*/ 34 w 133"/>
                <a:gd name="T35" fmla="*/ 49 h 113"/>
                <a:gd name="T36" fmla="*/ 51 w 133"/>
                <a:gd name="T37" fmla="*/ 4 h 113"/>
                <a:gd name="T38" fmla="*/ 81 w 133"/>
                <a:gd name="T39" fmla="*/ 3 h 113"/>
                <a:gd name="T40" fmla="*/ 82 w 133"/>
                <a:gd name="T41" fmla="*/ 18 h 113"/>
                <a:gd name="T42" fmla="*/ 52 w 133"/>
                <a:gd name="T43" fmla="*/ 19 h 113"/>
                <a:gd name="T44" fmla="*/ 129 w 133"/>
                <a:gd name="T45" fmla="*/ 45 h 113"/>
                <a:gd name="T46" fmla="*/ 116 w 133"/>
                <a:gd name="T47" fmla="*/ 38 h 113"/>
                <a:gd name="T48" fmla="*/ 68 w 133"/>
                <a:gd name="T49" fmla="*/ 32 h 113"/>
                <a:gd name="T50" fmla="*/ 81 w 133"/>
                <a:gd name="T51" fmla="*/ 22 h 113"/>
                <a:gd name="T52" fmla="*/ 85 w 133"/>
                <a:gd name="T53" fmla="*/ 4 h 113"/>
                <a:gd name="T54" fmla="*/ 52 w 133"/>
                <a:gd name="T55" fmla="*/ 0 h 113"/>
                <a:gd name="T56" fmla="*/ 47 w 133"/>
                <a:gd name="T57" fmla="*/ 18 h 113"/>
                <a:gd name="T58" fmla="*/ 65 w 133"/>
                <a:gd name="T59" fmla="*/ 22 h 113"/>
                <a:gd name="T60" fmla="*/ 23 w 133"/>
                <a:gd name="T61" fmla="*/ 32 h 113"/>
                <a:gd name="T62" fmla="*/ 17 w 133"/>
                <a:gd name="T63" fmla="*/ 45 h 113"/>
                <a:gd name="T64" fmla="*/ 0 w 133"/>
                <a:gd name="T65" fmla="*/ 49 h 113"/>
                <a:gd name="T66" fmla="*/ 4 w 133"/>
                <a:gd name="T67" fmla="*/ 68 h 113"/>
                <a:gd name="T68" fmla="*/ 37 w 133"/>
                <a:gd name="T69" fmla="*/ 63 h 113"/>
                <a:gd name="T70" fmla="*/ 33 w 133"/>
                <a:gd name="T71" fmla="*/ 45 h 113"/>
                <a:gd name="T72" fmla="*/ 20 w 133"/>
                <a:gd name="T73" fmla="*/ 38 h 113"/>
                <a:gd name="T74" fmla="*/ 65 w 133"/>
                <a:gd name="T75" fmla="*/ 35 h 113"/>
                <a:gd name="T76" fmla="*/ 52 w 133"/>
                <a:gd name="T77" fmla="*/ 45 h 113"/>
                <a:gd name="T78" fmla="*/ 47 w 133"/>
                <a:gd name="T79" fmla="*/ 63 h 113"/>
                <a:gd name="T80" fmla="*/ 65 w 133"/>
                <a:gd name="T81" fmla="*/ 68 h 113"/>
                <a:gd name="T82" fmla="*/ 52 w 133"/>
                <a:gd name="T83" fmla="*/ 90 h 113"/>
                <a:gd name="T84" fmla="*/ 47 w 133"/>
                <a:gd name="T85" fmla="*/ 108 h 113"/>
                <a:gd name="T86" fmla="*/ 81 w 133"/>
                <a:gd name="T87" fmla="*/ 113 h 113"/>
                <a:gd name="T88" fmla="*/ 85 w 133"/>
                <a:gd name="T89" fmla="*/ 95 h 113"/>
                <a:gd name="T90" fmla="*/ 68 w 133"/>
                <a:gd name="T91" fmla="*/ 90 h 113"/>
                <a:gd name="T92" fmla="*/ 81 w 133"/>
                <a:gd name="T93" fmla="*/ 68 h 113"/>
                <a:gd name="T94" fmla="*/ 85 w 133"/>
                <a:gd name="T95" fmla="*/ 49 h 113"/>
                <a:gd name="T96" fmla="*/ 68 w 133"/>
                <a:gd name="T97" fmla="*/ 45 h 113"/>
                <a:gd name="T98" fmla="*/ 110 w 133"/>
                <a:gd name="T99" fmla="*/ 35 h 113"/>
                <a:gd name="T100" fmla="*/ 113 w 133"/>
                <a:gd name="T101" fmla="*/ 45 h 113"/>
                <a:gd name="T102" fmla="*/ 95 w 133"/>
                <a:gd name="T103" fmla="*/ 49 h 113"/>
                <a:gd name="T104" fmla="*/ 100 w 133"/>
                <a:gd name="T105" fmla="*/ 68 h 113"/>
                <a:gd name="T106" fmla="*/ 133 w 133"/>
                <a:gd name="T107" fmla="*/ 63 h 113"/>
                <a:gd name="T108" fmla="*/ 129 w 133"/>
                <a:gd name="T109" fmla="*/ 4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13">
                  <a:moveTo>
                    <a:pt x="130" y="63"/>
                  </a:moveTo>
                  <a:cubicBezTo>
                    <a:pt x="130" y="64"/>
                    <a:pt x="129" y="64"/>
                    <a:pt x="129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99" y="64"/>
                    <a:pt x="99" y="64"/>
                    <a:pt x="99" y="63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8"/>
                    <a:pt x="100" y="48"/>
                  </a:cubicBezTo>
                  <a:cubicBezTo>
                    <a:pt x="129" y="48"/>
                    <a:pt x="129" y="48"/>
                    <a:pt x="129" y="48"/>
                  </a:cubicBezTo>
                  <a:cubicBezTo>
                    <a:pt x="129" y="48"/>
                    <a:pt x="130" y="49"/>
                    <a:pt x="130" y="49"/>
                  </a:cubicBezTo>
                  <a:lnTo>
                    <a:pt x="130" y="63"/>
                  </a:lnTo>
                  <a:close/>
                  <a:moveTo>
                    <a:pt x="82" y="49"/>
                  </a:moveTo>
                  <a:cubicBezTo>
                    <a:pt x="82" y="63"/>
                    <a:pt x="82" y="63"/>
                    <a:pt x="82" y="63"/>
                  </a:cubicBezTo>
                  <a:cubicBezTo>
                    <a:pt x="82" y="64"/>
                    <a:pt x="82" y="64"/>
                    <a:pt x="81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4"/>
                    <a:pt x="51" y="64"/>
                    <a:pt x="51" y="63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9"/>
                    <a:pt x="51" y="48"/>
                    <a:pt x="52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2" y="48"/>
                    <a:pt x="82" y="49"/>
                    <a:pt x="82" y="49"/>
                  </a:cubicBezTo>
                  <a:moveTo>
                    <a:pt x="82" y="95"/>
                  </a:moveTo>
                  <a:cubicBezTo>
                    <a:pt x="82" y="108"/>
                    <a:pt x="82" y="108"/>
                    <a:pt x="82" y="108"/>
                  </a:cubicBezTo>
                  <a:cubicBezTo>
                    <a:pt x="82" y="109"/>
                    <a:pt x="82" y="109"/>
                    <a:pt x="81" y="109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1" y="109"/>
                    <a:pt x="51" y="109"/>
                    <a:pt x="51" y="108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2" y="94"/>
                    <a:pt x="82" y="94"/>
                    <a:pt x="82" y="95"/>
                  </a:cubicBezTo>
                  <a:moveTo>
                    <a:pt x="34" y="49"/>
                  </a:moveTo>
                  <a:cubicBezTo>
                    <a:pt x="34" y="63"/>
                    <a:pt x="34" y="63"/>
                    <a:pt x="34" y="63"/>
                  </a:cubicBezTo>
                  <a:cubicBezTo>
                    <a:pt x="34" y="64"/>
                    <a:pt x="34" y="64"/>
                    <a:pt x="33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4"/>
                    <a:pt x="3" y="6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8"/>
                    <a:pt x="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4" y="48"/>
                    <a:pt x="34" y="49"/>
                    <a:pt x="34" y="49"/>
                  </a:cubicBezTo>
                  <a:moveTo>
                    <a:pt x="51" y="18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3"/>
                    <a:pt x="52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2" y="3"/>
                    <a:pt x="82" y="4"/>
                    <a:pt x="82" y="4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8"/>
                    <a:pt x="82" y="19"/>
                    <a:pt x="8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9"/>
                    <a:pt x="51" y="18"/>
                    <a:pt x="51" y="18"/>
                  </a:cubicBezTo>
                  <a:moveTo>
                    <a:pt x="129" y="45"/>
                  </a:moveTo>
                  <a:cubicBezTo>
                    <a:pt x="116" y="45"/>
                    <a:pt x="116" y="45"/>
                    <a:pt x="116" y="45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5"/>
                    <a:pt x="113" y="32"/>
                    <a:pt x="110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3" y="22"/>
                    <a:pt x="85" y="20"/>
                    <a:pt x="85" y="18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2"/>
                    <a:pt x="83" y="0"/>
                    <a:pt x="8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9" y="0"/>
                    <a:pt x="47" y="2"/>
                    <a:pt x="47" y="4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20"/>
                    <a:pt x="49" y="22"/>
                    <a:pt x="52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19" y="32"/>
                    <a:pt x="17" y="35"/>
                    <a:pt x="17" y="38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2" y="45"/>
                    <a:pt x="0" y="47"/>
                    <a:pt x="0" y="49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6"/>
                    <a:pt x="2" y="68"/>
                    <a:pt x="4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5" y="68"/>
                    <a:pt x="37" y="66"/>
                    <a:pt x="37" y="63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7"/>
                    <a:pt x="35" y="45"/>
                    <a:pt x="33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7"/>
                    <a:pt x="21" y="35"/>
                    <a:pt x="23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49" y="45"/>
                    <a:pt x="47" y="47"/>
                    <a:pt x="47" y="49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6"/>
                    <a:pt x="49" y="68"/>
                    <a:pt x="52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49" y="90"/>
                    <a:pt x="47" y="92"/>
                    <a:pt x="47" y="95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11"/>
                    <a:pt x="49" y="113"/>
                    <a:pt x="52" y="113"/>
                  </a:cubicBezTo>
                  <a:cubicBezTo>
                    <a:pt x="81" y="113"/>
                    <a:pt x="81" y="113"/>
                    <a:pt x="81" y="113"/>
                  </a:cubicBezTo>
                  <a:cubicBezTo>
                    <a:pt x="83" y="113"/>
                    <a:pt x="85" y="111"/>
                    <a:pt x="85" y="108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2"/>
                    <a:pt x="83" y="90"/>
                    <a:pt x="81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3" y="68"/>
                    <a:pt x="85" y="66"/>
                    <a:pt x="85" y="6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7"/>
                    <a:pt x="83" y="45"/>
                    <a:pt x="81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1" y="35"/>
                    <a:pt x="113" y="37"/>
                    <a:pt x="113" y="38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97" y="45"/>
                    <a:pt x="95" y="47"/>
                    <a:pt x="95" y="49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5" y="66"/>
                    <a:pt x="97" y="68"/>
                    <a:pt x="100" y="68"/>
                  </a:cubicBezTo>
                  <a:cubicBezTo>
                    <a:pt x="129" y="68"/>
                    <a:pt x="129" y="68"/>
                    <a:pt x="129" y="68"/>
                  </a:cubicBezTo>
                  <a:cubicBezTo>
                    <a:pt x="131" y="68"/>
                    <a:pt x="133" y="66"/>
                    <a:pt x="133" y="63"/>
                  </a:cubicBezTo>
                  <a:cubicBezTo>
                    <a:pt x="133" y="49"/>
                    <a:pt x="133" y="49"/>
                    <a:pt x="133" y="49"/>
                  </a:cubicBezTo>
                  <a:cubicBezTo>
                    <a:pt x="133" y="47"/>
                    <a:pt x="131" y="45"/>
                    <a:pt x="129" y="4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72">
            <a:extLst>
              <a:ext uri="{FF2B5EF4-FFF2-40B4-BE49-F238E27FC236}">
                <a16:creationId xmlns:a16="http://schemas.microsoft.com/office/drawing/2014/main" id="{DDC7B2A8-EBBD-462B-9A77-454E53E392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924" y="1577975"/>
            <a:ext cx="758825" cy="758825"/>
            <a:chOff x="898" y="1248"/>
            <a:chExt cx="478" cy="478"/>
          </a:xfrm>
        </p:grpSpPr>
        <p:sp>
          <p:nvSpPr>
            <p:cNvPr id="84" name="AutoShape 71">
              <a:extLst>
                <a:ext uri="{FF2B5EF4-FFF2-40B4-BE49-F238E27FC236}">
                  <a16:creationId xmlns:a16="http://schemas.microsoft.com/office/drawing/2014/main" id="{F642C124-F594-46D4-8424-B2DAF82D28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8" y="124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CECF4921-410A-44D6-9D31-A6441D3F0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" y="125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162 w 194"/>
                <a:gd name="T11" fmla="*/ 162 h 194"/>
                <a:gd name="T12" fmla="*/ 97 w 194"/>
                <a:gd name="T13" fmla="*/ 189 h 194"/>
                <a:gd name="T14" fmla="*/ 32 w 194"/>
                <a:gd name="T15" fmla="*/ 162 h 194"/>
                <a:gd name="T16" fmla="*/ 5 w 194"/>
                <a:gd name="T17" fmla="*/ 97 h 194"/>
                <a:gd name="T18" fmla="*/ 32 w 194"/>
                <a:gd name="T19" fmla="*/ 32 h 194"/>
                <a:gd name="T20" fmla="*/ 97 w 194"/>
                <a:gd name="T21" fmla="*/ 5 h 194"/>
                <a:gd name="T22" fmla="*/ 162 w 194"/>
                <a:gd name="T23" fmla="*/ 32 h 194"/>
                <a:gd name="T24" fmla="*/ 189 w 194"/>
                <a:gd name="T25" fmla="*/ 97 h 194"/>
                <a:gd name="T26" fmla="*/ 162 w 194"/>
                <a:gd name="T27" fmla="*/ 16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162" y="162"/>
                  </a:moveTo>
                  <a:cubicBezTo>
                    <a:pt x="145" y="180"/>
                    <a:pt x="122" y="189"/>
                    <a:pt x="97" y="189"/>
                  </a:cubicBezTo>
                  <a:cubicBezTo>
                    <a:pt x="72" y="189"/>
                    <a:pt x="49" y="180"/>
                    <a:pt x="32" y="162"/>
                  </a:cubicBezTo>
                  <a:cubicBezTo>
                    <a:pt x="14" y="145"/>
                    <a:pt x="5" y="122"/>
                    <a:pt x="5" y="97"/>
                  </a:cubicBezTo>
                  <a:cubicBezTo>
                    <a:pt x="5" y="72"/>
                    <a:pt x="14" y="49"/>
                    <a:pt x="32" y="32"/>
                  </a:cubicBezTo>
                  <a:cubicBezTo>
                    <a:pt x="49" y="14"/>
                    <a:pt x="72" y="5"/>
                    <a:pt x="97" y="5"/>
                  </a:cubicBezTo>
                  <a:cubicBezTo>
                    <a:pt x="122" y="5"/>
                    <a:pt x="145" y="14"/>
                    <a:pt x="162" y="32"/>
                  </a:cubicBezTo>
                  <a:cubicBezTo>
                    <a:pt x="180" y="49"/>
                    <a:pt x="189" y="72"/>
                    <a:pt x="189" y="97"/>
                  </a:cubicBezTo>
                  <a:cubicBezTo>
                    <a:pt x="189" y="122"/>
                    <a:pt x="180" y="145"/>
                    <a:pt x="162" y="162"/>
                  </a:cubicBezTo>
                </a:path>
              </a:pathLst>
            </a:custGeom>
            <a:solidFill>
              <a:srgbClr val="09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FFDC8C7D-D568-4229-9801-3DD8001BE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" y="1351"/>
              <a:ext cx="311" cy="289"/>
            </a:xfrm>
            <a:custGeom>
              <a:avLst/>
              <a:gdLst>
                <a:gd name="T0" fmla="*/ 103 w 127"/>
                <a:gd name="T1" fmla="*/ 115 h 118"/>
                <a:gd name="T2" fmla="*/ 103 w 127"/>
                <a:gd name="T3" fmla="*/ 75 h 118"/>
                <a:gd name="T4" fmla="*/ 111 w 127"/>
                <a:gd name="T5" fmla="*/ 90 h 118"/>
                <a:gd name="T6" fmla="*/ 119 w 127"/>
                <a:gd name="T7" fmla="*/ 75 h 118"/>
                <a:gd name="T8" fmla="*/ 23 w 127"/>
                <a:gd name="T9" fmla="*/ 64 h 118"/>
                <a:gd name="T10" fmla="*/ 23 w 127"/>
                <a:gd name="T11" fmla="*/ 64 h 118"/>
                <a:gd name="T12" fmla="*/ 34 w 127"/>
                <a:gd name="T13" fmla="*/ 4 h 118"/>
                <a:gd name="T14" fmla="*/ 49 w 127"/>
                <a:gd name="T15" fmla="*/ 4 h 118"/>
                <a:gd name="T16" fmla="*/ 60 w 127"/>
                <a:gd name="T17" fmla="*/ 64 h 118"/>
                <a:gd name="T18" fmla="*/ 60 w 127"/>
                <a:gd name="T19" fmla="*/ 64 h 118"/>
                <a:gd name="T20" fmla="*/ 26 w 127"/>
                <a:gd name="T21" fmla="*/ 63 h 118"/>
                <a:gd name="T22" fmla="*/ 40 w 127"/>
                <a:gd name="T23" fmla="*/ 57 h 118"/>
                <a:gd name="T24" fmla="*/ 40 w 127"/>
                <a:gd name="T25" fmla="*/ 43 h 118"/>
                <a:gd name="T26" fmla="*/ 22 w 127"/>
                <a:gd name="T27" fmla="*/ 40 h 118"/>
                <a:gd name="T28" fmla="*/ 40 w 127"/>
                <a:gd name="T29" fmla="*/ 23 h 118"/>
                <a:gd name="T30" fmla="*/ 40 w 127"/>
                <a:gd name="T31" fmla="*/ 23 h 118"/>
                <a:gd name="T32" fmla="*/ 57 w 127"/>
                <a:gd name="T33" fmla="*/ 20 h 118"/>
                <a:gd name="T34" fmla="*/ 43 w 127"/>
                <a:gd name="T35" fmla="*/ 26 h 118"/>
                <a:gd name="T36" fmla="*/ 43 w 127"/>
                <a:gd name="T37" fmla="*/ 40 h 118"/>
                <a:gd name="T38" fmla="*/ 61 w 127"/>
                <a:gd name="T39" fmla="*/ 43 h 118"/>
                <a:gd name="T40" fmla="*/ 43 w 127"/>
                <a:gd name="T41" fmla="*/ 60 h 118"/>
                <a:gd name="T42" fmla="*/ 43 w 127"/>
                <a:gd name="T43" fmla="*/ 60 h 118"/>
                <a:gd name="T44" fmla="*/ 64 w 127"/>
                <a:gd name="T45" fmla="*/ 43 h 118"/>
                <a:gd name="T46" fmla="*/ 79 w 127"/>
                <a:gd name="T47" fmla="*/ 40 h 118"/>
                <a:gd name="T48" fmla="*/ 69 w 127"/>
                <a:gd name="T49" fmla="*/ 16 h 118"/>
                <a:gd name="T50" fmla="*/ 22 w 127"/>
                <a:gd name="T51" fmla="*/ 22 h 118"/>
                <a:gd name="T52" fmla="*/ 14 w 127"/>
                <a:gd name="T53" fmla="*/ 16 h 118"/>
                <a:gd name="T54" fmla="*/ 22 w 127"/>
                <a:gd name="T55" fmla="*/ 61 h 118"/>
                <a:gd name="T56" fmla="*/ 119 w 127"/>
                <a:gd name="T57" fmla="*/ 72 h 118"/>
                <a:gd name="T58" fmla="*/ 104 w 127"/>
                <a:gd name="T59" fmla="*/ 54 h 118"/>
                <a:gd name="T60" fmla="*/ 48 w 127"/>
                <a:gd name="T61" fmla="*/ 91 h 118"/>
                <a:gd name="T62" fmla="*/ 70 w 127"/>
                <a:gd name="T63" fmla="*/ 71 h 118"/>
                <a:gd name="T64" fmla="*/ 83 w 127"/>
                <a:gd name="T65" fmla="*/ 41 h 118"/>
                <a:gd name="T66" fmla="*/ 70 w 127"/>
                <a:gd name="T67" fmla="*/ 12 h 118"/>
                <a:gd name="T68" fmla="*/ 41 w 127"/>
                <a:gd name="T69" fmla="*/ 0 h 118"/>
                <a:gd name="T70" fmla="*/ 12 w 127"/>
                <a:gd name="T71" fmla="*/ 12 h 118"/>
                <a:gd name="T72" fmla="*/ 0 w 127"/>
                <a:gd name="T73" fmla="*/ 41 h 118"/>
                <a:gd name="T74" fmla="*/ 13 w 127"/>
                <a:gd name="T75" fmla="*/ 71 h 118"/>
                <a:gd name="T76" fmla="*/ 55 w 127"/>
                <a:gd name="T77" fmla="*/ 96 h 118"/>
                <a:gd name="T78" fmla="*/ 104 w 127"/>
                <a:gd name="T79" fmla="*/ 57 h 118"/>
                <a:gd name="T80" fmla="*/ 103 w 127"/>
                <a:gd name="T81" fmla="*/ 72 h 118"/>
                <a:gd name="T82" fmla="*/ 103 w 127"/>
                <a:gd name="T83" fmla="*/ 118 h 118"/>
                <a:gd name="T84" fmla="*/ 127 w 127"/>
                <a:gd name="T85" fmla="*/ 7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" h="118">
                  <a:moveTo>
                    <a:pt x="123" y="111"/>
                  </a:moveTo>
                  <a:cubicBezTo>
                    <a:pt x="123" y="113"/>
                    <a:pt x="121" y="115"/>
                    <a:pt x="119" y="11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0" y="115"/>
                    <a:pt x="99" y="113"/>
                    <a:pt x="99" y="111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7"/>
                    <a:pt x="100" y="75"/>
                    <a:pt x="103" y="7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9"/>
                    <a:pt x="110" y="90"/>
                    <a:pt x="111" y="90"/>
                  </a:cubicBezTo>
                  <a:cubicBezTo>
                    <a:pt x="112" y="90"/>
                    <a:pt x="113" y="89"/>
                    <a:pt x="113" y="88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21" y="75"/>
                    <a:pt x="123" y="77"/>
                    <a:pt x="123" y="79"/>
                  </a:cubicBezTo>
                  <a:lnTo>
                    <a:pt x="123" y="111"/>
                  </a:lnTo>
                  <a:close/>
                  <a:moveTo>
                    <a:pt x="23" y="64"/>
                  </a:moveTo>
                  <a:cubicBezTo>
                    <a:pt x="26" y="71"/>
                    <a:pt x="31" y="76"/>
                    <a:pt x="34" y="79"/>
                  </a:cubicBezTo>
                  <a:cubicBezTo>
                    <a:pt x="27" y="77"/>
                    <a:pt x="21" y="74"/>
                    <a:pt x="16" y="70"/>
                  </a:cubicBezTo>
                  <a:cubicBezTo>
                    <a:pt x="17" y="68"/>
                    <a:pt x="19" y="66"/>
                    <a:pt x="23" y="64"/>
                  </a:cubicBezTo>
                  <a:moveTo>
                    <a:pt x="23" y="19"/>
                  </a:moveTo>
                  <a:cubicBezTo>
                    <a:pt x="19" y="17"/>
                    <a:pt x="17" y="14"/>
                    <a:pt x="16" y="13"/>
                  </a:cubicBezTo>
                  <a:cubicBezTo>
                    <a:pt x="21" y="9"/>
                    <a:pt x="27" y="5"/>
                    <a:pt x="34" y="4"/>
                  </a:cubicBezTo>
                  <a:cubicBezTo>
                    <a:pt x="31" y="7"/>
                    <a:pt x="26" y="12"/>
                    <a:pt x="23" y="19"/>
                  </a:cubicBezTo>
                  <a:moveTo>
                    <a:pt x="60" y="19"/>
                  </a:moveTo>
                  <a:cubicBezTo>
                    <a:pt x="57" y="12"/>
                    <a:pt x="52" y="7"/>
                    <a:pt x="49" y="4"/>
                  </a:cubicBezTo>
                  <a:cubicBezTo>
                    <a:pt x="55" y="5"/>
                    <a:pt x="62" y="9"/>
                    <a:pt x="67" y="13"/>
                  </a:cubicBezTo>
                  <a:cubicBezTo>
                    <a:pt x="66" y="14"/>
                    <a:pt x="64" y="17"/>
                    <a:pt x="60" y="19"/>
                  </a:cubicBezTo>
                  <a:moveTo>
                    <a:pt x="60" y="64"/>
                  </a:moveTo>
                  <a:cubicBezTo>
                    <a:pt x="64" y="66"/>
                    <a:pt x="66" y="68"/>
                    <a:pt x="67" y="70"/>
                  </a:cubicBezTo>
                  <a:cubicBezTo>
                    <a:pt x="62" y="74"/>
                    <a:pt x="55" y="77"/>
                    <a:pt x="49" y="79"/>
                  </a:cubicBezTo>
                  <a:cubicBezTo>
                    <a:pt x="52" y="76"/>
                    <a:pt x="57" y="71"/>
                    <a:pt x="60" y="64"/>
                  </a:cubicBezTo>
                  <a:moveTo>
                    <a:pt x="40" y="60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36" y="76"/>
                    <a:pt x="30" y="72"/>
                    <a:pt x="26" y="63"/>
                  </a:cubicBezTo>
                  <a:cubicBezTo>
                    <a:pt x="29" y="61"/>
                    <a:pt x="34" y="60"/>
                    <a:pt x="40" y="60"/>
                  </a:cubicBezTo>
                  <a:moveTo>
                    <a:pt x="40" y="43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33" y="57"/>
                    <a:pt x="29" y="58"/>
                    <a:pt x="25" y="59"/>
                  </a:cubicBezTo>
                  <a:cubicBezTo>
                    <a:pt x="23" y="55"/>
                    <a:pt x="22" y="50"/>
                    <a:pt x="22" y="43"/>
                  </a:cubicBezTo>
                  <a:lnTo>
                    <a:pt x="40" y="43"/>
                  </a:lnTo>
                  <a:close/>
                  <a:moveTo>
                    <a:pt x="40" y="26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3"/>
                    <a:pt x="23" y="28"/>
                    <a:pt x="25" y="23"/>
                  </a:cubicBezTo>
                  <a:cubicBezTo>
                    <a:pt x="29" y="25"/>
                    <a:pt x="33" y="26"/>
                    <a:pt x="40" y="26"/>
                  </a:cubicBezTo>
                  <a:moveTo>
                    <a:pt x="40" y="23"/>
                  </a:moveTo>
                  <a:cubicBezTo>
                    <a:pt x="34" y="22"/>
                    <a:pt x="29" y="21"/>
                    <a:pt x="26" y="20"/>
                  </a:cubicBezTo>
                  <a:cubicBezTo>
                    <a:pt x="30" y="11"/>
                    <a:pt x="36" y="6"/>
                    <a:pt x="40" y="4"/>
                  </a:cubicBezTo>
                  <a:lnTo>
                    <a:pt x="40" y="23"/>
                  </a:lnTo>
                  <a:close/>
                  <a:moveTo>
                    <a:pt x="43" y="23"/>
                  </a:moveTo>
                  <a:cubicBezTo>
                    <a:pt x="43" y="4"/>
                    <a:pt x="43" y="4"/>
                    <a:pt x="43" y="4"/>
                  </a:cubicBezTo>
                  <a:cubicBezTo>
                    <a:pt x="46" y="7"/>
                    <a:pt x="53" y="11"/>
                    <a:pt x="57" y="20"/>
                  </a:cubicBezTo>
                  <a:cubicBezTo>
                    <a:pt x="53" y="21"/>
                    <a:pt x="49" y="22"/>
                    <a:pt x="43" y="23"/>
                  </a:cubicBezTo>
                  <a:moveTo>
                    <a:pt x="43" y="40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9" y="26"/>
                    <a:pt x="54" y="25"/>
                    <a:pt x="58" y="23"/>
                  </a:cubicBezTo>
                  <a:cubicBezTo>
                    <a:pt x="60" y="28"/>
                    <a:pt x="61" y="33"/>
                    <a:pt x="61" y="40"/>
                  </a:cubicBezTo>
                  <a:lnTo>
                    <a:pt x="43" y="40"/>
                  </a:lnTo>
                  <a:close/>
                  <a:moveTo>
                    <a:pt x="43" y="57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50"/>
                    <a:pt x="60" y="55"/>
                    <a:pt x="58" y="59"/>
                  </a:cubicBezTo>
                  <a:cubicBezTo>
                    <a:pt x="54" y="58"/>
                    <a:pt x="49" y="57"/>
                    <a:pt x="43" y="57"/>
                  </a:cubicBezTo>
                  <a:moveTo>
                    <a:pt x="43" y="60"/>
                  </a:moveTo>
                  <a:cubicBezTo>
                    <a:pt x="49" y="60"/>
                    <a:pt x="53" y="61"/>
                    <a:pt x="57" y="63"/>
                  </a:cubicBezTo>
                  <a:cubicBezTo>
                    <a:pt x="53" y="72"/>
                    <a:pt x="46" y="76"/>
                    <a:pt x="43" y="78"/>
                  </a:cubicBezTo>
                  <a:lnTo>
                    <a:pt x="43" y="60"/>
                  </a:lnTo>
                  <a:close/>
                  <a:moveTo>
                    <a:pt x="69" y="67"/>
                  </a:moveTo>
                  <a:cubicBezTo>
                    <a:pt x="68" y="66"/>
                    <a:pt x="65" y="63"/>
                    <a:pt x="61" y="61"/>
                  </a:cubicBezTo>
                  <a:cubicBezTo>
                    <a:pt x="63" y="56"/>
                    <a:pt x="64" y="50"/>
                    <a:pt x="64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52"/>
                    <a:pt x="75" y="61"/>
                    <a:pt x="69" y="67"/>
                  </a:cubicBezTo>
                  <a:moveTo>
                    <a:pt x="79" y="40"/>
                  </a:moveTo>
                  <a:cubicBezTo>
                    <a:pt x="64" y="40"/>
                    <a:pt x="64" y="40"/>
                    <a:pt x="64" y="40"/>
                  </a:cubicBezTo>
                  <a:cubicBezTo>
                    <a:pt x="64" y="33"/>
                    <a:pt x="63" y="27"/>
                    <a:pt x="61" y="22"/>
                  </a:cubicBezTo>
                  <a:cubicBezTo>
                    <a:pt x="65" y="20"/>
                    <a:pt x="68" y="17"/>
                    <a:pt x="69" y="16"/>
                  </a:cubicBezTo>
                  <a:cubicBezTo>
                    <a:pt x="75" y="22"/>
                    <a:pt x="79" y="30"/>
                    <a:pt x="79" y="40"/>
                  </a:cubicBezTo>
                  <a:moveTo>
                    <a:pt x="14" y="16"/>
                  </a:moveTo>
                  <a:cubicBezTo>
                    <a:pt x="15" y="17"/>
                    <a:pt x="17" y="20"/>
                    <a:pt x="22" y="22"/>
                  </a:cubicBezTo>
                  <a:cubicBezTo>
                    <a:pt x="20" y="27"/>
                    <a:pt x="19" y="33"/>
                    <a:pt x="18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30"/>
                    <a:pt x="8" y="22"/>
                    <a:pt x="14" y="16"/>
                  </a:cubicBezTo>
                  <a:moveTo>
                    <a:pt x="3" y="43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19" y="50"/>
                    <a:pt x="20" y="56"/>
                    <a:pt x="22" y="61"/>
                  </a:cubicBezTo>
                  <a:cubicBezTo>
                    <a:pt x="17" y="63"/>
                    <a:pt x="15" y="66"/>
                    <a:pt x="14" y="67"/>
                  </a:cubicBezTo>
                  <a:cubicBezTo>
                    <a:pt x="8" y="61"/>
                    <a:pt x="4" y="52"/>
                    <a:pt x="3" y="43"/>
                  </a:cubicBezTo>
                  <a:moveTo>
                    <a:pt x="119" y="72"/>
                  </a:moveTo>
                  <a:cubicBezTo>
                    <a:pt x="113" y="72"/>
                    <a:pt x="113" y="72"/>
                    <a:pt x="113" y="72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58"/>
                    <a:pt x="109" y="54"/>
                    <a:pt x="104" y="54"/>
                  </a:cubicBezTo>
                  <a:cubicBezTo>
                    <a:pt x="99" y="54"/>
                    <a:pt x="95" y="56"/>
                    <a:pt x="93" y="60"/>
                  </a:cubicBezTo>
                  <a:cubicBezTo>
                    <a:pt x="84" y="79"/>
                    <a:pt x="70" y="88"/>
                    <a:pt x="59" y="92"/>
                  </a:cubicBezTo>
                  <a:cubicBezTo>
                    <a:pt x="56" y="94"/>
                    <a:pt x="52" y="93"/>
                    <a:pt x="48" y="91"/>
                  </a:cubicBezTo>
                  <a:cubicBezTo>
                    <a:pt x="46" y="89"/>
                    <a:pt x="44" y="86"/>
                    <a:pt x="43" y="83"/>
                  </a:cubicBezTo>
                  <a:cubicBezTo>
                    <a:pt x="54" y="82"/>
                    <a:pt x="63" y="78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8" y="63"/>
                    <a:pt x="83" y="53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30"/>
                    <a:pt x="78" y="19"/>
                    <a:pt x="70" y="12"/>
                  </a:cubicBezTo>
                  <a:cubicBezTo>
                    <a:pt x="70" y="12"/>
                    <a:pt x="70" y="11"/>
                    <a:pt x="70" y="11"/>
                  </a:cubicBezTo>
                  <a:cubicBezTo>
                    <a:pt x="62" y="4"/>
                    <a:pt x="52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0" y="0"/>
                    <a:pt x="20" y="4"/>
                    <a:pt x="13" y="11"/>
                  </a:cubicBezTo>
                  <a:cubicBezTo>
                    <a:pt x="13" y="12"/>
                    <a:pt x="12" y="12"/>
                    <a:pt x="12" y="12"/>
                  </a:cubicBezTo>
                  <a:cubicBezTo>
                    <a:pt x="5" y="19"/>
                    <a:pt x="0" y="3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3"/>
                    <a:pt x="5" y="63"/>
                    <a:pt x="12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20" y="78"/>
                    <a:pt x="29" y="82"/>
                    <a:pt x="40" y="83"/>
                  </a:cubicBezTo>
                  <a:cubicBezTo>
                    <a:pt x="40" y="87"/>
                    <a:pt x="43" y="91"/>
                    <a:pt x="46" y="94"/>
                  </a:cubicBezTo>
                  <a:cubicBezTo>
                    <a:pt x="49" y="96"/>
                    <a:pt x="52" y="96"/>
                    <a:pt x="55" y="96"/>
                  </a:cubicBezTo>
                  <a:cubicBezTo>
                    <a:pt x="57" y="96"/>
                    <a:pt x="59" y="96"/>
                    <a:pt x="61" y="95"/>
                  </a:cubicBezTo>
                  <a:cubicBezTo>
                    <a:pt x="71" y="91"/>
                    <a:pt x="86" y="82"/>
                    <a:pt x="96" y="62"/>
                  </a:cubicBezTo>
                  <a:cubicBezTo>
                    <a:pt x="97" y="59"/>
                    <a:pt x="100" y="57"/>
                    <a:pt x="104" y="57"/>
                  </a:cubicBezTo>
                  <a:cubicBezTo>
                    <a:pt x="107" y="57"/>
                    <a:pt x="109" y="60"/>
                    <a:pt x="109" y="63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3" y="72"/>
                    <a:pt x="103" y="72"/>
                    <a:pt x="103" y="72"/>
                  </a:cubicBezTo>
                  <a:cubicBezTo>
                    <a:pt x="99" y="72"/>
                    <a:pt x="95" y="75"/>
                    <a:pt x="95" y="79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115"/>
                    <a:pt x="99" y="118"/>
                    <a:pt x="103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3" y="118"/>
                    <a:pt x="127" y="115"/>
                    <a:pt x="127" y="111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7" y="75"/>
                    <a:pt x="123" y="72"/>
                    <a:pt x="119" y="7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7" name="Group 77">
            <a:extLst>
              <a:ext uri="{FF2B5EF4-FFF2-40B4-BE49-F238E27FC236}">
                <a16:creationId xmlns:a16="http://schemas.microsoft.com/office/drawing/2014/main" id="{8F652A06-DE04-4DCF-AA8E-D435D3859B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7" y="1536700"/>
            <a:ext cx="841375" cy="841375"/>
            <a:chOff x="398" y="1064"/>
            <a:chExt cx="530" cy="530"/>
          </a:xfrm>
        </p:grpSpPr>
        <p:sp>
          <p:nvSpPr>
            <p:cNvPr id="88" name="AutoShape 76">
              <a:extLst>
                <a:ext uri="{FF2B5EF4-FFF2-40B4-BE49-F238E27FC236}">
                  <a16:creationId xmlns:a16="http://schemas.microsoft.com/office/drawing/2014/main" id="{D83BE94B-6FC9-4DB2-9908-59E4CB9AC4D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8" y="106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Oval 78">
              <a:extLst>
                <a:ext uri="{FF2B5EF4-FFF2-40B4-BE49-F238E27FC236}">
                  <a16:creationId xmlns:a16="http://schemas.microsoft.com/office/drawing/2014/main" id="{0CEA76E2-0A71-4630-AEC8-A5539C3F1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" y="1067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79">
              <a:extLst>
                <a:ext uri="{FF2B5EF4-FFF2-40B4-BE49-F238E27FC236}">
                  <a16:creationId xmlns:a16="http://schemas.microsoft.com/office/drawing/2014/main" id="{31B859E8-0619-44FA-A8D1-CBE3754ED5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1088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0">
              <a:extLst>
                <a:ext uri="{FF2B5EF4-FFF2-40B4-BE49-F238E27FC236}">
                  <a16:creationId xmlns:a16="http://schemas.microsoft.com/office/drawing/2014/main" id="{A7503FF1-833C-4EBB-9F4B-8EF3551EA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" y="1167"/>
              <a:ext cx="346" cy="324"/>
            </a:xfrm>
            <a:custGeom>
              <a:avLst/>
              <a:gdLst>
                <a:gd name="T0" fmla="*/ 103 w 127"/>
                <a:gd name="T1" fmla="*/ 115 h 119"/>
                <a:gd name="T2" fmla="*/ 103 w 127"/>
                <a:gd name="T3" fmla="*/ 76 h 119"/>
                <a:gd name="T4" fmla="*/ 111 w 127"/>
                <a:gd name="T5" fmla="*/ 91 h 119"/>
                <a:gd name="T6" fmla="*/ 119 w 127"/>
                <a:gd name="T7" fmla="*/ 76 h 119"/>
                <a:gd name="T8" fmla="*/ 23 w 127"/>
                <a:gd name="T9" fmla="*/ 64 h 119"/>
                <a:gd name="T10" fmla="*/ 23 w 127"/>
                <a:gd name="T11" fmla="*/ 64 h 119"/>
                <a:gd name="T12" fmla="*/ 35 w 127"/>
                <a:gd name="T13" fmla="*/ 4 h 119"/>
                <a:gd name="T14" fmla="*/ 49 w 127"/>
                <a:gd name="T15" fmla="*/ 4 h 119"/>
                <a:gd name="T16" fmla="*/ 60 w 127"/>
                <a:gd name="T17" fmla="*/ 64 h 119"/>
                <a:gd name="T18" fmla="*/ 60 w 127"/>
                <a:gd name="T19" fmla="*/ 64 h 119"/>
                <a:gd name="T20" fmla="*/ 26 w 127"/>
                <a:gd name="T21" fmla="*/ 63 h 119"/>
                <a:gd name="T22" fmla="*/ 40 w 127"/>
                <a:gd name="T23" fmla="*/ 57 h 119"/>
                <a:gd name="T24" fmla="*/ 40 w 127"/>
                <a:gd name="T25" fmla="*/ 43 h 119"/>
                <a:gd name="T26" fmla="*/ 22 w 127"/>
                <a:gd name="T27" fmla="*/ 40 h 119"/>
                <a:gd name="T28" fmla="*/ 40 w 127"/>
                <a:gd name="T29" fmla="*/ 23 h 119"/>
                <a:gd name="T30" fmla="*/ 40 w 127"/>
                <a:gd name="T31" fmla="*/ 23 h 119"/>
                <a:gd name="T32" fmla="*/ 57 w 127"/>
                <a:gd name="T33" fmla="*/ 21 h 119"/>
                <a:gd name="T34" fmla="*/ 43 w 127"/>
                <a:gd name="T35" fmla="*/ 26 h 119"/>
                <a:gd name="T36" fmla="*/ 43 w 127"/>
                <a:gd name="T37" fmla="*/ 40 h 119"/>
                <a:gd name="T38" fmla="*/ 61 w 127"/>
                <a:gd name="T39" fmla="*/ 43 h 119"/>
                <a:gd name="T40" fmla="*/ 43 w 127"/>
                <a:gd name="T41" fmla="*/ 61 h 119"/>
                <a:gd name="T42" fmla="*/ 43 w 127"/>
                <a:gd name="T43" fmla="*/ 61 h 119"/>
                <a:gd name="T44" fmla="*/ 65 w 127"/>
                <a:gd name="T45" fmla="*/ 43 h 119"/>
                <a:gd name="T46" fmla="*/ 80 w 127"/>
                <a:gd name="T47" fmla="*/ 40 h 119"/>
                <a:gd name="T48" fmla="*/ 70 w 127"/>
                <a:gd name="T49" fmla="*/ 16 h 119"/>
                <a:gd name="T50" fmla="*/ 22 w 127"/>
                <a:gd name="T51" fmla="*/ 22 h 119"/>
                <a:gd name="T52" fmla="*/ 14 w 127"/>
                <a:gd name="T53" fmla="*/ 16 h 119"/>
                <a:gd name="T54" fmla="*/ 22 w 127"/>
                <a:gd name="T55" fmla="*/ 61 h 119"/>
                <a:gd name="T56" fmla="*/ 119 w 127"/>
                <a:gd name="T57" fmla="*/ 72 h 119"/>
                <a:gd name="T58" fmla="*/ 104 w 127"/>
                <a:gd name="T59" fmla="*/ 54 h 119"/>
                <a:gd name="T60" fmla="*/ 49 w 127"/>
                <a:gd name="T61" fmla="*/ 91 h 119"/>
                <a:gd name="T62" fmla="*/ 71 w 127"/>
                <a:gd name="T63" fmla="*/ 71 h 119"/>
                <a:gd name="T64" fmla="*/ 83 w 127"/>
                <a:gd name="T65" fmla="*/ 42 h 119"/>
                <a:gd name="T66" fmla="*/ 71 w 127"/>
                <a:gd name="T67" fmla="*/ 12 h 119"/>
                <a:gd name="T68" fmla="*/ 42 w 127"/>
                <a:gd name="T69" fmla="*/ 0 h 119"/>
                <a:gd name="T70" fmla="*/ 13 w 127"/>
                <a:gd name="T71" fmla="*/ 12 h 119"/>
                <a:gd name="T72" fmla="*/ 0 w 127"/>
                <a:gd name="T73" fmla="*/ 42 h 119"/>
                <a:gd name="T74" fmla="*/ 13 w 127"/>
                <a:gd name="T75" fmla="*/ 72 h 119"/>
                <a:gd name="T76" fmla="*/ 55 w 127"/>
                <a:gd name="T77" fmla="*/ 97 h 119"/>
                <a:gd name="T78" fmla="*/ 104 w 127"/>
                <a:gd name="T79" fmla="*/ 58 h 119"/>
                <a:gd name="T80" fmla="*/ 103 w 127"/>
                <a:gd name="T81" fmla="*/ 72 h 119"/>
                <a:gd name="T82" fmla="*/ 103 w 127"/>
                <a:gd name="T83" fmla="*/ 119 h 119"/>
                <a:gd name="T84" fmla="*/ 127 w 127"/>
                <a:gd name="T85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" h="119">
                  <a:moveTo>
                    <a:pt x="123" y="111"/>
                  </a:moveTo>
                  <a:cubicBezTo>
                    <a:pt x="123" y="113"/>
                    <a:pt x="121" y="115"/>
                    <a:pt x="119" y="11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1" y="115"/>
                    <a:pt x="99" y="113"/>
                    <a:pt x="99" y="111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9" y="77"/>
                    <a:pt x="101" y="76"/>
                    <a:pt x="103" y="76"/>
                  </a:cubicBezTo>
                  <a:cubicBezTo>
                    <a:pt x="109" y="76"/>
                    <a:pt x="109" y="76"/>
                    <a:pt x="109" y="76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109" y="90"/>
                    <a:pt x="110" y="91"/>
                    <a:pt x="111" y="91"/>
                  </a:cubicBezTo>
                  <a:cubicBezTo>
                    <a:pt x="112" y="91"/>
                    <a:pt x="113" y="90"/>
                    <a:pt x="113" y="89"/>
                  </a:cubicBezTo>
                  <a:cubicBezTo>
                    <a:pt x="113" y="76"/>
                    <a:pt x="113" y="76"/>
                    <a:pt x="113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6"/>
                    <a:pt x="123" y="77"/>
                    <a:pt x="123" y="80"/>
                  </a:cubicBezTo>
                  <a:lnTo>
                    <a:pt x="123" y="111"/>
                  </a:lnTo>
                  <a:close/>
                  <a:moveTo>
                    <a:pt x="23" y="64"/>
                  </a:moveTo>
                  <a:cubicBezTo>
                    <a:pt x="27" y="72"/>
                    <a:pt x="31" y="76"/>
                    <a:pt x="35" y="79"/>
                  </a:cubicBezTo>
                  <a:cubicBezTo>
                    <a:pt x="28" y="78"/>
                    <a:pt x="21" y="75"/>
                    <a:pt x="16" y="70"/>
                  </a:cubicBezTo>
                  <a:cubicBezTo>
                    <a:pt x="17" y="69"/>
                    <a:pt x="19" y="66"/>
                    <a:pt x="23" y="64"/>
                  </a:cubicBezTo>
                  <a:moveTo>
                    <a:pt x="23" y="19"/>
                  </a:moveTo>
                  <a:cubicBezTo>
                    <a:pt x="19" y="17"/>
                    <a:pt x="17" y="15"/>
                    <a:pt x="16" y="13"/>
                  </a:cubicBezTo>
                  <a:cubicBezTo>
                    <a:pt x="21" y="9"/>
                    <a:pt x="28" y="6"/>
                    <a:pt x="35" y="4"/>
                  </a:cubicBezTo>
                  <a:cubicBezTo>
                    <a:pt x="31" y="7"/>
                    <a:pt x="26" y="12"/>
                    <a:pt x="23" y="19"/>
                  </a:cubicBezTo>
                  <a:moveTo>
                    <a:pt x="60" y="19"/>
                  </a:moveTo>
                  <a:cubicBezTo>
                    <a:pt x="57" y="12"/>
                    <a:pt x="53" y="7"/>
                    <a:pt x="49" y="4"/>
                  </a:cubicBezTo>
                  <a:cubicBezTo>
                    <a:pt x="56" y="6"/>
                    <a:pt x="62" y="9"/>
                    <a:pt x="67" y="13"/>
                  </a:cubicBezTo>
                  <a:cubicBezTo>
                    <a:pt x="66" y="15"/>
                    <a:pt x="64" y="17"/>
                    <a:pt x="60" y="19"/>
                  </a:cubicBezTo>
                  <a:moveTo>
                    <a:pt x="60" y="64"/>
                  </a:moveTo>
                  <a:cubicBezTo>
                    <a:pt x="64" y="66"/>
                    <a:pt x="66" y="69"/>
                    <a:pt x="67" y="70"/>
                  </a:cubicBezTo>
                  <a:cubicBezTo>
                    <a:pt x="62" y="75"/>
                    <a:pt x="56" y="78"/>
                    <a:pt x="49" y="79"/>
                  </a:cubicBezTo>
                  <a:cubicBezTo>
                    <a:pt x="53" y="76"/>
                    <a:pt x="57" y="72"/>
                    <a:pt x="60" y="64"/>
                  </a:cubicBezTo>
                  <a:moveTo>
                    <a:pt x="40" y="61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37" y="77"/>
                    <a:pt x="30" y="72"/>
                    <a:pt x="26" y="63"/>
                  </a:cubicBezTo>
                  <a:cubicBezTo>
                    <a:pt x="30" y="62"/>
                    <a:pt x="34" y="61"/>
                    <a:pt x="40" y="61"/>
                  </a:cubicBezTo>
                  <a:moveTo>
                    <a:pt x="40" y="43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34" y="57"/>
                    <a:pt x="29" y="58"/>
                    <a:pt x="25" y="60"/>
                  </a:cubicBezTo>
                  <a:cubicBezTo>
                    <a:pt x="23" y="55"/>
                    <a:pt x="22" y="50"/>
                    <a:pt x="22" y="43"/>
                  </a:cubicBezTo>
                  <a:lnTo>
                    <a:pt x="40" y="43"/>
                  </a:lnTo>
                  <a:close/>
                  <a:moveTo>
                    <a:pt x="40" y="26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4"/>
                    <a:pt x="23" y="28"/>
                    <a:pt x="25" y="24"/>
                  </a:cubicBezTo>
                  <a:cubicBezTo>
                    <a:pt x="29" y="25"/>
                    <a:pt x="34" y="26"/>
                    <a:pt x="40" y="26"/>
                  </a:cubicBezTo>
                  <a:moveTo>
                    <a:pt x="40" y="23"/>
                  </a:moveTo>
                  <a:cubicBezTo>
                    <a:pt x="34" y="23"/>
                    <a:pt x="30" y="22"/>
                    <a:pt x="26" y="20"/>
                  </a:cubicBezTo>
                  <a:cubicBezTo>
                    <a:pt x="30" y="11"/>
                    <a:pt x="37" y="7"/>
                    <a:pt x="40" y="5"/>
                  </a:cubicBezTo>
                  <a:lnTo>
                    <a:pt x="40" y="23"/>
                  </a:lnTo>
                  <a:close/>
                  <a:moveTo>
                    <a:pt x="43" y="23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47" y="7"/>
                    <a:pt x="53" y="12"/>
                    <a:pt x="57" y="21"/>
                  </a:cubicBezTo>
                  <a:cubicBezTo>
                    <a:pt x="54" y="22"/>
                    <a:pt x="49" y="23"/>
                    <a:pt x="43" y="23"/>
                  </a:cubicBezTo>
                  <a:moveTo>
                    <a:pt x="43" y="40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50" y="26"/>
                    <a:pt x="54" y="25"/>
                    <a:pt x="58" y="24"/>
                  </a:cubicBezTo>
                  <a:cubicBezTo>
                    <a:pt x="60" y="28"/>
                    <a:pt x="61" y="34"/>
                    <a:pt x="61" y="40"/>
                  </a:cubicBezTo>
                  <a:lnTo>
                    <a:pt x="43" y="40"/>
                  </a:lnTo>
                  <a:close/>
                  <a:moveTo>
                    <a:pt x="43" y="57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50"/>
                    <a:pt x="60" y="55"/>
                    <a:pt x="58" y="60"/>
                  </a:cubicBezTo>
                  <a:cubicBezTo>
                    <a:pt x="55" y="58"/>
                    <a:pt x="50" y="57"/>
                    <a:pt x="43" y="57"/>
                  </a:cubicBezTo>
                  <a:moveTo>
                    <a:pt x="43" y="61"/>
                  </a:moveTo>
                  <a:cubicBezTo>
                    <a:pt x="49" y="61"/>
                    <a:pt x="54" y="62"/>
                    <a:pt x="57" y="63"/>
                  </a:cubicBezTo>
                  <a:cubicBezTo>
                    <a:pt x="53" y="72"/>
                    <a:pt x="47" y="77"/>
                    <a:pt x="43" y="79"/>
                  </a:cubicBezTo>
                  <a:lnTo>
                    <a:pt x="43" y="61"/>
                  </a:lnTo>
                  <a:close/>
                  <a:moveTo>
                    <a:pt x="70" y="68"/>
                  </a:moveTo>
                  <a:cubicBezTo>
                    <a:pt x="68" y="66"/>
                    <a:pt x="66" y="63"/>
                    <a:pt x="62" y="61"/>
                  </a:cubicBezTo>
                  <a:cubicBezTo>
                    <a:pt x="63" y="56"/>
                    <a:pt x="65" y="50"/>
                    <a:pt x="65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9" y="53"/>
                    <a:pt x="76" y="61"/>
                    <a:pt x="70" y="68"/>
                  </a:cubicBezTo>
                  <a:moveTo>
                    <a:pt x="80" y="40"/>
                  </a:moveTo>
                  <a:cubicBezTo>
                    <a:pt x="65" y="40"/>
                    <a:pt x="65" y="40"/>
                    <a:pt x="65" y="40"/>
                  </a:cubicBezTo>
                  <a:cubicBezTo>
                    <a:pt x="65" y="33"/>
                    <a:pt x="63" y="27"/>
                    <a:pt x="62" y="22"/>
                  </a:cubicBezTo>
                  <a:cubicBezTo>
                    <a:pt x="66" y="20"/>
                    <a:pt x="68" y="18"/>
                    <a:pt x="70" y="16"/>
                  </a:cubicBezTo>
                  <a:cubicBezTo>
                    <a:pt x="75" y="22"/>
                    <a:pt x="79" y="31"/>
                    <a:pt x="80" y="40"/>
                  </a:cubicBezTo>
                  <a:moveTo>
                    <a:pt x="14" y="16"/>
                  </a:moveTo>
                  <a:cubicBezTo>
                    <a:pt x="15" y="18"/>
                    <a:pt x="18" y="20"/>
                    <a:pt x="22" y="22"/>
                  </a:cubicBezTo>
                  <a:cubicBezTo>
                    <a:pt x="20" y="27"/>
                    <a:pt x="19" y="33"/>
                    <a:pt x="19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31"/>
                    <a:pt x="8" y="22"/>
                    <a:pt x="14" y="16"/>
                  </a:cubicBezTo>
                  <a:moveTo>
                    <a:pt x="4" y="43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19" y="50"/>
                    <a:pt x="20" y="56"/>
                    <a:pt x="22" y="61"/>
                  </a:cubicBezTo>
                  <a:cubicBezTo>
                    <a:pt x="18" y="63"/>
                    <a:pt x="15" y="66"/>
                    <a:pt x="14" y="68"/>
                  </a:cubicBezTo>
                  <a:cubicBezTo>
                    <a:pt x="8" y="61"/>
                    <a:pt x="4" y="53"/>
                    <a:pt x="4" y="43"/>
                  </a:cubicBezTo>
                  <a:moveTo>
                    <a:pt x="119" y="72"/>
                  </a:moveTo>
                  <a:cubicBezTo>
                    <a:pt x="113" y="72"/>
                    <a:pt x="113" y="72"/>
                    <a:pt x="113" y="72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58"/>
                    <a:pt x="109" y="54"/>
                    <a:pt x="104" y="54"/>
                  </a:cubicBezTo>
                  <a:cubicBezTo>
                    <a:pt x="99" y="54"/>
                    <a:pt x="95" y="57"/>
                    <a:pt x="93" y="61"/>
                  </a:cubicBezTo>
                  <a:cubicBezTo>
                    <a:pt x="84" y="80"/>
                    <a:pt x="70" y="88"/>
                    <a:pt x="60" y="93"/>
                  </a:cubicBezTo>
                  <a:cubicBezTo>
                    <a:pt x="56" y="94"/>
                    <a:pt x="52" y="94"/>
                    <a:pt x="49" y="91"/>
                  </a:cubicBezTo>
                  <a:cubicBezTo>
                    <a:pt x="46" y="89"/>
                    <a:pt x="44" y="86"/>
                    <a:pt x="44" y="83"/>
                  </a:cubicBezTo>
                  <a:cubicBezTo>
                    <a:pt x="54" y="83"/>
                    <a:pt x="63" y="78"/>
                    <a:pt x="70" y="72"/>
                  </a:cubicBezTo>
                  <a:cubicBezTo>
                    <a:pt x="70" y="72"/>
                    <a:pt x="71" y="71"/>
                    <a:pt x="71" y="71"/>
                  </a:cubicBezTo>
                  <a:cubicBezTo>
                    <a:pt x="78" y="64"/>
                    <a:pt x="83" y="53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0"/>
                    <a:pt x="78" y="20"/>
                    <a:pt x="71" y="12"/>
                  </a:cubicBezTo>
                  <a:cubicBezTo>
                    <a:pt x="71" y="12"/>
                    <a:pt x="70" y="12"/>
                    <a:pt x="70" y="12"/>
                  </a:cubicBezTo>
                  <a:cubicBezTo>
                    <a:pt x="63" y="5"/>
                    <a:pt x="53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1" y="0"/>
                    <a:pt x="21" y="5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" y="20"/>
                    <a:pt x="0" y="30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53"/>
                    <a:pt x="5" y="64"/>
                    <a:pt x="13" y="71"/>
                  </a:cubicBezTo>
                  <a:cubicBezTo>
                    <a:pt x="13" y="71"/>
                    <a:pt x="13" y="72"/>
                    <a:pt x="13" y="72"/>
                  </a:cubicBezTo>
                  <a:cubicBezTo>
                    <a:pt x="20" y="78"/>
                    <a:pt x="30" y="83"/>
                    <a:pt x="40" y="83"/>
                  </a:cubicBezTo>
                  <a:cubicBezTo>
                    <a:pt x="41" y="88"/>
                    <a:pt x="43" y="92"/>
                    <a:pt x="47" y="94"/>
                  </a:cubicBezTo>
                  <a:cubicBezTo>
                    <a:pt x="49" y="96"/>
                    <a:pt x="52" y="97"/>
                    <a:pt x="55" y="97"/>
                  </a:cubicBezTo>
                  <a:cubicBezTo>
                    <a:pt x="57" y="97"/>
                    <a:pt x="59" y="96"/>
                    <a:pt x="61" y="96"/>
                  </a:cubicBezTo>
                  <a:cubicBezTo>
                    <a:pt x="72" y="91"/>
                    <a:pt x="87" y="82"/>
                    <a:pt x="96" y="62"/>
                  </a:cubicBezTo>
                  <a:cubicBezTo>
                    <a:pt x="98" y="59"/>
                    <a:pt x="101" y="58"/>
                    <a:pt x="104" y="58"/>
                  </a:cubicBezTo>
                  <a:cubicBezTo>
                    <a:pt x="107" y="58"/>
                    <a:pt x="109" y="60"/>
                    <a:pt x="109" y="63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3" y="72"/>
                    <a:pt x="103" y="72"/>
                    <a:pt x="103" y="72"/>
                  </a:cubicBezTo>
                  <a:cubicBezTo>
                    <a:pt x="99" y="72"/>
                    <a:pt x="95" y="76"/>
                    <a:pt x="95" y="80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115"/>
                    <a:pt x="99" y="119"/>
                    <a:pt x="103" y="119"/>
                  </a:cubicBezTo>
                  <a:cubicBezTo>
                    <a:pt x="119" y="119"/>
                    <a:pt x="119" y="119"/>
                    <a:pt x="119" y="119"/>
                  </a:cubicBezTo>
                  <a:cubicBezTo>
                    <a:pt x="123" y="119"/>
                    <a:pt x="127" y="115"/>
                    <a:pt x="127" y="111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27" y="76"/>
                    <a:pt x="123" y="72"/>
                    <a:pt x="119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Group 83">
            <a:extLst>
              <a:ext uri="{FF2B5EF4-FFF2-40B4-BE49-F238E27FC236}">
                <a16:creationId xmlns:a16="http://schemas.microsoft.com/office/drawing/2014/main" id="{1370451A-7EF7-4628-9792-B2ACA14551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843" y="1574800"/>
            <a:ext cx="758825" cy="758825"/>
            <a:chOff x="2349" y="1199"/>
            <a:chExt cx="478" cy="478"/>
          </a:xfrm>
        </p:grpSpPr>
        <p:sp>
          <p:nvSpPr>
            <p:cNvPr id="97" name="AutoShape 82">
              <a:extLst>
                <a:ext uri="{FF2B5EF4-FFF2-40B4-BE49-F238E27FC236}">
                  <a16:creationId xmlns:a16="http://schemas.microsoft.com/office/drawing/2014/main" id="{398FADC0-DA57-4B24-BCA3-FD1EFFD3E9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9" y="119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A7B2E4DE-71A1-4195-849C-2C1F9460A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1201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0F4AE588-8759-44CC-B54D-1DDA7C28B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0" y="1353"/>
              <a:ext cx="338" cy="172"/>
            </a:xfrm>
            <a:custGeom>
              <a:avLst/>
              <a:gdLst>
                <a:gd name="T0" fmla="*/ 321 w 338"/>
                <a:gd name="T1" fmla="*/ 140 h 172"/>
                <a:gd name="T2" fmla="*/ 277 w 338"/>
                <a:gd name="T3" fmla="*/ 143 h 172"/>
                <a:gd name="T4" fmla="*/ 275 w 338"/>
                <a:gd name="T5" fmla="*/ 135 h 172"/>
                <a:gd name="T6" fmla="*/ 262 w 338"/>
                <a:gd name="T7" fmla="*/ 140 h 172"/>
                <a:gd name="T8" fmla="*/ 238 w 338"/>
                <a:gd name="T9" fmla="*/ 148 h 172"/>
                <a:gd name="T10" fmla="*/ 208 w 338"/>
                <a:gd name="T11" fmla="*/ 143 h 172"/>
                <a:gd name="T12" fmla="*/ 184 w 338"/>
                <a:gd name="T13" fmla="*/ 123 h 172"/>
                <a:gd name="T14" fmla="*/ 172 w 338"/>
                <a:gd name="T15" fmla="*/ 94 h 172"/>
                <a:gd name="T16" fmla="*/ 172 w 338"/>
                <a:gd name="T17" fmla="*/ 67 h 172"/>
                <a:gd name="T18" fmla="*/ 184 w 338"/>
                <a:gd name="T19" fmla="*/ 37 h 172"/>
                <a:gd name="T20" fmla="*/ 208 w 338"/>
                <a:gd name="T21" fmla="*/ 18 h 172"/>
                <a:gd name="T22" fmla="*/ 245 w 338"/>
                <a:gd name="T23" fmla="*/ 13 h 172"/>
                <a:gd name="T24" fmla="*/ 267 w 338"/>
                <a:gd name="T25" fmla="*/ 20 h 172"/>
                <a:gd name="T26" fmla="*/ 282 w 338"/>
                <a:gd name="T27" fmla="*/ 32 h 172"/>
                <a:gd name="T28" fmla="*/ 292 w 338"/>
                <a:gd name="T29" fmla="*/ 47 h 172"/>
                <a:gd name="T30" fmla="*/ 299 w 338"/>
                <a:gd name="T31" fmla="*/ 72 h 172"/>
                <a:gd name="T32" fmla="*/ 294 w 338"/>
                <a:gd name="T33" fmla="*/ 106 h 172"/>
                <a:gd name="T34" fmla="*/ 282 w 338"/>
                <a:gd name="T35" fmla="*/ 125 h 172"/>
                <a:gd name="T36" fmla="*/ 284 w 338"/>
                <a:gd name="T37" fmla="*/ 133 h 172"/>
                <a:gd name="T38" fmla="*/ 294 w 338"/>
                <a:gd name="T39" fmla="*/ 125 h 172"/>
                <a:gd name="T40" fmla="*/ 309 w 338"/>
                <a:gd name="T41" fmla="*/ 96 h 172"/>
                <a:gd name="T42" fmla="*/ 309 w 338"/>
                <a:gd name="T43" fmla="*/ 62 h 172"/>
                <a:gd name="T44" fmla="*/ 294 w 338"/>
                <a:gd name="T45" fmla="*/ 30 h 172"/>
                <a:gd name="T46" fmla="*/ 316 w 338"/>
                <a:gd name="T47" fmla="*/ 15 h 172"/>
                <a:gd name="T48" fmla="*/ 324 w 338"/>
                <a:gd name="T49" fmla="*/ 20 h 172"/>
                <a:gd name="T50" fmla="*/ 326 w 338"/>
                <a:gd name="T51" fmla="*/ 128 h 172"/>
                <a:gd name="T52" fmla="*/ 299 w 338"/>
                <a:gd name="T53" fmla="*/ 162 h 172"/>
                <a:gd name="T54" fmla="*/ 17 w 338"/>
                <a:gd name="T55" fmla="*/ 140 h 172"/>
                <a:gd name="T56" fmla="*/ 12 w 338"/>
                <a:gd name="T57" fmla="*/ 130 h 172"/>
                <a:gd name="T58" fmla="*/ 12 w 338"/>
                <a:gd name="T59" fmla="*/ 27 h 172"/>
                <a:gd name="T60" fmla="*/ 22 w 338"/>
                <a:gd name="T61" fmla="*/ 15 h 172"/>
                <a:gd name="T62" fmla="*/ 181 w 338"/>
                <a:gd name="T63" fmla="*/ 22 h 172"/>
                <a:gd name="T64" fmla="*/ 162 w 338"/>
                <a:gd name="T65" fmla="*/ 52 h 172"/>
                <a:gd name="T66" fmla="*/ 159 w 338"/>
                <a:gd name="T67" fmla="*/ 84 h 172"/>
                <a:gd name="T68" fmla="*/ 162 w 338"/>
                <a:gd name="T69" fmla="*/ 106 h 172"/>
                <a:gd name="T70" fmla="*/ 174 w 338"/>
                <a:gd name="T71" fmla="*/ 128 h 172"/>
                <a:gd name="T72" fmla="*/ 64 w 338"/>
                <a:gd name="T73" fmla="*/ 162 h 172"/>
                <a:gd name="T74" fmla="*/ 336 w 338"/>
                <a:gd name="T75" fmla="*/ 22 h 172"/>
                <a:gd name="T76" fmla="*/ 321 w 338"/>
                <a:gd name="T77" fmla="*/ 5 h 172"/>
                <a:gd name="T78" fmla="*/ 277 w 338"/>
                <a:gd name="T79" fmla="*/ 5 h 172"/>
                <a:gd name="T80" fmla="*/ 275 w 338"/>
                <a:gd name="T81" fmla="*/ 13 h 172"/>
                <a:gd name="T82" fmla="*/ 245 w 338"/>
                <a:gd name="T83" fmla="*/ 0 h 172"/>
                <a:gd name="T84" fmla="*/ 213 w 338"/>
                <a:gd name="T85" fmla="*/ 3 h 172"/>
                <a:gd name="T86" fmla="*/ 17 w 338"/>
                <a:gd name="T87" fmla="*/ 5 h 172"/>
                <a:gd name="T88" fmla="*/ 0 w 338"/>
                <a:gd name="T89" fmla="*/ 25 h 172"/>
                <a:gd name="T90" fmla="*/ 3 w 338"/>
                <a:gd name="T91" fmla="*/ 135 h 172"/>
                <a:gd name="T92" fmla="*/ 10 w 338"/>
                <a:gd name="T93" fmla="*/ 148 h 172"/>
                <a:gd name="T94" fmla="*/ 27 w 338"/>
                <a:gd name="T95" fmla="*/ 155 h 172"/>
                <a:gd name="T96" fmla="*/ 32 w 338"/>
                <a:gd name="T97" fmla="*/ 172 h 172"/>
                <a:gd name="T98" fmla="*/ 69 w 338"/>
                <a:gd name="T99" fmla="*/ 172 h 172"/>
                <a:gd name="T100" fmla="*/ 76 w 338"/>
                <a:gd name="T101" fmla="*/ 155 h 172"/>
                <a:gd name="T102" fmla="*/ 228 w 338"/>
                <a:gd name="T103" fmla="*/ 157 h 172"/>
                <a:gd name="T104" fmla="*/ 248 w 338"/>
                <a:gd name="T105" fmla="*/ 157 h 172"/>
                <a:gd name="T106" fmla="*/ 267 w 338"/>
                <a:gd name="T107" fmla="*/ 167 h 172"/>
                <a:gd name="T108" fmla="*/ 304 w 338"/>
                <a:gd name="T109" fmla="*/ 172 h 172"/>
                <a:gd name="T110" fmla="*/ 309 w 338"/>
                <a:gd name="T111" fmla="*/ 170 h 172"/>
                <a:gd name="T112" fmla="*/ 314 w 338"/>
                <a:gd name="T113" fmla="*/ 155 h 172"/>
                <a:gd name="T114" fmla="*/ 331 w 338"/>
                <a:gd name="T115" fmla="*/ 145 h 172"/>
                <a:gd name="T116" fmla="*/ 338 w 338"/>
                <a:gd name="T117" fmla="*/ 13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172">
                  <a:moveTo>
                    <a:pt x="326" y="128"/>
                  </a:moveTo>
                  <a:lnTo>
                    <a:pt x="326" y="133"/>
                  </a:lnTo>
                  <a:lnTo>
                    <a:pt x="326" y="135"/>
                  </a:lnTo>
                  <a:lnTo>
                    <a:pt x="324" y="138"/>
                  </a:lnTo>
                  <a:lnTo>
                    <a:pt x="321" y="140"/>
                  </a:lnTo>
                  <a:lnTo>
                    <a:pt x="316" y="143"/>
                  </a:lnTo>
                  <a:lnTo>
                    <a:pt x="316" y="143"/>
                  </a:lnTo>
                  <a:lnTo>
                    <a:pt x="314" y="143"/>
                  </a:lnTo>
                  <a:lnTo>
                    <a:pt x="311" y="143"/>
                  </a:lnTo>
                  <a:lnTo>
                    <a:pt x="277" y="143"/>
                  </a:lnTo>
                  <a:lnTo>
                    <a:pt x="277" y="140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0" y="135"/>
                  </a:lnTo>
                  <a:lnTo>
                    <a:pt x="265" y="138"/>
                  </a:lnTo>
                  <a:lnTo>
                    <a:pt x="262" y="140"/>
                  </a:lnTo>
                  <a:lnTo>
                    <a:pt x="257" y="143"/>
                  </a:lnTo>
                  <a:lnTo>
                    <a:pt x="253" y="145"/>
                  </a:lnTo>
                  <a:lnTo>
                    <a:pt x="248" y="145"/>
                  </a:lnTo>
                  <a:lnTo>
                    <a:pt x="243" y="148"/>
                  </a:lnTo>
                  <a:lnTo>
                    <a:pt x="238" y="148"/>
                  </a:lnTo>
                  <a:lnTo>
                    <a:pt x="235" y="148"/>
                  </a:lnTo>
                  <a:lnTo>
                    <a:pt x="231" y="148"/>
                  </a:lnTo>
                  <a:lnTo>
                    <a:pt x="226" y="148"/>
                  </a:lnTo>
                  <a:lnTo>
                    <a:pt x="216" y="145"/>
                  </a:lnTo>
                  <a:lnTo>
                    <a:pt x="208" y="143"/>
                  </a:lnTo>
                  <a:lnTo>
                    <a:pt x="204" y="140"/>
                  </a:lnTo>
                  <a:lnTo>
                    <a:pt x="201" y="138"/>
                  </a:lnTo>
                  <a:lnTo>
                    <a:pt x="196" y="133"/>
                  </a:lnTo>
                  <a:lnTo>
                    <a:pt x="189" y="128"/>
                  </a:lnTo>
                  <a:lnTo>
                    <a:pt x="184" y="123"/>
                  </a:lnTo>
                  <a:lnTo>
                    <a:pt x="181" y="118"/>
                  </a:lnTo>
                  <a:lnTo>
                    <a:pt x="177" y="111"/>
                  </a:lnTo>
                  <a:lnTo>
                    <a:pt x="174" y="106"/>
                  </a:lnTo>
                  <a:lnTo>
                    <a:pt x="174" y="103"/>
                  </a:lnTo>
                  <a:lnTo>
                    <a:pt x="172" y="94"/>
                  </a:lnTo>
                  <a:lnTo>
                    <a:pt x="169" y="89"/>
                  </a:lnTo>
                  <a:lnTo>
                    <a:pt x="169" y="84"/>
                  </a:lnTo>
                  <a:lnTo>
                    <a:pt x="169" y="76"/>
                  </a:lnTo>
                  <a:lnTo>
                    <a:pt x="169" y="69"/>
                  </a:lnTo>
                  <a:lnTo>
                    <a:pt x="172" y="67"/>
                  </a:lnTo>
                  <a:lnTo>
                    <a:pt x="174" y="57"/>
                  </a:lnTo>
                  <a:lnTo>
                    <a:pt x="174" y="52"/>
                  </a:lnTo>
                  <a:lnTo>
                    <a:pt x="179" y="45"/>
                  </a:lnTo>
                  <a:lnTo>
                    <a:pt x="181" y="40"/>
                  </a:lnTo>
                  <a:lnTo>
                    <a:pt x="184" y="37"/>
                  </a:lnTo>
                  <a:lnTo>
                    <a:pt x="189" y="30"/>
                  </a:lnTo>
                  <a:lnTo>
                    <a:pt x="196" y="25"/>
                  </a:lnTo>
                  <a:lnTo>
                    <a:pt x="199" y="22"/>
                  </a:lnTo>
                  <a:lnTo>
                    <a:pt x="204" y="20"/>
                  </a:lnTo>
                  <a:lnTo>
                    <a:pt x="208" y="18"/>
                  </a:lnTo>
                  <a:lnTo>
                    <a:pt x="216" y="15"/>
                  </a:lnTo>
                  <a:lnTo>
                    <a:pt x="223" y="13"/>
                  </a:lnTo>
                  <a:lnTo>
                    <a:pt x="231" y="10"/>
                  </a:lnTo>
                  <a:lnTo>
                    <a:pt x="238" y="10"/>
                  </a:lnTo>
                  <a:lnTo>
                    <a:pt x="245" y="13"/>
                  </a:lnTo>
                  <a:lnTo>
                    <a:pt x="248" y="13"/>
                  </a:lnTo>
                  <a:lnTo>
                    <a:pt x="253" y="15"/>
                  </a:lnTo>
                  <a:lnTo>
                    <a:pt x="260" y="15"/>
                  </a:lnTo>
                  <a:lnTo>
                    <a:pt x="265" y="20"/>
                  </a:lnTo>
                  <a:lnTo>
                    <a:pt x="267" y="20"/>
                  </a:lnTo>
                  <a:lnTo>
                    <a:pt x="270" y="22"/>
                  </a:lnTo>
                  <a:lnTo>
                    <a:pt x="275" y="27"/>
                  </a:lnTo>
                  <a:lnTo>
                    <a:pt x="277" y="30"/>
                  </a:lnTo>
                  <a:lnTo>
                    <a:pt x="280" y="30"/>
                  </a:lnTo>
                  <a:lnTo>
                    <a:pt x="282" y="32"/>
                  </a:lnTo>
                  <a:lnTo>
                    <a:pt x="284" y="37"/>
                  </a:lnTo>
                  <a:lnTo>
                    <a:pt x="287" y="37"/>
                  </a:lnTo>
                  <a:lnTo>
                    <a:pt x="289" y="42"/>
                  </a:lnTo>
                  <a:lnTo>
                    <a:pt x="289" y="45"/>
                  </a:lnTo>
                  <a:lnTo>
                    <a:pt x="292" y="47"/>
                  </a:lnTo>
                  <a:lnTo>
                    <a:pt x="292" y="49"/>
                  </a:lnTo>
                  <a:lnTo>
                    <a:pt x="297" y="59"/>
                  </a:lnTo>
                  <a:lnTo>
                    <a:pt x="297" y="62"/>
                  </a:lnTo>
                  <a:lnTo>
                    <a:pt x="299" y="69"/>
                  </a:lnTo>
                  <a:lnTo>
                    <a:pt x="299" y="72"/>
                  </a:lnTo>
                  <a:lnTo>
                    <a:pt x="299" y="79"/>
                  </a:lnTo>
                  <a:lnTo>
                    <a:pt x="299" y="91"/>
                  </a:lnTo>
                  <a:lnTo>
                    <a:pt x="297" y="98"/>
                  </a:lnTo>
                  <a:lnTo>
                    <a:pt x="294" y="103"/>
                  </a:lnTo>
                  <a:lnTo>
                    <a:pt x="294" y="106"/>
                  </a:lnTo>
                  <a:lnTo>
                    <a:pt x="292" y="108"/>
                  </a:lnTo>
                  <a:lnTo>
                    <a:pt x="289" y="113"/>
                  </a:lnTo>
                  <a:lnTo>
                    <a:pt x="284" y="121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2" y="128"/>
                  </a:lnTo>
                  <a:lnTo>
                    <a:pt x="282" y="130"/>
                  </a:lnTo>
                  <a:lnTo>
                    <a:pt x="282" y="130"/>
                  </a:lnTo>
                  <a:lnTo>
                    <a:pt x="284" y="133"/>
                  </a:lnTo>
                  <a:lnTo>
                    <a:pt x="284" y="133"/>
                  </a:lnTo>
                  <a:lnTo>
                    <a:pt x="287" y="133"/>
                  </a:lnTo>
                  <a:lnTo>
                    <a:pt x="289" y="133"/>
                  </a:lnTo>
                  <a:lnTo>
                    <a:pt x="289" y="133"/>
                  </a:lnTo>
                  <a:lnTo>
                    <a:pt x="292" y="130"/>
                  </a:lnTo>
                  <a:lnTo>
                    <a:pt x="294" y="125"/>
                  </a:lnTo>
                  <a:lnTo>
                    <a:pt x="299" y="121"/>
                  </a:lnTo>
                  <a:lnTo>
                    <a:pt x="302" y="118"/>
                  </a:lnTo>
                  <a:lnTo>
                    <a:pt x="304" y="111"/>
                  </a:lnTo>
                  <a:lnTo>
                    <a:pt x="307" y="101"/>
                  </a:lnTo>
                  <a:lnTo>
                    <a:pt x="309" y="96"/>
                  </a:lnTo>
                  <a:lnTo>
                    <a:pt x="309" y="89"/>
                  </a:lnTo>
                  <a:lnTo>
                    <a:pt x="309" y="84"/>
                  </a:lnTo>
                  <a:lnTo>
                    <a:pt x="309" y="79"/>
                  </a:lnTo>
                  <a:lnTo>
                    <a:pt x="309" y="69"/>
                  </a:lnTo>
                  <a:lnTo>
                    <a:pt x="309" y="62"/>
                  </a:lnTo>
                  <a:lnTo>
                    <a:pt x="307" y="57"/>
                  </a:lnTo>
                  <a:lnTo>
                    <a:pt x="304" y="47"/>
                  </a:lnTo>
                  <a:lnTo>
                    <a:pt x="302" y="45"/>
                  </a:lnTo>
                  <a:lnTo>
                    <a:pt x="299" y="37"/>
                  </a:lnTo>
                  <a:lnTo>
                    <a:pt x="294" y="30"/>
                  </a:lnTo>
                  <a:lnTo>
                    <a:pt x="287" y="22"/>
                  </a:lnTo>
                  <a:lnTo>
                    <a:pt x="284" y="20"/>
                  </a:lnTo>
                  <a:lnTo>
                    <a:pt x="280" y="15"/>
                  </a:lnTo>
                  <a:lnTo>
                    <a:pt x="314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9" y="18"/>
                  </a:lnTo>
                  <a:lnTo>
                    <a:pt x="321" y="18"/>
                  </a:lnTo>
                  <a:lnTo>
                    <a:pt x="321" y="20"/>
                  </a:lnTo>
                  <a:lnTo>
                    <a:pt x="324" y="20"/>
                  </a:lnTo>
                  <a:lnTo>
                    <a:pt x="324" y="22"/>
                  </a:lnTo>
                  <a:lnTo>
                    <a:pt x="326" y="25"/>
                  </a:lnTo>
                  <a:lnTo>
                    <a:pt x="326" y="30"/>
                  </a:lnTo>
                  <a:lnTo>
                    <a:pt x="326" y="30"/>
                  </a:lnTo>
                  <a:lnTo>
                    <a:pt x="326" y="128"/>
                  </a:lnTo>
                  <a:close/>
                  <a:moveTo>
                    <a:pt x="299" y="162"/>
                  </a:moveTo>
                  <a:lnTo>
                    <a:pt x="277" y="162"/>
                  </a:lnTo>
                  <a:lnTo>
                    <a:pt x="277" y="155"/>
                  </a:lnTo>
                  <a:lnTo>
                    <a:pt x="299" y="155"/>
                  </a:lnTo>
                  <a:lnTo>
                    <a:pt x="299" y="162"/>
                  </a:lnTo>
                  <a:close/>
                  <a:moveTo>
                    <a:pt x="25" y="143"/>
                  </a:moveTo>
                  <a:lnTo>
                    <a:pt x="22" y="143"/>
                  </a:lnTo>
                  <a:lnTo>
                    <a:pt x="22" y="143"/>
                  </a:lnTo>
                  <a:lnTo>
                    <a:pt x="20" y="140"/>
                  </a:lnTo>
                  <a:lnTo>
                    <a:pt x="17" y="140"/>
                  </a:lnTo>
                  <a:lnTo>
                    <a:pt x="15" y="138"/>
                  </a:lnTo>
                  <a:lnTo>
                    <a:pt x="15" y="135"/>
                  </a:lnTo>
                  <a:lnTo>
                    <a:pt x="12" y="135"/>
                  </a:lnTo>
                  <a:lnTo>
                    <a:pt x="12" y="133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30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2"/>
                  </a:lnTo>
                  <a:lnTo>
                    <a:pt x="15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189" y="15"/>
                  </a:lnTo>
                  <a:lnTo>
                    <a:pt x="181" y="22"/>
                  </a:lnTo>
                  <a:lnTo>
                    <a:pt x="174" y="30"/>
                  </a:lnTo>
                  <a:lnTo>
                    <a:pt x="172" y="32"/>
                  </a:lnTo>
                  <a:lnTo>
                    <a:pt x="169" y="37"/>
                  </a:lnTo>
                  <a:lnTo>
                    <a:pt x="167" y="45"/>
                  </a:lnTo>
                  <a:lnTo>
                    <a:pt x="162" y="52"/>
                  </a:lnTo>
                  <a:lnTo>
                    <a:pt x="162" y="57"/>
                  </a:lnTo>
                  <a:lnTo>
                    <a:pt x="159" y="67"/>
                  </a:lnTo>
                  <a:lnTo>
                    <a:pt x="159" y="72"/>
                  </a:lnTo>
                  <a:lnTo>
                    <a:pt x="159" y="74"/>
                  </a:lnTo>
                  <a:lnTo>
                    <a:pt x="159" y="84"/>
                  </a:lnTo>
                  <a:lnTo>
                    <a:pt x="159" y="89"/>
                  </a:lnTo>
                  <a:lnTo>
                    <a:pt x="159" y="94"/>
                  </a:lnTo>
                  <a:lnTo>
                    <a:pt x="162" y="96"/>
                  </a:lnTo>
                  <a:lnTo>
                    <a:pt x="162" y="101"/>
                  </a:lnTo>
                  <a:lnTo>
                    <a:pt x="162" y="106"/>
                  </a:lnTo>
                  <a:lnTo>
                    <a:pt x="167" y="113"/>
                  </a:lnTo>
                  <a:lnTo>
                    <a:pt x="169" y="118"/>
                  </a:lnTo>
                  <a:lnTo>
                    <a:pt x="169" y="121"/>
                  </a:lnTo>
                  <a:lnTo>
                    <a:pt x="172" y="125"/>
                  </a:lnTo>
                  <a:lnTo>
                    <a:pt x="174" y="128"/>
                  </a:lnTo>
                  <a:lnTo>
                    <a:pt x="179" y="133"/>
                  </a:lnTo>
                  <a:lnTo>
                    <a:pt x="181" y="135"/>
                  </a:lnTo>
                  <a:lnTo>
                    <a:pt x="189" y="143"/>
                  </a:lnTo>
                  <a:lnTo>
                    <a:pt x="25" y="143"/>
                  </a:lnTo>
                  <a:close/>
                  <a:moveTo>
                    <a:pt x="64" y="162"/>
                  </a:moveTo>
                  <a:lnTo>
                    <a:pt x="42" y="162"/>
                  </a:lnTo>
                  <a:lnTo>
                    <a:pt x="42" y="155"/>
                  </a:lnTo>
                  <a:lnTo>
                    <a:pt x="64" y="155"/>
                  </a:lnTo>
                  <a:lnTo>
                    <a:pt x="64" y="162"/>
                  </a:lnTo>
                  <a:close/>
                  <a:moveTo>
                    <a:pt x="336" y="22"/>
                  </a:moveTo>
                  <a:lnTo>
                    <a:pt x="336" y="20"/>
                  </a:lnTo>
                  <a:lnTo>
                    <a:pt x="333" y="15"/>
                  </a:lnTo>
                  <a:lnTo>
                    <a:pt x="331" y="13"/>
                  </a:lnTo>
                  <a:lnTo>
                    <a:pt x="326" y="8"/>
                  </a:lnTo>
                  <a:lnTo>
                    <a:pt x="321" y="5"/>
                  </a:lnTo>
                  <a:lnTo>
                    <a:pt x="316" y="5"/>
                  </a:lnTo>
                  <a:lnTo>
                    <a:pt x="314" y="3"/>
                  </a:lnTo>
                  <a:lnTo>
                    <a:pt x="311" y="3"/>
                  </a:lnTo>
                  <a:lnTo>
                    <a:pt x="280" y="3"/>
                  </a:lnTo>
                  <a:lnTo>
                    <a:pt x="277" y="5"/>
                  </a:lnTo>
                  <a:lnTo>
                    <a:pt x="277" y="5"/>
                  </a:lnTo>
                  <a:lnTo>
                    <a:pt x="275" y="5"/>
                  </a:lnTo>
                  <a:lnTo>
                    <a:pt x="275" y="8"/>
                  </a:lnTo>
                  <a:lnTo>
                    <a:pt x="275" y="10"/>
                  </a:lnTo>
                  <a:lnTo>
                    <a:pt x="275" y="13"/>
                  </a:lnTo>
                  <a:lnTo>
                    <a:pt x="267" y="8"/>
                  </a:lnTo>
                  <a:lnTo>
                    <a:pt x="260" y="5"/>
                  </a:lnTo>
                  <a:lnTo>
                    <a:pt x="255" y="3"/>
                  </a:lnTo>
                  <a:lnTo>
                    <a:pt x="250" y="0"/>
                  </a:lnTo>
                  <a:lnTo>
                    <a:pt x="245" y="0"/>
                  </a:lnTo>
                  <a:lnTo>
                    <a:pt x="240" y="0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3" y="0"/>
                  </a:lnTo>
                  <a:lnTo>
                    <a:pt x="213" y="3"/>
                  </a:lnTo>
                  <a:lnTo>
                    <a:pt x="211" y="3"/>
                  </a:lnTo>
                  <a:lnTo>
                    <a:pt x="27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17" y="5"/>
                  </a:lnTo>
                  <a:lnTo>
                    <a:pt x="12" y="8"/>
                  </a:lnTo>
                  <a:lnTo>
                    <a:pt x="7" y="13"/>
                  </a:lnTo>
                  <a:lnTo>
                    <a:pt x="3" y="18"/>
                  </a:lnTo>
                  <a:lnTo>
                    <a:pt x="3" y="22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3" y="135"/>
                  </a:lnTo>
                  <a:lnTo>
                    <a:pt x="3" y="140"/>
                  </a:lnTo>
                  <a:lnTo>
                    <a:pt x="5" y="143"/>
                  </a:lnTo>
                  <a:lnTo>
                    <a:pt x="7" y="145"/>
                  </a:lnTo>
                  <a:lnTo>
                    <a:pt x="7" y="148"/>
                  </a:lnTo>
                  <a:lnTo>
                    <a:pt x="10" y="148"/>
                  </a:lnTo>
                  <a:lnTo>
                    <a:pt x="12" y="150"/>
                  </a:lnTo>
                  <a:lnTo>
                    <a:pt x="15" y="152"/>
                  </a:lnTo>
                  <a:lnTo>
                    <a:pt x="20" y="152"/>
                  </a:lnTo>
                  <a:lnTo>
                    <a:pt x="25" y="155"/>
                  </a:lnTo>
                  <a:lnTo>
                    <a:pt x="27" y="155"/>
                  </a:lnTo>
                  <a:lnTo>
                    <a:pt x="32" y="155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2" y="170"/>
                  </a:lnTo>
                  <a:lnTo>
                    <a:pt x="32" y="172"/>
                  </a:lnTo>
                  <a:lnTo>
                    <a:pt x="34" y="172"/>
                  </a:lnTo>
                  <a:lnTo>
                    <a:pt x="34" y="172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69" y="172"/>
                  </a:lnTo>
                  <a:lnTo>
                    <a:pt x="71" y="172"/>
                  </a:lnTo>
                  <a:lnTo>
                    <a:pt x="74" y="172"/>
                  </a:lnTo>
                  <a:lnTo>
                    <a:pt x="74" y="170"/>
                  </a:lnTo>
                  <a:lnTo>
                    <a:pt x="76" y="167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211" y="155"/>
                  </a:lnTo>
                  <a:lnTo>
                    <a:pt x="213" y="155"/>
                  </a:lnTo>
                  <a:lnTo>
                    <a:pt x="223" y="157"/>
                  </a:lnTo>
                  <a:lnTo>
                    <a:pt x="228" y="157"/>
                  </a:lnTo>
                  <a:lnTo>
                    <a:pt x="231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5" y="157"/>
                  </a:lnTo>
                  <a:lnTo>
                    <a:pt x="248" y="157"/>
                  </a:lnTo>
                  <a:lnTo>
                    <a:pt x="253" y="157"/>
                  </a:lnTo>
                  <a:lnTo>
                    <a:pt x="255" y="155"/>
                  </a:lnTo>
                  <a:lnTo>
                    <a:pt x="257" y="155"/>
                  </a:lnTo>
                  <a:lnTo>
                    <a:pt x="267" y="155"/>
                  </a:lnTo>
                  <a:lnTo>
                    <a:pt x="267" y="167"/>
                  </a:lnTo>
                  <a:lnTo>
                    <a:pt x="267" y="170"/>
                  </a:lnTo>
                  <a:lnTo>
                    <a:pt x="267" y="172"/>
                  </a:lnTo>
                  <a:lnTo>
                    <a:pt x="270" y="172"/>
                  </a:lnTo>
                  <a:lnTo>
                    <a:pt x="272" y="172"/>
                  </a:lnTo>
                  <a:lnTo>
                    <a:pt x="304" y="172"/>
                  </a:lnTo>
                  <a:lnTo>
                    <a:pt x="307" y="172"/>
                  </a:lnTo>
                  <a:lnTo>
                    <a:pt x="307" y="172"/>
                  </a:lnTo>
                  <a:lnTo>
                    <a:pt x="309" y="172"/>
                  </a:lnTo>
                  <a:lnTo>
                    <a:pt x="309" y="170"/>
                  </a:lnTo>
                  <a:lnTo>
                    <a:pt x="309" y="170"/>
                  </a:lnTo>
                  <a:lnTo>
                    <a:pt x="309" y="167"/>
                  </a:lnTo>
                  <a:lnTo>
                    <a:pt x="309" y="167"/>
                  </a:lnTo>
                  <a:lnTo>
                    <a:pt x="309" y="155"/>
                  </a:lnTo>
                  <a:lnTo>
                    <a:pt x="311" y="155"/>
                  </a:lnTo>
                  <a:lnTo>
                    <a:pt x="314" y="155"/>
                  </a:lnTo>
                  <a:lnTo>
                    <a:pt x="319" y="152"/>
                  </a:lnTo>
                  <a:lnTo>
                    <a:pt x="324" y="152"/>
                  </a:lnTo>
                  <a:lnTo>
                    <a:pt x="326" y="150"/>
                  </a:lnTo>
                  <a:lnTo>
                    <a:pt x="329" y="148"/>
                  </a:lnTo>
                  <a:lnTo>
                    <a:pt x="331" y="145"/>
                  </a:lnTo>
                  <a:lnTo>
                    <a:pt x="333" y="143"/>
                  </a:lnTo>
                  <a:lnTo>
                    <a:pt x="336" y="138"/>
                  </a:lnTo>
                  <a:lnTo>
                    <a:pt x="336" y="135"/>
                  </a:lnTo>
                  <a:lnTo>
                    <a:pt x="338" y="133"/>
                  </a:lnTo>
                  <a:lnTo>
                    <a:pt x="338" y="130"/>
                  </a:lnTo>
                  <a:lnTo>
                    <a:pt x="338" y="27"/>
                  </a:lnTo>
                  <a:lnTo>
                    <a:pt x="336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9EB0328B-0484-4B92-880C-8DDCFD432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" y="1383"/>
              <a:ext cx="12" cy="54"/>
            </a:xfrm>
            <a:custGeom>
              <a:avLst/>
              <a:gdLst>
                <a:gd name="T0" fmla="*/ 0 w 12"/>
                <a:gd name="T1" fmla="*/ 49 h 54"/>
                <a:gd name="T2" fmla="*/ 3 w 12"/>
                <a:gd name="T3" fmla="*/ 51 h 54"/>
                <a:gd name="T4" fmla="*/ 3 w 12"/>
                <a:gd name="T5" fmla="*/ 51 h 54"/>
                <a:gd name="T6" fmla="*/ 5 w 12"/>
                <a:gd name="T7" fmla="*/ 51 h 54"/>
                <a:gd name="T8" fmla="*/ 5 w 12"/>
                <a:gd name="T9" fmla="*/ 51 h 54"/>
                <a:gd name="T10" fmla="*/ 5 w 12"/>
                <a:gd name="T11" fmla="*/ 54 h 54"/>
                <a:gd name="T12" fmla="*/ 8 w 12"/>
                <a:gd name="T13" fmla="*/ 51 h 54"/>
                <a:gd name="T14" fmla="*/ 10 w 12"/>
                <a:gd name="T15" fmla="*/ 51 h 54"/>
                <a:gd name="T16" fmla="*/ 10 w 12"/>
                <a:gd name="T17" fmla="*/ 51 h 54"/>
                <a:gd name="T18" fmla="*/ 10 w 12"/>
                <a:gd name="T19" fmla="*/ 49 h 54"/>
                <a:gd name="T20" fmla="*/ 12 w 12"/>
                <a:gd name="T21" fmla="*/ 49 h 54"/>
                <a:gd name="T22" fmla="*/ 12 w 12"/>
                <a:gd name="T23" fmla="*/ 46 h 54"/>
                <a:gd name="T24" fmla="*/ 12 w 12"/>
                <a:gd name="T25" fmla="*/ 2 h 54"/>
                <a:gd name="T26" fmla="*/ 10 w 12"/>
                <a:gd name="T27" fmla="*/ 2 h 54"/>
                <a:gd name="T28" fmla="*/ 10 w 12"/>
                <a:gd name="T29" fmla="*/ 2 h 54"/>
                <a:gd name="T30" fmla="*/ 10 w 12"/>
                <a:gd name="T31" fmla="*/ 0 h 54"/>
                <a:gd name="T32" fmla="*/ 8 w 12"/>
                <a:gd name="T33" fmla="*/ 0 h 54"/>
                <a:gd name="T34" fmla="*/ 5 w 12"/>
                <a:gd name="T35" fmla="*/ 0 h 54"/>
                <a:gd name="T36" fmla="*/ 3 w 12"/>
                <a:gd name="T37" fmla="*/ 0 h 54"/>
                <a:gd name="T38" fmla="*/ 3 w 12"/>
                <a:gd name="T39" fmla="*/ 2 h 54"/>
                <a:gd name="T40" fmla="*/ 0 w 12"/>
                <a:gd name="T41" fmla="*/ 2 h 54"/>
                <a:gd name="T42" fmla="*/ 0 w 12"/>
                <a:gd name="T43" fmla="*/ 5 h 54"/>
                <a:gd name="T44" fmla="*/ 0 w 12"/>
                <a:gd name="T45" fmla="*/ 46 h 54"/>
                <a:gd name="T46" fmla="*/ 0 w 12"/>
                <a:gd name="T47" fmla="*/ 49 h 54"/>
                <a:gd name="T48" fmla="*/ 0 w 12"/>
                <a:gd name="T49" fmla="*/ 4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" h="54">
                  <a:moveTo>
                    <a:pt x="0" y="49"/>
                  </a:moveTo>
                  <a:lnTo>
                    <a:pt x="3" y="51"/>
                  </a:lnTo>
                  <a:lnTo>
                    <a:pt x="3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4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2" y="49"/>
                  </a:lnTo>
                  <a:lnTo>
                    <a:pt x="12" y="46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7">
              <a:extLst>
                <a:ext uri="{FF2B5EF4-FFF2-40B4-BE49-F238E27FC236}">
                  <a16:creationId xmlns:a16="http://schemas.microsoft.com/office/drawing/2014/main" id="{D87EBB50-800A-4BD0-9264-016104D33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" y="1383"/>
              <a:ext cx="13" cy="54"/>
            </a:xfrm>
            <a:custGeom>
              <a:avLst/>
              <a:gdLst>
                <a:gd name="T0" fmla="*/ 3 w 13"/>
                <a:gd name="T1" fmla="*/ 51 h 54"/>
                <a:gd name="T2" fmla="*/ 5 w 13"/>
                <a:gd name="T3" fmla="*/ 51 h 54"/>
                <a:gd name="T4" fmla="*/ 5 w 13"/>
                <a:gd name="T5" fmla="*/ 51 h 54"/>
                <a:gd name="T6" fmla="*/ 8 w 13"/>
                <a:gd name="T7" fmla="*/ 54 h 54"/>
                <a:gd name="T8" fmla="*/ 8 w 13"/>
                <a:gd name="T9" fmla="*/ 51 h 54"/>
                <a:gd name="T10" fmla="*/ 10 w 13"/>
                <a:gd name="T11" fmla="*/ 51 h 54"/>
                <a:gd name="T12" fmla="*/ 10 w 13"/>
                <a:gd name="T13" fmla="*/ 51 h 54"/>
                <a:gd name="T14" fmla="*/ 13 w 13"/>
                <a:gd name="T15" fmla="*/ 49 h 54"/>
                <a:gd name="T16" fmla="*/ 13 w 13"/>
                <a:gd name="T17" fmla="*/ 46 h 54"/>
                <a:gd name="T18" fmla="*/ 13 w 13"/>
                <a:gd name="T19" fmla="*/ 2 h 54"/>
                <a:gd name="T20" fmla="*/ 10 w 13"/>
                <a:gd name="T21" fmla="*/ 2 h 54"/>
                <a:gd name="T22" fmla="*/ 10 w 13"/>
                <a:gd name="T23" fmla="*/ 0 h 54"/>
                <a:gd name="T24" fmla="*/ 8 w 13"/>
                <a:gd name="T25" fmla="*/ 0 h 54"/>
                <a:gd name="T26" fmla="*/ 5 w 13"/>
                <a:gd name="T27" fmla="*/ 0 h 54"/>
                <a:gd name="T28" fmla="*/ 3 w 13"/>
                <a:gd name="T29" fmla="*/ 0 h 54"/>
                <a:gd name="T30" fmla="*/ 3 w 13"/>
                <a:gd name="T31" fmla="*/ 2 h 54"/>
                <a:gd name="T32" fmla="*/ 0 w 13"/>
                <a:gd name="T33" fmla="*/ 2 h 54"/>
                <a:gd name="T34" fmla="*/ 0 w 13"/>
                <a:gd name="T35" fmla="*/ 5 h 54"/>
                <a:gd name="T36" fmla="*/ 0 w 13"/>
                <a:gd name="T37" fmla="*/ 49 h 54"/>
                <a:gd name="T38" fmla="*/ 3 w 13"/>
                <a:gd name="T39" fmla="*/ 51 h 54"/>
                <a:gd name="T40" fmla="*/ 3 w 13"/>
                <a:gd name="T41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54">
                  <a:moveTo>
                    <a:pt x="3" y="51"/>
                  </a:moveTo>
                  <a:lnTo>
                    <a:pt x="5" y="51"/>
                  </a:lnTo>
                  <a:lnTo>
                    <a:pt x="5" y="51"/>
                  </a:lnTo>
                  <a:lnTo>
                    <a:pt x="8" y="54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3" y="49"/>
                  </a:lnTo>
                  <a:lnTo>
                    <a:pt x="13" y="46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49"/>
                  </a:lnTo>
                  <a:lnTo>
                    <a:pt x="3" y="51"/>
                  </a:lnTo>
                  <a:lnTo>
                    <a:pt x="3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B1E1CE01-6752-4111-9B8A-6A039D999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" y="1383"/>
              <a:ext cx="12" cy="54"/>
            </a:xfrm>
            <a:custGeom>
              <a:avLst/>
              <a:gdLst>
                <a:gd name="T0" fmla="*/ 2 w 12"/>
                <a:gd name="T1" fmla="*/ 51 h 54"/>
                <a:gd name="T2" fmla="*/ 5 w 12"/>
                <a:gd name="T3" fmla="*/ 51 h 54"/>
                <a:gd name="T4" fmla="*/ 5 w 12"/>
                <a:gd name="T5" fmla="*/ 54 h 54"/>
                <a:gd name="T6" fmla="*/ 7 w 12"/>
                <a:gd name="T7" fmla="*/ 51 h 54"/>
                <a:gd name="T8" fmla="*/ 7 w 12"/>
                <a:gd name="T9" fmla="*/ 51 h 54"/>
                <a:gd name="T10" fmla="*/ 10 w 12"/>
                <a:gd name="T11" fmla="*/ 51 h 54"/>
                <a:gd name="T12" fmla="*/ 10 w 12"/>
                <a:gd name="T13" fmla="*/ 51 h 54"/>
                <a:gd name="T14" fmla="*/ 12 w 12"/>
                <a:gd name="T15" fmla="*/ 49 h 54"/>
                <a:gd name="T16" fmla="*/ 12 w 12"/>
                <a:gd name="T17" fmla="*/ 2 h 54"/>
                <a:gd name="T18" fmla="*/ 10 w 12"/>
                <a:gd name="T19" fmla="*/ 2 h 54"/>
                <a:gd name="T20" fmla="*/ 10 w 12"/>
                <a:gd name="T21" fmla="*/ 0 h 54"/>
                <a:gd name="T22" fmla="*/ 10 w 12"/>
                <a:gd name="T23" fmla="*/ 0 h 54"/>
                <a:gd name="T24" fmla="*/ 7 w 12"/>
                <a:gd name="T25" fmla="*/ 0 h 54"/>
                <a:gd name="T26" fmla="*/ 5 w 12"/>
                <a:gd name="T27" fmla="*/ 0 h 54"/>
                <a:gd name="T28" fmla="*/ 2 w 12"/>
                <a:gd name="T29" fmla="*/ 0 h 54"/>
                <a:gd name="T30" fmla="*/ 2 w 12"/>
                <a:gd name="T31" fmla="*/ 0 h 54"/>
                <a:gd name="T32" fmla="*/ 2 w 12"/>
                <a:gd name="T33" fmla="*/ 2 h 54"/>
                <a:gd name="T34" fmla="*/ 0 w 12"/>
                <a:gd name="T35" fmla="*/ 2 h 54"/>
                <a:gd name="T36" fmla="*/ 0 w 12"/>
                <a:gd name="T37" fmla="*/ 2 h 54"/>
                <a:gd name="T38" fmla="*/ 0 w 12"/>
                <a:gd name="T39" fmla="*/ 5 h 54"/>
                <a:gd name="T40" fmla="*/ 0 w 12"/>
                <a:gd name="T41" fmla="*/ 49 h 54"/>
                <a:gd name="T42" fmla="*/ 2 w 12"/>
                <a:gd name="T43" fmla="*/ 49 h 54"/>
                <a:gd name="T44" fmla="*/ 2 w 12"/>
                <a:gd name="T45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" h="54">
                  <a:moveTo>
                    <a:pt x="2" y="51"/>
                  </a:moveTo>
                  <a:lnTo>
                    <a:pt x="5" y="51"/>
                  </a:lnTo>
                  <a:lnTo>
                    <a:pt x="5" y="54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2" y="49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49"/>
                  </a:lnTo>
                  <a:lnTo>
                    <a:pt x="2" y="49"/>
                  </a:lnTo>
                  <a:lnTo>
                    <a:pt x="2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CAB4EDAC-EAD6-4148-B1EE-423E58354E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1378"/>
              <a:ext cx="106" cy="110"/>
            </a:xfrm>
            <a:custGeom>
              <a:avLst/>
              <a:gdLst>
                <a:gd name="T0" fmla="*/ 94 w 106"/>
                <a:gd name="T1" fmla="*/ 66 h 110"/>
                <a:gd name="T2" fmla="*/ 89 w 106"/>
                <a:gd name="T3" fmla="*/ 78 h 110"/>
                <a:gd name="T4" fmla="*/ 76 w 106"/>
                <a:gd name="T5" fmla="*/ 91 h 110"/>
                <a:gd name="T6" fmla="*/ 67 w 106"/>
                <a:gd name="T7" fmla="*/ 96 h 110"/>
                <a:gd name="T8" fmla="*/ 54 w 106"/>
                <a:gd name="T9" fmla="*/ 98 h 110"/>
                <a:gd name="T10" fmla="*/ 50 w 106"/>
                <a:gd name="T11" fmla="*/ 98 h 110"/>
                <a:gd name="T12" fmla="*/ 37 w 106"/>
                <a:gd name="T13" fmla="*/ 96 h 110"/>
                <a:gd name="T14" fmla="*/ 23 w 106"/>
                <a:gd name="T15" fmla="*/ 86 h 110"/>
                <a:gd name="T16" fmla="*/ 18 w 106"/>
                <a:gd name="T17" fmla="*/ 76 h 110"/>
                <a:gd name="T18" fmla="*/ 13 w 106"/>
                <a:gd name="T19" fmla="*/ 64 h 110"/>
                <a:gd name="T20" fmla="*/ 10 w 106"/>
                <a:gd name="T21" fmla="*/ 47 h 110"/>
                <a:gd name="T22" fmla="*/ 18 w 106"/>
                <a:gd name="T23" fmla="*/ 56 h 110"/>
                <a:gd name="T24" fmla="*/ 20 w 106"/>
                <a:gd name="T25" fmla="*/ 56 h 110"/>
                <a:gd name="T26" fmla="*/ 23 w 106"/>
                <a:gd name="T27" fmla="*/ 56 h 110"/>
                <a:gd name="T28" fmla="*/ 25 w 106"/>
                <a:gd name="T29" fmla="*/ 51 h 110"/>
                <a:gd name="T30" fmla="*/ 27 w 106"/>
                <a:gd name="T31" fmla="*/ 42 h 110"/>
                <a:gd name="T32" fmla="*/ 35 w 106"/>
                <a:gd name="T33" fmla="*/ 29 h 110"/>
                <a:gd name="T34" fmla="*/ 40 w 106"/>
                <a:gd name="T35" fmla="*/ 27 h 110"/>
                <a:gd name="T36" fmla="*/ 50 w 106"/>
                <a:gd name="T37" fmla="*/ 24 h 110"/>
                <a:gd name="T38" fmla="*/ 54 w 106"/>
                <a:gd name="T39" fmla="*/ 22 h 110"/>
                <a:gd name="T40" fmla="*/ 57 w 106"/>
                <a:gd name="T41" fmla="*/ 17 h 110"/>
                <a:gd name="T42" fmla="*/ 47 w 106"/>
                <a:gd name="T43" fmla="*/ 10 h 110"/>
                <a:gd name="T44" fmla="*/ 62 w 106"/>
                <a:gd name="T45" fmla="*/ 12 h 110"/>
                <a:gd name="T46" fmla="*/ 74 w 106"/>
                <a:gd name="T47" fmla="*/ 15 h 110"/>
                <a:gd name="T48" fmla="*/ 84 w 106"/>
                <a:gd name="T49" fmla="*/ 22 h 110"/>
                <a:gd name="T50" fmla="*/ 91 w 106"/>
                <a:gd name="T51" fmla="*/ 34 h 110"/>
                <a:gd name="T52" fmla="*/ 94 w 106"/>
                <a:gd name="T53" fmla="*/ 47 h 110"/>
                <a:gd name="T54" fmla="*/ 94 w 106"/>
                <a:gd name="T55" fmla="*/ 61 h 110"/>
                <a:gd name="T56" fmla="*/ 106 w 106"/>
                <a:gd name="T57" fmla="*/ 56 h 110"/>
                <a:gd name="T58" fmla="*/ 103 w 106"/>
                <a:gd name="T59" fmla="*/ 34 h 110"/>
                <a:gd name="T60" fmla="*/ 96 w 106"/>
                <a:gd name="T61" fmla="*/ 22 h 110"/>
                <a:gd name="T62" fmla="*/ 91 w 106"/>
                <a:gd name="T63" fmla="*/ 15 h 110"/>
                <a:gd name="T64" fmla="*/ 81 w 106"/>
                <a:gd name="T65" fmla="*/ 7 h 110"/>
                <a:gd name="T66" fmla="*/ 72 w 106"/>
                <a:gd name="T67" fmla="*/ 2 h 110"/>
                <a:gd name="T68" fmla="*/ 64 w 106"/>
                <a:gd name="T69" fmla="*/ 0 h 110"/>
                <a:gd name="T70" fmla="*/ 50 w 106"/>
                <a:gd name="T71" fmla="*/ 0 h 110"/>
                <a:gd name="T72" fmla="*/ 40 w 106"/>
                <a:gd name="T73" fmla="*/ 0 h 110"/>
                <a:gd name="T74" fmla="*/ 30 w 106"/>
                <a:gd name="T75" fmla="*/ 5 h 110"/>
                <a:gd name="T76" fmla="*/ 15 w 106"/>
                <a:gd name="T77" fmla="*/ 15 h 110"/>
                <a:gd name="T78" fmla="*/ 5 w 106"/>
                <a:gd name="T79" fmla="*/ 32 h 110"/>
                <a:gd name="T80" fmla="*/ 0 w 106"/>
                <a:gd name="T81" fmla="*/ 49 h 110"/>
                <a:gd name="T82" fmla="*/ 0 w 106"/>
                <a:gd name="T83" fmla="*/ 64 h 110"/>
                <a:gd name="T84" fmla="*/ 5 w 106"/>
                <a:gd name="T85" fmla="*/ 76 h 110"/>
                <a:gd name="T86" fmla="*/ 15 w 106"/>
                <a:gd name="T87" fmla="*/ 93 h 110"/>
                <a:gd name="T88" fmla="*/ 27 w 106"/>
                <a:gd name="T89" fmla="*/ 103 h 110"/>
                <a:gd name="T90" fmla="*/ 37 w 106"/>
                <a:gd name="T91" fmla="*/ 108 h 110"/>
                <a:gd name="T92" fmla="*/ 54 w 106"/>
                <a:gd name="T93" fmla="*/ 110 h 110"/>
                <a:gd name="T94" fmla="*/ 62 w 106"/>
                <a:gd name="T95" fmla="*/ 108 h 110"/>
                <a:gd name="T96" fmla="*/ 74 w 106"/>
                <a:gd name="T97" fmla="*/ 105 h 110"/>
                <a:gd name="T98" fmla="*/ 84 w 106"/>
                <a:gd name="T99" fmla="*/ 100 h 110"/>
                <a:gd name="T100" fmla="*/ 96 w 106"/>
                <a:gd name="T101" fmla="*/ 86 h 110"/>
                <a:gd name="T102" fmla="*/ 103 w 106"/>
                <a:gd name="T103" fmla="*/ 7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6" h="110">
                  <a:moveTo>
                    <a:pt x="94" y="61"/>
                  </a:moveTo>
                  <a:lnTo>
                    <a:pt x="94" y="64"/>
                  </a:lnTo>
                  <a:lnTo>
                    <a:pt x="94" y="66"/>
                  </a:lnTo>
                  <a:lnTo>
                    <a:pt x="91" y="71"/>
                  </a:lnTo>
                  <a:lnTo>
                    <a:pt x="91" y="76"/>
                  </a:lnTo>
                  <a:lnTo>
                    <a:pt x="89" y="78"/>
                  </a:lnTo>
                  <a:lnTo>
                    <a:pt x="86" y="81"/>
                  </a:lnTo>
                  <a:lnTo>
                    <a:pt x="79" y="88"/>
                  </a:lnTo>
                  <a:lnTo>
                    <a:pt x="76" y="91"/>
                  </a:lnTo>
                  <a:lnTo>
                    <a:pt x="74" y="93"/>
                  </a:lnTo>
                  <a:lnTo>
                    <a:pt x="69" y="96"/>
                  </a:lnTo>
                  <a:lnTo>
                    <a:pt x="67" y="96"/>
                  </a:lnTo>
                  <a:lnTo>
                    <a:pt x="62" y="98"/>
                  </a:lnTo>
                  <a:lnTo>
                    <a:pt x="57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45" y="98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2" y="93"/>
                  </a:lnTo>
                  <a:lnTo>
                    <a:pt x="27" y="88"/>
                  </a:lnTo>
                  <a:lnTo>
                    <a:pt x="23" y="86"/>
                  </a:lnTo>
                  <a:lnTo>
                    <a:pt x="20" y="83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5" y="71"/>
                  </a:lnTo>
                  <a:lnTo>
                    <a:pt x="13" y="69"/>
                  </a:lnTo>
                  <a:lnTo>
                    <a:pt x="13" y="64"/>
                  </a:lnTo>
                  <a:lnTo>
                    <a:pt x="13" y="59"/>
                  </a:lnTo>
                  <a:lnTo>
                    <a:pt x="10" y="56"/>
                  </a:lnTo>
                  <a:lnTo>
                    <a:pt x="10" y="4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9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5" y="54"/>
                  </a:lnTo>
                  <a:lnTo>
                    <a:pt x="25" y="51"/>
                  </a:lnTo>
                  <a:lnTo>
                    <a:pt x="25" y="49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7" y="37"/>
                  </a:lnTo>
                  <a:lnTo>
                    <a:pt x="32" y="32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40" y="27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47" y="10"/>
                  </a:lnTo>
                  <a:lnTo>
                    <a:pt x="54" y="10"/>
                  </a:lnTo>
                  <a:lnTo>
                    <a:pt x="57" y="10"/>
                  </a:lnTo>
                  <a:lnTo>
                    <a:pt x="62" y="12"/>
                  </a:lnTo>
                  <a:lnTo>
                    <a:pt x="67" y="12"/>
                  </a:lnTo>
                  <a:lnTo>
                    <a:pt x="69" y="15"/>
                  </a:lnTo>
                  <a:lnTo>
                    <a:pt x="74" y="15"/>
                  </a:lnTo>
                  <a:lnTo>
                    <a:pt x="76" y="17"/>
                  </a:lnTo>
                  <a:lnTo>
                    <a:pt x="79" y="20"/>
                  </a:lnTo>
                  <a:lnTo>
                    <a:pt x="84" y="22"/>
                  </a:lnTo>
                  <a:lnTo>
                    <a:pt x="86" y="27"/>
                  </a:lnTo>
                  <a:lnTo>
                    <a:pt x="89" y="29"/>
                  </a:lnTo>
                  <a:lnTo>
                    <a:pt x="91" y="34"/>
                  </a:lnTo>
                  <a:lnTo>
                    <a:pt x="91" y="37"/>
                  </a:lnTo>
                  <a:lnTo>
                    <a:pt x="94" y="42"/>
                  </a:lnTo>
                  <a:lnTo>
                    <a:pt x="94" y="47"/>
                  </a:lnTo>
                  <a:lnTo>
                    <a:pt x="96" y="49"/>
                  </a:lnTo>
                  <a:lnTo>
                    <a:pt x="96" y="54"/>
                  </a:lnTo>
                  <a:lnTo>
                    <a:pt x="94" y="61"/>
                  </a:lnTo>
                  <a:close/>
                  <a:moveTo>
                    <a:pt x="103" y="71"/>
                  </a:moveTo>
                  <a:lnTo>
                    <a:pt x="106" y="66"/>
                  </a:lnTo>
                  <a:lnTo>
                    <a:pt x="106" y="56"/>
                  </a:lnTo>
                  <a:lnTo>
                    <a:pt x="106" y="51"/>
                  </a:lnTo>
                  <a:lnTo>
                    <a:pt x="106" y="44"/>
                  </a:lnTo>
                  <a:lnTo>
                    <a:pt x="103" y="34"/>
                  </a:lnTo>
                  <a:lnTo>
                    <a:pt x="101" y="32"/>
                  </a:lnTo>
                  <a:lnTo>
                    <a:pt x="99" y="27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1" y="15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6" y="5"/>
                  </a:lnTo>
                  <a:lnTo>
                    <a:pt x="72" y="2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2" y="2"/>
                  </a:lnTo>
                  <a:lnTo>
                    <a:pt x="30" y="5"/>
                  </a:lnTo>
                  <a:lnTo>
                    <a:pt x="25" y="7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13" y="20"/>
                  </a:lnTo>
                  <a:lnTo>
                    <a:pt x="10" y="24"/>
                  </a:lnTo>
                  <a:lnTo>
                    <a:pt x="5" y="32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64"/>
                  </a:lnTo>
                  <a:lnTo>
                    <a:pt x="3" y="66"/>
                  </a:lnTo>
                  <a:lnTo>
                    <a:pt x="3" y="71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5" y="91"/>
                  </a:lnTo>
                  <a:lnTo>
                    <a:pt x="15" y="93"/>
                  </a:lnTo>
                  <a:lnTo>
                    <a:pt x="18" y="96"/>
                  </a:lnTo>
                  <a:lnTo>
                    <a:pt x="25" y="100"/>
                  </a:lnTo>
                  <a:lnTo>
                    <a:pt x="27" y="103"/>
                  </a:lnTo>
                  <a:lnTo>
                    <a:pt x="30" y="103"/>
                  </a:lnTo>
                  <a:lnTo>
                    <a:pt x="32" y="105"/>
                  </a:lnTo>
                  <a:lnTo>
                    <a:pt x="37" y="108"/>
                  </a:lnTo>
                  <a:lnTo>
                    <a:pt x="42" y="108"/>
                  </a:lnTo>
                  <a:lnTo>
                    <a:pt x="47" y="108"/>
                  </a:lnTo>
                  <a:lnTo>
                    <a:pt x="54" y="110"/>
                  </a:lnTo>
                  <a:lnTo>
                    <a:pt x="57" y="110"/>
                  </a:lnTo>
                  <a:lnTo>
                    <a:pt x="59" y="108"/>
                  </a:lnTo>
                  <a:lnTo>
                    <a:pt x="62" y="108"/>
                  </a:lnTo>
                  <a:lnTo>
                    <a:pt x="64" y="108"/>
                  </a:lnTo>
                  <a:lnTo>
                    <a:pt x="69" y="108"/>
                  </a:lnTo>
                  <a:lnTo>
                    <a:pt x="74" y="105"/>
                  </a:lnTo>
                  <a:lnTo>
                    <a:pt x="76" y="103"/>
                  </a:lnTo>
                  <a:lnTo>
                    <a:pt x="81" y="100"/>
                  </a:lnTo>
                  <a:lnTo>
                    <a:pt x="84" y="100"/>
                  </a:lnTo>
                  <a:lnTo>
                    <a:pt x="89" y="96"/>
                  </a:lnTo>
                  <a:lnTo>
                    <a:pt x="94" y="88"/>
                  </a:lnTo>
                  <a:lnTo>
                    <a:pt x="96" y="86"/>
                  </a:lnTo>
                  <a:lnTo>
                    <a:pt x="99" y="81"/>
                  </a:lnTo>
                  <a:lnTo>
                    <a:pt x="103" y="73"/>
                  </a:lnTo>
                  <a:lnTo>
                    <a:pt x="103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0">
              <a:extLst>
                <a:ext uri="{FF2B5EF4-FFF2-40B4-BE49-F238E27FC236}">
                  <a16:creationId xmlns:a16="http://schemas.microsoft.com/office/drawing/2014/main" id="{0B09244E-559F-4394-99B7-D98FF148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" y="1383"/>
              <a:ext cx="12" cy="54"/>
            </a:xfrm>
            <a:custGeom>
              <a:avLst/>
              <a:gdLst>
                <a:gd name="T0" fmla="*/ 7 w 12"/>
                <a:gd name="T1" fmla="*/ 51 h 54"/>
                <a:gd name="T2" fmla="*/ 9 w 12"/>
                <a:gd name="T3" fmla="*/ 51 h 54"/>
                <a:gd name="T4" fmla="*/ 9 w 12"/>
                <a:gd name="T5" fmla="*/ 49 h 54"/>
                <a:gd name="T6" fmla="*/ 9 w 12"/>
                <a:gd name="T7" fmla="*/ 49 h 54"/>
                <a:gd name="T8" fmla="*/ 12 w 12"/>
                <a:gd name="T9" fmla="*/ 46 h 54"/>
                <a:gd name="T10" fmla="*/ 9 w 12"/>
                <a:gd name="T11" fmla="*/ 2 h 54"/>
                <a:gd name="T12" fmla="*/ 9 w 12"/>
                <a:gd name="T13" fmla="*/ 0 h 54"/>
                <a:gd name="T14" fmla="*/ 9 w 12"/>
                <a:gd name="T15" fmla="*/ 0 h 54"/>
                <a:gd name="T16" fmla="*/ 7 w 12"/>
                <a:gd name="T17" fmla="*/ 0 h 54"/>
                <a:gd name="T18" fmla="*/ 7 w 12"/>
                <a:gd name="T19" fmla="*/ 0 h 54"/>
                <a:gd name="T20" fmla="*/ 4 w 12"/>
                <a:gd name="T21" fmla="*/ 0 h 54"/>
                <a:gd name="T22" fmla="*/ 2 w 12"/>
                <a:gd name="T23" fmla="*/ 0 h 54"/>
                <a:gd name="T24" fmla="*/ 2 w 12"/>
                <a:gd name="T25" fmla="*/ 2 h 54"/>
                <a:gd name="T26" fmla="*/ 0 w 12"/>
                <a:gd name="T27" fmla="*/ 2 h 54"/>
                <a:gd name="T28" fmla="*/ 0 w 12"/>
                <a:gd name="T29" fmla="*/ 49 h 54"/>
                <a:gd name="T30" fmla="*/ 2 w 12"/>
                <a:gd name="T31" fmla="*/ 51 h 54"/>
                <a:gd name="T32" fmla="*/ 2 w 12"/>
                <a:gd name="T33" fmla="*/ 51 h 54"/>
                <a:gd name="T34" fmla="*/ 2 w 12"/>
                <a:gd name="T35" fmla="*/ 51 h 54"/>
                <a:gd name="T36" fmla="*/ 4 w 12"/>
                <a:gd name="T37" fmla="*/ 51 h 54"/>
                <a:gd name="T38" fmla="*/ 4 w 12"/>
                <a:gd name="T39" fmla="*/ 54 h 54"/>
                <a:gd name="T40" fmla="*/ 7 w 12"/>
                <a:gd name="T41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54">
                  <a:moveTo>
                    <a:pt x="7" y="51"/>
                  </a:moveTo>
                  <a:lnTo>
                    <a:pt x="9" y="51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12" y="46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9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4" y="51"/>
                  </a:lnTo>
                  <a:lnTo>
                    <a:pt x="4" y="54"/>
                  </a:lnTo>
                  <a:lnTo>
                    <a:pt x="7" y="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93">
            <a:extLst>
              <a:ext uri="{FF2B5EF4-FFF2-40B4-BE49-F238E27FC236}">
                <a16:creationId xmlns:a16="http://schemas.microsoft.com/office/drawing/2014/main" id="{2FC65C88-5E6F-458C-9F67-8AE9AD0F87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1055" y="1533525"/>
            <a:ext cx="841375" cy="841375"/>
            <a:chOff x="1660" y="1105"/>
            <a:chExt cx="530" cy="530"/>
          </a:xfrm>
        </p:grpSpPr>
        <p:sp>
          <p:nvSpPr>
            <p:cNvPr id="106" name="AutoShape 92">
              <a:extLst>
                <a:ext uri="{FF2B5EF4-FFF2-40B4-BE49-F238E27FC236}">
                  <a16:creationId xmlns:a16="http://schemas.microsoft.com/office/drawing/2014/main" id="{3F09ABCD-1A33-47C3-AD54-6B09D56D7A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60" y="110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Oval 94">
              <a:extLst>
                <a:ext uri="{FF2B5EF4-FFF2-40B4-BE49-F238E27FC236}">
                  <a16:creationId xmlns:a16="http://schemas.microsoft.com/office/drawing/2014/main" id="{5FD45852-FF88-43A4-8FD5-9CB8E3482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3" y="110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5">
              <a:extLst>
                <a:ext uri="{FF2B5EF4-FFF2-40B4-BE49-F238E27FC236}">
                  <a16:creationId xmlns:a16="http://schemas.microsoft.com/office/drawing/2014/main" id="{99ACB90B-25F1-481B-847F-18ADC491D0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9" y="1124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96">
              <a:extLst>
                <a:ext uri="{FF2B5EF4-FFF2-40B4-BE49-F238E27FC236}">
                  <a16:creationId xmlns:a16="http://schemas.microsoft.com/office/drawing/2014/main" id="{F900B6F6-3128-423A-9D80-D41A28477C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2" y="1282"/>
              <a:ext cx="348" cy="179"/>
            </a:xfrm>
            <a:custGeom>
              <a:avLst/>
              <a:gdLst>
                <a:gd name="T0" fmla="*/ 332 w 348"/>
                <a:gd name="T1" fmla="*/ 146 h 179"/>
                <a:gd name="T2" fmla="*/ 286 w 348"/>
                <a:gd name="T3" fmla="*/ 149 h 179"/>
                <a:gd name="T4" fmla="*/ 283 w 348"/>
                <a:gd name="T5" fmla="*/ 141 h 179"/>
                <a:gd name="T6" fmla="*/ 270 w 348"/>
                <a:gd name="T7" fmla="*/ 146 h 179"/>
                <a:gd name="T8" fmla="*/ 248 w 348"/>
                <a:gd name="T9" fmla="*/ 152 h 179"/>
                <a:gd name="T10" fmla="*/ 215 w 348"/>
                <a:gd name="T11" fmla="*/ 146 h 179"/>
                <a:gd name="T12" fmla="*/ 191 w 348"/>
                <a:gd name="T13" fmla="*/ 127 h 179"/>
                <a:gd name="T14" fmla="*/ 177 w 348"/>
                <a:gd name="T15" fmla="*/ 98 h 179"/>
                <a:gd name="T16" fmla="*/ 177 w 348"/>
                <a:gd name="T17" fmla="*/ 68 h 179"/>
                <a:gd name="T18" fmla="*/ 191 w 348"/>
                <a:gd name="T19" fmla="*/ 38 h 179"/>
                <a:gd name="T20" fmla="*/ 215 w 348"/>
                <a:gd name="T21" fmla="*/ 16 h 179"/>
                <a:gd name="T22" fmla="*/ 250 w 348"/>
                <a:gd name="T23" fmla="*/ 13 h 179"/>
                <a:gd name="T24" fmla="*/ 278 w 348"/>
                <a:gd name="T25" fmla="*/ 21 h 179"/>
                <a:gd name="T26" fmla="*/ 291 w 348"/>
                <a:gd name="T27" fmla="*/ 35 h 179"/>
                <a:gd name="T28" fmla="*/ 302 w 348"/>
                <a:gd name="T29" fmla="*/ 49 h 179"/>
                <a:gd name="T30" fmla="*/ 308 w 348"/>
                <a:gd name="T31" fmla="*/ 76 h 179"/>
                <a:gd name="T32" fmla="*/ 302 w 348"/>
                <a:gd name="T33" fmla="*/ 111 h 179"/>
                <a:gd name="T34" fmla="*/ 291 w 348"/>
                <a:gd name="T35" fmla="*/ 130 h 179"/>
                <a:gd name="T36" fmla="*/ 294 w 348"/>
                <a:gd name="T37" fmla="*/ 138 h 179"/>
                <a:gd name="T38" fmla="*/ 305 w 348"/>
                <a:gd name="T39" fmla="*/ 130 h 179"/>
                <a:gd name="T40" fmla="*/ 318 w 348"/>
                <a:gd name="T41" fmla="*/ 100 h 179"/>
                <a:gd name="T42" fmla="*/ 318 w 348"/>
                <a:gd name="T43" fmla="*/ 62 h 179"/>
                <a:gd name="T44" fmla="*/ 302 w 348"/>
                <a:gd name="T45" fmla="*/ 30 h 179"/>
                <a:gd name="T46" fmla="*/ 327 w 348"/>
                <a:gd name="T47" fmla="*/ 16 h 179"/>
                <a:gd name="T48" fmla="*/ 335 w 348"/>
                <a:gd name="T49" fmla="*/ 21 h 179"/>
                <a:gd name="T50" fmla="*/ 337 w 348"/>
                <a:gd name="T51" fmla="*/ 133 h 179"/>
                <a:gd name="T52" fmla="*/ 310 w 348"/>
                <a:gd name="T53" fmla="*/ 168 h 179"/>
                <a:gd name="T54" fmla="*/ 17 w 348"/>
                <a:gd name="T55" fmla="*/ 144 h 179"/>
                <a:gd name="T56" fmla="*/ 11 w 348"/>
                <a:gd name="T57" fmla="*/ 136 h 179"/>
                <a:gd name="T58" fmla="*/ 11 w 348"/>
                <a:gd name="T59" fmla="*/ 27 h 179"/>
                <a:gd name="T60" fmla="*/ 22 w 348"/>
                <a:gd name="T61" fmla="*/ 16 h 179"/>
                <a:gd name="T62" fmla="*/ 185 w 348"/>
                <a:gd name="T63" fmla="*/ 24 h 179"/>
                <a:gd name="T64" fmla="*/ 169 w 348"/>
                <a:gd name="T65" fmla="*/ 54 h 179"/>
                <a:gd name="T66" fmla="*/ 164 w 348"/>
                <a:gd name="T67" fmla="*/ 87 h 179"/>
                <a:gd name="T68" fmla="*/ 169 w 348"/>
                <a:gd name="T69" fmla="*/ 108 h 179"/>
                <a:gd name="T70" fmla="*/ 180 w 348"/>
                <a:gd name="T71" fmla="*/ 133 h 179"/>
                <a:gd name="T72" fmla="*/ 66 w 348"/>
                <a:gd name="T73" fmla="*/ 168 h 179"/>
                <a:gd name="T74" fmla="*/ 348 w 348"/>
                <a:gd name="T75" fmla="*/ 24 h 179"/>
                <a:gd name="T76" fmla="*/ 332 w 348"/>
                <a:gd name="T77" fmla="*/ 5 h 179"/>
                <a:gd name="T78" fmla="*/ 286 w 348"/>
                <a:gd name="T79" fmla="*/ 5 h 179"/>
                <a:gd name="T80" fmla="*/ 283 w 348"/>
                <a:gd name="T81" fmla="*/ 13 h 179"/>
                <a:gd name="T82" fmla="*/ 253 w 348"/>
                <a:gd name="T83" fmla="*/ 0 h 179"/>
                <a:gd name="T84" fmla="*/ 221 w 348"/>
                <a:gd name="T85" fmla="*/ 2 h 179"/>
                <a:gd name="T86" fmla="*/ 17 w 348"/>
                <a:gd name="T87" fmla="*/ 8 h 179"/>
                <a:gd name="T88" fmla="*/ 0 w 348"/>
                <a:gd name="T89" fmla="*/ 27 h 179"/>
                <a:gd name="T90" fmla="*/ 0 w 348"/>
                <a:gd name="T91" fmla="*/ 141 h 179"/>
                <a:gd name="T92" fmla="*/ 9 w 348"/>
                <a:gd name="T93" fmla="*/ 155 h 179"/>
                <a:gd name="T94" fmla="*/ 28 w 348"/>
                <a:gd name="T95" fmla="*/ 160 h 179"/>
                <a:gd name="T96" fmla="*/ 33 w 348"/>
                <a:gd name="T97" fmla="*/ 176 h 179"/>
                <a:gd name="T98" fmla="*/ 71 w 348"/>
                <a:gd name="T99" fmla="*/ 179 h 179"/>
                <a:gd name="T100" fmla="*/ 77 w 348"/>
                <a:gd name="T101" fmla="*/ 160 h 179"/>
                <a:gd name="T102" fmla="*/ 237 w 348"/>
                <a:gd name="T103" fmla="*/ 163 h 179"/>
                <a:gd name="T104" fmla="*/ 256 w 348"/>
                <a:gd name="T105" fmla="*/ 163 h 179"/>
                <a:gd name="T106" fmla="*/ 275 w 348"/>
                <a:gd name="T107" fmla="*/ 174 h 179"/>
                <a:gd name="T108" fmla="*/ 316 w 348"/>
                <a:gd name="T109" fmla="*/ 179 h 179"/>
                <a:gd name="T110" fmla="*/ 318 w 348"/>
                <a:gd name="T111" fmla="*/ 176 h 179"/>
                <a:gd name="T112" fmla="*/ 324 w 348"/>
                <a:gd name="T113" fmla="*/ 160 h 179"/>
                <a:gd name="T114" fmla="*/ 343 w 348"/>
                <a:gd name="T115" fmla="*/ 149 h 179"/>
                <a:gd name="T116" fmla="*/ 348 w 348"/>
                <a:gd name="T117" fmla="*/ 13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48" h="179">
                  <a:moveTo>
                    <a:pt x="337" y="133"/>
                  </a:moveTo>
                  <a:lnTo>
                    <a:pt x="337" y="138"/>
                  </a:lnTo>
                  <a:lnTo>
                    <a:pt x="337" y="141"/>
                  </a:lnTo>
                  <a:lnTo>
                    <a:pt x="335" y="144"/>
                  </a:lnTo>
                  <a:lnTo>
                    <a:pt x="332" y="146"/>
                  </a:lnTo>
                  <a:lnTo>
                    <a:pt x="327" y="146"/>
                  </a:lnTo>
                  <a:lnTo>
                    <a:pt x="327" y="149"/>
                  </a:lnTo>
                  <a:lnTo>
                    <a:pt x="324" y="149"/>
                  </a:lnTo>
                  <a:lnTo>
                    <a:pt x="321" y="149"/>
                  </a:lnTo>
                  <a:lnTo>
                    <a:pt x="286" y="149"/>
                  </a:lnTo>
                  <a:lnTo>
                    <a:pt x="286" y="146"/>
                  </a:lnTo>
                  <a:lnTo>
                    <a:pt x="286" y="144"/>
                  </a:lnTo>
                  <a:lnTo>
                    <a:pt x="286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0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5" y="144"/>
                  </a:lnTo>
                  <a:lnTo>
                    <a:pt x="270" y="146"/>
                  </a:lnTo>
                  <a:lnTo>
                    <a:pt x="267" y="149"/>
                  </a:lnTo>
                  <a:lnTo>
                    <a:pt x="261" y="149"/>
                  </a:lnTo>
                  <a:lnTo>
                    <a:pt x="256" y="152"/>
                  </a:lnTo>
                  <a:lnTo>
                    <a:pt x="250" y="152"/>
                  </a:lnTo>
                  <a:lnTo>
                    <a:pt x="248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31" y="152"/>
                  </a:lnTo>
                  <a:lnTo>
                    <a:pt x="221" y="149"/>
                  </a:lnTo>
                  <a:lnTo>
                    <a:pt x="215" y="146"/>
                  </a:lnTo>
                  <a:lnTo>
                    <a:pt x="210" y="144"/>
                  </a:lnTo>
                  <a:lnTo>
                    <a:pt x="207" y="144"/>
                  </a:lnTo>
                  <a:lnTo>
                    <a:pt x="202" y="138"/>
                  </a:lnTo>
                  <a:lnTo>
                    <a:pt x="193" y="133"/>
                  </a:lnTo>
                  <a:lnTo>
                    <a:pt x="191" y="127"/>
                  </a:lnTo>
                  <a:lnTo>
                    <a:pt x="185" y="122"/>
                  </a:lnTo>
                  <a:lnTo>
                    <a:pt x="183" y="117"/>
                  </a:lnTo>
                  <a:lnTo>
                    <a:pt x="180" y="108"/>
                  </a:lnTo>
                  <a:lnTo>
                    <a:pt x="180" y="106"/>
                  </a:lnTo>
                  <a:lnTo>
                    <a:pt x="177" y="98"/>
                  </a:lnTo>
                  <a:lnTo>
                    <a:pt x="174" y="92"/>
                  </a:lnTo>
                  <a:lnTo>
                    <a:pt x="174" y="87"/>
                  </a:lnTo>
                  <a:lnTo>
                    <a:pt x="174" y="79"/>
                  </a:lnTo>
                  <a:lnTo>
                    <a:pt x="174" y="70"/>
                  </a:lnTo>
                  <a:lnTo>
                    <a:pt x="177" y="68"/>
                  </a:lnTo>
                  <a:lnTo>
                    <a:pt x="180" y="57"/>
                  </a:lnTo>
                  <a:lnTo>
                    <a:pt x="180" y="54"/>
                  </a:lnTo>
                  <a:lnTo>
                    <a:pt x="185" y="46"/>
                  </a:lnTo>
                  <a:lnTo>
                    <a:pt x="188" y="40"/>
                  </a:lnTo>
                  <a:lnTo>
                    <a:pt x="191" y="38"/>
                  </a:lnTo>
                  <a:lnTo>
                    <a:pt x="193" y="32"/>
                  </a:lnTo>
                  <a:lnTo>
                    <a:pt x="202" y="27"/>
                  </a:lnTo>
                  <a:lnTo>
                    <a:pt x="204" y="24"/>
                  </a:lnTo>
                  <a:lnTo>
                    <a:pt x="210" y="21"/>
                  </a:lnTo>
                  <a:lnTo>
                    <a:pt x="215" y="16"/>
                  </a:lnTo>
                  <a:lnTo>
                    <a:pt x="221" y="16"/>
                  </a:lnTo>
                  <a:lnTo>
                    <a:pt x="231" y="13"/>
                  </a:lnTo>
                  <a:lnTo>
                    <a:pt x="240" y="11"/>
                  </a:lnTo>
                  <a:lnTo>
                    <a:pt x="245" y="11"/>
                  </a:lnTo>
                  <a:lnTo>
                    <a:pt x="250" y="13"/>
                  </a:lnTo>
                  <a:lnTo>
                    <a:pt x="256" y="13"/>
                  </a:lnTo>
                  <a:lnTo>
                    <a:pt x="261" y="16"/>
                  </a:lnTo>
                  <a:lnTo>
                    <a:pt x="267" y="16"/>
                  </a:lnTo>
                  <a:lnTo>
                    <a:pt x="275" y="21"/>
                  </a:lnTo>
                  <a:lnTo>
                    <a:pt x="278" y="21"/>
                  </a:lnTo>
                  <a:lnTo>
                    <a:pt x="280" y="24"/>
                  </a:lnTo>
                  <a:lnTo>
                    <a:pt x="286" y="27"/>
                  </a:lnTo>
                  <a:lnTo>
                    <a:pt x="286" y="30"/>
                  </a:lnTo>
                  <a:lnTo>
                    <a:pt x="289" y="32"/>
                  </a:lnTo>
                  <a:lnTo>
                    <a:pt x="291" y="35"/>
                  </a:lnTo>
                  <a:lnTo>
                    <a:pt x="294" y="38"/>
                  </a:lnTo>
                  <a:lnTo>
                    <a:pt x="297" y="40"/>
                  </a:lnTo>
                  <a:lnTo>
                    <a:pt x="297" y="43"/>
                  </a:lnTo>
                  <a:lnTo>
                    <a:pt x="299" y="46"/>
                  </a:lnTo>
                  <a:lnTo>
                    <a:pt x="302" y="49"/>
                  </a:lnTo>
                  <a:lnTo>
                    <a:pt x="302" y="51"/>
                  </a:lnTo>
                  <a:lnTo>
                    <a:pt x="305" y="62"/>
                  </a:lnTo>
                  <a:lnTo>
                    <a:pt x="308" y="65"/>
                  </a:lnTo>
                  <a:lnTo>
                    <a:pt x="308" y="70"/>
                  </a:lnTo>
                  <a:lnTo>
                    <a:pt x="308" y="76"/>
                  </a:lnTo>
                  <a:lnTo>
                    <a:pt x="310" y="81"/>
                  </a:lnTo>
                  <a:lnTo>
                    <a:pt x="308" y="95"/>
                  </a:lnTo>
                  <a:lnTo>
                    <a:pt x="308" y="100"/>
                  </a:lnTo>
                  <a:lnTo>
                    <a:pt x="305" y="106"/>
                  </a:lnTo>
                  <a:lnTo>
                    <a:pt x="302" y="111"/>
                  </a:lnTo>
                  <a:lnTo>
                    <a:pt x="302" y="114"/>
                  </a:lnTo>
                  <a:lnTo>
                    <a:pt x="299" y="119"/>
                  </a:lnTo>
                  <a:lnTo>
                    <a:pt x="294" y="127"/>
                  </a:lnTo>
                  <a:lnTo>
                    <a:pt x="291" y="127"/>
                  </a:lnTo>
                  <a:lnTo>
                    <a:pt x="291" y="130"/>
                  </a:lnTo>
                  <a:lnTo>
                    <a:pt x="291" y="133"/>
                  </a:lnTo>
                  <a:lnTo>
                    <a:pt x="291" y="136"/>
                  </a:lnTo>
                  <a:lnTo>
                    <a:pt x="291" y="136"/>
                  </a:lnTo>
                  <a:lnTo>
                    <a:pt x="294" y="136"/>
                  </a:lnTo>
                  <a:lnTo>
                    <a:pt x="294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305" y="130"/>
                  </a:lnTo>
                  <a:lnTo>
                    <a:pt x="308" y="125"/>
                  </a:lnTo>
                  <a:lnTo>
                    <a:pt x="310" y="122"/>
                  </a:lnTo>
                  <a:lnTo>
                    <a:pt x="313" y="114"/>
                  </a:lnTo>
                  <a:lnTo>
                    <a:pt x="318" y="103"/>
                  </a:lnTo>
                  <a:lnTo>
                    <a:pt x="318" y="100"/>
                  </a:lnTo>
                  <a:lnTo>
                    <a:pt x="318" y="92"/>
                  </a:lnTo>
                  <a:lnTo>
                    <a:pt x="321" y="87"/>
                  </a:lnTo>
                  <a:lnTo>
                    <a:pt x="321" y="81"/>
                  </a:lnTo>
                  <a:lnTo>
                    <a:pt x="318" y="73"/>
                  </a:lnTo>
                  <a:lnTo>
                    <a:pt x="318" y="62"/>
                  </a:lnTo>
                  <a:lnTo>
                    <a:pt x="316" y="59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08" y="38"/>
                  </a:lnTo>
                  <a:lnTo>
                    <a:pt x="302" y="30"/>
                  </a:lnTo>
                  <a:lnTo>
                    <a:pt x="297" y="24"/>
                  </a:lnTo>
                  <a:lnTo>
                    <a:pt x="294" y="21"/>
                  </a:lnTo>
                  <a:lnTo>
                    <a:pt x="289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9" y="16"/>
                  </a:lnTo>
                  <a:lnTo>
                    <a:pt x="332" y="19"/>
                  </a:lnTo>
                  <a:lnTo>
                    <a:pt x="332" y="19"/>
                  </a:lnTo>
                  <a:lnTo>
                    <a:pt x="335" y="21"/>
                  </a:lnTo>
                  <a:lnTo>
                    <a:pt x="335" y="24"/>
                  </a:lnTo>
                  <a:lnTo>
                    <a:pt x="337" y="27"/>
                  </a:lnTo>
                  <a:lnTo>
                    <a:pt x="337" y="30"/>
                  </a:lnTo>
                  <a:lnTo>
                    <a:pt x="337" y="32"/>
                  </a:lnTo>
                  <a:lnTo>
                    <a:pt x="337" y="133"/>
                  </a:lnTo>
                  <a:close/>
                  <a:moveTo>
                    <a:pt x="310" y="168"/>
                  </a:moveTo>
                  <a:lnTo>
                    <a:pt x="286" y="168"/>
                  </a:lnTo>
                  <a:lnTo>
                    <a:pt x="286" y="160"/>
                  </a:lnTo>
                  <a:lnTo>
                    <a:pt x="310" y="160"/>
                  </a:lnTo>
                  <a:lnTo>
                    <a:pt x="310" y="168"/>
                  </a:lnTo>
                  <a:close/>
                  <a:moveTo>
                    <a:pt x="25" y="149"/>
                  </a:moveTo>
                  <a:lnTo>
                    <a:pt x="22" y="149"/>
                  </a:lnTo>
                  <a:lnTo>
                    <a:pt x="22" y="146"/>
                  </a:lnTo>
                  <a:lnTo>
                    <a:pt x="19" y="146"/>
                  </a:lnTo>
                  <a:lnTo>
                    <a:pt x="17" y="144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14" y="21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5" y="16"/>
                  </a:lnTo>
                  <a:lnTo>
                    <a:pt x="28" y="16"/>
                  </a:lnTo>
                  <a:lnTo>
                    <a:pt x="196" y="16"/>
                  </a:lnTo>
                  <a:lnTo>
                    <a:pt x="185" y="24"/>
                  </a:lnTo>
                  <a:lnTo>
                    <a:pt x="180" y="32"/>
                  </a:lnTo>
                  <a:lnTo>
                    <a:pt x="177" y="35"/>
                  </a:lnTo>
                  <a:lnTo>
                    <a:pt x="174" y="38"/>
                  </a:lnTo>
                  <a:lnTo>
                    <a:pt x="172" y="46"/>
                  </a:lnTo>
                  <a:lnTo>
                    <a:pt x="169" y="54"/>
                  </a:lnTo>
                  <a:lnTo>
                    <a:pt x="166" y="59"/>
                  </a:lnTo>
                  <a:lnTo>
                    <a:pt x="164" y="68"/>
                  </a:lnTo>
                  <a:lnTo>
                    <a:pt x="164" y="73"/>
                  </a:lnTo>
                  <a:lnTo>
                    <a:pt x="164" y="79"/>
                  </a:lnTo>
                  <a:lnTo>
                    <a:pt x="164" y="87"/>
                  </a:lnTo>
                  <a:lnTo>
                    <a:pt x="164" y="92"/>
                  </a:lnTo>
                  <a:lnTo>
                    <a:pt x="164" y="95"/>
                  </a:lnTo>
                  <a:lnTo>
                    <a:pt x="166" y="100"/>
                  </a:lnTo>
                  <a:lnTo>
                    <a:pt x="166" y="106"/>
                  </a:lnTo>
                  <a:lnTo>
                    <a:pt x="169" y="108"/>
                  </a:lnTo>
                  <a:lnTo>
                    <a:pt x="172" y="117"/>
                  </a:lnTo>
                  <a:lnTo>
                    <a:pt x="174" y="122"/>
                  </a:lnTo>
                  <a:lnTo>
                    <a:pt x="174" y="125"/>
                  </a:lnTo>
                  <a:lnTo>
                    <a:pt x="177" y="130"/>
                  </a:lnTo>
                  <a:lnTo>
                    <a:pt x="180" y="133"/>
                  </a:lnTo>
                  <a:lnTo>
                    <a:pt x="183" y="136"/>
                  </a:lnTo>
                  <a:lnTo>
                    <a:pt x="185" y="141"/>
                  </a:lnTo>
                  <a:lnTo>
                    <a:pt x="196" y="149"/>
                  </a:lnTo>
                  <a:lnTo>
                    <a:pt x="25" y="149"/>
                  </a:lnTo>
                  <a:close/>
                  <a:moveTo>
                    <a:pt x="66" y="168"/>
                  </a:moveTo>
                  <a:lnTo>
                    <a:pt x="44" y="168"/>
                  </a:lnTo>
                  <a:lnTo>
                    <a:pt x="44" y="160"/>
                  </a:lnTo>
                  <a:lnTo>
                    <a:pt x="66" y="160"/>
                  </a:lnTo>
                  <a:lnTo>
                    <a:pt x="66" y="168"/>
                  </a:lnTo>
                  <a:close/>
                  <a:moveTo>
                    <a:pt x="348" y="24"/>
                  </a:moveTo>
                  <a:lnTo>
                    <a:pt x="348" y="21"/>
                  </a:lnTo>
                  <a:lnTo>
                    <a:pt x="346" y="16"/>
                  </a:lnTo>
                  <a:lnTo>
                    <a:pt x="343" y="13"/>
                  </a:lnTo>
                  <a:lnTo>
                    <a:pt x="337" y="8"/>
                  </a:lnTo>
                  <a:lnTo>
                    <a:pt x="332" y="5"/>
                  </a:lnTo>
                  <a:lnTo>
                    <a:pt x="327" y="5"/>
                  </a:lnTo>
                  <a:lnTo>
                    <a:pt x="324" y="5"/>
                  </a:lnTo>
                  <a:lnTo>
                    <a:pt x="321" y="5"/>
                  </a:lnTo>
                  <a:lnTo>
                    <a:pt x="289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8"/>
                  </a:lnTo>
                  <a:lnTo>
                    <a:pt x="283" y="8"/>
                  </a:lnTo>
                  <a:lnTo>
                    <a:pt x="283" y="11"/>
                  </a:lnTo>
                  <a:lnTo>
                    <a:pt x="283" y="13"/>
                  </a:lnTo>
                  <a:lnTo>
                    <a:pt x="278" y="8"/>
                  </a:lnTo>
                  <a:lnTo>
                    <a:pt x="267" y="5"/>
                  </a:lnTo>
                  <a:lnTo>
                    <a:pt x="264" y="2"/>
                  </a:lnTo>
                  <a:lnTo>
                    <a:pt x="259" y="2"/>
                  </a:lnTo>
                  <a:lnTo>
                    <a:pt x="253" y="0"/>
                  </a:lnTo>
                  <a:lnTo>
                    <a:pt x="248" y="0"/>
                  </a:lnTo>
                  <a:lnTo>
                    <a:pt x="240" y="0"/>
                  </a:lnTo>
                  <a:lnTo>
                    <a:pt x="234" y="0"/>
                  </a:lnTo>
                  <a:lnTo>
                    <a:pt x="229" y="0"/>
                  </a:lnTo>
                  <a:lnTo>
                    <a:pt x="221" y="2"/>
                  </a:lnTo>
                  <a:lnTo>
                    <a:pt x="218" y="5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2" y="5"/>
                  </a:lnTo>
                  <a:lnTo>
                    <a:pt x="17" y="8"/>
                  </a:lnTo>
                  <a:lnTo>
                    <a:pt x="11" y="8"/>
                  </a:lnTo>
                  <a:lnTo>
                    <a:pt x="6" y="13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1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6" y="149"/>
                  </a:lnTo>
                  <a:lnTo>
                    <a:pt x="9" y="152"/>
                  </a:lnTo>
                  <a:lnTo>
                    <a:pt x="9" y="155"/>
                  </a:lnTo>
                  <a:lnTo>
                    <a:pt x="11" y="155"/>
                  </a:lnTo>
                  <a:lnTo>
                    <a:pt x="14" y="157"/>
                  </a:lnTo>
                  <a:lnTo>
                    <a:pt x="19" y="160"/>
                  </a:lnTo>
                  <a:lnTo>
                    <a:pt x="25" y="160"/>
                  </a:lnTo>
                  <a:lnTo>
                    <a:pt x="28" y="160"/>
                  </a:lnTo>
                  <a:lnTo>
                    <a:pt x="33" y="160"/>
                  </a:lnTo>
                  <a:lnTo>
                    <a:pt x="33" y="174"/>
                  </a:lnTo>
                  <a:lnTo>
                    <a:pt x="33" y="174"/>
                  </a:lnTo>
                  <a:lnTo>
                    <a:pt x="33" y="176"/>
                  </a:lnTo>
                  <a:lnTo>
                    <a:pt x="33" y="176"/>
                  </a:lnTo>
                  <a:lnTo>
                    <a:pt x="33" y="179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8" y="179"/>
                  </a:lnTo>
                  <a:lnTo>
                    <a:pt x="71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7" y="176"/>
                  </a:lnTo>
                  <a:lnTo>
                    <a:pt x="77" y="174"/>
                  </a:lnTo>
                  <a:lnTo>
                    <a:pt x="77" y="160"/>
                  </a:lnTo>
                  <a:lnTo>
                    <a:pt x="79" y="160"/>
                  </a:lnTo>
                  <a:lnTo>
                    <a:pt x="218" y="160"/>
                  </a:lnTo>
                  <a:lnTo>
                    <a:pt x="221" y="160"/>
                  </a:lnTo>
                  <a:lnTo>
                    <a:pt x="229" y="163"/>
                  </a:lnTo>
                  <a:lnTo>
                    <a:pt x="237" y="163"/>
                  </a:lnTo>
                  <a:lnTo>
                    <a:pt x="240" y="163"/>
                  </a:lnTo>
                  <a:lnTo>
                    <a:pt x="245" y="163"/>
                  </a:lnTo>
                  <a:lnTo>
                    <a:pt x="248" y="163"/>
                  </a:lnTo>
                  <a:lnTo>
                    <a:pt x="253" y="163"/>
                  </a:lnTo>
                  <a:lnTo>
                    <a:pt x="256" y="163"/>
                  </a:lnTo>
                  <a:lnTo>
                    <a:pt x="261" y="163"/>
                  </a:lnTo>
                  <a:lnTo>
                    <a:pt x="264" y="160"/>
                  </a:lnTo>
                  <a:lnTo>
                    <a:pt x="267" y="160"/>
                  </a:lnTo>
                  <a:lnTo>
                    <a:pt x="275" y="160"/>
                  </a:lnTo>
                  <a:lnTo>
                    <a:pt x="275" y="174"/>
                  </a:lnTo>
                  <a:lnTo>
                    <a:pt x="275" y="176"/>
                  </a:lnTo>
                  <a:lnTo>
                    <a:pt x="278" y="179"/>
                  </a:lnTo>
                  <a:lnTo>
                    <a:pt x="278" y="179"/>
                  </a:lnTo>
                  <a:lnTo>
                    <a:pt x="280" y="179"/>
                  </a:lnTo>
                  <a:lnTo>
                    <a:pt x="316" y="179"/>
                  </a:lnTo>
                  <a:lnTo>
                    <a:pt x="316" y="179"/>
                  </a:lnTo>
                  <a:lnTo>
                    <a:pt x="318" y="179"/>
                  </a:lnTo>
                  <a:lnTo>
                    <a:pt x="318" y="176"/>
                  </a:lnTo>
                  <a:lnTo>
                    <a:pt x="318" y="176"/>
                  </a:lnTo>
                  <a:lnTo>
                    <a:pt x="318" y="176"/>
                  </a:lnTo>
                  <a:lnTo>
                    <a:pt x="321" y="174"/>
                  </a:lnTo>
                  <a:lnTo>
                    <a:pt x="321" y="174"/>
                  </a:lnTo>
                  <a:lnTo>
                    <a:pt x="321" y="160"/>
                  </a:lnTo>
                  <a:lnTo>
                    <a:pt x="321" y="160"/>
                  </a:lnTo>
                  <a:lnTo>
                    <a:pt x="324" y="160"/>
                  </a:lnTo>
                  <a:lnTo>
                    <a:pt x="329" y="160"/>
                  </a:lnTo>
                  <a:lnTo>
                    <a:pt x="335" y="157"/>
                  </a:lnTo>
                  <a:lnTo>
                    <a:pt x="337" y="155"/>
                  </a:lnTo>
                  <a:lnTo>
                    <a:pt x="340" y="155"/>
                  </a:lnTo>
                  <a:lnTo>
                    <a:pt x="343" y="149"/>
                  </a:lnTo>
                  <a:lnTo>
                    <a:pt x="346" y="146"/>
                  </a:lnTo>
                  <a:lnTo>
                    <a:pt x="348" y="144"/>
                  </a:lnTo>
                  <a:lnTo>
                    <a:pt x="348" y="141"/>
                  </a:lnTo>
                  <a:lnTo>
                    <a:pt x="348" y="138"/>
                  </a:lnTo>
                  <a:lnTo>
                    <a:pt x="348" y="136"/>
                  </a:lnTo>
                  <a:lnTo>
                    <a:pt x="348" y="30"/>
                  </a:lnTo>
                  <a:lnTo>
                    <a:pt x="348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7">
              <a:extLst>
                <a:ext uri="{FF2B5EF4-FFF2-40B4-BE49-F238E27FC236}">
                  <a16:creationId xmlns:a16="http://schemas.microsoft.com/office/drawing/2014/main" id="{CBAF64CF-F990-407E-80C8-0493270B1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" y="1312"/>
              <a:ext cx="10" cy="57"/>
            </a:xfrm>
            <a:custGeom>
              <a:avLst/>
              <a:gdLst>
                <a:gd name="T0" fmla="*/ 0 w 10"/>
                <a:gd name="T1" fmla="*/ 51 h 57"/>
                <a:gd name="T2" fmla="*/ 0 w 10"/>
                <a:gd name="T3" fmla="*/ 54 h 57"/>
                <a:gd name="T4" fmla="*/ 0 w 10"/>
                <a:gd name="T5" fmla="*/ 54 h 57"/>
                <a:gd name="T6" fmla="*/ 2 w 10"/>
                <a:gd name="T7" fmla="*/ 54 h 57"/>
                <a:gd name="T8" fmla="*/ 2 w 10"/>
                <a:gd name="T9" fmla="*/ 57 h 57"/>
                <a:gd name="T10" fmla="*/ 5 w 10"/>
                <a:gd name="T11" fmla="*/ 57 h 57"/>
                <a:gd name="T12" fmla="*/ 5 w 10"/>
                <a:gd name="T13" fmla="*/ 54 h 57"/>
                <a:gd name="T14" fmla="*/ 8 w 10"/>
                <a:gd name="T15" fmla="*/ 54 h 57"/>
                <a:gd name="T16" fmla="*/ 8 w 10"/>
                <a:gd name="T17" fmla="*/ 54 h 57"/>
                <a:gd name="T18" fmla="*/ 10 w 10"/>
                <a:gd name="T19" fmla="*/ 51 h 57"/>
                <a:gd name="T20" fmla="*/ 10 w 10"/>
                <a:gd name="T21" fmla="*/ 51 h 57"/>
                <a:gd name="T22" fmla="*/ 10 w 10"/>
                <a:gd name="T23" fmla="*/ 49 h 57"/>
                <a:gd name="T24" fmla="*/ 10 w 10"/>
                <a:gd name="T25" fmla="*/ 5 h 57"/>
                <a:gd name="T26" fmla="*/ 10 w 10"/>
                <a:gd name="T27" fmla="*/ 2 h 57"/>
                <a:gd name="T28" fmla="*/ 8 w 10"/>
                <a:gd name="T29" fmla="*/ 2 h 57"/>
                <a:gd name="T30" fmla="*/ 8 w 10"/>
                <a:gd name="T31" fmla="*/ 0 h 57"/>
                <a:gd name="T32" fmla="*/ 5 w 10"/>
                <a:gd name="T33" fmla="*/ 0 h 57"/>
                <a:gd name="T34" fmla="*/ 2 w 10"/>
                <a:gd name="T35" fmla="*/ 0 h 57"/>
                <a:gd name="T36" fmla="*/ 2 w 10"/>
                <a:gd name="T37" fmla="*/ 0 h 57"/>
                <a:gd name="T38" fmla="*/ 0 w 10"/>
                <a:gd name="T39" fmla="*/ 2 h 57"/>
                <a:gd name="T40" fmla="*/ 0 w 10"/>
                <a:gd name="T41" fmla="*/ 2 h 57"/>
                <a:gd name="T42" fmla="*/ 0 w 10"/>
                <a:gd name="T43" fmla="*/ 5 h 57"/>
                <a:gd name="T44" fmla="*/ 0 w 10"/>
                <a:gd name="T45" fmla="*/ 51 h 57"/>
                <a:gd name="T46" fmla="*/ 0 w 10"/>
                <a:gd name="T47" fmla="*/ 51 h 57"/>
                <a:gd name="T48" fmla="*/ 0 w 10"/>
                <a:gd name="T49" fmla="*/ 5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57">
                  <a:moveTo>
                    <a:pt x="0" y="51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7"/>
                  </a:lnTo>
                  <a:lnTo>
                    <a:pt x="5" y="57"/>
                  </a:lnTo>
                  <a:lnTo>
                    <a:pt x="5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0" y="5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98">
              <a:extLst>
                <a:ext uri="{FF2B5EF4-FFF2-40B4-BE49-F238E27FC236}">
                  <a16:creationId xmlns:a16="http://schemas.microsoft.com/office/drawing/2014/main" id="{275C4EA0-804D-432F-AA2E-13AC573C2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" y="1312"/>
              <a:ext cx="11" cy="57"/>
            </a:xfrm>
            <a:custGeom>
              <a:avLst/>
              <a:gdLst>
                <a:gd name="T0" fmla="*/ 0 w 11"/>
                <a:gd name="T1" fmla="*/ 54 h 57"/>
                <a:gd name="T2" fmla="*/ 3 w 11"/>
                <a:gd name="T3" fmla="*/ 54 h 57"/>
                <a:gd name="T4" fmla="*/ 3 w 11"/>
                <a:gd name="T5" fmla="*/ 57 h 57"/>
                <a:gd name="T6" fmla="*/ 6 w 11"/>
                <a:gd name="T7" fmla="*/ 57 h 57"/>
                <a:gd name="T8" fmla="*/ 6 w 11"/>
                <a:gd name="T9" fmla="*/ 54 h 57"/>
                <a:gd name="T10" fmla="*/ 9 w 11"/>
                <a:gd name="T11" fmla="*/ 54 h 57"/>
                <a:gd name="T12" fmla="*/ 9 w 11"/>
                <a:gd name="T13" fmla="*/ 54 h 57"/>
                <a:gd name="T14" fmla="*/ 11 w 11"/>
                <a:gd name="T15" fmla="*/ 51 h 57"/>
                <a:gd name="T16" fmla="*/ 11 w 11"/>
                <a:gd name="T17" fmla="*/ 49 h 57"/>
                <a:gd name="T18" fmla="*/ 11 w 11"/>
                <a:gd name="T19" fmla="*/ 5 h 57"/>
                <a:gd name="T20" fmla="*/ 9 w 11"/>
                <a:gd name="T21" fmla="*/ 2 h 57"/>
                <a:gd name="T22" fmla="*/ 9 w 11"/>
                <a:gd name="T23" fmla="*/ 0 h 57"/>
                <a:gd name="T24" fmla="*/ 6 w 11"/>
                <a:gd name="T25" fmla="*/ 0 h 57"/>
                <a:gd name="T26" fmla="*/ 3 w 11"/>
                <a:gd name="T27" fmla="*/ 0 h 57"/>
                <a:gd name="T28" fmla="*/ 3 w 11"/>
                <a:gd name="T29" fmla="*/ 0 h 57"/>
                <a:gd name="T30" fmla="*/ 0 w 11"/>
                <a:gd name="T31" fmla="*/ 2 h 57"/>
                <a:gd name="T32" fmla="*/ 0 w 11"/>
                <a:gd name="T33" fmla="*/ 5 h 57"/>
                <a:gd name="T34" fmla="*/ 0 w 11"/>
                <a:gd name="T35" fmla="*/ 5 h 57"/>
                <a:gd name="T36" fmla="*/ 0 w 11"/>
                <a:gd name="T37" fmla="*/ 51 h 57"/>
                <a:gd name="T38" fmla="*/ 0 w 11"/>
                <a:gd name="T39" fmla="*/ 54 h 57"/>
                <a:gd name="T40" fmla="*/ 0 w 11"/>
                <a:gd name="T41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57">
                  <a:moveTo>
                    <a:pt x="0" y="54"/>
                  </a:moveTo>
                  <a:lnTo>
                    <a:pt x="3" y="54"/>
                  </a:lnTo>
                  <a:lnTo>
                    <a:pt x="3" y="57"/>
                  </a:lnTo>
                  <a:lnTo>
                    <a:pt x="6" y="57"/>
                  </a:lnTo>
                  <a:lnTo>
                    <a:pt x="6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9">
              <a:extLst>
                <a:ext uri="{FF2B5EF4-FFF2-40B4-BE49-F238E27FC236}">
                  <a16:creationId xmlns:a16="http://schemas.microsoft.com/office/drawing/2014/main" id="{83B4FB67-FE8A-4F1B-84E4-C2613C94F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8" y="1312"/>
              <a:ext cx="11" cy="57"/>
            </a:xfrm>
            <a:custGeom>
              <a:avLst/>
              <a:gdLst>
                <a:gd name="T0" fmla="*/ 2 w 11"/>
                <a:gd name="T1" fmla="*/ 54 h 57"/>
                <a:gd name="T2" fmla="*/ 2 w 11"/>
                <a:gd name="T3" fmla="*/ 54 h 57"/>
                <a:gd name="T4" fmla="*/ 5 w 11"/>
                <a:gd name="T5" fmla="*/ 57 h 57"/>
                <a:gd name="T6" fmla="*/ 8 w 11"/>
                <a:gd name="T7" fmla="*/ 57 h 57"/>
                <a:gd name="T8" fmla="*/ 8 w 11"/>
                <a:gd name="T9" fmla="*/ 54 h 57"/>
                <a:gd name="T10" fmla="*/ 11 w 11"/>
                <a:gd name="T11" fmla="*/ 54 h 57"/>
                <a:gd name="T12" fmla="*/ 11 w 11"/>
                <a:gd name="T13" fmla="*/ 54 h 57"/>
                <a:gd name="T14" fmla="*/ 11 w 11"/>
                <a:gd name="T15" fmla="*/ 51 h 57"/>
                <a:gd name="T16" fmla="*/ 11 w 11"/>
                <a:gd name="T17" fmla="*/ 5 h 57"/>
                <a:gd name="T18" fmla="*/ 11 w 11"/>
                <a:gd name="T19" fmla="*/ 2 h 57"/>
                <a:gd name="T20" fmla="*/ 11 w 11"/>
                <a:gd name="T21" fmla="*/ 2 h 57"/>
                <a:gd name="T22" fmla="*/ 8 w 11"/>
                <a:gd name="T23" fmla="*/ 0 h 57"/>
                <a:gd name="T24" fmla="*/ 8 w 11"/>
                <a:gd name="T25" fmla="*/ 0 h 57"/>
                <a:gd name="T26" fmla="*/ 5 w 11"/>
                <a:gd name="T27" fmla="*/ 0 h 57"/>
                <a:gd name="T28" fmla="*/ 2 w 11"/>
                <a:gd name="T29" fmla="*/ 0 h 57"/>
                <a:gd name="T30" fmla="*/ 2 w 11"/>
                <a:gd name="T31" fmla="*/ 2 h 57"/>
                <a:gd name="T32" fmla="*/ 0 w 11"/>
                <a:gd name="T33" fmla="*/ 2 h 57"/>
                <a:gd name="T34" fmla="*/ 0 w 11"/>
                <a:gd name="T35" fmla="*/ 2 h 57"/>
                <a:gd name="T36" fmla="*/ 0 w 11"/>
                <a:gd name="T37" fmla="*/ 5 h 57"/>
                <a:gd name="T38" fmla="*/ 0 w 11"/>
                <a:gd name="T39" fmla="*/ 5 h 57"/>
                <a:gd name="T40" fmla="*/ 0 w 11"/>
                <a:gd name="T41" fmla="*/ 51 h 57"/>
                <a:gd name="T42" fmla="*/ 0 w 11"/>
                <a:gd name="T43" fmla="*/ 51 h 57"/>
                <a:gd name="T44" fmla="*/ 2 w 11"/>
                <a:gd name="T45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57">
                  <a:moveTo>
                    <a:pt x="2" y="54"/>
                  </a:moveTo>
                  <a:lnTo>
                    <a:pt x="2" y="54"/>
                  </a:lnTo>
                  <a:lnTo>
                    <a:pt x="5" y="57"/>
                  </a:lnTo>
                  <a:lnTo>
                    <a:pt x="8" y="57"/>
                  </a:lnTo>
                  <a:lnTo>
                    <a:pt x="8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1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0">
              <a:extLst>
                <a:ext uri="{FF2B5EF4-FFF2-40B4-BE49-F238E27FC236}">
                  <a16:creationId xmlns:a16="http://schemas.microsoft.com/office/drawing/2014/main" id="{EA80E8A0-3945-410B-9AD8-394DCB1110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306"/>
              <a:ext cx="109" cy="114"/>
            </a:xfrm>
            <a:custGeom>
              <a:avLst/>
              <a:gdLst>
                <a:gd name="T0" fmla="*/ 95 w 109"/>
                <a:gd name="T1" fmla="*/ 71 h 114"/>
                <a:gd name="T2" fmla="*/ 90 w 109"/>
                <a:gd name="T3" fmla="*/ 84 h 114"/>
                <a:gd name="T4" fmla="*/ 79 w 109"/>
                <a:gd name="T5" fmla="*/ 95 h 114"/>
                <a:gd name="T6" fmla="*/ 68 w 109"/>
                <a:gd name="T7" fmla="*/ 101 h 114"/>
                <a:gd name="T8" fmla="*/ 57 w 109"/>
                <a:gd name="T9" fmla="*/ 103 h 114"/>
                <a:gd name="T10" fmla="*/ 49 w 109"/>
                <a:gd name="T11" fmla="*/ 103 h 114"/>
                <a:gd name="T12" fmla="*/ 38 w 109"/>
                <a:gd name="T13" fmla="*/ 101 h 114"/>
                <a:gd name="T14" fmla="*/ 24 w 109"/>
                <a:gd name="T15" fmla="*/ 90 h 114"/>
                <a:gd name="T16" fmla="*/ 16 w 109"/>
                <a:gd name="T17" fmla="*/ 79 h 114"/>
                <a:gd name="T18" fmla="*/ 11 w 109"/>
                <a:gd name="T19" fmla="*/ 68 h 114"/>
                <a:gd name="T20" fmla="*/ 11 w 109"/>
                <a:gd name="T21" fmla="*/ 49 h 114"/>
                <a:gd name="T22" fmla="*/ 16 w 109"/>
                <a:gd name="T23" fmla="*/ 60 h 114"/>
                <a:gd name="T24" fmla="*/ 19 w 109"/>
                <a:gd name="T25" fmla="*/ 63 h 114"/>
                <a:gd name="T26" fmla="*/ 22 w 109"/>
                <a:gd name="T27" fmla="*/ 60 h 114"/>
                <a:gd name="T28" fmla="*/ 24 w 109"/>
                <a:gd name="T29" fmla="*/ 57 h 114"/>
                <a:gd name="T30" fmla="*/ 24 w 109"/>
                <a:gd name="T31" fmla="*/ 44 h 114"/>
                <a:gd name="T32" fmla="*/ 33 w 109"/>
                <a:gd name="T33" fmla="*/ 33 h 114"/>
                <a:gd name="T34" fmla="*/ 41 w 109"/>
                <a:gd name="T35" fmla="*/ 30 h 114"/>
                <a:gd name="T36" fmla="*/ 49 w 109"/>
                <a:gd name="T37" fmla="*/ 27 h 114"/>
                <a:gd name="T38" fmla="*/ 54 w 109"/>
                <a:gd name="T39" fmla="*/ 25 h 114"/>
                <a:gd name="T40" fmla="*/ 57 w 109"/>
                <a:gd name="T41" fmla="*/ 19 h 114"/>
                <a:gd name="T42" fmla="*/ 46 w 109"/>
                <a:gd name="T43" fmla="*/ 14 h 114"/>
                <a:gd name="T44" fmla="*/ 62 w 109"/>
                <a:gd name="T45" fmla="*/ 14 h 114"/>
                <a:gd name="T46" fmla="*/ 73 w 109"/>
                <a:gd name="T47" fmla="*/ 19 h 114"/>
                <a:gd name="T48" fmla="*/ 84 w 109"/>
                <a:gd name="T49" fmla="*/ 25 h 114"/>
                <a:gd name="T50" fmla="*/ 92 w 109"/>
                <a:gd name="T51" fmla="*/ 35 h 114"/>
                <a:gd name="T52" fmla="*/ 95 w 109"/>
                <a:gd name="T53" fmla="*/ 49 h 114"/>
                <a:gd name="T54" fmla="*/ 98 w 109"/>
                <a:gd name="T55" fmla="*/ 65 h 114"/>
                <a:gd name="T56" fmla="*/ 109 w 109"/>
                <a:gd name="T57" fmla="*/ 60 h 114"/>
                <a:gd name="T58" fmla="*/ 106 w 109"/>
                <a:gd name="T59" fmla="*/ 38 h 114"/>
                <a:gd name="T60" fmla="*/ 98 w 109"/>
                <a:gd name="T61" fmla="*/ 27 h 114"/>
                <a:gd name="T62" fmla="*/ 92 w 109"/>
                <a:gd name="T63" fmla="*/ 16 h 114"/>
                <a:gd name="T64" fmla="*/ 82 w 109"/>
                <a:gd name="T65" fmla="*/ 8 h 114"/>
                <a:gd name="T66" fmla="*/ 73 w 109"/>
                <a:gd name="T67" fmla="*/ 6 h 114"/>
                <a:gd name="T68" fmla="*/ 65 w 109"/>
                <a:gd name="T69" fmla="*/ 3 h 114"/>
                <a:gd name="T70" fmla="*/ 52 w 109"/>
                <a:gd name="T71" fmla="*/ 0 h 114"/>
                <a:gd name="T72" fmla="*/ 41 w 109"/>
                <a:gd name="T73" fmla="*/ 3 h 114"/>
                <a:gd name="T74" fmla="*/ 30 w 109"/>
                <a:gd name="T75" fmla="*/ 6 h 114"/>
                <a:gd name="T76" fmla="*/ 16 w 109"/>
                <a:gd name="T77" fmla="*/ 16 h 114"/>
                <a:gd name="T78" fmla="*/ 3 w 109"/>
                <a:gd name="T79" fmla="*/ 35 h 114"/>
                <a:gd name="T80" fmla="*/ 0 w 109"/>
                <a:gd name="T81" fmla="*/ 52 h 114"/>
                <a:gd name="T82" fmla="*/ 0 w 109"/>
                <a:gd name="T83" fmla="*/ 68 h 114"/>
                <a:gd name="T84" fmla="*/ 3 w 109"/>
                <a:gd name="T85" fmla="*/ 82 h 114"/>
                <a:gd name="T86" fmla="*/ 16 w 109"/>
                <a:gd name="T87" fmla="*/ 98 h 114"/>
                <a:gd name="T88" fmla="*/ 27 w 109"/>
                <a:gd name="T89" fmla="*/ 109 h 114"/>
                <a:gd name="T90" fmla="*/ 38 w 109"/>
                <a:gd name="T91" fmla="*/ 112 h 114"/>
                <a:gd name="T92" fmla="*/ 54 w 109"/>
                <a:gd name="T93" fmla="*/ 114 h 114"/>
                <a:gd name="T94" fmla="*/ 62 w 109"/>
                <a:gd name="T95" fmla="*/ 114 h 114"/>
                <a:gd name="T96" fmla="*/ 76 w 109"/>
                <a:gd name="T97" fmla="*/ 112 h 114"/>
                <a:gd name="T98" fmla="*/ 84 w 109"/>
                <a:gd name="T99" fmla="*/ 106 h 114"/>
                <a:gd name="T100" fmla="*/ 98 w 109"/>
                <a:gd name="T101" fmla="*/ 90 h 114"/>
                <a:gd name="T102" fmla="*/ 106 w 109"/>
                <a:gd name="T103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9" h="114">
                  <a:moveTo>
                    <a:pt x="98" y="65"/>
                  </a:moveTo>
                  <a:lnTo>
                    <a:pt x="95" y="68"/>
                  </a:lnTo>
                  <a:lnTo>
                    <a:pt x="95" y="71"/>
                  </a:lnTo>
                  <a:lnTo>
                    <a:pt x="95" y="76"/>
                  </a:lnTo>
                  <a:lnTo>
                    <a:pt x="92" y="79"/>
                  </a:lnTo>
                  <a:lnTo>
                    <a:pt x="90" y="84"/>
                  </a:lnTo>
                  <a:lnTo>
                    <a:pt x="87" y="87"/>
                  </a:lnTo>
                  <a:lnTo>
                    <a:pt x="82" y="93"/>
                  </a:lnTo>
                  <a:lnTo>
                    <a:pt x="79" y="95"/>
                  </a:lnTo>
                  <a:lnTo>
                    <a:pt x="73" y="98"/>
                  </a:lnTo>
                  <a:lnTo>
                    <a:pt x="71" y="101"/>
                  </a:lnTo>
                  <a:lnTo>
                    <a:pt x="68" y="101"/>
                  </a:lnTo>
                  <a:lnTo>
                    <a:pt x="62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4" y="103"/>
                  </a:lnTo>
                  <a:lnTo>
                    <a:pt x="52" y="103"/>
                  </a:lnTo>
                  <a:lnTo>
                    <a:pt x="49" y="103"/>
                  </a:lnTo>
                  <a:lnTo>
                    <a:pt x="46" y="103"/>
                  </a:lnTo>
                  <a:lnTo>
                    <a:pt x="41" y="101"/>
                  </a:lnTo>
                  <a:lnTo>
                    <a:pt x="38" y="101"/>
                  </a:lnTo>
                  <a:lnTo>
                    <a:pt x="33" y="98"/>
                  </a:lnTo>
                  <a:lnTo>
                    <a:pt x="27" y="93"/>
                  </a:lnTo>
                  <a:lnTo>
                    <a:pt x="24" y="90"/>
                  </a:lnTo>
                  <a:lnTo>
                    <a:pt x="22" y="87"/>
                  </a:lnTo>
                  <a:lnTo>
                    <a:pt x="19" y="84"/>
                  </a:lnTo>
                  <a:lnTo>
                    <a:pt x="16" y="79"/>
                  </a:lnTo>
                  <a:lnTo>
                    <a:pt x="14" y="76"/>
                  </a:lnTo>
                  <a:lnTo>
                    <a:pt x="14" y="71"/>
                  </a:lnTo>
                  <a:lnTo>
                    <a:pt x="11" y="68"/>
                  </a:lnTo>
                  <a:lnTo>
                    <a:pt x="11" y="63"/>
                  </a:lnTo>
                  <a:lnTo>
                    <a:pt x="11" y="60"/>
                  </a:lnTo>
                  <a:lnTo>
                    <a:pt x="11" y="49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63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2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7" y="38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8" y="30"/>
                  </a:lnTo>
                  <a:lnTo>
                    <a:pt x="41" y="30"/>
                  </a:lnTo>
                  <a:lnTo>
                    <a:pt x="43" y="27"/>
                  </a:lnTo>
                  <a:lnTo>
                    <a:pt x="46" y="27"/>
                  </a:lnTo>
                  <a:lnTo>
                    <a:pt x="49" y="27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19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46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62" y="14"/>
                  </a:lnTo>
                  <a:lnTo>
                    <a:pt x="68" y="14"/>
                  </a:lnTo>
                  <a:lnTo>
                    <a:pt x="71" y="16"/>
                  </a:lnTo>
                  <a:lnTo>
                    <a:pt x="73" y="19"/>
                  </a:lnTo>
                  <a:lnTo>
                    <a:pt x="79" y="19"/>
                  </a:lnTo>
                  <a:lnTo>
                    <a:pt x="82" y="22"/>
                  </a:lnTo>
                  <a:lnTo>
                    <a:pt x="84" y="25"/>
                  </a:lnTo>
                  <a:lnTo>
                    <a:pt x="87" y="30"/>
                  </a:lnTo>
                  <a:lnTo>
                    <a:pt x="90" y="33"/>
                  </a:lnTo>
                  <a:lnTo>
                    <a:pt x="92" y="35"/>
                  </a:lnTo>
                  <a:lnTo>
                    <a:pt x="92" y="41"/>
                  </a:lnTo>
                  <a:lnTo>
                    <a:pt x="95" y="44"/>
                  </a:lnTo>
                  <a:lnTo>
                    <a:pt x="95" y="49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65"/>
                  </a:lnTo>
                  <a:close/>
                  <a:moveTo>
                    <a:pt x="106" y="76"/>
                  </a:moveTo>
                  <a:lnTo>
                    <a:pt x="106" y="71"/>
                  </a:lnTo>
                  <a:lnTo>
                    <a:pt x="109" y="60"/>
                  </a:lnTo>
                  <a:lnTo>
                    <a:pt x="109" y="55"/>
                  </a:lnTo>
                  <a:lnTo>
                    <a:pt x="106" y="46"/>
                  </a:lnTo>
                  <a:lnTo>
                    <a:pt x="106" y="38"/>
                  </a:lnTo>
                  <a:lnTo>
                    <a:pt x="103" y="35"/>
                  </a:lnTo>
                  <a:lnTo>
                    <a:pt x="101" y="30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5" y="22"/>
                  </a:lnTo>
                  <a:lnTo>
                    <a:pt x="92" y="16"/>
                  </a:lnTo>
                  <a:lnTo>
                    <a:pt x="87" y="11"/>
                  </a:lnTo>
                  <a:lnTo>
                    <a:pt x="84" y="11"/>
                  </a:lnTo>
                  <a:lnTo>
                    <a:pt x="82" y="8"/>
                  </a:lnTo>
                  <a:lnTo>
                    <a:pt x="79" y="8"/>
                  </a:lnTo>
                  <a:lnTo>
                    <a:pt x="76" y="6"/>
                  </a:lnTo>
                  <a:lnTo>
                    <a:pt x="73" y="6"/>
                  </a:lnTo>
                  <a:lnTo>
                    <a:pt x="71" y="3"/>
                  </a:lnTo>
                  <a:lnTo>
                    <a:pt x="68" y="3"/>
                  </a:lnTo>
                  <a:lnTo>
                    <a:pt x="65" y="3"/>
                  </a:lnTo>
                  <a:lnTo>
                    <a:pt x="62" y="3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3" y="3"/>
                  </a:lnTo>
                  <a:lnTo>
                    <a:pt x="41" y="3"/>
                  </a:lnTo>
                  <a:lnTo>
                    <a:pt x="38" y="3"/>
                  </a:lnTo>
                  <a:lnTo>
                    <a:pt x="33" y="6"/>
                  </a:lnTo>
                  <a:lnTo>
                    <a:pt x="30" y="6"/>
                  </a:lnTo>
                  <a:lnTo>
                    <a:pt x="24" y="8"/>
                  </a:lnTo>
                  <a:lnTo>
                    <a:pt x="22" y="11"/>
                  </a:lnTo>
                  <a:lnTo>
                    <a:pt x="16" y="16"/>
                  </a:lnTo>
                  <a:lnTo>
                    <a:pt x="11" y="22"/>
                  </a:lnTo>
                  <a:lnTo>
                    <a:pt x="8" y="27"/>
                  </a:lnTo>
                  <a:lnTo>
                    <a:pt x="3" y="35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3" y="76"/>
                  </a:lnTo>
                  <a:lnTo>
                    <a:pt x="3" y="82"/>
                  </a:lnTo>
                  <a:lnTo>
                    <a:pt x="8" y="90"/>
                  </a:lnTo>
                  <a:lnTo>
                    <a:pt x="14" y="95"/>
                  </a:lnTo>
                  <a:lnTo>
                    <a:pt x="16" y="98"/>
                  </a:lnTo>
                  <a:lnTo>
                    <a:pt x="16" y="101"/>
                  </a:lnTo>
                  <a:lnTo>
                    <a:pt x="24" y="106"/>
                  </a:lnTo>
                  <a:lnTo>
                    <a:pt x="27" y="109"/>
                  </a:lnTo>
                  <a:lnTo>
                    <a:pt x="30" y="109"/>
                  </a:lnTo>
                  <a:lnTo>
                    <a:pt x="33" y="112"/>
                  </a:lnTo>
                  <a:lnTo>
                    <a:pt x="38" y="112"/>
                  </a:lnTo>
                  <a:lnTo>
                    <a:pt x="43" y="114"/>
                  </a:lnTo>
                  <a:lnTo>
                    <a:pt x="49" y="114"/>
                  </a:lnTo>
                  <a:lnTo>
                    <a:pt x="54" y="114"/>
                  </a:lnTo>
                  <a:lnTo>
                    <a:pt x="57" y="114"/>
                  </a:lnTo>
                  <a:lnTo>
                    <a:pt x="60" y="114"/>
                  </a:lnTo>
                  <a:lnTo>
                    <a:pt x="62" y="114"/>
                  </a:lnTo>
                  <a:lnTo>
                    <a:pt x="65" y="114"/>
                  </a:lnTo>
                  <a:lnTo>
                    <a:pt x="71" y="112"/>
                  </a:lnTo>
                  <a:lnTo>
                    <a:pt x="76" y="112"/>
                  </a:lnTo>
                  <a:lnTo>
                    <a:pt x="76" y="109"/>
                  </a:lnTo>
                  <a:lnTo>
                    <a:pt x="82" y="106"/>
                  </a:lnTo>
                  <a:lnTo>
                    <a:pt x="84" y="106"/>
                  </a:lnTo>
                  <a:lnTo>
                    <a:pt x="90" y="101"/>
                  </a:lnTo>
                  <a:lnTo>
                    <a:pt x="95" y="95"/>
                  </a:lnTo>
                  <a:lnTo>
                    <a:pt x="98" y="90"/>
                  </a:lnTo>
                  <a:lnTo>
                    <a:pt x="101" y="84"/>
                  </a:lnTo>
                  <a:lnTo>
                    <a:pt x="106" y="79"/>
                  </a:lnTo>
                  <a:lnTo>
                    <a:pt x="106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1">
              <a:extLst>
                <a:ext uri="{FF2B5EF4-FFF2-40B4-BE49-F238E27FC236}">
                  <a16:creationId xmlns:a16="http://schemas.microsoft.com/office/drawing/2014/main" id="{6A56BDD4-3F0C-44CC-B66C-792BE4FA1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" y="1312"/>
              <a:ext cx="11" cy="57"/>
            </a:xfrm>
            <a:custGeom>
              <a:avLst/>
              <a:gdLst>
                <a:gd name="T0" fmla="*/ 8 w 11"/>
                <a:gd name="T1" fmla="*/ 54 h 57"/>
                <a:gd name="T2" fmla="*/ 11 w 11"/>
                <a:gd name="T3" fmla="*/ 54 h 57"/>
                <a:gd name="T4" fmla="*/ 11 w 11"/>
                <a:gd name="T5" fmla="*/ 51 h 57"/>
                <a:gd name="T6" fmla="*/ 11 w 11"/>
                <a:gd name="T7" fmla="*/ 51 h 57"/>
                <a:gd name="T8" fmla="*/ 11 w 11"/>
                <a:gd name="T9" fmla="*/ 49 h 57"/>
                <a:gd name="T10" fmla="*/ 11 w 11"/>
                <a:gd name="T11" fmla="*/ 5 h 57"/>
                <a:gd name="T12" fmla="*/ 11 w 11"/>
                <a:gd name="T13" fmla="*/ 2 h 57"/>
                <a:gd name="T14" fmla="*/ 8 w 11"/>
                <a:gd name="T15" fmla="*/ 0 h 57"/>
                <a:gd name="T16" fmla="*/ 8 w 11"/>
                <a:gd name="T17" fmla="*/ 0 h 57"/>
                <a:gd name="T18" fmla="*/ 5 w 11"/>
                <a:gd name="T19" fmla="*/ 0 h 57"/>
                <a:gd name="T20" fmla="*/ 5 w 11"/>
                <a:gd name="T21" fmla="*/ 0 h 57"/>
                <a:gd name="T22" fmla="*/ 3 w 11"/>
                <a:gd name="T23" fmla="*/ 0 h 57"/>
                <a:gd name="T24" fmla="*/ 0 w 11"/>
                <a:gd name="T25" fmla="*/ 2 h 57"/>
                <a:gd name="T26" fmla="*/ 0 w 11"/>
                <a:gd name="T27" fmla="*/ 5 h 57"/>
                <a:gd name="T28" fmla="*/ 0 w 11"/>
                <a:gd name="T29" fmla="*/ 51 h 57"/>
                <a:gd name="T30" fmla="*/ 0 w 11"/>
                <a:gd name="T31" fmla="*/ 54 h 57"/>
                <a:gd name="T32" fmla="*/ 3 w 11"/>
                <a:gd name="T33" fmla="*/ 54 h 57"/>
                <a:gd name="T34" fmla="*/ 3 w 11"/>
                <a:gd name="T35" fmla="*/ 54 h 57"/>
                <a:gd name="T36" fmla="*/ 3 w 11"/>
                <a:gd name="T37" fmla="*/ 54 h 57"/>
                <a:gd name="T38" fmla="*/ 5 w 11"/>
                <a:gd name="T39" fmla="*/ 57 h 57"/>
                <a:gd name="T40" fmla="*/ 8 w 11"/>
                <a:gd name="T41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57">
                  <a:moveTo>
                    <a:pt x="8" y="54"/>
                  </a:moveTo>
                  <a:lnTo>
                    <a:pt x="11" y="54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5" y="57"/>
                  </a:lnTo>
                  <a:lnTo>
                    <a:pt x="8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104">
            <a:extLst>
              <a:ext uri="{FF2B5EF4-FFF2-40B4-BE49-F238E27FC236}">
                <a16:creationId xmlns:a16="http://schemas.microsoft.com/office/drawing/2014/main" id="{1361FA01-1611-42A6-80F3-86F5B1AEB5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73693" y="1577299"/>
            <a:ext cx="758825" cy="758825"/>
            <a:chOff x="3596" y="1168"/>
            <a:chExt cx="478" cy="478"/>
          </a:xfrm>
        </p:grpSpPr>
        <p:sp>
          <p:nvSpPr>
            <p:cNvPr id="120" name="AutoShape 103">
              <a:extLst>
                <a:ext uri="{FF2B5EF4-FFF2-40B4-BE49-F238E27FC236}">
                  <a16:creationId xmlns:a16="http://schemas.microsoft.com/office/drawing/2014/main" id="{5DCE768D-0EAD-4E09-AF2A-4851D9224E8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6" y="116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5">
              <a:extLst>
                <a:ext uri="{FF2B5EF4-FFF2-40B4-BE49-F238E27FC236}">
                  <a16:creationId xmlns:a16="http://schemas.microsoft.com/office/drawing/2014/main" id="{497D3E5D-76A9-4DBD-AD29-D779DC6D1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8" y="117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6">
              <a:extLst>
                <a:ext uri="{FF2B5EF4-FFF2-40B4-BE49-F238E27FC236}">
                  <a16:creationId xmlns:a16="http://schemas.microsoft.com/office/drawing/2014/main" id="{B9887E66-8528-4305-B508-0F6D5B3ED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9" y="1391"/>
              <a:ext cx="49" cy="20"/>
            </a:xfrm>
            <a:custGeom>
              <a:avLst/>
              <a:gdLst>
                <a:gd name="T0" fmla="*/ 0 w 49"/>
                <a:gd name="T1" fmla="*/ 17 h 20"/>
                <a:gd name="T2" fmla="*/ 2 w 49"/>
                <a:gd name="T3" fmla="*/ 20 h 20"/>
                <a:gd name="T4" fmla="*/ 5 w 49"/>
                <a:gd name="T5" fmla="*/ 17 h 20"/>
                <a:gd name="T6" fmla="*/ 7 w 49"/>
                <a:gd name="T7" fmla="*/ 17 h 20"/>
                <a:gd name="T8" fmla="*/ 9 w 49"/>
                <a:gd name="T9" fmla="*/ 15 h 20"/>
                <a:gd name="T10" fmla="*/ 14 w 49"/>
                <a:gd name="T11" fmla="*/ 12 h 20"/>
                <a:gd name="T12" fmla="*/ 19 w 49"/>
                <a:gd name="T13" fmla="*/ 10 h 20"/>
                <a:gd name="T14" fmla="*/ 22 w 49"/>
                <a:gd name="T15" fmla="*/ 10 h 20"/>
                <a:gd name="T16" fmla="*/ 24 w 49"/>
                <a:gd name="T17" fmla="*/ 10 h 20"/>
                <a:gd name="T18" fmla="*/ 32 w 49"/>
                <a:gd name="T19" fmla="*/ 12 h 20"/>
                <a:gd name="T20" fmla="*/ 32 w 49"/>
                <a:gd name="T21" fmla="*/ 12 h 20"/>
                <a:gd name="T22" fmla="*/ 34 w 49"/>
                <a:gd name="T23" fmla="*/ 12 h 20"/>
                <a:gd name="T24" fmla="*/ 39 w 49"/>
                <a:gd name="T25" fmla="*/ 15 h 20"/>
                <a:gd name="T26" fmla="*/ 41 w 49"/>
                <a:gd name="T27" fmla="*/ 17 h 20"/>
                <a:gd name="T28" fmla="*/ 44 w 49"/>
                <a:gd name="T29" fmla="*/ 17 h 20"/>
                <a:gd name="T30" fmla="*/ 44 w 49"/>
                <a:gd name="T31" fmla="*/ 20 h 20"/>
                <a:gd name="T32" fmla="*/ 46 w 49"/>
                <a:gd name="T33" fmla="*/ 17 h 20"/>
                <a:gd name="T34" fmla="*/ 46 w 49"/>
                <a:gd name="T35" fmla="*/ 17 h 20"/>
                <a:gd name="T36" fmla="*/ 49 w 49"/>
                <a:gd name="T37" fmla="*/ 17 h 20"/>
                <a:gd name="T38" fmla="*/ 49 w 49"/>
                <a:gd name="T39" fmla="*/ 12 h 20"/>
                <a:gd name="T40" fmla="*/ 49 w 49"/>
                <a:gd name="T41" fmla="*/ 12 h 20"/>
                <a:gd name="T42" fmla="*/ 49 w 49"/>
                <a:gd name="T43" fmla="*/ 12 h 20"/>
                <a:gd name="T44" fmla="*/ 46 w 49"/>
                <a:gd name="T45" fmla="*/ 10 h 20"/>
                <a:gd name="T46" fmla="*/ 44 w 49"/>
                <a:gd name="T47" fmla="*/ 7 h 20"/>
                <a:gd name="T48" fmla="*/ 39 w 49"/>
                <a:gd name="T49" fmla="*/ 5 h 20"/>
                <a:gd name="T50" fmla="*/ 34 w 49"/>
                <a:gd name="T51" fmla="*/ 3 h 20"/>
                <a:gd name="T52" fmla="*/ 29 w 49"/>
                <a:gd name="T53" fmla="*/ 0 h 20"/>
                <a:gd name="T54" fmla="*/ 24 w 49"/>
                <a:gd name="T55" fmla="*/ 0 h 20"/>
                <a:gd name="T56" fmla="*/ 19 w 49"/>
                <a:gd name="T57" fmla="*/ 3 h 20"/>
                <a:gd name="T58" fmla="*/ 14 w 49"/>
                <a:gd name="T59" fmla="*/ 3 h 20"/>
                <a:gd name="T60" fmla="*/ 9 w 49"/>
                <a:gd name="T61" fmla="*/ 5 h 20"/>
                <a:gd name="T62" fmla="*/ 7 w 49"/>
                <a:gd name="T63" fmla="*/ 5 h 20"/>
                <a:gd name="T64" fmla="*/ 2 w 49"/>
                <a:gd name="T65" fmla="*/ 7 h 20"/>
                <a:gd name="T66" fmla="*/ 0 w 49"/>
                <a:gd name="T67" fmla="*/ 10 h 20"/>
                <a:gd name="T68" fmla="*/ 0 w 49"/>
                <a:gd name="T69" fmla="*/ 12 h 20"/>
                <a:gd name="T70" fmla="*/ 0 w 49"/>
                <a:gd name="T71" fmla="*/ 15 h 20"/>
                <a:gd name="T72" fmla="*/ 0 w 49"/>
                <a:gd name="T73" fmla="*/ 15 h 20"/>
                <a:gd name="T74" fmla="*/ 0 w 49"/>
                <a:gd name="T75" fmla="*/ 15 h 20"/>
                <a:gd name="T76" fmla="*/ 0 w 49"/>
                <a:gd name="T7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9" h="20">
                  <a:moveTo>
                    <a:pt x="0" y="17"/>
                  </a:moveTo>
                  <a:lnTo>
                    <a:pt x="2" y="20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9" y="15"/>
                  </a:lnTo>
                  <a:lnTo>
                    <a:pt x="14" y="12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4" y="17"/>
                  </a:lnTo>
                  <a:lnTo>
                    <a:pt x="44" y="20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9" y="17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6" y="10"/>
                  </a:lnTo>
                  <a:lnTo>
                    <a:pt x="44" y="7"/>
                  </a:lnTo>
                  <a:lnTo>
                    <a:pt x="39" y="5"/>
                  </a:lnTo>
                  <a:lnTo>
                    <a:pt x="34" y="3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9" y="3"/>
                  </a:lnTo>
                  <a:lnTo>
                    <a:pt x="14" y="3"/>
                  </a:lnTo>
                  <a:lnTo>
                    <a:pt x="9" y="5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7">
              <a:extLst>
                <a:ext uri="{FF2B5EF4-FFF2-40B4-BE49-F238E27FC236}">
                  <a16:creationId xmlns:a16="http://schemas.microsoft.com/office/drawing/2014/main" id="{345474F2-BAA9-46AA-BBA3-452353C0C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7" y="1349"/>
              <a:ext cx="132" cy="130"/>
            </a:xfrm>
            <a:custGeom>
              <a:avLst/>
              <a:gdLst>
                <a:gd name="T0" fmla="*/ 44 w 132"/>
                <a:gd name="T1" fmla="*/ 20 h 130"/>
                <a:gd name="T2" fmla="*/ 56 w 132"/>
                <a:gd name="T3" fmla="*/ 15 h 130"/>
                <a:gd name="T4" fmla="*/ 76 w 132"/>
                <a:gd name="T5" fmla="*/ 15 h 130"/>
                <a:gd name="T6" fmla="*/ 91 w 132"/>
                <a:gd name="T7" fmla="*/ 20 h 130"/>
                <a:gd name="T8" fmla="*/ 105 w 132"/>
                <a:gd name="T9" fmla="*/ 32 h 130"/>
                <a:gd name="T10" fmla="*/ 115 w 132"/>
                <a:gd name="T11" fmla="*/ 47 h 130"/>
                <a:gd name="T12" fmla="*/ 118 w 132"/>
                <a:gd name="T13" fmla="*/ 62 h 130"/>
                <a:gd name="T14" fmla="*/ 118 w 132"/>
                <a:gd name="T15" fmla="*/ 79 h 130"/>
                <a:gd name="T16" fmla="*/ 110 w 132"/>
                <a:gd name="T17" fmla="*/ 94 h 130"/>
                <a:gd name="T18" fmla="*/ 103 w 132"/>
                <a:gd name="T19" fmla="*/ 101 h 130"/>
                <a:gd name="T20" fmla="*/ 83 w 132"/>
                <a:gd name="T21" fmla="*/ 113 h 130"/>
                <a:gd name="T22" fmla="*/ 69 w 132"/>
                <a:gd name="T23" fmla="*/ 116 h 130"/>
                <a:gd name="T24" fmla="*/ 56 w 132"/>
                <a:gd name="T25" fmla="*/ 116 h 130"/>
                <a:gd name="T26" fmla="*/ 42 w 132"/>
                <a:gd name="T27" fmla="*/ 111 h 130"/>
                <a:gd name="T28" fmla="*/ 29 w 132"/>
                <a:gd name="T29" fmla="*/ 101 h 130"/>
                <a:gd name="T30" fmla="*/ 20 w 132"/>
                <a:gd name="T31" fmla="*/ 89 h 130"/>
                <a:gd name="T32" fmla="*/ 15 w 132"/>
                <a:gd name="T33" fmla="*/ 74 h 130"/>
                <a:gd name="T34" fmla="*/ 15 w 132"/>
                <a:gd name="T35" fmla="*/ 59 h 130"/>
                <a:gd name="T36" fmla="*/ 17 w 132"/>
                <a:gd name="T37" fmla="*/ 47 h 130"/>
                <a:gd name="T38" fmla="*/ 25 w 132"/>
                <a:gd name="T39" fmla="*/ 35 h 130"/>
                <a:gd name="T40" fmla="*/ 22 w 132"/>
                <a:gd name="T41" fmla="*/ 15 h 130"/>
                <a:gd name="T42" fmla="*/ 12 w 132"/>
                <a:gd name="T43" fmla="*/ 27 h 130"/>
                <a:gd name="T44" fmla="*/ 5 w 132"/>
                <a:gd name="T45" fmla="*/ 40 h 130"/>
                <a:gd name="T46" fmla="*/ 0 w 132"/>
                <a:gd name="T47" fmla="*/ 52 h 130"/>
                <a:gd name="T48" fmla="*/ 0 w 132"/>
                <a:gd name="T49" fmla="*/ 67 h 130"/>
                <a:gd name="T50" fmla="*/ 0 w 132"/>
                <a:gd name="T51" fmla="*/ 79 h 130"/>
                <a:gd name="T52" fmla="*/ 5 w 132"/>
                <a:gd name="T53" fmla="*/ 94 h 130"/>
                <a:gd name="T54" fmla="*/ 12 w 132"/>
                <a:gd name="T55" fmla="*/ 103 h 130"/>
                <a:gd name="T56" fmla="*/ 22 w 132"/>
                <a:gd name="T57" fmla="*/ 116 h 130"/>
                <a:gd name="T58" fmla="*/ 37 w 132"/>
                <a:gd name="T59" fmla="*/ 123 h 130"/>
                <a:gd name="T60" fmla="*/ 51 w 132"/>
                <a:gd name="T61" fmla="*/ 128 h 130"/>
                <a:gd name="T62" fmla="*/ 74 w 132"/>
                <a:gd name="T63" fmla="*/ 130 h 130"/>
                <a:gd name="T64" fmla="*/ 88 w 132"/>
                <a:gd name="T65" fmla="*/ 125 h 130"/>
                <a:gd name="T66" fmla="*/ 103 w 132"/>
                <a:gd name="T67" fmla="*/ 118 h 130"/>
                <a:gd name="T68" fmla="*/ 115 w 132"/>
                <a:gd name="T69" fmla="*/ 108 h 130"/>
                <a:gd name="T70" fmla="*/ 127 w 132"/>
                <a:gd name="T71" fmla="*/ 94 h 130"/>
                <a:gd name="T72" fmla="*/ 132 w 132"/>
                <a:gd name="T73" fmla="*/ 74 h 130"/>
                <a:gd name="T74" fmla="*/ 132 w 132"/>
                <a:gd name="T75" fmla="*/ 59 h 130"/>
                <a:gd name="T76" fmla="*/ 130 w 132"/>
                <a:gd name="T77" fmla="*/ 42 h 130"/>
                <a:gd name="T78" fmla="*/ 123 w 132"/>
                <a:gd name="T79" fmla="*/ 32 h 130"/>
                <a:gd name="T80" fmla="*/ 110 w 132"/>
                <a:gd name="T81" fmla="*/ 18 h 130"/>
                <a:gd name="T82" fmla="*/ 98 w 132"/>
                <a:gd name="T83" fmla="*/ 8 h 130"/>
                <a:gd name="T84" fmla="*/ 83 w 132"/>
                <a:gd name="T85" fmla="*/ 3 h 130"/>
                <a:gd name="T86" fmla="*/ 69 w 132"/>
                <a:gd name="T87" fmla="*/ 0 h 130"/>
                <a:gd name="T88" fmla="*/ 51 w 132"/>
                <a:gd name="T89" fmla="*/ 3 h 130"/>
                <a:gd name="T90" fmla="*/ 39 w 132"/>
                <a:gd name="T91" fmla="*/ 5 h 130"/>
                <a:gd name="T92" fmla="*/ 25 w 132"/>
                <a:gd name="T93" fmla="*/ 1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130">
                  <a:moveTo>
                    <a:pt x="32" y="27"/>
                  </a:moveTo>
                  <a:lnTo>
                    <a:pt x="37" y="25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51" y="18"/>
                  </a:lnTo>
                  <a:lnTo>
                    <a:pt x="56" y="15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6" y="15"/>
                  </a:lnTo>
                  <a:lnTo>
                    <a:pt x="81" y="18"/>
                  </a:lnTo>
                  <a:lnTo>
                    <a:pt x="86" y="20"/>
                  </a:lnTo>
                  <a:lnTo>
                    <a:pt x="91" y="20"/>
                  </a:lnTo>
                  <a:lnTo>
                    <a:pt x="96" y="22"/>
                  </a:lnTo>
                  <a:lnTo>
                    <a:pt x="98" y="27"/>
                  </a:lnTo>
                  <a:lnTo>
                    <a:pt x="105" y="32"/>
                  </a:lnTo>
                  <a:lnTo>
                    <a:pt x="108" y="35"/>
                  </a:lnTo>
                  <a:lnTo>
                    <a:pt x="113" y="42"/>
                  </a:lnTo>
                  <a:lnTo>
                    <a:pt x="115" y="47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8" y="62"/>
                  </a:lnTo>
                  <a:lnTo>
                    <a:pt x="118" y="69"/>
                  </a:lnTo>
                  <a:lnTo>
                    <a:pt x="118" y="74"/>
                  </a:lnTo>
                  <a:lnTo>
                    <a:pt x="118" y="79"/>
                  </a:lnTo>
                  <a:lnTo>
                    <a:pt x="115" y="84"/>
                  </a:lnTo>
                  <a:lnTo>
                    <a:pt x="113" y="89"/>
                  </a:lnTo>
                  <a:lnTo>
                    <a:pt x="110" y="94"/>
                  </a:lnTo>
                  <a:lnTo>
                    <a:pt x="108" y="96"/>
                  </a:lnTo>
                  <a:lnTo>
                    <a:pt x="105" y="98"/>
                  </a:lnTo>
                  <a:lnTo>
                    <a:pt x="103" y="101"/>
                  </a:lnTo>
                  <a:lnTo>
                    <a:pt x="98" y="106"/>
                  </a:lnTo>
                  <a:lnTo>
                    <a:pt x="91" y="111"/>
                  </a:lnTo>
                  <a:lnTo>
                    <a:pt x="83" y="113"/>
                  </a:lnTo>
                  <a:lnTo>
                    <a:pt x="81" y="113"/>
                  </a:lnTo>
                  <a:lnTo>
                    <a:pt x="76" y="116"/>
                  </a:lnTo>
                  <a:lnTo>
                    <a:pt x="69" y="116"/>
                  </a:lnTo>
                  <a:lnTo>
                    <a:pt x="66" y="116"/>
                  </a:lnTo>
                  <a:lnTo>
                    <a:pt x="61" y="116"/>
                  </a:lnTo>
                  <a:lnTo>
                    <a:pt x="56" y="116"/>
                  </a:lnTo>
                  <a:lnTo>
                    <a:pt x="51" y="113"/>
                  </a:lnTo>
                  <a:lnTo>
                    <a:pt x="49" y="113"/>
                  </a:lnTo>
                  <a:lnTo>
                    <a:pt x="42" y="111"/>
                  </a:lnTo>
                  <a:lnTo>
                    <a:pt x="34" y="106"/>
                  </a:lnTo>
                  <a:lnTo>
                    <a:pt x="32" y="103"/>
                  </a:lnTo>
                  <a:lnTo>
                    <a:pt x="29" y="101"/>
                  </a:lnTo>
                  <a:lnTo>
                    <a:pt x="25" y="98"/>
                  </a:lnTo>
                  <a:lnTo>
                    <a:pt x="22" y="94"/>
                  </a:lnTo>
                  <a:lnTo>
                    <a:pt x="20" y="89"/>
                  </a:lnTo>
                  <a:lnTo>
                    <a:pt x="17" y="86"/>
                  </a:lnTo>
                  <a:lnTo>
                    <a:pt x="17" y="81"/>
                  </a:lnTo>
                  <a:lnTo>
                    <a:pt x="15" y="74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59"/>
                  </a:lnTo>
                  <a:lnTo>
                    <a:pt x="15" y="57"/>
                  </a:lnTo>
                  <a:lnTo>
                    <a:pt x="17" y="49"/>
                  </a:lnTo>
                  <a:lnTo>
                    <a:pt x="17" y="47"/>
                  </a:lnTo>
                  <a:lnTo>
                    <a:pt x="20" y="42"/>
                  </a:lnTo>
                  <a:lnTo>
                    <a:pt x="22" y="37"/>
                  </a:lnTo>
                  <a:lnTo>
                    <a:pt x="25" y="35"/>
                  </a:lnTo>
                  <a:lnTo>
                    <a:pt x="29" y="30"/>
                  </a:lnTo>
                  <a:lnTo>
                    <a:pt x="32" y="27"/>
                  </a:lnTo>
                  <a:close/>
                  <a:moveTo>
                    <a:pt x="22" y="15"/>
                  </a:moveTo>
                  <a:lnTo>
                    <a:pt x="20" y="18"/>
                  </a:lnTo>
                  <a:lnTo>
                    <a:pt x="17" y="22"/>
                  </a:lnTo>
                  <a:lnTo>
                    <a:pt x="12" y="27"/>
                  </a:lnTo>
                  <a:lnTo>
                    <a:pt x="7" y="32"/>
                  </a:lnTo>
                  <a:lnTo>
                    <a:pt x="7" y="35"/>
                  </a:lnTo>
                  <a:lnTo>
                    <a:pt x="5" y="40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2" y="89"/>
                  </a:lnTo>
                  <a:lnTo>
                    <a:pt x="5" y="94"/>
                  </a:lnTo>
                  <a:lnTo>
                    <a:pt x="7" y="96"/>
                  </a:lnTo>
                  <a:lnTo>
                    <a:pt x="10" y="101"/>
                  </a:lnTo>
                  <a:lnTo>
                    <a:pt x="12" y="103"/>
                  </a:lnTo>
                  <a:lnTo>
                    <a:pt x="15" y="106"/>
                  </a:lnTo>
                  <a:lnTo>
                    <a:pt x="20" y="111"/>
                  </a:lnTo>
                  <a:lnTo>
                    <a:pt x="22" y="116"/>
                  </a:lnTo>
                  <a:lnTo>
                    <a:pt x="27" y="118"/>
                  </a:lnTo>
                  <a:lnTo>
                    <a:pt x="32" y="121"/>
                  </a:lnTo>
                  <a:lnTo>
                    <a:pt x="37" y="123"/>
                  </a:lnTo>
                  <a:lnTo>
                    <a:pt x="42" y="125"/>
                  </a:lnTo>
                  <a:lnTo>
                    <a:pt x="47" y="128"/>
                  </a:lnTo>
                  <a:lnTo>
                    <a:pt x="51" y="128"/>
                  </a:lnTo>
                  <a:lnTo>
                    <a:pt x="59" y="130"/>
                  </a:lnTo>
                  <a:lnTo>
                    <a:pt x="66" y="130"/>
                  </a:lnTo>
                  <a:lnTo>
                    <a:pt x="74" y="130"/>
                  </a:lnTo>
                  <a:lnTo>
                    <a:pt x="78" y="128"/>
                  </a:lnTo>
                  <a:lnTo>
                    <a:pt x="83" y="128"/>
                  </a:lnTo>
                  <a:lnTo>
                    <a:pt x="88" y="125"/>
                  </a:lnTo>
                  <a:lnTo>
                    <a:pt x="96" y="123"/>
                  </a:lnTo>
                  <a:lnTo>
                    <a:pt x="98" y="123"/>
                  </a:lnTo>
                  <a:lnTo>
                    <a:pt x="103" y="118"/>
                  </a:lnTo>
                  <a:lnTo>
                    <a:pt x="105" y="118"/>
                  </a:lnTo>
                  <a:lnTo>
                    <a:pt x="110" y="113"/>
                  </a:lnTo>
                  <a:lnTo>
                    <a:pt x="115" y="108"/>
                  </a:lnTo>
                  <a:lnTo>
                    <a:pt x="120" y="103"/>
                  </a:lnTo>
                  <a:lnTo>
                    <a:pt x="123" y="98"/>
                  </a:lnTo>
                  <a:lnTo>
                    <a:pt x="127" y="94"/>
                  </a:lnTo>
                  <a:lnTo>
                    <a:pt x="130" y="89"/>
                  </a:lnTo>
                  <a:lnTo>
                    <a:pt x="130" y="81"/>
                  </a:lnTo>
                  <a:lnTo>
                    <a:pt x="132" y="74"/>
                  </a:lnTo>
                  <a:lnTo>
                    <a:pt x="132" y="71"/>
                  </a:lnTo>
                  <a:lnTo>
                    <a:pt x="132" y="64"/>
                  </a:lnTo>
                  <a:lnTo>
                    <a:pt x="132" y="59"/>
                  </a:lnTo>
                  <a:lnTo>
                    <a:pt x="132" y="52"/>
                  </a:lnTo>
                  <a:lnTo>
                    <a:pt x="130" y="49"/>
                  </a:lnTo>
                  <a:lnTo>
                    <a:pt x="130" y="42"/>
                  </a:lnTo>
                  <a:lnTo>
                    <a:pt x="127" y="40"/>
                  </a:lnTo>
                  <a:lnTo>
                    <a:pt x="127" y="37"/>
                  </a:lnTo>
                  <a:lnTo>
                    <a:pt x="123" y="32"/>
                  </a:lnTo>
                  <a:lnTo>
                    <a:pt x="120" y="27"/>
                  </a:lnTo>
                  <a:lnTo>
                    <a:pt x="115" y="22"/>
                  </a:lnTo>
                  <a:lnTo>
                    <a:pt x="110" y="18"/>
                  </a:lnTo>
                  <a:lnTo>
                    <a:pt x="105" y="13"/>
                  </a:lnTo>
                  <a:lnTo>
                    <a:pt x="101" y="10"/>
                  </a:lnTo>
                  <a:lnTo>
                    <a:pt x="98" y="8"/>
                  </a:lnTo>
                  <a:lnTo>
                    <a:pt x="93" y="5"/>
                  </a:lnTo>
                  <a:lnTo>
                    <a:pt x="88" y="5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4" y="0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59" y="0"/>
                  </a:lnTo>
                  <a:lnTo>
                    <a:pt x="51" y="3"/>
                  </a:lnTo>
                  <a:lnTo>
                    <a:pt x="47" y="3"/>
                  </a:lnTo>
                  <a:lnTo>
                    <a:pt x="42" y="5"/>
                  </a:lnTo>
                  <a:lnTo>
                    <a:pt x="39" y="5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25" y="15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8">
              <a:extLst>
                <a:ext uri="{FF2B5EF4-FFF2-40B4-BE49-F238E27FC236}">
                  <a16:creationId xmlns:a16="http://schemas.microsoft.com/office/drawing/2014/main" id="{FE8595CE-C97A-49B8-975F-371B8BF6C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9" y="1281"/>
              <a:ext cx="294" cy="235"/>
            </a:xfrm>
            <a:custGeom>
              <a:avLst/>
              <a:gdLst>
                <a:gd name="T0" fmla="*/ 280 w 294"/>
                <a:gd name="T1" fmla="*/ 220 h 235"/>
                <a:gd name="T2" fmla="*/ 15 w 294"/>
                <a:gd name="T3" fmla="*/ 220 h 235"/>
                <a:gd name="T4" fmla="*/ 15 w 294"/>
                <a:gd name="T5" fmla="*/ 68 h 235"/>
                <a:gd name="T6" fmla="*/ 106 w 294"/>
                <a:gd name="T7" fmla="*/ 68 h 235"/>
                <a:gd name="T8" fmla="*/ 108 w 294"/>
                <a:gd name="T9" fmla="*/ 66 h 235"/>
                <a:gd name="T10" fmla="*/ 110 w 294"/>
                <a:gd name="T11" fmla="*/ 66 h 235"/>
                <a:gd name="T12" fmla="*/ 110 w 294"/>
                <a:gd name="T13" fmla="*/ 63 h 235"/>
                <a:gd name="T14" fmla="*/ 135 w 294"/>
                <a:gd name="T15" fmla="*/ 12 h 235"/>
                <a:gd name="T16" fmla="*/ 213 w 294"/>
                <a:gd name="T17" fmla="*/ 12 h 235"/>
                <a:gd name="T18" fmla="*/ 213 w 294"/>
                <a:gd name="T19" fmla="*/ 14 h 235"/>
                <a:gd name="T20" fmla="*/ 238 w 294"/>
                <a:gd name="T21" fmla="*/ 66 h 235"/>
                <a:gd name="T22" fmla="*/ 240 w 294"/>
                <a:gd name="T23" fmla="*/ 66 h 235"/>
                <a:gd name="T24" fmla="*/ 243 w 294"/>
                <a:gd name="T25" fmla="*/ 68 h 235"/>
                <a:gd name="T26" fmla="*/ 243 w 294"/>
                <a:gd name="T27" fmla="*/ 68 h 235"/>
                <a:gd name="T28" fmla="*/ 245 w 294"/>
                <a:gd name="T29" fmla="*/ 68 h 235"/>
                <a:gd name="T30" fmla="*/ 280 w 294"/>
                <a:gd name="T31" fmla="*/ 68 h 235"/>
                <a:gd name="T32" fmla="*/ 280 w 294"/>
                <a:gd name="T33" fmla="*/ 220 h 235"/>
                <a:gd name="T34" fmla="*/ 294 w 294"/>
                <a:gd name="T35" fmla="*/ 56 h 235"/>
                <a:gd name="T36" fmla="*/ 292 w 294"/>
                <a:gd name="T37" fmla="*/ 56 h 235"/>
                <a:gd name="T38" fmla="*/ 289 w 294"/>
                <a:gd name="T39" fmla="*/ 54 h 235"/>
                <a:gd name="T40" fmla="*/ 287 w 294"/>
                <a:gd name="T41" fmla="*/ 54 h 235"/>
                <a:gd name="T42" fmla="*/ 287 w 294"/>
                <a:gd name="T43" fmla="*/ 54 h 235"/>
                <a:gd name="T44" fmla="*/ 248 w 294"/>
                <a:gd name="T45" fmla="*/ 54 h 235"/>
                <a:gd name="T46" fmla="*/ 248 w 294"/>
                <a:gd name="T47" fmla="*/ 54 h 235"/>
                <a:gd name="T48" fmla="*/ 223 w 294"/>
                <a:gd name="T49" fmla="*/ 2 h 235"/>
                <a:gd name="T50" fmla="*/ 223 w 294"/>
                <a:gd name="T51" fmla="*/ 2 h 235"/>
                <a:gd name="T52" fmla="*/ 221 w 294"/>
                <a:gd name="T53" fmla="*/ 0 h 235"/>
                <a:gd name="T54" fmla="*/ 218 w 294"/>
                <a:gd name="T55" fmla="*/ 0 h 235"/>
                <a:gd name="T56" fmla="*/ 218 w 294"/>
                <a:gd name="T57" fmla="*/ 0 h 235"/>
                <a:gd name="T58" fmla="*/ 128 w 294"/>
                <a:gd name="T59" fmla="*/ 0 h 235"/>
                <a:gd name="T60" fmla="*/ 125 w 294"/>
                <a:gd name="T61" fmla="*/ 0 h 235"/>
                <a:gd name="T62" fmla="*/ 125 w 294"/>
                <a:gd name="T63" fmla="*/ 2 h 235"/>
                <a:gd name="T64" fmla="*/ 123 w 294"/>
                <a:gd name="T65" fmla="*/ 2 h 235"/>
                <a:gd name="T66" fmla="*/ 98 w 294"/>
                <a:gd name="T67" fmla="*/ 54 h 235"/>
                <a:gd name="T68" fmla="*/ 7 w 294"/>
                <a:gd name="T69" fmla="*/ 54 h 235"/>
                <a:gd name="T70" fmla="*/ 5 w 294"/>
                <a:gd name="T71" fmla="*/ 54 h 235"/>
                <a:gd name="T72" fmla="*/ 3 w 294"/>
                <a:gd name="T73" fmla="*/ 56 h 235"/>
                <a:gd name="T74" fmla="*/ 0 w 294"/>
                <a:gd name="T75" fmla="*/ 56 h 235"/>
                <a:gd name="T76" fmla="*/ 0 w 294"/>
                <a:gd name="T77" fmla="*/ 59 h 235"/>
                <a:gd name="T78" fmla="*/ 0 w 294"/>
                <a:gd name="T79" fmla="*/ 61 h 235"/>
                <a:gd name="T80" fmla="*/ 0 w 294"/>
                <a:gd name="T81" fmla="*/ 61 h 235"/>
                <a:gd name="T82" fmla="*/ 0 w 294"/>
                <a:gd name="T83" fmla="*/ 230 h 235"/>
                <a:gd name="T84" fmla="*/ 0 w 294"/>
                <a:gd name="T85" fmla="*/ 230 h 235"/>
                <a:gd name="T86" fmla="*/ 0 w 294"/>
                <a:gd name="T87" fmla="*/ 233 h 235"/>
                <a:gd name="T88" fmla="*/ 3 w 294"/>
                <a:gd name="T89" fmla="*/ 233 h 235"/>
                <a:gd name="T90" fmla="*/ 5 w 294"/>
                <a:gd name="T91" fmla="*/ 235 h 235"/>
                <a:gd name="T92" fmla="*/ 5 w 294"/>
                <a:gd name="T93" fmla="*/ 235 h 235"/>
                <a:gd name="T94" fmla="*/ 7 w 294"/>
                <a:gd name="T95" fmla="*/ 235 h 235"/>
                <a:gd name="T96" fmla="*/ 289 w 294"/>
                <a:gd name="T97" fmla="*/ 235 h 235"/>
                <a:gd name="T98" fmla="*/ 292 w 294"/>
                <a:gd name="T99" fmla="*/ 235 h 235"/>
                <a:gd name="T100" fmla="*/ 292 w 294"/>
                <a:gd name="T101" fmla="*/ 235 h 235"/>
                <a:gd name="T102" fmla="*/ 292 w 294"/>
                <a:gd name="T103" fmla="*/ 233 h 235"/>
                <a:gd name="T104" fmla="*/ 294 w 294"/>
                <a:gd name="T105" fmla="*/ 233 h 235"/>
                <a:gd name="T106" fmla="*/ 294 w 294"/>
                <a:gd name="T107" fmla="*/ 230 h 235"/>
                <a:gd name="T108" fmla="*/ 294 w 294"/>
                <a:gd name="T109" fmla="*/ 228 h 235"/>
                <a:gd name="T110" fmla="*/ 294 w 294"/>
                <a:gd name="T111" fmla="*/ 59 h 235"/>
                <a:gd name="T112" fmla="*/ 294 w 294"/>
                <a:gd name="T113" fmla="*/ 5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4" h="235">
                  <a:moveTo>
                    <a:pt x="280" y="220"/>
                  </a:moveTo>
                  <a:lnTo>
                    <a:pt x="15" y="220"/>
                  </a:lnTo>
                  <a:lnTo>
                    <a:pt x="15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3"/>
                  </a:lnTo>
                  <a:lnTo>
                    <a:pt x="135" y="12"/>
                  </a:lnTo>
                  <a:lnTo>
                    <a:pt x="213" y="12"/>
                  </a:lnTo>
                  <a:lnTo>
                    <a:pt x="213" y="14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3" y="68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80" y="68"/>
                  </a:lnTo>
                  <a:lnTo>
                    <a:pt x="280" y="220"/>
                  </a:lnTo>
                  <a:close/>
                  <a:moveTo>
                    <a:pt x="294" y="56"/>
                  </a:moveTo>
                  <a:lnTo>
                    <a:pt x="292" y="56"/>
                  </a:lnTo>
                  <a:lnTo>
                    <a:pt x="289" y="54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48" y="54"/>
                  </a:lnTo>
                  <a:lnTo>
                    <a:pt x="248" y="54"/>
                  </a:lnTo>
                  <a:lnTo>
                    <a:pt x="223" y="2"/>
                  </a:lnTo>
                  <a:lnTo>
                    <a:pt x="223" y="2"/>
                  </a:lnTo>
                  <a:lnTo>
                    <a:pt x="221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5" y="2"/>
                  </a:lnTo>
                  <a:lnTo>
                    <a:pt x="123" y="2"/>
                  </a:lnTo>
                  <a:lnTo>
                    <a:pt x="98" y="54"/>
                  </a:lnTo>
                  <a:lnTo>
                    <a:pt x="7" y="54"/>
                  </a:lnTo>
                  <a:lnTo>
                    <a:pt x="5" y="54"/>
                  </a:lnTo>
                  <a:lnTo>
                    <a:pt x="3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3" y="233"/>
                  </a:lnTo>
                  <a:lnTo>
                    <a:pt x="5" y="235"/>
                  </a:lnTo>
                  <a:lnTo>
                    <a:pt x="5" y="235"/>
                  </a:lnTo>
                  <a:lnTo>
                    <a:pt x="7" y="235"/>
                  </a:lnTo>
                  <a:lnTo>
                    <a:pt x="289" y="235"/>
                  </a:lnTo>
                  <a:lnTo>
                    <a:pt x="292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4" y="230"/>
                  </a:lnTo>
                  <a:lnTo>
                    <a:pt x="294" y="228"/>
                  </a:lnTo>
                  <a:lnTo>
                    <a:pt x="294" y="59"/>
                  </a:lnTo>
                  <a:lnTo>
                    <a:pt x="294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9">
              <a:extLst>
                <a:ext uri="{FF2B5EF4-FFF2-40B4-BE49-F238E27FC236}">
                  <a16:creationId xmlns:a16="http://schemas.microsoft.com/office/drawing/2014/main" id="{F161DA98-5AC1-4DD8-86B8-090C99630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" y="1374"/>
              <a:ext cx="17" cy="20"/>
            </a:xfrm>
            <a:custGeom>
              <a:avLst/>
              <a:gdLst>
                <a:gd name="T0" fmla="*/ 17 w 17"/>
                <a:gd name="T1" fmla="*/ 5 h 20"/>
                <a:gd name="T2" fmla="*/ 15 w 17"/>
                <a:gd name="T3" fmla="*/ 5 h 20"/>
                <a:gd name="T4" fmla="*/ 13 w 17"/>
                <a:gd name="T5" fmla="*/ 2 h 20"/>
                <a:gd name="T6" fmla="*/ 13 w 17"/>
                <a:gd name="T7" fmla="*/ 2 h 20"/>
                <a:gd name="T8" fmla="*/ 8 w 17"/>
                <a:gd name="T9" fmla="*/ 0 h 20"/>
                <a:gd name="T10" fmla="*/ 5 w 17"/>
                <a:gd name="T11" fmla="*/ 2 h 20"/>
                <a:gd name="T12" fmla="*/ 3 w 17"/>
                <a:gd name="T13" fmla="*/ 2 h 20"/>
                <a:gd name="T14" fmla="*/ 3 w 17"/>
                <a:gd name="T15" fmla="*/ 5 h 20"/>
                <a:gd name="T16" fmla="*/ 0 w 17"/>
                <a:gd name="T17" fmla="*/ 7 h 20"/>
                <a:gd name="T18" fmla="*/ 0 w 17"/>
                <a:gd name="T19" fmla="*/ 10 h 20"/>
                <a:gd name="T20" fmla="*/ 0 w 17"/>
                <a:gd name="T21" fmla="*/ 12 h 20"/>
                <a:gd name="T22" fmla="*/ 0 w 17"/>
                <a:gd name="T23" fmla="*/ 15 h 20"/>
                <a:gd name="T24" fmla="*/ 0 w 17"/>
                <a:gd name="T25" fmla="*/ 15 h 20"/>
                <a:gd name="T26" fmla="*/ 3 w 17"/>
                <a:gd name="T27" fmla="*/ 17 h 20"/>
                <a:gd name="T28" fmla="*/ 3 w 17"/>
                <a:gd name="T29" fmla="*/ 17 h 20"/>
                <a:gd name="T30" fmla="*/ 3 w 17"/>
                <a:gd name="T31" fmla="*/ 17 h 20"/>
                <a:gd name="T32" fmla="*/ 5 w 17"/>
                <a:gd name="T33" fmla="*/ 20 h 20"/>
                <a:gd name="T34" fmla="*/ 10 w 17"/>
                <a:gd name="T35" fmla="*/ 20 h 20"/>
                <a:gd name="T36" fmla="*/ 13 w 17"/>
                <a:gd name="T37" fmla="*/ 20 h 20"/>
                <a:gd name="T38" fmla="*/ 15 w 17"/>
                <a:gd name="T39" fmla="*/ 17 h 20"/>
                <a:gd name="T40" fmla="*/ 17 w 17"/>
                <a:gd name="T41" fmla="*/ 15 h 20"/>
                <a:gd name="T42" fmla="*/ 17 w 17"/>
                <a:gd name="T43" fmla="*/ 15 h 20"/>
                <a:gd name="T44" fmla="*/ 17 w 17"/>
                <a:gd name="T45" fmla="*/ 12 h 20"/>
                <a:gd name="T46" fmla="*/ 17 w 17"/>
                <a:gd name="T47" fmla="*/ 10 h 20"/>
                <a:gd name="T48" fmla="*/ 17 w 17"/>
                <a:gd name="T49" fmla="*/ 7 h 20"/>
                <a:gd name="T50" fmla="*/ 17 w 17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" h="20">
                  <a:moveTo>
                    <a:pt x="17" y="5"/>
                  </a:moveTo>
                  <a:lnTo>
                    <a:pt x="15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0">
              <a:extLst>
                <a:ext uri="{FF2B5EF4-FFF2-40B4-BE49-F238E27FC236}">
                  <a16:creationId xmlns:a16="http://schemas.microsoft.com/office/drawing/2014/main" id="{089EA9FE-48E5-4AC1-B34F-B1C08AD18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9" y="1391"/>
              <a:ext cx="49" cy="20"/>
            </a:xfrm>
            <a:custGeom>
              <a:avLst/>
              <a:gdLst>
                <a:gd name="T0" fmla="*/ 0 w 49"/>
                <a:gd name="T1" fmla="*/ 17 h 20"/>
                <a:gd name="T2" fmla="*/ 2 w 49"/>
                <a:gd name="T3" fmla="*/ 20 h 20"/>
                <a:gd name="T4" fmla="*/ 5 w 49"/>
                <a:gd name="T5" fmla="*/ 17 h 20"/>
                <a:gd name="T6" fmla="*/ 7 w 49"/>
                <a:gd name="T7" fmla="*/ 17 h 20"/>
                <a:gd name="T8" fmla="*/ 9 w 49"/>
                <a:gd name="T9" fmla="*/ 15 h 20"/>
                <a:gd name="T10" fmla="*/ 14 w 49"/>
                <a:gd name="T11" fmla="*/ 12 h 20"/>
                <a:gd name="T12" fmla="*/ 19 w 49"/>
                <a:gd name="T13" fmla="*/ 10 h 20"/>
                <a:gd name="T14" fmla="*/ 22 w 49"/>
                <a:gd name="T15" fmla="*/ 10 h 20"/>
                <a:gd name="T16" fmla="*/ 24 w 49"/>
                <a:gd name="T17" fmla="*/ 10 h 20"/>
                <a:gd name="T18" fmla="*/ 32 w 49"/>
                <a:gd name="T19" fmla="*/ 12 h 20"/>
                <a:gd name="T20" fmla="*/ 32 w 49"/>
                <a:gd name="T21" fmla="*/ 12 h 20"/>
                <a:gd name="T22" fmla="*/ 34 w 49"/>
                <a:gd name="T23" fmla="*/ 12 h 20"/>
                <a:gd name="T24" fmla="*/ 39 w 49"/>
                <a:gd name="T25" fmla="*/ 15 h 20"/>
                <a:gd name="T26" fmla="*/ 41 w 49"/>
                <a:gd name="T27" fmla="*/ 17 h 20"/>
                <a:gd name="T28" fmla="*/ 44 w 49"/>
                <a:gd name="T29" fmla="*/ 17 h 20"/>
                <a:gd name="T30" fmla="*/ 44 w 49"/>
                <a:gd name="T31" fmla="*/ 20 h 20"/>
                <a:gd name="T32" fmla="*/ 46 w 49"/>
                <a:gd name="T33" fmla="*/ 17 h 20"/>
                <a:gd name="T34" fmla="*/ 46 w 49"/>
                <a:gd name="T35" fmla="*/ 17 h 20"/>
                <a:gd name="T36" fmla="*/ 49 w 49"/>
                <a:gd name="T37" fmla="*/ 17 h 20"/>
                <a:gd name="T38" fmla="*/ 49 w 49"/>
                <a:gd name="T39" fmla="*/ 12 h 20"/>
                <a:gd name="T40" fmla="*/ 49 w 49"/>
                <a:gd name="T41" fmla="*/ 12 h 20"/>
                <a:gd name="T42" fmla="*/ 49 w 49"/>
                <a:gd name="T43" fmla="*/ 12 h 20"/>
                <a:gd name="T44" fmla="*/ 46 w 49"/>
                <a:gd name="T45" fmla="*/ 10 h 20"/>
                <a:gd name="T46" fmla="*/ 44 w 49"/>
                <a:gd name="T47" fmla="*/ 7 h 20"/>
                <a:gd name="T48" fmla="*/ 39 w 49"/>
                <a:gd name="T49" fmla="*/ 5 h 20"/>
                <a:gd name="T50" fmla="*/ 34 w 49"/>
                <a:gd name="T51" fmla="*/ 3 h 20"/>
                <a:gd name="T52" fmla="*/ 29 w 49"/>
                <a:gd name="T53" fmla="*/ 0 h 20"/>
                <a:gd name="T54" fmla="*/ 24 w 49"/>
                <a:gd name="T55" fmla="*/ 0 h 20"/>
                <a:gd name="T56" fmla="*/ 19 w 49"/>
                <a:gd name="T57" fmla="*/ 3 h 20"/>
                <a:gd name="T58" fmla="*/ 14 w 49"/>
                <a:gd name="T59" fmla="*/ 3 h 20"/>
                <a:gd name="T60" fmla="*/ 9 w 49"/>
                <a:gd name="T61" fmla="*/ 5 h 20"/>
                <a:gd name="T62" fmla="*/ 7 w 49"/>
                <a:gd name="T63" fmla="*/ 5 h 20"/>
                <a:gd name="T64" fmla="*/ 2 w 49"/>
                <a:gd name="T65" fmla="*/ 7 h 20"/>
                <a:gd name="T66" fmla="*/ 0 w 49"/>
                <a:gd name="T67" fmla="*/ 10 h 20"/>
                <a:gd name="T68" fmla="*/ 0 w 49"/>
                <a:gd name="T69" fmla="*/ 12 h 20"/>
                <a:gd name="T70" fmla="*/ 0 w 49"/>
                <a:gd name="T71" fmla="*/ 15 h 20"/>
                <a:gd name="T72" fmla="*/ 0 w 49"/>
                <a:gd name="T73" fmla="*/ 15 h 20"/>
                <a:gd name="T74" fmla="*/ 0 w 49"/>
                <a:gd name="T75" fmla="*/ 15 h 20"/>
                <a:gd name="T76" fmla="*/ 0 w 49"/>
                <a:gd name="T7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9" h="20">
                  <a:moveTo>
                    <a:pt x="0" y="17"/>
                  </a:moveTo>
                  <a:lnTo>
                    <a:pt x="2" y="20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9" y="15"/>
                  </a:lnTo>
                  <a:lnTo>
                    <a:pt x="14" y="12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4" y="17"/>
                  </a:lnTo>
                  <a:lnTo>
                    <a:pt x="44" y="20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9" y="17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6" y="10"/>
                  </a:lnTo>
                  <a:lnTo>
                    <a:pt x="44" y="7"/>
                  </a:lnTo>
                  <a:lnTo>
                    <a:pt x="39" y="5"/>
                  </a:lnTo>
                  <a:lnTo>
                    <a:pt x="34" y="3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9" y="3"/>
                  </a:lnTo>
                  <a:lnTo>
                    <a:pt x="14" y="3"/>
                  </a:lnTo>
                  <a:lnTo>
                    <a:pt x="9" y="5"/>
                  </a:lnTo>
                  <a:lnTo>
                    <a:pt x="7" y="5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1">
              <a:extLst>
                <a:ext uri="{FF2B5EF4-FFF2-40B4-BE49-F238E27FC236}">
                  <a16:creationId xmlns:a16="http://schemas.microsoft.com/office/drawing/2014/main" id="{974B4355-F371-4356-8657-847544FCAE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7" y="1349"/>
              <a:ext cx="132" cy="130"/>
            </a:xfrm>
            <a:custGeom>
              <a:avLst/>
              <a:gdLst>
                <a:gd name="T0" fmla="*/ 44 w 132"/>
                <a:gd name="T1" fmla="*/ 20 h 130"/>
                <a:gd name="T2" fmla="*/ 56 w 132"/>
                <a:gd name="T3" fmla="*/ 15 h 130"/>
                <a:gd name="T4" fmla="*/ 76 w 132"/>
                <a:gd name="T5" fmla="*/ 15 h 130"/>
                <a:gd name="T6" fmla="*/ 91 w 132"/>
                <a:gd name="T7" fmla="*/ 20 h 130"/>
                <a:gd name="T8" fmla="*/ 105 w 132"/>
                <a:gd name="T9" fmla="*/ 32 h 130"/>
                <a:gd name="T10" fmla="*/ 115 w 132"/>
                <a:gd name="T11" fmla="*/ 47 h 130"/>
                <a:gd name="T12" fmla="*/ 118 w 132"/>
                <a:gd name="T13" fmla="*/ 62 h 130"/>
                <a:gd name="T14" fmla="*/ 118 w 132"/>
                <a:gd name="T15" fmla="*/ 79 h 130"/>
                <a:gd name="T16" fmla="*/ 110 w 132"/>
                <a:gd name="T17" fmla="*/ 94 h 130"/>
                <a:gd name="T18" fmla="*/ 103 w 132"/>
                <a:gd name="T19" fmla="*/ 101 h 130"/>
                <a:gd name="T20" fmla="*/ 83 w 132"/>
                <a:gd name="T21" fmla="*/ 113 h 130"/>
                <a:gd name="T22" fmla="*/ 69 w 132"/>
                <a:gd name="T23" fmla="*/ 116 h 130"/>
                <a:gd name="T24" fmla="*/ 56 w 132"/>
                <a:gd name="T25" fmla="*/ 116 h 130"/>
                <a:gd name="T26" fmla="*/ 42 w 132"/>
                <a:gd name="T27" fmla="*/ 111 h 130"/>
                <a:gd name="T28" fmla="*/ 29 w 132"/>
                <a:gd name="T29" fmla="*/ 101 h 130"/>
                <a:gd name="T30" fmla="*/ 20 w 132"/>
                <a:gd name="T31" fmla="*/ 89 h 130"/>
                <a:gd name="T32" fmla="*/ 15 w 132"/>
                <a:gd name="T33" fmla="*/ 74 h 130"/>
                <a:gd name="T34" fmla="*/ 15 w 132"/>
                <a:gd name="T35" fmla="*/ 59 h 130"/>
                <a:gd name="T36" fmla="*/ 17 w 132"/>
                <a:gd name="T37" fmla="*/ 47 h 130"/>
                <a:gd name="T38" fmla="*/ 25 w 132"/>
                <a:gd name="T39" fmla="*/ 35 h 130"/>
                <a:gd name="T40" fmla="*/ 22 w 132"/>
                <a:gd name="T41" fmla="*/ 15 h 130"/>
                <a:gd name="T42" fmla="*/ 12 w 132"/>
                <a:gd name="T43" fmla="*/ 27 h 130"/>
                <a:gd name="T44" fmla="*/ 5 w 132"/>
                <a:gd name="T45" fmla="*/ 40 h 130"/>
                <a:gd name="T46" fmla="*/ 0 w 132"/>
                <a:gd name="T47" fmla="*/ 52 h 130"/>
                <a:gd name="T48" fmla="*/ 0 w 132"/>
                <a:gd name="T49" fmla="*/ 67 h 130"/>
                <a:gd name="T50" fmla="*/ 0 w 132"/>
                <a:gd name="T51" fmla="*/ 79 h 130"/>
                <a:gd name="T52" fmla="*/ 5 w 132"/>
                <a:gd name="T53" fmla="*/ 94 h 130"/>
                <a:gd name="T54" fmla="*/ 12 w 132"/>
                <a:gd name="T55" fmla="*/ 103 h 130"/>
                <a:gd name="T56" fmla="*/ 22 w 132"/>
                <a:gd name="T57" fmla="*/ 116 h 130"/>
                <a:gd name="T58" fmla="*/ 37 w 132"/>
                <a:gd name="T59" fmla="*/ 123 h 130"/>
                <a:gd name="T60" fmla="*/ 51 w 132"/>
                <a:gd name="T61" fmla="*/ 128 h 130"/>
                <a:gd name="T62" fmla="*/ 74 w 132"/>
                <a:gd name="T63" fmla="*/ 130 h 130"/>
                <a:gd name="T64" fmla="*/ 88 w 132"/>
                <a:gd name="T65" fmla="*/ 125 h 130"/>
                <a:gd name="T66" fmla="*/ 103 w 132"/>
                <a:gd name="T67" fmla="*/ 118 h 130"/>
                <a:gd name="T68" fmla="*/ 115 w 132"/>
                <a:gd name="T69" fmla="*/ 108 h 130"/>
                <a:gd name="T70" fmla="*/ 127 w 132"/>
                <a:gd name="T71" fmla="*/ 94 h 130"/>
                <a:gd name="T72" fmla="*/ 132 w 132"/>
                <a:gd name="T73" fmla="*/ 74 h 130"/>
                <a:gd name="T74" fmla="*/ 132 w 132"/>
                <a:gd name="T75" fmla="*/ 59 h 130"/>
                <a:gd name="T76" fmla="*/ 130 w 132"/>
                <a:gd name="T77" fmla="*/ 42 h 130"/>
                <a:gd name="T78" fmla="*/ 123 w 132"/>
                <a:gd name="T79" fmla="*/ 32 h 130"/>
                <a:gd name="T80" fmla="*/ 110 w 132"/>
                <a:gd name="T81" fmla="*/ 18 h 130"/>
                <a:gd name="T82" fmla="*/ 98 w 132"/>
                <a:gd name="T83" fmla="*/ 8 h 130"/>
                <a:gd name="T84" fmla="*/ 83 w 132"/>
                <a:gd name="T85" fmla="*/ 3 h 130"/>
                <a:gd name="T86" fmla="*/ 69 w 132"/>
                <a:gd name="T87" fmla="*/ 0 h 130"/>
                <a:gd name="T88" fmla="*/ 51 w 132"/>
                <a:gd name="T89" fmla="*/ 3 h 130"/>
                <a:gd name="T90" fmla="*/ 39 w 132"/>
                <a:gd name="T91" fmla="*/ 5 h 130"/>
                <a:gd name="T92" fmla="*/ 25 w 132"/>
                <a:gd name="T93" fmla="*/ 1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2" h="130">
                  <a:moveTo>
                    <a:pt x="32" y="27"/>
                  </a:moveTo>
                  <a:lnTo>
                    <a:pt x="37" y="25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51" y="18"/>
                  </a:lnTo>
                  <a:lnTo>
                    <a:pt x="56" y="15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6" y="15"/>
                  </a:lnTo>
                  <a:lnTo>
                    <a:pt x="81" y="18"/>
                  </a:lnTo>
                  <a:lnTo>
                    <a:pt x="86" y="20"/>
                  </a:lnTo>
                  <a:lnTo>
                    <a:pt x="91" y="20"/>
                  </a:lnTo>
                  <a:lnTo>
                    <a:pt x="96" y="22"/>
                  </a:lnTo>
                  <a:lnTo>
                    <a:pt x="98" y="27"/>
                  </a:lnTo>
                  <a:lnTo>
                    <a:pt x="105" y="32"/>
                  </a:lnTo>
                  <a:lnTo>
                    <a:pt x="108" y="35"/>
                  </a:lnTo>
                  <a:lnTo>
                    <a:pt x="113" y="42"/>
                  </a:lnTo>
                  <a:lnTo>
                    <a:pt x="115" y="47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8" y="62"/>
                  </a:lnTo>
                  <a:lnTo>
                    <a:pt x="118" y="69"/>
                  </a:lnTo>
                  <a:lnTo>
                    <a:pt x="118" y="74"/>
                  </a:lnTo>
                  <a:lnTo>
                    <a:pt x="118" y="79"/>
                  </a:lnTo>
                  <a:lnTo>
                    <a:pt x="115" y="84"/>
                  </a:lnTo>
                  <a:lnTo>
                    <a:pt x="113" y="89"/>
                  </a:lnTo>
                  <a:lnTo>
                    <a:pt x="110" y="94"/>
                  </a:lnTo>
                  <a:lnTo>
                    <a:pt x="108" y="96"/>
                  </a:lnTo>
                  <a:lnTo>
                    <a:pt x="105" y="98"/>
                  </a:lnTo>
                  <a:lnTo>
                    <a:pt x="103" y="101"/>
                  </a:lnTo>
                  <a:lnTo>
                    <a:pt x="98" y="106"/>
                  </a:lnTo>
                  <a:lnTo>
                    <a:pt x="91" y="111"/>
                  </a:lnTo>
                  <a:lnTo>
                    <a:pt x="83" y="113"/>
                  </a:lnTo>
                  <a:lnTo>
                    <a:pt x="81" y="113"/>
                  </a:lnTo>
                  <a:lnTo>
                    <a:pt x="76" y="116"/>
                  </a:lnTo>
                  <a:lnTo>
                    <a:pt x="69" y="116"/>
                  </a:lnTo>
                  <a:lnTo>
                    <a:pt x="66" y="116"/>
                  </a:lnTo>
                  <a:lnTo>
                    <a:pt x="61" y="116"/>
                  </a:lnTo>
                  <a:lnTo>
                    <a:pt x="56" y="116"/>
                  </a:lnTo>
                  <a:lnTo>
                    <a:pt x="51" y="113"/>
                  </a:lnTo>
                  <a:lnTo>
                    <a:pt x="49" y="113"/>
                  </a:lnTo>
                  <a:lnTo>
                    <a:pt x="42" y="111"/>
                  </a:lnTo>
                  <a:lnTo>
                    <a:pt x="34" y="106"/>
                  </a:lnTo>
                  <a:lnTo>
                    <a:pt x="32" y="103"/>
                  </a:lnTo>
                  <a:lnTo>
                    <a:pt x="29" y="101"/>
                  </a:lnTo>
                  <a:lnTo>
                    <a:pt x="25" y="98"/>
                  </a:lnTo>
                  <a:lnTo>
                    <a:pt x="22" y="94"/>
                  </a:lnTo>
                  <a:lnTo>
                    <a:pt x="20" y="89"/>
                  </a:lnTo>
                  <a:lnTo>
                    <a:pt x="17" y="86"/>
                  </a:lnTo>
                  <a:lnTo>
                    <a:pt x="17" y="81"/>
                  </a:lnTo>
                  <a:lnTo>
                    <a:pt x="15" y="74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59"/>
                  </a:lnTo>
                  <a:lnTo>
                    <a:pt x="15" y="57"/>
                  </a:lnTo>
                  <a:lnTo>
                    <a:pt x="17" y="49"/>
                  </a:lnTo>
                  <a:lnTo>
                    <a:pt x="17" y="47"/>
                  </a:lnTo>
                  <a:lnTo>
                    <a:pt x="20" y="42"/>
                  </a:lnTo>
                  <a:lnTo>
                    <a:pt x="22" y="37"/>
                  </a:lnTo>
                  <a:lnTo>
                    <a:pt x="25" y="35"/>
                  </a:lnTo>
                  <a:lnTo>
                    <a:pt x="29" y="30"/>
                  </a:lnTo>
                  <a:lnTo>
                    <a:pt x="32" y="27"/>
                  </a:lnTo>
                  <a:close/>
                  <a:moveTo>
                    <a:pt x="22" y="15"/>
                  </a:moveTo>
                  <a:lnTo>
                    <a:pt x="20" y="18"/>
                  </a:lnTo>
                  <a:lnTo>
                    <a:pt x="17" y="22"/>
                  </a:lnTo>
                  <a:lnTo>
                    <a:pt x="12" y="27"/>
                  </a:lnTo>
                  <a:lnTo>
                    <a:pt x="7" y="32"/>
                  </a:lnTo>
                  <a:lnTo>
                    <a:pt x="7" y="35"/>
                  </a:lnTo>
                  <a:lnTo>
                    <a:pt x="5" y="40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2" y="89"/>
                  </a:lnTo>
                  <a:lnTo>
                    <a:pt x="5" y="94"/>
                  </a:lnTo>
                  <a:lnTo>
                    <a:pt x="7" y="96"/>
                  </a:lnTo>
                  <a:lnTo>
                    <a:pt x="10" y="101"/>
                  </a:lnTo>
                  <a:lnTo>
                    <a:pt x="12" y="103"/>
                  </a:lnTo>
                  <a:lnTo>
                    <a:pt x="15" y="106"/>
                  </a:lnTo>
                  <a:lnTo>
                    <a:pt x="20" y="111"/>
                  </a:lnTo>
                  <a:lnTo>
                    <a:pt x="22" y="116"/>
                  </a:lnTo>
                  <a:lnTo>
                    <a:pt x="27" y="118"/>
                  </a:lnTo>
                  <a:lnTo>
                    <a:pt x="32" y="121"/>
                  </a:lnTo>
                  <a:lnTo>
                    <a:pt x="37" y="123"/>
                  </a:lnTo>
                  <a:lnTo>
                    <a:pt x="42" y="125"/>
                  </a:lnTo>
                  <a:lnTo>
                    <a:pt x="47" y="128"/>
                  </a:lnTo>
                  <a:lnTo>
                    <a:pt x="51" y="128"/>
                  </a:lnTo>
                  <a:lnTo>
                    <a:pt x="59" y="130"/>
                  </a:lnTo>
                  <a:lnTo>
                    <a:pt x="66" y="130"/>
                  </a:lnTo>
                  <a:lnTo>
                    <a:pt x="74" y="130"/>
                  </a:lnTo>
                  <a:lnTo>
                    <a:pt x="78" y="128"/>
                  </a:lnTo>
                  <a:lnTo>
                    <a:pt x="83" y="128"/>
                  </a:lnTo>
                  <a:lnTo>
                    <a:pt x="88" y="125"/>
                  </a:lnTo>
                  <a:lnTo>
                    <a:pt x="96" y="123"/>
                  </a:lnTo>
                  <a:lnTo>
                    <a:pt x="98" y="123"/>
                  </a:lnTo>
                  <a:lnTo>
                    <a:pt x="103" y="118"/>
                  </a:lnTo>
                  <a:lnTo>
                    <a:pt x="105" y="118"/>
                  </a:lnTo>
                  <a:lnTo>
                    <a:pt x="110" y="113"/>
                  </a:lnTo>
                  <a:lnTo>
                    <a:pt x="115" y="108"/>
                  </a:lnTo>
                  <a:lnTo>
                    <a:pt x="120" y="103"/>
                  </a:lnTo>
                  <a:lnTo>
                    <a:pt x="123" y="98"/>
                  </a:lnTo>
                  <a:lnTo>
                    <a:pt x="127" y="94"/>
                  </a:lnTo>
                  <a:lnTo>
                    <a:pt x="130" y="89"/>
                  </a:lnTo>
                  <a:lnTo>
                    <a:pt x="130" y="81"/>
                  </a:lnTo>
                  <a:lnTo>
                    <a:pt x="132" y="74"/>
                  </a:lnTo>
                  <a:lnTo>
                    <a:pt x="132" y="71"/>
                  </a:lnTo>
                  <a:lnTo>
                    <a:pt x="132" y="64"/>
                  </a:lnTo>
                  <a:lnTo>
                    <a:pt x="132" y="59"/>
                  </a:lnTo>
                  <a:lnTo>
                    <a:pt x="132" y="52"/>
                  </a:lnTo>
                  <a:lnTo>
                    <a:pt x="130" y="49"/>
                  </a:lnTo>
                  <a:lnTo>
                    <a:pt x="130" y="42"/>
                  </a:lnTo>
                  <a:lnTo>
                    <a:pt x="127" y="40"/>
                  </a:lnTo>
                  <a:lnTo>
                    <a:pt x="127" y="37"/>
                  </a:lnTo>
                  <a:lnTo>
                    <a:pt x="123" y="32"/>
                  </a:lnTo>
                  <a:lnTo>
                    <a:pt x="120" y="27"/>
                  </a:lnTo>
                  <a:lnTo>
                    <a:pt x="115" y="22"/>
                  </a:lnTo>
                  <a:lnTo>
                    <a:pt x="110" y="18"/>
                  </a:lnTo>
                  <a:lnTo>
                    <a:pt x="105" y="13"/>
                  </a:lnTo>
                  <a:lnTo>
                    <a:pt x="101" y="10"/>
                  </a:lnTo>
                  <a:lnTo>
                    <a:pt x="98" y="8"/>
                  </a:lnTo>
                  <a:lnTo>
                    <a:pt x="93" y="5"/>
                  </a:lnTo>
                  <a:lnTo>
                    <a:pt x="88" y="5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4" y="0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59" y="0"/>
                  </a:lnTo>
                  <a:lnTo>
                    <a:pt x="51" y="3"/>
                  </a:lnTo>
                  <a:lnTo>
                    <a:pt x="47" y="3"/>
                  </a:lnTo>
                  <a:lnTo>
                    <a:pt x="42" y="5"/>
                  </a:lnTo>
                  <a:lnTo>
                    <a:pt x="39" y="5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25" y="15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2">
              <a:extLst>
                <a:ext uri="{FF2B5EF4-FFF2-40B4-BE49-F238E27FC236}">
                  <a16:creationId xmlns:a16="http://schemas.microsoft.com/office/drawing/2014/main" id="{38B61FCF-57B7-4E7E-86B5-31A9D5F4F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9" y="1281"/>
              <a:ext cx="294" cy="235"/>
            </a:xfrm>
            <a:custGeom>
              <a:avLst/>
              <a:gdLst>
                <a:gd name="T0" fmla="*/ 280 w 294"/>
                <a:gd name="T1" fmla="*/ 220 h 235"/>
                <a:gd name="T2" fmla="*/ 15 w 294"/>
                <a:gd name="T3" fmla="*/ 220 h 235"/>
                <a:gd name="T4" fmla="*/ 15 w 294"/>
                <a:gd name="T5" fmla="*/ 68 h 235"/>
                <a:gd name="T6" fmla="*/ 106 w 294"/>
                <a:gd name="T7" fmla="*/ 68 h 235"/>
                <a:gd name="T8" fmla="*/ 108 w 294"/>
                <a:gd name="T9" fmla="*/ 66 h 235"/>
                <a:gd name="T10" fmla="*/ 110 w 294"/>
                <a:gd name="T11" fmla="*/ 66 h 235"/>
                <a:gd name="T12" fmla="*/ 110 w 294"/>
                <a:gd name="T13" fmla="*/ 63 h 235"/>
                <a:gd name="T14" fmla="*/ 135 w 294"/>
                <a:gd name="T15" fmla="*/ 12 h 235"/>
                <a:gd name="T16" fmla="*/ 213 w 294"/>
                <a:gd name="T17" fmla="*/ 12 h 235"/>
                <a:gd name="T18" fmla="*/ 213 w 294"/>
                <a:gd name="T19" fmla="*/ 14 h 235"/>
                <a:gd name="T20" fmla="*/ 238 w 294"/>
                <a:gd name="T21" fmla="*/ 66 h 235"/>
                <a:gd name="T22" fmla="*/ 240 w 294"/>
                <a:gd name="T23" fmla="*/ 66 h 235"/>
                <a:gd name="T24" fmla="*/ 243 w 294"/>
                <a:gd name="T25" fmla="*/ 68 h 235"/>
                <a:gd name="T26" fmla="*/ 243 w 294"/>
                <a:gd name="T27" fmla="*/ 68 h 235"/>
                <a:gd name="T28" fmla="*/ 245 w 294"/>
                <a:gd name="T29" fmla="*/ 68 h 235"/>
                <a:gd name="T30" fmla="*/ 280 w 294"/>
                <a:gd name="T31" fmla="*/ 68 h 235"/>
                <a:gd name="T32" fmla="*/ 280 w 294"/>
                <a:gd name="T33" fmla="*/ 220 h 235"/>
                <a:gd name="T34" fmla="*/ 294 w 294"/>
                <a:gd name="T35" fmla="*/ 56 h 235"/>
                <a:gd name="T36" fmla="*/ 292 w 294"/>
                <a:gd name="T37" fmla="*/ 56 h 235"/>
                <a:gd name="T38" fmla="*/ 289 w 294"/>
                <a:gd name="T39" fmla="*/ 54 h 235"/>
                <a:gd name="T40" fmla="*/ 287 w 294"/>
                <a:gd name="T41" fmla="*/ 54 h 235"/>
                <a:gd name="T42" fmla="*/ 287 w 294"/>
                <a:gd name="T43" fmla="*/ 54 h 235"/>
                <a:gd name="T44" fmla="*/ 248 w 294"/>
                <a:gd name="T45" fmla="*/ 54 h 235"/>
                <a:gd name="T46" fmla="*/ 248 w 294"/>
                <a:gd name="T47" fmla="*/ 54 h 235"/>
                <a:gd name="T48" fmla="*/ 223 w 294"/>
                <a:gd name="T49" fmla="*/ 2 h 235"/>
                <a:gd name="T50" fmla="*/ 223 w 294"/>
                <a:gd name="T51" fmla="*/ 2 h 235"/>
                <a:gd name="T52" fmla="*/ 221 w 294"/>
                <a:gd name="T53" fmla="*/ 0 h 235"/>
                <a:gd name="T54" fmla="*/ 218 w 294"/>
                <a:gd name="T55" fmla="*/ 0 h 235"/>
                <a:gd name="T56" fmla="*/ 218 w 294"/>
                <a:gd name="T57" fmla="*/ 0 h 235"/>
                <a:gd name="T58" fmla="*/ 128 w 294"/>
                <a:gd name="T59" fmla="*/ 0 h 235"/>
                <a:gd name="T60" fmla="*/ 125 w 294"/>
                <a:gd name="T61" fmla="*/ 0 h 235"/>
                <a:gd name="T62" fmla="*/ 125 w 294"/>
                <a:gd name="T63" fmla="*/ 2 h 235"/>
                <a:gd name="T64" fmla="*/ 123 w 294"/>
                <a:gd name="T65" fmla="*/ 2 h 235"/>
                <a:gd name="T66" fmla="*/ 98 w 294"/>
                <a:gd name="T67" fmla="*/ 54 h 235"/>
                <a:gd name="T68" fmla="*/ 7 w 294"/>
                <a:gd name="T69" fmla="*/ 54 h 235"/>
                <a:gd name="T70" fmla="*/ 5 w 294"/>
                <a:gd name="T71" fmla="*/ 54 h 235"/>
                <a:gd name="T72" fmla="*/ 3 w 294"/>
                <a:gd name="T73" fmla="*/ 56 h 235"/>
                <a:gd name="T74" fmla="*/ 0 w 294"/>
                <a:gd name="T75" fmla="*/ 56 h 235"/>
                <a:gd name="T76" fmla="*/ 0 w 294"/>
                <a:gd name="T77" fmla="*/ 59 h 235"/>
                <a:gd name="T78" fmla="*/ 0 w 294"/>
                <a:gd name="T79" fmla="*/ 61 h 235"/>
                <a:gd name="T80" fmla="*/ 0 w 294"/>
                <a:gd name="T81" fmla="*/ 61 h 235"/>
                <a:gd name="T82" fmla="*/ 0 w 294"/>
                <a:gd name="T83" fmla="*/ 230 h 235"/>
                <a:gd name="T84" fmla="*/ 0 w 294"/>
                <a:gd name="T85" fmla="*/ 230 h 235"/>
                <a:gd name="T86" fmla="*/ 0 w 294"/>
                <a:gd name="T87" fmla="*/ 233 h 235"/>
                <a:gd name="T88" fmla="*/ 3 w 294"/>
                <a:gd name="T89" fmla="*/ 233 h 235"/>
                <a:gd name="T90" fmla="*/ 5 w 294"/>
                <a:gd name="T91" fmla="*/ 235 h 235"/>
                <a:gd name="T92" fmla="*/ 5 w 294"/>
                <a:gd name="T93" fmla="*/ 235 h 235"/>
                <a:gd name="T94" fmla="*/ 7 w 294"/>
                <a:gd name="T95" fmla="*/ 235 h 235"/>
                <a:gd name="T96" fmla="*/ 289 w 294"/>
                <a:gd name="T97" fmla="*/ 235 h 235"/>
                <a:gd name="T98" fmla="*/ 292 w 294"/>
                <a:gd name="T99" fmla="*/ 235 h 235"/>
                <a:gd name="T100" fmla="*/ 292 w 294"/>
                <a:gd name="T101" fmla="*/ 235 h 235"/>
                <a:gd name="T102" fmla="*/ 292 w 294"/>
                <a:gd name="T103" fmla="*/ 233 h 235"/>
                <a:gd name="T104" fmla="*/ 294 w 294"/>
                <a:gd name="T105" fmla="*/ 233 h 235"/>
                <a:gd name="T106" fmla="*/ 294 w 294"/>
                <a:gd name="T107" fmla="*/ 230 h 235"/>
                <a:gd name="T108" fmla="*/ 294 w 294"/>
                <a:gd name="T109" fmla="*/ 228 h 235"/>
                <a:gd name="T110" fmla="*/ 294 w 294"/>
                <a:gd name="T111" fmla="*/ 59 h 235"/>
                <a:gd name="T112" fmla="*/ 294 w 294"/>
                <a:gd name="T113" fmla="*/ 5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4" h="235">
                  <a:moveTo>
                    <a:pt x="280" y="220"/>
                  </a:moveTo>
                  <a:lnTo>
                    <a:pt x="15" y="220"/>
                  </a:lnTo>
                  <a:lnTo>
                    <a:pt x="15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3"/>
                  </a:lnTo>
                  <a:lnTo>
                    <a:pt x="135" y="12"/>
                  </a:lnTo>
                  <a:lnTo>
                    <a:pt x="213" y="12"/>
                  </a:lnTo>
                  <a:lnTo>
                    <a:pt x="213" y="14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3" y="68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80" y="68"/>
                  </a:lnTo>
                  <a:lnTo>
                    <a:pt x="280" y="220"/>
                  </a:lnTo>
                  <a:close/>
                  <a:moveTo>
                    <a:pt x="294" y="56"/>
                  </a:moveTo>
                  <a:lnTo>
                    <a:pt x="292" y="56"/>
                  </a:lnTo>
                  <a:lnTo>
                    <a:pt x="289" y="54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48" y="54"/>
                  </a:lnTo>
                  <a:lnTo>
                    <a:pt x="248" y="54"/>
                  </a:lnTo>
                  <a:lnTo>
                    <a:pt x="223" y="2"/>
                  </a:lnTo>
                  <a:lnTo>
                    <a:pt x="223" y="2"/>
                  </a:lnTo>
                  <a:lnTo>
                    <a:pt x="221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5" y="2"/>
                  </a:lnTo>
                  <a:lnTo>
                    <a:pt x="123" y="2"/>
                  </a:lnTo>
                  <a:lnTo>
                    <a:pt x="98" y="54"/>
                  </a:lnTo>
                  <a:lnTo>
                    <a:pt x="7" y="54"/>
                  </a:lnTo>
                  <a:lnTo>
                    <a:pt x="5" y="54"/>
                  </a:lnTo>
                  <a:lnTo>
                    <a:pt x="3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3" y="233"/>
                  </a:lnTo>
                  <a:lnTo>
                    <a:pt x="5" y="235"/>
                  </a:lnTo>
                  <a:lnTo>
                    <a:pt x="5" y="235"/>
                  </a:lnTo>
                  <a:lnTo>
                    <a:pt x="7" y="235"/>
                  </a:lnTo>
                  <a:lnTo>
                    <a:pt x="289" y="235"/>
                  </a:lnTo>
                  <a:lnTo>
                    <a:pt x="292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4" y="230"/>
                  </a:lnTo>
                  <a:lnTo>
                    <a:pt x="294" y="228"/>
                  </a:lnTo>
                  <a:lnTo>
                    <a:pt x="294" y="59"/>
                  </a:lnTo>
                  <a:lnTo>
                    <a:pt x="294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3">
              <a:extLst>
                <a:ext uri="{FF2B5EF4-FFF2-40B4-BE49-F238E27FC236}">
                  <a16:creationId xmlns:a16="http://schemas.microsoft.com/office/drawing/2014/main" id="{4D71B1B7-2EEE-40BC-8ECF-D877C4A3D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" y="1374"/>
              <a:ext cx="17" cy="20"/>
            </a:xfrm>
            <a:custGeom>
              <a:avLst/>
              <a:gdLst>
                <a:gd name="T0" fmla="*/ 17 w 17"/>
                <a:gd name="T1" fmla="*/ 5 h 20"/>
                <a:gd name="T2" fmla="*/ 15 w 17"/>
                <a:gd name="T3" fmla="*/ 5 h 20"/>
                <a:gd name="T4" fmla="*/ 13 w 17"/>
                <a:gd name="T5" fmla="*/ 2 h 20"/>
                <a:gd name="T6" fmla="*/ 13 w 17"/>
                <a:gd name="T7" fmla="*/ 2 h 20"/>
                <a:gd name="T8" fmla="*/ 8 w 17"/>
                <a:gd name="T9" fmla="*/ 0 h 20"/>
                <a:gd name="T10" fmla="*/ 5 w 17"/>
                <a:gd name="T11" fmla="*/ 2 h 20"/>
                <a:gd name="T12" fmla="*/ 3 w 17"/>
                <a:gd name="T13" fmla="*/ 2 h 20"/>
                <a:gd name="T14" fmla="*/ 3 w 17"/>
                <a:gd name="T15" fmla="*/ 5 h 20"/>
                <a:gd name="T16" fmla="*/ 0 w 17"/>
                <a:gd name="T17" fmla="*/ 7 h 20"/>
                <a:gd name="T18" fmla="*/ 0 w 17"/>
                <a:gd name="T19" fmla="*/ 10 h 20"/>
                <a:gd name="T20" fmla="*/ 0 w 17"/>
                <a:gd name="T21" fmla="*/ 12 h 20"/>
                <a:gd name="T22" fmla="*/ 0 w 17"/>
                <a:gd name="T23" fmla="*/ 15 h 20"/>
                <a:gd name="T24" fmla="*/ 0 w 17"/>
                <a:gd name="T25" fmla="*/ 15 h 20"/>
                <a:gd name="T26" fmla="*/ 3 w 17"/>
                <a:gd name="T27" fmla="*/ 17 h 20"/>
                <a:gd name="T28" fmla="*/ 3 w 17"/>
                <a:gd name="T29" fmla="*/ 17 h 20"/>
                <a:gd name="T30" fmla="*/ 3 w 17"/>
                <a:gd name="T31" fmla="*/ 17 h 20"/>
                <a:gd name="T32" fmla="*/ 5 w 17"/>
                <a:gd name="T33" fmla="*/ 20 h 20"/>
                <a:gd name="T34" fmla="*/ 10 w 17"/>
                <a:gd name="T35" fmla="*/ 20 h 20"/>
                <a:gd name="T36" fmla="*/ 13 w 17"/>
                <a:gd name="T37" fmla="*/ 20 h 20"/>
                <a:gd name="T38" fmla="*/ 15 w 17"/>
                <a:gd name="T39" fmla="*/ 17 h 20"/>
                <a:gd name="T40" fmla="*/ 17 w 17"/>
                <a:gd name="T41" fmla="*/ 15 h 20"/>
                <a:gd name="T42" fmla="*/ 17 w 17"/>
                <a:gd name="T43" fmla="*/ 15 h 20"/>
                <a:gd name="T44" fmla="*/ 17 w 17"/>
                <a:gd name="T45" fmla="*/ 12 h 20"/>
                <a:gd name="T46" fmla="*/ 17 w 17"/>
                <a:gd name="T47" fmla="*/ 10 h 20"/>
                <a:gd name="T48" fmla="*/ 17 w 17"/>
                <a:gd name="T49" fmla="*/ 7 h 20"/>
                <a:gd name="T50" fmla="*/ 17 w 17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" h="20">
                  <a:moveTo>
                    <a:pt x="17" y="5"/>
                  </a:moveTo>
                  <a:lnTo>
                    <a:pt x="15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16">
            <a:extLst>
              <a:ext uri="{FF2B5EF4-FFF2-40B4-BE49-F238E27FC236}">
                <a16:creationId xmlns:a16="http://schemas.microsoft.com/office/drawing/2014/main" id="{09916328-ED19-4173-B023-8DD7455B9B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6906" y="1536817"/>
            <a:ext cx="841375" cy="839788"/>
            <a:chOff x="3060" y="1136"/>
            <a:chExt cx="530" cy="529"/>
          </a:xfrm>
        </p:grpSpPr>
        <p:sp>
          <p:nvSpPr>
            <p:cNvPr id="131" name="AutoShape 115">
              <a:extLst>
                <a:ext uri="{FF2B5EF4-FFF2-40B4-BE49-F238E27FC236}">
                  <a16:creationId xmlns:a16="http://schemas.microsoft.com/office/drawing/2014/main" id="{0744D6D6-8F11-437D-97C6-B2F5652CEC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0" y="1136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Oval 117">
              <a:extLst>
                <a:ext uri="{FF2B5EF4-FFF2-40B4-BE49-F238E27FC236}">
                  <a16:creationId xmlns:a16="http://schemas.microsoft.com/office/drawing/2014/main" id="{3A70875B-1F47-45DA-B265-39231F97A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3" y="1139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8">
              <a:extLst>
                <a:ext uri="{FF2B5EF4-FFF2-40B4-BE49-F238E27FC236}">
                  <a16:creationId xmlns:a16="http://schemas.microsoft.com/office/drawing/2014/main" id="{696B129C-8B45-4D52-9C1E-DA375FE72F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9" y="1155"/>
              <a:ext cx="495" cy="494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9">
              <a:extLst>
                <a:ext uri="{FF2B5EF4-FFF2-40B4-BE49-F238E27FC236}">
                  <a16:creationId xmlns:a16="http://schemas.microsoft.com/office/drawing/2014/main" id="{CC3AA835-AE4A-458E-83EA-CC54D82F0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" y="1386"/>
              <a:ext cx="55" cy="16"/>
            </a:xfrm>
            <a:custGeom>
              <a:avLst/>
              <a:gdLst>
                <a:gd name="T0" fmla="*/ 3 w 55"/>
                <a:gd name="T1" fmla="*/ 16 h 16"/>
                <a:gd name="T2" fmla="*/ 6 w 55"/>
                <a:gd name="T3" fmla="*/ 16 h 16"/>
                <a:gd name="T4" fmla="*/ 9 w 55"/>
                <a:gd name="T5" fmla="*/ 16 h 16"/>
                <a:gd name="T6" fmla="*/ 9 w 55"/>
                <a:gd name="T7" fmla="*/ 16 h 16"/>
                <a:gd name="T8" fmla="*/ 14 w 55"/>
                <a:gd name="T9" fmla="*/ 13 h 16"/>
                <a:gd name="T10" fmla="*/ 19 w 55"/>
                <a:gd name="T11" fmla="*/ 10 h 16"/>
                <a:gd name="T12" fmla="*/ 22 w 55"/>
                <a:gd name="T13" fmla="*/ 10 h 16"/>
                <a:gd name="T14" fmla="*/ 28 w 55"/>
                <a:gd name="T15" fmla="*/ 8 h 16"/>
                <a:gd name="T16" fmla="*/ 30 w 55"/>
                <a:gd name="T17" fmla="*/ 8 h 16"/>
                <a:gd name="T18" fmla="*/ 36 w 55"/>
                <a:gd name="T19" fmla="*/ 10 h 16"/>
                <a:gd name="T20" fmla="*/ 36 w 55"/>
                <a:gd name="T21" fmla="*/ 10 h 16"/>
                <a:gd name="T22" fmla="*/ 38 w 55"/>
                <a:gd name="T23" fmla="*/ 10 h 16"/>
                <a:gd name="T24" fmla="*/ 41 w 55"/>
                <a:gd name="T25" fmla="*/ 13 h 16"/>
                <a:gd name="T26" fmla="*/ 47 w 55"/>
                <a:gd name="T27" fmla="*/ 16 h 16"/>
                <a:gd name="T28" fmla="*/ 47 w 55"/>
                <a:gd name="T29" fmla="*/ 16 h 16"/>
                <a:gd name="T30" fmla="*/ 49 w 55"/>
                <a:gd name="T31" fmla="*/ 16 h 16"/>
                <a:gd name="T32" fmla="*/ 49 w 55"/>
                <a:gd name="T33" fmla="*/ 16 h 16"/>
                <a:gd name="T34" fmla="*/ 52 w 55"/>
                <a:gd name="T35" fmla="*/ 16 h 16"/>
                <a:gd name="T36" fmla="*/ 52 w 55"/>
                <a:gd name="T37" fmla="*/ 16 h 16"/>
                <a:gd name="T38" fmla="*/ 55 w 55"/>
                <a:gd name="T39" fmla="*/ 13 h 16"/>
                <a:gd name="T40" fmla="*/ 55 w 55"/>
                <a:gd name="T41" fmla="*/ 10 h 16"/>
                <a:gd name="T42" fmla="*/ 55 w 55"/>
                <a:gd name="T43" fmla="*/ 10 h 16"/>
                <a:gd name="T44" fmla="*/ 52 w 55"/>
                <a:gd name="T45" fmla="*/ 8 h 16"/>
                <a:gd name="T46" fmla="*/ 49 w 55"/>
                <a:gd name="T47" fmla="*/ 5 h 16"/>
                <a:gd name="T48" fmla="*/ 44 w 55"/>
                <a:gd name="T49" fmla="*/ 2 h 16"/>
                <a:gd name="T50" fmla="*/ 38 w 55"/>
                <a:gd name="T51" fmla="*/ 0 h 16"/>
                <a:gd name="T52" fmla="*/ 33 w 55"/>
                <a:gd name="T53" fmla="*/ 0 h 16"/>
                <a:gd name="T54" fmla="*/ 30 w 55"/>
                <a:gd name="T55" fmla="*/ 0 h 16"/>
                <a:gd name="T56" fmla="*/ 22 w 55"/>
                <a:gd name="T57" fmla="*/ 0 h 16"/>
                <a:gd name="T58" fmla="*/ 17 w 55"/>
                <a:gd name="T59" fmla="*/ 0 h 16"/>
                <a:gd name="T60" fmla="*/ 14 w 55"/>
                <a:gd name="T61" fmla="*/ 2 h 16"/>
                <a:gd name="T62" fmla="*/ 11 w 55"/>
                <a:gd name="T63" fmla="*/ 5 h 16"/>
                <a:gd name="T64" fmla="*/ 6 w 55"/>
                <a:gd name="T65" fmla="*/ 8 h 16"/>
                <a:gd name="T66" fmla="*/ 3 w 55"/>
                <a:gd name="T67" fmla="*/ 10 h 16"/>
                <a:gd name="T68" fmla="*/ 3 w 55"/>
                <a:gd name="T69" fmla="*/ 10 h 16"/>
                <a:gd name="T70" fmla="*/ 0 w 55"/>
                <a:gd name="T71" fmla="*/ 13 h 16"/>
                <a:gd name="T72" fmla="*/ 3 w 55"/>
                <a:gd name="T73" fmla="*/ 13 h 16"/>
                <a:gd name="T74" fmla="*/ 3 w 55"/>
                <a:gd name="T75" fmla="*/ 13 h 16"/>
                <a:gd name="T76" fmla="*/ 3 w 55"/>
                <a:gd name="T7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" h="16">
                  <a:moveTo>
                    <a:pt x="3" y="16"/>
                  </a:moveTo>
                  <a:lnTo>
                    <a:pt x="6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4" y="13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41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5" y="13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4" y="2"/>
                  </a:lnTo>
                  <a:lnTo>
                    <a:pt x="11" y="5"/>
                  </a:lnTo>
                  <a:lnTo>
                    <a:pt x="6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0">
              <a:extLst>
                <a:ext uri="{FF2B5EF4-FFF2-40B4-BE49-F238E27FC236}">
                  <a16:creationId xmlns:a16="http://schemas.microsoft.com/office/drawing/2014/main" id="{37759D27-8A82-4EA3-872C-239C046517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6" y="1342"/>
              <a:ext cx="138" cy="133"/>
            </a:xfrm>
            <a:custGeom>
              <a:avLst/>
              <a:gdLst>
                <a:gd name="T0" fmla="*/ 43 w 138"/>
                <a:gd name="T1" fmla="*/ 19 h 133"/>
                <a:gd name="T2" fmla="*/ 57 w 138"/>
                <a:gd name="T3" fmla="*/ 16 h 133"/>
                <a:gd name="T4" fmla="*/ 78 w 138"/>
                <a:gd name="T5" fmla="*/ 16 h 133"/>
                <a:gd name="T6" fmla="*/ 95 w 138"/>
                <a:gd name="T7" fmla="*/ 22 h 133"/>
                <a:gd name="T8" fmla="*/ 108 w 138"/>
                <a:gd name="T9" fmla="*/ 30 h 133"/>
                <a:gd name="T10" fmla="*/ 119 w 138"/>
                <a:gd name="T11" fmla="*/ 49 h 133"/>
                <a:gd name="T12" fmla="*/ 122 w 138"/>
                <a:gd name="T13" fmla="*/ 63 h 133"/>
                <a:gd name="T14" fmla="*/ 119 w 138"/>
                <a:gd name="T15" fmla="*/ 79 h 133"/>
                <a:gd name="T16" fmla="*/ 114 w 138"/>
                <a:gd name="T17" fmla="*/ 95 h 133"/>
                <a:gd name="T18" fmla="*/ 106 w 138"/>
                <a:gd name="T19" fmla="*/ 103 h 133"/>
                <a:gd name="T20" fmla="*/ 87 w 138"/>
                <a:gd name="T21" fmla="*/ 114 h 133"/>
                <a:gd name="T22" fmla="*/ 70 w 138"/>
                <a:gd name="T23" fmla="*/ 117 h 133"/>
                <a:gd name="T24" fmla="*/ 57 w 138"/>
                <a:gd name="T25" fmla="*/ 117 h 133"/>
                <a:gd name="T26" fmla="*/ 43 w 138"/>
                <a:gd name="T27" fmla="*/ 111 h 133"/>
                <a:gd name="T28" fmla="*/ 30 w 138"/>
                <a:gd name="T29" fmla="*/ 103 h 133"/>
                <a:gd name="T30" fmla="*/ 21 w 138"/>
                <a:gd name="T31" fmla="*/ 92 h 133"/>
                <a:gd name="T32" fmla="*/ 13 w 138"/>
                <a:gd name="T33" fmla="*/ 73 h 133"/>
                <a:gd name="T34" fmla="*/ 13 w 138"/>
                <a:gd name="T35" fmla="*/ 60 h 133"/>
                <a:gd name="T36" fmla="*/ 19 w 138"/>
                <a:gd name="T37" fmla="*/ 46 h 133"/>
                <a:gd name="T38" fmla="*/ 27 w 138"/>
                <a:gd name="T39" fmla="*/ 33 h 133"/>
                <a:gd name="T40" fmla="*/ 24 w 138"/>
                <a:gd name="T41" fmla="*/ 14 h 133"/>
                <a:gd name="T42" fmla="*/ 13 w 138"/>
                <a:gd name="T43" fmla="*/ 27 h 133"/>
                <a:gd name="T44" fmla="*/ 5 w 138"/>
                <a:gd name="T45" fmla="*/ 41 h 133"/>
                <a:gd name="T46" fmla="*/ 0 w 138"/>
                <a:gd name="T47" fmla="*/ 52 h 133"/>
                <a:gd name="T48" fmla="*/ 0 w 138"/>
                <a:gd name="T49" fmla="*/ 65 h 133"/>
                <a:gd name="T50" fmla="*/ 0 w 138"/>
                <a:gd name="T51" fmla="*/ 79 h 133"/>
                <a:gd name="T52" fmla="*/ 5 w 138"/>
                <a:gd name="T53" fmla="*/ 95 h 133"/>
                <a:gd name="T54" fmla="*/ 13 w 138"/>
                <a:gd name="T55" fmla="*/ 106 h 133"/>
                <a:gd name="T56" fmla="*/ 24 w 138"/>
                <a:gd name="T57" fmla="*/ 117 h 133"/>
                <a:gd name="T58" fmla="*/ 38 w 138"/>
                <a:gd name="T59" fmla="*/ 125 h 133"/>
                <a:gd name="T60" fmla="*/ 54 w 138"/>
                <a:gd name="T61" fmla="*/ 130 h 133"/>
                <a:gd name="T62" fmla="*/ 76 w 138"/>
                <a:gd name="T63" fmla="*/ 133 h 133"/>
                <a:gd name="T64" fmla="*/ 92 w 138"/>
                <a:gd name="T65" fmla="*/ 128 h 133"/>
                <a:gd name="T66" fmla="*/ 106 w 138"/>
                <a:gd name="T67" fmla="*/ 122 h 133"/>
                <a:gd name="T68" fmla="*/ 119 w 138"/>
                <a:gd name="T69" fmla="*/ 111 h 133"/>
                <a:gd name="T70" fmla="*/ 130 w 138"/>
                <a:gd name="T71" fmla="*/ 95 h 133"/>
                <a:gd name="T72" fmla="*/ 136 w 138"/>
                <a:gd name="T73" fmla="*/ 76 h 133"/>
                <a:gd name="T74" fmla="*/ 138 w 138"/>
                <a:gd name="T75" fmla="*/ 60 h 133"/>
                <a:gd name="T76" fmla="*/ 133 w 138"/>
                <a:gd name="T77" fmla="*/ 44 h 133"/>
                <a:gd name="T78" fmla="*/ 127 w 138"/>
                <a:gd name="T79" fmla="*/ 33 h 133"/>
                <a:gd name="T80" fmla="*/ 114 w 138"/>
                <a:gd name="T81" fmla="*/ 16 h 133"/>
                <a:gd name="T82" fmla="*/ 100 w 138"/>
                <a:gd name="T83" fmla="*/ 8 h 133"/>
                <a:gd name="T84" fmla="*/ 87 w 138"/>
                <a:gd name="T85" fmla="*/ 3 h 133"/>
                <a:gd name="T86" fmla="*/ 70 w 138"/>
                <a:gd name="T87" fmla="*/ 0 h 133"/>
                <a:gd name="T88" fmla="*/ 54 w 138"/>
                <a:gd name="T89" fmla="*/ 0 h 133"/>
                <a:gd name="T90" fmla="*/ 40 w 138"/>
                <a:gd name="T91" fmla="*/ 6 h 133"/>
                <a:gd name="T92" fmla="*/ 27 w 138"/>
                <a:gd name="T93" fmla="*/ 1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8" h="133">
                  <a:moveTo>
                    <a:pt x="32" y="27"/>
                  </a:moveTo>
                  <a:lnTo>
                    <a:pt x="38" y="22"/>
                  </a:lnTo>
                  <a:lnTo>
                    <a:pt x="43" y="19"/>
                  </a:lnTo>
                  <a:lnTo>
                    <a:pt x="46" y="19"/>
                  </a:lnTo>
                  <a:lnTo>
                    <a:pt x="51" y="16"/>
                  </a:lnTo>
                  <a:lnTo>
                    <a:pt x="57" y="16"/>
                  </a:lnTo>
                  <a:lnTo>
                    <a:pt x="65" y="14"/>
                  </a:lnTo>
                  <a:lnTo>
                    <a:pt x="70" y="14"/>
                  </a:lnTo>
                  <a:lnTo>
                    <a:pt x="78" y="16"/>
                  </a:lnTo>
                  <a:lnTo>
                    <a:pt x="84" y="16"/>
                  </a:lnTo>
                  <a:lnTo>
                    <a:pt x="89" y="19"/>
                  </a:lnTo>
                  <a:lnTo>
                    <a:pt x="95" y="22"/>
                  </a:lnTo>
                  <a:lnTo>
                    <a:pt x="97" y="22"/>
                  </a:lnTo>
                  <a:lnTo>
                    <a:pt x="103" y="27"/>
                  </a:lnTo>
                  <a:lnTo>
                    <a:pt x="108" y="30"/>
                  </a:lnTo>
                  <a:lnTo>
                    <a:pt x="111" y="35"/>
                  </a:lnTo>
                  <a:lnTo>
                    <a:pt x="116" y="41"/>
                  </a:lnTo>
                  <a:lnTo>
                    <a:pt x="119" y="49"/>
                  </a:lnTo>
                  <a:lnTo>
                    <a:pt x="119" y="54"/>
                  </a:lnTo>
                  <a:lnTo>
                    <a:pt x="122" y="54"/>
                  </a:lnTo>
                  <a:lnTo>
                    <a:pt x="122" y="63"/>
                  </a:lnTo>
                  <a:lnTo>
                    <a:pt x="122" y="68"/>
                  </a:lnTo>
                  <a:lnTo>
                    <a:pt x="122" y="73"/>
                  </a:lnTo>
                  <a:lnTo>
                    <a:pt x="119" y="79"/>
                  </a:lnTo>
                  <a:lnTo>
                    <a:pt x="119" y="84"/>
                  </a:lnTo>
                  <a:lnTo>
                    <a:pt x="116" y="90"/>
                  </a:lnTo>
                  <a:lnTo>
                    <a:pt x="114" y="95"/>
                  </a:lnTo>
                  <a:lnTo>
                    <a:pt x="111" y="98"/>
                  </a:lnTo>
                  <a:lnTo>
                    <a:pt x="108" y="101"/>
                  </a:lnTo>
                  <a:lnTo>
                    <a:pt x="106" y="103"/>
                  </a:lnTo>
                  <a:lnTo>
                    <a:pt x="100" y="109"/>
                  </a:lnTo>
                  <a:lnTo>
                    <a:pt x="95" y="111"/>
                  </a:lnTo>
                  <a:lnTo>
                    <a:pt x="87" y="114"/>
                  </a:lnTo>
                  <a:lnTo>
                    <a:pt x="84" y="117"/>
                  </a:lnTo>
                  <a:lnTo>
                    <a:pt x="78" y="117"/>
                  </a:lnTo>
                  <a:lnTo>
                    <a:pt x="70" y="117"/>
                  </a:lnTo>
                  <a:lnTo>
                    <a:pt x="68" y="117"/>
                  </a:lnTo>
                  <a:lnTo>
                    <a:pt x="62" y="117"/>
                  </a:lnTo>
                  <a:lnTo>
                    <a:pt x="57" y="117"/>
                  </a:lnTo>
                  <a:lnTo>
                    <a:pt x="51" y="117"/>
                  </a:lnTo>
                  <a:lnTo>
                    <a:pt x="49" y="114"/>
                  </a:lnTo>
                  <a:lnTo>
                    <a:pt x="43" y="111"/>
                  </a:lnTo>
                  <a:lnTo>
                    <a:pt x="35" y="109"/>
                  </a:lnTo>
                  <a:lnTo>
                    <a:pt x="35" y="106"/>
                  </a:lnTo>
                  <a:lnTo>
                    <a:pt x="30" y="103"/>
                  </a:lnTo>
                  <a:lnTo>
                    <a:pt x="27" y="101"/>
                  </a:lnTo>
                  <a:lnTo>
                    <a:pt x="24" y="95"/>
                  </a:lnTo>
                  <a:lnTo>
                    <a:pt x="21" y="92"/>
                  </a:lnTo>
                  <a:lnTo>
                    <a:pt x="19" y="87"/>
                  </a:lnTo>
                  <a:lnTo>
                    <a:pt x="16" y="82"/>
                  </a:lnTo>
                  <a:lnTo>
                    <a:pt x="13" y="73"/>
                  </a:lnTo>
                  <a:lnTo>
                    <a:pt x="13" y="68"/>
                  </a:lnTo>
                  <a:lnTo>
                    <a:pt x="13" y="65"/>
                  </a:lnTo>
                  <a:lnTo>
                    <a:pt x="13" y="60"/>
                  </a:lnTo>
                  <a:lnTo>
                    <a:pt x="13" y="57"/>
                  </a:lnTo>
                  <a:lnTo>
                    <a:pt x="16" y="52"/>
                  </a:lnTo>
                  <a:lnTo>
                    <a:pt x="19" y="46"/>
                  </a:lnTo>
                  <a:lnTo>
                    <a:pt x="21" y="41"/>
                  </a:lnTo>
                  <a:lnTo>
                    <a:pt x="24" y="38"/>
                  </a:lnTo>
                  <a:lnTo>
                    <a:pt x="27" y="33"/>
                  </a:lnTo>
                  <a:lnTo>
                    <a:pt x="30" y="30"/>
                  </a:lnTo>
                  <a:lnTo>
                    <a:pt x="32" y="27"/>
                  </a:lnTo>
                  <a:close/>
                  <a:moveTo>
                    <a:pt x="24" y="14"/>
                  </a:moveTo>
                  <a:lnTo>
                    <a:pt x="21" y="16"/>
                  </a:lnTo>
                  <a:lnTo>
                    <a:pt x="16" y="22"/>
                  </a:lnTo>
                  <a:lnTo>
                    <a:pt x="13" y="27"/>
                  </a:lnTo>
                  <a:lnTo>
                    <a:pt x="8" y="33"/>
                  </a:lnTo>
                  <a:lnTo>
                    <a:pt x="8" y="35"/>
                  </a:lnTo>
                  <a:lnTo>
                    <a:pt x="5" y="41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2" y="87"/>
                  </a:lnTo>
                  <a:lnTo>
                    <a:pt x="2" y="90"/>
                  </a:lnTo>
                  <a:lnTo>
                    <a:pt x="5" y="95"/>
                  </a:lnTo>
                  <a:lnTo>
                    <a:pt x="8" y="98"/>
                  </a:lnTo>
                  <a:lnTo>
                    <a:pt x="10" y="103"/>
                  </a:lnTo>
                  <a:lnTo>
                    <a:pt x="13" y="106"/>
                  </a:lnTo>
                  <a:lnTo>
                    <a:pt x="13" y="109"/>
                  </a:lnTo>
                  <a:lnTo>
                    <a:pt x="19" y="114"/>
                  </a:lnTo>
                  <a:lnTo>
                    <a:pt x="24" y="117"/>
                  </a:lnTo>
                  <a:lnTo>
                    <a:pt x="27" y="120"/>
                  </a:lnTo>
                  <a:lnTo>
                    <a:pt x="32" y="122"/>
                  </a:lnTo>
                  <a:lnTo>
                    <a:pt x="38" y="125"/>
                  </a:lnTo>
                  <a:lnTo>
                    <a:pt x="43" y="128"/>
                  </a:lnTo>
                  <a:lnTo>
                    <a:pt x="49" y="130"/>
                  </a:lnTo>
                  <a:lnTo>
                    <a:pt x="54" y="130"/>
                  </a:lnTo>
                  <a:lnTo>
                    <a:pt x="62" y="133"/>
                  </a:lnTo>
                  <a:lnTo>
                    <a:pt x="68" y="133"/>
                  </a:lnTo>
                  <a:lnTo>
                    <a:pt x="76" y="133"/>
                  </a:lnTo>
                  <a:lnTo>
                    <a:pt x="81" y="130"/>
                  </a:lnTo>
                  <a:lnTo>
                    <a:pt x="87" y="130"/>
                  </a:lnTo>
                  <a:lnTo>
                    <a:pt x="92" y="128"/>
                  </a:lnTo>
                  <a:lnTo>
                    <a:pt x="97" y="125"/>
                  </a:lnTo>
                  <a:lnTo>
                    <a:pt x="100" y="125"/>
                  </a:lnTo>
                  <a:lnTo>
                    <a:pt x="106" y="122"/>
                  </a:lnTo>
                  <a:lnTo>
                    <a:pt x="108" y="120"/>
                  </a:lnTo>
                  <a:lnTo>
                    <a:pt x="114" y="114"/>
                  </a:lnTo>
                  <a:lnTo>
                    <a:pt x="119" y="111"/>
                  </a:lnTo>
                  <a:lnTo>
                    <a:pt x="125" y="106"/>
                  </a:lnTo>
                  <a:lnTo>
                    <a:pt x="127" y="101"/>
                  </a:lnTo>
                  <a:lnTo>
                    <a:pt x="130" y="95"/>
                  </a:lnTo>
                  <a:lnTo>
                    <a:pt x="133" y="90"/>
                  </a:lnTo>
                  <a:lnTo>
                    <a:pt x="136" y="82"/>
                  </a:lnTo>
                  <a:lnTo>
                    <a:pt x="136" y="76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8" y="60"/>
                  </a:lnTo>
                  <a:lnTo>
                    <a:pt x="136" y="52"/>
                  </a:lnTo>
                  <a:lnTo>
                    <a:pt x="136" y="49"/>
                  </a:lnTo>
                  <a:lnTo>
                    <a:pt x="133" y="44"/>
                  </a:lnTo>
                  <a:lnTo>
                    <a:pt x="133" y="41"/>
                  </a:lnTo>
                  <a:lnTo>
                    <a:pt x="130" y="38"/>
                  </a:lnTo>
                  <a:lnTo>
                    <a:pt x="127" y="33"/>
                  </a:lnTo>
                  <a:lnTo>
                    <a:pt x="125" y="27"/>
                  </a:lnTo>
                  <a:lnTo>
                    <a:pt x="119" y="22"/>
                  </a:lnTo>
                  <a:lnTo>
                    <a:pt x="114" y="16"/>
                  </a:lnTo>
                  <a:lnTo>
                    <a:pt x="108" y="14"/>
                  </a:lnTo>
                  <a:lnTo>
                    <a:pt x="103" y="8"/>
                  </a:lnTo>
                  <a:lnTo>
                    <a:pt x="100" y="8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7" y="3"/>
                  </a:lnTo>
                  <a:lnTo>
                    <a:pt x="81" y="0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2" y="0"/>
                  </a:lnTo>
                  <a:lnTo>
                    <a:pt x="54" y="0"/>
                  </a:lnTo>
                  <a:lnTo>
                    <a:pt x="49" y="3"/>
                  </a:lnTo>
                  <a:lnTo>
                    <a:pt x="43" y="3"/>
                  </a:lnTo>
                  <a:lnTo>
                    <a:pt x="40" y="6"/>
                  </a:lnTo>
                  <a:lnTo>
                    <a:pt x="35" y="8"/>
                  </a:lnTo>
                  <a:lnTo>
                    <a:pt x="32" y="8"/>
                  </a:lnTo>
                  <a:lnTo>
                    <a:pt x="27" y="14"/>
                  </a:lnTo>
                  <a:lnTo>
                    <a:pt x="2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1">
              <a:extLst>
                <a:ext uri="{FF2B5EF4-FFF2-40B4-BE49-F238E27FC236}">
                  <a16:creationId xmlns:a16="http://schemas.microsoft.com/office/drawing/2014/main" id="{D867CF7E-BB3B-41BB-A46A-7DF7634BD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4" y="1269"/>
              <a:ext cx="305" cy="244"/>
            </a:xfrm>
            <a:custGeom>
              <a:avLst/>
              <a:gdLst>
                <a:gd name="T0" fmla="*/ 288 w 305"/>
                <a:gd name="T1" fmla="*/ 231 h 244"/>
                <a:gd name="T2" fmla="*/ 16 w 305"/>
                <a:gd name="T3" fmla="*/ 231 h 244"/>
                <a:gd name="T4" fmla="*/ 16 w 305"/>
                <a:gd name="T5" fmla="*/ 70 h 244"/>
                <a:gd name="T6" fmla="*/ 109 w 305"/>
                <a:gd name="T7" fmla="*/ 70 h 244"/>
                <a:gd name="T8" fmla="*/ 112 w 305"/>
                <a:gd name="T9" fmla="*/ 70 h 244"/>
                <a:gd name="T10" fmla="*/ 114 w 305"/>
                <a:gd name="T11" fmla="*/ 68 h 244"/>
                <a:gd name="T12" fmla="*/ 114 w 305"/>
                <a:gd name="T13" fmla="*/ 65 h 244"/>
                <a:gd name="T14" fmla="*/ 139 w 305"/>
                <a:gd name="T15" fmla="*/ 16 h 244"/>
                <a:gd name="T16" fmla="*/ 220 w 305"/>
                <a:gd name="T17" fmla="*/ 16 h 244"/>
                <a:gd name="T18" fmla="*/ 220 w 305"/>
                <a:gd name="T19" fmla="*/ 16 h 244"/>
                <a:gd name="T20" fmla="*/ 248 w 305"/>
                <a:gd name="T21" fmla="*/ 68 h 244"/>
                <a:gd name="T22" fmla="*/ 248 w 305"/>
                <a:gd name="T23" fmla="*/ 70 h 244"/>
                <a:gd name="T24" fmla="*/ 253 w 305"/>
                <a:gd name="T25" fmla="*/ 70 h 244"/>
                <a:gd name="T26" fmla="*/ 253 w 305"/>
                <a:gd name="T27" fmla="*/ 70 h 244"/>
                <a:gd name="T28" fmla="*/ 253 w 305"/>
                <a:gd name="T29" fmla="*/ 70 h 244"/>
                <a:gd name="T30" fmla="*/ 288 w 305"/>
                <a:gd name="T31" fmla="*/ 70 h 244"/>
                <a:gd name="T32" fmla="*/ 288 w 305"/>
                <a:gd name="T33" fmla="*/ 231 h 244"/>
                <a:gd name="T34" fmla="*/ 305 w 305"/>
                <a:gd name="T35" fmla="*/ 60 h 244"/>
                <a:gd name="T36" fmla="*/ 302 w 305"/>
                <a:gd name="T37" fmla="*/ 60 h 244"/>
                <a:gd name="T38" fmla="*/ 299 w 305"/>
                <a:gd name="T39" fmla="*/ 57 h 244"/>
                <a:gd name="T40" fmla="*/ 296 w 305"/>
                <a:gd name="T41" fmla="*/ 57 h 244"/>
                <a:gd name="T42" fmla="*/ 296 w 305"/>
                <a:gd name="T43" fmla="*/ 57 h 244"/>
                <a:gd name="T44" fmla="*/ 258 w 305"/>
                <a:gd name="T45" fmla="*/ 57 h 244"/>
                <a:gd name="T46" fmla="*/ 256 w 305"/>
                <a:gd name="T47" fmla="*/ 57 h 244"/>
                <a:gd name="T48" fmla="*/ 231 w 305"/>
                <a:gd name="T49" fmla="*/ 5 h 244"/>
                <a:gd name="T50" fmla="*/ 231 w 305"/>
                <a:gd name="T51" fmla="*/ 3 h 244"/>
                <a:gd name="T52" fmla="*/ 228 w 305"/>
                <a:gd name="T53" fmla="*/ 0 h 244"/>
                <a:gd name="T54" fmla="*/ 226 w 305"/>
                <a:gd name="T55" fmla="*/ 0 h 244"/>
                <a:gd name="T56" fmla="*/ 226 w 305"/>
                <a:gd name="T57" fmla="*/ 0 h 244"/>
                <a:gd name="T58" fmla="*/ 133 w 305"/>
                <a:gd name="T59" fmla="*/ 0 h 244"/>
                <a:gd name="T60" fmla="*/ 131 w 305"/>
                <a:gd name="T61" fmla="*/ 3 h 244"/>
                <a:gd name="T62" fmla="*/ 128 w 305"/>
                <a:gd name="T63" fmla="*/ 3 h 244"/>
                <a:gd name="T64" fmla="*/ 128 w 305"/>
                <a:gd name="T65" fmla="*/ 5 h 244"/>
                <a:gd name="T66" fmla="*/ 103 w 305"/>
                <a:gd name="T67" fmla="*/ 57 h 244"/>
                <a:gd name="T68" fmla="*/ 6 w 305"/>
                <a:gd name="T69" fmla="*/ 57 h 244"/>
                <a:gd name="T70" fmla="*/ 6 w 305"/>
                <a:gd name="T71" fmla="*/ 57 h 244"/>
                <a:gd name="T72" fmla="*/ 3 w 305"/>
                <a:gd name="T73" fmla="*/ 60 h 244"/>
                <a:gd name="T74" fmla="*/ 0 w 305"/>
                <a:gd name="T75" fmla="*/ 60 h 244"/>
                <a:gd name="T76" fmla="*/ 0 w 305"/>
                <a:gd name="T77" fmla="*/ 62 h 244"/>
                <a:gd name="T78" fmla="*/ 0 w 305"/>
                <a:gd name="T79" fmla="*/ 65 h 244"/>
                <a:gd name="T80" fmla="*/ 0 w 305"/>
                <a:gd name="T81" fmla="*/ 65 h 244"/>
                <a:gd name="T82" fmla="*/ 0 w 305"/>
                <a:gd name="T83" fmla="*/ 239 h 244"/>
                <a:gd name="T84" fmla="*/ 0 w 305"/>
                <a:gd name="T85" fmla="*/ 241 h 244"/>
                <a:gd name="T86" fmla="*/ 0 w 305"/>
                <a:gd name="T87" fmla="*/ 241 h 244"/>
                <a:gd name="T88" fmla="*/ 3 w 305"/>
                <a:gd name="T89" fmla="*/ 244 h 244"/>
                <a:gd name="T90" fmla="*/ 3 w 305"/>
                <a:gd name="T91" fmla="*/ 244 h 244"/>
                <a:gd name="T92" fmla="*/ 6 w 305"/>
                <a:gd name="T93" fmla="*/ 244 h 244"/>
                <a:gd name="T94" fmla="*/ 8 w 305"/>
                <a:gd name="T95" fmla="*/ 244 h 244"/>
                <a:gd name="T96" fmla="*/ 299 w 305"/>
                <a:gd name="T97" fmla="*/ 244 h 244"/>
                <a:gd name="T98" fmla="*/ 302 w 305"/>
                <a:gd name="T99" fmla="*/ 244 h 244"/>
                <a:gd name="T100" fmla="*/ 302 w 305"/>
                <a:gd name="T101" fmla="*/ 244 h 244"/>
                <a:gd name="T102" fmla="*/ 302 w 305"/>
                <a:gd name="T103" fmla="*/ 241 h 244"/>
                <a:gd name="T104" fmla="*/ 305 w 305"/>
                <a:gd name="T105" fmla="*/ 241 h 244"/>
                <a:gd name="T106" fmla="*/ 305 w 305"/>
                <a:gd name="T107" fmla="*/ 239 h 244"/>
                <a:gd name="T108" fmla="*/ 305 w 305"/>
                <a:gd name="T109" fmla="*/ 239 h 244"/>
                <a:gd name="T110" fmla="*/ 305 w 305"/>
                <a:gd name="T111" fmla="*/ 62 h 244"/>
                <a:gd name="T112" fmla="*/ 305 w 305"/>
                <a:gd name="T113" fmla="*/ 6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44">
                  <a:moveTo>
                    <a:pt x="288" y="231"/>
                  </a:moveTo>
                  <a:lnTo>
                    <a:pt x="16" y="231"/>
                  </a:lnTo>
                  <a:lnTo>
                    <a:pt x="16" y="70"/>
                  </a:lnTo>
                  <a:lnTo>
                    <a:pt x="109" y="70"/>
                  </a:lnTo>
                  <a:lnTo>
                    <a:pt x="112" y="70"/>
                  </a:lnTo>
                  <a:lnTo>
                    <a:pt x="114" y="68"/>
                  </a:lnTo>
                  <a:lnTo>
                    <a:pt x="114" y="65"/>
                  </a:lnTo>
                  <a:lnTo>
                    <a:pt x="139" y="16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48" y="68"/>
                  </a:lnTo>
                  <a:lnTo>
                    <a:pt x="248" y="70"/>
                  </a:lnTo>
                  <a:lnTo>
                    <a:pt x="253" y="70"/>
                  </a:lnTo>
                  <a:lnTo>
                    <a:pt x="253" y="70"/>
                  </a:lnTo>
                  <a:lnTo>
                    <a:pt x="253" y="70"/>
                  </a:lnTo>
                  <a:lnTo>
                    <a:pt x="288" y="70"/>
                  </a:lnTo>
                  <a:lnTo>
                    <a:pt x="288" y="231"/>
                  </a:lnTo>
                  <a:close/>
                  <a:moveTo>
                    <a:pt x="305" y="60"/>
                  </a:moveTo>
                  <a:lnTo>
                    <a:pt x="302" y="60"/>
                  </a:lnTo>
                  <a:lnTo>
                    <a:pt x="299" y="57"/>
                  </a:lnTo>
                  <a:lnTo>
                    <a:pt x="296" y="57"/>
                  </a:lnTo>
                  <a:lnTo>
                    <a:pt x="296" y="57"/>
                  </a:lnTo>
                  <a:lnTo>
                    <a:pt x="258" y="57"/>
                  </a:lnTo>
                  <a:lnTo>
                    <a:pt x="256" y="57"/>
                  </a:lnTo>
                  <a:lnTo>
                    <a:pt x="231" y="5"/>
                  </a:lnTo>
                  <a:lnTo>
                    <a:pt x="231" y="3"/>
                  </a:lnTo>
                  <a:lnTo>
                    <a:pt x="228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133" y="0"/>
                  </a:lnTo>
                  <a:lnTo>
                    <a:pt x="131" y="3"/>
                  </a:lnTo>
                  <a:lnTo>
                    <a:pt x="128" y="3"/>
                  </a:lnTo>
                  <a:lnTo>
                    <a:pt x="128" y="5"/>
                  </a:lnTo>
                  <a:lnTo>
                    <a:pt x="103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3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239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6" y="244"/>
                  </a:lnTo>
                  <a:lnTo>
                    <a:pt x="8" y="244"/>
                  </a:lnTo>
                  <a:lnTo>
                    <a:pt x="299" y="244"/>
                  </a:lnTo>
                  <a:lnTo>
                    <a:pt x="302" y="244"/>
                  </a:lnTo>
                  <a:lnTo>
                    <a:pt x="302" y="244"/>
                  </a:lnTo>
                  <a:lnTo>
                    <a:pt x="302" y="241"/>
                  </a:lnTo>
                  <a:lnTo>
                    <a:pt x="305" y="241"/>
                  </a:lnTo>
                  <a:lnTo>
                    <a:pt x="305" y="239"/>
                  </a:lnTo>
                  <a:lnTo>
                    <a:pt x="305" y="239"/>
                  </a:lnTo>
                  <a:lnTo>
                    <a:pt x="305" y="62"/>
                  </a:lnTo>
                  <a:lnTo>
                    <a:pt x="305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2">
              <a:extLst>
                <a:ext uri="{FF2B5EF4-FFF2-40B4-BE49-F238E27FC236}">
                  <a16:creationId xmlns:a16="http://schemas.microsoft.com/office/drawing/2014/main" id="{6258D0BF-69C1-4551-9889-E418D87DF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0" y="1367"/>
              <a:ext cx="19" cy="19"/>
            </a:xfrm>
            <a:custGeom>
              <a:avLst/>
              <a:gdLst>
                <a:gd name="T0" fmla="*/ 17 w 19"/>
                <a:gd name="T1" fmla="*/ 5 h 19"/>
                <a:gd name="T2" fmla="*/ 17 w 19"/>
                <a:gd name="T3" fmla="*/ 2 h 19"/>
                <a:gd name="T4" fmla="*/ 14 w 19"/>
                <a:gd name="T5" fmla="*/ 2 h 19"/>
                <a:gd name="T6" fmla="*/ 11 w 19"/>
                <a:gd name="T7" fmla="*/ 2 h 19"/>
                <a:gd name="T8" fmla="*/ 9 w 19"/>
                <a:gd name="T9" fmla="*/ 0 h 19"/>
                <a:gd name="T10" fmla="*/ 6 w 19"/>
                <a:gd name="T11" fmla="*/ 2 h 19"/>
                <a:gd name="T12" fmla="*/ 3 w 19"/>
                <a:gd name="T13" fmla="*/ 2 h 19"/>
                <a:gd name="T14" fmla="*/ 0 w 19"/>
                <a:gd name="T15" fmla="*/ 2 h 19"/>
                <a:gd name="T16" fmla="*/ 0 w 19"/>
                <a:gd name="T17" fmla="*/ 5 h 19"/>
                <a:gd name="T18" fmla="*/ 0 w 19"/>
                <a:gd name="T19" fmla="*/ 10 h 19"/>
                <a:gd name="T20" fmla="*/ 0 w 19"/>
                <a:gd name="T21" fmla="*/ 10 h 19"/>
                <a:gd name="T22" fmla="*/ 0 w 19"/>
                <a:gd name="T23" fmla="*/ 13 h 19"/>
                <a:gd name="T24" fmla="*/ 0 w 19"/>
                <a:gd name="T25" fmla="*/ 16 h 19"/>
                <a:gd name="T26" fmla="*/ 3 w 19"/>
                <a:gd name="T27" fmla="*/ 16 h 19"/>
                <a:gd name="T28" fmla="*/ 3 w 19"/>
                <a:gd name="T29" fmla="*/ 16 h 19"/>
                <a:gd name="T30" fmla="*/ 3 w 19"/>
                <a:gd name="T31" fmla="*/ 19 h 19"/>
                <a:gd name="T32" fmla="*/ 6 w 19"/>
                <a:gd name="T33" fmla="*/ 19 h 19"/>
                <a:gd name="T34" fmla="*/ 9 w 19"/>
                <a:gd name="T35" fmla="*/ 19 h 19"/>
                <a:gd name="T36" fmla="*/ 11 w 19"/>
                <a:gd name="T37" fmla="*/ 19 h 19"/>
                <a:gd name="T38" fmla="*/ 14 w 19"/>
                <a:gd name="T39" fmla="*/ 19 h 19"/>
                <a:gd name="T40" fmla="*/ 17 w 19"/>
                <a:gd name="T41" fmla="*/ 16 h 19"/>
                <a:gd name="T42" fmla="*/ 17 w 19"/>
                <a:gd name="T43" fmla="*/ 13 h 19"/>
                <a:gd name="T44" fmla="*/ 19 w 19"/>
                <a:gd name="T45" fmla="*/ 10 h 19"/>
                <a:gd name="T46" fmla="*/ 19 w 19"/>
                <a:gd name="T47" fmla="*/ 10 h 19"/>
                <a:gd name="T48" fmla="*/ 19 w 19"/>
                <a:gd name="T49" fmla="*/ 8 h 19"/>
                <a:gd name="T50" fmla="*/ 17 w 19"/>
                <a:gd name="T51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" h="19">
                  <a:moveTo>
                    <a:pt x="17" y="5"/>
                  </a:moveTo>
                  <a:lnTo>
                    <a:pt x="17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7" y="16"/>
                  </a:lnTo>
                  <a:lnTo>
                    <a:pt x="17" y="13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25">
            <a:extLst>
              <a:ext uri="{FF2B5EF4-FFF2-40B4-BE49-F238E27FC236}">
                <a16:creationId xmlns:a16="http://schemas.microsoft.com/office/drawing/2014/main" id="{21FD905D-38A9-46B5-ACD1-16BE3A03E1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6298" y="1577975"/>
            <a:ext cx="758825" cy="758825"/>
            <a:chOff x="5096" y="1188"/>
            <a:chExt cx="478" cy="478"/>
          </a:xfrm>
        </p:grpSpPr>
        <p:sp>
          <p:nvSpPr>
            <p:cNvPr id="143" name="AutoShape 124">
              <a:extLst>
                <a:ext uri="{FF2B5EF4-FFF2-40B4-BE49-F238E27FC236}">
                  <a16:creationId xmlns:a16="http://schemas.microsoft.com/office/drawing/2014/main" id="{E08837D6-C8B4-4C5C-97F1-08819A798D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96" y="11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6">
              <a:extLst>
                <a:ext uri="{FF2B5EF4-FFF2-40B4-BE49-F238E27FC236}">
                  <a16:creationId xmlns:a16="http://schemas.microsoft.com/office/drawing/2014/main" id="{20C9EDC6-76FC-44CF-9DA1-B2363F8B8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8" y="119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7">
              <a:extLst>
                <a:ext uri="{FF2B5EF4-FFF2-40B4-BE49-F238E27FC236}">
                  <a16:creationId xmlns:a16="http://schemas.microsoft.com/office/drawing/2014/main" id="{DB567B86-CFF5-44C5-A261-2931E1493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3" y="1303"/>
              <a:ext cx="226" cy="250"/>
            </a:xfrm>
            <a:custGeom>
              <a:avLst/>
              <a:gdLst>
                <a:gd name="T0" fmla="*/ 5 w 226"/>
                <a:gd name="T1" fmla="*/ 250 h 250"/>
                <a:gd name="T2" fmla="*/ 226 w 226"/>
                <a:gd name="T3" fmla="*/ 248 h 250"/>
                <a:gd name="T4" fmla="*/ 221 w 226"/>
                <a:gd name="T5" fmla="*/ 228 h 250"/>
                <a:gd name="T6" fmla="*/ 204 w 226"/>
                <a:gd name="T7" fmla="*/ 204 h 250"/>
                <a:gd name="T8" fmla="*/ 177 w 226"/>
                <a:gd name="T9" fmla="*/ 189 h 250"/>
                <a:gd name="T10" fmla="*/ 175 w 226"/>
                <a:gd name="T11" fmla="*/ 191 h 250"/>
                <a:gd name="T12" fmla="*/ 182 w 226"/>
                <a:gd name="T13" fmla="*/ 199 h 250"/>
                <a:gd name="T14" fmla="*/ 206 w 226"/>
                <a:gd name="T15" fmla="*/ 223 h 250"/>
                <a:gd name="T16" fmla="*/ 13 w 226"/>
                <a:gd name="T17" fmla="*/ 236 h 250"/>
                <a:gd name="T18" fmla="*/ 25 w 226"/>
                <a:gd name="T19" fmla="*/ 216 h 250"/>
                <a:gd name="T20" fmla="*/ 49 w 226"/>
                <a:gd name="T21" fmla="*/ 196 h 250"/>
                <a:gd name="T22" fmla="*/ 69 w 226"/>
                <a:gd name="T23" fmla="*/ 201 h 250"/>
                <a:gd name="T24" fmla="*/ 106 w 226"/>
                <a:gd name="T25" fmla="*/ 211 h 250"/>
                <a:gd name="T26" fmla="*/ 148 w 226"/>
                <a:gd name="T27" fmla="*/ 206 h 250"/>
                <a:gd name="T28" fmla="*/ 172 w 226"/>
                <a:gd name="T29" fmla="*/ 194 h 250"/>
                <a:gd name="T30" fmla="*/ 172 w 226"/>
                <a:gd name="T31" fmla="*/ 187 h 250"/>
                <a:gd name="T32" fmla="*/ 157 w 226"/>
                <a:gd name="T33" fmla="*/ 191 h 250"/>
                <a:gd name="T34" fmla="*/ 116 w 226"/>
                <a:gd name="T35" fmla="*/ 201 h 250"/>
                <a:gd name="T36" fmla="*/ 84 w 226"/>
                <a:gd name="T37" fmla="*/ 199 h 250"/>
                <a:gd name="T38" fmla="*/ 54 w 226"/>
                <a:gd name="T39" fmla="*/ 182 h 250"/>
                <a:gd name="T40" fmla="*/ 32 w 226"/>
                <a:gd name="T41" fmla="*/ 160 h 250"/>
                <a:gd name="T42" fmla="*/ 18 w 226"/>
                <a:gd name="T43" fmla="*/ 125 h 250"/>
                <a:gd name="T44" fmla="*/ 18 w 226"/>
                <a:gd name="T45" fmla="*/ 91 h 250"/>
                <a:gd name="T46" fmla="*/ 27 w 226"/>
                <a:gd name="T47" fmla="*/ 59 h 250"/>
                <a:gd name="T48" fmla="*/ 47 w 226"/>
                <a:gd name="T49" fmla="*/ 35 h 250"/>
                <a:gd name="T50" fmla="*/ 72 w 226"/>
                <a:gd name="T51" fmla="*/ 20 h 250"/>
                <a:gd name="T52" fmla="*/ 103 w 226"/>
                <a:gd name="T53" fmla="*/ 10 h 250"/>
                <a:gd name="T54" fmla="*/ 128 w 226"/>
                <a:gd name="T55" fmla="*/ 10 h 250"/>
                <a:gd name="T56" fmla="*/ 162 w 226"/>
                <a:gd name="T57" fmla="*/ 22 h 250"/>
                <a:gd name="T58" fmla="*/ 194 w 226"/>
                <a:gd name="T59" fmla="*/ 52 h 250"/>
                <a:gd name="T60" fmla="*/ 209 w 226"/>
                <a:gd name="T61" fmla="*/ 91 h 250"/>
                <a:gd name="T62" fmla="*/ 209 w 226"/>
                <a:gd name="T63" fmla="*/ 125 h 250"/>
                <a:gd name="T64" fmla="*/ 189 w 226"/>
                <a:gd name="T65" fmla="*/ 167 h 250"/>
                <a:gd name="T66" fmla="*/ 177 w 226"/>
                <a:gd name="T67" fmla="*/ 182 h 250"/>
                <a:gd name="T68" fmla="*/ 184 w 226"/>
                <a:gd name="T69" fmla="*/ 184 h 250"/>
                <a:gd name="T70" fmla="*/ 204 w 226"/>
                <a:gd name="T71" fmla="*/ 160 h 250"/>
                <a:gd name="T72" fmla="*/ 216 w 226"/>
                <a:gd name="T73" fmla="*/ 128 h 250"/>
                <a:gd name="T74" fmla="*/ 219 w 226"/>
                <a:gd name="T75" fmla="*/ 101 h 250"/>
                <a:gd name="T76" fmla="*/ 214 w 226"/>
                <a:gd name="T77" fmla="*/ 74 h 250"/>
                <a:gd name="T78" fmla="*/ 204 w 226"/>
                <a:gd name="T79" fmla="*/ 52 h 250"/>
                <a:gd name="T80" fmla="*/ 177 w 226"/>
                <a:gd name="T81" fmla="*/ 22 h 250"/>
                <a:gd name="T82" fmla="*/ 135 w 226"/>
                <a:gd name="T83" fmla="*/ 3 h 250"/>
                <a:gd name="T84" fmla="*/ 108 w 226"/>
                <a:gd name="T85" fmla="*/ 0 h 250"/>
                <a:gd name="T86" fmla="*/ 62 w 226"/>
                <a:gd name="T87" fmla="*/ 12 h 250"/>
                <a:gd name="T88" fmla="*/ 37 w 226"/>
                <a:gd name="T89" fmla="*/ 32 h 250"/>
                <a:gd name="T90" fmla="*/ 18 w 226"/>
                <a:gd name="T91" fmla="*/ 59 h 250"/>
                <a:gd name="T92" fmla="*/ 8 w 226"/>
                <a:gd name="T93" fmla="*/ 91 h 250"/>
                <a:gd name="T94" fmla="*/ 8 w 226"/>
                <a:gd name="T95" fmla="*/ 118 h 250"/>
                <a:gd name="T96" fmla="*/ 18 w 226"/>
                <a:gd name="T97" fmla="*/ 150 h 250"/>
                <a:gd name="T98" fmla="*/ 37 w 226"/>
                <a:gd name="T99" fmla="*/ 179 h 250"/>
                <a:gd name="T100" fmla="*/ 32 w 226"/>
                <a:gd name="T101" fmla="*/ 196 h 250"/>
                <a:gd name="T102" fmla="*/ 8 w 226"/>
                <a:gd name="T103" fmla="*/ 223 h 250"/>
                <a:gd name="T104" fmla="*/ 0 w 226"/>
                <a:gd name="T105" fmla="*/ 24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6" h="250">
                  <a:moveTo>
                    <a:pt x="0" y="248"/>
                  </a:moveTo>
                  <a:lnTo>
                    <a:pt x="0" y="248"/>
                  </a:lnTo>
                  <a:lnTo>
                    <a:pt x="0" y="250"/>
                  </a:lnTo>
                  <a:lnTo>
                    <a:pt x="3" y="250"/>
                  </a:lnTo>
                  <a:lnTo>
                    <a:pt x="5" y="250"/>
                  </a:lnTo>
                  <a:lnTo>
                    <a:pt x="224" y="250"/>
                  </a:lnTo>
                  <a:lnTo>
                    <a:pt x="226" y="250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6" y="245"/>
                  </a:lnTo>
                  <a:lnTo>
                    <a:pt x="226" y="243"/>
                  </a:lnTo>
                  <a:lnTo>
                    <a:pt x="226" y="238"/>
                  </a:lnTo>
                  <a:lnTo>
                    <a:pt x="224" y="233"/>
                  </a:lnTo>
                  <a:lnTo>
                    <a:pt x="221" y="228"/>
                  </a:lnTo>
                  <a:lnTo>
                    <a:pt x="219" y="223"/>
                  </a:lnTo>
                  <a:lnTo>
                    <a:pt x="216" y="221"/>
                  </a:lnTo>
                  <a:lnTo>
                    <a:pt x="214" y="216"/>
                  </a:lnTo>
                  <a:lnTo>
                    <a:pt x="206" y="209"/>
                  </a:lnTo>
                  <a:lnTo>
                    <a:pt x="204" y="204"/>
                  </a:lnTo>
                  <a:lnTo>
                    <a:pt x="201" y="201"/>
                  </a:lnTo>
                  <a:lnTo>
                    <a:pt x="192" y="194"/>
                  </a:lnTo>
                  <a:lnTo>
                    <a:pt x="182" y="189"/>
                  </a:lnTo>
                  <a:lnTo>
                    <a:pt x="182" y="187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91"/>
                  </a:lnTo>
                  <a:lnTo>
                    <a:pt x="175" y="191"/>
                  </a:lnTo>
                  <a:lnTo>
                    <a:pt x="177" y="191"/>
                  </a:lnTo>
                  <a:lnTo>
                    <a:pt x="175" y="191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82" y="199"/>
                  </a:lnTo>
                  <a:lnTo>
                    <a:pt x="189" y="204"/>
                  </a:lnTo>
                  <a:lnTo>
                    <a:pt x="194" y="209"/>
                  </a:lnTo>
                  <a:lnTo>
                    <a:pt x="197" y="211"/>
                  </a:lnTo>
                  <a:lnTo>
                    <a:pt x="201" y="216"/>
                  </a:lnTo>
                  <a:lnTo>
                    <a:pt x="206" y="223"/>
                  </a:lnTo>
                  <a:lnTo>
                    <a:pt x="209" y="228"/>
                  </a:lnTo>
                  <a:lnTo>
                    <a:pt x="214" y="233"/>
                  </a:lnTo>
                  <a:lnTo>
                    <a:pt x="216" y="240"/>
                  </a:lnTo>
                  <a:lnTo>
                    <a:pt x="10" y="240"/>
                  </a:lnTo>
                  <a:lnTo>
                    <a:pt x="13" y="236"/>
                  </a:lnTo>
                  <a:lnTo>
                    <a:pt x="15" y="231"/>
                  </a:lnTo>
                  <a:lnTo>
                    <a:pt x="18" y="228"/>
                  </a:lnTo>
                  <a:lnTo>
                    <a:pt x="18" y="223"/>
                  </a:lnTo>
                  <a:lnTo>
                    <a:pt x="20" y="221"/>
                  </a:lnTo>
                  <a:lnTo>
                    <a:pt x="25" y="216"/>
                  </a:lnTo>
                  <a:lnTo>
                    <a:pt x="30" y="211"/>
                  </a:lnTo>
                  <a:lnTo>
                    <a:pt x="32" y="209"/>
                  </a:lnTo>
                  <a:lnTo>
                    <a:pt x="37" y="204"/>
                  </a:lnTo>
                  <a:lnTo>
                    <a:pt x="45" y="199"/>
                  </a:lnTo>
                  <a:lnTo>
                    <a:pt x="49" y="196"/>
                  </a:lnTo>
                  <a:lnTo>
                    <a:pt x="49" y="194"/>
                  </a:lnTo>
                  <a:lnTo>
                    <a:pt x="52" y="191"/>
                  </a:lnTo>
                  <a:lnTo>
                    <a:pt x="57" y="194"/>
                  </a:lnTo>
                  <a:lnTo>
                    <a:pt x="64" y="199"/>
                  </a:lnTo>
                  <a:lnTo>
                    <a:pt x="69" y="201"/>
                  </a:lnTo>
                  <a:lnTo>
                    <a:pt x="76" y="206"/>
                  </a:lnTo>
                  <a:lnTo>
                    <a:pt x="86" y="209"/>
                  </a:lnTo>
                  <a:lnTo>
                    <a:pt x="94" y="209"/>
                  </a:lnTo>
                  <a:lnTo>
                    <a:pt x="101" y="211"/>
                  </a:lnTo>
                  <a:lnTo>
                    <a:pt x="106" y="211"/>
                  </a:lnTo>
                  <a:lnTo>
                    <a:pt x="113" y="211"/>
                  </a:lnTo>
                  <a:lnTo>
                    <a:pt x="125" y="211"/>
                  </a:lnTo>
                  <a:lnTo>
                    <a:pt x="128" y="211"/>
                  </a:lnTo>
                  <a:lnTo>
                    <a:pt x="140" y="209"/>
                  </a:lnTo>
                  <a:lnTo>
                    <a:pt x="148" y="206"/>
                  </a:lnTo>
                  <a:lnTo>
                    <a:pt x="150" y="204"/>
                  </a:lnTo>
                  <a:lnTo>
                    <a:pt x="162" y="199"/>
                  </a:lnTo>
                  <a:lnTo>
                    <a:pt x="165" y="199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2" y="191"/>
                  </a:lnTo>
                  <a:lnTo>
                    <a:pt x="175" y="189"/>
                  </a:lnTo>
                  <a:lnTo>
                    <a:pt x="172" y="189"/>
                  </a:lnTo>
                  <a:lnTo>
                    <a:pt x="172" y="187"/>
                  </a:lnTo>
                  <a:lnTo>
                    <a:pt x="172" y="187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57" y="191"/>
                  </a:lnTo>
                  <a:lnTo>
                    <a:pt x="155" y="194"/>
                  </a:lnTo>
                  <a:lnTo>
                    <a:pt x="145" y="196"/>
                  </a:lnTo>
                  <a:lnTo>
                    <a:pt x="135" y="199"/>
                  </a:lnTo>
                  <a:lnTo>
                    <a:pt x="123" y="201"/>
                  </a:lnTo>
                  <a:lnTo>
                    <a:pt x="116" y="201"/>
                  </a:lnTo>
                  <a:lnTo>
                    <a:pt x="108" y="201"/>
                  </a:lnTo>
                  <a:lnTo>
                    <a:pt x="103" y="201"/>
                  </a:lnTo>
                  <a:lnTo>
                    <a:pt x="99" y="201"/>
                  </a:lnTo>
                  <a:lnTo>
                    <a:pt x="94" y="201"/>
                  </a:lnTo>
                  <a:lnTo>
                    <a:pt x="84" y="199"/>
                  </a:lnTo>
                  <a:lnTo>
                    <a:pt x="79" y="196"/>
                  </a:lnTo>
                  <a:lnTo>
                    <a:pt x="72" y="191"/>
                  </a:lnTo>
                  <a:lnTo>
                    <a:pt x="67" y="191"/>
                  </a:lnTo>
                  <a:lnTo>
                    <a:pt x="64" y="189"/>
                  </a:lnTo>
                  <a:lnTo>
                    <a:pt x="54" y="182"/>
                  </a:lnTo>
                  <a:lnTo>
                    <a:pt x="52" y="179"/>
                  </a:lnTo>
                  <a:lnTo>
                    <a:pt x="45" y="174"/>
                  </a:lnTo>
                  <a:lnTo>
                    <a:pt x="42" y="169"/>
                  </a:lnTo>
                  <a:lnTo>
                    <a:pt x="40" y="167"/>
                  </a:lnTo>
                  <a:lnTo>
                    <a:pt x="32" y="160"/>
                  </a:lnTo>
                  <a:lnTo>
                    <a:pt x="27" y="152"/>
                  </a:lnTo>
                  <a:lnTo>
                    <a:pt x="25" y="142"/>
                  </a:lnTo>
                  <a:lnTo>
                    <a:pt x="20" y="135"/>
                  </a:lnTo>
                  <a:lnTo>
                    <a:pt x="20" y="130"/>
                  </a:lnTo>
                  <a:lnTo>
                    <a:pt x="18" y="125"/>
                  </a:lnTo>
                  <a:lnTo>
                    <a:pt x="18" y="115"/>
                  </a:lnTo>
                  <a:lnTo>
                    <a:pt x="18" y="111"/>
                  </a:lnTo>
                  <a:lnTo>
                    <a:pt x="15" y="106"/>
                  </a:lnTo>
                  <a:lnTo>
                    <a:pt x="18" y="101"/>
                  </a:lnTo>
                  <a:lnTo>
                    <a:pt x="18" y="91"/>
                  </a:lnTo>
                  <a:lnTo>
                    <a:pt x="18" y="86"/>
                  </a:lnTo>
                  <a:lnTo>
                    <a:pt x="20" y="81"/>
                  </a:lnTo>
                  <a:lnTo>
                    <a:pt x="20" y="76"/>
                  </a:lnTo>
                  <a:lnTo>
                    <a:pt x="25" y="69"/>
                  </a:lnTo>
                  <a:lnTo>
                    <a:pt x="27" y="59"/>
                  </a:lnTo>
                  <a:lnTo>
                    <a:pt x="32" y="52"/>
                  </a:lnTo>
                  <a:lnTo>
                    <a:pt x="37" y="44"/>
                  </a:lnTo>
                  <a:lnTo>
                    <a:pt x="42" y="42"/>
                  </a:lnTo>
                  <a:lnTo>
                    <a:pt x="45" y="37"/>
                  </a:lnTo>
                  <a:lnTo>
                    <a:pt x="47" y="35"/>
                  </a:lnTo>
                  <a:lnTo>
                    <a:pt x="52" y="32"/>
                  </a:lnTo>
                  <a:lnTo>
                    <a:pt x="54" y="30"/>
                  </a:lnTo>
                  <a:lnTo>
                    <a:pt x="64" y="22"/>
                  </a:lnTo>
                  <a:lnTo>
                    <a:pt x="67" y="20"/>
                  </a:lnTo>
                  <a:lnTo>
                    <a:pt x="72" y="20"/>
                  </a:lnTo>
                  <a:lnTo>
                    <a:pt x="79" y="15"/>
                  </a:lnTo>
                  <a:lnTo>
                    <a:pt x="84" y="15"/>
                  </a:lnTo>
                  <a:lnTo>
                    <a:pt x="94" y="12"/>
                  </a:lnTo>
                  <a:lnTo>
                    <a:pt x="99" y="10"/>
                  </a:lnTo>
                  <a:lnTo>
                    <a:pt x="103" y="10"/>
                  </a:lnTo>
                  <a:lnTo>
                    <a:pt x="108" y="10"/>
                  </a:lnTo>
                  <a:lnTo>
                    <a:pt x="113" y="10"/>
                  </a:lnTo>
                  <a:lnTo>
                    <a:pt x="118" y="10"/>
                  </a:lnTo>
                  <a:lnTo>
                    <a:pt x="123" y="10"/>
                  </a:lnTo>
                  <a:lnTo>
                    <a:pt x="128" y="10"/>
                  </a:lnTo>
                  <a:lnTo>
                    <a:pt x="133" y="12"/>
                  </a:lnTo>
                  <a:lnTo>
                    <a:pt x="143" y="15"/>
                  </a:lnTo>
                  <a:lnTo>
                    <a:pt x="148" y="15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72" y="30"/>
                  </a:lnTo>
                  <a:lnTo>
                    <a:pt x="179" y="35"/>
                  </a:lnTo>
                  <a:lnTo>
                    <a:pt x="184" y="42"/>
                  </a:lnTo>
                  <a:lnTo>
                    <a:pt x="187" y="44"/>
                  </a:lnTo>
                  <a:lnTo>
                    <a:pt x="194" y="52"/>
                  </a:lnTo>
                  <a:lnTo>
                    <a:pt x="199" y="59"/>
                  </a:lnTo>
                  <a:lnTo>
                    <a:pt x="201" y="69"/>
                  </a:lnTo>
                  <a:lnTo>
                    <a:pt x="206" y="76"/>
                  </a:lnTo>
                  <a:lnTo>
                    <a:pt x="209" y="86"/>
                  </a:lnTo>
                  <a:lnTo>
                    <a:pt x="209" y="91"/>
                  </a:lnTo>
                  <a:lnTo>
                    <a:pt x="209" y="101"/>
                  </a:lnTo>
                  <a:lnTo>
                    <a:pt x="209" y="106"/>
                  </a:lnTo>
                  <a:lnTo>
                    <a:pt x="209" y="111"/>
                  </a:lnTo>
                  <a:lnTo>
                    <a:pt x="209" y="120"/>
                  </a:lnTo>
                  <a:lnTo>
                    <a:pt x="209" y="125"/>
                  </a:lnTo>
                  <a:lnTo>
                    <a:pt x="206" y="135"/>
                  </a:lnTo>
                  <a:lnTo>
                    <a:pt x="201" y="145"/>
                  </a:lnTo>
                  <a:lnTo>
                    <a:pt x="197" y="155"/>
                  </a:lnTo>
                  <a:lnTo>
                    <a:pt x="192" y="162"/>
                  </a:lnTo>
                  <a:lnTo>
                    <a:pt x="189" y="167"/>
                  </a:lnTo>
                  <a:lnTo>
                    <a:pt x="184" y="169"/>
                  </a:lnTo>
                  <a:lnTo>
                    <a:pt x="177" y="179"/>
                  </a:lnTo>
                  <a:lnTo>
                    <a:pt x="177" y="179"/>
                  </a:lnTo>
                  <a:lnTo>
                    <a:pt x="175" y="182"/>
                  </a:lnTo>
                  <a:lnTo>
                    <a:pt x="177" y="182"/>
                  </a:lnTo>
                  <a:lnTo>
                    <a:pt x="177" y="184"/>
                  </a:lnTo>
                  <a:lnTo>
                    <a:pt x="177" y="184"/>
                  </a:lnTo>
                  <a:lnTo>
                    <a:pt x="179" y="187"/>
                  </a:lnTo>
                  <a:lnTo>
                    <a:pt x="182" y="187"/>
                  </a:lnTo>
                  <a:lnTo>
                    <a:pt x="184" y="184"/>
                  </a:lnTo>
                  <a:lnTo>
                    <a:pt x="187" y="182"/>
                  </a:lnTo>
                  <a:lnTo>
                    <a:pt x="197" y="172"/>
                  </a:lnTo>
                  <a:lnTo>
                    <a:pt x="199" y="169"/>
                  </a:lnTo>
                  <a:lnTo>
                    <a:pt x="201" y="164"/>
                  </a:lnTo>
                  <a:lnTo>
                    <a:pt x="204" y="160"/>
                  </a:lnTo>
                  <a:lnTo>
                    <a:pt x="209" y="155"/>
                  </a:lnTo>
                  <a:lnTo>
                    <a:pt x="211" y="145"/>
                  </a:lnTo>
                  <a:lnTo>
                    <a:pt x="214" y="140"/>
                  </a:lnTo>
                  <a:lnTo>
                    <a:pt x="216" y="133"/>
                  </a:lnTo>
                  <a:lnTo>
                    <a:pt x="216" y="128"/>
                  </a:lnTo>
                  <a:lnTo>
                    <a:pt x="219" y="123"/>
                  </a:lnTo>
                  <a:lnTo>
                    <a:pt x="219" y="118"/>
                  </a:lnTo>
                  <a:lnTo>
                    <a:pt x="219" y="111"/>
                  </a:lnTo>
                  <a:lnTo>
                    <a:pt x="219" y="106"/>
                  </a:lnTo>
                  <a:lnTo>
                    <a:pt x="219" y="101"/>
                  </a:lnTo>
                  <a:lnTo>
                    <a:pt x="219" y="96"/>
                  </a:lnTo>
                  <a:lnTo>
                    <a:pt x="219" y="88"/>
                  </a:lnTo>
                  <a:lnTo>
                    <a:pt x="216" y="84"/>
                  </a:lnTo>
                  <a:lnTo>
                    <a:pt x="216" y="79"/>
                  </a:lnTo>
                  <a:lnTo>
                    <a:pt x="214" y="74"/>
                  </a:lnTo>
                  <a:lnTo>
                    <a:pt x="214" y="69"/>
                  </a:lnTo>
                  <a:lnTo>
                    <a:pt x="211" y="64"/>
                  </a:lnTo>
                  <a:lnTo>
                    <a:pt x="209" y="59"/>
                  </a:lnTo>
                  <a:lnTo>
                    <a:pt x="206" y="57"/>
                  </a:lnTo>
                  <a:lnTo>
                    <a:pt x="204" y="52"/>
                  </a:lnTo>
                  <a:lnTo>
                    <a:pt x="201" y="47"/>
                  </a:lnTo>
                  <a:lnTo>
                    <a:pt x="194" y="39"/>
                  </a:lnTo>
                  <a:lnTo>
                    <a:pt x="189" y="32"/>
                  </a:lnTo>
                  <a:lnTo>
                    <a:pt x="182" y="25"/>
                  </a:lnTo>
                  <a:lnTo>
                    <a:pt x="177" y="22"/>
                  </a:lnTo>
                  <a:lnTo>
                    <a:pt x="172" y="17"/>
                  </a:lnTo>
                  <a:lnTo>
                    <a:pt x="165" y="12"/>
                  </a:lnTo>
                  <a:lnTo>
                    <a:pt x="155" y="8"/>
                  </a:lnTo>
                  <a:lnTo>
                    <a:pt x="145" y="5"/>
                  </a:lnTo>
                  <a:lnTo>
                    <a:pt x="135" y="3"/>
                  </a:lnTo>
                  <a:lnTo>
                    <a:pt x="130" y="0"/>
                  </a:lnTo>
                  <a:lnTo>
                    <a:pt x="123" y="0"/>
                  </a:lnTo>
                  <a:lnTo>
                    <a:pt x="118" y="0"/>
                  </a:lnTo>
                  <a:lnTo>
                    <a:pt x="113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6" y="3"/>
                  </a:lnTo>
                  <a:lnTo>
                    <a:pt x="81" y="5"/>
                  </a:lnTo>
                  <a:lnTo>
                    <a:pt x="72" y="8"/>
                  </a:lnTo>
                  <a:lnTo>
                    <a:pt x="62" y="12"/>
                  </a:lnTo>
                  <a:lnTo>
                    <a:pt x="57" y="15"/>
                  </a:lnTo>
                  <a:lnTo>
                    <a:pt x="54" y="17"/>
                  </a:lnTo>
                  <a:lnTo>
                    <a:pt x="45" y="25"/>
                  </a:lnTo>
                  <a:lnTo>
                    <a:pt x="42" y="27"/>
                  </a:lnTo>
                  <a:lnTo>
                    <a:pt x="37" y="32"/>
                  </a:lnTo>
                  <a:lnTo>
                    <a:pt x="32" y="39"/>
                  </a:lnTo>
                  <a:lnTo>
                    <a:pt x="25" y="47"/>
                  </a:lnTo>
                  <a:lnTo>
                    <a:pt x="23" y="52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5" y="64"/>
                  </a:lnTo>
                  <a:lnTo>
                    <a:pt x="13" y="69"/>
                  </a:lnTo>
                  <a:lnTo>
                    <a:pt x="13" y="74"/>
                  </a:lnTo>
                  <a:lnTo>
                    <a:pt x="8" y="84"/>
                  </a:lnTo>
                  <a:lnTo>
                    <a:pt x="8" y="91"/>
                  </a:lnTo>
                  <a:lnTo>
                    <a:pt x="8" y="96"/>
                  </a:lnTo>
                  <a:lnTo>
                    <a:pt x="8" y="101"/>
                  </a:lnTo>
                  <a:lnTo>
                    <a:pt x="8" y="106"/>
                  </a:lnTo>
                  <a:lnTo>
                    <a:pt x="8" y="111"/>
                  </a:lnTo>
                  <a:lnTo>
                    <a:pt x="8" y="118"/>
                  </a:lnTo>
                  <a:lnTo>
                    <a:pt x="8" y="123"/>
                  </a:lnTo>
                  <a:lnTo>
                    <a:pt x="10" y="128"/>
                  </a:lnTo>
                  <a:lnTo>
                    <a:pt x="10" y="135"/>
                  </a:lnTo>
                  <a:lnTo>
                    <a:pt x="13" y="140"/>
                  </a:lnTo>
                  <a:lnTo>
                    <a:pt x="18" y="150"/>
                  </a:lnTo>
                  <a:lnTo>
                    <a:pt x="20" y="155"/>
                  </a:lnTo>
                  <a:lnTo>
                    <a:pt x="23" y="160"/>
                  </a:lnTo>
                  <a:lnTo>
                    <a:pt x="25" y="164"/>
                  </a:lnTo>
                  <a:lnTo>
                    <a:pt x="27" y="169"/>
                  </a:lnTo>
                  <a:lnTo>
                    <a:pt x="37" y="179"/>
                  </a:lnTo>
                  <a:lnTo>
                    <a:pt x="40" y="182"/>
                  </a:lnTo>
                  <a:lnTo>
                    <a:pt x="47" y="187"/>
                  </a:lnTo>
                  <a:lnTo>
                    <a:pt x="37" y="191"/>
                  </a:lnTo>
                  <a:lnTo>
                    <a:pt x="35" y="194"/>
                  </a:lnTo>
                  <a:lnTo>
                    <a:pt x="32" y="196"/>
                  </a:lnTo>
                  <a:lnTo>
                    <a:pt x="20" y="206"/>
                  </a:lnTo>
                  <a:lnTo>
                    <a:pt x="18" y="211"/>
                  </a:lnTo>
                  <a:lnTo>
                    <a:pt x="15" y="213"/>
                  </a:lnTo>
                  <a:lnTo>
                    <a:pt x="13" y="216"/>
                  </a:lnTo>
                  <a:lnTo>
                    <a:pt x="8" y="223"/>
                  </a:lnTo>
                  <a:lnTo>
                    <a:pt x="3" y="233"/>
                  </a:lnTo>
                  <a:lnTo>
                    <a:pt x="3" y="236"/>
                  </a:lnTo>
                  <a:lnTo>
                    <a:pt x="0" y="243"/>
                  </a:lnTo>
                  <a:lnTo>
                    <a:pt x="0" y="245"/>
                  </a:lnTo>
                  <a:lnTo>
                    <a:pt x="0" y="248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8">
              <a:extLst>
                <a:ext uri="{FF2B5EF4-FFF2-40B4-BE49-F238E27FC236}">
                  <a16:creationId xmlns:a16="http://schemas.microsoft.com/office/drawing/2014/main" id="{083333C3-6B2C-470B-8BCC-9D94BC465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2" y="1355"/>
              <a:ext cx="57" cy="56"/>
            </a:xfrm>
            <a:custGeom>
              <a:avLst/>
              <a:gdLst>
                <a:gd name="T0" fmla="*/ 54 w 57"/>
                <a:gd name="T1" fmla="*/ 2 h 56"/>
                <a:gd name="T2" fmla="*/ 54 w 57"/>
                <a:gd name="T3" fmla="*/ 2 h 56"/>
                <a:gd name="T4" fmla="*/ 52 w 57"/>
                <a:gd name="T5" fmla="*/ 0 h 56"/>
                <a:gd name="T6" fmla="*/ 52 w 57"/>
                <a:gd name="T7" fmla="*/ 0 h 56"/>
                <a:gd name="T8" fmla="*/ 49 w 57"/>
                <a:gd name="T9" fmla="*/ 0 h 56"/>
                <a:gd name="T10" fmla="*/ 44 w 57"/>
                <a:gd name="T11" fmla="*/ 2 h 56"/>
                <a:gd name="T12" fmla="*/ 40 w 57"/>
                <a:gd name="T13" fmla="*/ 2 h 56"/>
                <a:gd name="T14" fmla="*/ 30 w 57"/>
                <a:gd name="T15" fmla="*/ 5 h 56"/>
                <a:gd name="T16" fmla="*/ 22 w 57"/>
                <a:gd name="T17" fmla="*/ 9 h 56"/>
                <a:gd name="T18" fmla="*/ 20 w 57"/>
                <a:gd name="T19" fmla="*/ 12 h 56"/>
                <a:gd name="T20" fmla="*/ 13 w 57"/>
                <a:gd name="T21" fmla="*/ 19 h 56"/>
                <a:gd name="T22" fmla="*/ 10 w 57"/>
                <a:gd name="T23" fmla="*/ 22 h 56"/>
                <a:gd name="T24" fmla="*/ 10 w 57"/>
                <a:gd name="T25" fmla="*/ 22 h 56"/>
                <a:gd name="T26" fmla="*/ 8 w 57"/>
                <a:gd name="T27" fmla="*/ 27 h 56"/>
                <a:gd name="T28" fmla="*/ 5 w 57"/>
                <a:gd name="T29" fmla="*/ 29 h 56"/>
                <a:gd name="T30" fmla="*/ 3 w 57"/>
                <a:gd name="T31" fmla="*/ 36 h 56"/>
                <a:gd name="T32" fmla="*/ 3 w 57"/>
                <a:gd name="T33" fmla="*/ 39 h 56"/>
                <a:gd name="T34" fmla="*/ 0 w 57"/>
                <a:gd name="T35" fmla="*/ 44 h 56"/>
                <a:gd name="T36" fmla="*/ 0 w 57"/>
                <a:gd name="T37" fmla="*/ 49 h 56"/>
                <a:gd name="T38" fmla="*/ 0 w 57"/>
                <a:gd name="T39" fmla="*/ 51 h 56"/>
                <a:gd name="T40" fmla="*/ 3 w 57"/>
                <a:gd name="T41" fmla="*/ 54 h 56"/>
                <a:gd name="T42" fmla="*/ 3 w 57"/>
                <a:gd name="T43" fmla="*/ 54 h 56"/>
                <a:gd name="T44" fmla="*/ 5 w 57"/>
                <a:gd name="T45" fmla="*/ 56 h 56"/>
                <a:gd name="T46" fmla="*/ 8 w 57"/>
                <a:gd name="T47" fmla="*/ 56 h 56"/>
                <a:gd name="T48" fmla="*/ 8 w 57"/>
                <a:gd name="T49" fmla="*/ 54 h 56"/>
                <a:gd name="T50" fmla="*/ 10 w 57"/>
                <a:gd name="T51" fmla="*/ 54 h 56"/>
                <a:gd name="T52" fmla="*/ 10 w 57"/>
                <a:gd name="T53" fmla="*/ 51 h 56"/>
                <a:gd name="T54" fmla="*/ 10 w 57"/>
                <a:gd name="T55" fmla="*/ 49 h 56"/>
                <a:gd name="T56" fmla="*/ 10 w 57"/>
                <a:gd name="T57" fmla="*/ 46 h 56"/>
                <a:gd name="T58" fmla="*/ 13 w 57"/>
                <a:gd name="T59" fmla="*/ 41 h 56"/>
                <a:gd name="T60" fmla="*/ 13 w 57"/>
                <a:gd name="T61" fmla="*/ 34 h 56"/>
                <a:gd name="T62" fmla="*/ 15 w 57"/>
                <a:gd name="T63" fmla="*/ 34 h 56"/>
                <a:gd name="T64" fmla="*/ 17 w 57"/>
                <a:gd name="T65" fmla="*/ 29 h 56"/>
                <a:gd name="T66" fmla="*/ 20 w 57"/>
                <a:gd name="T67" fmla="*/ 24 h 56"/>
                <a:gd name="T68" fmla="*/ 22 w 57"/>
                <a:gd name="T69" fmla="*/ 22 h 56"/>
                <a:gd name="T70" fmla="*/ 25 w 57"/>
                <a:gd name="T71" fmla="*/ 19 h 56"/>
                <a:gd name="T72" fmla="*/ 27 w 57"/>
                <a:gd name="T73" fmla="*/ 17 h 56"/>
                <a:gd name="T74" fmla="*/ 35 w 57"/>
                <a:gd name="T75" fmla="*/ 14 h 56"/>
                <a:gd name="T76" fmla="*/ 37 w 57"/>
                <a:gd name="T77" fmla="*/ 12 h 56"/>
                <a:gd name="T78" fmla="*/ 42 w 57"/>
                <a:gd name="T79" fmla="*/ 12 h 56"/>
                <a:gd name="T80" fmla="*/ 44 w 57"/>
                <a:gd name="T81" fmla="*/ 9 h 56"/>
                <a:gd name="T82" fmla="*/ 52 w 57"/>
                <a:gd name="T83" fmla="*/ 9 h 56"/>
                <a:gd name="T84" fmla="*/ 54 w 57"/>
                <a:gd name="T85" fmla="*/ 9 h 56"/>
                <a:gd name="T86" fmla="*/ 54 w 57"/>
                <a:gd name="T87" fmla="*/ 7 h 56"/>
                <a:gd name="T88" fmla="*/ 57 w 57"/>
                <a:gd name="T89" fmla="*/ 7 h 56"/>
                <a:gd name="T90" fmla="*/ 57 w 57"/>
                <a:gd name="T91" fmla="*/ 7 h 56"/>
                <a:gd name="T92" fmla="*/ 57 w 57"/>
                <a:gd name="T93" fmla="*/ 5 h 56"/>
                <a:gd name="T94" fmla="*/ 57 w 57"/>
                <a:gd name="T95" fmla="*/ 2 h 56"/>
                <a:gd name="T96" fmla="*/ 54 w 57"/>
                <a:gd name="T97" fmla="*/ 2 h 56"/>
                <a:gd name="T98" fmla="*/ 54 w 57"/>
                <a:gd name="T99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56">
                  <a:moveTo>
                    <a:pt x="54" y="2"/>
                  </a:moveTo>
                  <a:lnTo>
                    <a:pt x="54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20" y="12"/>
                  </a:lnTo>
                  <a:lnTo>
                    <a:pt x="13" y="19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7"/>
                  </a:lnTo>
                  <a:lnTo>
                    <a:pt x="5" y="29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0" y="46"/>
                  </a:lnTo>
                  <a:lnTo>
                    <a:pt x="13" y="41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7" y="29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5" y="19"/>
                  </a:lnTo>
                  <a:lnTo>
                    <a:pt x="27" y="17"/>
                  </a:lnTo>
                  <a:lnTo>
                    <a:pt x="35" y="14"/>
                  </a:lnTo>
                  <a:lnTo>
                    <a:pt x="37" y="12"/>
                  </a:lnTo>
                  <a:lnTo>
                    <a:pt x="42" y="12"/>
                  </a:lnTo>
                  <a:lnTo>
                    <a:pt x="44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9">
              <a:extLst>
                <a:ext uri="{FF2B5EF4-FFF2-40B4-BE49-F238E27FC236}">
                  <a16:creationId xmlns:a16="http://schemas.microsoft.com/office/drawing/2014/main" id="{C66E7E10-A646-411E-8A9B-548EB596F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5" y="1338"/>
              <a:ext cx="142" cy="142"/>
            </a:xfrm>
            <a:custGeom>
              <a:avLst/>
              <a:gdLst>
                <a:gd name="T0" fmla="*/ 130 w 142"/>
                <a:gd name="T1" fmla="*/ 85 h 142"/>
                <a:gd name="T2" fmla="*/ 128 w 142"/>
                <a:gd name="T3" fmla="*/ 98 h 142"/>
                <a:gd name="T4" fmla="*/ 123 w 142"/>
                <a:gd name="T5" fmla="*/ 105 h 142"/>
                <a:gd name="T6" fmla="*/ 113 w 142"/>
                <a:gd name="T7" fmla="*/ 117 h 142"/>
                <a:gd name="T8" fmla="*/ 101 w 142"/>
                <a:gd name="T9" fmla="*/ 125 h 142"/>
                <a:gd name="T10" fmla="*/ 86 w 142"/>
                <a:gd name="T11" fmla="*/ 129 h 142"/>
                <a:gd name="T12" fmla="*/ 71 w 142"/>
                <a:gd name="T13" fmla="*/ 132 h 142"/>
                <a:gd name="T14" fmla="*/ 57 w 142"/>
                <a:gd name="T15" fmla="*/ 129 h 142"/>
                <a:gd name="T16" fmla="*/ 37 w 142"/>
                <a:gd name="T17" fmla="*/ 122 h 142"/>
                <a:gd name="T18" fmla="*/ 22 w 142"/>
                <a:gd name="T19" fmla="*/ 107 h 142"/>
                <a:gd name="T20" fmla="*/ 12 w 142"/>
                <a:gd name="T21" fmla="*/ 85 h 142"/>
                <a:gd name="T22" fmla="*/ 10 w 142"/>
                <a:gd name="T23" fmla="*/ 63 h 142"/>
                <a:gd name="T24" fmla="*/ 17 w 142"/>
                <a:gd name="T25" fmla="*/ 39 h 142"/>
                <a:gd name="T26" fmla="*/ 30 w 142"/>
                <a:gd name="T27" fmla="*/ 24 h 142"/>
                <a:gd name="T28" fmla="*/ 42 w 142"/>
                <a:gd name="T29" fmla="*/ 17 h 142"/>
                <a:gd name="T30" fmla="*/ 57 w 142"/>
                <a:gd name="T31" fmla="*/ 12 h 142"/>
                <a:gd name="T32" fmla="*/ 71 w 142"/>
                <a:gd name="T33" fmla="*/ 9 h 142"/>
                <a:gd name="T34" fmla="*/ 86 w 142"/>
                <a:gd name="T35" fmla="*/ 12 h 142"/>
                <a:gd name="T36" fmla="*/ 108 w 142"/>
                <a:gd name="T37" fmla="*/ 22 h 142"/>
                <a:gd name="T38" fmla="*/ 120 w 142"/>
                <a:gd name="T39" fmla="*/ 34 h 142"/>
                <a:gd name="T40" fmla="*/ 125 w 142"/>
                <a:gd name="T41" fmla="*/ 41 h 142"/>
                <a:gd name="T42" fmla="*/ 130 w 142"/>
                <a:gd name="T43" fmla="*/ 53 h 142"/>
                <a:gd name="T44" fmla="*/ 133 w 142"/>
                <a:gd name="T45" fmla="*/ 71 h 142"/>
                <a:gd name="T46" fmla="*/ 142 w 142"/>
                <a:gd name="T47" fmla="*/ 80 h 142"/>
                <a:gd name="T48" fmla="*/ 142 w 142"/>
                <a:gd name="T49" fmla="*/ 61 h 142"/>
                <a:gd name="T50" fmla="*/ 135 w 142"/>
                <a:gd name="T51" fmla="*/ 39 h 142"/>
                <a:gd name="T52" fmla="*/ 123 w 142"/>
                <a:gd name="T53" fmla="*/ 22 h 142"/>
                <a:gd name="T54" fmla="*/ 108 w 142"/>
                <a:gd name="T55" fmla="*/ 9 h 142"/>
                <a:gd name="T56" fmla="*/ 96 w 142"/>
                <a:gd name="T57" fmla="*/ 4 h 142"/>
                <a:gd name="T58" fmla="*/ 81 w 142"/>
                <a:gd name="T59" fmla="*/ 0 h 142"/>
                <a:gd name="T60" fmla="*/ 64 w 142"/>
                <a:gd name="T61" fmla="*/ 0 h 142"/>
                <a:gd name="T62" fmla="*/ 44 w 142"/>
                <a:gd name="T63" fmla="*/ 4 h 142"/>
                <a:gd name="T64" fmla="*/ 20 w 142"/>
                <a:gd name="T65" fmla="*/ 22 h 142"/>
                <a:gd name="T66" fmla="*/ 12 w 142"/>
                <a:gd name="T67" fmla="*/ 31 h 142"/>
                <a:gd name="T68" fmla="*/ 3 w 142"/>
                <a:gd name="T69" fmla="*/ 53 h 142"/>
                <a:gd name="T70" fmla="*/ 0 w 142"/>
                <a:gd name="T71" fmla="*/ 76 h 142"/>
                <a:gd name="T72" fmla="*/ 5 w 142"/>
                <a:gd name="T73" fmla="*/ 98 h 142"/>
                <a:gd name="T74" fmla="*/ 12 w 142"/>
                <a:gd name="T75" fmla="*/ 110 h 142"/>
                <a:gd name="T76" fmla="*/ 22 w 142"/>
                <a:gd name="T77" fmla="*/ 125 h 142"/>
                <a:gd name="T78" fmla="*/ 34 w 142"/>
                <a:gd name="T79" fmla="*/ 132 h 142"/>
                <a:gd name="T80" fmla="*/ 47 w 142"/>
                <a:gd name="T81" fmla="*/ 137 h 142"/>
                <a:gd name="T82" fmla="*/ 69 w 142"/>
                <a:gd name="T83" fmla="*/ 142 h 142"/>
                <a:gd name="T84" fmla="*/ 86 w 142"/>
                <a:gd name="T85" fmla="*/ 139 h 142"/>
                <a:gd name="T86" fmla="*/ 98 w 142"/>
                <a:gd name="T87" fmla="*/ 137 h 142"/>
                <a:gd name="T88" fmla="*/ 115 w 142"/>
                <a:gd name="T89" fmla="*/ 125 h 142"/>
                <a:gd name="T90" fmla="*/ 128 w 142"/>
                <a:gd name="T91" fmla="*/ 115 h 142"/>
                <a:gd name="T92" fmla="*/ 137 w 142"/>
                <a:gd name="T93" fmla="*/ 9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" h="142">
                  <a:moveTo>
                    <a:pt x="133" y="78"/>
                  </a:moveTo>
                  <a:lnTo>
                    <a:pt x="133" y="80"/>
                  </a:lnTo>
                  <a:lnTo>
                    <a:pt x="130" y="85"/>
                  </a:lnTo>
                  <a:lnTo>
                    <a:pt x="130" y="93"/>
                  </a:lnTo>
                  <a:lnTo>
                    <a:pt x="128" y="95"/>
                  </a:lnTo>
                  <a:lnTo>
                    <a:pt x="128" y="98"/>
                  </a:lnTo>
                  <a:lnTo>
                    <a:pt x="125" y="100"/>
                  </a:lnTo>
                  <a:lnTo>
                    <a:pt x="125" y="102"/>
                  </a:lnTo>
                  <a:lnTo>
                    <a:pt x="123" y="105"/>
                  </a:lnTo>
                  <a:lnTo>
                    <a:pt x="120" y="107"/>
                  </a:lnTo>
                  <a:lnTo>
                    <a:pt x="118" y="112"/>
                  </a:lnTo>
                  <a:lnTo>
                    <a:pt x="113" y="117"/>
                  </a:lnTo>
                  <a:lnTo>
                    <a:pt x="110" y="117"/>
                  </a:lnTo>
                  <a:lnTo>
                    <a:pt x="106" y="122"/>
                  </a:lnTo>
                  <a:lnTo>
                    <a:pt x="101" y="125"/>
                  </a:lnTo>
                  <a:lnTo>
                    <a:pt x="98" y="127"/>
                  </a:lnTo>
                  <a:lnTo>
                    <a:pt x="91" y="129"/>
                  </a:lnTo>
                  <a:lnTo>
                    <a:pt x="86" y="129"/>
                  </a:lnTo>
                  <a:lnTo>
                    <a:pt x="83" y="132"/>
                  </a:lnTo>
                  <a:lnTo>
                    <a:pt x="79" y="132"/>
                  </a:lnTo>
                  <a:lnTo>
                    <a:pt x="71" y="132"/>
                  </a:lnTo>
                  <a:lnTo>
                    <a:pt x="64" y="132"/>
                  </a:lnTo>
                  <a:lnTo>
                    <a:pt x="59" y="132"/>
                  </a:lnTo>
                  <a:lnTo>
                    <a:pt x="57" y="129"/>
                  </a:lnTo>
                  <a:lnTo>
                    <a:pt x="49" y="129"/>
                  </a:lnTo>
                  <a:lnTo>
                    <a:pt x="44" y="127"/>
                  </a:lnTo>
                  <a:lnTo>
                    <a:pt x="37" y="122"/>
                  </a:lnTo>
                  <a:lnTo>
                    <a:pt x="30" y="117"/>
                  </a:lnTo>
                  <a:lnTo>
                    <a:pt x="25" y="112"/>
                  </a:lnTo>
                  <a:lnTo>
                    <a:pt x="22" y="107"/>
                  </a:lnTo>
                  <a:lnTo>
                    <a:pt x="17" y="102"/>
                  </a:lnTo>
                  <a:lnTo>
                    <a:pt x="15" y="95"/>
                  </a:lnTo>
                  <a:lnTo>
                    <a:pt x="12" y="85"/>
                  </a:lnTo>
                  <a:lnTo>
                    <a:pt x="10" y="78"/>
                  </a:lnTo>
                  <a:lnTo>
                    <a:pt x="10" y="71"/>
                  </a:lnTo>
                  <a:lnTo>
                    <a:pt x="10" y="63"/>
                  </a:lnTo>
                  <a:lnTo>
                    <a:pt x="12" y="56"/>
                  </a:lnTo>
                  <a:lnTo>
                    <a:pt x="15" y="46"/>
                  </a:lnTo>
                  <a:lnTo>
                    <a:pt x="17" y="39"/>
                  </a:lnTo>
                  <a:lnTo>
                    <a:pt x="22" y="34"/>
                  </a:lnTo>
                  <a:lnTo>
                    <a:pt x="25" y="29"/>
                  </a:lnTo>
                  <a:lnTo>
                    <a:pt x="30" y="24"/>
                  </a:lnTo>
                  <a:lnTo>
                    <a:pt x="34" y="22"/>
                  </a:lnTo>
                  <a:lnTo>
                    <a:pt x="39" y="19"/>
                  </a:lnTo>
                  <a:lnTo>
                    <a:pt x="42" y="17"/>
                  </a:lnTo>
                  <a:lnTo>
                    <a:pt x="47" y="14"/>
                  </a:lnTo>
                  <a:lnTo>
                    <a:pt x="52" y="12"/>
                  </a:lnTo>
                  <a:lnTo>
                    <a:pt x="57" y="12"/>
                  </a:lnTo>
                  <a:lnTo>
                    <a:pt x="59" y="9"/>
                  </a:lnTo>
                  <a:lnTo>
                    <a:pt x="64" y="9"/>
                  </a:lnTo>
                  <a:lnTo>
                    <a:pt x="71" y="9"/>
                  </a:lnTo>
                  <a:lnTo>
                    <a:pt x="79" y="9"/>
                  </a:lnTo>
                  <a:lnTo>
                    <a:pt x="83" y="9"/>
                  </a:lnTo>
                  <a:lnTo>
                    <a:pt x="86" y="12"/>
                  </a:lnTo>
                  <a:lnTo>
                    <a:pt x="93" y="12"/>
                  </a:lnTo>
                  <a:lnTo>
                    <a:pt x="101" y="17"/>
                  </a:lnTo>
                  <a:lnTo>
                    <a:pt x="108" y="22"/>
                  </a:lnTo>
                  <a:lnTo>
                    <a:pt x="113" y="24"/>
                  </a:lnTo>
                  <a:lnTo>
                    <a:pt x="118" y="29"/>
                  </a:lnTo>
                  <a:lnTo>
                    <a:pt x="120" y="34"/>
                  </a:lnTo>
                  <a:lnTo>
                    <a:pt x="123" y="36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8" y="44"/>
                  </a:lnTo>
                  <a:lnTo>
                    <a:pt x="128" y="46"/>
                  </a:lnTo>
                  <a:lnTo>
                    <a:pt x="130" y="53"/>
                  </a:lnTo>
                  <a:lnTo>
                    <a:pt x="130" y="56"/>
                  </a:lnTo>
                  <a:lnTo>
                    <a:pt x="133" y="63"/>
                  </a:lnTo>
                  <a:lnTo>
                    <a:pt x="133" y="71"/>
                  </a:lnTo>
                  <a:lnTo>
                    <a:pt x="133" y="78"/>
                  </a:lnTo>
                  <a:close/>
                  <a:moveTo>
                    <a:pt x="140" y="88"/>
                  </a:moveTo>
                  <a:lnTo>
                    <a:pt x="142" y="80"/>
                  </a:lnTo>
                  <a:lnTo>
                    <a:pt x="142" y="73"/>
                  </a:lnTo>
                  <a:lnTo>
                    <a:pt x="142" y="68"/>
                  </a:lnTo>
                  <a:lnTo>
                    <a:pt x="142" y="61"/>
                  </a:lnTo>
                  <a:lnTo>
                    <a:pt x="140" y="53"/>
                  </a:lnTo>
                  <a:lnTo>
                    <a:pt x="137" y="44"/>
                  </a:lnTo>
                  <a:lnTo>
                    <a:pt x="135" y="39"/>
                  </a:lnTo>
                  <a:lnTo>
                    <a:pt x="130" y="31"/>
                  </a:lnTo>
                  <a:lnTo>
                    <a:pt x="125" y="26"/>
                  </a:lnTo>
                  <a:lnTo>
                    <a:pt x="123" y="22"/>
                  </a:lnTo>
                  <a:lnTo>
                    <a:pt x="120" y="19"/>
                  </a:lnTo>
                  <a:lnTo>
                    <a:pt x="113" y="14"/>
                  </a:lnTo>
                  <a:lnTo>
                    <a:pt x="108" y="9"/>
                  </a:lnTo>
                  <a:lnTo>
                    <a:pt x="106" y="9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1" y="0"/>
                  </a:lnTo>
                  <a:lnTo>
                    <a:pt x="7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57" y="2"/>
                  </a:lnTo>
                  <a:lnTo>
                    <a:pt x="47" y="4"/>
                  </a:lnTo>
                  <a:lnTo>
                    <a:pt x="44" y="4"/>
                  </a:lnTo>
                  <a:lnTo>
                    <a:pt x="34" y="9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5" y="29"/>
                  </a:lnTo>
                  <a:lnTo>
                    <a:pt x="12" y="31"/>
                  </a:lnTo>
                  <a:lnTo>
                    <a:pt x="7" y="39"/>
                  </a:lnTo>
                  <a:lnTo>
                    <a:pt x="5" y="44"/>
                  </a:lnTo>
                  <a:lnTo>
                    <a:pt x="3" y="53"/>
                  </a:lnTo>
                  <a:lnTo>
                    <a:pt x="0" y="61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3" y="88"/>
                  </a:lnTo>
                  <a:lnTo>
                    <a:pt x="5" y="98"/>
                  </a:lnTo>
                  <a:lnTo>
                    <a:pt x="7" y="102"/>
                  </a:lnTo>
                  <a:lnTo>
                    <a:pt x="10" y="107"/>
                  </a:lnTo>
                  <a:lnTo>
                    <a:pt x="12" y="110"/>
                  </a:lnTo>
                  <a:lnTo>
                    <a:pt x="17" y="115"/>
                  </a:lnTo>
                  <a:lnTo>
                    <a:pt x="17" y="120"/>
                  </a:lnTo>
                  <a:lnTo>
                    <a:pt x="22" y="125"/>
                  </a:lnTo>
                  <a:lnTo>
                    <a:pt x="25" y="125"/>
                  </a:lnTo>
                  <a:lnTo>
                    <a:pt x="30" y="127"/>
                  </a:lnTo>
                  <a:lnTo>
                    <a:pt x="34" y="132"/>
                  </a:lnTo>
                  <a:lnTo>
                    <a:pt x="37" y="132"/>
                  </a:lnTo>
                  <a:lnTo>
                    <a:pt x="44" y="137"/>
                  </a:lnTo>
                  <a:lnTo>
                    <a:pt x="47" y="137"/>
                  </a:lnTo>
                  <a:lnTo>
                    <a:pt x="57" y="139"/>
                  </a:lnTo>
                  <a:lnTo>
                    <a:pt x="61" y="142"/>
                  </a:lnTo>
                  <a:lnTo>
                    <a:pt x="69" y="142"/>
                  </a:lnTo>
                  <a:lnTo>
                    <a:pt x="76" y="142"/>
                  </a:lnTo>
                  <a:lnTo>
                    <a:pt x="83" y="142"/>
                  </a:lnTo>
                  <a:lnTo>
                    <a:pt x="86" y="139"/>
                  </a:lnTo>
                  <a:lnTo>
                    <a:pt x="88" y="139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108" y="132"/>
                  </a:lnTo>
                  <a:lnTo>
                    <a:pt x="113" y="127"/>
                  </a:lnTo>
                  <a:lnTo>
                    <a:pt x="115" y="125"/>
                  </a:lnTo>
                  <a:lnTo>
                    <a:pt x="120" y="122"/>
                  </a:lnTo>
                  <a:lnTo>
                    <a:pt x="125" y="120"/>
                  </a:lnTo>
                  <a:lnTo>
                    <a:pt x="128" y="115"/>
                  </a:lnTo>
                  <a:lnTo>
                    <a:pt x="130" y="110"/>
                  </a:lnTo>
                  <a:lnTo>
                    <a:pt x="133" y="107"/>
                  </a:lnTo>
                  <a:lnTo>
                    <a:pt x="137" y="98"/>
                  </a:lnTo>
                  <a:lnTo>
                    <a:pt x="140" y="8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0">
              <a:extLst>
                <a:ext uri="{FF2B5EF4-FFF2-40B4-BE49-F238E27FC236}">
                  <a16:creationId xmlns:a16="http://schemas.microsoft.com/office/drawing/2014/main" id="{B1622E9A-9627-4078-965C-79D1A008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3" y="1303"/>
              <a:ext cx="226" cy="250"/>
            </a:xfrm>
            <a:custGeom>
              <a:avLst/>
              <a:gdLst>
                <a:gd name="T0" fmla="*/ 5 w 226"/>
                <a:gd name="T1" fmla="*/ 250 h 250"/>
                <a:gd name="T2" fmla="*/ 226 w 226"/>
                <a:gd name="T3" fmla="*/ 248 h 250"/>
                <a:gd name="T4" fmla="*/ 221 w 226"/>
                <a:gd name="T5" fmla="*/ 228 h 250"/>
                <a:gd name="T6" fmla="*/ 204 w 226"/>
                <a:gd name="T7" fmla="*/ 204 h 250"/>
                <a:gd name="T8" fmla="*/ 177 w 226"/>
                <a:gd name="T9" fmla="*/ 189 h 250"/>
                <a:gd name="T10" fmla="*/ 175 w 226"/>
                <a:gd name="T11" fmla="*/ 191 h 250"/>
                <a:gd name="T12" fmla="*/ 182 w 226"/>
                <a:gd name="T13" fmla="*/ 199 h 250"/>
                <a:gd name="T14" fmla="*/ 206 w 226"/>
                <a:gd name="T15" fmla="*/ 223 h 250"/>
                <a:gd name="T16" fmla="*/ 13 w 226"/>
                <a:gd name="T17" fmla="*/ 236 h 250"/>
                <a:gd name="T18" fmla="*/ 25 w 226"/>
                <a:gd name="T19" fmla="*/ 216 h 250"/>
                <a:gd name="T20" fmla="*/ 49 w 226"/>
                <a:gd name="T21" fmla="*/ 196 h 250"/>
                <a:gd name="T22" fmla="*/ 69 w 226"/>
                <a:gd name="T23" fmla="*/ 201 h 250"/>
                <a:gd name="T24" fmla="*/ 106 w 226"/>
                <a:gd name="T25" fmla="*/ 211 h 250"/>
                <a:gd name="T26" fmla="*/ 148 w 226"/>
                <a:gd name="T27" fmla="*/ 206 h 250"/>
                <a:gd name="T28" fmla="*/ 172 w 226"/>
                <a:gd name="T29" fmla="*/ 194 h 250"/>
                <a:gd name="T30" fmla="*/ 172 w 226"/>
                <a:gd name="T31" fmla="*/ 187 h 250"/>
                <a:gd name="T32" fmla="*/ 157 w 226"/>
                <a:gd name="T33" fmla="*/ 191 h 250"/>
                <a:gd name="T34" fmla="*/ 116 w 226"/>
                <a:gd name="T35" fmla="*/ 201 h 250"/>
                <a:gd name="T36" fmla="*/ 84 w 226"/>
                <a:gd name="T37" fmla="*/ 199 h 250"/>
                <a:gd name="T38" fmla="*/ 54 w 226"/>
                <a:gd name="T39" fmla="*/ 182 h 250"/>
                <a:gd name="T40" fmla="*/ 32 w 226"/>
                <a:gd name="T41" fmla="*/ 160 h 250"/>
                <a:gd name="T42" fmla="*/ 18 w 226"/>
                <a:gd name="T43" fmla="*/ 125 h 250"/>
                <a:gd name="T44" fmla="*/ 18 w 226"/>
                <a:gd name="T45" fmla="*/ 91 h 250"/>
                <a:gd name="T46" fmla="*/ 27 w 226"/>
                <a:gd name="T47" fmla="*/ 59 h 250"/>
                <a:gd name="T48" fmla="*/ 47 w 226"/>
                <a:gd name="T49" fmla="*/ 35 h 250"/>
                <a:gd name="T50" fmla="*/ 72 w 226"/>
                <a:gd name="T51" fmla="*/ 20 h 250"/>
                <a:gd name="T52" fmla="*/ 103 w 226"/>
                <a:gd name="T53" fmla="*/ 10 h 250"/>
                <a:gd name="T54" fmla="*/ 128 w 226"/>
                <a:gd name="T55" fmla="*/ 10 h 250"/>
                <a:gd name="T56" fmla="*/ 162 w 226"/>
                <a:gd name="T57" fmla="*/ 22 h 250"/>
                <a:gd name="T58" fmla="*/ 194 w 226"/>
                <a:gd name="T59" fmla="*/ 52 h 250"/>
                <a:gd name="T60" fmla="*/ 209 w 226"/>
                <a:gd name="T61" fmla="*/ 91 h 250"/>
                <a:gd name="T62" fmla="*/ 209 w 226"/>
                <a:gd name="T63" fmla="*/ 125 h 250"/>
                <a:gd name="T64" fmla="*/ 189 w 226"/>
                <a:gd name="T65" fmla="*/ 167 h 250"/>
                <a:gd name="T66" fmla="*/ 177 w 226"/>
                <a:gd name="T67" fmla="*/ 182 h 250"/>
                <a:gd name="T68" fmla="*/ 184 w 226"/>
                <a:gd name="T69" fmla="*/ 184 h 250"/>
                <a:gd name="T70" fmla="*/ 204 w 226"/>
                <a:gd name="T71" fmla="*/ 160 h 250"/>
                <a:gd name="T72" fmla="*/ 216 w 226"/>
                <a:gd name="T73" fmla="*/ 128 h 250"/>
                <a:gd name="T74" fmla="*/ 219 w 226"/>
                <a:gd name="T75" fmla="*/ 101 h 250"/>
                <a:gd name="T76" fmla="*/ 214 w 226"/>
                <a:gd name="T77" fmla="*/ 74 h 250"/>
                <a:gd name="T78" fmla="*/ 204 w 226"/>
                <a:gd name="T79" fmla="*/ 52 h 250"/>
                <a:gd name="T80" fmla="*/ 177 w 226"/>
                <a:gd name="T81" fmla="*/ 22 h 250"/>
                <a:gd name="T82" fmla="*/ 135 w 226"/>
                <a:gd name="T83" fmla="*/ 3 h 250"/>
                <a:gd name="T84" fmla="*/ 108 w 226"/>
                <a:gd name="T85" fmla="*/ 0 h 250"/>
                <a:gd name="T86" fmla="*/ 62 w 226"/>
                <a:gd name="T87" fmla="*/ 12 h 250"/>
                <a:gd name="T88" fmla="*/ 37 w 226"/>
                <a:gd name="T89" fmla="*/ 32 h 250"/>
                <a:gd name="T90" fmla="*/ 18 w 226"/>
                <a:gd name="T91" fmla="*/ 59 h 250"/>
                <a:gd name="T92" fmla="*/ 8 w 226"/>
                <a:gd name="T93" fmla="*/ 91 h 250"/>
                <a:gd name="T94" fmla="*/ 8 w 226"/>
                <a:gd name="T95" fmla="*/ 118 h 250"/>
                <a:gd name="T96" fmla="*/ 18 w 226"/>
                <a:gd name="T97" fmla="*/ 150 h 250"/>
                <a:gd name="T98" fmla="*/ 37 w 226"/>
                <a:gd name="T99" fmla="*/ 179 h 250"/>
                <a:gd name="T100" fmla="*/ 32 w 226"/>
                <a:gd name="T101" fmla="*/ 196 h 250"/>
                <a:gd name="T102" fmla="*/ 8 w 226"/>
                <a:gd name="T103" fmla="*/ 223 h 250"/>
                <a:gd name="T104" fmla="*/ 0 w 226"/>
                <a:gd name="T105" fmla="*/ 24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6" h="250">
                  <a:moveTo>
                    <a:pt x="0" y="248"/>
                  </a:moveTo>
                  <a:lnTo>
                    <a:pt x="0" y="248"/>
                  </a:lnTo>
                  <a:lnTo>
                    <a:pt x="0" y="250"/>
                  </a:lnTo>
                  <a:lnTo>
                    <a:pt x="3" y="250"/>
                  </a:lnTo>
                  <a:lnTo>
                    <a:pt x="5" y="250"/>
                  </a:lnTo>
                  <a:lnTo>
                    <a:pt x="224" y="250"/>
                  </a:lnTo>
                  <a:lnTo>
                    <a:pt x="226" y="250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6" y="245"/>
                  </a:lnTo>
                  <a:lnTo>
                    <a:pt x="226" y="243"/>
                  </a:lnTo>
                  <a:lnTo>
                    <a:pt x="226" y="238"/>
                  </a:lnTo>
                  <a:lnTo>
                    <a:pt x="224" y="233"/>
                  </a:lnTo>
                  <a:lnTo>
                    <a:pt x="221" y="228"/>
                  </a:lnTo>
                  <a:lnTo>
                    <a:pt x="219" y="223"/>
                  </a:lnTo>
                  <a:lnTo>
                    <a:pt x="216" y="221"/>
                  </a:lnTo>
                  <a:lnTo>
                    <a:pt x="214" y="216"/>
                  </a:lnTo>
                  <a:lnTo>
                    <a:pt x="206" y="209"/>
                  </a:lnTo>
                  <a:lnTo>
                    <a:pt x="204" y="204"/>
                  </a:lnTo>
                  <a:lnTo>
                    <a:pt x="201" y="201"/>
                  </a:lnTo>
                  <a:lnTo>
                    <a:pt x="192" y="194"/>
                  </a:lnTo>
                  <a:lnTo>
                    <a:pt x="182" y="189"/>
                  </a:lnTo>
                  <a:lnTo>
                    <a:pt x="182" y="187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91"/>
                  </a:lnTo>
                  <a:lnTo>
                    <a:pt x="175" y="191"/>
                  </a:lnTo>
                  <a:lnTo>
                    <a:pt x="177" y="191"/>
                  </a:lnTo>
                  <a:lnTo>
                    <a:pt x="175" y="191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82" y="199"/>
                  </a:lnTo>
                  <a:lnTo>
                    <a:pt x="189" y="204"/>
                  </a:lnTo>
                  <a:lnTo>
                    <a:pt x="194" y="209"/>
                  </a:lnTo>
                  <a:lnTo>
                    <a:pt x="197" y="211"/>
                  </a:lnTo>
                  <a:lnTo>
                    <a:pt x="201" y="216"/>
                  </a:lnTo>
                  <a:lnTo>
                    <a:pt x="206" y="223"/>
                  </a:lnTo>
                  <a:lnTo>
                    <a:pt x="209" y="228"/>
                  </a:lnTo>
                  <a:lnTo>
                    <a:pt x="214" y="233"/>
                  </a:lnTo>
                  <a:lnTo>
                    <a:pt x="216" y="240"/>
                  </a:lnTo>
                  <a:lnTo>
                    <a:pt x="10" y="240"/>
                  </a:lnTo>
                  <a:lnTo>
                    <a:pt x="13" y="236"/>
                  </a:lnTo>
                  <a:lnTo>
                    <a:pt x="15" y="231"/>
                  </a:lnTo>
                  <a:lnTo>
                    <a:pt x="18" y="228"/>
                  </a:lnTo>
                  <a:lnTo>
                    <a:pt x="18" y="223"/>
                  </a:lnTo>
                  <a:lnTo>
                    <a:pt x="20" y="221"/>
                  </a:lnTo>
                  <a:lnTo>
                    <a:pt x="25" y="216"/>
                  </a:lnTo>
                  <a:lnTo>
                    <a:pt x="30" y="211"/>
                  </a:lnTo>
                  <a:lnTo>
                    <a:pt x="32" y="209"/>
                  </a:lnTo>
                  <a:lnTo>
                    <a:pt x="37" y="204"/>
                  </a:lnTo>
                  <a:lnTo>
                    <a:pt x="45" y="199"/>
                  </a:lnTo>
                  <a:lnTo>
                    <a:pt x="49" y="196"/>
                  </a:lnTo>
                  <a:lnTo>
                    <a:pt x="49" y="194"/>
                  </a:lnTo>
                  <a:lnTo>
                    <a:pt x="52" y="191"/>
                  </a:lnTo>
                  <a:lnTo>
                    <a:pt x="57" y="194"/>
                  </a:lnTo>
                  <a:lnTo>
                    <a:pt x="64" y="199"/>
                  </a:lnTo>
                  <a:lnTo>
                    <a:pt x="69" y="201"/>
                  </a:lnTo>
                  <a:lnTo>
                    <a:pt x="76" y="206"/>
                  </a:lnTo>
                  <a:lnTo>
                    <a:pt x="86" y="209"/>
                  </a:lnTo>
                  <a:lnTo>
                    <a:pt x="94" y="209"/>
                  </a:lnTo>
                  <a:lnTo>
                    <a:pt x="101" y="211"/>
                  </a:lnTo>
                  <a:lnTo>
                    <a:pt x="106" y="211"/>
                  </a:lnTo>
                  <a:lnTo>
                    <a:pt x="113" y="211"/>
                  </a:lnTo>
                  <a:lnTo>
                    <a:pt x="125" y="211"/>
                  </a:lnTo>
                  <a:lnTo>
                    <a:pt x="128" y="211"/>
                  </a:lnTo>
                  <a:lnTo>
                    <a:pt x="140" y="209"/>
                  </a:lnTo>
                  <a:lnTo>
                    <a:pt x="148" y="206"/>
                  </a:lnTo>
                  <a:lnTo>
                    <a:pt x="150" y="204"/>
                  </a:lnTo>
                  <a:lnTo>
                    <a:pt x="162" y="199"/>
                  </a:lnTo>
                  <a:lnTo>
                    <a:pt x="165" y="199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2" y="191"/>
                  </a:lnTo>
                  <a:lnTo>
                    <a:pt x="175" y="189"/>
                  </a:lnTo>
                  <a:lnTo>
                    <a:pt x="172" y="189"/>
                  </a:lnTo>
                  <a:lnTo>
                    <a:pt x="172" y="187"/>
                  </a:lnTo>
                  <a:lnTo>
                    <a:pt x="172" y="187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57" y="191"/>
                  </a:lnTo>
                  <a:lnTo>
                    <a:pt x="155" y="194"/>
                  </a:lnTo>
                  <a:lnTo>
                    <a:pt x="145" y="196"/>
                  </a:lnTo>
                  <a:lnTo>
                    <a:pt x="135" y="199"/>
                  </a:lnTo>
                  <a:lnTo>
                    <a:pt x="123" y="201"/>
                  </a:lnTo>
                  <a:lnTo>
                    <a:pt x="116" y="201"/>
                  </a:lnTo>
                  <a:lnTo>
                    <a:pt x="108" y="201"/>
                  </a:lnTo>
                  <a:lnTo>
                    <a:pt x="103" y="201"/>
                  </a:lnTo>
                  <a:lnTo>
                    <a:pt x="99" y="201"/>
                  </a:lnTo>
                  <a:lnTo>
                    <a:pt x="94" y="201"/>
                  </a:lnTo>
                  <a:lnTo>
                    <a:pt x="84" y="199"/>
                  </a:lnTo>
                  <a:lnTo>
                    <a:pt x="79" y="196"/>
                  </a:lnTo>
                  <a:lnTo>
                    <a:pt x="72" y="191"/>
                  </a:lnTo>
                  <a:lnTo>
                    <a:pt x="67" y="191"/>
                  </a:lnTo>
                  <a:lnTo>
                    <a:pt x="64" y="189"/>
                  </a:lnTo>
                  <a:lnTo>
                    <a:pt x="54" y="182"/>
                  </a:lnTo>
                  <a:lnTo>
                    <a:pt x="52" y="179"/>
                  </a:lnTo>
                  <a:lnTo>
                    <a:pt x="45" y="174"/>
                  </a:lnTo>
                  <a:lnTo>
                    <a:pt x="42" y="169"/>
                  </a:lnTo>
                  <a:lnTo>
                    <a:pt x="40" y="167"/>
                  </a:lnTo>
                  <a:lnTo>
                    <a:pt x="32" y="160"/>
                  </a:lnTo>
                  <a:lnTo>
                    <a:pt x="27" y="152"/>
                  </a:lnTo>
                  <a:lnTo>
                    <a:pt x="25" y="142"/>
                  </a:lnTo>
                  <a:lnTo>
                    <a:pt x="20" y="135"/>
                  </a:lnTo>
                  <a:lnTo>
                    <a:pt x="20" y="130"/>
                  </a:lnTo>
                  <a:lnTo>
                    <a:pt x="18" y="125"/>
                  </a:lnTo>
                  <a:lnTo>
                    <a:pt x="18" y="115"/>
                  </a:lnTo>
                  <a:lnTo>
                    <a:pt x="18" y="111"/>
                  </a:lnTo>
                  <a:lnTo>
                    <a:pt x="15" y="106"/>
                  </a:lnTo>
                  <a:lnTo>
                    <a:pt x="18" y="101"/>
                  </a:lnTo>
                  <a:lnTo>
                    <a:pt x="18" y="91"/>
                  </a:lnTo>
                  <a:lnTo>
                    <a:pt x="18" y="86"/>
                  </a:lnTo>
                  <a:lnTo>
                    <a:pt x="20" y="81"/>
                  </a:lnTo>
                  <a:lnTo>
                    <a:pt x="20" y="76"/>
                  </a:lnTo>
                  <a:lnTo>
                    <a:pt x="25" y="69"/>
                  </a:lnTo>
                  <a:lnTo>
                    <a:pt x="27" y="59"/>
                  </a:lnTo>
                  <a:lnTo>
                    <a:pt x="32" y="52"/>
                  </a:lnTo>
                  <a:lnTo>
                    <a:pt x="37" y="44"/>
                  </a:lnTo>
                  <a:lnTo>
                    <a:pt x="42" y="42"/>
                  </a:lnTo>
                  <a:lnTo>
                    <a:pt x="45" y="37"/>
                  </a:lnTo>
                  <a:lnTo>
                    <a:pt x="47" y="35"/>
                  </a:lnTo>
                  <a:lnTo>
                    <a:pt x="52" y="32"/>
                  </a:lnTo>
                  <a:lnTo>
                    <a:pt x="54" y="30"/>
                  </a:lnTo>
                  <a:lnTo>
                    <a:pt x="64" y="22"/>
                  </a:lnTo>
                  <a:lnTo>
                    <a:pt x="67" y="20"/>
                  </a:lnTo>
                  <a:lnTo>
                    <a:pt x="72" y="20"/>
                  </a:lnTo>
                  <a:lnTo>
                    <a:pt x="79" y="15"/>
                  </a:lnTo>
                  <a:lnTo>
                    <a:pt x="84" y="15"/>
                  </a:lnTo>
                  <a:lnTo>
                    <a:pt x="94" y="12"/>
                  </a:lnTo>
                  <a:lnTo>
                    <a:pt x="99" y="10"/>
                  </a:lnTo>
                  <a:lnTo>
                    <a:pt x="103" y="10"/>
                  </a:lnTo>
                  <a:lnTo>
                    <a:pt x="108" y="10"/>
                  </a:lnTo>
                  <a:lnTo>
                    <a:pt x="113" y="10"/>
                  </a:lnTo>
                  <a:lnTo>
                    <a:pt x="118" y="10"/>
                  </a:lnTo>
                  <a:lnTo>
                    <a:pt x="123" y="10"/>
                  </a:lnTo>
                  <a:lnTo>
                    <a:pt x="128" y="10"/>
                  </a:lnTo>
                  <a:lnTo>
                    <a:pt x="133" y="12"/>
                  </a:lnTo>
                  <a:lnTo>
                    <a:pt x="143" y="15"/>
                  </a:lnTo>
                  <a:lnTo>
                    <a:pt x="148" y="15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72" y="30"/>
                  </a:lnTo>
                  <a:lnTo>
                    <a:pt x="179" y="35"/>
                  </a:lnTo>
                  <a:lnTo>
                    <a:pt x="184" y="42"/>
                  </a:lnTo>
                  <a:lnTo>
                    <a:pt x="187" y="44"/>
                  </a:lnTo>
                  <a:lnTo>
                    <a:pt x="194" y="52"/>
                  </a:lnTo>
                  <a:lnTo>
                    <a:pt x="199" y="59"/>
                  </a:lnTo>
                  <a:lnTo>
                    <a:pt x="201" y="69"/>
                  </a:lnTo>
                  <a:lnTo>
                    <a:pt x="206" y="76"/>
                  </a:lnTo>
                  <a:lnTo>
                    <a:pt x="209" y="86"/>
                  </a:lnTo>
                  <a:lnTo>
                    <a:pt x="209" y="91"/>
                  </a:lnTo>
                  <a:lnTo>
                    <a:pt x="209" y="101"/>
                  </a:lnTo>
                  <a:lnTo>
                    <a:pt x="209" y="106"/>
                  </a:lnTo>
                  <a:lnTo>
                    <a:pt x="209" y="111"/>
                  </a:lnTo>
                  <a:lnTo>
                    <a:pt x="209" y="120"/>
                  </a:lnTo>
                  <a:lnTo>
                    <a:pt x="209" y="125"/>
                  </a:lnTo>
                  <a:lnTo>
                    <a:pt x="206" y="135"/>
                  </a:lnTo>
                  <a:lnTo>
                    <a:pt x="201" y="145"/>
                  </a:lnTo>
                  <a:lnTo>
                    <a:pt x="197" y="155"/>
                  </a:lnTo>
                  <a:lnTo>
                    <a:pt x="192" y="162"/>
                  </a:lnTo>
                  <a:lnTo>
                    <a:pt x="189" y="167"/>
                  </a:lnTo>
                  <a:lnTo>
                    <a:pt x="184" y="169"/>
                  </a:lnTo>
                  <a:lnTo>
                    <a:pt x="177" y="179"/>
                  </a:lnTo>
                  <a:lnTo>
                    <a:pt x="177" y="179"/>
                  </a:lnTo>
                  <a:lnTo>
                    <a:pt x="175" y="182"/>
                  </a:lnTo>
                  <a:lnTo>
                    <a:pt x="177" y="182"/>
                  </a:lnTo>
                  <a:lnTo>
                    <a:pt x="177" y="184"/>
                  </a:lnTo>
                  <a:lnTo>
                    <a:pt x="177" y="184"/>
                  </a:lnTo>
                  <a:lnTo>
                    <a:pt x="179" y="187"/>
                  </a:lnTo>
                  <a:lnTo>
                    <a:pt x="182" y="187"/>
                  </a:lnTo>
                  <a:lnTo>
                    <a:pt x="184" y="184"/>
                  </a:lnTo>
                  <a:lnTo>
                    <a:pt x="187" y="182"/>
                  </a:lnTo>
                  <a:lnTo>
                    <a:pt x="197" y="172"/>
                  </a:lnTo>
                  <a:lnTo>
                    <a:pt x="199" y="169"/>
                  </a:lnTo>
                  <a:lnTo>
                    <a:pt x="201" y="164"/>
                  </a:lnTo>
                  <a:lnTo>
                    <a:pt x="204" y="160"/>
                  </a:lnTo>
                  <a:lnTo>
                    <a:pt x="209" y="155"/>
                  </a:lnTo>
                  <a:lnTo>
                    <a:pt x="211" y="145"/>
                  </a:lnTo>
                  <a:lnTo>
                    <a:pt x="214" y="140"/>
                  </a:lnTo>
                  <a:lnTo>
                    <a:pt x="216" y="133"/>
                  </a:lnTo>
                  <a:lnTo>
                    <a:pt x="216" y="128"/>
                  </a:lnTo>
                  <a:lnTo>
                    <a:pt x="219" y="123"/>
                  </a:lnTo>
                  <a:lnTo>
                    <a:pt x="219" y="118"/>
                  </a:lnTo>
                  <a:lnTo>
                    <a:pt x="219" y="111"/>
                  </a:lnTo>
                  <a:lnTo>
                    <a:pt x="219" y="106"/>
                  </a:lnTo>
                  <a:lnTo>
                    <a:pt x="219" y="101"/>
                  </a:lnTo>
                  <a:lnTo>
                    <a:pt x="219" y="96"/>
                  </a:lnTo>
                  <a:lnTo>
                    <a:pt x="219" y="88"/>
                  </a:lnTo>
                  <a:lnTo>
                    <a:pt x="216" y="84"/>
                  </a:lnTo>
                  <a:lnTo>
                    <a:pt x="216" y="79"/>
                  </a:lnTo>
                  <a:lnTo>
                    <a:pt x="214" y="74"/>
                  </a:lnTo>
                  <a:lnTo>
                    <a:pt x="214" y="69"/>
                  </a:lnTo>
                  <a:lnTo>
                    <a:pt x="211" y="64"/>
                  </a:lnTo>
                  <a:lnTo>
                    <a:pt x="209" y="59"/>
                  </a:lnTo>
                  <a:lnTo>
                    <a:pt x="206" y="57"/>
                  </a:lnTo>
                  <a:lnTo>
                    <a:pt x="204" y="52"/>
                  </a:lnTo>
                  <a:lnTo>
                    <a:pt x="201" y="47"/>
                  </a:lnTo>
                  <a:lnTo>
                    <a:pt x="194" y="39"/>
                  </a:lnTo>
                  <a:lnTo>
                    <a:pt x="189" y="32"/>
                  </a:lnTo>
                  <a:lnTo>
                    <a:pt x="182" y="25"/>
                  </a:lnTo>
                  <a:lnTo>
                    <a:pt x="177" y="22"/>
                  </a:lnTo>
                  <a:lnTo>
                    <a:pt x="172" y="17"/>
                  </a:lnTo>
                  <a:lnTo>
                    <a:pt x="165" y="12"/>
                  </a:lnTo>
                  <a:lnTo>
                    <a:pt x="155" y="8"/>
                  </a:lnTo>
                  <a:lnTo>
                    <a:pt x="145" y="5"/>
                  </a:lnTo>
                  <a:lnTo>
                    <a:pt x="135" y="3"/>
                  </a:lnTo>
                  <a:lnTo>
                    <a:pt x="130" y="0"/>
                  </a:lnTo>
                  <a:lnTo>
                    <a:pt x="123" y="0"/>
                  </a:lnTo>
                  <a:lnTo>
                    <a:pt x="118" y="0"/>
                  </a:lnTo>
                  <a:lnTo>
                    <a:pt x="113" y="0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6" y="3"/>
                  </a:lnTo>
                  <a:lnTo>
                    <a:pt x="81" y="5"/>
                  </a:lnTo>
                  <a:lnTo>
                    <a:pt x="72" y="8"/>
                  </a:lnTo>
                  <a:lnTo>
                    <a:pt x="62" y="12"/>
                  </a:lnTo>
                  <a:lnTo>
                    <a:pt x="57" y="15"/>
                  </a:lnTo>
                  <a:lnTo>
                    <a:pt x="54" y="17"/>
                  </a:lnTo>
                  <a:lnTo>
                    <a:pt x="45" y="25"/>
                  </a:lnTo>
                  <a:lnTo>
                    <a:pt x="42" y="27"/>
                  </a:lnTo>
                  <a:lnTo>
                    <a:pt x="37" y="32"/>
                  </a:lnTo>
                  <a:lnTo>
                    <a:pt x="32" y="39"/>
                  </a:lnTo>
                  <a:lnTo>
                    <a:pt x="25" y="47"/>
                  </a:lnTo>
                  <a:lnTo>
                    <a:pt x="23" y="52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5" y="64"/>
                  </a:lnTo>
                  <a:lnTo>
                    <a:pt x="13" y="69"/>
                  </a:lnTo>
                  <a:lnTo>
                    <a:pt x="13" y="74"/>
                  </a:lnTo>
                  <a:lnTo>
                    <a:pt x="8" y="84"/>
                  </a:lnTo>
                  <a:lnTo>
                    <a:pt x="8" y="91"/>
                  </a:lnTo>
                  <a:lnTo>
                    <a:pt x="8" y="96"/>
                  </a:lnTo>
                  <a:lnTo>
                    <a:pt x="8" y="101"/>
                  </a:lnTo>
                  <a:lnTo>
                    <a:pt x="8" y="106"/>
                  </a:lnTo>
                  <a:lnTo>
                    <a:pt x="8" y="111"/>
                  </a:lnTo>
                  <a:lnTo>
                    <a:pt x="8" y="118"/>
                  </a:lnTo>
                  <a:lnTo>
                    <a:pt x="8" y="123"/>
                  </a:lnTo>
                  <a:lnTo>
                    <a:pt x="10" y="128"/>
                  </a:lnTo>
                  <a:lnTo>
                    <a:pt x="10" y="135"/>
                  </a:lnTo>
                  <a:lnTo>
                    <a:pt x="13" y="140"/>
                  </a:lnTo>
                  <a:lnTo>
                    <a:pt x="18" y="150"/>
                  </a:lnTo>
                  <a:lnTo>
                    <a:pt x="20" y="155"/>
                  </a:lnTo>
                  <a:lnTo>
                    <a:pt x="23" y="160"/>
                  </a:lnTo>
                  <a:lnTo>
                    <a:pt x="25" y="164"/>
                  </a:lnTo>
                  <a:lnTo>
                    <a:pt x="27" y="169"/>
                  </a:lnTo>
                  <a:lnTo>
                    <a:pt x="37" y="179"/>
                  </a:lnTo>
                  <a:lnTo>
                    <a:pt x="40" y="182"/>
                  </a:lnTo>
                  <a:lnTo>
                    <a:pt x="47" y="187"/>
                  </a:lnTo>
                  <a:lnTo>
                    <a:pt x="37" y="191"/>
                  </a:lnTo>
                  <a:lnTo>
                    <a:pt x="35" y="194"/>
                  </a:lnTo>
                  <a:lnTo>
                    <a:pt x="32" y="196"/>
                  </a:lnTo>
                  <a:lnTo>
                    <a:pt x="20" y="206"/>
                  </a:lnTo>
                  <a:lnTo>
                    <a:pt x="18" y="211"/>
                  </a:lnTo>
                  <a:lnTo>
                    <a:pt x="15" y="213"/>
                  </a:lnTo>
                  <a:lnTo>
                    <a:pt x="13" y="216"/>
                  </a:lnTo>
                  <a:lnTo>
                    <a:pt x="8" y="223"/>
                  </a:lnTo>
                  <a:lnTo>
                    <a:pt x="3" y="233"/>
                  </a:lnTo>
                  <a:lnTo>
                    <a:pt x="3" y="236"/>
                  </a:lnTo>
                  <a:lnTo>
                    <a:pt x="0" y="243"/>
                  </a:lnTo>
                  <a:lnTo>
                    <a:pt x="0" y="245"/>
                  </a:lnTo>
                  <a:lnTo>
                    <a:pt x="0" y="248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1">
              <a:extLst>
                <a:ext uri="{FF2B5EF4-FFF2-40B4-BE49-F238E27FC236}">
                  <a16:creationId xmlns:a16="http://schemas.microsoft.com/office/drawing/2014/main" id="{D8AEC098-3416-4B6D-A6D8-CDA08FB91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2" y="1355"/>
              <a:ext cx="57" cy="56"/>
            </a:xfrm>
            <a:custGeom>
              <a:avLst/>
              <a:gdLst>
                <a:gd name="T0" fmla="*/ 54 w 57"/>
                <a:gd name="T1" fmla="*/ 2 h 56"/>
                <a:gd name="T2" fmla="*/ 54 w 57"/>
                <a:gd name="T3" fmla="*/ 2 h 56"/>
                <a:gd name="T4" fmla="*/ 52 w 57"/>
                <a:gd name="T5" fmla="*/ 0 h 56"/>
                <a:gd name="T6" fmla="*/ 52 w 57"/>
                <a:gd name="T7" fmla="*/ 0 h 56"/>
                <a:gd name="T8" fmla="*/ 49 w 57"/>
                <a:gd name="T9" fmla="*/ 0 h 56"/>
                <a:gd name="T10" fmla="*/ 44 w 57"/>
                <a:gd name="T11" fmla="*/ 2 h 56"/>
                <a:gd name="T12" fmla="*/ 40 w 57"/>
                <a:gd name="T13" fmla="*/ 2 h 56"/>
                <a:gd name="T14" fmla="*/ 30 w 57"/>
                <a:gd name="T15" fmla="*/ 5 h 56"/>
                <a:gd name="T16" fmla="*/ 22 w 57"/>
                <a:gd name="T17" fmla="*/ 9 h 56"/>
                <a:gd name="T18" fmla="*/ 20 w 57"/>
                <a:gd name="T19" fmla="*/ 12 h 56"/>
                <a:gd name="T20" fmla="*/ 13 w 57"/>
                <a:gd name="T21" fmla="*/ 19 h 56"/>
                <a:gd name="T22" fmla="*/ 10 w 57"/>
                <a:gd name="T23" fmla="*/ 22 h 56"/>
                <a:gd name="T24" fmla="*/ 10 w 57"/>
                <a:gd name="T25" fmla="*/ 22 h 56"/>
                <a:gd name="T26" fmla="*/ 8 w 57"/>
                <a:gd name="T27" fmla="*/ 27 h 56"/>
                <a:gd name="T28" fmla="*/ 5 w 57"/>
                <a:gd name="T29" fmla="*/ 29 h 56"/>
                <a:gd name="T30" fmla="*/ 3 w 57"/>
                <a:gd name="T31" fmla="*/ 36 h 56"/>
                <a:gd name="T32" fmla="*/ 3 w 57"/>
                <a:gd name="T33" fmla="*/ 39 h 56"/>
                <a:gd name="T34" fmla="*/ 0 w 57"/>
                <a:gd name="T35" fmla="*/ 44 h 56"/>
                <a:gd name="T36" fmla="*/ 0 w 57"/>
                <a:gd name="T37" fmla="*/ 49 h 56"/>
                <a:gd name="T38" fmla="*/ 0 w 57"/>
                <a:gd name="T39" fmla="*/ 51 h 56"/>
                <a:gd name="T40" fmla="*/ 3 w 57"/>
                <a:gd name="T41" fmla="*/ 54 h 56"/>
                <a:gd name="T42" fmla="*/ 3 w 57"/>
                <a:gd name="T43" fmla="*/ 54 h 56"/>
                <a:gd name="T44" fmla="*/ 5 w 57"/>
                <a:gd name="T45" fmla="*/ 56 h 56"/>
                <a:gd name="T46" fmla="*/ 8 w 57"/>
                <a:gd name="T47" fmla="*/ 56 h 56"/>
                <a:gd name="T48" fmla="*/ 8 w 57"/>
                <a:gd name="T49" fmla="*/ 54 h 56"/>
                <a:gd name="T50" fmla="*/ 10 w 57"/>
                <a:gd name="T51" fmla="*/ 54 h 56"/>
                <a:gd name="T52" fmla="*/ 10 w 57"/>
                <a:gd name="T53" fmla="*/ 51 h 56"/>
                <a:gd name="T54" fmla="*/ 10 w 57"/>
                <a:gd name="T55" fmla="*/ 49 h 56"/>
                <a:gd name="T56" fmla="*/ 10 w 57"/>
                <a:gd name="T57" fmla="*/ 46 h 56"/>
                <a:gd name="T58" fmla="*/ 13 w 57"/>
                <a:gd name="T59" fmla="*/ 41 h 56"/>
                <a:gd name="T60" fmla="*/ 13 w 57"/>
                <a:gd name="T61" fmla="*/ 34 h 56"/>
                <a:gd name="T62" fmla="*/ 15 w 57"/>
                <a:gd name="T63" fmla="*/ 34 h 56"/>
                <a:gd name="T64" fmla="*/ 17 w 57"/>
                <a:gd name="T65" fmla="*/ 29 h 56"/>
                <a:gd name="T66" fmla="*/ 20 w 57"/>
                <a:gd name="T67" fmla="*/ 24 h 56"/>
                <a:gd name="T68" fmla="*/ 22 w 57"/>
                <a:gd name="T69" fmla="*/ 22 h 56"/>
                <a:gd name="T70" fmla="*/ 25 w 57"/>
                <a:gd name="T71" fmla="*/ 19 h 56"/>
                <a:gd name="T72" fmla="*/ 27 w 57"/>
                <a:gd name="T73" fmla="*/ 17 h 56"/>
                <a:gd name="T74" fmla="*/ 35 w 57"/>
                <a:gd name="T75" fmla="*/ 14 h 56"/>
                <a:gd name="T76" fmla="*/ 37 w 57"/>
                <a:gd name="T77" fmla="*/ 12 h 56"/>
                <a:gd name="T78" fmla="*/ 42 w 57"/>
                <a:gd name="T79" fmla="*/ 12 h 56"/>
                <a:gd name="T80" fmla="*/ 44 w 57"/>
                <a:gd name="T81" fmla="*/ 9 h 56"/>
                <a:gd name="T82" fmla="*/ 52 w 57"/>
                <a:gd name="T83" fmla="*/ 9 h 56"/>
                <a:gd name="T84" fmla="*/ 54 w 57"/>
                <a:gd name="T85" fmla="*/ 9 h 56"/>
                <a:gd name="T86" fmla="*/ 54 w 57"/>
                <a:gd name="T87" fmla="*/ 7 h 56"/>
                <a:gd name="T88" fmla="*/ 57 w 57"/>
                <a:gd name="T89" fmla="*/ 7 h 56"/>
                <a:gd name="T90" fmla="*/ 57 w 57"/>
                <a:gd name="T91" fmla="*/ 7 h 56"/>
                <a:gd name="T92" fmla="*/ 57 w 57"/>
                <a:gd name="T93" fmla="*/ 5 h 56"/>
                <a:gd name="T94" fmla="*/ 57 w 57"/>
                <a:gd name="T95" fmla="*/ 2 h 56"/>
                <a:gd name="T96" fmla="*/ 54 w 57"/>
                <a:gd name="T97" fmla="*/ 2 h 56"/>
                <a:gd name="T98" fmla="*/ 54 w 57"/>
                <a:gd name="T99" fmla="*/ 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56">
                  <a:moveTo>
                    <a:pt x="54" y="2"/>
                  </a:moveTo>
                  <a:lnTo>
                    <a:pt x="54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20" y="12"/>
                  </a:lnTo>
                  <a:lnTo>
                    <a:pt x="13" y="19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7"/>
                  </a:lnTo>
                  <a:lnTo>
                    <a:pt x="5" y="29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0" y="46"/>
                  </a:lnTo>
                  <a:lnTo>
                    <a:pt x="13" y="41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7" y="29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5" y="19"/>
                  </a:lnTo>
                  <a:lnTo>
                    <a:pt x="27" y="17"/>
                  </a:lnTo>
                  <a:lnTo>
                    <a:pt x="35" y="14"/>
                  </a:lnTo>
                  <a:lnTo>
                    <a:pt x="37" y="12"/>
                  </a:lnTo>
                  <a:lnTo>
                    <a:pt x="42" y="12"/>
                  </a:lnTo>
                  <a:lnTo>
                    <a:pt x="44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2">
              <a:extLst>
                <a:ext uri="{FF2B5EF4-FFF2-40B4-BE49-F238E27FC236}">
                  <a16:creationId xmlns:a16="http://schemas.microsoft.com/office/drawing/2014/main" id="{CA0CFBC3-3EA9-4763-91F5-E7F86BB52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5" y="1338"/>
              <a:ext cx="142" cy="142"/>
            </a:xfrm>
            <a:custGeom>
              <a:avLst/>
              <a:gdLst>
                <a:gd name="T0" fmla="*/ 130 w 142"/>
                <a:gd name="T1" fmla="*/ 85 h 142"/>
                <a:gd name="T2" fmla="*/ 128 w 142"/>
                <a:gd name="T3" fmla="*/ 98 h 142"/>
                <a:gd name="T4" fmla="*/ 123 w 142"/>
                <a:gd name="T5" fmla="*/ 105 h 142"/>
                <a:gd name="T6" fmla="*/ 113 w 142"/>
                <a:gd name="T7" fmla="*/ 117 h 142"/>
                <a:gd name="T8" fmla="*/ 101 w 142"/>
                <a:gd name="T9" fmla="*/ 125 h 142"/>
                <a:gd name="T10" fmla="*/ 86 w 142"/>
                <a:gd name="T11" fmla="*/ 129 h 142"/>
                <a:gd name="T12" fmla="*/ 71 w 142"/>
                <a:gd name="T13" fmla="*/ 132 h 142"/>
                <a:gd name="T14" fmla="*/ 57 w 142"/>
                <a:gd name="T15" fmla="*/ 129 h 142"/>
                <a:gd name="T16" fmla="*/ 37 w 142"/>
                <a:gd name="T17" fmla="*/ 122 h 142"/>
                <a:gd name="T18" fmla="*/ 22 w 142"/>
                <a:gd name="T19" fmla="*/ 107 h 142"/>
                <a:gd name="T20" fmla="*/ 12 w 142"/>
                <a:gd name="T21" fmla="*/ 85 h 142"/>
                <a:gd name="T22" fmla="*/ 10 w 142"/>
                <a:gd name="T23" fmla="*/ 63 h 142"/>
                <a:gd name="T24" fmla="*/ 17 w 142"/>
                <a:gd name="T25" fmla="*/ 39 h 142"/>
                <a:gd name="T26" fmla="*/ 30 w 142"/>
                <a:gd name="T27" fmla="*/ 24 h 142"/>
                <a:gd name="T28" fmla="*/ 42 w 142"/>
                <a:gd name="T29" fmla="*/ 17 h 142"/>
                <a:gd name="T30" fmla="*/ 57 w 142"/>
                <a:gd name="T31" fmla="*/ 12 h 142"/>
                <a:gd name="T32" fmla="*/ 71 w 142"/>
                <a:gd name="T33" fmla="*/ 9 h 142"/>
                <a:gd name="T34" fmla="*/ 86 w 142"/>
                <a:gd name="T35" fmla="*/ 12 h 142"/>
                <a:gd name="T36" fmla="*/ 108 w 142"/>
                <a:gd name="T37" fmla="*/ 22 h 142"/>
                <a:gd name="T38" fmla="*/ 120 w 142"/>
                <a:gd name="T39" fmla="*/ 34 h 142"/>
                <a:gd name="T40" fmla="*/ 125 w 142"/>
                <a:gd name="T41" fmla="*/ 41 h 142"/>
                <a:gd name="T42" fmla="*/ 130 w 142"/>
                <a:gd name="T43" fmla="*/ 53 h 142"/>
                <a:gd name="T44" fmla="*/ 133 w 142"/>
                <a:gd name="T45" fmla="*/ 71 h 142"/>
                <a:gd name="T46" fmla="*/ 142 w 142"/>
                <a:gd name="T47" fmla="*/ 80 h 142"/>
                <a:gd name="T48" fmla="*/ 142 w 142"/>
                <a:gd name="T49" fmla="*/ 61 h 142"/>
                <a:gd name="T50" fmla="*/ 135 w 142"/>
                <a:gd name="T51" fmla="*/ 39 h 142"/>
                <a:gd name="T52" fmla="*/ 123 w 142"/>
                <a:gd name="T53" fmla="*/ 22 h 142"/>
                <a:gd name="T54" fmla="*/ 108 w 142"/>
                <a:gd name="T55" fmla="*/ 9 h 142"/>
                <a:gd name="T56" fmla="*/ 96 w 142"/>
                <a:gd name="T57" fmla="*/ 4 h 142"/>
                <a:gd name="T58" fmla="*/ 81 w 142"/>
                <a:gd name="T59" fmla="*/ 0 h 142"/>
                <a:gd name="T60" fmla="*/ 64 w 142"/>
                <a:gd name="T61" fmla="*/ 0 h 142"/>
                <a:gd name="T62" fmla="*/ 44 w 142"/>
                <a:gd name="T63" fmla="*/ 4 h 142"/>
                <a:gd name="T64" fmla="*/ 20 w 142"/>
                <a:gd name="T65" fmla="*/ 22 h 142"/>
                <a:gd name="T66" fmla="*/ 12 w 142"/>
                <a:gd name="T67" fmla="*/ 31 h 142"/>
                <a:gd name="T68" fmla="*/ 3 w 142"/>
                <a:gd name="T69" fmla="*/ 53 h 142"/>
                <a:gd name="T70" fmla="*/ 0 w 142"/>
                <a:gd name="T71" fmla="*/ 76 h 142"/>
                <a:gd name="T72" fmla="*/ 5 w 142"/>
                <a:gd name="T73" fmla="*/ 98 h 142"/>
                <a:gd name="T74" fmla="*/ 12 w 142"/>
                <a:gd name="T75" fmla="*/ 110 h 142"/>
                <a:gd name="T76" fmla="*/ 22 w 142"/>
                <a:gd name="T77" fmla="*/ 125 h 142"/>
                <a:gd name="T78" fmla="*/ 34 w 142"/>
                <a:gd name="T79" fmla="*/ 132 h 142"/>
                <a:gd name="T80" fmla="*/ 47 w 142"/>
                <a:gd name="T81" fmla="*/ 137 h 142"/>
                <a:gd name="T82" fmla="*/ 69 w 142"/>
                <a:gd name="T83" fmla="*/ 142 h 142"/>
                <a:gd name="T84" fmla="*/ 86 w 142"/>
                <a:gd name="T85" fmla="*/ 139 h 142"/>
                <a:gd name="T86" fmla="*/ 98 w 142"/>
                <a:gd name="T87" fmla="*/ 137 h 142"/>
                <a:gd name="T88" fmla="*/ 115 w 142"/>
                <a:gd name="T89" fmla="*/ 125 h 142"/>
                <a:gd name="T90" fmla="*/ 128 w 142"/>
                <a:gd name="T91" fmla="*/ 115 h 142"/>
                <a:gd name="T92" fmla="*/ 137 w 142"/>
                <a:gd name="T93" fmla="*/ 9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" h="142">
                  <a:moveTo>
                    <a:pt x="133" y="78"/>
                  </a:moveTo>
                  <a:lnTo>
                    <a:pt x="133" y="80"/>
                  </a:lnTo>
                  <a:lnTo>
                    <a:pt x="130" y="85"/>
                  </a:lnTo>
                  <a:lnTo>
                    <a:pt x="130" y="93"/>
                  </a:lnTo>
                  <a:lnTo>
                    <a:pt x="128" y="95"/>
                  </a:lnTo>
                  <a:lnTo>
                    <a:pt x="128" y="98"/>
                  </a:lnTo>
                  <a:lnTo>
                    <a:pt x="125" y="100"/>
                  </a:lnTo>
                  <a:lnTo>
                    <a:pt x="125" y="102"/>
                  </a:lnTo>
                  <a:lnTo>
                    <a:pt x="123" y="105"/>
                  </a:lnTo>
                  <a:lnTo>
                    <a:pt x="120" y="107"/>
                  </a:lnTo>
                  <a:lnTo>
                    <a:pt x="118" y="112"/>
                  </a:lnTo>
                  <a:lnTo>
                    <a:pt x="113" y="117"/>
                  </a:lnTo>
                  <a:lnTo>
                    <a:pt x="110" y="117"/>
                  </a:lnTo>
                  <a:lnTo>
                    <a:pt x="106" y="122"/>
                  </a:lnTo>
                  <a:lnTo>
                    <a:pt x="101" y="125"/>
                  </a:lnTo>
                  <a:lnTo>
                    <a:pt x="98" y="127"/>
                  </a:lnTo>
                  <a:lnTo>
                    <a:pt x="91" y="129"/>
                  </a:lnTo>
                  <a:lnTo>
                    <a:pt x="86" y="129"/>
                  </a:lnTo>
                  <a:lnTo>
                    <a:pt x="83" y="132"/>
                  </a:lnTo>
                  <a:lnTo>
                    <a:pt x="79" y="132"/>
                  </a:lnTo>
                  <a:lnTo>
                    <a:pt x="71" y="132"/>
                  </a:lnTo>
                  <a:lnTo>
                    <a:pt x="64" y="132"/>
                  </a:lnTo>
                  <a:lnTo>
                    <a:pt x="59" y="132"/>
                  </a:lnTo>
                  <a:lnTo>
                    <a:pt x="57" y="129"/>
                  </a:lnTo>
                  <a:lnTo>
                    <a:pt x="49" y="129"/>
                  </a:lnTo>
                  <a:lnTo>
                    <a:pt x="44" y="127"/>
                  </a:lnTo>
                  <a:lnTo>
                    <a:pt x="37" y="122"/>
                  </a:lnTo>
                  <a:lnTo>
                    <a:pt x="30" y="117"/>
                  </a:lnTo>
                  <a:lnTo>
                    <a:pt x="25" y="112"/>
                  </a:lnTo>
                  <a:lnTo>
                    <a:pt x="22" y="107"/>
                  </a:lnTo>
                  <a:lnTo>
                    <a:pt x="17" y="102"/>
                  </a:lnTo>
                  <a:lnTo>
                    <a:pt x="15" y="95"/>
                  </a:lnTo>
                  <a:lnTo>
                    <a:pt x="12" y="85"/>
                  </a:lnTo>
                  <a:lnTo>
                    <a:pt x="10" y="78"/>
                  </a:lnTo>
                  <a:lnTo>
                    <a:pt x="10" y="71"/>
                  </a:lnTo>
                  <a:lnTo>
                    <a:pt x="10" y="63"/>
                  </a:lnTo>
                  <a:lnTo>
                    <a:pt x="12" y="56"/>
                  </a:lnTo>
                  <a:lnTo>
                    <a:pt x="15" y="46"/>
                  </a:lnTo>
                  <a:lnTo>
                    <a:pt x="17" y="39"/>
                  </a:lnTo>
                  <a:lnTo>
                    <a:pt x="22" y="34"/>
                  </a:lnTo>
                  <a:lnTo>
                    <a:pt x="25" y="29"/>
                  </a:lnTo>
                  <a:lnTo>
                    <a:pt x="30" y="24"/>
                  </a:lnTo>
                  <a:lnTo>
                    <a:pt x="34" y="22"/>
                  </a:lnTo>
                  <a:lnTo>
                    <a:pt x="39" y="19"/>
                  </a:lnTo>
                  <a:lnTo>
                    <a:pt x="42" y="17"/>
                  </a:lnTo>
                  <a:lnTo>
                    <a:pt x="47" y="14"/>
                  </a:lnTo>
                  <a:lnTo>
                    <a:pt x="52" y="12"/>
                  </a:lnTo>
                  <a:lnTo>
                    <a:pt x="57" y="12"/>
                  </a:lnTo>
                  <a:lnTo>
                    <a:pt x="59" y="9"/>
                  </a:lnTo>
                  <a:lnTo>
                    <a:pt x="64" y="9"/>
                  </a:lnTo>
                  <a:lnTo>
                    <a:pt x="71" y="9"/>
                  </a:lnTo>
                  <a:lnTo>
                    <a:pt x="79" y="9"/>
                  </a:lnTo>
                  <a:lnTo>
                    <a:pt x="83" y="9"/>
                  </a:lnTo>
                  <a:lnTo>
                    <a:pt x="86" y="12"/>
                  </a:lnTo>
                  <a:lnTo>
                    <a:pt x="93" y="12"/>
                  </a:lnTo>
                  <a:lnTo>
                    <a:pt x="101" y="17"/>
                  </a:lnTo>
                  <a:lnTo>
                    <a:pt x="108" y="22"/>
                  </a:lnTo>
                  <a:lnTo>
                    <a:pt x="113" y="24"/>
                  </a:lnTo>
                  <a:lnTo>
                    <a:pt x="118" y="29"/>
                  </a:lnTo>
                  <a:lnTo>
                    <a:pt x="120" y="34"/>
                  </a:lnTo>
                  <a:lnTo>
                    <a:pt x="123" y="36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8" y="44"/>
                  </a:lnTo>
                  <a:lnTo>
                    <a:pt x="128" y="46"/>
                  </a:lnTo>
                  <a:lnTo>
                    <a:pt x="130" y="53"/>
                  </a:lnTo>
                  <a:lnTo>
                    <a:pt x="130" y="56"/>
                  </a:lnTo>
                  <a:lnTo>
                    <a:pt x="133" y="63"/>
                  </a:lnTo>
                  <a:lnTo>
                    <a:pt x="133" y="71"/>
                  </a:lnTo>
                  <a:lnTo>
                    <a:pt x="133" y="78"/>
                  </a:lnTo>
                  <a:close/>
                  <a:moveTo>
                    <a:pt x="140" y="88"/>
                  </a:moveTo>
                  <a:lnTo>
                    <a:pt x="142" y="80"/>
                  </a:lnTo>
                  <a:lnTo>
                    <a:pt x="142" y="73"/>
                  </a:lnTo>
                  <a:lnTo>
                    <a:pt x="142" y="68"/>
                  </a:lnTo>
                  <a:lnTo>
                    <a:pt x="142" y="61"/>
                  </a:lnTo>
                  <a:lnTo>
                    <a:pt x="140" y="53"/>
                  </a:lnTo>
                  <a:lnTo>
                    <a:pt x="137" y="44"/>
                  </a:lnTo>
                  <a:lnTo>
                    <a:pt x="135" y="39"/>
                  </a:lnTo>
                  <a:lnTo>
                    <a:pt x="130" y="31"/>
                  </a:lnTo>
                  <a:lnTo>
                    <a:pt x="125" y="26"/>
                  </a:lnTo>
                  <a:lnTo>
                    <a:pt x="123" y="22"/>
                  </a:lnTo>
                  <a:lnTo>
                    <a:pt x="120" y="19"/>
                  </a:lnTo>
                  <a:lnTo>
                    <a:pt x="113" y="14"/>
                  </a:lnTo>
                  <a:lnTo>
                    <a:pt x="108" y="9"/>
                  </a:lnTo>
                  <a:lnTo>
                    <a:pt x="106" y="9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1" y="0"/>
                  </a:lnTo>
                  <a:lnTo>
                    <a:pt x="7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57" y="2"/>
                  </a:lnTo>
                  <a:lnTo>
                    <a:pt x="47" y="4"/>
                  </a:lnTo>
                  <a:lnTo>
                    <a:pt x="44" y="4"/>
                  </a:lnTo>
                  <a:lnTo>
                    <a:pt x="34" y="9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5" y="29"/>
                  </a:lnTo>
                  <a:lnTo>
                    <a:pt x="12" y="31"/>
                  </a:lnTo>
                  <a:lnTo>
                    <a:pt x="7" y="39"/>
                  </a:lnTo>
                  <a:lnTo>
                    <a:pt x="5" y="44"/>
                  </a:lnTo>
                  <a:lnTo>
                    <a:pt x="3" y="53"/>
                  </a:lnTo>
                  <a:lnTo>
                    <a:pt x="0" y="61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3" y="88"/>
                  </a:lnTo>
                  <a:lnTo>
                    <a:pt x="5" y="98"/>
                  </a:lnTo>
                  <a:lnTo>
                    <a:pt x="7" y="102"/>
                  </a:lnTo>
                  <a:lnTo>
                    <a:pt x="10" y="107"/>
                  </a:lnTo>
                  <a:lnTo>
                    <a:pt x="12" y="110"/>
                  </a:lnTo>
                  <a:lnTo>
                    <a:pt x="17" y="115"/>
                  </a:lnTo>
                  <a:lnTo>
                    <a:pt x="17" y="120"/>
                  </a:lnTo>
                  <a:lnTo>
                    <a:pt x="22" y="125"/>
                  </a:lnTo>
                  <a:lnTo>
                    <a:pt x="25" y="125"/>
                  </a:lnTo>
                  <a:lnTo>
                    <a:pt x="30" y="127"/>
                  </a:lnTo>
                  <a:lnTo>
                    <a:pt x="34" y="132"/>
                  </a:lnTo>
                  <a:lnTo>
                    <a:pt x="37" y="132"/>
                  </a:lnTo>
                  <a:lnTo>
                    <a:pt x="44" y="137"/>
                  </a:lnTo>
                  <a:lnTo>
                    <a:pt x="47" y="137"/>
                  </a:lnTo>
                  <a:lnTo>
                    <a:pt x="57" y="139"/>
                  </a:lnTo>
                  <a:lnTo>
                    <a:pt x="61" y="142"/>
                  </a:lnTo>
                  <a:lnTo>
                    <a:pt x="69" y="142"/>
                  </a:lnTo>
                  <a:lnTo>
                    <a:pt x="76" y="142"/>
                  </a:lnTo>
                  <a:lnTo>
                    <a:pt x="83" y="142"/>
                  </a:lnTo>
                  <a:lnTo>
                    <a:pt x="86" y="139"/>
                  </a:lnTo>
                  <a:lnTo>
                    <a:pt x="88" y="139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108" y="132"/>
                  </a:lnTo>
                  <a:lnTo>
                    <a:pt x="113" y="127"/>
                  </a:lnTo>
                  <a:lnTo>
                    <a:pt x="115" y="125"/>
                  </a:lnTo>
                  <a:lnTo>
                    <a:pt x="120" y="122"/>
                  </a:lnTo>
                  <a:lnTo>
                    <a:pt x="125" y="120"/>
                  </a:lnTo>
                  <a:lnTo>
                    <a:pt x="128" y="115"/>
                  </a:lnTo>
                  <a:lnTo>
                    <a:pt x="130" y="110"/>
                  </a:lnTo>
                  <a:lnTo>
                    <a:pt x="133" y="107"/>
                  </a:lnTo>
                  <a:lnTo>
                    <a:pt x="137" y="98"/>
                  </a:lnTo>
                  <a:lnTo>
                    <a:pt x="140" y="8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1" name="Group 135">
            <a:extLst>
              <a:ext uri="{FF2B5EF4-FFF2-40B4-BE49-F238E27FC236}">
                <a16:creationId xmlns:a16="http://schemas.microsoft.com/office/drawing/2014/main" id="{B5D9EAE5-08F4-4E6D-8253-B19EC9AF48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094" y="1536700"/>
            <a:ext cx="841375" cy="841375"/>
            <a:chOff x="4475" y="1069"/>
            <a:chExt cx="530" cy="530"/>
          </a:xfrm>
        </p:grpSpPr>
        <p:sp>
          <p:nvSpPr>
            <p:cNvPr id="152" name="AutoShape 134">
              <a:extLst>
                <a:ext uri="{FF2B5EF4-FFF2-40B4-BE49-F238E27FC236}">
                  <a16:creationId xmlns:a16="http://schemas.microsoft.com/office/drawing/2014/main" id="{8C7ACF9B-3A44-4690-A95A-21490AC58E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75" y="10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136">
              <a:extLst>
                <a:ext uri="{FF2B5EF4-FFF2-40B4-BE49-F238E27FC236}">
                  <a16:creationId xmlns:a16="http://schemas.microsoft.com/office/drawing/2014/main" id="{D67F802E-4500-42F4-852F-7C7D60AD9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8" y="1072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7">
              <a:extLst>
                <a:ext uri="{FF2B5EF4-FFF2-40B4-BE49-F238E27FC236}">
                  <a16:creationId xmlns:a16="http://schemas.microsoft.com/office/drawing/2014/main" id="{8B351F35-B136-4A50-A8B3-C7728B13D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4" y="1088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8">
              <a:extLst>
                <a:ext uri="{FF2B5EF4-FFF2-40B4-BE49-F238E27FC236}">
                  <a16:creationId xmlns:a16="http://schemas.microsoft.com/office/drawing/2014/main" id="{27D50063-94EA-498E-9ED3-4F728F4FF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" y="1205"/>
              <a:ext cx="234" cy="261"/>
            </a:xfrm>
            <a:custGeom>
              <a:avLst/>
              <a:gdLst>
                <a:gd name="T0" fmla="*/ 3 w 234"/>
                <a:gd name="T1" fmla="*/ 261 h 261"/>
                <a:gd name="T2" fmla="*/ 234 w 234"/>
                <a:gd name="T3" fmla="*/ 255 h 261"/>
                <a:gd name="T4" fmla="*/ 229 w 234"/>
                <a:gd name="T5" fmla="*/ 236 h 261"/>
                <a:gd name="T6" fmla="*/ 210 w 234"/>
                <a:gd name="T7" fmla="*/ 212 h 261"/>
                <a:gd name="T8" fmla="*/ 185 w 234"/>
                <a:gd name="T9" fmla="*/ 196 h 261"/>
                <a:gd name="T10" fmla="*/ 183 w 234"/>
                <a:gd name="T11" fmla="*/ 201 h 261"/>
                <a:gd name="T12" fmla="*/ 188 w 234"/>
                <a:gd name="T13" fmla="*/ 206 h 261"/>
                <a:gd name="T14" fmla="*/ 213 w 234"/>
                <a:gd name="T15" fmla="*/ 231 h 261"/>
                <a:gd name="T16" fmla="*/ 14 w 234"/>
                <a:gd name="T17" fmla="*/ 245 h 261"/>
                <a:gd name="T18" fmla="*/ 25 w 234"/>
                <a:gd name="T19" fmla="*/ 226 h 261"/>
                <a:gd name="T20" fmla="*/ 52 w 234"/>
                <a:gd name="T21" fmla="*/ 204 h 261"/>
                <a:gd name="T22" fmla="*/ 74 w 234"/>
                <a:gd name="T23" fmla="*/ 209 h 261"/>
                <a:gd name="T24" fmla="*/ 109 w 234"/>
                <a:gd name="T25" fmla="*/ 220 h 261"/>
                <a:gd name="T26" fmla="*/ 153 w 234"/>
                <a:gd name="T27" fmla="*/ 215 h 261"/>
                <a:gd name="T28" fmla="*/ 180 w 234"/>
                <a:gd name="T29" fmla="*/ 201 h 261"/>
                <a:gd name="T30" fmla="*/ 177 w 234"/>
                <a:gd name="T31" fmla="*/ 193 h 261"/>
                <a:gd name="T32" fmla="*/ 164 w 234"/>
                <a:gd name="T33" fmla="*/ 198 h 261"/>
                <a:gd name="T34" fmla="*/ 120 w 234"/>
                <a:gd name="T35" fmla="*/ 209 h 261"/>
                <a:gd name="T36" fmla="*/ 87 w 234"/>
                <a:gd name="T37" fmla="*/ 206 h 261"/>
                <a:gd name="T38" fmla="*/ 58 w 234"/>
                <a:gd name="T39" fmla="*/ 190 h 261"/>
                <a:gd name="T40" fmla="*/ 33 w 234"/>
                <a:gd name="T41" fmla="*/ 166 h 261"/>
                <a:gd name="T42" fmla="*/ 20 w 234"/>
                <a:gd name="T43" fmla="*/ 130 h 261"/>
                <a:gd name="T44" fmla="*/ 20 w 234"/>
                <a:gd name="T45" fmla="*/ 95 h 261"/>
                <a:gd name="T46" fmla="*/ 30 w 234"/>
                <a:gd name="T47" fmla="*/ 62 h 261"/>
                <a:gd name="T48" fmla="*/ 49 w 234"/>
                <a:gd name="T49" fmla="*/ 35 h 261"/>
                <a:gd name="T50" fmla="*/ 74 w 234"/>
                <a:gd name="T51" fmla="*/ 22 h 261"/>
                <a:gd name="T52" fmla="*/ 107 w 234"/>
                <a:gd name="T53" fmla="*/ 11 h 261"/>
                <a:gd name="T54" fmla="*/ 134 w 234"/>
                <a:gd name="T55" fmla="*/ 11 h 261"/>
                <a:gd name="T56" fmla="*/ 169 w 234"/>
                <a:gd name="T57" fmla="*/ 24 h 261"/>
                <a:gd name="T58" fmla="*/ 202 w 234"/>
                <a:gd name="T59" fmla="*/ 54 h 261"/>
                <a:gd name="T60" fmla="*/ 215 w 234"/>
                <a:gd name="T61" fmla="*/ 95 h 261"/>
                <a:gd name="T62" fmla="*/ 215 w 234"/>
                <a:gd name="T63" fmla="*/ 130 h 261"/>
                <a:gd name="T64" fmla="*/ 196 w 234"/>
                <a:gd name="T65" fmla="*/ 174 h 261"/>
                <a:gd name="T66" fmla="*/ 183 w 234"/>
                <a:gd name="T67" fmla="*/ 190 h 261"/>
                <a:gd name="T68" fmla="*/ 191 w 234"/>
                <a:gd name="T69" fmla="*/ 193 h 261"/>
                <a:gd name="T70" fmla="*/ 213 w 234"/>
                <a:gd name="T71" fmla="*/ 166 h 261"/>
                <a:gd name="T72" fmla="*/ 226 w 234"/>
                <a:gd name="T73" fmla="*/ 133 h 261"/>
                <a:gd name="T74" fmla="*/ 226 w 234"/>
                <a:gd name="T75" fmla="*/ 103 h 261"/>
                <a:gd name="T76" fmla="*/ 223 w 234"/>
                <a:gd name="T77" fmla="*/ 79 h 261"/>
                <a:gd name="T78" fmla="*/ 213 w 234"/>
                <a:gd name="T79" fmla="*/ 54 h 261"/>
                <a:gd name="T80" fmla="*/ 183 w 234"/>
                <a:gd name="T81" fmla="*/ 22 h 261"/>
                <a:gd name="T82" fmla="*/ 139 w 234"/>
                <a:gd name="T83" fmla="*/ 3 h 261"/>
                <a:gd name="T84" fmla="*/ 112 w 234"/>
                <a:gd name="T85" fmla="*/ 0 h 261"/>
                <a:gd name="T86" fmla="*/ 66 w 234"/>
                <a:gd name="T87" fmla="*/ 13 h 261"/>
                <a:gd name="T88" fmla="*/ 39 w 234"/>
                <a:gd name="T89" fmla="*/ 33 h 261"/>
                <a:gd name="T90" fmla="*/ 17 w 234"/>
                <a:gd name="T91" fmla="*/ 62 h 261"/>
                <a:gd name="T92" fmla="*/ 9 w 234"/>
                <a:gd name="T93" fmla="*/ 92 h 261"/>
                <a:gd name="T94" fmla="*/ 9 w 234"/>
                <a:gd name="T95" fmla="*/ 122 h 261"/>
                <a:gd name="T96" fmla="*/ 17 w 234"/>
                <a:gd name="T97" fmla="*/ 158 h 261"/>
                <a:gd name="T98" fmla="*/ 39 w 234"/>
                <a:gd name="T99" fmla="*/ 185 h 261"/>
                <a:gd name="T100" fmla="*/ 33 w 234"/>
                <a:gd name="T101" fmla="*/ 204 h 261"/>
                <a:gd name="T102" fmla="*/ 9 w 234"/>
                <a:gd name="T103" fmla="*/ 234 h 261"/>
                <a:gd name="T104" fmla="*/ 0 w 234"/>
                <a:gd name="T105" fmla="*/ 2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4" h="261">
                  <a:moveTo>
                    <a:pt x="0" y="258"/>
                  </a:moveTo>
                  <a:lnTo>
                    <a:pt x="0" y="258"/>
                  </a:lnTo>
                  <a:lnTo>
                    <a:pt x="0" y="258"/>
                  </a:lnTo>
                  <a:lnTo>
                    <a:pt x="3" y="261"/>
                  </a:lnTo>
                  <a:lnTo>
                    <a:pt x="3" y="261"/>
                  </a:lnTo>
                  <a:lnTo>
                    <a:pt x="232" y="261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8"/>
                  </a:lnTo>
                  <a:lnTo>
                    <a:pt x="234" y="255"/>
                  </a:lnTo>
                  <a:lnTo>
                    <a:pt x="234" y="255"/>
                  </a:lnTo>
                  <a:lnTo>
                    <a:pt x="234" y="253"/>
                  </a:lnTo>
                  <a:lnTo>
                    <a:pt x="234" y="247"/>
                  </a:lnTo>
                  <a:lnTo>
                    <a:pt x="232" y="242"/>
                  </a:lnTo>
                  <a:lnTo>
                    <a:pt x="229" y="236"/>
                  </a:lnTo>
                  <a:lnTo>
                    <a:pt x="226" y="234"/>
                  </a:lnTo>
                  <a:lnTo>
                    <a:pt x="223" y="228"/>
                  </a:lnTo>
                  <a:lnTo>
                    <a:pt x="221" y="223"/>
                  </a:lnTo>
                  <a:lnTo>
                    <a:pt x="215" y="217"/>
                  </a:lnTo>
                  <a:lnTo>
                    <a:pt x="210" y="212"/>
                  </a:lnTo>
                  <a:lnTo>
                    <a:pt x="207" y="209"/>
                  </a:lnTo>
                  <a:lnTo>
                    <a:pt x="199" y="201"/>
                  </a:lnTo>
                  <a:lnTo>
                    <a:pt x="188" y="196"/>
                  </a:lnTo>
                  <a:lnTo>
                    <a:pt x="188" y="196"/>
                  </a:lnTo>
                  <a:lnTo>
                    <a:pt x="185" y="196"/>
                  </a:lnTo>
                  <a:lnTo>
                    <a:pt x="183" y="196"/>
                  </a:lnTo>
                  <a:lnTo>
                    <a:pt x="183" y="198"/>
                  </a:lnTo>
                  <a:lnTo>
                    <a:pt x="183" y="198"/>
                  </a:lnTo>
                  <a:lnTo>
                    <a:pt x="183" y="198"/>
                  </a:lnTo>
                  <a:lnTo>
                    <a:pt x="183" y="201"/>
                  </a:lnTo>
                  <a:lnTo>
                    <a:pt x="183" y="201"/>
                  </a:lnTo>
                  <a:lnTo>
                    <a:pt x="183" y="204"/>
                  </a:lnTo>
                  <a:lnTo>
                    <a:pt x="183" y="204"/>
                  </a:lnTo>
                  <a:lnTo>
                    <a:pt x="185" y="204"/>
                  </a:lnTo>
                  <a:lnTo>
                    <a:pt x="188" y="206"/>
                  </a:lnTo>
                  <a:lnTo>
                    <a:pt x="196" y="212"/>
                  </a:lnTo>
                  <a:lnTo>
                    <a:pt x="199" y="215"/>
                  </a:lnTo>
                  <a:lnTo>
                    <a:pt x="204" y="220"/>
                  </a:lnTo>
                  <a:lnTo>
                    <a:pt x="210" y="226"/>
                  </a:lnTo>
                  <a:lnTo>
                    <a:pt x="213" y="231"/>
                  </a:lnTo>
                  <a:lnTo>
                    <a:pt x="218" y="236"/>
                  </a:lnTo>
                  <a:lnTo>
                    <a:pt x="221" y="242"/>
                  </a:lnTo>
                  <a:lnTo>
                    <a:pt x="223" y="250"/>
                  </a:lnTo>
                  <a:lnTo>
                    <a:pt x="11" y="250"/>
                  </a:lnTo>
                  <a:lnTo>
                    <a:pt x="14" y="245"/>
                  </a:lnTo>
                  <a:lnTo>
                    <a:pt x="17" y="239"/>
                  </a:lnTo>
                  <a:lnTo>
                    <a:pt x="17" y="236"/>
                  </a:lnTo>
                  <a:lnTo>
                    <a:pt x="20" y="234"/>
                  </a:lnTo>
                  <a:lnTo>
                    <a:pt x="22" y="231"/>
                  </a:lnTo>
                  <a:lnTo>
                    <a:pt x="25" y="226"/>
                  </a:lnTo>
                  <a:lnTo>
                    <a:pt x="30" y="217"/>
                  </a:lnTo>
                  <a:lnTo>
                    <a:pt x="36" y="215"/>
                  </a:lnTo>
                  <a:lnTo>
                    <a:pt x="39" y="212"/>
                  </a:lnTo>
                  <a:lnTo>
                    <a:pt x="47" y="206"/>
                  </a:lnTo>
                  <a:lnTo>
                    <a:pt x="52" y="204"/>
                  </a:lnTo>
                  <a:lnTo>
                    <a:pt x="52" y="204"/>
                  </a:lnTo>
                  <a:lnTo>
                    <a:pt x="52" y="198"/>
                  </a:lnTo>
                  <a:lnTo>
                    <a:pt x="58" y="201"/>
                  </a:lnTo>
                  <a:lnTo>
                    <a:pt x="66" y="206"/>
                  </a:lnTo>
                  <a:lnTo>
                    <a:pt x="74" y="209"/>
                  </a:lnTo>
                  <a:lnTo>
                    <a:pt x="79" y="212"/>
                  </a:lnTo>
                  <a:lnTo>
                    <a:pt x="87" y="215"/>
                  </a:lnTo>
                  <a:lnTo>
                    <a:pt x="96" y="217"/>
                  </a:lnTo>
                  <a:lnTo>
                    <a:pt x="104" y="220"/>
                  </a:lnTo>
                  <a:lnTo>
                    <a:pt x="109" y="220"/>
                  </a:lnTo>
                  <a:lnTo>
                    <a:pt x="117" y="220"/>
                  </a:lnTo>
                  <a:lnTo>
                    <a:pt x="128" y="220"/>
                  </a:lnTo>
                  <a:lnTo>
                    <a:pt x="134" y="217"/>
                  </a:lnTo>
                  <a:lnTo>
                    <a:pt x="145" y="217"/>
                  </a:lnTo>
                  <a:lnTo>
                    <a:pt x="153" y="215"/>
                  </a:lnTo>
                  <a:lnTo>
                    <a:pt x="155" y="212"/>
                  </a:lnTo>
                  <a:lnTo>
                    <a:pt x="166" y="206"/>
                  </a:lnTo>
                  <a:lnTo>
                    <a:pt x="172" y="206"/>
                  </a:lnTo>
                  <a:lnTo>
                    <a:pt x="177" y="201"/>
                  </a:lnTo>
                  <a:lnTo>
                    <a:pt x="180" y="201"/>
                  </a:lnTo>
                  <a:lnTo>
                    <a:pt x="180" y="198"/>
                  </a:lnTo>
                  <a:lnTo>
                    <a:pt x="180" y="198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7" y="193"/>
                  </a:lnTo>
                  <a:lnTo>
                    <a:pt x="177" y="193"/>
                  </a:lnTo>
                  <a:lnTo>
                    <a:pt x="174" y="193"/>
                  </a:lnTo>
                  <a:lnTo>
                    <a:pt x="174" y="193"/>
                  </a:lnTo>
                  <a:lnTo>
                    <a:pt x="172" y="193"/>
                  </a:lnTo>
                  <a:lnTo>
                    <a:pt x="164" y="198"/>
                  </a:lnTo>
                  <a:lnTo>
                    <a:pt x="161" y="201"/>
                  </a:lnTo>
                  <a:lnTo>
                    <a:pt x="150" y="204"/>
                  </a:lnTo>
                  <a:lnTo>
                    <a:pt x="139" y="206"/>
                  </a:lnTo>
                  <a:lnTo>
                    <a:pt x="128" y="209"/>
                  </a:lnTo>
                  <a:lnTo>
                    <a:pt x="120" y="209"/>
                  </a:lnTo>
                  <a:lnTo>
                    <a:pt x="112" y="209"/>
                  </a:lnTo>
                  <a:lnTo>
                    <a:pt x="107" y="209"/>
                  </a:lnTo>
                  <a:lnTo>
                    <a:pt x="101" y="209"/>
                  </a:lnTo>
                  <a:lnTo>
                    <a:pt x="98" y="206"/>
                  </a:lnTo>
                  <a:lnTo>
                    <a:pt x="87" y="206"/>
                  </a:lnTo>
                  <a:lnTo>
                    <a:pt x="82" y="204"/>
                  </a:lnTo>
                  <a:lnTo>
                    <a:pt x="74" y="201"/>
                  </a:lnTo>
                  <a:lnTo>
                    <a:pt x="68" y="198"/>
                  </a:lnTo>
                  <a:lnTo>
                    <a:pt x="66" y="196"/>
                  </a:lnTo>
                  <a:lnTo>
                    <a:pt x="58" y="190"/>
                  </a:lnTo>
                  <a:lnTo>
                    <a:pt x="55" y="187"/>
                  </a:lnTo>
                  <a:lnTo>
                    <a:pt x="47" y="179"/>
                  </a:lnTo>
                  <a:lnTo>
                    <a:pt x="44" y="177"/>
                  </a:lnTo>
                  <a:lnTo>
                    <a:pt x="41" y="174"/>
                  </a:lnTo>
                  <a:lnTo>
                    <a:pt x="33" y="166"/>
                  </a:lnTo>
                  <a:lnTo>
                    <a:pt x="30" y="158"/>
                  </a:lnTo>
                  <a:lnTo>
                    <a:pt x="25" y="149"/>
                  </a:lnTo>
                  <a:lnTo>
                    <a:pt x="22" y="139"/>
                  </a:lnTo>
                  <a:lnTo>
                    <a:pt x="20" y="136"/>
                  </a:lnTo>
                  <a:lnTo>
                    <a:pt x="20" y="130"/>
                  </a:lnTo>
                  <a:lnTo>
                    <a:pt x="17" y="120"/>
                  </a:lnTo>
                  <a:lnTo>
                    <a:pt x="17" y="114"/>
                  </a:lnTo>
                  <a:lnTo>
                    <a:pt x="17" y="111"/>
                  </a:lnTo>
                  <a:lnTo>
                    <a:pt x="17" y="106"/>
                  </a:lnTo>
                  <a:lnTo>
                    <a:pt x="20" y="95"/>
                  </a:lnTo>
                  <a:lnTo>
                    <a:pt x="20" y="90"/>
                  </a:lnTo>
                  <a:lnTo>
                    <a:pt x="20" y="84"/>
                  </a:lnTo>
                  <a:lnTo>
                    <a:pt x="22" y="81"/>
                  </a:lnTo>
                  <a:lnTo>
                    <a:pt x="25" y="71"/>
                  </a:lnTo>
                  <a:lnTo>
                    <a:pt x="30" y="62"/>
                  </a:lnTo>
                  <a:lnTo>
                    <a:pt x="33" y="54"/>
                  </a:lnTo>
                  <a:lnTo>
                    <a:pt x="41" y="46"/>
                  </a:lnTo>
                  <a:lnTo>
                    <a:pt x="44" y="43"/>
                  </a:lnTo>
                  <a:lnTo>
                    <a:pt x="47" y="41"/>
                  </a:lnTo>
                  <a:lnTo>
                    <a:pt x="49" y="35"/>
                  </a:lnTo>
                  <a:lnTo>
                    <a:pt x="55" y="33"/>
                  </a:lnTo>
                  <a:lnTo>
                    <a:pt x="58" y="30"/>
                  </a:lnTo>
                  <a:lnTo>
                    <a:pt x="66" y="24"/>
                  </a:lnTo>
                  <a:lnTo>
                    <a:pt x="68" y="22"/>
                  </a:lnTo>
                  <a:lnTo>
                    <a:pt x="74" y="22"/>
                  </a:lnTo>
                  <a:lnTo>
                    <a:pt x="82" y="16"/>
                  </a:lnTo>
                  <a:lnTo>
                    <a:pt x="87" y="16"/>
                  </a:lnTo>
                  <a:lnTo>
                    <a:pt x="98" y="13"/>
                  </a:lnTo>
                  <a:lnTo>
                    <a:pt x="101" y="11"/>
                  </a:lnTo>
                  <a:lnTo>
                    <a:pt x="107" y="11"/>
                  </a:lnTo>
                  <a:lnTo>
                    <a:pt x="112" y="11"/>
                  </a:lnTo>
                  <a:lnTo>
                    <a:pt x="117" y="11"/>
                  </a:lnTo>
                  <a:lnTo>
                    <a:pt x="123" y="11"/>
                  </a:lnTo>
                  <a:lnTo>
                    <a:pt x="128" y="11"/>
                  </a:lnTo>
                  <a:lnTo>
                    <a:pt x="134" y="11"/>
                  </a:lnTo>
                  <a:lnTo>
                    <a:pt x="136" y="13"/>
                  </a:lnTo>
                  <a:lnTo>
                    <a:pt x="147" y="16"/>
                  </a:lnTo>
                  <a:lnTo>
                    <a:pt x="153" y="16"/>
                  </a:lnTo>
                  <a:lnTo>
                    <a:pt x="166" y="22"/>
                  </a:lnTo>
                  <a:lnTo>
                    <a:pt x="169" y="24"/>
                  </a:lnTo>
                  <a:lnTo>
                    <a:pt x="177" y="30"/>
                  </a:lnTo>
                  <a:lnTo>
                    <a:pt x="185" y="35"/>
                  </a:lnTo>
                  <a:lnTo>
                    <a:pt x="191" y="43"/>
                  </a:lnTo>
                  <a:lnTo>
                    <a:pt x="193" y="46"/>
                  </a:lnTo>
                  <a:lnTo>
                    <a:pt x="202" y="54"/>
                  </a:lnTo>
                  <a:lnTo>
                    <a:pt x="204" y="62"/>
                  </a:lnTo>
                  <a:lnTo>
                    <a:pt x="210" y="71"/>
                  </a:lnTo>
                  <a:lnTo>
                    <a:pt x="213" y="81"/>
                  </a:lnTo>
                  <a:lnTo>
                    <a:pt x="215" y="90"/>
                  </a:lnTo>
                  <a:lnTo>
                    <a:pt x="215" y="95"/>
                  </a:lnTo>
                  <a:lnTo>
                    <a:pt x="218" y="106"/>
                  </a:lnTo>
                  <a:lnTo>
                    <a:pt x="218" y="111"/>
                  </a:lnTo>
                  <a:lnTo>
                    <a:pt x="218" y="117"/>
                  </a:lnTo>
                  <a:lnTo>
                    <a:pt x="215" y="125"/>
                  </a:lnTo>
                  <a:lnTo>
                    <a:pt x="215" y="130"/>
                  </a:lnTo>
                  <a:lnTo>
                    <a:pt x="213" y="141"/>
                  </a:lnTo>
                  <a:lnTo>
                    <a:pt x="210" y="152"/>
                  </a:lnTo>
                  <a:lnTo>
                    <a:pt x="204" y="160"/>
                  </a:lnTo>
                  <a:lnTo>
                    <a:pt x="199" y="168"/>
                  </a:lnTo>
                  <a:lnTo>
                    <a:pt x="196" y="174"/>
                  </a:lnTo>
                  <a:lnTo>
                    <a:pt x="191" y="177"/>
                  </a:lnTo>
                  <a:lnTo>
                    <a:pt x="183" y="185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90"/>
                  </a:lnTo>
                  <a:lnTo>
                    <a:pt x="183" y="190"/>
                  </a:lnTo>
                  <a:lnTo>
                    <a:pt x="183" y="193"/>
                  </a:lnTo>
                  <a:lnTo>
                    <a:pt x="185" y="193"/>
                  </a:lnTo>
                  <a:lnTo>
                    <a:pt x="188" y="193"/>
                  </a:lnTo>
                  <a:lnTo>
                    <a:pt x="191" y="193"/>
                  </a:lnTo>
                  <a:lnTo>
                    <a:pt x="193" y="187"/>
                  </a:lnTo>
                  <a:lnTo>
                    <a:pt x="202" y="179"/>
                  </a:lnTo>
                  <a:lnTo>
                    <a:pt x="207" y="174"/>
                  </a:lnTo>
                  <a:lnTo>
                    <a:pt x="210" y="171"/>
                  </a:lnTo>
                  <a:lnTo>
                    <a:pt x="213" y="166"/>
                  </a:lnTo>
                  <a:lnTo>
                    <a:pt x="215" y="160"/>
                  </a:lnTo>
                  <a:lnTo>
                    <a:pt x="221" y="149"/>
                  </a:lnTo>
                  <a:lnTo>
                    <a:pt x="221" y="144"/>
                  </a:lnTo>
                  <a:lnTo>
                    <a:pt x="223" y="139"/>
                  </a:lnTo>
                  <a:lnTo>
                    <a:pt x="226" y="133"/>
                  </a:lnTo>
                  <a:lnTo>
                    <a:pt x="226" y="128"/>
                  </a:lnTo>
                  <a:lnTo>
                    <a:pt x="226" y="122"/>
                  </a:lnTo>
                  <a:lnTo>
                    <a:pt x="226" y="117"/>
                  </a:lnTo>
                  <a:lnTo>
                    <a:pt x="226" y="111"/>
                  </a:lnTo>
                  <a:lnTo>
                    <a:pt x="226" y="103"/>
                  </a:lnTo>
                  <a:lnTo>
                    <a:pt x="226" y="98"/>
                  </a:lnTo>
                  <a:lnTo>
                    <a:pt x="226" y="92"/>
                  </a:lnTo>
                  <a:lnTo>
                    <a:pt x="226" y="87"/>
                  </a:lnTo>
                  <a:lnTo>
                    <a:pt x="223" y="81"/>
                  </a:lnTo>
                  <a:lnTo>
                    <a:pt x="223" y="79"/>
                  </a:lnTo>
                  <a:lnTo>
                    <a:pt x="221" y="73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5" y="57"/>
                  </a:lnTo>
                  <a:lnTo>
                    <a:pt x="213" y="54"/>
                  </a:lnTo>
                  <a:lnTo>
                    <a:pt x="210" y="49"/>
                  </a:lnTo>
                  <a:lnTo>
                    <a:pt x="202" y="41"/>
                  </a:lnTo>
                  <a:lnTo>
                    <a:pt x="196" y="33"/>
                  </a:lnTo>
                  <a:lnTo>
                    <a:pt x="188" y="24"/>
                  </a:lnTo>
                  <a:lnTo>
                    <a:pt x="183" y="22"/>
                  </a:lnTo>
                  <a:lnTo>
                    <a:pt x="180" y="19"/>
                  </a:lnTo>
                  <a:lnTo>
                    <a:pt x="169" y="13"/>
                  </a:lnTo>
                  <a:lnTo>
                    <a:pt x="161" y="8"/>
                  </a:lnTo>
                  <a:lnTo>
                    <a:pt x="150" y="5"/>
                  </a:lnTo>
                  <a:lnTo>
                    <a:pt x="139" y="3"/>
                  </a:lnTo>
                  <a:lnTo>
                    <a:pt x="134" y="3"/>
                  </a:lnTo>
                  <a:lnTo>
                    <a:pt x="128" y="3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01" y="3"/>
                  </a:lnTo>
                  <a:lnTo>
                    <a:pt x="90" y="5"/>
                  </a:lnTo>
                  <a:lnTo>
                    <a:pt x="85" y="5"/>
                  </a:lnTo>
                  <a:lnTo>
                    <a:pt x="74" y="8"/>
                  </a:lnTo>
                  <a:lnTo>
                    <a:pt x="66" y="13"/>
                  </a:lnTo>
                  <a:lnTo>
                    <a:pt x="60" y="16"/>
                  </a:lnTo>
                  <a:lnTo>
                    <a:pt x="55" y="19"/>
                  </a:lnTo>
                  <a:lnTo>
                    <a:pt x="47" y="27"/>
                  </a:lnTo>
                  <a:lnTo>
                    <a:pt x="44" y="30"/>
                  </a:lnTo>
                  <a:lnTo>
                    <a:pt x="39" y="33"/>
                  </a:lnTo>
                  <a:lnTo>
                    <a:pt x="33" y="41"/>
                  </a:lnTo>
                  <a:lnTo>
                    <a:pt x="25" y="49"/>
                  </a:lnTo>
                  <a:lnTo>
                    <a:pt x="22" y="54"/>
                  </a:lnTo>
                  <a:lnTo>
                    <a:pt x="20" y="57"/>
                  </a:lnTo>
                  <a:lnTo>
                    <a:pt x="17" y="62"/>
                  </a:lnTo>
                  <a:lnTo>
                    <a:pt x="17" y="68"/>
                  </a:lnTo>
                  <a:lnTo>
                    <a:pt x="14" y="73"/>
                  </a:lnTo>
                  <a:lnTo>
                    <a:pt x="11" y="79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9" y="98"/>
                  </a:lnTo>
                  <a:lnTo>
                    <a:pt x="9" y="106"/>
                  </a:lnTo>
                  <a:lnTo>
                    <a:pt x="9" y="111"/>
                  </a:lnTo>
                  <a:lnTo>
                    <a:pt x="9" y="117"/>
                  </a:lnTo>
                  <a:lnTo>
                    <a:pt x="9" y="122"/>
                  </a:lnTo>
                  <a:lnTo>
                    <a:pt x="9" y="128"/>
                  </a:lnTo>
                  <a:lnTo>
                    <a:pt x="9" y="133"/>
                  </a:lnTo>
                  <a:lnTo>
                    <a:pt x="11" y="139"/>
                  </a:lnTo>
                  <a:lnTo>
                    <a:pt x="14" y="144"/>
                  </a:lnTo>
                  <a:lnTo>
                    <a:pt x="17" y="158"/>
                  </a:lnTo>
                  <a:lnTo>
                    <a:pt x="20" y="160"/>
                  </a:lnTo>
                  <a:lnTo>
                    <a:pt x="22" y="166"/>
                  </a:lnTo>
                  <a:lnTo>
                    <a:pt x="25" y="171"/>
                  </a:lnTo>
                  <a:lnTo>
                    <a:pt x="30" y="177"/>
                  </a:lnTo>
                  <a:lnTo>
                    <a:pt x="39" y="185"/>
                  </a:lnTo>
                  <a:lnTo>
                    <a:pt x="41" y="190"/>
                  </a:lnTo>
                  <a:lnTo>
                    <a:pt x="47" y="196"/>
                  </a:lnTo>
                  <a:lnTo>
                    <a:pt x="39" y="201"/>
                  </a:lnTo>
                  <a:lnTo>
                    <a:pt x="36" y="201"/>
                  </a:lnTo>
                  <a:lnTo>
                    <a:pt x="33" y="204"/>
                  </a:lnTo>
                  <a:lnTo>
                    <a:pt x="22" y="215"/>
                  </a:lnTo>
                  <a:lnTo>
                    <a:pt x="17" y="220"/>
                  </a:lnTo>
                  <a:lnTo>
                    <a:pt x="17" y="220"/>
                  </a:lnTo>
                  <a:lnTo>
                    <a:pt x="14" y="223"/>
                  </a:lnTo>
                  <a:lnTo>
                    <a:pt x="9" y="234"/>
                  </a:lnTo>
                  <a:lnTo>
                    <a:pt x="3" y="242"/>
                  </a:lnTo>
                  <a:lnTo>
                    <a:pt x="3" y="245"/>
                  </a:lnTo>
                  <a:lnTo>
                    <a:pt x="0" y="253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9">
              <a:extLst>
                <a:ext uri="{FF2B5EF4-FFF2-40B4-BE49-F238E27FC236}">
                  <a16:creationId xmlns:a16="http://schemas.microsoft.com/office/drawing/2014/main" id="{DE107138-B11F-44B5-B3C8-D18C13210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7" y="1259"/>
              <a:ext cx="57" cy="57"/>
            </a:xfrm>
            <a:custGeom>
              <a:avLst/>
              <a:gdLst>
                <a:gd name="T0" fmla="*/ 54 w 57"/>
                <a:gd name="T1" fmla="*/ 3 h 57"/>
                <a:gd name="T2" fmla="*/ 54 w 57"/>
                <a:gd name="T3" fmla="*/ 0 h 57"/>
                <a:gd name="T4" fmla="*/ 52 w 57"/>
                <a:gd name="T5" fmla="*/ 0 h 57"/>
                <a:gd name="T6" fmla="*/ 52 w 57"/>
                <a:gd name="T7" fmla="*/ 0 h 57"/>
                <a:gd name="T8" fmla="*/ 49 w 57"/>
                <a:gd name="T9" fmla="*/ 0 h 57"/>
                <a:gd name="T10" fmla="*/ 44 w 57"/>
                <a:gd name="T11" fmla="*/ 3 h 57"/>
                <a:gd name="T12" fmla="*/ 38 w 57"/>
                <a:gd name="T13" fmla="*/ 3 h 57"/>
                <a:gd name="T14" fmla="*/ 30 w 57"/>
                <a:gd name="T15" fmla="*/ 6 h 57"/>
                <a:gd name="T16" fmla="*/ 22 w 57"/>
                <a:gd name="T17" fmla="*/ 11 h 57"/>
                <a:gd name="T18" fmla="*/ 19 w 57"/>
                <a:gd name="T19" fmla="*/ 14 h 57"/>
                <a:gd name="T20" fmla="*/ 11 w 57"/>
                <a:gd name="T21" fmla="*/ 19 h 57"/>
                <a:gd name="T22" fmla="*/ 11 w 57"/>
                <a:gd name="T23" fmla="*/ 22 h 57"/>
                <a:gd name="T24" fmla="*/ 8 w 57"/>
                <a:gd name="T25" fmla="*/ 25 h 57"/>
                <a:gd name="T26" fmla="*/ 5 w 57"/>
                <a:gd name="T27" fmla="*/ 27 h 57"/>
                <a:gd name="T28" fmla="*/ 5 w 57"/>
                <a:gd name="T29" fmla="*/ 30 h 57"/>
                <a:gd name="T30" fmla="*/ 3 w 57"/>
                <a:gd name="T31" fmla="*/ 38 h 57"/>
                <a:gd name="T32" fmla="*/ 0 w 57"/>
                <a:gd name="T33" fmla="*/ 41 h 57"/>
                <a:gd name="T34" fmla="*/ 0 w 57"/>
                <a:gd name="T35" fmla="*/ 46 h 57"/>
                <a:gd name="T36" fmla="*/ 0 w 57"/>
                <a:gd name="T37" fmla="*/ 49 h 57"/>
                <a:gd name="T38" fmla="*/ 0 w 57"/>
                <a:gd name="T39" fmla="*/ 55 h 57"/>
                <a:gd name="T40" fmla="*/ 0 w 57"/>
                <a:gd name="T41" fmla="*/ 55 h 57"/>
                <a:gd name="T42" fmla="*/ 0 w 57"/>
                <a:gd name="T43" fmla="*/ 57 h 57"/>
                <a:gd name="T44" fmla="*/ 3 w 57"/>
                <a:gd name="T45" fmla="*/ 57 h 57"/>
                <a:gd name="T46" fmla="*/ 5 w 57"/>
                <a:gd name="T47" fmla="*/ 57 h 57"/>
                <a:gd name="T48" fmla="*/ 8 w 57"/>
                <a:gd name="T49" fmla="*/ 57 h 57"/>
                <a:gd name="T50" fmla="*/ 8 w 57"/>
                <a:gd name="T51" fmla="*/ 55 h 57"/>
                <a:gd name="T52" fmla="*/ 8 w 57"/>
                <a:gd name="T53" fmla="*/ 55 h 57"/>
                <a:gd name="T54" fmla="*/ 8 w 57"/>
                <a:gd name="T55" fmla="*/ 52 h 57"/>
                <a:gd name="T56" fmla="*/ 8 w 57"/>
                <a:gd name="T57" fmla="*/ 49 h 57"/>
                <a:gd name="T58" fmla="*/ 11 w 57"/>
                <a:gd name="T59" fmla="*/ 44 h 57"/>
                <a:gd name="T60" fmla="*/ 11 w 57"/>
                <a:gd name="T61" fmla="*/ 36 h 57"/>
                <a:gd name="T62" fmla="*/ 14 w 57"/>
                <a:gd name="T63" fmla="*/ 36 h 57"/>
                <a:gd name="T64" fmla="*/ 16 w 57"/>
                <a:gd name="T65" fmla="*/ 30 h 57"/>
                <a:gd name="T66" fmla="*/ 19 w 57"/>
                <a:gd name="T67" fmla="*/ 27 h 57"/>
                <a:gd name="T68" fmla="*/ 22 w 57"/>
                <a:gd name="T69" fmla="*/ 22 h 57"/>
                <a:gd name="T70" fmla="*/ 24 w 57"/>
                <a:gd name="T71" fmla="*/ 19 h 57"/>
                <a:gd name="T72" fmla="*/ 27 w 57"/>
                <a:gd name="T73" fmla="*/ 19 h 57"/>
                <a:gd name="T74" fmla="*/ 33 w 57"/>
                <a:gd name="T75" fmla="*/ 14 h 57"/>
                <a:gd name="T76" fmla="*/ 35 w 57"/>
                <a:gd name="T77" fmla="*/ 14 h 57"/>
                <a:gd name="T78" fmla="*/ 44 w 57"/>
                <a:gd name="T79" fmla="*/ 11 h 57"/>
                <a:gd name="T80" fmla="*/ 44 w 57"/>
                <a:gd name="T81" fmla="*/ 11 h 57"/>
                <a:gd name="T82" fmla="*/ 52 w 57"/>
                <a:gd name="T83" fmla="*/ 11 h 57"/>
                <a:gd name="T84" fmla="*/ 54 w 57"/>
                <a:gd name="T85" fmla="*/ 11 h 57"/>
                <a:gd name="T86" fmla="*/ 54 w 57"/>
                <a:gd name="T87" fmla="*/ 8 h 57"/>
                <a:gd name="T88" fmla="*/ 57 w 57"/>
                <a:gd name="T89" fmla="*/ 8 h 57"/>
                <a:gd name="T90" fmla="*/ 57 w 57"/>
                <a:gd name="T91" fmla="*/ 6 h 57"/>
                <a:gd name="T92" fmla="*/ 57 w 57"/>
                <a:gd name="T93" fmla="*/ 6 h 57"/>
                <a:gd name="T94" fmla="*/ 57 w 57"/>
                <a:gd name="T95" fmla="*/ 3 h 57"/>
                <a:gd name="T96" fmla="*/ 54 w 57"/>
                <a:gd name="T97" fmla="*/ 3 h 57"/>
                <a:gd name="T98" fmla="*/ 54 w 57"/>
                <a:gd name="T99" fmla="*/ 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" h="57">
                  <a:moveTo>
                    <a:pt x="54" y="3"/>
                  </a:move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4" y="3"/>
                  </a:lnTo>
                  <a:lnTo>
                    <a:pt x="38" y="3"/>
                  </a:lnTo>
                  <a:lnTo>
                    <a:pt x="30" y="6"/>
                  </a:lnTo>
                  <a:lnTo>
                    <a:pt x="22" y="11"/>
                  </a:lnTo>
                  <a:lnTo>
                    <a:pt x="19" y="14"/>
                  </a:lnTo>
                  <a:lnTo>
                    <a:pt x="11" y="19"/>
                  </a:lnTo>
                  <a:lnTo>
                    <a:pt x="11" y="22"/>
                  </a:lnTo>
                  <a:lnTo>
                    <a:pt x="8" y="25"/>
                  </a:lnTo>
                  <a:lnTo>
                    <a:pt x="5" y="27"/>
                  </a:lnTo>
                  <a:lnTo>
                    <a:pt x="5" y="30"/>
                  </a:lnTo>
                  <a:lnTo>
                    <a:pt x="3" y="38"/>
                  </a:lnTo>
                  <a:lnTo>
                    <a:pt x="0" y="41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5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2"/>
                  </a:lnTo>
                  <a:lnTo>
                    <a:pt x="8" y="49"/>
                  </a:lnTo>
                  <a:lnTo>
                    <a:pt x="11" y="44"/>
                  </a:lnTo>
                  <a:lnTo>
                    <a:pt x="11" y="36"/>
                  </a:lnTo>
                  <a:lnTo>
                    <a:pt x="14" y="36"/>
                  </a:lnTo>
                  <a:lnTo>
                    <a:pt x="16" y="30"/>
                  </a:lnTo>
                  <a:lnTo>
                    <a:pt x="19" y="27"/>
                  </a:lnTo>
                  <a:lnTo>
                    <a:pt x="22" y="22"/>
                  </a:lnTo>
                  <a:lnTo>
                    <a:pt x="24" y="19"/>
                  </a:lnTo>
                  <a:lnTo>
                    <a:pt x="27" y="19"/>
                  </a:lnTo>
                  <a:lnTo>
                    <a:pt x="33" y="14"/>
                  </a:lnTo>
                  <a:lnTo>
                    <a:pt x="35" y="14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8"/>
                  </a:lnTo>
                  <a:lnTo>
                    <a:pt x="57" y="8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5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0">
              <a:extLst>
                <a:ext uri="{FF2B5EF4-FFF2-40B4-BE49-F238E27FC236}">
                  <a16:creationId xmlns:a16="http://schemas.microsoft.com/office/drawing/2014/main" id="{051607B5-B785-4F1D-97C2-0A8EFA230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8" y="1243"/>
              <a:ext cx="147" cy="147"/>
            </a:xfrm>
            <a:custGeom>
              <a:avLst/>
              <a:gdLst>
                <a:gd name="T0" fmla="*/ 136 w 147"/>
                <a:gd name="T1" fmla="*/ 87 h 147"/>
                <a:gd name="T2" fmla="*/ 130 w 147"/>
                <a:gd name="T3" fmla="*/ 101 h 147"/>
                <a:gd name="T4" fmla="*/ 128 w 147"/>
                <a:gd name="T5" fmla="*/ 109 h 147"/>
                <a:gd name="T6" fmla="*/ 117 w 147"/>
                <a:gd name="T7" fmla="*/ 120 h 147"/>
                <a:gd name="T8" fmla="*/ 103 w 147"/>
                <a:gd name="T9" fmla="*/ 128 h 147"/>
                <a:gd name="T10" fmla="*/ 90 w 147"/>
                <a:gd name="T11" fmla="*/ 133 h 147"/>
                <a:gd name="T12" fmla="*/ 73 w 147"/>
                <a:gd name="T13" fmla="*/ 136 h 147"/>
                <a:gd name="T14" fmla="*/ 57 w 147"/>
                <a:gd name="T15" fmla="*/ 133 h 147"/>
                <a:gd name="T16" fmla="*/ 38 w 147"/>
                <a:gd name="T17" fmla="*/ 125 h 147"/>
                <a:gd name="T18" fmla="*/ 22 w 147"/>
                <a:gd name="T19" fmla="*/ 111 h 147"/>
                <a:gd name="T20" fmla="*/ 11 w 147"/>
                <a:gd name="T21" fmla="*/ 87 h 147"/>
                <a:gd name="T22" fmla="*/ 8 w 147"/>
                <a:gd name="T23" fmla="*/ 65 h 147"/>
                <a:gd name="T24" fmla="*/ 19 w 147"/>
                <a:gd name="T25" fmla="*/ 38 h 147"/>
                <a:gd name="T26" fmla="*/ 30 w 147"/>
                <a:gd name="T27" fmla="*/ 24 h 147"/>
                <a:gd name="T28" fmla="*/ 43 w 147"/>
                <a:gd name="T29" fmla="*/ 16 h 147"/>
                <a:gd name="T30" fmla="*/ 57 w 147"/>
                <a:gd name="T31" fmla="*/ 11 h 147"/>
                <a:gd name="T32" fmla="*/ 73 w 147"/>
                <a:gd name="T33" fmla="*/ 8 h 147"/>
                <a:gd name="T34" fmla="*/ 90 w 147"/>
                <a:gd name="T35" fmla="*/ 11 h 147"/>
                <a:gd name="T36" fmla="*/ 111 w 147"/>
                <a:gd name="T37" fmla="*/ 22 h 147"/>
                <a:gd name="T38" fmla="*/ 125 w 147"/>
                <a:gd name="T39" fmla="*/ 33 h 147"/>
                <a:gd name="T40" fmla="*/ 130 w 147"/>
                <a:gd name="T41" fmla="*/ 41 h 147"/>
                <a:gd name="T42" fmla="*/ 136 w 147"/>
                <a:gd name="T43" fmla="*/ 54 h 147"/>
                <a:gd name="T44" fmla="*/ 139 w 147"/>
                <a:gd name="T45" fmla="*/ 73 h 147"/>
                <a:gd name="T46" fmla="*/ 147 w 147"/>
                <a:gd name="T47" fmla="*/ 84 h 147"/>
                <a:gd name="T48" fmla="*/ 147 w 147"/>
                <a:gd name="T49" fmla="*/ 60 h 147"/>
                <a:gd name="T50" fmla="*/ 141 w 147"/>
                <a:gd name="T51" fmla="*/ 41 h 147"/>
                <a:gd name="T52" fmla="*/ 125 w 147"/>
                <a:gd name="T53" fmla="*/ 19 h 147"/>
                <a:gd name="T54" fmla="*/ 111 w 147"/>
                <a:gd name="T55" fmla="*/ 8 h 147"/>
                <a:gd name="T56" fmla="*/ 98 w 147"/>
                <a:gd name="T57" fmla="*/ 3 h 147"/>
                <a:gd name="T58" fmla="*/ 84 w 147"/>
                <a:gd name="T59" fmla="*/ 0 h 147"/>
                <a:gd name="T60" fmla="*/ 65 w 147"/>
                <a:gd name="T61" fmla="*/ 0 h 147"/>
                <a:gd name="T62" fmla="*/ 43 w 147"/>
                <a:gd name="T63" fmla="*/ 5 h 147"/>
                <a:gd name="T64" fmla="*/ 22 w 147"/>
                <a:gd name="T65" fmla="*/ 19 h 147"/>
                <a:gd name="T66" fmla="*/ 11 w 147"/>
                <a:gd name="T67" fmla="*/ 30 h 147"/>
                <a:gd name="T68" fmla="*/ 3 w 147"/>
                <a:gd name="T69" fmla="*/ 54 h 147"/>
                <a:gd name="T70" fmla="*/ 0 w 147"/>
                <a:gd name="T71" fmla="*/ 76 h 147"/>
                <a:gd name="T72" fmla="*/ 5 w 147"/>
                <a:gd name="T73" fmla="*/ 101 h 147"/>
                <a:gd name="T74" fmla="*/ 11 w 147"/>
                <a:gd name="T75" fmla="*/ 114 h 147"/>
                <a:gd name="T76" fmla="*/ 24 w 147"/>
                <a:gd name="T77" fmla="*/ 128 h 147"/>
                <a:gd name="T78" fmla="*/ 35 w 147"/>
                <a:gd name="T79" fmla="*/ 136 h 147"/>
                <a:gd name="T80" fmla="*/ 49 w 147"/>
                <a:gd name="T81" fmla="*/ 141 h 147"/>
                <a:gd name="T82" fmla="*/ 71 w 147"/>
                <a:gd name="T83" fmla="*/ 147 h 147"/>
                <a:gd name="T84" fmla="*/ 87 w 147"/>
                <a:gd name="T85" fmla="*/ 144 h 147"/>
                <a:gd name="T86" fmla="*/ 103 w 147"/>
                <a:gd name="T87" fmla="*/ 141 h 147"/>
                <a:gd name="T88" fmla="*/ 120 w 147"/>
                <a:gd name="T89" fmla="*/ 128 h 147"/>
                <a:gd name="T90" fmla="*/ 130 w 147"/>
                <a:gd name="T91" fmla="*/ 120 h 147"/>
                <a:gd name="T92" fmla="*/ 141 w 147"/>
                <a:gd name="T93" fmla="*/ 10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7" h="147">
                  <a:moveTo>
                    <a:pt x="139" y="79"/>
                  </a:moveTo>
                  <a:lnTo>
                    <a:pt x="136" y="82"/>
                  </a:lnTo>
                  <a:lnTo>
                    <a:pt x="136" y="87"/>
                  </a:lnTo>
                  <a:lnTo>
                    <a:pt x="133" y="95"/>
                  </a:lnTo>
                  <a:lnTo>
                    <a:pt x="133" y="98"/>
                  </a:lnTo>
                  <a:lnTo>
                    <a:pt x="130" y="101"/>
                  </a:lnTo>
                  <a:lnTo>
                    <a:pt x="130" y="103"/>
                  </a:lnTo>
                  <a:lnTo>
                    <a:pt x="128" y="106"/>
                  </a:lnTo>
                  <a:lnTo>
                    <a:pt x="128" y="109"/>
                  </a:lnTo>
                  <a:lnTo>
                    <a:pt x="125" y="111"/>
                  </a:lnTo>
                  <a:lnTo>
                    <a:pt x="120" y="114"/>
                  </a:lnTo>
                  <a:lnTo>
                    <a:pt x="117" y="120"/>
                  </a:lnTo>
                  <a:lnTo>
                    <a:pt x="114" y="122"/>
                  </a:lnTo>
                  <a:lnTo>
                    <a:pt x="109" y="125"/>
                  </a:lnTo>
                  <a:lnTo>
                    <a:pt x="103" y="128"/>
                  </a:lnTo>
                  <a:lnTo>
                    <a:pt x="101" y="130"/>
                  </a:lnTo>
                  <a:lnTo>
                    <a:pt x="92" y="133"/>
                  </a:lnTo>
                  <a:lnTo>
                    <a:pt x="90" y="133"/>
                  </a:lnTo>
                  <a:lnTo>
                    <a:pt x="87" y="136"/>
                  </a:lnTo>
                  <a:lnTo>
                    <a:pt x="79" y="136"/>
                  </a:lnTo>
                  <a:lnTo>
                    <a:pt x="73" y="136"/>
                  </a:lnTo>
                  <a:lnTo>
                    <a:pt x="68" y="136"/>
                  </a:lnTo>
                  <a:lnTo>
                    <a:pt x="60" y="136"/>
                  </a:lnTo>
                  <a:lnTo>
                    <a:pt x="57" y="133"/>
                  </a:lnTo>
                  <a:lnTo>
                    <a:pt x="52" y="133"/>
                  </a:lnTo>
                  <a:lnTo>
                    <a:pt x="46" y="130"/>
                  </a:lnTo>
                  <a:lnTo>
                    <a:pt x="38" y="125"/>
                  </a:lnTo>
                  <a:lnTo>
                    <a:pt x="30" y="120"/>
                  </a:lnTo>
                  <a:lnTo>
                    <a:pt x="27" y="114"/>
                  </a:lnTo>
                  <a:lnTo>
                    <a:pt x="22" y="111"/>
                  </a:lnTo>
                  <a:lnTo>
                    <a:pt x="19" y="106"/>
                  </a:lnTo>
                  <a:lnTo>
                    <a:pt x="14" y="98"/>
                  </a:lnTo>
                  <a:lnTo>
                    <a:pt x="11" y="87"/>
                  </a:lnTo>
                  <a:lnTo>
                    <a:pt x="8" y="79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11" y="57"/>
                  </a:lnTo>
                  <a:lnTo>
                    <a:pt x="14" y="46"/>
                  </a:lnTo>
                  <a:lnTo>
                    <a:pt x="19" y="38"/>
                  </a:lnTo>
                  <a:lnTo>
                    <a:pt x="22" y="35"/>
                  </a:lnTo>
                  <a:lnTo>
                    <a:pt x="27" y="30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3" y="16"/>
                  </a:lnTo>
                  <a:lnTo>
                    <a:pt x="49" y="14"/>
                  </a:lnTo>
                  <a:lnTo>
                    <a:pt x="54" y="11"/>
                  </a:lnTo>
                  <a:lnTo>
                    <a:pt x="57" y="11"/>
                  </a:lnTo>
                  <a:lnTo>
                    <a:pt x="60" y="11"/>
                  </a:lnTo>
                  <a:lnTo>
                    <a:pt x="68" y="8"/>
                  </a:lnTo>
                  <a:lnTo>
                    <a:pt x="73" y="8"/>
                  </a:lnTo>
                  <a:lnTo>
                    <a:pt x="79" y="8"/>
                  </a:lnTo>
                  <a:lnTo>
                    <a:pt x="87" y="11"/>
                  </a:lnTo>
                  <a:lnTo>
                    <a:pt x="90" y="11"/>
                  </a:lnTo>
                  <a:lnTo>
                    <a:pt x="95" y="14"/>
                  </a:lnTo>
                  <a:lnTo>
                    <a:pt x="103" y="16"/>
                  </a:lnTo>
                  <a:lnTo>
                    <a:pt x="111" y="22"/>
                  </a:lnTo>
                  <a:lnTo>
                    <a:pt x="117" y="24"/>
                  </a:lnTo>
                  <a:lnTo>
                    <a:pt x="120" y="30"/>
                  </a:lnTo>
                  <a:lnTo>
                    <a:pt x="125" y="33"/>
                  </a:lnTo>
                  <a:lnTo>
                    <a:pt x="128" y="35"/>
                  </a:lnTo>
                  <a:lnTo>
                    <a:pt x="128" y="38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3" y="46"/>
                  </a:lnTo>
                  <a:lnTo>
                    <a:pt x="136" y="54"/>
                  </a:lnTo>
                  <a:lnTo>
                    <a:pt x="136" y="57"/>
                  </a:lnTo>
                  <a:lnTo>
                    <a:pt x="139" y="65"/>
                  </a:lnTo>
                  <a:lnTo>
                    <a:pt x="139" y="73"/>
                  </a:lnTo>
                  <a:lnTo>
                    <a:pt x="139" y="79"/>
                  </a:lnTo>
                  <a:close/>
                  <a:moveTo>
                    <a:pt x="144" y="90"/>
                  </a:moveTo>
                  <a:lnTo>
                    <a:pt x="147" y="84"/>
                  </a:lnTo>
                  <a:lnTo>
                    <a:pt x="147" y="76"/>
                  </a:lnTo>
                  <a:lnTo>
                    <a:pt x="147" y="68"/>
                  </a:lnTo>
                  <a:lnTo>
                    <a:pt x="147" y="60"/>
                  </a:lnTo>
                  <a:lnTo>
                    <a:pt x="144" y="54"/>
                  </a:lnTo>
                  <a:lnTo>
                    <a:pt x="141" y="43"/>
                  </a:lnTo>
                  <a:lnTo>
                    <a:pt x="141" y="41"/>
                  </a:lnTo>
                  <a:lnTo>
                    <a:pt x="136" y="30"/>
                  </a:lnTo>
                  <a:lnTo>
                    <a:pt x="130" y="24"/>
                  </a:lnTo>
                  <a:lnTo>
                    <a:pt x="125" y="19"/>
                  </a:lnTo>
                  <a:lnTo>
                    <a:pt x="122" y="19"/>
                  </a:lnTo>
                  <a:lnTo>
                    <a:pt x="117" y="14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3" y="5"/>
                  </a:lnTo>
                  <a:lnTo>
                    <a:pt x="98" y="3"/>
                  </a:lnTo>
                  <a:lnTo>
                    <a:pt x="92" y="0"/>
                  </a:lnTo>
                  <a:lnTo>
                    <a:pt x="87" y="0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3" y="5"/>
                  </a:lnTo>
                  <a:lnTo>
                    <a:pt x="35" y="8"/>
                  </a:lnTo>
                  <a:lnTo>
                    <a:pt x="30" y="14"/>
                  </a:lnTo>
                  <a:lnTo>
                    <a:pt x="22" y="19"/>
                  </a:lnTo>
                  <a:lnTo>
                    <a:pt x="19" y="22"/>
                  </a:lnTo>
                  <a:lnTo>
                    <a:pt x="14" y="27"/>
                  </a:lnTo>
                  <a:lnTo>
                    <a:pt x="11" y="30"/>
                  </a:lnTo>
                  <a:lnTo>
                    <a:pt x="5" y="41"/>
                  </a:lnTo>
                  <a:lnTo>
                    <a:pt x="5" y="43"/>
                  </a:lnTo>
                  <a:lnTo>
                    <a:pt x="3" y="54"/>
                  </a:lnTo>
                  <a:lnTo>
                    <a:pt x="0" y="60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3" y="90"/>
                  </a:lnTo>
                  <a:lnTo>
                    <a:pt x="5" y="101"/>
                  </a:lnTo>
                  <a:lnTo>
                    <a:pt x="5" y="103"/>
                  </a:lnTo>
                  <a:lnTo>
                    <a:pt x="11" y="111"/>
                  </a:lnTo>
                  <a:lnTo>
                    <a:pt x="11" y="114"/>
                  </a:lnTo>
                  <a:lnTo>
                    <a:pt x="16" y="120"/>
                  </a:lnTo>
                  <a:lnTo>
                    <a:pt x="19" y="122"/>
                  </a:lnTo>
                  <a:lnTo>
                    <a:pt x="24" y="128"/>
                  </a:lnTo>
                  <a:lnTo>
                    <a:pt x="27" y="128"/>
                  </a:lnTo>
                  <a:lnTo>
                    <a:pt x="30" y="130"/>
                  </a:lnTo>
                  <a:lnTo>
                    <a:pt x="35" y="136"/>
                  </a:lnTo>
                  <a:lnTo>
                    <a:pt x="38" y="136"/>
                  </a:lnTo>
                  <a:lnTo>
                    <a:pt x="43" y="141"/>
                  </a:lnTo>
                  <a:lnTo>
                    <a:pt x="49" y="141"/>
                  </a:lnTo>
                  <a:lnTo>
                    <a:pt x="60" y="144"/>
                  </a:lnTo>
                  <a:lnTo>
                    <a:pt x="63" y="144"/>
                  </a:lnTo>
                  <a:lnTo>
                    <a:pt x="71" y="147"/>
                  </a:lnTo>
                  <a:lnTo>
                    <a:pt x="76" y="147"/>
                  </a:lnTo>
                  <a:lnTo>
                    <a:pt x="84" y="144"/>
                  </a:lnTo>
                  <a:lnTo>
                    <a:pt x="87" y="144"/>
                  </a:lnTo>
                  <a:lnTo>
                    <a:pt x="92" y="144"/>
                  </a:lnTo>
                  <a:lnTo>
                    <a:pt x="98" y="141"/>
                  </a:lnTo>
                  <a:lnTo>
                    <a:pt x="103" y="141"/>
                  </a:lnTo>
                  <a:lnTo>
                    <a:pt x="111" y="136"/>
                  </a:lnTo>
                  <a:lnTo>
                    <a:pt x="117" y="130"/>
                  </a:lnTo>
                  <a:lnTo>
                    <a:pt x="120" y="128"/>
                  </a:lnTo>
                  <a:lnTo>
                    <a:pt x="122" y="128"/>
                  </a:lnTo>
                  <a:lnTo>
                    <a:pt x="128" y="122"/>
                  </a:lnTo>
                  <a:lnTo>
                    <a:pt x="130" y="120"/>
                  </a:lnTo>
                  <a:lnTo>
                    <a:pt x="136" y="114"/>
                  </a:lnTo>
                  <a:lnTo>
                    <a:pt x="136" y="111"/>
                  </a:lnTo>
                  <a:lnTo>
                    <a:pt x="141" y="101"/>
                  </a:lnTo>
                  <a:lnTo>
                    <a:pt x="144" y="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143">
            <a:extLst>
              <a:ext uri="{FF2B5EF4-FFF2-40B4-BE49-F238E27FC236}">
                <a16:creationId xmlns:a16="http://schemas.microsoft.com/office/drawing/2014/main" id="{024A3DF0-C19E-4A02-B4A4-F3D3382A9F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924" y="2816226"/>
            <a:ext cx="760413" cy="758825"/>
            <a:chOff x="794" y="1934"/>
            <a:chExt cx="479" cy="478"/>
          </a:xfrm>
        </p:grpSpPr>
        <p:sp>
          <p:nvSpPr>
            <p:cNvPr id="163" name="AutoShape 142">
              <a:extLst>
                <a:ext uri="{FF2B5EF4-FFF2-40B4-BE49-F238E27FC236}">
                  <a16:creationId xmlns:a16="http://schemas.microsoft.com/office/drawing/2014/main" id="{29A62D7E-6B88-4731-8322-B047353213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4" y="193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4">
              <a:extLst>
                <a:ext uri="{FF2B5EF4-FFF2-40B4-BE49-F238E27FC236}">
                  <a16:creationId xmlns:a16="http://schemas.microsoft.com/office/drawing/2014/main" id="{6857605B-0B05-48DC-9C8A-98D66188B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" y="1936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5">
              <a:extLst>
                <a:ext uri="{FF2B5EF4-FFF2-40B4-BE49-F238E27FC236}">
                  <a16:creationId xmlns:a16="http://schemas.microsoft.com/office/drawing/2014/main" id="{A7B545F3-88F3-4470-96DA-2CAA389FE3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" y="2027"/>
              <a:ext cx="221" cy="294"/>
            </a:xfrm>
            <a:custGeom>
              <a:avLst/>
              <a:gdLst>
                <a:gd name="T0" fmla="*/ 25 w 221"/>
                <a:gd name="T1" fmla="*/ 30 h 294"/>
                <a:gd name="T2" fmla="*/ 3 w 221"/>
                <a:gd name="T3" fmla="*/ 83 h 294"/>
                <a:gd name="T4" fmla="*/ 12 w 221"/>
                <a:gd name="T5" fmla="*/ 140 h 294"/>
                <a:gd name="T6" fmla="*/ 22 w 221"/>
                <a:gd name="T7" fmla="*/ 147 h 294"/>
                <a:gd name="T8" fmla="*/ 20 w 221"/>
                <a:gd name="T9" fmla="*/ 130 h 294"/>
                <a:gd name="T10" fmla="*/ 12 w 221"/>
                <a:gd name="T11" fmla="*/ 76 h 294"/>
                <a:gd name="T12" fmla="*/ 35 w 221"/>
                <a:gd name="T13" fmla="*/ 30 h 294"/>
                <a:gd name="T14" fmla="*/ 64 w 221"/>
                <a:gd name="T15" fmla="*/ 7 h 294"/>
                <a:gd name="T16" fmla="*/ 184 w 221"/>
                <a:gd name="T17" fmla="*/ 17 h 294"/>
                <a:gd name="T18" fmla="*/ 180 w 221"/>
                <a:gd name="T19" fmla="*/ 25 h 294"/>
                <a:gd name="T20" fmla="*/ 202 w 221"/>
                <a:gd name="T21" fmla="*/ 52 h 294"/>
                <a:gd name="T22" fmla="*/ 211 w 221"/>
                <a:gd name="T23" fmla="*/ 91 h 294"/>
                <a:gd name="T24" fmla="*/ 202 w 221"/>
                <a:gd name="T25" fmla="*/ 130 h 294"/>
                <a:gd name="T26" fmla="*/ 182 w 221"/>
                <a:gd name="T27" fmla="*/ 162 h 294"/>
                <a:gd name="T28" fmla="*/ 182 w 221"/>
                <a:gd name="T29" fmla="*/ 169 h 294"/>
                <a:gd name="T30" fmla="*/ 199 w 221"/>
                <a:gd name="T31" fmla="*/ 155 h 294"/>
                <a:gd name="T32" fmla="*/ 219 w 221"/>
                <a:gd name="T33" fmla="*/ 115 h 294"/>
                <a:gd name="T34" fmla="*/ 216 w 221"/>
                <a:gd name="T35" fmla="*/ 69 h 294"/>
                <a:gd name="T36" fmla="*/ 199 w 221"/>
                <a:gd name="T37" fmla="*/ 30 h 294"/>
                <a:gd name="T38" fmla="*/ 106 w 221"/>
                <a:gd name="T39" fmla="*/ 25 h 294"/>
                <a:gd name="T40" fmla="*/ 57 w 221"/>
                <a:gd name="T41" fmla="*/ 47 h 294"/>
                <a:gd name="T42" fmla="*/ 39 w 221"/>
                <a:gd name="T43" fmla="*/ 91 h 294"/>
                <a:gd name="T44" fmla="*/ 44 w 221"/>
                <a:gd name="T45" fmla="*/ 98 h 294"/>
                <a:gd name="T46" fmla="*/ 52 w 221"/>
                <a:gd name="T47" fmla="*/ 79 h 294"/>
                <a:gd name="T48" fmla="*/ 81 w 221"/>
                <a:gd name="T49" fmla="*/ 39 h 294"/>
                <a:gd name="T50" fmla="*/ 130 w 221"/>
                <a:gd name="T51" fmla="*/ 37 h 294"/>
                <a:gd name="T52" fmla="*/ 157 w 221"/>
                <a:gd name="T53" fmla="*/ 52 h 294"/>
                <a:gd name="T54" fmla="*/ 162 w 221"/>
                <a:gd name="T55" fmla="*/ 44 h 294"/>
                <a:gd name="T56" fmla="*/ 118 w 221"/>
                <a:gd name="T57" fmla="*/ 25 h 294"/>
                <a:gd name="T58" fmla="*/ 91 w 221"/>
                <a:gd name="T59" fmla="*/ 66 h 294"/>
                <a:gd name="T60" fmla="*/ 76 w 221"/>
                <a:gd name="T61" fmla="*/ 91 h 294"/>
                <a:gd name="T62" fmla="*/ 91 w 221"/>
                <a:gd name="T63" fmla="*/ 120 h 294"/>
                <a:gd name="T64" fmla="*/ 64 w 221"/>
                <a:gd name="T65" fmla="*/ 133 h 294"/>
                <a:gd name="T66" fmla="*/ 52 w 221"/>
                <a:gd name="T67" fmla="*/ 120 h 294"/>
                <a:gd name="T68" fmla="*/ 52 w 221"/>
                <a:gd name="T69" fmla="*/ 133 h 294"/>
                <a:gd name="T70" fmla="*/ 76 w 221"/>
                <a:gd name="T71" fmla="*/ 184 h 294"/>
                <a:gd name="T72" fmla="*/ 54 w 221"/>
                <a:gd name="T73" fmla="*/ 179 h 294"/>
                <a:gd name="T74" fmla="*/ 57 w 221"/>
                <a:gd name="T75" fmla="*/ 186 h 294"/>
                <a:gd name="T76" fmla="*/ 54 w 221"/>
                <a:gd name="T77" fmla="*/ 294 h 294"/>
                <a:gd name="T78" fmla="*/ 167 w 221"/>
                <a:gd name="T79" fmla="*/ 294 h 294"/>
                <a:gd name="T80" fmla="*/ 153 w 221"/>
                <a:gd name="T81" fmla="*/ 150 h 294"/>
                <a:gd name="T82" fmla="*/ 180 w 221"/>
                <a:gd name="T83" fmla="*/ 115 h 294"/>
                <a:gd name="T84" fmla="*/ 180 w 221"/>
                <a:gd name="T85" fmla="*/ 88 h 294"/>
                <a:gd name="T86" fmla="*/ 172 w 221"/>
                <a:gd name="T87" fmla="*/ 93 h 294"/>
                <a:gd name="T88" fmla="*/ 162 w 221"/>
                <a:gd name="T89" fmla="*/ 125 h 294"/>
                <a:gd name="T90" fmla="*/ 130 w 221"/>
                <a:gd name="T91" fmla="*/ 150 h 294"/>
                <a:gd name="T92" fmla="*/ 145 w 221"/>
                <a:gd name="T93" fmla="*/ 96 h 294"/>
                <a:gd name="T94" fmla="*/ 135 w 221"/>
                <a:gd name="T95" fmla="*/ 74 h 294"/>
                <a:gd name="T96" fmla="*/ 113 w 221"/>
                <a:gd name="T97" fmla="*/ 61 h 294"/>
                <a:gd name="T98" fmla="*/ 86 w 221"/>
                <a:gd name="T99" fmla="*/ 93 h 294"/>
                <a:gd name="T100" fmla="*/ 96 w 221"/>
                <a:gd name="T101" fmla="*/ 76 h 294"/>
                <a:gd name="T102" fmla="*/ 113 w 221"/>
                <a:gd name="T103" fmla="*/ 71 h 294"/>
                <a:gd name="T104" fmla="*/ 130 w 221"/>
                <a:gd name="T105" fmla="*/ 79 h 294"/>
                <a:gd name="T106" fmla="*/ 133 w 221"/>
                <a:gd name="T107" fmla="*/ 101 h 294"/>
                <a:gd name="T108" fmla="*/ 113 w 221"/>
                <a:gd name="T109" fmla="*/ 88 h 294"/>
                <a:gd name="T110" fmla="*/ 103 w 221"/>
                <a:gd name="T111" fmla="*/ 152 h 294"/>
                <a:gd name="T112" fmla="*/ 121 w 221"/>
                <a:gd name="T113" fmla="*/ 189 h 294"/>
                <a:gd name="T114" fmla="*/ 111 w 221"/>
                <a:gd name="T115" fmla="*/ 162 h 294"/>
                <a:gd name="T116" fmla="*/ 118 w 221"/>
                <a:gd name="T117" fmla="*/ 228 h 294"/>
                <a:gd name="T118" fmla="*/ 106 w 221"/>
                <a:gd name="T119" fmla="*/ 199 h 294"/>
                <a:gd name="T120" fmla="*/ 86 w 221"/>
                <a:gd name="T121" fmla="*/ 235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1" h="294">
                  <a:moveTo>
                    <a:pt x="57" y="0"/>
                  </a:move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5"/>
                  </a:lnTo>
                  <a:lnTo>
                    <a:pt x="47" y="7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39" y="12"/>
                  </a:lnTo>
                  <a:lnTo>
                    <a:pt x="35" y="15"/>
                  </a:lnTo>
                  <a:lnTo>
                    <a:pt x="32" y="17"/>
                  </a:lnTo>
                  <a:lnTo>
                    <a:pt x="30" y="20"/>
                  </a:lnTo>
                  <a:lnTo>
                    <a:pt x="27" y="22"/>
                  </a:lnTo>
                  <a:lnTo>
                    <a:pt x="27" y="25"/>
                  </a:lnTo>
                  <a:lnTo>
                    <a:pt x="25" y="30"/>
                  </a:lnTo>
                  <a:lnTo>
                    <a:pt x="22" y="32"/>
                  </a:lnTo>
                  <a:lnTo>
                    <a:pt x="20" y="34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4"/>
                  </a:lnTo>
                  <a:lnTo>
                    <a:pt x="12" y="47"/>
                  </a:lnTo>
                  <a:lnTo>
                    <a:pt x="10" y="49"/>
                  </a:lnTo>
                  <a:lnTo>
                    <a:pt x="10" y="52"/>
                  </a:lnTo>
                  <a:lnTo>
                    <a:pt x="8" y="57"/>
                  </a:lnTo>
                  <a:lnTo>
                    <a:pt x="8" y="59"/>
                  </a:lnTo>
                  <a:lnTo>
                    <a:pt x="5" y="61"/>
                  </a:lnTo>
                  <a:lnTo>
                    <a:pt x="5" y="66"/>
                  </a:lnTo>
                  <a:lnTo>
                    <a:pt x="5" y="69"/>
                  </a:lnTo>
                  <a:lnTo>
                    <a:pt x="3" y="71"/>
                  </a:lnTo>
                  <a:lnTo>
                    <a:pt x="3" y="76"/>
                  </a:lnTo>
                  <a:lnTo>
                    <a:pt x="3" y="79"/>
                  </a:lnTo>
                  <a:lnTo>
                    <a:pt x="3" y="83"/>
                  </a:lnTo>
                  <a:lnTo>
                    <a:pt x="3" y="86"/>
                  </a:lnTo>
                  <a:lnTo>
                    <a:pt x="0" y="91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3" y="101"/>
                  </a:lnTo>
                  <a:lnTo>
                    <a:pt x="3" y="103"/>
                  </a:lnTo>
                  <a:lnTo>
                    <a:pt x="3" y="108"/>
                  </a:lnTo>
                  <a:lnTo>
                    <a:pt x="3" y="110"/>
                  </a:lnTo>
                  <a:lnTo>
                    <a:pt x="3" y="115"/>
                  </a:lnTo>
                  <a:lnTo>
                    <a:pt x="5" y="118"/>
                  </a:lnTo>
                  <a:lnTo>
                    <a:pt x="5" y="120"/>
                  </a:lnTo>
                  <a:lnTo>
                    <a:pt x="5" y="125"/>
                  </a:lnTo>
                  <a:lnTo>
                    <a:pt x="8" y="128"/>
                  </a:lnTo>
                  <a:lnTo>
                    <a:pt x="8" y="130"/>
                  </a:lnTo>
                  <a:lnTo>
                    <a:pt x="10" y="135"/>
                  </a:lnTo>
                  <a:lnTo>
                    <a:pt x="10" y="137"/>
                  </a:lnTo>
                  <a:lnTo>
                    <a:pt x="12" y="140"/>
                  </a:lnTo>
                  <a:lnTo>
                    <a:pt x="15" y="145"/>
                  </a:lnTo>
                  <a:lnTo>
                    <a:pt x="15" y="147"/>
                  </a:lnTo>
                  <a:lnTo>
                    <a:pt x="17" y="147"/>
                  </a:lnTo>
                  <a:lnTo>
                    <a:pt x="17" y="147"/>
                  </a:lnTo>
                  <a:lnTo>
                    <a:pt x="17" y="147"/>
                  </a:lnTo>
                  <a:lnTo>
                    <a:pt x="17" y="147"/>
                  </a:lnTo>
                  <a:lnTo>
                    <a:pt x="17" y="147"/>
                  </a:lnTo>
                  <a:lnTo>
                    <a:pt x="17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5"/>
                  </a:lnTo>
                  <a:lnTo>
                    <a:pt x="25" y="145"/>
                  </a:lnTo>
                  <a:lnTo>
                    <a:pt x="25" y="145"/>
                  </a:lnTo>
                  <a:lnTo>
                    <a:pt x="25" y="145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2" y="140"/>
                  </a:lnTo>
                  <a:lnTo>
                    <a:pt x="22" y="137"/>
                  </a:lnTo>
                  <a:lnTo>
                    <a:pt x="20" y="133"/>
                  </a:lnTo>
                  <a:lnTo>
                    <a:pt x="20" y="130"/>
                  </a:lnTo>
                  <a:lnTo>
                    <a:pt x="17" y="128"/>
                  </a:lnTo>
                  <a:lnTo>
                    <a:pt x="17" y="125"/>
                  </a:lnTo>
                  <a:lnTo>
                    <a:pt x="15" y="120"/>
                  </a:lnTo>
                  <a:lnTo>
                    <a:pt x="15" y="118"/>
                  </a:lnTo>
                  <a:lnTo>
                    <a:pt x="15" y="115"/>
                  </a:lnTo>
                  <a:lnTo>
                    <a:pt x="12" y="113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3"/>
                  </a:lnTo>
                  <a:lnTo>
                    <a:pt x="12" y="101"/>
                  </a:lnTo>
                  <a:lnTo>
                    <a:pt x="12" y="96"/>
                  </a:lnTo>
                  <a:lnTo>
                    <a:pt x="10" y="93"/>
                  </a:lnTo>
                  <a:lnTo>
                    <a:pt x="12" y="91"/>
                  </a:lnTo>
                  <a:lnTo>
                    <a:pt x="12" y="86"/>
                  </a:lnTo>
                  <a:lnTo>
                    <a:pt x="12" y="83"/>
                  </a:lnTo>
                  <a:lnTo>
                    <a:pt x="12" y="81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4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22" y="52"/>
                  </a:lnTo>
                  <a:lnTo>
                    <a:pt x="22" y="47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7" y="39"/>
                  </a:lnTo>
                  <a:lnTo>
                    <a:pt x="30" y="37"/>
                  </a:lnTo>
                  <a:lnTo>
                    <a:pt x="32" y="34"/>
                  </a:lnTo>
                  <a:lnTo>
                    <a:pt x="35" y="32"/>
                  </a:lnTo>
                  <a:lnTo>
                    <a:pt x="35" y="30"/>
                  </a:lnTo>
                  <a:lnTo>
                    <a:pt x="37" y="27"/>
                  </a:lnTo>
                  <a:lnTo>
                    <a:pt x="39" y="25"/>
                  </a:lnTo>
                  <a:lnTo>
                    <a:pt x="42" y="22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9" y="17"/>
                  </a:lnTo>
                  <a:lnTo>
                    <a:pt x="52" y="15"/>
                  </a:lnTo>
                  <a:lnTo>
                    <a:pt x="54" y="12"/>
                  </a:lnTo>
                  <a:lnTo>
                    <a:pt x="59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0"/>
                  </a:lnTo>
                  <a:close/>
                  <a:moveTo>
                    <a:pt x="184" y="17"/>
                  </a:move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2" y="27"/>
                  </a:lnTo>
                  <a:lnTo>
                    <a:pt x="184" y="27"/>
                  </a:lnTo>
                  <a:lnTo>
                    <a:pt x="187" y="30"/>
                  </a:lnTo>
                  <a:lnTo>
                    <a:pt x="187" y="32"/>
                  </a:lnTo>
                  <a:lnTo>
                    <a:pt x="189" y="34"/>
                  </a:lnTo>
                  <a:lnTo>
                    <a:pt x="192" y="34"/>
                  </a:lnTo>
                  <a:lnTo>
                    <a:pt x="192" y="37"/>
                  </a:lnTo>
                  <a:lnTo>
                    <a:pt x="194" y="39"/>
                  </a:lnTo>
                  <a:lnTo>
                    <a:pt x="194" y="42"/>
                  </a:lnTo>
                  <a:lnTo>
                    <a:pt x="197" y="44"/>
                  </a:lnTo>
                  <a:lnTo>
                    <a:pt x="197" y="47"/>
                  </a:lnTo>
                  <a:lnTo>
                    <a:pt x="199" y="47"/>
                  </a:lnTo>
                  <a:lnTo>
                    <a:pt x="199" y="49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7"/>
                  </a:lnTo>
                  <a:lnTo>
                    <a:pt x="204" y="59"/>
                  </a:lnTo>
                  <a:lnTo>
                    <a:pt x="204" y="61"/>
                  </a:lnTo>
                  <a:lnTo>
                    <a:pt x="204" y="64"/>
                  </a:lnTo>
                  <a:lnTo>
                    <a:pt x="207" y="66"/>
                  </a:lnTo>
                  <a:lnTo>
                    <a:pt x="207" y="66"/>
                  </a:lnTo>
                  <a:lnTo>
                    <a:pt x="207" y="69"/>
                  </a:lnTo>
                  <a:lnTo>
                    <a:pt x="209" y="71"/>
                  </a:lnTo>
                  <a:lnTo>
                    <a:pt x="209" y="74"/>
                  </a:lnTo>
                  <a:lnTo>
                    <a:pt x="209" y="76"/>
                  </a:lnTo>
                  <a:lnTo>
                    <a:pt x="209" y="79"/>
                  </a:lnTo>
                  <a:lnTo>
                    <a:pt x="209" y="81"/>
                  </a:lnTo>
                  <a:lnTo>
                    <a:pt x="209" y="83"/>
                  </a:lnTo>
                  <a:lnTo>
                    <a:pt x="209" y="86"/>
                  </a:lnTo>
                  <a:lnTo>
                    <a:pt x="209" y="88"/>
                  </a:lnTo>
                  <a:lnTo>
                    <a:pt x="211" y="91"/>
                  </a:lnTo>
                  <a:lnTo>
                    <a:pt x="211" y="93"/>
                  </a:lnTo>
                  <a:lnTo>
                    <a:pt x="211" y="96"/>
                  </a:lnTo>
                  <a:lnTo>
                    <a:pt x="209" y="98"/>
                  </a:lnTo>
                  <a:lnTo>
                    <a:pt x="209" y="101"/>
                  </a:lnTo>
                  <a:lnTo>
                    <a:pt x="209" y="103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10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07" y="118"/>
                  </a:lnTo>
                  <a:lnTo>
                    <a:pt x="207" y="120"/>
                  </a:lnTo>
                  <a:lnTo>
                    <a:pt x="207" y="120"/>
                  </a:lnTo>
                  <a:lnTo>
                    <a:pt x="204" y="123"/>
                  </a:lnTo>
                  <a:lnTo>
                    <a:pt x="204" y="125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3"/>
                  </a:lnTo>
                  <a:lnTo>
                    <a:pt x="202" y="135"/>
                  </a:lnTo>
                  <a:lnTo>
                    <a:pt x="199" y="137"/>
                  </a:lnTo>
                  <a:lnTo>
                    <a:pt x="199" y="140"/>
                  </a:lnTo>
                  <a:lnTo>
                    <a:pt x="197" y="140"/>
                  </a:lnTo>
                  <a:lnTo>
                    <a:pt x="197" y="142"/>
                  </a:lnTo>
                  <a:lnTo>
                    <a:pt x="194" y="145"/>
                  </a:lnTo>
                  <a:lnTo>
                    <a:pt x="194" y="147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89" y="152"/>
                  </a:lnTo>
                  <a:lnTo>
                    <a:pt x="187" y="155"/>
                  </a:lnTo>
                  <a:lnTo>
                    <a:pt x="187" y="157"/>
                  </a:lnTo>
                  <a:lnTo>
                    <a:pt x="184" y="159"/>
                  </a:lnTo>
                  <a:lnTo>
                    <a:pt x="182" y="159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0" y="162"/>
                  </a:lnTo>
                  <a:lnTo>
                    <a:pt x="180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9"/>
                  </a:lnTo>
                  <a:lnTo>
                    <a:pt x="184" y="169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89" y="167"/>
                  </a:lnTo>
                  <a:lnTo>
                    <a:pt x="192" y="164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7" y="159"/>
                  </a:lnTo>
                  <a:lnTo>
                    <a:pt x="199" y="157"/>
                  </a:lnTo>
                  <a:lnTo>
                    <a:pt x="199" y="155"/>
                  </a:lnTo>
                  <a:lnTo>
                    <a:pt x="202" y="152"/>
                  </a:lnTo>
                  <a:lnTo>
                    <a:pt x="204" y="150"/>
                  </a:lnTo>
                  <a:lnTo>
                    <a:pt x="204" y="147"/>
                  </a:lnTo>
                  <a:lnTo>
                    <a:pt x="207" y="145"/>
                  </a:lnTo>
                  <a:lnTo>
                    <a:pt x="207" y="142"/>
                  </a:lnTo>
                  <a:lnTo>
                    <a:pt x="209" y="142"/>
                  </a:lnTo>
                  <a:lnTo>
                    <a:pt x="209" y="140"/>
                  </a:lnTo>
                  <a:lnTo>
                    <a:pt x="211" y="137"/>
                  </a:lnTo>
                  <a:lnTo>
                    <a:pt x="211" y="135"/>
                  </a:lnTo>
                  <a:lnTo>
                    <a:pt x="214" y="133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6" y="125"/>
                  </a:lnTo>
                  <a:lnTo>
                    <a:pt x="216" y="123"/>
                  </a:lnTo>
                  <a:lnTo>
                    <a:pt x="216" y="120"/>
                  </a:lnTo>
                  <a:lnTo>
                    <a:pt x="216" y="118"/>
                  </a:lnTo>
                  <a:lnTo>
                    <a:pt x="219" y="115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3"/>
                  </a:lnTo>
                  <a:lnTo>
                    <a:pt x="219" y="101"/>
                  </a:lnTo>
                  <a:lnTo>
                    <a:pt x="219" y="98"/>
                  </a:lnTo>
                  <a:lnTo>
                    <a:pt x="221" y="96"/>
                  </a:lnTo>
                  <a:lnTo>
                    <a:pt x="221" y="93"/>
                  </a:lnTo>
                  <a:lnTo>
                    <a:pt x="221" y="91"/>
                  </a:lnTo>
                  <a:lnTo>
                    <a:pt x="219" y="88"/>
                  </a:lnTo>
                  <a:lnTo>
                    <a:pt x="219" y="86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19" y="79"/>
                  </a:lnTo>
                  <a:lnTo>
                    <a:pt x="219" y="76"/>
                  </a:lnTo>
                  <a:lnTo>
                    <a:pt x="219" y="71"/>
                  </a:lnTo>
                  <a:lnTo>
                    <a:pt x="216" y="69"/>
                  </a:lnTo>
                  <a:lnTo>
                    <a:pt x="216" y="66"/>
                  </a:lnTo>
                  <a:lnTo>
                    <a:pt x="216" y="64"/>
                  </a:lnTo>
                  <a:lnTo>
                    <a:pt x="216" y="61"/>
                  </a:lnTo>
                  <a:lnTo>
                    <a:pt x="214" y="59"/>
                  </a:lnTo>
                  <a:lnTo>
                    <a:pt x="214" y="57"/>
                  </a:lnTo>
                  <a:lnTo>
                    <a:pt x="214" y="54"/>
                  </a:lnTo>
                  <a:lnTo>
                    <a:pt x="211" y="52"/>
                  </a:lnTo>
                  <a:lnTo>
                    <a:pt x="211" y="49"/>
                  </a:lnTo>
                  <a:lnTo>
                    <a:pt x="209" y="47"/>
                  </a:lnTo>
                  <a:lnTo>
                    <a:pt x="209" y="44"/>
                  </a:lnTo>
                  <a:lnTo>
                    <a:pt x="207" y="44"/>
                  </a:lnTo>
                  <a:lnTo>
                    <a:pt x="207" y="42"/>
                  </a:lnTo>
                  <a:lnTo>
                    <a:pt x="204" y="39"/>
                  </a:lnTo>
                  <a:lnTo>
                    <a:pt x="204" y="37"/>
                  </a:lnTo>
                  <a:lnTo>
                    <a:pt x="202" y="34"/>
                  </a:lnTo>
                  <a:lnTo>
                    <a:pt x="199" y="32"/>
                  </a:lnTo>
                  <a:lnTo>
                    <a:pt x="199" y="30"/>
                  </a:lnTo>
                  <a:lnTo>
                    <a:pt x="197" y="27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2" y="22"/>
                  </a:lnTo>
                  <a:lnTo>
                    <a:pt x="189" y="20"/>
                  </a:lnTo>
                  <a:lnTo>
                    <a:pt x="189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17"/>
                  </a:lnTo>
                  <a:close/>
                  <a:moveTo>
                    <a:pt x="108" y="25"/>
                  </a:moveTo>
                  <a:lnTo>
                    <a:pt x="108" y="25"/>
                  </a:lnTo>
                  <a:lnTo>
                    <a:pt x="106" y="25"/>
                  </a:lnTo>
                  <a:lnTo>
                    <a:pt x="103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6" y="25"/>
                  </a:lnTo>
                  <a:lnTo>
                    <a:pt x="94" y="27"/>
                  </a:lnTo>
                  <a:lnTo>
                    <a:pt x="89" y="27"/>
                  </a:lnTo>
                  <a:lnTo>
                    <a:pt x="86" y="27"/>
                  </a:lnTo>
                  <a:lnTo>
                    <a:pt x="84" y="30"/>
                  </a:lnTo>
                  <a:lnTo>
                    <a:pt x="79" y="30"/>
                  </a:lnTo>
                  <a:lnTo>
                    <a:pt x="76" y="32"/>
                  </a:lnTo>
                  <a:lnTo>
                    <a:pt x="74" y="34"/>
                  </a:lnTo>
                  <a:lnTo>
                    <a:pt x="71" y="34"/>
                  </a:lnTo>
                  <a:lnTo>
                    <a:pt x="69" y="37"/>
                  </a:lnTo>
                  <a:lnTo>
                    <a:pt x="67" y="39"/>
                  </a:lnTo>
                  <a:lnTo>
                    <a:pt x="62" y="42"/>
                  </a:lnTo>
                  <a:lnTo>
                    <a:pt x="59" y="44"/>
                  </a:lnTo>
                  <a:lnTo>
                    <a:pt x="57" y="47"/>
                  </a:lnTo>
                  <a:lnTo>
                    <a:pt x="57" y="49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49" y="57"/>
                  </a:lnTo>
                  <a:lnTo>
                    <a:pt x="47" y="59"/>
                  </a:lnTo>
                  <a:lnTo>
                    <a:pt x="47" y="64"/>
                  </a:lnTo>
                  <a:lnTo>
                    <a:pt x="44" y="66"/>
                  </a:lnTo>
                  <a:lnTo>
                    <a:pt x="44" y="69"/>
                  </a:lnTo>
                  <a:lnTo>
                    <a:pt x="42" y="74"/>
                  </a:lnTo>
                  <a:lnTo>
                    <a:pt x="42" y="76"/>
                  </a:lnTo>
                  <a:lnTo>
                    <a:pt x="42" y="79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6"/>
                  </a:lnTo>
                  <a:lnTo>
                    <a:pt x="39" y="88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9" y="93"/>
                  </a:lnTo>
                  <a:lnTo>
                    <a:pt x="39" y="93"/>
                  </a:lnTo>
                  <a:lnTo>
                    <a:pt x="39" y="93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2" y="96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7" y="96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1"/>
                  </a:lnTo>
                  <a:lnTo>
                    <a:pt x="49" y="88"/>
                  </a:lnTo>
                  <a:lnTo>
                    <a:pt x="49" y="83"/>
                  </a:lnTo>
                  <a:lnTo>
                    <a:pt x="49" y="81"/>
                  </a:lnTo>
                  <a:lnTo>
                    <a:pt x="52" y="79"/>
                  </a:lnTo>
                  <a:lnTo>
                    <a:pt x="52" y="76"/>
                  </a:lnTo>
                  <a:lnTo>
                    <a:pt x="52" y="74"/>
                  </a:lnTo>
                  <a:lnTo>
                    <a:pt x="54" y="71"/>
                  </a:lnTo>
                  <a:lnTo>
                    <a:pt x="54" y="66"/>
                  </a:lnTo>
                  <a:lnTo>
                    <a:pt x="57" y="64"/>
                  </a:lnTo>
                  <a:lnTo>
                    <a:pt x="59" y="61"/>
                  </a:lnTo>
                  <a:lnTo>
                    <a:pt x="59" y="59"/>
                  </a:lnTo>
                  <a:lnTo>
                    <a:pt x="62" y="57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7" y="52"/>
                  </a:lnTo>
                  <a:lnTo>
                    <a:pt x="69" y="49"/>
                  </a:lnTo>
                  <a:lnTo>
                    <a:pt x="71" y="47"/>
                  </a:lnTo>
                  <a:lnTo>
                    <a:pt x="74" y="44"/>
                  </a:lnTo>
                  <a:lnTo>
                    <a:pt x="76" y="44"/>
                  </a:lnTo>
                  <a:lnTo>
                    <a:pt x="79" y="42"/>
                  </a:lnTo>
                  <a:lnTo>
                    <a:pt x="81" y="39"/>
                  </a:lnTo>
                  <a:lnTo>
                    <a:pt x="84" y="39"/>
                  </a:lnTo>
                  <a:lnTo>
                    <a:pt x="86" y="37"/>
                  </a:lnTo>
                  <a:lnTo>
                    <a:pt x="89" y="37"/>
                  </a:lnTo>
                  <a:lnTo>
                    <a:pt x="94" y="37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1" y="34"/>
                  </a:lnTo>
                  <a:lnTo>
                    <a:pt x="103" y="34"/>
                  </a:lnTo>
                  <a:lnTo>
                    <a:pt x="108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6" y="34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8" y="37"/>
                  </a:lnTo>
                  <a:lnTo>
                    <a:pt x="130" y="37"/>
                  </a:lnTo>
                  <a:lnTo>
                    <a:pt x="135" y="37"/>
                  </a:lnTo>
                  <a:lnTo>
                    <a:pt x="138" y="39"/>
                  </a:lnTo>
                  <a:lnTo>
                    <a:pt x="140" y="39"/>
                  </a:lnTo>
                  <a:lnTo>
                    <a:pt x="143" y="42"/>
                  </a:lnTo>
                  <a:lnTo>
                    <a:pt x="145" y="44"/>
                  </a:lnTo>
                  <a:lnTo>
                    <a:pt x="148" y="44"/>
                  </a:lnTo>
                  <a:lnTo>
                    <a:pt x="150" y="47"/>
                  </a:lnTo>
                  <a:lnTo>
                    <a:pt x="153" y="49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57" y="42"/>
                  </a:lnTo>
                  <a:lnTo>
                    <a:pt x="155" y="39"/>
                  </a:lnTo>
                  <a:lnTo>
                    <a:pt x="153" y="37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5" y="32"/>
                  </a:lnTo>
                  <a:lnTo>
                    <a:pt x="140" y="30"/>
                  </a:lnTo>
                  <a:lnTo>
                    <a:pt x="138" y="30"/>
                  </a:lnTo>
                  <a:lnTo>
                    <a:pt x="135" y="27"/>
                  </a:lnTo>
                  <a:lnTo>
                    <a:pt x="130" y="27"/>
                  </a:lnTo>
                  <a:lnTo>
                    <a:pt x="128" y="25"/>
                  </a:lnTo>
                  <a:lnTo>
                    <a:pt x="125" y="25"/>
                  </a:lnTo>
                  <a:lnTo>
                    <a:pt x="121" y="25"/>
                  </a:lnTo>
                  <a:lnTo>
                    <a:pt x="118" y="25"/>
                  </a:lnTo>
                  <a:lnTo>
                    <a:pt x="113" y="25"/>
                  </a:lnTo>
                  <a:lnTo>
                    <a:pt x="111" y="25"/>
                  </a:lnTo>
                  <a:lnTo>
                    <a:pt x="108" y="25"/>
                  </a:lnTo>
                  <a:close/>
                  <a:moveTo>
                    <a:pt x="111" y="61"/>
                  </a:moveTo>
                  <a:lnTo>
                    <a:pt x="108" y="61"/>
                  </a:lnTo>
                  <a:lnTo>
                    <a:pt x="108" y="61"/>
                  </a:lnTo>
                  <a:lnTo>
                    <a:pt x="106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1" y="61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6"/>
                  </a:lnTo>
                  <a:lnTo>
                    <a:pt x="91" y="66"/>
                  </a:lnTo>
                  <a:lnTo>
                    <a:pt x="91" y="66"/>
                  </a:lnTo>
                  <a:lnTo>
                    <a:pt x="89" y="69"/>
                  </a:lnTo>
                  <a:lnTo>
                    <a:pt x="89" y="69"/>
                  </a:lnTo>
                  <a:lnTo>
                    <a:pt x="86" y="71"/>
                  </a:lnTo>
                  <a:lnTo>
                    <a:pt x="86" y="71"/>
                  </a:lnTo>
                  <a:lnTo>
                    <a:pt x="86" y="74"/>
                  </a:lnTo>
                  <a:lnTo>
                    <a:pt x="84" y="74"/>
                  </a:lnTo>
                  <a:lnTo>
                    <a:pt x="84" y="76"/>
                  </a:lnTo>
                  <a:lnTo>
                    <a:pt x="81" y="76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3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76" y="91"/>
                  </a:lnTo>
                  <a:lnTo>
                    <a:pt x="76" y="91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9" y="98"/>
                  </a:lnTo>
                  <a:lnTo>
                    <a:pt x="79" y="101"/>
                  </a:lnTo>
                  <a:lnTo>
                    <a:pt x="79" y="103"/>
                  </a:lnTo>
                  <a:lnTo>
                    <a:pt x="79" y="106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4" y="110"/>
                  </a:lnTo>
                  <a:lnTo>
                    <a:pt x="84" y="113"/>
                  </a:lnTo>
                  <a:lnTo>
                    <a:pt x="86" y="115"/>
                  </a:lnTo>
                  <a:lnTo>
                    <a:pt x="86" y="115"/>
                  </a:lnTo>
                  <a:lnTo>
                    <a:pt x="89" y="118"/>
                  </a:lnTo>
                  <a:lnTo>
                    <a:pt x="91" y="120"/>
                  </a:lnTo>
                  <a:lnTo>
                    <a:pt x="94" y="120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3"/>
                  </a:lnTo>
                  <a:lnTo>
                    <a:pt x="91" y="150"/>
                  </a:lnTo>
                  <a:lnTo>
                    <a:pt x="89" y="150"/>
                  </a:lnTo>
                  <a:lnTo>
                    <a:pt x="86" y="147"/>
                  </a:lnTo>
                  <a:lnTo>
                    <a:pt x="84" y="147"/>
                  </a:lnTo>
                  <a:lnTo>
                    <a:pt x="81" y="145"/>
                  </a:lnTo>
                  <a:lnTo>
                    <a:pt x="79" y="145"/>
                  </a:lnTo>
                  <a:lnTo>
                    <a:pt x="76" y="142"/>
                  </a:lnTo>
                  <a:lnTo>
                    <a:pt x="74" y="140"/>
                  </a:lnTo>
                  <a:lnTo>
                    <a:pt x="71" y="140"/>
                  </a:lnTo>
                  <a:lnTo>
                    <a:pt x="69" y="137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4" y="133"/>
                  </a:lnTo>
                  <a:lnTo>
                    <a:pt x="62" y="130"/>
                  </a:lnTo>
                  <a:lnTo>
                    <a:pt x="59" y="128"/>
                  </a:lnTo>
                  <a:lnTo>
                    <a:pt x="59" y="125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4" y="120"/>
                  </a:lnTo>
                  <a:lnTo>
                    <a:pt x="54" y="120"/>
                  </a:lnTo>
                  <a:lnTo>
                    <a:pt x="54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5"/>
                  </a:lnTo>
                  <a:lnTo>
                    <a:pt x="49" y="125"/>
                  </a:lnTo>
                  <a:lnTo>
                    <a:pt x="49" y="125"/>
                  </a:lnTo>
                  <a:lnTo>
                    <a:pt x="49" y="125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52" y="130"/>
                  </a:lnTo>
                  <a:lnTo>
                    <a:pt x="52" y="133"/>
                  </a:lnTo>
                  <a:lnTo>
                    <a:pt x="54" y="135"/>
                  </a:lnTo>
                  <a:lnTo>
                    <a:pt x="57" y="137"/>
                  </a:lnTo>
                  <a:lnTo>
                    <a:pt x="59" y="140"/>
                  </a:lnTo>
                  <a:lnTo>
                    <a:pt x="62" y="142"/>
                  </a:lnTo>
                  <a:lnTo>
                    <a:pt x="64" y="145"/>
                  </a:lnTo>
                  <a:lnTo>
                    <a:pt x="67" y="147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4" y="152"/>
                  </a:lnTo>
                  <a:lnTo>
                    <a:pt x="76" y="155"/>
                  </a:lnTo>
                  <a:lnTo>
                    <a:pt x="79" y="155"/>
                  </a:lnTo>
                  <a:lnTo>
                    <a:pt x="81" y="157"/>
                  </a:lnTo>
                  <a:lnTo>
                    <a:pt x="84" y="157"/>
                  </a:lnTo>
                  <a:lnTo>
                    <a:pt x="89" y="159"/>
                  </a:lnTo>
                  <a:lnTo>
                    <a:pt x="81" y="186"/>
                  </a:lnTo>
                  <a:lnTo>
                    <a:pt x="79" y="184"/>
                  </a:lnTo>
                  <a:lnTo>
                    <a:pt x="76" y="184"/>
                  </a:lnTo>
                  <a:lnTo>
                    <a:pt x="74" y="184"/>
                  </a:lnTo>
                  <a:lnTo>
                    <a:pt x="71" y="182"/>
                  </a:lnTo>
                  <a:lnTo>
                    <a:pt x="69" y="182"/>
                  </a:lnTo>
                  <a:lnTo>
                    <a:pt x="67" y="179"/>
                  </a:lnTo>
                  <a:lnTo>
                    <a:pt x="64" y="179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59" y="177"/>
                  </a:lnTo>
                  <a:lnTo>
                    <a:pt x="59" y="177"/>
                  </a:lnTo>
                  <a:lnTo>
                    <a:pt x="59" y="177"/>
                  </a:lnTo>
                  <a:lnTo>
                    <a:pt x="59" y="177"/>
                  </a:lnTo>
                  <a:lnTo>
                    <a:pt x="59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4"/>
                  </a:lnTo>
                  <a:lnTo>
                    <a:pt x="54" y="184"/>
                  </a:lnTo>
                  <a:lnTo>
                    <a:pt x="54" y="184"/>
                  </a:lnTo>
                  <a:lnTo>
                    <a:pt x="54" y="184"/>
                  </a:lnTo>
                  <a:lnTo>
                    <a:pt x="54" y="184"/>
                  </a:lnTo>
                  <a:lnTo>
                    <a:pt x="57" y="186"/>
                  </a:lnTo>
                  <a:lnTo>
                    <a:pt x="57" y="186"/>
                  </a:lnTo>
                  <a:lnTo>
                    <a:pt x="59" y="186"/>
                  </a:lnTo>
                  <a:lnTo>
                    <a:pt x="62" y="189"/>
                  </a:lnTo>
                  <a:lnTo>
                    <a:pt x="64" y="189"/>
                  </a:lnTo>
                  <a:lnTo>
                    <a:pt x="67" y="191"/>
                  </a:lnTo>
                  <a:lnTo>
                    <a:pt x="69" y="191"/>
                  </a:lnTo>
                  <a:lnTo>
                    <a:pt x="71" y="194"/>
                  </a:lnTo>
                  <a:lnTo>
                    <a:pt x="74" y="194"/>
                  </a:lnTo>
                  <a:lnTo>
                    <a:pt x="79" y="194"/>
                  </a:lnTo>
                  <a:lnTo>
                    <a:pt x="52" y="287"/>
                  </a:lnTo>
                  <a:lnTo>
                    <a:pt x="52" y="289"/>
                  </a:lnTo>
                  <a:lnTo>
                    <a:pt x="52" y="289"/>
                  </a:lnTo>
                  <a:lnTo>
                    <a:pt x="52" y="289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4" y="294"/>
                  </a:lnTo>
                  <a:lnTo>
                    <a:pt x="54" y="294"/>
                  </a:lnTo>
                  <a:lnTo>
                    <a:pt x="57" y="294"/>
                  </a:lnTo>
                  <a:lnTo>
                    <a:pt x="57" y="294"/>
                  </a:lnTo>
                  <a:lnTo>
                    <a:pt x="57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2"/>
                  </a:lnTo>
                  <a:lnTo>
                    <a:pt x="62" y="292"/>
                  </a:lnTo>
                  <a:lnTo>
                    <a:pt x="111" y="238"/>
                  </a:lnTo>
                  <a:lnTo>
                    <a:pt x="160" y="292"/>
                  </a:lnTo>
                  <a:lnTo>
                    <a:pt x="162" y="292"/>
                  </a:lnTo>
                  <a:lnTo>
                    <a:pt x="162" y="294"/>
                  </a:lnTo>
                  <a:lnTo>
                    <a:pt x="162" y="294"/>
                  </a:lnTo>
                  <a:lnTo>
                    <a:pt x="165" y="294"/>
                  </a:lnTo>
                  <a:lnTo>
                    <a:pt x="165" y="294"/>
                  </a:lnTo>
                  <a:lnTo>
                    <a:pt x="165" y="294"/>
                  </a:lnTo>
                  <a:lnTo>
                    <a:pt x="167" y="294"/>
                  </a:lnTo>
                  <a:lnTo>
                    <a:pt x="167" y="294"/>
                  </a:lnTo>
                  <a:lnTo>
                    <a:pt x="167" y="292"/>
                  </a:lnTo>
                  <a:lnTo>
                    <a:pt x="167" y="292"/>
                  </a:lnTo>
                  <a:lnTo>
                    <a:pt x="170" y="292"/>
                  </a:lnTo>
                  <a:lnTo>
                    <a:pt x="170" y="292"/>
                  </a:lnTo>
                  <a:lnTo>
                    <a:pt x="170" y="289"/>
                  </a:lnTo>
                  <a:lnTo>
                    <a:pt x="170" y="289"/>
                  </a:lnTo>
                  <a:lnTo>
                    <a:pt x="170" y="289"/>
                  </a:lnTo>
                  <a:lnTo>
                    <a:pt x="170" y="287"/>
                  </a:lnTo>
                  <a:lnTo>
                    <a:pt x="133" y="159"/>
                  </a:lnTo>
                  <a:lnTo>
                    <a:pt x="138" y="157"/>
                  </a:lnTo>
                  <a:lnTo>
                    <a:pt x="140" y="157"/>
                  </a:lnTo>
                  <a:lnTo>
                    <a:pt x="143" y="157"/>
                  </a:lnTo>
                  <a:lnTo>
                    <a:pt x="145" y="155"/>
                  </a:lnTo>
                  <a:lnTo>
                    <a:pt x="148" y="155"/>
                  </a:lnTo>
                  <a:lnTo>
                    <a:pt x="150" y="152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5" y="147"/>
                  </a:lnTo>
                  <a:lnTo>
                    <a:pt x="157" y="145"/>
                  </a:lnTo>
                  <a:lnTo>
                    <a:pt x="160" y="145"/>
                  </a:lnTo>
                  <a:lnTo>
                    <a:pt x="162" y="142"/>
                  </a:lnTo>
                  <a:lnTo>
                    <a:pt x="165" y="140"/>
                  </a:lnTo>
                  <a:lnTo>
                    <a:pt x="165" y="137"/>
                  </a:lnTo>
                  <a:lnTo>
                    <a:pt x="167" y="135"/>
                  </a:lnTo>
                  <a:lnTo>
                    <a:pt x="170" y="135"/>
                  </a:lnTo>
                  <a:lnTo>
                    <a:pt x="170" y="133"/>
                  </a:lnTo>
                  <a:lnTo>
                    <a:pt x="172" y="130"/>
                  </a:lnTo>
                  <a:lnTo>
                    <a:pt x="172" y="128"/>
                  </a:lnTo>
                  <a:lnTo>
                    <a:pt x="175" y="125"/>
                  </a:lnTo>
                  <a:lnTo>
                    <a:pt x="175" y="123"/>
                  </a:lnTo>
                  <a:lnTo>
                    <a:pt x="177" y="120"/>
                  </a:lnTo>
                  <a:lnTo>
                    <a:pt x="177" y="118"/>
                  </a:lnTo>
                  <a:lnTo>
                    <a:pt x="180" y="115"/>
                  </a:lnTo>
                  <a:lnTo>
                    <a:pt x="180" y="113"/>
                  </a:lnTo>
                  <a:lnTo>
                    <a:pt x="180" y="110"/>
                  </a:lnTo>
                  <a:lnTo>
                    <a:pt x="182" y="108"/>
                  </a:lnTo>
                  <a:lnTo>
                    <a:pt x="182" y="106"/>
                  </a:lnTo>
                  <a:lnTo>
                    <a:pt x="182" y="101"/>
                  </a:lnTo>
                  <a:lnTo>
                    <a:pt x="182" y="98"/>
                  </a:lnTo>
                  <a:lnTo>
                    <a:pt x="182" y="96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0" y="91"/>
                  </a:lnTo>
                  <a:lnTo>
                    <a:pt x="180" y="88"/>
                  </a:lnTo>
                  <a:lnTo>
                    <a:pt x="180" y="88"/>
                  </a:lnTo>
                  <a:lnTo>
                    <a:pt x="180" y="88"/>
                  </a:lnTo>
                  <a:lnTo>
                    <a:pt x="180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5" y="88"/>
                  </a:lnTo>
                  <a:lnTo>
                    <a:pt x="175" y="88"/>
                  </a:lnTo>
                  <a:lnTo>
                    <a:pt x="175" y="88"/>
                  </a:lnTo>
                  <a:lnTo>
                    <a:pt x="175" y="88"/>
                  </a:lnTo>
                  <a:lnTo>
                    <a:pt x="175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2" y="93"/>
                  </a:lnTo>
                  <a:lnTo>
                    <a:pt x="172" y="93"/>
                  </a:lnTo>
                  <a:lnTo>
                    <a:pt x="172" y="93"/>
                  </a:lnTo>
                  <a:lnTo>
                    <a:pt x="172" y="96"/>
                  </a:lnTo>
                  <a:lnTo>
                    <a:pt x="172" y="98"/>
                  </a:lnTo>
                  <a:lnTo>
                    <a:pt x="172" y="101"/>
                  </a:lnTo>
                  <a:lnTo>
                    <a:pt x="172" y="103"/>
                  </a:lnTo>
                  <a:lnTo>
                    <a:pt x="172" y="106"/>
                  </a:lnTo>
                  <a:lnTo>
                    <a:pt x="170" y="108"/>
                  </a:lnTo>
                  <a:lnTo>
                    <a:pt x="170" y="110"/>
                  </a:lnTo>
                  <a:lnTo>
                    <a:pt x="170" y="113"/>
                  </a:lnTo>
                  <a:lnTo>
                    <a:pt x="170" y="113"/>
                  </a:lnTo>
                  <a:lnTo>
                    <a:pt x="167" y="115"/>
                  </a:lnTo>
                  <a:lnTo>
                    <a:pt x="167" y="118"/>
                  </a:lnTo>
                  <a:lnTo>
                    <a:pt x="165" y="120"/>
                  </a:lnTo>
                  <a:lnTo>
                    <a:pt x="165" y="123"/>
                  </a:lnTo>
                  <a:lnTo>
                    <a:pt x="165" y="125"/>
                  </a:lnTo>
                  <a:lnTo>
                    <a:pt x="162" y="125"/>
                  </a:lnTo>
                  <a:lnTo>
                    <a:pt x="160" y="128"/>
                  </a:lnTo>
                  <a:lnTo>
                    <a:pt x="160" y="130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5" y="135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0" y="140"/>
                  </a:lnTo>
                  <a:lnTo>
                    <a:pt x="148" y="140"/>
                  </a:lnTo>
                  <a:lnTo>
                    <a:pt x="145" y="142"/>
                  </a:lnTo>
                  <a:lnTo>
                    <a:pt x="145" y="145"/>
                  </a:lnTo>
                  <a:lnTo>
                    <a:pt x="143" y="145"/>
                  </a:lnTo>
                  <a:lnTo>
                    <a:pt x="140" y="147"/>
                  </a:lnTo>
                  <a:lnTo>
                    <a:pt x="138" y="147"/>
                  </a:lnTo>
                  <a:lnTo>
                    <a:pt x="135" y="147"/>
                  </a:lnTo>
                  <a:lnTo>
                    <a:pt x="133" y="150"/>
                  </a:lnTo>
                  <a:lnTo>
                    <a:pt x="130" y="150"/>
                  </a:lnTo>
                  <a:lnTo>
                    <a:pt x="123" y="123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8" y="120"/>
                  </a:lnTo>
                  <a:lnTo>
                    <a:pt x="130" y="120"/>
                  </a:lnTo>
                  <a:lnTo>
                    <a:pt x="133" y="118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8" y="113"/>
                  </a:lnTo>
                  <a:lnTo>
                    <a:pt x="138" y="110"/>
                  </a:lnTo>
                  <a:lnTo>
                    <a:pt x="140" y="108"/>
                  </a:lnTo>
                  <a:lnTo>
                    <a:pt x="140" y="108"/>
                  </a:lnTo>
                  <a:lnTo>
                    <a:pt x="143" y="106"/>
                  </a:lnTo>
                  <a:lnTo>
                    <a:pt x="143" y="103"/>
                  </a:lnTo>
                  <a:lnTo>
                    <a:pt x="143" y="101"/>
                  </a:lnTo>
                  <a:lnTo>
                    <a:pt x="143" y="98"/>
                  </a:lnTo>
                  <a:lnTo>
                    <a:pt x="145" y="96"/>
                  </a:lnTo>
                  <a:lnTo>
                    <a:pt x="145" y="96"/>
                  </a:lnTo>
                  <a:lnTo>
                    <a:pt x="145" y="93"/>
                  </a:lnTo>
                  <a:lnTo>
                    <a:pt x="145" y="93"/>
                  </a:lnTo>
                  <a:lnTo>
                    <a:pt x="145" y="91"/>
                  </a:lnTo>
                  <a:lnTo>
                    <a:pt x="145" y="91"/>
                  </a:lnTo>
                  <a:lnTo>
                    <a:pt x="143" y="88"/>
                  </a:lnTo>
                  <a:lnTo>
                    <a:pt x="143" y="86"/>
                  </a:lnTo>
                  <a:lnTo>
                    <a:pt x="143" y="86"/>
                  </a:lnTo>
                  <a:lnTo>
                    <a:pt x="143" y="83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0" y="79"/>
                  </a:lnTo>
                  <a:lnTo>
                    <a:pt x="140" y="79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35" y="71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1" y="61"/>
                  </a:lnTo>
                  <a:lnTo>
                    <a:pt x="118" y="61"/>
                  </a:lnTo>
                  <a:lnTo>
                    <a:pt x="118" y="61"/>
                  </a:lnTo>
                  <a:lnTo>
                    <a:pt x="116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1" y="61"/>
                  </a:lnTo>
                  <a:close/>
                  <a:moveTo>
                    <a:pt x="98" y="113"/>
                  </a:moveTo>
                  <a:lnTo>
                    <a:pt x="96" y="113"/>
                  </a:lnTo>
                  <a:lnTo>
                    <a:pt x="96" y="110"/>
                  </a:lnTo>
                  <a:lnTo>
                    <a:pt x="94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3"/>
                  </a:lnTo>
                  <a:lnTo>
                    <a:pt x="89" y="103"/>
                  </a:lnTo>
                  <a:lnTo>
                    <a:pt x="89" y="101"/>
                  </a:lnTo>
                  <a:lnTo>
                    <a:pt x="89" y="101"/>
                  </a:lnTo>
                  <a:lnTo>
                    <a:pt x="89" y="98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1"/>
                  </a:lnTo>
                  <a:lnTo>
                    <a:pt x="89" y="91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91" y="83"/>
                  </a:lnTo>
                  <a:lnTo>
                    <a:pt x="91" y="81"/>
                  </a:lnTo>
                  <a:lnTo>
                    <a:pt x="91" y="81"/>
                  </a:lnTo>
                  <a:lnTo>
                    <a:pt x="91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1" y="74"/>
                  </a:lnTo>
                  <a:lnTo>
                    <a:pt x="101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8" y="71"/>
                  </a:lnTo>
                  <a:lnTo>
                    <a:pt x="108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8" y="71"/>
                  </a:lnTo>
                  <a:lnTo>
                    <a:pt x="118" y="71"/>
                  </a:lnTo>
                  <a:lnTo>
                    <a:pt x="121" y="71"/>
                  </a:lnTo>
                  <a:lnTo>
                    <a:pt x="121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8" y="76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30" y="79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91"/>
                  </a:lnTo>
                  <a:lnTo>
                    <a:pt x="135" y="91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6"/>
                  </a:lnTo>
                  <a:lnTo>
                    <a:pt x="133" y="96"/>
                  </a:lnTo>
                  <a:lnTo>
                    <a:pt x="133" y="98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3"/>
                  </a:lnTo>
                  <a:lnTo>
                    <a:pt x="130" y="103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5" y="110"/>
                  </a:lnTo>
                  <a:lnTo>
                    <a:pt x="125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16" y="93"/>
                  </a:lnTo>
                  <a:lnTo>
                    <a:pt x="116" y="91"/>
                  </a:lnTo>
                  <a:lnTo>
                    <a:pt x="116" y="91"/>
                  </a:lnTo>
                  <a:lnTo>
                    <a:pt x="113" y="91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3"/>
                  </a:lnTo>
                  <a:lnTo>
                    <a:pt x="101" y="113"/>
                  </a:lnTo>
                  <a:lnTo>
                    <a:pt x="98" y="113"/>
                  </a:lnTo>
                  <a:close/>
                  <a:moveTo>
                    <a:pt x="108" y="152"/>
                  </a:moveTo>
                  <a:lnTo>
                    <a:pt x="106" y="152"/>
                  </a:lnTo>
                  <a:lnTo>
                    <a:pt x="103" y="152"/>
                  </a:lnTo>
                  <a:lnTo>
                    <a:pt x="98" y="152"/>
                  </a:lnTo>
                  <a:lnTo>
                    <a:pt x="111" y="113"/>
                  </a:lnTo>
                  <a:lnTo>
                    <a:pt x="123" y="152"/>
                  </a:lnTo>
                  <a:lnTo>
                    <a:pt x="118" y="152"/>
                  </a:lnTo>
                  <a:lnTo>
                    <a:pt x="116" y="152"/>
                  </a:lnTo>
                  <a:lnTo>
                    <a:pt x="113" y="152"/>
                  </a:lnTo>
                  <a:lnTo>
                    <a:pt x="111" y="152"/>
                  </a:lnTo>
                  <a:lnTo>
                    <a:pt x="108" y="152"/>
                  </a:lnTo>
                  <a:close/>
                  <a:moveTo>
                    <a:pt x="113" y="162"/>
                  </a:moveTo>
                  <a:lnTo>
                    <a:pt x="118" y="162"/>
                  </a:lnTo>
                  <a:lnTo>
                    <a:pt x="121" y="162"/>
                  </a:lnTo>
                  <a:lnTo>
                    <a:pt x="125" y="162"/>
                  </a:lnTo>
                  <a:lnTo>
                    <a:pt x="133" y="189"/>
                  </a:lnTo>
                  <a:lnTo>
                    <a:pt x="128" y="189"/>
                  </a:lnTo>
                  <a:lnTo>
                    <a:pt x="125" y="189"/>
                  </a:lnTo>
                  <a:lnTo>
                    <a:pt x="123" y="189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6" y="189"/>
                  </a:lnTo>
                  <a:lnTo>
                    <a:pt x="113" y="191"/>
                  </a:lnTo>
                  <a:lnTo>
                    <a:pt x="111" y="191"/>
                  </a:lnTo>
                  <a:lnTo>
                    <a:pt x="108" y="191"/>
                  </a:lnTo>
                  <a:lnTo>
                    <a:pt x="106" y="189"/>
                  </a:lnTo>
                  <a:lnTo>
                    <a:pt x="103" y="189"/>
                  </a:lnTo>
                  <a:lnTo>
                    <a:pt x="101" y="189"/>
                  </a:lnTo>
                  <a:lnTo>
                    <a:pt x="98" y="189"/>
                  </a:lnTo>
                  <a:lnTo>
                    <a:pt x="96" y="189"/>
                  </a:lnTo>
                  <a:lnTo>
                    <a:pt x="94" y="189"/>
                  </a:lnTo>
                  <a:lnTo>
                    <a:pt x="89" y="189"/>
                  </a:lnTo>
                  <a:lnTo>
                    <a:pt x="96" y="162"/>
                  </a:lnTo>
                  <a:lnTo>
                    <a:pt x="101" y="162"/>
                  </a:lnTo>
                  <a:lnTo>
                    <a:pt x="103" y="162"/>
                  </a:lnTo>
                  <a:lnTo>
                    <a:pt x="108" y="162"/>
                  </a:lnTo>
                  <a:lnTo>
                    <a:pt x="111" y="162"/>
                  </a:lnTo>
                  <a:lnTo>
                    <a:pt x="113" y="162"/>
                  </a:lnTo>
                  <a:close/>
                  <a:moveTo>
                    <a:pt x="111" y="199"/>
                  </a:moveTo>
                  <a:lnTo>
                    <a:pt x="113" y="199"/>
                  </a:lnTo>
                  <a:lnTo>
                    <a:pt x="116" y="199"/>
                  </a:lnTo>
                  <a:lnTo>
                    <a:pt x="121" y="199"/>
                  </a:lnTo>
                  <a:lnTo>
                    <a:pt x="123" y="199"/>
                  </a:lnTo>
                  <a:lnTo>
                    <a:pt x="125" y="199"/>
                  </a:lnTo>
                  <a:lnTo>
                    <a:pt x="128" y="199"/>
                  </a:lnTo>
                  <a:lnTo>
                    <a:pt x="130" y="199"/>
                  </a:lnTo>
                  <a:lnTo>
                    <a:pt x="135" y="196"/>
                  </a:lnTo>
                  <a:lnTo>
                    <a:pt x="143" y="223"/>
                  </a:lnTo>
                  <a:lnTo>
                    <a:pt x="138" y="226"/>
                  </a:lnTo>
                  <a:lnTo>
                    <a:pt x="133" y="226"/>
                  </a:lnTo>
                  <a:lnTo>
                    <a:pt x="130" y="226"/>
                  </a:lnTo>
                  <a:lnTo>
                    <a:pt x="125" y="226"/>
                  </a:lnTo>
                  <a:lnTo>
                    <a:pt x="123" y="226"/>
                  </a:lnTo>
                  <a:lnTo>
                    <a:pt x="118" y="228"/>
                  </a:lnTo>
                  <a:lnTo>
                    <a:pt x="116" y="228"/>
                  </a:lnTo>
                  <a:lnTo>
                    <a:pt x="111" y="228"/>
                  </a:lnTo>
                  <a:lnTo>
                    <a:pt x="106" y="228"/>
                  </a:lnTo>
                  <a:lnTo>
                    <a:pt x="103" y="228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1" y="226"/>
                  </a:lnTo>
                  <a:lnTo>
                    <a:pt x="89" y="226"/>
                  </a:lnTo>
                  <a:lnTo>
                    <a:pt x="84" y="226"/>
                  </a:lnTo>
                  <a:lnTo>
                    <a:pt x="79" y="223"/>
                  </a:lnTo>
                  <a:lnTo>
                    <a:pt x="86" y="196"/>
                  </a:lnTo>
                  <a:lnTo>
                    <a:pt x="91" y="199"/>
                  </a:lnTo>
                  <a:lnTo>
                    <a:pt x="94" y="199"/>
                  </a:lnTo>
                  <a:lnTo>
                    <a:pt x="96" y="199"/>
                  </a:lnTo>
                  <a:lnTo>
                    <a:pt x="98" y="199"/>
                  </a:lnTo>
                  <a:lnTo>
                    <a:pt x="101" y="199"/>
                  </a:lnTo>
                  <a:lnTo>
                    <a:pt x="106" y="199"/>
                  </a:lnTo>
                  <a:lnTo>
                    <a:pt x="108" y="199"/>
                  </a:lnTo>
                  <a:lnTo>
                    <a:pt x="111" y="199"/>
                  </a:lnTo>
                  <a:close/>
                  <a:moveTo>
                    <a:pt x="123" y="235"/>
                  </a:moveTo>
                  <a:lnTo>
                    <a:pt x="125" y="235"/>
                  </a:lnTo>
                  <a:lnTo>
                    <a:pt x="128" y="235"/>
                  </a:lnTo>
                  <a:lnTo>
                    <a:pt x="130" y="235"/>
                  </a:lnTo>
                  <a:lnTo>
                    <a:pt x="133" y="235"/>
                  </a:lnTo>
                  <a:lnTo>
                    <a:pt x="135" y="235"/>
                  </a:lnTo>
                  <a:lnTo>
                    <a:pt x="138" y="235"/>
                  </a:lnTo>
                  <a:lnTo>
                    <a:pt x="143" y="233"/>
                  </a:lnTo>
                  <a:lnTo>
                    <a:pt x="145" y="233"/>
                  </a:lnTo>
                  <a:lnTo>
                    <a:pt x="155" y="270"/>
                  </a:lnTo>
                  <a:lnTo>
                    <a:pt x="123" y="235"/>
                  </a:lnTo>
                  <a:close/>
                  <a:moveTo>
                    <a:pt x="76" y="233"/>
                  </a:moveTo>
                  <a:lnTo>
                    <a:pt x="79" y="233"/>
                  </a:lnTo>
                  <a:lnTo>
                    <a:pt x="84" y="235"/>
                  </a:lnTo>
                  <a:lnTo>
                    <a:pt x="86" y="235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94" y="235"/>
                  </a:lnTo>
                  <a:lnTo>
                    <a:pt x="96" y="235"/>
                  </a:lnTo>
                  <a:lnTo>
                    <a:pt x="98" y="235"/>
                  </a:lnTo>
                  <a:lnTo>
                    <a:pt x="67" y="270"/>
                  </a:lnTo>
                  <a:lnTo>
                    <a:pt x="76" y="2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6" name="Group 148">
            <a:extLst>
              <a:ext uri="{FF2B5EF4-FFF2-40B4-BE49-F238E27FC236}">
                <a16:creationId xmlns:a16="http://schemas.microsoft.com/office/drawing/2014/main" id="{920D1AB5-27F3-4453-8655-0901A2590F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7" y="2774951"/>
            <a:ext cx="841375" cy="841375"/>
            <a:chOff x="245" y="1848"/>
            <a:chExt cx="530" cy="530"/>
          </a:xfrm>
        </p:grpSpPr>
        <p:sp>
          <p:nvSpPr>
            <p:cNvPr id="167" name="AutoShape 147">
              <a:extLst>
                <a:ext uri="{FF2B5EF4-FFF2-40B4-BE49-F238E27FC236}">
                  <a16:creationId xmlns:a16="http://schemas.microsoft.com/office/drawing/2014/main" id="{52373EFB-B251-4AAD-ADF0-8886B296C7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5" y="184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149">
              <a:extLst>
                <a:ext uri="{FF2B5EF4-FFF2-40B4-BE49-F238E27FC236}">
                  <a16:creationId xmlns:a16="http://schemas.microsoft.com/office/drawing/2014/main" id="{DE60F00A-1FC9-42B9-AD16-E6DE0E6636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" y="185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0">
              <a:extLst>
                <a:ext uri="{FF2B5EF4-FFF2-40B4-BE49-F238E27FC236}">
                  <a16:creationId xmlns:a16="http://schemas.microsoft.com/office/drawing/2014/main" id="{8941B928-6DBE-480C-9A69-96BB1CF14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" y="186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1">
              <a:extLst>
                <a:ext uri="{FF2B5EF4-FFF2-40B4-BE49-F238E27FC236}">
                  <a16:creationId xmlns:a16="http://schemas.microsoft.com/office/drawing/2014/main" id="{7C1C31B6-B693-43E2-B72B-04F1E2F9AB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" y="1962"/>
              <a:ext cx="229" cy="305"/>
            </a:xfrm>
            <a:custGeom>
              <a:avLst/>
              <a:gdLst>
                <a:gd name="T0" fmla="*/ 25 w 229"/>
                <a:gd name="T1" fmla="*/ 30 h 305"/>
                <a:gd name="T2" fmla="*/ 3 w 229"/>
                <a:gd name="T3" fmla="*/ 84 h 305"/>
                <a:gd name="T4" fmla="*/ 14 w 229"/>
                <a:gd name="T5" fmla="*/ 144 h 305"/>
                <a:gd name="T6" fmla="*/ 25 w 229"/>
                <a:gd name="T7" fmla="*/ 152 h 305"/>
                <a:gd name="T8" fmla="*/ 19 w 229"/>
                <a:gd name="T9" fmla="*/ 136 h 305"/>
                <a:gd name="T10" fmla="*/ 14 w 229"/>
                <a:gd name="T11" fmla="*/ 79 h 305"/>
                <a:gd name="T12" fmla="*/ 36 w 229"/>
                <a:gd name="T13" fmla="*/ 30 h 305"/>
                <a:gd name="T14" fmla="*/ 65 w 229"/>
                <a:gd name="T15" fmla="*/ 6 h 305"/>
                <a:gd name="T16" fmla="*/ 190 w 229"/>
                <a:gd name="T17" fmla="*/ 16 h 305"/>
                <a:gd name="T18" fmla="*/ 185 w 229"/>
                <a:gd name="T19" fmla="*/ 25 h 305"/>
                <a:gd name="T20" fmla="*/ 207 w 229"/>
                <a:gd name="T21" fmla="*/ 55 h 305"/>
                <a:gd name="T22" fmla="*/ 218 w 229"/>
                <a:gd name="T23" fmla="*/ 95 h 305"/>
                <a:gd name="T24" fmla="*/ 210 w 229"/>
                <a:gd name="T25" fmla="*/ 136 h 305"/>
                <a:gd name="T26" fmla="*/ 188 w 229"/>
                <a:gd name="T27" fmla="*/ 169 h 305"/>
                <a:gd name="T28" fmla="*/ 188 w 229"/>
                <a:gd name="T29" fmla="*/ 177 h 305"/>
                <a:gd name="T30" fmla="*/ 207 w 229"/>
                <a:gd name="T31" fmla="*/ 161 h 305"/>
                <a:gd name="T32" fmla="*/ 226 w 229"/>
                <a:gd name="T33" fmla="*/ 117 h 305"/>
                <a:gd name="T34" fmla="*/ 226 w 229"/>
                <a:gd name="T35" fmla="*/ 74 h 305"/>
                <a:gd name="T36" fmla="*/ 204 w 229"/>
                <a:gd name="T37" fmla="*/ 30 h 305"/>
                <a:gd name="T38" fmla="*/ 109 w 229"/>
                <a:gd name="T39" fmla="*/ 25 h 305"/>
                <a:gd name="T40" fmla="*/ 60 w 229"/>
                <a:gd name="T41" fmla="*/ 49 h 305"/>
                <a:gd name="T42" fmla="*/ 41 w 229"/>
                <a:gd name="T43" fmla="*/ 95 h 305"/>
                <a:gd name="T44" fmla="*/ 46 w 229"/>
                <a:gd name="T45" fmla="*/ 101 h 305"/>
                <a:gd name="T46" fmla="*/ 52 w 229"/>
                <a:gd name="T47" fmla="*/ 82 h 305"/>
                <a:gd name="T48" fmla="*/ 84 w 229"/>
                <a:gd name="T49" fmla="*/ 41 h 305"/>
                <a:gd name="T50" fmla="*/ 136 w 229"/>
                <a:gd name="T51" fmla="*/ 38 h 305"/>
                <a:gd name="T52" fmla="*/ 163 w 229"/>
                <a:gd name="T53" fmla="*/ 55 h 305"/>
                <a:gd name="T54" fmla="*/ 169 w 229"/>
                <a:gd name="T55" fmla="*/ 46 h 305"/>
                <a:gd name="T56" fmla="*/ 123 w 229"/>
                <a:gd name="T57" fmla="*/ 25 h 305"/>
                <a:gd name="T58" fmla="*/ 93 w 229"/>
                <a:gd name="T59" fmla="*/ 71 h 305"/>
                <a:gd name="T60" fmla="*/ 79 w 229"/>
                <a:gd name="T61" fmla="*/ 93 h 305"/>
                <a:gd name="T62" fmla="*/ 93 w 229"/>
                <a:gd name="T63" fmla="*/ 122 h 305"/>
                <a:gd name="T64" fmla="*/ 65 w 229"/>
                <a:gd name="T65" fmla="*/ 136 h 305"/>
                <a:gd name="T66" fmla="*/ 52 w 229"/>
                <a:gd name="T67" fmla="*/ 125 h 305"/>
                <a:gd name="T68" fmla="*/ 55 w 229"/>
                <a:gd name="T69" fmla="*/ 139 h 305"/>
                <a:gd name="T70" fmla="*/ 79 w 229"/>
                <a:gd name="T71" fmla="*/ 190 h 305"/>
                <a:gd name="T72" fmla="*/ 57 w 229"/>
                <a:gd name="T73" fmla="*/ 185 h 305"/>
                <a:gd name="T74" fmla="*/ 57 w 229"/>
                <a:gd name="T75" fmla="*/ 193 h 305"/>
                <a:gd name="T76" fmla="*/ 57 w 229"/>
                <a:gd name="T77" fmla="*/ 305 h 305"/>
                <a:gd name="T78" fmla="*/ 171 w 229"/>
                <a:gd name="T79" fmla="*/ 305 h 305"/>
                <a:gd name="T80" fmla="*/ 155 w 229"/>
                <a:gd name="T81" fmla="*/ 155 h 305"/>
                <a:gd name="T82" fmla="*/ 185 w 229"/>
                <a:gd name="T83" fmla="*/ 120 h 305"/>
                <a:gd name="T84" fmla="*/ 185 w 229"/>
                <a:gd name="T85" fmla="*/ 93 h 305"/>
                <a:gd name="T86" fmla="*/ 177 w 229"/>
                <a:gd name="T87" fmla="*/ 95 h 305"/>
                <a:gd name="T88" fmla="*/ 169 w 229"/>
                <a:gd name="T89" fmla="*/ 131 h 305"/>
                <a:gd name="T90" fmla="*/ 136 w 229"/>
                <a:gd name="T91" fmla="*/ 155 h 305"/>
                <a:gd name="T92" fmla="*/ 150 w 229"/>
                <a:gd name="T93" fmla="*/ 101 h 305"/>
                <a:gd name="T94" fmla="*/ 142 w 229"/>
                <a:gd name="T95" fmla="*/ 76 h 305"/>
                <a:gd name="T96" fmla="*/ 117 w 229"/>
                <a:gd name="T97" fmla="*/ 63 h 305"/>
                <a:gd name="T98" fmla="*/ 90 w 229"/>
                <a:gd name="T99" fmla="*/ 95 h 305"/>
                <a:gd name="T100" fmla="*/ 98 w 229"/>
                <a:gd name="T101" fmla="*/ 79 h 305"/>
                <a:gd name="T102" fmla="*/ 117 w 229"/>
                <a:gd name="T103" fmla="*/ 74 h 305"/>
                <a:gd name="T104" fmla="*/ 133 w 229"/>
                <a:gd name="T105" fmla="*/ 82 h 305"/>
                <a:gd name="T106" fmla="*/ 139 w 229"/>
                <a:gd name="T107" fmla="*/ 103 h 305"/>
                <a:gd name="T108" fmla="*/ 117 w 229"/>
                <a:gd name="T109" fmla="*/ 93 h 305"/>
                <a:gd name="T110" fmla="*/ 106 w 229"/>
                <a:gd name="T111" fmla="*/ 158 h 305"/>
                <a:gd name="T112" fmla="*/ 125 w 229"/>
                <a:gd name="T113" fmla="*/ 196 h 305"/>
                <a:gd name="T114" fmla="*/ 114 w 229"/>
                <a:gd name="T115" fmla="*/ 169 h 305"/>
                <a:gd name="T116" fmla="*/ 123 w 229"/>
                <a:gd name="T117" fmla="*/ 234 h 305"/>
                <a:gd name="T118" fmla="*/ 109 w 229"/>
                <a:gd name="T119" fmla="*/ 207 h 305"/>
                <a:gd name="T120" fmla="*/ 87 w 229"/>
                <a:gd name="T121" fmla="*/ 24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9" h="305">
                  <a:moveTo>
                    <a:pt x="60" y="0"/>
                  </a:moveTo>
                  <a:lnTo>
                    <a:pt x="60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3"/>
                  </a:lnTo>
                  <a:lnTo>
                    <a:pt x="52" y="6"/>
                  </a:lnTo>
                  <a:lnTo>
                    <a:pt x="49" y="6"/>
                  </a:lnTo>
                  <a:lnTo>
                    <a:pt x="46" y="8"/>
                  </a:lnTo>
                  <a:lnTo>
                    <a:pt x="44" y="11"/>
                  </a:lnTo>
                  <a:lnTo>
                    <a:pt x="41" y="14"/>
                  </a:lnTo>
                  <a:lnTo>
                    <a:pt x="38" y="16"/>
                  </a:lnTo>
                  <a:lnTo>
                    <a:pt x="36" y="19"/>
                  </a:lnTo>
                  <a:lnTo>
                    <a:pt x="33" y="22"/>
                  </a:lnTo>
                  <a:lnTo>
                    <a:pt x="30" y="25"/>
                  </a:lnTo>
                  <a:lnTo>
                    <a:pt x="27" y="27"/>
                  </a:lnTo>
                  <a:lnTo>
                    <a:pt x="25" y="30"/>
                  </a:lnTo>
                  <a:lnTo>
                    <a:pt x="22" y="33"/>
                  </a:lnTo>
                  <a:lnTo>
                    <a:pt x="19" y="35"/>
                  </a:lnTo>
                  <a:lnTo>
                    <a:pt x="19" y="38"/>
                  </a:lnTo>
                  <a:lnTo>
                    <a:pt x="17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1" y="52"/>
                  </a:lnTo>
                  <a:lnTo>
                    <a:pt x="11" y="55"/>
                  </a:lnTo>
                  <a:lnTo>
                    <a:pt x="8" y="57"/>
                  </a:lnTo>
                  <a:lnTo>
                    <a:pt x="8" y="60"/>
                  </a:lnTo>
                  <a:lnTo>
                    <a:pt x="6" y="65"/>
                  </a:lnTo>
                  <a:lnTo>
                    <a:pt x="6" y="68"/>
                  </a:lnTo>
                  <a:lnTo>
                    <a:pt x="6" y="71"/>
                  </a:lnTo>
                  <a:lnTo>
                    <a:pt x="3" y="74"/>
                  </a:lnTo>
                  <a:lnTo>
                    <a:pt x="3" y="79"/>
                  </a:lnTo>
                  <a:lnTo>
                    <a:pt x="3" y="82"/>
                  </a:lnTo>
                  <a:lnTo>
                    <a:pt x="3" y="84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101"/>
                  </a:lnTo>
                  <a:lnTo>
                    <a:pt x="0" y="103"/>
                  </a:lnTo>
                  <a:lnTo>
                    <a:pt x="3" y="106"/>
                  </a:lnTo>
                  <a:lnTo>
                    <a:pt x="3" y="112"/>
                  </a:lnTo>
                  <a:lnTo>
                    <a:pt x="3" y="114"/>
                  </a:lnTo>
                  <a:lnTo>
                    <a:pt x="3" y="117"/>
                  </a:lnTo>
                  <a:lnTo>
                    <a:pt x="6" y="122"/>
                  </a:lnTo>
                  <a:lnTo>
                    <a:pt x="6" y="125"/>
                  </a:lnTo>
                  <a:lnTo>
                    <a:pt x="6" y="128"/>
                  </a:lnTo>
                  <a:lnTo>
                    <a:pt x="8" y="133"/>
                  </a:lnTo>
                  <a:lnTo>
                    <a:pt x="8" y="136"/>
                  </a:lnTo>
                  <a:lnTo>
                    <a:pt x="11" y="139"/>
                  </a:lnTo>
                  <a:lnTo>
                    <a:pt x="11" y="142"/>
                  </a:lnTo>
                  <a:lnTo>
                    <a:pt x="14" y="144"/>
                  </a:lnTo>
                  <a:lnTo>
                    <a:pt x="14" y="150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4"/>
                  </a:lnTo>
                  <a:lnTo>
                    <a:pt x="22" y="142"/>
                  </a:lnTo>
                  <a:lnTo>
                    <a:pt x="22" y="139"/>
                  </a:lnTo>
                  <a:lnTo>
                    <a:pt x="19" y="136"/>
                  </a:lnTo>
                  <a:lnTo>
                    <a:pt x="19" y="131"/>
                  </a:lnTo>
                  <a:lnTo>
                    <a:pt x="17" y="128"/>
                  </a:lnTo>
                  <a:lnTo>
                    <a:pt x="17" y="125"/>
                  </a:lnTo>
                  <a:lnTo>
                    <a:pt x="14" y="122"/>
                  </a:lnTo>
                  <a:lnTo>
                    <a:pt x="14" y="120"/>
                  </a:lnTo>
                  <a:lnTo>
                    <a:pt x="14" y="117"/>
                  </a:lnTo>
                  <a:lnTo>
                    <a:pt x="14" y="112"/>
                  </a:lnTo>
                  <a:lnTo>
                    <a:pt x="11" y="109"/>
                  </a:lnTo>
                  <a:lnTo>
                    <a:pt x="11" y="106"/>
                  </a:lnTo>
                  <a:lnTo>
                    <a:pt x="11" y="103"/>
                  </a:lnTo>
                  <a:lnTo>
                    <a:pt x="11" y="101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11" y="90"/>
                  </a:lnTo>
                  <a:lnTo>
                    <a:pt x="11" y="87"/>
                  </a:lnTo>
                  <a:lnTo>
                    <a:pt x="11" y="84"/>
                  </a:lnTo>
                  <a:lnTo>
                    <a:pt x="14" y="79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4" y="71"/>
                  </a:lnTo>
                  <a:lnTo>
                    <a:pt x="17" y="68"/>
                  </a:lnTo>
                  <a:lnTo>
                    <a:pt x="17" y="65"/>
                  </a:lnTo>
                  <a:lnTo>
                    <a:pt x="19" y="60"/>
                  </a:lnTo>
                  <a:lnTo>
                    <a:pt x="19" y="57"/>
                  </a:lnTo>
                  <a:lnTo>
                    <a:pt x="22" y="55"/>
                  </a:lnTo>
                  <a:lnTo>
                    <a:pt x="22" y="52"/>
                  </a:lnTo>
                  <a:lnTo>
                    <a:pt x="25" y="49"/>
                  </a:lnTo>
                  <a:lnTo>
                    <a:pt x="25" y="46"/>
                  </a:lnTo>
                  <a:lnTo>
                    <a:pt x="27" y="44"/>
                  </a:lnTo>
                  <a:lnTo>
                    <a:pt x="30" y="41"/>
                  </a:lnTo>
                  <a:lnTo>
                    <a:pt x="30" y="38"/>
                  </a:lnTo>
                  <a:lnTo>
                    <a:pt x="33" y="35"/>
                  </a:lnTo>
                  <a:lnTo>
                    <a:pt x="36" y="33"/>
                  </a:lnTo>
                  <a:lnTo>
                    <a:pt x="36" y="30"/>
                  </a:lnTo>
                  <a:lnTo>
                    <a:pt x="38" y="27"/>
                  </a:lnTo>
                  <a:lnTo>
                    <a:pt x="41" y="25"/>
                  </a:lnTo>
                  <a:lnTo>
                    <a:pt x="44" y="25"/>
                  </a:lnTo>
                  <a:lnTo>
                    <a:pt x="46" y="22"/>
                  </a:lnTo>
                  <a:lnTo>
                    <a:pt x="49" y="19"/>
                  </a:lnTo>
                  <a:lnTo>
                    <a:pt x="52" y="16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60" y="11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60" y="0"/>
                  </a:lnTo>
                  <a:close/>
                  <a:moveTo>
                    <a:pt x="190" y="16"/>
                  </a:moveTo>
                  <a:lnTo>
                    <a:pt x="190" y="16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7"/>
                  </a:lnTo>
                  <a:lnTo>
                    <a:pt x="190" y="30"/>
                  </a:lnTo>
                  <a:lnTo>
                    <a:pt x="193" y="30"/>
                  </a:lnTo>
                  <a:lnTo>
                    <a:pt x="193" y="33"/>
                  </a:lnTo>
                  <a:lnTo>
                    <a:pt x="196" y="35"/>
                  </a:lnTo>
                  <a:lnTo>
                    <a:pt x="196" y="35"/>
                  </a:lnTo>
                  <a:lnTo>
                    <a:pt x="199" y="38"/>
                  </a:lnTo>
                  <a:lnTo>
                    <a:pt x="199" y="41"/>
                  </a:lnTo>
                  <a:lnTo>
                    <a:pt x="201" y="44"/>
                  </a:lnTo>
                  <a:lnTo>
                    <a:pt x="201" y="44"/>
                  </a:lnTo>
                  <a:lnTo>
                    <a:pt x="204" y="46"/>
                  </a:lnTo>
                  <a:lnTo>
                    <a:pt x="204" y="49"/>
                  </a:lnTo>
                  <a:lnTo>
                    <a:pt x="207" y="52"/>
                  </a:lnTo>
                  <a:lnTo>
                    <a:pt x="207" y="55"/>
                  </a:lnTo>
                  <a:lnTo>
                    <a:pt x="210" y="57"/>
                  </a:lnTo>
                  <a:lnTo>
                    <a:pt x="210" y="57"/>
                  </a:lnTo>
                  <a:lnTo>
                    <a:pt x="210" y="60"/>
                  </a:lnTo>
                  <a:lnTo>
                    <a:pt x="212" y="63"/>
                  </a:lnTo>
                  <a:lnTo>
                    <a:pt x="212" y="65"/>
                  </a:lnTo>
                  <a:lnTo>
                    <a:pt x="212" y="68"/>
                  </a:lnTo>
                  <a:lnTo>
                    <a:pt x="212" y="71"/>
                  </a:lnTo>
                  <a:lnTo>
                    <a:pt x="215" y="71"/>
                  </a:lnTo>
                  <a:lnTo>
                    <a:pt x="215" y="74"/>
                  </a:lnTo>
                  <a:lnTo>
                    <a:pt x="215" y="76"/>
                  </a:lnTo>
                  <a:lnTo>
                    <a:pt x="215" y="79"/>
                  </a:lnTo>
                  <a:lnTo>
                    <a:pt x="215" y="82"/>
                  </a:lnTo>
                  <a:lnTo>
                    <a:pt x="218" y="84"/>
                  </a:lnTo>
                  <a:lnTo>
                    <a:pt x="218" y="87"/>
                  </a:lnTo>
                  <a:lnTo>
                    <a:pt x="218" y="90"/>
                  </a:lnTo>
                  <a:lnTo>
                    <a:pt x="218" y="93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8" y="98"/>
                  </a:lnTo>
                  <a:lnTo>
                    <a:pt x="218" y="101"/>
                  </a:lnTo>
                  <a:lnTo>
                    <a:pt x="218" y="103"/>
                  </a:lnTo>
                  <a:lnTo>
                    <a:pt x="218" y="106"/>
                  </a:lnTo>
                  <a:lnTo>
                    <a:pt x="218" y="109"/>
                  </a:lnTo>
                  <a:lnTo>
                    <a:pt x="215" y="112"/>
                  </a:lnTo>
                  <a:lnTo>
                    <a:pt x="215" y="114"/>
                  </a:lnTo>
                  <a:lnTo>
                    <a:pt x="215" y="117"/>
                  </a:lnTo>
                  <a:lnTo>
                    <a:pt x="215" y="120"/>
                  </a:lnTo>
                  <a:lnTo>
                    <a:pt x="215" y="120"/>
                  </a:lnTo>
                  <a:lnTo>
                    <a:pt x="212" y="122"/>
                  </a:lnTo>
                  <a:lnTo>
                    <a:pt x="212" y="125"/>
                  </a:lnTo>
                  <a:lnTo>
                    <a:pt x="212" y="128"/>
                  </a:lnTo>
                  <a:lnTo>
                    <a:pt x="212" y="131"/>
                  </a:lnTo>
                  <a:lnTo>
                    <a:pt x="210" y="133"/>
                  </a:lnTo>
                  <a:lnTo>
                    <a:pt x="210" y="136"/>
                  </a:lnTo>
                  <a:lnTo>
                    <a:pt x="210" y="136"/>
                  </a:lnTo>
                  <a:lnTo>
                    <a:pt x="207" y="139"/>
                  </a:lnTo>
                  <a:lnTo>
                    <a:pt x="207" y="142"/>
                  </a:lnTo>
                  <a:lnTo>
                    <a:pt x="204" y="144"/>
                  </a:lnTo>
                  <a:lnTo>
                    <a:pt x="204" y="147"/>
                  </a:lnTo>
                  <a:lnTo>
                    <a:pt x="201" y="147"/>
                  </a:lnTo>
                  <a:lnTo>
                    <a:pt x="201" y="150"/>
                  </a:lnTo>
                  <a:lnTo>
                    <a:pt x="199" y="152"/>
                  </a:lnTo>
                  <a:lnTo>
                    <a:pt x="199" y="155"/>
                  </a:lnTo>
                  <a:lnTo>
                    <a:pt x="196" y="155"/>
                  </a:lnTo>
                  <a:lnTo>
                    <a:pt x="196" y="158"/>
                  </a:lnTo>
                  <a:lnTo>
                    <a:pt x="193" y="161"/>
                  </a:lnTo>
                  <a:lnTo>
                    <a:pt x="193" y="163"/>
                  </a:lnTo>
                  <a:lnTo>
                    <a:pt x="190" y="163"/>
                  </a:lnTo>
                  <a:lnTo>
                    <a:pt x="188" y="166"/>
                  </a:lnTo>
                  <a:lnTo>
                    <a:pt x="188" y="169"/>
                  </a:lnTo>
                  <a:lnTo>
                    <a:pt x="188" y="169"/>
                  </a:lnTo>
                  <a:lnTo>
                    <a:pt x="188" y="169"/>
                  </a:lnTo>
                  <a:lnTo>
                    <a:pt x="185" y="169"/>
                  </a:lnTo>
                  <a:lnTo>
                    <a:pt x="185" y="169"/>
                  </a:lnTo>
                  <a:lnTo>
                    <a:pt x="185" y="169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4"/>
                  </a:lnTo>
                  <a:lnTo>
                    <a:pt x="185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7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6" y="171"/>
                  </a:lnTo>
                  <a:lnTo>
                    <a:pt x="199" y="171"/>
                  </a:lnTo>
                  <a:lnTo>
                    <a:pt x="199" y="169"/>
                  </a:lnTo>
                  <a:lnTo>
                    <a:pt x="201" y="166"/>
                  </a:lnTo>
                  <a:lnTo>
                    <a:pt x="204" y="163"/>
                  </a:lnTo>
                  <a:lnTo>
                    <a:pt x="204" y="163"/>
                  </a:lnTo>
                  <a:lnTo>
                    <a:pt x="207" y="161"/>
                  </a:lnTo>
                  <a:lnTo>
                    <a:pt x="210" y="158"/>
                  </a:lnTo>
                  <a:lnTo>
                    <a:pt x="210" y="155"/>
                  </a:lnTo>
                  <a:lnTo>
                    <a:pt x="212" y="152"/>
                  </a:lnTo>
                  <a:lnTo>
                    <a:pt x="212" y="150"/>
                  </a:lnTo>
                  <a:lnTo>
                    <a:pt x="215" y="150"/>
                  </a:lnTo>
                  <a:lnTo>
                    <a:pt x="215" y="147"/>
                  </a:lnTo>
                  <a:lnTo>
                    <a:pt x="218" y="144"/>
                  </a:lnTo>
                  <a:lnTo>
                    <a:pt x="218" y="142"/>
                  </a:lnTo>
                  <a:lnTo>
                    <a:pt x="218" y="139"/>
                  </a:lnTo>
                  <a:lnTo>
                    <a:pt x="220" y="136"/>
                  </a:lnTo>
                  <a:lnTo>
                    <a:pt x="220" y="133"/>
                  </a:lnTo>
                  <a:lnTo>
                    <a:pt x="220" y="131"/>
                  </a:lnTo>
                  <a:lnTo>
                    <a:pt x="223" y="128"/>
                  </a:lnTo>
                  <a:lnTo>
                    <a:pt x="223" y="125"/>
                  </a:lnTo>
                  <a:lnTo>
                    <a:pt x="223" y="122"/>
                  </a:lnTo>
                  <a:lnTo>
                    <a:pt x="226" y="120"/>
                  </a:lnTo>
                  <a:lnTo>
                    <a:pt x="226" y="117"/>
                  </a:lnTo>
                  <a:lnTo>
                    <a:pt x="226" y="114"/>
                  </a:lnTo>
                  <a:lnTo>
                    <a:pt x="226" y="112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26" y="103"/>
                  </a:lnTo>
                  <a:lnTo>
                    <a:pt x="229" y="101"/>
                  </a:lnTo>
                  <a:lnTo>
                    <a:pt x="229" y="98"/>
                  </a:lnTo>
                  <a:lnTo>
                    <a:pt x="229" y="95"/>
                  </a:lnTo>
                  <a:lnTo>
                    <a:pt x="229" y="93"/>
                  </a:lnTo>
                  <a:lnTo>
                    <a:pt x="229" y="90"/>
                  </a:lnTo>
                  <a:lnTo>
                    <a:pt x="226" y="87"/>
                  </a:lnTo>
                  <a:lnTo>
                    <a:pt x="226" y="84"/>
                  </a:lnTo>
                  <a:lnTo>
                    <a:pt x="226" y="82"/>
                  </a:lnTo>
                  <a:lnTo>
                    <a:pt x="226" y="79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3" y="71"/>
                  </a:lnTo>
                  <a:lnTo>
                    <a:pt x="223" y="68"/>
                  </a:lnTo>
                  <a:lnTo>
                    <a:pt x="223" y="65"/>
                  </a:lnTo>
                  <a:lnTo>
                    <a:pt x="220" y="63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8" y="55"/>
                  </a:lnTo>
                  <a:lnTo>
                    <a:pt x="218" y="52"/>
                  </a:lnTo>
                  <a:lnTo>
                    <a:pt x="218" y="49"/>
                  </a:lnTo>
                  <a:lnTo>
                    <a:pt x="215" y="46"/>
                  </a:lnTo>
                  <a:lnTo>
                    <a:pt x="215" y="44"/>
                  </a:lnTo>
                  <a:lnTo>
                    <a:pt x="212" y="41"/>
                  </a:lnTo>
                  <a:lnTo>
                    <a:pt x="212" y="41"/>
                  </a:lnTo>
                  <a:lnTo>
                    <a:pt x="210" y="38"/>
                  </a:lnTo>
                  <a:lnTo>
                    <a:pt x="210" y="35"/>
                  </a:lnTo>
                  <a:lnTo>
                    <a:pt x="207" y="33"/>
                  </a:lnTo>
                  <a:lnTo>
                    <a:pt x="204" y="30"/>
                  </a:lnTo>
                  <a:lnTo>
                    <a:pt x="204" y="30"/>
                  </a:lnTo>
                  <a:lnTo>
                    <a:pt x="201" y="27"/>
                  </a:lnTo>
                  <a:lnTo>
                    <a:pt x="199" y="25"/>
                  </a:lnTo>
                  <a:lnTo>
                    <a:pt x="199" y="22"/>
                  </a:lnTo>
                  <a:lnTo>
                    <a:pt x="196" y="19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close/>
                  <a:moveTo>
                    <a:pt x="112" y="25"/>
                  </a:moveTo>
                  <a:lnTo>
                    <a:pt x="112" y="25"/>
                  </a:lnTo>
                  <a:lnTo>
                    <a:pt x="109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4" y="25"/>
                  </a:lnTo>
                  <a:lnTo>
                    <a:pt x="101" y="27"/>
                  </a:lnTo>
                  <a:lnTo>
                    <a:pt x="95" y="27"/>
                  </a:lnTo>
                  <a:lnTo>
                    <a:pt x="93" y="27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2" y="33"/>
                  </a:lnTo>
                  <a:lnTo>
                    <a:pt x="79" y="33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1" y="38"/>
                  </a:lnTo>
                  <a:lnTo>
                    <a:pt x="68" y="41"/>
                  </a:lnTo>
                  <a:lnTo>
                    <a:pt x="65" y="44"/>
                  </a:lnTo>
                  <a:lnTo>
                    <a:pt x="63" y="46"/>
                  </a:lnTo>
                  <a:lnTo>
                    <a:pt x="60" y="49"/>
                  </a:lnTo>
                  <a:lnTo>
                    <a:pt x="57" y="52"/>
                  </a:lnTo>
                  <a:lnTo>
                    <a:pt x="55" y="55"/>
                  </a:lnTo>
                  <a:lnTo>
                    <a:pt x="52" y="57"/>
                  </a:lnTo>
                  <a:lnTo>
                    <a:pt x="52" y="60"/>
                  </a:lnTo>
                  <a:lnTo>
                    <a:pt x="49" y="63"/>
                  </a:lnTo>
                  <a:lnTo>
                    <a:pt x="49" y="65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4" y="76"/>
                  </a:lnTo>
                  <a:lnTo>
                    <a:pt x="44" y="79"/>
                  </a:lnTo>
                  <a:lnTo>
                    <a:pt x="41" y="82"/>
                  </a:lnTo>
                  <a:lnTo>
                    <a:pt x="41" y="84"/>
                  </a:lnTo>
                  <a:lnTo>
                    <a:pt x="41" y="87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3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0"/>
                  </a:lnTo>
                  <a:lnTo>
                    <a:pt x="52" y="87"/>
                  </a:lnTo>
                  <a:lnTo>
                    <a:pt x="52" y="84"/>
                  </a:lnTo>
                  <a:lnTo>
                    <a:pt x="52" y="82"/>
                  </a:lnTo>
                  <a:lnTo>
                    <a:pt x="55" y="79"/>
                  </a:lnTo>
                  <a:lnTo>
                    <a:pt x="55" y="76"/>
                  </a:lnTo>
                  <a:lnTo>
                    <a:pt x="55" y="74"/>
                  </a:lnTo>
                  <a:lnTo>
                    <a:pt x="57" y="71"/>
                  </a:lnTo>
                  <a:lnTo>
                    <a:pt x="57" y="68"/>
                  </a:lnTo>
                  <a:lnTo>
                    <a:pt x="60" y="65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5" y="57"/>
                  </a:lnTo>
                  <a:lnTo>
                    <a:pt x="68" y="55"/>
                  </a:lnTo>
                  <a:lnTo>
                    <a:pt x="68" y="52"/>
                  </a:lnTo>
                  <a:lnTo>
                    <a:pt x="71" y="52"/>
                  </a:lnTo>
                  <a:lnTo>
                    <a:pt x="74" y="49"/>
                  </a:lnTo>
                  <a:lnTo>
                    <a:pt x="76" y="46"/>
                  </a:lnTo>
                  <a:lnTo>
                    <a:pt x="79" y="46"/>
                  </a:lnTo>
                  <a:lnTo>
                    <a:pt x="82" y="44"/>
                  </a:lnTo>
                  <a:lnTo>
                    <a:pt x="84" y="41"/>
                  </a:lnTo>
                  <a:lnTo>
                    <a:pt x="87" y="41"/>
                  </a:lnTo>
                  <a:lnTo>
                    <a:pt x="90" y="38"/>
                  </a:lnTo>
                  <a:lnTo>
                    <a:pt x="93" y="38"/>
                  </a:lnTo>
                  <a:lnTo>
                    <a:pt x="95" y="38"/>
                  </a:lnTo>
                  <a:lnTo>
                    <a:pt x="98" y="35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7" y="35"/>
                  </a:lnTo>
                  <a:lnTo>
                    <a:pt x="120" y="35"/>
                  </a:lnTo>
                  <a:lnTo>
                    <a:pt x="123" y="35"/>
                  </a:lnTo>
                  <a:lnTo>
                    <a:pt x="128" y="35"/>
                  </a:lnTo>
                  <a:lnTo>
                    <a:pt x="131" y="35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9" y="38"/>
                  </a:lnTo>
                  <a:lnTo>
                    <a:pt x="142" y="41"/>
                  </a:lnTo>
                  <a:lnTo>
                    <a:pt x="144" y="41"/>
                  </a:lnTo>
                  <a:lnTo>
                    <a:pt x="147" y="44"/>
                  </a:lnTo>
                  <a:lnTo>
                    <a:pt x="150" y="44"/>
                  </a:lnTo>
                  <a:lnTo>
                    <a:pt x="152" y="46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6" y="55"/>
                  </a:lnTo>
                  <a:lnTo>
                    <a:pt x="166" y="55"/>
                  </a:lnTo>
                  <a:lnTo>
                    <a:pt x="166" y="55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3" y="44"/>
                  </a:lnTo>
                  <a:lnTo>
                    <a:pt x="161" y="41"/>
                  </a:lnTo>
                  <a:lnTo>
                    <a:pt x="158" y="38"/>
                  </a:lnTo>
                  <a:lnTo>
                    <a:pt x="155" y="35"/>
                  </a:lnTo>
                  <a:lnTo>
                    <a:pt x="152" y="35"/>
                  </a:lnTo>
                  <a:lnTo>
                    <a:pt x="150" y="33"/>
                  </a:lnTo>
                  <a:lnTo>
                    <a:pt x="147" y="33"/>
                  </a:lnTo>
                  <a:lnTo>
                    <a:pt x="142" y="30"/>
                  </a:lnTo>
                  <a:lnTo>
                    <a:pt x="139" y="30"/>
                  </a:lnTo>
                  <a:lnTo>
                    <a:pt x="136" y="27"/>
                  </a:lnTo>
                  <a:lnTo>
                    <a:pt x="133" y="27"/>
                  </a:lnTo>
                  <a:lnTo>
                    <a:pt x="128" y="27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17" y="25"/>
                  </a:lnTo>
                  <a:lnTo>
                    <a:pt x="114" y="25"/>
                  </a:lnTo>
                  <a:lnTo>
                    <a:pt x="112" y="25"/>
                  </a:lnTo>
                  <a:close/>
                  <a:moveTo>
                    <a:pt x="114" y="63"/>
                  </a:moveTo>
                  <a:lnTo>
                    <a:pt x="112" y="63"/>
                  </a:lnTo>
                  <a:lnTo>
                    <a:pt x="112" y="63"/>
                  </a:lnTo>
                  <a:lnTo>
                    <a:pt x="109" y="63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4" y="65"/>
                  </a:lnTo>
                  <a:lnTo>
                    <a:pt x="104" y="65"/>
                  </a:lnTo>
                  <a:lnTo>
                    <a:pt x="101" y="65"/>
                  </a:lnTo>
                  <a:lnTo>
                    <a:pt x="98" y="65"/>
                  </a:lnTo>
                  <a:lnTo>
                    <a:pt x="98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0" y="71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3"/>
                  </a:lnTo>
                  <a:lnTo>
                    <a:pt x="82" y="106"/>
                  </a:lnTo>
                  <a:lnTo>
                    <a:pt x="82" y="109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7" y="117"/>
                  </a:lnTo>
                  <a:lnTo>
                    <a:pt x="87" y="120"/>
                  </a:lnTo>
                  <a:lnTo>
                    <a:pt x="90" y="120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5" y="125"/>
                  </a:lnTo>
                  <a:lnTo>
                    <a:pt x="98" y="125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93" y="155"/>
                  </a:lnTo>
                  <a:lnTo>
                    <a:pt x="90" y="155"/>
                  </a:lnTo>
                  <a:lnTo>
                    <a:pt x="87" y="152"/>
                  </a:lnTo>
                  <a:lnTo>
                    <a:pt x="84" y="152"/>
                  </a:lnTo>
                  <a:lnTo>
                    <a:pt x="82" y="150"/>
                  </a:lnTo>
                  <a:lnTo>
                    <a:pt x="82" y="150"/>
                  </a:lnTo>
                  <a:lnTo>
                    <a:pt x="79" y="147"/>
                  </a:lnTo>
                  <a:lnTo>
                    <a:pt x="76" y="147"/>
                  </a:lnTo>
                  <a:lnTo>
                    <a:pt x="74" y="144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68" y="139"/>
                  </a:lnTo>
                  <a:lnTo>
                    <a:pt x="65" y="136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0" y="131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52" y="136"/>
                  </a:lnTo>
                  <a:lnTo>
                    <a:pt x="55" y="139"/>
                  </a:lnTo>
                  <a:lnTo>
                    <a:pt x="57" y="142"/>
                  </a:lnTo>
                  <a:lnTo>
                    <a:pt x="57" y="144"/>
                  </a:lnTo>
                  <a:lnTo>
                    <a:pt x="60" y="144"/>
                  </a:lnTo>
                  <a:lnTo>
                    <a:pt x="63" y="147"/>
                  </a:lnTo>
                  <a:lnTo>
                    <a:pt x="65" y="150"/>
                  </a:lnTo>
                  <a:lnTo>
                    <a:pt x="68" y="152"/>
                  </a:lnTo>
                  <a:lnTo>
                    <a:pt x="71" y="155"/>
                  </a:lnTo>
                  <a:lnTo>
                    <a:pt x="74" y="155"/>
                  </a:lnTo>
                  <a:lnTo>
                    <a:pt x="76" y="158"/>
                  </a:lnTo>
                  <a:lnTo>
                    <a:pt x="79" y="161"/>
                  </a:lnTo>
                  <a:lnTo>
                    <a:pt x="82" y="161"/>
                  </a:lnTo>
                  <a:lnTo>
                    <a:pt x="84" y="163"/>
                  </a:lnTo>
                  <a:lnTo>
                    <a:pt x="87" y="163"/>
                  </a:lnTo>
                  <a:lnTo>
                    <a:pt x="90" y="166"/>
                  </a:lnTo>
                  <a:lnTo>
                    <a:pt x="82" y="193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6" y="190"/>
                  </a:lnTo>
                  <a:lnTo>
                    <a:pt x="74" y="188"/>
                  </a:lnTo>
                  <a:lnTo>
                    <a:pt x="71" y="188"/>
                  </a:lnTo>
                  <a:lnTo>
                    <a:pt x="68" y="185"/>
                  </a:lnTo>
                  <a:lnTo>
                    <a:pt x="65" y="185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57" y="182"/>
                  </a:lnTo>
                  <a:lnTo>
                    <a:pt x="57" y="182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5" y="185"/>
                  </a:lnTo>
                  <a:lnTo>
                    <a:pt x="55" y="185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60" y="193"/>
                  </a:lnTo>
                  <a:lnTo>
                    <a:pt x="63" y="196"/>
                  </a:lnTo>
                  <a:lnTo>
                    <a:pt x="65" y="196"/>
                  </a:lnTo>
                  <a:lnTo>
                    <a:pt x="68" y="199"/>
                  </a:lnTo>
                  <a:lnTo>
                    <a:pt x="71" y="199"/>
                  </a:lnTo>
                  <a:lnTo>
                    <a:pt x="74" y="199"/>
                  </a:lnTo>
                  <a:lnTo>
                    <a:pt x="76" y="201"/>
                  </a:lnTo>
                  <a:lnTo>
                    <a:pt x="79" y="201"/>
                  </a:lnTo>
                  <a:lnTo>
                    <a:pt x="55" y="299"/>
                  </a:lnTo>
                  <a:lnTo>
                    <a:pt x="55" y="299"/>
                  </a:lnTo>
                  <a:lnTo>
                    <a:pt x="55" y="299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63" y="305"/>
                  </a:lnTo>
                  <a:lnTo>
                    <a:pt x="63" y="302"/>
                  </a:lnTo>
                  <a:lnTo>
                    <a:pt x="114" y="245"/>
                  </a:lnTo>
                  <a:lnTo>
                    <a:pt x="166" y="302"/>
                  </a:lnTo>
                  <a:lnTo>
                    <a:pt x="166" y="302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71" y="305"/>
                  </a:lnTo>
                  <a:lnTo>
                    <a:pt x="171" y="305"/>
                  </a:lnTo>
                  <a:lnTo>
                    <a:pt x="171" y="305"/>
                  </a:lnTo>
                  <a:lnTo>
                    <a:pt x="174" y="305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39" y="166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7" y="161"/>
                  </a:lnTo>
                  <a:lnTo>
                    <a:pt x="150" y="161"/>
                  </a:lnTo>
                  <a:lnTo>
                    <a:pt x="152" y="158"/>
                  </a:lnTo>
                  <a:lnTo>
                    <a:pt x="155" y="158"/>
                  </a:lnTo>
                  <a:lnTo>
                    <a:pt x="155" y="155"/>
                  </a:lnTo>
                  <a:lnTo>
                    <a:pt x="158" y="155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6" y="147"/>
                  </a:lnTo>
                  <a:lnTo>
                    <a:pt x="169" y="144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4" y="139"/>
                  </a:lnTo>
                  <a:lnTo>
                    <a:pt x="177" y="136"/>
                  </a:lnTo>
                  <a:lnTo>
                    <a:pt x="177" y="133"/>
                  </a:lnTo>
                  <a:lnTo>
                    <a:pt x="180" y="131"/>
                  </a:lnTo>
                  <a:lnTo>
                    <a:pt x="180" y="128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2"/>
                  </a:lnTo>
                  <a:lnTo>
                    <a:pt x="185" y="120"/>
                  </a:lnTo>
                  <a:lnTo>
                    <a:pt x="185" y="117"/>
                  </a:lnTo>
                  <a:lnTo>
                    <a:pt x="185" y="114"/>
                  </a:lnTo>
                  <a:lnTo>
                    <a:pt x="188" y="112"/>
                  </a:lnTo>
                  <a:lnTo>
                    <a:pt x="188" y="109"/>
                  </a:lnTo>
                  <a:lnTo>
                    <a:pt x="188" y="106"/>
                  </a:lnTo>
                  <a:lnTo>
                    <a:pt x="188" y="103"/>
                  </a:lnTo>
                  <a:lnTo>
                    <a:pt x="188" y="101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3"/>
                  </a:lnTo>
                  <a:lnTo>
                    <a:pt x="188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5"/>
                  </a:lnTo>
                  <a:lnTo>
                    <a:pt x="180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8"/>
                  </a:lnTo>
                  <a:lnTo>
                    <a:pt x="177" y="101"/>
                  </a:lnTo>
                  <a:lnTo>
                    <a:pt x="177" y="103"/>
                  </a:lnTo>
                  <a:lnTo>
                    <a:pt x="177" y="106"/>
                  </a:lnTo>
                  <a:lnTo>
                    <a:pt x="177" y="109"/>
                  </a:lnTo>
                  <a:lnTo>
                    <a:pt x="177" y="112"/>
                  </a:lnTo>
                  <a:lnTo>
                    <a:pt x="177" y="114"/>
                  </a:lnTo>
                  <a:lnTo>
                    <a:pt x="174" y="114"/>
                  </a:lnTo>
                  <a:lnTo>
                    <a:pt x="174" y="117"/>
                  </a:lnTo>
                  <a:lnTo>
                    <a:pt x="174" y="120"/>
                  </a:lnTo>
                  <a:lnTo>
                    <a:pt x="171" y="122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69" y="128"/>
                  </a:lnTo>
                  <a:lnTo>
                    <a:pt x="169" y="131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3" y="136"/>
                  </a:lnTo>
                  <a:lnTo>
                    <a:pt x="161" y="139"/>
                  </a:lnTo>
                  <a:lnTo>
                    <a:pt x="161" y="139"/>
                  </a:lnTo>
                  <a:lnTo>
                    <a:pt x="158" y="142"/>
                  </a:lnTo>
                  <a:lnTo>
                    <a:pt x="158" y="144"/>
                  </a:lnTo>
                  <a:lnTo>
                    <a:pt x="155" y="144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50" y="150"/>
                  </a:lnTo>
                  <a:lnTo>
                    <a:pt x="147" y="150"/>
                  </a:lnTo>
                  <a:lnTo>
                    <a:pt x="144" y="152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39" y="155"/>
                  </a:lnTo>
                  <a:lnTo>
                    <a:pt x="136" y="155"/>
                  </a:lnTo>
                  <a:lnTo>
                    <a:pt x="128" y="128"/>
                  </a:lnTo>
                  <a:lnTo>
                    <a:pt x="131" y="128"/>
                  </a:lnTo>
                  <a:lnTo>
                    <a:pt x="131" y="125"/>
                  </a:lnTo>
                  <a:lnTo>
                    <a:pt x="133" y="125"/>
                  </a:lnTo>
                  <a:lnTo>
                    <a:pt x="133" y="122"/>
                  </a:lnTo>
                  <a:lnTo>
                    <a:pt x="136" y="122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7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7" y="112"/>
                  </a:lnTo>
                  <a:lnTo>
                    <a:pt x="147" y="109"/>
                  </a:lnTo>
                  <a:lnTo>
                    <a:pt x="147" y="106"/>
                  </a:lnTo>
                  <a:lnTo>
                    <a:pt x="147" y="103"/>
                  </a:lnTo>
                  <a:lnTo>
                    <a:pt x="150" y="101"/>
                  </a:lnTo>
                  <a:lnTo>
                    <a:pt x="150" y="101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9" y="71"/>
                  </a:lnTo>
                  <a:lnTo>
                    <a:pt x="136" y="71"/>
                  </a:lnTo>
                  <a:lnTo>
                    <a:pt x="136" y="71"/>
                  </a:lnTo>
                  <a:lnTo>
                    <a:pt x="133" y="68"/>
                  </a:lnTo>
                  <a:lnTo>
                    <a:pt x="133" y="68"/>
                  </a:lnTo>
                  <a:lnTo>
                    <a:pt x="131" y="68"/>
                  </a:lnTo>
                  <a:lnTo>
                    <a:pt x="131" y="65"/>
                  </a:lnTo>
                  <a:lnTo>
                    <a:pt x="128" y="65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0" y="63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4" y="63"/>
                  </a:lnTo>
                  <a:close/>
                  <a:moveTo>
                    <a:pt x="101" y="117"/>
                  </a:moveTo>
                  <a:lnTo>
                    <a:pt x="101" y="117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06"/>
                  </a:lnTo>
                  <a:lnTo>
                    <a:pt x="93" y="103"/>
                  </a:lnTo>
                  <a:lnTo>
                    <a:pt x="90" y="103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98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3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8"/>
                  </a:lnTo>
                  <a:lnTo>
                    <a:pt x="139" y="101"/>
                  </a:lnTo>
                  <a:lnTo>
                    <a:pt x="139" y="101"/>
                  </a:lnTo>
                  <a:lnTo>
                    <a:pt x="139" y="103"/>
                  </a:lnTo>
                  <a:lnTo>
                    <a:pt x="136" y="103"/>
                  </a:lnTo>
                  <a:lnTo>
                    <a:pt x="136" y="106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1" y="114"/>
                  </a:lnTo>
                  <a:lnTo>
                    <a:pt x="131" y="114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09" y="93"/>
                  </a:lnTo>
                  <a:lnTo>
                    <a:pt x="109" y="95"/>
                  </a:lnTo>
                  <a:lnTo>
                    <a:pt x="109" y="95"/>
                  </a:lnTo>
                  <a:lnTo>
                    <a:pt x="104" y="117"/>
                  </a:lnTo>
                  <a:lnTo>
                    <a:pt x="101" y="117"/>
                  </a:lnTo>
                  <a:close/>
                  <a:moveTo>
                    <a:pt x="112" y="158"/>
                  </a:moveTo>
                  <a:lnTo>
                    <a:pt x="109" y="158"/>
                  </a:lnTo>
                  <a:lnTo>
                    <a:pt x="106" y="158"/>
                  </a:lnTo>
                  <a:lnTo>
                    <a:pt x="104" y="158"/>
                  </a:lnTo>
                  <a:lnTo>
                    <a:pt x="114" y="117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0" y="158"/>
                  </a:lnTo>
                  <a:lnTo>
                    <a:pt x="117" y="158"/>
                  </a:lnTo>
                  <a:lnTo>
                    <a:pt x="114" y="158"/>
                  </a:lnTo>
                  <a:lnTo>
                    <a:pt x="112" y="158"/>
                  </a:lnTo>
                  <a:close/>
                  <a:moveTo>
                    <a:pt x="117" y="169"/>
                  </a:moveTo>
                  <a:lnTo>
                    <a:pt x="123" y="169"/>
                  </a:lnTo>
                  <a:lnTo>
                    <a:pt x="125" y="169"/>
                  </a:lnTo>
                  <a:lnTo>
                    <a:pt x="128" y="166"/>
                  </a:lnTo>
                  <a:lnTo>
                    <a:pt x="136" y="196"/>
                  </a:lnTo>
                  <a:lnTo>
                    <a:pt x="133" y="196"/>
                  </a:lnTo>
                  <a:lnTo>
                    <a:pt x="131" y="196"/>
                  </a:lnTo>
                  <a:lnTo>
                    <a:pt x="128" y="196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0" y="196"/>
                  </a:lnTo>
                  <a:lnTo>
                    <a:pt x="117" y="196"/>
                  </a:lnTo>
                  <a:lnTo>
                    <a:pt x="114" y="196"/>
                  </a:lnTo>
                  <a:lnTo>
                    <a:pt x="112" y="196"/>
                  </a:lnTo>
                  <a:lnTo>
                    <a:pt x="109" y="196"/>
                  </a:lnTo>
                  <a:lnTo>
                    <a:pt x="106" y="196"/>
                  </a:lnTo>
                  <a:lnTo>
                    <a:pt x="104" y="196"/>
                  </a:lnTo>
                  <a:lnTo>
                    <a:pt x="101" y="196"/>
                  </a:lnTo>
                  <a:lnTo>
                    <a:pt x="98" y="196"/>
                  </a:lnTo>
                  <a:lnTo>
                    <a:pt x="95" y="196"/>
                  </a:lnTo>
                  <a:lnTo>
                    <a:pt x="93" y="196"/>
                  </a:lnTo>
                  <a:lnTo>
                    <a:pt x="101" y="166"/>
                  </a:lnTo>
                  <a:lnTo>
                    <a:pt x="104" y="169"/>
                  </a:lnTo>
                  <a:lnTo>
                    <a:pt x="106" y="169"/>
                  </a:lnTo>
                  <a:lnTo>
                    <a:pt x="112" y="169"/>
                  </a:lnTo>
                  <a:lnTo>
                    <a:pt x="114" y="169"/>
                  </a:lnTo>
                  <a:lnTo>
                    <a:pt x="117" y="169"/>
                  </a:lnTo>
                  <a:close/>
                  <a:moveTo>
                    <a:pt x="114" y="207"/>
                  </a:moveTo>
                  <a:lnTo>
                    <a:pt x="117" y="207"/>
                  </a:lnTo>
                  <a:lnTo>
                    <a:pt x="120" y="207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31" y="207"/>
                  </a:lnTo>
                  <a:lnTo>
                    <a:pt x="133" y="207"/>
                  </a:lnTo>
                  <a:lnTo>
                    <a:pt x="136" y="204"/>
                  </a:lnTo>
                  <a:lnTo>
                    <a:pt x="139" y="204"/>
                  </a:lnTo>
                  <a:lnTo>
                    <a:pt x="147" y="231"/>
                  </a:lnTo>
                  <a:lnTo>
                    <a:pt x="142" y="231"/>
                  </a:lnTo>
                  <a:lnTo>
                    <a:pt x="139" y="234"/>
                  </a:lnTo>
                  <a:lnTo>
                    <a:pt x="133" y="234"/>
                  </a:lnTo>
                  <a:lnTo>
                    <a:pt x="131" y="234"/>
                  </a:lnTo>
                  <a:lnTo>
                    <a:pt x="125" y="234"/>
                  </a:lnTo>
                  <a:lnTo>
                    <a:pt x="123" y="234"/>
                  </a:lnTo>
                  <a:lnTo>
                    <a:pt x="117" y="234"/>
                  </a:lnTo>
                  <a:lnTo>
                    <a:pt x="114" y="237"/>
                  </a:lnTo>
                  <a:lnTo>
                    <a:pt x="112" y="234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98" y="234"/>
                  </a:lnTo>
                  <a:lnTo>
                    <a:pt x="95" y="234"/>
                  </a:lnTo>
                  <a:lnTo>
                    <a:pt x="90" y="234"/>
                  </a:lnTo>
                  <a:lnTo>
                    <a:pt x="87" y="231"/>
                  </a:lnTo>
                  <a:lnTo>
                    <a:pt x="82" y="231"/>
                  </a:lnTo>
                  <a:lnTo>
                    <a:pt x="90" y="204"/>
                  </a:lnTo>
                  <a:lnTo>
                    <a:pt x="93" y="204"/>
                  </a:lnTo>
                  <a:lnTo>
                    <a:pt x="95" y="207"/>
                  </a:lnTo>
                  <a:lnTo>
                    <a:pt x="98" y="207"/>
                  </a:lnTo>
                  <a:lnTo>
                    <a:pt x="101" y="207"/>
                  </a:lnTo>
                  <a:lnTo>
                    <a:pt x="106" y="207"/>
                  </a:lnTo>
                  <a:lnTo>
                    <a:pt x="109" y="207"/>
                  </a:lnTo>
                  <a:lnTo>
                    <a:pt x="112" y="207"/>
                  </a:lnTo>
                  <a:lnTo>
                    <a:pt x="114" y="207"/>
                  </a:lnTo>
                  <a:close/>
                  <a:moveTo>
                    <a:pt x="128" y="245"/>
                  </a:moveTo>
                  <a:lnTo>
                    <a:pt x="131" y="245"/>
                  </a:lnTo>
                  <a:lnTo>
                    <a:pt x="133" y="245"/>
                  </a:lnTo>
                  <a:lnTo>
                    <a:pt x="136" y="245"/>
                  </a:lnTo>
                  <a:lnTo>
                    <a:pt x="139" y="242"/>
                  </a:lnTo>
                  <a:lnTo>
                    <a:pt x="142" y="242"/>
                  </a:lnTo>
                  <a:lnTo>
                    <a:pt x="144" y="242"/>
                  </a:lnTo>
                  <a:lnTo>
                    <a:pt x="147" y="242"/>
                  </a:lnTo>
                  <a:lnTo>
                    <a:pt x="150" y="242"/>
                  </a:lnTo>
                  <a:lnTo>
                    <a:pt x="161" y="280"/>
                  </a:lnTo>
                  <a:lnTo>
                    <a:pt x="128" y="245"/>
                  </a:lnTo>
                  <a:close/>
                  <a:moveTo>
                    <a:pt x="79" y="242"/>
                  </a:moveTo>
                  <a:lnTo>
                    <a:pt x="82" y="242"/>
                  </a:lnTo>
                  <a:lnTo>
                    <a:pt x="84" y="242"/>
                  </a:lnTo>
                  <a:lnTo>
                    <a:pt x="87" y="242"/>
                  </a:lnTo>
                  <a:lnTo>
                    <a:pt x="90" y="242"/>
                  </a:lnTo>
                  <a:lnTo>
                    <a:pt x="93" y="245"/>
                  </a:lnTo>
                  <a:lnTo>
                    <a:pt x="95" y="245"/>
                  </a:lnTo>
                  <a:lnTo>
                    <a:pt x="98" y="245"/>
                  </a:lnTo>
                  <a:lnTo>
                    <a:pt x="101" y="245"/>
                  </a:lnTo>
                  <a:lnTo>
                    <a:pt x="68" y="280"/>
                  </a:lnTo>
                  <a:lnTo>
                    <a:pt x="79" y="2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2">
              <a:extLst>
                <a:ext uri="{FF2B5EF4-FFF2-40B4-BE49-F238E27FC236}">
                  <a16:creationId xmlns:a16="http://schemas.microsoft.com/office/drawing/2014/main" id="{86601681-8717-4A72-9975-98A88722A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" y="1962"/>
              <a:ext cx="229" cy="305"/>
            </a:xfrm>
            <a:custGeom>
              <a:avLst/>
              <a:gdLst>
                <a:gd name="T0" fmla="*/ 25 w 229"/>
                <a:gd name="T1" fmla="*/ 30 h 305"/>
                <a:gd name="T2" fmla="*/ 3 w 229"/>
                <a:gd name="T3" fmla="*/ 84 h 305"/>
                <a:gd name="T4" fmla="*/ 14 w 229"/>
                <a:gd name="T5" fmla="*/ 144 h 305"/>
                <a:gd name="T6" fmla="*/ 25 w 229"/>
                <a:gd name="T7" fmla="*/ 152 h 305"/>
                <a:gd name="T8" fmla="*/ 19 w 229"/>
                <a:gd name="T9" fmla="*/ 136 h 305"/>
                <a:gd name="T10" fmla="*/ 14 w 229"/>
                <a:gd name="T11" fmla="*/ 79 h 305"/>
                <a:gd name="T12" fmla="*/ 36 w 229"/>
                <a:gd name="T13" fmla="*/ 30 h 305"/>
                <a:gd name="T14" fmla="*/ 65 w 229"/>
                <a:gd name="T15" fmla="*/ 6 h 305"/>
                <a:gd name="T16" fmla="*/ 190 w 229"/>
                <a:gd name="T17" fmla="*/ 16 h 305"/>
                <a:gd name="T18" fmla="*/ 185 w 229"/>
                <a:gd name="T19" fmla="*/ 25 h 305"/>
                <a:gd name="T20" fmla="*/ 207 w 229"/>
                <a:gd name="T21" fmla="*/ 55 h 305"/>
                <a:gd name="T22" fmla="*/ 218 w 229"/>
                <a:gd name="T23" fmla="*/ 95 h 305"/>
                <a:gd name="T24" fmla="*/ 210 w 229"/>
                <a:gd name="T25" fmla="*/ 136 h 305"/>
                <a:gd name="T26" fmla="*/ 188 w 229"/>
                <a:gd name="T27" fmla="*/ 169 h 305"/>
                <a:gd name="T28" fmla="*/ 188 w 229"/>
                <a:gd name="T29" fmla="*/ 177 h 305"/>
                <a:gd name="T30" fmla="*/ 207 w 229"/>
                <a:gd name="T31" fmla="*/ 161 h 305"/>
                <a:gd name="T32" fmla="*/ 226 w 229"/>
                <a:gd name="T33" fmla="*/ 117 h 305"/>
                <a:gd name="T34" fmla="*/ 226 w 229"/>
                <a:gd name="T35" fmla="*/ 74 h 305"/>
                <a:gd name="T36" fmla="*/ 204 w 229"/>
                <a:gd name="T37" fmla="*/ 30 h 305"/>
                <a:gd name="T38" fmla="*/ 109 w 229"/>
                <a:gd name="T39" fmla="*/ 25 h 305"/>
                <a:gd name="T40" fmla="*/ 60 w 229"/>
                <a:gd name="T41" fmla="*/ 49 h 305"/>
                <a:gd name="T42" fmla="*/ 41 w 229"/>
                <a:gd name="T43" fmla="*/ 95 h 305"/>
                <a:gd name="T44" fmla="*/ 46 w 229"/>
                <a:gd name="T45" fmla="*/ 101 h 305"/>
                <a:gd name="T46" fmla="*/ 52 w 229"/>
                <a:gd name="T47" fmla="*/ 82 h 305"/>
                <a:gd name="T48" fmla="*/ 84 w 229"/>
                <a:gd name="T49" fmla="*/ 41 h 305"/>
                <a:gd name="T50" fmla="*/ 136 w 229"/>
                <a:gd name="T51" fmla="*/ 38 h 305"/>
                <a:gd name="T52" fmla="*/ 163 w 229"/>
                <a:gd name="T53" fmla="*/ 55 h 305"/>
                <a:gd name="T54" fmla="*/ 169 w 229"/>
                <a:gd name="T55" fmla="*/ 46 h 305"/>
                <a:gd name="T56" fmla="*/ 123 w 229"/>
                <a:gd name="T57" fmla="*/ 25 h 305"/>
                <a:gd name="T58" fmla="*/ 93 w 229"/>
                <a:gd name="T59" fmla="*/ 71 h 305"/>
                <a:gd name="T60" fmla="*/ 79 w 229"/>
                <a:gd name="T61" fmla="*/ 93 h 305"/>
                <a:gd name="T62" fmla="*/ 93 w 229"/>
                <a:gd name="T63" fmla="*/ 122 h 305"/>
                <a:gd name="T64" fmla="*/ 65 w 229"/>
                <a:gd name="T65" fmla="*/ 136 h 305"/>
                <a:gd name="T66" fmla="*/ 52 w 229"/>
                <a:gd name="T67" fmla="*/ 125 h 305"/>
                <a:gd name="T68" fmla="*/ 55 w 229"/>
                <a:gd name="T69" fmla="*/ 139 h 305"/>
                <a:gd name="T70" fmla="*/ 79 w 229"/>
                <a:gd name="T71" fmla="*/ 190 h 305"/>
                <a:gd name="T72" fmla="*/ 57 w 229"/>
                <a:gd name="T73" fmla="*/ 185 h 305"/>
                <a:gd name="T74" fmla="*/ 57 w 229"/>
                <a:gd name="T75" fmla="*/ 193 h 305"/>
                <a:gd name="T76" fmla="*/ 57 w 229"/>
                <a:gd name="T77" fmla="*/ 305 h 305"/>
                <a:gd name="T78" fmla="*/ 171 w 229"/>
                <a:gd name="T79" fmla="*/ 305 h 305"/>
                <a:gd name="T80" fmla="*/ 155 w 229"/>
                <a:gd name="T81" fmla="*/ 155 h 305"/>
                <a:gd name="T82" fmla="*/ 185 w 229"/>
                <a:gd name="T83" fmla="*/ 120 h 305"/>
                <a:gd name="T84" fmla="*/ 185 w 229"/>
                <a:gd name="T85" fmla="*/ 93 h 305"/>
                <a:gd name="T86" fmla="*/ 177 w 229"/>
                <a:gd name="T87" fmla="*/ 95 h 305"/>
                <a:gd name="T88" fmla="*/ 169 w 229"/>
                <a:gd name="T89" fmla="*/ 131 h 305"/>
                <a:gd name="T90" fmla="*/ 136 w 229"/>
                <a:gd name="T91" fmla="*/ 155 h 305"/>
                <a:gd name="T92" fmla="*/ 150 w 229"/>
                <a:gd name="T93" fmla="*/ 101 h 305"/>
                <a:gd name="T94" fmla="*/ 142 w 229"/>
                <a:gd name="T95" fmla="*/ 76 h 305"/>
                <a:gd name="T96" fmla="*/ 117 w 229"/>
                <a:gd name="T97" fmla="*/ 63 h 305"/>
                <a:gd name="T98" fmla="*/ 90 w 229"/>
                <a:gd name="T99" fmla="*/ 95 h 305"/>
                <a:gd name="T100" fmla="*/ 98 w 229"/>
                <a:gd name="T101" fmla="*/ 79 h 305"/>
                <a:gd name="T102" fmla="*/ 117 w 229"/>
                <a:gd name="T103" fmla="*/ 74 h 305"/>
                <a:gd name="T104" fmla="*/ 133 w 229"/>
                <a:gd name="T105" fmla="*/ 82 h 305"/>
                <a:gd name="T106" fmla="*/ 139 w 229"/>
                <a:gd name="T107" fmla="*/ 103 h 305"/>
                <a:gd name="T108" fmla="*/ 117 w 229"/>
                <a:gd name="T109" fmla="*/ 93 h 305"/>
                <a:gd name="T110" fmla="*/ 106 w 229"/>
                <a:gd name="T111" fmla="*/ 158 h 305"/>
                <a:gd name="T112" fmla="*/ 125 w 229"/>
                <a:gd name="T113" fmla="*/ 196 h 305"/>
                <a:gd name="T114" fmla="*/ 114 w 229"/>
                <a:gd name="T115" fmla="*/ 169 h 305"/>
                <a:gd name="T116" fmla="*/ 123 w 229"/>
                <a:gd name="T117" fmla="*/ 234 h 305"/>
                <a:gd name="T118" fmla="*/ 109 w 229"/>
                <a:gd name="T119" fmla="*/ 207 h 305"/>
                <a:gd name="T120" fmla="*/ 87 w 229"/>
                <a:gd name="T121" fmla="*/ 24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9" h="305">
                  <a:moveTo>
                    <a:pt x="60" y="0"/>
                  </a:moveTo>
                  <a:lnTo>
                    <a:pt x="60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3"/>
                  </a:lnTo>
                  <a:lnTo>
                    <a:pt x="52" y="6"/>
                  </a:lnTo>
                  <a:lnTo>
                    <a:pt x="49" y="6"/>
                  </a:lnTo>
                  <a:lnTo>
                    <a:pt x="46" y="8"/>
                  </a:lnTo>
                  <a:lnTo>
                    <a:pt x="44" y="11"/>
                  </a:lnTo>
                  <a:lnTo>
                    <a:pt x="41" y="14"/>
                  </a:lnTo>
                  <a:lnTo>
                    <a:pt x="38" y="16"/>
                  </a:lnTo>
                  <a:lnTo>
                    <a:pt x="36" y="19"/>
                  </a:lnTo>
                  <a:lnTo>
                    <a:pt x="33" y="22"/>
                  </a:lnTo>
                  <a:lnTo>
                    <a:pt x="30" y="25"/>
                  </a:lnTo>
                  <a:lnTo>
                    <a:pt x="27" y="27"/>
                  </a:lnTo>
                  <a:lnTo>
                    <a:pt x="25" y="30"/>
                  </a:lnTo>
                  <a:lnTo>
                    <a:pt x="22" y="33"/>
                  </a:lnTo>
                  <a:lnTo>
                    <a:pt x="19" y="35"/>
                  </a:lnTo>
                  <a:lnTo>
                    <a:pt x="19" y="38"/>
                  </a:lnTo>
                  <a:lnTo>
                    <a:pt x="17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1" y="52"/>
                  </a:lnTo>
                  <a:lnTo>
                    <a:pt x="11" y="55"/>
                  </a:lnTo>
                  <a:lnTo>
                    <a:pt x="8" y="57"/>
                  </a:lnTo>
                  <a:lnTo>
                    <a:pt x="8" y="60"/>
                  </a:lnTo>
                  <a:lnTo>
                    <a:pt x="6" y="65"/>
                  </a:lnTo>
                  <a:lnTo>
                    <a:pt x="6" y="68"/>
                  </a:lnTo>
                  <a:lnTo>
                    <a:pt x="6" y="71"/>
                  </a:lnTo>
                  <a:lnTo>
                    <a:pt x="3" y="74"/>
                  </a:lnTo>
                  <a:lnTo>
                    <a:pt x="3" y="79"/>
                  </a:lnTo>
                  <a:lnTo>
                    <a:pt x="3" y="82"/>
                  </a:lnTo>
                  <a:lnTo>
                    <a:pt x="3" y="84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101"/>
                  </a:lnTo>
                  <a:lnTo>
                    <a:pt x="0" y="103"/>
                  </a:lnTo>
                  <a:lnTo>
                    <a:pt x="3" y="106"/>
                  </a:lnTo>
                  <a:lnTo>
                    <a:pt x="3" y="112"/>
                  </a:lnTo>
                  <a:lnTo>
                    <a:pt x="3" y="114"/>
                  </a:lnTo>
                  <a:lnTo>
                    <a:pt x="3" y="117"/>
                  </a:lnTo>
                  <a:lnTo>
                    <a:pt x="6" y="122"/>
                  </a:lnTo>
                  <a:lnTo>
                    <a:pt x="6" y="125"/>
                  </a:lnTo>
                  <a:lnTo>
                    <a:pt x="6" y="128"/>
                  </a:lnTo>
                  <a:lnTo>
                    <a:pt x="8" y="133"/>
                  </a:lnTo>
                  <a:lnTo>
                    <a:pt x="8" y="136"/>
                  </a:lnTo>
                  <a:lnTo>
                    <a:pt x="11" y="139"/>
                  </a:lnTo>
                  <a:lnTo>
                    <a:pt x="11" y="142"/>
                  </a:lnTo>
                  <a:lnTo>
                    <a:pt x="14" y="144"/>
                  </a:lnTo>
                  <a:lnTo>
                    <a:pt x="14" y="150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7"/>
                  </a:lnTo>
                  <a:lnTo>
                    <a:pt x="25" y="144"/>
                  </a:lnTo>
                  <a:lnTo>
                    <a:pt x="22" y="142"/>
                  </a:lnTo>
                  <a:lnTo>
                    <a:pt x="22" y="139"/>
                  </a:lnTo>
                  <a:lnTo>
                    <a:pt x="19" y="136"/>
                  </a:lnTo>
                  <a:lnTo>
                    <a:pt x="19" y="131"/>
                  </a:lnTo>
                  <a:lnTo>
                    <a:pt x="17" y="128"/>
                  </a:lnTo>
                  <a:lnTo>
                    <a:pt x="17" y="125"/>
                  </a:lnTo>
                  <a:lnTo>
                    <a:pt x="14" y="122"/>
                  </a:lnTo>
                  <a:lnTo>
                    <a:pt x="14" y="120"/>
                  </a:lnTo>
                  <a:lnTo>
                    <a:pt x="14" y="117"/>
                  </a:lnTo>
                  <a:lnTo>
                    <a:pt x="14" y="112"/>
                  </a:lnTo>
                  <a:lnTo>
                    <a:pt x="11" y="109"/>
                  </a:lnTo>
                  <a:lnTo>
                    <a:pt x="11" y="106"/>
                  </a:lnTo>
                  <a:lnTo>
                    <a:pt x="11" y="103"/>
                  </a:lnTo>
                  <a:lnTo>
                    <a:pt x="11" y="101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11" y="90"/>
                  </a:lnTo>
                  <a:lnTo>
                    <a:pt x="11" y="87"/>
                  </a:lnTo>
                  <a:lnTo>
                    <a:pt x="11" y="84"/>
                  </a:lnTo>
                  <a:lnTo>
                    <a:pt x="14" y="79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4" y="71"/>
                  </a:lnTo>
                  <a:lnTo>
                    <a:pt x="17" y="68"/>
                  </a:lnTo>
                  <a:lnTo>
                    <a:pt x="17" y="65"/>
                  </a:lnTo>
                  <a:lnTo>
                    <a:pt x="19" y="60"/>
                  </a:lnTo>
                  <a:lnTo>
                    <a:pt x="19" y="57"/>
                  </a:lnTo>
                  <a:lnTo>
                    <a:pt x="22" y="55"/>
                  </a:lnTo>
                  <a:lnTo>
                    <a:pt x="22" y="52"/>
                  </a:lnTo>
                  <a:lnTo>
                    <a:pt x="25" y="49"/>
                  </a:lnTo>
                  <a:lnTo>
                    <a:pt x="25" y="46"/>
                  </a:lnTo>
                  <a:lnTo>
                    <a:pt x="27" y="44"/>
                  </a:lnTo>
                  <a:lnTo>
                    <a:pt x="30" y="41"/>
                  </a:lnTo>
                  <a:lnTo>
                    <a:pt x="30" y="38"/>
                  </a:lnTo>
                  <a:lnTo>
                    <a:pt x="33" y="35"/>
                  </a:lnTo>
                  <a:lnTo>
                    <a:pt x="36" y="33"/>
                  </a:lnTo>
                  <a:lnTo>
                    <a:pt x="36" y="30"/>
                  </a:lnTo>
                  <a:lnTo>
                    <a:pt x="38" y="27"/>
                  </a:lnTo>
                  <a:lnTo>
                    <a:pt x="41" y="25"/>
                  </a:lnTo>
                  <a:lnTo>
                    <a:pt x="44" y="25"/>
                  </a:lnTo>
                  <a:lnTo>
                    <a:pt x="46" y="22"/>
                  </a:lnTo>
                  <a:lnTo>
                    <a:pt x="49" y="19"/>
                  </a:lnTo>
                  <a:lnTo>
                    <a:pt x="52" y="16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60" y="11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60" y="0"/>
                  </a:lnTo>
                  <a:close/>
                  <a:moveTo>
                    <a:pt x="190" y="16"/>
                  </a:moveTo>
                  <a:lnTo>
                    <a:pt x="190" y="16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7"/>
                  </a:lnTo>
                  <a:lnTo>
                    <a:pt x="190" y="30"/>
                  </a:lnTo>
                  <a:lnTo>
                    <a:pt x="193" y="30"/>
                  </a:lnTo>
                  <a:lnTo>
                    <a:pt x="193" y="33"/>
                  </a:lnTo>
                  <a:lnTo>
                    <a:pt x="196" y="35"/>
                  </a:lnTo>
                  <a:lnTo>
                    <a:pt x="196" y="35"/>
                  </a:lnTo>
                  <a:lnTo>
                    <a:pt x="199" y="38"/>
                  </a:lnTo>
                  <a:lnTo>
                    <a:pt x="199" y="41"/>
                  </a:lnTo>
                  <a:lnTo>
                    <a:pt x="201" y="44"/>
                  </a:lnTo>
                  <a:lnTo>
                    <a:pt x="201" y="44"/>
                  </a:lnTo>
                  <a:lnTo>
                    <a:pt x="204" y="46"/>
                  </a:lnTo>
                  <a:lnTo>
                    <a:pt x="204" y="49"/>
                  </a:lnTo>
                  <a:lnTo>
                    <a:pt x="207" y="52"/>
                  </a:lnTo>
                  <a:lnTo>
                    <a:pt x="207" y="55"/>
                  </a:lnTo>
                  <a:lnTo>
                    <a:pt x="210" y="57"/>
                  </a:lnTo>
                  <a:lnTo>
                    <a:pt x="210" y="57"/>
                  </a:lnTo>
                  <a:lnTo>
                    <a:pt x="210" y="60"/>
                  </a:lnTo>
                  <a:lnTo>
                    <a:pt x="212" y="63"/>
                  </a:lnTo>
                  <a:lnTo>
                    <a:pt x="212" y="65"/>
                  </a:lnTo>
                  <a:lnTo>
                    <a:pt x="212" y="68"/>
                  </a:lnTo>
                  <a:lnTo>
                    <a:pt x="212" y="71"/>
                  </a:lnTo>
                  <a:lnTo>
                    <a:pt x="215" y="71"/>
                  </a:lnTo>
                  <a:lnTo>
                    <a:pt x="215" y="74"/>
                  </a:lnTo>
                  <a:lnTo>
                    <a:pt x="215" y="76"/>
                  </a:lnTo>
                  <a:lnTo>
                    <a:pt x="215" y="79"/>
                  </a:lnTo>
                  <a:lnTo>
                    <a:pt x="215" y="82"/>
                  </a:lnTo>
                  <a:lnTo>
                    <a:pt x="218" y="84"/>
                  </a:lnTo>
                  <a:lnTo>
                    <a:pt x="218" y="87"/>
                  </a:lnTo>
                  <a:lnTo>
                    <a:pt x="218" y="90"/>
                  </a:lnTo>
                  <a:lnTo>
                    <a:pt x="218" y="93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8" y="98"/>
                  </a:lnTo>
                  <a:lnTo>
                    <a:pt x="218" y="101"/>
                  </a:lnTo>
                  <a:lnTo>
                    <a:pt x="218" y="103"/>
                  </a:lnTo>
                  <a:lnTo>
                    <a:pt x="218" y="106"/>
                  </a:lnTo>
                  <a:lnTo>
                    <a:pt x="218" y="109"/>
                  </a:lnTo>
                  <a:lnTo>
                    <a:pt x="215" y="112"/>
                  </a:lnTo>
                  <a:lnTo>
                    <a:pt x="215" y="114"/>
                  </a:lnTo>
                  <a:lnTo>
                    <a:pt x="215" y="117"/>
                  </a:lnTo>
                  <a:lnTo>
                    <a:pt x="215" y="120"/>
                  </a:lnTo>
                  <a:lnTo>
                    <a:pt x="215" y="120"/>
                  </a:lnTo>
                  <a:lnTo>
                    <a:pt x="212" y="122"/>
                  </a:lnTo>
                  <a:lnTo>
                    <a:pt x="212" y="125"/>
                  </a:lnTo>
                  <a:lnTo>
                    <a:pt x="212" y="128"/>
                  </a:lnTo>
                  <a:lnTo>
                    <a:pt x="212" y="131"/>
                  </a:lnTo>
                  <a:lnTo>
                    <a:pt x="210" y="133"/>
                  </a:lnTo>
                  <a:lnTo>
                    <a:pt x="210" y="136"/>
                  </a:lnTo>
                  <a:lnTo>
                    <a:pt x="210" y="136"/>
                  </a:lnTo>
                  <a:lnTo>
                    <a:pt x="207" y="139"/>
                  </a:lnTo>
                  <a:lnTo>
                    <a:pt x="207" y="142"/>
                  </a:lnTo>
                  <a:lnTo>
                    <a:pt x="204" y="144"/>
                  </a:lnTo>
                  <a:lnTo>
                    <a:pt x="204" y="147"/>
                  </a:lnTo>
                  <a:lnTo>
                    <a:pt x="201" y="147"/>
                  </a:lnTo>
                  <a:lnTo>
                    <a:pt x="201" y="150"/>
                  </a:lnTo>
                  <a:lnTo>
                    <a:pt x="199" y="152"/>
                  </a:lnTo>
                  <a:lnTo>
                    <a:pt x="199" y="155"/>
                  </a:lnTo>
                  <a:lnTo>
                    <a:pt x="196" y="155"/>
                  </a:lnTo>
                  <a:lnTo>
                    <a:pt x="196" y="158"/>
                  </a:lnTo>
                  <a:lnTo>
                    <a:pt x="193" y="161"/>
                  </a:lnTo>
                  <a:lnTo>
                    <a:pt x="193" y="163"/>
                  </a:lnTo>
                  <a:lnTo>
                    <a:pt x="190" y="163"/>
                  </a:lnTo>
                  <a:lnTo>
                    <a:pt x="188" y="166"/>
                  </a:lnTo>
                  <a:lnTo>
                    <a:pt x="188" y="169"/>
                  </a:lnTo>
                  <a:lnTo>
                    <a:pt x="188" y="169"/>
                  </a:lnTo>
                  <a:lnTo>
                    <a:pt x="188" y="169"/>
                  </a:lnTo>
                  <a:lnTo>
                    <a:pt x="185" y="169"/>
                  </a:lnTo>
                  <a:lnTo>
                    <a:pt x="185" y="169"/>
                  </a:lnTo>
                  <a:lnTo>
                    <a:pt x="185" y="169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1"/>
                  </a:lnTo>
                  <a:lnTo>
                    <a:pt x="185" y="174"/>
                  </a:lnTo>
                  <a:lnTo>
                    <a:pt x="185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7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6" y="171"/>
                  </a:lnTo>
                  <a:lnTo>
                    <a:pt x="199" y="171"/>
                  </a:lnTo>
                  <a:lnTo>
                    <a:pt x="199" y="169"/>
                  </a:lnTo>
                  <a:lnTo>
                    <a:pt x="201" y="166"/>
                  </a:lnTo>
                  <a:lnTo>
                    <a:pt x="204" y="163"/>
                  </a:lnTo>
                  <a:lnTo>
                    <a:pt x="204" y="163"/>
                  </a:lnTo>
                  <a:lnTo>
                    <a:pt x="207" y="161"/>
                  </a:lnTo>
                  <a:lnTo>
                    <a:pt x="210" y="158"/>
                  </a:lnTo>
                  <a:lnTo>
                    <a:pt x="210" y="155"/>
                  </a:lnTo>
                  <a:lnTo>
                    <a:pt x="212" y="152"/>
                  </a:lnTo>
                  <a:lnTo>
                    <a:pt x="212" y="150"/>
                  </a:lnTo>
                  <a:lnTo>
                    <a:pt x="215" y="150"/>
                  </a:lnTo>
                  <a:lnTo>
                    <a:pt x="215" y="147"/>
                  </a:lnTo>
                  <a:lnTo>
                    <a:pt x="218" y="144"/>
                  </a:lnTo>
                  <a:lnTo>
                    <a:pt x="218" y="142"/>
                  </a:lnTo>
                  <a:lnTo>
                    <a:pt x="218" y="139"/>
                  </a:lnTo>
                  <a:lnTo>
                    <a:pt x="220" y="136"/>
                  </a:lnTo>
                  <a:lnTo>
                    <a:pt x="220" y="133"/>
                  </a:lnTo>
                  <a:lnTo>
                    <a:pt x="220" y="131"/>
                  </a:lnTo>
                  <a:lnTo>
                    <a:pt x="223" y="128"/>
                  </a:lnTo>
                  <a:lnTo>
                    <a:pt x="223" y="125"/>
                  </a:lnTo>
                  <a:lnTo>
                    <a:pt x="223" y="122"/>
                  </a:lnTo>
                  <a:lnTo>
                    <a:pt x="226" y="120"/>
                  </a:lnTo>
                  <a:lnTo>
                    <a:pt x="226" y="117"/>
                  </a:lnTo>
                  <a:lnTo>
                    <a:pt x="226" y="114"/>
                  </a:lnTo>
                  <a:lnTo>
                    <a:pt x="226" y="112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26" y="103"/>
                  </a:lnTo>
                  <a:lnTo>
                    <a:pt x="229" y="101"/>
                  </a:lnTo>
                  <a:lnTo>
                    <a:pt x="229" y="98"/>
                  </a:lnTo>
                  <a:lnTo>
                    <a:pt x="229" y="95"/>
                  </a:lnTo>
                  <a:lnTo>
                    <a:pt x="229" y="93"/>
                  </a:lnTo>
                  <a:lnTo>
                    <a:pt x="229" y="90"/>
                  </a:lnTo>
                  <a:lnTo>
                    <a:pt x="226" y="87"/>
                  </a:lnTo>
                  <a:lnTo>
                    <a:pt x="226" y="84"/>
                  </a:lnTo>
                  <a:lnTo>
                    <a:pt x="226" y="82"/>
                  </a:lnTo>
                  <a:lnTo>
                    <a:pt x="226" y="79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3" y="71"/>
                  </a:lnTo>
                  <a:lnTo>
                    <a:pt x="223" y="68"/>
                  </a:lnTo>
                  <a:lnTo>
                    <a:pt x="223" y="65"/>
                  </a:lnTo>
                  <a:lnTo>
                    <a:pt x="220" y="63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8" y="55"/>
                  </a:lnTo>
                  <a:lnTo>
                    <a:pt x="218" y="52"/>
                  </a:lnTo>
                  <a:lnTo>
                    <a:pt x="218" y="49"/>
                  </a:lnTo>
                  <a:lnTo>
                    <a:pt x="215" y="46"/>
                  </a:lnTo>
                  <a:lnTo>
                    <a:pt x="215" y="44"/>
                  </a:lnTo>
                  <a:lnTo>
                    <a:pt x="212" y="41"/>
                  </a:lnTo>
                  <a:lnTo>
                    <a:pt x="212" y="41"/>
                  </a:lnTo>
                  <a:lnTo>
                    <a:pt x="210" y="38"/>
                  </a:lnTo>
                  <a:lnTo>
                    <a:pt x="210" y="35"/>
                  </a:lnTo>
                  <a:lnTo>
                    <a:pt x="207" y="33"/>
                  </a:lnTo>
                  <a:lnTo>
                    <a:pt x="204" y="30"/>
                  </a:lnTo>
                  <a:lnTo>
                    <a:pt x="204" y="30"/>
                  </a:lnTo>
                  <a:lnTo>
                    <a:pt x="201" y="27"/>
                  </a:lnTo>
                  <a:lnTo>
                    <a:pt x="199" y="25"/>
                  </a:lnTo>
                  <a:lnTo>
                    <a:pt x="199" y="22"/>
                  </a:lnTo>
                  <a:lnTo>
                    <a:pt x="196" y="19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close/>
                  <a:moveTo>
                    <a:pt x="112" y="25"/>
                  </a:moveTo>
                  <a:lnTo>
                    <a:pt x="112" y="25"/>
                  </a:lnTo>
                  <a:lnTo>
                    <a:pt x="109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4" y="25"/>
                  </a:lnTo>
                  <a:lnTo>
                    <a:pt x="101" y="27"/>
                  </a:lnTo>
                  <a:lnTo>
                    <a:pt x="95" y="27"/>
                  </a:lnTo>
                  <a:lnTo>
                    <a:pt x="93" y="27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2" y="33"/>
                  </a:lnTo>
                  <a:lnTo>
                    <a:pt x="79" y="33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1" y="38"/>
                  </a:lnTo>
                  <a:lnTo>
                    <a:pt x="68" y="41"/>
                  </a:lnTo>
                  <a:lnTo>
                    <a:pt x="65" y="44"/>
                  </a:lnTo>
                  <a:lnTo>
                    <a:pt x="63" y="46"/>
                  </a:lnTo>
                  <a:lnTo>
                    <a:pt x="60" y="49"/>
                  </a:lnTo>
                  <a:lnTo>
                    <a:pt x="57" y="52"/>
                  </a:lnTo>
                  <a:lnTo>
                    <a:pt x="55" y="55"/>
                  </a:lnTo>
                  <a:lnTo>
                    <a:pt x="52" y="57"/>
                  </a:lnTo>
                  <a:lnTo>
                    <a:pt x="52" y="60"/>
                  </a:lnTo>
                  <a:lnTo>
                    <a:pt x="49" y="63"/>
                  </a:lnTo>
                  <a:lnTo>
                    <a:pt x="49" y="65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4" y="76"/>
                  </a:lnTo>
                  <a:lnTo>
                    <a:pt x="44" y="79"/>
                  </a:lnTo>
                  <a:lnTo>
                    <a:pt x="41" y="82"/>
                  </a:lnTo>
                  <a:lnTo>
                    <a:pt x="41" y="84"/>
                  </a:lnTo>
                  <a:lnTo>
                    <a:pt x="41" y="87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3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0"/>
                  </a:lnTo>
                  <a:lnTo>
                    <a:pt x="52" y="87"/>
                  </a:lnTo>
                  <a:lnTo>
                    <a:pt x="52" y="84"/>
                  </a:lnTo>
                  <a:lnTo>
                    <a:pt x="52" y="82"/>
                  </a:lnTo>
                  <a:lnTo>
                    <a:pt x="55" y="79"/>
                  </a:lnTo>
                  <a:lnTo>
                    <a:pt x="55" y="76"/>
                  </a:lnTo>
                  <a:lnTo>
                    <a:pt x="55" y="74"/>
                  </a:lnTo>
                  <a:lnTo>
                    <a:pt x="57" y="71"/>
                  </a:lnTo>
                  <a:lnTo>
                    <a:pt x="57" y="68"/>
                  </a:lnTo>
                  <a:lnTo>
                    <a:pt x="60" y="65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5" y="57"/>
                  </a:lnTo>
                  <a:lnTo>
                    <a:pt x="68" y="55"/>
                  </a:lnTo>
                  <a:lnTo>
                    <a:pt x="68" y="52"/>
                  </a:lnTo>
                  <a:lnTo>
                    <a:pt x="71" y="52"/>
                  </a:lnTo>
                  <a:lnTo>
                    <a:pt x="74" y="49"/>
                  </a:lnTo>
                  <a:lnTo>
                    <a:pt x="76" y="46"/>
                  </a:lnTo>
                  <a:lnTo>
                    <a:pt x="79" y="46"/>
                  </a:lnTo>
                  <a:lnTo>
                    <a:pt x="82" y="44"/>
                  </a:lnTo>
                  <a:lnTo>
                    <a:pt x="84" y="41"/>
                  </a:lnTo>
                  <a:lnTo>
                    <a:pt x="87" y="41"/>
                  </a:lnTo>
                  <a:lnTo>
                    <a:pt x="90" y="38"/>
                  </a:lnTo>
                  <a:lnTo>
                    <a:pt x="93" y="38"/>
                  </a:lnTo>
                  <a:lnTo>
                    <a:pt x="95" y="38"/>
                  </a:lnTo>
                  <a:lnTo>
                    <a:pt x="98" y="35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7" y="35"/>
                  </a:lnTo>
                  <a:lnTo>
                    <a:pt x="120" y="35"/>
                  </a:lnTo>
                  <a:lnTo>
                    <a:pt x="123" y="35"/>
                  </a:lnTo>
                  <a:lnTo>
                    <a:pt x="128" y="35"/>
                  </a:lnTo>
                  <a:lnTo>
                    <a:pt x="131" y="35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9" y="38"/>
                  </a:lnTo>
                  <a:lnTo>
                    <a:pt x="142" y="41"/>
                  </a:lnTo>
                  <a:lnTo>
                    <a:pt x="144" y="41"/>
                  </a:lnTo>
                  <a:lnTo>
                    <a:pt x="147" y="44"/>
                  </a:lnTo>
                  <a:lnTo>
                    <a:pt x="150" y="44"/>
                  </a:lnTo>
                  <a:lnTo>
                    <a:pt x="152" y="46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3" y="55"/>
                  </a:lnTo>
                  <a:lnTo>
                    <a:pt x="166" y="55"/>
                  </a:lnTo>
                  <a:lnTo>
                    <a:pt x="166" y="55"/>
                  </a:lnTo>
                  <a:lnTo>
                    <a:pt x="166" y="55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3" y="44"/>
                  </a:lnTo>
                  <a:lnTo>
                    <a:pt x="161" y="41"/>
                  </a:lnTo>
                  <a:lnTo>
                    <a:pt x="158" y="38"/>
                  </a:lnTo>
                  <a:lnTo>
                    <a:pt x="155" y="35"/>
                  </a:lnTo>
                  <a:lnTo>
                    <a:pt x="152" y="35"/>
                  </a:lnTo>
                  <a:lnTo>
                    <a:pt x="150" y="33"/>
                  </a:lnTo>
                  <a:lnTo>
                    <a:pt x="147" y="33"/>
                  </a:lnTo>
                  <a:lnTo>
                    <a:pt x="142" y="30"/>
                  </a:lnTo>
                  <a:lnTo>
                    <a:pt x="139" y="30"/>
                  </a:lnTo>
                  <a:lnTo>
                    <a:pt x="136" y="27"/>
                  </a:lnTo>
                  <a:lnTo>
                    <a:pt x="133" y="27"/>
                  </a:lnTo>
                  <a:lnTo>
                    <a:pt x="128" y="27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17" y="25"/>
                  </a:lnTo>
                  <a:lnTo>
                    <a:pt x="114" y="25"/>
                  </a:lnTo>
                  <a:lnTo>
                    <a:pt x="112" y="25"/>
                  </a:lnTo>
                  <a:close/>
                  <a:moveTo>
                    <a:pt x="114" y="63"/>
                  </a:moveTo>
                  <a:lnTo>
                    <a:pt x="112" y="63"/>
                  </a:lnTo>
                  <a:lnTo>
                    <a:pt x="112" y="63"/>
                  </a:lnTo>
                  <a:lnTo>
                    <a:pt x="109" y="63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4" y="65"/>
                  </a:lnTo>
                  <a:lnTo>
                    <a:pt x="104" y="65"/>
                  </a:lnTo>
                  <a:lnTo>
                    <a:pt x="101" y="65"/>
                  </a:lnTo>
                  <a:lnTo>
                    <a:pt x="98" y="65"/>
                  </a:lnTo>
                  <a:lnTo>
                    <a:pt x="98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0" y="71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2" y="90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3"/>
                  </a:lnTo>
                  <a:lnTo>
                    <a:pt x="82" y="106"/>
                  </a:lnTo>
                  <a:lnTo>
                    <a:pt x="82" y="109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7" y="117"/>
                  </a:lnTo>
                  <a:lnTo>
                    <a:pt x="87" y="120"/>
                  </a:lnTo>
                  <a:lnTo>
                    <a:pt x="90" y="120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5" y="125"/>
                  </a:lnTo>
                  <a:lnTo>
                    <a:pt x="98" y="125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93" y="155"/>
                  </a:lnTo>
                  <a:lnTo>
                    <a:pt x="90" y="155"/>
                  </a:lnTo>
                  <a:lnTo>
                    <a:pt x="87" y="152"/>
                  </a:lnTo>
                  <a:lnTo>
                    <a:pt x="84" y="152"/>
                  </a:lnTo>
                  <a:lnTo>
                    <a:pt x="82" y="150"/>
                  </a:lnTo>
                  <a:lnTo>
                    <a:pt x="82" y="150"/>
                  </a:lnTo>
                  <a:lnTo>
                    <a:pt x="79" y="147"/>
                  </a:lnTo>
                  <a:lnTo>
                    <a:pt x="76" y="147"/>
                  </a:lnTo>
                  <a:lnTo>
                    <a:pt x="74" y="144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68" y="139"/>
                  </a:lnTo>
                  <a:lnTo>
                    <a:pt x="65" y="136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0" y="131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52" y="136"/>
                  </a:lnTo>
                  <a:lnTo>
                    <a:pt x="55" y="139"/>
                  </a:lnTo>
                  <a:lnTo>
                    <a:pt x="57" y="142"/>
                  </a:lnTo>
                  <a:lnTo>
                    <a:pt x="57" y="144"/>
                  </a:lnTo>
                  <a:lnTo>
                    <a:pt x="60" y="144"/>
                  </a:lnTo>
                  <a:lnTo>
                    <a:pt x="63" y="147"/>
                  </a:lnTo>
                  <a:lnTo>
                    <a:pt x="65" y="150"/>
                  </a:lnTo>
                  <a:lnTo>
                    <a:pt x="68" y="152"/>
                  </a:lnTo>
                  <a:lnTo>
                    <a:pt x="71" y="155"/>
                  </a:lnTo>
                  <a:lnTo>
                    <a:pt x="74" y="155"/>
                  </a:lnTo>
                  <a:lnTo>
                    <a:pt x="76" y="158"/>
                  </a:lnTo>
                  <a:lnTo>
                    <a:pt x="79" y="161"/>
                  </a:lnTo>
                  <a:lnTo>
                    <a:pt x="82" y="161"/>
                  </a:lnTo>
                  <a:lnTo>
                    <a:pt x="84" y="163"/>
                  </a:lnTo>
                  <a:lnTo>
                    <a:pt x="87" y="163"/>
                  </a:lnTo>
                  <a:lnTo>
                    <a:pt x="90" y="166"/>
                  </a:lnTo>
                  <a:lnTo>
                    <a:pt x="82" y="193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6" y="190"/>
                  </a:lnTo>
                  <a:lnTo>
                    <a:pt x="74" y="188"/>
                  </a:lnTo>
                  <a:lnTo>
                    <a:pt x="71" y="188"/>
                  </a:lnTo>
                  <a:lnTo>
                    <a:pt x="68" y="185"/>
                  </a:lnTo>
                  <a:lnTo>
                    <a:pt x="65" y="185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57" y="182"/>
                  </a:lnTo>
                  <a:lnTo>
                    <a:pt x="57" y="182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5" y="185"/>
                  </a:lnTo>
                  <a:lnTo>
                    <a:pt x="55" y="185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5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60" y="193"/>
                  </a:lnTo>
                  <a:lnTo>
                    <a:pt x="63" y="196"/>
                  </a:lnTo>
                  <a:lnTo>
                    <a:pt x="65" y="196"/>
                  </a:lnTo>
                  <a:lnTo>
                    <a:pt x="68" y="199"/>
                  </a:lnTo>
                  <a:lnTo>
                    <a:pt x="71" y="199"/>
                  </a:lnTo>
                  <a:lnTo>
                    <a:pt x="74" y="199"/>
                  </a:lnTo>
                  <a:lnTo>
                    <a:pt x="76" y="201"/>
                  </a:lnTo>
                  <a:lnTo>
                    <a:pt x="79" y="201"/>
                  </a:lnTo>
                  <a:lnTo>
                    <a:pt x="55" y="299"/>
                  </a:lnTo>
                  <a:lnTo>
                    <a:pt x="55" y="299"/>
                  </a:lnTo>
                  <a:lnTo>
                    <a:pt x="55" y="299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2"/>
                  </a:lnTo>
                  <a:lnTo>
                    <a:pt x="55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60" y="305"/>
                  </a:lnTo>
                  <a:lnTo>
                    <a:pt x="63" y="305"/>
                  </a:lnTo>
                  <a:lnTo>
                    <a:pt x="63" y="302"/>
                  </a:lnTo>
                  <a:lnTo>
                    <a:pt x="114" y="245"/>
                  </a:lnTo>
                  <a:lnTo>
                    <a:pt x="166" y="302"/>
                  </a:lnTo>
                  <a:lnTo>
                    <a:pt x="166" y="302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71" y="305"/>
                  </a:lnTo>
                  <a:lnTo>
                    <a:pt x="171" y="305"/>
                  </a:lnTo>
                  <a:lnTo>
                    <a:pt x="171" y="305"/>
                  </a:lnTo>
                  <a:lnTo>
                    <a:pt x="174" y="305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302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74" y="299"/>
                  </a:lnTo>
                  <a:lnTo>
                    <a:pt x="139" y="166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7" y="161"/>
                  </a:lnTo>
                  <a:lnTo>
                    <a:pt x="150" y="161"/>
                  </a:lnTo>
                  <a:lnTo>
                    <a:pt x="152" y="158"/>
                  </a:lnTo>
                  <a:lnTo>
                    <a:pt x="155" y="158"/>
                  </a:lnTo>
                  <a:lnTo>
                    <a:pt x="155" y="155"/>
                  </a:lnTo>
                  <a:lnTo>
                    <a:pt x="158" y="155"/>
                  </a:lnTo>
                  <a:lnTo>
                    <a:pt x="161" y="152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6" y="147"/>
                  </a:lnTo>
                  <a:lnTo>
                    <a:pt x="169" y="144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4" y="139"/>
                  </a:lnTo>
                  <a:lnTo>
                    <a:pt x="177" y="136"/>
                  </a:lnTo>
                  <a:lnTo>
                    <a:pt x="177" y="133"/>
                  </a:lnTo>
                  <a:lnTo>
                    <a:pt x="180" y="131"/>
                  </a:lnTo>
                  <a:lnTo>
                    <a:pt x="180" y="128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2"/>
                  </a:lnTo>
                  <a:lnTo>
                    <a:pt x="185" y="120"/>
                  </a:lnTo>
                  <a:lnTo>
                    <a:pt x="185" y="117"/>
                  </a:lnTo>
                  <a:lnTo>
                    <a:pt x="185" y="114"/>
                  </a:lnTo>
                  <a:lnTo>
                    <a:pt x="188" y="112"/>
                  </a:lnTo>
                  <a:lnTo>
                    <a:pt x="188" y="109"/>
                  </a:lnTo>
                  <a:lnTo>
                    <a:pt x="188" y="106"/>
                  </a:lnTo>
                  <a:lnTo>
                    <a:pt x="188" y="103"/>
                  </a:lnTo>
                  <a:lnTo>
                    <a:pt x="188" y="101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3"/>
                  </a:lnTo>
                  <a:lnTo>
                    <a:pt x="188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5"/>
                  </a:lnTo>
                  <a:lnTo>
                    <a:pt x="180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8"/>
                  </a:lnTo>
                  <a:lnTo>
                    <a:pt x="177" y="101"/>
                  </a:lnTo>
                  <a:lnTo>
                    <a:pt x="177" y="103"/>
                  </a:lnTo>
                  <a:lnTo>
                    <a:pt x="177" y="106"/>
                  </a:lnTo>
                  <a:lnTo>
                    <a:pt x="177" y="109"/>
                  </a:lnTo>
                  <a:lnTo>
                    <a:pt x="177" y="112"/>
                  </a:lnTo>
                  <a:lnTo>
                    <a:pt x="177" y="114"/>
                  </a:lnTo>
                  <a:lnTo>
                    <a:pt x="174" y="114"/>
                  </a:lnTo>
                  <a:lnTo>
                    <a:pt x="174" y="117"/>
                  </a:lnTo>
                  <a:lnTo>
                    <a:pt x="174" y="120"/>
                  </a:lnTo>
                  <a:lnTo>
                    <a:pt x="171" y="122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69" y="128"/>
                  </a:lnTo>
                  <a:lnTo>
                    <a:pt x="169" y="131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3" y="136"/>
                  </a:lnTo>
                  <a:lnTo>
                    <a:pt x="161" y="139"/>
                  </a:lnTo>
                  <a:lnTo>
                    <a:pt x="161" y="139"/>
                  </a:lnTo>
                  <a:lnTo>
                    <a:pt x="158" y="142"/>
                  </a:lnTo>
                  <a:lnTo>
                    <a:pt x="158" y="144"/>
                  </a:lnTo>
                  <a:lnTo>
                    <a:pt x="155" y="144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50" y="150"/>
                  </a:lnTo>
                  <a:lnTo>
                    <a:pt x="147" y="150"/>
                  </a:lnTo>
                  <a:lnTo>
                    <a:pt x="144" y="152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39" y="155"/>
                  </a:lnTo>
                  <a:lnTo>
                    <a:pt x="136" y="155"/>
                  </a:lnTo>
                  <a:lnTo>
                    <a:pt x="128" y="128"/>
                  </a:lnTo>
                  <a:lnTo>
                    <a:pt x="131" y="128"/>
                  </a:lnTo>
                  <a:lnTo>
                    <a:pt x="131" y="125"/>
                  </a:lnTo>
                  <a:lnTo>
                    <a:pt x="133" y="125"/>
                  </a:lnTo>
                  <a:lnTo>
                    <a:pt x="133" y="122"/>
                  </a:lnTo>
                  <a:lnTo>
                    <a:pt x="136" y="122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7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7" y="112"/>
                  </a:lnTo>
                  <a:lnTo>
                    <a:pt x="147" y="109"/>
                  </a:lnTo>
                  <a:lnTo>
                    <a:pt x="147" y="106"/>
                  </a:lnTo>
                  <a:lnTo>
                    <a:pt x="147" y="103"/>
                  </a:lnTo>
                  <a:lnTo>
                    <a:pt x="150" y="101"/>
                  </a:lnTo>
                  <a:lnTo>
                    <a:pt x="150" y="101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9" y="71"/>
                  </a:lnTo>
                  <a:lnTo>
                    <a:pt x="136" y="71"/>
                  </a:lnTo>
                  <a:lnTo>
                    <a:pt x="136" y="71"/>
                  </a:lnTo>
                  <a:lnTo>
                    <a:pt x="133" y="68"/>
                  </a:lnTo>
                  <a:lnTo>
                    <a:pt x="133" y="68"/>
                  </a:lnTo>
                  <a:lnTo>
                    <a:pt x="131" y="68"/>
                  </a:lnTo>
                  <a:lnTo>
                    <a:pt x="131" y="65"/>
                  </a:lnTo>
                  <a:lnTo>
                    <a:pt x="128" y="65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0" y="63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4" y="63"/>
                  </a:lnTo>
                  <a:close/>
                  <a:moveTo>
                    <a:pt x="101" y="117"/>
                  </a:moveTo>
                  <a:lnTo>
                    <a:pt x="101" y="117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06"/>
                  </a:lnTo>
                  <a:lnTo>
                    <a:pt x="93" y="103"/>
                  </a:lnTo>
                  <a:lnTo>
                    <a:pt x="90" y="103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98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3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8"/>
                  </a:lnTo>
                  <a:lnTo>
                    <a:pt x="139" y="101"/>
                  </a:lnTo>
                  <a:lnTo>
                    <a:pt x="139" y="101"/>
                  </a:lnTo>
                  <a:lnTo>
                    <a:pt x="139" y="103"/>
                  </a:lnTo>
                  <a:lnTo>
                    <a:pt x="136" y="103"/>
                  </a:lnTo>
                  <a:lnTo>
                    <a:pt x="136" y="106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1" y="114"/>
                  </a:lnTo>
                  <a:lnTo>
                    <a:pt x="131" y="114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09" y="93"/>
                  </a:lnTo>
                  <a:lnTo>
                    <a:pt x="109" y="95"/>
                  </a:lnTo>
                  <a:lnTo>
                    <a:pt x="109" y="95"/>
                  </a:lnTo>
                  <a:lnTo>
                    <a:pt x="104" y="117"/>
                  </a:lnTo>
                  <a:lnTo>
                    <a:pt x="101" y="117"/>
                  </a:lnTo>
                  <a:close/>
                  <a:moveTo>
                    <a:pt x="112" y="158"/>
                  </a:moveTo>
                  <a:lnTo>
                    <a:pt x="109" y="158"/>
                  </a:lnTo>
                  <a:lnTo>
                    <a:pt x="106" y="158"/>
                  </a:lnTo>
                  <a:lnTo>
                    <a:pt x="104" y="158"/>
                  </a:lnTo>
                  <a:lnTo>
                    <a:pt x="114" y="117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0" y="158"/>
                  </a:lnTo>
                  <a:lnTo>
                    <a:pt x="117" y="158"/>
                  </a:lnTo>
                  <a:lnTo>
                    <a:pt x="114" y="158"/>
                  </a:lnTo>
                  <a:lnTo>
                    <a:pt x="112" y="158"/>
                  </a:lnTo>
                  <a:close/>
                  <a:moveTo>
                    <a:pt x="117" y="169"/>
                  </a:moveTo>
                  <a:lnTo>
                    <a:pt x="123" y="169"/>
                  </a:lnTo>
                  <a:lnTo>
                    <a:pt x="125" y="169"/>
                  </a:lnTo>
                  <a:lnTo>
                    <a:pt x="128" y="166"/>
                  </a:lnTo>
                  <a:lnTo>
                    <a:pt x="136" y="196"/>
                  </a:lnTo>
                  <a:lnTo>
                    <a:pt x="133" y="196"/>
                  </a:lnTo>
                  <a:lnTo>
                    <a:pt x="131" y="196"/>
                  </a:lnTo>
                  <a:lnTo>
                    <a:pt x="128" y="196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0" y="196"/>
                  </a:lnTo>
                  <a:lnTo>
                    <a:pt x="117" y="196"/>
                  </a:lnTo>
                  <a:lnTo>
                    <a:pt x="114" y="196"/>
                  </a:lnTo>
                  <a:lnTo>
                    <a:pt x="112" y="196"/>
                  </a:lnTo>
                  <a:lnTo>
                    <a:pt x="109" y="196"/>
                  </a:lnTo>
                  <a:lnTo>
                    <a:pt x="106" y="196"/>
                  </a:lnTo>
                  <a:lnTo>
                    <a:pt x="104" y="196"/>
                  </a:lnTo>
                  <a:lnTo>
                    <a:pt x="101" y="196"/>
                  </a:lnTo>
                  <a:lnTo>
                    <a:pt x="98" y="196"/>
                  </a:lnTo>
                  <a:lnTo>
                    <a:pt x="95" y="196"/>
                  </a:lnTo>
                  <a:lnTo>
                    <a:pt x="93" y="196"/>
                  </a:lnTo>
                  <a:lnTo>
                    <a:pt x="101" y="166"/>
                  </a:lnTo>
                  <a:lnTo>
                    <a:pt x="104" y="169"/>
                  </a:lnTo>
                  <a:lnTo>
                    <a:pt x="106" y="169"/>
                  </a:lnTo>
                  <a:lnTo>
                    <a:pt x="112" y="169"/>
                  </a:lnTo>
                  <a:lnTo>
                    <a:pt x="114" y="169"/>
                  </a:lnTo>
                  <a:lnTo>
                    <a:pt x="117" y="169"/>
                  </a:lnTo>
                  <a:close/>
                  <a:moveTo>
                    <a:pt x="114" y="207"/>
                  </a:moveTo>
                  <a:lnTo>
                    <a:pt x="117" y="207"/>
                  </a:lnTo>
                  <a:lnTo>
                    <a:pt x="120" y="207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31" y="207"/>
                  </a:lnTo>
                  <a:lnTo>
                    <a:pt x="133" y="207"/>
                  </a:lnTo>
                  <a:lnTo>
                    <a:pt x="136" y="204"/>
                  </a:lnTo>
                  <a:lnTo>
                    <a:pt x="139" y="204"/>
                  </a:lnTo>
                  <a:lnTo>
                    <a:pt x="147" y="231"/>
                  </a:lnTo>
                  <a:lnTo>
                    <a:pt x="142" y="231"/>
                  </a:lnTo>
                  <a:lnTo>
                    <a:pt x="139" y="234"/>
                  </a:lnTo>
                  <a:lnTo>
                    <a:pt x="133" y="234"/>
                  </a:lnTo>
                  <a:lnTo>
                    <a:pt x="131" y="234"/>
                  </a:lnTo>
                  <a:lnTo>
                    <a:pt x="125" y="234"/>
                  </a:lnTo>
                  <a:lnTo>
                    <a:pt x="123" y="234"/>
                  </a:lnTo>
                  <a:lnTo>
                    <a:pt x="117" y="234"/>
                  </a:lnTo>
                  <a:lnTo>
                    <a:pt x="114" y="237"/>
                  </a:lnTo>
                  <a:lnTo>
                    <a:pt x="112" y="234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98" y="234"/>
                  </a:lnTo>
                  <a:lnTo>
                    <a:pt x="95" y="234"/>
                  </a:lnTo>
                  <a:lnTo>
                    <a:pt x="90" y="234"/>
                  </a:lnTo>
                  <a:lnTo>
                    <a:pt x="87" y="231"/>
                  </a:lnTo>
                  <a:lnTo>
                    <a:pt x="82" y="231"/>
                  </a:lnTo>
                  <a:lnTo>
                    <a:pt x="90" y="204"/>
                  </a:lnTo>
                  <a:lnTo>
                    <a:pt x="93" y="204"/>
                  </a:lnTo>
                  <a:lnTo>
                    <a:pt x="95" y="207"/>
                  </a:lnTo>
                  <a:lnTo>
                    <a:pt x="98" y="207"/>
                  </a:lnTo>
                  <a:lnTo>
                    <a:pt x="101" y="207"/>
                  </a:lnTo>
                  <a:lnTo>
                    <a:pt x="106" y="207"/>
                  </a:lnTo>
                  <a:lnTo>
                    <a:pt x="109" y="207"/>
                  </a:lnTo>
                  <a:lnTo>
                    <a:pt x="112" y="207"/>
                  </a:lnTo>
                  <a:lnTo>
                    <a:pt x="114" y="207"/>
                  </a:lnTo>
                  <a:close/>
                  <a:moveTo>
                    <a:pt x="128" y="245"/>
                  </a:moveTo>
                  <a:lnTo>
                    <a:pt x="131" y="245"/>
                  </a:lnTo>
                  <a:lnTo>
                    <a:pt x="133" y="245"/>
                  </a:lnTo>
                  <a:lnTo>
                    <a:pt x="136" y="245"/>
                  </a:lnTo>
                  <a:lnTo>
                    <a:pt x="139" y="242"/>
                  </a:lnTo>
                  <a:lnTo>
                    <a:pt x="142" y="242"/>
                  </a:lnTo>
                  <a:lnTo>
                    <a:pt x="144" y="242"/>
                  </a:lnTo>
                  <a:lnTo>
                    <a:pt x="147" y="242"/>
                  </a:lnTo>
                  <a:lnTo>
                    <a:pt x="150" y="242"/>
                  </a:lnTo>
                  <a:lnTo>
                    <a:pt x="161" y="280"/>
                  </a:lnTo>
                  <a:lnTo>
                    <a:pt x="128" y="245"/>
                  </a:lnTo>
                  <a:close/>
                  <a:moveTo>
                    <a:pt x="79" y="242"/>
                  </a:moveTo>
                  <a:lnTo>
                    <a:pt x="82" y="242"/>
                  </a:lnTo>
                  <a:lnTo>
                    <a:pt x="84" y="242"/>
                  </a:lnTo>
                  <a:lnTo>
                    <a:pt x="87" y="242"/>
                  </a:lnTo>
                  <a:lnTo>
                    <a:pt x="90" y="242"/>
                  </a:lnTo>
                  <a:lnTo>
                    <a:pt x="93" y="245"/>
                  </a:lnTo>
                  <a:lnTo>
                    <a:pt x="95" y="245"/>
                  </a:lnTo>
                  <a:lnTo>
                    <a:pt x="98" y="245"/>
                  </a:lnTo>
                  <a:lnTo>
                    <a:pt x="101" y="245"/>
                  </a:lnTo>
                  <a:lnTo>
                    <a:pt x="68" y="280"/>
                  </a:lnTo>
                  <a:lnTo>
                    <a:pt x="79" y="2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55">
            <a:extLst>
              <a:ext uri="{FF2B5EF4-FFF2-40B4-BE49-F238E27FC236}">
                <a16:creationId xmlns:a16="http://schemas.microsoft.com/office/drawing/2014/main" id="{91E953F1-AAF1-41EA-A0A9-076FB8DBB7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1055" y="2774951"/>
            <a:ext cx="841375" cy="841375"/>
            <a:chOff x="1880" y="1851"/>
            <a:chExt cx="530" cy="530"/>
          </a:xfrm>
        </p:grpSpPr>
        <p:sp>
          <p:nvSpPr>
            <p:cNvPr id="177" name="AutoShape 154">
              <a:extLst>
                <a:ext uri="{FF2B5EF4-FFF2-40B4-BE49-F238E27FC236}">
                  <a16:creationId xmlns:a16="http://schemas.microsoft.com/office/drawing/2014/main" id="{3BC123F3-4A76-4F1B-97C5-6D90B3F2DB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80" y="185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156">
              <a:extLst>
                <a:ext uri="{FF2B5EF4-FFF2-40B4-BE49-F238E27FC236}">
                  <a16:creationId xmlns:a16="http://schemas.microsoft.com/office/drawing/2014/main" id="{FE90BB02-302B-4059-8F5C-0A2367B4C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3" y="185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2BCF84DA-4C9F-4785-87B3-4317F06F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9" y="1870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E56F54D9-0D5B-403C-8D5B-06A05B058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1" y="1981"/>
              <a:ext cx="310" cy="272"/>
            </a:xfrm>
            <a:custGeom>
              <a:avLst/>
              <a:gdLst>
                <a:gd name="T0" fmla="*/ 109 w 310"/>
                <a:gd name="T1" fmla="*/ 6 h 272"/>
                <a:gd name="T2" fmla="*/ 112 w 310"/>
                <a:gd name="T3" fmla="*/ 270 h 272"/>
                <a:gd name="T4" fmla="*/ 117 w 310"/>
                <a:gd name="T5" fmla="*/ 270 h 272"/>
                <a:gd name="T6" fmla="*/ 120 w 310"/>
                <a:gd name="T7" fmla="*/ 6 h 272"/>
                <a:gd name="T8" fmla="*/ 115 w 310"/>
                <a:gd name="T9" fmla="*/ 0 h 272"/>
                <a:gd name="T10" fmla="*/ 164 w 310"/>
                <a:gd name="T11" fmla="*/ 49 h 272"/>
                <a:gd name="T12" fmla="*/ 166 w 310"/>
                <a:gd name="T13" fmla="*/ 229 h 272"/>
                <a:gd name="T14" fmla="*/ 172 w 310"/>
                <a:gd name="T15" fmla="*/ 229 h 272"/>
                <a:gd name="T16" fmla="*/ 174 w 310"/>
                <a:gd name="T17" fmla="*/ 47 h 272"/>
                <a:gd name="T18" fmla="*/ 169 w 310"/>
                <a:gd name="T19" fmla="*/ 44 h 272"/>
                <a:gd name="T20" fmla="*/ 136 w 310"/>
                <a:gd name="T21" fmla="*/ 49 h 272"/>
                <a:gd name="T22" fmla="*/ 139 w 310"/>
                <a:gd name="T23" fmla="*/ 226 h 272"/>
                <a:gd name="T24" fmla="*/ 147 w 310"/>
                <a:gd name="T25" fmla="*/ 226 h 272"/>
                <a:gd name="T26" fmla="*/ 147 w 310"/>
                <a:gd name="T27" fmla="*/ 49 h 272"/>
                <a:gd name="T28" fmla="*/ 142 w 310"/>
                <a:gd name="T29" fmla="*/ 44 h 272"/>
                <a:gd name="T30" fmla="*/ 191 w 310"/>
                <a:gd name="T31" fmla="*/ 74 h 272"/>
                <a:gd name="T32" fmla="*/ 193 w 310"/>
                <a:gd name="T33" fmla="*/ 202 h 272"/>
                <a:gd name="T34" fmla="*/ 199 w 310"/>
                <a:gd name="T35" fmla="*/ 202 h 272"/>
                <a:gd name="T36" fmla="*/ 202 w 310"/>
                <a:gd name="T37" fmla="*/ 74 h 272"/>
                <a:gd name="T38" fmla="*/ 193 w 310"/>
                <a:gd name="T39" fmla="*/ 68 h 272"/>
                <a:gd name="T40" fmla="*/ 82 w 310"/>
                <a:gd name="T41" fmla="*/ 74 h 272"/>
                <a:gd name="T42" fmla="*/ 85 w 310"/>
                <a:gd name="T43" fmla="*/ 202 h 272"/>
                <a:gd name="T44" fmla="*/ 93 w 310"/>
                <a:gd name="T45" fmla="*/ 202 h 272"/>
                <a:gd name="T46" fmla="*/ 93 w 310"/>
                <a:gd name="T47" fmla="*/ 74 h 272"/>
                <a:gd name="T48" fmla="*/ 87 w 310"/>
                <a:gd name="T49" fmla="*/ 68 h 272"/>
                <a:gd name="T50" fmla="*/ 55 w 310"/>
                <a:gd name="T51" fmla="*/ 104 h 272"/>
                <a:gd name="T52" fmla="*/ 58 w 310"/>
                <a:gd name="T53" fmla="*/ 174 h 272"/>
                <a:gd name="T54" fmla="*/ 66 w 310"/>
                <a:gd name="T55" fmla="*/ 172 h 272"/>
                <a:gd name="T56" fmla="*/ 66 w 310"/>
                <a:gd name="T57" fmla="*/ 101 h 272"/>
                <a:gd name="T58" fmla="*/ 60 w 310"/>
                <a:gd name="T59" fmla="*/ 98 h 272"/>
                <a:gd name="T60" fmla="*/ 218 w 310"/>
                <a:gd name="T61" fmla="*/ 106 h 272"/>
                <a:gd name="T62" fmla="*/ 221 w 310"/>
                <a:gd name="T63" fmla="*/ 169 h 272"/>
                <a:gd name="T64" fmla="*/ 226 w 310"/>
                <a:gd name="T65" fmla="*/ 169 h 272"/>
                <a:gd name="T66" fmla="*/ 229 w 310"/>
                <a:gd name="T67" fmla="*/ 106 h 272"/>
                <a:gd name="T68" fmla="*/ 221 w 310"/>
                <a:gd name="T69" fmla="*/ 101 h 272"/>
                <a:gd name="T70" fmla="*/ 245 w 310"/>
                <a:gd name="T71" fmla="*/ 115 h 272"/>
                <a:gd name="T72" fmla="*/ 248 w 310"/>
                <a:gd name="T73" fmla="*/ 161 h 272"/>
                <a:gd name="T74" fmla="*/ 253 w 310"/>
                <a:gd name="T75" fmla="*/ 161 h 272"/>
                <a:gd name="T76" fmla="*/ 256 w 310"/>
                <a:gd name="T77" fmla="*/ 115 h 272"/>
                <a:gd name="T78" fmla="*/ 248 w 310"/>
                <a:gd name="T79" fmla="*/ 109 h 272"/>
                <a:gd name="T80" fmla="*/ 28 w 310"/>
                <a:gd name="T81" fmla="*/ 117 h 272"/>
                <a:gd name="T82" fmla="*/ 30 w 310"/>
                <a:gd name="T83" fmla="*/ 158 h 272"/>
                <a:gd name="T84" fmla="*/ 38 w 310"/>
                <a:gd name="T85" fmla="*/ 158 h 272"/>
                <a:gd name="T86" fmla="*/ 38 w 310"/>
                <a:gd name="T87" fmla="*/ 117 h 272"/>
                <a:gd name="T88" fmla="*/ 33 w 310"/>
                <a:gd name="T89" fmla="*/ 112 h 272"/>
                <a:gd name="T90" fmla="*/ 272 w 310"/>
                <a:gd name="T91" fmla="*/ 123 h 272"/>
                <a:gd name="T92" fmla="*/ 275 w 310"/>
                <a:gd name="T93" fmla="*/ 153 h 272"/>
                <a:gd name="T94" fmla="*/ 280 w 310"/>
                <a:gd name="T95" fmla="*/ 153 h 272"/>
                <a:gd name="T96" fmla="*/ 283 w 310"/>
                <a:gd name="T97" fmla="*/ 123 h 272"/>
                <a:gd name="T98" fmla="*/ 275 w 310"/>
                <a:gd name="T99" fmla="*/ 117 h 272"/>
                <a:gd name="T100" fmla="*/ 0 w 310"/>
                <a:gd name="T101" fmla="*/ 128 h 272"/>
                <a:gd name="T102" fmla="*/ 3 w 310"/>
                <a:gd name="T103" fmla="*/ 147 h 272"/>
                <a:gd name="T104" fmla="*/ 11 w 310"/>
                <a:gd name="T105" fmla="*/ 147 h 272"/>
                <a:gd name="T106" fmla="*/ 11 w 310"/>
                <a:gd name="T107" fmla="*/ 128 h 272"/>
                <a:gd name="T108" fmla="*/ 6 w 310"/>
                <a:gd name="T109" fmla="*/ 123 h 272"/>
                <a:gd name="T110" fmla="*/ 299 w 310"/>
                <a:gd name="T111" fmla="*/ 128 h 272"/>
                <a:gd name="T112" fmla="*/ 299 w 310"/>
                <a:gd name="T113" fmla="*/ 145 h 272"/>
                <a:gd name="T114" fmla="*/ 308 w 310"/>
                <a:gd name="T115" fmla="*/ 147 h 272"/>
                <a:gd name="T116" fmla="*/ 310 w 310"/>
                <a:gd name="T117" fmla="*/ 131 h 272"/>
                <a:gd name="T118" fmla="*/ 305 w 310"/>
                <a:gd name="T119" fmla="*/ 12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0" h="272">
                  <a:moveTo>
                    <a:pt x="115" y="0"/>
                  </a:moveTo>
                  <a:lnTo>
                    <a:pt x="115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09" y="3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9"/>
                  </a:lnTo>
                  <a:lnTo>
                    <a:pt x="109" y="264"/>
                  </a:lnTo>
                  <a:lnTo>
                    <a:pt x="109" y="267"/>
                  </a:lnTo>
                  <a:lnTo>
                    <a:pt x="109" y="267"/>
                  </a:lnTo>
                  <a:lnTo>
                    <a:pt x="109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5" y="270"/>
                  </a:lnTo>
                  <a:lnTo>
                    <a:pt x="115" y="272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20" y="270"/>
                  </a:lnTo>
                  <a:lnTo>
                    <a:pt x="120" y="270"/>
                  </a:lnTo>
                  <a:lnTo>
                    <a:pt x="120" y="267"/>
                  </a:lnTo>
                  <a:lnTo>
                    <a:pt x="120" y="267"/>
                  </a:lnTo>
                  <a:lnTo>
                    <a:pt x="120" y="264"/>
                  </a:lnTo>
                  <a:lnTo>
                    <a:pt x="120" y="9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5" y="0"/>
                  </a:lnTo>
                  <a:close/>
                  <a:moveTo>
                    <a:pt x="169" y="44"/>
                  </a:moveTo>
                  <a:lnTo>
                    <a:pt x="166" y="44"/>
                  </a:lnTo>
                  <a:lnTo>
                    <a:pt x="166" y="44"/>
                  </a:lnTo>
                  <a:lnTo>
                    <a:pt x="164" y="44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9"/>
                  </a:lnTo>
                  <a:lnTo>
                    <a:pt x="166" y="229"/>
                  </a:lnTo>
                  <a:lnTo>
                    <a:pt x="166" y="229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72" y="229"/>
                  </a:lnTo>
                  <a:lnTo>
                    <a:pt x="172" y="229"/>
                  </a:lnTo>
                  <a:lnTo>
                    <a:pt x="172" y="229"/>
                  </a:lnTo>
                  <a:lnTo>
                    <a:pt x="174" y="226"/>
                  </a:lnTo>
                  <a:lnTo>
                    <a:pt x="174" y="226"/>
                  </a:lnTo>
                  <a:lnTo>
                    <a:pt x="174" y="223"/>
                  </a:lnTo>
                  <a:lnTo>
                    <a:pt x="174" y="223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69" y="44"/>
                  </a:lnTo>
                  <a:lnTo>
                    <a:pt x="169" y="44"/>
                  </a:lnTo>
                  <a:lnTo>
                    <a:pt x="169" y="44"/>
                  </a:lnTo>
                  <a:close/>
                  <a:moveTo>
                    <a:pt x="142" y="44"/>
                  </a:moveTo>
                  <a:lnTo>
                    <a:pt x="139" y="47"/>
                  </a:lnTo>
                  <a:lnTo>
                    <a:pt x="139" y="47"/>
                  </a:lnTo>
                  <a:lnTo>
                    <a:pt x="136" y="47"/>
                  </a:lnTo>
                  <a:lnTo>
                    <a:pt x="136" y="47"/>
                  </a:lnTo>
                  <a:lnTo>
                    <a:pt x="136" y="49"/>
                  </a:lnTo>
                  <a:lnTo>
                    <a:pt x="136" y="49"/>
                  </a:lnTo>
                  <a:lnTo>
                    <a:pt x="136" y="52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6" y="223"/>
                  </a:lnTo>
                  <a:lnTo>
                    <a:pt x="136" y="226"/>
                  </a:lnTo>
                  <a:lnTo>
                    <a:pt x="136" y="226"/>
                  </a:lnTo>
                  <a:lnTo>
                    <a:pt x="139" y="226"/>
                  </a:lnTo>
                  <a:lnTo>
                    <a:pt x="139" y="226"/>
                  </a:lnTo>
                  <a:lnTo>
                    <a:pt x="142" y="229"/>
                  </a:lnTo>
                  <a:lnTo>
                    <a:pt x="142" y="229"/>
                  </a:lnTo>
                  <a:lnTo>
                    <a:pt x="142" y="229"/>
                  </a:lnTo>
                  <a:lnTo>
                    <a:pt x="145" y="226"/>
                  </a:lnTo>
                  <a:lnTo>
                    <a:pt x="145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3"/>
                  </a:lnTo>
                  <a:lnTo>
                    <a:pt x="147" y="223"/>
                  </a:lnTo>
                  <a:lnTo>
                    <a:pt x="147" y="221"/>
                  </a:lnTo>
                  <a:lnTo>
                    <a:pt x="147" y="52"/>
                  </a:lnTo>
                  <a:lnTo>
                    <a:pt x="147" y="49"/>
                  </a:lnTo>
                  <a:lnTo>
                    <a:pt x="147" y="49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close/>
                  <a:moveTo>
                    <a:pt x="193" y="68"/>
                  </a:moveTo>
                  <a:lnTo>
                    <a:pt x="193" y="68"/>
                  </a:lnTo>
                  <a:lnTo>
                    <a:pt x="193" y="71"/>
                  </a:lnTo>
                  <a:lnTo>
                    <a:pt x="191" y="71"/>
                  </a:lnTo>
                  <a:lnTo>
                    <a:pt x="191" y="71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199"/>
                  </a:lnTo>
                  <a:lnTo>
                    <a:pt x="191" y="199"/>
                  </a:lnTo>
                  <a:lnTo>
                    <a:pt x="191" y="199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3" y="202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9" y="204"/>
                  </a:lnTo>
                  <a:lnTo>
                    <a:pt x="199" y="202"/>
                  </a:lnTo>
                  <a:lnTo>
                    <a:pt x="199" y="202"/>
                  </a:lnTo>
                  <a:lnTo>
                    <a:pt x="202" y="202"/>
                  </a:lnTo>
                  <a:lnTo>
                    <a:pt x="202" y="199"/>
                  </a:lnTo>
                  <a:lnTo>
                    <a:pt x="202" y="199"/>
                  </a:lnTo>
                  <a:lnTo>
                    <a:pt x="202" y="199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1"/>
                  </a:lnTo>
                  <a:lnTo>
                    <a:pt x="199" y="71"/>
                  </a:lnTo>
                  <a:lnTo>
                    <a:pt x="199" y="71"/>
                  </a:lnTo>
                  <a:lnTo>
                    <a:pt x="199" y="68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3" y="68"/>
                  </a:lnTo>
                  <a:close/>
                  <a:moveTo>
                    <a:pt x="87" y="68"/>
                  </a:moveTo>
                  <a:lnTo>
                    <a:pt x="85" y="68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2" y="71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2" y="199"/>
                  </a:lnTo>
                  <a:lnTo>
                    <a:pt x="82" y="199"/>
                  </a:lnTo>
                  <a:lnTo>
                    <a:pt x="82" y="199"/>
                  </a:lnTo>
                  <a:lnTo>
                    <a:pt x="82" y="202"/>
                  </a:lnTo>
                  <a:lnTo>
                    <a:pt x="85" y="202"/>
                  </a:lnTo>
                  <a:lnTo>
                    <a:pt x="85" y="202"/>
                  </a:lnTo>
                  <a:lnTo>
                    <a:pt x="85" y="204"/>
                  </a:lnTo>
                  <a:lnTo>
                    <a:pt x="87" y="204"/>
                  </a:lnTo>
                  <a:lnTo>
                    <a:pt x="87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2"/>
                  </a:lnTo>
                  <a:lnTo>
                    <a:pt x="93" y="202"/>
                  </a:lnTo>
                  <a:lnTo>
                    <a:pt x="93" y="202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0" y="71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87" y="68"/>
                  </a:lnTo>
                  <a:lnTo>
                    <a:pt x="87" y="68"/>
                  </a:lnTo>
                  <a:close/>
                  <a:moveTo>
                    <a:pt x="60" y="98"/>
                  </a:moveTo>
                  <a:lnTo>
                    <a:pt x="58" y="98"/>
                  </a:lnTo>
                  <a:lnTo>
                    <a:pt x="58" y="98"/>
                  </a:lnTo>
                  <a:lnTo>
                    <a:pt x="58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5" y="104"/>
                  </a:lnTo>
                  <a:lnTo>
                    <a:pt x="55" y="104"/>
                  </a:lnTo>
                  <a:lnTo>
                    <a:pt x="55" y="169"/>
                  </a:lnTo>
                  <a:lnTo>
                    <a:pt x="55" y="169"/>
                  </a:lnTo>
                  <a:lnTo>
                    <a:pt x="55" y="172"/>
                  </a:lnTo>
                  <a:lnTo>
                    <a:pt x="55" y="172"/>
                  </a:lnTo>
                  <a:lnTo>
                    <a:pt x="58" y="172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60" y="174"/>
                  </a:lnTo>
                  <a:lnTo>
                    <a:pt x="60" y="174"/>
                  </a:lnTo>
                  <a:lnTo>
                    <a:pt x="63" y="174"/>
                  </a:lnTo>
                  <a:lnTo>
                    <a:pt x="63" y="174"/>
                  </a:lnTo>
                  <a:lnTo>
                    <a:pt x="63" y="174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221" y="101"/>
                  </a:moveTo>
                  <a:lnTo>
                    <a:pt x="221" y="101"/>
                  </a:lnTo>
                  <a:lnTo>
                    <a:pt x="221" y="104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9"/>
                  </a:lnTo>
                  <a:lnTo>
                    <a:pt x="218" y="164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9"/>
                  </a:lnTo>
                  <a:lnTo>
                    <a:pt x="218" y="169"/>
                  </a:lnTo>
                  <a:lnTo>
                    <a:pt x="221" y="169"/>
                  </a:lnTo>
                  <a:lnTo>
                    <a:pt x="221" y="172"/>
                  </a:lnTo>
                  <a:lnTo>
                    <a:pt x="221" y="172"/>
                  </a:lnTo>
                  <a:lnTo>
                    <a:pt x="223" y="172"/>
                  </a:lnTo>
                  <a:lnTo>
                    <a:pt x="223" y="172"/>
                  </a:lnTo>
                  <a:lnTo>
                    <a:pt x="226" y="172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9" y="169"/>
                  </a:lnTo>
                  <a:lnTo>
                    <a:pt x="229" y="166"/>
                  </a:lnTo>
                  <a:lnTo>
                    <a:pt x="229" y="166"/>
                  </a:lnTo>
                  <a:lnTo>
                    <a:pt x="229" y="164"/>
                  </a:lnTo>
                  <a:lnTo>
                    <a:pt x="229" y="109"/>
                  </a:lnTo>
                  <a:lnTo>
                    <a:pt x="229" y="106"/>
                  </a:lnTo>
                  <a:lnTo>
                    <a:pt x="229" y="106"/>
                  </a:lnTo>
                  <a:lnTo>
                    <a:pt x="229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6" y="101"/>
                  </a:lnTo>
                  <a:lnTo>
                    <a:pt x="223" y="101"/>
                  </a:lnTo>
                  <a:lnTo>
                    <a:pt x="223" y="101"/>
                  </a:lnTo>
                  <a:lnTo>
                    <a:pt x="221" y="101"/>
                  </a:lnTo>
                  <a:close/>
                  <a:moveTo>
                    <a:pt x="248" y="109"/>
                  </a:moveTo>
                  <a:lnTo>
                    <a:pt x="248" y="109"/>
                  </a:lnTo>
                  <a:lnTo>
                    <a:pt x="248" y="112"/>
                  </a:lnTo>
                  <a:lnTo>
                    <a:pt x="245" y="112"/>
                  </a:lnTo>
                  <a:lnTo>
                    <a:pt x="245" y="112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5" y="161"/>
                  </a:lnTo>
                  <a:lnTo>
                    <a:pt x="245" y="161"/>
                  </a:lnTo>
                  <a:lnTo>
                    <a:pt x="248" y="161"/>
                  </a:lnTo>
                  <a:lnTo>
                    <a:pt x="248" y="164"/>
                  </a:lnTo>
                  <a:lnTo>
                    <a:pt x="248" y="164"/>
                  </a:lnTo>
                  <a:lnTo>
                    <a:pt x="251" y="164"/>
                  </a:lnTo>
                  <a:lnTo>
                    <a:pt x="251" y="164"/>
                  </a:lnTo>
                  <a:lnTo>
                    <a:pt x="253" y="164"/>
                  </a:lnTo>
                  <a:lnTo>
                    <a:pt x="253" y="161"/>
                  </a:lnTo>
                  <a:lnTo>
                    <a:pt x="253" y="161"/>
                  </a:lnTo>
                  <a:lnTo>
                    <a:pt x="256" y="161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6" y="112"/>
                  </a:lnTo>
                  <a:lnTo>
                    <a:pt x="253" y="112"/>
                  </a:lnTo>
                  <a:lnTo>
                    <a:pt x="253" y="112"/>
                  </a:lnTo>
                  <a:lnTo>
                    <a:pt x="253" y="109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48" y="109"/>
                  </a:lnTo>
                  <a:close/>
                  <a:moveTo>
                    <a:pt x="33" y="112"/>
                  </a:moveTo>
                  <a:lnTo>
                    <a:pt x="30" y="115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8" y="117"/>
                  </a:lnTo>
                  <a:lnTo>
                    <a:pt x="28" y="120"/>
                  </a:lnTo>
                  <a:lnTo>
                    <a:pt x="28" y="153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8" y="158"/>
                  </a:lnTo>
                  <a:lnTo>
                    <a:pt x="30" y="158"/>
                  </a:lnTo>
                  <a:lnTo>
                    <a:pt x="30" y="158"/>
                  </a:lnTo>
                  <a:lnTo>
                    <a:pt x="30" y="158"/>
                  </a:lnTo>
                  <a:lnTo>
                    <a:pt x="33" y="161"/>
                  </a:lnTo>
                  <a:lnTo>
                    <a:pt x="33" y="161"/>
                  </a:lnTo>
                  <a:lnTo>
                    <a:pt x="36" y="161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8" y="158"/>
                  </a:lnTo>
                  <a:lnTo>
                    <a:pt x="38" y="158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3"/>
                  </a:lnTo>
                  <a:lnTo>
                    <a:pt x="38" y="120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2"/>
                  </a:lnTo>
                  <a:lnTo>
                    <a:pt x="33" y="112"/>
                  </a:lnTo>
                  <a:lnTo>
                    <a:pt x="33" y="112"/>
                  </a:lnTo>
                  <a:close/>
                  <a:moveTo>
                    <a:pt x="275" y="117"/>
                  </a:moveTo>
                  <a:lnTo>
                    <a:pt x="275" y="120"/>
                  </a:lnTo>
                  <a:lnTo>
                    <a:pt x="275" y="120"/>
                  </a:lnTo>
                  <a:lnTo>
                    <a:pt x="272" y="120"/>
                  </a:lnTo>
                  <a:lnTo>
                    <a:pt x="272" y="120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6"/>
                  </a:lnTo>
                  <a:lnTo>
                    <a:pt x="272" y="147"/>
                  </a:lnTo>
                  <a:lnTo>
                    <a:pt x="272" y="150"/>
                  </a:lnTo>
                  <a:lnTo>
                    <a:pt x="272" y="150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5" y="153"/>
                  </a:lnTo>
                  <a:lnTo>
                    <a:pt x="275" y="153"/>
                  </a:lnTo>
                  <a:lnTo>
                    <a:pt x="275" y="155"/>
                  </a:lnTo>
                  <a:lnTo>
                    <a:pt x="278" y="155"/>
                  </a:lnTo>
                  <a:lnTo>
                    <a:pt x="278" y="155"/>
                  </a:lnTo>
                  <a:lnTo>
                    <a:pt x="280" y="153"/>
                  </a:lnTo>
                  <a:lnTo>
                    <a:pt x="280" y="153"/>
                  </a:lnTo>
                  <a:lnTo>
                    <a:pt x="280" y="153"/>
                  </a:lnTo>
                  <a:lnTo>
                    <a:pt x="283" y="153"/>
                  </a:lnTo>
                  <a:lnTo>
                    <a:pt x="283" y="150"/>
                  </a:lnTo>
                  <a:lnTo>
                    <a:pt x="283" y="150"/>
                  </a:lnTo>
                  <a:lnTo>
                    <a:pt x="283" y="147"/>
                  </a:lnTo>
                  <a:lnTo>
                    <a:pt x="283" y="126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0"/>
                  </a:lnTo>
                  <a:lnTo>
                    <a:pt x="280" y="120"/>
                  </a:lnTo>
                  <a:lnTo>
                    <a:pt x="280" y="120"/>
                  </a:lnTo>
                  <a:lnTo>
                    <a:pt x="280" y="120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5" y="117"/>
                  </a:lnTo>
                  <a:close/>
                  <a:moveTo>
                    <a:pt x="6" y="123"/>
                  </a:move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1"/>
                  </a:lnTo>
                  <a:lnTo>
                    <a:pt x="0" y="142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2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3"/>
                  </a:lnTo>
                  <a:lnTo>
                    <a:pt x="6" y="123"/>
                  </a:lnTo>
                  <a:lnTo>
                    <a:pt x="6" y="123"/>
                  </a:lnTo>
                  <a:close/>
                  <a:moveTo>
                    <a:pt x="305" y="126"/>
                  </a:moveTo>
                  <a:lnTo>
                    <a:pt x="302" y="126"/>
                  </a:lnTo>
                  <a:lnTo>
                    <a:pt x="302" y="126"/>
                  </a:lnTo>
                  <a:lnTo>
                    <a:pt x="299" y="126"/>
                  </a:lnTo>
                  <a:lnTo>
                    <a:pt x="299" y="128"/>
                  </a:lnTo>
                  <a:lnTo>
                    <a:pt x="299" y="128"/>
                  </a:lnTo>
                  <a:lnTo>
                    <a:pt x="299" y="128"/>
                  </a:lnTo>
                  <a:lnTo>
                    <a:pt x="299" y="131"/>
                  </a:lnTo>
                  <a:lnTo>
                    <a:pt x="299" y="131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299" y="145"/>
                  </a:lnTo>
                  <a:lnTo>
                    <a:pt x="299" y="145"/>
                  </a:lnTo>
                  <a:lnTo>
                    <a:pt x="299" y="145"/>
                  </a:lnTo>
                  <a:lnTo>
                    <a:pt x="299" y="147"/>
                  </a:lnTo>
                  <a:lnTo>
                    <a:pt x="302" y="147"/>
                  </a:lnTo>
                  <a:lnTo>
                    <a:pt x="302" y="147"/>
                  </a:lnTo>
                  <a:lnTo>
                    <a:pt x="305" y="147"/>
                  </a:lnTo>
                  <a:lnTo>
                    <a:pt x="305" y="147"/>
                  </a:lnTo>
                  <a:lnTo>
                    <a:pt x="308" y="147"/>
                  </a:lnTo>
                  <a:lnTo>
                    <a:pt x="308" y="147"/>
                  </a:lnTo>
                  <a:lnTo>
                    <a:pt x="308" y="145"/>
                  </a:lnTo>
                  <a:lnTo>
                    <a:pt x="310" y="145"/>
                  </a:lnTo>
                  <a:lnTo>
                    <a:pt x="310" y="145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10" y="128"/>
                  </a:lnTo>
                  <a:lnTo>
                    <a:pt x="310" y="128"/>
                  </a:lnTo>
                  <a:lnTo>
                    <a:pt x="308" y="128"/>
                  </a:lnTo>
                  <a:lnTo>
                    <a:pt x="308" y="126"/>
                  </a:lnTo>
                  <a:lnTo>
                    <a:pt x="308" y="126"/>
                  </a:lnTo>
                  <a:lnTo>
                    <a:pt x="305" y="126"/>
                  </a:lnTo>
                  <a:lnTo>
                    <a:pt x="30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1" name="Group 161">
            <a:extLst>
              <a:ext uri="{FF2B5EF4-FFF2-40B4-BE49-F238E27FC236}">
                <a16:creationId xmlns:a16="http://schemas.microsoft.com/office/drawing/2014/main" id="{6F148C03-CB2B-4C43-B7F1-1A4C91B0AB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843" y="2816226"/>
            <a:ext cx="758825" cy="758825"/>
            <a:chOff x="2605" y="2033"/>
            <a:chExt cx="478" cy="478"/>
          </a:xfrm>
        </p:grpSpPr>
        <p:sp>
          <p:nvSpPr>
            <p:cNvPr id="182" name="AutoShape 160">
              <a:extLst>
                <a:ext uri="{FF2B5EF4-FFF2-40B4-BE49-F238E27FC236}">
                  <a16:creationId xmlns:a16="http://schemas.microsoft.com/office/drawing/2014/main" id="{C79FDEC3-FDAE-49CF-A6E0-0BE64F629A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05" y="203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62">
              <a:extLst>
                <a:ext uri="{FF2B5EF4-FFF2-40B4-BE49-F238E27FC236}">
                  <a16:creationId xmlns:a16="http://schemas.microsoft.com/office/drawing/2014/main" id="{39F45532-2B5E-4A89-A771-BA72AF3A48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7" y="2035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63">
              <a:extLst>
                <a:ext uri="{FF2B5EF4-FFF2-40B4-BE49-F238E27FC236}">
                  <a16:creationId xmlns:a16="http://schemas.microsoft.com/office/drawing/2014/main" id="{B076F395-0A95-4FE6-8FDA-E6D64247BA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6" y="2143"/>
              <a:ext cx="299" cy="260"/>
            </a:xfrm>
            <a:custGeom>
              <a:avLst/>
              <a:gdLst>
                <a:gd name="T0" fmla="*/ 105 w 299"/>
                <a:gd name="T1" fmla="*/ 3 h 260"/>
                <a:gd name="T2" fmla="*/ 105 w 299"/>
                <a:gd name="T3" fmla="*/ 258 h 260"/>
                <a:gd name="T4" fmla="*/ 112 w 299"/>
                <a:gd name="T5" fmla="*/ 260 h 260"/>
                <a:gd name="T6" fmla="*/ 115 w 299"/>
                <a:gd name="T7" fmla="*/ 5 h 260"/>
                <a:gd name="T8" fmla="*/ 110 w 299"/>
                <a:gd name="T9" fmla="*/ 0 h 260"/>
                <a:gd name="T10" fmla="*/ 157 w 299"/>
                <a:gd name="T11" fmla="*/ 44 h 260"/>
                <a:gd name="T12" fmla="*/ 159 w 299"/>
                <a:gd name="T13" fmla="*/ 218 h 260"/>
                <a:gd name="T14" fmla="*/ 166 w 299"/>
                <a:gd name="T15" fmla="*/ 218 h 260"/>
                <a:gd name="T16" fmla="*/ 166 w 299"/>
                <a:gd name="T17" fmla="*/ 44 h 260"/>
                <a:gd name="T18" fmla="*/ 161 w 299"/>
                <a:gd name="T19" fmla="*/ 40 h 260"/>
                <a:gd name="T20" fmla="*/ 130 w 299"/>
                <a:gd name="T21" fmla="*/ 47 h 260"/>
                <a:gd name="T22" fmla="*/ 132 w 299"/>
                <a:gd name="T23" fmla="*/ 218 h 260"/>
                <a:gd name="T24" fmla="*/ 139 w 299"/>
                <a:gd name="T25" fmla="*/ 216 h 260"/>
                <a:gd name="T26" fmla="*/ 142 w 299"/>
                <a:gd name="T27" fmla="*/ 44 h 260"/>
                <a:gd name="T28" fmla="*/ 135 w 299"/>
                <a:gd name="T29" fmla="*/ 42 h 260"/>
                <a:gd name="T30" fmla="*/ 184 w 299"/>
                <a:gd name="T31" fmla="*/ 69 h 260"/>
                <a:gd name="T32" fmla="*/ 186 w 299"/>
                <a:gd name="T33" fmla="*/ 194 h 260"/>
                <a:gd name="T34" fmla="*/ 193 w 299"/>
                <a:gd name="T35" fmla="*/ 194 h 260"/>
                <a:gd name="T36" fmla="*/ 193 w 299"/>
                <a:gd name="T37" fmla="*/ 69 h 260"/>
                <a:gd name="T38" fmla="*/ 188 w 299"/>
                <a:gd name="T39" fmla="*/ 64 h 260"/>
                <a:gd name="T40" fmla="*/ 78 w 299"/>
                <a:gd name="T41" fmla="*/ 69 h 260"/>
                <a:gd name="T42" fmla="*/ 81 w 299"/>
                <a:gd name="T43" fmla="*/ 194 h 260"/>
                <a:gd name="T44" fmla="*/ 88 w 299"/>
                <a:gd name="T45" fmla="*/ 194 h 260"/>
                <a:gd name="T46" fmla="*/ 90 w 299"/>
                <a:gd name="T47" fmla="*/ 69 h 260"/>
                <a:gd name="T48" fmla="*/ 83 w 299"/>
                <a:gd name="T49" fmla="*/ 64 h 260"/>
                <a:gd name="T50" fmla="*/ 51 w 299"/>
                <a:gd name="T51" fmla="*/ 98 h 260"/>
                <a:gd name="T52" fmla="*/ 54 w 299"/>
                <a:gd name="T53" fmla="*/ 167 h 260"/>
                <a:gd name="T54" fmla="*/ 61 w 299"/>
                <a:gd name="T55" fmla="*/ 165 h 260"/>
                <a:gd name="T56" fmla="*/ 63 w 299"/>
                <a:gd name="T57" fmla="*/ 96 h 260"/>
                <a:gd name="T58" fmla="*/ 56 w 299"/>
                <a:gd name="T59" fmla="*/ 93 h 260"/>
                <a:gd name="T60" fmla="*/ 208 w 299"/>
                <a:gd name="T61" fmla="*/ 101 h 260"/>
                <a:gd name="T62" fmla="*/ 211 w 299"/>
                <a:gd name="T63" fmla="*/ 162 h 260"/>
                <a:gd name="T64" fmla="*/ 218 w 299"/>
                <a:gd name="T65" fmla="*/ 162 h 260"/>
                <a:gd name="T66" fmla="*/ 220 w 299"/>
                <a:gd name="T67" fmla="*/ 101 h 260"/>
                <a:gd name="T68" fmla="*/ 213 w 299"/>
                <a:gd name="T69" fmla="*/ 96 h 260"/>
                <a:gd name="T70" fmla="*/ 235 w 299"/>
                <a:gd name="T71" fmla="*/ 108 h 260"/>
                <a:gd name="T72" fmla="*/ 237 w 299"/>
                <a:gd name="T73" fmla="*/ 155 h 260"/>
                <a:gd name="T74" fmla="*/ 245 w 299"/>
                <a:gd name="T75" fmla="*/ 155 h 260"/>
                <a:gd name="T76" fmla="*/ 245 w 299"/>
                <a:gd name="T77" fmla="*/ 108 h 260"/>
                <a:gd name="T78" fmla="*/ 240 w 299"/>
                <a:gd name="T79" fmla="*/ 106 h 260"/>
                <a:gd name="T80" fmla="*/ 27 w 299"/>
                <a:gd name="T81" fmla="*/ 113 h 260"/>
                <a:gd name="T82" fmla="*/ 29 w 299"/>
                <a:gd name="T83" fmla="*/ 152 h 260"/>
                <a:gd name="T84" fmla="*/ 36 w 299"/>
                <a:gd name="T85" fmla="*/ 152 h 260"/>
                <a:gd name="T86" fmla="*/ 36 w 299"/>
                <a:gd name="T87" fmla="*/ 111 h 260"/>
                <a:gd name="T88" fmla="*/ 32 w 299"/>
                <a:gd name="T89" fmla="*/ 108 h 260"/>
                <a:gd name="T90" fmla="*/ 262 w 299"/>
                <a:gd name="T91" fmla="*/ 118 h 260"/>
                <a:gd name="T92" fmla="*/ 264 w 299"/>
                <a:gd name="T93" fmla="*/ 147 h 260"/>
                <a:gd name="T94" fmla="*/ 272 w 299"/>
                <a:gd name="T95" fmla="*/ 145 h 260"/>
                <a:gd name="T96" fmla="*/ 272 w 299"/>
                <a:gd name="T97" fmla="*/ 116 h 260"/>
                <a:gd name="T98" fmla="*/ 264 w 299"/>
                <a:gd name="T99" fmla="*/ 113 h 260"/>
                <a:gd name="T100" fmla="*/ 0 w 299"/>
                <a:gd name="T101" fmla="*/ 123 h 260"/>
                <a:gd name="T102" fmla="*/ 2 w 299"/>
                <a:gd name="T103" fmla="*/ 142 h 260"/>
                <a:gd name="T104" fmla="*/ 9 w 299"/>
                <a:gd name="T105" fmla="*/ 140 h 260"/>
                <a:gd name="T106" fmla="*/ 12 w 299"/>
                <a:gd name="T107" fmla="*/ 123 h 260"/>
                <a:gd name="T108" fmla="*/ 5 w 299"/>
                <a:gd name="T109" fmla="*/ 118 h 260"/>
                <a:gd name="T110" fmla="*/ 287 w 299"/>
                <a:gd name="T111" fmla="*/ 123 h 260"/>
                <a:gd name="T112" fmla="*/ 289 w 299"/>
                <a:gd name="T113" fmla="*/ 140 h 260"/>
                <a:gd name="T114" fmla="*/ 296 w 299"/>
                <a:gd name="T115" fmla="*/ 140 h 260"/>
                <a:gd name="T116" fmla="*/ 299 w 299"/>
                <a:gd name="T117" fmla="*/ 125 h 260"/>
                <a:gd name="T118" fmla="*/ 294 w 299"/>
                <a:gd name="T119" fmla="*/ 12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" h="260">
                  <a:moveTo>
                    <a:pt x="110" y="0"/>
                  </a:moveTo>
                  <a:lnTo>
                    <a:pt x="110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255"/>
                  </a:lnTo>
                  <a:lnTo>
                    <a:pt x="105" y="255"/>
                  </a:lnTo>
                  <a:lnTo>
                    <a:pt x="105" y="258"/>
                  </a:lnTo>
                  <a:lnTo>
                    <a:pt x="105" y="258"/>
                  </a:lnTo>
                  <a:lnTo>
                    <a:pt x="105" y="258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5" y="258"/>
                  </a:lnTo>
                  <a:lnTo>
                    <a:pt x="115" y="258"/>
                  </a:lnTo>
                  <a:lnTo>
                    <a:pt x="115" y="258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close/>
                  <a:moveTo>
                    <a:pt x="161" y="40"/>
                  </a:move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7" y="44"/>
                  </a:lnTo>
                  <a:lnTo>
                    <a:pt x="157" y="47"/>
                  </a:lnTo>
                  <a:lnTo>
                    <a:pt x="157" y="214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8"/>
                  </a:lnTo>
                  <a:lnTo>
                    <a:pt x="159" y="218"/>
                  </a:lnTo>
                  <a:lnTo>
                    <a:pt x="159" y="218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6"/>
                  </a:lnTo>
                  <a:lnTo>
                    <a:pt x="169" y="216"/>
                  </a:lnTo>
                  <a:lnTo>
                    <a:pt x="169" y="214"/>
                  </a:lnTo>
                  <a:lnTo>
                    <a:pt x="169" y="47"/>
                  </a:lnTo>
                  <a:lnTo>
                    <a:pt x="169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4" y="42"/>
                  </a:lnTo>
                  <a:lnTo>
                    <a:pt x="164" y="40"/>
                  </a:lnTo>
                  <a:lnTo>
                    <a:pt x="161" y="40"/>
                  </a:lnTo>
                  <a:lnTo>
                    <a:pt x="161" y="40"/>
                  </a:lnTo>
                  <a:close/>
                  <a:moveTo>
                    <a:pt x="135" y="42"/>
                  </a:moveTo>
                  <a:lnTo>
                    <a:pt x="135" y="42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214"/>
                  </a:lnTo>
                  <a:lnTo>
                    <a:pt x="130" y="214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8"/>
                  </a:lnTo>
                  <a:lnTo>
                    <a:pt x="135" y="218"/>
                  </a:lnTo>
                  <a:lnTo>
                    <a:pt x="135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9" y="218"/>
                  </a:lnTo>
                  <a:lnTo>
                    <a:pt x="139" y="218"/>
                  </a:lnTo>
                  <a:lnTo>
                    <a:pt x="139" y="216"/>
                  </a:lnTo>
                  <a:lnTo>
                    <a:pt x="142" y="216"/>
                  </a:lnTo>
                  <a:lnTo>
                    <a:pt x="142" y="216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9" y="44"/>
                  </a:lnTo>
                  <a:lnTo>
                    <a:pt x="139" y="42"/>
                  </a:lnTo>
                  <a:lnTo>
                    <a:pt x="139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5" y="42"/>
                  </a:lnTo>
                  <a:close/>
                  <a:moveTo>
                    <a:pt x="188" y="64"/>
                  </a:moveTo>
                  <a:lnTo>
                    <a:pt x="186" y="66"/>
                  </a:lnTo>
                  <a:lnTo>
                    <a:pt x="186" y="66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4" y="69"/>
                  </a:lnTo>
                  <a:lnTo>
                    <a:pt x="184" y="69"/>
                  </a:lnTo>
                  <a:lnTo>
                    <a:pt x="184" y="71"/>
                  </a:lnTo>
                  <a:lnTo>
                    <a:pt x="184" y="189"/>
                  </a:lnTo>
                  <a:lnTo>
                    <a:pt x="184" y="192"/>
                  </a:lnTo>
                  <a:lnTo>
                    <a:pt x="184" y="192"/>
                  </a:lnTo>
                  <a:lnTo>
                    <a:pt x="184" y="194"/>
                  </a:lnTo>
                  <a:lnTo>
                    <a:pt x="184" y="194"/>
                  </a:lnTo>
                  <a:lnTo>
                    <a:pt x="186" y="194"/>
                  </a:lnTo>
                  <a:lnTo>
                    <a:pt x="186" y="194"/>
                  </a:lnTo>
                  <a:lnTo>
                    <a:pt x="188" y="196"/>
                  </a:lnTo>
                  <a:lnTo>
                    <a:pt x="188" y="196"/>
                  </a:lnTo>
                  <a:lnTo>
                    <a:pt x="188" y="196"/>
                  </a:lnTo>
                  <a:lnTo>
                    <a:pt x="191" y="194"/>
                  </a:lnTo>
                  <a:lnTo>
                    <a:pt x="191" y="194"/>
                  </a:lnTo>
                  <a:lnTo>
                    <a:pt x="193" y="194"/>
                  </a:lnTo>
                  <a:lnTo>
                    <a:pt x="193" y="194"/>
                  </a:lnTo>
                  <a:lnTo>
                    <a:pt x="193" y="192"/>
                  </a:lnTo>
                  <a:lnTo>
                    <a:pt x="193" y="192"/>
                  </a:lnTo>
                  <a:lnTo>
                    <a:pt x="193" y="189"/>
                  </a:lnTo>
                  <a:lnTo>
                    <a:pt x="193" y="71"/>
                  </a:lnTo>
                  <a:lnTo>
                    <a:pt x="193" y="69"/>
                  </a:lnTo>
                  <a:lnTo>
                    <a:pt x="193" y="69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88" y="64"/>
                  </a:lnTo>
                  <a:lnTo>
                    <a:pt x="188" y="64"/>
                  </a:lnTo>
                  <a:lnTo>
                    <a:pt x="188" y="64"/>
                  </a:lnTo>
                  <a:close/>
                  <a:moveTo>
                    <a:pt x="83" y="64"/>
                  </a:moveTo>
                  <a:lnTo>
                    <a:pt x="81" y="66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78" y="66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8" y="71"/>
                  </a:lnTo>
                  <a:lnTo>
                    <a:pt x="78" y="189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8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5" y="196"/>
                  </a:lnTo>
                  <a:lnTo>
                    <a:pt x="85" y="19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90" y="192"/>
                  </a:lnTo>
                  <a:lnTo>
                    <a:pt x="90" y="192"/>
                  </a:lnTo>
                  <a:lnTo>
                    <a:pt x="90" y="18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5" y="66"/>
                  </a:lnTo>
                  <a:lnTo>
                    <a:pt x="85" y="64"/>
                  </a:lnTo>
                  <a:lnTo>
                    <a:pt x="83" y="64"/>
                  </a:lnTo>
                  <a:lnTo>
                    <a:pt x="83" y="64"/>
                  </a:lnTo>
                  <a:close/>
                  <a:moveTo>
                    <a:pt x="56" y="93"/>
                  </a:moveTo>
                  <a:lnTo>
                    <a:pt x="56" y="93"/>
                  </a:lnTo>
                  <a:lnTo>
                    <a:pt x="54" y="93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1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61" y="165"/>
                  </a:lnTo>
                  <a:lnTo>
                    <a:pt x="63" y="165"/>
                  </a:lnTo>
                  <a:lnTo>
                    <a:pt x="63" y="165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6" y="93"/>
                  </a:lnTo>
                  <a:close/>
                  <a:moveTo>
                    <a:pt x="213" y="96"/>
                  </a:moveTo>
                  <a:lnTo>
                    <a:pt x="213" y="98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11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3"/>
                  </a:lnTo>
                  <a:lnTo>
                    <a:pt x="208" y="157"/>
                  </a:lnTo>
                  <a:lnTo>
                    <a:pt x="208" y="160"/>
                  </a:lnTo>
                  <a:lnTo>
                    <a:pt x="208" y="160"/>
                  </a:lnTo>
                  <a:lnTo>
                    <a:pt x="211" y="160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3" y="162"/>
                  </a:lnTo>
                  <a:lnTo>
                    <a:pt x="213" y="165"/>
                  </a:lnTo>
                  <a:lnTo>
                    <a:pt x="215" y="165"/>
                  </a:lnTo>
                  <a:lnTo>
                    <a:pt x="215" y="165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57"/>
                  </a:lnTo>
                  <a:lnTo>
                    <a:pt x="220" y="103"/>
                  </a:lnTo>
                  <a:lnTo>
                    <a:pt x="220" y="101"/>
                  </a:lnTo>
                  <a:lnTo>
                    <a:pt x="220" y="101"/>
                  </a:lnTo>
                  <a:lnTo>
                    <a:pt x="220" y="101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5" y="96"/>
                  </a:lnTo>
                  <a:lnTo>
                    <a:pt x="215" y="96"/>
                  </a:lnTo>
                  <a:lnTo>
                    <a:pt x="213" y="96"/>
                  </a:lnTo>
                  <a:close/>
                  <a:moveTo>
                    <a:pt x="240" y="106"/>
                  </a:moveTo>
                  <a:lnTo>
                    <a:pt x="237" y="106"/>
                  </a:lnTo>
                  <a:lnTo>
                    <a:pt x="237" y="106"/>
                  </a:lnTo>
                  <a:lnTo>
                    <a:pt x="237" y="106"/>
                  </a:lnTo>
                  <a:lnTo>
                    <a:pt x="235" y="108"/>
                  </a:lnTo>
                  <a:lnTo>
                    <a:pt x="235" y="108"/>
                  </a:lnTo>
                  <a:lnTo>
                    <a:pt x="235" y="108"/>
                  </a:lnTo>
                  <a:lnTo>
                    <a:pt x="235" y="111"/>
                  </a:lnTo>
                  <a:lnTo>
                    <a:pt x="235" y="150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7" y="155"/>
                  </a:lnTo>
                  <a:lnTo>
                    <a:pt x="237" y="155"/>
                  </a:lnTo>
                  <a:lnTo>
                    <a:pt x="237" y="155"/>
                  </a:lnTo>
                  <a:lnTo>
                    <a:pt x="240" y="155"/>
                  </a:lnTo>
                  <a:lnTo>
                    <a:pt x="240" y="157"/>
                  </a:lnTo>
                  <a:lnTo>
                    <a:pt x="242" y="155"/>
                  </a:lnTo>
                  <a:lnTo>
                    <a:pt x="242" y="155"/>
                  </a:lnTo>
                  <a:lnTo>
                    <a:pt x="245" y="155"/>
                  </a:lnTo>
                  <a:lnTo>
                    <a:pt x="245" y="155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7" y="152"/>
                  </a:lnTo>
                  <a:lnTo>
                    <a:pt x="247" y="150"/>
                  </a:lnTo>
                  <a:lnTo>
                    <a:pt x="247" y="111"/>
                  </a:lnTo>
                  <a:lnTo>
                    <a:pt x="247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6"/>
                  </a:lnTo>
                  <a:lnTo>
                    <a:pt x="245" y="106"/>
                  </a:lnTo>
                  <a:lnTo>
                    <a:pt x="242" y="106"/>
                  </a:lnTo>
                  <a:lnTo>
                    <a:pt x="242" y="106"/>
                  </a:lnTo>
                  <a:lnTo>
                    <a:pt x="240" y="106"/>
                  </a:lnTo>
                  <a:lnTo>
                    <a:pt x="240" y="106"/>
                  </a:lnTo>
                  <a:close/>
                  <a:moveTo>
                    <a:pt x="32" y="108"/>
                  </a:moveTo>
                  <a:lnTo>
                    <a:pt x="29" y="108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6" y="152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2" y="108"/>
                  </a:lnTo>
                  <a:close/>
                  <a:moveTo>
                    <a:pt x="264" y="113"/>
                  </a:moveTo>
                  <a:lnTo>
                    <a:pt x="264" y="113"/>
                  </a:lnTo>
                  <a:lnTo>
                    <a:pt x="264" y="113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62" y="118"/>
                  </a:lnTo>
                  <a:lnTo>
                    <a:pt x="262" y="118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18"/>
                  </a:lnTo>
                  <a:lnTo>
                    <a:pt x="272" y="118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69" y="113"/>
                  </a:lnTo>
                  <a:lnTo>
                    <a:pt x="269" y="113"/>
                  </a:lnTo>
                  <a:lnTo>
                    <a:pt x="267" y="113"/>
                  </a:lnTo>
                  <a:lnTo>
                    <a:pt x="267" y="113"/>
                  </a:lnTo>
                  <a:lnTo>
                    <a:pt x="264" y="113"/>
                  </a:lnTo>
                  <a:close/>
                  <a:moveTo>
                    <a:pt x="5" y="118"/>
                  </a:move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0" y="120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5"/>
                  </a:lnTo>
                  <a:lnTo>
                    <a:pt x="0" y="135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3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18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5" y="118"/>
                  </a:lnTo>
                  <a:lnTo>
                    <a:pt x="5" y="118"/>
                  </a:lnTo>
                  <a:close/>
                  <a:moveTo>
                    <a:pt x="294" y="120"/>
                  </a:moveTo>
                  <a:lnTo>
                    <a:pt x="291" y="120"/>
                  </a:lnTo>
                  <a:lnTo>
                    <a:pt x="291" y="120"/>
                  </a:lnTo>
                  <a:lnTo>
                    <a:pt x="289" y="120"/>
                  </a:lnTo>
                  <a:lnTo>
                    <a:pt x="289" y="120"/>
                  </a:lnTo>
                  <a:lnTo>
                    <a:pt x="289" y="123"/>
                  </a:lnTo>
                  <a:lnTo>
                    <a:pt x="287" y="123"/>
                  </a:lnTo>
                  <a:lnTo>
                    <a:pt x="287" y="125"/>
                  </a:lnTo>
                  <a:lnTo>
                    <a:pt x="287" y="12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8"/>
                  </a:lnTo>
                  <a:lnTo>
                    <a:pt x="289" y="138"/>
                  </a:lnTo>
                  <a:lnTo>
                    <a:pt x="289" y="140"/>
                  </a:lnTo>
                  <a:lnTo>
                    <a:pt x="289" y="140"/>
                  </a:lnTo>
                  <a:lnTo>
                    <a:pt x="291" y="140"/>
                  </a:lnTo>
                  <a:lnTo>
                    <a:pt x="291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9" y="138"/>
                  </a:lnTo>
                  <a:lnTo>
                    <a:pt x="299" y="138"/>
                  </a:lnTo>
                  <a:lnTo>
                    <a:pt x="299" y="135"/>
                  </a:lnTo>
                  <a:lnTo>
                    <a:pt x="299" y="135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4" y="120"/>
                  </a:lnTo>
                  <a:lnTo>
                    <a:pt x="294" y="1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4">
              <a:extLst>
                <a:ext uri="{FF2B5EF4-FFF2-40B4-BE49-F238E27FC236}">
                  <a16:creationId xmlns:a16="http://schemas.microsoft.com/office/drawing/2014/main" id="{D24738EF-C3A2-45EB-A177-B2F430C27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6" y="2143"/>
              <a:ext cx="299" cy="260"/>
            </a:xfrm>
            <a:custGeom>
              <a:avLst/>
              <a:gdLst>
                <a:gd name="T0" fmla="*/ 105 w 299"/>
                <a:gd name="T1" fmla="*/ 3 h 260"/>
                <a:gd name="T2" fmla="*/ 105 w 299"/>
                <a:gd name="T3" fmla="*/ 258 h 260"/>
                <a:gd name="T4" fmla="*/ 112 w 299"/>
                <a:gd name="T5" fmla="*/ 260 h 260"/>
                <a:gd name="T6" fmla="*/ 115 w 299"/>
                <a:gd name="T7" fmla="*/ 5 h 260"/>
                <a:gd name="T8" fmla="*/ 110 w 299"/>
                <a:gd name="T9" fmla="*/ 0 h 260"/>
                <a:gd name="T10" fmla="*/ 157 w 299"/>
                <a:gd name="T11" fmla="*/ 44 h 260"/>
                <a:gd name="T12" fmla="*/ 159 w 299"/>
                <a:gd name="T13" fmla="*/ 218 h 260"/>
                <a:gd name="T14" fmla="*/ 166 w 299"/>
                <a:gd name="T15" fmla="*/ 218 h 260"/>
                <a:gd name="T16" fmla="*/ 166 w 299"/>
                <a:gd name="T17" fmla="*/ 44 h 260"/>
                <a:gd name="T18" fmla="*/ 161 w 299"/>
                <a:gd name="T19" fmla="*/ 40 h 260"/>
                <a:gd name="T20" fmla="*/ 130 w 299"/>
                <a:gd name="T21" fmla="*/ 47 h 260"/>
                <a:gd name="T22" fmla="*/ 132 w 299"/>
                <a:gd name="T23" fmla="*/ 218 h 260"/>
                <a:gd name="T24" fmla="*/ 139 w 299"/>
                <a:gd name="T25" fmla="*/ 216 h 260"/>
                <a:gd name="T26" fmla="*/ 142 w 299"/>
                <a:gd name="T27" fmla="*/ 44 h 260"/>
                <a:gd name="T28" fmla="*/ 135 w 299"/>
                <a:gd name="T29" fmla="*/ 42 h 260"/>
                <a:gd name="T30" fmla="*/ 184 w 299"/>
                <a:gd name="T31" fmla="*/ 69 h 260"/>
                <a:gd name="T32" fmla="*/ 186 w 299"/>
                <a:gd name="T33" fmla="*/ 194 h 260"/>
                <a:gd name="T34" fmla="*/ 193 w 299"/>
                <a:gd name="T35" fmla="*/ 194 h 260"/>
                <a:gd name="T36" fmla="*/ 193 w 299"/>
                <a:gd name="T37" fmla="*/ 69 h 260"/>
                <a:gd name="T38" fmla="*/ 188 w 299"/>
                <a:gd name="T39" fmla="*/ 64 h 260"/>
                <a:gd name="T40" fmla="*/ 78 w 299"/>
                <a:gd name="T41" fmla="*/ 69 h 260"/>
                <a:gd name="T42" fmla="*/ 81 w 299"/>
                <a:gd name="T43" fmla="*/ 194 h 260"/>
                <a:gd name="T44" fmla="*/ 88 w 299"/>
                <a:gd name="T45" fmla="*/ 194 h 260"/>
                <a:gd name="T46" fmla="*/ 90 w 299"/>
                <a:gd name="T47" fmla="*/ 69 h 260"/>
                <a:gd name="T48" fmla="*/ 83 w 299"/>
                <a:gd name="T49" fmla="*/ 64 h 260"/>
                <a:gd name="T50" fmla="*/ 51 w 299"/>
                <a:gd name="T51" fmla="*/ 98 h 260"/>
                <a:gd name="T52" fmla="*/ 54 w 299"/>
                <a:gd name="T53" fmla="*/ 167 h 260"/>
                <a:gd name="T54" fmla="*/ 61 w 299"/>
                <a:gd name="T55" fmla="*/ 165 h 260"/>
                <a:gd name="T56" fmla="*/ 63 w 299"/>
                <a:gd name="T57" fmla="*/ 96 h 260"/>
                <a:gd name="T58" fmla="*/ 56 w 299"/>
                <a:gd name="T59" fmla="*/ 93 h 260"/>
                <a:gd name="T60" fmla="*/ 208 w 299"/>
                <a:gd name="T61" fmla="*/ 101 h 260"/>
                <a:gd name="T62" fmla="*/ 211 w 299"/>
                <a:gd name="T63" fmla="*/ 162 h 260"/>
                <a:gd name="T64" fmla="*/ 218 w 299"/>
                <a:gd name="T65" fmla="*/ 162 h 260"/>
                <a:gd name="T66" fmla="*/ 220 w 299"/>
                <a:gd name="T67" fmla="*/ 101 h 260"/>
                <a:gd name="T68" fmla="*/ 213 w 299"/>
                <a:gd name="T69" fmla="*/ 96 h 260"/>
                <a:gd name="T70" fmla="*/ 235 w 299"/>
                <a:gd name="T71" fmla="*/ 108 h 260"/>
                <a:gd name="T72" fmla="*/ 237 w 299"/>
                <a:gd name="T73" fmla="*/ 155 h 260"/>
                <a:gd name="T74" fmla="*/ 245 w 299"/>
                <a:gd name="T75" fmla="*/ 155 h 260"/>
                <a:gd name="T76" fmla="*/ 245 w 299"/>
                <a:gd name="T77" fmla="*/ 108 h 260"/>
                <a:gd name="T78" fmla="*/ 240 w 299"/>
                <a:gd name="T79" fmla="*/ 106 h 260"/>
                <a:gd name="T80" fmla="*/ 27 w 299"/>
                <a:gd name="T81" fmla="*/ 113 h 260"/>
                <a:gd name="T82" fmla="*/ 29 w 299"/>
                <a:gd name="T83" fmla="*/ 152 h 260"/>
                <a:gd name="T84" fmla="*/ 36 w 299"/>
                <a:gd name="T85" fmla="*/ 152 h 260"/>
                <a:gd name="T86" fmla="*/ 36 w 299"/>
                <a:gd name="T87" fmla="*/ 111 h 260"/>
                <a:gd name="T88" fmla="*/ 32 w 299"/>
                <a:gd name="T89" fmla="*/ 108 h 260"/>
                <a:gd name="T90" fmla="*/ 262 w 299"/>
                <a:gd name="T91" fmla="*/ 118 h 260"/>
                <a:gd name="T92" fmla="*/ 264 w 299"/>
                <a:gd name="T93" fmla="*/ 147 h 260"/>
                <a:gd name="T94" fmla="*/ 272 w 299"/>
                <a:gd name="T95" fmla="*/ 145 h 260"/>
                <a:gd name="T96" fmla="*/ 272 w 299"/>
                <a:gd name="T97" fmla="*/ 116 h 260"/>
                <a:gd name="T98" fmla="*/ 264 w 299"/>
                <a:gd name="T99" fmla="*/ 113 h 260"/>
                <a:gd name="T100" fmla="*/ 0 w 299"/>
                <a:gd name="T101" fmla="*/ 123 h 260"/>
                <a:gd name="T102" fmla="*/ 2 w 299"/>
                <a:gd name="T103" fmla="*/ 142 h 260"/>
                <a:gd name="T104" fmla="*/ 9 w 299"/>
                <a:gd name="T105" fmla="*/ 140 h 260"/>
                <a:gd name="T106" fmla="*/ 12 w 299"/>
                <a:gd name="T107" fmla="*/ 123 h 260"/>
                <a:gd name="T108" fmla="*/ 5 w 299"/>
                <a:gd name="T109" fmla="*/ 118 h 260"/>
                <a:gd name="T110" fmla="*/ 287 w 299"/>
                <a:gd name="T111" fmla="*/ 123 h 260"/>
                <a:gd name="T112" fmla="*/ 289 w 299"/>
                <a:gd name="T113" fmla="*/ 140 h 260"/>
                <a:gd name="T114" fmla="*/ 296 w 299"/>
                <a:gd name="T115" fmla="*/ 140 h 260"/>
                <a:gd name="T116" fmla="*/ 299 w 299"/>
                <a:gd name="T117" fmla="*/ 125 h 260"/>
                <a:gd name="T118" fmla="*/ 294 w 299"/>
                <a:gd name="T119" fmla="*/ 12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" h="260">
                  <a:moveTo>
                    <a:pt x="110" y="0"/>
                  </a:moveTo>
                  <a:lnTo>
                    <a:pt x="110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255"/>
                  </a:lnTo>
                  <a:lnTo>
                    <a:pt x="105" y="255"/>
                  </a:lnTo>
                  <a:lnTo>
                    <a:pt x="105" y="258"/>
                  </a:lnTo>
                  <a:lnTo>
                    <a:pt x="105" y="258"/>
                  </a:lnTo>
                  <a:lnTo>
                    <a:pt x="105" y="258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5" y="258"/>
                  </a:lnTo>
                  <a:lnTo>
                    <a:pt x="115" y="258"/>
                  </a:lnTo>
                  <a:lnTo>
                    <a:pt x="115" y="258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close/>
                  <a:moveTo>
                    <a:pt x="161" y="40"/>
                  </a:move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7" y="44"/>
                  </a:lnTo>
                  <a:lnTo>
                    <a:pt x="157" y="47"/>
                  </a:lnTo>
                  <a:lnTo>
                    <a:pt x="157" y="214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8"/>
                  </a:lnTo>
                  <a:lnTo>
                    <a:pt x="159" y="218"/>
                  </a:lnTo>
                  <a:lnTo>
                    <a:pt x="159" y="218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6"/>
                  </a:lnTo>
                  <a:lnTo>
                    <a:pt x="169" y="216"/>
                  </a:lnTo>
                  <a:lnTo>
                    <a:pt x="169" y="214"/>
                  </a:lnTo>
                  <a:lnTo>
                    <a:pt x="169" y="47"/>
                  </a:lnTo>
                  <a:lnTo>
                    <a:pt x="169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4" y="42"/>
                  </a:lnTo>
                  <a:lnTo>
                    <a:pt x="164" y="40"/>
                  </a:lnTo>
                  <a:lnTo>
                    <a:pt x="161" y="40"/>
                  </a:lnTo>
                  <a:lnTo>
                    <a:pt x="161" y="40"/>
                  </a:lnTo>
                  <a:close/>
                  <a:moveTo>
                    <a:pt x="135" y="42"/>
                  </a:moveTo>
                  <a:lnTo>
                    <a:pt x="135" y="42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214"/>
                  </a:lnTo>
                  <a:lnTo>
                    <a:pt x="130" y="214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8"/>
                  </a:lnTo>
                  <a:lnTo>
                    <a:pt x="135" y="218"/>
                  </a:lnTo>
                  <a:lnTo>
                    <a:pt x="135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9" y="218"/>
                  </a:lnTo>
                  <a:lnTo>
                    <a:pt x="139" y="218"/>
                  </a:lnTo>
                  <a:lnTo>
                    <a:pt x="139" y="216"/>
                  </a:lnTo>
                  <a:lnTo>
                    <a:pt x="142" y="216"/>
                  </a:lnTo>
                  <a:lnTo>
                    <a:pt x="142" y="216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39" y="44"/>
                  </a:lnTo>
                  <a:lnTo>
                    <a:pt x="139" y="42"/>
                  </a:lnTo>
                  <a:lnTo>
                    <a:pt x="139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5" y="42"/>
                  </a:lnTo>
                  <a:close/>
                  <a:moveTo>
                    <a:pt x="188" y="64"/>
                  </a:moveTo>
                  <a:lnTo>
                    <a:pt x="186" y="66"/>
                  </a:lnTo>
                  <a:lnTo>
                    <a:pt x="186" y="66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4" y="69"/>
                  </a:lnTo>
                  <a:lnTo>
                    <a:pt x="184" y="69"/>
                  </a:lnTo>
                  <a:lnTo>
                    <a:pt x="184" y="71"/>
                  </a:lnTo>
                  <a:lnTo>
                    <a:pt x="184" y="189"/>
                  </a:lnTo>
                  <a:lnTo>
                    <a:pt x="184" y="192"/>
                  </a:lnTo>
                  <a:lnTo>
                    <a:pt x="184" y="192"/>
                  </a:lnTo>
                  <a:lnTo>
                    <a:pt x="184" y="194"/>
                  </a:lnTo>
                  <a:lnTo>
                    <a:pt x="184" y="194"/>
                  </a:lnTo>
                  <a:lnTo>
                    <a:pt x="186" y="194"/>
                  </a:lnTo>
                  <a:lnTo>
                    <a:pt x="186" y="194"/>
                  </a:lnTo>
                  <a:lnTo>
                    <a:pt x="188" y="196"/>
                  </a:lnTo>
                  <a:lnTo>
                    <a:pt x="188" y="196"/>
                  </a:lnTo>
                  <a:lnTo>
                    <a:pt x="188" y="196"/>
                  </a:lnTo>
                  <a:lnTo>
                    <a:pt x="191" y="194"/>
                  </a:lnTo>
                  <a:lnTo>
                    <a:pt x="191" y="194"/>
                  </a:lnTo>
                  <a:lnTo>
                    <a:pt x="193" y="194"/>
                  </a:lnTo>
                  <a:lnTo>
                    <a:pt x="193" y="194"/>
                  </a:lnTo>
                  <a:lnTo>
                    <a:pt x="193" y="192"/>
                  </a:lnTo>
                  <a:lnTo>
                    <a:pt x="193" y="192"/>
                  </a:lnTo>
                  <a:lnTo>
                    <a:pt x="193" y="189"/>
                  </a:lnTo>
                  <a:lnTo>
                    <a:pt x="193" y="71"/>
                  </a:lnTo>
                  <a:lnTo>
                    <a:pt x="193" y="69"/>
                  </a:lnTo>
                  <a:lnTo>
                    <a:pt x="193" y="69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1" y="66"/>
                  </a:lnTo>
                  <a:lnTo>
                    <a:pt x="191" y="66"/>
                  </a:lnTo>
                  <a:lnTo>
                    <a:pt x="188" y="64"/>
                  </a:lnTo>
                  <a:lnTo>
                    <a:pt x="188" y="64"/>
                  </a:lnTo>
                  <a:lnTo>
                    <a:pt x="188" y="64"/>
                  </a:lnTo>
                  <a:close/>
                  <a:moveTo>
                    <a:pt x="83" y="64"/>
                  </a:moveTo>
                  <a:lnTo>
                    <a:pt x="81" y="66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78" y="66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8" y="71"/>
                  </a:lnTo>
                  <a:lnTo>
                    <a:pt x="78" y="189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8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5" y="196"/>
                  </a:lnTo>
                  <a:lnTo>
                    <a:pt x="85" y="19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90" y="192"/>
                  </a:lnTo>
                  <a:lnTo>
                    <a:pt x="90" y="192"/>
                  </a:lnTo>
                  <a:lnTo>
                    <a:pt x="90" y="18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5" y="66"/>
                  </a:lnTo>
                  <a:lnTo>
                    <a:pt x="85" y="64"/>
                  </a:lnTo>
                  <a:lnTo>
                    <a:pt x="83" y="64"/>
                  </a:lnTo>
                  <a:lnTo>
                    <a:pt x="83" y="64"/>
                  </a:lnTo>
                  <a:close/>
                  <a:moveTo>
                    <a:pt x="56" y="93"/>
                  </a:moveTo>
                  <a:lnTo>
                    <a:pt x="56" y="93"/>
                  </a:lnTo>
                  <a:lnTo>
                    <a:pt x="54" y="93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1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61" y="165"/>
                  </a:lnTo>
                  <a:lnTo>
                    <a:pt x="63" y="165"/>
                  </a:lnTo>
                  <a:lnTo>
                    <a:pt x="63" y="165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6" y="93"/>
                  </a:lnTo>
                  <a:close/>
                  <a:moveTo>
                    <a:pt x="213" y="96"/>
                  </a:moveTo>
                  <a:lnTo>
                    <a:pt x="213" y="98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11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3"/>
                  </a:lnTo>
                  <a:lnTo>
                    <a:pt x="208" y="157"/>
                  </a:lnTo>
                  <a:lnTo>
                    <a:pt x="208" y="160"/>
                  </a:lnTo>
                  <a:lnTo>
                    <a:pt x="208" y="160"/>
                  </a:lnTo>
                  <a:lnTo>
                    <a:pt x="211" y="160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3" y="162"/>
                  </a:lnTo>
                  <a:lnTo>
                    <a:pt x="213" y="165"/>
                  </a:lnTo>
                  <a:lnTo>
                    <a:pt x="215" y="165"/>
                  </a:lnTo>
                  <a:lnTo>
                    <a:pt x="215" y="165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57"/>
                  </a:lnTo>
                  <a:lnTo>
                    <a:pt x="220" y="103"/>
                  </a:lnTo>
                  <a:lnTo>
                    <a:pt x="220" y="101"/>
                  </a:lnTo>
                  <a:lnTo>
                    <a:pt x="220" y="101"/>
                  </a:lnTo>
                  <a:lnTo>
                    <a:pt x="220" y="101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5" y="96"/>
                  </a:lnTo>
                  <a:lnTo>
                    <a:pt x="215" y="96"/>
                  </a:lnTo>
                  <a:lnTo>
                    <a:pt x="213" y="96"/>
                  </a:lnTo>
                  <a:close/>
                  <a:moveTo>
                    <a:pt x="240" y="106"/>
                  </a:moveTo>
                  <a:lnTo>
                    <a:pt x="237" y="106"/>
                  </a:lnTo>
                  <a:lnTo>
                    <a:pt x="237" y="106"/>
                  </a:lnTo>
                  <a:lnTo>
                    <a:pt x="237" y="106"/>
                  </a:lnTo>
                  <a:lnTo>
                    <a:pt x="235" y="108"/>
                  </a:lnTo>
                  <a:lnTo>
                    <a:pt x="235" y="108"/>
                  </a:lnTo>
                  <a:lnTo>
                    <a:pt x="235" y="108"/>
                  </a:lnTo>
                  <a:lnTo>
                    <a:pt x="235" y="111"/>
                  </a:lnTo>
                  <a:lnTo>
                    <a:pt x="235" y="150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7" y="155"/>
                  </a:lnTo>
                  <a:lnTo>
                    <a:pt x="237" y="155"/>
                  </a:lnTo>
                  <a:lnTo>
                    <a:pt x="237" y="155"/>
                  </a:lnTo>
                  <a:lnTo>
                    <a:pt x="240" y="155"/>
                  </a:lnTo>
                  <a:lnTo>
                    <a:pt x="240" y="157"/>
                  </a:lnTo>
                  <a:lnTo>
                    <a:pt x="242" y="155"/>
                  </a:lnTo>
                  <a:lnTo>
                    <a:pt x="242" y="155"/>
                  </a:lnTo>
                  <a:lnTo>
                    <a:pt x="245" y="155"/>
                  </a:lnTo>
                  <a:lnTo>
                    <a:pt x="245" y="155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7" y="152"/>
                  </a:lnTo>
                  <a:lnTo>
                    <a:pt x="247" y="150"/>
                  </a:lnTo>
                  <a:lnTo>
                    <a:pt x="247" y="111"/>
                  </a:lnTo>
                  <a:lnTo>
                    <a:pt x="247" y="108"/>
                  </a:lnTo>
                  <a:lnTo>
                    <a:pt x="245" y="108"/>
                  </a:lnTo>
                  <a:lnTo>
                    <a:pt x="245" y="108"/>
                  </a:lnTo>
                  <a:lnTo>
                    <a:pt x="245" y="106"/>
                  </a:lnTo>
                  <a:lnTo>
                    <a:pt x="245" y="106"/>
                  </a:lnTo>
                  <a:lnTo>
                    <a:pt x="242" y="106"/>
                  </a:lnTo>
                  <a:lnTo>
                    <a:pt x="242" y="106"/>
                  </a:lnTo>
                  <a:lnTo>
                    <a:pt x="240" y="106"/>
                  </a:lnTo>
                  <a:lnTo>
                    <a:pt x="240" y="106"/>
                  </a:lnTo>
                  <a:close/>
                  <a:moveTo>
                    <a:pt x="32" y="108"/>
                  </a:moveTo>
                  <a:lnTo>
                    <a:pt x="29" y="108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6" y="152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2" y="108"/>
                  </a:lnTo>
                  <a:close/>
                  <a:moveTo>
                    <a:pt x="264" y="113"/>
                  </a:moveTo>
                  <a:lnTo>
                    <a:pt x="264" y="113"/>
                  </a:lnTo>
                  <a:lnTo>
                    <a:pt x="264" y="113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62" y="118"/>
                  </a:lnTo>
                  <a:lnTo>
                    <a:pt x="262" y="118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18"/>
                  </a:lnTo>
                  <a:lnTo>
                    <a:pt x="272" y="118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69" y="113"/>
                  </a:lnTo>
                  <a:lnTo>
                    <a:pt x="269" y="113"/>
                  </a:lnTo>
                  <a:lnTo>
                    <a:pt x="267" y="113"/>
                  </a:lnTo>
                  <a:lnTo>
                    <a:pt x="267" y="113"/>
                  </a:lnTo>
                  <a:lnTo>
                    <a:pt x="264" y="113"/>
                  </a:lnTo>
                  <a:close/>
                  <a:moveTo>
                    <a:pt x="5" y="118"/>
                  </a:move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0" y="120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5"/>
                  </a:lnTo>
                  <a:lnTo>
                    <a:pt x="0" y="135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3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18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5" y="118"/>
                  </a:lnTo>
                  <a:lnTo>
                    <a:pt x="5" y="118"/>
                  </a:lnTo>
                  <a:close/>
                  <a:moveTo>
                    <a:pt x="294" y="120"/>
                  </a:moveTo>
                  <a:lnTo>
                    <a:pt x="291" y="120"/>
                  </a:lnTo>
                  <a:lnTo>
                    <a:pt x="291" y="120"/>
                  </a:lnTo>
                  <a:lnTo>
                    <a:pt x="289" y="120"/>
                  </a:lnTo>
                  <a:lnTo>
                    <a:pt x="289" y="120"/>
                  </a:lnTo>
                  <a:lnTo>
                    <a:pt x="289" y="123"/>
                  </a:lnTo>
                  <a:lnTo>
                    <a:pt x="287" y="123"/>
                  </a:lnTo>
                  <a:lnTo>
                    <a:pt x="287" y="125"/>
                  </a:lnTo>
                  <a:lnTo>
                    <a:pt x="287" y="12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8"/>
                  </a:lnTo>
                  <a:lnTo>
                    <a:pt x="289" y="138"/>
                  </a:lnTo>
                  <a:lnTo>
                    <a:pt x="289" y="140"/>
                  </a:lnTo>
                  <a:lnTo>
                    <a:pt x="289" y="140"/>
                  </a:lnTo>
                  <a:lnTo>
                    <a:pt x="291" y="140"/>
                  </a:lnTo>
                  <a:lnTo>
                    <a:pt x="291" y="140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9" y="138"/>
                  </a:lnTo>
                  <a:lnTo>
                    <a:pt x="299" y="138"/>
                  </a:lnTo>
                  <a:lnTo>
                    <a:pt x="299" y="135"/>
                  </a:lnTo>
                  <a:lnTo>
                    <a:pt x="299" y="135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4" y="120"/>
                  </a:lnTo>
                  <a:lnTo>
                    <a:pt x="294" y="1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0" name="Group 167">
            <a:extLst>
              <a:ext uri="{FF2B5EF4-FFF2-40B4-BE49-F238E27FC236}">
                <a16:creationId xmlns:a16="http://schemas.microsoft.com/office/drawing/2014/main" id="{CD65810A-ED31-4DD2-8BA4-84ADED292C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965" y="2820989"/>
            <a:ext cx="758825" cy="758825"/>
            <a:chOff x="3522" y="1875"/>
            <a:chExt cx="478" cy="478"/>
          </a:xfrm>
        </p:grpSpPr>
        <p:sp>
          <p:nvSpPr>
            <p:cNvPr id="191" name="AutoShape 166">
              <a:extLst>
                <a:ext uri="{FF2B5EF4-FFF2-40B4-BE49-F238E27FC236}">
                  <a16:creationId xmlns:a16="http://schemas.microsoft.com/office/drawing/2014/main" id="{512B9B68-3EFD-46F8-8451-D082F84C1B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22" y="18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68">
              <a:extLst>
                <a:ext uri="{FF2B5EF4-FFF2-40B4-BE49-F238E27FC236}">
                  <a16:creationId xmlns:a16="http://schemas.microsoft.com/office/drawing/2014/main" id="{76EE3266-53CA-4D7F-BEC6-6AD3632CB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4" y="1877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69">
              <a:extLst>
                <a:ext uri="{FF2B5EF4-FFF2-40B4-BE49-F238E27FC236}">
                  <a16:creationId xmlns:a16="http://schemas.microsoft.com/office/drawing/2014/main" id="{CDB0216E-2B7A-41FE-B220-E0435C8B3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8" y="2017"/>
              <a:ext cx="328" cy="196"/>
            </a:xfrm>
            <a:custGeom>
              <a:avLst/>
              <a:gdLst>
                <a:gd name="T0" fmla="*/ 113 w 134"/>
                <a:gd name="T1" fmla="*/ 0 h 80"/>
                <a:gd name="T2" fmla="*/ 2 w 134"/>
                <a:gd name="T3" fmla="*/ 0 h 80"/>
                <a:gd name="T4" fmla="*/ 0 w 134"/>
                <a:gd name="T5" fmla="*/ 2 h 80"/>
                <a:gd name="T6" fmla="*/ 0 w 134"/>
                <a:gd name="T7" fmla="*/ 78 h 80"/>
                <a:gd name="T8" fmla="*/ 2 w 134"/>
                <a:gd name="T9" fmla="*/ 80 h 80"/>
                <a:gd name="T10" fmla="*/ 113 w 134"/>
                <a:gd name="T11" fmla="*/ 80 h 80"/>
                <a:gd name="T12" fmla="*/ 115 w 134"/>
                <a:gd name="T13" fmla="*/ 78 h 80"/>
                <a:gd name="T14" fmla="*/ 115 w 134"/>
                <a:gd name="T15" fmla="*/ 2 h 80"/>
                <a:gd name="T16" fmla="*/ 113 w 134"/>
                <a:gd name="T17" fmla="*/ 0 h 80"/>
                <a:gd name="T18" fmla="*/ 25 w 134"/>
                <a:gd name="T19" fmla="*/ 17 h 80"/>
                <a:gd name="T20" fmla="*/ 99 w 134"/>
                <a:gd name="T21" fmla="*/ 17 h 80"/>
                <a:gd name="T22" fmla="*/ 99 w 134"/>
                <a:gd name="T23" fmla="*/ 63 h 80"/>
                <a:gd name="T24" fmla="*/ 25 w 134"/>
                <a:gd name="T25" fmla="*/ 63 h 80"/>
                <a:gd name="T26" fmla="*/ 25 w 134"/>
                <a:gd name="T27" fmla="*/ 17 h 80"/>
                <a:gd name="T28" fmla="*/ 22 w 134"/>
                <a:gd name="T29" fmla="*/ 76 h 80"/>
                <a:gd name="T30" fmla="*/ 3 w 134"/>
                <a:gd name="T31" fmla="*/ 76 h 80"/>
                <a:gd name="T32" fmla="*/ 3 w 134"/>
                <a:gd name="T33" fmla="*/ 4 h 80"/>
                <a:gd name="T34" fmla="*/ 22 w 134"/>
                <a:gd name="T35" fmla="*/ 4 h 80"/>
                <a:gd name="T36" fmla="*/ 22 w 134"/>
                <a:gd name="T37" fmla="*/ 76 h 80"/>
                <a:gd name="T38" fmla="*/ 112 w 134"/>
                <a:gd name="T39" fmla="*/ 76 h 80"/>
                <a:gd name="T40" fmla="*/ 25 w 134"/>
                <a:gd name="T41" fmla="*/ 76 h 80"/>
                <a:gd name="T42" fmla="*/ 25 w 134"/>
                <a:gd name="T43" fmla="*/ 66 h 80"/>
                <a:gd name="T44" fmla="*/ 101 w 134"/>
                <a:gd name="T45" fmla="*/ 66 h 80"/>
                <a:gd name="T46" fmla="*/ 102 w 134"/>
                <a:gd name="T47" fmla="*/ 64 h 80"/>
                <a:gd name="T48" fmla="*/ 102 w 134"/>
                <a:gd name="T49" fmla="*/ 16 h 80"/>
                <a:gd name="T50" fmla="*/ 101 w 134"/>
                <a:gd name="T51" fmla="*/ 14 h 80"/>
                <a:gd name="T52" fmla="*/ 25 w 134"/>
                <a:gd name="T53" fmla="*/ 14 h 80"/>
                <a:gd name="T54" fmla="*/ 25 w 134"/>
                <a:gd name="T55" fmla="*/ 4 h 80"/>
                <a:gd name="T56" fmla="*/ 112 w 134"/>
                <a:gd name="T57" fmla="*/ 4 h 80"/>
                <a:gd name="T58" fmla="*/ 112 w 134"/>
                <a:gd name="T59" fmla="*/ 76 h 80"/>
                <a:gd name="T60" fmla="*/ 13 w 134"/>
                <a:gd name="T61" fmla="*/ 46 h 80"/>
                <a:gd name="T62" fmla="*/ 19 w 134"/>
                <a:gd name="T63" fmla="*/ 40 h 80"/>
                <a:gd name="T64" fmla="*/ 13 w 134"/>
                <a:gd name="T65" fmla="*/ 34 h 80"/>
                <a:gd name="T66" fmla="*/ 7 w 134"/>
                <a:gd name="T67" fmla="*/ 40 h 80"/>
                <a:gd name="T68" fmla="*/ 13 w 134"/>
                <a:gd name="T69" fmla="*/ 46 h 80"/>
                <a:gd name="T70" fmla="*/ 13 w 134"/>
                <a:gd name="T71" fmla="*/ 37 h 80"/>
                <a:gd name="T72" fmla="*/ 16 w 134"/>
                <a:gd name="T73" fmla="*/ 40 h 80"/>
                <a:gd name="T74" fmla="*/ 13 w 134"/>
                <a:gd name="T75" fmla="*/ 43 h 80"/>
                <a:gd name="T76" fmla="*/ 10 w 134"/>
                <a:gd name="T77" fmla="*/ 40 h 80"/>
                <a:gd name="T78" fmla="*/ 13 w 134"/>
                <a:gd name="T79" fmla="*/ 37 h 80"/>
                <a:gd name="T80" fmla="*/ 130 w 134"/>
                <a:gd name="T81" fmla="*/ 8 h 80"/>
                <a:gd name="T82" fmla="*/ 130 w 134"/>
                <a:gd name="T83" fmla="*/ 4 h 80"/>
                <a:gd name="T84" fmla="*/ 127 w 134"/>
                <a:gd name="T85" fmla="*/ 4 h 80"/>
                <a:gd name="T86" fmla="*/ 127 w 134"/>
                <a:gd name="T87" fmla="*/ 8 h 80"/>
                <a:gd name="T88" fmla="*/ 123 w 134"/>
                <a:gd name="T89" fmla="*/ 13 h 80"/>
                <a:gd name="T90" fmla="*/ 123 w 134"/>
                <a:gd name="T91" fmla="*/ 72 h 80"/>
                <a:gd name="T92" fmla="*/ 128 w 134"/>
                <a:gd name="T93" fmla="*/ 78 h 80"/>
                <a:gd name="T94" fmla="*/ 134 w 134"/>
                <a:gd name="T95" fmla="*/ 72 h 80"/>
                <a:gd name="T96" fmla="*/ 134 w 134"/>
                <a:gd name="T97" fmla="*/ 13 h 80"/>
                <a:gd name="T98" fmla="*/ 130 w 134"/>
                <a:gd name="T99" fmla="*/ 8 h 80"/>
                <a:gd name="T100" fmla="*/ 131 w 134"/>
                <a:gd name="T101" fmla="*/ 72 h 80"/>
                <a:gd name="T102" fmla="*/ 128 w 134"/>
                <a:gd name="T103" fmla="*/ 74 h 80"/>
                <a:gd name="T104" fmla="*/ 126 w 134"/>
                <a:gd name="T105" fmla="*/ 72 h 80"/>
                <a:gd name="T106" fmla="*/ 126 w 134"/>
                <a:gd name="T107" fmla="*/ 55 h 80"/>
                <a:gd name="T108" fmla="*/ 131 w 134"/>
                <a:gd name="T109" fmla="*/ 55 h 80"/>
                <a:gd name="T110" fmla="*/ 131 w 134"/>
                <a:gd name="T111" fmla="*/ 72 h 80"/>
                <a:gd name="T112" fmla="*/ 131 w 134"/>
                <a:gd name="T113" fmla="*/ 52 h 80"/>
                <a:gd name="T114" fmla="*/ 126 w 134"/>
                <a:gd name="T115" fmla="*/ 52 h 80"/>
                <a:gd name="T116" fmla="*/ 126 w 134"/>
                <a:gd name="T117" fmla="*/ 13 h 80"/>
                <a:gd name="T118" fmla="*/ 128 w 134"/>
                <a:gd name="T119" fmla="*/ 11 h 80"/>
                <a:gd name="T120" fmla="*/ 131 w 134"/>
                <a:gd name="T121" fmla="*/ 13 h 80"/>
                <a:gd name="T122" fmla="*/ 131 w 134"/>
                <a:gd name="T123" fmla="*/ 5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80">
                  <a:moveTo>
                    <a:pt x="1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1" y="80"/>
                    <a:pt x="2" y="80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4" y="80"/>
                    <a:pt x="115" y="79"/>
                    <a:pt x="115" y="78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5" y="1"/>
                    <a:pt x="114" y="0"/>
                    <a:pt x="113" y="0"/>
                  </a:cubicBezTo>
                  <a:moveTo>
                    <a:pt x="25" y="17"/>
                  </a:moveTo>
                  <a:cubicBezTo>
                    <a:pt x="99" y="17"/>
                    <a:pt x="99" y="17"/>
                    <a:pt x="99" y="17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25" y="63"/>
                    <a:pt x="25" y="63"/>
                    <a:pt x="25" y="63"/>
                  </a:cubicBezTo>
                  <a:lnTo>
                    <a:pt x="25" y="17"/>
                  </a:lnTo>
                  <a:close/>
                  <a:moveTo>
                    <a:pt x="22" y="76"/>
                  </a:moveTo>
                  <a:cubicBezTo>
                    <a:pt x="3" y="76"/>
                    <a:pt x="3" y="76"/>
                    <a:pt x="3" y="76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2" y="4"/>
                    <a:pt x="22" y="4"/>
                    <a:pt x="22" y="4"/>
                  </a:cubicBezTo>
                  <a:lnTo>
                    <a:pt x="22" y="76"/>
                  </a:lnTo>
                  <a:close/>
                  <a:moveTo>
                    <a:pt x="112" y="76"/>
                  </a:moveTo>
                  <a:cubicBezTo>
                    <a:pt x="25" y="76"/>
                    <a:pt x="25" y="76"/>
                    <a:pt x="25" y="7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2" y="65"/>
                    <a:pt x="102" y="64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2" y="15"/>
                    <a:pt x="101" y="14"/>
                    <a:pt x="101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12" y="4"/>
                    <a:pt x="112" y="4"/>
                    <a:pt x="112" y="4"/>
                  </a:cubicBezTo>
                  <a:lnTo>
                    <a:pt x="112" y="76"/>
                  </a:lnTo>
                  <a:close/>
                  <a:moveTo>
                    <a:pt x="13" y="46"/>
                  </a:moveTo>
                  <a:cubicBezTo>
                    <a:pt x="16" y="46"/>
                    <a:pt x="19" y="43"/>
                    <a:pt x="19" y="40"/>
                  </a:cubicBezTo>
                  <a:cubicBezTo>
                    <a:pt x="19" y="37"/>
                    <a:pt x="16" y="34"/>
                    <a:pt x="13" y="34"/>
                  </a:cubicBezTo>
                  <a:cubicBezTo>
                    <a:pt x="10" y="34"/>
                    <a:pt x="7" y="37"/>
                    <a:pt x="7" y="40"/>
                  </a:cubicBezTo>
                  <a:cubicBezTo>
                    <a:pt x="7" y="43"/>
                    <a:pt x="10" y="46"/>
                    <a:pt x="13" y="46"/>
                  </a:cubicBezTo>
                  <a:moveTo>
                    <a:pt x="13" y="37"/>
                  </a:moveTo>
                  <a:cubicBezTo>
                    <a:pt x="14" y="37"/>
                    <a:pt x="16" y="39"/>
                    <a:pt x="16" y="40"/>
                  </a:cubicBezTo>
                  <a:cubicBezTo>
                    <a:pt x="16" y="41"/>
                    <a:pt x="14" y="43"/>
                    <a:pt x="13" y="43"/>
                  </a:cubicBezTo>
                  <a:cubicBezTo>
                    <a:pt x="11" y="43"/>
                    <a:pt x="10" y="41"/>
                    <a:pt x="10" y="40"/>
                  </a:cubicBezTo>
                  <a:cubicBezTo>
                    <a:pt x="10" y="39"/>
                    <a:pt x="11" y="37"/>
                    <a:pt x="13" y="37"/>
                  </a:cubicBezTo>
                  <a:moveTo>
                    <a:pt x="130" y="8"/>
                  </a:moveTo>
                  <a:cubicBezTo>
                    <a:pt x="130" y="4"/>
                    <a:pt x="130" y="4"/>
                    <a:pt x="130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4" y="8"/>
                    <a:pt x="123" y="10"/>
                    <a:pt x="123" y="13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5"/>
                    <a:pt x="125" y="78"/>
                    <a:pt x="128" y="78"/>
                  </a:cubicBezTo>
                  <a:cubicBezTo>
                    <a:pt x="132" y="78"/>
                    <a:pt x="134" y="75"/>
                    <a:pt x="134" y="7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4" y="10"/>
                    <a:pt x="132" y="8"/>
                    <a:pt x="130" y="8"/>
                  </a:cubicBezTo>
                  <a:moveTo>
                    <a:pt x="131" y="72"/>
                  </a:moveTo>
                  <a:cubicBezTo>
                    <a:pt x="131" y="73"/>
                    <a:pt x="130" y="74"/>
                    <a:pt x="128" y="74"/>
                  </a:cubicBezTo>
                  <a:cubicBezTo>
                    <a:pt x="127" y="74"/>
                    <a:pt x="126" y="73"/>
                    <a:pt x="126" y="72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31" y="55"/>
                    <a:pt x="131" y="55"/>
                    <a:pt x="131" y="55"/>
                  </a:cubicBezTo>
                  <a:lnTo>
                    <a:pt x="131" y="72"/>
                  </a:lnTo>
                  <a:close/>
                  <a:moveTo>
                    <a:pt x="131" y="52"/>
                  </a:moveTo>
                  <a:cubicBezTo>
                    <a:pt x="126" y="52"/>
                    <a:pt x="126" y="52"/>
                    <a:pt x="126" y="52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2"/>
                    <a:pt x="127" y="11"/>
                    <a:pt x="128" y="11"/>
                  </a:cubicBezTo>
                  <a:cubicBezTo>
                    <a:pt x="130" y="11"/>
                    <a:pt x="131" y="12"/>
                    <a:pt x="131" y="13"/>
                  </a:cubicBezTo>
                  <a:lnTo>
                    <a:pt x="131" y="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72">
            <a:extLst>
              <a:ext uri="{FF2B5EF4-FFF2-40B4-BE49-F238E27FC236}">
                <a16:creationId xmlns:a16="http://schemas.microsoft.com/office/drawing/2014/main" id="{EE619467-C16A-4111-AD71-1FBE894303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14953" y="2779714"/>
            <a:ext cx="841375" cy="841375"/>
            <a:chOff x="2899" y="1853"/>
            <a:chExt cx="530" cy="530"/>
          </a:xfrm>
        </p:grpSpPr>
        <p:sp>
          <p:nvSpPr>
            <p:cNvPr id="195" name="AutoShape 171">
              <a:extLst>
                <a:ext uri="{FF2B5EF4-FFF2-40B4-BE49-F238E27FC236}">
                  <a16:creationId xmlns:a16="http://schemas.microsoft.com/office/drawing/2014/main" id="{476258C9-FC06-462F-A001-0007E0BC84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99" y="185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Oval 173">
              <a:extLst>
                <a:ext uri="{FF2B5EF4-FFF2-40B4-BE49-F238E27FC236}">
                  <a16:creationId xmlns:a16="http://schemas.microsoft.com/office/drawing/2014/main" id="{A4A71657-1A44-4098-AA4C-CE3D8034FE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2" y="1856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74">
              <a:extLst>
                <a:ext uri="{FF2B5EF4-FFF2-40B4-BE49-F238E27FC236}">
                  <a16:creationId xmlns:a16="http://schemas.microsoft.com/office/drawing/2014/main" id="{E45F3A48-CCB6-4799-AA61-3A47AF147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8" y="1872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75">
              <a:extLst>
                <a:ext uri="{FF2B5EF4-FFF2-40B4-BE49-F238E27FC236}">
                  <a16:creationId xmlns:a16="http://schemas.microsoft.com/office/drawing/2014/main" id="{7562D4D2-1C36-42F2-95AB-6E0533E8D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4" y="2019"/>
              <a:ext cx="343" cy="201"/>
            </a:xfrm>
            <a:custGeom>
              <a:avLst/>
              <a:gdLst>
                <a:gd name="T0" fmla="*/ 106 w 126"/>
                <a:gd name="T1" fmla="*/ 0 h 74"/>
                <a:gd name="T2" fmla="*/ 2 w 126"/>
                <a:gd name="T3" fmla="*/ 0 h 74"/>
                <a:gd name="T4" fmla="*/ 0 w 126"/>
                <a:gd name="T5" fmla="*/ 2 h 74"/>
                <a:gd name="T6" fmla="*/ 0 w 126"/>
                <a:gd name="T7" fmla="*/ 72 h 74"/>
                <a:gd name="T8" fmla="*/ 2 w 126"/>
                <a:gd name="T9" fmla="*/ 74 h 74"/>
                <a:gd name="T10" fmla="*/ 106 w 126"/>
                <a:gd name="T11" fmla="*/ 74 h 74"/>
                <a:gd name="T12" fmla="*/ 108 w 126"/>
                <a:gd name="T13" fmla="*/ 72 h 74"/>
                <a:gd name="T14" fmla="*/ 108 w 126"/>
                <a:gd name="T15" fmla="*/ 2 h 74"/>
                <a:gd name="T16" fmla="*/ 106 w 126"/>
                <a:gd name="T17" fmla="*/ 0 h 74"/>
                <a:gd name="T18" fmla="*/ 24 w 126"/>
                <a:gd name="T19" fmla="*/ 16 h 74"/>
                <a:gd name="T20" fmla="*/ 93 w 126"/>
                <a:gd name="T21" fmla="*/ 16 h 74"/>
                <a:gd name="T22" fmla="*/ 93 w 126"/>
                <a:gd name="T23" fmla="*/ 58 h 74"/>
                <a:gd name="T24" fmla="*/ 24 w 126"/>
                <a:gd name="T25" fmla="*/ 58 h 74"/>
                <a:gd name="T26" fmla="*/ 24 w 126"/>
                <a:gd name="T27" fmla="*/ 16 h 74"/>
                <a:gd name="T28" fmla="*/ 21 w 126"/>
                <a:gd name="T29" fmla="*/ 71 h 74"/>
                <a:gd name="T30" fmla="*/ 4 w 126"/>
                <a:gd name="T31" fmla="*/ 71 h 74"/>
                <a:gd name="T32" fmla="*/ 4 w 126"/>
                <a:gd name="T33" fmla="*/ 3 h 74"/>
                <a:gd name="T34" fmla="*/ 21 w 126"/>
                <a:gd name="T35" fmla="*/ 3 h 74"/>
                <a:gd name="T36" fmla="*/ 21 w 126"/>
                <a:gd name="T37" fmla="*/ 71 h 74"/>
                <a:gd name="T38" fmla="*/ 105 w 126"/>
                <a:gd name="T39" fmla="*/ 71 h 74"/>
                <a:gd name="T40" fmla="*/ 24 w 126"/>
                <a:gd name="T41" fmla="*/ 71 h 74"/>
                <a:gd name="T42" fmla="*/ 24 w 126"/>
                <a:gd name="T43" fmla="*/ 61 h 74"/>
                <a:gd name="T44" fmla="*/ 94 w 126"/>
                <a:gd name="T45" fmla="*/ 61 h 74"/>
                <a:gd name="T46" fmla="*/ 96 w 126"/>
                <a:gd name="T47" fmla="*/ 60 h 74"/>
                <a:gd name="T48" fmla="*/ 96 w 126"/>
                <a:gd name="T49" fmla="*/ 14 h 74"/>
                <a:gd name="T50" fmla="*/ 94 w 126"/>
                <a:gd name="T51" fmla="*/ 13 h 74"/>
                <a:gd name="T52" fmla="*/ 24 w 126"/>
                <a:gd name="T53" fmla="*/ 13 h 74"/>
                <a:gd name="T54" fmla="*/ 24 w 126"/>
                <a:gd name="T55" fmla="*/ 3 h 74"/>
                <a:gd name="T56" fmla="*/ 105 w 126"/>
                <a:gd name="T57" fmla="*/ 3 h 74"/>
                <a:gd name="T58" fmla="*/ 105 w 126"/>
                <a:gd name="T59" fmla="*/ 71 h 74"/>
                <a:gd name="T60" fmla="*/ 12 w 126"/>
                <a:gd name="T61" fmla="*/ 42 h 74"/>
                <a:gd name="T62" fmla="*/ 18 w 126"/>
                <a:gd name="T63" fmla="*/ 37 h 74"/>
                <a:gd name="T64" fmla="*/ 12 w 126"/>
                <a:gd name="T65" fmla="*/ 32 h 74"/>
                <a:gd name="T66" fmla="*/ 7 w 126"/>
                <a:gd name="T67" fmla="*/ 37 h 74"/>
                <a:gd name="T68" fmla="*/ 12 w 126"/>
                <a:gd name="T69" fmla="*/ 42 h 74"/>
                <a:gd name="T70" fmla="*/ 12 w 126"/>
                <a:gd name="T71" fmla="*/ 35 h 74"/>
                <a:gd name="T72" fmla="*/ 15 w 126"/>
                <a:gd name="T73" fmla="*/ 37 h 74"/>
                <a:gd name="T74" fmla="*/ 12 w 126"/>
                <a:gd name="T75" fmla="*/ 39 h 74"/>
                <a:gd name="T76" fmla="*/ 10 w 126"/>
                <a:gd name="T77" fmla="*/ 37 h 74"/>
                <a:gd name="T78" fmla="*/ 12 w 126"/>
                <a:gd name="T79" fmla="*/ 35 h 74"/>
                <a:gd name="T80" fmla="*/ 122 w 126"/>
                <a:gd name="T81" fmla="*/ 7 h 74"/>
                <a:gd name="T82" fmla="*/ 122 w 126"/>
                <a:gd name="T83" fmla="*/ 3 h 74"/>
                <a:gd name="T84" fmla="*/ 119 w 126"/>
                <a:gd name="T85" fmla="*/ 3 h 74"/>
                <a:gd name="T86" fmla="*/ 119 w 126"/>
                <a:gd name="T87" fmla="*/ 7 h 74"/>
                <a:gd name="T88" fmla="*/ 115 w 126"/>
                <a:gd name="T89" fmla="*/ 12 h 74"/>
                <a:gd name="T90" fmla="*/ 115 w 126"/>
                <a:gd name="T91" fmla="*/ 67 h 74"/>
                <a:gd name="T92" fmla="*/ 120 w 126"/>
                <a:gd name="T93" fmla="*/ 72 h 74"/>
                <a:gd name="T94" fmla="*/ 126 w 126"/>
                <a:gd name="T95" fmla="*/ 67 h 74"/>
                <a:gd name="T96" fmla="*/ 126 w 126"/>
                <a:gd name="T97" fmla="*/ 12 h 74"/>
                <a:gd name="T98" fmla="*/ 122 w 126"/>
                <a:gd name="T99" fmla="*/ 7 h 74"/>
                <a:gd name="T100" fmla="*/ 122 w 126"/>
                <a:gd name="T101" fmla="*/ 67 h 74"/>
                <a:gd name="T102" fmla="*/ 120 w 126"/>
                <a:gd name="T103" fmla="*/ 69 h 74"/>
                <a:gd name="T104" fmla="*/ 118 w 126"/>
                <a:gd name="T105" fmla="*/ 67 h 74"/>
                <a:gd name="T106" fmla="*/ 118 w 126"/>
                <a:gd name="T107" fmla="*/ 51 h 74"/>
                <a:gd name="T108" fmla="*/ 122 w 126"/>
                <a:gd name="T109" fmla="*/ 51 h 74"/>
                <a:gd name="T110" fmla="*/ 122 w 126"/>
                <a:gd name="T111" fmla="*/ 67 h 74"/>
                <a:gd name="T112" fmla="*/ 122 w 126"/>
                <a:gd name="T113" fmla="*/ 48 h 74"/>
                <a:gd name="T114" fmla="*/ 118 w 126"/>
                <a:gd name="T115" fmla="*/ 48 h 74"/>
                <a:gd name="T116" fmla="*/ 118 w 126"/>
                <a:gd name="T117" fmla="*/ 12 h 74"/>
                <a:gd name="T118" fmla="*/ 120 w 126"/>
                <a:gd name="T119" fmla="*/ 9 h 74"/>
                <a:gd name="T120" fmla="*/ 122 w 126"/>
                <a:gd name="T121" fmla="*/ 12 h 74"/>
                <a:gd name="T122" fmla="*/ 122 w 126"/>
                <a:gd name="T123" fmla="*/ 4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4"/>
                    <a:pt x="2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7" y="74"/>
                    <a:pt x="108" y="73"/>
                    <a:pt x="108" y="7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1"/>
                    <a:pt x="107" y="0"/>
                    <a:pt x="106" y="0"/>
                  </a:cubicBezTo>
                  <a:moveTo>
                    <a:pt x="24" y="16"/>
                  </a:moveTo>
                  <a:cubicBezTo>
                    <a:pt x="93" y="16"/>
                    <a:pt x="93" y="16"/>
                    <a:pt x="93" y="16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24" y="58"/>
                    <a:pt x="24" y="58"/>
                    <a:pt x="24" y="58"/>
                  </a:cubicBezTo>
                  <a:lnTo>
                    <a:pt x="24" y="16"/>
                  </a:lnTo>
                  <a:close/>
                  <a:moveTo>
                    <a:pt x="21" y="71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1" y="3"/>
                    <a:pt x="21" y="3"/>
                    <a:pt x="21" y="3"/>
                  </a:cubicBezTo>
                  <a:lnTo>
                    <a:pt x="21" y="71"/>
                  </a:lnTo>
                  <a:close/>
                  <a:moveTo>
                    <a:pt x="105" y="71"/>
                  </a:moveTo>
                  <a:cubicBezTo>
                    <a:pt x="24" y="71"/>
                    <a:pt x="24" y="71"/>
                    <a:pt x="24" y="7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95" y="61"/>
                    <a:pt x="96" y="60"/>
                    <a:pt x="96" y="6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4"/>
                    <a:pt x="95" y="13"/>
                    <a:pt x="9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05" y="3"/>
                    <a:pt x="105" y="3"/>
                    <a:pt x="105" y="3"/>
                  </a:cubicBezTo>
                  <a:lnTo>
                    <a:pt x="105" y="71"/>
                  </a:lnTo>
                  <a:close/>
                  <a:moveTo>
                    <a:pt x="12" y="42"/>
                  </a:moveTo>
                  <a:cubicBezTo>
                    <a:pt x="15" y="42"/>
                    <a:pt x="18" y="40"/>
                    <a:pt x="18" y="37"/>
                  </a:cubicBezTo>
                  <a:cubicBezTo>
                    <a:pt x="18" y="34"/>
                    <a:pt x="15" y="32"/>
                    <a:pt x="12" y="32"/>
                  </a:cubicBezTo>
                  <a:cubicBezTo>
                    <a:pt x="9" y="32"/>
                    <a:pt x="7" y="34"/>
                    <a:pt x="7" y="37"/>
                  </a:cubicBezTo>
                  <a:cubicBezTo>
                    <a:pt x="7" y="40"/>
                    <a:pt x="9" y="42"/>
                    <a:pt x="12" y="42"/>
                  </a:cubicBezTo>
                  <a:moveTo>
                    <a:pt x="12" y="35"/>
                  </a:moveTo>
                  <a:cubicBezTo>
                    <a:pt x="14" y="35"/>
                    <a:pt x="15" y="36"/>
                    <a:pt x="15" y="37"/>
                  </a:cubicBezTo>
                  <a:cubicBezTo>
                    <a:pt x="15" y="38"/>
                    <a:pt x="14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6"/>
                    <a:pt x="11" y="35"/>
                    <a:pt x="12" y="35"/>
                  </a:cubicBezTo>
                  <a:moveTo>
                    <a:pt x="122" y="7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7" y="7"/>
                    <a:pt x="115" y="9"/>
                    <a:pt x="115" y="12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5" y="70"/>
                    <a:pt x="117" y="72"/>
                    <a:pt x="120" y="72"/>
                  </a:cubicBezTo>
                  <a:cubicBezTo>
                    <a:pt x="123" y="72"/>
                    <a:pt x="126" y="70"/>
                    <a:pt x="126" y="67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6" y="9"/>
                    <a:pt x="124" y="7"/>
                    <a:pt x="122" y="7"/>
                  </a:cubicBezTo>
                  <a:moveTo>
                    <a:pt x="122" y="67"/>
                  </a:moveTo>
                  <a:cubicBezTo>
                    <a:pt x="122" y="68"/>
                    <a:pt x="122" y="69"/>
                    <a:pt x="120" y="69"/>
                  </a:cubicBezTo>
                  <a:cubicBezTo>
                    <a:pt x="119" y="69"/>
                    <a:pt x="118" y="68"/>
                    <a:pt x="118" y="67"/>
                  </a:cubicBezTo>
                  <a:cubicBezTo>
                    <a:pt x="118" y="51"/>
                    <a:pt x="118" y="51"/>
                    <a:pt x="118" y="51"/>
                  </a:cubicBezTo>
                  <a:cubicBezTo>
                    <a:pt x="122" y="51"/>
                    <a:pt x="122" y="51"/>
                    <a:pt x="122" y="51"/>
                  </a:cubicBezTo>
                  <a:lnTo>
                    <a:pt x="122" y="67"/>
                  </a:lnTo>
                  <a:close/>
                  <a:moveTo>
                    <a:pt x="122" y="48"/>
                  </a:moveTo>
                  <a:cubicBezTo>
                    <a:pt x="118" y="48"/>
                    <a:pt x="118" y="48"/>
                    <a:pt x="118" y="48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0"/>
                    <a:pt x="119" y="9"/>
                    <a:pt x="120" y="9"/>
                  </a:cubicBezTo>
                  <a:cubicBezTo>
                    <a:pt x="122" y="9"/>
                    <a:pt x="122" y="10"/>
                    <a:pt x="122" y="12"/>
                  </a:cubicBezTo>
                  <a:lnTo>
                    <a:pt x="122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3" name="Group 178">
            <a:extLst>
              <a:ext uri="{FF2B5EF4-FFF2-40B4-BE49-F238E27FC236}">
                <a16:creationId xmlns:a16="http://schemas.microsoft.com/office/drawing/2014/main" id="{7CECBF4E-6FA8-4EFE-9C6F-FA2B1511FF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05823" y="2816226"/>
            <a:ext cx="749300" cy="749300"/>
            <a:chOff x="4882" y="1827"/>
            <a:chExt cx="472" cy="472"/>
          </a:xfrm>
        </p:grpSpPr>
        <p:sp>
          <p:nvSpPr>
            <p:cNvPr id="204" name="AutoShape 177">
              <a:extLst>
                <a:ext uri="{FF2B5EF4-FFF2-40B4-BE49-F238E27FC236}">
                  <a16:creationId xmlns:a16="http://schemas.microsoft.com/office/drawing/2014/main" id="{AA2D81E9-1559-46E9-ABEE-0F563CC3C9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82" y="1827"/>
              <a:ext cx="472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9">
              <a:extLst>
                <a:ext uri="{FF2B5EF4-FFF2-40B4-BE49-F238E27FC236}">
                  <a16:creationId xmlns:a16="http://schemas.microsoft.com/office/drawing/2014/main" id="{9C33F096-3F9D-4E2B-9127-DDC7197DB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4" y="1829"/>
              <a:ext cx="470" cy="470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80">
              <a:extLst>
                <a:ext uri="{FF2B5EF4-FFF2-40B4-BE49-F238E27FC236}">
                  <a16:creationId xmlns:a16="http://schemas.microsoft.com/office/drawing/2014/main" id="{331E7006-24E1-4C82-B811-A82079871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3" y="1926"/>
              <a:ext cx="213" cy="276"/>
            </a:xfrm>
            <a:custGeom>
              <a:avLst/>
              <a:gdLst>
                <a:gd name="T0" fmla="*/ 2 w 213"/>
                <a:gd name="T1" fmla="*/ 10 h 276"/>
                <a:gd name="T2" fmla="*/ 2 w 213"/>
                <a:gd name="T3" fmla="*/ 264 h 276"/>
                <a:gd name="T4" fmla="*/ 17 w 213"/>
                <a:gd name="T5" fmla="*/ 276 h 276"/>
                <a:gd name="T6" fmla="*/ 196 w 213"/>
                <a:gd name="T7" fmla="*/ 276 h 276"/>
                <a:gd name="T8" fmla="*/ 210 w 213"/>
                <a:gd name="T9" fmla="*/ 264 h 276"/>
                <a:gd name="T10" fmla="*/ 210 w 213"/>
                <a:gd name="T11" fmla="*/ 8 h 276"/>
                <a:gd name="T12" fmla="*/ 21 w 213"/>
                <a:gd name="T13" fmla="*/ 269 h 276"/>
                <a:gd name="T14" fmla="*/ 7 w 213"/>
                <a:gd name="T15" fmla="*/ 259 h 276"/>
                <a:gd name="T16" fmla="*/ 12 w 213"/>
                <a:gd name="T17" fmla="*/ 8 h 276"/>
                <a:gd name="T18" fmla="*/ 201 w 213"/>
                <a:gd name="T19" fmla="*/ 8 h 276"/>
                <a:gd name="T20" fmla="*/ 205 w 213"/>
                <a:gd name="T21" fmla="*/ 259 h 276"/>
                <a:gd name="T22" fmla="*/ 191 w 213"/>
                <a:gd name="T23" fmla="*/ 269 h 276"/>
                <a:gd name="T24" fmla="*/ 29 w 213"/>
                <a:gd name="T25" fmla="*/ 29 h 276"/>
                <a:gd name="T26" fmla="*/ 26 w 213"/>
                <a:gd name="T27" fmla="*/ 221 h 276"/>
                <a:gd name="T28" fmla="*/ 176 w 213"/>
                <a:gd name="T29" fmla="*/ 225 h 276"/>
                <a:gd name="T30" fmla="*/ 189 w 213"/>
                <a:gd name="T31" fmla="*/ 216 h 276"/>
                <a:gd name="T32" fmla="*/ 181 w 213"/>
                <a:gd name="T33" fmla="*/ 27 h 276"/>
                <a:gd name="T34" fmla="*/ 31 w 213"/>
                <a:gd name="T35" fmla="*/ 216 h 276"/>
                <a:gd name="T36" fmla="*/ 36 w 213"/>
                <a:gd name="T37" fmla="*/ 32 h 276"/>
                <a:gd name="T38" fmla="*/ 176 w 213"/>
                <a:gd name="T39" fmla="*/ 32 h 276"/>
                <a:gd name="T40" fmla="*/ 181 w 213"/>
                <a:gd name="T41" fmla="*/ 216 h 276"/>
                <a:gd name="T42" fmla="*/ 92 w 213"/>
                <a:gd name="T43" fmla="*/ 58 h 276"/>
                <a:gd name="T44" fmla="*/ 82 w 213"/>
                <a:gd name="T45" fmla="*/ 70 h 276"/>
                <a:gd name="T46" fmla="*/ 80 w 213"/>
                <a:gd name="T47" fmla="*/ 87 h 276"/>
                <a:gd name="T48" fmla="*/ 84 w 213"/>
                <a:gd name="T49" fmla="*/ 97 h 276"/>
                <a:gd name="T50" fmla="*/ 87 w 213"/>
                <a:gd name="T51" fmla="*/ 109 h 276"/>
                <a:gd name="T52" fmla="*/ 77 w 213"/>
                <a:gd name="T53" fmla="*/ 121 h 276"/>
                <a:gd name="T54" fmla="*/ 133 w 213"/>
                <a:gd name="T55" fmla="*/ 141 h 276"/>
                <a:gd name="T56" fmla="*/ 135 w 213"/>
                <a:gd name="T57" fmla="*/ 116 h 276"/>
                <a:gd name="T58" fmla="*/ 123 w 213"/>
                <a:gd name="T59" fmla="*/ 109 h 276"/>
                <a:gd name="T60" fmla="*/ 128 w 213"/>
                <a:gd name="T61" fmla="*/ 97 h 276"/>
                <a:gd name="T62" fmla="*/ 133 w 213"/>
                <a:gd name="T63" fmla="*/ 87 h 276"/>
                <a:gd name="T64" fmla="*/ 128 w 213"/>
                <a:gd name="T65" fmla="*/ 70 h 276"/>
                <a:gd name="T66" fmla="*/ 118 w 213"/>
                <a:gd name="T67" fmla="*/ 61 h 276"/>
                <a:gd name="T68" fmla="*/ 104 w 213"/>
                <a:gd name="T69" fmla="*/ 56 h 276"/>
                <a:gd name="T70" fmla="*/ 87 w 213"/>
                <a:gd name="T71" fmla="*/ 85 h 276"/>
                <a:gd name="T72" fmla="*/ 92 w 213"/>
                <a:gd name="T73" fmla="*/ 80 h 276"/>
                <a:gd name="T74" fmla="*/ 94 w 213"/>
                <a:gd name="T75" fmla="*/ 66 h 276"/>
                <a:gd name="T76" fmla="*/ 106 w 213"/>
                <a:gd name="T77" fmla="*/ 66 h 276"/>
                <a:gd name="T78" fmla="*/ 116 w 213"/>
                <a:gd name="T79" fmla="*/ 68 h 276"/>
                <a:gd name="T80" fmla="*/ 121 w 213"/>
                <a:gd name="T81" fmla="*/ 80 h 276"/>
                <a:gd name="T82" fmla="*/ 126 w 213"/>
                <a:gd name="T83" fmla="*/ 85 h 276"/>
                <a:gd name="T84" fmla="*/ 121 w 213"/>
                <a:gd name="T85" fmla="*/ 90 h 276"/>
                <a:gd name="T86" fmla="*/ 116 w 213"/>
                <a:gd name="T87" fmla="*/ 99 h 276"/>
                <a:gd name="T88" fmla="*/ 109 w 213"/>
                <a:gd name="T89" fmla="*/ 104 h 276"/>
                <a:gd name="T90" fmla="*/ 121 w 213"/>
                <a:gd name="T91" fmla="*/ 116 h 276"/>
                <a:gd name="T92" fmla="*/ 128 w 213"/>
                <a:gd name="T93" fmla="*/ 121 h 276"/>
                <a:gd name="T94" fmla="*/ 84 w 213"/>
                <a:gd name="T95" fmla="*/ 119 h 276"/>
                <a:gd name="T96" fmla="*/ 104 w 213"/>
                <a:gd name="T97" fmla="*/ 112 h 276"/>
                <a:gd name="T98" fmla="*/ 101 w 213"/>
                <a:gd name="T99" fmla="*/ 102 h 276"/>
                <a:gd name="T100" fmla="*/ 94 w 213"/>
                <a:gd name="T101" fmla="*/ 95 h 276"/>
                <a:gd name="T102" fmla="*/ 87 w 213"/>
                <a:gd name="T103" fmla="*/ 90 h 276"/>
                <a:gd name="T104" fmla="*/ 58 w 213"/>
                <a:gd name="T105" fmla="*/ 165 h 276"/>
                <a:gd name="T106" fmla="*/ 155 w 213"/>
                <a:gd name="T107" fmla="*/ 162 h 276"/>
                <a:gd name="T108" fmla="*/ 60 w 213"/>
                <a:gd name="T109" fmla="*/ 177 h 276"/>
                <a:gd name="T110" fmla="*/ 63 w 213"/>
                <a:gd name="T111" fmla="*/ 184 h 276"/>
                <a:gd name="T112" fmla="*/ 155 w 213"/>
                <a:gd name="T113" fmla="*/ 177 h 276"/>
                <a:gd name="T114" fmla="*/ 94 w 213"/>
                <a:gd name="T115" fmla="*/ 240 h 276"/>
                <a:gd name="T116" fmla="*/ 116 w 213"/>
                <a:gd name="T117" fmla="*/ 259 h 276"/>
                <a:gd name="T118" fmla="*/ 116 w 213"/>
                <a:gd name="T119" fmla="*/ 23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3" h="276">
                  <a:moveTo>
                    <a:pt x="17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254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2" y="262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2" y="267"/>
                  </a:lnTo>
                  <a:lnTo>
                    <a:pt x="2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7" y="271"/>
                  </a:lnTo>
                  <a:lnTo>
                    <a:pt x="7" y="271"/>
                  </a:lnTo>
                  <a:lnTo>
                    <a:pt x="9" y="274"/>
                  </a:lnTo>
                  <a:lnTo>
                    <a:pt x="12" y="274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19" y="276"/>
                  </a:lnTo>
                  <a:lnTo>
                    <a:pt x="19" y="276"/>
                  </a:lnTo>
                  <a:lnTo>
                    <a:pt x="21" y="276"/>
                  </a:lnTo>
                  <a:lnTo>
                    <a:pt x="21" y="276"/>
                  </a:lnTo>
                  <a:lnTo>
                    <a:pt x="191" y="276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6" y="276"/>
                  </a:lnTo>
                  <a:lnTo>
                    <a:pt x="196" y="276"/>
                  </a:lnTo>
                  <a:lnTo>
                    <a:pt x="196" y="276"/>
                  </a:lnTo>
                  <a:lnTo>
                    <a:pt x="198" y="276"/>
                  </a:lnTo>
                  <a:lnTo>
                    <a:pt x="198" y="276"/>
                  </a:lnTo>
                  <a:lnTo>
                    <a:pt x="201" y="276"/>
                  </a:lnTo>
                  <a:lnTo>
                    <a:pt x="201" y="274"/>
                  </a:lnTo>
                  <a:lnTo>
                    <a:pt x="203" y="274"/>
                  </a:lnTo>
                  <a:lnTo>
                    <a:pt x="205" y="271"/>
                  </a:lnTo>
                  <a:lnTo>
                    <a:pt x="205" y="271"/>
                  </a:lnTo>
                  <a:lnTo>
                    <a:pt x="208" y="269"/>
                  </a:lnTo>
                  <a:lnTo>
                    <a:pt x="208" y="267"/>
                  </a:lnTo>
                  <a:lnTo>
                    <a:pt x="210" y="267"/>
                  </a:lnTo>
                  <a:lnTo>
                    <a:pt x="210" y="267"/>
                  </a:lnTo>
                  <a:lnTo>
                    <a:pt x="210" y="264"/>
                  </a:lnTo>
                  <a:lnTo>
                    <a:pt x="210" y="264"/>
                  </a:lnTo>
                  <a:lnTo>
                    <a:pt x="210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59"/>
                  </a:lnTo>
                  <a:lnTo>
                    <a:pt x="213" y="259"/>
                  </a:lnTo>
                  <a:lnTo>
                    <a:pt x="213" y="257"/>
                  </a:lnTo>
                  <a:lnTo>
                    <a:pt x="213" y="257"/>
                  </a:lnTo>
                  <a:lnTo>
                    <a:pt x="213" y="15"/>
                  </a:lnTo>
                  <a:lnTo>
                    <a:pt x="213" y="15"/>
                  </a:lnTo>
                  <a:lnTo>
                    <a:pt x="213" y="12"/>
                  </a:lnTo>
                  <a:lnTo>
                    <a:pt x="213" y="10"/>
                  </a:lnTo>
                  <a:lnTo>
                    <a:pt x="210" y="10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08" y="5"/>
                  </a:lnTo>
                  <a:lnTo>
                    <a:pt x="208" y="5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7" y="0"/>
                  </a:lnTo>
                  <a:close/>
                  <a:moveTo>
                    <a:pt x="21" y="269"/>
                  </a:moveTo>
                  <a:lnTo>
                    <a:pt x="19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4" y="269"/>
                  </a:lnTo>
                  <a:lnTo>
                    <a:pt x="14" y="267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2" y="264"/>
                  </a:lnTo>
                  <a:lnTo>
                    <a:pt x="9" y="264"/>
                  </a:lnTo>
                  <a:lnTo>
                    <a:pt x="9" y="262"/>
                  </a:lnTo>
                  <a:lnTo>
                    <a:pt x="9" y="262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7"/>
                  </a:lnTo>
                  <a:lnTo>
                    <a:pt x="7" y="25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96" y="8"/>
                  </a:lnTo>
                  <a:lnTo>
                    <a:pt x="196" y="8"/>
                  </a:lnTo>
                  <a:lnTo>
                    <a:pt x="198" y="8"/>
                  </a:lnTo>
                  <a:lnTo>
                    <a:pt x="198" y="8"/>
                  </a:lnTo>
                  <a:lnTo>
                    <a:pt x="201" y="8"/>
                  </a:lnTo>
                  <a:lnTo>
                    <a:pt x="201" y="8"/>
                  </a:lnTo>
                  <a:lnTo>
                    <a:pt x="201" y="8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3" y="10"/>
                  </a:lnTo>
                  <a:lnTo>
                    <a:pt x="203" y="10"/>
                  </a:lnTo>
                  <a:lnTo>
                    <a:pt x="203" y="12"/>
                  </a:lnTo>
                  <a:lnTo>
                    <a:pt x="205" y="12"/>
                  </a:lnTo>
                  <a:lnTo>
                    <a:pt x="205" y="12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5" y="254"/>
                  </a:lnTo>
                  <a:lnTo>
                    <a:pt x="205" y="257"/>
                  </a:lnTo>
                  <a:lnTo>
                    <a:pt x="205" y="259"/>
                  </a:lnTo>
                  <a:lnTo>
                    <a:pt x="205" y="259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203" y="264"/>
                  </a:lnTo>
                  <a:lnTo>
                    <a:pt x="201" y="264"/>
                  </a:lnTo>
                  <a:lnTo>
                    <a:pt x="201" y="267"/>
                  </a:lnTo>
                  <a:lnTo>
                    <a:pt x="201" y="267"/>
                  </a:lnTo>
                  <a:lnTo>
                    <a:pt x="198" y="267"/>
                  </a:lnTo>
                  <a:lnTo>
                    <a:pt x="198" y="269"/>
                  </a:lnTo>
                  <a:lnTo>
                    <a:pt x="196" y="269"/>
                  </a:lnTo>
                  <a:lnTo>
                    <a:pt x="196" y="269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91" y="269"/>
                  </a:lnTo>
                  <a:lnTo>
                    <a:pt x="21" y="269"/>
                  </a:lnTo>
                  <a:lnTo>
                    <a:pt x="21" y="269"/>
                  </a:lnTo>
                  <a:close/>
                  <a:moveTo>
                    <a:pt x="41" y="24"/>
                  </a:moveTo>
                  <a:lnTo>
                    <a:pt x="38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7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213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4" y="218"/>
                  </a:lnTo>
                  <a:lnTo>
                    <a:pt x="26" y="218"/>
                  </a:lnTo>
                  <a:lnTo>
                    <a:pt x="26" y="221"/>
                  </a:lnTo>
                  <a:lnTo>
                    <a:pt x="26" y="221"/>
                  </a:lnTo>
                  <a:lnTo>
                    <a:pt x="26" y="221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6" y="225"/>
                  </a:lnTo>
                  <a:lnTo>
                    <a:pt x="36" y="225"/>
                  </a:lnTo>
                  <a:lnTo>
                    <a:pt x="176" y="225"/>
                  </a:lnTo>
                  <a:lnTo>
                    <a:pt x="176" y="225"/>
                  </a:lnTo>
                  <a:lnTo>
                    <a:pt x="179" y="225"/>
                  </a:lnTo>
                  <a:lnTo>
                    <a:pt x="179" y="225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6" y="221"/>
                  </a:lnTo>
                  <a:lnTo>
                    <a:pt x="186" y="221"/>
                  </a:lnTo>
                  <a:lnTo>
                    <a:pt x="186" y="221"/>
                  </a:lnTo>
                  <a:lnTo>
                    <a:pt x="186" y="218"/>
                  </a:lnTo>
                  <a:lnTo>
                    <a:pt x="189" y="218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3"/>
                  </a:lnTo>
                  <a:lnTo>
                    <a:pt x="189" y="39"/>
                  </a:lnTo>
                  <a:lnTo>
                    <a:pt x="189" y="39"/>
                  </a:lnTo>
                  <a:lnTo>
                    <a:pt x="189" y="37"/>
                  </a:lnTo>
                  <a:lnTo>
                    <a:pt x="189" y="34"/>
                  </a:lnTo>
                  <a:lnTo>
                    <a:pt x="186" y="34"/>
                  </a:lnTo>
                  <a:lnTo>
                    <a:pt x="186" y="32"/>
                  </a:lnTo>
                  <a:lnTo>
                    <a:pt x="186" y="32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76" y="24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2" y="24"/>
                  </a:lnTo>
                  <a:lnTo>
                    <a:pt x="41" y="24"/>
                  </a:lnTo>
                  <a:close/>
                  <a:moveTo>
                    <a:pt x="36" y="218"/>
                  </a:moveTo>
                  <a:lnTo>
                    <a:pt x="34" y="218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4" y="216"/>
                  </a:lnTo>
                  <a:lnTo>
                    <a:pt x="31" y="216"/>
                  </a:lnTo>
                  <a:lnTo>
                    <a:pt x="31" y="216"/>
                  </a:lnTo>
                  <a:lnTo>
                    <a:pt x="31" y="213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4" y="37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9" y="37"/>
                  </a:lnTo>
                  <a:lnTo>
                    <a:pt x="181" y="37"/>
                  </a:lnTo>
                  <a:lnTo>
                    <a:pt x="181" y="39"/>
                  </a:lnTo>
                  <a:lnTo>
                    <a:pt x="181" y="39"/>
                  </a:lnTo>
                  <a:lnTo>
                    <a:pt x="181" y="39"/>
                  </a:lnTo>
                  <a:lnTo>
                    <a:pt x="181" y="213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79" y="216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36" y="218"/>
                  </a:lnTo>
                  <a:lnTo>
                    <a:pt x="36" y="218"/>
                  </a:lnTo>
                  <a:close/>
                  <a:moveTo>
                    <a:pt x="97" y="56"/>
                  </a:moveTo>
                  <a:lnTo>
                    <a:pt x="97" y="56"/>
                  </a:lnTo>
                  <a:lnTo>
                    <a:pt x="94" y="56"/>
                  </a:lnTo>
                  <a:lnTo>
                    <a:pt x="92" y="58"/>
                  </a:lnTo>
                  <a:lnTo>
                    <a:pt x="92" y="58"/>
                  </a:lnTo>
                  <a:lnTo>
                    <a:pt x="89" y="58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4" y="63"/>
                  </a:lnTo>
                  <a:lnTo>
                    <a:pt x="84" y="63"/>
                  </a:lnTo>
                  <a:lnTo>
                    <a:pt x="84" y="63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5"/>
                  </a:lnTo>
                  <a:lnTo>
                    <a:pt x="82" y="78"/>
                  </a:lnTo>
                  <a:lnTo>
                    <a:pt x="82" y="80"/>
                  </a:lnTo>
                  <a:lnTo>
                    <a:pt x="80" y="80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80" y="87"/>
                  </a:lnTo>
                  <a:lnTo>
                    <a:pt x="80" y="87"/>
                  </a:lnTo>
                  <a:lnTo>
                    <a:pt x="80" y="90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9" y="102"/>
                  </a:lnTo>
                  <a:lnTo>
                    <a:pt x="89" y="104"/>
                  </a:lnTo>
                  <a:lnTo>
                    <a:pt x="92" y="104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77" y="114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36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41"/>
                  </a:lnTo>
                  <a:lnTo>
                    <a:pt x="77" y="141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6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5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3" y="109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6" y="109"/>
                  </a:lnTo>
                  <a:lnTo>
                    <a:pt x="118" y="107"/>
                  </a:lnTo>
                  <a:lnTo>
                    <a:pt x="121" y="107"/>
                  </a:lnTo>
                  <a:lnTo>
                    <a:pt x="121" y="104"/>
                  </a:lnTo>
                  <a:lnTo>
                    <a:pt x="123" y="104"/>
                  </a:lnTo>
                  <a:lnTo>
                    <a:pt x="123" y="102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87"/>
                  </a:lnTo>
                  <a:lnTo>
                    <a:pt x="133" y="87"/>
                  </a:lnTo>
                  <a:lnTo>
                    <a:pt x="133" y="85"/>
                  </a:lnTo>
                  <a:lnTo>
                    <a:pt x="133" y="85"/>
                  </a:lnTo>
                  <a:lnTo>
                    <a:pt x="133" y="83"/>
                  </a:lnTo>
                  <a:lnTo>
                    <a:pt x="133" y="80"/>
                  </a:lnTo>
                  <a:lnTo>
                    <a:pt x="133" y="80"/>
                  </a:lnTo>
                  <a:lnTo>
                    <a:pt x="130" y="80"/>
                  </a:lnTo>
                  <a:lnTo>
                    <a:pt x="130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5"/>
                  </a:lnTo>
                  <a:lnTo>
                    <a:pt x="128" y="75"/>
                  </a:lnTo>
                  <a:lnTo>
                    <a:pt x="128" y="73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1" y="63"/>
                  </a:lnTo>
                  <a:lnTo>
                    <a:pt x="121" y="63"/>
                  </a:lnTo>
                  <a:lnTo>
                    <a:pt x="121" y="61"/>
                  </a:lnTo>
                  <a:lnTo>
                    <a:pt x="118" y="61"/>
                  </a:lnTo>
                  <a:lnTo>
                    <a:pt x="118" y="61"/>
                  </a:lnTo>
                  <a:lnTo>
                    <a:pt x="118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1" y="61"/>
                  </a:lnTo>
                  <a:lnTo>
                    <a:pt x="111" y="61"/>
                  </a:lnTo>
                  <a:lnTo>
                    <a:pt x="111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6" y="58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1" y="56"/>
                  </a:lnTo>
                  <a:lnTo>
                    <a:pt x="99" y="56"/>
                  </a:lnTo>
                  <a:lnTo>
                    <a:pt x="97" y="56"/>
                  </a:lnTo>
                  <a:close/>
                  <a:moveTo>
                    <a:pt x="87" y="90"/>
                  </a:move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89" y="80"/>
                  </a:lnTo>
                  <a:lnTo>
                    <a:pt x="89" y="78"/>
                  </a:lnTo>
                  <a:lnTo>
                    <a:pt x="89" y="75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0"/>
                  </a:lnTo>
                  <a:lnTo>
                    <a:pt x="89" y="70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4" y="66"/>
                  </a:lnTo>
                  <a:lnTo>
                    <a:pt x="94" y="66"/>
                  </a:lnTo>
                  <a:lnTo>
                    <a:pt x="94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4" y="63"/>
                  </a:lnTo>
                  <a:lnTo>
                    <a:pt x="104" y="66"/>
                  </a:lnTo>
                  <a:lnTo>
                    <a:pt x="104" y="66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70"/>
                  </a:lnTo>
                  <a:lnTo>
                    <a:pt x="121" y="70"/>
                  </a:lnTo>
                  <a:lnTo>
                    <a:pt x="121" y="73"/>
                  </a:lnTo>
                  <a:lnTo>
                    <a:pt x="121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1" y="80"/>
                  </a:lnTo>
                  <a:lnTo>
                    <a:pt x="121" y="80"/>
                  </a:lnTo>
                  <a:lnTo>
                    <a:pt x="121" y="80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7"/>
                  </a:lnTo>
                  <a:lnTo>
                    <a:pt x="126" y="87"/>
                  </a:lnTo>
                  <a:lnTo>
                    <a:pt x="126" y="87"/>
                  </a:lnTo>
                  <a:lnTo>
                    <a:pt x="126" y="87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6" y="99"/>
                  </a:lnTo>
                  <a:lnTo>
                    <a:pt x="116" y="99"/>
                  </a:lnTo>
                  <a:lnTo>
                    <a:pt x="116" y="99"/>
                  </a:lnTo>
                  <a:lnTo>
                    <a:pt x="116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4"/>
                  </a:lnTo>
                  <a:lnTo>
                    <a:pt x="109" y="104"/>
                  </a:lnTo>
                  <a:lnTo>
                    <a:pt x="109" y="104"/>
                  </a:lnTo>
                  <a:lnTo>
                    <a:pt x="109" y="107"/>
                  </a:lnTo>
                  <a:lnTo>
                    <a:pt x="109" y="107"/>
                  </a:lnTo>
                  <a:lnTo>
                    <a:pt x="109" y="109"/>
                  </a:lnTo>
                  <a:lnTo>
                    <a:pt x="109" y="112"/>
                  </a:lnTo>
                  <a:lnTo>
                    <a:pt x="109" y="112"/>
                  </a:lnTo>
                  <a:lnTo>
                    <a:pt x="109" y="112"/>
                  </a:lnTo>
                  <a:lnTo>
                    <a:pt x="109" y="112"/>
                  </a:lnTo>
                  <a:lnTo>
                    <a:pt x="109" y="112"/>
                  </a:lnTo>
                  <a:lnTo>
                    <a:pt x="111" y="114"/>
                  </a:lnTo>
                  <a:lnTo>
                    <a:pt x="111" y="114"/>
                  </a:lnTo>
                  <a:lnTo>
                    <a:pt x="111" y="114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3" y="116"/>
                  </a:lnTo>
                  <a:lnTo>
                    <a:pt x="123" y="116"/>
                  </a:lnTo>
                  <a:lnTo>
                    <a:pt x="126" y="116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33"/>
                  </a:lnTo>
                  <a:lnTo>
                    <a:pt x="84" y="133"/>
                  </a:lnTo>
                  <a:lnTo>
                    <a:pt x="84" y="121"/>
                  </a:lnTo>
                  <a:lnTo>
                    <a:pt x="84" y="121"/>
                  </a:lnTo>
                  <a:lnTo>
                    <a:pt x="84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4" y="119"/>
                  </a:lnTo>
                  <a:lnTo>
                    <a:pt x="84" y="119"/>
                  </a:lnTo>
                  <a:lnTo>
                    <a:pt x="84" y="119"/>
                  </a:lnTo>
                  <a:lnTo>
                    <a:pt x="84" y="119"/>
                  </a:lnTo>
                  <a:lnTo>
                    <a:pt x="87" y="119"/>
                  </a:lnTo>
                  <a:lnTo>
                    <a:pt x="87" y="119"/>
                  </a:lnTo>
                  <a:lnTo>
                    <a:pt x="87" y="116"/>
                  </a:lnTo>
                  <a:lnTo>
                    <a:pt x="89" y="116"/>
                  </a:lnTo>
                  <a:lnTo>
                    <a:pt x="89" y="116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1" y="104"/>
                  </a:lnTo>
                  <a:lnTo>
                    <a:pt x="101" y="104"/>
                  </a:lnTo>
                  <a:lnTo>
                    <a:pt x="101" y="104"/>
                  </a:lnTo>
                  <a:lnTo>
                    <a:pt x="101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7" y="102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close/>
                  <a:moveTo>
                    <a:pt x="150" y="158"/>
                  </a:moveTo>
                  <a:lnTo>
                    <a:pt x="63" y="158"/>
                  </a:lnTo>
                  <a:lnTo>
                    <a:pt x="60" y="158"/>
                  </a:lnTo>
                  <a:lnTo>
                    <a:pt x="60" y="160"/>
                  </a:lnTo>
                  <a:lnTo>
                    <a:pt x="60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58" y="162"/>
                  </a:lnTo>
                  <a:lnTo>
                    <a:pt x="58" y="162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60" y="165"/>
                  </a:lnTo>
                  <a:lnTo>
                    <a:pt x="60" y="165"/>
                  </a:lnTo>
                  <a:lnTo>
                    <a:pt x="60" y="165"/>
                  </a:lnTo>
                  <a:lnTo>
                    <a:pt x="63" y="165"/>
                  </a:lnTo>
                  <a:lnTo>
                    <a:pt x="150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5" y="165"/>
                  </a:lnTo>
                  <a:lnTo>
                    <a:pt x="155" y="165"/>
                  </a:lnTo>
                  <a:lnTo>
                    <a:pt x="155" y="165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58"/>
                  </a:lnTo>
                  <a:lnTo>
                    <a:pt x="150" y="158"/>
                  </a:lnTo>
                  <a:close/>
                  <a:moveTo>
                    <a:pt x="63" y="177"/>
                  </a:moveTo>
                  <a:lnTo>
                    <a:pt x="60" y="177"/>
                  </a:lnTo>
                  <a:lnTo>
                    <a:pt x="60" y="177"/>
                  </a:lnTo>
                  <a:lnTo>
                    <a:pt x="60" y="177"/>
                  </a:lnTo>
                  <a:lnTo>
                    <a:pt x="58" y="177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3" y="184"/>
                  </a:lnTo>
                  <a:lnTo>
                    <a:pt x="150" y="184"/>
                  </a:lnTo>
                  <a:lnTo>
                    <a:pt x="152" y="184"/>
                  </a:lnTo>
                  <a:lnTo>
                    <a:pt x="152" y="184"/>
                  </a:lnTo>
                  <a:lnTo>
                    <a:pt x="152" y="184"/>
                  </a:lnTo>
                  <a:lnTo>
                    <a:pt x="155" y="184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2" y="177"/>
                  </a:lnTo>
                  <a:lnTo>
                    <a:pt x="152" y="177"/>
                  </a:lnTo>
                  <a:lnTo>
                    <a:pt x="152" y="177"/>
                  </a:lnTo>
                  <a:lnTo>
                    <a:pt x="150" y="177"/>
                  </a:lnTo>
                  <a:lnTo>
                    <a:pt x="63" y="177"/>
                  </a:lnTo>
                  <a:close/>
                  <a:moveTo>
                    <a:pt x="99" y="237"/>
                  </a:moveTo>
                  <a:lnTo>
                    <a:pt x="97" y="237"/>
                  </a:lnTo>
                  <a:lnTo>
                    <a:pt x="97" y="237"/>
                  </a:lnTo>
                  <a:lnTo>
                    <a:pt x="97" y="237"/>
                  </a:lnTo>
                  <a:lnTo>
                    <a:pt x="97" y="237"/>
                  </a:lnTo>
                  <a:lnTo>
                    <a:pt x="94" y="237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9"/>
                  </a:lnTo>
                  <a:lnTo>
                    <a:pt x="97" y="259"/>
                  </a:lnTo>
                  <a:lnTo>
                    <a:pt x="97" y="259"/>
                  </a:lnTo>
                  <a:lnTo>
                    <a:pt x="97" y="259"/>
                  </a:lnTo>
                  <a:lnTo>
                    <a:pt x="97" y="259"/>
                  </a:lnTo>
                  <a:lnTo>
                    <a:pt x="99" y="259"/>
                  </a:lnTo>
                  <a:lnTo>
                    <a:pt x="113" y="259"/>
                  </a:lnTo>
                  <a:lnTo>
                    <a:pt x="116" y="259"/>
                  </a:lnTo>
                  <a:lnTo>
                    <a:pt x="116" y="259"/>
                  </a:lnTo>
                  <a:lnTo>
                    <a:pt x="116" y="259"/>
                  </a:lnTo>
                  <a:lnTo>
                    <a:pt x="116" y="259"/>
                  </a:lnTo>
                  <a:lnTo>
                    <a:pt x="118" y="259"/>
                  </a:lnTo>
                  <a:lnTo>
                    <a:pt x="118" y="257"/>
                  </a:lnTo>
                  <a:lnTo>
                    <a:pt x="118" y="257"/>
                  </a:lnTo>
                  <a:lnTo>
                    <a:pt x="118" y="257"/>
                  </a:lnTo>
                  <a:lnTo>
                    <a:pt x="118" y="240"/>
                  </a:lnTo>
                  <a:lnTo>
                    <a:pt x="118" y="240"/>
                  </a:lnTo>
                  <a:lnTo>
                    <a:pt x="118" y="240"/>
                  </a:lnTo>
                  <a:lnTo>
                    <a:pt x="118" y="237"/>
                  </a:lnTo>
                  <a:lnTo>
                    <a:pt x="116" y="237"/>
                  </a:lnTo>
                  <a:lnTo>
                    <a:pt x="116" y="237"/>
                  </a:lnTo>
                  <a:lnTo>
                    <a:pt x="116" y="237"/>
                  </a:lnTo>
                  <a:lnTo>
                    <a:pt x="116" y="237"/>
                  </a:lnTo>
                  <a:lnTo>
                    <a:pt x="113" y="237"/>
                  </a:lnTo>
                  <a:lnTo>
                    <a:pt x="99" y="237"/>
                  </a:lnTo>
                  <a:close/>
                  <a:moveTo>
                    <a:pt x="101" y="245"/>
                  </a:moveTo>
                  <a:lnTo>
                    <a:pt x="111" y="245"/>
                  </a:lnTo>
                  <a:lnTo>
                    <a:pt x="111" y="252"/>
                  </a:lnTo>
                  <a:lnTo>
                    <a:pt x="101" y="252"/>
                  </a:lnTo>
                  <a:lnTo>
                    <a:pt x="101" y="2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7" name="Group 183">
            <a:extLst>
              <a:ext uri="{FF2B5EF4-FFF2-40B4-BE49-F238E27FC236}">
                <a16:creationId xmlns:a16="http://schemas.microsoft.com/office/drawing/2014/main" id="{97614838-123C-4E89-883B-85F0041AA3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094" y="2770189"/>
            <a:ext cx="841375" cy="841375"/>
            <a:chOff x="4350" y="1886"/>
            <a:chExt cx="530" cy="530"/>
          </a:xfrm>
        </p:grpSpPr>
        <p:sp>
          <p:nvSpPr>
            <p:cNvPr id="208" name="AutoShape 182">
              <a:extLst>
                <a:ext uri="{FF2B5EF4-FFF2-40B4-BE49-F238E27FC236}">
                  <a16:creationId xmlns:a16="http://schemas.microsoft.com/office/drawing/2014/main" id="{5B06286C-E603-43AC-A004-1812D7BF0D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50" y="188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184">
              <a:extLst>
                <a:ext uri="{FF2B5EF4-FFF2-40B4-BE49-F238E27FC236}">
                  <a16:creationId xmlns:a16="http://schemas.microsoft.com/office/drawing/2014/main" id="{1CF71A8B-ED13-4483-9A61-EA588E29C8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" y="1889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85">
              <a:extLst>
                <a:ext uri="{FF2B5EF4-FFF2-40B4-BE49-F238E27FC236}">
                  <a16:creationId xmlns:a16="http://schemas.microsoft.com/office/drawing/2014/main" id="{6BC8046F-01AF-4282-BCCA-C4305D9C0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9" y="1905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86">
              <a:extLst>
                <a:ext uri="{FF2B5EF4-FFF2-40B4-BE49-F238E27FC236}">
                  <a16:creationId xmlns:a16="http://schemas.microsoft.com/office/drawing/2014/main" id="{03F9F359-E995-4B34-8D8B-F8742FC0EA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5" y="2006"/>
              <a:ext cx="223" cy="293"/>
            </a:xfrm>
            <a:custGeom>
              <a:avLst/>
              <a:gdLst>
                <a:gd name="T0" fmla="*/ 0 w 223"/>
                <a:gd name="T1" fmla="*/ 10 h 293"/>
                <a:gd name="T2" fmla="*/ 3 w 223"/>
                <a:gd name="T3" fmla="*/ 277 h 293"/>
                <a:gd name="T4" fmla="*/ 16 w 223"/>
                <a:gd name="T5" fmla="*/ 290 h 293"/>
                <a:gd name="T6" fmla="*/ 207 w 223"/>
                <a:gd name="T7" fmla="*/ 290 h 293"/>
                <a:gd name="T8" fmla="*/ 220 w 223"/>
                <a:gd name="T9" fmla="*/ 277 h 293"/>
                <a:gd name="T10" fmla="*/ 220 w 223"/>
                <a:gd name="T11" fmla="*/ 10 h 293"/>
                <a:gd name="T12" fmla="*/ 22 w 223"/>
                <a:gd name="T13" fmla="*/ 285 h 293"/>
                <a:gd name="T14" fmla="*/ 8 w 223"/>
                <a:gd name="T15" fmla="*/ 271 h 293"/>
                <a:gd name="T16" fmla="*/ 11 w 223"/>
                <a:gd name="T17" fmla="*/ 10 h 293"/>
                <a:gd name="T18" fmla="*/ 212 w 223"/>
                <a:gd name="T19" fmla="*/ 10 h 293"/>
                <a:gd name="T20" fmla="*/ 215 w 223"/>
                <a:gd name="T21" fmla="*/ 271 h 293"/>
                <a:gd name="T22" fmla="*/ 201 w 223"/>
                <a:gd name="T23" fmla="*/ 285 h 293"/>
                <a:gd name="T24" fmla="*/ 30 w 223"/>
                <a:gd name="T25" fmla="*/ 32 h 293"/>
                <a:gd name="T26" fmla="*/ 27 w 223"/>
                <a:gd name="T27" fmla="*/ 231 h 293"/>
                <a:gd name="T28" fmla="*/ 185 w 223"/>
                <a:gd name="T29" fmla="*/ 239 h 293"/>
                <a:gd name="T30" fmla="*/ 198 w 223"/>
                <a:gd name="T31" fmla="*/ 228 h 293"/>
                <a:gd name="T32" fmla="*/ 190 w 223"/>
                <a:gd name="T33" fmla="*/ 29 h 293"/>
                <a:gd name="T34" fmla="*/ 33 w 223"/>
                <a:gd name="T35" fmla="*/ 228 h 293"/>
                <a:gd name="T36" fmla="*/ 38 w 223"/>
                <a:gd name="T37" fmla="*/ 35 h 293"/>
                <a:gd name="T38" fmla="*/ 185 w 223"/>
                <a:gd name="T39" fmla="*/ 35 h 293"/>
                <a:gd name="T40" fmla="*/ 190 w 223"/>
                <a:gd name="T41" fmla="*/ 228 h 293"/>
                <a:gd name="T42" fmla="*/ 95 w 223"/>
                <a:gd name="T43" fmla="*/ 62 h 293"/>
                <a:gd name="T44" fmla="*/ 87 w 223"/>
                <a:gd name="T45" fmla="*/ 76 h 293"/>
                <a:gd name="T46" fmla="*/ 81 w 223"/>
                <a:gd name="T47" fmla="*/ 92 h 293"/>
                <a:gd name="T48" fmla="*/ 90 w 223"/>
                <a:gd name="T49" fmla="*/ 103 h 293"/>
                <a:gd name="T50" fmla="*/ 90 w 223"/>
                <a:gd name="T51" fmla="*/ 116 h 293"/>
                <a:gd name="T52" fmla="*/ 79 w 223"/>
                <a:gd name="T53" fmla="*/ 127 h 293"/>
                <a:gd name="T54" fmla="*/ 141 w 223"/>
                <a:gd name="T55" fmla="*/ 149 h 293"/>
                <a:gd name="T56" fmla="*/ 141 w 223"/>
                <a:gd name="T57" fmla="*/ 125 h 293"/>
                <a:gd name="T58" fmla="*/ 128 w 223"/>
                <a:gd name="T59" fmla="*/ 116 h 293"/>
                <a:gd name="T60" fmla="*/ 136 w 223"/>
                <a:gd name="T61" fmla="*/ 103 h 293"/>
                <a:gd name="T62" fmla="*/ 141 w 223"/>
                <a:gd name="T63" fmla="*/ 92 h 293"/>
                <a:gd name="T64" fmla="*/ 133 w 223"/>
                <a:gd name="T65" fmla="*/ 76 h 293"/>
                <a:gd name="T66" fmla="*/ 125 w 223"/>
                <a:gd name="T67" fmla="*/ 65 h 293"/>
                <a:gd name="T68" fmla="*/ 109 w 223"/>
                <a:gd name="T69" fmla="*/ 62 h 293"/>
                <a:gd name="T70" fmla="*/ 90 w 223"/>
                <a:gd name="T71" fmla="*/ 92 h 293"/>
                <a:gd name="T72" fmla="*/ 95 w 223"/>
                <a:gd name="T73" fmla="*/ 87 h 293"/>
                <a:gd name="T74" fmla="*/ 98 w 223"/>
                <a:gd name="T75" fmla="*/ 70 h 293"/>
                <a:gd name="T76" fmla="*/ 111 w 223"/>
                <a:gd name="T77" fmla="*/ 70 h 293"/>
                <a:gd name="T78" fmla="*/ 122 w 223"/>
                <a:gd name="T79" fmla="*/ 73 h 293"/>
                <a:gd name="T80" fmla="*/ 128 w 223"/>
                <a:gd name="T81" fmla="*/ 87 h 293"/>
                <a:gd name="T82" fmla="*/ 133 w 223"/>
                <a:gd name="T83" fmla="*/ 92 h 293"/>
                <a:gd name="T84" fmla="*/ 128 w 223"/>
                <a:gd name="T85" fmla="*/ 97 h 293"/>
                <a:gd name="T86" fmla="*/ 122 w 223"/>
                <a:gd name="T87" fmla="*/ 106 h 293"/>
                <a:gd name="T88" fmla="*/ 114 w 223"/>
                <a:gd name="T89" fmla="*/ 111 h 293"/>
                <a:gd name="T90" fmla="*/ 125 w 223"/>
                <a:gd name="T91" fmla="*/ 125 h 293"/>
                <a:gd name="T92" fmla="*/ 136 w 223"/>
                <a:gd name="T93" fmla="*/ 127 h 293"/>
                <a:gd name="T94" fmla="*/ 90 w 223"/>
                <a:gd name="T95" fmla="*/ 125 h 293"/>
                <a:gd name="T96" fmla="*/ 109 w 223"/>
                <a:gd name="T97" fmla="*/ 119 h 293"/>
                <a:gd name="T98" fmla="*/ 106 w 223"/>
                <a:gd name="T99" fmla="*/ 108 h 293"/>
                <a:gd name="T100" fmla="*/ 98 w 223"/>
                <a:gd name="T101" fmla="*/ 100 h 293"/>
                <a:gd name="T102" fmla="*/ 92 w 223"/>
                <a:gd name="T103" fmla="*/ 95 h 293"/>
                <a:gd name="T104" fmla="*/ 62 w 223"/>
                <a:gd name="T105" fmla="*/ 174 h 293"/>
                <a:gd name="T106" fmla="*/ 163 w 223"/>
                <a:gd name="T107" fmla="*/ 174 h 293"/>
                <a:gd name="T108" fmla="*/ 62 w 223"/>
                <a:gd name="T109" fmla="*/ 187 h 293"/>
                <a:gd name="T110" fmla="*/ 65 w 223"/>
                <a:gd name="T111" fmla="*/ 195 h 293"/>
                <a:gd name="T112" fmla="*/ 160 w 223"/>
                <a:gd name="T113" fmla="*/ 187 h 293"/>
                <a:gd name="T114" fmla="*/ 98 w 223"/>
                <a:gd name="T115" fmla="*/ 252 h 293"/>
                <a:gd name="T116" fmla="*/ 122 w 223"/>
                <a:gd name="T117" fmla="*/ 274 h 293"/>
                <a:gd name="T118" fmla="*/ 122 w 223"/>
                <a:gd name="T119" fmla="*/ 2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93">
                  <a:moveTo>
                    <a:pt x="16" y="0"/>
                  </a:moveTo>
                  <a:lnTo>
                    <a:pt x="16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69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3" y="277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5" y="285"/>
                  </a:lnTo>
                  <a:lnTo>
                    <a:pt x="5" y="285"/>
                  </a:lnTo>
                  <a:lnTo>
                    <a:pt x="8" y="288"/>
                  </a:lnTo>
                  <a:lnTo>
                    <a:pt x="11" y="288"/>
                  </a:lnTo>
                  <a:lnTo>
                    <a:pt x="11" y="290"/>
                  </a:lnTo>
                  <a:lnTo>
                    <a:pt x="14" y="290"/>
                  </a:lnTo>
                  <a:lnTo>
                    <a:pt x="14" y="290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9" y="293"/>
                  </a:lnTo>
                  <a:lnTo>
                    <a:pt x="19" y="293"/>
                  </a:lnTo>
                  <a:lnTo>
                    <a:pt x="22" y="293"/>
                  </a:lnTo>
                  <a:lnTo>
                    <a:pt x="22" y="293"/>
                  </a:lnTo>
                  <a:lnTo>
                    <a:pt x="24" y="293"/>
                  </a:lnTo>
                  <a:lnTo>
                    <a:pt x="198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7" y="290"/>
                  </a:lnTo>
                  <a:lnTo>
                    <a:pt x="207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12" y="290"/>
                  </a:lnTo>
                  <a:lnTo>
                    <a:pt x="212" y="288"/>
                  </a:lnTo>
                  <a:lnTo>
                    <a:pt x="215" y="288"/>
                  </a:lnTo>
                  <a:lnTo>
                    <a:pt x="217" y="285"/>
                  </a:lnTo>
                  <a:lnTo>
                    <a:pt x="217" y="285"/>
                  </a:lnTo>
                  <a:lnTo>
                    <a:pt x="220" y="282"/>
                  </a:lnTo>
                  <a:lnTo>
                    <a:pt x="220" y="282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20" y="277"/>
                  </a:lnTo>
                  <a:lnTo>
                    <a:pt x="223" y="277"/>
                  </a:lnTo>
                  <a:lnTo>
                    <a:pt x="223" y="277"/>
                  </a:lnTo>
                  <a:lnTo>
                    <a:pt x="223" y="274"/>
                  </a:lnTo>
                  <a:lnTo>
                    <a:pt x="223" y="274"/>
                  </a:lnTo>
                  <a:lnTo>
                    <a:pt x="223" y="271"/>
                  </a:lnTo>
                  <a:lnTo>
                    <a:pt x="223" y="271"/>
                  </a:lnTo>
                  <a:lnTo>
                    <a:pt x="223" y="271"/>
                  </a:lnTo>
                  <a:lnTo>
                    <a:pt x="223" y="19"/>
                  </a:lnTo>
                  <a:lnTo>
                    <a:pt x="223" y="16"/>
                  </a:lnTo>
                  <a:lnTo>
                    <a:pt x="223" y="13"/>
                  </a:lnTo>
                  <a:lnTo>
                    <a:pt x="223" y="13"/>
                  </a:lnTo>
                  <a:lnTo>
                    <a:pt x="223" y="10"/>
                  </a:lnTo>
                  <a:lnTo>
                    <a:pt x="220" y="10"/>
                  </a:lnTo>
                  <a:lnTo>
                    <a:pt x="220" y="8"/>
                  </a:lnTo>
                  <a:lnTo>
                    <a:pt x="220" y="8"/>
                  </a:lnTo>
                  <a:lnTo>
                    <a:pt x="217" y="5"/>
                  </a:lnTo>
                  <a:lnTo>
                    <a:pt x="217" y="5"/>
                  </a:lnTo>
                  <a:lnTo>
                    <a:pt x="215" y="2"/>
                  </a:lnTo>
                  <a:lnTo>
                    <a:pt x="215" y="2"/>
                  </a:lnTo>
                  <a:lnTo>
                    <a:pt x="212" y="2"/>
                  </a:lnTo>
                  <a:lnTo>
                    <a:pt x="212" y="2"/>
                  </a:lnTo>
                  <a:lnTo>
                    <a:pt x="209" y="0"/>
                  </a:lnTo>
                  <a:lnTo>
                    <a:pt x="207" y="0"/>
                  </a:lnTo>
                  <a:lnTo>
                    <a:pt x="207" y="0"/>
                  </a:lnTo>
                  <a:lnTo>
                    <a:pt x="16" y="0"/>
                  </a:lnTo>
                  <a:close/>
                  <a:moveTo>
                    <a:pt x="22" y="285"/>
                  </a:moveTo>
                  <a:lnTo>
                    <a:pt x="19" y="285"/>
                  </a:lnTo>
                  <a:lnTo>
                    <a:pt x="19" y="285"/>
                  </a:lnTo>
                  <a:lnTo>
                    <a:pt x="16" y="282"/>
                  </a:lnTo>
                  <a:lnTo>
                    <a:pt x="16" y="282"/>
                  </a:lnTo>
                  <a:lnTo>
                    <a:pt x="14" y="282"/>
                  </a:lnTo>
                  <a:lnTo>
                    <a:pt x="14" y="282"/>
                  </a:lnTo>
                  <a:lnTo>
                    <a:pt x="11" y="280"/>
                  </a:lnTo>
                  <a:lnTo>
                    <a:pt x="11" y="280"/>
                  </a:lnTo>
                  <a:lnTo>
                    <a:pt x="11" y="277"/>
                  </a:lnTo>
                  <a:lnTo>
                    <a:pt x="8" y="277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1"/>
                  </a:lnTo>
                  <a:lnTo>
                    <a:pt x="8" y="271"/>
                  </a:lnTo>
                  <a:lnTo>
                    <a:pt x="8" y="269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7" y="8"/>
                  </a:lnTo>
                  <a:lnTo>
                    <a:pt x="207" y="8"/>
                  </a:lnTo>
                  <a:lnTo>
                    <a:pt x="207" y="8"/>
                  </a:lnTo>
                  <a:lnTo>
                    <a:pt x="209" y="8"/>
                  </a:lnTo>
                  <a:lnTo>
                    <a:pt x="209" y="8"/>
                  </a:lnTo>
                  <a:lnTo>
                    <a:pt x="209" y="10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5" y="13"/>
                  </a:lnTo>
                  <a:lnTo>
                    <a:pt x="215" y="13"/>
                  </a:lnTo>
                  <a:lnTo>
                    <a:pt x="215" y="13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9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1"/>
                  </a:lnTo>
                  <a:lnTo>
                    <a:pt x="215" y="274"/>
                  </a:lnTo>
                  <a:lnTo>
                    <a:pt x="215" y="274"/>
                  </a:lnTo>
                  <a:lnTo>
                    <a:pt x="215" y="277"/>
                  </a:lnTo>
                  <a:lnTo>
                    <a:pt x="212" y="277"/>
                  </a:lnTo>
                  <a:lnTo>
                    <a:pt x="212" y="280"/>
                  </a:lnTo>
                  <a:lnTo>
                    <a:pt x="212" y="280"/>
                  </a:lnTo>
                  <a:lnTo>
                    <a:pt x="209" y="282"/>
                  </a:lnTo>
                  <a:lnTo>
                    <a:pt x="209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4" y="285"/>
                  </a:lnTo>
                  <a:lnTo>
                    <a:pt x="204" y="285"/>
                  </a:lnTo>
                  <a:lnTo>
                    <a:pt x="201" y="285"/>
                  </a:lnTo>
                  <a:lnTo>
                    <a:pt x="198" y="285"/>
                  </a:lnTo>
                  <a:lnTo>
                    <a:pt x="24" y="285"/>
                  </a:lnTo>
                  <a:lnTo>
                    <a:pt x="22" y="285"/>
                  </a:lnTo>
                  <a:close/>
                  <a:moveTo>
                    <a:pt x="43" y="27"/>
                  </a:moveTo>
                  <a:lnTo>
                    <a:pt x="41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7" y="32"/>
                  </a:lnTo>
                  <a:lnTo>
                    <a:pt x="27" y="35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3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4" y="228"/>
                  </a:lnTo>
                  <a:lnTo>
                    <a:pt x="27" y="231"/>
                  </a:lnTo>
                  <a:lnTo>
                    <a:pt x="27" y="231"/>
                  </a:lnTo>
                  <a:lnTo>
                    <a:pt x="27" y="231"/>
                  </a:lnTo>
                  <a:lnTo>
                    <a:pt x="27" y="233"/>
                  </a:lnTo>
                  <a:lnTo>
                    <a:pt x="27" y="233"/>
                  </a:lnTo>
                  <a:lnTo>
                    <a:pt x="30" y="236"/>
                  </a:lnTo>
                  <a:lnTo>
                    <a:pt x="30" y="236"/>
                  </a:lnTo>
                  <a:lnTo>
                    <a:pt x="30" y="236"/>
                  </a:lnTo>
                  <a:lnTo>
                    <a:pt x="33" y="236"/>
                  </a:lnTo>
                  <a:lnTo>
                    <a:pt x="33" y="239"/>
                  </a:lnTo>
                  <a:lnTo>
                    <a:pt x="35" y="239"/>
                  </a:lnTo>
                  <a:lnTo>
                    <a:pt x="35" y="239"/>
                  </a:lnTo>
                  <a:lnTo>
                    <a:pt x="38" y="239"/>
                  </a:lnTo>
                  <a:lnTo>
                    <a:pt x="38" y="239"/>
                  </a:lnTo>
                  <a:lnTo>
                    <a:pt x="185" y="239"/>
                  </a:lnTo>
                  <a:lnTo>
                    <a:pt x="185" y="239"/>
                  </a:lnTo>
                  <a:lnTo>
                    <a:pt x="187" y="239"/>
                  </a:lnTo>
                  <a:lnTo>
                    <a:pt x="187" y="239"/>
                  </a:lnTo>
                  <a:lnTo>
                    <a:pt x="190" y="239"/>
                  </a:lnTo>
                  <a:lnTo>
                    <a:pt x="190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6" y="233"/>
                  </a:lnTo>
                  <a:lnTo>
                    <a:pt x="196" y="233"/>
                  </a:lnTo>
                  <a:lnTo>
                    <a:pt x="196" y="231"/>
                  </a:lnTo>
                  <a:lnTo>
                    <a:pt x="196" y="231"/>
                  </a:lnTo>
                  <a:lnTo>
                    <a:pt x="196" y="231"/>
                  </a:lnTo>
                  <a:lnTo>
                    <a:pt x="198" y="228"/>
                  </a:lnTo>
                  <a:lnTo>
                    <a:pt x="198" y="228"/>
                  </a:lnTo>
                  <a:lnTo>
                    <a:pt x="198" y="225"/>
                  </a:lnTo>
                  <a:lnTo>
                    <a:pt x="198" y="43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6" y="38"/>
                  </a:lnTo>
                  <a:lnTo>
                    <a:pt x="196" y="38"/>
                  </a:lnTo>
                  <a:lnTo>
                    <a:pt x="196" y="35"/>
                  </a:lnTo>
                  <a:lnTo>
                    <a:pt x="196" y="32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2" y="27"/>
                  </a:lnTo>
                  <a:lnTo>
                    <a:pt x="179" y="27"/>
                  </a:lnTo>
                  <a:lnTo>
                    <a:pt x="43" y="27"/>
                  </a:lnTo>
                  <a:close/>
                  <a:moveTo>
                    <a:pt x="38" y="231"/>
                  </a:moveTo>
                  <a:lnTo>
                    <a:pt x="35" y="231"/>
                  </a:lnTo>
                  <a:lnTo>
                    <a:pt x="35" y="231"/>
                  </a:lnTo>
                  <a:lnTo>
                    <a:pt x="35" y="231"/>
                  </a:lnTo>
                  <a:lnTo>
                    <a:pt x="35" y="228"/>
                  </a:lnTo>
                  <a:lnTo>
                    <a:pt x="33" y="228"/>
                  </a:lnTo>
                  <a:lnTo>
                    <a:pt x="33" y="228"/>
                  </a:lnTo>
                  <a:lnTo>
                    <a:pt x="33" y="225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3" y="32"/>
                  </a:lnTo>
                  <a:lnTo>
                    <a:pt x="179" y="32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225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87" y="228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85" y="231"/>
                  </a:lnTo>
                  <a:lnTo>
                    <a:pt x="185" y="231"/>
                  </a:lnTo>
                  <a:lnTo>
                    <a:pt x="38" y="231"/>
                  </a:lnTo>
                  <a:lnTo>
                    <a:pt x="38" y="231"/>
                  </a:lnTo>
                  <a:close/>
                  <a:moveTo>
                    <a:pt x="103" y="59"/>
                  </a:moveTo>
                  <a:lnTo>
                    <a:pt x="101" y="59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2" y="65"/>
                  </a:lnTo>
                  <a:lnTo>
                    <a:pt x="90" y="65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7" y="81"/>
                  </a:lnTo>
                  <a:lnTo>
                    <a:pt x="87" y="84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4" y="89"/>
                  </a:lnTo>
                  <a:lnTo>
                    <a:pt x="81" y="89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5"/>
                  </a:lnTo>
                  <a:lnTo>
                    <a:pt x="81" y="95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7" y="100"/>
                  </a:lnTo>
                  <a:lnTo>
                    <a:pt x="87" y="100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6"/>
                  </a:lnTo>
                  <a:lnTo>
                    <a:pt x="92" y="106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5" y="111"/>
                  </a:lnTo>
                  <a:lnTo>
                    <a:pt x="95" y="114"/>
                  </a:lnTo>
                  <a:lnTo>
                    <a:pt x="98" y="114"/>
                  </a:lnTo>
                  <a:lnTo>
                    <a:pt x="101" y="114"/>
                  </a:lnTo>
                  <a:lnTo>
                    <a:pt x="95" y="116"/>
                  </a:lnTo>
                  <a:lnTo>
                    <a:pt x="95" y="116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87" y="119"/>
                  </a:lnTo>
                  <a:lnTo>
                    <a:pt x="87" y="119"/>
                  </a:lnTo>
                  <a:lnTo>
                    <a:pt x="84" y="119"/>
                  </a:lnTo>
                  <a:lnTo>
                    <a:pt x="84" y="119"/>
                  </a:lnTo>
                  <a:lnTo>
                    <a:pt x="84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7"/>
                  </a:lnTo>
                  <a:lnTo>
                    <a:pt x="79" y="130"/>
                  </a:lnTo>
                  <a:lnTo>
                    <a:pt x="79" y="144"/>
                  </a:lnTo>
                  <a:lnTo>
                    <a:pt x="79" y="146"/>
                  </a:lnTo>
                  <a:lnTo>
                    <a:pt x="81" y="146"/>
                  </a:lnTo>
                  <a:lnTo>
                    <a:pt x="81" y="146"/>
                  </a:lnTo>
                  <a:lnTo>
                    <a:pt x="81" y="146"/>
                  </a:lnTo>
                  <a:lnTo>
                    <a:pt x="81" y="149"/>
                  </a:lnTo>
                  <a:lnTo>
                    <a:pt x="81" y="149"/>
                  </a:lnTo>
                  <a:lnTo>
                    <a:pt x="81" y="149"/>
                  </a:lnTo>
                  <a:lnTo>
                    <a:pt x="84" y="149"/>
                  </a:lnTo>
                  <a:lnTo>
                    <a:pt x="139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4"/>
                  </a:lnTo>
                  <a:lnTo>
                    <a:pt x="144" y="130"/>
                  </a:lnTo>
                  <a:lnTo>
                    <a:pt x="144" y="127"/>
                  </a:lnTo>
                  <a:lnTo>
                    <a:pt x="144" y="127"/>
                  </a:lnTo>
                  <a:lnTo>
                    <a:pt x="141" y="127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39" y="122"/>
                  </a:lnTo>
                  <a:lnTo>
                    <a:pt x="139" y="119"/>
                  </a:lnTo>
                  <a:lnTo>
                    <a:pt x="139" y="119"/>
                  </a:lnTo>
                  <a:lnTo>
                    <a:pt x="136" y="119"/>
                  </a:lnTo>
                  <a:lnTo>
                    <a:pt x="136" y="119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0" y="116"/>
                  </a:lnTo>
                  <a:lnTo>
                    <a:pt x="130" y="116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2" y="114"/>
                  </a:lnTo>
                  <a:lnTo>
                    <a:pt x="125" y="114"/>
                  </a:lnTo>
                  <a:lnTo>
                    <a:pt x="125" y="114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30" y="108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3" y="103"/>
                  </a:lnTo>
                  <a:lnTo>
                    <a:pt x="133" y="103"/>
                  </a:lnTo>
                  <a:lnTo>
                    <a:pt x="133" y="103"/>
                  </a:lnTo>
                  <a:lnTo>
                    <a:pt x="136" y="103"/>
                  </a:lnTo>
                  <a:lnTo>
                    <a:pt x="136" y="103"/>
                  </a:lnTo>
                  <a:lnTo>
                    <a:pt x="136" y="103"/>
                  </a:lnTo>
                  <a:lnTo>
                    <a:pt x="136" y="100"/>
                  </a:lnTo>
                  <a:lnTo>
                    <a:pt x="139" y="100"/>
                  </a:lnTo>
                  <a:lnTo>
                    <a:pt x="139" y="100"/>
                  </a:lnTo>
                  <a:lnTo>
                    <a:pt x="139" y="100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1" y="89"/>
                  </a:lnTo>
                  <a:lnTo>
                    <a:pt x="139" y="89"/>
                  </a:lnTo>
                  <a:lnTo>
                    <a:pt x="139" y="87"/>
                  </a:lnTo>
                  <a:lnTo>
                    <a:pt x="139" y="87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1"/>
                  </a:lnTo>
                  <a:lnTo>
                    <a:pt x="136" y="81"/>
                  </a:lnTo>
                  <a:lnTo>
                    <a:pt x="136" y="78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3" y="73"/>
                  </a:lnTo>
                  <a:lnTo>
                    <a:pt x="133" y="73"/>
                  </a:lnTo>
                  <a:lnTo>
                    <a:pt x="130" y="70"/>
                  </a:lnTo>
                  <a:lnTo>
                    <a:pt x="130" y="70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2" y="65"/>
                  </a:lnTo>
                  <a:lnTo>
                    <a:pt x="122" y="65"/>
                  </a:lnTo>
                  <a:lnTo>
                    <a:pt x="122" y="65"/>
                  </a:lnTo>
                  <a:lnTo>
                    <a:pt x="120" y="65"/>
                  </a:lnTo>
                  <a:lnTo>
                    <a:pt x="120" y="65"/>
                  </a:lnTo>
                  <a:lnTo>
                    <a:pt x="120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4" y="65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1" y="62"/>
                  </a:lnTo>
                  <a:lnTo>
                    <a:pt x="109" y="62"/>
                  </a:lnTo>
                  <a:lnTo>
                    <a:pt x="109" y="59"/>
                  </a:lnTo>
                  <a:lnTo>
                    <a:pt x="106" y="59"/>
                  </a:lnTo>
                  <a:lnTo>
                    <a:pt x="103" y="59"/>
                  </a:lnTo>
                  <a:lnTo>
                    <a:pt x="103" y="59"/>
                  </a:lnTo>
                  <a:close/>
                  <a:moveTo>
                    <a:pt x="92" y="95"/>
                  </a:moveTo>
                  <a:lnTo>
                    <a:pt x="92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89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5" y="89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5" y="84"/>
                  </a:lnTo>
                  <a:lnTo>
                    <a:pt x="95" y="81"/>
                  </a:lnTo>
                  <a:lnTo>
                    <a:pt x="95" y="78"/>
                  </a:lnTo>
                  <a:lnTo>
                    <a:pt x="95" y="78"/>
                  </a:lnTo>
                  <a:lnTo>
                    <a:pt x="95" y="76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9" y="68"/>
                  </a:lnTo>
                  <a:lnTo>
                    <a:pt x="109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11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7" y="73"/>
                  </a:lnTo>
                  <a:lnTo>
                    <a:pt x="117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22" y="73"/>
                  </a:lnTo>
                  <a:lnTo>
                    <a:pt x="122" y="73"/>
                  </a:lnTo>
                  <a:lnTo>
                    <a:pt x="125" y="73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28" y="87"/>
                  </a:lnTo>
                  <a:lnTo>
                    <a:pt x="128" y="87"/>
                  </a:lnTo>
                  <a:lnTo>
                    <a:pt x="128" y="87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3" y="89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100"/>
                  </a:lnTo>
                  <a:lnTo>
                    <a:pt x="125" y="100"/>
                  </a:lnTo>
                  <a:lnTo>
                    <a:pt x="125" y="100"/>
                  </a:lnTo>
                  <a:lnTo>
                    <a:pt x="125" y="103"/>
                  </a:lnTo>
                  <a:lnTo>
                    <a:pt x="125" y="103"/>
                  </a:lnTo>
                  <a:lnTo>
                    <a:pt x="122" y="103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4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7" y="119"/>
                  </a:lnTo>
                  <a:lnTo>
                    <a:pt x="117" y="122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8" y="125"/>
                  </a:lnTo>
                  <a:lnTo>
                    <a:pt x="128" y="125"/>
                  </a:lnTo>
                  <a:lnTo>
                    <a:pt x="130" y="125"/>
                  </a:lnTo>
                  <a:lnTo>
                    <a:pt x="130" y="125"/>
                  </a:lnTo>
                  <a:lnTo>
                    <a:pt x="130" y="125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3" y="127"/>
                  </a:lnTo>
                  <a:lnTo>
                    <a:pt x="133" y="127"/>
                  </a:lnTo>
                  <a:lnTo>
                    <a:pt x="136" y="127"/>
                  </a:lnTo>
                  <a:lnTo>
                    <a:pt x="136" y="127"/>
                  </a:lnTo>
                  <a:lnTo>
                    <a:pt x="136" y="127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36" y="141"/>
                  </a:lnTo>
                  <a:lnTo>
                    <a:pt x="87" y="141"/>
                  </a:lnTo>
                  <a:lnTo>
                    <a:pt x="87" y="130"/>
                  </a:lnTo>
                  <a:lnTo>
                    <a:pt x="87" y="130"/>
                  </a:lnTo>
                  <a:lnTo>
                    <a:pt x="87" y="127"/>
                  </a:lnTo>
                  <a:lnTo>
                    <a:pt x="87" y="127"/>
                  </a:lnTo>
                  <a:lnTo>
                    <a:pt x="87" y="127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5" y="125"/>
                  </a:lnTo>
                  <a:lnTo>
                    <a:pt x="95" y="125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19"/>
                  </a:lnTo>
                  <a:lnTo>
                    <a:pt x="109" y="119"/>
                  </a:lnTo>
                  <a:lnTo>
                    <a:pt x="109" y="119"/>
                  </a:lnTo>
                  <a:lnTo>
                    <a:pt x="109" y="119"/>
                  </a:lnTo>
                  <a:lnTo>
                    <a:pt x="109" y="119"/>
                  </a:lnTo>
                  <a:lnTo>
                    <a:pt x="109" y="119"/>
                  </a:lnTo>
                  <a:lnTo>
                    <a:pt x="109" y="116"/>
                  </a:lnTo>
                  <a:lnTo>
                    <a:pt x="109" y="114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1" y="108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close/>
                  <a:moveTo>
                    <a:pt x="158" y="168"/>
                  </a:moveTo>
                  <a:lnTo>
                    <a:pt x="65" y="168"/>
                  </a:lnTo>
                  <a:lnTo>
                    <a:pt x="65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71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74"/>
                  </a:lnTo>
                  <a:lnTo>
                    <a:pt x="60" y="174"/>
                  </a:lnTo>
                  <a:lnTo>
                    <a:pt x="62" y="174"/>
                  </a:lnTo>
                  <a:lnTo>
                    <a:pt x="62" y="174"/>
                  </a:lnTo>
                  <a:lnTo>
                    <a:pt x="62" y="174"/>
                  </a:lnTo>
                  <a:lnTo>
                    <a:pt x="62" y="176"/>
                  </a:lnTo>
                  <a:lnTo>
                    <a:pt x="65" y="176"/>
                  </a:lnTo>
                  <a:lnTo>
                    <a:pt x="65" y="176"/>
                  </a:lnTo>
                  <a:lnTo>
                    <a:pt x="158" y="176"/>
                  </a:lnTo>
                  <a:lnTo>
                    <a:pt x="158" y="176"/>
                  </a:lnTo>
                  <a:lnTo>
                    <a:pt x="160" y="176"/>
                  </a:lnTo>
                  <a:lnTo>
                    <a:pt x="160" y="174"/>
                  </a:lnTo>
                  <a:lnTo>
                    <a:pt x="160" y="174"/>
                  </a:lnTo>
                  <a:lnTo>
                    <a:pt x="160" y="174"/>
                  </a:lnTo>
                  <a:lnTo>
                    <a:pt x="163" y="174"/>
                  </a:lnTo>
                  <a:lnTo>
                    <a:pt x="163" y="174"/>
                  </a:lnTo>
                  <a:lnTo>
                    <a:pt x="163" y="171"/>
                  </a:lnTo>
                  <a:lnTo>
                    <a:pt x="163" y="171"/>
                  </a:lnTo>
                  <a:lnTo>
                    <a:pt x="163" y="171"/>
                  </a:lnTo>
                  <a:lnTo>
                    <a:pt x="160" y="171"/>
                  </a:lnTo>
                  <a:lnTo>
                    <a:pt x="160" y="168"/>
                  </a:lnTo>
                  <a:lnTo>
                    <a:pt x="160" y="168"/>
                  </a:lnTo>
                  <a:lnTo>
                    <a:pt x="160" y="168"/>
                  </a:lnTo>
                  <a:lnTo>
                    <a:pt x="158" y="168"/>
                  </a:lnTo>
                  <a:lnTo>
                    <a:pt x="158" y="168"/>
                  </a:lnTo>
                  <a:close/>
                  <a:moveTo>
                    <a:pt x="65" y="187"/>
                  </a:moveTo>
                  <a:lnTo>
                    <a:pt x="65" y="187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2" y="190"/>
                  </a:lnTo>
                  <a:lnTo>
                    <a:pt x="60" y="190"/>
                  </a:lnTo>
                  <a:lnTo>
                    <a:pt x="60" y="190"/>
                  </a:lnTo>
                  <a:lnTo>
                    <a:pt x="60" y="190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2" y="193"/>
                  </a:lnTo>
                  <a:lnTo>
                    <a:pt x="62" y="193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5" y="195"/>
                  </a:lnTo>
                  <a:lnTo>
                    <a:pt x="65" y="195"/>
                  </a:lnTo>
                  <a:lnTo>
                    <a:pt x="158" y="195"/>
                  </a:lnTo>
                  <a:lnTo>
                    <a:pt x="158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0" y="190"/>
                  </a:lnTo>
                  <a:lnTo>
                    <a:pt x="160" y="187"/>
                  </a:lnTo>
                  <a:lnTo>
                    <a:pt x="160" y="187"/>
                  </a:lnTo>
                  <a:lnTo>
                    <a:pt x="160" y="187"/>
                  </a:lnTo>
                  <a:lnTo>
                    <a:pt x="158" y="187"/>
                  </a:lnTo>
                  <a:lnTo>
                    <a:pt x="158" y="187"/>
                  </a:lnTo>
                  <a:lnTo>
                    <a:pt x="65" y="187"/>
                  </a:lnTo>
                  <a:close/>
                  <a:moveTo>
                    <a:pt x="103" y="250"/>
                  </a:moveTo>
                  <a:lnTo>
                    <a:pt x="103" y="250"/>
                  </a:lnTo>
                  <a:lnTo>
                    <a:pt x="101" y="250"/>
                  </a:lnTo>
                  <a:lnTo>
                    <a:pt x="101" y="250"/>
                  </a:lnTo>
                  <a:lnTo>
                    <a:pt x="101" y="250"/>
                  </a:lnTo>
                  <a:lnTo>
                    <a:pt x="101" y="252"/>
                  </a:lnTo>
                  <a:lnTo>
                    <a:pt x="101" y="252"/>
                  </a:lnTo>
                  <a:lnTo>
                    <a:pt x="98" y="252"/>
                  </a:lnTo>
                  <a:lnTo>
                    <a:pt x="98" y="252"/>
                  </a:lnTo>
                  <a:lnTo>
                    <a:pt x="98" y="269"/>
                  </a:lnTo>
                  <a:lnTo>
                    <a:pt x="98" y="271"/>
                  </a:lnTo>
                  <a:lnTo>
                    <a:pt x="101" y="271"/>
                  </a:lnTo>
                  <a:lnTo>
                    <a:pt x="101" y="271"/>
                  </a:lnTo>
                  <a:lnTo>
                    <a:pt x="101" y="271"/>
                  </a:lnTo>
                  <a:lnTo>
                    <a:pt x="101" y="274"/>
                  </a:lnTo>
                  <a:lnTo>
                    <a:pt x="101" y="274"/>
                  </a:lnTo>
                  <a:lnTo>
                    <a:pt x="103" y="274"/>
                  </a:lnTo>
                  <a:lnTo>
                    <a:pt x="103" y="274"/>
                  </a:lnTo>
                  <a:lnTo>
                    <a:pt x="120" y="274"/>
                  </a:lnTo>
                  <a:lnTo>
                    <a:pt x="120" y="274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2" y="271"/>
                  </a:lnTo>
                  <a:lnTo>
                    <a:pt x="122" y="271"/>
                  </a:lnTo>
                  <a:lnTo>
                    <a:pt x="122" y="271"/>
                  </a:lnTo>
                  <a:lnTo>
                    <a:pt x="122" y="271"/>
                  </a:lnTo>
                  <a:lnTo>
                    <a:pt x="125" y="269"/>
                  </a:lnTo>
                  <a:lnTo>
                    <a:pt x="125" y="252"/>
                  </a:lnTo>
                  <a:lnTo>
                    <a:pt x="122" y="252"/>
                  </a:lnTo>
                  <a:lnTo>
                    <a:pt x="122" y="252"/>
                  </a:lnTo>
                  <a:lnTo>
                    <a:pt x="122" y="252"/>
                  </a:lnTo>
                  <a:lnTo>
                    <a:pt x="122" y="250"/>
                  </a:lnTo>
                  <a:lnTo>
                    <a:pt x="122" y="250"/>
                  </a:lnTo>
                  <a:lnTo>
                    <a:pt x="122" y="250"/>
                  </a:lnTo>
                  <a:lnTo>
                    <a:pt x="120" y="250"/>
                  </a:lnTo>
                  <a:lnTo>
                    <a:pt x="120" y="250"/>
                  </a:lnTo>
                  <a:lnTo>
                    <a:pt x="103" y="250"/>
                  </a:lnTo>
                  <a:close/>
                  <a:moveTo>
                    <a:pt x="106" y="258"/>
                  </a:moveTo>
                  <a:lnTo>
                    <a:pt x="117" y="258"/>
                  </a:lnTo>
                  <a:lnTo>
                    <a:pt x="117" y="266"/>
                  </a:lnTo>
                  <a:lnTo>
                    <a:pt x="106" y="266"/>
                  </a:lnTo>
                  <a:lnTo>
                    <a:pt x="106" y="2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189">
            <a:extLst>
              <a:ext uri="{FF2B5EF4-FFF2-40B4-BE49-F238E27FC236}">
                <a16:creationId xmlns:a16="http://schemas.microsoft.com/office/drawing/2014/main" id="{09EA0E9A-4E75-4006-BD77-108EDBD05F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924" y="4165034"/>
            <a:ext cx="750887" cy="749300"/>
            <a:chOff x="865" y="2773"/>
            <a:chExt cx="473" cy="472"/>
          </a:xfrm>
        </p:grpSpPr>
        <p:sp>
          <p:nvSpPr>
            <p:cNvPr id="217" name="AutoShape 188">
              <a:extLst>
                <a:ext uri="{FF2B5EF4-FFF2-40B4-BE49-F238E27FC236}">
                  <a16:creationId xmlns:a16="http://schemas.microsoft.com/office/drawing/2014/main" id="{3BDBC48A-7B30-4E69-8A23-72D7F87E95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65" y="2773"/>
              <a:ext cx="473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90">
              <a:extLst>
                <a:ext uri="{FF2B5EF4-FFF2-40B4-BE49-F238E27FC236}">
                  <a16:creationId xmlns:a16="http://schemas.microsoft.com/office/drawing/2014/main" id="{CA5A2A0A-38AD-4345-AF48-4C2D479E27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7" y="2775"/>
              <a:ext cx="471" cy="470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91">
              <a:extLst>
                <a:ext uri="{FF2B5EF4-FFF2-40B4-BE49-F238E27FC236}">
                  <a16:creationId xmlns:a16="http://schemas.microsoft.com/office/drawing/2014/main" id="{74EA052B-E8FA-445D-8F94-E71E525CE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" y="2855"/>
              <a:ext cx="184" cy="310"/>
            </a:xfrm>
            <a:custGeom>
              <a:avLst/>
              <a:gdLst>
                <a:gd name="T0" fmla="*/ 70 w 76"/>
                <a:gd name="T1" fmla="*/ 42 h 128"/>
                <a:gd name="T2" fmla="*/ 64 w 76"/>
                <a:gd name="T3" fmla="*/ 29 h 128"/>
                <a:gd name="T4" fmla="*/ 57 w 76"/>
                <a:gd name="T5" fmla="*/ 20 h 128"/>
                <a:gd name="T6" fmla="*/ 51 w 76"/>
                <a:gd name="T7" fmla="*/ 1 h 128"/>
                <a:gd name="T8" fmla="*/ 19 w 76"/>
                <a:gd name="T9" fmla="*/ 0 h 128"/>
                <a:gd name="T10" fmla="*/ 15 w 76"/>
                <a:gd name="T11" fmla="*/ 11 h 128"/>
                <a:gd name="T12" fmla="*/ 6 w 76"/>
                <a:gd name="T13" fmla="*/ 29 h 128"/>
                <a:gd name="T14" fmla="*/ 0 w 76"/>
                <a:gd name="T15" fmla="*/ 93 h 128"/>
                <a:gd name="T16" fmla="*/ 11 w 76"/>
                <a:gd name="T17" fmla="*/ 108 h 128"/>
                <a:gd name="T18" fmla="*/ 17 w 76"/>
                <a:gd name="T19" fmla="*/ 127 h 128"/>
                <a:gd name="T20" fmla="*/ 49 w 76"/>
                <a:gd name="T21" fmla="*/ 128 h 128"/>
                <a:gd name="T22" fmla="*/ 53 w 76"/>
                <a:gd name="T23" fmla="*/ 117 h 128"/>
                <a:gd name="T24" fmla="*/ 62 w 76"/>
                <a:gd name="T25" fmla="*/ 99 h 128"/>
                <a:gd name="T26" fmla="*/ 70 w 76"/>
                <a:gd name="T27" fmla="*/ 93 h 128"/>
                <a:gd name="T28" fmla="*/ 74 w 76"/>
                <a:gd name="T29" fmla="*/ 58 h 128"/>
                <a:gd name="T30" fmla="*/ 76 w 76"/>
                <a:gd name="T31" fmla="*/ 44 h 128"/>
                <a:gd name="T32" fmla="*/ 20 w 76"/>
                <a:gd name="T33" fmla="*/ 3 h 128"/>
                <a:gd name="T34" fmla="*/ 49 w 76"/>
                <a:gd name="T35" fmla="*/ 10 h 128"/>
                <a:gd name="T36" fmla="*/ 20 w 76"/>
                <a:gd name="T37" fmla="*/ 3 h 128"/>
                <a:gd name="T38" fmla="*/ 50 w 76"/>
                <a:gd name="T39" fmla="*/ 13 h 128"/>
                <a:gd name="T40" fmla="*/ 15 w 76"/>
                <a:gd name="T41" fmla="*/ 19 h 128"/>
                <a:gd name="T42" fmla="*/ 14 w 76"/>
                <a:gd name="T43" fmla="*/ 22 h 128"/>
                <a:gd name="T44" fmla="*/ 58 w 76"/>
                <a:gd name="T45" fmla="*/ 29 h 128"/>
                <a:gd name="T46" fmla="*/ 14 w 76"/>
                <a:gd name="T47" fmla="*/ 22 h 128"/>
                <a:gd name="T48" fmla="*/ 20 w 76"/>
                <a:gd name="T49" fmla="*/ 125 h 128"/>
                <a:gd name="T50" fmla="*/ 49 w 76"/>
                <a:gd name="T51" fmla="*/ 118 h 128"/>
                <a:gd name="T52" fmla="*/ 50 w 76"/>
                <a:gd name="T53" fmla="*/ 115 h 128"/>
                <a:gd name="T54" fmla="*/ 15 w 76"/>
                <a:gd name="T55" fmla="*/ 109 h 128"/>
                <a:gd name="T56" fmla="*/ 50 w 76"/>
                <a:gd name="T57" fmla="*/ 115 h 128"/>
                <a:gd name="T58" fmla="*/ 14 w 76"/>
                <a:gd name="T59" fmla="*/ 106 h 128"/>
                <a:gd name="T60" fmla="*/ 58 w 76"/>
                <a:gd name="T61" fmla="*/ 99 h 128"/>
                <a:gd name="T62" fmla="*/ 67 w 76"/>
                <a:gd name="T63" fmla="*/ 93 h 128"/>
                <a:gd name="T64" fmla="*/ 6 w 76"/>
                <a:gd name="T65" fmla="*/ 96 h 128"/>
                <a:gd name="T66" fmla="*/ 3 w 76"/>
                <a:gd name="T67" fmla="*/ 35 h 128"/>
                <a:gd name="T68" fmla="*/ 64 w 76"/>
                <a:gd name="T69" fmla="*/ 32 h 128"/>
                <a:gd name="T70" fmla="*/ 67 w 76"/>
                <a:gd name="T71" fmla="*/ 93 h 128"/>
                <a:gd name="T72" fmla="*/ 70 w 76"/>
                <a:gd name="T73" fmla="*/ 55 h 128"/>
                <a:gd name="T74" fmla="*/ 73 w 76"/>
                <a:gd name="T75" fmla="*/ 46 h 128"/>
                <a:gd name="T76" fmla="*/ 61 w 76"/>
                <a:gd name="T77" fmla="*/ 36 h 128"/>
                <a:gd name="T78" fmla="*/ 7 w 76"/>
                <a:gd name="T79" fmla="*/ 37 h 128"/>
                <a:gd name="T80" fmla="*/ 9 w 76"/>
                <a:gd name="T81" fmla="*/ 92 h 128"/>
                <a:gd name="T82" fmla="*/ 63 w 76"/>
                <a:gd name="T83" fmla="*/ 91 h 128"/>
                <a:gd name="T84" fmla="*/ 61 w 76"/>
                <a:gd name="T85" fmla="*/ 36 h 128"/>
                <a:gd name="T86" fmla="*/ 10 w 76"/>
                <a:gd name="T87" fmla="*/ 89 h 128"/>
                <a:gd name="T88" fmla="*/ 60 w 76"/>
                <a:gd name="T89" fmla="*/ 39 h 128"/>
                <a:gd name="T90" fmla="*/ 35 w 76"/>
                <a:gd name="T91" fmla="*/ 75 h 128"/>
                <a:gd name="T92" fmla="*/ 35 w 76"/>
                <a:gd name="T93" fmla="*/ 45 h 128"/>
                <a:gd name="T94" fmla="*/ 35 w 76"/>
                <a:gd name="T95" fmla="*/ 75 h 128"/>
                <a:gd name="T96" fmla="*/ 47 w 76"/>
                <a:gd name="T97" fmla="*/ 60 h 128"/>
                <a:gd name="T98" fmla="*/ 23 w 76"/>
                <a:gd name="T99" fmla="*/ 60 h 128"/>
                <a:gd name="T100" fmla="*/ 31 w 76"/>
                <a:gd name="T101" fmla="*/ 80 h 128"/>
                <a:gd name="T102" fmla="*/ 18 w 76"/>
                <a:gd name="T103" fmla="*/ 83 h 128"/>
                <a:gd name="T104" fmla="*/ 31 w 76"/>
                <a:gd name="T105" fmla="*/ 80 h 128"/>
                <a:gd name="T106" fmla="*/ 52 w 76"/>
                <a:gd name="T107" fmla="*/ 83 h 128"/>
                <a:gd name="T108" fmla="*/ 40 w 76"/>
                <a:gd name="T109" fmla="*/ 8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6" h="128">
                  <a:moveTo>
                    <a:pt x="74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31"/>
                    <a:pt x="67" y="29"/>
                    <a:pt x="64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1" y="27"/>
                    <a:pt x="59" y="24"/>
                    <a:pt x="57" y="20"/>
                  </a:cubicBezTo>
                  <a:cubicBezTo>
                    <a:pt x="55" y="17"/>
                    <a:pt x="54" y="14"/>
                    <a:pt x="53" y="11"/>
                  </a:cubicBezTo>
                  <a:cubicBezTo>
                    <a:pt x="52" y="8"/>
                    <a:pt x="51" y="5"/>
                    <a:pt x="51" y="1"/>
                  </a:cubicBezTo>
                  <a:cubicBezTo>
                    <a:pt x="50" y="1"/>
                    <a:pt x="50" y="0"/>
                    <a:pt x="4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1"/>
                    <a:pt x="17" y="1"/>
                  </a:cubicBezTo>
                  <a:cubicBezTo>
                    <a:pt x="17" y="5"/>
                    <a:pt x="16" y="8"/>
                    <a:pt x="15" y="11"/>
                  </a:cubicBezTo>
                  <a:cubicBezTo>
                    <a:pt x="14" y="14"/>
                    <a:pt x="13" y="17"/>
                    <a:pt x="11" y="20"/>
                  </a:cubicBezTo>
                  <a:cubicBezTo>
                    <a:pt x="9" y="24"/>
                    <a:pt x="7" y="27"/>
                    <a:pt x="6" y="29"/>
                  </a:cubicBezTo>
                  <a:cubicBezTo>
                    <a:pt x="3" y="29"/>
                    <a:pt x="0" y="32"/>
                    <a:pt x="0" y="35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6"/>
                    <a:pt x="3" y="99"/>
                    <a:pt x="6" y="99"/>
                  </a:cubicBezTo>
                  <a:cubicBezTo>
                    <a:pt x="7" y="101"/>
                    <a:pt x="9" y="104"/>
                    <a:pt x="11" y="108"/>
                  </a:cubicBezTo>
                  <a:cubicBezTo>
                    <a:pt x="13" y="111"/>
                    <a:pt x="14" y="114"/>
                    <a:pt x="15" y="117"/>
                  </a:cubicBezTo>
                  <a:cubicBezTo>
                    <a:pt x="16" y="120"/>
                    <a:pt x="17" y="123"/>
                    <a:pt x="17" y="127"/>
                  </a:cubicBezTo>
                  <a:cubicBezTo>
                    <a:pt x="18" y="127"/>
                    <a:pt x="18" y="128"/>
                    <a:pt x="19" y="128"/>
                  </a:cubicBezTo>
                  <a:cubicBezTo>
                    <a:pt x="49" y="128"/>
                    <a:pt x="49" y="128"/>
                    <a:pt x="49" y="128"/>
                  </a:cubicBezTo>
                  <a:cubicBezTo>
                    <a:pt x="50" y="128"/>
                    <a:pt x="50" y="127"/>
                    <a:pt x="51" y="127"/>
                  </a:cubicBezTo>
                  <a:cubicBezTo>
                    <a:pt x="51" y="123"/>
                    <a:pt x="52" y="120"/>
                    <a:pt x="53" y="117"/>
                  </a:cubicBezTo>
                  <a:cubicBezTo>
                    <a:pt x="54" y="114"/>
                    <a:pt x="55" y="111"/>
                    <a:pt x="57" y="108"/>
                  </a:cubicBezTo>
                  <a:cubicBezTo>
                    <a:pt x="59" y="104"/>
                    <a:pt x="61" y="101"/>
                    <a:pt x="62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7" y="99"/>
                    <a:pt x="70" y="97"/>
                    <a:pt x="70" y="93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5" y="58"/>
                    <a:pt x="76" y="58"/>
                    <a:pt x="76" y="57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3"/>
                    <a:pt x="75" y="42"/>
                    <a:pt x="74" y="42"/>
                  </a:cubicBezTo>
                  <a:moveTo>
                    <a:pt x="20" y="3"/>
                  </a:moveTo>
                  <a:cubicBezTo>
                    <a:pt x="48" y="3"/>
                    <a:pt x="48" y="3"/>
                    <a:pt x="48" y="3"/>
                  </a:cubicBezTo>
                  <a:cubicBezTo>
                    <a:pt x="48" y="6"/>
                    <a:pt x="49" y="8"/>
                    <a:pt x="4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8"/>
                    <a:pt x="20" y="5"/>
                    <a:pt x="20" y="3"/>
                  </a:cubicBezTo>
                  <a:moveTo>
                    <a:pt x="18" y="13"/>
                  </a:moveTo>
                  <a:cubicBezTo>
                    <a:pt x="50" y="13"/>
                    <a:pt x="50" y="13"/>
                    <a:pt x="50" y="13"/>
                  </a:cubicBezTo>
                  <a:cubicBezTo>
                    <a:pt x="51" y="15"/>
                    <a:pt x="52" y="17"/>
                    <a:pt x="53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7"/>
                    <a:pt x="17" y="15"/>
                    <a:pt x="18" y="13"/>
                  </a:cubicBezTo>
                  <a:moveTo>
                    <a:pt x="14" y="22"/>
                  </a:moveTo>
                  <a:cubicBezTo>
                    <a:pt x="54" y="22"/>
                    <a:pt x="54" y="22"/>
                    <a:pt x="54" y="22"/>
                  </a:cubicBezTo>
                  <a:cubicBezTo>
                    <a:pt x="56" y="25"/>
                    <a:pt x="57" y="27"/>
                    <a:pt x="58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27"/>
                    <a:pt x="12" y="25"/>
                    <a:pt x="14" y="22"/>
                  </a:cubicBezTo>
                  <a:moveTo>
                    <a:pt x="48" y="125"/>
                  </a:moveTo>
                  <a:cubicBezTo>
                    <a:pt x="20" y="125"/>
                    <a:pt x="20" y="125"/>
                    <a:pt x="20" y="125"/>
                  </a:cubicBezTo>
                  <a:cubicBezTo>
                    <a:pt x="20" y="123"/>
                    <a:pt x="19" y="120"/>
                    <a:pt x="19" y="118"/>
                  </a:cubicBezTo>
                  <a:cubicBezTo>
                    <a:pt x="49" y="118"/>
                    <a:pt x="49" y="118"/>
                    <a:pt x="49" y="118"/>
                  </a:cubicBezTo>
                  <a:cubicBezTo>
                    <a:pt x="49" y="120"/>
                    <a:pt x="48" y="123"/>
                    <a:pt x="48" y="125"/>
                  </a:cubicBezTo>
                  <a:moveTo>
                    <a:pt x="50" y="115"/>
                  </a:moveTo>
                  <a:cubicBezTo>
                    <a:pt x="18" y="115"/>
                    <a:pt x="18" y="115"/>
                    <a:pt x="18" y="115"/>
                  </a:cubicBezTo>
                  <a:cubicBezTo>
                    <a:pt x="17" y="113"/>
                    <a:pt x="16" y="111"/>
                    <a:pt x="15" y="109"/>
                  </a:cubicBezTo>
                  <a:cubicBezTo>
                    <a:pt x="53" y="109"/>
                    <a:pt x="53" y="109"/>
                    <a:pt x="53" y="109"/>
                  </a:cubicBezTo>
                  <a:cubicBezTo>
                    <a:pt x="52" y="111"/>
                    <a:pt x="51" y="113"/>
                    <a:pt x="50" y="115"/>
                  </a:cubicBezTo>
                  <a:moveTo>
                    <a:pt x="54" y="106"/>
                  </a:moveTo>
                  <a:cubicBezTo>
                    <a:pt x="14" y="106"/>
                    <a:pt x="14" y="106"/>
                    <a:pt x="14" y="106"/>
                  </a:cubicBezTo>
                  <a:cubicBezTo>
                    <a:pt x="12" y="103"/>
                    <a:pt x="11" y="101"/>
                    <a:pt x="10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7" y="101"/>
                    <a:pt x="56" y="103"/>
                    <a:pt x="54" y="106"/>
                  </a:cubicBezTo>
                  <a:moveTo>
                    <a:pt x="67" y="93"/>
                  </a:moveTo>
                  <a:cubicBezTo>
                    <a:pt x="67" y="95"/>
                    <a:pt x="65" y="96"/>
                    <a:pt x="64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5" y="96"/>
                    <a:pt x="3" y="95"/>
                    <a:pt x="3" y="9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3"/>
                    <a:pt x="5" y="32"/>
                    <a:pt x="6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5" y="32"/>
                    <a:pt x="67" y="33"/>
                    <a:pt x="67" y="35"/>
                  </a:cubicBezTo>
                  <a:lnTo>
                    <a:pt x="67" y="93"/>
                  </a:lnTo>
                  <a:close/>
                  <a:moveTo>
                    <a:pt x="73" y="55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3" y="46"/>
                    <a:pt x="73" y="46"/>
                    <a:pt x="73" y="46"/>
                  </a:cubicBezTo>
                  <a:lnTo>
                    <a:pt x="73" y="55"/>
                  </a:lnTo>
                  <a:close/>
                  <a:moveTo>
                    <a:pt x="61" y="36"/>
                  </a:moveTo>
                  <a:cubicBezTo>
                    <a:pt x="9" y="36"/>
                    <a:pt x="9" y="36"/>
                    <a:pt x="9" y="36"/>
                  </a:cubicBezTo>
                  <a:cubicBezTo>
                    <a:pt x="8" y="36"/>
                    <a:pt x="7" y="36"/>
                    <a:pt x="7" y="37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2"/>
                    <a:pt x="8" y="92"/>
                    <a:pt x="9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2" y="92"/>
                    <a:pt x="63" y="92"/>
                    <a:pt x="63" y="91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6"/>
                    <a:pt x="62" y="36"/>
                    <a:pt x="61" y="36"/>
                  </a:cubicBezTo>
                  <a:moveTo>
                    <a:pt x="60" y="89"/>
                  </a:moveTo>
                  <a:cubicBezTo>
                    <a:pt x="10" y="89"/>
                    <a:pt x="10" y="89"/>
                    <a:pt x="10" y="8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60" y="39"/>
                    <a:pt x="60" y="39"/>
                    <a:pt x="60" y="39"/>
                  </a:cubicBezTo>
                  <a:lnTo>
                    <a:pt x="60" y="89"/>
                  </a:lnTo>
                  <a:close/>
                  <a:moveTo>
                    <a:pt x="35" y="75"/>
                  </a:moveTo>
                  <a:cubicBezTo>
                    <a:pt x="43" y="75"/>
                    <a:pt x="50" y="68"/>
                    <a:pt x="50" y="60"/>
                  </a:cubicBezTo>
                  <a:cubicBezTo>
                    <a:pt x="50" y="52"/>
                    <a:pt x="43" y="45"/>
                    <a:pt x="35" y="45"/>
                  </a:cubicBezTo>
                  <a:cubicBezTo>
                    <a:pt x="27" y="45"/>
                    <a:pt x="20" y="52"/>
                    <a:pt x="20" y="60"/>
                  </a:cubicBezTo>
                  <a:cubicBezTo>
                    <a:pt x="20" y="68"/>
                    <a:pt x="27" y="75"/>
                    <a:pt x="35" y="75"/>
                  </a:cubicBezTo>
                  <a:moveTo>
                    <a:pt x="35" y="48"/>
                  </a:moveTo>
                  <a:cubicBezTo>
                    <a:pt x="42" y="48"/>
                    <a:pt x="47" y="53"/>
                    <a:pt x="47" y="60"/>
                  </a:cubicBezTo>
                  <a:cubicBezTo>
                    <a:pt x="47" y="66"/>
                    <a:pt x="42" y="71"/>
                    <a:pt x="35" y="71"/>
                  </a:cubicBezTo>
                  <a:cubicBezTo>
                    <a:pt x="29" y="71"/>
                    <a:pt x="23" y="66"/>
                    <a:pt x="23" y="60"/>
                  </a:cubicBezTo>
                  <a:cubicBezTo>
                    <a:pt x="23" y="53"/>
                    <a:pt x="29" y="48"/>
                    <a:pt x="35" y="48"/>
                  </a:cubicBezTo>
                  <a:moveTo>
                    <a:pt x="31" y="80"/>
                  </a:moveTo>
                  <a:cubicBezTo>
                    <a:pt x="18" y="80"/>
                    <a:pt x="18" y="80"/>
                    <a:pt x="18" y="80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31" y="83"/>
                    <a:pt x="31" y="83"/>
                    <a:pt x="31" y="83"/>
                  </a:cubicBezTo>
                  <a:lnTo>
                    <a:pt x="31" y="80"/>
                  </a:lnTo>
                  <a:close/>
                  <a:moveTo>
                    <a:pt x="40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0" y="80"/>
                    <a:pt x="40" y="80"/>
                    <a:pt x="40" y="80"/>
                  </a:cubicBezTo>
                  <a:lnTo>
                    <a:pt x="40" y="8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0" name="Group 194">
            <a:extLst>
              <a:ext uri="{FF2B5EF4-FFF2-40B4-BE49-F238E27FC236}">
                <a16:creationId xmlns:a16="http://schemas.microsoft.com/office/drawing/2014/main" id="{D90A7828-4198-4568-98D3-83267AC767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7" y="4119790"/>
            <a:ext cx="841375" cy="839788"/>
            <a:chOff x="328" y="2684"/>
            <a:chExt cx="530" cy="529"/>
          </a:xfrm>
        </p:grpSpPr>
        <p:sp>
          <p:nvSpPr>
            <p:cNvPr id="221" name="AutoShape 193">
              <a:extLst>
                <a:ext uri="{FF2B5EF4-FFF2-40B4-BE49-F238E27FC236}">
                  <a16:creationId xmlns:a16="http://schemas.microsoft.com/office/drawing/2014/main" id="{9AA3A454-4436-46EA-AEE4-59E75AE149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8" y="268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Oval 195">
              <a:extLst>
                <a:ext uri="{FF2B5EF4-FFF2-40B4-BE49-F238E27FC236}">
                  <a16:creationId xmlns:a16="http://schemas.microsoft.com/office/drawing/2014/main" id="{709F85F6-051B-4D1B-AFE2-4EFA3315D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" y="2687"/>
              <a:ext cx="527" cy="52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96">
              <a:extLst>
                <a:ext uri="{FF2B5EF4-FFF2-40B4-BE49-F238E27FC236}">
                  <a16:creationId xmlns:a16="http://schemas.microsoft.com/office/drawing/2014/main" id="{AFC47445-F557-4CE0-A1F0-CA91E5028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" y="2703"/>
              <a:ext cx="495" cy="494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97">
              <a:extLst>
                <a:ext uri="{FF2B5EF4-FFF2-40B4-BE49-F238E27FC236}">
                  <a16:creationId xmlns:a16="http://schemas.microsoft.com/office/drawing/2014/main" id="{2708F165-EBE7-4779-A3AF-F00CA1653D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" y="2787"/>
              <a:ext cx="195" cy="326"/>
            </a:xfrm>
            <a:custGeom>
              <a:avLst/>
              <a:gdLst>
                <a:gd name="T0" fmla="*/ 66 w 72"/>
                <a:gd name="T1" fmla="*/ 40 h 120"/>
                <a:gd name="T2" fmla="*/ 60 w 72"/>
                <a:gd name="T3" fmla="*/ 27 h 120"/>
                <a:gd name="T4" fmla="*/ 53 w 72"/>
                <a:gd name="T5" fmla="*/ 19 h 120"/>
                <a:gd name="T6" fmla="*/ 48 w 72"/>
                <a:gd name="T7" fmla="*/ 2 h 120"/>
                <a:gd name="T8" fmla="*/ 18 w 72"/>
                <a:gd name="T9" fmla="*/ 0 h 120"/>
                <a:gd name="T10" fmla="*/ 14 w 72"/>
                <a:gd name="T11" fmla="*/ 10 h 120"/>
                <a:gd name="T12" fmla="*/ 6 w 72"/>
                <a:gd name="T13" fmla="*/ 27 h 120"/>
                <a:gd name="T14" fmla="*/ 0 w 72"/>
                <a:gd name="T15" fmla="*/ 87 h 120"/>
                <a:gd name="T16" fmla="*/ 11 w 72"/>
                <a:gd name="T17" fmla="*/ 101 h 120"/>
                <a:gd name="T18" fmla="*/ 17 w 72"/>
                <a:gd name="T19" fmla="*/ 118 h 120"/>
                <a:gd name="T20" fmla="*/ 46 w 72"/>
                <a:gd name="T21" fmla="*/ 120 h 120"/>
                <a:gd name="T22" fmla="*/ 50 w 72"/>
                <a:gd name="T23" fmla="*/ 110 h 120"/>
                <a:gd name="T24" fmla="*/ 58 w 72"/>
                <a:gd name="T25" fmla="*/ 93 h 120"/>
                <a:gd name="T26" fmla="*/ 66 w 72"/>
                <a:gd name="T27" fmla="*/ 87 h 120"/>
                <a:gd name="T28" fmla="*/ 70 w 72"/>
                <a:gd name="T29" fmla="*/ 55 h 120"/>
                <a:gd name="T30" fmla="*/ 72 w 72"/>
                <a:gd name="T31" fmla="*/ 41 h 120"/>
                <a:gd name="T32" fmla="*/ 20 w 72"/>
                <a:gd name="T33" fmla="*/ 3 h 120"/>
                <a:gd name="T34" fmla="*/ 47 w 72"/>
                <a:gd name="T35" fmla="*/ 9 h 120"/>
                <a:gd name="T36" fmla="*/ 20 w 72"/>
                <a:gd name="T37" fmla="*/ 3 h 120"/>
                <a:gd name="T38" fmla="*/ 47 w 72"/>
                <a:gd name="T39" fmla="*/ 12 h 120"/>
                <a:gd name="T40" fmla="*/ 15 w 72"/>
                <a:gd name="T41" fmla="*/ 18 h 120"/>
                <a:gd name="T42" fmla="*/ 13 w 72"/>
                <a:gd name="T43" fmla="*/ 21 h 120"/>
                <a:gd name="T44" fmla="*/ 55 w 72"/>
                <a:gd name="T45" fmla="*/ 27 h 120"/>
                <a:gd name="T46" fmla="*/ 13 w 72"/>
                <a:gd name="T47" fmla="*/ 21 h 120"/>
                <a:gd name="T48" fmla="*/ 20 w 72"/>
                <a:gd name="T49" fmla="*/ 117 h 120"/>
                <a:gd name="T50" fmla="*/ 47 w 72"/>
                <a:gd name="T51" fmla="*/ 111 h 120"/>
                <a:gd name="T52" fmla="*/ 47 w 72"/>
                <a:gd name="T53" fmla="*/ 108 h 120"/>
                <a:gd name="T54" fmla="*/ 15 w 72"/>
                <a:gd name="T55" fmla="*/ 102 h 120"/>
                <a:gd name="T56" fmla="*/ 47 w 72"/>
                <a:gd name="T57" fmla="*/ 108 h 120"/>
                <a:gd name="T58" fmla="*/ 13 w 72"/>
                <a:gd name="T59" fmla="*/ 99 h 120"/>
                <a:gd name="T60" fmla="*/ 55 w 72"/>
                <a:gd name="T61" fmla="*/ 93 h 120"/>
                <a:gd name="T62" fmla="*/ 63 w 72"/>
                <a:gd name="T63" fmla="*/ 87 h 120"/>
                <a:gd name="T64" fmla="*/ 6 w 72"/>
                <a:gd name="T65" fmla="*/ 90 h 120"/>
                <a:gd name="T66" fmla="*/ 3 w 72"/>
                <a:gd name="T67" fmla="*/ 33 h 120"/>
                <a:gd name="T68" fmla="*/ 60 w 72"/>
                <a:gd name="T69" fmla="*/ 30 h 120"/>
                <a:gd name="T70" fmla="*/ 63 w 72"/>
                <a:gd name="T71" fmla="*/ 87 h 120"/>
                <a:gd name="T72" fmla="*/ 66 w 72"/>
                <a:gd name="T73" fmla="*/ 52 h 120"/>
                <a:gd name="T74" fmla="*/ 68 w 72"/>
                <a:gd name="T75" fmla="*/ 43 h 120"/>
                <a:gd name="T76" fmla="*/ 58 w 72"/>
                <a:gd name="T77" fmla="*/ 34 h 120"/>
                <a:gd name="T78" fmla="*/ 7 w 72"/>
                <a:gd name="T79" fmla="*/ 35 h 120"/>
                <a:gd name="T80" fmla="*/ 9 w 72"/>
                <a:gd name="T81" fmla="*/ 86 h 120"/>
                <a:gd name="T82" fmla="*/ 59 w 72"/>
                <a:gd name="T83" fmla="*/ 85 h 120"/>
                <a:gd name="T84" fmla="*/ 58 w 72"/>
                <a:gd name="T85" fmla="*/ 34 h 120"/>
                <a:gd name="T86" fmla="*/ 10 w 72"/>
                <a:gd name="T87" fmla="*/ 83 h 120"/>
                <a:gd name="T88" fmla="*/ 56 w 72"/>
                <a:gd name="T89" fmla="*/ 37 h 120"/>
                <a:gd name="T90" fmla="*/ 33 w 72"/>
                <a:gd name="T91" fmla="*/ 70 h 120"/>
                <a:gd name="T92" fmla="*/ 33 w 72"/>
                <a:gd name="T93" fmla="*/ 42 h 120"/>
                <a:gd name="T94" fmla="*/ 33 w 72"/>
                <a:gd name="T95" fmla="*/ 70 h 120"/>
                <a:gd name="T96" fmla="*/ 44 w 72"/>
                <a:gd name="T97" fmla="*/ 56 h 120"/>
                <a:gd name="T98" fmla="*/ 22 w 72"/>
                <a:gd name="T99" fmla="*/ 56 h 120"/>
                <a:gd name="T100" fmla="*/ 29 w 72"/>
                <a:gd name="T101" fmla="*/ 75 h 120"/>
                <a:gd name="T102" fmla="*/ 17 w 72"/>
                <a:gd name="T103" fmla="*/ 78 h 120"/>
                <a:gd name="T104" fmla="*/ 29 w 72"/>
                <a:gd name="T105" fmla="*/ 75 h 120"/>
                <a:gd name="T106" fmla="*/ 49 w 72"/>
                <a:gd name="T107" fmla="*/ 78 h 120"/>
                <a:gd name="T108" fmla="*/ 37 w 72"/>
                <a:gd name="T109" fmla="*/ 7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" h="120">
                  <a:moveTo>
                    <a:pt x="70" y="40"/>
                  </a:moveTo>
                  <a:cubicBezTo>
                    <a:pt x="66" y="40"/>
                    <a:pt x="66" y="40"/>
                    <a:pt x="66" y="40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0"/>
                    <a:pt x="63" y="27"/>
                    <a:pt x="60" y="27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6"/>
                    <a:pt x="56" y="23"/>
                    <a:pt x="53" y="19"/>
                  </a:cubicBezTo>
                  <a:cubicBezTo>
                    <a:pt x="52" y="16"/>
                    <a:pt x="51" y="13"/>
                    <a:pt x="50" y="10"/>
                  </a:cubicBezTo>
                  <a:cubicBezTo>
                    <a:pt x="49" y="7"/>
                    <a:pt x="48" y="5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7" y="1"/>
                    <a:pt x="17" y="2"/>
                  </a:cubicBezTo>
                  <a:cubicBezTo>
                    <a:pt x="16" y="4"/>
                    <a:pt x="15" y="7"/>
                    <a:pt x="14" y="10"/>
                  </a:cubicBezTo>
                  <a:cubicBezTo>
                    <a:pt x="13" y="13"/>
                    <a:pt x="12" y="16"/>
                    <a:pt x="11" y="19"/>
                  </a:cubicBezTo>
                  <a:cubicBezTo>
                    <a:pt x="9" y="23"/>
                    <a:pt x="7" y="26"/>
                    <a:pt x="6" y="27"/>
                  </a:cubicBezTo>
                  <a:cubicBezTo>
                    <a:pt x="3" y="27"/>
                    <a:pt x="0" y="30"/>
                    <a:pt x="0" y="33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0"/>
                    <a:pt x="3" y="93"/>
                    <a:pt x="6" y="93"/>
                  </a:cubicBezTo>
                  <a:cubicBezTo>
                    <a:pt x="7" y="94"/>
                    <a:pt x="9" y="97"/>
                    <a:pt x="11" y="101"/>
                  </a:cubicBezTo>
                  <a:cubicBezTo>
                    <a:pt x="12" y="104"/>
                    <a:pt x="13" y="107"/>
                    <a:pt x="14" y="110"/>
                  </a:cubicBezTo>
                  <a:cubicBezTo>
                    <a:pt x="15" y="113"/>
                    <a:pt x="16" y="115"/>
                    <a:pt x="17" y="118"/>
                  </a:cubicBezTo>
                  <a:cubicBezTo>
                    <a:pt x="17" y="119"/>
                    <a:pt x="18" y="120"/>
                    <a:pt x="18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7" y="120"/>
                    <a:pt x="48" y="119"/>
                    <a:pt x="48" y="118"/>
                  </a:cubicBezTo>
                  <a:cubicBezTo>
                    <a:pt x="48" y="115"/>
                    <a:pt x="49" y="113"/>
                    <a:pt x="50" y="110"/>
                  </a:cubicBezTo>
                  <a:cubicBezTo>
                    <a:pt x="51" y="107"/>
                    <a:pt x="52" y="104"/>
                    <a:pt x="53" y="101"/>
                  </a:cubicBezTo>
                  <a:cubicBezTo>
                    <a:pt x="55" y="97"/>
                    <a:pt x="58" y="94"/>
                    <a:pt x="58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3" y="93"/>
                    <a:pt x="66" y="90"/>
                    <a:pt x="66" y="87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2" y="54"/>
                    <a:pt x="72" y="53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1" y="40"/>
                    <a:pt x="70" y="40"/>
                  </a:cubicBezTo>
                  <a:moveTo>
                    <a:pt x="20" y="3"/>
                  </a:moveTo>
                  <a:cubicBezTo>
                    <a:pt x="45" y="3"/>
                    <a:pt x="45" y="3"/>
                    <a:pt x="45" y="3"/>
                  </a:cubicBezTo>
                  <a:cubicBezTo>
                    <a:pt x="45" y="5"/>
                    <a:pt x="46" y="7"/>
                    <a:pt x="4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7"/>
                    <a:pt x="19" y="5"/>
                    <a:pt x="20" y="3"/>
                  </a:cubicBezTo>
                  <a:moveTo>
                    <a:pt x="17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8" y="14"/>
                    <a:pt x="49" y="16"/>
                    <a:pt x="50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6"/>
                    <a:pt x="16" y="14"/>
                    <a:pt x="17" y="12"/>
                  </a:cubicBezTo>
                  <a:moveTo>
                    <a:pt x="13" y="21"/>
                  </a:moveTo>
                  <a:cubicBezTo>
                    <a:pt x="51" y="21"/>
                    <a:pt x="51" y="21"/>
                    <a:pt x="51" y="21"/>
                  </a:cubicBezTo>
                  <a:cubicBezTo>
                    <a:pt x="52" y="23"/>
                    <a:pt x="54" y="25"/>
                    <a:pt x="55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5"/>
                    <a:pt x="12" y="23"/>
                    <a:pt x="13" y="21"/>
                  </a:cubicBezTo>
                  <a:moveTo>
                    <a:pt x="45" y="117"/>
                  </a:moveTo>
                  <a:cubicBezTo>
                    <a:pt x="20" y="117"/>
                    <a:pt x="20" y="117"/>
                    <a:pt x="20" y="117"/>
                  </a:cubicBezTo>
                  <a:cubicBezTo>
                    <a:pt x="19" y="115"/>
                    <a:pt x="19" y="113"/>
                    <a:pt x="18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6" y="113"/>
                    <a:pt x="45" y="115"/>
                    <a:pt x="45" y="117"/>
                  </a:cubicBezTo>
                  <a:moveTo>
                    <a:pt x="47" y="108"/>
                  </a:moveTo>
                  <a:cubicBezTo>
                    <a:pt x="17" y="108"/>
                    <a:pt x="17" y="108"/>
                    <a:pt x="17" y="108"/>
                  </a:cubicBezTo>
                  <a:cubicBezTo>
                    <a:pt x="16" y="106"/>
                    <a:pt x="16" y="104"/>
                    <a:pt x="15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49" y="104"/>
                    <a:pt x="48" y="106"/>
                    <a:pt x="47" y="108"/>
                  </a:cubicBezTo>
                  <a:moveTo>
                    <a:pt x="51" y="99"/>
                  </a:moveTo>
                  <a:cubicBezTo>
                    <a:pt x="13" y="99"/>
                    <a:pt x="13" y="99"/>
                    <a:pt x="13" y="99"/>
                  </a:cubicBezTo>
                  <a:cubicBezTo>
                    <a:pt x="12" y="97"/>
                    <a:pt x="11" y="95"/>
                    <a:pt x="10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4" y="95"/>
                    <a:pt x="52" y="97"/>
                    <a:pt x="51" y="99"/>
                  </a:cubicBezTo>
                  <a:moveTo>
                    <a:pt x="63" y="87"/>
                  </a:moveTo>
                  <a:cubicBezTo>
                    <a:pt x="63" y="89"/>
                    <a:pt x="62" y="90"/>
                    <a:pt x="60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5" y="90"/>
                    <a:pt x="3" y="89"/>
                    <a:pt x="3" y="87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1"/>
                    <a:pt x="5" y="30"/>
                    <a:pt x="6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2" y="30"/>
                    <a:pt x="63" y="31"/>
                    <a:pt x="63" y="33"/>
                  </a:cubicBezTo>
                  <a:lnTo>
                    <a:pt x="63" y="87"/>
                  </a:lnTo>
                  <a:close/>
                  <a:moveTo>
                    <a:pt x="68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8" y="43"/>
                    <a:pt x="68" y="43"/>
                    <a:pt x="68" y="43"/>
                  </a:cubicBezTo>
                  <a:lnTo>
                    <a:pt x="68" y="52"/>
                  </a:lnTo>
                  <a:close/>
                  <a:moveTo>
                    <a:pt x="58" y="34"/>
                  </a:moveTo>
                  <a:cubicBezTo>
                    <a:pt x="9" y="34"/>
                    <a:pt x="9" y="34"/>
                    <a:pt x="9" y="34"/>
                  </a:cubicBezTo>
                  <a:cubicBezTo>
                    <a:pt x="8" y="34"/>
                    <a:pt x="7" y="34"/>
                    <a:pt x="7" y="3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6"/>
                    <a:pt x="8" y="86"/>
                    <a:pt x="9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9" y="86"/>
                    <a:pt x="59" y="86"/>
                    <a:pt x="59" y="8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4"/>
                    <a:pt x="59" y="34"/>
                    <a:pt x="58" y="34"/>
                  </a:cubicBezTo>
                  <a:moveTo>
                    <a:pt x="56" y="83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56" y="37"/>
                    <a:pt x="56" y="37"/>
                    <a:pt x="56" y="37"/>
                  </a:cubicBezTo>
                  <a:lnTo>
                    <a:pt x="56" y="83"/>
                  </a:lnTo>
                  <a:close/>
                  <a:moveTo>
                    <a:pt x="33" y="70"/>
                  </a:moveTo>
                  <a:cubicBezTo>
                    <a:pt x="41" y="70"/>
                    <a:pt x="47" y="64"/>
                    <a:pt x="47" y="56"/>
                  </a:cubicBezTo>
                  <a:cubicBezTo>
                    <a:pt x="47" y="48"/>
                    <a:pt x="41" y="42"/>
                    <a:pt x="33" y="42"/>
                  </a:cubicBezTo>
                  <a:cubicBezTo>
                    <a:pt x="25" y="42"/>
                    <a:pt x="19" y="48"/>
                    <a:pt x="19" y="56"/>
                  </a:cubicBezTo>
                  <a:cubicBezTo>
                    <a:pt x="19" y="64"/>
                    <a:pt x="25" y="70"/>
                    <a:pt x="33" y="70"/>
                  </a:cubicBezTo>
                  <a:moveTo>
                    <a:pt x="33" y="45"/>
                  </a:moveTo>
                  <a:cubicBezTo>
                    <a:pt x="39" y="45"/>
                    <a:pt x="44" y="50"/>
                    <a:pt x="44" y="56"/>
                  </a:cubicBezTo>
                  <a:cubicBezTo>
                    <a:pt x="44" y="62"/>
                    <a:pt x="39" y="67"/>
                    <a:pt x="33" y="67"/>
                  </a:cubicBezTo>
                  <a:cubicBezTo>
                    <a:pt x="27" y="67"/>
                    <a:pt x="22" y="62"/>
                    <a:pt x="22" y="56"/>
                  </a:cubicBezTo>
                  <a:cubicBezTo>
                    <a:pt x="22" y="50"/>
                    <a:pt x="27" y="45"/>
                    <a:pt x="33" y="45"/>
                  </a:cubicBezTo>
                  <a:moveTo>
                    <a:pt x="29" y="75"/>
                  </a:moveTo>
                  <a:cubicBezTo>
                    <a:pt x="17" y="75"/>
                    <a:pt x="17" y="75"/>
                    <a:pt x="17" y="75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29" y="78"/>
                    <a:pt x="29" y="78"/>
                    <a:pt x="29" y="78"/>
                  </a:cubicBezTo>
                  <a:lnTo>
                    <a:pt x="29" y="75"/>
                  </a:lnTo>
                  <a:close/>
                  <a:moveTo>
                    <a:pt x="37" y="78"/>
                  </a:moveTo>
                  <a:cubicBezTo>
                    <a:pt x="49" y="78"/>
                    <a:pt x="49" y="78"/>
                    <a:pt x="49" y="78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37" y="75"/>
                    <a:pt x="37" y="75"/>
                    <a:pt x="37" y="75"/>
                  </a:cubicBezTo>
                  <a:lnTo>
                    <a:pt x="37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9" name="Group 200">
            <a:extLst>
              <a:ext uri="{FF2B5EF4-FFF2-40B4-BE49-F238E27FC236}">
                <a16:creationId xmlns:a16="http://schemas.microsoft.com/office/drawing/2014/main" id="{74CA8075-5FC8-4A6D-8E56-01E02A3414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7368" y="4174856"/>
            <a:ext cx="749300" cy="749300"/>
            <a:chOff x="2234" y="2706"/>
            <a:chExt cx="472" cy="472"/>
          </a:xfrm>
        </p:grpSpPr>
        <p:sp>
          <p:nvSpPr>
            <p:cNvPr id="230" name="AutoShape 199">
              <a:extLst>
                <a:ext uri="{FF2B5EF4-FFF2-40B4-BE49-F238E27FC236}">
                  <a16:creationId xmlns:a16="http://schemas.microsoft.com/office/drawing/2014/main" id="{A47AD01A-09D1-4BB7-9946-7D90A56AB0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4" y="2706"/>
              <a:ext cx="472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01">
              <a:extLst>
                <a:ext uri="{FF2B5EF4-FFF2-40B4-BE49-F238E27FC236}">
                  <a16:creationId xmlns:a16="http://schemas.microsoft.com/office/drawing/2014/main" id="{ED88AD0E-7864-4834-8907-7FC59A597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" y="2708"/>
              <a:ext cx="470" cy="470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02">
              <a:extLst>
                <a:ext uri="{FF2B5EF4-FFF2-40B4-BE49-F238E27FC236}">
                  <a16:creationId xmlns:a16="http://schemas.microsoft.com/office/drawing/2014/main" id="{20E858A7-0957-49F2-BB7C-8D36F5924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9" y="2834"/>
              <a:ext cx="324" cy="218"/>
            </a:xfrm>
            <a:custGeom>
              <a:avLst/>
              <a:gdLst>
                <a:gd name="T0" fmla="*/ 122 w 134"/>
                <a:gd name="T1" fmla="*/ 0 h 90"/>
                <a:gd name="T2" fmla="*/ 12 w 134"/>
                <a:gd name="T3" fmla="*/ 0 h 90"/>
                <a:gd name="T4" fmla="*/ 0 w 134"/>
                <a:gd name="T5" fmla="*/ 12 h 90"/>
                <a:gd name="T6" fmla="*/ 0 w 134"/>
                <a:gd name="T7" fmla="*/ 78 h 90"/>
                <a:gd name="T8" fmla="*/ 12 w 134"/>
                <a:gd name="T9" fmla="*/ 90 h 90"/>
                <a:gd name="T10" fmla="*/ 122 w 134"/>
                <a:gd name="T11" fmla="*/ 90 h 90"/>
                <a:gd name="T12" fmla="*/ 134 w 134"/>
                <a:gd name="T13" fmla="*/ 78 h 90"/>
                <a:gd name="T14" fmla="*/ 134 w 134"/>
                <a:gd name="T15" fmla="*/ 12 h 90"/>
                <a:gd name="T16" fmla="*/ 122 w 134"/>
                <a:gd name="T17" fmla="*/ 0 h 90"/>
                <a:gd name="T18" fmla="*/ 23 w 134"/>
                <a:gd name="T19" fmla="*/ 85 h 90"/>
                <a:gd name="T20" fmla="*/ 12 w 134"/>
                <a:gd name="T21" fmla="*/ 85 h 90"/>
                <a:gd name="T22" fmla="*/ 6 w 134"/>
                <a:gd name="T23" fmla="*/ 78 h 90"/>
                <a:gd name="T24" fmla="*/ 6 w 134"/>
                <a:gd name="T25" fmla="*/ 12 h 90"/>
                <a:gd name="T26" fmla="*/ 12 w 134"/>
                <a:gd name="T27" fmla="*/ 5 h 90"/>
                <a:gd name="T28" fmla="*/ 23 w 134"/>
                <a:gd name="T29" fmla="*/ 5 h 90"/>
                <a:gd name="T30" fmla="*/ 23 w 134"/>
                <a:gd name="T31" fmla="*/ 85 h 90"/>
                <a:gd name="T32" fmla="*/ 114 w 134"/>
                <a:gd name="T33" fmla="*/ 85 h 90"/>
                <a:gd name="T34" fmla="*/ 29 w 134"/>
                <a:gd name="T35" fmla="*/ 85 h 90"/>
                <a:gd name="T36" fmla="*/ 29 w 134"/>
                <a:gd name="T37" fmla="*/ 5 h 90"/>
                <a:gd name="T38" fmla="*/ 114 w 134"/>
                <a:gd name="T39" fmla="*/ 5 h 90"/>
                <a:gd name="T40" fmla="*/ 114 w 134"/>
                <a:gd name="T41" fmla="*/ 85 h 90"/>
                <a:gd name="T42" fmla="*/ 128 w 134"/>
                <a:gd name="T43" fmla="*/ 78 h 90"/>
                <a:gd name="T44" fmla="*/ 122 w 134"/>
                <a:gd name="T45" fmla="*/ 85 h 90"/>
                <a:gd name="T46" fmla="*/ 119 w 134"/>
                <a:gd name="T47" fmla="*/ 85 h 90"/>
                <a:gd name="T48" fmla="*/ 119 w 134"/>
                <a:gd name="T49" fmla="*/ 5 h 90"/>
                <a:gd name="T50" fmla="*/ 122 w 134"/>
                <a:gd name="T51" fmla="*/ 5 h 90"/>
                <a:gd name="T52" fmla="*/ 128 w 134"/>
                <a:gd name="T53" fmla="*/ 12 h 90"/>
                <a:gd name="T54" fmla="*/ 128 w 134"/>
                <a:gd name="T55" fmla="*/ 78 h 90"/>
                <a:gd name="T56" fmla="*/ 10 w 134"/>
                <a:gd name="T57" fmla="*/ 43 h 90"/>
                <a:gd name="T58" fmla="*/ 14 w 134"/>
                <a:gd name="T59" fmla="*/ 48 h 90"/>
                <a:gd name="T60" fmla="*/ 19 w 134"/>
                <a:gd name="T61" fmla="*/ 43 h 90"/>
                <a:gd name="T62" fmla="*/ 14 w 134"/>
                <a:gd name="T63" fmla="*/ 39 h 90"/>
                <a:gd name="T64" fmla="*/ 10 w 134"/>
                <a:gd name="T65" fmla="*/ 43 h 90"/>
                <a:gd name="T66" fmla="*/ 97 w 134"/>
                <a:gd name="T67" fmla="*/ 31 h 90"/>
                <a:gd name="T68" fmla="*/ 41 w 134"/>
                <a:gd name="T69" fmla="*/ 31 h 90"/>
                <a:gd name="T70" fmla="*/ 41 w 134"/>
                <a:gd name="T71" fmla="*/ 36 h 90"/>
                <a:gd name="T72" fmla="*/ 97 w 134"/>
                <a:gd name="T73" fmla="*/ 36 h 90"/>
                <a:gd name="T74" fmla="*/ 97 w 134"/>
                <a:gd name="T75" fmla="*/ 31 h 90"/>
                <a:gd name="T76" fmla="*/ 97 w 134"/>
                <a:gd name="T77" fmla="*/ 44 h 90"/>
                <a:gd name="T78" fmla="*/ 41 w 134"/>
                <a:gd name="T79" fmla="*/ 44 h 90"/>
                <a:gd name="T80" fmla="*/ 41 w 134"/>
                <a:gd name="T81" fmla="*/ 49 h 90"/>
                <a:gd name="T82" fmla="*/ 97 w 134"/>
                <a:gd name="T83" fmla="*/ 49 h 90"/>
                <a:gd name="T84" fmla="*/ 97 w 134"/>
                <a:gd name="T85" fmla="*/ 44 h 90"/>
                <a:gd name="T86" fmla="*/ 72 w 134"/>
                <a:gd name="T87" fmla="*/ 56 h 90"/>
                <a:gd name="T88" fmla="*/ 41 w 134"/>
                <a:gd name="T89" fmla="*/ 56 h 90"/>
                <a:gd name="T90" fmla="*/ 41 w 134"/>
                <a:gd name="T91" fmla="*/ 61 h 90"/>
                <a:gd name="T92" fmla="*/ 72 w 134"/>
                <a:gd name="T93" fmla="*/ 61 h 90"/>
                <a:gd name="T94" fmla="*/ 72 w 134"/>
                <a:gd name="T9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" h="90">
                  <a:moveTo>
                    <a:pt x="12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85"/>
                    <a:pt x="6" y="90"/>
                    <a:pt x="12" y="90"/>
                  </a:cubicBezTo>
                  <a:cubicBezTo>
                    <a:pt x="122" y="90"/>
                    <a:pt x="122" y="90"/>
                    <a:pt x="122" y="90"/>
                  </a:cubicBezTo>
                  <a:cubicBezTo>
                    <a:pt x="128" y="90"/>
                    <a:pt x="134" y="85"/>
                    <a:pt x="134" y="78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5"/>
                    <a:pt x="128" y="0"/>
                    <a:pt x="122" y="0"/>
                  </a:cubicBezTo>
                  <a:moveTo>
                    <a:pt x="23" y="85"/>
                  </a:moveTo>
                  <a:cubicBezTo>
                    <a:pt x="12" y="85"/>
                    <a:pt x="12" y="85"/>
                    <a:pt x="12" y="85"/>
                  </a:cubicBezTo>
                  <a:cubicBezTo>
                    <a:pt x="9" y="85"/>
                    <a:pt x="6" y="82"/>
                    <a:pt x="6" y="7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8"/>
                    <a:pt x="9" y="5"/>
                    <a:pt x="12" y="5"/>
                  </a:cubicBezTo>
                  <a:cubicBezTo>
                    <a:pt x="23" y="5"/>
                    <a:pt x="23" y="5"/>
                    <a:pt x="23" y="5"/>
                  </a:cubicBezTo>
                  <a:lnTo>
                    <a:pt x="23" y="85"/>
                  </a:lnTo>
                  <a:close/>
                  <a:moveTo>
                    <a:pt x="114" y="85"/>
                  </a:moveTo>
                  <a:cubicBezTo>
                    <a:pt x="29" y="85"/>
                    <a:pt x="29" y="85"/>
                    <a:pt x="29" y="8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114" y="5"/>
                    <a:pt x="114" y="5"/>
                    <a:pt x="114" y="5"/>
                  </a:cubicBezTo>
                  <a:lnTo>
                    <a:pt x="114" y="85"/>
                  </a:lnTo>
                  <a:close/>
                  <a:moveTo>
                    <a:pt x="128" y="78"/>
                  </a:moveTo>
                  <a:cubicBezTo>
                    <a:pt x="128" y="82"/>
                    <a:pt x="125" y="85"/>
                    <a:pt x="122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5" y="5"/>
                    <a:pt x="128" y="8"/>
                    <a:pt x="128" y="12"/>
                  </a:cubicBezTo>
                  <a:lnTo>
                    <a:pt x="128" y="78"/>
                  </a:lnTo>
                  <a:close/>
                  <a:moveTo>
                    <a:pt x="10" y="43"/>
                  </a:moveTo>
                  <a:cubicBezTo>
                    <a:pt x="10" y="46"/>
                    <a:pt x="12" y="48"/>
                    <a:pt x="14" y="48"/>
                  </a:cubicBezTo>
                  <a:cubicBezTo>
                    <a:pt x="17" y="48"/>
                    <a:pt x="19" y="46"/>
                    <a:pt x="19" y="43"/>
                  </a:cubicBezTo>
                  <a:cubicBezTo>
                    <a:pt x="19" y="41"/>
                    <a:pt x="17" y="39"/>
                    <a:pt x="14" y="39"/>
                  </a:cubicBezTo>
                  <a:cubicBezTo>
                    <a:pt x="12" y="39"/>
                    <a:pt x="10" y="41"/>
                    <a:pt x="10" y="43"/>
                  </a:cubicBezTo>
                  <a:moveTo>
                    <a:pt x="97" y="31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97" y="36"/>
                    <a:pt x="97" y="36"/>
                    <a:pt x="97" y="36"/>
                  </a:cubicBezTo>
                  <a:lnTo>
                    <a:pt x="97" y="31"/>
                  </a:lnTo>
                  <a:close/>
                  <a:moveTo>
                    <a:pt x="97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97" y="49"/>
                    <a:pt x="97" y="49"/>
                    <a:pt x="97" y="49"/>
                  </a:cubicBezTo>
                  <a:lnTo>
                    <a:pt x="97" y="44"/>
                  </a:lnTo>
                  <a:close/>
                  <a:moveTo>
                    <a:pt x="72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72" y="61"/>
                    <a:pt x="72" y="61"/>
                    <a:pt x="72" y="61"/>
                  </a:cubicBezTo>
                  <a:lnTo>
                    <a:pt x="72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205">
            <a:extLst>
              <a:ext uri="{FF2B5EF4-FFF2-40B4-BE49-F238E27FC236}">
                <a16:creationId xmlns:a16="http://schemas.microsoft.com/office/drawing/2014/main" id="{BBBF4C2A-5CC9-4460-A326-16CA4E0E3F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1055" y="4128819"/>
            <a:ext cx="841375" cy="841375"/>
            <a:chOff x="1754" y="2661"/>
            <a:chExt cx="530" cy="530"/>
          </a:xfrm>
        </p:grpSpPr>
        <p:sp>
          <p:nvSpPr>
            <p:cNvPr id="234" name="AutoShape 204">
              <a:extLst>
                <a:ext uri="{FF2B5EF4-FFF2-40B4-BE49-F238E27FC236}">
                  <a16:creationId xmlns:a16="http://schemas.microsoft.com/office/drawing/2014/main" id="{D4BE4924-10E2-427F-8EA0-67EB2796D0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54" y="26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206">
              <a:extLst>
                <a:ext uri="{FF2B5EF4-FFF2-40B4-BE49-F238E27FC236}">
                  <a16:creationId xmlns:a16="http://schemas.microsoft.com/office/drawing/2014/main" id="{3DD8CC8B-C98D-4757-8648-84FB2E7CA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7" y="266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7">
              <a:extLst>
                <a:ext uri="{FF2B5EF4-FFF2-40B4-BE49-F238E27FC236}">
                  <a16:creationId xmlns:a16="http://schemas.microsoft.com/office/drawing/2014/main" id="{5494439B-0D7C-4D68-897F-B287DB4A0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3" y="2680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8">
              <a:extLst>
                <a:ext uri="{FF2B5EF4-FFF2-40B4-BE49-F238E27FC236}">
                  <a16:creationId xmlns:a16="http://schemas.microsoft.com/office/drawing/2014/main" id="{6053B652-9619-4466-810F-C1449A81BD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2" y="2813"/>
              <a:ext cx="337" cy="229"/>
            </a:xfrm>
            <a:custGeom>
              <a:avLst/>
              <a:gdLst>
                <a:gd name="T0" fmla="*/ 113 w 124"/>
                <a:gd name="T1" fmla="*/ 0 h 84"/>
                <a:gd name="T2" fmla="*/ 11 w 124"/>
                <a:gd name="T3" fmla="*/ 0 h 84"/>
                <a:gd name="T4" fmla="*/ 0 w 124"/>
                <a:gd name="T5" fmla="*/ 11 h 84"/>
                <a:gd name="T6" fmla="*/ 0 w 124"/>
                <a:gd name="T7" fmla="*/ 73 h 84"/>
                <a:gd name="T8" fmla="*/ 11 w 124"/>
                <a:gd name="T9" fmla="*/ 84 h 84"/>
                <a:gd name="T10" fmla="*/ 113 w 124"/>
                <a:gd name="T11" fmla="*/ 84 h 84"/>
                <a:gd name="T12" fmla="*/ 124 w 124"/>
                <a:gd name="T13" fmla="*/ 73 h 84"/>
                <a:gd name="T14" fmla="*/ 124 w 124"/>
                <a:gd name="T15" fmla="*/ 11 h 84"/>
                <a:gd name="T16" fmla="*/ 113 w 124"/>
                <a:gd name="T17" fmla="*/ 0 h 84"/>
                <a:gd name="T18" fmla="*/ 21 w 124"/>
                <a:gd name="T19" fmla="*/ 79 h 84"/>
                <a:gd name="T20" fmla="*/ 11 w 124"/>
                <a:gd name="T21" fmla="*/ 79 h 84"/>
                <a:gd name="T22" fmla="*/ 5 w 124"/>
                <a:gd name="T23" fmla="*/ 73 h 84"/>
                <a:gd name="T24" fmla="*/ 5 w 124"/>
                <a:gd name="T25" fmla="*/ 11 h 84"/>
                <a:gd name="T26" fmla="*/ 11 w 124"/>
                <a:gd name="T27" fmla="*/ 5 h 84"/>
                <a:gd name="T28" fmla="*/ 21 w 124"/>
                <a:gd name="T29" fmla="*/ 5 h 84"/>
                <a:gd name="T30" fmla="*/ 21 w 124"/>
                <a:gd name="T31" fmla="*/ 79 h 84"/>
                <a:gd name="T32" fmla="*/ 106 w 124"/>
                <a:gd name="T33" fmla="*/ 79 h 84"/>
                <a:gd name="T34" fmla="*/ 26 w 124"/>
                <a:gd name="T35" fmla="*/ 79 h 84"/>
                <a:gd name="T36" fmla="*/ 26 w 124"/>
                <a:gd name="T37" fmla="*/ 5 h 84"/>
                <a:gd name="T38" fmla="*/ 106 w 124"/>
                <a:gd name="T39" fmla="*/ 5 h 84"/>
                <a:gd name="T40" fmla="*/ 106 w 124"/>
                <a:gd name="T41" fmla="*/ 79 h 84"/>
                <a:gd name="T42" fmla="*/ 119 w 124"/>
                <a:gd name="T43" fmla="*/ 73 h 84"/>
                <a:gd name="T44" fmla="*/ 113 w 124"/>
                <a:gd name="T45" fmla="*/ 79 h 84"/>
                <a:gd name="T46" fmla="*/ 111 w 124"/>
                <a:gd name="T47" fmla="*/ 79 h 84"/>
                <a:gd name="T48" fmla="*/ 111 w 124"/>
                <a:gd name="T49" fmla="*/ 5 h 84"/>
                <a:gd name="T50" fmla="*/ 113 w 124"/>
                <a:gd name="T51" fmla="*/ 5 h 84"/>
                <a:gd name="T52" fmla="*/ 119 w 124"/>
                <a:gd name="T53" fmla="*/ 11 h 84"/>
                <a:gd name="T54" fmla="*/ 119 w 124"/>
                <a:gd name="T55" fmla="*/ 73 h 84"/>
                <a:gd name="T56" fmla="*/ 9 w 124"/>
                <a:gd name="T57" fmla="*/ 40 h 84"/>
                <a:gd name="T58" fmla="*/ 13 w 124"/>
                <a:gd name="T59" fmla="*/ 44 h 84"/>
                <a:gd name="T60" fmla="*/ 17 w 124"/>
                <a:gd name="T61" fmla="*/ 40 h 84"/>
                <a:gd name="T62" fmla="*/ 13 w 124"/>
                <a:gd name="T63" fmla="*/ 36 h 84"/>
                <a:gd name="T64" fmla="*/ 9 w 124"/>
                <a:gd name="T65" fmla="*/ 40 h 84"/>
                <a:gd name="T66" fmla="*/ 90 w 124"/>
                <a:gd name="T67" fmla="*/ 29 h 84"/>
                <a:gd name="T68" fmla="*/ 38 w 124"/>
                <a:gd name="T69" fmla="*/ 29 h 84"/>
                <a:gd name="T70" fmla="*/ 38 w 124"/>
                <a:gd name="T71" fmla="*/ 34 h 84"/>
                <a:gd name="T72" fmla="*/ 90 w 124"/>
                <a:gd name="T73" fmla="*/ 34 h 84"/>
                <a:gd name="T74" fmla="*/ 90 w 124"/>
                <a:gd name="T75" fmla="*/ 29 h 84"/>
                <a:gd name="T76" fmla="*/ 90 w 124"/>
                <a:gd name="T77" fmla="*/ 41 h 84"/>
                <a:gd name="T78" fmla="*/ 38 w 124"/>
                <a:gd name="T79" fmla="*/ 41 h 84"/>
                <a:gd name="T80" fmla="*/ 38 w 124"/>
                <a:gd name="T81" fmla="*/ 46 h 84"/>
                <a:gd name="T82" fmla="*/ 90 w 124"/>
                <a:gd name="T83" fmla="*/ 46 h 84"/>
                <a:gd name="T84" fmla="*/ 90 w 124"/>
                <a:gd name="T85" fmla="*/ 41 h 84"/>
                <a:gd name="T86" fmla="*/ 66 w 124"/>
                <a:gd name="T87" fmla="*/ 52 h 84"/>
                <a:gd name="T88" fmla="*/ 38 w 124"/>
                <a:gd name="T89" fmla="*/ 52 h 84"/>
                <a:gd name="T90" fmla="*/ 38 w 124"/>
                <a:gd name="T91" fmla="*/ 57 h 84"/>
                <a:gd name="T92" fmla="*/ 66 w 124"/>
                <a:gd name="T93" fmla="*/ 57 h 84"/>
                <a:gd name="T94" fmla="*/ 66 w 124"/>
                <a:gd name="T95" fmla="*/ 5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4" h="84">
                  <a:moveTo>
                    <a:pt x="113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9"/>
                    <a:pt x="5" y="84"/>
                    <a:pt x="11" y="84"/>
                  </a:cubicBezTo>
                  <a:cubicBezTo>
                    <a:pt x="113" y="84"/>
                    <a:pt x="113" y="84"/>
                    <a:pt x="113" y="84"/>
                  </a:cubicBezTo>
                  <a:cubicBezTo>
                    <a:pt x="119" y="84"/>
                    <a:pt x="124" y="79"/>
                    <a:pt x="124" y="73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4" y="5"/>
                    <a:pt x="119" y="0"/>
                    <a:pt x="113" y="0"/>
                  </a:cubicBezTo>
                  <a:moveTo>
                    <a:pt x="21" y="79"/>
                  </a:moveTo>
                  <a:cubicBezTo>
                    <a:pt x="11" y="79"/>
                    <a:pt x="11" y="79"/>
                    <a:pt x="11" y="79"/>
                  </a:cubicBezTo>
                  <a:cubicBezTo>
                    <a:pt x="8" y="79"/>
                    <a:pt x="5" y="76"/>
                    <a:pt x="5" y="73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8"/>
                    <a:pt x="8" y="5"/>
                    <a:pt x="11" y="5"/>
                  </a:cubicBezTo>
                  <a:cubicBezTo>
                    <a:pt x="21" y="5"/>
                    <a:pt x="21" y="5"/>
                    <a:pt x="21" y="5"/>
                  </a:cubicBezTo>
                  <a:lnTo>
                    <a:pt x="21" y="79"/>
                  </a:lnTo>
                  <a:close/>
                  <a:moveTo>
                    <a:pt x="10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106" y="5"/>
                    <a:pt x="106" y="5"/>
                    <a:pt x="106" y="5"/>
                  </a:cubicBezTo>
                  <a:lnTo>
                    <a:pt x="106" y="79"/>
                  </a:lnTo>
                  <a:close/>
                  <a:moveTo>
                    <a:pt x="119" y="73"/>
                  </a:moveTo>
                  <a:cubicBezTo>
                    <a:pt x="119" y="76"/>
                    <a:pt x="116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6" y="5"/>
                    <a:pt x="119" y="8"/>
                    <a:pt x="119" y="11"/>
                  </a:cubicBezTo>
                  <a:lnTo>
                    <a:pt x="119" y="73"/>
                  </a:lnTo>
                  <a:close/>
                  <a:moveTo>
                    <a:pt x="9" y="40"/>
                  </a:moveTo>
                  <a:cubicBezTo>
                    <a:pt x="9" y="43"/>
                    <a:pt x="10" y="44"/>
                    <a:pt x="13" y="44"/>
                  </a:cubicBezTo>
                  <a:cubicBezTo>
                    <a:pt x="15" y="44"/>
                    <a:pt x="17" y="43"/>
                    <a:pt x="17" y="40"/>
                  </a:cubicBezTo>
                  <a:cubicBezTo>
                    <a:pt x="17" y="38"/>
                    <a:pt x="15" y="36"/>
                    <a:pt x="13" y="36"/>
                  </a:cubicBezTo>
                  <a:cubicBezTo>
                    <a:pt x="10" y="36"/>
                    <a:pt x="9" y="38"/>
                    <a:pt x="9" y="40"/>
                  </a:cubicBezTo>
                  <a:moveTo>
                    <a:pt x="90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90" y="34"/>
                    <a:pt x="90" y="34"/>
                    <a:pt x="90" y="34"/>
                  </a:cubicBezTo>
                  <a:lnTo>
                    <a:pt x="90" y="29"/>
                  </a:lnTo>
                  <a:close/>
                  <a:moveTo>
                    <a:pt x="90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90" y="46"/>
                    <a:pt x="90" y="46"/>
                    <a:pt x="90" y="46"/>
                  </a:cubicBezTo>
                  <a:lnTo>
                    <a:pt x="90" y="41"/>
                  </a:lnTo>
                  <a:close/>
                  <a:moveTo>
                    <a:pt x="66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66" y="57"/>
                    <a:pt x="66" y="57"/>
                    <a:pt x="66" y="57"/>
                  </a:cubicBezTo>
                  <a:lnTo>
                    <a:pt x="66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2" name="Group 211">
            <a:extLst>
              <a:ext uri="{FF2B5EF4-FFF2-40B4-BE49-F238E27FC236}">
                <a16:creationId xmlns:a16="http://schemas.microsoft.com/office/drawing/2014/main" id="{42BD5FE8-AB6E-4446-B48B-3F6F24A40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965" y="4174856"/>
            <a:ext cx="758825" cy="758825"/>
            <a:chOff x="3584" y="2632"/>
            <a:chExt cx="478" cy="478"/>
          </a:xfrm>
        </p:grpSpPr>
        <p:sp>
          <p:nvSpPr>
            <p:cNvPr id="243" name="AutoShape 210">
              <a:extLst>
                <a:ext uri="{FF2B5EF4-FFF2-40B4-BE49-F238E27FC236}">
                  <a16:creationId xmlns:a16="http://schemas.microsoft.com/office/drawing/2014/main" id="{12A2A660-67C6-4330-999C-50EE0EA20D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4" y="263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12">
              <a:extLst>
                <a:ext uri="{FF2B5EF4-FFF2-40B4-BE49-F238E27FC236}">
                  <a16:creationId xmlns:a16="http://schemas.microsoft.com/office/drawing/2014/main" id="{CB24DADD-93DD-48AC-8770-E099EB7AC0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" y="2634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13">
              <a:extLst>
                <a:ext uri="{FF2B5EF4-FFF2-40B4-BE49-F238E27FC236}">
                  <a16:creationId xmlns:a16="http://schemas.microsoft.com/office/drawing/2014/main" id="{D1714876-B19F-4A03-83B1-E010FFBB2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963"/>
              <a:ext cx="37" cy="12"/>
            </a:xfrm>
            <a:custGeom>
              <a:avLst/>
              <a:gdLst>
                <a:gd name="T0" fmla="*/ 5 w 37"/>
                <a:gd name="T1" fmla="*/ 12 h 12"/>
                <a:gd name="T2" fmla="*/ 5 w 37"/>
                <a:gd name="T3" fmla="*/ 10 h 12"/>
                <a:gd name="T4" fmla="*/ 7 w 37"/>
                <a:gd name="T5" fmla="*/ 10 h 12"/>
                <a:gd name="T6" fmla="*/ 32 w 37"/>
                <a:gd name="T7" fmla="*/ 10 h 12"/>
                <a:gd name="T8" fmla="*/ 34 w 37"/>
                <a:gd name="T9" fmla="*/ 12 h 12"/>
                <a:gd name="T10" fmla="*/ 32 w 37"/>
                <a:gd name="T11" fmla="*/ 10 h 12"/>
                <a:gd name="T12" fmla="*/ 32 w 37"/>
                <a:gd name="T13" fmla="*/ 10 h 12"/>
                <a:gd name="T14" fmla="*/ 37 w 37"/>
                <a:gd name="T15" fmla="*/ 10 h 12"/>
                <a:gd name="T16" fmla="*/ 34 w 37"/>
                <a:gd name="T17" fmla="*/ 7 h 12"/>
                <a:gd name="T18" fmla="*/ 34 w 37"/>
                <a:gd name="T19" fmla="*/ 7 h 12"/>
                <a:gd name="T20" fmla="*/ 37 w 37"/>
                <a:gd name="T21" fmla="*/ 5 h 12"/>
                <a:gd name="T22" fmla="*/ 34 w 37"/>
                <a:gd name="T23" fmla="*/ 5 h 12"/>
                <a:gd name="T24" fmla="*/ 34 w 37"/>
                <a:gd name="T25" fmla="*/ 5 h 12"/>
                <a:gd name="T26" fmla="*/ 37 w 37"/>
                <a:gd name="T27" fmla="*/ 2 h 12"/>
                <a:gd name="T28" fmla="*/ 32 w 37"/>
                <a:gd name="T29" fmla="*/ 5 h 12"/>
                <a:gd name="T30" fmla="*/ 34 w 37"/>
                <a:gd name="T31" fmla="*/ 2 h 12"/>
                <a:gd name="T32" fmla="*/ 32 w 37"/>
                <a:gd name="T33" fmla="*/ 2 h 12"/>
                <a:gd name="T34" fmla="*/ 34 w 37"/>
                <a:gd name="T35" fmla="*/ 0 h 12"/>
                <a:gd name="T36" fmla="*/ 32 w 37"/>
                <a:gd name="T37" fmla="*/ 2 h 12"/>
                <a:gd name="T38" fmla="*/ 30 w 37"/>
                <a:gd name="T39" fmla="*/ 2 h 12"/>
                <a:gd name="T40" fmla="*/ 5 w 37"/>
                <a:gd name="T41" fmla="*/ 2 h 12"/>
                <a:gd name="T42" fmla="*/ 3 w 37"/>
                <a:gd name="T43" fmla="*/ 0 h 12"/>
                <a:gd name="T44" fmla="*/ 5 w 37"/>
                <a:gd name="T45" fmla="*/ 2 h 12"/>
                <a:gd name="T46" fmla="*/ 3 w 37"/>
                <a:gd name="T47" fmla="*/ 2 h 12"/>
                <a:gd name="T48" fmla="*/ 5 w 37"/>
                <a:gd name="T49" fmla="*/ 5 h 12"/>
                <a:gd name="T50" fmla="*/ 0 w 37"/>
                <a:gd name="T51" fmla="*/ 2 h 12"/>
                <a:gd name="T52" fmla="*/ 0 w 37"/>
                <a:gd name="T53" fmla="*/ 2 h 12"/>
                <a:gd name="T54" fmla="*/ 3 w 37"/>
                <a:gd name="T55" fmla="*/ 5 h 12"/>
                <a:gd name="T56" fmla="*/ 0 w 37"/>
                <a:gd name="T57" fmla="*/ 5 h 12"/>
                <a:gd name="T58" fmla="*/ 3 w 37"/>
                <a:gd name="T59" fmla="*/ 5 h 12"/>
                <a:gd name="T60" fmla="*/ 0 w 37"/>
                <a:gd name="T61" fmla="*/ 7 h 12"/>
                <a:gd name="T62" fmla="*/ 3 w 37"/>
                <a:gd name="T63" fmla="*/ 7 h 12"/>
                <a:gd name="T64" fmla="*/ 0 w 37"/>
                <a:gd name="T65" fmla="*/ 7 h 12"/>
                <a:gd name="T66" fmla="*/ 3 w 37"/>
                <a:gd name="T67" fmla="*/ 7 h 12"/>
                <a:gd name="T68" fmla="*/ 0 w 37"/>
                <a:gd name="T69" fmla="*/ 10 h 12"/>
                <a:gd name="T70" fmla="*/ 5 w 37"/>
                <a:gd name="T71" fmla="*/ 10 h 12"/>
                <a:gd name="T72" fmla="*/ 3 w 37"/>
                <a:gd name="T73" fmla="*/ 12 h 12"/>
                <a:gd name="T74" fmla="*/ 5 w 37"/>
                <a:gd name="T75" fmla="*/ 10 h 12"/>
                <a:gd name="T76" fmla="*/ 5 w 37"/>
                <a:gd name="T7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" h="12">
                  <a:moveTo>
                    <a:pt x="5" y="12"/>
                  </a:moveTo>
                  <a:lnTo>
                    <a:pt x="5" y="10"/>
                  </a:lnTo>
                  <a:lnTo>
                    <a:pt x="7" y="10"/>
                  </a:lnTo>
                  <a:lnTo>
                    <a:pt x="32" y="10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7" y="10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5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3" y="7"/>
                  </a:lnTo>
                  <a:lnTo>
                    <a:pt x="0" y="10"/>
                  </a:lnTo>
                  <a:lnTo>
                    <a:pt x="5" y="10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14">
              <a:extLst>
                <a:ext uri="{FF2B5EF4-FFF2-40B4-BE49-F238E27FC236}">
                  <a16:creationId xmlns:a16="http://schemas.microsoft.com/office/drawing/2014/main" id="{2AA3168F-2DF8-4756-9772-5F6B9705D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6" y="2720"/>
              <a:ext cx="216" cy="285"/>
            </a:xfrm>
            <a:custGeom>
              <a:avLst/>
              <a:gdLst>
                <a:gd name="T0" fmla="*/ 191 w 216"/>
                <a:gd name="T1" fmla="*/ 106 h 285"/>
                <a:gd name="T2" fmla="*/ 164 w 216"/>
                <a:gd name="T3" fmla="*/ 123 h 285"/>
                <a:gd name="T4" fmla="*/ 128 w 216"/>
                <a:gd name="T5" fmla="*/ 130 h 285"/>
                <a:gd name="T6" fmla="*/ 108 w 216"/>
                <a:gd name="T7" fmla="*/ 147 h 285"/>
                <a:gd name="T8" fmla="*/ 81 w 216"/>
                <a:gd name="T9" fmla="*/ 162 h 285"/>
                <a:gd name="T10" fmla="*/ 76 w 216"/>
                <a:gd name="T11" fmla="*/ 113 h 285"/>
                <a:gd name="T12" fmla="*/ 57 w 216"/>
                <a:gd name="T13" fmla="*/ 88 h 285"/>
                <a:gd name="T14" fmla="*/ 54 w 216"/>
                <a:gd name="T15" fmla="*/ 57 h 285"/>
                <a:gd name="T16" fmla="*/ 76 w 216"/>
                <a:gd name="T17" fmla="*/ 27 h 285"/>
                <a:gd name="T18" fmla="*/ 110 w 216"/>
                <a:gd name="T19" fmla="*/ 15 h 285"/>
                <a:gd name="T20" fmla="*/ 142 w 216"/>
                <a:gd name="T21" fmla="*/ 12 h 285"/>
                <a:gd name="T22" fmla="*/ 177 w 216"/>
                <a:gd name="T23" fmla="*/ 25 h 285"/>
                <a:gd name="T24" fmla="*/ 201 w 216"/>
                <a:gd name="T25" fmla="*/ 49 h 285"/>
                <a:gd name="T26" fmla="*/ 204 w 216"/>
                <a:gd name="T27" fmla="*/ 84 h 285"/>
                <a:gd name="T28" fmla="*/ 12 w 216"/>
                <a:gd name="T29" fmla="*/ 96 h 285"/>
                <a:gd name="T30" fmla="*/ 57 w 216"/>
                <a:gd name="T31" fmla="*/ 113 h 285"/>
                <a:gd name="T32" fmla="*/ 79 w 216"/>
                <a:gd name="T33" fmla="*/ 130 h 285"/>
                <a:gd name="T34" fmla="*/ 64 w 216"/>
                <a:gd name="T35" fmla="*/ 177 h 285"/>
                <a:gd name="T36" fmla="*/ 108 w 216"/>
                <a:gd name="T37" fmla="*/ 164 h 285"/>
                <a:gd name="T38" fmla="*/ 133 w 216"/>
                <a:gd name="T39" fmla="*/ 135 h 285"/>
                <a:gd name="T40" fmla="*/ 130 w 216"/>
                <a:gd name="T41" fmla="*/ 255 h 285"/>
                <a:gd name="T42" fmla="*/ 113 w 216"/>
                <a:gd name="T43" fmla="*/ 270 h 285"/>
                <a:gd name="T44" fmla="*/ 47 w 216"/>
                <a:gd name="T45" fmla="*/ 272 h 285"/>
                <a:gd name="T46" fmla="*/ 20 w 216"/>
                <a:gd name="T47" fmla="*/ 263 h 285"/>
                <a:gd name="T48" fmla="*/ 12 w 216"/>
                <a:gd name="T49" fmla="*/ 245 h 285"/>
                <a:gd name="T50" fmla="*/ 133 w 216"/>
                <a:gd name="T51" fmla="*/ 226 h 285"/>
                <a:gd name="T52" fmla="*/ 20 w 216"/>
                <a:gd name="T53" fmla="*/ 71 h 285"/>
                <a:gd name="T54" fmla="*/ 37 w 216"/>
                <a:gd name="T55" fmla="*/ 64 h 285"/>
                <a:gd name="T56" fmla="*/ 42 w 216"/>
                <a:gd name="T57" fmla="*/ 86 h 285"/>
                <a:gd name="T58" fmla="*/ 15 w 216"/>
                <a:gd name="T59" fmla="*/ 79 h 285"/>
                <a:gd name="T60" fmla="*/ 209 w 216"/>
                <a:gd name="T61" fmla="*/ 39 h 285"/>
                <a:gd name="T62" fmla="*/ 179 w 216"/>
                <a:gd name="T63" fmla="*/ 12 h 285"/>
                <a:gd name="T64" fmla="*/ 140 w 216"/>
                <a:gd name="T65" fmla="*/ 0 h 285"/>
                <a:gd name="T66" fmla="*/ 96 w 216"/>
                <a:gd name="T67" fmla="*/ 5 h 285"/>
                <a:gd name="T68" fmla="*/ 64 w 216"/>
                <a:gd name="T69" fmla="*/ 22 h 285"/>
                <a:gd name="T70" fmla="*/ 44 w 216"/>
                <a:gd name="T71" fmla="*/ 52 h 285"/>
                <a:gd name="T72" fmla="*/ 10 w 216"/>
                <a:gd name="T73" fmla="*/ 64 h 285"/>
                <a:gd name="T74" fmla="*/ 0 w 216"/>
                <a:gd name="T75" fmla="*/ 84 h 285"/>
                <a:gd name="T76" fmla="*/ 3 w 216"/>
                <a:gd name="T77" fmla="*/ 260 h 285"/>
                <a:gd name="T78" fmla="*/ 17 w 216"/>
                <a:gd name="T79" fmla="*/ 277 h 285"/>
                <a:gd name="T80" fmla="*/ 44 w 216"/>
                <a:gd name="T81" fmla="*/ 285 h 285"/>
                <a:gd name="T82" fmla="*/ 128 w 216"/>
                <a:gd name="T83" fmla="*/ 277 h 285"/>
                <a:gd name="T84" fmla="*/ 142 w 216"/>
                <a:gd name="T85" fmla="*/ 260 h 285"/>
                <a:gd name="T86" fmla="*/ 145 w 216"/>
                <a:gd name="T87" fmla="*/ 243 h 285"/>
                <a:gd name="T88" fmla="*/ 172 w 216"/>
                <a:gd name="T89" fmla="*/ 133 h 285"/>
                <a:gd name="T90" fmla="*/ 199 w 216"/>
                <a:gd name="T91" fmla="*/ 115 h 285"/>
                <a:gd name="T92" fmla="*/ 216 w 216"/>
                <a:gd name="T93" fmla="*/ 7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6" h="285">
                  <a:moveTo>
                    <a:pt x="204" y="84"/>
                  </a:moveTo>
                  <a:lnTo>
                    <a:pt x="199" y="96"/>
                  </a:lnTo>
                  <a:lnTo>
                    <a:pt x="191" y="106"/>
                  </a:lnTo>
                  <a:lnTo>
                    <a:pt x="182" y="115"/>
                  </a:lnTo>
                  <a:lnTo>
                    <a:pt x="172" y="120"/>
                  </a:lnTo>
                  <a:lnTo>
                    <a:pt x="164" y="123"/>
                  </a:lnTo>
                  <a:lnTo>
                    <a:pt x="155" y="125"/>
                  </a:lnTo>
                  <a:lnTo>
                    <a:pt x="140" y="128"/>
                  </a:lnTo>
                  <a:lnTo>
                    <a:pt x="128" y="130"/>
                  </a:lnTo>
                  <a:lnTo>
                    <a:pt x="120" y="130"/>
                  </a:lnTo>
                  <a:lnTo>
                    <a:pt x="115" y="142"/>
                  </a:lnTo>
                  <a:lnTo>
                    <a:pt x="108" y="147"/>
                  </a:lnTo>
                  <a:lnTo>
                    <a:pt x="101" y="155"/>
                  </a:lnTo>
                  <a:lnTo>
                    <a:pt x="93" y="160"/>
                  </a:lnTo>
                  <a:lnTo>
                    <a:pt x="81" y="162"/>
                  </a:lnTo>
                  <a:lnTo>
                    <a:pt x="88" y="145"/>
                  </a:lnTo>
                  <a:lnTo>
                    <a:pt x="91" y="123"/>
                  </a:lnTo>
                  <a:lnTo>
                    <a:pt x="76" y="113"/>
                  </a:lnTo>
                  <a:lnTo>
                    <a:pt x="66" y="106"/>
                  </a:lnTo>
                  <a:lnTo>
                    <a:pt x="59" y="98"/>
                  </a:lnTo>
                  <a:lnTo>
                    <a:pt x="57" y="88"/>
                  </a:lnTo>
                  <a:lnTo>
                    <a:pt x="54" y="79"/>
                  </a:lnTo>
                  <a:lnTo>
                    <a:pt x="54" y="71"/>
                  </a:lnTo>
                  <a:lnTo>
                    <a:pt x="54" y="57"/>
                  </a:lnTo>
                  <a:lnTo>
                    <a:pt x="59" y="44"/>
                  </a:lnTo>
                  <a:lnTo>
                    <a:pt x="66" y="37"/>
                  </a:lnTo>
                  <a:lnTo>
                    <a:pt x="76" y="27"/>
                  </a:lnTo>
                  <a:lnTo>
                    <a:pt x="84" y="22"/>
                  </a:lnTo>
                  <a:lnTo>
                    <a:pt x="96" y="17"/>
                  </a:lnTo>
                  <a:lnTo>
                    <a:pt x="110" y="15"/>
                  </a:lnTo>
                  <a:lnTo>
                    <a:pt x="123" y="12"/>
                  </a:lnTo>
                  <a:lnTo>
                    <a:pt x="128" y="12"/>
                  </a:lnTo>
                  <a:lnTo>
                    <a:pt x="142" y="12"/>
                  </a:lnTo>
                  <a:lnTo>
                    <a:pt x="155" y="15"/>
                  </a:lnTo>
                  <a:lnTo>
                    <a:pt x="167" y="20"/>
                  </a:lnTo>
                  <a:lnTo>
                    <a:pt x="177" y="25"/>
                  </a:lnTo>
                  <a:lnTo>
                    <a:pt x="184" y="30"/>
                  </a:lnTo>
                  <a:lnTo>
                    <a:pt x="194" y="39"/>
                  </a:lnTo>
                  <a:lnTo>
                    <a:pt x="201" y="49"/>
                  </a:lnTo>
                  <a:lnTo>
                    <a:pt x="204" y="59"/>
                  </a:lnTo>
                  <a:lnTo>
                    <a:pt x="204" y="74"/>
                  </a:lnTo>
                  <a:lnTo>
                    <a:pt x="204" y="84"/>
                  </a:lnTo>
                  <a:close/>
                  <a:moveTo>
                    <a:pt x="133" y="221"/>
                  </a:moveTo>
                  <a:lnTo>
                    <a:pt x="12" y="221"/>
                  </a:lnTo>
                  <a:lnTo>
                    <a:pt x="12" y="96"/>
                  </a:lnTo>
                  <a:lnTo>
                    <a:pt x="47" y="96"/>
                  </a:lnTo>
                  <a:lnTo>
                    <a:pt x="52" y="108"/>
                  </a:lnTo>
                  <a:lnTo>
                    <a:pt x="57" y="113"/>
                  </a:lnTo>
                  <a:lnTo>
                    <a:pt x="66" y="120"/>
                  </a:lnTo>
                  <a:lnTo>
                    <a:pt x="74" y="128"/>
                  </a:lnTo>
                  <a:lnTo>
                    <a:pt x="79" y="130"/>
                  </a:lnTo>
                  <a:lnTo>
                    <a:pt x="76" y="145"/>
                  </a:lnTo>
                  <a:lnTo>
                    <a:pt x="69" y="162"/>
                  </a:lnTo>
                  <a:lnTo>
                    <a:pt x="64" y="177"/>
                  </a:lnTo>
                  <a:lnTo>
                    <a:pt x="84" y="174"/>
                  </a:lnTo>
                  <a:lnTo>
                    <a:pt x="98" y="172"/>
                  </a:lnTo>
                  <a:lnTo>
                    <a:pt x="108" y="164"/>
                  </a:lnTo>
                  <a:lnTo>
                    <a:pt x="118" y="157"/>
                  </a:lnTo>
                  <a:lnTo>
                    <a:pt x="128" y="142"/>
                  </a:lnTo>
                  <a:lnTo>
                    <a:pt x="133" y="135"/>
                  </a:lnTo>
                  <a:lnTo>
                    <a:pt x="133" y="221"/>
                  </a:lnTo>
                  <a:close/>
                  <a:moveTo>
                    <a:pt x="133" y="250"/>
                  </a:moveTo>
                  <a:lnTo>
                    <a:pt x="130" y="255"/>
                  </a:lnTo>
                  <a:lnTo>
                    <a:pt x="125" y="263"/>
                  </a:lnTo>
                  <a:lnTo>
                    <a:pt x="120" y="267"/>
                  </a:lnTo>
                  <a:lnTo>
                    <a:pt x="113" y="270"/>
                  </a:lnTo>
                  <a:lnTo>
                    <a:pt x="103" y="272"/>
                  </a:lnTo>
                  <a:lnTo>
                    <a:pt x="98" y="272"/>
                  </a:lnTo>
                  <a:lnTo>
                    <a:pt x="47" y="272"/>
                  </a:lnTo>
                  <a:lnTo>
                    <a:pt x="32" y="270"/>
                  </a:lnTo>
                  <a:lnTo>
                    <a:pt x="27" y="267"/>
                  </a:lnTo>
                  <a:lnTo>
                    <a:pt x="20" y="263"/>
                  </a:lnTo>
                  <a:lnTo>
                    <a:pt x="15" y="260"/>
                  </a:lnTo>
                  <a:lnTo>
                    <a:pt x="12" y="253"/>
                  </a:lnTo>
                  <a:lnTo>
                    <a:pt x="12" y="245"/>
                  </a:lnTo>
                  <a:lnTo>
                    <a:pt x="12" y="243"/>
                  </a:lnTo>
                  <a:lnTo>
                    <a:pt x="12" y="226"/>
                  </a:lnTo>
                  <a:lnTo>
                    <a:pt x="133" y="226"/>
                  </a:lnTo>
                  <a:lnTo>
                    <a:pt x="133" y="250"/>
                  </a:lnTo>
                  <a:close/>
                  <a:moveTo>
                    <a:pt x="15" y="79"/>
                  </a:moveTo>
                  <a:lnTo>
                    <a:pt x="20" y="71"/>
                  </a:lnTo>
                  <a:lnTo>
                    <a:pt x="25" y="69"/>
                  </a:lnTo>
                  <a:lnTo>
                    <a:pt x="30" y="66"/>
                  </a:lnTo>
                  <a:lnTo>
                    <a:pt x="37" y="64"/>
                  </a:lnTo>
                  <a:lnTo>
                    <a:pt x="42" y="64"/>
                  </a:lnTo>
                  <a:lnTo>
                    <a:pt x="42" y="71"/>
                  </a:lnTo>
                  <a:lnTo>
                    <a:pt x="42" y="86"/>
                  </a:lnTo>
                  <a:lnTo>
                    <a:pt x="44" y="91"/>
                  </a:lnTo>
                  <a:lnTo>
                    <a:pt x="10" y="91"/>
                  </a:lnTo>
                  <a:lnTo>
                    <a:pt x="15" y="79"/>
                  </a:lnTo>
                  <a:close/>
                  <a:moveTo>
                    <a:pt x="216" y="69"/>
                  </a:moveTo>
                  <a:lnTo>
                    <a:pt x="213" y="52"/>
                  </a:lnTo>
                  <a:lnTo>
                    <a:pt x="209" y="39"/>
                  </a:lnTo>
                  <a:lnTo>
                    <a:pt x="201" y="27"/>
                  </a:lnTo>
                  <a:lnTo>
                    <a:pt x="189" y="17"/>
                  </a:lnTo>
                  <a:lnTo>
                    <a:pt x="179" y="12"/>
                  </a:lnTo>
                  <a:lnTo>
                    <a:pt x="169" y="8"/>
                  </a:lnTo>
                  <a:lnTo>
                    <a:pt x="152" y="3"/>
                  </a:lnTo>
                  <a:lnTo>
                    <a:pt x="140" y="0"/>
                  </a:lnTo>
                  <a:lnTo>
                    <a:pt x="130" y="0"/>
                  </a:lnTo>
                  <a:lnTo>
                    <a:pt x="115" y="0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4" y="15"/>
                  </a:lnTo>
                  <a:lnTo>
                    <a:pt x="64" y="22"/>
                  </a:lnTo>
                  <a:lnTo>
                    <a:pt x="59" y="25"/>
                  </a:lnTo>
                  <a:lnTo>
                    <a:pt x="52" y="35"/>
                  </a:lnTo>
                  <a:lnTo>
                    <a:pt x="44" y="52"/>
                  </a:lnTo>
                  <a:lnTo>
                    <a:pt x="30" y="54"/>
                  </a:lnTo>
                  <a:lnTo>
                    <a:pt x="20" y="57"/>
                  </a:lnTo>
                  <a:lnTo>
                    <a:pt x="10" y="64"/>
                  </a:lnTo>
                  <a:lnTo>
                    <a:pt x="5" y="69"/>
                  </a:lnTo>
                  <a:lnTo>
                    <a:pt x="3" y="76"/>
                  </a:lnTo>
                  <a:lnTo>
                    <a:pt x="0" y="84"/>
                  </a:lnTo>
                  <a:lnTo>
                    <a:pt x="0" y="93"/>
                  </a:lnTo>
                  <a:lnTo>
                    <a:pt x="0" y="250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10" y="272"/>
                  </a:lnTo>
                  <a:lnTo>
                    <a:pt x="17" y="277"/>
                  </a:lnTo>
                  <a:lnTo>
                    <a:pt x="22" y="280"/>
                  </a:lnTo>
                  <a:lnTo>
                    <a:pt x="32" y="282"/>
                  </a:lnTo>
                  <a:lnTo>
                    <a:pt x="44" y="285"/>
                  </a:lnTo>
                  <a:lnTo>
                    <a:pt x="110" y="285"/>
                  </a:lnTo>
                  <a:lnTo>
                    <a:pt x="118" y="282"/>
                  </a:lnTo>
                  <a:lnTo>
                    <a:pt x="128" y="277"/>
                  </a:lnTo>
                  <a:lnTo>
                    <a:pt x="135" y="272"/>
                  </a:lnTo>
                  <a:lnTo>
                    <a:pt x="140" y="267"/>
                  </a:lnTo>
                  <a:lnTo>
                    <a:pt x="142" y="260"/>
                  </a:lnTo>
                  <a:lnTo>
                    <a:pt x="145" y="255"/>
                  </a:lnTo>
                  <a:lnTo>
                    <a:pt x="145" y="245"/>
                  </a:lnTo>
                  <a:lnTo>
                    <a:pt x="145" y="243"/>
                  </a:lnTo>
                  <a:lnTo>
                    <a:pt x="145" y="140"/>
                  </a:lnTo>
                  <a:lnTo>
                    <a:pt x="162" y="138"/>
                  </a:lnTo>
                  <a:lnTo>
                    <a:pt x="172" y="133"/>
                  </a:lnTo>
                  <a:lnTo>
                    <a:pt x="184" y="128"/>
                  </a:lnTo>
                  <a:lnTo>
                    <a:pt x="191" y="123"/>
                  </a:lnTo>
                  <a:lnTo>
                    <a:pt x="199" y="115"/>
                  </a:lnTo>
                  <a:lnTo>
                    <a:pt x="206" y="108"/>
                  </a:lnTo>
                  <a:lnTo>
                    <a:pt x="213" y="93"/>
                  </a:lnTo>
                  <a:lnTo>
                    <a:pt x="216" y="79"/>
                  </a:lnTo>
                  <a:lnTo>
                    <a:pt x="216" y="6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5">
              <a:extLst>
                <a:ext uri="{FF2B5EF4-FFF2-40B4-BE49-F238E27FC236}">
                  <a16:creationId xmlns:a16="http://schemas.microsoft.com/office/drawing/2014/main" id="{CFD9C969-9A34-43A6-B4CD-D90647CE1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963"/>
              <a:ext cx="37" cy="12"/>
            </a:xfrm>
            <a:custGeom>
              <a:avLst/>
              <a:gdLst>
                <a:gd name="T0" fmla="*/ 5 w 37"/>
                <a:gd name="T1" fmla="*/ 12 h 12"/>
                <a:gd name="T2" fmla="*/ 5 w 37"/>
                <a:gd name="T3" fmla="*/ 10 h 12"/>
                <a:gd name="T4" fmla="*/ 7 w 37"/>
                <a:gd name="T5" fmla="*/ 10 h 12"/>
                <a:gd name="T6" fmla="*/ 32 w 37"/>
                <a:gd name="T7" fmla="*/ 10 h 12"/>
                <a:gd name="T8" fmla="*/ 34 w 37"/>
                <a:gd name="T9" fmla="*/ 12 h 12"/>
                <a:gd name="T10" fmla="*/ 32 w 37"/>
                <a:gd name="T11" fmla="*/ 10 h 12"/>
                <a:gd name="T12" fmla="*/ 32 w 37"/>
                <a:gd name="T13" fmla="*/ 10 h 12"/>
                <a:gd name="T14" fmla="*/ 37 w 37"/>
                <a:gd name="T15" fmla="*/ 10 h 12"/>
                <a:gd name="T16" fmla="*/ 34 w 37"/>
                <a:gd name="T17" fmla="*/ 7 h 12"/>
                <a:gd name="T18" fmla="*/ 34 w 37"/>
                <a:gd name="T19" fmla="*/ 7 h 12"/>
                <a:gd name="T20" fmla="*/ 37 w 37"/>
                <a:gd name="T21" fmla="*/ 5 h 12"/>
                <a:gd name="T22" fmla="*/ 34 w 37"/>
                <a:gd name="T23" fmla="*/ 5 h 12"/>
                <a:gd name="T24" fmla="*/ 34 w 37"/>
                <a:gd name="T25" fmla="*/ 5 h 12"/>
                <a:gd name="T26" fmla="*/ 37 w 37"/>
                <a:gd name="T27" fmla="*/ 2 h 12"/>
                <a:gd name="T28" fmla="*/ 32 w 37"/>
                <a:gd name="T29" fmla="*/ 5 h 12"/>
                <a:gd name="T30" fmla="*/ 34 w 37"/>
                <a:gd name="T31" fmla="*/ 2 h 12"/>
                <a:gd name="T32" fmla="*/ 32 w 37"/>
                <a:gd name="T33" fmla="*/ 2 h 12"/>
                <a:gd name="T34" fmla="*/ 34 w 37"/>
                <a:gd name="T35" fmla="*/ 0 h 12"/>
                <a:gd name="T36" fmla="*/ 32 w 37"/>
                <a:gd name="T37" fmla="*/ 2 h 12"/>
                <a:gd name="T38" fmla="*/ 30 w 37"/>
                <a:gd name="T39" fmla="*/ 2 h 12"/>
                <a:gd name="T40" fmla="*/ 5 w 37"/>
                <a:gd name="T41" fmla="*/ 2 h 12"/>
                <a:gd name="T42" fmla="*/ 3 w 37"/>
                <a:gd name="T43" fmla="*/ 0 h 12"/>
                <a:gd name="T44" fmla="*/ 5 w 37"/>
                <a:gd name="T45" fmla="*/ 2 h 12"/>
                <a:gd name="T46" fmla="*/ 3 w 37"/>
                <a:gd name="T47" fmla="*/ 2 h 12"/>
                <a:gd name="T48" fmla="*/ 5 w 37"/>
                <a:gd name="T49" fmla="*/ 5 h 12"/>
                <a:gd name="T50" fmla="*/ 0 w 37"/>
                <a:gd name="T51" fmla="*/ 2 h 12"/>
                <a:gd name="T52" fmla="*/ 0 w 37"/>
                <a:gd name="T53" fmla="*/ 2 h 12"/>
                <a:gd name="T54" fmla="*/ 3 w 37"/>
                <a:gd name="T55" fmla="*/ 5 h 12"/>
                <a:gd name="T56" fmla="*/ 0 w 37"/>
                <a:gd name="T57" fmla="*/ 5 h 12"/>
                <a:gd name="T58" fmla="*/ 3 w 37"/>
                <a:gd name="T59" fmla="*/ 5 h 12"/>
                <a:gd name="T60" fmla="*/ 0 w 37"/>
                <a:gd name="T61" fmla="*/ 7 h 12"/>
                <a:gd name="T62" fmla="*/ 3 w 37"/>
                <a:gd name="T63" fmla="*/ 7 h 12"/>
                <a:gd name="T64" fmla="*/ 0 w 37"/>
                <a:gd name="T65" fmla="*/ 7 h 12"/>
                <a:gd name="T66" fmla="*/ 3 w 37"/>
                <a:gd name="T67" fmla="*/ 7 h 12"/>
                <a:gd name="T68" fmla="*/ 0 w 37"/>
                <a:gd name="T69" fmla="*/ 10 h 12"/>
                <a:gd name="T70" fmla="*/ 5 w 37"/>
                <a:gd name="T71" fmla="*/ 10 h 12"/>
                <a:gd name="T72" fmla="*/ 3 w 37"/>
                <a:gd name="T73" fmla="*/ 12 h 12"/>
                <a:gd name="T74" fmla="*/ 5 w 37"/>
                <a:gd name="T75" fmla="*/ 10 h 12"/>
                <a:gd name="T76" fmla="*/ 5 w 37"/>
                <a:gd name="T7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" h="12">
                  <a:moveTo>
                    <a:pt x="5" y="12"/>
                  </a:moveTo>
                  <a:lnTo>
                    <a:pt x="5" y="10"/>
                  </a:lnTo>
                  <a:lnTo>
                    <a:pt x="7" y="10"/>
                  </a:lnTo>
                  <a:lnTo>
                    <a:pt x="32" y="10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7" y="10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7" y="2"/>
                  </a:lnTo>
                  <a:lnTo>
                    <a:pt x="32" y="5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5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5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3" y="7"/>
                  </a:lnTo>
                  <a:lnTo>
                    <a:pt x="0" y="10"/>
                  </a:lnTo>
                  <a:lnTo>
                    <a:pt x="5" y="10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16">
              <a:extLst>
                <a:ext uri="{FF2B5EF4-FFF2-40B4-BE49-F238E27FC236}">
                  <a16:creationId xmlns:a16="http://schemas.microsoft.com/office/drawing/2014/main" id="{6DDB3761-B6B8-4529-A2BD-0E1AA8A16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6" y="2720"/>
              <a:ext cx="216" cy="285"/>
            </a:xfrm>
            <a:custGeom>
              <a:avLst/>
              <a:gdLst>
                <a:gd name="T0" fmla="*/ 191 w 216"/>
                <a:gd name="T1" fmla="*/ 106 h 285"/>
                <a:gd name="T2" fmla="*/ 164 w 216"/>
                <a:gd name="T3" fmla="*/ 123 h 285"/>
                <a:gd name="T4" fmla="*/ 128 w 216"/>
                <a:gd name="T5" fmla="*/ 130 h 285"/>
                <a:gd name="T6" fmla="*/ 108 w 216"/>
                <a:gd name="T7" fmla="*/ 147 h 285"/>
                <a:gd name="T8" fmla="*/ 81 w 216"/>
                <a:gd name="T9" fmla="*/ 162 h 285"/>
                <a:gd name="T10" fmla="*/ 76 w 216"/>
                <a:gd name="T11" fmla="*/ 113 h 285"/>
                <a:gd name="T12" fmla="*/ 57 w 216"/>
                <a:gd name="T13" fmla="*/ 88 h 285"/>
                <a:gd name="T14" fmla="*/ 54 w 216"/>
                <a:gd name="T15" fmla="*/ 57 h 285"/>
                <a:gd name="T16" fmla="*/ 76 w 216"/>
                <a:gd name="T17" fmla="*/ 27 h 285"/>
                <a:gd name="T18" fmla="*/ 110 w 216"/>
                <a:gd name="T19" fmla="*/ 15 h 285"/>
                <a:gd name="T20" fmla="*/ 142 w 216"/>
                <a:gd name="T21" fmla="*/ 12 h 285"/>
                <a:gd name="T22" fmla="*/ 177 w 216"/>
                <a:gd name="T23" fmla="*/ 25 h 285"/>
                <a:gd name="T24" fmla="*/ 201 w 216"/>
                <a:gd name="T25" fmla="*/ 49 h 285"/>
                <a:gd name="T26" fmla="*/ 204 w 216"/>
                <a:gd name="T27" fmla="*/ 84 h 285"/>
                <a:gd name="T28" fmla="*/ 12 w 216"/>
                <a:gd name="T29" fmla="*/ 96 h 285"/>
                <a:gd name="T30" fmla="*/ 57 w 216"/>
                <a:gd name="T31" fmla="*/ 113 h 285"/>
                <a:gd name="T32" fmla="*/ 79 w 216"/>
                <a:gd name="T33" fmla="*/ 130 h 285"/>
                <a:gd name="T34" fmla="*/ 64 w 216"/>
                <a:gd name="T35" fmla="*/ 177 h 285"/>
                <a:gd name="T36" fmla="*/ 108 w 216"/>
                <a:gd name="T37" fmla="*/ 164 h 285"/>
                <a:gd name="T38" fmla="*/ 133 w 216"/>
                <a:gd name="T39" fmla="*/ 135 h 285"/>
                <a:gd name="T40" fmla="*/ 130 w 216"/>
                <a:gd name="T41" fmla="*/ 255 h 285"/>
                <a:gd name="T42" fmla="*/ 113 w 216"/>
                <a:gd name="T43" fmla="*/ 270 h 285"/>
                <a:gd name="T44" fmla="*/ 47 w 216"/>
                <a:gd name="T45" fmla="*/ 272 h 285"/>
                <a:gd name="T46" fmla="*/ 20 w 216"/>
                <a:gd name="T47" fmla="*/ 263 h 285"/>
                <a:gd name="T48" fmla="*/ 12 w 216"/>
                <a:gd name="T49" fmla="*/ 245 h 285"/>
                <a:gd name="T50" fmla="*/ 133 w 216"/>
                <a:gd name="T51" fmla="*/ 226 h 285"/>
                <a:gd name="T52" fmla="*/ 20 w 216"/>
                <a:gd name="T53" fmla="*/ 71 h 285"/>
                <a:gd name="T54" fmla="*/ 37 w 216"/>
                <a:gd name="T55" fmla="*/ 64 h 285"/>
                <a:gd name="T56" fmla="*/ 42 w 216"/>
                <a:gd name="T57" fmla="*/ 86 h 285"/>
                <a:gd name="T58" fmla="*/ 15 w 216"/>
                <a:gd name="T59" fmla="*/ 79 h 285"/>
                <a:gd name="T60" fmla="*/ 209 w 216"/>
                <a:gd name="T61" fmla="*/ 39 h 285"/>
                <a:gd name="T62" fmla="*/ 179 w 216"/>
                <a:gd name="T63" fmla="*/ 12 h 285"/>
                <a:gd name="T64" fmla="*/ 140 w 216"/>
                <a:gd name="T65" fmla="*/ 0 h 285"/>
                <a:gd name="T66" fmla="*/ 96 w 216"/>
                <a:gd name="T67" fmla="*/ 5 h 285"/>
                <a:gd name="T68" fmla="*/ 64 w 216"/>
                <a:gd name="T69" fmla="*/ 22 h 285"/>
                <a:gd name="T70" fmla="*/ 44 w 216"/>
                <a:gd name="T71" fmla="*/ 52 h 285"/>
                <a:gd name="T72" fmla="*/ 10 w 216"/>
                <a:gd name="T73" fmla="*/ 64 h 285"/>
                <a:gd name="T74" fmla="*/ 0 w 216"/>
                <a:gd name="T75" fmla="*/ 84 h 285"/>
                <a:gd name="T76" fmla="*/ 3 w 216"/>
                <a:gd name="T77" fmla="*/ 260 h 285"/>
                <a:gd name="T78" fmla="*/ 17 w 216"/>
                <a:gd name="T79" fmla="*/ 277 h 285"/>
                <a:gd name="T80" fmla="*/ 44 w 216"/>
                <a:gd name="T81" fmla="*/ 285 h 285"/>
                <a:gd name="T82" fmla="*/ 128 w 216"/>
                <a:gd name="T83" fmla="*/ 277 h 285"/>
                <a:gd name="T84" fmla="*/ 142 w 216"/>
                <a:gd name="T85" fmla="*/ 260 h 285"/>
                <a:gd name="T86" fmla="*/ 145 w 216"/>
                <a:gd name="T87" fmla="*/ 243 h 285"/>
                <a:gd name="T88" fmla="*/ 172 w 216"/>
                <a:gd name="T89" fmla="*/ 133 h 285"/>
                <a:gd name="T90" fmla="*/ 199 w 216"/>
                <a:gd name="T91" fmla="*/ 115 h 285"/>
                <a:gd name="T92" fmla="*/ 216 w 216"/>
                <a:gd name="T93" fmla="*/ 7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6" h="285">
                  <a:moveTo>
                    <a:pt x="204" y="84"/>
                  </a:moveTo>
                  <a:lnTo>
                    <a:pt x="199" y="96"/>
                  </a:lnTo>
                  <a:lnTo>
                    <a:pt x="191" y="106"/>
                  </a:lnTo>
                  <a:lnTo>
                    <a:pt x="182" y="115"/>
                  </a:lnTo>
                  <a:lnTo>
                    <a:pt x="172" y="120"/>
                  </a:lnTo>
                  <a:lnTo>
                    <a:pt x="164" y="123"/>
                  </a:lnTo>
                  <a:lnTo>
                    <a:pt x="155" y="125"/>
                  </a:lnTo>
                  <a:lnTo>
                    <a:pt x="140" y="128"/>
                  </a:lnTo>
                  <a:lnTo>
                    <a:pt x="128" y="130"/>
                  </a:lnTo>
                  <a:lnTo>
                    <a:pt x="120" y="130"/>
                  </a:lnTo>
                  <a:lnTo>
                    <a:pt x="115" y="142"/>
                  </a:lnTo>
                  <a:lnTo>
                    <a:pt x="108" y="147"/>
                  </a:lnTo>
                  <a:lnTo>
                    <a:pt x="101" y="155"/>
                  </a:lnTo>
                  <a:lnTo>
                    <a:pt x="93" y="160"/>
                  </a:lnTo>
                  <a:lnTo>
                    <a:pt x="81" y="162"/>
                  </a:lnTo>
                  <a:lnTo>
                    <a:pt x="88" y="145"/>
                  </a:lnTo>
                  <a:lnTo>
                    <a:pt x="91" y="123"/>
                  </a:lnTo>
                  <a:lnTo>
                    <a:pt x="76" y="113"/>
                  </a:lnTo>
                  <a:lnTo>
                    <a:pt x="66" y="106"/>
                  </a:lnTo>
                  <a:lnTo>
                    <a:pt x="59" y="98"/>
                  </a:lnTo>
                  <a:lnTo>
                    <a:pt x="57" y="88"/>
                  </a:lnTo>
                  <a:lnTo>
                    <a:pt x="54" y="79"/>
                  </a:lnTo>
                  <a:lnTo>
                    <a:pt x="54" y="71"/>
                  </a:lnTo>
                  <a:lnTo>
                    <a:pt x="54" y="57"/>
                  </a:lnTo>
                  <a:lnTo>
                    <a:pt x="59" y="44"/>
                  </a:lnTo>
                  <a:lnTo>
                    <a:pt x="66" y="37"/>
                  </a:lnTo>
                  <a:lnTo>
                    <a:pt x="76" y="27"/>
                  </a:lnTo>
                  <a:lnTo>
                    <a:pt x="84" y="22"/>
                  </a:lnTo>
                  <a:lnTo>
                    <a:pt x="96" y="17"/>
                  </a:lnTo>
                  <a:lnTo>
                    <a:pt x="110" y="15"/>
                  </a:lnTo>
                  <a:lnTo>
                    <a:pt x="123" y="12"/>
                  </a:lnTo>
                  <a:lnTo>
                    <a:pt x="128" y="12"/>
                  </a:lnTo>
                  <a:lnTo>
                    <a:pt x="142" y="12"/>
                  </a:lnTo>
                  <a:lnTo>
                    <a:pt x="155" y="15"/>
                  </a:lnTo>
                  <a:lnTo>
                    <a:pt x="167" y="20"/>
                  </a:lnTo>
                  <a:lnTo>
                    <a:pt x="177" y="25"/>
                  </a:lnTo>
                  <a:lnTo>
                    <a:pt x="184" y="30"/>
                  </a:lnTo>
                  <a:lnTo>
                    <a:pt x="194" y="39"/>
                  </a:lnTo>
                  <a:lnTo>
                    <a:pt x="201" y="49"/>
                  </a:lnTo>
                  <a:lnTo>
                    <a:pt x="204" y="59"/>
                  </a:lnTo>
                  <a:lnTo>
                    <a:pt x="204" y="74"/>
                  </a:lnTo>
                  <a:lnTo>
                    <a:pt x="204" y="84"/>
                  </a:lnTo>
                  <a:close/>
                  <a:moveTo>
                    <a:pt x="133" y="221"/>
                  </a:moveTo>
                  <a:lnTo>
                    <a:pt x="12" y="221"/>
                  </a:lnTo>
                  <a:lnTo>
                    <a:pt x="12" y="96"/>
                  </a:lnTo>
                  <a:lnTo>
                    <a:pt x="47" y="96"/>
                  </a:lnTo>
                  <a:lnTo>
                    <a:pt x="52" y="108"/>
                  </a:lnTo>
                  <a:lnTo>
                    <a:pt x="57" y="113"/>
                  </a:lnTo>
                  <a:lnTo>
                    <a:pt x="66" y="120"/>
                  </a:lnTo>
                  <a:lnTo>
                    <a:pt x="74" y="128"/>
                  </a:lnTo>
                  <a:lnTo>
                    <a:pt x="79" y="130"/>
                  </a:lnTo>
                  <a:lnTo>
                    <a:pt x="76" y="145"/>
                  </a:lnTo>
                  <a:lnTo>
                    <a:pt x="69" y="162"/>
                  </a:lnTo>
                  <a:lnTo>
                    <a:pt x="64" y="177"/>
                  </a:lnTo>
                  <a:lnTo>
                    <a:pt x="84" y="174"/>
                  </a:lnTo>
                  <a:lnTo>
                    <a:pt x="98" y="172"/>
                  </a:lnTo>
                  <a:lnTo>
                    <a:pt x="108" y="164"/>
                  </a:lnTo>
                  <a:lnTo>
                    <a:pt x="118" y="157"/>
                  </a:lnTo>
                  <a:lnTo>
                    <a:pt x="128" y="142"/>
                  </a:lnTo>
                  <a:lnTo>
                    <a:pt x="133" y="135"/>
                  </a:lnTo>
                  <a:lnTo>
                    <a:pt x="133" y="221"/>
                  </a:lnTo>
                  <a:close/>
                  <a:moveTo>
                    <a:pt x="133" y="250"/>
                  </a:moveTo>
                  <a:lnTo>
                    <a:pt x="130" y="255"/>
                  </a:lnTo>
                  <a:lnTo>
                    <a:pt x="125" y="263"/>
                  </a:lnTo>
                  <a:lnTo>
                    <a:pt x="120" y="267"/>
                  </a:lnTo>
                  <a:lnTo>
                    <a:pt x="113" y="270"/>
                  </a:lnTo>
                  <a:lnTo>
                    <a:pt x="103" y="272"/>
                  </a:lnTo>
                  <a:lnTo>
                    <a:pt x="98" y="272"/>
                  </a:lnTo>
                  <a:lnTo>
                    <a:pt x="47" y="272"/>
                  </a:lnTo>
                  <a:lnTo>
                    <a:pt x="32" y="270"/>
                  </a:lnTo>
                  <a:lnTo>
                    <a:pt x="27" y="267"/>
                  </a:lnTo>
                  <a:lnTo>
                    <a:pt x="20" y="263"/>
                  </a:lnTo>
                  <a:lnTo>
                    <a:pt x="15" y="260"/>
                  </a:lnTo>
                  <a:lnTo>
                    <a:pt x="12" y="253"/>
                  </a:lnTo>
                  <a:lnTo>
                    <a:pt x="12" y="245"/>
                  </a:lnTo>
                  <a:lnTo>
                    <a:pt x="12" y="243"/>
                  </a:lnTo>
                  <a:lnTo>
                    <a:pt x="12" y="226"/>
                  </a:lnTo>
                  <a:lnTo>
                    <a:pt x="133" y="226"/>
                  </a:lnTo>
                  <a:lnTo>
                    <a:pt x="133" y="250"/>
                  </a:lnTo>
                  <a:close/>
                  <a:moveTo>
                    <a:pt x="15" y="79"/>
                  </a:moveTo>
                  <a:lnTo>
                    <a:pt x="20" y="71"/>
                  </a:lnTo>
                  <a:lnTo>
                    <a:pt x="25" y="69"/>
                  </a:lnTo>
                  <a:lnTo>
                    <a:pt x="30" y="66"/>
                  </a:lnTo>
                  <a:lnTo>
                    <a:pt x="37" y="64"/>
                  </a:lnTo>
                  <a:lnTo>
                    <a:pt x="42" y="64"/>
                  </a:lnTo>
                  <a:lnTo>
                    <a:pt x="42" y="71"/>
                  </a:lnTo>
                  <a:lnTo>
                    <a:pt x="42" y="86"/>
                  </a:lnTo>
                  <a:lnTo>
                    <a:pt x="44" y="91"/>
                  </a:lnTo>
                  <a:lnTo>
                    <a:pt x="10" y="91"/>
                  </a:lnTo>
                  <a:lnTo>
                    <a:pt x="15" y="79"/>
                  </a:lnTo>
                  <a:close/>
                  <a:moveTo>
                    <a:pt x="216" y="69"/>
                  </a:moveTo>
                  <a:lnTo>
                    <a:pt x="213" y="52"/>
                  </a:lnTo>
                  <a:lnTo>
                    <a:pt x="209" y="39"/>
                  </a:lnTo>
                  <a:lnTo>
                    <a:pt x="201" y="27"/>
                  </a:lnTo>
                  <a:lnTo>
                    <a:pt x="189" y="17"/>
                  </a:lnTo>
                  <a:lnTo>
                    <a:pt x="179" y="12"/>
                  </a:lnTo>
                  <a:lnTo>
                    <a:pt x="169" y="8"/>
                  </a:lnTo>
                  <a:lnTo>
                    <a:pt x="152" y="3"/>
                  </a:lnTo>
                  <a:lnTo>
                    <a:pt x="140" y="0"/>
                  </a:lnTo>
                  <a:lnTo>
                    <a:pt x="130" y="0"/>
                  </a:lnTo>
                  <a:lnTo>
                    <a:pt x="115" y="0"/>
                  </a:lnTo>
                  <a:lnTo>
                    <a:pt x="96" y="5"/>
                  </a:lnTo>
                  <a:lnTo>
                    <a:pt x="84" y="10"/>
                  </a:lnTo>
                  <a:lnTo>
                    <a:pt x="74" y="15"/>
                  </a:lnTo>
                  <a:lnTo>
                    <a:pt x="64" y="22"/>
                  </a:lnTo>
                  <a:lnTo>
                    <a:pt x="59" y="25"/>
                  </a:lnTo>
                  <a:lnTo>
                    <a:pt x="52" y="35"/>
                  </a:lnTo>
                  <a:lnTo>
                    <a:pt x="44" y="52"/>
                  </a:lnTo>
                  <a:lnTo>
                    <a:pt x="30" y="54"/>
                  </a:lnTo>
                  <a:lnTo>
                    <a:pt x="20" y="57"/>
                  </a:lnTo>
                  <a:lnTo>
                    <a:pt x="10" y="64"/>
                  </a:lnTo>
                  <a:lnTo>
                    <a:pt x="5" y="69"/>
                  </a:lnTo>
                  <a:lnTo>
                    <a:pt x="3" y="76"/>
                  </a:lnTo>
                  <a:lnTo>
                    <a:pt x="0" y="84"/>
                  </a:lnTo>
                  <a:lnTo>
                    <a:pt x="0" y="93"/>
                  </a:lnTo>
                  <a:lnTo>
                    <a:pt x="0" y="250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10" y="272"/>
                  </a:lnTo>
                  <a:lnTo>
                    <a:pt x="17" y="277"/>
                  </a:lnTo>
                  <a:lnTo>
                    <a:pt x="22" y="280"/>
                  </a:lnTo>
                  <a:lnTo>
                    <a:pt x="32" y="282"/>
                  </a:lnTo>
                  <a:lnTo>
                    <a:pt x="44" y="285"/>
                  </a:lnTo>
                  <a:lnTo>
                    <a:pt x="110" y="285"/>
                  </a:lnTo>
                  <a:lnTo>
                    <a:pt x="118" y="282"/>
                  </a:lnTo>
                  <a:lnTo>
                    <a:pt x="128" y="277"/>
                  </a:lnTo>
                  <a:lnTo>
                    <a:pt x="135" y="272"/>
                  </a:lnTo>
                  <a:lnTo>
                    <a:pt x="140" y="267"/>
                  </a:lnTo>
                  <a:lnTo>
                    <a:pt x="142" y="260"/>
                  </a:lnTo>
                  <a:lnTo>
                    <a:pt x="145" y="255"/>
                  </a:lnTo>
                  <a:lnTo>
                    <a:pt x="145" y="245"/>
                  </a:lnTo>
                  <a:lnTo>
                    <a:pt x="145" y="243"/>
                  </a:lnTo>
                  <a:lnTo>
                    <a:pt x="145" y="140"/>
                  </a:lnTo>
                  <a:lnTo>
                    <a:pt x="162" y="138"/>
                  </a:lnTo>
                  <a:lnTo>
                    <a:pt x="172" y="133"/>
                  </a:lnTo>
                  <a:lnTo>
                    <a:pt x="184" y="128"/>
                  </a:lnTo>
                  <a:lnTo>
                    <a:pt x="191" y="123"/>
                  </a:lnTo>
                  <a:lnTo>
                    <a:pt x="199" y="115"/>
                  </a:lnTo>
                  <a:lnTo>
                    <a:pt x="206" y="108"/>
                  </a:lnTo>
                  <a:lnTo>
                    <a:pt x="213" y="93"/>
                  </a:lnTo>
                  <a:lnTo>
                    <a:pt x="216" y="79"/>
                  </a:lnTo>
                  <a:lnTo>
                    <a:pt x="216" y="6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9" name="Group 219">
            <a:extLst>
              <a:ext uri="{FF2B5EF4-FFF2-40B4-BE49-F238E27FC236}">
                <a16:creationId xmlns:a16="http://schemas.microsoft.com/office/drawing/2014/main" id="{59DD19FC-7ACA-4B3F-84FD-ED826AB477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14953" y="4128819"/>
            <a:ext cx="841375" cy="841375"/>
            <a:chOff x="3025" y="2625"/>
            <a:chExt cx="530" cy="530"/>
          </a:xfrm>
        </p:grpSpPr>
        <p:sp>
          <p:nvSpPr>
            <p:cNvPr id="250" name="AutoShape 218">
              <a:extLst>
                <a:ext uri="{FF2B5EF4-FFF2-40B4-BE49-F238E27FC236}">
                  <a16:creationId xmlns:a16="http://schemas.microsoft.com/office/drawing/2014/main" id="{FDB5EBE6-10A9-4974-BA4E-06A64541DC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5" y="262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220">
              <a:extLst>
                <a:ext uri="{FF2B5EF4-FFF2-40B4-BE49-F238E27FC236}">
                  <a16:creationId xmlns:a16="http://schemas.microsoft.com/office/drawing/2014/main" id="{9889AE39-C135-4E57-98E1-B52032ED24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" y="262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21">
              <a:extLst>
                <a:ext uri="{FF2B5EF4-FFF2-40B4-BE49-F238E27FC236}">
                  <a16:creationId xmlns:a16="http://schemas.microsoft.com/office/drawing/2014/main" id="{3A2C35E0-174A-454F-A9CA-5DCE6ABFC8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" y="2644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22">
              <a:extLst>
                <a:ext uri="{FF2B5EF4-FFF2-40B4-BE49-F238E27FC236}">
                  <a16:creationId xmlns:a16="http://schemas.microsoft.com/office/drawing/2014/main" id="{0A2840D2-EF25-45F6-A173-9D9DE8A9D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2987"/>
              <a:ext cx="38" cy="10"/>
            </a:xfrm>
            <a:custGeom>
              <a:avLst/>
              <a:gdLst>
                <a:gd name="T0" fmla="*/ 6 w 38"/>
                <a:gd name="T1" fmla="*/ 10 h 10"/>
                <a:gd name="T2" fmla="*/ 6 w 38"/>
                <a:gd name="T3" fmla="*/ 8 h 10"/>
                <a:gd name="T4" fmla="*/ 8 w 38"/>
                <a:gd name="T5" fmla="*/ 10 h 10"/>
                <a:gd name="T6" fmla="*/ 33 w 38"/>
                <a:gd name="T7" fmla="*/ 8 h 10"/>
                <a:gd name="T8" fmla="*/ 36 w 38"/>
                <a:gd name="T9" fmla="*/ 10 h 10"/>
                <a:gd name="T10" fmla="*/ 33 w 38"/>
                <a:gd name="T11" fmla="*/ 8 h 10"/>
                <a:gd name="T12" fmla="*/ 36 w 38"/>
                <a:gd name="T13" fmla="*/ 8 h 10"/>
                <a:gd name="T14" fmla="*/ 38 w 38"/>
                <a:gd name="T15" fmla="*/ 8 h 10"/>
                <a:gd name="T16" fmla="*/ 36 w 38"/>
                <a:gd name="T17" fmla="*/ 8 h 10"/>
                <a:gd name="T18" fmla="*/ 36 w 38"/>
                <a:gd name="T19" fmla="*/ 5 h 10"/>
                <a:gd name="T20" fmla="*/ 38 w 38"/>
                <a:gd name="T21" fmla="*/ 5 h 10"/>
                <a:gd name="T22" fmla="*/ 36 w 38"/>
                <a:gd name="T23" fmla="*/ 5 h 10"/>
                <a:gd name="T24" fmla="*/ 36 w 38"/>
                <a:gd name="T25" fmla="*/ 2 h 10"/>
                <a:gd name="T26" fmla="*/ 38 w 38"/>
                <a:gd name="T27" fmla="*/ 2 h 10"/>
                <a:gd name="T28" fmla="*/ 36 w 38"/>
                <a:gd name="T29" fmla="*/ 2 h 10"/>
                <a:gd name="T30" fmla="*/ 36 w 38"/>
                <a:gd name="T31" fmla="*/ 0 h 10"/>
                <a:gd name="T32" fmla="*/ 33 w 38"/>
                <a:gd name="T33" fmla="*/ 2 h 10"/>
                <a:gd name="T34" fmla="*/ 36 w 38"/>
                <a:gd name="T35" fmla="*/ 0 h 10"/>
                <a:gd name="T36" fmla="*/ 33 w 38"/>
                <a:gd name="T37" fmla="*/ 2 h 10"/>
                <a:gd name="T38" fmla="*/ 30 w 38"/>
                <a:gd name="T39" fmla="*/ 2 h 10"/>
                <a:gd name="T40" fmla="*/ 6 w 38"/>
                <a:gd name="T41" fmla="*/ 2 h 10"/>
                <a:gd name="T42" fmla="*/ 3 w 38"/>
                <a:gd name="T43" fmla="*/ 0 h 10"/>
                <a:gd name="T44" fmla="*/ 6 w 38"/>
                <a:gd name="T45" fmla="*/ 2 h 10"/>
                <a:gd name="T46" fmla="*/ 3 w 38"/>
                <a:gd name="T47" fmla="*/ 0 h 10"/>
                <a:gd name="T48" fmla="*/ 3 w 38"/>
                <a:gd name="T49" fmla="*/ 0 h 10"/>
                <a:gd name="T50" fmla="*/ 6 w 38"/>
                <a:gd name="T51" fmla="*/ 2 h 10"/>
                <a:gd name="T52" fmla="*/ 3 w 38"/>
                <a:gd name="T53" fmla="*/ 2 h 10"/>
                <a:gd name="T54" fmla="*/ 6 w 38"/>
                <a:gd name="T55" fmla="*/ 2 h 10"/>
                <a:gd name="T56" fmla="*/ 0 w 38"/>
                <a:gd name="T57" fmla="*/ 5 h 10"/>
                <a:gd name="T58" fmla="*/ 3 w 38"/>
                <a:gd name="T59" fmla="*/ 5 h 10"/>
                <a:gd name="T60" fmla="*/ 0 w 38"/>
                <a:gd name="T61" fmla="*/ 5 h 10"/>
                <a:gd name="T62" fmla="*/ 3 w 38"/>
                <a:gd name="T63" fmla="*/ 5 h 10"/>
                <a:gd name="T64" fmla="*/ 0 w 38"/>
                <a:gd name="T65" fmla="*/ 8 h 10"/>
                <a:gd name="T66" fmla="*/ 3 w 38"/>
                <a:gd name="T67" fmla="*/ 8 h 10"/>
                <a:gd name="T68" fmla="*/ 3 w 38"/>
                <a:gd name="T69" fmla="*/ 8 h 10"/>
                <a:gd name="T70" fmla="*/ 6 w 38"/>
                <a:gd name="T71" fmla="*/ 8 h 10"/>
                <a:gd name="T72" fmla="*/ 3 w 38"/>
                <a:gd name="T73" fmla="*/ 10 h 10"/>
                <a:gd name="T74" fmla="*/ 6 w 38"/>
                <a:gd name="T75" fmla="*/ 8 h 10"/>
                <a:gd name="T76" fmla="*/ 6 w 38"/>
                <a:gd name="T7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0">
                  <a:moveTo>
                    <a:pt x="6" y="10"/>
                  </a:moveTo>
                  <a:lnTo>
                    <a:pt x="6" y="8"/>
                  </a:lnTo>
                  <a:lnTo>
                    <a:pt x="8" y="10"/>
                  </a:lnTo>
                  <a:lnTo>
                    <a:pt x="33" y="8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3" y="2"/>
                  </a:lnTo>
                  <a:lnTo>
                    <a:pt x="36" y="0"/>
                  </a:lnTo>
                  <a:lnTo>
                    <a:pt x="33" y="2"/>
                  </a:lnTo>
                  <a:lnTo>
                    <a:pt x="30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3" y="10"/>
                  </a:lnTo>
                  <a:lnTo>
                    <a:pt x="6" y="8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23">
              <a:extLst>
                <a:ext uri="{FF2B5EF4-FFF2-40B4-BE49-F238E27FC236}">
                  <a16:creationId xmlns:a16="http://schemas.microsoft.com/office/drawing/2014/main" id="{A373017E-0D7A-4BE5-95B9-EF921A4B8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8" y="2734"/>
              <a:ext cx="226" cy="293"/>
            </a:xfrm>
            <a:custGeom>
              <a:avLst/>
              <a:gdLst>
                <a:gd name="T0" fmla="*/ 199 w 226"/>
                <a:gd name="T1" fmla="*/ 111 h 293"/>
                <a:gd name="T2" fmla="*/ 171 w 226"/>
                <a:gd name="T3" fmla="*/ 127 h 293"/>
                <a:gd name="T4" fmla="*/ 133 w 226"/>
                <a:gd name="T5" fmla="*/ 133 h 293"/>
                <a:gd name="T6" fmla="*/ 114 w 226"/>
                <a:gd name="T7" fmla="*/ 152 h 293"/>
                <a:gd name="T8" fmla="*/ 87 w 226"/>
                <a:gd name="T9" fmla="*/ 168 h 293"/>
                <a:gd name="T10" fmla="*/ 82 w 226"/>
                <a:gd name="T11" fmla="*/ 117 h 293"/>
                <a:gd name="T12" fmla="*/ 60 w 226"/>
                <a:gd name="T13" fmla="*/ 89 h 293"/>
                <a:gd name="T14" fmla="*/ 57 w 226"/>
                <a:gd name="T15" fmla="*/ 60 h 293"/>
                <a:gd name="T16" fmla="*/ 79 w 226"/>
                <a:gd name="T17" fmla="*/ 30 h 293"/>
                <a:gd name="T18" fmla="*/ 114 w 226"/>
                <a:gd name="T19" fmla="*/ 16 h 293"/>
                <a:gd name="T20" fmla="*/ 150 w 226"/>
                <a:gd name="T21" fmla="*/ 13 h 293"/>
                <a:gd name="T22" fmla="*/ 185 w 226"/>
                <a:gd name="T23" fmla="*/ 24 h 293"/>
                <a:gd name="T24" fmla="*/ 209 w 226"/>
                <a:gd name="T25" fmla="*/ 51 h 293"/>
                <a:gd name="T26" fmla="*/ 212 w 226"/>
                <a:gd name="T27" fmla="*/ 87 h 293"/>
                <a:gd name="T28" fmla="*/ 14 w 226"/>
                <a:gd name="T29" fmla="*/ 100 h 293"/>
                <a:gd name="T30" fmla="*/ 63 w 226"/>
                <a:gd name="T31" fmla="*/ 117 h 293"/>
                <a:gd name="T32" fmla="*/ 82 w 226"/>
                <a:gd name="T33" fmla="*/ 133 h 293"/>
                <a:gd name="T34" fmla="*/ 68 w 226"/>
                <a:gd name="T35" fmla="*/ 182 h 293"/>
                <a:gd name="T36" fmla="*/ 114 w 226"/>
                <a:gd name="T37" fmla="*/ 171 h 293"/>
                <a:gd name="T38" fmla="*/ 139 w 226"/>
                <a:gd name="T39" fmla="*/ 138 h 293"/>
                <a:gd name="T40" fmla="*/ 136 w 226"/>
                <a:gd name="T41" fmla="*/ 266 h 293"/>
                <a:gd name="T42" fmla="*/ 117 w 226"/>
                <a:gd name="T43" fmla="*/ 280 h 293"/>
                <a:gd name="T44" fmla="*/ 52 w 226"/>
                <a:gd name="T45" fmla="*/ 282 h 293"/>
                <a:gd name="T46" fmla="*/ 22 w 226"/>
                <a:gd name="T47" fmla="*/ 272 h 293"/>
                <a:gd name="T48" fmla="*/ 14 w 226"/>
                <a:gd name="T49" fmla="*/ 255 h 293"/>
                <a:gd name="T50" fmla="*/ 139 w 226"/>
                <a:gd name="T51" fmla="*/ 233 h 293"/>
                <a:gd name="T52" fmla="*/ 22 w 226"/>
                <a:gd name="T53" fmla="*/ 76 h 293"/>
                <a:gd name="T54" fmla="*/ 41 w 226"/>
                <a:gd name="T55" fmla="*/ 68 h 293"/>
                <a:gd name="T56" fmla="*/ 46 w 226"/>
                <a:gd name="T57" fmla="*/ 89 h 293"/>
                <a:gd name="T58" fmla="*/ 16 w 226"/>
                <a:gd name="T59" fmla="*/ 81 h 293"/>
                <a:gd name="T60" fmla="*/ 218 w 226"/>
                <a:gd name="T61" fmla="*/ 40 h 293"/>
                <a:gd name="T62" fmla="*/ 188 w 226"/>
                <a:gd name="T63" fmla="*/ 13 h 293"/>
                <a:gd name="T64" fmla="*/ 147 w 226"/>
                <a:gd name="T65" fmla="*/ 0 h 293"/>
                <a:gd name="T66" fmla="*/ 101 w 226"/>
                <a:gd name="T67" fmla="*/ 5 h 293"/>
                <a:gd name="T68" fmla="*/ 68 w 226"/>
                <a:gd name="T69" fmla="*/ 21 h 293"/>
                <a:gd name="T70" fmla="*/ 46 w 226"/>
                <a:gd name="T71" fmla="*/ 54 h 293"/>
                <a:gd name="T72" fmla="*/ 14 w 226"/>
                <a:gd name="T73" fmla="*/ 65 h 293"/>
                <a:gd name="T74" fmla="*/ 3 w 226"/>
                <a:gd name="T75" fmla="*/ 87 h 293"/>
                <a:gd name="T76" fmla="*/ 3 w 226"/>
                <a:gd name="T77" fmla="*/ 269 h 293"/>
                <a:gd name="T78" fmla="*/ 19 w 226"/>
                <a:gd name="T79" fmla="*/ 285 h 293"/>
                <a:gd name="T80" fmla="*/ 49 w 226"/>
                <a:gd name="T81" fmla="*/ 293 h 293"/>
                <a:gd name="T82" fmla="*/ 133 w 226"/>
                <a:gd name="T83" fmla="*/ 288 h 293"/>
                <a:gd name="T84" fmla="*/ 150 w 226"/>
                <a:gd name="T85" fmla="*/ 269 h 293"/>
                <a:gd name="T86" fmla="*/ 152 w 226"/>
                <a:gd name="T87" fmla="*/ 250 h 293"/>
                <a:gd name="T88" fmla="*/ 179 w 226"/>
                <a:gd name="T89" fmla="*/ 138 h 293"/>
                <a:gd name="T90" fmla="*/ 207 w 226"/>
                <a:gd name="T91" fmla="*/ 119 h 293"/>
                <a:gd name="T92" fmla="*/ 226 w 226"/>
                <a:gd name="T93" fmla="*/ 81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6" h="293">
                  <a:moveTo>
                    <a:pt x="212" y="87"/>
                  </a:moveTo>
                  <a:lnTo>
                    <a:pt x="207" y="98"/>
                  </a:lnTo>
                  <a:lnTo>
                    <a:pt x="199" y="111"/>
                  </a:lnTo>
                  <a:lnTo>
                    <a:pt x="190" y="119"/>
                  </a:lnTo>
                  <a:lnTo>
                    <a:pt x="179" y="122"/>
                  </a:lnTo>
                  <a:lnTo>
                    <a:pt x="171" y="127"/>
                  </a:lnTo>
                  <a:lnTo>
                    <a:pt x="160" y="130"/>
                  </a:lnTo>
                  <a:lnTo>
                    <a:pt x="147" y="133"/>
                  </a:lnTo>
                  <a:lnTo>
                    <a:pt x="133" y="133"/>
                  </a:lnTo>
                  <a:lnTo>
                    <a:pt x="128" y="133"/>
                  </a:lnTo>
                  <a:lnTo>
                    <a:pt x="120" y="147"/>
                  </a:lnTo>
                  <a:lnTo>
                    <a:pt x="114" y="152"/>
                  </a:lnTo>
                  <a:lnTo>
                    <a:pt x="106" y="160"/>
                  </a:lnTo>
                  <a:lnTo>
                    <a:pt x="98" y="166"/>
                  </a:lnTo>
                  <a:lnTo>
                    <a:pt x="87" y="168"/>
                  </a:lnTo>
                  <a:lnTo>
                    <a:pt x="93" y="149"/>
                  </a:lnTo>
                  <a:lnTo>
                    <a:pt x="95" y="127"/>
                  </a:lnTo>
                  <a:lnTo>
                    <a:pt x="82" y="117"/>
                  </a:lnTo>
                  <a:lnTo>
                    <a:pt x="71" y="108"/>
                  </a:lnTo>
                  <a:lnTo>
                    <a:pt x="63" y="100"/>
                  </a:lnTo>
                  <a:lnTo>
                    <a:pt x="60" y="89"/>
                  </a:lnTo>
                  <a:lnTo>
                    <a:pt x="57" y="81"/>
                  </a:lnTo>
                  <a:lnTo>
                    <a:pt x="57" y="73"/>
                  </a:lnTo>
                  <a:lnTo>
                    <a:pt x="57" y="60"/>
                  </a:lnTo>
                  <a:lnTo>
                    <a:pt x="63" y="46"/>
                  </a:lnTo>
                  <a:lnTo>
                    <a:pt x="71" y="38"/>
                  </a:lnTo>
                  <a:lnTo>
                    <a:pt x="79" y="30"/>
                  </a:lnTo>
                  <a:lnTo>
                    <a:pt x="90" y="24"/>
                  </a:lnTo>
                  <a:lnTo>
                    <a:pt x="101" y="19"/>
                  </a:lnTo>
                  <a:lnTo>
                    <a:pt x="114" y="16"/>
                  </a:lnTo>
                  <a:lnTo>
                    <a:pt x="128" y="13"/>
                  </a:lnTo>
                  <a:lnTo>
                    <a:pt x="136" y="13"/>
                  </a:lnTo>
                  <a:lnTo>
                    <a:pt x="150" y="13"/>
                  </a:lnTo>
                  <a:lnTo>
                    <a:pt x="163" y="16"/>
                  </a:lnTo>
                  <a:lnTo>
                    <a:pt x="174" y="21"/>
                  </a:lnTo>
                  <a:lnTo>
                    <a:pt x="185" y="24"/>
                  </a:lnTo>
                  <a:lnTo>
                    <a:pt x="193" y="32"/>
                  </a:lnTo>
                  <a:lnTo>
                    <a:pt x="201" y="40"/>
                  </a:lnTo>
                  <a:lnTo>
                    <a:pt x="209" y="51"/>
                  </a:lnTo>
                  <a:lnTo>
                    <a:pt x="212" y="60"/>
                  </a:lnTo>
                  <a:lnTo>
                    <a:pt x="215" y="76"/>
                  </a:lnTo>
                  <a:lnTo>
                    <a:pt x="212" y="87"/>
                  </a:lnTo>
                  <a:close/>
                  <a:moveTo>
                    <a:pt x="139" y="228"/>
                  </a:moveTo>
                  <a:lnTo>
                    <a:pt x="14" y="228"/>
                  </a:lnTo>
                  <a:lnTo>
                    <a:pt x="14" y="100"/>
                  </a:lnTo>
                  <a:lnTo>
                    <a:pt x="49" y="100"/>
                  </a:lnTo>
                  <a:lnTo>
                    <a:pt x="57" y="111"/>
                  </a:lnTo>
                  <a:lnTo>
                    <a:pt x="63" y="117"/>
                  </a:lnTo>
                  <a:lnTo>
                    <a:pt x="71" y="125"/>
                  </a:lnTo>
                  <a:lnTo>
                    <a:pt x="79" y="133"/>
                  </a:lnTo>
                  <a:lnTo>
                    <a:pt x="82" y="133"/>
                  </a:lnTo>
                  <a:lnTo>
                    <a:pt x="79" y="149"/>
                  </a:lnTo>
                  <a:lnTo>
                    <a:pt x="73" y="168"/>
                  </a:lnTo>
                  <a:lnTo>
                    <a:pt x="68" y="182"/>
                  </a:lnTo>
                  <a:lnTo>
                    <a:pt x="87" y="182"/>
                  </a:lnTo>
                  <a:lnTo>
                    <a:pt x="103" y="176"/>
                  </a:lnTo>
                  <a:lnTo>
                    <a:pt x="114" y="171"/>
                  </a:lnTo>
                  <a:lnTo>
                    <a:pt x="122" y="163"/>
                  </a:lnTo>
                  <a:lnTo>
                    <a:pt x="133" y="149"/>
                  </a:lnTo>
                  <a:lnTo>
                    <a:pt x="139" y="138"/>
                  </a:lnTo>
                  <a:lnTo>
                    <a:pt x="139" y="228"/>
                  </a:lnTo>
                  <a:close/>
                  <a:moveTo>
                    <a:pt x="139" y="258"/>
                  </a:moveTo>
                  <a:lnTo>
                    <a:pt x="136" y="266"/>
                  </a:lnTo>
                  <a:lnTo>
                    <a:pt x="133" y="272"/>
                  </a:lnTo>
                  <a:lnTo>
                    <a:pt x="128" y="277"/>
                  </a:lnTo>
                  <a:lnTo>
                    <a:pt x="117" y="280"/>
                  </a:lnTo>
                  <a:lnTo>
                    <a:pt x="109" y="282"/>
                  </a:lnTo>
                  <a:lnTo>
                    <a:pt x="103" y="282"/>
                  </a:lnTo>
                  <a:lnTo>
                    <a:pt x="52" y="282"/>
                  </a:lnTo>
                  <a:lnTo>
                    <a:pt x="35" y="280"/>
                  </a:lnTo>
                  <a:lnTo>
                    <a:pt x="30" y="277"/>
                  </a:lnTo>
                  <a:lnTo>
                    <a:pt x="22" y="272"/>
                  </a:lnTo>
                  <a:lnTo>
                    <a:pt x="19" y="269"/>
                  </a:lnTo>
                  <a:lnTo>
                    <a:pt x="16" y="261"/>
                  </a:lnTo>
                  <a:lnTo>
                    <a:pt x="14" y="255"/>
                  </a:lnTo>
                  <a:lnTo>
                    <a:pt x="14" y="250"/>
                  </a:lnTo>
                  <a:lnTo>
                    <a:pt x="14" y="233"/>
                  </a:lnTo>
                  <a:lnTo>
                    <a:pt x="139" y="233"/>
                  </a:lnTo>
                  <a:lnTo>
                    <a:pt x="139" y="258"/>
                  </a:lnTo>
                  <a:close/>
                  <a:moveTo>
                    <a:pt x="16" y="81"/>
                  </a:moveTo>
                  <a:lnTo>
                    <a:pt x="22" y="76"/>
                  </a:lnTo>
                  <a:lnTo>
                    <a:pt x="27" y="70"/>
                  </a:lnTo>
                  <a:lnTo>
                    <a:pt x="33" y="68"/>
                  </a:lnTo>
                  <a:lnTo>
                    <a:pt x="41" y="68"/>
                  </a:lnTo>
                  <a:lnTo>
                    <a:pt x="44" y="65"/>
                  </a:lnTo>
                  <a:lnTo>
                    <a:pt x="44" y="76"/>
                  </a:lnTo>
                  <a:lnTo>
                    <a:pt x="46" y="89"/>
                  </a:lnTo>
                  <a:lnTo>
                    <a:pt x="46" y="92"/>
                  </a:lnTo>
                  <a:lnTo>
                    <a:pt x="14" y="92"/>
                  </a:lnTo>
                  <a:lnTo>
                    <a:pt x="16" y="81"/>
                  </a:lnTo>
                  <a:close/>
                  <a:moveTo>
                    <a:pt x="226" y="70"/>
                  </a:moveTo>
                  <a:lnTo>
                    <a:pt x="223" y="54"/>
                  </a:lnTo>
                  <a:lnTo>
                    <a:pt x="218" y="40"/>
                  </a:lnTo>
                  <a:lnTo>
                    <a:pt x="209" y="30"/>
                  </a:lnTo>
                  <a:lnTo>
                    <a:pt x="199" y="19"/>
                  </a:lnTo>
                  <a:lnTo>
                    <a:pt x="188" y="13"/>
                  </a:lnTo>
                  <a:lnTo>
                    <a:pt x="177" y="8"/>
                  </a:lnTo>
                  <a:lnTo>
                    <a:pt x="160" y="2"/>
                  </a:lnTo>
                  <a:lnTo>
                    <a:pt x="147" y="0"/>
                  </a:lnTo>
                  <a:lnTo>
                    <a:pt x="136" y="0"/>
                  </a:lnTo>
                  <a:lnTo>
                    <a:pt x="122" y="0"/>
                  </a:lnTo>
                  <a:lnTo>
                    <a:pt x="101" y="5"/>
                  </a:lnTo>
                  <a:lnTo>
                    <a:pt x="90" y="11"/>
                  </a:lnTo>
                  <a:lnTo>
                    <a:pt x="76" y="16"/>
                  </a:lnTo>
                  <a:lnTo>
                    <a:pt x="68" y="21"/>
                  </a:lnTo>
                  <a:lnTo>
                    <a:pt x="65" y="27"/>
                  </a:lnTo>
                  <a:lnTo>
                    <a:pt x="54" y="35"/>
                  </a:lnTo>
                  <a:lnTo>
                    <a:pt x="46" y="54"/>
                  </a:lnTo>
                  <a:lnTo>
                    <a:pt x="33" y="54"/>
                  </a:lnTo>
                  <a:lnTo>
                    <a:pt x="22" y="60"/>
                  </a:lnTo>
                  <a:lnTo>
                    <a:pt x="14" y="65"/>
                  </a:lnTo>
                  <a:lnTo>
                    <a:pt x="8" y="70"/>
                  </a:lnTo>
                  <a:lnTo>
                    <a:pt x="3" y="79"/>
                  </a:lnTo>
                  <a:lnTo>
                    <a:pt x="3" y="87"/>
                  </a:lnTo>
                  <a:lnTo>
                    <a:pt x="0" y="98"/>
                  </a:lnTo>
                  <a:lnTo>
                    <a:pt x="0" y="258"/>
                  </a:lnTo>
                  <a:lnTo>
                    <a:pt x="3" y="269"/>
                  </a:lnTo>
                  <a:lnTo>
                    <a:pt x="6" y="274"/>
                  </a:lnTo>
                  <a:lnTo>
                    <a:pt x="11" y="280"/>
                  </a:lnTo>
                  <a:lnTo>
                    <a:pt x="19" y="285"/>
                  </a:lnTo>
                  <a:lnTo>
                    <a:pt x="25" y="291"/>
                  </a:lnTo>
                  <a:lnTo>
                    <a:pt x="35" y="293"/>
                  </a:lnTo>
                  <a:lnTo>
                    <a:pt x="49" y="293"/>
                  </a:lnTo>
                  <a:lnTo>
                    <a:pt x="114" y="293"/>
                  </a:lnTo>
                  <a:lnTo>
                    <a:pt x="125" y="291"/>
                  </a:lnTo>
                  <a:lnTo>
                    <a:pt x="133" y="288"/>
                  </a:lnTo>
                  <a:lnTo>
                    <a:pt x="141" y="280"/>
                  </a:lnTo>
                  <a:lnTo>
                    <a:pt x="147" y="277"/>
                  </a:lnTo>
                  <a:lnTo>
                    <a:pt x="150" y="269"/>
                  </a:lnTo>
                  <a:lnTo>
                    <a:pt x="152" y="263"/>
                  </a:lnTo>
                  <a:lnTo>
                    <a:pt x="152" y="253"/>
                  </a:lnTo>
                  <a:lnTo>
                    <a:pt x="152" y="250"/>
                  </a:lnTo>
                  <a:lnTo>
                    <a:pt x="152" y="147"/>
                  </a:lnTo>
                  <a:lnTo>
                    <a:pt x="169" y="141"/>
                  </a:lnTo>
                  <a:lnTo>
                    <a:pt x="179" y="138"/>
                  </a:lnTo>
                  <a:lnTo>
                    <a:pt x="190" y="133"/>
                  </a:lnTo>
                  <a:lnTo>
                    <a:pt x="199" y="127"/>
                  </a:lnTo>
                  <a:lnTo>
                    <a:pt x="207" y="119"/>
                  </a:lnTo>
                  <a:lnTo>
                    <a:pt x="215" y="111"/>
                  </a:lnTo>
                  <a:lnTo>
                    <a:pt x="223" y="98"/>
                  </a:lnTo>
                  <a:lnTo>
                    <a:pt x="226" y="81"/>
                  </a:lnTo>
                  <a:lnTo>
                    <a:pt x="226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26">
            <a:extLst>
              <a:ext uri="{FF2B5EF4-FFF2-40B4-BE49-F238E27FC236}">
                <a16:creationId xmlns:a16="http://schemas.microsoft.com/office/drawing/2014/main" id="{8F5E86E9-B9A4-4CAC-99CE-7F52BE567B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6298" y="4168209"/>
            <a:ext cx="758825" cy="758825"/>
            <a:chOff x="4850" y="2640"/>
            <a:chExt cx="478" cy="478"/>
          </a:xfrm>
        </p:grpSpPr>
        <p:sp>
          <p:nvSpPr>
            <p:cNvPr id="260" name="AutoShape 225">
              <a:extLst>
                <a:ext uri="{FF2B5EF4-FFF2-40B4-BE49-F238E27FC236}">
                  <a16:creationId xmlns:a16="http://schemas.microsoft.com/office/drawing/2014/main" id="{670D0033-1B4A-403C-8B7F-DFBB959F20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0" y="264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7">
              <a:extLst>
                <a:ext uri="{FF2B5EF4-FFF2-40B4-BE49-F238E27FC236}">
                  <a16:creationId xmlns:a16="http://schemas.microsoft.com/office/drawing/2014/main" id="{9A8AE90D-F5DE-40E2-B298-580AAC456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2" y="2642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28">
              <a:extLst>
                <a:ext uri="{FF2B5EF4-FFF2-40B4-BE49-F238E27FC236}">
                  <a16:creationId xmlns:a16="http://schemas.microsoft.com/office/drawing/2014/main" id="{D2C6F80E-BD23-4845-A3D1-8973E342B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0" y="2831"/>
              <a:ext cx="42" cy="96"/>
            </a:xfrm>
            <a:custGeom>
              <a:avLst/>
              <a:gdLst>
                <a:gd name="T0" fmla="*/ 32 w 42"/>
                <a:gd name="T1" fmla="*/ 88 h 96"/>
                <a:gd name="T2" fmla="*/ 7 w 42"/>
                <a:gd name="T3" fmla="*/ 88 h 96"/>
                <a:gd name="T4" fmla="*/ 7 w 42"/>
                <a:gd name="T5" fmla="*/ 10 h 96"/>
                <a:gd name="T6" fmla="*/ 32 w 42"/>
                <a:gd name="T7" fmla="*/ 10 h 96"/>
                <a:gd name="T8" fmla="*/ 32 w 42"/>
                <a:gd name="T9" fmla="*/ 88 h 96"/>
                <a:gd name="T10" fmla="*/ 37 w 42"/>
                <a:gd name="T11" fmla="*/ 0 h 96"/>
                <a:gd name="T12" fmla="*/ 37 w 42"/>
                <a:gd name="T13" fmla="*/ 0 h 96"/>
                <a:gd name="T14" fmla="*/ 2 w 42"/>
                <a:gd name="T15" fmla="*/ 3 h 96"/>
                <a:gd name="T16" fmla="*/ 0 w 42"/>
                <a:gd name="T17" fmla="*/ 3 h 96"/>
                <a:gd name="T18" fmla="*/ 0 w 42"/>
                <a:gd name="T19" fmla="*/ 5 h 96"/>
                <a:gd name="T20" fmla="*/ 0 w 42"/>
                <a:gd name="T21" fmla="*/ 93 h 96"/>
                <a:gd name="T22" fmla="*/ 0 w 42"/>
                <a:gd name="T23" fmla="*/ 96 h 96"/>
                <a:gd name="T24" fmla="*/ 2 w 42"/>
                <a:gd name="T25" fmla="*/ 96 h 96"/>
                <a:gd name="T26" fmla="*/ 37 w 42"/>
                <a:gd name="T27" fmla="*/ 96 h 96"/>
                <a:gd name="T28" fmla="*/ 39 w 42"/>
                <a:gd name="T29" fmla="*/ 96 h 96"/>
                <a:gd name="T30" fmla="*/ 42 w 42"/>
                <a:gd name="T31" fmla="*/ 93 h 96"/>
                <a:gd name="T32" fmla="*/ 42 w 42"/>
                <a:gd name="T33" fmla="*/ 93 h 96"/>
                <a:gd name="T34" fmla="*/ 42 w 42"/>
                <a:gd name="T35" fmla="*/ 3 h 96"/>
                <a:gd name="T36" fmla="*/ 39 w 42"/>
                <a:gd name="T37" fmla="*/ 3 h 96"/>
                <a:gd name="T38" fmla="*/ 37 w 42"/>
                <a:gd name="T3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96">
                  <a:moveTo>
                    <a:pt x="32" y="88"/>
                  </a:moveTo>
                  <a:lnTo>
                    <a:pt x="7" y="88"/>
                  </a:lnTo>
                  <a:lnTo>
                    <a:pt x="7" y="10"/>
                  </a:lnTo>
                  <a:lnTo>
                    <a:pt x="32" y="10"/>
                  </a:lnTo>
                  <a:lnTo>
                    <a:pt x="32" y="88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37" y="96"/>
                  </a:lnTo>
                  <a:lnTo>
                    <a:pt x="39" y="96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9">
              <a:extLst>
                <a:ext uri="{FF2B5EF4-FFF2-40B4-BE49-F238E27FC236}">
                  <a16:creationId xmlns:a16="http://schemas.microsoft.com/office/drawing/2014/main" id="{BA88E112-83C7-4640-B706-92FF8D7BB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4" y="2831"/>
              <a:ext cx="42" cy="96"/>
            </a:xfrm>
            <a:custGeom>
              <a:avLst/>
              <a:gdLst>
                <a:gd name="T0" fmla="*/ 34 w 42"/>
                <a:gd name="T1" fmla="*/ 88 h 96"/>
                <a:gd name="T2" fmla="*/ 7 w 42"/>
                <a:gd name="T3" fmla="*/ 88 h 96"/>
                <a:gd name="T4" fmla="*/ 7 w 42"/>
                <a:gd name="T5" fmla="*/ 10 h 96"/>
                <a:gd name="T6" fmla="*/ 34 w 42"/>
                <a:gd name="T7" fmla="*/ 10 h 96"/>
                <a:gd name="T8" fmla="*/ 34 w 42"/>
                <a:gd name="T9" fmla="*/ 88 h 96"/>
                <a:gd name="T10" fmla="*/ 39 w 42"/>
                <a:gd name="T11" fmla="*/ 0 h 96"/>
                <a:gd name="T12" fmla="*/ 37 w 42"/>
                <a:gd name="T13" fmla="*/ 0 h 96"/>
                <a:gd name="T14" fmla="*/ 2 w 42"/>
                <a:gd name="T15" fmla="*/ 3 h 96"/>
                <a:gd name="T16" fmla="*/ 0 w 42"/>
                <a:gd name="T17" fmla="*/ 3 h 96"/>
                <a:gd name="T18" fmla="*/ 0 w 42"/>
                <a:gd name="T19" fmla="*/ 5 h 96"/>
                <a:gd name="T20" fmla="*/ 0 w 42"/>
                <a:gd name="T21" fmla="*/ 93 h 96"/>
                <a:gd name="T22" fmla="*/ 0 w 42"/>
                <a:gd name="T23" fmla="*/ 96 h 96"/>
                <a:gd name="T24" fmla="*/ 2 w 42"/>
                <a:gd name="T25" fmla="*/ 96 h 96"/>
                <a:gd name="T26" fmla="*/ 2 w 42"/>
                <a:gd name="T27" fmla="*/ 96 h 96"/>
                <a:gd name="T28" fmla="*/ 39 w 42"/>
                <a:gd name="T29" fmla="*/ 96 h 96"/>
                <a:gd name="T30" fmla="*/ 39 w 42"/>
                <a:gd name="T31" fmla="*/ 96 h 96"/>
                <a:gd name="T32" fmla="*/ 42 w 42"/>
                <a:gd name="T33" fmla="*/ 93 h 96"/>
                <a:gd name="T34" fmla="*/ 42 w 42"/>
                <a:gd name="T35" fmla="*/ 93 h 96"/>
                <a:gd name="T36" fmla="*/ 42 w 42"/>
                <a:gd name="T37" fmla="*/ 3 h 96"/>
                <a:gd name="T38" fmla="*/ 39 w 42"/>
                <a:gd name="T39" fmla="*/ 3 h 96"/>
                <a:gd name="T40" fmla="*/ 39 w 42"/>
                <a:gd name="T4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96">
                  <a:moveTo>
                    <a:pt x="34" y="88"/>
                  </a:moveTo>
                  <a:lnTo>
                    <a:pt x="7" y="88"/>
                  </a:lnTo>
                  <a:lnTo>
                    <a:pt x="7" y="10"/>
                  </a:lnTo>
                  <a:lnTo>
                    <a:pt x="34" y="10"/>
                  </a:lnTo>
                  <a:lnTo>
                    <a:pt x="34" y="88"/>
                  </a:lnTo>
                  <a:close/>
                  <a:moveTo>
                    <a:pt x="39" y="0"/>
                  </a:moveTo>
                  <a:lnTo>
                    <a:pt x="37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30">
              <a:extLst>
                <a:ext uri="{FF2B5EF4-FFF2-40B4-BE49-F238E27FC236}">
                  <a16:creationId xmlns:a16="http://schemas.microsoft.com/office/drawing/2014/main" id="{06989CA4-483A-47D2-BD19-09BFA80F8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0" y="2807"/>
              <a:ext cx="280" cy="147"/>
            </a:xfrm>
            <a:custGeom>
              <a:avLst/>
              <a:gdLst>
                <a:gd name="T0" fmla="*/ 273 w 280"/>
                <a:gd name="T1" fmla="*/ 112 h 147"/>
                <a:gd name="T2" fmla="*/ 251 w 280"/>
                <a:gd name="T3" fmla="*/ 112 h 147"/>
                <a:gd name="T4" fmla="*/ 251 w 280"/>
                <a:gd name="T5" fmla="*/ 112 h 147"/>
                <a:gd name="T6" fmla="*/ 248 w 280"/>
                <a:gd name="T7" fmla="*/ 115 h 147"/>
                <a:gd name="T8" fmla="*/ 248 w 280"/>
                <a:gd name="T9" fmla="*/ 115 h 147"/>
                <a:gd name="T10" fmla="*/ 248 w 280"/>
                <a:gd name="T11" fmla="*/ 139 h 147"/>
                <a:gd name="T12" fmla="*/ 8 w 280"/>
                <a:gd name="T13" fmla="*/ 139 h 147"/>
                <a:gd name="T14" fmla="*/ 8 w 280"/>
                <a:gd name="T15" fmla="*/ 7 h 147"/>
                <a:gd name="T16" fmla="*/ 248 w 280"/>
                <a:gd name="T17" fmla="*/ 7 h 147"/>
                <a:gd name="T18" fmla="*/ 248 w 280"/>
                <a:gd name="T19" fmla="*/ 32 h 147"/>
                <a:gd name="T20" fmla="*/ 251 w 280"/>
                <a:gd name="T21" fmla="*/ 34 h 147"/>
                <a:gd name="T22" fmla="*/ 251 w 280"/>
                <a:gd name="T23" fmla="*/ 34 h 147"/>
                <a:gd name="T24" fmla="*/ 253 w 280"/>
                <a:gd name="T25" fmla="*/ 34 h 147"/>
                <a:gd name="T26" fmla="*/ 273 w 280"/>
                <a:gd name="T27" fmla="*/ 34 h 147"/>
                <a:gd name="T28" fmla="*/ 273 w 280"/>
                <a:gd name="T29" fmla="*/ 112 h 147"/>
                <a:gd name="T30" fmla="*/ 278 w 280"/>
                <a:gd name="T31" fmla="*/ 27 h 147"/>
                <a:gd name="T32" fmla="*/ 255 w 280"/>
                <a:gd name="T33" fmla="*/ 27 h 147"/>
                <a:gd name="T34" fmla="*/ 255 w 280"/>
                <a:gd name="T35" fmla="*/ 2 h 147"/>
                <a:gd name="T36" fmla="*/ 255 w 280"/>
                <a:gd name="T37" fmla="*/ 0 h 147"/>
                <a:gd name="T38" fmla="*/ 253 w 280"/>
                <a:gd name="T39" fmla="*/ 0 h 147"/>
                <a:gd name="T40" fmla="*/ 3 w 280"/>
                <a:gd name="T41" fmla="*/ 0 h 147"/>
                <a:gd name="T42" fmla="*/ 3 w 280"/>
                <a:gd name="T43" fmla="*/ 0 h 147"/>
                <a:gd name="T44" fmla="*/ 0 w 280"/>
                <a:gd name="T45" fmla="*/ 2 h 147"/>
                <a:gd name="T46" fmla="*/ 0 w 280"/>
                <a:gd name="T47" fmla="*/ 144 h 147"/>
                <a:gd name="T48" fmla="*/ 0 w 280"/>
                <a:gd name="T49" fmla="*/ 144 h 147"/>
                <a:gd name="T50" fmla="*/ 3 w 280"/>
                <a:gd name="T51" fmla="*/ 147 h 147"/>
                <a:gd name="T52" fmla="*/ 3 w 280"/>
                <a:gd name="T53" fmla="*/ 147 h 147"/>
                <a:gd name="T54" fmla="*/ 253 w 280"/>
                <a:gd name="T55" fmla="*/ 147 h 147"/>
                <a:gd name="T56" fmla="*/ 255 w 280"/>
                <a:gd name="T57" fmla="*/ 144 h 147"/>
                <a:gd name="T58" fmla="*/ 255 w 280"/>
                <a:gd name="T59" fmla="*/ 144 h 147"/>
                <a:gd name="T60" fmla="*/ 255 w 280"/>
                <a:gd name="T61" fmla="*/ 142 h 147"/>
                <a:gd name="T62" fmla="*/ 255 w 280"/>
                <a:gd name="T63" fmla="*/ 120 h 147"/>
                <a:gd name="T64" fmla="*/ 278 w 280"/>
                <a:gd name="T65" fmla="*/ 120 h 147"/>
                <a:gd name="T66" fmla="*/ 280 w 280"/>
                <a:gd name="T67" fmla="*/ 120 h 147"/>
                <a:gd name="T68" fmla="*/ 280 w 280"/>
                <a:gd name="T69" fmla="*/ 117 h 147"/>
                <a:gd name="T70" fmla="*/ 280 w 280"/>
                <a:gd name="T71" fmla="*/ 117 h 147"/>
                <a:gd name="T72" fmla="*/ 280 w 280"/>
                <a:gd name="T73" fmla="*/ 29 h 147"/>
                <a:gd name="T74" fmla="*/ 280 w 280"/>
                <a:gd name="T75" fmla="*/ 29 h 147"/>
                <a:gd name="T76" fmla="*/ 278 w 280"/>
                <a:gd name="T77" fmla="*/ 2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0" h="147">
                  <a:moveTo>
                    <a:pt x="273" y="112"/>
                  </a:moveTo>
                  <a:lnTo>
                    <a:pt x="251" y="112"/>
                  </a:lnTo>
                  <a:lnTo>
                    <a:pt x="251" y="112"/>
                  </a:lnTo>
                  <a:lnTo>
                    <a:pt x="248" y="115"/>
                  </a:lnTo>
                  <a:lnTo>
                    <a:pt x="248" y="115"/>
                  </a:lnTo>
                  <a:lnTo>
                    <a:pt x="248" y="139"/>
                  </a:lnTo>
                  <a:lnTo>
                    <a:pt x="8" y="139"/>
                  </a:lnTo>
                  <a:lnTo>
                    <a:pt x="8" y="7"/>
                  </a:lnTo>
                  <a:lnTo>
                    <a:pt x="248" y="7"/>
                  </a:lnTo>
                  <a:lnTo>
                    <a:pt x="248" y="32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73" y="34"/>
                  </a:lnTo>
                  <a:lnTo>
                    <a:pt x="273" y="112"/>
                  </a:lnTo>
                  <a:close/>
                  <a:moveTo>
                    <a:pt x="278" y="27"/>
                  </a:moveTo>
                  <a:lnTo>
                    <a:pt x="255" y="27"/>
                  </a:lnTo>
                  <a:lnTo>
                    <a:pt x="255" y="2"/>
                  </a:lnTo>
                  <a:lnTo>
                    <a:pt x="255" y="0"/>
                  </a:lnTo>
                  <a:lnTo>
                    <a:pt x="25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53" y="147"/>
                  </a:lnTo>
                  <a:lnTo>
                    <a:pt x="255" y="144"/>
                  </a:lnTo>
                  <a:lnTo>
                    <a:pt x="255" y="144"/>
                  </a:lnTo>
                  <a:lnTo>
                    <a:pt x="255" y="142"/>
                  </a:lnTo>
                  <a:lnTo>
                    <a:pt x="255" y="120"/>
                  </a:lnTo>
                  <a:lnTo>
                    <a:pt x="278" y="120"/>
                  </a:lnTo>
                  <a:lnTo>
                    <a:pt x="280" y="120"/>
                  </a:lnTo>
                  <a:lnTo>
                    <a:pt x="280" y="117"/>
                  </a:lnTo>
                  <a:lnTo>
                    <a:pt x="280" y="117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78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33">
            <a:extLst>
              <a:ext uri="{FF2B5EF4-FFF2-40B4-BE49-F238E27FC236}">
                <a16:creationId xmlns:a16="http://schemas.microsoft.com/office/drawing/2014/main" id="{8A84F62F-50D4-4E82-9D7D-BDB5B14B1B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094" y="4126934"/>
            <a:ext cx="841375" cy="841375"/>
            <a:chOff x="4357" y="2596"/>
            <a:chExt cx="530" cy="530"/>
          </a:xfrm>
        </p:grpSpPr>
        <p:sp>
          <p:nvSpPr>
            <p:cNvPr id="266" name="AutoShape 232">
              <a:extLst>
                <a:ext uri="{FF2B5EF4-FFF2-40B4-BE49-F238E27FC236}">
                  <a16:creationId xmlns:a16="http://schemas.microsoft.com/office/drawing/2014/main" id="{9E01A2C2-53F2-4839-A3B6-EC106B6D91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57" y="259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234">
              <a:extLst>
                <a:ext uri="{FF2B5EF4-FFF2-40B4-BE49-F238E27FC236}">
                  <a16:creationId xmlns:a16="http://schemas.microsoft.com/office/drawing/2014/main" id="{4D7890D9-AAB9-4C8A-BCE4-EA323A85B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0" y="2599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35">
              <a:extLst>
                <a:ext uri="{FF2B5EF4-FFF2-40B4-BE49-F238E27FC236}">
                  <a16:creationId xmlns:a16="http://schemas.microsoft.com/office/drawing/2014/main" id="{AF36C26F-7DEF-4E3D-A806-AFC5F8D456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6" y="2615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6">
              <a:extLst>
                <a:ext uri="{FF2B5EF4-FFF2-40B4-BE49-F238E27FC236}">
                  <a16:creationId xmlns:a16="http://schemas.microsoft.com/office/drawing/2014/main" id="{77056901-0FBD-42B5-A098-04A04C079E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9" y="2813"/>
              <a:ext cx="44" cy="98"/>
            </a:xfrm>
            <a:custGeom>
              <a:avLst/>
              <a:gdLst>
                <a:gd name="T0" fmla="*/ 36 w 44"/>
                <a:gd name="T1" fmla="*/ 90 h 98"/>
                <a:gd name="T2" fmla="*/ 8 w 44"/>
                <a:gd name="T3" fmla="*/ 90 h 98"/>
                <a:gd name="T4" fmla="*/ 8 w 44"/>
                <a:gd name="T5" fmla="*/ 9 h 98"/>
                <a:gd name="T6" fmla="*/ 36 w 44"/>
                <a:gd name="T7" fmla="*/ 9 h 98"/>
                <a:gd name="T8" fmla="*/ 36 w 44"/>
                <a:gd name="T9" fmla="*/ 90 h 98"/>
                <a:gd name="T10" fmla="*/ 38 w 44"/>
                <a:gd name="T11" fmla="*/ 0 h 98"/>
                <a:gd name="T12" fmla="*/ 38 w 44"/>
                <a:gd name="T13" fmla="*/ 0 h 98"/>
                <a:gd name="T14" fmla="*/ 3 w 44"/>
                <a:gd name="T15" fmla="*/ 0 h 98"/>
                <a:gd name="T16" fmla="*/ 0 w 44"/>
                <a:gd name="T17" fmla="*/ 0 h 98"/>
                <a:gd name="T18" fmla="*/ 0 w 44"/>
                <a:gd name="T19" fmla="*/ 3 h 98"/>
                <a:gd name="T20" fmla="*/ 0 w 44"/>
                <a:gd name="T21" fmla="*/ 96 h 98"/>
                <a:gd name="T22" fmla="*/ 0 w 44"/>
                <a:gd name="T23" fmla="*/ 98 h 98"/>
                <a:gd name="T24" fmla="*/ 3 w 44"/>
                <a:gd name="T25" fmla="*/ 98 h 98"/>
                <a:gd name="T26" fmla="*/ 38 w 44"/>
                <a:gd name="T27" fmla="*/ 98 h 98"/>
                <a:gd name="T28" fmla="*/ 41 w 44"/>
                <a:gd name="T29" fmla="*/ 98 h 98"/>
                <a:gd name="T30" fmla="*/ 41 w 44"/>
                <a:gd name="T31" fmla="*/ 96 h 98"/>
                <a:gd name="T32" fmla="*/ 44 w 44"/>
                <a:gd name="T33" fmla="*/ 93 h 98"/>
                <a:gd name="T34" fmla="*/ 41 w 44"/>
                <a:gd name="T35" fmla="*/ 3 h 98"/>
                <a:gd name="T36" fmla="*/ 41 w 44"/>
                <a:gd name="T37" fmla="*/ 0 h 98"/>
                <a:gd name="T38" fmla="*/ 38 w 44"/>
                <a:gd name="T3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98">
                  <a:moveTo>
                    <a:pt x="36" y="90"/>
                  </a:moveTo>
                  <a:lnTo>
                    <a:pt x="8" y="90"/>
                  </a:lnTo>
                  <a:lnTo>
                    <a:pt x="8" y="9"/>
                  </a:lnTo>
                  <a:lnTo>
                    <a:pt x="36" y="9"/>
                  </a:lnTo>
                  <a:lnTo>
                    <a:pt x="36" y="90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6"/>
                  </a:lnTo>
                  <a:lnTo>
                    <a:pt x="0" y="98"/>
                  </a:lnTo>
                  <a:lnTo>
                    <a:pt x="3" y="98"/>
                  </a:lnTo>
                  <a:lnTo>
                    <a:pt x="38" y="98"/>
                  </a:lnTo>
                  <a:lnTo>
                    <a:pt x="41" y="98"/>
                  </a:lnTo>
                  <a:lnTo>
                    <a:pt x="41" y="96"/>
                  </a:lnTo>
                  <a:lnTo>
                    <a:pt x="44" y="93"/>
                  </a:lnTo>
                  <a:lnTo>
                    <a:pt x="41" y="3"/>
                  </a:lnTo>
                  <a:lnTo>
                    <a:pt x="41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37">
              <a:extLst>
                <a:ext uri="{FF2B5EF4-FFF2-40B4-BE49-F238E27FC236}">
                  <a16:creationId xmlns:a16="http://schemas.microsoft.com/office/drawing/2014/main" id="{99308994-7A5A-44B2-9083-9668C675D6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4" y="2813"/>
              <a:ext cx="43" cy="98"/>
            </a:xfrm>
            <a:custGeom>
              <a:avLst/>
              <a:gdLst>
                <a:gd name="T0" fmla="*/ 35 w 43"/>
                <a:gd name="T1" fmla="*/ 90 h 98"/>
                <a:gd name="T2" fmla="*/ 8 w 43"/>
                <a:gd name="T3" fmla="*/ 90 h 98"/>
                <a:gd name="T4" fmla="*/ 8 w 43"/>
                <a:gd name="T5" fmla="*/ 9 h 98"/>
                <a:gd name="T6" fmla="*/ 35 w 43"/>
                <a:gd name="T7" fmla="*/ 9 h 98"/>
                <a:gd name="T8" fmla="*/ 35 w 43"/>
                <a:gd name="T9" fmla="*/ 90 h 98"/>
                <a:gd name="T10" fmla="*/ 40 w 43"/>
                <a:gd name="T11" fmla="*/ 0 h 98"/>
                <a:gd name="T12" fmla="*/ 40 w 43"/>
                <a:gd name="T13" fmla="*/ 0 h 98"/>
                <a:gd name="T14" fmla="*/ 2 w 43"/>
                <a:gd name="T15" fmla="*/ 0 h 98"/>
                <a:gd name="T16" fmla="*/ 2 w 43"/>
                <a:gd name="T17" fmla="*/ 0 h 98"/>
                <a:gd name="T18" fmla="*/ 0 w 43"/>
                <a:gd name="T19" fmla="*/ 3 h 98"/>
                <a:gd name="T20" fmla="*/ 0 w 43"/>
                <a:gd name="T21" fmla="*/ 96 h 98"/>
                <a:gd name="T22" fmla="*/ 2 w 43"/>
                <a:gd name="T23" fmla="*/ 96 h 98"/>
                <a:gd name="T24" fmla="*/ 2 w 43"/>
                <a:gd name="T25" fmla="*/ 98 h 98"/>
                <a:gd name="T26" fmla="*/ 5 w 43"/>
                <a:gd name="T27" fmla="*/ 98 h 98"/>
                <a:gd name="T28" fmla="*/ 40 w 43"/>
                <a:gd name="T29" fmla="*/ 98 h 98"/>
                <a:gd name="T30" fmla="*/ 43 w 43"/>
                <a:gd name="T31" fmla="*/ 98 h 98"/>
                <a:gd name="T32" fmla="*/ 43 w 43"/>
                <a:gd name="T33" fmla="*/ 96 h 98"/>
                <a:gd name="T34" fmla="*/ 43 w 43"/>
                <a:gd name="T35" fmla="*/ 93 h 98"/>
                <a:gd name="T36" fmla="*/ 43 w 43"/>
                <a:gd name="T37" fmla="*/ 3 h 98"/>
                <a:gd name="T38" fmla="*/ 43 w 43"/>
                <a:gd name="T39" fmla="*/ 0 h 98"/>
                <a:gd name="T40" fmla="*/ 40 w 43"/>
                <a:gd name="T4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98">
                  <a:moveTo>
                    <a:pt x="35" y="90"/>
                  </a:moveTo>
                  <a:lnTo>
                    <a:pt x="8" y="90"/>
                  </a:lnTo>
                  <a:lnTo>
                    <a:pt x="8" y="9"/>
                  </a:lnTo>
                  <a:lnTo>
                    <a:pt x="35" y="9"/>
                  </a:lnTo>
                  <a:lnTo>
                    <a:pt x="35" y="9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8"/>
                  </a:lnTo>
                  <a:lnTo>
                    <a:pt x="5" y="98"/>
                  </a:lnTo>
                  <a:lnTo>
                    <a:pt x="40" y="98"/>
                  </a:lnTo>
                  <a:lnTo>
                    <a:pt x="43" y="98"/>
                  </a:lnTo>
                  <a:lnTo>
                    <a:pt x="43" y="96"/>
                  </a:lnTo>
                  <a:lnTo>
                    <a:pt x="43" y="9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38">
              <a:extLst>
                <a:ext uri="{FF2B5EF4-FFF2-40B4-BE49-F238E27FC236}">
                  <a16:creationId xmlns:a16="http://schemas.microsoft.com/office/drawing/2014/main" id="{5888B7C0-CCD1-48BD-A132-399ECBA176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9" y="2786"/>
              <a:ext cx="288" cy="152"/>
            </a:xfrm>
            <a:custGeom>
              <a:avLst/>
              <a:gdLst>
                <a:gd name="T0" fmla="*/ 283 w 288"/>
                <a:gd name="T1" fmla="*/ 117 h 152"/>
                <a:gd name="T2" fmla="*/ 259 w 288"/>
                <a:gd name="T3" fmla="*/ 117 h 152"/>
                <a:gd name="T4" fmla="*/ 259 w 288"/>
                <a:gd name="T5" fmla="*/ 117 h 152"/>
                <a:gd name="T6" fmla="*/ 256 w 288"/>
                <a:gd name="T7" fmla="*/ 117 h 152"/>
                <a:gd name="T8" fmla="*/ 256 w 288"/>
                <a:gd name="T9" fmla="*/ 120 h 152"/>
                <a:gd name="T10" fmla="*/ 256 w 288"/>
                <a:gd name="T11" fmla="*/ 144 h 152"/>
                <a:gd name="T12" fmla="*/ 6 w 288"/>
                <a:gd name="T13" fmla="*/ 144 h 152"/>
                <a:gd name="T14" fmla="*/ 6 w 288"/>
                <a:gd name="T15" fmla="*/ 8 h 152"/>
                <a:gd name="T16" fmla="*/ 256 w 288"/>
                <a:gd name="T17" fmla="*/ 8 h 152"/>
                <a:gd name="T18" fmla="*/ 256 w 288"/>
                <a:gd name="T19" fmla="*/ 36 h 152"/>
                <a:gd name="T20" fmla="*/ 259 w 288"/>
                <a:gd name="T21" fmla="*/ 36 h 152"/>
                <a:gd name="T22" fmla="*/ 259 w 288"/>
                <a:gd name="T23" fmla="*/ 36 h 152"/>
                <a:gd name="T24" fmla="*/ 261 w 288"/>
                <a:gd name="T25" fmla="*/ 36 h 152"/>
                <a:gd name="T26" fmla="*/ 283 w 288"/>
                <a:gd name="T27" fmla="*/ 36 h 152"/>
                <a:gd name="T28" fmla="*/ 283 w 288"/>
                <a:gd name="T29" fmla="*/ 117 h 152"/>
                <a:gd name="T30" fmla="*/ 286 w 288"/>
                <a:gd name="T31" fmla="*/ 27 h 152"/>
                <a:gd name="T32" fmla="*/ 264 w 288"/>
                <a:gd name="T33" fmla="*/ 27 h 152"/>
                <a:gd name="T34" fmla="*/ 264 w 288"/>
                <a:gd name="T35" fmla="*/ 3 h 152"/>
                <a:gd name="T36" fmla="*/ 264 w 288"/>
                <a:gd name="T37" fmla="*/ 0 h 152"/>
                <a:gd name="T38" fmla="*/ 261 w 288"/>
                <a:gd name="T39" fmla="*/ 0 h 152"/>
                <a:gd name="T40" fmla="*/ 3 w 288"/>
                <a:gd name="T41" fmla="*/ 0 h 152"/>
                <a:gd name="T42" fmla="*/ 0 w 288"/>
                <a:gd name="T43" fmla="*/ 0 h 152"/>
                <a:gd name="T44" fmla="*/ 0 w 288"/>
                <a:gd name="T45" fmla="*/ 3 h 152"/>
                <a:gd name="T46" fmla="*/ 0 w 288"/>
                <a:gd name="T47" fmla="*/ 150 h 152"/>
                <a:gd name="T48" fmla="*/ 0 w 288"/>
                <a:gd name="T49" fmla="*/ 150 h 152"/>
                <a:gd name="T50" fmla="*/ 0 w 288"/>
                <a:gd name="T51" fmla="*/ 152 h 152"/>
                <a:gd name="T52" fmla="*/ 3 w 288"/>
                <a:gd name="T53" fmla="*/ 152 h 152"/>
                <a:gd name="T54" fmla="*/ 261 w 288"/>
                <a:gd name="T55" fmla="*/ 152 h 152"/>
                <a:gd name="T56" fmla="*/ 264 w 288"/>
                <a:gd name="T57" fmla="*/ 152 h 152"/>
                <a:gd name="T58" fmla="*/ 264 w 288"/>
                <a:gd name="T59" fmla="*/ 150 h 152"/>
                <a:gd name="T60" fmla="*/ 264 w 288"/>
                <a:gd name="T61" fmla="*/ 147 h 152"/>
                <a:gd name="T62" fmla="*/ 264 w 288"/>
                <a:gd name="T63" fmla="*/ 125 h 152"/>
                <a:gd name="T64" fmla="*/ 286 w 288"/>
                <a:gd name="T65" fmla="*/ 125 h 152"/>
                <a:gd name="T66" fmla="*/ 288 w 288"/>
                <a:gd name="T67" fmla="*/ 123 h 152"/>
                <a:gd name="T68" fmla="*/ 288 w 288"/>
                <a:gd name="T69" fmla="*/ 123 h 152"/>
                <a:gd name="T70" fmla="*/ 288 w 288"/>
                <a:gd name="T71" fmla="*/ 120 h 152"/>
                <a:gd name="T72" fmla="*/ 288 w 288"/>
                <a:gd name="T73" fmla="*/ 33 h 152"/>
                <a:gd name="T74" fmla="*/ 288 w 288"/>
                <a:gd name="T75" fmla="*/ 30 h 152"/>
                <a:gd name="T76" fmla="*/ 286 w 288"/>
                <a:gd name="T77" fmla="*/ 2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8" h="152">
                  <a:moveTo>
                    <a:pt x="283" y="117"/>
                  </a:moveTo>
                  <a:lnTo>
                    <a:pt x="259" y="117"/>
                  </a:lnTo>
                  <a:lnTo>
                    <a:pt x="259" y="117"/>
                  </a:lnTo>
                  <a:lnTo>
                    <a:pt x="256" y="117"/>
                  </a:lnTo>
                  <a:lnTo>
                    <a:pt x="256" y="120"/>
                  </a:lnTo>
                  <a:lnTo>
                    <a:pt x="256" y="144"/>
                  </a:lnTo>
                  <a:lnTo>
                    <a:pt x="6" y="144"/>
                  </a:lnTo>
                  <a:lnTo>
                    <a:pt x="6" y="8"/>
                  </a:lnTo>
                  <a:lnTo>
                    <a:pt x="256" y="8"/>
                  </a:lnTo>
                  <a:lnTo>
                    <a:pt x="256" y="36"/>
                  </a:lnTo>
                  <a:lnTo>
                    <a:pt x="259" y="36"/>
                  </a:lnTo>
                  <a:lnTo>
                    <a:pt x="259" y="36"/>
                  </a:lnTo>
                  <a:lnTo>
                    <a:pt x="261" y="36"/>
                  </a:lnTo>
                  <a:lnTo>
                    <a:pt x="283" y="36"/>
                  </a:lnTo>
                  <a:lnTo>
                    <a:pt x="283" y="117"/>
                  </a:lnTo>
                  <a:close/>
                  <a:moveTo>
                    <a:pt x="286" y="27"/>
                  </a:moveTo>
                  <a:lnTo>
                    <a:pt x="264" y="27"/>
                  </a:lnTo>
                  <a:lnTo>
                    <a:pt x="264" y="3"/>
                  </a:lnTo>
                  <a:lnTo>
                    <a:pt x="264" y="0"/>
                  </a:lnTo>
                  <a:lnTo>
                    <a:pt x="26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2"/>
                  </a:lnTo>
                  <a:lnTo>
                    <a:pt x="3" y="152"/>
                  </a:lnTo>
                  <a:lnTo>
                    <a:pt x="261" y="152"/>
                  </a:lnTo>
                  <a:lnTo>
                    <a:pt x="264" y="152"/>
                  </a:lnTo>
                  <a:lnTo>
                    <a:pt x="264" y="150"/>
                  </a:lnTo>
                  <a:lnTo>
                    <a:pt x="264" y="147"/>
                  </a:lnTo>
                  <a:lnTo>
                    <a:pt x="264" y="125"/>
                  </a:lnTo>
                  <a:lnTo>
                    <a:pt x="286" y="125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0"/>
                  </a:lnTo>
                  <a:lnTo>
                    <a:pt x="288" y="33"/>
                  </a:lnTo>
                  <a:lnTo>
                    <a:pt x="288" y="30"/>
                  </a:lnTo>
                  <a:lnTo>
                    <a:pt x="286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6" name="Group 241">
            <a:extLst>
              <a:ext uri="{FF2B5EF4-FFF2-40B4-BE49-F238E27FC236}">
                <a16:creationId xmlns:a16="http://schemas.microsoft.com/office/drawing/2014/main" id="{EB06FC81-1752-4E35-B6B5-73CAF41E282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7924" y="5477317"/>
            <a:ext cx="758952" cy="758952"/>
            <a:chOff x="993" y="3548"/>
            <a:chExt cx="472" cy="472"/>
          </a:xfrm>
        </p:grpSpPr>
        <p:sp>
          <p:nvSpPr>
            <p:cNvPr id="277" name="AutoShape 240">
              <a:extLst>
                <a:ext uri="{FF2B5EF4-FFF2-40B4-BE49-F238E27FC236}">
                  <a16:creationId xmlns:a16="http://schemas.microsoft.com/office/drawing/2014/main" id="{568354AB-9668-4BB5-B087-817852CE8F3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93" y="3548"/>
              <a:ext cx="472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2">
              <a:extLst>
                <a:ext uri="{FF2B5EF4-FFF2-40B4-BE49-F238E27FC236}">
                  <a16:creationId xmlns:a16="http://schemas.microsoft.com/office/drawing/2014/main" id="{62136B26-E247-4934-A3E4-708023C097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" y="3550"/>
              <a:ext cx="470" cy="470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43">
              <a:extLst>
                <a:ext uri="{FF2B5EF4-FFF2-40B4-BE49-F238E27FC236}">
                  <a16:creationId xmlns:a16="http://schemas.microsoft.com/office/drawing/2014/main" id="{4011FB7B-80AF-43D9-91F8-17CF8652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3700"/>
              <a:ext cx="305" cy="170"/>
            </a:xfrm>
            <a:custGeom>
              <a:avLst/>
              <a:gdLst>
                <a:gd name="T0" fmla="*/ 13 w 126"/>
                <a:gd name="T1" fmla="*/ 59 h 70"/>
                <a:gd name="T2" fmla="*/ 91 w 126"/>
                <a:gd name="T3" fmla="*/ 59 h 70"/>
                <a:gd name="T4" fmla="*/ 93 w 126"/>
                <a:gd name="T5" fmla="*/ 58 h 70"/>
                <a:gd name="T6" fmla="*/ 93 w 126"/>
                <a:gd name="T7" fmla="*/ 56 h 70"/>
                <a:gd name="T8" fmla="*/ 72 w 126"/>
                <a:gd name="T9" fmla="*/ 12 h 70"/>
                <a:gd name="T10" fmla="*/ 71 w 126"/>
                <a:gd name="T11" fmla="*/ 11 h 70"/>
                <a:gd name="T12" fmla="*/ 13 w 126"/>
                <a:gd name="T13" fmla="*/ 11 h 70"/>
                <a:gd name="T14" fmla="*/ 11 w 126"/>
                <a:gd name="T15" fmla="*/ 13 h 70"/>
                <a:gd name="T16" fmla="*/ 11 w 126"/>
                <a:gd name="T17" fmla="*/ 57 h 70"/>
                <a:gd name="T18" fmla="*/ 13 w 126"/>
                <a:gd name="T19" fmla="*/ 59 h 70"/>
                <a:gd name="T20" fmla="*/ 15 w 126"/>
                <a:gd name="T21" fmla="*/ 15 h 70"/>
                <a:gd name="T22" fmla="*/ 70 w 126"/>
                <a:gd name="T23" fmla="*/ 15 h 70"/>
                <a:gd name="T24" fmla="*/ 89 w 126"/>
                <a:gd name="T25" fmla="*/ 55 h 70"/>
                <a:gd name="T26" fmla="*/ 15 w 126"/>
                <a:gd name="T27" fmla="*/ 55 h 70"/>
                <a:gd name="T28" fmla="*/ 15 w 126"/>
                <a:gd name="T29" fmla="*/ 15 h 70"/>
                <a:gd name="T30" fmla="*/ 124 w 126"/>
                <a:gd name="T31" fmla="*/ 13 h 70"/>
                <a:gd name="T32" fmla="*/ 115 w 126"/>
                <a:gd name="T33" fmla="*/ 13 h 70"/>
                <a:gd name="T34" fmla="*/ 115 w 126"/>
                <a:gd name="T35" fmla="*/ 2 h 70"/>
                <a:gd name="T36" fmla="*/ 114 w 126"/>
                <a:gd name="T37" fmla="*/ 0 h 70"/>
                <a:gd name="T38" fmla="*/ 2 w 126"/>
                <a:gd name="T39" fmla="*/ 0 h 70"/>
                <a:gd name="T40" fmla="*/ 0 w 126"/>
                <a:gd name="T41" fmla="*/ 2 h 70"/>
                <a:gd name="T42" fmla="*/ 0 w 126"/>
                <a:gd name="T43" fmla="*/ 68 h 70"/>
                <a:gd name="T44" fmla="*/ 2 w 126"/>
                <a:gd name="T45" fmla="*/ 70 h 70"/>
                <a:gd name="T46" fmla="*/ 114 w 126"/>
                <a:gd name="T47" fmla="*/ 70 h 70"/>
                <a:gd name="T48" fmla="*/ 115 w 126"/>
                <a:gd name="T49" fmla="*/ 68 h 70"/>
                <a:gd name="T50" fmla="*/ 115 w 126"/>
                <a:gd name="T51" fmla="*/ 57 h 70"/>
                <a:gd name="T52" fmla="*/ 124 w 126"/>
                <a:gd name="T53" fmla="*/ 57 h 70"/>
                <a:gd name="T54" fmla="*/ 126 w 126"/>
                <a:gd name="T55" fmla="*/ 55 h 70"/>
                <a:gd name="T56" fmla="*/ 126 w 126"/>
                <a:gd name="T57" fmla="*/ 15 h 70"/>
                <a:gd name="T58" fmla="*/ 124 w 126"/>
                <a:gd name="T59" fmla="*/ 13 h 70"/>
                <a:gd name="T60" fmla="*/ 112 w 126"/>
                <a:gd name="T61" fmla="*/ 66 h 70"/>
                <a:gd name="T62" fmla="*/ 4 w 126"/>
                <a:gd name="T63" fmla="*/ 66 h 70"/>
                <a:gd name="T64" fmla="*/ 4 w 126"/>
                <a:gd name="T65" fmla="*/ 4 h 70"/>
                <a:gd name="T66" fmla="*/ 112 w 126"/>
                <a:gd name="T67" fmla="*/ 4 h 70"/>
                <a:gd name="T68" fmla="*/ 112 w 126"/>
                <a:gd name="T69" fmla="*/ 66 h 70"/>
                <a:gd name="T70" fmla="*/ 123 w 126"/>
                <a:gd name="T71" fmla="*/ 54 h 70"/>
                <a:gd name="T72" fmla="*/ 115 w 126"/>
                <a:gd name="T73" fmla="*/ 54 h 70"/>
                <a:gd name="T74" fmla="*/ 115 w 126"/>
                <a:gd name="T75" fmla="*/ 16 h 70"/>
                <a:gd name="T76" fmla="*/ 123 w 126"/>
                <a:gd name="T77" fmla="*/ 16 h 70"/>
                <a:gd name="T78" fmla="*/ 123 w 126"/>
                <a:gd name="T79" fmla="*/ 5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6" h="70">
                  <a:moveTo>
                    <a:pt x="13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2" y="59"/>
                    <a:pt x="92" y="58"/>
                    <a:pt x="93" y="58"/>
                  </a:cubicBezTo>
                  <a:cubicBezTo>
                    <a:pt x="93" y="57"/>
                    <a:pt x="93" y="57"/>
                    <a:pt x="93" y="5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12"/>
                    <a:pt x="72" y="11"/>
                    <a:pt x="71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1" y="12"/>
                    <a:pt x="11" y="13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58"/>
                    <a:pt x="12" y="59"/>
                    <a:pt x="13" y="59"/>
                  </a:cubicBezTo>
                  <a:moveTo>
                    <a:pt x="15" y="15"/>
                  </a:moveTo>
                  <a:cubicBezTo>
                    <a:pt x="70" y="15"/>
                    <a:pt x="70" y="15"/>
                    <a:pt x="70" y="1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15" y="55"/>
                    <a:pt x="15" y="55"/>
                    <a:pt x="15" y="55"/>
                  </a:cubicBezTo>
                  <a:lnTo>
                    <a:pt x="15" y="15"/>
                  </a:lnTo>
                  <a:close/>
                  <a:moveTo>
                    <a:pt x="124" y="13"/>
                  </a:moveTo>
                  <a:cubicBezTo>
                    <a:pt x="115" y="13"/>
                    <a:pt x="115" y="13"/>
                    <a:pt x="115" y="13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5" y="1"/>
                    <a:pt x="114" y="0"/>
                    <a:pt x="1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14" y="70"/>
                    <a:pt x="115" y="69"/>
                    <a:pt x="115" y="68"/>
                  </a:cubicBezTo>
                  <a:cubicBezTo>
                    <a:pt x="115" y="57"/>
                    <a:pt x="115" y="57"/>
                    <a:pt x="115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5" y="57"/>
                    <a:pt x="126" y="56"/>
                    <a:pt x="126" y="5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4"/>
                    <a:pt x="125" y="13"/>
                    <a:pt x="124" y="13"/>
                  </a:cubicBezTo>
                  <a:moveTo>
                    <a:pt x="112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12" y="4"/>
                    <a:pt x="112" y="4"/>
                    <a:pt x="112" y="4"/>
                  </a:cubicBezTo>
                  <a:lnTo>
                    <a:pt x="112" y="66"/>
                  </a:lnTo>
                  <a:close/>
                  <a:moveTo>
                    <a:pt x="123" y="54"/>
                  </a:moveTo>
                  <a:cubicBezTo>
                    <a:pt x="115" y="54"/>
                    <a:pt x="115" y="54"/>
                    <a:pt x="115" y="54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23" y="16"/>
                    <a:pt x="123" y="16"/>
                    <a:pt x="123" y="16"/>
                  </a:cubicBezTo>
                  <a:lnTo>
                    <a:pt x="123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Group 246">
            <a:extLst>
              <a:ext uri="{FF2B5EF4-FFF2-40B4-BE49-F238E27FC236}">
                <a16:creationId xmlns:a16="http://schemas.microsoft.com/office/drawing/2014/main" id="{9B8766ED-C59A-44A6-BCED-12ED6B80A8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4487" y="5427311"/>
            <a:ext cx="842820" cy="841248"/>
            <a:chOff x="275" y="3496"/>
            <a:chExt cx="536" cy="535"/>
          </a:xfrm>
        </p:grpSpPr>
        <p:sp>
          <p:nvSpPr>
            <p:cNvPr id="281" name="AutoShape 245">
              <a:extLst>
                <a:ext uri="{FF2B5EF4-FFF2-40B4-BE49-F238E27FC236}">
                  <a16:creationId xmlns:a16="http://schemas.microsoft.com/office/drawing/2014/main" id="{084FE97B-C8E0-4707-B4B2-E899E6CA77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5" y="3496"/>
              <a:ext cx="536" cy="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Oval 247">
              <a:extLst>
                <a:ext uri="{FF2B5EF4-FFF2-40B4-BE49-F238E27FC236}">
                  <a16:creationId xmlns:a16="http://schemas.microsoft.com/office/drawing/2014/main" id="{D13DD6DE-314D-40B2-9D3B-3540D1621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" y="3499"/>
              <a:ext cx="533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48">
              <a:extLst>
                <a:ext uri="{FF2B5EF4-FFF2-40B4-BE49-F238E27FC236}">
                  <a16:creationId xmlns:a16="http://schemas.microsoft.com/office/drawing/2014/main" id="{E39DE7B7-828A-4213-B224-08A2F1D92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" y="3515"/>
              <a:ext cx="501" cy="500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49">
              <a:extLst>
                <a:ext uri="{FF2B5EF4-FFF2-40B4-BE49-F238E27FC236}">
                  <a16:creationId xmlns:a16="http://schemas.microsoft.com/office/drawing/2014/main" id="{6245DBFC-5591-4F66-AF8F-273778A31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" y="3677"/>
              <a:ext cx="325" cy="176"/>
            </a:xfrm>
            <a:custGeom>
              <a:avLst/>
              <a:gdLst>
                <a:gd name="T0" fmla="*/ 12 w 118"/>
                <a:gd name="T1" fmla="*/ 54 h 64"/>
                <a:gd name="T2" fmla="*/ 85 w 118"/>
                <a:gd name="T3" fmla="*/ 54 h 64"/>
                <a:gd name="T4" fmla="*/ 87 w 118"/>
                <a:gd name="T5" fmla="*/ 53 h 64"/>
                <a:gd name="T6" fmla="*/ 87 w 118"/>
                <a:gd name="T7" fmla="*/ 52 h 64"/>
                <a:gd name="T8" fmla="*/ 68 w 118"/>
                <a:gd name="T9" fmla="*/ 11 h 64"/>
                <a:gd name="T10" fmla="*/ 66 w 118"/>
                <a:gd name="T11" fmla="*/ 10 h 64"/>
                <a:gd name="T12" fmla="*/ 12 w 118"/>
                <a:gd name="T13" fmla="*/ 10 h 64"/>
                <a:gd name="T14" fmla="*/ 11 w 118"/>
                <a:gd name="T15" fmla="*/ 12 h 64"/>
                <a:gd name="T16" fmla="*/ 11 w 118"/>
                <a:gd name="T17" fmla="*/ 52 h 64"/>
                <a:gd name="T18" fmla="*/ 12 w 118"/>
                <a:gd name="T19" fmla="*/ 54 h 64"/>
                <a:gd name="T20" fmla="*/ 14 w 118"/>
                <a:gd name="T21" fmla="*/ 13 h 64"/>
                <a:gd name="T22" fmla="*/ 65 w 118"/>
                <a:gd name="T23" fmla="*/ 13 h 64"/>
                <a:gd name="T24" fmla="*/ 83 w 118"/>
                <a:gd name="T25" fmla="*/ 51 h 64"/>
                <a:gd name="T26" fmla="*/ 14 w 118"/>
                <a:gd name="T27" fmla="*/ 51 h 64"/>
                <a:gd name="T28" fmla="*/ 14 w 118"/>
                <a:gd name="T29" fmla="*/ 13 h 64"/>
                <a:gd name="T30" fmla="*/ 116 w 118"/>
                <a:gd name="T31" fmla="*/ 11 h 64"/>
                <a:gd name="T32" fmla="*/ 108 w 118"/>
                <a:gd name="T33" fmla="*/ 11 h 64"/>
                <a:gd name="T34" fmla="*/ 108 w 118"/>
                <a:gd name="T35" fmla="*/ 1 h 64"/>
                <a:gd name="T36" fmla="*/ 106 w 118"/>
                <a:gd name="T37" fmla="*/ 0 h 64"/>
                <a:gd name="T38" fmla="*/ 2 w 118"/>
                <a:gd name="T39" fmla="*/ 0 h 64"/>
                <a:gd name="T40" fmla="*/ 0 w 118"/>
                <a:gd name="T41" fmla="*/ 1 h 64"/>
                <a:gd name="T42" fmla="*/ 0 w 118"/>
                <a:gd name="T43" fmla="*/ 63 h 64"/>
                <a:gd name="T44" fmla="*/ 2 w 118"/>
                <a:gd name="T45" fmla="*/ 64 h 64"/>
                <a:gd name="T46" fmla="*/ 106 w 118"/>
                <a:gd name="T47" fmla="*/ 64 h 64"/>
                <a:gd name="T48" fmla="*/ 108 w 118"/>
                <a:gd name="T49" fmla="*/ 63 h 64"/>
                <a:gd name="T50" fmla="*/ 108 w 118"/>
                <a:gd name="T51" fmla="*/ 53 h 64"/>
                <a:gd name="T52" fmla="*/ 116 w 118"/>
                <a:gd name="T53" fmla="*/ 53 h 64"/>
                <a:gd name="T54" fmla="*/ 118 w 118"/>
                <a:gd name="T55" fmla="*/ 51 h 64"/>
                <a:gd name="T56" fmla="*/ 118 w 118"/>
                <a:gd name="T57" fmla="*/ 13 h 64"/>
                <a:gd name="T58" fmla="*/ 116 w 118"/>
                <a:gd name="T59" fmla="*/ 11 h 64"/>
                <a:gd name="T60" fmla="*/ 105 w 118"/>
                <a:gd name="T61" fmla="*/ 61 h 64"/>
                <a:gd name="T62" fmla="*/ 3 w 118"/>
                <a:gd name="T63" fmla="*/ 61 h 64"/>
                <a:gd name="T64" fmla="*/ 3 w 118"/>
                <a:gd name="T65" fmla="*/ 3 h 64"/>
                <a:gd name="T66" fmla="*/ 105 w 118"/>
                <a:gd name="T67" fmla="*/ 3 h 64"/>
                <a:gd name="T68" fmla="*/ 105 w 118"/>
                <a:gd name="T69" fmla="*/ 61 h 64"/>
                <a:gd name="T70" fmla="*/ 115 w 118"/>
                <a:gd name="T71" fmla="*/ 50 h 64"/>
                <a:gd name="T72" fmla="*/ 108 w 118"/>
                <a:gd name="T73" fmla="*/ 50 h 64"/>
                <a:gd name="T74" fmla="*/ 108 w 118"/>
                <a:gd name="T75" fmla="*/ 14 h 64"/>
                <a:gd name="T76" fmla="*/ 115 w 118"/>
                <a:gd name="T77" fmla="*/ 14 h 64"/>
                <a:gd name="T78" fmla="*/ 115 w 118"/>
                <a:gd name="T7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8" h="64">
                  <a:moveTo>
                    <a:pt x="12" y="54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6" y="54"/>
                    <a:pt x="86" y="54"/>
                    <a:pt x="87" y="53"/>
                  </a:cubicBezTo>
                  <a:cubicBezTo>
                    <a:pt x="87" y="53"/>
                    <a:pt x="87" y="52"/>
                    <a:pt x="87" y="5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10"/>
                    <a:pt x="67" y="10"/>
                    <a:pt x="66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1" y="11"/>
                    <a:pt x="11" y="1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3"/>
                    <a:pt x="11" y="54"/>
                    <a:pt x="12" y="54"/>
                  </a:cubicBezTo>
                  <a:moveTo>
                    <a:pt x="14" y="13"/>
                  </a:moveTo>
                  <a:cubicBezTo>
                    <a:pt x="65" y="13"/>
                    <a:pt x="65" y="13"/>
                    <a:pt x="65" y="13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14" y="51"/>
                    <a:pt x="14" y="51"/>
                    <a:pt x="14" y="51"/>
                  </a:cubicBezTo>
                  <a:lnTo>
                    <a:pt x="14" y="13"/>
                  </a:lnTo>
                  <a:close/>
                  <a:moveTo>
                    <a:pt x="116" y="11"/>
                  </a:moveTo>
                  <a:cubicBezTo>
                    <a:pt x="108" y="11"/>
                    <a:pt x="108" y="11"/>
                    <a:pt x="108" y="1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8" y="0"/>
                    <a:pt x="107" y="0"/>
                    <a:pt x="10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1" y="64"/>
                    <a:pt x="2" y="64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7" y="64"/>
                    <a:pt x="108" y="64"/>
                    <a:pt x="108" y="6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7" y="53"/>
                    <a:pt x="118" y="52"/>
                    <a:pt x="118" y="51"/>
                  </a:cubicBezTo>
                  <a:cubicBezTo>
                    <a:pt x="118" y="13"/>
                    <a:pt x="118" y="13"/>
                    <a:pt x="118" y="13"/>
                  </a:cubicBezTo>
                  <a:cubicBezTo>
                    <a:pt x="118" y="12"/>
                    <a:pt x="117" y="11"/>
                    <a:pt x="116" y="11"/>
                  </a:cubicBezTo>
                  <a:moveTo>
                    <a:pt x="105" y="61"/>
                  </a:moveTo>
                  <a:cubicBezTo>
                    <a:pt x="3" y="61"/>
                    <a:pt x="3" y="61"/>
                    <a:pt x="3" y="6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05" y="3"/>
                    <a:pt x="105" y="3"/>
                    <a:pt x="105" y="3"/>
                  </a:cubicBezTo>
                  <a:lnTo>
                    <a:pt x="105" y="61"/>
                  </a:lnTo>
                  <a:close/>
                  <a:moveTo>
                    <a:pt x="115" y="50"/>
                  </a:moveTo>
                  <a:cubicBezTo>
                    <a:pt x="108" y="50"/>
                    <a:pt x="108" y="50"/>
                    <a:pt x="108" y="50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15" y="14"/>
                    <a:pt x="115" y="14"/>
                    <a:pt x="115" y="14"/>
                  </a:cubicBezTo>
                  <a:lnTo>
                    <a:pt x="115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252">
            <a:extLst>
              <a:ext uri="{FF2B5EF4-FFF2-40B4-BE49-F238E27FC236}">
                <a16:creationId xmlns:a16="http://schemas.microsoft.com/office/drawing/2014/main" id="{EA1DE973-D67E-4B04-A96C-4A5149D00B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7368" y="5487449"/>
            <a:ext cx="750887" cy="749300"/>
            <a:chOff x="2341" y="3520"/>
            <a:chExt cx="473" cy="472"/>
          </a:xfrm>
        </p:grpSpPr>
        <p:sp>
          <p:nvSpPr>
            <p:cNvPr id="290" name="AutoShape 251">
              <a:extLst>
                <a:ext uri="{FF2B5EF4-FFF2-40B4-BE49-F238E27FC236}">
                  <a16:creationId xmlns:a16="http://schemas.microsoft.com/office/drawing/2014/main" id="{B13C73C5-59DE-4F72-A2E9-B0CD11CB78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1" y="3520"/>
              <a:ext cx="473" cy="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3">
              <a:extLst>
                <a:ext uri="{FF2B5EF4-FFF2-40B4-BE49-F238E27FC236}">
                  <a16:creationId xmlns:a16="http://schemas.microsoft.com/office/drawing/2014/main" id="{06E2CBB7-B158-4189-BBEE-C02DD012BF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" y="3522"/>
              <a:ext cx="471" cy="470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54">
              <a:extLst>
                <a:ext uri="{FF2B5EF4-FFF2-40B4-BE49-F238E27FC236}">
                  <a16:creationId xmlns:a16="http://schemas.microsoft.com/office/drawing/2014/main" id="{3AEEFF02-C709-4062-9355-762AADE43D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8" y="3660"/>
              <a:ext cx="281" cy="194"/>
            </a:xfrm>
            <a:custGeom>
              <a:avLst/>
              <a:gdLst>
                <a:gd name="T0" fmla="*/ 58 w 281"/>
                <a:gd name="T1" fmla="*/ 3 h 194"/>
                <a:gd name="T2" fmla="*/ 39 w 281"/>
                <a:gd name="T3" fmla="*/ 25 h 194"/>
                <a:gd name="T4" fmla="*/ 0 w 281"/>
                <a:gd name="T5" fmla="*/ 27 h 194"/>
                <a:gd name="T6" fmla="*/ 0 w 281"/>
                <a:gd name="T7" fmla="*/ 167 h 194"/>
                <a:gd name="T8" fmla="*/ 5 w 281"/>
                <a:gd name="T9" fmla="*/ 170 h 194"/>
                <a:gd name="T10" fmla="*/ 63 w 281"/>
                <a:gd name="T11" fmla="*/ 189 h 194"/>
                <a:gd name="T12" fmla="*/ 73 w 281"/>
                <a:gd name="T13" fmla="*/ 192 h 194"/>
                <a:gd name="T14" fmla="*/ 83 w 281"/>
                <a:gd name="T15" fmla="*/ 189 h 194"/>
                <a:gd name="T16" fmla="*/ 184 w 281"/>
                <a:gd name="T17" fmla="*/ 189 h 194"/>
                <a:gd name="T18" fmla="*/ 194 w 281"/>
                <a:gd name="T19" fmla="*/ 194 h 194"/>
                <a:gd name="T20" fmla="*/ 204 w 281"/>
                <a:gd name="T21" fmla="*/ 192 h 194"/>
                <a:gd name="T22" fmla="*/ 226 w 281"/>
                <a:gd name="T23" fmla="*/ 170 h 194"/>
                <a:gd name="T24" fmla="*/ 257 w 281"/>
                <a:gd name="T25" fmla="*/ 167 h 194"/>
                <a:gd name="T26" fmla="*/ 277 w 281"/>
                <a:gd name="T27" fmla="*/ 143 h 194"/>
                <a:gd name="T28" fmla="*/ 281 w 281"/>
                <a:gd name="T29" fmla="*/ 141 h 194"/>
                <a:gd name="T30" fmla="*/ 279 w 281"/>
                <a:gd name="T31" fmla="*/ 54 h 194"/>
                <a:gd name="T32" fmla="*/ 257 w 281"/>
                <a:gd name="T33" fmla="*/ 29 h 194"/>
                <a:gd name="T34" fmla="*/ 255 w 281"/>
                <a:gd name="T35" fmla="*/ 25 h 194"/>
                <a:gd name="T36" fmla="*/ 206 w 281"/>
                <a:gd name="T37" fmla="*/ 8 h 194"/>
                <a:gd name="T38" fmla="*/ 197 w 281"/>
                <a:gd name="T39" fmla="*/ 3 h 194"/>
                <a:gd name="T40" fmla="*/ 184 w 281"/>
                <a:gd name="T41" fmla="*/ 5 h 194"/>
                <a:gd name="T42" fmla="*/ 83 w 281"/>
                <a:gd name="T43" fmla="*/ 5 h 194"/>
                <a:gd name="T44" fmla="*/ 73 w 281"/>
                <a:gd name="T45" fmla="*/ 0 h 194"/>
                <a:gd name="T46" fmla="*/ 87 w 281"/>
                <a:gd name="T47" fmla="*/ 83 h 194"/>
                <a:gd name="T48" fmla="*/ 87 w 281"/>
                <a:gd name="T49" fmla="*/ 78 h 194"/>
                <a:gd name="T50" fmla="*/ 49 w 281"/>
                <a:gd name="T51" fmla="*/ 34 h 194"/>
                <a:gd name="T52" fmla="*/ 66 w 281"/>
                <a:gd name="T53" fmla="*/ 15 h 194"/>
                <a:gd name="T54" fmla="*/ 73 w 281"/>
                <a:gd name="T55" fmla="*/ 12 h 194"/>
                <a:gd name="T56" fmla="*/ 133 w 281"/>
                <a:gd name="T57" fmla="*/ 71 h 194"/>
                <a:gd name="T58" fmla="*/ 189 w 281"/>
                <a:gd name="T59" fmla="*/ 17 h 194"/>
                <a:gd name="T60" fmla="*/ 197 w 281"/>
                <a:gd name="T61" fmla="*/ 15 h 194"/>
                <a:gd name="T62" fmla="*/ 216 w 281"/>
                <a:gd name="T63" fmla="*/ 34 h 194"/>
                <a:gd name="T64" fmla="*/ 163 w 281"/>
                <a:gd name="T65" fmla="*/ 95 h 194"/>
                <a:gd name="T66" fmla="*/ 160 w 281"/>
                <a:gd name="T67" fmla="*/ 100 h 194"/>
                <a:gd name="T68" fmla="*/ 209 w 281"/>
                <a:gd name="T69" fmla="*/ 148 h 194"/>
                <a:gd name="T70" fmla="*/ 216 w 281"/>
                <a:gd name="T71" fmla="*/ 146 h 194"/>
                <a:gd name="T72" fmla="*/ 216 w 281"/>
                <a:gd name="T73" fmla="*/ 138 h 194"/>
                <a:gd name="T74" fmla="*/ 226 w 281"/>
                <a:gd name="T75" fmla="*/ 46 h 194"/>
                <a:gd name="T76" fmla="*/ 228 w 281"/>
                <a:gd name="T77" fmla="*/ 37 h 194"/>
                <a:gd name="T78" fmla="*/ 247 w 281"/>
                <a:gd name="T79" fmla="*/ 61 h 194"/>
                <a:gd name="T80" fmla="*/ 269 w 281"/>
                <a:gd name="T81" fmla="*/ 134 h 194"/>
                <a:gd name="T82" fmla="*/ 247 w 281"/>
                <a:gd name="T83" fmla="*/ 136 h 194"/>
                <a:gd name="T84" fmla="*/ 221 w 281"/>
                <a:gd name="T85" fmla="*/ 160 h 194"/>
                <a:gd name="T86" fmla="*/ 216 w 281"/>
                <a:gd name="T87" fmla="*/ 163 h 194"/>
                <a:gd name="T88" fmla="*/ 199 w 281"/>
                <a:gd name="T89" fmla="*/ 182 h 194"/>
                <a:gd name="T90" fmla="*/ 192 w 281"/>
                <a:gd name="T91" fmla="*/ 182 h 194"/>
                <a:gd name="T92" fmla="*/ 133 w 281"/>
                <a:gd name="T93" fmla="*/ 126 h 194"/>
                <a:gd name="T94" fmla="*/ 97 w 281"/>
                <a:gd name="T95" fmla="*/ 160 h 194"/>
                <a:gd name="T96" fmla="*/ 75 w 281"/>
                <a:gd name="T97" fmla="*/ 180 h 194"/>
                <a:gd name="T98" fmla="*/ 68 w 281"/>
                <a:gd name="T99" fmla="*/ 180 h 194"/>
                <a:gd name="T100" fmla="*/ 51 w 281"/>
                <a:gd name="T101" fmla="*/ 158 h 194"/>
                <a:gd name="T102" fmla="*/ 90 w 281"/>
                <a:gd name="T103" fmla="*/ 117 h 194"/>
                <a:gd name="T104" fmla="*/ 90 w 281"/>
                <a:gd name="T105" fmla="*/ 109 h 194"/>
                <a:gd name="T106" fmla="*/ 83 w 281"/>
                <a:gd name="T107" fmla="*/ 109 h 194"/>
                <a:gd name="T108" fmla="*/ 41 w 281"/>
                <a:gd name="T109" fmla="*/ 150 h 194"/>
                <a:gd name="T110" fmla="*/ 12 w 281"/>
                <a:gd name="T111" fmla="*/ 160 h 194"/>
                <a:gd name="T112" fmla="*/ 39 w 281"/>
                <a:gd name="T113" fmla="*/ 42 h 194"/>
                <a:gd name="T114" fmla="*/ 80 w 281"/>
                <a:gd name="T115" fmla="*/ 85 h 194"/>
                <a:gd name="T116" fmla="*/ 153 w 281"/>
                <a:gd name="T117" fmla="*/ 37 h 194"/>
                <a:gd name="T118" fmla="*/ 133 w 281"/>
                <a:gd name="T119" fmla="*/ 13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1" h="194">
                  <a:moveTo>
                    <a:pt x="68" y="0"/>
                  </a:moveTo>
                  <a:lnTo>
                    <a:pt x="66" y="0"/>
                  </a:lnTo>
                  <a:lnTo>
                    <a:pt x="66" y="0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58" y="3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44" y="2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9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2" y="170"/>
                  </a:lnTo>
                  <a:lnTo>
                    <a:pt x="2" y="170"/>
                  </a:lnTo>
                  <a:lnTo>
                    <a:pt x="2" y="170"/>
                  </a:lnTo>
                  <a:lnTo>
                    <a:pt x="5" y="170"/>
                  </a:lnTo>
                  <a:lnTo>
                    <a:pt x="5" y="170"/>
                  </a:lnTo>
                  <a:lnTo>
                    <a:pt x="44" y="170"/>
                  </a:lnTo>
                  <a:lnTo>
                    <a:pt x="44" y="172"/>
                  </a:lnTo>
                  <a:lnTo>
                    <a:pt x="46" y="172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3" y="189"/>
                  </a:lnTo>
                  <a:lnTo>
                    <a:pt x="63" y="189"/>
                  </a:lnTo>
                  <a:lnTo>
                    <a:pt x="66" y="192"/>
                  </a:lnTo>
                  <a:lnTo>
                    <a:pt x="68" y="192"/>
                  </a:lnTo>
                  <a:lnTo>
                    <a:pt x="68" y="192"/>
                  </a:lnTo>
                  <a:lnTo>
                    <a:pt x="70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5" y="192"/>
                  </a:lnTo>
                  <a:lnTo>
                    <a:pt x="78" y="192"/>
                  </a:lnTo>
                  <a:lnTo>
                    <a:pt x="80" y="192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5" y="187"/>
                  </a:lnTo>
                  <a:lnTo>
                    <a:pt x="87" y="187"/>
                  </a:lnTo>
                  <a:lnTo>
                    <a:pt x="102" y="170"/>
                  </a:lnTo>
                  <a:lnTo>
                    <a:pt x="165" y="170"/>
                  </a:lnTo>
                  <a:lnTo>
                    <a:pt x="182" y="187"/>
                  </a:lnTo>
                  <a:lnTo>
                    <a:pt x="184" y="189"/>
                  </a:lnTo>
                  <a:lnTo>
                    <a:pt x="184" y="192"/>
                  </a:lnTo>
                  <a:lnTo>
                    <a:pt x="187" y="192"/>
                  </a:lnTo>
                  <a:lnTo>
                    <a:pt x="189" y="192"/>
                  </a:lnTo>
                  <a:lnTo>
                    <a:pt x="189" y="192"/>
                  </a:lnTo>
                  <a:lnTo>
                    <a:pt x="192" y="194"/>
                  </a:lnTo>
                  <a:lnTo>
                    <a:pt x="194" y="194"/>
                  </a:lnTo>
                  <a:lnTo>
                    <a:pt x="197" y="194"/>
                  </a:lnTo>
                  <a:lnTo>
                    <a:pt x="197" y="194"/>
                  </a:lnTo>
                  <a:lnTo>
                    <a:pt x="199" y="194"/>
                  </a:lnTo>
                  <a:lnTo>
                    <a:pt x="201" y="192"/>
                  </a:lnTo>
                  <a:lnTo>
                    <a:pt x="204" y="192"/>
                  </a:lnTo>
                  <a:lnTo>
                    <a:pt x="204" y="192"/>
                  </a:lnTo>
                  <a:lnTo>
                    <a:pt x="206" y="192"/>
                  </a:lnTo>
                  <a:lnTo>
                    <a:pt x="209" y="189"/>
                  </a:lnTo>
                  <a:lnTo>
                    <a:pt x="209" y="187"/>
                  </a:lnTo>
                  <a:lnTo>
                    <a:pt x="223" y="175"/>
                  </a:lnTo>
                  <a:lnTo>
                    <a:pt x="223" y="172"/>
                  </a:lnTo>
                  <a:lnTo>
                    <a:pt x="226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7" y="167"/>
                  </a:lnTo>
                  <a:lnTo>
                    <a:pt x="257" y="167"/>
                  </a:lnTo>
                  <a:lnTo>
                    <a:pt x="257" y="165"/>
                  </a:lnTo>
                  <a:lnTo>
                    <a:pt x="257" y="165"/>
                  </a:lnTo>
                  <a:lnTo>
                    <a:pt x="257" y="143"/>
                  </a:lnTo>
                  <a:lnTo>
                    <a:pt x="277" y="143"/>
                  </a:lnTo>
                  <a:lnTo>
                    <a:pt x="277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81" y="138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4"/>
                  </a:lnTo>
                  <a:lnTo>
                    <a:pt x="281" y="54"/>
                  </a:lnTo>
                  <a:lnTo>
                    <a:pt x="279" y="54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7" y="51"/>
                  </a:lnTo>
                  <a:lnTo>
                    <a:pt x="277" y="51"/>
                  </a:lnTo>
                  <a:lnTo>
                    <a:pt x="257" y="51"/>
                  </a:lnTo>
                  <a:lnTo>
                    <a:pt x="257" y="29"/>
                  </a:lnTo>
                  <a:lnTo>
                    <a:pt x="257" y="29"/>
                  </a:lnTo>
                  <a:lnTo>
                    <a:pt x="257" y="27"/>
                  </a:lnTo>
                  <a:lnTo>
                    <a:pt x="257" y="27"/>
                  </a:lnTo>
                  <a:lnTo>
                    <a:pt x="255" y="27"/>
                  </a:lnTo>
                  <a:lnTo>
                    <a:pt x="255" y="25"/>
                  </a:lnTo>
                  <a:lnTo>
                    <a:pt x="255" y="25"/>
                  </a:lnTo>
                  <a:lnTo>
                    <a:pt x="252" y="25"/>
                  </a:lnTo>
                  <a:lnTo>
                    <a:pt x="252" y="25"/>
                  </a:lnTo>
                  <a:lnTo>
                    <a:pt x="223" y="25"/>
                  </a:lnTo>
                  <a:lnTo>
                    <a:pt x="221" y="22"/>
                  </a:lnTo>
                  <a:lnTo>
                    <a:pt x="209" y="10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4" y="5"/>
                  </a:lnTo>
                  <a:lnTo>
                    <a:pt x="201" y="5"/>
                  </a:lnTo>
                  <a:lnTo>
                    <a:pt x="199" y="3"/>
                  </a:lnTo>
                  <a:lnTo>
                    <a:pt x="199" y="3"/>
                  </a:lnTo>
                  <a:lnTo>
                    <a:pt x="197" y="3"/>
                  </a:lnTo>
                  <a:lnTo>
                    <a:pt x="194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89" y="3"/>
                  </a:lnTo>
                  <a:lnTo>
                    <a:pt x="187" y="5"/>
                  </a:lnTo>
                  <a:lnTo>
                    <a:pt x="184" y="5"/>
                  </a:lnTo>
                  <a:lnTo>
                    <a:pt x="184" y="8"/>
                  </a:lnTo>
                  <a:lnTo>
                    <a:pt x="182" y="8"/>
                  </a:lnTo>
                  <a:lnTo>
                    <a:pt x="182" y="10"/>
                  </a:lnTo>
                  <a:lnTo>
                    <a:pt x="165" y="25"/>
                  </a:lnTo>
                  <a:lnTo>
                    <a:pt x="102" y="2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8" y="3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68" y="0"/>
                  </a:lnTo>
                  <a:close/>
                  <a:moveTo>
                    <a:pt x="85" y="85"/>
                  </a:moveTo>
                  <a:lnTo>
                    <a:pt x="85" y="85"/>
                  </a:lnTo>
                  <a:lnTo>
                    <a:pt x="85" y="85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49" y="37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66" y="15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129" y="68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36" y="71"/>
                  </a:lnTo>
                  <a:lnTo>
                    <a:pt x="136" y="71"/>
                  </a:lnTo>
                  <a:lnTo>
                    <a:pt x="136" y="71"/>
                  </a:lnTo>
                  <a:lnTo>
                    <a:pt x="138" y="68"/>
                  </a:lnTo>
                  <a:lnTo>
                    <a:pt x="189" y="17"/>
                  </a:lnTo>
                  <a:lnTo>
                    <a:pt x="189" y="17"/>
                  </a:lnTo>
                  <a:lnTo>
                    <a:pt x="192" y="15"/>
                  </a:lnTo>
                  <a:lnTo>
                    <a:pt x="194" y="15"/>
                  </a:lnTo>
                  <a:lnTo>
                    <a:pt x="194" y="15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199" y="17"/>
                  </a:lnTo>
                  <a:lnTo>
                    <a:pt x="199" y="17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7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4" y="42"/>
                  </a:lnTo>
                  <a:lnTo>
                    <a:pt x="214" y="42"/>
                  </a:lnTo>
                  <a:lnTo>
                    <a:pt x="163" y="95"/>
                  </a:lnTo>
                  <a:lnTo>
                    <a:pt x="163" y="95"/>
                  </a:lnTo>
                  <a:lnTo>
                    <a:pt x="160" y="95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100"/>
                  </a:lnTo>
                  <a:lnTo>
                    <a:pt x="160" y="100"/>
                  </a:lnTo>
                  <a:lnTo>
                    <a:pt x="163" y="102"/>
                  </a:lnTo>
                  <a:lnTo>
                    <a:pt x="163" y="102"/>
                  </a:lnTo>
                  <a:lnTo>
                    <a:pt x="206" y="146"/>
                  </a:lnTo>
                  <a:lnTo>
                    <a:pt x="206" y="146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11" y="148"/>
                  </a:lnTo>
                  <a:lnTo>
                    <a:pt x="211" y="148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6" y="146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1"/>
                  </a:lnTo>
                  <a:lnTo>
                    <a:pt x="216" y="141"/>
                  </a:lnTo>
                  <a:lnTo>
                    <a:pt x="216" y="141"/>
                  </a:lnTo>
                  <a:lnTo>
                    <a:pt x="216" y="138"/>
                  </a:lnTo>
                  <a:lnTo>
                    <a:pt x="214" y="138"/>
                  </a:lnTo>
                  <a:lnTo>
                    <a:pt x="175" y="97"/>
                  </a:lnTo>
                  <a:lnTo>
                    <a:pt x="221" y="51"/>
                  </a:lnTo>
                  <a:lnTo>
                    <a:pt x="223" y="49"/>
                  </a:lnTo>
                  <a:lnTo>
                    <a:pt x="223" y="46"/>
                  </a:lnTo>
                  <a:lnTo>
                    <a:pt x="226" y="46"/>
                  </a:lnTo>
                  <a:lnTo>
                    <a:pt x="226" y="44"/>
                  </a:lnTo>
                  <a:lnTo>
                    <a:pt x="226" y="42"/>
                  </a:lnTo>
                  <a:lnTo>
                    <a:pt x="228" y="42"/>
                  </a:lnTo>
                  <a:lnTo>
                    <a:pt x="228" y="39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45" y="37"/>
                  </a:lnTo>
                  <a:lnTo>
                    <a:pt x="245" y="56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7" y="61"/>
                  </a:lnTo>
                  <a:lnTo>
                    <a:pt x="247" y="61"/>
                  </a:lnTo>
                  <a:lnTo>
                    <a:pt x="247" y="61"/>
                  </a:lnTo>
                  <a:lnTo>
                    <a:pt x="250" y="61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69" y="63"/>
                  </a:lnTo>
                  <a:lnTo>
                    <a:pt x="269" y="134"/>
                  </a:lnTo>
                  <a:lnTo>
                    <a:pt x="252" y="134"/>
                  </a:lnTo>
                  <a:lnTo>
                    <a:pt x="250" y="134"/>
                  </a:lnTo>
                  <a:lnTo>
                    <a:pt x="250" y="134"/>
                  </a:lnTo>
                  <a:lnTo>
                    <a:pt x="247" y="134"/>
                  </a:lnTo>
                  <a:lnTo>
                    <a:pt x="247" y="134"/>
                  </a:lnTo>
                  <a:lnTo>
                    <a:pt x="247" y="136"/>
                  </a:lnTo>
                  <a:lnTo>
                    <a:pt x="245" y="136"/>
                  </a:lnTo>
                  <a:lnTo>
                    <a:pt x="245" y="138"/>
                  </a:lnTo>
                  <a:lnTo>
                    <a:pt x="245" y="138"/>
                  </a:lnTo>
                  <a:lnTo>
                    <a:pt x="245" y="160"/>
                  </a:lnTo>
                  <a:lnTo>
                    <a:pt x="223" y="160"/>
                  </a:lnTo>
                  <a:lnTo>
                    <a:pt x="221" y="160"/>
                  </a:lnTo>
                  <a:lnTo>
                    <a:pt x="221" y="160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8" y="163"/>
                  </a:lnTo>
                  <a:lnTo>
                    <a:pt x="218" y="163"/>
                  </a:lnTo>
                  <a:lnTo>
                    <a:pt x="216" y="163"/>
                  </a:lnTo>
                  <a:lnTo>
                    <a:pt x="216" y="165"/>
                  </a:lnTo>
                  <a:lnTo>
                    <a:pt x="216" y="165"/>
                  </a:lnTo>
                  <a:lnTo>
                    <a:pt x="216" y="165"/>
                  </a:lnTo>
                  <a:lnTo>
                    <a:pt x="216" y="165"/>
                  </a:lnTo>
                  <a:lnTo>
                    <a:pt x="201" y="180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4" y="182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89" y="180"/>
                  </a:lnTo>
                  <a:lnTo>
                    <a:pt x="138" y="126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29" y="126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5" y="160"/>
                  </a:lnTo>
                  <a:lnTo>
                    <a:pt x="95" y="163"/>
                  </a:lnTo>
                  <a:lnTo>
                    <a:pt x="95" y="163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3" y="182"/>
                  </a:lnTo>
                  <a:lnTo>
                    <a:pt x="70" y="180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0"/>
                  </a:lnTo>
                  <a:lnTo>
                    <a:pt x="53" y="165"/>
                  </a:lnTo>
                  <a:lnTo>
                    <a:pt x="53" y="163"/>
                  </a:lnTo>
                  <a:lnTo>
                    <a:pt x="51" y="163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58"/>
                  </a:lnTo>
                  <a:lnTo>
                    <a:pt x="51" y="155"/>
                  </a:lnTo>
                  <a:lnTo>
                    <a:pt x="53" y="155"/>
                  </a:lnTo>
                  <a:lnTo>
                    <a:pt x="53" y="153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5" y="109"/>
                  </a:lnTo>
                  <a:lnTo>
                    <a:pt x="85" y="107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46" y="146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1" y="150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5"/>
                  </a:lnTo>
                  <a:lnTo>
                    <a:pt x="39" y="158"/>
                  </a:lnTo>
                  <a:lnTo>
                    <a:pt x="39" y="160"/>
                  </a:lnTo>
                  <a:lnTo>
                    <a:pt x="12" y="160"/>
                  </a:lnTo>
                  <a:lnTo>
                    <a:pt x="12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9" y="39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6"/>
                  </a:lnTo>
                  <a:lnTo>
                    <a:pt x="44" y="49"/>
                  </a:lnTo>
                  <a:lnTo>
                    <a:pt x="78" y="83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5" y="85"/>
                  </a:lnTo>
                  <a:close/>
                  <a:moveTo>
                    <a:pt x="114" y="37"/>
                  </a:moveTo>
                  <a:lnTo>
                    <a:pt x="153" y="37"/>
                  </a:lnTo>
                  <a:lnTo>
                    <a:pt x="133" y="56"/>
                  </a:lnTo>
                  <a:lnTo>
                    <a:pt x="114" y="37"/>
                  </a:lnTo>
                  <a:close/>
                  <a:moveTo>
                    <a:pt x="133" y="138"/>
                  </a:moveTo>
                  <a:lnTo>
                    <a:pt x="153" y="160"/>
                  </a:lnTo>
                  <a:lnTo>
                    <a:pt x="114" y="160"/>
                  </a:lnTo>
                  <a:lnTo>
                    <a:pt x="133" y="1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3" name="Group 257">
            <a:extLst>
              <a:ext uri="{FF2B5EF4-FFF2-40B4-BE49-F238E27FC236}">
                <a16:creationId xmlns:a16="http://schemas.microsoft.com/office/drawing/2014/main" id="{97630332-CC56-424D-B391-97C04A001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1055" y="5441412"/>
            <a:ext cx="841375" cy="841375"/>
            <a:chOff x="1591" y="3458"/>
            <a:chExt cx="530" cy="530"/>
          </a:xfrm>
        </p:grpSpPr>
        <p:sp>
          <p:nvSpPr>
            <p:cNvPr id="294" name="AutoShape 256">
              <a:extLst>
                <a:ext uri="{FF2B5EF4-FFF2-40B4-BE49-F238E27FC236}">
                  <a16:creationId xmlns:a16="http://schemas.microsoft.com/office/drawing/2014/main" id="{AEB984E9-2F36-4BC2-90D1-2D9861A0831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91" y="345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258">
              <a:extLst>
                <a:ext uri="{FF2B5EF4-FFF2-40B4-BE49-F238E27FC236}">
                  <a16:creationId xmlns:a16="http://schemas.microsoft.com/office/drawing/2014/main" id="{89E3BA94-7BD0-4BC4-A603-02D8BD967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4" y="346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59">
              <a:extLst>
                <a:ext uri="{FF2B5EF4-FFF2-40B4-BE49-F238E27FC236}">
                  <a16:creationId xmlns:a16="http://schemas.microsoft.com/office/drawing/2014/main" id="{44B05426-FF9C-477F-9EB4-7AD2EA74A7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0" y="347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60">
              <a:extLst>
                <a:ext uri="{FF2B5EF4-FFF2-40B4-BE49-F238E27FC236}">
                  <a16:creationId xmlns:a16="http://schemas.microsoft.com/office/drawing/2014/main" id="{E81589D0-6DB3-41BF-AE02-336CBCA3B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1" y="3624"/>
              <a:ext cx="293" cy="201"/>
            </a:xfrm>
            <a:custGeom>
              <a:avLst/>
              <a:gdLst>
                <a:gd name="T0" fmla="*/ 62 w 293"/>
                <a:gd name="T1" fmla="*/ 3 h 201"/>
                <a:gd name="T2" fmla="*/ 40 w 293"/>
                <a:gd name="T3" fmla="*/ 24 h 201"/>
                <a:gd name="T4" fmla="*/ 0 w 293"/>
                <a:gd name="T5" fmla="*/ 27 h 201"/>
                <a:gd name="T6" fmla="*/ 0 w 293"/>
                <a:gd name="T7" fmla="*/ 174 h 201"/>
                <a:gd name="T8" fmla="*/ 5 w 293"/>
                <a:gd name="T9" fmla="*/ 176 h 201"/>
                <a:gd name="T10" fmla="*/ 65 w 293"/>
                <a:gd name="T11" fmla="*/ 196 h 201"/>
                <a:gd name="T12" fmla="*/ 76 w 293"/>
                <a:gd name="T13" fmla="*/ 201 h 201"/>
                <a:gd name="T14" fmla="*/ 87 w 293"/>
                <a:gd name="T15" fmla="*/ 196 h 201"/>
                <a:gd name="T16" fmla="*/ 193 w 293"/>
                <a:gd name="T17" fmla="*/ 198 h 201"/>
                <a:gd name="T18" fmla="*/ 201 w 293"/>
                <a:gd name="T19" fmla="*/ 201 h 201"/>
                <a:gd name="T20" fmla="*/ 214 w 293"/>
                <a:gd name="T21" fmla="*/ 198 h 201"/>
                <a:gd name="T22" fmla="*/ 236 w 293"/>
                <a:gd name="T23" fmla="*/ 176 h 201"/>
                <a:gd name="T24" fmla="*/ 269 w 293"/>
                <a:gd name="T25" fmla="*/ 174 h 201"/>
                <a:gd name="T26" fmla="*/ 288 w 293"/>
                <a:gd name="T27" fmla="*/ 149 h 201"/>
                <a:gd name="T28" fmla="*/ 293 w 293"/>
                <a:gd name="T29" fmla="*/ 144 h 201"/>
                <a:gd name="T30" fmla="*/ 293 w 293"/>
                <a:gd name="T31" fmla="*/ 54 h 201"/>
                <a:gd name="T32" fmla="*/ 269 w 293"/>
                <a:gd name="T33" fmla="*/ 30 h 201"/>
                <a:gd name="T34" fmla="*/ 263 w 293"/>
                <a:gd name="T35" fmla="*/ 24 h 201"/>
                <a:gd name="T36" fmla="*/ 214 w 293"/>
                <a:gd name="T37" fmla="*/ 5 h 201"/>
                <a:gd name="T38" fmla="*/ 203 w 293"/>
                <a:gd name="T39" fmla="*/ 3 h 201"/>
                <a:gd name="T40" fmla="*/ 193 w 293"/>
                <a:gd name="T41" fmla="*/ 5 h 201"/>
                <a:gd name="T42" fmla="*/ 87 w 293"/>
                <a:gd name="T43" fmla="*/ 5 h 201"/>
                <a:gd name="T44" fmla="*/ 76 w 293"/>
                <a:gd name="T45" fmla="*/ 0 h 201"/>
                <a:gd name="T46" fmla="*/ 89 w 293"/>
                <a:gd name="T47" fmla="*/ 87 h 201"/>
                <a:gd name="T48" fmla="*/ 92 w 293"/>
                <a:gd name="T49" fmla="*/ 79 h 201"/>
                <a:gd name="T50" fmla="*/ 51 w 293"/>
                <a:gd name="T51" fmla="*/ 35 h 201"/>
                <a:gd name="T52" fmla="*/ 68 w 293"/>
                <a:gd name="T53" fmla="*/ 13 h 201"/>
                <a:gd name="T54" fmla="*/ 76 w 293"/>
                <a:gd name="T55" fmla="*/ 11 h 201"/>
                <a:gd name="T56" fmla="*/ 138 w 293"/>
                <a:gd name="T57" fmla="*/ 73 h 201"/>
                <a:gd name="T58" fmla="*/ 198 w 293"/>
                <a:gd name="T59" fmla="*/ 16 h 201"/>
                <a:gd name="T60" fmla="*/ 206 w 293"/>
                <a:gd name="T61" fmla="*/ 13 h 201"/>
                <a:gd name="T62" fmla="*/ 225 w 293"/>
                <a:gd name="T63" fmla="*/ 35 h 201"/>
                <a:gd name="T64" fmla="*/ 168 w 293"/>
                <a:gd name="T65" fmla="*/ 98 h 201"/>
                <a:gd name="T66" fmla="*/ 168 w 293"/>
                <a:gd name="T67" fmla="*/ 103 h 201"/>
                <a:gd name="T68" fmla="*/ 217 w 293"/>
                <a:gd name="T69" fmla="*/ 152 h 201"/>
                <a:gd name="T70" fmla="*/ 225 w 293"/>
                <a:gd name="T71" fmla="*/ 149 h 201"/>
                <a:gd name="T72" fmla="*/ 225 w 293"/>
                <a:gd name="T73" fmla="*/ 144 h 201"/>
                <a:gd name="T74" fmla="*/ 233 w 293"/>
                <a:gd name="T75" fmla="*/ 46 h 201"/>
                <a:gd name="T76" fmla="*/ 236 w 293"/>
                <a:gd name="T77" fmla="*/ 35 h 201"/>
                <a:gd name="T78" fmla="*/ 258 w 293"/>
                <a:gd name="T79" fmla="*/ 62 h 201"/>
                <a:gd name="T80" fmla="*/ 282 w 293"/>
                <a:gd name="T81" fmla="*/ 138 h 201"/>
                <a:gd name="T82" fmla="*/ 258 w 293"/>
                <a:gd name="T83" fmla="*/ 141 h 201"/>
                <a:gd name="T84" fmla="*/ 231 w 293"/>
                <a:gd name="T85" fmla="*/ 166 h 201"/>
                <a:gd name="T86" fmla="*/ 225 w 293"/>
                <a:gd name="T87" fmla="*/ 168 h 201"/>
                <a:gd name="T88" fmla="*/ 209 w 293"/>
                <a:gd name="T89" fmla="*/ 187 h 201"/>
                <a:gd name="T90" fmla="*/ 198 w 293"/>
                <a:gd name="T91" fmla="*/ 187 h 201"/>
                <a:gd name="T92" fmla="*/ 138 w 293"/>
                <a:gd name="T93" fmla="*/ 130 h 201"/>
                <a:gd name="T94" fmla="*/ 100 w 293"/>
                <a:gd name="T95" fmla="*/ 166 h 201"/>
                <a:gd name="T96" fmla="*/ 78 w 293"/>
                <a:gd name="T97" fmla="*/ 187 h 201"/>
                <a:gd name="T98" fmla="*/ 70 w 293"/>
                <a:gd name="T99" fmla="*/ 185 h 201"/>
                <a:gd name="T100" fmla="*/ 54 w 293"/>
                <a:gd name="T101" fmla="*/ 163 h 201"/>
                <a:gd name="T102" fmla="*/ 95 w 293"/>
                <a:gd name="T103" fmla="*/ 119 h 201"/>
                <a:gd name="T104" fmla="*/ 92 w 293"/>
                <a:gd name="T105" fmla="*/ 114 h 201"/>
                <a:gd name="T106" fmla="*/ 87 w 293"/>
                <a:gd name="T107" fmla="*/ 111 h 201"/>
                <a:gd name="T108" fmla="*/ 43 w 293"/>
                <a:gd name="T109" fmla="*/ 155 h 201"/>
                <a:gd name="T110" fmla="*/ 10 w 293"/>
                <a:gd name="T111" fmla="*/ 166 h 201"/>
                <a:gd name="T112" fmla="*/ 40 w 293"/>
                <a:gd name="T113" fmla="*/ 43 h 201"/>
                <a:gd name="T114" fmla="*/ 81 w 293"/>
                <a:gd name="T115" fmla="*/ 87 h 201"/>
                <a:gd name="T116" fmla="*/ 160 w 293"/>
                <a:gd name="T117" fmla="*/ 35 h 201"/>
                <a:gd name="T118" fmla="*/ 138 w 293"/>
                <a:gd name="T119" fmla="*/ 144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" h="201">
                  <a:moveTo>
                    <a:pt x="70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5" y="0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59" y="3"/>
                  </a:lnTo>
                  <a:lnTo>
                    <a:pt x="59" y="5"/>
                  </a:lnTo>
                  <a:lnTo>
                    <a:pt x="43" y="1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0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17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2" y="176"/>
                  </a:lnTo>
                  <a:lnTo>
                    <a:pt x="2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46" y="176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62" y="193"/>
                  </a:lnTo>
                  <a:lnTo>
                    <a:pt x="62" y="196"/>
                  </a:lnTo>
                  <a:lnTo>
                    <a:pt x="65" y="196"/>
                  </a:lnTo>
                  <a:lnTo>
                    <a:pt x="65" y="198"/>
                  </a:lnTo>
                  <a:lnTo>
                    <a:pt x="68" y="198"/>
                  </a:lnTo>
                  <a:lnTo>
                    <a:pt x="70" y="198"/>
                  </a:lnTo>
                  <a:lnTo>
                    <a:pt x="70" y="201"/>
                  </a:lnTo>
                  <a:lnTo>
                    <a:pt x="73" y="201"/>
                  </a:lnTo>
                  <a:lnTo>
                    <a:pt x="76" y="201"/>
                  </a:lnTo>
                  <a:lnTo>
                    <a:pt x="78" y="201"/>
                  </a:lnTo>
                  <a:lnTo>
                    <a:pt x="78" y="201"/>
                  </a:lnTo>
                  <a:lnTo>
                    <a:pt x="81" y="198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9" y="193"/>
                  </a:lnTo>
                  <a:lnTo>
                    <a:pt x="106" y="176"/>
                  </a:lnTo>
                  <a:lnTo>
                    <a:pt x="171" y="176"/>
                  </a:lnTo>
                  <a:lnTo>
                    <a:pt x="190" y="196"/>
                  </a:lnTo>
                  <a:lnTo>
                    <a:pt x="193" y="198"/>
                  </a:lnTo>
                  <a:lnTo>
                    <a:pt x="193" y="198"/>
                  </a:lnTo>
                  <a:lnTo>
                    <a:pt x="195" y="198"/>
                  </a:lnTo>
                  <a:lnTo>
                    <a:pt x="195" y="201"/>
                  </a:lnTo>
                  <a:lnTo>
                    <a:pt x="198" y="201"/>
                  </a:lnTo>
                  <a:lnTo>
                    <a:pt x="201" y="201"/>
                  </a:lnTo>
                  <a:lnTo>
                    <a:pt x="201" y="201"/>
                  </a:lnTo>
                  <a:lnTo>
                    <a:pt x="203" y="201"/>
                  </a:lnTo>
                  <a:lnTo>
                    <a:pt x="206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12" y="201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7" y="198"/>
                  </a:lnTo>
                  <a:lnTo>
                    <a:pt x="217" y="196"/>
                  </a:lnTo>
                  <a:lnTo>
                    <a:pt x="233" y="182"/>
                  </a:lnTo>
                  <a:lnTo>
                    <a:pt x="233" y="179"/>
                  </a:lnTo>
                  <a:lnTo>
                    <a:pt x="236" y="176"/>
                  </a:lnTo>
                  <a:lnTo>
                    <a:pt x="263" y="176"/>
                  </a:lnTo>
                  <a:lnTo>
                    <a:pt x="263" y="176"/>
                  </a:lnTo>
                  <a:lnTo>
                    <a:pt x="263" y="176"/>
                  </a:lnTo>
                  <a:lnTo>
                    <a:pt x="266" y="176"/>
                  </a:lnTo>
                  <a:lnTo>
                    <a:pt x="266" y="176"/>
                  </a:lnTo>
                  <a:lnTo>
                    <a:pt x="269" y="174"/>
                  </a:lnTo>
                  <a:lnTo>
                    <a:pt x="269" y="174"/>
                  </a:lnTo>
                  <a:lnTo>
                    <a:pt x="269" y="174"/>
                  </a:lnTo>
                  <a:lnTo>
                    <a:pt x="269" y="171"/>
                  </a:lnTo>
                  <a:lnTo>
                    <a:pt x="269" y="149"/>
                  </a:lnTo>
                  <a:lnTo>
                    <a:pt x="288" y="149"/>
                  </a:lnTo>
                  <a:lnTo>
                    <a:pt x="288" y="149"/>
                  </a:lnTo>
                  <a:lnTo>
                    <a:pt x="290" y="149"/>
                  </a:lnTo>
                  <a:lnTo>
                    <a:pt x="290" y="149"/>
                  </a:lnTo>
                  <a:lnTo>
                    <a:pt x="293" y="147"/>
                  </a:lnTo>
                  <a:lnTo>
                    <a:pt x="293" y="147"/>
                  </a:lnTo>
                  <a:lnTo>
                    <a:pt x="293" y="147"/>
                  </a:lnTo>
                  <a:lnTo>
                    <a:pt x="293" y="144"/>
                  </a:lnTo>
                  <a:lnTo>
                    <a:pt x="293" y="144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4"/>
                  </a:lnTo>
                  <a:lnTo>
                    <a:pt x="293" y="54"/>
                  </a:lnTo>
                  <a:lnTo>
                    <a:pt x="293" y="54"/>
                  </a:lnTo>
                  <a:lnTo>
                    <a:pt x="290" y="54"/>
                  </a:lnTo>
                  <a:lnTo>
                    <a:pt x="290" y="51"/>
                  </a:lnTo>
                  <a:lnTo>
                    <a:pt x="288" y="51"/>
                  </a:lnTo>
                  <a:lnTo>
                    <a:pt x="288" y="51"/>
                  </a:lnTo>
                  <a:lnTo>
                    <a:pt x="269" y="51"/>
                  </a:lnTo>
                  <a:lnTo>
                    <a:pt x="269" y="30"/>
                  </a:lnTo>
                  <a:lnTo>
                    <a:pt x="269" y="30"/>
                  </a:lnTo>
                  <a:lnTo>
                    <a:pt x="269" y="27"/>
                  </a:lnTo>
                  <a:lnTo>
                    <a:pt x="269" y="27"/>
                  </a:lnTo>
                  <a:lnTo>
                    <a:pt x="266" y="27"/>
                  </a:lnTo>
                  <a:lnTo>
                    <a:pt x="266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33" y="24"/>
                  </a:lnTo>
                  <a:lnTo>
                    <a:pt x="231" y="22"/>
                  </a:lnTo>
                  <a:lnTo>
                    <a:pt x="217" y="8"/>
                  </a:lnTo>
                  <a:lnTo>
                    <a:pt x="214" y="5"/>
                  </a:lnTo>
                  <a:lnTo>
                    <a:pt x="214" y="5"/>
                  </a:lnTo>
                  <a:lnTo>
                    <a:pt x="212" y="5"/>
                  </a:lnTo>
                  <a:lnTo>
                    <a:pt x="209" y="3"/>
                  </a:lnTo>
                  <a:lnTo>
                    <a:pt x="209" y="3"/>
                  </a:lnTo>
                  <a:lnTo>
                    <a:pt x="206" y="3"/>
                  </a:lnTo>
                  <a:lnTo>
                    <a:pt x="203" y="3"/>
                  </a:lnTo>
                  <a:lnTo>
                    <a:pt x="203" y="3"/>
                  </a:lnTo>
                  <a:lnTo>
                    <a:pt x="201" y="3"/>
                  </a:lnTo>
                  <a:lnTo>
                    <a:pt x="198" y="3"/>
                  </a:lnTo>
                  <a:lnTo>
                    <a:pt x="198" y="3"/>
                  </a:lnTo>
                  <a:lnTo>
                    <a:pt x="195" y="3"/>
                  </a:lnTo>
                  <a:lnTo>
                    <a:pt x="193" y="5"/>
                  </a:lnTo>
                  <a:lnTo>
                    <a:pt x="193" y="5"/>
                  </a:lnTo>
                  <a:lnTo>
                    <a:pt x="190" y="5"/>
                  </a:lnTo>
                  <a:lnTo>
                    <a:pt x="187" y="8"/>
                  </a:lnTo>
                  <a:lnTo>
                    <a:pt x="174" y="24"/>
                  </a:lnTo>
                  <a:lnTo>
                    <a:pt x="106" y="24"/>
                  </a:lnTo>
                  <a:lnTo>
                    <a:pt x="87" y="5"/>
                  </a:lnTo>
                  <a:lnTo>
                    <a:pt x="87" y="3"/>
                  </a:lnTo>
                  <a:lnTo>
                    <a:pt x="84" y="3"/>
                  </a:lnTo>
                  <a:lnTo>
                    <a:pt x="81" y="3"/>
                  </a:lnTo>
                  <a:lnTo>
                    <a:pt x="81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70" y="0"/>
                  </a:lnTo>
                  <a:close/>
                  <a:moveTo>
                    <a:pt x="87" y="87"/>
                  </a:moveTo>
                  <a:lnTo>
                    <a:pt x="87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51" y="41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5"/>
                  </a:lnTo>
                  <a:lnTo>
                    <a:pt x="49" y="35"/>
                  </a:lnTo>
                  <a:lnTo>
                    <a:pt x="51" y="32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27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6" y="11"/>
                  </a:lnTo>
                  <a:lnTo>
                    <a:pt x="76" y="13"/>
                  </a:lnTo>
                  <a:lnTo>
                    <a:pt x="78" y="13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6" y="73"/>
                  </a:lnTo>
                  <a:lnTo>
                    <a:pt x="138" y="73"/>
                  </a:lnTo>
                  <a:lnTo>
                    <a:pt x="138" y="73"/>
                  </a:lnTo>
                  <a:lnTo>
                    <a:pt x="141" y="73"/>
                  </a:lnTo>
                  <a:lnTo>
                    <a:pt x="141" y="73"/>
                  </a:lnTo>
                  <a:lnTo>
                    <a:pt x="141" y="70"/>
                  </a:lnTo>
                  <a:lnTo>
                    <a:pt x="144" y="70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201" y="13"/>
                  </a:lnTo>
                  <a:lnTo>
                    <a:pt x="201" y="13"/>
                  </a:lnTo>
                  <a:lnTo>
                    <a:pt x="203" y="13"/>
                  </a:lnTo>
                  <a:lnTo>
                    <a:pt x="203" y="13"/>
                  </a:lnTo>
                  <a:lnTo>
                    <a:pt x="206" y="13"/>
                  </a:lnTo>
                  <a:lnTo>
                    <a:pt x="206" y="16"/>
                  </a:lnTo>
                  <a:lnTo>
                    <a:pt x="209" y="16"/>
                  </a:lnTo>
                  <a:lnTo>
                    <a:pt x="222" y="30"/>
                  </a:lnTo>
                  <a:lnTo>
                    <a:pt x="222" y="32"/>
                  </a:lnTo>
                  <a:lnTo>
                    <a:pt x="225" y="32"/>
                  </a:lnTo>
                  <a:lnTo>
                    <a:pt x="225" y="35"/>
                  </a:lnTo>
                  <a:lnTo>
                    <a:pt x="225" y="38"/>
                  </a:lnTo>
                  <a:lnTo>
                    <a:pt x="225" y="38"/>
                  </a:lnTo>
                  <a:lnTo>
                    <a:pt x="225" y="41"/>
                  </a:lnTo>
                  <a:lnTo>
                    <a:pt x="222" y="41"/>
                  </a:lnTo>
                  <a:lnTo>
                    <a:pt x="222" y="43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8" y="103"/>
                  </a:lnTo>
                  <a:lnTo>
                    <a:pt x="168" y="103"/>
                  </a:lnTo>
                  <a:lnTo>
                    <a:pt x="168" y="103"/>
                  </a:lnTo>
                  <a:lnTo>
                    <a:pt x="168" y="106"/>
                  </a:lnTo>
                  <a:lnTo>
                    <a:pt x="214" y="152"/>
                  </a:lnTo>
                  <a:lnTo>
                    <a:pt x="217" y="152"/>
                  </a:lnTo>
                  <a:lnTo>
                    <a:pt x="217" y="152"/>
                  </a:lnTo>
                  <a:lnTo>
                    <a:pt x="217" y="152"/>
                  </a:lnTo>
                  <a:lnTo>
                    <a:pt x="220" y="152"/>
                  </a:lnTo>
                  <a:lnTo>
                    <a:pt x="220" y="152"/>
                  </a:lnTo>
                  <a:lnTo>
                    <a:pt x="222" y="152"/>
                  </a:lnTo>
                  <a:lnTo>
                    <a:pt x="222" y="152"/>
                  </a:lnTo>
                  <a:lnTo>
                    <a:pt x="222" y="152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2" y="144"/>
                  </a:lnTo>
                  <a:lnTo>
                    <a:pt x="182" y="100"/>
                  </a:lnTo>
                  <a:lnTo>
                    <a:pt x="231" y="51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3" y="46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6" y="41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36" y="35"/>
                  </a:lnTo>
                  <a:lnTo>
                    <a:pt x="255" y="35"/>
                  </a:lnTo>
                  <a:lnTo>
                    <a:pt x="255" y="57"/>
                  </a:lnTo>
                  <a:lnTo>
                    <a:pt x="255" y="60"/>
                  </a:lnTo>
                  <a:lnTo>
                    <a:pt x="258" y="60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61" y="62"/>
                  </a:lnTo>
                  <a:lnTo>
                    <a:pt x="261" y="65"/>
                  </a:lnTo>
                  <a:lnTo>
                    <a:pt x="263" y="65"/>
                  </a:lnTo>
                  <a:lnTo>
                    <a:pt x="282" y="65"/>
                  </a:lnTo>
                  <a:lnTo>
                    <a:pt x="282" y="138"/>
                  </a:lnTo>
                  <a:lnTo>
                    <a:pt x="263" y="138"/>
                  </a:lnTo>
                  <a:lnTo>
                    <a:pt x="261" y="138"/>
                  </a:lnTo>
                  <a:lnTo>
                    <a:pt x="261" y="138"/>
                  </a:lnTo>
                  <a:lnTo>
                    <a:pt x="258" y="138"/>
                  </a:lnTo>
                  <a:lnTo>
                    <a:pt x="258" y="138"/>
                  </a:lnTo>
                  <a:lnTo>
                    <a:pt x="258" y="141"/>
                  </a:lnTo>
                  <a:lnTo>
                    <a:pt x="258" y="141"/>
                  </a:lnTo>
                  <a:lnTo>
                    <a:pt x="255" y="144"/>
                  </a:lnTo>
                  <a:lnTo>
                    <a:pt x="255" y="144"/>
                  </a:lnTo>
                  <a:lnTo>
                    <a:pt x="255" y="166"/>
                  </a:lnTo>
                  <a:lnTo>
                    <a:pt x="231" y="166"/>
                  </a:lnTo>
                  <a:lnTo>
                    <a:pt x="231" y="16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68"/>
                  </a:lnTo>
                  <a:lnTo>
                    <a:pt x="225" y="168"/>
                  </a:lnTo>
                  <a:lnTo>
                    <a:pt x="225" y="168"/>
                  </a:lnTo>
                  <a:lnTo>
                    <a:pt x="225" y="171"/>
                  </a:lnTo>
                  <a:lnTo>
                    <a:pt x="225" y="171"/>
                  </a:lnTo>
                  <a:lnTo>
                    <a:pt x="225" y="171"/>
                  </a:lnTo>
                  <a:lnTo>
                    <a:pt x="225" y="171"/>
                  </a:lnTo>
                  <a:lnTo>
                    <a:pt x="209" y="187"/>
                  </a:lnTo>
                  <a:lnTo>
                    <a:pt x="209" y="187"/>
                  </a:lnTo>
                  <a:lnTo>
                    <a:pt x="206" y="190"/>
                  </a:lnTo>
                  <a:lnTo>
                    <a:pt x="206" y="190"/>
                  </a:lnTo>
                  <a:lnTo>
                    <a:pt x="203" y="190"/>
                  </a:lnTo>
                  <a:lnTo>
                    <a:pt x="203" y="190"/>
                  </a:lnTo>
                  <a:lnTo>
                    <a:pt x="201" y="190"/>
                  </a:lnTo>
                  <a:lnTo>
                    <a:pt x="198" y="187"/>
                  </a:lnTo>
                  <a:lnTo>
                    <a:pt x="198" y="187"/>
                  </a:lnTo>
                  <a:lnTo>
                    <a:pt x="144" y="130"/>
                  </a:lnTo>
                  <a:lnTo>
                    <a:pt x="141" y="130"/>
                  </a:lnTo>
                  <a:lnTo>
                    <a:pt x="141" y="130"/>
                  </a:lnTo>
                  <a:lnTo>
                    <a:pt x="141" y="130"/>
                  </a:lnTo>
                  <a:lnTo>
                    <a:pt x="138" y="130"/>
                  </a:lnTo>
                  <a:lnTo>
                    <a:pt x="138" y="130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7" y="168"/>
                  </a:lnTo>
                  <a:lnTo>
                    <a:pt x="97" y="168"/>
                  </a:lnTo>
                  <a:lnTo>
                    <a:pt x="97" y="168"/>
                  </a:lnTo>
                  <a:lnTo>
                    <a:pt x="81" y="185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3" y="187"/>
                  </a:lnTo>
                  <a:lnTo>
                    <a:pt x="73" y="187"/>
                  </a:lnTo>
                  <a:lnTo>
                    <a:pt x="70" y="187"/>
                  </a:lnTo>
                  <a:lnTo>
                    <a:pt x="70" y="185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92" y="122"/>
                  </a:lnTo>
                  <a:lnTo>
                    <a:pt x="92" y="122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46" y="152"/>
                  </a:lnTo>
                  <a:lnTo>
                    <a:pt x="46" y="152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3" y="157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10" y="166"/>
                  </a:lnTo>
                  <a:lnTo>
                    <a:pt x="10" y="35"/>
                  </a:lnTo>
                  <a:lnTo>
                    <a:pt x="38" y="35"/>
                  </a:lnTo>
                  <a:lnTo>
                    <a:pt x="38" y="38"/>
                  </a:lnTo>
                  <a:lnTo>
                    <a:pt x="38" y="41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9"/>
                  </a:lnTo>
                  <a:lnTo>
                    <a:pt x="81" y="87"/>
                  </a:lnTo>
                  <a:lnTo>
                    <a:pt x="81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7" y="87"/>
                  </a:lnTo>
                  <a:lnTo>
                    <a:pt x="87" y="87"/>
                  </a:lnTo>
                  <a:close/>
                  <a:moveTo>
                    <a:pt x="116" y="35"/>
                  </a:moveTo>
                  <a:lnTo>
                    <a:pt x="160" y="35"/>
                  </a:lnTo>
                  <a:lnTo>
                    <a:pt x="138" y="57"/>
                  </a:lnTo>
                  <a:lnTo>
                    <a:pt x="116" y="35"/>
                  </a:lnTo>
                  <a:close/>
                  <a:moveTo>
                    <a:pt x="138" y="144"/>
                  </a:moveTo>
                  <a:lnTo>
                    <a:pt x="160" y="166"/>
                  </a:lnTo>
                  <a:lnTo>
                    <a:pt x="119" y="166"/>
                  </a:lnTo>
                  <a:lnTo>
                    <a:pt x="138" y="1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263">
            <a:extLst>
              <a:ext uri="{FF2B5EF4-FFF2-40B4-BE49-F238E27FC236}">
                <a16:creationId xmlns:a16="http://schemas.microsoft.com/office/drawing/2014/main" id="{F6B49CE0-EDCE-411E-9B3E-FA68B2763E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2377" y="5471575"/>
            <a:ext cx="760413" cy="758825"/>
            <a:chOff x="3630" y="3552"/>
            <a:chExt cx="479" cy="478"/>
          </a:xfrm>
        </p:grpSpPr>
        <p:sp>
          <p:nvSpPr>
            <p:cNvPr id="303" name="AutoShape 262">
              <a:extLst>
                <a:ext uri="{FF2B5EF4-FFF2-40B4-BE49-F238E27FC236}">
                  <a16:creationId xmlns:a16="http://schemas.microsoft.com/office/drawing/2014/main" id="{6AEC9432-844C-41C5-9723-CB46655FC3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30" y="3552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4">
              <a:extLst>
                <a:ext uri="{FF2B5EF4-FFF2-40B4-BE49-F238E27FC236}">
                  <a16:creationId xmlns:a16="http://schemas.microsoft.com/office/drawing/2014/main" id="{0D0B34D8-9D05-445E-AA11-2475597D03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2" y="3554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5">
              <a:extLst>
                <a:ext uri="{FF2B5EF4-FFF2-40B4-BE49-F238E27FC236}">
                  <a16:creationId xmlns:a16="http://schemas.microsoft.com/office/drawing/2014/main" id="{ECD90678-F4B6-44F1-A348-FB33C0FCF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0" y="3741"/>
              <a:ext cx="130" cy="110"/>
            </a:xfrm>
            <a:custGeom>
              <a:avLst/>
              <a:gdLst>
                <a:gd name="T0" fmla="*/ 64 w 130"/>
                <a:gd name="T1" fmla="*/ 51 h 110"/>
                <a:gd name="T2" fmla="*/ 64 w 130"/>
                <a:gd name="T3" fmla="*/ 51 h 110"/>
                <a:gd name="T4" fmla="*/ 61 w 130"/>
                <a:gd name="T5" fmla="*/ 49 h 110"/>
                <a:gd name="T6" fmla="*/ 61 w 130"/>
                <a:gd name="T7" fmla="*/ 46 h 110"/>
                <a:gd name="T8" fmla="*/ 59 w 130"/>
                <a:gd name="T9" fmla="*/ 46 h 110"/>
                <a:gd name="T10" fmla="*/ 59 w 130"/>
                <a:gd name="T11" fmla="*/ 46 h 110"/>
                <a:gd name="T12" fmla="*/ 29 w 130"/>
                <a:gd name="T13" fmla="*/ 46 h 110"/>
                <a:gd name="T14" fmla="*/ 95 w 130"/>
                <a:gd name="T15" fmla="*/ 17 h 110"/>
                <a:gd name="T16" fmla="*/ 78 w 130"/>
                <a:gd name="T17" fmla="*/ 39 h 110"/>
                <a:gd name="T18" fmla="*/ 78 w 130"/>
                <a:gd name="T19" fmla="*/ 39 h 110"/>
                <a:gd name="T20" fmla="*/ 78 w 130"/>
                <a:gd name="T21" fmla="*/ 44 h 110"/>
                <a:gd name="T22" fmla="*/ 81 w 130"/>
                <a:gd name="T23" fmla="*/ 44 h 110"/>
                <a:gd name="T24" fmla="*/ 81 w 130"/>
                <a:gd name="T25" fmla="*/ 44 h 110"/>
                <a:gd name="T26" fmla="*/ 113 w 130"/>
                <a:gd name="T27" fmla="*/ 46 h 110"/>
                <a:gd name="T28" fmla="*/ 24 w 130"/>
                <a:gd name="T29" fmla="*/ 93 h 110"/>
                <a:gd name="T30" fmla="*/ 64 w 130"/>
                <a:gd name="T31" fmla="*/ 51 h 110"/>
                <a:gd name="T32" fmla="*/ 2 w 130"/>
                <a:gd name="T33" fmla="*/ 110 h 110"/>
                <a:gd name="T34" fmla="*/ 5 w 130"/>
                <a:gd name="T35" fmla="*/ 110 h 110"/>
                <a:gd name="T36" fmla="*/ 5 w 130"/>
                <a:gd name="T37" fmla="*/ 110 h 110"/>
                <a:gd name="T38" fmla="*/ 130 w 130"/>
                <a:gd name="T39" fmla="*/ 46 h 110"/>
                <a:gd name="T40" fmla="*/ 130 w 130"/>
                <a:gd name="T41" fmla="*/ 44 h 110"/>
                <a:gd name="T42" fmla="*/ 130 w 130"/>
                <a:gd name="T43" fmla="*/ 44 h 110"/>
                <a:gd name="T44" fmla="*/ 130 w 130"/>
                <a:gd name="T45" fmla="*/ 41 h 110"/>
                <a:gd name="T46" fmla="*/ 130 w 130"/>
                <a:gd name="T47" fmla="*/ 41 h 110"/>
                <a:gd name="T48" fmla="*/ 127 w 130"/>
                <a:gd name="T49" fmla="*/ 41 h 110"/>
                <a:gd name="T50" fmla="*/ 127 w 130"/>
                <a:gd name="T51" fmla="*/ 41 h 110"/>
                <a:gd name="T52" fmla="*/ 88 w 130"/>
                <a:gd name="T53" fmla="*/ 37 h 110"/>
                <a:gd name="T54" fmla="*/ 113 w 130"/>
                <a:gd name="T55" fmla="*/ 7 h 110"/>
                <a:gd name="T56" fmla="*/ 115 w 130"/>
                <a:gd name="T57" fmla="*/ 5 h 110"/>
                <a:gd name="T58" fmla="*/ 115 w 130"/>
                <a:gd name="T59" fmla="*/ 5 h 110"/>
                <a:gd name="T60" fmla="*/ 113 w 130"/>
                <a:gd name="T61" fmla="*/ 2 h 110"/>
                <a:gd name="T62" fmla="*/ 110 w 130"/>
                <a:gd name="T63" fmla="*/ 2 h 110"/>
                <a:gd name="T64" fmla="*/ 110 w 130"/>
                <a:gd name="T65" fmla="*/ 0 h 110"/>
                <a:gd name="T66" fmla="*/ 108 w 130"/>
                <a:gd name="T67" fmla="*/ 2 h 110"/>
                <a:gd name="T68" fmla="*/ 7 w 130"/>
                <a:gd name="T69" fmla="*/ 49 h 110"/>
                <a:gd name="T70" fmla="*/ 7 w 130"/>
                <a:gd name="T71" fmla="*/ 51 h 110"/>
                <a:gd name="T72" fmla="*/ 7 w 130"/>
                <a:gd name="T73" fmla="*/ 54 h 110"/>
                <a:gd name="T74" fmla="*/ 9 w 130"/>
                <a:gd name="T75" fmla="*/ 54 h 110"/>
                <a:gd name="T76" fmla="*/ 12 w 130"/>
                <a:gd name="T77" fmla="*/ 56 h 110"/>
                <a:gd name="T78" fmla="*/ 49 w 130"/>
                <a:gd name="T79" fmla="*/ 56 h 110"/>
                <a:gd name="T80" fmla="*/ 0 w 130"/>
                <a:gd name="T81" fmla="*/ 105 h 110"/>
                <a:gd name="T82" fmla="*/ 0 w 130"/>
                <a:gd name="T83" fmla="*/ 105 h 110"/>
                <a:gd name="T84" fmla="*/ 0 w 130"/>
                <a:gd name="T85" fmla="*/ 108 h 110"/>
                <a:gd name="T86" fmla="*/ 2 w 130"/>
                <a:gd name="T8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0" h="110">
                  <a:moveTo>
                    <a:pt x="64" y="51"/>
                  </a:moveTo>
                  <a:lnTo>
                    <a:pt x="64" y="51"/>
                  </a:lnTo>
                  <a:lnTo>
                    <a:pt x="61" y="49"/>
                  </a:lnTo>
                  <a:lnTo>
                    <a:pt x="61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29" y="46"/>
                  </a:lnTo>
                  <a:lnTo>
                    <a:pt x="95" y="17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8" y="44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113" y="46"/>
                  </a:lnTo>
                  <a:lnTo>
                    <a:pt x="24" y="93"/>
                  </a:lnTo>
                  <a:lnTo>
                    <a:pt x="64" y="51"/>
                  </a:lnTo>
                  <a:close/>
                  <a:moveTo>
                    <a:pt x="2" y="110"/>
                  </a:moveTo>
                  <a:lnTo>
                    <a:pt x="5" y="110"/>
                  </a:lnTo>
                  <a:lnTo>
                    <a:pt x="5" y="110"/>
                  </a:lnTo>
                  <a:lnTo>
                    <a:pt x="130" y="46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30" y="41"/>
                  </a:lnTo>
                  <a:lnTo>
                    <a:pt x="130" y="41"/>
                  </a:lnTo>
                  <a:lnTo>
                    <a:pt x="127" y="41"/>
                  </a:lnTo>
                  <a:lnTo>
                    <a:pt x="127" y="41"/>
                  </a:lnTo>
                  <a:lnTo>
                    <a:pt x="88" y="37"/>
                  </a:lnTo>
                  <a:lnTo>
                    <a:pt x="113" y="7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3" y="2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08" y="2"/>
                  </a:lnTo>
                  <a:lnTo>
                    <a:pt x="7" y="49"/>
                  </a:lnTo>
                  <a:lnTo>
                    <a:pt x="7" y="51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12" y="56"/>
                  </a:lnTo>
                  <a:lnTo>
                    <a:pt x="49" y="56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2" y="1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266">
              <a:extLst>
                <a:ext uri="{FF2B5EF4-FFF2-40B4-BE49-F238E27FC236}">
                  <a16:creationId xmlns:a16="http://schemas.microsoft.com/office/drawing/2014/main" id="{8372E5E3-40C6-4FE2-9168-B281B90106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8" y="3719"/>
              <a:ext cx="285" cy="147"/>
            </a:xfrm>
            <a:custGeom>
              <a:avLst/>
              <a:gdLst>
                <a:gd name="T0" fmla="*/ 278 w 285"/>
                <a:gd name="T1" fmla="*/ 112 h 147"/>
                <a:gd name="T2" fmla="*/ 256 w 285"/>
                <a:gd name="T3" fmla="*/ 112 h 147"/>
                <a:gd name="T4" fmla="*/ 253 w 285"/>
                <a:gd name="T5" fmla="*/ 112 h 147"/>
                <a:gd name="T6" fmla="*/ 253 w 285"/>
                <a:gd name="T7" fmla="*/ 115 h 147"/>
                <a:gd name="T8" fmla="*/ 253 w 285"/>
                <a:gd name="T9" fmla="*/ 117 h 147"/>
                <a:gd name="T10" fmla="*/ 253 w 285"/>
                <a:gd name="T11" fmla="*/ 139 h 147"/>
                <a:gd name="T12" fmla="*/ 8 w 285"/>
                <a:gd name="T13" fmla="*/ 139 h 147"/>
                <a:gd name="T14" fmla="*/ 8 w 285"/>
                <a:gd name="T15" fmla="*/ 7 h 147"/>
                <a:gd name="T16" fmla="*/ 253 w 285"/>
                <a:gd name="T17" fmla="*/ 7 h 147"/>
                <a:gd name="T18" fmla="*/ 253 w 285"/>
                <a:gd name="T19" fmla="*/ 32 h 147"/>
                <a:gd name="T20" fmla="*/ 253 w 285"/>
                <a:gd name="T21" fmla="*/ 34 h 147"/>
                <a:gd name="T22" fmla="*/ 256 w 285"/>
                <a:gd name="T23" fmla="*/ 34 h 147"/>
                <a:gd name="T24" fmla="*/ 256 w 285"/>
                <a:gd name="T25" fmla="*/ 34 h 147"/>
                <a:gd name="T26" fmla="*/ 278 w 285"/>
                <a:gd name="T27" fmla="*/ 34 h 147"/>
                <a:gd name="T28" fmla="*/ 278 w 285"/>
                <a:gd name="T29" fmla="*/ 112 h 147"/>
                <a:gd name="T30" fmla="*/ 283 w 285"/>
                <a:gd name="T31" fmla="*/ 120 h 147"/>
                <a:gd name="T32" fmla="*/ 285 w 285"/>
                <a:gd name="T33" fmla="*/ 117 h 147"/>
                <a:gd name="T34" fmla="*/ 285 w 285"/>
                <a:gd name="T35" fmla="*/ 117 h 147"/>
                <a:gd name="T36" fmla="*/ 285 w 285"/>
                <a:gd name="T37" fmla="*/ 115 h 147"/>
                <a:gd name="T38" fmla="*/ 285 w 285"/>
                <a:gd name="T39" fmla="*/ 29 h 147"/>
                <a:gd name="T40" fmla="*/ 283 w 285"/>
                <a:gd name="T41" fmla="*/ 27 h 147"/>
                <a:gd name="T42" fmla="*/ 283 w 285"/>
                <a:gd name="T43" fmla="*/ 27 h 147"/>
                <a:gd name="T44" fmla="*/ 261 w 285"/>
                <a:gd name="T45" fmla="*/ 27 h 147"/>
                <a:gd name="T46" fmla="*/ 261 w 285"/>
                <a:gd name="T47" fmla="*/ 2 h 147"/>
                <a:gd name="T48" fmla="*/ 258 w 285"/>
                <a:gd name="T49" fmla="*/ 0 h 147"/>
                <a:gd name="T50" fmla="*/ 258 w 285"/>
                <a:gd name="T51" fmla="*/ 0 h 147"/>
                <a:gd name="T52" fmla="*/ 3 w 285"/>
                <a:gd name="T53" fmla="*/ 0 h 147"/>
                <a:gd name="T54" fmla="*/ 3 w 285"/>
                <a:gd name="T55" fmla="*/ 0 h 147"/>
                <a:gd name="T56" fmla="*/ 0 w 285"/>
                <a:gd name="T57" fmla="*/ 2 h 147"/>
                <a:gd name="T58" fmla="*/ 0 w 285"/>
                <a:gd name="T59" fmla="*/ 2 h 147"/>
                <a:gd name="T60" fmla="*/ 0 w 285"/>
                <a:gd name="T61" fmla="*/ 144 h 147"/>
                <a:gd name="T62" fmla="*/ 3 w 285"/>
                <a:gd name="T63" fmla="*/ 147 h 147"/>
                <a:gd name="T64" fmla="*/ 5 w 285"/>
                <a:gd name="T65" fmla="*/ 147 h 147"/>
                <a:gd name="T66" fmla="*/ 258 w 285"/>
                <a:gd name="T67" fmla="*/ 147 h 147"/>
                <a:gd name="T68" fmla="*/ 261 w 285"/>
                <a:gd name="T69" fmla="*/ 144 h 147"/>
                <a:gd name="T70" fmla="*/ 261 w 285"/>
                <a:gd name="T71" fmla="*/ 144 h 147"/>
                <a:gd name="T72" fmla="*/ 261 w 285"/>
                <a:gd name="T73" fmla="*/ 120 h 147"/>
                <a:gd name="T74" fmla="*/ 283 w 285"/>
                <a:gd name="T75" fmla="*/ 120 h 147"/>
                <a:gd name="T76" fmla="*/ 283 w 285"/>
                <a:gd name="T77" fmla="*/ 12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5" h="147">
                  <a:moveTo>
                    <a:pt x="278" y="112"/>
                  </a:moveTo>
                  <a:lnTo>
                    <a:pt x="256" y="112"/>
                  </a:lnTo>
                  <a:lnTo>
                    <a:pt x="253" y="112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3" y="139"/>
                  </a:lnTo>
                  <a:lnTo>
                    <a:pt x="8" y="139"/>
                  </a:lnTo>
                  <a:lnTo>
                    <a:pt x="8" y="7"/>
                  </a:lnTo>
                  <a:lnTo>
                    <a:pt x="253" y="7"/>
                  </a:lnTo>
                  <a:lnTo>
                    <a:pt x="253" y="32"/>
                  </a:lnTo>
                  <a:lnTo>
                    <a:pt x="253" y="34"/>
                  </a:lnTo>
                  <a:lnTo>
                    <a:pt x="256" y="34"/>
                  </a:lnTo>
                  <a:lnTo>
                    <a:pt x="256" y="34"/>
                  </a:lnTo>
                  <a:lnTo>
                    <a:pt x="278" y="34"/>
                  </a:lnTo>
                  <a:lnTo>
                    <a:pt x="278" y="112"/>
                  </a:lnTo>
                  <a:close/>
                  <a:moveTo>
                    <a:pt x="283" y="120"/>
                  </a:moveTo>
                  <a:lnTo>
                    <a:pt x="285" y="117"/>
                  </a:lnTo>
                  <a:lnTo>
                    <a:pt x="285" y="117"/>
                  </a:lnTo>
                  <a:lnTo>
                    <a:pt x="285" y="115"/>
                  </a:lnTo>
                  <a:lnTo>
                    <a:pt x="285" y="29"/>
                  </a:lnTo>
                  <a:lnTo>
                    <a:pt x="283" y="27"/>
                  </a:lnTo>
                  <a:lnTo>
                    <a:pt x="283" y="27"/>
                  </a:lnTo>
                  <a:lnTo>
                    <a:pt x="261" y="27"/>
                  </a:lnTo>
                  <a:lnTo>
                    <a:pt x="261" y="2"/>
                  </a:lnTo>
                  <a:lnTo>
                    <a:pt x="258" y="0"/>
                  </a:lnTo>
                  <a:lnTo>
                    <a:pt x="258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44"/>
                  </a:lnTo>
                  <a:lnTo>
                    <a:pt x="3" y="147"/>
                  </a:lnTo>
                  <a:lnTo>
                    <a:pt x="5" y="147"/>
                  </a:lnTo>
                  <a:lnTo>
                    <a:pt x="258" y="147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20"/>
                  </a:lnTo>
                  <a:lnTo>
                    <a:pt x="283" y="120"/>
                  </a:lnTo>
                  <a:lnTo>
                    <a:pt x="283" y="1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7" name="Group 269">
            <a:extLst>
              <a:ext uri="{FF2B5EF4-FFF2-40B4-BE49-F238E27FC236}">
                <a16:creationId xmlns:a16="http://schemas.microsoft.com/office/drawing/2014/main" id="{EACCEA1A-31E4-42C2-A346-0AE052D931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2350" y="5430300"/>
            <a:ext cx="841375" cy="841375"/>
            <a:chOff x="3044" y="3409"/>
            <a:chExt cx="530" cy="530"/>
          </a:xfrm>
        </p:grpSpPr>
        <p:sp>
          <p:nvSpPr>
            <p:cNvPr id="308" name="AutoShape 268">
              <a:extLst>
                <a:ext uri="{FF2B5EF4-FFF2-40B4-BE49-F238E27FC236}">
                  <a16:creationId xmlns:a16="http://schemas.microsoft.com/office/drawing/2014/main" id="{47E52F98-773E-44DA-94E1-CFA5396161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44" y="340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270">
              <a:extLst>
                <a:ext uri="{FF2B5EF4-FFF2-40B4-BE49-F238E27FC236}">
                  <a16:creationId xmlns:a16="http://schemas.microsoft.com/office/drawing/2014/main" id="{C52F6178-4804-4964-97AA-9A6027810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7" y="3412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71">
              <a:extLst>
                <a:ext uri="{FF2B5EF4-FFF2-40B4-BE49-F238E27FC236}">
                  <a16:creationId xmlns:a16="http://schemas.microsoft.com/office/drawing/2014/main" id="{7CA8464E-441E-4B87-BF02-577FA19EA6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" y="3428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72">
              <a:extLst>
                <a:ext uri="{FF2B5EF4-FFF2-40B4-BE49-F238E27FC236}">
                  <a16:creationId xmlns:a16="http://schemas.microsoft.com/office/drawing/2014/main" id="{C9FA8AE9-186E-4A19-A5F3-5FA554122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6" y="3624"/>
              <a:ext cx="136" cy="114"/>
            </a:xfrm>
            <a:custGeom>
              <a:avLst/>
              <a:gdLst>
                <a:gd name="T0" fmla="*/ 65 w 136"/>
                <a:gd name="T1" fmla="*/ 51 h 114"/>
                <a:gd name="T2" fmla="*/ 65 w 136"/>
                <a:gd name="T3" fmla="*/ 51 h 114"/>
                <a:gd name="T4" fmla="*/ 65 w 136"/>
                <a:gd name="T5" fmla="*/ 49 h 114"/>
                <a:gd name="T6" fmla="*/ 63 w 136"/>
                <a:gd name="T7" fmla="*/ 46 h 114"/>
                <a:gd name="T8" fmla="*/ 63 w 136"/>
                <a:gd name="T9" fmla="*/ 46 h 114"/>
                <a:gd name="T10" fmla="*/ 63 w 136"/>
                <a:gd name="T11" fmla="*/ 46 h 114"/>
                <a:gd name="T12" fmla="*/ 30 w 136"/>
                <a:gd name="T13" fmla="*/ 46 h 114"/>
                <a:gd name="T14" fmla="*/ 101 w 136"/>
                <a:gd name="T15" fmla="*/ 16 h 114"/>
                <a:gd name="T16" fmla="*/ 82 w 136"/>
                <a:gd name="T17" fmla="*/ 38 h 114"/>
                <a:gd name="T18" fmla="*/ 82 w 136"/>
                <a:gd name="T19" fmla="*/ 41 h 114"/>
                <a:gd name="T20" fmla="*/ 82 w 136"/>
                <a:gd name="T21" fmla="*/ 43 h 114"/>
                <a:gd name="T22" fmla="*/ 84 w 136"/>
                <a:gd name="T23" fmla="*/ 43 h 114"/>
                <a:gd name="T24" fmla="*/ 84 w 136"/>
                <a:gd name="T25" fmla="*/ 43 h 114"/>
                <a:gd name="T26" fmla="*/ 117 w 136"/>
                <a:gd name="T27" fmla="*/ 49 h 114"/>
                <a:gd name="T28" fmla="*/ 25 w 136"/>
                <a:gd name="T29" fmla="*/ 92 h 114"/>
                <a:gd name="T30" fmla="*/ 65 w 136"/>
                <a:gd name="T31" fmla="*/ 51 h 114"/>
                <a:gd name="T32" fmla="*/ 3 w 136"/>
                <a:gd name="T33" fmla="*/ 111 h 114"/>
                <a:gd name="T34" fmla="*/ 6 w 136"/>
                <a:gd name="T35" fmla="*/ 114 h 114"/>
                <a:gd name="T36" fmla="*/ 6 w 136"/>
                <a:gd name="T37" fmla="*/ 111 h 114"/>
                <a:gd name="T38" fmla="*/ 136 w 136"/>
                <a:gd name="T39" fmla="*/ 49 h 114"/>
                <a:gd name="T40" fmla="*/ 136 w 136"/>
                <a:gd name="T41" fmla="*/ 46 h 114"/>
                <a:gd name="T42" fmla="*/ 136 w 136"/>
                <a:gd name="T43" fmla="*/ 43 h 114"/>
                <a:gd name="T44" fmla="*/ 136 w 136"/>
                <a:gd name="T45" fmla="*/ 41 h 114"/>
                <a:gd name="T46" fmla="*/ 136 w 136"/>
                <a:gd name="T47" fmla="*/ 41 h 114"/>
                <a:gd name="T48" fmla="*/ 133 w 136"/>
                <a:gd name="T49" fmla="*/ 41 h 114"/>
                <a:gd name="T50" fmla="*/ 133 w 136"/>
                <a:gd name="T51" fmla="*/ 41 h 114"/>
                <a:gd name="T52" fmla="*/ 93 w 136"/>
                <a:gd name="T53" fmla="*/ 38 h 114"/>
                <a:gd name="T54" fmla="*/ 120 w 136"/>
                <a:gd name="T55" fmla="*/ 5 h 114"/>
                <a:gd name="T56" fmla="*/ 120 w 136"/>
                <a:gd name="T57" fmla="*/ 5 h 114"/>
                <a:gd name="T58" fmla="*/ 120 w 136"/>
                <a:gd name="T59" fmla="*/ 2 h 114"/>
                <a:gd name="T60" fmla="*/ 117 w 136"/>
                <a:gd name="T61" fmla="*/ 0 h 114"/>
                <a:gd name="T62" fmla="*/ 117 w 136"/>
                <a:gd name="T63" fmla="*/ 0 h 114"/>
                <a:gd name="T64" fmla="*/ 114 w 136"/>
                <a:gd name="T65" fmla="*/ 0 h 114"/>
                <a:gd name="T66" fmla="*/ 112 w 136"/>
                <a:gd name="T67" fmla="*/ 0 h 114"/>
                <a:gd name="T68" fmla="*/ 8 w 136"/>
                <a:gd name="T69" fmla="*/ 49 h 114"/>
                <a:gd name="T70" fmla="*/ 8 w 136"/>
                <a:gd name="T71" fmla="*/ 51 h 114"/>
                <a:gd name="T72" fmla="*/ 8 w 136"/>
                <a:gd name="T73" fmla="*/ 54 h 114"/>
                <a:gd name="T74" fmla="*/ 11 w 136"/>
                <a:gd name="T75" fmla="*/ 54 h 114"/>
                <a:gd name="T76" fmla="*/ 14 w 136"/>
                <a:gd name="T77" fmla="*/ 54 h 114"/>
                <a:gd name="T78" fmla="*/ 52 w 136"/>
                <a:gd name="T79" fmla="*/ 54 h 114"/>
                <a:gd name="T80" fmla="*/ 0 w 136"/>
                <a:gd name="T81" fmla="*/ 106 h 114"/>
                <a:gd name="T82" fmla="*/ 0 w 136"/>
                <a:gd name="T83" fmla="*/ 108 h 114"/>
                <a:gd name="T84" fmla="*/ 0 w 136"/>
                <a:gd name="T85" fmla="*/ 111 h 114"/>
                <a:gd name="T86" fmla="*/ 3 w 136"/>
                <a:gd name="T87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6" h="114">
                  <a:moveTo>
                    <a:pt x="65" y="51"/>
                  </a:moveTo>
                  <a:lnTo>
                    <a:pt x="65" y="51"/>
                  </a:lnTo>
                  <a:lnTo>
                    <a:pt x="65" y="49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30" y="46"/>
                  </a:lnTo>
                  <a:lnTo>
                    <a:pt x="101" y="16"/>
                  </a:lnTo>
                  <a:lnTo>
                    <a:pt x="82" y="38"/>
                  </a:lnTo>
                  <a:lnTo>
                    <a:pt x="82" y="41"/>
                  </a:lnTo>
                  <a:lnTo>
                    <a:pt x="82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117" y="49"/>
                  </a:lnTo>
                  <a:lnTo>
                    <a:pt x="25" y="92"/>
                  </a:lnTo>
                  <a:lnTo>
                    <a:pt x="65" y="51"/>
                  </a:lnTo>
                  <a:close/>
                  <a:moveTo>
                    <a:pt x="3" y="111"/>
                  </a:moveTo>
                  <a:lnTo>
                    <a:pt x="6" y="114"/>
                  </a:lnTo>
                  <a:lnTo>
                    <a:pt x="6" y="111"/>
                  </a:lnTo>
                  <a:lnTo>
                    <a:pt x="136" y="49"/>
                  </a:lnTo>
                  <a:lnTo>
                    <a:pt x="136" y="46"/>
                  </a:lnTo>
                  <a:lnTo>
                    <a:pt x="136" y="43"/>
                  </a:lnTo>
                  <a:lnTo>
                    <a:pt x="136" y="41"/>
                  </a:lnTo>
                  <a:lnTo>
                    <a:pt x="136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93" y="38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11" y="54"/>
                  </a:lnTo>
                  <a:lnTo>
                    <a:pt x="14" y="54"/>
                  </a:lnTo>
                  <a:lnTo>
                    <a:pt x="52" y="54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3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73">
              <a:extLst>
                <a:ext uri="{FF2B5EF4-FFF2-40B4-BE49-F238E27FC236}">
                  <a16:creationId xmlns:a16="http://schemas.microsoft.com/office/drawing/2014/main" id="{7CE1D507-5097-4F09-89CF-58E1FC92A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4" y="3599"/>
              <a:ext cx="293" cy="152"/>
            </a:xfrm>
            <a:custGeom>
              <a:avLst/>
              <a:gdLst>
                <a:gd name="T0" fmla="*/ 285 w 293"/>
                <a:gd name="T1" fmla="*/ 117 h 152"/>
                <a:gd name="T2" fmla="*/ 263 w 293"/>
                <a:gd name="T3" fmla="*/ 117 h 152"/>
                <a:gd name="T4" fmla="*/ 261 w 293"/>
                <a:gd name="T5" fmla="*/ 117 h 152"/>
                <a:gd name="T6" fmla="*/ 261 w 293"/>
                <a:gd name="T7" fmla="*/ 120 h 152"/>
                <a:gd name="T8" fmla="*/ 261 w 293"/>
                <a:gd name="T9" fmla="*/ 120 h 152"/>
                <a:gd name="T10" fmla="*/ 261 w 293"/>
                <a:gd name="T11" fmla="*/ 144 h 152"/>
                <a:gd name="T12" fmla="*/ 8 w 293"/>
                <a:gd name="T13" fmla="*/ 144 h 152"/>
                <a:gd name="T14" fmla="*/ 8 w 293"/>
                <a:gd name="T15" fmla="*/ 8 h 152"/>
                <a:gd name="T16" fmla="*/ 261 w 293"/>
                <a:gd name="T17" fmla="*/ 8 h 152"/>
                <a:gd name="T18" fmla="*/ 261 w 293"/>
                <a:gd name="T19" fmla="*/ 33 h 152"/>
                <a:gd name="T20" fmla="*/ 261 w 293"/>
                <a:gd name="T21" fmla="*/ 36 h 152"/>
                <a:gd name="T22" fmla="*/ 263 w 293"/>
                <a:gd name="T23" fmla="*/ 36 h 152"/>
                <a:gd name="T24" fmla="*/ 263 w 293"/>
                <a:gd name="T25" fmla="*/ 36 h 152"/>
                <a:gd name="T26" fmla="*/ 285 w 293"/>
                <a:gd name="T27" fmla="*/ 36 h 152"/>
                <a:gd name="T28" fmla="*/ 285 w 293"/>
                <a:gd name="T29" fmla="*/ 117 h 152"/>
                <a:gd name="T30" fmla="*/ 290 w 293"/>
                <a:gd name="T31" fmla="*/ 125 h 152"/>
                <a:gd name="T32" fmla="*/ 293 w 293"/>
                <a:gd name="T33" fmla="*/ 123 h 152"/>
                <a:gd name="T34" fmla="*/ 293 w 293"/>
                <a:gd name="T35" fmla="*/ 123 h 152"/>
                <a:gd name="T36" fmla="*/ 293 w 293"/>
                <a:gd name="T37" fmla="*/ 120 h 152"/>
                <a:gd name="T38" fmla="*/ 293 w 293"/>
                <a:gd name="T39" fmla="*/ 30 h 152"/>
                <a:gd name="T40" fmla="*/ 290 w 293"/>
                <a:gd name="T41" fmla="*/ 27 h 152"/>
                <a:gd name="T42" fmla="*/ 290 w 293"/>
                <a:gd name="T43" fmla="*/ 27 h 152"/>
                <a:gd name="T44" fmla="*/ 269 w 293"/>
                <a:gd name="T45" fmla="*/ 27 h 152"/>
                <a:gd name="T46" fmla="*/ 269 w 293"/>
                <a:gd name="T47" fmla="*/ 3 h 152"/>
                <a:gd name="T48" fmla="*/ 266 w 293"/>
                <a:gd name="T49" fmla="*/ 0 h 152"/>
                <a:gd name="T50" fmla="*/ 266 w 293"/>
                <a:gd name="T51" fmla="*/ 0 h 152"/>
                <a:gd name="T52" fmla="*/ 2 w 293"/>
                <a:gd name="T53" fmla="*/ 0 h 152"/>
                <a:gd name="T54" fmla="*/ 2 w 293"/>
                <a:gd name="T55" fmla="*/ 0 h 152"/>
                <a:gd name="T56" fmla="*/ 0 w 293"/>
                <a:gd name="T57" fmla="*/ 3 h 152"/>
                <a:gd name="T58" fmla="*/ 0 w 293"/>
                <a:gd name="T59" fmla="*/ 3 h 152"/>
                <a:gd name="T60" fmla="*/ 0 w 293"/>
                <a:gd name="T61" fmla="*/ 150 h 152"/>
                <a:gd name="T62" fmla="*/ 0 w 293"/>
                <a:gd name="T63" fmla="*/ 152 h 152"/>
                <a:gd name="T64" fmla="*/ 2 w 293"/>
                <a:gd name="T65" fmla="*/ 152 h 152"/>
                <a:gd name="T66" fmla="*/ 266 w 293"/>
                <a:gd name="T67" fmla="*/ 152 h 152"/>
                <a:gd name="T68" fmla="*/ 269 w 293"/>
                <a:gd name="T69" fmla="*/ 150 h 152"/>
                <a:gd name="T70" fmla="*/ 269 w 293"/>
                <a:gd name="T71" fmla="*/ 150 h 152"/>
                <a:gd name="T72" fmla="*/ 269 w 293"/>
                <a:gd name="T73" fmla="*/ 125 h 152"/>
                <a:gd name="T74" fmla="*/ 290 w 293"/>
                <a:gd name="T75" fmla="*/ 125 h 152"/>
                <a:gd name="T76" fmla="*/ 290 w 293"/>
                <a:gd name="T77" fmla="*/ 12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3" h="152">
                  <a:moveTo>
                    <a:pt x="285" y="117"/>
                  </a:moveTo>
                  <a:lnTo>
                    <a:pt x="263" y="117"/>
                  </a:lnTo>
                  <a:lnTo>
                    <a:pt x="261" y="117"/>
                  </a:lnTo>
                  <a:lnTo>
                    <a:pt x="261" y="120"/>
                  </a:lnTo>
                  <a:lnTo>
                    <a:pt x="261" y="120"/>
                  </a:lnTo>
                  <a:lnTo>
                    <a:pt x="261" y="144"/>
                  </a:lnTo>
                  <a:lnTo>
                    <a:pt x="8" y="144"/>
                  </a:lnTo>
                  <a:lnTo>
                    <a:pt x="8" y="8"/>
                  </a:lnTo>
                  <a:lnTo>
                    <a:pt x="261" y="8"/>
                  </a:lnTo>
                  <a:lnTo>
                    <a:pt x="261" y="33"/>
                  </a:lnTo>
                  <a:lnTo>
                    <a:pt x="261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85" y="36"/>
                  </a:lnTo>
                  <a:lnTo>
                    <a:pt x="285" y="117"/>
                  </a:lnTo>
                  <a:close/>
                  <a:moveTo>
                    <a:pt x="290" y="125"/>
                  </a:moveTo>
                  <a:lnTo>
                    <a:pt x="293" y="123"/>
                  </a:lnTo>
                  <a:lnTo>
                    <a:pt x="293" y="123"/>
                  </a:lnTo>
                  <a:lnTo>
                    <a:pt x="293" y="120"/>
                  </a:lnTo>
                  <a:lnTo>
                    <a:pt x="293" y="30"/>
                  </a:lnTo>
                  <a:lnTo>
                    <a:pt x="290" y="27"/>
                  </a:lnTo>
                  <a:lnTo>
                    <a:pt x="290" y="27"/>
                  </a:lnTo>
                  <a:lnTo>
                    <a:pt x="269" y="27"/>
                  </a:lnTo>
                  <a:lnTo>
                    <a:pt x="269" y="3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50"/>
                  </a:lnTo>
                  <a:lnTo>
                    <a:pt x="0" y="152"/>
                  </a:lnTo>
                  <a:lnTo>
                    <a:pt x="2" y="152"/>
                  </a:lnTo>
                  <a:lnTo>
                    <a:pt x="266" y="152"/>
                  </a:lnTo>
                  <a:lnTo>
                    <a:pt x="269" y="150"/>
                  </a:lnTo>
                  <a:lnTo>
                    <a:pt x="269" y="150"/>
                  </a:lnTo>
                  <a:lnTo>
                    <a:pt x="269" y="125"/>
                  </a:lnTo>
                  <a:lnTo>
                    <a:pt x="290" y="125"/>
                  </a:lnTo>
                  <a:lnTo>
                    <a:pt x="290" y="1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7" name="Group 276">
            <a:extLst>
              <a:ext uri="{FF2B5EF4-FFF2-40B4-BE49-F238E27FC236}">
                <a16:creationId xmlns:a16="http://schemas.microsoft.com/office/drawing/2014/main" id="{ECF007AC-105F-4AB6-87AC-A48284AFBB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6298" y="5471575"/>
            <a:ext cx="758825" cy="758825"/>
            <a:chOff x="4973" y="3519"/>
            <a:chExt cx="478" cy="478"/>
          </a:xfrm>
        </p:grpSpPr>
        <p:sp>
          <p:nvSpPr>
            <p:cNvPr id="318" name="AutoShape 275">
              <a:extLst>
                <a:ext uri="{FF2B5EF4-FFF2-40B4-BE49-F238E27FC236}">
                  <a16:creationId xmlns:a16="http://schemas.microsoft.com/office/drawing/2014/main" id="{95B89DB3-13E3-4993-BE86-39781D86368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73" y="35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77">
              <a:extLst>
                <a:ext uri="{FF2B5EF4-FFF2-40B4-BE49-F238E27FC236}">
                  <a16:creationId xmlns:a16="http://schemas.microsoft.com/office/drawing/2014/main" id="{EE9882BB-3B7A-482F-92D7-78236EB8D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5" y="3521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8">
              <a:extLst>
                <a:ext uri="{FF2B5EF4-FFF2-40B4-BE49-F238E27FC236}">
                  <a16:creationId xmlns:a16="http://schemas.microsoft.com/office/drawing/2014/main" id="{BF48EEE6-60C7-4970-933B-483946F10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8" y="3597"/>
              <a:ext cx="211" cy="324"/>
            </a:xfrm>
            <a:custGeom>
              <a:avLst/>
              <a:gdLst>
                <a:gd name="T0" fmla="*/ 35 w 86"/>
                <a:gd name="T1" fmla="*/ 7 h 132"/>
                <a:gd name="T2" fmla="*/ 37 w 86"/>
                <a:gd name="T3" fmla="*/ 10 h 132"/>
                <a:gd name="T4" fmla="*/ 37 w 86"/>
                <a:gd name="T5" fmla="*/ 7 h 132"/>
                <a:gd name="T6" fmla="*/ 86 w 86"/>
                <a:gd name="T7" fmla="*/ 61 h 132"/>
                <a:gd name="T8" fmla="*/ 76 w 86"/>
                <a:gd name="T9" fmla="*/ 6 h 132"/>
                <a:gd name="T10" fmla="*/ 0 w 86"/>
                <a:gd name="T11" fmla="*/ 6 h 132"/>
                <a:gd name="T12" fmla="*/ 42 w 86"/>
                <a:gd name="T13" fmla="*/ 104 h 132"/>
                <a:gd name="T14" fmla="*/ 46 w 86"/>
                <a:gd name="T15" fmla="*/ 112 h 132"/>
                <a:gd name="T16" fmla="*/ 46 w 86"/>
                <a:gd name="T17" fmla="*/ 132 h 132"/>
                <a:gd name="T18" fmla="*/ 86 w 86"/>
                <a:gd name="T19" fmla="*/ 114 h 132"/>
                <a:gd name="T20" fmla="*/ 84 w 86"/>
                <a:gd name="T21" fmla="*/ 103 h 132"/>
                <a:gd name="T22" fmla="*/ 7 w 86"/>
                <a:gd name="T23" fmla="*/ 3 h 132"/>
                <a:gd name="T24" fmla="*/ 73 w 86"/>
                <a:gd name="T25" fmla="*/ 13 h 132"/>
                <a:gd name="T26" fmla="*/ 3 w 86"/>
                <a:gd name="T27" fmla="*/ 16 h 132"/>
                <a:gd name="T28" fmla="*/ 72 w 86"/>
                <a:gd name="T29" fmla="*/ 51 h 132"/>
                <a:gd name="T30" fmla="*/ 71 w 86"/>
                <a:gd name="T31" fmla="*/ 51 h 132"/>
                <a:gd name="T32" fmla="*/ 60 w 86"/>
                <a:gd name="T33" fmla="*/ 51 h 132"/>
                <a:gd name="T34" fmla="*/ 51 w 86"/>
                <a:gd name="T35" fmla="*/ 38 h 132"/>
                <a:gd name="T36" fmla="*/ 43 w 86"/>
                <a:gd name="T37" fmla="*/ 79 h 132"/>
                <a:gd name="T38" fmla="*/ 30 w 86"/>
                <a:gd name="T39" fmla="*/ 67 h 132"/>
                <a:gd name="T40" fmla="*/ 3 w 86"/>
                <a:gd name="T41" fmla="*/ 16 h 132"/>
                <a:gd name="T42" fmla="*/ 3 w 86"/>
                <a:gd name="T43" fmla="*/ 89 h 132"/>
                <a:gd name="T44" fmla="*/ 31 w 86"/>
                <a:gd name="T45" fmla="*/ 90 h 132"/>
                <a:gd name="T46" fmla="*/ 7 w 86"/>
                <a:gd name="T47" fmla="*/ 101 h 132"/>
                <a:gd name="T48" fmla="*/ 47 w 86"/>
                <a:gd name="T49" fmla="*/ 115 h 132"/>
                <a:gd name="T50" fmla="*/ 83 w 86"/>
                <a:gd name="T51" fmla="*/ 129 h 132"/>
                <a:gd name="T52" fmla="*/ 83 w 86"/>
                <a:gd name="T53" fmla="*/ 115 h 132"/>
                <a:gd name="T54" fmla="*/ 82 w 86"/>
                <a:gd name="T55" fmla="*/ 101 h 132"/>
                <a:gd name="T56" fmla="*/ 49 w 86"/>
                <a:gd name="T57" fmla="*/ 112 h 132"/>
                <a:gd name="T58" fmla="*/ 34 w 86"/>
                <a:gd name="T59" fmla="*/ 89 h 132"/>
                <a:gd name="T60" fmla="*/ 33 w 86"/>
                <a:gd name="T61" fmla="*/ 88 h 132"/>
                <a:gd name="T62" fmla="*/ 33 w 86"/>
                <a:gd name="T63" fmla="*/ 87 h 132"/>
                <a:gd name="T64" fmla="*/ 36 w 86"/>
                <a:gd name="T65" fmla="*/ 64 h 132"/>
                <a:gd name="T66" fmla="*/ 40 w 86"/>
                <a:gd name="T67" fmla="*/ 81 h 132"/>
                <a:gd name="T68" fmla="*/ 47 w 86"/>
                <a:gd name="T69" fmla="*/ 87 h 132"/>
                <a:gd name="T70" fmla="*/ 54 w 86"/>
                <a:gd name="T71" fmla="*/ 44 h 132"/>
                <a:gd name="T72" fmla="*/ 57 w 86"/>
                <a:gd name="T73" fmla="*/ 72 h 132"/>
                <a:gd name="T74" fmla="*/ 64 w 86"/>
                <a:gd name="T75" fmla="*/ 57 h 132"/>
                <a:gd name="T76" fmla="*/ 67 w 86"/>
                <a:gd name="T77" fmla="*/ 72 h 132"/>
                <a:gd name="T78" fmla="*/ 71 w 86"/>
                <a:gd name="T79" fmla="*/ 54 h 132"/>
                <a:gd name="T80" fmla="*/ 71 w 86"/>
                <a:gd name="T81" fmla="*/ 55 h 132"/>
                <a:gd name="T82" fmla="*/ 72 w 86"/>
                <a:gd name="T83" fmla="*/ 55 h 132"/>
                <a:gd name="T84" fmla="*/ 73 w 86"/>
                <a:gd name="T85" fmla="*/ 57 h 132"/>
                <a:gd name="T86" fmla="*/ 75 w 86"/>
                <a:gd name="T87" fmla="*/ 74 h 132"/>
                <a:gd name="T88" fmla="*/ 80 w 86"/>
                <a:gd name="T89" fmla="*/ 5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6" h="132">
                  <a:moveTo>
                    <a:pt x="32" y="10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2" y="7"/>
                    <a:pt x="32" y="7"/>
                    <a:pt x="32" y="7"/>
                  </a:cubicBezTo>
                  <a:lnTo>
                    <a:pt x="32" y="10"/>
                  </a:lnTo>
                  <a:close/>
                  <a:moveTo>
                    <a:pt x="37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7" y="7"/>
                    <a:pt x="37" y="7"/>
                    <a:pt x="37" y="7"/>
                  </a:cubicBezTo>
                  <a:lnTo>
                    <a:pt x="37" y="10"/>
                  </a:lnTo>
                  <a:close/>
                  <a:moveTo>
                    <a:pt x="86" y="98"/>
                  </a:moveTo>
                  <a:cubicBezTo>
                    <a:pt x="86" y="61"/>
                    <a:pt x="86" y="61"/>
                    <a:pt x="86" y="61"/>
                  </a:cubicBezTo>
                  <a:cubicBezTo>
                    <a:pt x="86" y="58"/>
                    <a:pt x="83" y="55"/>
                    <a:pt x="80" y="55"/>
                  </a:cubicBezTo>
                  <a:cubicBezTo>
                    <a:pt x="79" y="55"/>
                    <a:pt x="77" y="55"/>
                    <a:pt x="76" y="5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6" y="3"/>
                    <a:pt x="73" y="0"/>
                    <a:pt x="6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1"/>
                    <a:pt x="3" y="104"/>
                    <a:pt x="7" y="10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5" y="112"/>
                    <a:pt x="44" y="113"/>
                    <a:pt x="44" y="114"/>
                  </a:cubicBezTo>
                  <a:cubicBezTo>
                    <a:pt x="44" y="131"/>
                    <a:pt x="44" y="131"/>
                    <a:pt x="44" y="131"/>
                  </a:cubicBezTo>
                  <a:cubicBezTo>
                    <a:pt x="44" y="132"/>
                    <a:pt x="45" y="132"/>
                    <a:pt x="46" y="132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6" y="132"/>
                    <a:pt x="86" y="132"/>
                    <a:pt x="86" y="131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86" y="113"/>
                    <a:pt x="86" y="112"/>
                    <a:pt x="85" y="112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4" y="103"/>
                    <a:pt x="84" y="103"/>
                    <a:pt x="84" y="103"/>
                  </a:cubicBezTo>
                  <a:cubicBezTo>
                    <a:pt x="86" y="102"/>
                    <a:pt x="86" y="100"/>
                    <a:pt x="86" y="98"/>
                  </a:cubicBezTo>
                  <a:moveTo>
                    <a:pt x="3" y="6"/>
                  </a:moveTo>
                  <a:cubicBezTo>
                    <a:pt x="3" y="4"/>
                    <a:pt x="5" y="3"/>
                    <a:pt x="7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71" y="3"/>
                    <a:pt x="73" y="4"/>
                    <a:pt x="73" y="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3" y="6"/>
                  </a:lnTo>
                  <a:close/>
                  <a:moveTo>
                    <a:pt x="3" y="16"/>
                  </a:moveTo>
                  <a:cubicBezTo>
                    <a:pt x="73" y="16"/>
                    <a:pt x="73" y="16"/>
                    <a:pt x="73" y="16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2"/>
                    <a:pt x="73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0" y="51"/>
                    <a:pt x="70" y="51"/>
                  </a:cubicBezTo>
                  <a:cubicBezTo>
                    <a:pt x="68" y="51"/>
                    <a:pt x="66" y="52"/>
                    <a:pt x="65" y="53"/>
                  </a:cubicBezTo>
                  <a:cubicBezTo>
                    <a:pt x="64" y="52"/>
                    <a:pt x="62" y="51"/>
                    <a:pt x="60" y="51"/>
                  </a:cubicBezTo>
                  <a:cubicBezTo>
                    <a:pt x="59" y="51"/>
                    <a:pt x="58" y="51"/>
                    <a:pt x="57" y="5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4" y="38"/>
                    <a:pt x="51" y="38"/>
                  </a:cubicBezTo>
                  <a:cubicBezTo>
                    <a:pt x="47" y="38"/>
                    <a:pt x="44" y="40"/>
                    <a:pt x="44" y="44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3"/>
                    <a:pt x="40" y="60"/>
                    <a:pt x="36" y="60"/>
                  </a:cubicBezTo>
                  <a:cubicBezTo>
                    <a:pt x="32" y="60"/>
                    <a:pt x="30" y="63"/>
                    <a:pt x="30" y="67"/>
                  </a:cubicBezTo>
                  <a:cubicBezTo>
                    <a:pt x="30" y="85"/>
                    <a:pt x="30" y="85"/>
                    <a:pt x="30" y="85"/>
                  </a:cubicBezTo>
                  <a:cubicBezTo>
                    <a:pt x="3" y="85"/>
                    <a:pt x="3" y="85"/>
                    <a:pt x="3" y="85"/>
                  </a:cubicBezTo>
                  <a:lnTo>
                    <a:pt x="3" y="16"/>
                  </a:lnTo>
                  <a:close/>
                  <a:moveTo>
                    <a:pt x="7" y="101"/>
                  </a:moveTo>
                  <a:cubicBezTo>
                    <a:pt x="5" y="101"/>
                    <a:pt x="3" y="99"/>
                    <a:pt x="3" y="97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30" y="89"/>
                    <a:pt x="30" y="89"/>
                    <a:pt x="31" y="89"/>
                  </a:cubicBezTo>
                  <a:cubicBezTo>
                    <a:pt x="31" y="89"/>
                    <a:pt x="31" y="90"/>
                    <a:pt x="31" y="90"/>
                  </a:cubicBezTo>
                  <a:cubicBezTo>
                    <a:pt x="31" y="90"/>
                    <a:pt x="31" y="90"/>
                    <a:pt x="32" y="91"/>
                  </a:cubicBezTo>
                  <a:cubicBezTo>
                    <a:pt x="40" y="101"/>
                    <a:pt x="40" y="101"/>
                    <a:pt x="40" y="101"/>
                  </a:cubicBezTo>
                  <a:lnTo>
                    <a:pt x="7" y="101"/>
                  </a:lnTo>
                  <a:close/>
                  <a:moveTo>
                    <a:pt x="56" y="129"/>
                  </a:moveTo>
                  <a:cubicBezTo>
                    <a:pt x="47" y="129"/>
                    <a:pt x="47" y="129"/>
                    <a:pt x="47" y="129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56" y="115"/>
                    <a:pt x="56" y="115"/>
                    <a:pt x="56" y="115"/>
                  </a:cubicBezTo>
                  <a:lnTo>
                    <a:pt x="56" y="129"/>
                  </a:lnTo>
                  <a:close/>
                  <a:moveTo>
                    <a:pt x="83" y="129"/>
                  </a:moveTo>
                  <a:cubicBezTo>
                    <a:pt x="59" y="129"/>
                    <a:pt x="59" y="129"/>
                    <a:pt x="59" y="129"/>
                  </a:cubicBezTo>
                  <a:cubicBezTo>
                    <a:pt x="59" y="115"/>
                    <a:pt x="59" y="115"/>
                    <a:pt x="59" y="115"/>
                  </a:cubicBezTo>
                  <a:cubicBezTo>
                    <a:pt x="83" y="115"/>
                    <a:pt x="83" y="115"/>
                    <a:pt x="83" y="115"/>
                  </a:cubicBezTo>
                  <a:lnTo>
                    <a:pt x="83" y="129"/>
                  </a:lnTo>
                  <a:close/>
                  <a:moveTo>
                    <a:pt x="83" y="98"/>
                  </a:moveTo>
                  <a:cubicBezTo>
                    <a:pt x="83" y="99"/>
                    <a:pt x="83" y="100"/>
                    <a:pt x="82" y="101"/>
                  </a:cubicBezTo>
                  <a:cubicBezTo>
                    <a:pt x="81" y="101"/>
                    <a:pt x="81" y="102"/>
                    <a:pt x="81" y="10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4" y="88"/>
                    <a:pt x="34" y="88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4" y="88"/>
                    <a:pt x="33" y="88"/>
                    <a:pt x="33" y="88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5"/>
                    <a:pt x="34" y="64"/>
                    <a:pt x="36" y="64"/>
                  </a:cubicBezTo>
                  <a:cubicBezTo>
                    <a:pt x="38" y="64"/>
                    <a:pt x="39" y="65"/>
                    <a:pt x="39" y="67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1"/>
                    <a:pt x="40" y="81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9"/>
                    <a:pt x="46" y="89"/>
                    <a:pt x="46" y="89"/>
                  </a:cubicBezTo>
                  <a:cubicBezTo>
                    <a:pt x="47" y="88"/>
                    <a:pt x="47" y="88"/>
                    <a:pt x="47" y="87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2"/>
                    <a:pt x="49" y="41"/>
                    <a:pt x="51" y="41"/>
                  </a:cubicBezTo>
                  <a:cubicBezTo>
                    <a:pt x="52" y="41"/>
                    <a:pt x="54" y="42"/>
                    <a:pt x="54" y="44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3"/>
                    <a:pt x="55" y="74"/>
                    <a:pt x="56" y="74"/>
                  </a:cubicBezTo>
                  <a:cubicBezTo>
                    <a:pt x="57" y="74"/>
                    <a:pt x="57" y="73"/>
                    <a:pt x="57" y="72"/>
                  </a:cubicBezTo>
                  <a:cubicBezTo>
                    <a:pt x="57" y="57"/>
                    <a:pt x="57" y="57"/>
                    <a:pt x="57" y="57"/>
                  </a:cubicBezTo>
                  <a:cubicBezTo>
                    <a:pt x="57" y="56"/>
                    <a:pt x="59" y="54"/>
                    <a:pt x="60" y="54"/>
                  </a:cubicBezTo>
                  <a:cubicBezTo>
                    <a:pt x="62" y="54"/>
                    <a:pt x="64" y="56"/>
                    <a:pt x="64" y="57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3"/>
                    <a:pt x="64" y="74"/>
                    <a:pt x="65" y="74"/>
                  </a:cubicBezTo>
                  <a:cubicBezTo>
                    <a:pt x="66" y="74"/>
                    <a:pt x="67" y="73"/>
                    <a:pt x="67" y="72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6"/>
                    <a:pt x="68" y="54"/>
                    <a:pt x="70" y="54"/>
                  </a:cubicBezTo>
                  <a:cubicBezTo>
                    <a:pt x="70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3" y="55"/>
                  </a:cubicBezTo>
                  <a:cubicBezTo>
                    <a:pt x="73" y="56"/>
                    <a:pt x="73" y="56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3"/>
                    <a:pt x="74" y="74"/>
                    <a:pt x="75" y="74"/>
                  </a:cubicBezTo>
                  <a:cubicBezTo>
                    <a:pt x="76" y="74"/>
                    <a:pt x="77" y="73"/>
                    <a:pt x="77" y="72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59"/>
                    <a:pt x="78" y="58"/>
                    <a:pt x="80" y="58"/>
                  </a:cubicBezTo>
                  <a:cubicBezTo>
                    <a:pt x="82" y="58"/>
                    <a:pt x="83" y="59"/>
                    <a:pt x="83" y="61"/>
                  </a:cubicBezTo>
                  <a:lnTo>
                    <a:pt x="83" y="9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1" name="Group 281">
            <a:extLst>
              <a:ext uri="{FF2B5EF4-FFF2-40B4-BE49-F238E27FC236}">
                <a16:creationId xmlns:a16="http://schemas.microsoft.com/office/drawing/2014/main" id="{DD3120C0-BF83-4C5C-BB03-056A5DC8F2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094" y="5430300"/>
            <a:ext cx="841375" cy="841375"/>
            <a:chOff x="4360" y="3431"/>
            <a:chExt cx="530" cy="530"/>
          </a:xfrm>
        </p:grpSpPr>
        <p:sp>
          <p:nvSpPr>
            <p:cNvPr id="322" name="AutoShape 280">
              <a:extLst>
                <a:ext uri="{FF2B5EF4-FFF2-40B4-BE49-F238E27FC236}">
                  <a16:creationId xmlns:a16="http://schemas.microsoft.com/office/drawing/2014/main" id="{C71075F7-52D3-4856-925C-944EDFC84B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0" y="343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282">
              <a:extLst>
                <a:ext uri="{FF2B5EF4-FFF2-40B4-BE49-F238E27FC236}">
                  <a16:creationId xmlns:a16="http://schemas.microsoft.com/office/drawing/2014/main" id="{AE893D0E-C60E-4DF5-9A74-148BA17DF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3" y="343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83">
              <a:extLst>
                <a:ext uri="{FF2B5EF4-FFF2-40B4-BE49-F238E27FC236}">
                  <a16:creationId xmlns:a16="http://schemas.microsoft.com/office/drawing/2014/main" id="{D9154FE4-277D-438B-B6C4-EC440E637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" y="3450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84">
              <a:extLst>
                <a:ext uri="{FF2B5EF4-FFF2-40B4-BE49-F238E27FC236}">
                  <a16:creationId xmlns:a16="http://schemas.microsoft.com/office/drawing/2014/main" id="{12FCC5BB-BE3E-4CB0-BED1-1BF97F7C1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8" y="3529"/>
              <a:ext cx="217" cy="337"/>
            </a:xfrm>
            <a:custGeom>
              <a:avLst/>
              <a:gdLst>
                <a:gd name="T0" fmla="*/ 33 w 80"/>
                <a:gd name="T1" fmla="*/ 7 h 124"/>
                <a:gd name="T2" fmla="*/ 35 w 80"/>
                <a:gd name="T3" fmla="*/ 10 h 124"/>
                <a:gd name="T4" fmla="*/ 35 w 80"/>
                <a:gd name="T5" fmla="*/ 7 h 124"/>
                <a:gd name="T6" fmla="*/ 80 w 80"/>
                <a:gd name="T7" fmla="*/ 58 h 124"/>
                <a:gd name="T8" fmla="*/ 71 w 80"/>
                <a:gd name="T9" fmla="*/ 6 h 124"/>
                <a:gd name="T10" fmla="*/ 0 w 80"/>
                <a:gd name="T11" fmla="*/ 6 h 124"/>
                <a:gd name="T12" fmla="*/ 39 w 80"/>
                <a:gd name="T13" fmla="*/ 98 h 124"/>
                <a:gd name="T14" fmla="*/ 42 w 80"/>
                <a:gd name="T15" fmla="*/ 105 h 124"/>
                <a:gd name="T16" fmla="*/ 42 w 80"/>
                <a:gd name="T17" fmla="*/ 124 h 124"/>
                <a:gd name="T18" fmla="*/ 80 w 80"/>
                <a:gd name="T19" fmla="*/ 107 h 124"/>
                <a:gd name="T20" fmla="*/ 78 w 80"/>
                <a:gd name="T21" fmla="*/ 97 h 124"/>
                <a:gd name="T22" fmla="*/ 6 w 80"/>
                <a:gd name="T23" fmla="*/ 3 h 124"/>
                <a:gd name="T24" fmla="*/ 68 w 80"/>
                <a:gd name="T25" fmla="*/ 13 h 124"/>
                <a:gd name="T26" fmla="*/ 3 w 80"/>
                <a:gd name="T27" fmla="*/ 16 h 124"/>
                <a:gd name="T28" fmla="*/ 67 w 80"/>
                <a:gd name="T29" fmla="*/ 48 h 124"/>
                <a:gd name="T30" fmla="*/ 66 w 80"/>
                <a:gd name="T31" fmla="*/ 48 h 124"/>
                <a:gd name="T32" fmla="*/ 56 w 80"/>
                <a:gd name="T33" fmla="*/ 48 h 124"/>
                <a:gd name="T34" fmla="*/ 47 w 80"/>
                <a:gd name="T35" fmla="*/ 35 h 124"/>
                <a:gd name="T36" fmla="*/ 40 w 80"/>
                <a:gd name="T37" fmla="*/ 75 h 124"/>
                <a:gd name="T38" fmla="*/ 27 w 80"/>
                <a:gd name="T39" fmla="*/ 63 h 124"/>
                <a:gd name="T40" fmla="*/ 3 w 80"/>
                <a:gd name="T41" fmla="*/ 16 h 124"/>
                <a:gd name="T42" fmla="*/ 3 w 80"/>
                <a:gd name="T43" fmla="*/ 83 h 124"/>
                <a:gd name="T44" fmla="*/ 29 w 80"/>
                <a:gd name="T45" fmla="*/ 84 h 124"/>
                <a:gd name="T46" fmla="*/ 6 w 80"/>
                <a:gd name="T47" fmla="*/ 95 h 124"/>
                <a:gd name="T48" fmla="*/ 44 w 80"/>
                <a:gd name="T49" fmla="*/ 108 h 124"/>
                <a:gd name="T50" fmla="*/ 77 w 80"/>
                <a:gd name="T51" fmla="*/ 121 h 124"/>
                <a:gd name="T52" fmla="*/ 77 w 80"/>
                <a:gd name="T53" fmla="*/ 108 h 124"/>
                <a:gd name="T54" fmla="*/ 76 w 80"/>
                <a:gd name="T55" fmla="*/ 94 h 124"/>
                <a:gd name="T56" fmla="*/ 46 w 80"/>
                <a:gd name="T57" fmla="*/ 105 h 124"/>
                <a:gd name="T58" fmla="*/ 32 w 80"/>
                <a:gd name="T59" fmla="*/ 83 h 124"/>
                <a:gd name="T60" fmla="*/ 31 w 80"/>
                <a:gd name="T61" fmla="*/ 82 h 124"/>
                <a:gd name="T62" fmla="*/ 31 w 80"/>
                <a:gd name="T63" fmla="*/ 81 h 124"/>
                <a:gd name="T64" fmla="*/ 33 w 80"/>
                <a:gd name="T65" fmla="*/ 60 h 124"/>
                <a:gd name="T66" fmla="*/ 37 w 80"/>
                <a:gd name="T67" fmla="*/ 76 h 124"/>
                <a:gd name="T68" fmla="*/ 44 w 80"/>
                <a:gd name="T69" fmla="*/ 82 h 124"/>
                <a:gd name="T70" fmla="*/ 50 w 80"/>
                <a:gd name="T71" fmla="*/ 41 h 124"/>
                <a:gd name="T72" fmla="*/ 53 w 80"/>
                <a:gd name="T73" fmla="*/ 68 h 124"/>
                <a:gd name="T74" fmla="*/ 59 w 80"/>
                <a:gd name="T75" fmla="*/ 54 h 124"/>
                <a:gd name="T76" fmla="*/ 62 w 80"/>
                <a:gd name="T77" fmla="*/ 68 h 124"/>
                <a:gd name="T78" fmla="*/ 66 w 80"/>
                <a:gd name="T79" fmla="*/ 51 h 124"/>
                <a:gd name="T80" fmla="*/ 67 w 80"/>
                <a:gd name="T81" fmla="*/ 51 h 124"/>
                <a:gd name="T82" fmla="*/ 67 w 80"/>
                <a:gd name="T83" fmla="*/ 52 h 124"/>
                <a:gd name="T84" fmla="*/ 68 w 80"/>
                <a:gd name="T85" fmla="*/ 53 h 124"/>
                <a:gd name="T86" fmla="*/ 70 w 80"/>
                <a:gd name="T87" fmla="*/ 69 h 124"/>
                <a:gd name="T88" fmla="*/ 74 w 80"/>
                <a:gd name="T89" fmla="*/ 5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0" h="124">
                  <a:moveTo>
                    <a:pt x="30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0" y="7"/>
                    <a:pt x="30" y="7"/>
                    <a:pt x="30" y="7"/>
                  </a:cubicBezTo>
                  <a:lnTo>
                    <a:pt x="30" y="10"/>
                  </a:lnTo>
                  <a:close/>
                  <a:moveTo>
                    <a:pt x="35" y="10"/>
                  </a:moveTo>
                  <a:cubicBezTo>
                    <a:pt x="44" y="10"/>
                    <a:pt x="44" y="10"/>
                    <a:pt x="44" y="10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35" y="7"/>
                    <a:pt x="35" y="7"/>
                    <a:pt x="35" y="7"/>
                  </a:cubicBezTo>
                  <a:lnTo>
                    <a:pt x="35" y="10"/>
                  </a:lnTo>
                  <a:close/>
                  <a:moveTo>
                    <a:pt x="80" y="92"/>
                  </a:moveTo>
                  <a:cubicBezTo>
                    <a:pt x="80" y="58"/>
                    <a:pt x="80" y="58"/>
                    <a:pt x="80" y="58"/>
                  </a:cubicBezTo>
                  <a:cubicBezTo>
                    <a:pt x="80" y="54"/>
                    <a:pt x="78" y="51"/>
                    <a:pt x="74" y="51"/>
                  </a:cubicBezTo>
                  <a:cubicBezTo>
                    <a:pt x="73" y="51"/>
                    <a:pt x="72" y="52"/>
                    <a:pt x="71" y="52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3"/>
                    <a:pt x="68" y="0"/>
                    <a:pt x="6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5"/>
                    <a:pt x="2" y="98"/>
                    <a:pt x="6" y="98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1" y="106"/>
                    <a:pt x="41" y="107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41" y="123"/>
                    <a:pt x="42" y="124"/>
                    <a:pt x="42" y="124"/>
                  </a:cubicBezTo>
                  <a:cubicBezTo>
                    <a:pt x="79" y="124"/>
                    <a:pt x="79" y="124"/>
                    <a:pt x="79" y="124"/>
                  </a:cubicBezTo>
                  <a:cubicBezTo>
                    <a:pt x="80" y="124"/>
                    <a:pt x="80" y="123"/>
                    <a:pt x="80" y="123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6"/>
                    <a:pt x="80" y="105"/>
                    <a:pt x="79" y="105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97"/>
                    <a:pt x="78" y="97"/>
                    <a:pt x="78" y="97"/>
                  </a:cubicBezTo>
                  <a:cubicBezTo>
                    <a:pt x="80" y="95"/>
                    <a:pt x="80" y="94"/>
                    <a:pt x="80" y="92"/>
                  </a:cubicBezTo>
                  <a:moveTo>
                    <a:pt x="3" y="6"/>
                  </a:moveTo>
                  <a:cubicBezTo>
                    <a:pt x="3" y="5"/>
                    <a:pt x="4" y="3"/>
                    <a:pt x="6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7" y="3"/>
                    <a:pt x="68" y="5"/>
                    <a:pt x="68" y="6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" y="13"/>
                    <a:pt x="3" y="13"/>
                    <a:pt x="3" y="13"/>
                  </a:cubicBezTo>
                  <a:lnTo>
                    <a:pt x="3" y="6"/>
                  </a:lnTo>
                  <a:close/>
                  <a:moveTo>
                    <a:pt x="3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48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5" y="48"/>
                  </a:cubicBezTo>
                  <a:cubicBezTo>
                    <a:pt x="64" y="48"/>
                    <a:pt x="62" y="49"/>
                    <a:pt x="61" y="50"/>
                  </a:cubicBezTo>
                  <a:cubicBezTo>
                    <a:pt x="60" y="49"/>
                    <a:pt x="58" y="48"/>
                    <a:pt x="56" y="48"/>
                  </a:cubicBezTo>
                  <a:cubicBezTo>
                    <a:pt x="55" y="48"/>
                    <a:pt x="54" y="48"/>
                    <a:pt x="53" y="49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38"/>
                    <a:pt x="51" y="35"/>
                    <a:pt x="47" y="35"/>
                  </a:cubicBezTo>
                  <a:cubicBezTo>
                    <a:pt x="44" y="35"/>
                    <a:pt x="41" y="38"/>
                    <a:pt x="41" y="41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0"/>
                    <a:pt x="37" y="57"/>
                    <a:pt x="33" y="57"/>
                  </a:cubicBezTo>
                  <a:cubicBezTo>
                    <a:pt x="30" y="57"/>
                    <a:pt x="27" y="60"/>
                    <a:pt x="27" y="6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3" y="80"/>
                    <a:pt x="3" y="80"/>
                    <a:pt x="3" y="80"/>
                  </a:cubicBezTo>
                  <a:lnTo>
                    <a:pt x="3" y="16"/>
                  </a:lnTo>
                  <a:close/>
                  <a:moveTo>
                    <a:pt x="6" y="95"/>
                  </a:moveTo>
                  <a:cubicBezTo>
                    <a:pt x="4" y="95"/>
                    <a:pt x="3" y="93"/>
                    <a:pt x="3" y="91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3"/>
                    <a:pt x="28" y="84"/>
                    <a:pt x="28" y="84"/>
                  </a:cubicBezTo>
                  <a:cubicBezTo>
                    <a:pt x="28" y="84"/>
                    <a:pt x="28" y="84"/>
                    <a:pt x="29" y="84"/>
                  </a:cubicBezTo>
                  <a:cubicBezTo>
                    <a:pt x="29" y="84"/>
                    <a:pt x="29" y="85"/>
                    <a:pt x="29" y="85"/>
                  </a:cubicBezTo>
                  <a:cubicBezTo>
                    <a:pt x="37" y="95"/>
                    <a:pt x="37" y="95"/>
                    <a:pt x="37" y="95"/>
                  </a:cubicBezTo>
                  <a:lnTo>
                    <a:pt x="6" y="95"/>
                  </a:lnTo>
                  <a:close/>
                  <a:moveTo>
                    <a:pt x="52" y="121"/>
                  </a:moveTo>
                  <a:cubicBezTo>
                    <a:pt x="44" y="121"/>
                    <a:pt x="44" y="121"/>
                    <a:pt x="44" y="121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2" y="108"/>
                    <a:pt x="52" y="108"/>
                    <a:pt x="52" y="108"/>
                  </a:cubicBezTo>
                  <a:lnTo>
                    <a:pt x="52" y="121"/>
                  </a:lnTo>
                  <a:close/>
                  <a:moveTo>
                    <a:pt x="77" y="121"/>
                  </a:moveTo>
                  <a:cubicBezTo>
                    <a:pt x="55" y="121"/>
                    <a:pt x="55" y="121"/>
                    <a:pt x="55" y="121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77" y="108"/>
                    <a:pt x="77" y="108"/>
                    <a:pt x="77" y="108"/>
                  </a:cubicBezTo>
                  <a:lnTo>
                    <a:pt x="77" y="121"/>
                  </a:lnTo>
                  <a:close/>
                  <a:moveTo>
                    <a:pt x="77" y="92"/>
                  </a:moveTo>
                  <a:cubicBezTo>
                    <a:pt x="77" y="93"/>
                    <a:pt x="77" y="94"/>
                    <a:pt x="76" y="94"/>
                  </a:cubicBezTo>
                  <a:cubicBezTo>
                    <a:pt x="76" y="95"/>
                    <a:pt x="75" y="95"/>
                    <a:pt x="75" y="96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6" y="100"/>
                    <a:pt x="45" y="100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0" y="81"/>
                    <a:pt x="30" y="81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61"/>
                    <a:pt x="32" y="60"/>
                    <a:pt x="33" y="60"/>
                  </a:cubicBezTo>
                  <a:cubicBezTo>
                    <a:pt x="35" y="60"/>
                    <a:pt x="36" y="61"/>
                    <a:pt x="36" y="63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75"/>
                    <a:pt x="37" y="76"/>
                    <a:pt x="37" y="7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2" y="83"/>
                    <a:pt x="42" y="83"/>
                    <a:pt x="43" y="83"/>
                  </a:cubicBezTo>
                  <a:cubicBezTo>
                    <a:pt x="44" y="83"/>
                    <a:pt x="44" y="82"/>
                    <a:pt x="44" y="82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0"/>
                    <a:pt x="46" y="38"/>
                    <a:pt x="47" y="38"/>
                  </a:cubicBezTo>
                  <a:cubicBezTo>
                    <a:pt x="49" y="38"/>
                    <a:pt x="50" y="40"/>
                    <a:pt x="50" y="41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0" y="68"/>
                    <a:pt x="51" y="69"/>
                    <a:pt x="52" y="69"/>
                  </a:cubicBezTo>
                  <a:cubicBezTo>
                    <a:pt x="53" y="69"/>
                    <a:pt x="53" y="68"/>
                    <a:pt x="53" y="68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2"/>
                    <a:pt x="55" y="51"/>
                    <a:pt x="56" y="51"/>
                  </a:cubicBezTo>
                  <a:cubicBezTo>
                    <a:pt x="58" y="51"/>
                    <a:pt x="59" y="52"/>
                    <a:pt x="59" y="54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60" y="69"/>
                    <a:pt x="61" y="69"/>
                  </a:cubicBezTo>
                  <a:cubicBezTo>
                    <a:pt x="62" y="69"/>
                    <a:pt x="62" y="68"/>
                    <a:pt x="62" y="68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2" y="52"/>
                    <a:pt x="64" y="51"/>
                    <a:pt x="65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3"/>
                    <a:pt x="68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9" y="69"/>
                    <a:pt x="70" y="69"/>
                  </a:cubicBezTo>
                  <a:cubicBezTo>
                    <a:pt x="71" y="69"/>
                    <a:pt x="71" y="68"/>
                    <a:pt x="71" y="6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6"/>
                    <a:pt x="73" y="54"/>
                    <a:pt x="74" y="54"/>
                  </a:cubicBezTo>
                  <a:cubicBezTo>
                    <a:pt x="76" y="54"/>
                    <a:pt x="77" y="56"/>
                    <a:pt x="77" y="58"/>
                  </a:cubicBezTo>
                  <a:lnTo>
                    <a:pt x="77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7218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68D35F-2643-422D-9C91-69B9F00ED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56753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dio Tower Transmitt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t Clou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iFi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ll Hor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telli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-ear Headphon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dphon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b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Po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bile Setting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puter Setting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gital Setting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ear Turn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ea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ears In Mo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yber Hack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b Shiel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yber Secur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ail Virus Atta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gerprint Securit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F857F9A5-5F3E-4F72-986C-29AB4E9A70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060" y="346076"/>
            <a:ext cx="758825" cy="760413"/>
            <a:chOff x="799" y="398"/>
            <a:chExt cx="478" cy="479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4A8D1CC3-2295-4450-9866-58582E31CC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9" y="398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F24A8D0-BBC7-4479-B2FC-399D2413A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" y="400"/>
              <a:ext cx="476" cy="477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C29DF7B-7421-4782-9F1F-AE16073475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8" y="607"/>
              <a:ext cx="125" cy="157"/>
            </a:xfrm>
            <a:custGeom>
              <a:avLst/>
              <a:gdLst>
                <a:gd name="T0" fmla="*/ 20 w 125"/>
                <a:gd name="T1" fmla="*/ 123 h 157"/>
                <a:gd name="T2" fmla="*/ 51 w 125"/>
                <a:gd name="T3" fmla="*/ 128 h 157"/>
                <a:gd name="T4" fmla="*/ 10 w 125"/>
                <a:gd name="T5" fmla="*/ 147 h 157"/>
                <a:gd name="T6" fmla="*/ 20 w 125"/>
                <a:gd name="T7" fmla="*/ 123 h 157"/>
                <a:gd name="T8" fmla="*/ 61 w 125"/>
                <a:gd name="T9" fmla="*/ 91 h 157"/>
                <a:gd name="T10" fmla="*/ 93 w 125"/>
                <a:gd name="T11" fmla="*/ 115 h 157"/>
                <a:gd name="T12" fmla="*/ 64 w 125"/>
                <a:gd name="T13" fmla="*/ 123 h 157"/>
                <a:gd name="T14" fmla="*/ 27 w 125"/>
                <a:gd name="T15" fmla="*/ 118 h 157"/>
                <a:gd name="T16" fmla="*/ 61 w 125"/>
                <a:gd name="T17" fmla="*/ 91 h 157"/>
                <a:gd name="T18" fmla="*/ 44 w 125"/>
                <a:gd name="T19" fmla="*/ 76 h 157"/>
                <a:gd name="T20" fmla="*/ 56 w 125"/>
                <a:gd name="T21" fmla="*/ 86 h 157"/>
                <a:gd name="T22" fmla="*/ 29 w 125"/>
                <a:gd name="T23" fmla="*/ 108 h 157"/>
                <a:gd name="T24" fmla="*/ 44 w 125"/>
                <a:gd name="T25" fmla="*/ 76 h 157"/>
                <a:gd name="T26" fmla="*/ 61 w 125"/>
                <a:gd name="T27" fmla="*/ 37 h 157"/>
                <a:gd name="T28" fmla="*/ 76 w 125"/>
                <a:gd name="T29" fmla="*/ 69 h 157"/>
                <a:gd name="T30" fmla="*/ 61 w 125"/>
                <a:gd name="T31" fmla="*/ 81 h 157"/>
                <a:gd name="T32" fmla="*/ 47 w 125"/>
                <a:gd name="T33" fmla="*/ 69 h 157"/>
                <a:gd name="T34" fmla="*/ 61 w 125"/>
                <a:gd name="T35" fmla="*/ 37 h 157"/>
                <a:gd name="T36" fmla="*/ 96 w 125"/>
                <a:gd name="T37" fmla="*/ 108 h 157"/>
                <a:gd name="T38" fmla="*/ 66 w 125"/>
                <a:gd name="T39" fmla="*/ 86 h 157"/>
                <a:gd name="T40" fmla="*/ 78 w 125"/>
                <a:gd name="T41" fmla="*/ 76 h 157"/>
                <a:gd name="T42" fmla="*/ 96 w 125"/>
                <a:gd name="T43" fmla="*/ 108 h 157"/>
                <a:gd name="T44" fmla="*/ 113 w 125"/>
                <a:gd name="T45" fmla="*/ 147 h 157"/>
                <a:gd name="T46" fmla="*/ 73 w 125"/>
                <a:gd name="T47" fmla="*/ 128 h 157"/>
                <a:gd name="T48" fmla="*/ 100 w 125"/>
                <a:gd name="T49" fmla="*/ 123 h 157"/>
                <a:gd name="T50" fmla="*/ 113 w 125"/>
                <a:gd name="T51" fmla="*/ 147 h 157"/>
                <a:gd name="T52" fmla="*/ 5 w 125"/>
                <a:gd name="T53" fmla="*/ 157 h 157"/>
                <a:gd name="T54" fmla="*/ 64 w 125"/>
                <a:gd name="T55" fmla="*/ 130 h 157"/>
                <a:gd name="T56" fmla="*/ 64 w 125"/>
                <a:gd name="T57" fmla="*/ 130 h 157"/>
                <a:gd name="T58" fmla="*/ 120 w 125"/>
                <a:gd name="T59" fmla="*/ 157 h 157"/>
                <a:gd name="T60" fmla="*/ 120 w 125"/>
                <a:gd name="T61" fmla="*/ 157 h 157"/>
                <a:gd name="T62" fmla="*/ 123 w 125"/>
                <a:gd name="T63" fmla="*/ 157 h 157"/>
                <a:gd name="T64" fmla="*/ 123 w 125"/>
                <a:gd name="T65" fmla="*/ 157 h 157"/>
                <a:gd name="T66" fmla="*/ 125 w 125"/>
                <a:gd name="T67" fmla="*/ 155 h 157"/>
                <a:gd name="T68" fmla="*/ 123 w 125"/>
                <a:gd name="T69" fmla="*/ 152 h 157"/>
                <a:gd name="T70" fmla="*/ 66 w 125"/>
                <a:gd name="T71" fmla="*/ 27 h 157"/>
                <a:gd name="T72" fmla="*/ 64 w 125"/>
                <a:gd name="T73" fmla="*/ 2 h 157"/>
                <a:gd name="T74" fmla="*/ 64 w 125"/>
                <a:gd name="T75" fmla="*/ 0 h 157"/>
                <a:gd name="T76" fmla="*/ 61 w 125"/>
                <a:gd name="T77" fmla="*/ 0 h 157"/>
                <a:gd name="T78" fmla="*/ 61 w 125"/>
                <a:gd name="T79" fmla="*/ 0 h 157"/>
                <a:gd name="T80" fmla="*/ 59 w 125"/>
                <a:gd name="T81" fmla="*/ 0 h 157"/>
                <a:gd name="T82" fmla="*/ 59 w 125"/>
                <a:gd name="T83" fmla="*/ 2 h 157"/>
                <a:gd name="T84" fmla="*/ 59 w 125"/>
                <a:gd name="T85" fmla="*/ 29 h 157"/>
                <a:gd name="T86" fmla="*/ 0 w 125"/>
                <a:gd name="T87" fmla="*/ 155 h 157"/>
                <a:gd name="T88" fmla="*/ 0 w 125"/>
                <a:gd name="T89" fmla="*/ 155 h 157"/>
                <a:gd name="T90" fmla="*/ 0 w 125"/>
                <a:gd name="T91" fmla="*/ 157 h 157"/>
                <a:gd name="T92" fmla="*/ 2 w 125"/>
                <a:gd name="T93" fmla="*/ 157 h 157"/>
                <a:gd name="T94" fmla="*/ 5 w 125"/>
                <a:gd name="T9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157">
                  <a:moveTo>
                    <a:pt x="20" y="123"/>
                  </a:moveTo>
                  <a:lnTo>
                    <a:pt x="51" y="128"/>
                  </a:lnTo>
                  <a:lnTo>
                    <a:pt x="10" y="147"/>
                  </a:lnTo>
                  <a:lnTo>
                    <a:pt x="20" y="123"/>
                  </a:lnTo>
                  <a:close/>
                  <a:moveTo>
                    <a:pt x="61" y="91"/>
                  </a:moveTo>
                  <a:lnTo>
                    <a:pt x="93" y="115"/>
                  </a:lnTo>
                  <a:lnTo>
                    <a:pt x="64" y="123"/>
                  </a:lnTo>
                  <a:lnTo>
                    <a:pt x="27" y="118"/>
                  </a:lnTo>
                  <a:lnTo>
                    <a:pt x="61" y="91"/>
                  </a:lnTo>
                  <a:close/>
                  <a:moveTo>
                    <a:pt x="44" y="76"/>
                  </a:moveTo>
                  <a:lnTo>
                    <a:pt x="56" y="86"/>
                  </a:lnTo>
                  <a:lnTo>
                    <a:pt x="29" y="108"/>
                  </a:lnTo>
                  <a:lnTo>
                    <a:pt x="44" y="76"/>
                  </a:lnTo>
                  <a:close/>
                  <a:moveTo>
                    <a:pt x="61" y="37"/>
                  </a:moveTo>
                  <a:lnTo>
                    <a:pt x="76" y="69"/>
                  </a:lnTo>
                  <a:lnTo>
                    <a:pt x="61" y="81"/>
                  </a:lnTo>
                  <a:lnTo>
                    <a:pt x="47" y="69"/>
                  </a:lnTo>
                  <a:lnTo>
                    <a:pt x="61" y="37"/>
                  </a:lnTo>
                  <a:close/>
                  <a:moveTo>
                    <a:pt x="96" y="108"/>
                  </a:moveTo>
                  <a:lnTo>
                    <a:pt x="66" y="86"/>
                  </a:lnTo>
                  <a:lnTo>
                    <a:pt x="78" y="76"/>
                  </a:lnTo>
                  <a:lnTo>
                    <a:pt x="96" y="108"/>
                  </a:lnTo>
                  <a:close/>
                  <a:moveTo>
                    <a:pt x="113" y="147"/>
                  </a:moveTo>
                  <a:lnTo>
                    <a:pt x="73" y="128"/>
                  </a:lnTo>
                  <a:lnTo>
                    <a:pt x="100" y="123"/>
                  </a:lnTo>
                  <a:lnTo>
                    <a:pt x="113" y="147"/>
                  </a:lnTo>
                  <a:close/>
                  <a:moveTo>
                    <a:pt x="5" y="157"/>
                  </a:moveTo>
                  <a:lnTo>
                    <a:pt x="64" y="130"/>
                  </a:lnTo>
                  <a:lnTo>
                    <a:pt x="64" y="130"/>
                  </a:lnTo>
                  <a:lnTo>
                    <a:pt x="120" y="157"/>
                  </a:lnTo>
                  <a:lnTo>
                    <a:pt x="120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5" y="155"/>
                  </a:lnTo>
                  <a:lnTo>
                    <a:pt x="123" y="152"/>
                  </a:lnTo>
                  <a:lnTo>
                    <a:pt x="66" y="27"/>
                  </a:lnTo>
                  <a:lnTo>
                    <a:pt x="64" y="2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9" y="29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7"/>
                  </a:lnTo>
                  <a:lnTo>
                    <a:pt x="2" y="157"/>
                  </a:lnTo>
                  <a:lnTo>
                    <a:pt x="5" y="1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A0D0DFF-A7D6-4934-BEFF-8C85B6041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" y="511"/>
              <a:ext cx="196" cy="179"/>
            </a:xfrm>
            <a:custGeom>
              <a:avLst/>
              <a:gdLst>
                <a:gd name="T0" fmla="*/ 196 w 196"/>
                <a:gd name="T1" fmla="*/ 86 h 179"/>
                <a:gd name="T2" fmla="*/ 189 w 196"/>
                <a:gd name="T3" fmla="*/ 64 h 179"/>
                <a:gd name="T4" fmla="*/ 177 w 196"/>
                <a:gd name="T5" fmla="*/ 39 h 179"/>
                <a:gd name="T6" fmla="*/ 152 w 196"/>
                <a:gd name="T7" fmla="*/ 17 h 179"/>
                <a:gd name="T8" fmla="*/ 133 w 196"/>
                <a:gd name="T9" fmla="*/ 5 h 179"/>
                <a:gd name="T10" fmla="*/ 108 w 196"/>
                <a:gd name="T11" fmla="*/ 0 h 179"/>
                <a:gd name="T12" fmla="*/ 79 w 196"/>
                <a:gd name="T13" fmla="*/ 2 h 179"/>
                <a:gd name="T14" fmla="*/ 57 w 196"/>
                <a:gd name="T15" fmla="*/ 10 h 179"/>
                <a:gd name="T16" fmla="*/ 37 w 196"/>
                <a:gd name="T17" fmla="*/ 22 h 179"/>
                <a:gd name="T18" fmla="*/ 20 w 196"/>
                <a:gd name="T19" fmla="*/ 39 h 179"/>
                <a:gd name="T20" fmla="*/ 10 w 196"/>
                <a:gd name="T21" fmla="*/ 54 h 179"/>
                <a:gd name="T22" fmla="*/ 3 w 196"/>
                <a:gd name="T23" fmla="*/ 76 h 179"/>
                <a:gd name="T24" fmla="*/ 0 w 196"/>
                <a:gd name="T25" fmla="*/ 96 h 179"/>
                <a:gd name="T26" fmla="*/ 5 w 196"/>
                <a:gd name="T27" fmla="*/ 128 h 179"/>
                <a:gd name="T28" fmla="*/ 15 w 196"/>
                <a:gd name="T29" fmla="*/ 147 h 179"/>
                <a:gd name="T30" fmla="*/ 37 w 196"/>
                <a:gd name="T31" fmla="*/ 170 h 179"/>
                <a:gd name="T32" fmla="*/ 54 w 196"/>
                <a:gd name="T33" fmla="*/ 179 h 179"/>
                <a:gd name="T34" fmla="*/ 54 w 196"/>
                <a:gd name="T35" fmla="*/ 174 h 179"/>
                <a:gd name="T36" fmla="*/ 30 w 196"/>
                <a:gd name="T37" fmla="*/ 155 h 179"/>
                <a:gd name="T38" fmla="*/ 15 w 196"/>
                <a:gd name="T39" fmla="*/ 128 h 179"/>
                <a:gd name="T40" fmla="*/ 8 w 196"/>
                <a:gd name="T41" fmla="*/ 98 h 179"/>
                <a:gd name="T42" fmla="*/ 10 w 196"/>
                <a:gd name="T43" fmla="*/ 79 h 179"/>
                <a:gd name="T44" fmla="*/ 15 w 196"/>
                <a:gd name="T45" fmla="*/ 61 h 179"/>
                <a:gd name="T46" fmla="*/ 30 w 196"/>
                <a:gd name="T47" fmla="*/ 39 h 179"/>
                <a:gd name="T48" fmla="*/ 47 w 196"/>
                <a:gd name="T49" fmla="*/ 22 h 179"/>
                <a:gd name="T50" fmla="*/ 71 w 196"/>
                <a:gd name="T51" fmla="*/ 10 h 179"/>
                <a:gd name="T52" fmla="*/ 93 w 196"/>
                <a:gd name="T53" fmla="*/ 7 h 179"/>
                <a:gd name="T54" fmla="*/ 113 w 196"/>
                <a:gd name="T55" fmla="*/ 7 h 179"/>
                <a:gd name="T56" fmla="*/ 133 w 196"/>
                <a:gd name="T57" fmla="*/ 15 h 179"/>
                <a:gd name="T58" fmla="*/ 152 w 196"/>
                <a:gd name="T59" fmla="*/ 25 h 179"/>
                <a:gd name="T60" fmla="*/ 167 w 196"/>
                <a:gd name="T61" fmla="*/ 39 h 179"/>
                <a:gd name="T62" fmla="*/ 179 w 196"/>
                <a:gd name="T63" fmla="*/ 56 h 179"/>
                <a:gd name="T64" fmla="*/ 189 w 196"/>
                <a:gd name="T65" fmla="*/ 86 h 179"/>
                <a:gd name="T66" fmla="*/ 186 w 196"/>
                <a:gd name="T67" fmla="*/ 113 h 179"/>
                <a:gd name="T68" fmla="*/ 182 w 196"/>
                <a:gd name="T69" fmla="*/ 133 h 179"/>
                <a:gd name="T70" fmla="*/ 169 w 196"/>
                <a:gd name="T71" fmla="*/ 152 h 179"/>
                <a:gd name="T72" fmla="*/ 147 w 196"/>
                <a:gd name="T73" fmla="*/ 172 h 179"/>
                <a:gd name="T74" fmla="*/ 150 w 196"/>
                <a:gd name="T75" fmla="*/ 177 h 179"/>
                <a:gd name="T76" fmla="*/ 152 w 196"/>
                <a:gd name="T77" fmla="*/ 174 h 179"/>
                <a:gd name="T78" fmla="*/ 167 w 196"/>
                <a:gd name="T79" fmla="*/ 165 h 179"/>
                <a:gd name="T80" fmla="*/ 179 w 196"/>
                <a:gd name="T81" fmla="*/ 150 h 179"/>
                <a:gd name="T82" fmla="*/ 191 w 196"/>
                <a:gd name="T83" fmla="*/ 128 h 179"/>
                <a:gd name="T84" fmla="*/ 196 w 196"/>
                <a:gd name="T85" fmla="*/ 9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" h="179">
                  <a:moveTo>
                    <a:pt x="196" y="98"/>
                  </a:moveTo>
                  <a:lnTo>
                    <a:pt x="196" y="91"/>
                  </a:lnTo>
                  <a:lnTo>
                    <a:pt x="196" y="86"/>
                  </a:lnTo>
                  <a:lnTo>
                    <a:pt x="194" y="76"/>
                  </a:lnTo>
                  <a:lnTo>
                    <a:pt x="194" y="71"/>
                  </a:lnTo>
                  <a:lnTo>
                    <a:pt x="189" y="64"/>
                  </a:lnTo>
                  <a:lnTo>
                    <a:pt x="186" y="54"/>
                  </a:lnTo>
                  <a:lnTo>
                    <a:pt x="182" y="47"/>
                  </a:lnTo>
                  <a:lnTo>
                    <a:pt x="177" y="39"/>
                  </a:lnTo>
                  <a:lnTo>
                    <a:pt x="169" y="32"/>
                  </a:lnTo>
                  <a:lnTo>
                    <a:pt x="160" y="22"/>
                  </a:lnTo>
                  <a:lnTo>
                    <a:pt x="152" y="17"/>
                  </a:lnTo>
                  <a:lnTo>
                    <a:pt x="150" y="15"/>
                  </a:lnTo>
                  <a:lnTo>
                    <a:pt x="140" y="10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8" y="2"/>
                  </a:lnTo>
                  <a:lnTo>
                    <a:pt x="108" y="0"/>
                  </a:lnTo>
                  <a:lnTo>
                    <a:pt x="98" y="0"/>
                  </a:lnTo>
                  <a:lnTo>
                    <a:pt x="88" y="0"/>
                  </a:lnTo>
                  <a:lnTo>
                    <a:pt x="79" y="2"/>
                  </a:lnTo>
                  <a:lnTo>
                    <a:pt x="74" y="2"/>
                  </a:lnTo>
                  <a:lnTo>
                    <a:pt x="64" y="5"/>
                  </a:lnTo>
                  <a:lnTo>
                    <a:pt x="57" y="10"/>
                  </a:lnTo>
                  <a:lnTo>
                    <a:pt x="47" y="15"/>
                  </a:lnTo>
                  <a:lnTo>
                    <a:pt x="39" y="20"/>
                  </a:lnTo>
                  <a:lnTo>
                    <a:pt x="37" y="22"/>
                  </a:lnTo>
                  <a:lnTo>
                    <a:pt x="30" y="27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7" y="42"/>
                  </a:lnTo>
                  <a:lnTo>
                    <a:pt x="12" y="49"/>
                  </a:lnTo>
                  <a:lnTo>
                    <a:pt x="10" y="54"/>
                  </a:lnTo>
                  <a:lnTo>
                    <a:pt x="8" y="64"/>
                  </a:lnTo>
                  <a:lnTo>
                    <a:pt x="5" y="66"/>
                  </a:lnTo>
                  <a:lnTo>
                    <a:pt x="3" y="76"/>
                  </a:lnTo>
                  <a:lnTo>
                    <a:pt x="3" y="81"/>
                  </a:lnTo>
                  <a:lnTo>
                    <a:pt x="0" y="91"/>
                  </a:lnTo>
                  <a:lnTo>
                    <a:pt x="0" y="96"/>
                  </a:lnTo>
                  <a:lnTo>
                    <a:pt x="3" y="108"/>
                  </a:lnTo>
                  <a:lnTo>
                    <a:pt x="3" y="118"/>
                  </a:lnTo>
                  <a:lnTo>
                    <a:pt x="5" y="128"/>
                  </a:lnTo>
                  <a:lnTo>
                    <a:pt x="10" y="138"/>
                  </a:lnTo>
                  <a:lnTo>
                    <a:pt x="12" y="140"/>
                  </a:lnTo>
                  <a:lnTo>
                    <a:pt x="15" y="147"/>
                  </a:lnTo>
                  <a:lnTo>
                    <a:pt x="20" y="155"/>
                  </a:lnTo>
                  <a:lnTo>
                    <a:pt x="27" y="162"/>
                  </a:lnTo>
                  <a:lnTo>
                    <a:pt x="37" y="170"/>
                  </a:lnTo>
                  <a:lnTo>
                    <a:pt x="42" y="174"/>
                  </a:lnTo>
                  <a:lnTo>
                    <a:pt x="49" y="179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4" y="174"/>
                  </a:lnTo>
                  <a:lnTo>
                    <a:pt x="54" y="174"/>
                  </a:lnTo>
                  <a:lnTo>
                    <a:pt x="42" y="167"/>
                  </a:lnTo>
                  <a:lnTo>
                    <a:pt x="37" y="160"/>
                  </a:lnTo>
                  <a:lnTo>
                    <a:pt x="30" y="155"/>
                  </a:lnTo>
                  <a:lnTo>
                    <a:pt x="22" y="145"/>
                  </a:lnTo>
                  <a:lnTo>
                    <a:pt x="17" y="135"/>
                  </a:lnTo>
                  <a:lnTo>
                    <a:pt x="15" y="128"/>
                  </a:lnTo>
                  <a:lnTo>
                    <a:pt x="10" y="115"/>
                  </a:lnTo>
                  <a:lnTo>
                    <a:pt x="8" y="108"/>
                  </a:lnTo>
                  <a:lnTo>
                    <a:pt x="8" y="98"/>
                  </a:lnTo>
                  <a:lnTo>
                    <a:pt x="8" y="91"/>
                  </a:lnTo>
                  <a:lnTo>
                    <a:pt x="10" y="84"/>
                  </a:lnTo>
                  <a:lnTo>
                    <a:pt x="10" y="79"/>
                  </a:lnTo>
                  <a:lnTo>
                    <a:pt x="10" y="74"/>
                  </a:lnTo>
                  <a:lnTo>
                    <a:pt x="12" y="66"/>
                  </a:lnTo>
                  <a:lnTo>
                    <a:pt x="15" y="61"/>
                  </a:lnTo>
                  <a:lnTo>
                    <a:pt x="20" y="54"/>
                  </a:lnTo>
                  <a:lnTo>
                    <a:pt x="22" y="47"/>
                  </a:lnTo>
                  <a:lnTo>
                    <a:pt x="30" y="39"/>
                  </a:lnTo>
                  <a:lnTo>
                    <a:pt x="34" y="32"/>
                  </a:lnTo>
                  <a:lnTo>
                    <a:pt x="42" y="27"/>
                  </a:lnTo>
                  <a:lnTo>
                    <a:pt x="47" y="22"/>
                  </a:lnTo>
                  <a:lnTo>
                    <a:pt x="54" y="17"/>
                  </a:lnTo>
                  <a:lnTo>
                    <a:pt x="64" y="15"/>
                  </a:lnTo>
                  <a:lnTo>
                    <a:pt x="71" y="10"/>
                  </a:lnTo>
                  <a:lnTo>
                    <a:pt x="76" y="10"/>
                  </a:lnTo>
                  <a:lnTo>
                    <a:pt x="84" y="7"/>
                  </a:lnTo>
                  <a:lnTo>
                    <a:pt x="93" y="7"/>
                  </a:lnTo>
                  <a:lnTo>
                    <a:pt x="98" y="7"/>
                  </a:lnTo>
                  <a:lnTo>
                    <a:pt x="103" y="7"/>
                  </a:lnTo>
                  <a:lnTo>
                    <a:pt x="113" y="7"/>
                  </a:lnTo>
                  <a:lnTo>
                    <a:pt x="120" y="10"/>
                  </a:lnTo>
                  <a:lnTo>
                    <a:pt x="130" y="12"/>
                  </a:lnTo>
                  <a:lnTo>
                    <a:pt x="133" y="15"/>
                  </a:lnTo>
                  <a:lnTo>
                    <a:pt x="142" y="17"/>
                  </a:lnTo>
                  <a:lnTo>
                    <a:pt x="145" y="20"/>
                  </a:lnTo>
                  <a:lnTo>
                    <a:pt x="152" y="25"/>
                  </a:lnTo>
                  <a:lnTo>
                    <a:pt x="155" y="27"/>
                  </a:lnTo>
                  <a:lnTo>
                    <a:pt x="160" y="29"/>
                  </a:lnTo>
                  <a:lnTo>
                    <a:pt x="167" y="39"/>
                  </a:lnTo>
                  <a:lnTo>
                    <a:pt x="174" y="47"/>
                  </a:lnTo>
                  <a:lnTo>
                    <a:pt x="177" y="49"/>
                  </a:lnTo>
                  <a:lnTo>
                    <a:pt x="179" y="56"/>
                  </a:lnTo>
                  <a:lnTo>
                    <a:pt x="184" y="66"/>
                  </a:lnTo>
                  <a:lnTo>
                    <a:pt x="186" y="74"/>
                  </a:lnTo>
                  <a:lnTo>
                    <a:pt x="189" y="86"/>
                  </a:lnTo>
                  <a:lnTo>
                    <a:pt x="189" y="96"/>
                  </a:lnTo>
                  <a:lnTo>
                    <a:pt x="189" y="101"/>
                  </a:lnTo>
                  <a:lnTo>
                    <a:pt x="186" y="113"/>
                  </a:lnTo>
                  <a:lnTo>
                    <a:pt x="186" y="118"/>
                  </a:lnTo>
                  <a:lnTo>
                    <a:pt x="184" y="123"/>
                  </a:lnTo>
                  <a:lnTo>
                    <a:pt x="182" y="133"/>
                  </a:lnTo>
                  <a:lnTo>
                    <a:pt x="179" y="138"/>
                  </a:lnTo>
                  <a:lnTo>
                    <a:pt x="172" y="147"/>
                  </a:lnTo>
                  <a:lnTo>
                    <a:pt x="169" y="152"/>
                  </a:lnTo>
                  <a:lnTo>
                    <a:pt x="162" y="160"/>
                  </a:lnTo>
                  <a:lnTo>
                    <a:pt x="152" y="167"/>
                  </a:lnTo>
                  <a:lnTo>
                    <a:pt x="147" y="172"/>
                  </a:lnTo>
                  <a:lnTo>
                    <a:pt x="147" y="172"/>
                  </a:lnTo>
                  <a:lnTo>
                    <a:pt x="147" y="174"/>
                  </a:lnTo>
                  <a:lnTo>
                    <a:pt x="150" y="177"/>
                  </a:lnTo>
                  <a:lnTo>
                    <a:pt x="152" y="177"/>
                  </a:lnTo>
                  <a:lnTo>
                    <a:pt x="152" y="177"/>
                  </a:lnTo>
                  <a:lnTo>
                    <a:pt x="152" y="174"/>
                  </a:lnTo>
                  <a:lnTo>
                    <a:pt x="162" y="170"/>
                  </a:lnTo>
                  <a:lnTo>
                    <a:pt x="164" y="167"/>
                  </a:lnTo>
                  <a:lnTo>
                    <a:pt x="167" y="165"/>
                  </a:lnTo>
                  <a:lnTo>
                    <a:pt x="169" y="162"/>
                  </a:lnTo>
                  <a:lnTo>
                    <a:pt x="179" y="150"/>
                  </a:lnTo>
                  <a:lnTo>
                    <a:pt x="179" y="150"/>
                  </a:lnTo>
                  <a:lnTo>
                    <a:pt x="182" y="145"/>
                  </a:lnTo>
                  <a:lnTo>
                    <a:pt x="189" y="133"/>
                  </a:lnTo>
                  <a:lnTo>
                    <a:pt x="191" y="128"/>
                  </a:lnTo>
                  <a:lnTo>
                    <a:pt x="194" y="115"/>
                  </a:lnTo>
                  <a:lnTo>
                    <a:pt x="196" y="108"/>
                  </a:lnTo>
                  <a:lnTo>
                    <a:pt x="196" y="9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D84FE43C-0061-4180-B2C4-7AEED0051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" y="540"/>
              <a:ext cx="132" cy="121"/>
            </a:xfrm>
            <a:custGeom>
              <a:avLst/>
              <a:gdLst>
                <a:gd name="T0" fmla="*/ 103 w 132"/>
                <a:gd name="T1" fmla="*/ 121 h 121"/>
                <a:gd name="T2" fmla="*/ 105 w 132"/>
                <a:gd name="T3" fmla="*/ 121 h 121"/>
                <a:gd name="T4" fmla="*/ 115 w 132"/>
                <a:gd name="T5" fmla="*/ 113 h 121"/>
                <a:gd name="T6" fmla="*/ 123 w 132"/>
                <a:gd name="T7" fmla="*/ 104 h 121"/>
                <a:gd name="T8" fmla="*/ 125 w 132"/>
                <a:gd name="T9" fmla="*/ 96 h 121"/>
                <a:gd name="T10" fmla="*/ 130 w 132"/>
                <a:gd name="T11" fmla="*/ 82 h 121"/>
                <a:gd name="T12" fmla="*/ 132 w 132"/>
                <a:gd name="T13" fmla="*/ 72 h 121"/>
                <a:gd name="T14" fmla="*/ 132 w 132"/>
                <a:gd name="T15" fmla="*/ 59 h 121"/>
                <a:gd name="T16" fmla="*/ 130 w 132"/>
                <a:gd name="T17" fmla="*/ 47 h 121"/>
                <a:gd name="T18" fmla="*/ 125 w 132"/>
                <a:gd name="T19" fmla="*/ 35 h 121"/>
                <a:gd name="T20" fmla="*/ 115 w 132"/>
                <a:gd name="T21" fmla="*/ 23 h 121"/>
                <a:gd name="T22" fmla="*/ 108 w 132"/>
                <a:gd name="T23" fmla="*/ 15 h 121"/>
                <a:gd name="T24" fmla="*/ 98 w 132"/>
                <a:gd name="T25" fmla="*/ 8 h 121"/>
                <a:gd name="T26" fmla="*/ 86 w 132"/>
                <a:gd name="T27" fmla="*/ 3 h 121"/>
                <a:gd name="T28" fmla="*/ 74 w 132"/>
                <a:gd name="T29" fmla="*/ 0 h 121"/>
                <a:gd name="T30" fmla="*/ 64 w 132"/>
                <a:gd name="T31" fmla="*/ 0 h 121"/>
                <a:gd name="T32" fmla="*/ 56 w 132"/>
                <a:gd name="T33" fmla="*/ 3 h 121"/>
                <a:gd name="T34" fmla="*/ 39 w 132"/>
                <a:gd name="T35" fmla="*/ 5 h 121"/>
                <a:gd name="T36" fmla="*/ 27 w 132"/>
                <a:gd name="T37" fmla="*/ 15 h 121"/>
                <a:gd name="T38" fmla="*/ 15 w 132"/>
                <a:gd name="T39" fmla="*/ 25 h 121"/>
                <a:gd name="T40" fmla="*/ 5 w 132"/>
                <a:gd name="T41" fmla="*/ 40 h 121"/>
                <a:gd name="T42" fmla="*/ 2 w 132"/>
                <a:gd name="T43" fmla="*/ 50 h 121"/>
                <a:gd name="T44" fmla="*/ 0 w 132"/>
                <a:gd name="T45" fmla="*/ 64 h 121"/>
                <a:gd name="T46" fmla="*/ 0 w 132"/>
                <a:gd name="T47" fmla="*/ 74 h 121"/>
                <a:gd name="T48" fmla="*/ 2 w 132"/>
                <a:gd name="T49" fmla="*/ 86 h 121"/>
                <a:gd name="T50" fmla="*/ 7 w 132"/>
                <a:gd name="T51" fmla="*/ 99 h 121"/>
                <a:gd name="T52" fmla="*/ 15 w 132"/>
                <a:gd name="T53" fmla="*/ 109 h 121"/>
                <a:gd name="T54" fmla="*/ 22 w 132"/>
                <a:gd name="T55" fmla="*/ 116 h 121"/>
                <a:gd name="T56" fmla="*/ 32 w 132"/>
                <a:gd name="T57" fmla="*/ 121 h 121"/>
                <a:gd name="T58" fmla="*/ 34 w 132"/>
                <a:gd name="T59" fmla="*/ 121 h 121"/>
                <a:gd name="T60" fmla="*/ 34 w 132"/>
                <a:gd name="T61" fmla="*/ 116 h 121"/>
                <a:gd name="T62" fmla="*/ 27 w 132"/>
                <a:gd name="T63" fmla="*/ 111 h 121"/>
                <a:gd name="T64" fmla="*/ 15 w 132"/>
                <a:gd name="T65" fmla="*/ 99 h 121"/>
                <a:gd name="T66" fmla="*/ 10 w 132"/>
                <a:gd name="T67" fmla="*/ 84 h 121"/>
                <a:gd name="T68" fmla="*/ 7 w 132"/>
                <a:gd name="T69" fmla="*/ 74 h 121"/>
                <a:gd name="T70" fmla="*/ 7 w 132"/>
                <a:gd name="T71" fmla="*/ 57 h 121"/>
                <a:gd name="T72" fmla="*/ 12 w 132"/>
                <a:gd name="T73" fmla="*/ 45 h 121"/>
                <a:gd name="T74" fmla="*/ 17 w 132"/>
                <a:gd name="T75" fmla="*/ 35 h 121"/>
                <a:gd name="T76" fmla="*/ 32 w 132"/>
                <a:gd name="T77" fmla="*/ 18 h 121"/>
                <a:gd name="T78" fmla="*/ 47 w 132"/>
                <a:gd name="T79" fmla="*/ 13 h 121"/>
                <a:gd name="T80" fmla="*/ 61 w 132"/>
                <a:gd name="T81" fmla="*/ 8 h 121"/>
                <a:gd name="T82" fmla="*/ 71 w 132"/>
                <a:gd name="T83" fmla="*/ 8 h 121"/>
                <a:gd name="T84" fmla="*/ 86 w 132"/>
                <a:gd name="T85" fmla="*/ 13 h 121"/>
                <a:gd name="T86" fmla="*/ 101 w 132"/>
                <a:gd name="T87" fmla="*/ 18 h 121"/>
                <a:gd name="T88" fmla="*/ 110 w 132"/>
                <a:gd name="T89" fmla="*/ 27 h 121"/>
                <a:gd name="T90" fmla="*/ 120 w 132"/>
                <a:gd name="T91" fmla="*/ 42 h 121"/>
                <a:gd name="T92" fmla="*/ 125 w 132"/>
                <a:gd name="T93" fmla="*/ 52 h 121"/>
                <a:gd name="T94" fmla="*/ 125 w 132"/>
                <a:gd name="T95" fmla="*/ 62 h 121"/>
                <a:gd name="T96" fmla="*/ 125 w 132"/>
                <a:gd name="T97" fmla="*/ 74 h 121"/>
                <a:gd name="T98" fmla="*/ 123 w 132"/>
                <a:gd name="T99" fmla="*/ 84 h 121"/>
                <a:gd name="T100" fmla="*/ 118 w 132"/>
                <a:gd name="T101" fmla="*/ 96 h 121"/>
                <a:gd name="T102" fmla="*/ 113 w 132"/>
                <a:gd name="T103" fmla="*/ 106 h 121"/>
                <a:gd name="T104" fmla="*/ 103 w 132"/>
                <a:gd name="T105" fmla="*/ 113 h 121"/>
                <a:gd name="T106" fmla="*/ 101 w 132"/>
                <a:gd name="T107" fmla="*/ 116 h 121"/>
                <a:gd name="T108" fmla="*/ 101 w 132"/>
                <a:gd name="T10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2" h="121">
                  <a:moveTo>
                    <a:pt x="101" y="121"/>
                  </a:moveTo>
                  <a:lnTo>
                    <a:pt x="103" y="121"/>
                  </a:lnTo>
                  <a:lnTo>
                    <a:pt x="103" y="121"/>
                  </a:lnTo>
                  <a:lnTo>
                    <a:pt x="105" y="121"/>
                  </a:lnTo>
                  <a:lnTo>
                    <a:pt x="108" y="118"/>
                  </a:lnTo>
                  <a:lnTo>
                    <a:pt x="115" y="113"/>
                  </a:lnTo>
                  <a:lnTo>
                    <a:pt x="118" y="109"/>
                  </a:lnTo>
                  <a:lnTo>
                    <a:pt x="123" y="104"/>
                  </a:lnTo>
                  <a:lnTo>
                    <a:pt x="125" y="101"/>
                  </a:lnTo>
                  <a:lnTo>
                    <a:pt x="125" y="96"/>
                  </a:lnTo>
                  <a:lnTo>
                    <a:pt x="130" y="89"/>
                  </a:lnTo>
                  <a:lnTo>
                    <a:pt x="130" y="82"/>
                  </a:lnTo>
                  <a:lnTo>
                    <a:pt x="132" y="79"/>
                  </a:lnTo>
                  <a:lnTo>
                    <a:pt x="132" y="72"/>
                  </a:lnTo>
                  <a:lnTo>
                    <a:pt x="132" y="67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30" y="47"/>
                  </a:lnTo>
                  <a:lnTo>
                    <a:pt x="128" y="42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3"/>
                  </a:lnTo>
                  <a:lnTo>
                    <a:pt x="113" y="20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8" y="8"/>
                  </a:lnTo>
                  <a:lnTo>
                    <a:pt x="88" y="5"/>
                  </a:lnTo>
                  <a:lnTo>
                    <a:pt x="86" y="3"/>
                  </a:lnTo>
                  <a:lnTo>
                    <a:pt x="76" y="3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56" y="3"/>
                  </a:lnTo>
                  <a:lnTo>
                    <a:pt x="47" y="3"/>
                  </a:lnTo>
                  <a:lnTo>
                    <a:pt x="39" y="5"/>
                  </a:lnTo>
                  <a:lnTo>
                    <a:pt x="34" y="10"/>
                  </a:lnTo>
                  <a:lnTo>
                    <a:pt x="27" y="15"/>
                  </a:lnTo>
                  <a:lnTo>
                    <a:pt x="20" y="20"/>
                  </a:lnTo>
                  <a:lnTo>
                    <a:pt x="15" y="25"/>
                  </a:lnTo>
                  <a:lnTo>
                    <a:pt x="10" y="30"/>
                  </a:lnTo>
                  <a:lnTo>
                    <a:pt x="5" y="40"/>
                  </a:lnTo>
                  <a:lnTo>
                    <a:pt x="2" y="47"/>
                  </a:lnTo>
                  <a:lnTo>
                    <a:pt x="2" y="50"/>
                  </a:lnTo>
                  <a:lnTo>
                    <a:pt x="0" y="57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84"/>
                  </a:lnTo>
                  <a:lnTo>
                    <a:pt x="2" y="86"/>
                  </a:lnTo>
                  <a:lnTo>
                    <a:pt x="5" y="94"/>
                  </a:lnTo>
                  <a:lnTo>
                    <a:pt x="7" y="99"/>
                  </a:lnTo>
                  <a:lnTo>
                    <a:pt x="10" y="101"/>
                  </a:lnTo>
                  <a:lnTo>
                    <a:pt x="15" y="109"/>
                  </a:lnTo>
                  <a:lnTo>
                    <a:pt x="17" y="111"/>
                  </a:lnTo>
                  <a:lnTo>
                    <a:pt x="22" y="116"/>
                  </a:lnTo>
                  <a:lnTo>
                    <a:pt x="29" y="121"/>
                  </a:lnTo>
                  <a:lnTo>
                    <a:pt x="32" y="121"/>
                  </a:lnTo>
                  <a:lnTo>
                    <a:pt x="34" y="121"/>
                  </a:lnTo>
                  <a:lnTo>
                    <a:pt x="34" y="121"/>
                  </a:lnTo>
                  <a:lnTo>
                    <a:pt x="34" y="118"/>
                  </a:lnTo>
                  <a:lnTo>
                    <a:pt x="34" y="116"/>
                  </a:lnTo>
                  <a:lnTo>
                    <a:pt x="32" y="116"/>
                  </a:lnTo>
                  <a:lnTo>
                    <a:pt x="27" y="111"/>
                  </a:lnTo>
                  <a:lnTo>
                    <a:pt x="20" y="104"/>
                  </a:lnTo>
                  <a:lnTo>
                    <a:pt x="15" y="99"/>
                  </a:lnTo>
                  <a:lnTo>
                    <a:pt x="12" y="91"/>
                  </a:lnTo>
                  <a:lnTo>
                    <a:pt x="10" y="84"/>
                  </a:lnTo>
                  <a:lnTo>
                    <a:pt x="7" y="79"/>
                  </a:lnTo>
                  <a:lnTo>
                    <a:pt x="7" y="74"/>
                  </a:lnTo>
                  <a:lnTo>
                    <a:pt x="7" y="64"/>
                  </a:lnTo>
                  <a:lnTo>
                    <a:pt x="7" y="57"/>
                  </a:lnTo>
                  <a:lnTo>
                    <a:pt x="7" y="52"/>
                  </a:lnTo>
                  <a:lnTo>
                    <a:pt x="12" y="45"/>
                  </a:lnTo>
                  <a:lnTo>
                    <a:pt x="15" y="37"/>
                  </a:lnTo>
                  <a:lnTo>
                    <a:pt x="17" y="35"/>
                  </a:lnTo>
                  <a:lnTo>
                    <a:pt x="25" y="25"/>
                  </a:lnTo>
                  <a:lnTo>
                    <a:pt x="32" y="18"/>
                  </a:lnTo>
                  <a:lnTo>
                    <a:pt x="39" y="13"/>
                  </a:lnTo>
                  <a:lnTo>
                    <a:pt x="47" y="13"/>
                  </a:lnTo>
                  <a:lnTo>
                    <a:pt x="54" y="10"/>
                  </a:lnTo>
                  <a:lnTo>
                    <a:pt x="61" y="8"/>
                  </a:lnTo>
                  <a:lnTo>
                    <a:pt x="66" y="8"/>
                  </a:lnTo>
                  <a:lnTo>
                    <a:pt x="71" y="8"/>
                  </a:lnTo>
                  <a:lnTo>
                    <a:pt x="78" y="10"/>
                  </a:lnTo>
                  <a:lnTo>
                    <a:pt x="86" y="13"/>
                  </a:lnTo>
                  <a:lnTo>
                    <a:pt x="93" y="13"/>
                  </a:lnTo>
                  <a:lnTo>
                    <a:pt x="101" y="18"/>
                  </a:lnTo>
                  <a:lnTo>
                    <a:pt x="105" y="23"/>
                  </a:lnTo>
                  <a:lnTo>
                    <a:pt x="110" y="27"/>
                  </a:lnTo>
                  <a:lnTo>
                    <a:pt x="115" y="35"/>
                  </a:lnTo>
                  <a:lnTo>
                    <a:pt x="120" y="42"/>
                  </a:lnTo>
                  <a:lnTo>
                    <a:pt x="123" y="47"/>
                  </a:lnTo>
                  <a:lnTo>
                    <a:pt x="125" y="52"/>
                  </a:lnTo>
                  <a:lnTo>
                    <a:pt x="125" y="57"/>
                  </a:lnTo>
                  <a:lnTo>
                    <a:pt x="125" y="62"/>
                  </a:lnTo>
                  <a:lnTo>
                    <a:pt x="125" y="67"/>
                  </a:lnTo>
                  <a:lnTo>
                    <a:pt x="125" y="74"/>
                  </a:lnTo>
                  <a:lnTo>
                    <a:pt x="125" y="82"/>
                  </a:lnTo>
                  <a:lnTo>
                    <a:pt x="123" y="84"/>
                  </a:lnTo>
                  <a:lnTo>
                    <a:pt x="120" y="91"/>
                  </a:lnTo>
                  <a:lnTo>
                    <a:pt x="118" y="96"/>
                  </a:lnTo>
                  <a:lnTo>
                    <a:pt x="115" y="99"/>
                  </a:lnTo>
                  <a:lnTo>
                    <a:pt x="113" y="106"/>
                  </a:lnTo>
                  <a:lnTo>
                    <a:pt x="110" y="109"/>
                  </a:lnTo>
                  <a:lnTo>
                    <a:pt x="103" y="113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1" y="118"/>
                  </a:lnTo>
                  <a:lnTo>
                    <a:pt x="101" y="1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C9F32A79-5C4D-4895-97A7-9D1550224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" y="572"/>
              <a:ext cx="78" cy="64"/>
            </a:xfrm>
            <a:custGeom>
              <a:avLst/>
              <a:gdLst>
                <a:gd name="T0" fmla="*/ 64 w 78"/>
                <a:gd name="T1" fmla="*/ 64 h 64"/>
                <a:gd name="T2" fmla="*/ 66 w 78"/>
                <a:gd name="T3" fmla="*/ 64 h 64"/>
                <a:gd name="T4" fmla="*/ 74 w 78"/>
                <a:gd name="T5" fmla="*/ 54 h 64"/>
                <a:gd name="T6" fmla="*/ 78 w 78"/>
                <a:gd name="T7" fmla="*/ 40 h 64"/>
                <a:gd name="T8" fmla="*/ 76 w 78"/>
                <a:gd name="T9" fmla="*/ 30 h 64"/>
                <a:gd name="T10" fmla="*/ 71 w 78"/>
                <a:gd name="T11" fmla="*/ 18 h 64"/>
                <a:gd name="T12" fmla="*/ 61 w 78"/>
                <a:gd name="T13" fmla="*/ 8 h 64"/>
                <a:gd name="T14" fmla="*/ 44 w 78"/>
                <a:gd name="T15" fmla="*/ 0 h 64"/>
                <a:gd name="T16" fmla="*/ 34 w 78"/>
                <a:gd name="T17" fmla="*/ 0 h 64"/>
                <a:gd name="T18" fmla="*/ 20 w 78"/>
                <a:gd name="T19" fmla="*/ 5 h 64"/>
                <a:gd name="T20" fmla="*/ 15 w 78"/>
                <a:gd name="T21" fmla="*/ 8 h 64"/>
                <a:gd name="T22" fmla="*/ 7 w 78"/>
                <a:gd name="T23" fmla="*/ 18 h 64"/>
                <a:gd name="T24" fmla="*/ 2 w 78"/>
                <a:gd name="T25" fmla="*/ 32 h 64"/>
                <a:gd name="T26" fmla="*/ 2 w 78"/>
                <a:gd name="T27" fmla="*/ 42 h 64"/>
                <a:gd name="T28" fmla="*/ 5 w 78"/>
                <a:gd name="T29" fmla="*/ 54 h 64"/>
                <a:gd name="T30" fmla="*/ 12 w 78"/>
                <a:gd name="T31" fmla="*/ 64 h 64"/>
                <a:gd name="T32" fmla="*/ 17 w 78"/>
                <a:gd name="T33" fmla="*/ 64 h 64"/>
                <a:gd name="T34" fmla="*/ 17 w 78"/>
                <a:gd name="T35" fmla="*/ 62 h 64"/>
                <a:gd name="T36" fmla="*/ 17 w 78"/>
                <a:gd name="T37" fmla="*/ 59 h 64"/>
                <a:gd name="T38" fmla="*/ 12 w 78"/>
                <a:gd name="T39" fmla="*/ 52 h 64"/>
                <a:gd name="T40" fmla="*/ 10 w 78"/>
                <a:gd name="T41" fmla="*/ 45 h 64"/>
                <a:gd name="T42" fmla="*/ 7 w 78"/>
                <a:gd name="T43" fmla="*/ 35 h 64"/>
                <a:gd name="T44" fmla="*/ 10 w 78"/>
                <a:gd name="T45" fmla="*/ 30 h 64"/>
                <a:gd name="T46" fmla="*/ 12 w 78"/>
                <a:gd name="T47" fmla="*/ 23 h 64"/>
                <a:gd name="T48" fmla="*/ 20 w 78"/>
                <a:gd name="T49" fmla="*/ 15 h 64"/>
                <a:gd name="T50" fmla="*/ 27 w 78"/>
                <a:gd name="T51" fmla="*/ 10 h 64"/>
                <a:gd name="T52" fmla="*/ 37 w 78"/>
                <a:gd name="T53" fmla="*/ 8 h 64"/>
                <a:gd name="T54" fmla="*/ 42 w 78"/>
                <a:gd name="T55" fmla="*/ 8 h 64"/>
                <a:gd name="T56" fmla="*/ 51 w 78"/>
                <a:gd name="T57" fmla="*/ 10 h 64"/>
                <a:gd name="T58" fmla="*/ 59 w 78"/>
                <a:gd name="T59" fmla="*/ 13 h 64"/>
                <a:gd name="T60" fmla="*/ 66 w 78"/>
                <a:gd name="T61" fmla="*/ 23 h 64"/>
                <a:gd name="T62" fmla="*/ 69 w 78"/>
                <a:gd name="T63" fmla="*/ 27 h 64"/>
                <a:gd name="T64" fmla="*/ 71 w 78"/>
                <a:gd name="T65" fmla="*/ 35 h 64"/>
                <a:gd name="T66" fmla="*/ 71 w 78"/>
                <a:gd name="T67" fmla="*/ 40 h 64"/>
                <a:gd name="T68" fmla="*/ 69 w 78"/>
                <a:gd name="T69" fmla="*/ 50 h 64"/>
                <a:gd name="T70" fmla="*/ 64 w 78"/>
                <a:gd name="T71" fmla="*/ 57 h 64"/>
                <a:gd name="T72" fmla="*/ 61 w 78"/>
                <a:gd name="T73" fmla="*/ 62 h 64"/>
                <a:gd name="T74" fmla="*/ 61 w 78"/>
                <a:gd name="T7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64">
                  <a:moveTo>
                    <a:pt x="61" y="64"/>
                  </a:moveTo>
                  <a:lnTo>
                    <a:pt x="64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9" y="62"/>
                  </a:lnTo>
                  <a:lnTo>
                    <a:pt x="74" y="54"/>
                  </a:lnTo>
                  <a:lnTo>
                    <a:pt x="76" y="45"/>
                  </a:lnTo>
                  <a:lnTo>
                    <a:pt x="78" y="40"/>
                  </a:lnTo>
                  <a:lnTo>
                    <a:pt x="78" y="35"/>
                  </a:lnTo>
                  <a:lnTo>
                    <a:pt x="76" y="30"/>
                  </a:lnTo>
                  <a:lnTo>
                    <a:pt x="74" y="20"/>
                  </a:lnTo>
                  <a:lnTo>
                    <a:pt x="71" y="18"/>
                  </a:lnTo>
                  <a:lnTo>
                    <a:pt x="69" y="13"/>
                  </a:lnTo>
                  <a:lnTo>
                    <a:pt x="61" y="8"/>
                  </a:lnTo>
                  <a:lnTo>
                    <a:pt x="51" y="3"/>
                  </a:lnTo>
                  <a:lnTo>
                    <a:pt x="44" y="0"/>
                  </a:lnTo>
                  <a:lnTo>
                    <a:pt x="39" y="0"/>
                  </a:lnTo>
                  <a:lnTo>
                    <a:pt x="34" y="0"/>
                  </a:lnTo>
                  <a:lnTo>
                    <a:pt x="27" y="3"/>
                  </a:lnTo>
                  <a:lnTo>
                    <a:pt x="20" y="5"/>
                  </a:lnTo>
                  <a:lnTo>
                    <a:pt x="17" y="5"/>
                  </a:lnTo>
                  <a:lnTo>
                    <a:pt x="15" y="8"/>
                  </a:lnTo>
                  <a:lnTo>
                    <a:pt x="10" y="13"/>
                  </a:lnTo>
                  <a:lnTo>
                    <a:pt x="7" y="18"/>
                  </a:lnTo>
                  <a:lnTo>
                    <a:pt x="2" y="25"/>
                  </a:lnTo>
                  <a:lnTo>
                    <a:pt x="2" y="32"/>
                  </a:lnTo>
                  <a:lnTo>
                    <a:pt x="0" y="37"/>
                  </a:lnTo>
                  <a:lnTo>
                    <a:pt x="2" y="42"/>
                  </a:lnTo>
                  <a:lnTo>
                    <a:pt x="2" y="50"/>
                  </a:lnTo>
                  <a:lnTo>
                    <a:pt x="5" y="54"/>
                  </a:lnTo>
                  <a:lnTo>
                    <a:pt x="7" y="59"/>
                  </a:lnTo>
                  <a:lnTo>
                    <a:pt x="12" y="64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59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0" y="47"/>
                  </a:lnTo>
                  <a:lnTo>
                    <a:pt x="10" y="45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10" y="32"/>
                  </a:lnTo>
                  <a:lnTo>
                    <a:pt x="10" y="30"/>
                  </a:lnTo>
                  <a:lnTo>
                    <a:pt x="10" y="25"/>
                  </a:lnTo>
                  <a:lnTo>
                    <a:pt x="12" y="23"/>
                  </a:lnTo>
                  <a:lnTo>
                    <a:pt x="15" y="18"/>
                  </a:lnTo>
                  <a:lnTo>
                    <a:pt x="20" y="15"/>
                  </a:lnTo>
                  <a:lnTo>
                    <a:pt x="25" y="10"/>
                  </a:lnTo>
                  <a:lnTo>
                    <a:pt x="27" y="10"/>
                  </a:lnTo>
                  <a:lnTo>
                    <a:pt x="32" y="8"/>
                  </a:lnTo>
                  <a:lnTo>
                    <a:pt x="37" y="8"/>
                  </a:lnTo>
                  <a:lnTo>
                    <a:pt x="39" y="8"/>
                  </a:lnTo>
                  <a:lnTo>
                    <a:pt x="42" y="8"/>
                  </a:lnTo>
                  <a:lnTo>
                    <a:pt x="47" y="8"/>
                  </a:lnTo>
                  <a:lnTo>
                    <a:pt x="51" y="10"/>
                  </a:lnTo>
                  <a:lnTo>
                    <a:pt x="54" y="10"/>
                  </a:lnTo>
                  <a:lnTo>
                    <a:pt x="59" y="13"/>
                  </a:lnTo>
                  <a:lnTo>
                    <a:pt x="64" y="18"/>
                  </a:lnTo>
                  <a:lnTo>
                    <a:pt x="66" y="23"/>
                  </a:lnTo>
                  <a:lnTo>
                    <a:pt x="69" y="25"/>
                  </a:lnTo>
                  <a:lnTo>
                    <a:pt x="69" y="27"/>
                  </a:lnTo>
                  <a:lnTo>
                    <a:pt x="69" y="32"/>
                  </a:lnTo>
                  <a:lnTo>
                    <a:pt x="71" y="35"/>
                  </a:lnTo>
                  <a:lnTo>
                    <a:pt x="71" y="37"/>
                  </a:lnTo>
                  <a:lnTo>
                    <a:pt x="71" y="40"/>
                  </a:lnTo>
                  <a:lnTo>
                    <a:pt x="69" y="45"/>
                  </a:lnTo>
                  <a:lnTo>
                    <a:pt x="69" y="50"/>
                  </a:lnTo>
                  <a:lnTo>
                    <a:pt x="66" y="54"/>
                  </a:lnTo>
                  <a:lnTo>
                    <a:pt x="64" y="57"/>
                  </a:lnTo>
                  <a:lnTo>
                    <a:pt x="61" y="59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8A870799-A954-4DB4-9F1A-A6154FEDBA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305595"/>
            <a:ext cx="841375" cy="841375"/>
            <a:chOff x="218" y="264"/>
            <a:chExt cx="530" cy="530"/>
          </a:xfrm>
        </p:grpSpPr>
        <p:sp>
          <p:nvSpPr>
            <p:cNvPr id="15" name="AutoShape 11">
              <a:extLst>
                <a:ext uri="{FF2B5EF4-FFF2-40B4-BE49-F238E27FC236}">
                  <a16:creationId xmlns:a16="http://schemas.microsoft.com/office/drawing/2014/main" id="{1E7268D2-D8A4-47E2-8512-E2B67DDD7B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8" y="26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3">
              <a:extLst>
                <a:ext uri="{FF2B5EF4-FFF2-40B4-BE49-F238E27FC236}">
                  <a16:creationId xmlns:a16="http://schemas.microsoft.com/office/drawing/2014/main" id="{53FF72C6-0F69-4A52-AA4B-C34E0503D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" y="267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8EDD362A-2235-4098-90E0-C7656EAEA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" y="283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2096012D-DDFF-4998-BC3A-5ECEFF86D4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" y="498"/>
              <a:ext cx="131" cy="163"/>
            </a:xfrm>
            <a:custGeom>
              <a:avLst/>
              <a:gdLst>
                <a:gd name="T0" fmla="*/ 22 w 131"/>
                <a:gd name="T1" fmla="*/ 128 h 163"/>
                <a:gd name="T2" fmla="*/ 55 w 131"/>
                <a:gd name="T3" fmla="*/ 133 h 163"/>
                <a:gd name="T4" fmla="*/ 11 w 131"/>
                <a:gd name="T5" fmla="*/ 152 h 163"/>
                <a:gd name="T6" fmla="*/ 22 w 131"/>
                <a:gd name="T7" fmla="*/ 128 h 163"/>
                <a:gd name="T8" fmla="*/ 65 w 131"/>
                <a:gd name="T9" fmla="*/ 92 h 163"/>
                <a:gd name="T10" fmla="*/ 101 w 131"/>
                <a:gd name="T11" fmla="*/ 119 h 163"/>
                <a:gd name="T12" fmla="*/ 68 w 131"/>
                <a:gd name="T13" fmla="*/ 128 h 163"/>
                <a:gd name="T14" fmla="*/ 30 w 131"/>
                <a:gd name="T15" fmla="*/ 122 h 163"/>
                <a:gd name="T16" fmla="*/ 65 w 131"/>
                <a:gd name="T17" fmla="*/ 92 h 163"/>
                <a:gd name="T18" fmla="*/ 46 w 131"/>
                <a:gd name="T19" fmla="*/ 79 h 163"/>
                <a:gd name="T20" fmla="*/ 60 w 131"/>
                <a:gd name="T21" fmla="*/ 89 h 163"/>
                <a:gd name="T22" fmla="*/ 30 w 131"/>
                <a:gd name="T23" fmla="*/ 111 h 163"/>
                <a:gd name="T24" fmla="*/ 46 w 131"/>
                <a:gd name="T25" fmla="*/ 79 h 163"/>
                <a:gd name="T26" fmla="*/ 65 w 131"/>
                <a:gd name="T27" fmla="*/ 38 h 163"/>
                <a:gd name="T28" fmla="*/ 82 w 131"/>
                <a:gd name="T29" fmla="*/ 70 h 163"/>
                <a:gd name="T30" fmla="*/ 65 w 131"/>
                <a:gd name="T31" fmla="*/ 84 h 163"/>
                <a:gd name="T32" fmla="*/ 49 w 131"/>
                <a:gd name="T33" fmla="*/ 70 h 163"/>
                <a:gd name="T34" fmla="*/ 65 w 131"/>
                <a:gd name="T35" fmla="*/ 38 h 163"/>
                <a:gd name="T36" fmla="*/ 101 w 131"/>
                <a:gd name="T37" fmla="*/ 111 h 163"/>
                <a:gd name="T38" fmla="*/ 71 w 131"/>
                <a:gd name="T39" fmla="*/ 89 h 163"/>
                <a:gd name="T40" fmla="*/ 84 w 131"/>
                <a:gd name="T41" fmla="*/ 79 h 163"/>
                <a:gd name="T42" fmla="*/ 101 w 131"/>
                <a:gd name="T43" fmla="*/ 111 h 163"/>
                <a:gd name="T44" fmla="*/ 120 w 131"/>
                <a:gd name="T45" fmla="*/ 152 h 163"/>
                <a:gd name="T46" fmla="*/ 79 w 131"/>
                <a:gd name="T47" fmla="*/ 133 h 163"/>
                <a:gd name="T48" fmla="*/ 106 w 131"/>
                <a:gd name="T49" fmla="*/ 125 h 163"/>
                <a:gd name="T50" fmla="*/ 120 w 131"/>
                <a:gd name="T51" fmla="*/ 152 h 163"/>
                <a:gd name="T52" fmla="*/ 6 w 131"/>
                <a:gd name="T53" fmla="*/ 163 h 163"/>
                <a:gd name="T54" fmla="*/ 68 w 131"/>
                <a:gd name="T55" fmla="*/ 136 h 163"/>
                <a:gd name="T56" fmla="*/ 68 w 131"/>
                <a:gd name="T57" fmla="*/ 136 h 163"/>
                <a:gd name="T58" fmla="*/ 125 w 131"/>
                <a:gd name="T59" fmla="*/ 163 h 163"/>
                <a:gd name="T60" fmla="*/ 128 w 131"/>
                <a:gd name="T61" fmla="*/ 163 h 163"/>
                <a:gd name="T62" fmla="*/ 128 w 131"/>
                <a:gd name="T63" fmla="*/ 160 h 163"/>
                <a:gd name="T64" fmla="*/ 131 w 131"/>
                <a:gd name="T65" fmla="*/ 160 h 163"/>
                <a:gd name="T66" fmla="*/ 131 w 131"/>
                <a:gd name="T67" fmla="*/ 157 h 163"/>
                <a:gd name="T68" fmla="*/ 131 w 131"/>
                <a:gd name="T69" fmla="*/ 157 h 163"/>
                <a:gd name="T70" fmla="*/ 68 w 131"/>
                <a:gd name="T71" fmla="*/ 30 h 163"/>
                <a:gd name="T72" fmla="*/ 68 w 131"/>
                <a:gd name="T73" fmla="*/ 2 h 163"/>
                <a:gd name="T74" fmla="*/ 68 w 131"/>
                <a:gd name="T75" fmla="*/ 0 h 163"/>
                <a:gd name="T76" fmla="*/ 65 w 131"/>
                <a:gd name="T77" fmla="*/ 0 h 163"/>
                <a:gd name="T78" fmla="*/ 65 w 131"/>
                <a:gd name="T79" fmla="*/ 0 h 163"/>
                <a:gd name="T80" fmla="*/ 63 w 131"/>
                <a:gd name="T81" fmla="*/ 0 h 163"/>
                <a:gd name="T82" fmla="*/ 63 w 131"/>
                <a:gd name="T83" fmla="*/ 2 h 163"/>
                <a:gd name="T84" fmla="*/ 63 w 131"/>
                <a:gd name="T85" fmla="*/ 30 h 163"/>
                <a:gd name="T86" fmla="*/ 0 w 131"/>
                <a:gd name="T87" fmla="*/ 157 h 163"/>
                <a:gd name="T88" fmla="*/ 0 w 131"/>
                <a:gd name="T89" fmla="*/ 160 h 163"/>
                <a:gd name="T90" fmla="*/ 3 w 131"/>
                <a:gd name="T91" fmla="*/ 163 h 163"/>
                <a:gd name="T92" fmla="*/ 6 w 131"/>
                <a:gd name="T93" fmla="*/ 163 h 163"/>
                <a:gd name="T94" fmla="*/ 6 w 131"/>
                <a:gd name="T9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1" h="163">
                  <a:moveTo>
                    <a:pt x="22" y="128"/>
                  </a:moveTo>
                  <a:lnTo>
                    <a:pt x="55" y="133"/>
                  </a:lnTo>
                  <a:lnTo>
                    <a:pt x="11" y="152"/>
                  </a:lnTo>
                  <a:lnTo>
                    <a:pt x="22" y="128"/>
                  </a:lnTo>
                  <a:close/>
                  <a:moveTo>
                    <a:pt x="65" y="92"/>
                  </a:moveTo>
                  <a:lnTo>
                    <a:pt x="101" y="119"/>
                  </a:lnTo>
                  <a:lnTo>
                    <a:pt x="68" y="128"/>
                  </a:lnTo>
                  <a:lnTo>
                    <a:pt x="30" y="122"/>
                  </a:lnTo>
                  <a:lnTo>
                    <a:pt x="65" y="92"/>
                  </a:lnTo>
                  <a:close/>
                  <a:moveTo>
                    <a:pt x="46" y="79"/>
                  </a:moveTo>
                  <a:lnTo>
                    <a:pt x="60" y="89"/>
                  </a:lnTo>
                  <a:lnTo>
                    <a:pt x="30" y="111"/>
                  </a:lnTo>
                  <a:lnTo>
                    <a:pt x="46" y="79"/>
                  </a:lnTo>
                  <a:close/>
                  <a:moveTo>
                    <a:pt x="65" y="38"/>
                  </a:moveTo>
                  <a:lnTo>
                    <a:pt x="82" y="70"/>
                  </a:lnTo>
                  <a:lnTo>
                    <a:pt x="65" y="84"/>
                  </a:lnTo>
                  <a:lnTo>
                    <a:pt x="49" y="70"/>
                  </a:lnTo>
                  <a:lnTo>
                    <a:pt x="65" y="38"/>
                  </a:lnTo>
                  <a:close/>
                  <a:moveTo>
                    <a:pt x="101" y="111"/>
                  </a:moveTo>
                  <a:lnTo>
                    <a:pt x="71" y="89"/>
                  </a:lnTo>
                  <a:lnTo>
                    <a:pt x="84" y="79"/>
                  </a:lnTo>
                  <a:lnTo>
                    <a:pt x="101" y="111"/>
                  </a:lnTo>
                  <a:close/>
                  <a:moveTo>
                    <a:pt x="120" y="152"/>
                  </a:moveTo>
                  <a:lnTo>
                    <a:pt x="79" y="133"/>
                  </a:lnTo>
                  <a:lnTo>
                    <a:pt x="106" y="125"/>
                  </a:lnTo>
                  <a:lnTo>
                    <a:pt x="120" y="152"/>
                  </a:lnTo>
                  <a:close/>
                  <a:moveTo>
                    <a:pt x="6" y="163"/>
                  </a:moveTo>
                  <a:lnTo>
                    <a:pt x="68" y="136"/>
                  </a:lnTo>
                  <a:lnTo>
                    <a:pt x="68" y="136"/>
                  </a:lnTo>
                  <a:lnTo>
                    <a:pt x="125" y="163"/>
                  </a:lnTo>
                  <a:lnTo>
                    <a:pt x="128" y="163"/>
                  </a:lnTo>
                  <a:lnTo>
                    <a:pt x="128" y="160"/>
                  </a:lnTo>
                  <a:lnTo>
                    <a:pt x="131" y="160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68" y="30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3" y="30"/>
                  </a:lnTo>
                  <a:lnTo>
                    <a:pt x="0" y="157"/>
                  </a:lnTo>
                  <a:lnTo>
                    <a:pt x="0" y="160"/>
                  </a:lnTo>
                  <a:lnTo>
                    <a:pt x="3" y="163"/>
                  </a:lnTo>
                  <a:lnTo>
                    <a:pt x="6" y="163"/>
                  </a:lnTo>
                  <a:lnTo>
                    <a:pt x="6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4BAC2A21-5768-4BA9-A1B5-8200FFBD4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" y="397"/>
              <a:ext cx="201" cy="188"/>
            </a:xfrm>
            <a:custGeom>
              <a:avLst/>
              <a:gdLst>
                <a:gd name="T0" fmla="*/ 201 w 201"/>
                <a:gd name="T1" fmla="*/ 90 h 188"/>
                <a:gd name="T2" fmla="*/ 196 w 201"/>
                <a:gd name="T3" fmla="*/ 65 h 188"/>
                <a:gd name="T4" fmla="*/ 182 w 201"/>
                <a:gd name="T5" fmla="*/ 41 h 188"/>
                <a:gd name="T6" fmla="*/ 157 w 201"/>
                <a:gd name="T7" fmla="*/ 19 h 188"/>
                <a:gd name="T8" fmla="*/ 136 w 201"/>
                <a:gd name="T9" fmla="*/ 6 h 188"/>
                <a:gd name="T10" fmla="*/ 111 w 201"/>
                <a:gd name="T11" fmla="*/ 0 h 188"/>
                <a:gd name="T12" fmla="*/ 79 w 201"/>
                <a:gd name="T13" fmla="*/ 3 h 188"/>
                <a:gd name="T14" fmla="*/ 57 w 201"/>
                <a:gd name="T15" fmla="*/ 11 h 188"/>
                <a:gd name="T16" fmla="*/ 35 w 201"/>
                <a:gd name="T17" fmla="*/ 25 h 188"/>
                <a:gd name="T18" fmla="*/ 19 w 201"/>
                <a:gd name="T19" fmla="*/ 41 h 188"/>
                <a:gd name="T20" fmla="*/ 8 w 201"/>
                <a:gd name="T21" fmla="*/ 57 h 188"/>
                <a:gd name="T22" fmla="*/ 3 w 201"/>
                <a:gd name="T23" fmla="*/ 82 h 188"/>
                <a:gd name="T24" fmla="*/ 0 w 201"/>
                <a:gd name="T25" fmla="*/ 101 h 188"/>
                <a:gd name="T26" fmla="*/ 5 w 201"/>
                <a:gd name="T27" fmla="*/ 133 h 188"/>
                <a:gd name="T28" fmla="*/ 13 w 201"/>
                <a:gd name="T29" fmla="*/ 152 h 188"/>
                <a:gd name="T30" fmla="*/ 35 w 201"/>
                <a:gd name="T31" fmla="*/ 177 h 188"/>
                <a:gd name="T32" fmla="*/ 54 w 201"/>
                <a:gd name="T33" fmla="*/ 185 h 188"/>
                <a:gd name="T34" fmla="*/ 54 w 201"/>
                <a:gd name="T35" fmla="*/ 180 h 188"/>
                <a:gd name="T36" fmla="*/ 30 w 201"/>
                <a:gd name="T37" fmla="*/ 161 h 188"/>
                <a:gd name="T38" fmla="*/ 13 w 201"/>
                <a:gd name="T39" fmla="*/ 133 h 188"/>
                <a:gd name="T40" fmla="*/ 8 w 201"/>
                <a:gd name="T41" fmla="*/ 103 h 188"/>
                <a:gd name="T42" fmla="*/ 8 w 201"/>
                <a:gd name="T43" fmla="*/ 82 h 188"/>
                <a:gd name="T44" fmla="*/ 13 w 201"/>
                <a:gd name="T45" fmla="*/ 65 h 188"/>
                <a:gd name="T46" fmla="*/ 27 w 201"/>
                <a:gd name="T47" fmla="*/ 41 h 188"/>
                <a:gd name="T48" fmla="*/ 49 w 201"/>
                <a:gd name="T49" fmla="*/ 25 h 188"/>
                <a:gd name="T50" fmla="*/ 73 w 201"/>
                <a:gd name="T51" fmla="*/ 14 h 188"/>
                <a:gd name="T52" fmla="*/ 95 w 201"/>
                <a:gd name="T53" fmla="*/ 8 h 188"/>
                <a:gd name="T54" fmla="*/ 114 w 201"/>
                <a:gd name="T55" fmla="*/ 8 h 188"/>
                <a:gd name="T56" fmla="*/ 136 w 201"/>
                <a:gd name="T57" fmla="*/ 16 h 188"/>
                <a:gd name="T58" fmla="*/ 157 w 201"/>
                <a:gd name="T59" fmla="*/ 27 h 188"/>
                <a:gd name="T60" fmla="*/ 174 w 201"/>
                <a:gd name="T61" fmla="*/ 41 h 188"/>
                <a:gd name="T62" fmla="*/ 185 w 201"/>
                <a:gd name="T63" fmla="*/ 60 h 188"/>
                <a:gd name="T64" fmla="*/ 193 w 201"/>
                <a:gd name="T65" fmla="*/ 90 h 188"/>
                <a:gd name="T66" fmla="*/ 193 w 201"/>
                <a:gd name="T67" fmla="*/ 117 h 188"/>
                <a:gd name="T68" fmla="*/ 185 w 201"/>
                <a:gd name="T69" fmla="*/ 139 h 188"/>
                <a:gd name="T70" fmla="*/ 174 w 201"/>
                <a:gd name="T71" fmla="*/ 158 h 188"/>
                <a:gd name="T72" fmla="*/ 152 w 201"/>
                <a:gd name="T73" fmla="*/ 177 h 188"/>
                <a:gd name="T74" fmla="*/ 152 w 201"/>
                <a:gd name="T75" fmla="*/ 182 h 188"/>
                <a:gd name="T76" fmla="*/ 157 w 201"/>
                <a:gd name="T77" fmla="*/ 182 h 188"/>
                <a:gd name="T78" fmla="*/ 171 w 201"/>
                <a:gd name="T79" fmla="*/ 171 h 188"/>
                <a:gd name="T80" fmla="*/ 185 w 201"/>
                <a:gd name="T81" fmla="*/ 155 h 188"/>
                <a:gd name="T82" fmla="*/ 196 w 201"/>
                <a:gd name="T83" fmla="*/ 133 h 188"/>
                <a:gd name="T84" fmla="*/ 201 w 201"/>
                <a:gd name="T85" fmla="*/ 10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" h="188">
                  <a:moveTo>
                    <a:pt x="201" y="103"/>
                  </a:moveTo>
                  <a:lnTo>
                    <a:pt x="201" y="95"/>
                  </a:lnTo>
                  <a:lnTo>
                    <a:pt x="201" y="90"/>
                  </a:lnTo>
                  <a:lnTo>
                    <a:pt x="198" y="79"/>
                  </a:lnTo>
                  <a:lnTo>
                    <a:pt x="198" y="76"/>
                  </a:lnTo>
                  <a:lnTo>
                    <a:pt x="196" y="65"/>
                  </a:lnTo>
                  <a:lnTo>
                    <a:pt x="190" y="57"/>
                  </a:lnTo>
                  <a:lnTo>
                    <a:pt x="187" y="49"/>
                  </a:lnTo>
                  <a:lnTo>
                    <a:pt x="182" y="41"/>
                  </a:lnTo>
                  <a:lnTo>
                    <a:pt x="176" y="33"/>
                  </a:lnTo>
                  <a:lnTo>
                    <a:pt x="166" y="25"/>
                  </a:lnTo>
                  <a:lnTo>
                    <a:pt x="157" y="19"/>
                  </a:lnTo>
                  <a:lnTo>
                    <a:pt x="152" y="16"/>
                  </a:lnTo>
                  <a:lnTo>
                    <a:pt x="144" y="11"/>
                  </a:lnTo>
                  <a:lnTo>
                    <a:pt x="136" y="6"/>
                  </a:lnTo>
                  <a:lnTo>
                    <a:pt x="125" y="3"/>
                  </a:lnTo>
                  <a:lnTo>
                    <a:pt x="119" y="3"/>
                  </a:lnTo>
                  <a:lnTo>
                    <a:pt x="111" y="0"/>
                  </a:lnTo>
                  <a:lnTo>
                    <a:pt x="100" y="0"/>
                  </a:lnTo>
                  <a:lnTo>
                    <a:pt x="90" y="0"/>
                  </a:lnTo>
                  <a:lnTo>
                    <a:pt x="79" y="3"/>
                  </a:lnTo>
                  <a:lnTo>
                    <a:pt x="76" y="3"/>
                  </a:lnTo>
                  <a:lnTo>
                    <a:pt x="65" y="8"/>
                  </a:lnTo>
                  <a:lnTo>
                    <a:pt x="57" y="11"/>
                  </a:lnTo>
                  <a:lnTo>
                    <a:pt x="49" y="16"/>
                  </a:lnTo>
                  <a:lnTo>
                    <a:pt x="41" y="22"/>
                  </a:lnTo>
                  <a:lnTo>
                    <a:pt x="35" y="25"/>
                  </a:lnTo>
                  <a:lnTo>
                    <a:pt x="30" y="30"/>
                  </a:lnTo>
                  <a:lnTo>
                    <a:pt x="24" y="33"/>
                  </a:lnTo>
                  <a:lnTo>
                    <a:pt x="19" y="41"/>
                  </a:lnTo>
                  <a:lnTo>
                    <a:pt x="16" y="44"/>
                  </a:lnTo>
                  <a:lnTo>
                    <a:pt x="11" y="52"/>
                  </a:lnTo>
                  <a:lnTo>
                    <a:pt x="8" y="57"/>
                  </a:lnTo>
                  <a:lnTo>
                    <a:pt x="5" y="65"/>
                  </a:lnTo>
                  <a:lnTo>
                    <a:pt x="5" y="71"/>
                  </a:lnTo>
                  <a:lnTo>
                    <a:pt x="3" y="82"/>
                  </a:lnTo>
                  <a:lnTo>
                    <a:pt x="0" y="84"/>
                  </a:lnTo>
                  <a:lnTo>
                    <a:pt x="0" y="95"/>
                  </a:lnTo>
                  <a:lnTo>
                    <a:pt x="0" y="101"/>
                  </a:lnTo>
                  <a:lnTo>
                    <a:pt x="0" y="114"/>
                  </a:lnTo>
                  <a:lnTo>
                    <a:pt x="3" y="123"/>
                  </a:lnTo>
                  <a:lnTo>
                    <a:pt x="5" y="133"/>
                  </a:lnTo>
                  <a:lnTo>
                    <a:pt x="11" y="144"/>
                  </a:lnTo>
                  <a:lnTo>
                    <a:pt x="11" y="147"/>
                  </a:lnTo>
                  <a:lnTo>
                    <a:pt x="13" y="152"/>
                  </a:lnTo>
                  <a:lnTo>
                    <a:pt x="19" y="161"/>
                  </a:lnTo>
                  <a:lnTo>
                    <a:pt x="27" y="169"/>
                  </a:lnTo>
                  <a:lnTo>
                    <a:pt x="35" y="177"/>
                  </a:lnTo>
                  <a:lnTo>
                    <a:pt x="41" y="182"/>
                  </a:lnTo>
                  <a:lnTo>
                    <a:pt x="51" y="188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43" y="174"/>
                  </a:lnTo>
                  <a:lnTo>
                    <a:pt x="35" y="169"/>
                  </a:lnTo>
                  <a:lnTo>
                    <a:pt x="30" y="161"/>
                  </a:lnTo>
                  <a:lnTo>
                    <a:pt x="22" y="152"/>
                  </a:lnTo>
                  <a:lnTo>
                    <a:pt x="16" y="142"/>
                  </a:lnTo>
                  <a:lnTo>
                    <a:pt x="13" y="133"/>
                  </a:lnTo>
                  <a:lnTo>
                    <a:pt x="8" y="123"/>
                  </a:lnTo>
                  <a:lnTo>
                    <a:pt x="8" y="112"/>
                  </a:lnTo>
                  <a:lnTo>
                    <a:pt x="8" y="103"/>
                  </a:lnTo>
                  <a:lnTo>
                    <a:pt x="8" y="95"/>
                  </a:lnTo>
                  <a:lnTo>
                    <a:pt x="8" y="87"/>
                  </a:lnTo>
                  <a:lnTo>
                    <a:pt x="8" y="82"/>
                  </a:lnTo>
                  <a:lnTo>
                    <a:pt x="11" y="76"/>
                  </a:lnTo>
                  <a:lnTo>
                    <a:pt x="13" y="68"/>
                  </a:lnTo>
                  <a:lnTo>
                    <a:pt x="13" y="65"/>
                  </a:lnTo>
                  <a:lnTo>
                    <a:pt x="19" y="57"/>
                  </a:lnTo>
                  <a:lnTo>
                    <a:pt x="22" y="49"/>
                  </a:lnTo>
                  <a:lnTo>
                    <a:pt x="27" y="41"/>
                  </a:lnTo>
                  <a:lnTo>
                    <a:pt x="35" y="36"/>
                  </a:lnTo>
                  <a:lnTo>
                    <a:pt x="41" y="30"/>
                  </a:lnTo>
                  <a:lnTo>
                    <a:pt x="49" y="25"/>
                  </a:lnTo>
                  <a:lnTo>
                    <a:pt x="57" y="19"/>
                  </a:lnTo>
                  <a:lnTo>
                    <a:pt x="65" y="16"/>
                  </a:lnTo>
                  <a:lnTo>
                    <a:pt x="73" y="14"/>
                  </a:lnTo>
                  <a:lnTo>
                    <a:pt x="76" y="11"/>
                  </a:lnTo>
                  <a:lnTo>
                    <a:pt x="87" y="8"/>
                  </a:lnTo>
                  <a:lnTo>
                    <a:pt x="95" y="8"/>
                  </a:lnTo>
                  <a:lnTo>
                    <a:pt x="100" y="8"/>
                  </a:lnTo>
                  <a:lnTo>
                    <a:pt x="106" y="8"/>
                  </a:lnTo>
                  <a:lnTo>
                    <a:pt x="114" y="8"/>
                  </a:lnTo>
                  <a:lnTo>
                    <a:pt x="125" y="11"/>
                  </a:lnTo>
                  <a:lnTo>
                    <a:pt x="133" y="14"/>
                  </a:lnTo>
                  <a:lnTo>
                    <a:pt x="136" y="16"/>
                  </a:lnTo>
                  <a:lnTo>
                    <a:pt x="144" y="19"/>
                  </a:lnTo>
                  <a:lnTo>
                    <a:pt x="149" y="22"/>
                  </a:lnTo>
                  <a:lnTo>
                    <a:pt x="157" y="27"/>
                  </a:lnTo>
                  <a:lnTo>
                    <a:pt x="160" y="30"/>
                  </a:lnTo>
                  <a:lnTo>
                    <a:pt x="163" y="33"/>
                  </a:lnTo>
                  <a:lnTo>
                    <a:pt x="174" y="41"/>
                  </a:lnTo>
                  <a:lnTo>
                    <a:pt x="179" y="49"/>
                  </a:lnTo>
                  <a:lnTo>
                    <a:pt x="179" y="52"/>
                  </a:lnTo>
                  <a:lnTo>
                    <a:pt x="185" y="60"/>
                  </a:lnTo>
                  <a:lnTo>
                    <a:pt x="187" y="68"/>
                  </a:lnTo>
                  <a:lnTo>
                    <a:pt x="190" y="76"/>
                  </a:lnTo>
                  <a:lnTo>
                    <a:pt x="193" y="90"/>
                  </a:lnTo>
                  <a:lnTo>
                    <a:pt x="193" y="101"/>
                  </a:lnTo>
                  <a:lnTo>
                    <a:pt x="193" y="106"/>
                  </a:lnTo>
                  <a:lnTo>
                    <a:pt x="193" y="117"/>
                  </a:lnTo>
                  <a:lnTo>
                    <a:pt x="190" y="123"/>
                  </a:lnTo>
                  <a:lnTo>
                    <a:pt x="190" y="128"/>
                  </a:lnTo>
                  <a:lnTo>
                    <a:pt x="185" y="139"/>
                  </a:lnTo>
                  <a:lnTo>
                    <a:pt x="182" y="144"/>
                  </a:lnTo>
                  <a:lnTo>
                    <a:pt x="176" y="152"/>
                  </a:lnTo>
                  <a:lnTo>
                    <a:pt x="174" y="158"/>
                  </a:lnTo>
                  <a:lnTo>
                    <a:pt x="166" y="166"/>
                  </a:lnTo>
                  <a:lnTo>
                    <a:pt x="157" y="174"/>
                  </a:lnTo>
                  <a:lnTo>
                    <a:pt x="152" y="177"/>
                  </a:lnTo>
                  <a:lnTo>
                    <a:pt x="152" y="180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66" y="174"/>
                  </a:lnTo>
                  <a:lnTo>
                    <a:pt x="168" y="174"/>
                  </a:lnTo>
                  <a:lnTo>
                    <a:pt x="171" y="171"/>
                  </a:lnTo>
                  <a:lnTo>
                    <a:pt x="174" y="169"/>
                  </a:lnTo>
                  <a:lnTo>
                    <a:pt x="185" y="158"/>
                  </a:lnTo>
                  <a:lnTo>
                    <a:pt x="185" y="155"/>
                  </a:lnTo>
                  <a:lnTo>
                    <a:pt x="187" y="152"/>
                  </a:lnTo>
                  <a:lnTo>
                    <a:pt x="193" y="139"/>
                  </a:lnTo>
                  <a:lnTo>
                    <a:pt x="196" y="133"/>
                  </a:lnTo>
                  <a:lnTo>
                    <a:pt x="198" y="123"/>
                  </a:lnTo>
                  <a:lnTo>
                    <a:pt x="201" y="112"/>
                  </a:lnTo>
                  <a:lnTo>
                    <a:pt x="201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F8DE27FB-A287-4B35-9499-00DAB2021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" y="430"/>
              <a:ext cx="136" cy="125"/>
            </a:xfrm>
            <a:custGeom>
              <a:avLst/>
              <a:gdLst>
                <a:gd name="T0" fmla="*/ 106 w 136"/>
                <a:gd name="T1" fmla="*/ 122 h 125"/>
                <a:gd name="T2" fmla="*/ 109 w 136"/>
                <a:gd name="T3" fmla="*/ 122 h 125"/>
                <a:gd name="T4" fmla="*/ 117 w 136"/>
                <a:gd name="T5" fmla="*/ 114 h 125"/>
                <a:gd name="T6" fmla="*/ 125 w 136"/>
                <a:gd name="T7" fmla="*/ 106 h 125"/>
                <a:gd name="T8" fmla="*/ 131 w 136"/>
                <a:gd name="T9" fmla="*/ 98 h 125"/>
                <a:gd name="T10" fmla="*/ 136 w 136"/>
                <a:gd name="T11" fmla="*/ 84 h 125"/>
                <a:gd name="T12" fmla="*/ 136 w 136"/>
                <a:gd name="T13" fmla="*/ 70 h 125"/>
                <a:gd name="T14" fmla="*/ 136 w 136"/>
                <a:gd name="T15" fmla="*/ 60 h 125"/>
                <a:gd name="T16" fmla="*/ 134 w 136"/>
                <a:gd name="T17" fmla="*/ 46 h 125"/>
                <a:gd name="T18" fmla="*/ 128 w 136"/>
                <a:gd name="T19" fmla="*/ 35 h 125"/>
                <a:gd name="T20" fmla="*/ 120 w 136"/>
                <a:gd name="T21" fmla="*/ 22 h 125"/>
                <a:gd name="T22" fmla="*/ 112 w 136"/>
                <a:gd name="T23" fmla="*/ 16 h 125"/>
                <a:gd name="T24" fmla="*/ 101 w 136"/>
                <a:gd name="T25" fmla="*/ 8 h 125"/>
                <a:gd name="T26" fmla="*/ 90 w 136"/>
                <a:gd name="T27" fmla="*/ 3 h 125"/>
                <a:gd name="T28" fmla="*/ 77 w 136"/>
                <a:gd name="T29" fmla="*/ 0 h 125"/>
                <a:gd name="T30" fmla="*/ 66 w 136"/>
                <a:gd name="T31" fmla="*/ 0 h 125"/>
                <a:gd name="T32" fmla="*/ 58 w 136"/>
                <a:gd name="T33" fmla="*/ 0 h 125"/>
                <a:gd name="T34" fmla="*/ 41 w 136"/>
                <a:gd name="T35" fmla="*/ 5 h 125"/>
                <a:gd name="T36" fmla="*/ 28 w 136"/>
                <a:gd name="T37" fmla="*/ 13 h 125"/>
                <a:gd name="T38" fmla="*/ 14 w 136"/>
                <a:gd name="T39" fmla="*/ 24 h 125"/>
                <a:gd name="T40" fmla="*/ 6 w 136"/>
                <a:gd name="T41" fmla="*/ 38 h 125"/>
                <a:gd name="T42" fmla="*/ 0 w 136"/>
                <a:gd name="T43" fmla="*/ 51 h 125"/>
                <a:gd name="T44" fmla="*/ 0 w 136"/>
                <a:gd name="T45" fmla="*/ 65 h 125"/>
                <a:gd name="T46" fmla="*/ 0 w 136"/>
                <a:gd name="T47" fmla="*/ 76 h 125"/>
                <a:gd name="T48" fmla="*/ 3 w 136"/>
                <a:gd name="T49" fmla="*/ 87 h 125"/>
                <a:gd name="T50" fmla="*/ 9 w 136"/>
                <a:gd name="T51" fmla="*/ 100 h 125"/>
                <a:gd name="T52" fmla="*/ 14 w 136"/>
                <a:gd name="T53" fmla="*/ 109 h 125"/>
                <a:gd name="T54" fmla="*/ 22 w 136"/>
                <a:gd name="T55" fmla="*/ 119 h 125"/>
                <a:gd name="T56" fmla="*/ 33 w 136"/>
                <a:gd name="T57" fmla="*/ 125 h 125"/>
                <a:gd name="T58" fmla="*/ 36 w 136"/>
                <a:gd name="T59" fmla="*/ 122 h 125"/>
                <a:gd name="T60" fmla="*/ 36 w 136"/>
                <a:gd name="T61" fmla="*/ 119 h 125"/>
                <a:gd name="T62" fmla="*/ 28 w 136"/>
                <a:gd name="T63" fmla="*/ 114 h 125"/>
                <a:gd name="T64" fmla="*/ 17 w 136"/>
                <a:gd name="T65" fmla="*/ 100 h 125"/>
                <a:gd name="T66" fmla="*/ 9 w 136"/>
                <a:gd name="T67" fmla="*/ 87 h 125"/>
                <a:gd name="T68" fmla="*/ 9 w 136"/>
                <a:gd name="T69" fmla="*/ 76 h 125"/>
                <a:gd name="T70" fmla="*/ 9 w 136"/>
                <a:gd name="T71" fmla="*/ 60 h 125"/>
                <a:gd name="T72" fmla="*/ 11 w 136"/>
                <a:gd name="T73" fmla="*/ 43 h 125"/>
                <a:gd name="T74" fmla="*/ 17 w 136"/>
                <a:gd name="T75" fmla="*/ 32 h 125"/>
                <a:gd name="T76" fmla="*/ 33 w 136"/>
                <a:gd name="T77" fmla="*/ 16 h 125"/>
                <a:gd name="T78" fmla="*/ 47 w 136"/>
                <a:gd name="T79" fmla="*/ 11 h 125"/>
                <a:gd name="T80" fmla="*/ 63 w 136"/>
                <a:gd name="T81" fmla="*/ 8 h 125"/>
                <a:gd name="T82" fmla="*/ 74 w 136"/>
                <a:gd name="T83" fmla="*/ 8 h 125"/>
                <a:gd name="T84" fmla="*/ 90 w 136"/>
                <a:gd name="T85" fmla="*/ 11 h 125"/>
                <a:gd name="T86" fmla="*/ 104 w 136"/>
                <a:gd name="T87" fmla="*/ 16 h 125"/>
                <a:gd name="T88" fmla="*/ 115 w 136"/>
                <a:gd name="T89" fmla="*/ 27 h 125"/>
                <a:gd name="T90" fmla="*/ 123 w 136"/>
                <a:gd name="T91" fmla="*/ 41 h 125"/>
                <a:gd name="T92" fmla="*/ 128 w 136"/>
                <a:gd name="T93" fmla="*/ 51 h 125"/>
                <a:gd name="T94" fmla="*/ 131 w 136"/>
                <a:gd name="T95" fmla="*/ 62 h 125"/>
                <a:gd name="T96" fmla="*/ 131 w 136"/>
                <a:gd name="T97" fmla="*/ 76 h 125"/>
                <a:gd name="T98" fmla="*/ 128 w 136"/>
                <a:gd name="T99" fmla="*/ 84 h 125"/>
                <a:gd name="T100" fmla="*/ 123 w 136"/>
                <a:gd name="T101" fmla="*/ 98 h 125"/>
                <a:gd name="T102" fmla="*/ 115 w 136"/>
                <a:gd name="T103" fmla="*/ 106 h 125"/>
                <a:gd name="T104" fmla="*/ 106 w 136"/>
                <a:gd name="T105" fmla="*/ 114 h 125"/>
                <a:gd name="T106" fmla="*/ 104 w 136"/>
                <a:gd name="T107" fmla="*/ 119 h 125"/>
                <a:gd name="T108" fmla="*/ 104 w 136"/>
                <a:gd name="T109" fmla="*/ 12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6" h="125">
                  <a:moveTo>
                    <a:pt x="104" y="122"/>
                  </a:moveTo>
                  <a:lnTo>
                    <a:pt x="106" y="122"/>
                  </a:lnTo>
                  <a:lnTo>
                    <a:pt x="106" y="122"/>
                  </a:lnTo>
                  <a:lnTo>
                    <a:pt x="109" y="122"/>
                  </a:lnTo>
                  <a:lnTo>
                    <a:pt x="112" y="119"/>
                  </a:lnTo>
                  <a:lnTo>
                    <a:pt x="117" y="114"/>
                  </a:lnTo>
                  <a:lnTo>
                    <a:pt x="120" y="111"/>
                  </a:lnTo>
                  <a:lnTo>
                    <a:pt x="125" y="106"/>
                  </a:lnTo>
                  <a:lnTo>
                    <a:pt x="128" y="103"/>
                  </a:lnTo>
                  <a:lnTo>
                    <a:pt x="131" y="98"/>
                  </a:lnTo>
                  <a:lnTo>
                    <a:pt x="134" y="92"/>
                  </a:lnTo>
                  <a:lnTo>
                    <a:pt x="136" y="84"/>
                  </a:lnTo>
                  <a:lnTo>
                    <a:pt x="136" y="79"/>
                  </a:lnTo>
                  <a:lnTo>
                    <a:pt x="136" y="70"/>
                  </a:lnTo>
                  <a:lnTo>
                    <a:pt x="136" y="68"/>
                  </a:lnTo>
                  <a:lnTo>
                    <a:pt x="136" y="60"/>
                  </a:lnTo>
                  <a:lnTo>
                    <a:pt x="136" y="57"/>
                  </a:lnTo>
                  <a:lnTo>
                    <a:pt x="134" y="46"/>
                  </a:lnTo>
                  <a:lnTo>
                    <a:pt x="131" y="41"/>
                  </a:lnTo>
                  <a:lnTo>
                    <a:pt x="128" y="35"/>
                  </a:lnTo>
                  <a:lnTo>
                    <a:pt x="123" y="27"/>
                  </a:lnTo>
                  <a:lnTo>
                    <a:pt x="120" y="22"/>
                  </a:lnTo>
                  <a:lnTo>
                    <a:pt x="117" y="19"/>
                  </a:lnTo>
                  <a:lnTo>
                    <a:pt x="112" y="16"/>
                  </a:lnTo>
                  <a:lnTo>
                    <a:pt x="104" y="8"/>
                  </a:lnTo>
                  <a:lnTo>
                    <a:pt x="101" y="8"/>
                  </a:lnTo>
                  <a:lnTo>
                    <a:pt x="93" y="3"/>
                  </a:lnTo>
                  <a:lnTo>
                    <a:pt x="90" y="3"/>
                  </a:lnTo>
                  <a:lnTo>
                    <a:pt x="79" y="0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47" y="3"/>
                  </a:lnTo>
                  <a:lnTo>
                    <a:pt x="41" y="5"/>
                  </a:lnTo>
                  <a:lnTo>
                    <a:pt x="36" y="8"/>
                  </a:lnTo>
                  <a:lnTo>
                    <a:pt x="28" y="13"/>
                  </a:lnTo>
                  <a:lnTo>
                    <a:pt x="19" y="19"/>
                  </a:lnTo>
                  <a:lnTo>
                    <a:pt x="14" y="24"/>
                  </a:lnTo>
                  <a:lnTo>
                    <a:pt x="11" y="30"/>
                  </a:lnTo>
                  <a:lnTo>
                    <a:pt x="6" y="38"/>
                  </a:lnTo>
                  <a:lnTo>
                    <a:pt x="3" y="49"/>
                  </a:lnTo>
                  <a:lnTo>
                    <a:pt x="0" y="51"/>
                  </a:lnTo>
                  <a:lnTo>
                    <a:pt x="0" y="57"/>
                  </a:lnTo>
                  <a:lnTo>
                    <a:pt x="0" y="65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3" y="87"/>
                  </a:lnTo>
                  <a:lnTo>
                    <a:pt x="6" y="95"/>
                  </a:lnTo>
                  <a:lnTo>
                    <a:pt x="9" y="100"/>
                  </a:lnTo>
                  <a:lnTo>
                    <a:pt x="9" y="103"/>
                  </a:lnTo>
                  <a:lnTo>
                    <a:pt x="14" y="109"/>
                  </a:lnTo>
                  <a:lnTo>
                    <a:pt x="17" y="114"/>
                  </a:lnTo>
                  <a:lnTo>
                    <a:pt x="22" y="119"/>
                  </a:lnTo>
                  <a:lnTo>
                    <a:pt x="30" y="125"/>
                  </a:lnTo>
                  <a:lnTo>
                    <a:pt x="33" y="125"/>
                  </a:lnTo>
                  <a:lnTo>
                    <a:pt x="36" y="125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19"/>
                  </a:lnTo>
                  <a:lnTo>
                    <a:pt x="33" y="117"/>
                  </a:lnTo>
                  <a:lnTo>
                    <a:pt x="28" y="114"/>
                  </a:lnTo>
                  <a:lnTo>
                    <a:pt x="19" y="106"/>
                  </a:lnTo>
                  <a:lnTo>
                    <a:pt x="17" y="100"/>
                  </a:lnTo>
                  <a:lnTo>
                    <a:pt x="11" y="92"/>
                  </a:lnTo>
                  <a:lnTo>
                    <a:pt x="9" y="87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6" y="65"/>
                  </a:lnTo>
                  <a:lnTo>
                    <a:pt x="9" y="60"/>
                  </a:lnTo>
                  <a:lnTo>
                    <a:pt x="9" y="51"/>
                  </a:lnTo>
                  <a:lnTo>
                    <a:pt x="11" y="43"/>
                  </a:lnTo>
                  <a:lnTo>
                    <a:pt x="17" y="35"/>
                  </a:lnTo>
                  <a:lnTo>
                    <a:pt x="17" y="32"/>
                  </a:lnTo>
                  <a:lnTo>
                    <a:pt x="25" y="24"/>
                  </a:lnTo>
                  <a:lnTo>
                    <a:pt x="33" y="16"/>
                  </a:lnTo>
                  <a:lnTo>
                    <a:pt x="41" y="13"/>
                  </a:lnTo>
                  <a:lnTo>
                    <a:pt x="47" y="11"/>
                  </a:lnTo>
                  <a:lnTo>
                    <a:pt x="55" y="8"/>
                  </a:lnTo>
                  <a:lnTo>
                    <a:pt x="63" y="8"/>
                  </a:lnTo>
                  <a:lnTo>
                    <a:pt x="68" y="8"/>
                  </a:lnTo>
                  <a:lnTo>
                    <a:pt x="74" y="8"/>
                  </a:lnTo>
                  <a:lnTo>
                    <a:pt x="82" y="8"/>
                  </a:lnTo>
                  <a:lnTo>
                    <a:pt x="90" y="11"/>
                  </a:lnTo>
                  <a:lnTo>
                    <a:pt x="96" y="13"/>
                  </a:lnTo>
                  <a:lnTo>
                    <a:pt x="104" y="16"/>
                  </a:lnTo>
                  <a:lnTo>
                    <a:pt x="109" y="22"/>
                  </a:lnTo>
                  <a:lnTo>
                    <a:pt x="115" y="27"/>
                  </a:lnTo>
                  <a:lnTo>
                    <a:pt x="120" y="32"/>
                  </a:lnTo>
                  <a:lnTo>
                    <a:pt x="123" y="41"/>
                  </a:lnTo>
                  <a:lnTo>
                    <a:pt x="125" y="46"/>
                  </a:lnTo>
                  <a:lnTo>
                    <a:pt x="128" y="51"/>
                  </a:lnTo>
                  <a:lnTo>
                    <a:pt x="128" y="60"/>
                  </a:lnTo>
                  <a:lnTo>
                    <a:pt x="131" y="62"/>
                  </a:lnTo>
                  <a:lnTo>
                    <a:pt x="131" y="68"/>
                  </a:lnTo>
                  <a:lnTo>
                    <a:pt x="131" y="76"/>
                  </a:lnTo>
                  <a:lnTo>
                    <a:pt x="128" y="81"/>
                  </a:lnTo>
                  <a:lnTo>
                    <a:pt x="128" y="84"/>
                  </a:lnTo>
                  <a:lnTo>
                    <a:pt x="125" y="92"/>
                  </a:lnTo>
                  <a:lnTo>
                    <a:pt x="123" y="98"/>
                  </a:lnTo>
                  <a:lnTo>
                    <a:pt x="120" y="100"/>
                  </a:lnTo>
                  <a:lnTo>
                    <a:pt x="115" y="106"/>
                  </a:lnTo>
                  <a:lnTo>
                    <a:pt x="112" y="109"/>
                  </a:lnTo>
                  <a:lnTo>
                    <a:pt x="106" y="114"/>
                  </a:lnTo>
                  <a:lnTo>
                    <a:pt x="104" y="117"/>
                  </a:lnTo>
                  <a:lnTo>
                    <a:pt x="104" y="119"/>
                  </a:lnTo>
                  <a:lnTo>
                    <a:pt x="104" y="122"/>
                  </a:lnTo>
                  <a:lnTo>
                    <a:pt x="104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4AFC4091-2141-4873-A8B3-5768C5CD6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" y="462"/>
              <a:ext cx="81" cy="66"/>
            </a:xfrm>
            <a:custGeom>
              <a:avLst/>
              <a:gdLst>
                <a:gd name="T0" fmla="*/ 65 w 81"/>
                <a:gd name="T1" fmla="*/ 66 h 66"/>
                <a:gd name="T2" fmla="*/ 68 w 81"/>
                <a:gd name="T3" fmla="*/ 66 h 66"/>
                <a:gd name="T4" fmla="*/ 76 w 81"/>
                <a:gd name="T5" fmla="*/ 55 h 66"/>
                <a:gd name="T6" fmla="*/ 81 w 81"/>
                <a:gd name="T7" fmla="*/ 41 h 66"/>
                <a:gd name="T8" fmla="*/ 78 w 81"/>
                <a:gd name="T9" fmla="*/ 30 h 66"/>
                <a:gd name="T10" fmla="*/ 73 w 81"/>
                <a:gd name="T11" fmla="*/ 17 h 66"/>
                <a:gd name="T12" fmla="*/ 65 w 81"/>
                <a:gd name="T13" fmla="*/ 6 h 66"/>
                <a:gd name="T14" fmla="*/ 46 w 81"/>
                <a:gd name="T15" fmla="*/ 0 h 66"/>
                <a:gd name="T16" fmla="*/ 35 w 81"/>
                <a:gd name="T17" fmla="*/ 0 h 66"/>
                <a:gd name="T18" fmla="*/ 19 w 81"/>
                <a:gd name="T19" fmla="*/ 6 h 66"/>
                <a:gd name="T20" fmla="*/ 16 w 81"/>
                <a:gd name="T21" fmla="*/ 9 h 66"/>
                <a:gd name="T22" fmla="*/ 8 w 81"/>
                <a:gd name="T23" fmla="*/ 17 h 66"/>
                <a:gd name="T24" fmla="*/ 2 w 81"/>
                <a:gd name="T25" fmla="*/ 33 h 66"/>
                <a:gd name="T26" fmla="*/ 2 w 81"/>
                <a:gd name="T27" fmla="*/ 44 h 66"/>
                <a:gd name="T28" fmla="*/ 5 w 81"/>
                <a:gd name="T29" fmla="*/ 55 h 66"/>
                <a:gd name="T30" fmla="*/ 13 w 81"/>
                <a:gd name="T31" fmla="*/ 66 h 66"/>
                <a:gd name="T32" fmla="*/ 16 w 81"/>
                <a:gd name="T33" fmla="*/ 66 h 66"/>
                <a:gd name="T34" fmla="*/ 19 w 81"/>
                <a:gd name="T35" fmla="*/ 63 h 66"/>
                <a:gd name="T36" fmla="*/ 19 w 81"/>
                <a:gd name="T37" fmla="*/ 60 h 66"/>
                <a:gd name="T38" fmla="*/ 13 w 81"/>
                <a:gd name="T39" fmla="*/ 52 h 66"/>
                <a:gd name="T40" fmla="*/ 8 w 81"/>
                <a:gd name="T41" fmla="*/ 44 h 66"/>
                <a:gd name="T42" fmla="*/ 8 w 81"/>
                <a:gd name="T43" fmla="*/ 36 h 66"/>
                <a:gd name="T44" fmla="*/ 10 w 81"/>
                <a:gd name="T45" fmla="*/ 30 h 66"/>
                <a:gd name="T46" fmla="*/ 13 w 81"/>
                <a:gd name="T47" fmla="*/ 22 h 66"/>
                <a:gd name="T48" fmla="*/ 19 w 81"/>
                <a:gd name="T49" fmla="*/ 14 h 66"/>
                <a:gd name="T50" fmla="*/ 27 w 81"/>
                <a:gd name="T51" fmla="*/ 9 h 66"/>
                <a:gd name="T52" fmla="*/ 38 w 81"/>
                <a:gd name="T53" fmla="*/ 6 h 66"/>
                <a:gd name="T54" fmla="*/ 43 w 81"/>
                <a:gd name="T55" fmla="*/ 6 h 66"/>
                <a:gd name="T56" fmla="*/ 54 w 81"/>
                <a:gd name="T57" fmla="*/ 9 h 66"/>
                <a:gd name="T58" fmla="*/ 62 w 81"/>
                <a:gd name="T59" fmla="*/ 14 h 66"/>
                <a:gd name="T60" fmla="*/ 68 w 81"/>
                <a:gd name="T61" fmla="*/ 22 h 66"/>
                <a:gd name="T62" fmla="*/ 70 w 81"/>
                <a:gd name="T63" fmla="*/ 28 h 66"/>
                <a:gd name="T64" fmla="*/ 73 w 81"/>
                <a:gd name="T65" fmla="*/ 36 h 66"/>
                <a:gd name="T66" fmla="*/ 73 w 81"/>
                <a:gd name="T67" fmla="*/ 41 h 66"/>
                <a:gd name="T68" fmla="*/ 70 w 81"/>
                <a:gd name="T69" fmla="*/ 49 h 66"/>
                <a:gd name="T70" fmla="*/ 65 w 81"/>
                <a:gd name="T71" fmla="*/ 58 h 66"/>
                <a:gd name="T72" fmla="*/ 62 w 81"/>
                <a:gd name="T73" fmla="*/ 63 h 66"/>
                <a:gd name="T74" fmla="*/ 62 w 81"/>
                <a:gd name="T7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1" h="66">
                  <a:moveTo>
                    <a:pt x="65" y="66"/>
                  </a:moveTo>
                  <a:lnTo>
                    <a:pt x="65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70" y="63"/>
                  </a:lnTo>
                  <a:lnTo>
                    <a:pt x="76" y="55"/>
                  </a:lnTo>
                  <a:lnTo>
                    <a:pt x="78" y="47"/>
                  </a:lnTo>
                  <a:lnTo>
                    <a:pt x="81" y="41"/>
                  </a:lnTo>
                  <a:lnTo>
                    <a:pt x="81" y="36"/>
                  </a:lnTo>
                  <a:lnTo>
                    <a:pt x="78" y="30"/>
                  </a:lnTo>
                  <a:lnTo>
                    <a:pt x="76" y="22"/>
                  </a:lnTo>
                  <a:lnTo>
                    <a:pt x="73" y="17"/>
                  </a:lnTo>
                  <a:lnTo>
                    <a:pt x="70" y="14"/>
                  </a:lnTo>
                  <a:lnTo>
                    <a:pt x="65" y="6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5" y="0"/>
                  </a:lnTo>
                  <a:lnTo>
                    <a:pt x="27" y="0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6" y="9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2" y="25"/>
                  </a:lnTo>
                  <a:lnTo>
                    <a:pt x="2" y="33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52"/>
                  </a:lnTo>
                  <a:lnTo>
                    <a:pt x="5" y="55"/>
                  </a:lnTo>
                  <a:lnTo>
                    <a:pt x="8" y="60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0"/>
                  </a:lnTo>
                  <a:lnTo>
                    <a:pt x="13" y="58"/>
                  </a:lnTo>
                  <a:lnTo>
                    <a:pt x="13" y="52"/>
                  </a:lnTo>
                  <a:lnTo>
                    <a:pt x="10" y="47"/>
                  </a:lnTo>
                  <a:lnTo>
                    <a:pt x="8" y="44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3"/>
                  </a:lnTo>
                  <a:lnTo>
                    <a:pt x="10" y="30"/>
                  </a:lnTo>
                  <a:lnTo>
                    <a:pt x="10" y="25"/>
                  </a:lnTo>
                  <a:lnTo>
                    <a:pt x="13" y="22"/>
                  </a:lnTo>
                  <a:lnTo>
                    <a:pt x="16" y="19"/>
                  </a:lnTo>
                  <a:lnTo>
                    <a:pt x="19" y="14"/>
                  </a:lnTo>
                  <a:lnTo>
                    <a:pt x="24" y="11"/>
                  </a:lnTo>
                  <a:lnTo>
                    <a:pt x="27" y="9"/>
                  </a:lnTo>
                  <a:lnTo>
                    <a:pt x="35" y="9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3" y="6"/>
                  </a:lnTo>
                  <a:lnTo>
                    <a:pt x="46" y="9"/>
                  </a:lnTo>
                  <a:lnTo>
                    <a:pt x="54" y="9"/>
                  </a:lnTo>
                  <a:lnTo>
                    <a:pt x="57" y="11"/>
                  </a:lnTo>
                  <a:lnTo>
                    <a:pt x="62" y="14"/>
                  </a:lnTo>
                  <a:lnTo>
                    <a:pt x="65" y="17"/>
                  </a:lnTo>
                  <a:lnTo>
                    <a:pt x="68" y="22"/>
                  </a:lnTo>
                  <a:lnTo>
                    <a:pt x="70" y="25"/>
                  </a:lnTo>
                  <a:lnTo>
                    <a:pt x="70" y="28"/>
                  </a:lnTo>
                  <a:lnTo>
                    <a:pt x="73" y="33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3" y="41"/>
                  </a:lnTo>
                  <a:lnTo>
                    <a:pt x="73" y="44"/>
                  </a:lnTo>
                  <a:lnTo>
                    <a:pt x="70" y="49"/>
                  </a:lnTo>
                  <a:lnTo>
                    <a:pt x="68" y="55"/>
                  </a:lnTo>
                  <a:lnTo>
                    <a:pt x="65" y="58"/>
                  </a:lnTo>
                  <a:lnTo>
                    <a:pt x="62" y="60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6"/>
                  </a:lnTo>
                  <a:lnTo>
                    <a:pt x="65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1">
            <a:extLst>
              <a:ext uri="{FF2B5EF4-FFF2-40B4-BE49-F238E27FC236}">
                <a16:creationId xmlns:a16="http://schemas.microsoft.com/office/drawing/2014/main" id="{FFC18837-BC79-4686-9CFD-F408ED3F30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7964" y="351633"/>
            <a:ext cx="758825" cy="758825"/>
            <a:chOff x="2387" y="356"/>
            <a:chExt cx="478" cy="478"/>
          </a:xfrm>
        </p:grpSpPr>
        <p:sp>
          <p:nvSpPr>
            <p:cNvPr id="27" name="AutoShape 20">
              <a:extLst>
                <a:ext uri="{FF2B5EF4-FFF2-40B4-BE49-F238E27FC236}">
                  <a16:creationId xmlns:a16="http://schemas.microsoft.com/office/drawing/2014/main" id="{A6CDF180-2873-4277-8BC5-783F7C555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7" y="35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41257684-EA5D-4C35-AD86-5BEC17EE7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9" y="358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8573F5A2-3368-4F3A-B8EB-F1DFFCA714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469"/>
              <a:ext cx="299" cy="255"/>
            </a:xfrm>
            <a:custGeom>
              <a:avLst/>
              <a:gdLst>
                <a:gd name="T0" fmla="*/ 66 w 299"/>
                <a:gd name="T1" fmla="*/ 10 h 255"/>
                <a:gd name="T2" fmla="*/ 36 w 299"/>
                <a:gd name="T3" fmla="*/ 39 h 255"/>
                <a:gd name="T4" fmla="*/ 24 w 299"/>
                <a:gd name="T5" fmla="*/ 81 h 255"/>
                <a:gd name="T6" fmla="*/ 9 w 299"/>
                <a:gd name="T7" fmla="*/ 120 h 255"/>
                <a:gd name="T8" fmla="*/ 0 w 299"/>
                <a:gd name="T9" fmla="*/ 162 h 255"/>
                <a:gd name="T10" fmla="*/ 14 w 299"/>
                <a:gd name="T11" fmla="*/ 203 h 255"/>
                <a:gd name="T12" fmla="*/ 68 w 299"/>
                <a:gd name="T13" fmla="*/ 235 h 255"/>
                <a:gd name="T14" fmla="*/ 122 w 299"/>
                <a:gd name="T15" fmla="*/ 247 h 255"/>
                <a:gd name="T16" fmla="*/ 181 w 299"/>
                <a:gd name="T17" fmla="*/ 250 h 255"/>
                <a:gd name="T18" fmla="*/ 220 w 299"/>
                <a:gd name="T19" fmla="*/ 223 h 255"/>
                <a:gd name="T20" fmla="*/ 282 w 299"/>
                <a:gd name="T21" fmla="*/ 206 h 255"/>
                <a:gd name="T22" fmla="*/ 296 w 299"/>
                <a:gd name="T23" fmla="*/ 147 h 255"/>
                <a:gd name="T24" fmla="*/ 264 w 299"/>
                <a:gd name="T25" fmla="*/ 105 h 255"/>
                <a:gd name="T26" fmla="*/ 252 w 299"/>
                <a:gd name="T27" fmla="*/ 46 h 255"/>
                <a:gd name="T28" fmla="*/ 193 w 299"/>
                <a:gd name="T29" fmla="*/ 17 h 255"/>
                <a:gd name="T30" fmla="*/ 130 w 299"/>
                <a:gd name="T31" fmla="*/ 2 h 255"/>
                <a:gd name="T32" fmla="*/ 39 w 299"/>
                <a:gd name="T33" fmla="*/ 59 h 255"/>
                <a:gd name="T34" fmla="*/ 95 w 299"/>
                <a:gd name="T35" fmla="*/ 12 h 255"/>
                <a:gd name="T36" fmla="*/ 142 w 299"/>
                <a:gd name="T37" fmla="*/ 17 h 255"/>
                <a:gd name="T38" fmla="*/ 176 w 299"/>
                <a:gd name="T39" fmla="*/ 46 h 255"/>
                <a:gd name="T40" fmla="*/ 184 w 299"/>
                <a:gd name="T41" fmla="*/ 44 h 255"/>
                <a:gd name="T42" fmla="*/ 191 w 299"/>
                <a:gd name="T43" fmla="*/ 27 h 255"/>
                <a:gd name="T44" fmla="*/ 247 w 299"/>
                <a:gd name="T45" fmla="*/ 59 h 255"/>
                <a:gd name="T46" fmla="*/ 260 w 299"/>
                <a:gd name="T47" fmla="*/ 115 h 255"/>
                <a:gd name="T48" fmla="*/ 289 w 299"/>
                <a:gd name="T49" fmla="*/ 157 h 255"/>
                <a:gd name="T50" fmla="*/ 267 w 299"/>
                <a:gd name="T51" fmla="*/ 203 h 255"/>
                <a:gd name="T52" fmla="*/ 223 w 299"/>
                <a:gd name="T53" fmla="*/ 213 h 255"/>
                <a:gd name="T54" fmla="*/ 186 w 299"/>
                <a:gd name="T55" fmla="*/ 238 h 255"/>
                <a:gd name="T56" fmla="*/ 139 w 299"/>
                <a:gd name="T57" fmla="*/ 242 h 255"/>
                <a:gd name="T58" fmla="*/ 98 w 299"/>
                <a:gd name="T59" fmla="*/ 215 h 255"/>
                <a:gd name="T60" fmla="*/ 85 w 299"/>
                <a:gd name="T61" fmla="*/ 201 h 255"/>
                <a:gd name="T62" fmla="*/ 90 w 299"/>
                <a:gd name="T63" fmla="*/ 225 h 255"/>
                <a:gd name="T64" fmla="*/ 27 w 299"/>
                <a:gd name="T65" fmla="*/ 201 h 255"/>
                <a:gd name="T66" fmla="*/ 14 w 299"/>
                <a:gd name="T67" fmla="*/ 139 h 255"/>
                <a:gd name="T68" fmla="*/ 51 w 299"/>
                <a:gd name="T69" fmla="*/ 98 h 255"/>
                <a:gd name="T70" fmla="*/ 66 w 299"/>
                <a:gd name="T71" fmla="*/ 86 h 255"/>
                <a:gd name="T72" fmla="*/ 149 w 299"/>
                <a:gd name="T73" fmla="*/ 68 h 255"/>
                <a:gd name="T74" fmla="*/ 93 w 299"/>
                <a:gd name="T75" fmla="*/ 98 h 255"/>
                <a:gd name="T76" fmla="*/ 93 w 299"/>
                <a:gd name="T77" fmla="*/ 159 h 255"/>
                <a:gd name="T78" fmla="*/ 144 w 299"/>
                <a:gd name="T79" fmla="*/ 191 h 255"/>
                <a:gd name="T80" fmla="*/ 174 w 299"/>
                <a:gd name="T81" fmla="*/ 181 h 255"/>
                <a:gd name="T82" fmla="*/ 154 w 299"/>
                <a:gd name="T83" fmla="*/ 181 h 255"/>
                <a:gd name="T84" fmla="*/ 108 w 299"/>
                <a:gd name="T85" fmla="*/ 162 h 255"/>
                <a:gd name="T86" fmla="*/ 98 w 299"/>
                <a:gd name="T87" fmla="*/ 113 h 255"/>
                <a:gd name="T88" fmla="*/ 137 w 299"/>
                <a:gd name="T89" fmla="*/ 81 h 255"/>
                <a:gd name="T90" fmla="*/ 181 w 299"/>
                <a:gd name="T91" fmla="*/ 88 h 255"/>
                <a:gd name="T92" fmla="*/ 196 w 299"/>
                <a:gd name="T93" fmla="*/ 137 h 255"/>
                <a:gd name="T94" fmla="*/ 179 w 299"/>
                <a:gd name="T95" fmla="*/ 149 h 255"/>
                <a:gd name="T96" fmla="*/ 171 w 299"/>
                <a:gd name="T97" fmla="*/ 98 h 255"/>
                <a:gd name="T98" fmla="*/ 161 w 299"/>
                <a:gd name="T99" fmla="*/ 103 h 255"/>
                <a:gd name="T100" fmla="*/ 132 w 299"/>
                <a:gd name="T101" fmla="*/ 103 h 255"/>
                <a:gd name="T102" fmla="*/ 117 w 299"/>
                <a:gd name="T103" fmla="*/ 135 h 255"/>
                <a:gd name="T104" fmla="*/ 135 w 299"/>
                <a:gd name="T105" fmla="*/ 159 h 255"/>
                <a:gd name="T106" fmla="*/ 164 w 299"/>
                <a:gd name="T107" fmla="*/ 157 h 255"/>
                <a:gd name="T108" fmla="*/ 186 w 299"/>
                <a:gd name="T109" fmla="*/ 162 h 255"/>
                <a:gd name="T110" fmla="*/ 208 w 299"/>
                <a:gd name="T111" fmla="*/ 139 h 255"/>
                <a:gd name="T112" fmla="*/ 206 w 299"/>
                <a:gd name="T113" fmla="*/ 103 h 255"/>
                <a:gd name="T114" fmla="*/ 179 w 299"/>
                <a:gd name="T115" fmla="*/ 76 h 255"/>
                <a:gd name="T116" fmla="*/ 137 w 299"/>
                <a:gd name="T117" fmla="*/ 149 h 255"/>
                <a:gd name="T118" fmla="*/ 127 w 299"/>
                <a:gd name="T119" fmla="*/ 125 h 255"/>
                <a:gd name="T120" fmla="*/ 154 w 299"/>
                <a:gd name="T121" fmla="*/ 110 h 255"/>
                <a:gd name="T122" fmla="*/ 154 w 299"/>
                <a:gd name="T123" fmla="*/ 149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9" h="255">
                  <a:moveTo>
                    <a:pt x="108" y="0"/>
                  </a:moveTo>
                  <a:lnTo>
                    <a:pt x="105" y="0"/>
                  </a:lnTo>
                  <a:lnTo>
                    <a:pt x="103" y="0"/>
                  </a:lnTo>
                  <a:lnTo>
                    <a:pt x="100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93" y="2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3" y="2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8" y="5"/>
                  </a:lnTo>
                  <a:lnTo>
                    <a:pt x="76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1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6" y="12"/>
                  </a:lnTo>
                  <a:lnTo>
                    <a:pt x="63" y="12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6" y="27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1" y="32"/>
                  </a:lnTo>
                  <a:lnTo>
                    <a:pt x="41" y="34"/>
                  </a:lnTo>
                  <a:lnTo>
                    <a:pt x="39" y="34"/>
                  </a:lnTo>
                  <a:lnTo>
                    <a:pt x="39" y="37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41"/>
                  </a:lnTo>
                  <a:lnTo>
                    <a:pt x="34" y="44"/>
                  </a:lnTo>
                  <a:lnTo>
                    <a:pt x="34" y="46"/>
                  </a:lnTo>
                  <a:lnTo>
                    <a:pt x="32" y="46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6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6"/>
                  </a:lnTo>
                  <a:lnTo>
                    <a:pt x="24" y="68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4" y="76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81"/>
                  </a:lnTo>
                  <a:lnTo>
                    <a:pt x="24" y="83"/>
                  </a:lnTo>
                  <a:lnTo>
                    <a:pt x="24" y="86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5"/>
                  </a:lnTo>
                  <a:lnTo>
                    <a:pt x="24" y="98"/>
                  </a:lnTo>
                  <a:lnTo>
                    <a:pt x="27" y="100"/>
                  </a:lnTo>
                  <a:lnTo>
                    <a:pt x="27" y="103"/>
                  </a:lnTo>
                  <a:lnTo>
                    <a:pt x="24" y="103"/>
                  </a:lnTo>
                  <a:lnTo>
                    <a:pt x="24" y="105"/>
                  </a:lnTo>
                  <a:lnTo>
                    <a:pt x="22" y="108"/>
                  </a:lnTo>
                  <a:lnTo>
                    <a:pt x="19" y="108"/>
                  </a:lnTo>
                  <a:lnTo>
                    <a:pt x="19" y="110"/>
                  </a:lnTo>
                  <a:lnTo>
                    <a:pt x="17" y="110"/>
                  </a:lnTo>
                  <a:lnTo>
                    <a:pt x="17" y="113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2" y="117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9" y="122"/>
                  </a:lnTo>
                  <a:lnTo>
                    <a:pt x="9" y="125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7" y="130"/>
                  </a:lnTo>
                  <a:lnTo>
                    <a:pt x="5" y="132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2" y="137"/>
                  </a:lnTo>
                  <a:lnTo>
                    <a:pt x="2" y="139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4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4"/>
                  </a:lnTo>
                  <a:lnTo>
                    <a:pt x="0" y="157"/>
                  </a:lnTo>
                  <a:lnTo>
                    <a:pt x="0" y="159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0" y="171"/>
                  </a:lnTo>
                  <a:lnTo>
                    <a:pt x="2" y="174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5" y="181"/>
                  </a:lnTo>
                  <a:lnTo>
                    <a:pt x="5" y="184"/>
                  </a:lnTo>
                  <a:lnTo>
                    <a:pt x="5" y="186"/>
                  </a:lnTo>
                  <a:lnTo>
                    <a:pt x="5" y="189"/>
                  </a:lnTo>
                  <a:lnTo>
                    <a:pt x="7" y="189"/>
                  </a:lnTo>
                  <a:lnTo>
                    <a:pt x="7" y="191"/>
                  </a:lnTo>
                  <a:lnTo>
                    <a:pt x="7" y="193"/>
                  </a:lnTo>
                  <a:lnTo>
                    <a:pt x="9" y="193"/>
                  </a:lnTo>
                  <a:lnTo>
                    <a:pt x="9" y="196"/>
                  </a:lnTo>
                  <a:lnTo>
                    <a:pt x="12" y="198"/>
                  </a:lnTo>
                  <a:lnTo>
                    <a:pt x="14" y="203"/>
                  </a:lnTo>
                  <a:lnTo>
                    <a:pt x="17" y="206"/>
                  </a:lnTo>
                  <a:lnTo>
                    <a:pt x="19" y="208"/>
                  </a:lnTo>
                  <a:lnTo>
                    <a:pt x="22" y="211"/>
                  </a:lnTo>
                  <a:lnTo>
                    <a:pt x="24" y="213"/>
                  </a:lnTo>
                  <a:lnTo>
                    <a:pt x="27" y="215"/>
                  </a:lnTo>
                  <a:lnTo>
                    <a:pt x="29" y="218"/>
                  </a:lnTo>
                  <a:lnTo>
                    <a:pt x="32" y="220"/>
                  </a:lnTo>
                  <a:lnTo>
                    <a:pt x="36" y="223"/>
                  </a:lnTo>
                  <a:lnTo>
                    <a:pt x="39" y="225"/>
                  </a:lnTo>
                  <a:lnTo>
                    <a:pt x="44" y="228"/>
                  </a:lnTo>
                  <a:lnTo>
                    <a:pt x="46" y="228"/>
                  </a:lnTo>
                  <a:lnTo>
                    <a:pt x="49" y="230"/>
                  </a:lnTo>
                  <a:lnTo>
                    <a:pt x="54" y="233"/>
                  </a:lnTo>
                  <a:lnTo>
                    <a:pt x="56" y="233"/>
                  </a:lnTo>
                  <a:lnTo>
                    <a:pt x="56" y="233"/>
                  </a:lnTo>
                  <a:lnTo>
                    <a:pt x="59" y="233"/>
                  </a:lnTo>
                  <a:lnTo>
                    <a:pt x="61" y="233"/>
                  </a:lnTo>
                  <a:lnTo>
                    <a:pt x="63" y="235"/>
                  </a:lnTo>
                  <a:lnTo>
                    <a:pt x="66" y="235"/>
                  </a:lnTo>
                  <a:lnTo>
                    <a:pt x="66" y="235"/>
                  </a:lnTo>
                  <a:lnTo>
                    <a:pt x="68" y="235"/>
                  </a:lnTo>
                  <a:lnTo>
                    <a:pt x="71" y="235"/>
                  </a:lnTo>
                  <a:lnTo>
                    <a:pt x="73" y="235"/>
                  </a:lnTo>
                  <a:lnTo>
                    <a:pt x="76" y="235"/>
                  </a:lnTo>
                  <a:lnTo>
                    <a:pt x="78" y="235"/>
                  </a:lnTo>
                  <a:lnTo>
                    <a:pt x="81" y="235"/>
                  </a:lnTo>
                  <a:lnTo>
                    <a:pt x="81" y="235"/>
                  </a:lnTo>
                  <a:lnTo>
                    <a:pt x="83" y="235"/>
                  </a:lnTo>
                  <a:lnTo>
                    <a:pt x="85" y="235"/>
                  </a:lnTo>
                  <a:lnTo>
                    <a:pt x="88" y="235"/>
                  </a:lnTo>
                  <a:lnTo>
                    <a:pt x="90" y="235"/>
                  </a:lnTo>
                  <a:lnTo>
                    <a:pt x="93" y="235"/>
                  </a:lnTo>
                  <a:lnTo>
                    <a:pt x="95" y="235"/>
                  </a:lnTo>
                  <a:lnTo>
                    <a:pt x="98" y="235"/>
                  </a:lnTo>
                  <a:lnTo>
                    <a:pt x="100" y="233"/>
                  </a:lnTo>
                  <a:lnTo>
                    <a:pt x="105" y="238"/>
                  </a:lnTo>
                  <a:lnTo>
                    <a:pt x="108" y="238"/>
                  </a:lnTo>
                  <a:lnTo>
                    <a:pt x="110" y="240"/>
                  </a:lnTo>
                  <a:lnTo>
                    <a:pt x="112" y="242"/>
                  </a:lnTo>
                  <a:lnTo>
                    <a:pt x="115" y="245"/>
                  </a:lnTo>
                  <a:lnTo>
                    <a:pt x="120" y="247"/>
                  </a:lnTo>
                  <a:lnTo>
                    <a:pt x="122" y="247"/>
                  </a:lnTo>
                  <a:lnTo>
                    <a:pt x="125" y="250"/>
                  </a:lnTo>
                  <a:lnTo>
                    <a:pt x="130" y="250"/>
                  </a:lnTo>
                  <a:lnTo>
                    <a:pt x="132" y="252"/>
                  </a:lnTo>
                  <a:lnTo>
                    <a:pt x="137" y="252"/>
                  </a:lnTo>
                  <a:lnTo>
                    <a:pt x="139" y="255"/>
                  </a:lnTo>
                  <a:lnTo>
                    <a:pt x="144" y="255"/>
                  </a:lnTo>
                  <a:lnTo>
                    <a:pt x="147" y="255"/>
                  </a:lnTo>
                  <a:lnTo>
                    <a:pt x="152" y="255"/>
                  </a:lnTo>
                  <a:lnTo>
                    <a:pt x="154" y="255"/>
                  </a:lnTo>
                  <a:lnTo>
                    <a:pt x="157" y="255"/>
                  </a:lnTo>
                  <a:lnTo>
                    <a:pt x="159" y="255"/>
                  </a:lnTo>
                  <a:lnTo>
                    <a:pt x="161" y="255"/>
                  </a:lnTo>
                  <a:lnTo>
                    <a:pt x="164" y="255"/>
                  </a:lnTo>
                  <a:lnTo>
                    <a:pt x="166" y="255"/>
                  </a:lnTo>
                  <a:lnTo>
                    <a:pt x="169" y="255"/>
                  </a:lnTo>
                  <a:lnTo>
                    <a:pt x="171" y="252"/>
                  </a:lnTo>
                  <a:lnTo>
                    <a:pt x="174" y="252"/>
                  </a:lnTo>
                  <a:lnTo>
                    <a:pt x="174" y="252"/>
                  </a:lnTo>
                  <a:lnTo>
                    <a:pt x="176" y="252"/>
                  </a:lnTo>
                  <a:lnTo>
                    <a:pt x="179" y="250"/>
                  </a:lnTo>
                  <a:lnTo>
                    <a:pt x="181" y="250"/>
                  </a:lnTo>
                  <a:lnTo>
                    <a:pt x="184" y="250"/>
                  </a:lnTo>
                  <a:lnTo>
                    <a:pt x="186" y="247"/>
                  </a:lnTo>
                  <a:lnTo>
                    <a:pt x="188" y="247"/>
                  </a:lnTo>
                  <a:lnTo>
                    <a:pt x="188" y="247"/>
                  </a:lnTo>
                  <a:lnTo>
                    <a:pt x="191" y="245"/>
                  </a:lnTo>
                  <a:lnTo>
                    <a:pt x="193" y="245"/>
                  </a:lnTo>
                  <a:lnTo>
                    <a:pt x="196" y="242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201" y="240"/>
                  </a:lnTo>
                  <a:lnTo>
                    <a:pt x="203" y="238"/>
                  </a:lnTo>
                  <a:lnTo>
                    <a:pt x="206" y="238"/>
                  </a:lnTo>
                  <a:lnTo>
                    <a:pt x="206" y="235"/>
                  </a:lnTo>
                  <a:lnTo>
                    <a:pt x="208" y="233"/>
                  </a:lnTo>
                  <a:lnTo>
                    <a:pt x="211" y="233"/>
                  </a:lnTo>
                  <a:lnTo>
                    <a:pt x="211" y="230"/>
                  </a:lnTo>
                  <a:lnTo>
                    <a:pt x="213" y="228"/>
                  </a:lnTo>
                  <a:lnTo>
                    <a:pt x="213" y="228"/>
                  </a:lnTo>
                  <a:lnTo>
                    <a:pt x="215" y="225"/>
                  </a:lnTo>
                  <a:lnTo>
                    <a:pt x="218" y="223"/>
                  </a:lnTo>
                  <a:lnTo>
                    <a:pt x="220" y="223"/>
                  </a:lnTo>
                  <a:lnTo>
                    <a:pt x="223" y="225"/>
                  </a:lnTo>
                  <a:lnTo>
                    <a:pt x="225" y="225"/>
                  </a:lnTo>
                  <a:lnTo>
                    <a:pt x="230" y="225"/>
                  </a:lnTo>
                  <a:lnTo>
                    <a:pt x="233" y="225"/>
                  </a:lnTo>
                  <a:lnTo>
                    <a:pt x="235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5" y="223"/>
                  </a:lnTo>
                  <a:lnTo>
                    <a:pt x="250" y="223"/>
                  </a:lnTo>
                  <a:lnTo>
                    <a:pt x="252" y="223"/>
                  </a:lnTo>
                  <a:lnTo>
                    <a:pt x="255" y="220"/>
                  </a:lnTo>
                  <a:lnTo>
                    <a:pt x="257" y="220"/>
                  </a:lnTo>
                  <a:lnTo>
                    <a:pt x="260" y="220"/>
                  </a:lnTo>
                  <a:lnTo>
                    <a:pt x="262" y="218"/>
                  </a:lnTo>
                  <a:lnTo>
                    <a:pt x="267" y="215"/>
                  </a:lnTo>
                  <a:lnTo>
                    <a:pt x="269" y="215"/>
                  </a:lnTo>
                  <a:lnTo>
                    <a:pt x="272" y="213"/>
                  </a:lnTo>
                  <a:lnTo>
                    <a:pt x="274" y="211"/>
                  </a:lnTo>
                  <a:lnTo>
                    <a:pt x="277" y="208"/>
                  </a:lnTo>
                  <a:lnTo>
                    <a:pt x="279" y="208"/>
                  </a:lnTo>
                  <a:lnTo>
                    <a:pt x="282" y="206"/>
                  </a:lnTo>
                  <a:lnTo>
                    <a:pt x="282" y="203"/>
                  </a:lnTo>
                  <a:lnTo>
                    <a:pt x="284" y="201"/>
                  </a:lnTo>
                  <a:lnTo>
                    <a:pt x="287" y="198"/>
                  </a:lnTo>
                  <a:lnTo>
                    <a:pt x="289" y="196"/>
                  </a:lnTo>
                  <a:lnTo>
                    <a:pt x="289" y="193"/>
                  </a:lnTo>
                  <a:lnTo>
                    <a:pt x="291" y="189"/>
                  </a:lnTo>
                  <a:lnTo>
                    <a:pt x="294" y="186"/>
                  </a:lnTo>
                  <a:lnTo>
                    <a:pt x="294" y="184"/>
                  </a:lnTo>
                  <a:lnTo>
                    <a:pt x="296" y="181"/>
                  </a:lnTo>
                  <a:lnTo>
                    <a:pt x="296" y="176"/>
                  </a:lnTo>
                  <a:lnTo>
                    <a:pt x="296" y="174"/>
                  </a:lnTo>
                  <a:lnTo>
                    <a:pt x="299" y="171"/>
                  </a:lnTo>
                  <a:lnTo>
                    <a:pt x="299" y="169"/>
                  </a:lnTo>
                  <a:lnTo>
                    <a:pt x="299" y="166"/>
                  </a:lnTo>
                  <a:lnTo>
                    <a:pt x="299" y="164"/>
                  </a:lnTo>
                  <a:lnTo>
                    <a:pt x="299" y="162"/>
                  </a:lnTo>
                  <a:lnTo>
                    <a:pt x="299" y="157"/>
                  </a:lnTo>
                  <a:lnTo>
                    <a:pt x="299" y="154"/>
                  </a:lnTo>
                  <a:lnTo>
                    <a:pt x="299" y="152"/>
                  </a:lnTo>
                  <a:lnTo>
                    <a:pt x="296" y="149"/>
                  </a:lnTo>
                  <a:lnTo>
                    <a:pt x="296" y="147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4" y="139"/>
                  </a:lnTo>
                  <a:lnTo>
                    <a:pt x="294" y="137"/>
                  </a:lnTo>
                  <a:lnTo>
                    <a:pt x="291" y="135"/>
                  </a:lnTo>
                  <a:lnTo>
                    <a:pt x="291" y="132"/>
                  </a:lnTo>
                  <a:lnTo>
                    <a:pt x="291" y="130"/>
                  </a:lnTo>
                  <a:lnTo>
                    <a:pt x="289" y="127"/>
                  </a:lnTo>
                  <a:lnTo>
                    <a:pt x="287" y="125"/>
                  </a:lnTo>
                  <a:lnTo>
                    <a:pt x="287" y="122"/>
                  </a:lnTo>
                  <a:lnTo>
                    <a:pt x="284" y="120"/>
                  </a:lnTo>
                  <a:lnTo>
                    <a:pt x="284" y="120"/>
                  </a:lnTo>
                  <a:lnTo>
                    <a:pt x="282" y="117"/>
                  </a:lnTo>
                  <a:lnTo>
                    <a:pt x="279" y="115"/>
                  </a:lnTo>
                  <a:lnTo>
                    <a:pt x="277" y="113"/>
                  </a:lnTo>
                  <a:lnTo>
                    <a:pt x="277" y="113"/>
                  </a:lnTo>
                  <a:lnTo>
                    <a:pt x="274" y="110"/>
                  </a:lnTo>
                  <a:lnTo>
                    <a:pt x="272" y="108"/>
                  </a:lnTo>
                  <a:lnTo>
                    <a:pt x="269" y="108"/>
                  </a:lnTo>
                  <a:lnTo>
                    <a:pt x="267" y="105"/>
                  </a:lnTo>
                  <a:lnTo>
                    <a:pt x="264" y="105"/>
                  </a:lnTo>
                  <a:lnTo>
                    <a:pt x="264" y="100"/>
                  </a:lnTo>
                  <a:lnTo>
                    <a:pt x="267" y="98"/>
                  </a:lnTo>
                  <a:lnTo>
                    <a:pt x="267" y="95"/>
                  </a:lnTo>
                  <a:lnTo>
                    <a:pt x="267" y="90"/>
                  </a:lnTo>
                  <a:lnTo>
                    <a:pt x="267" y="88"/>
                  </a:lnTo>
                  <a:lnTo>
                    <a:pt x="267" y="88"/>
                  </a:lnTo>
                  <a:lnTo>
                    <a:pt x="267" y="86"/>
                  </a:lnTo>
                  <a:lnTo>
                    <a:pt x="267" y="83"/>
                  </a:lnTo>
                  <a:lnTo>
                    <a:pt x="267" y="81"/>
                  </a:lnTo>
                  <a:lnTo>
                    <a:pt x="264" y="81"/>
                  </a:lnTo>
                  <a:lnTo>
                    <a:pt x="264" y="78"/>
                  </a:lnTo>
                  <a:lnTo>
                    <a:pt x="264" y="76"/>
                  </a:lnTo>
                  <a:lnTo>
                    <a:pt x="264" y="73"/>
                  </a:lnTo>
                  <a:lnTo>
                    <a:pt x="262" y="68"/>
                  </a:lnTo>
                  <a:lnTo>
                    <a:pt x="262" y="66"/>
                  </a:lnTo>
                  <a:lnTo>
                    <a:pt x="260" y="61"/>
                  </a:lnTo>
                  <a:lnTo>
                    <a:pt x="260" y="59"/>
                  </a:lnTo>
                  <a:lnTo>
                    <a:pt x="257" y="56"/>
                  </a:lnTo>
                  <a:lnTo>
                    <a:pt x="255" y="51"/>
                  </a:lnTo>
                  <a:lnTo>
                    <a:pt x="252" y="49"/>
                  </a:lnTo>
                  <a:lnTo>
                    <a:pt x="252" y="46"/>
                  </a:lnTo>
                  <a:lnTo>
                    <a:pt x="250" y="44"/>
                  </a:lnTo>
                  <a:lnTo>
                    <a:pt x="247" y="41"/>
                  </a:lnTo>
                  <a:lnTo>
                    <a:pt x="245" y="39"/>
                  </a:lnTo>
                  <a:lnTo>
                    <a:pt x="242" y="37"/>
                  </a:lnTo>
                  <a:lnTo>
                    <a:pt x="237" y="34"/>
                  </a:lnTo>
                  <a:lnTo>
                    <a:pt x="235" y="32"/>
                  </a:lnTo>
                  <a:lnTo>
                    <a:pt x="233" y="29"/>
                  </a:lnTo>
                  <a:lnTo>
                    <a:pt x="230" y="27"/>
                  </a:lnTo>
                  <a:lnTo>
                    <a:pt x="225" y="24"/>
                  </a:lnTo>
                  <a:lnTo>
                    <a:pt x="223" y="24"/>
                  </a:lnTo>
                  <a:lnTo>
                    <a:pt x="220" y="22"/>
                  </a:lnTo>
                  <a:lnTo>
                    <a:pt x="215" y="22"/>
                  </a:lnTo>
                  <a:lnTo>
                    <a:pt x="213" y="19"/>
                  </a:lnTo>
                  <a:lnTo>
                    <a:pt x="208" y="19"/>
                  </a:lnTo>
                  <a:lnTo>
                    <a:pt x="206" y="17"/>
                  </a:lnTo>
                  <a:lnTo>
                    <a:pt x="203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198" y="17"/>
                  </a:lnTo>
                  <a:lnTo>
                    <a:pt x="196" y="17"/>
                  </a:lnTo>
                  <a:lnTo>
                    <a:pt x="193" y="17"/>
                  </a:lnTo>
                  <a:lnTo>
                    <a:pt x="191" y="17"/>
                  </a:lnTo>
                  <a:lnTo>
                    <a:pt x="191" y="17"/>
                  </a:lnTo>
                  <a:lnTo>
                    <a:pt x="186" y="17"/>
                  </a:lnTo>
                  <a:lnTo>
                    <a:pt x="184" y="17"/>
                  </a:lnTo>
                  <a:lnTo>
                    <a:pt x="181" y="17"/>
                  </a:lnTo>
                  <a:lnTo>
                    <a:pt x="179" y="17"/>
                  </a:lnTo>
                  <a:lnTo>
                    <a:pt x="174" y="17"/>
                  </a:lnTo>
                  <a:lnTo>
                    <a:pt x="171" y="19"/>
                  </a:lnTo>
                  <a:lnTo>
                    <a:pt x="169" y="19"/>
                  </a:lnTo>
                  <a:lnTo>
                    <a:pt x="166" y="19"/>
                  </a:lnTo>
                  <a:lnTo>
                    <a:pt x="164" y="17"/>
                  </a:lnTo>
                  <a:lnTo>
                    <a:pt x="159" y="14"/>
                  </a:lnTo>
                  <a:lnTo>
                    <a:pt x="157" y="12"/>
                  </a:lnTo>
                  <a:lnTo>
                    <a:pt x="154" y="12"/>
                  </a:lnTo>
                  <a:lnTo>
                    <a:pt x="149" y="10"/>
                  </a:lnTo>
                  <a:lnTo>
                    <a:pt x="147" y="7"/>
                  </a:lnTo>
                  <a:lnTo>
                    <a:pt x="144" y="7"/>
                  </a:lnTo>
                  <a:lnTo>
                    <a:pt x="139" y="5"/>
                  </a:lnTo>
                  <a:lnTo>
                    <a:pt x="137" y="5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25" y="0"/>
                  </a:lnTo>
                  <a:lnTo>
                    <a:pt x="122" y="0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8" y="0"/>
                  </a:lnTo>
                  <a:close/>
                  <a:moveTo>
                    <a:pt x="34" y="93"/>
                  </a:moveTo>
                  <a:lnTo>
                    <a:pt x="34" y="90"/>
                  </a:lnTo>
                  <a:lnTo>
                    <a:pt x="34" y="86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78"/>
                  </a:lnTo>
                  <a:lnTo>
                    <a:pt x="34" y="76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6" y="71"/>
                  </a:lnTo>
                  <a:lnTo>
                    <a:pt x="36" y="68"/>
                  </a:lnTo>
                  <a:lnTo>
                    <a:pt x="36" y="66"/>
                  </a:lnTo>
                  <a:lnTo>
                    <a:pt x="39" y="61"/>
                  </a:lnTo>
                  <a:lnTo>
                    <a:pt x="39" y="59"/>
                  </a:lnTo>
                  <a:lnTo>
                    <a:pt x="41" y="54"/>
                  </a:lnTo>
                  <a:lnTo>
                    <a:pt x="41" y="51"/>
                  </a:lnTo>
                  <a:lnTo>
                    <a:pt x="44" y="49"/>
                  </a:lnTo>
                  <a:lnTo>
                    <a:pt x="46" y="46"/>
                  </a:lnTo>
                  <a:lnTo>
                    <a:pt x="46" y="41"/>
                  </a:lnTo>
                  <a:lnTo>
                    <a:pt x="49" y="39"/>
                  </a:lnTo>
                  <a:lnTo>
                    <a:pt x="51" y="37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9" y="29"/>
                  </a:lnTo>
                  <a:lnTo>
                    <a:pt x="61" y="27"/>
                  </a:lnTo>
                  <a:lnTo>
                    <a:pt x="63" y="24"/>
                  </a:lnTo>
                  <a:lnTo>
                    <a:pt x="68" y="22"/>
                  </a:lnTo>
                  <a:lnTo>
                    <a:pt x="71" y="19"/>
                  </a:lnTo>
                  <a:lnTo>
                    <a:pt x="73" y="19"/>
                  </a:lnTo>
                  <a:lnTo>
                    <a:pt x="78" y="17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5" y="12"/>
                  </a:lnTo>
                  <a:lnTo>
                    <a:pt x="95" y="10"/>
                  </a:lnTo>
                  <a:lnTo>
                    <a:pt x="98" y="10"/>
                  </a:lnTo>
                  <a:lnTo>
                    <a:pt x="100" y="10"/>
                  </a:lnTo>
                  <a:lnTo>
                    <a:pt x="103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25" y="12"/>
                  </a:lnTo>
                  <a:lnTo>
                    <a:pt x="127" y="12"/>
                  </a:lnTo>
                  <a:lnTo>
                    <a:pt x="130" y="12"/>
                  </a:lnTo>
                  <a:lnTo>
                    <a:pt x="132" y="12"/>
                  </a:lnTo>
                  <a:lnTo>
                    <a:pt x="135" y="14"/>
                  </a:lnTo>
                  <a:lnTo>
                    <a:pt x="137" y="14"/>
                  </a:lnTo>
                  <a:lnTo>
                    <a:pt x="139" y="14"/>
                  </a:lnTo>
                  <a:lnTo>
                    <a:pt x="142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7" y="19"/>
                  </a:lnTo>
                  <a:lnTo>
                    <a:pt x="149" y="22"/>
                  </a:lnTo>
                  <a:lnTo>
                    <a:pt x="152" y="22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7" y="27"/>
                  </a:lnTo>
                  <a:lnTo>
                    <a:pt x="159" y="27"/>
                  </a:lnTo>
                  <a:lnTo>
                    <a:pt x="161" y="29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6" y="34"/>
                  </a:lnTo>
                  <a:lnTo>
                    <a:pt x="169" y="37"/>
                  </a:lnTo>
                  <a:lnTo>
                    <a:pt x="169" y="39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4" y="44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39"/>
                  </a:lnTo>
                  <a:lnTo>
                    <a:pt x="181" y="39"/>
                  </a:lnTo>
                  <a:lnTo>
                    <a:pt x="181" y="37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6" y="32"/>
                  </a:lnTo>
                  <a:lnTo>
                    <a:pt x="176" y="29"/>
                  </a:lnTo>
                  <a:lnTo>
                    <a:pt x="174" y="29"/>
                  </a:lnTo>
                  <a:lnTo>
                    <a:pt x="176" y="27"/>
                  </a:lnTo>
                  <a:lnTo>
                    <a:pt x="179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4" y="27"/>
                  </a:lnTo>
                  <a:lnTo>
                    <a:pt x="186" y="27"/>
                  </a:lnTo>
                  <a:lnTo>
                    <a:pt x="188" y="27"/>
                  </a:lnTo>
                  <a:lnTo>
                    <a:pt x="191" y="27"/>
                  </a:lnTo>
                  <a:lnTo>
                    <a:pt x="193" y="27"/>
                  </a:lnTo>
                  <a:lnTo>
                    <a:pt x="196" y="27"/>
                  </a:lnTo>
                  <a:lnTo>
                    <a:pt x="201" y="27"/>
                  </a:lnTo>
                  <a:lnTo>
                    <a:pt x="203" y="27"/>
                  </a:lnTo>
                  <a:lnTo>
                    <a:pt x="206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5" y="32"/>
                  </a:lnTo>
                  <a:lnTo>
                    <a:pt x="218" y="32"/>
                  </a:lnTo>
                  <a:lnTo>
                    <a:pt x="223" y="34"/>
                  </a:lnTo>
                  <a:lnTo>
                    <a:pt x="225" y="37"/>
                  </a:lnTo>
                  <a:lnTo>
                    <a:pt x="228" y="37"/>
                  </a:lnTo>
                  <a:lnTo>
                    <a:pt x="230" y="39"/>
                  </a:lnTo>
                  <a:lnTo>
                    <a:pt x="233" y="41"/>
                  </a:lnTo>
                  <a:lnTo>
                    <a:pt x="235" y="44"/>
                  </a:lnTo>
                  <a:lnTo>
                    <a:pt x="237" y="46"/>
                  </a:lnTo>
                  <a:lnTo>
                    <a:pt x="240" y="46"/>
                  </a:lnTo>
                  <a:lnTo>
                    <a:pt x="240" y="49"/>
                  </a:lnTo>
                  <a:lnTo>
                    <a:pt x="242" y="51"/>
                  </a:lnTo>
                  <a:lnTo>
                    <a:pt x="245" y="54"/>
                  </a:lnTo>
                  <a:lnTo>
                    <a:pt x="247" y="59"/>
                  </a:lnTo>
                  <a:lnTo>
                    <a:pt x="247" y="61"/>
                  </a:lnTo>
                  <a:lnTo>
                    <a:pt x="250" y="63"/>
                  </a:lnTo>
                  <a:lnTo>
                    <a:pt x="250" y="66"/>
                  </a:lnTo>
                  <a:lnTo>
                    <a:pt x="252" y="68"/>
                  </a:lnTo>
                  <a:lnTo>
                    <a:pt x="252" y="71"/>
                  </a:lnTo>
                  <a:lnTo>
                    <a:pt x="255" y="76"/>
                  </a:lnTo>
                  <a:lnTo>
                    <a:pt x="255" y="78"/>
                  </a:lnTo>
                  <a:lnTo>
                    <a:pt x="255" y="81"/>
                  </a:lnTo>
                  <a:lnTo>
                    <a:pt x="255" y="83"/>
                  </a:lnTo>
                  <a:lnTo>
                    <a:pt x="257" y="88"/>
                  </a:lnTo>
                  <a:lnTo>
                    <a:pt x="257" y="90"/>
                  </a:lnTo>
                  <a:lnTo>
                    <a:pt x="257" y="93"/>
                  </a:lnTo>
                  <a:lnTo>
                    <a:pt x="255" y="95"/>
                  </a:lnTo>
                  <a:lnTo>
                    <a:pt x="255" y="98"/>
                  </a:lnTo>
                  <a:lnTo>
                    <a:pt x="255" y="100"/>
                  </a:lnTo>
                  <a:lnTo>
                    <a:pt x="255" y="103"/>
                  </a:lnTo>
                  <a:lnTo>
                    <a:pt x="255" y="105"/>
                  </a:lnTo>
                  <a:lnTo>
                    <a:pt x="252" y="110"/>
                  </a:lnTo>
                  <a:lnTo>
                    <a:pt x="255" y="110"/>
                  </a:lnTo>
                  <a:lnTo>
                    <a:pt x="257" y="113"/>
                  </a:lnTo>
                  <a:lnTo>
                    <a:pt x="260" y="115"/>
                  </a:lnTo>
                  <a:lnTo>
                    <a:pt x="262" y="115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9" y="120"/>
                  </a:lnTo>
                  <a:lnTo>
                    <a:pt x="272" y="120"/>
                  </a:lnTo>
                  <a:lnTo>
                    <a:pt x="272" y="122"/>
                  </a:lnTo>
                  <a:lnTo>
                    <a:pt x="274" y="125"/>
                  </a:lnTo>
                  <a:lnTo>
                    <a:pt x="277" y="127"/>
                  </a:lnTo>
                  <a:lnTo>
                    <a:pt x="277" y="130"/>
                  </a:lnTo>
                  <a:lnTo>
                    <a:pt x="279" y="130"/>
                  </a:lnTo>
                  <a:lnTo>
                    <a:pt x="282" y="132"/>
                  </a:lnTo>
                  <a:lnTo>
                    <a:pt x="282" y="135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4" y="142"/>
                  </a:lnTo>
                  <a:lnTo>
                    <a:pt x="287" y="144"/>
                  </a:lnTo>
                  <a:lnTo>
                    <a:pt x="287" y="147"/>
                  </a:lnTo>
                  <a:lnTo>
                    <a:pt x="287" y="149"/>
                  </a:lnTo>
                  <a:lnTo>
                    <a:pt x="287" y="152"/>
                  </a:lnTo>
                  <a:lnTo>
                    <a:pt x="289" y="154"/>
                  </a:lnTo>
                  <a:lnTo>
                    <a:pt x="289" y="157"/>
                  </a:lnTo>
                  <a:lnTo>
                    <a:pt x="289" y="159"/>
                  </a:lnTo>
                  <a:lnTo>
                    <a:pt x="289" y="162"/>
                  </a:lnTo>
                  <a:lnTo>
                    <a:pt x="289" y="164"/>
                  </a:lnTo>
                  <a:lnTo>
                    <a:pt x="289" y="164"/>
                  </a:lnTo>
                  <a:lnTo>
                    <a:pt x="289" y="166"/>
                  </a:lnTo>
                  <a:lnTo>
                    <a:pt x="287" y="169"/>
                  </a:lnTo>
                  <a:lnTo>
                    <a:pt x="287" y="171"/>
                  </a:lnTo>
                  <a:lnTo>
                    <a:pt x="287" y="174"/>
                  </a:lnTo>
                  <a:lnTo>
                    <a:pt x="287" y="176"/>
                  </a:lnTo>
                  <a:lnTo>
                    <a:pt x="284" y="181"/>
                  </a:lnTo>
                  <a:lnTo>
                    <a:pt x="284" y="184"/>
                  </a:lnTo>
                  <a:lnTo>
                    <a:pt x="282" y="186"/>
                  </a:lnTo>
                  <a:lnTo>
                    <a:pt x="282" y="189"/>
                  </a:lnTo>
                  <a:lnTo>
                    <a:pt x="279" y="189"/>
                  </a:lnTo>
                  <a:lnTo>
                    <a:pt x="279" y="191"/>
                  </a:lnTo>
                  <a:lnTo>
                    <a:pt x="277" y="193"/>
                  </a:lnTo>
                  <a:lnTo>
                    <a:pt x="274" y="196"/>
                  </a:lnTo>
                  <a:lnTo>
                    <a:pt x="274" y="198"/>
                  </a:lnTo>
                  <a:lnTo>
                    <a:pt x="272" y="201"/>
                  </a:lnTo>
                  <a:lnTo>
                    <a:pt x="269" y="201"/>
                  </a:lnTo>
                  <a:lnTo>
                    <a:pt x="267" y="203"/>
                  </a:lnTo>
                  <a:lnTo>
                    <a:pt x="264" y="206"/>
                  </a:lnTo>
                  <a:lnTo>
                    <a:pt x="262" y="206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57" y="211"/>
                  </a:lnTo>
                  <a:lnTo>
                    <a:pt x="257" y="211"/>
                  </a:lnTo>
                  <a:lnTo>
                    <a:pt x="255" y="211"/>
                  </a:lnTo>
                  <a:lnTo>
                    <a:pt x="252" y="211"/>
                  </a:lnTo>
                  <a:lnTo>
                    <a:pt x="252" y="213"/>
                  </a:lnTo>
                  <a:lnTo>
                    <a:pt x="250" y="213"/>
                  </a:lnTo>
                  <a:lnTo>
                    <a:pt x="247" y="213"/>
                  </a:lnTo>
                  <a:lnTo>
                    <a:pt x="247" y="213"/>
                  </a:lnTo>
                  <a:lnTo>
                    <a:pt x="245" y="213"/>
                  </a:lnTo>
                  <a:lnTo>
                    <a:pt x="242" y="213"/>
                  </a:lnTo>
                  <a:lnTo>
                    <a:pt x="242" y="215"/>
                  </a:lnTo>
                  <a:lnTo>
                    <a:pt x="240" y="215"/>
                  </a:lnTo>
                  <a:lnTo>
                    <a:pt x="235" y="215"/>
                  </a:lnTo>
                  <a:lnTo>
                    <a:pt x="233" y="215"/>
                  </a:lnTo>
                  <a:lnTo>
                    <a:pt x="230" y="215"/>
                  </a:lnTo>
                  <a:lnTo>
                    <a:pt x="228" y="215"/>
                  </a:lnTo>
                  <a:lnTo>
                    <a:pt x="223" y="213"/>
                  </a:lnTo>
                  <a:lnTo>
                    <a:pt x="220" y="213"/>
                  </a:lnTo>
                  <a:lnTo>
                    <a:pt x="218" y="213"/>
                  </a:lnTo>
                  <a:lnTo>
                    <a:pt x="215" y="213"/>
                  </a:lnTo>
                  <a:lnTo>
                    <a:pt x="213" y="211"/>
                  </a:lnTo>
                  <a:lnTo>
                    <a:pt x="211" y="213"/>
                  </a:lnTo>
                  <a:lnTo>
                    <a:pt x="211" y="215"/>
                  </a:lnTo>
                  <a:lnTo>
                    <a:pt x="208" y="218"/>
                  </a:lnTo>
                  <a:lnTo>
                    <a:pt x="208" y="218"/>
                  </a:lnTo>
                  <a:lnTo>
                    <a:pt x="206" y="220"/>
                  </a:lnTo>
                  <a:lnTo>
                    <a:pt x="203" y="223"/>
                  </a:lnTo>
                  <a:lnTo>
                    <a:pt x="203" y="223"/>
                  </a:lnTo>
                  <a:lnTo>
                    <a:pt x="201" y="225"/>
                  </a:lnTo>
                  <a:lnTo>
                    <a:pt x="201" y="228"/>
                  </a:lnTo>
                  <a:lnTo>
                    <a:pt x="198" y="228"/>
                  </a:lnTo>
                  <a:lnTo>
                    <a:pt x="196" y="230"/>
                  </a:lnTo>
                  <a:lnTo>
                    <a:pt x="196" y="230"/>
                  </a:lnTo>
                  <a:lnTo>
                    <a:pt x="193" y="233"/>
                  </a:lnTo>
                  <a:lnTo>
                    <a:pt x="191" y="233"/>
                  </a:lnTo>
                  <a:lnTo>
                    <a:pt x="191" y="235"/>
                  </a:lnTo>
                  <a:lnTo>
                    <a:pt x="188" y="235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1" y="240"/>
                  </a:lnTo>
                  <a:lnTo>
                    <a:pt x="179" y="240"/>
                  </a:lnTo>
                  <a:lnTo>
                    <a:pt x="176" y="242"/>
                  </a:lnTo>
                  <a:lnTo>
                    <a:pt x="174" y="242"/>
                  </a:lnTo>
                  <a:lnTo>
                    <a:pt x="171" y="242"/>
                  </a:lnTo>
                  <a:lnTo>
                    <a:pt x="171" y="242"/>
                  </a:lnTo>
                  <a:lnTo>
                    <a:pt x="169" y="242"/>
                  </a:lnTo>
                  <a:lnTo>
                    <a:pt x="166" y="245"/>
                  </a:lnTo>
                  <a:lnTo>
                    <a:pt x="164" y="245"/>
                  </a:lnTo>
                  <a:lnTo>
                    <a:pt x="161" y="245"/>
                  </a:lnTo>
                  <a:lnTo>
                    <a:pt x="159" y="245"/>
                  </a:lnTo>
                  <a:lnTo>
                    <a:pt x="157" y="245"/>
                  </a:lnTo>
                  <a:lnTo>
                    <a:pt x="154" y="245"/>
                  </a:lnTo>
                  <a:lnTo>
                    <a:pt x="152" y="245"/>
                  </a:lnTo>
                  <a:lnTo>
                    <a:pt x="149" y="245"/>
                  </a:lnTo>
                  <a:lnTo>
                    <a:pt x="147" y="245"/>
                  </a:lnTo>
                  <a:lnTo>
                    <a:pt x="144" y="245"/>
                  </a:lnTo>
                  <a:lnTo>
                    <a:pt x="142" y="245"/>
                  </a:lnTo>
                  <a:lnTo>
                    <a:pt x="139" y="242"/>
                  </a:lnTo>
                  <a:lnTo>
                    <a:pt x="137" y="242"/>
                  </a:lnTo>
                  <a:lnTo>
                    <a:pt x="135" y="242"/>
                  </a:lnTo>
                  <a:lnTo>
                    <a:pt x="132" y="240"/>
                  </a:lnTo>
                  <a:lnTo>
                    <a:pt x="130" y="240"/>
                  </a:lnTo>
                  <a:lnTo>
                    <a:pt x="127" y="240"/>
                  </a:lnTo>
                  <a:lnTo>
                    <a:pt x="125" y="238"/>
                  </a:lnTo>
                  <a:lnTo>
                    <a:pt x="122" y="238"/>
                  </a:lnTo>
                  <a:lnTo>
                    <a:pt x="122" y="235"/>
                  </a:lnTo>
                  <a:lnTo>
                    <a:pt x="120" y="235"/>
                  </a:lnTo>
                  <a:lnTo>
                    <a:pt x="117" y="233"/>
                  </a:lnTo>
                  <a:lnTo>
                    <a:pt x="115" y="233"/>
                  </a:lnTo>
                  <a:lnTo>
                    <a:pt x="112" y="230"/>
                  </a:lnTo>
                  <a:lnTo>
                    <a:pt x="110" y="230"/>
                  </a:lnTo>
                  <a:lnTo>
                    <a:pt x="110" y="228"/>
                  </a:lnTo>
                  <a:lnTo>
                    <a:pt x="108" y="225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3" y="220"/>
                  </a:lnTo>
                  <a:lnTo>
                    <a:pt x="100" y="218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8" y="213"/>
                  </a:lnTo>
                  <a:lnTo>
                    <a:pt x="95" y="211"/>
                  </a:lnTo>
                  <a:lnTo>
                    <a:pt x="95" y="208"/>
                  </a:lnTo>
                  <a:lnTo>
                    <a:pt x="93" y="206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0" y="201"/>
                  </a:lnTo>
                  <a:lnTo>
                    <a:pt x="90" y="201"/>
                  </a:lnTo>
                  <a:lnTo>
                    <a:pt x="90" y="201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203"/>
                  </a:lnTo>
                  <a:lnTo>
                    <a:pt x="83" y="203"/>
                  </a:lnTo>
                  <a:lnTo>
                    <a:pt x="83" y="203"/>
                  </a:lnTo>
                  <a:lnTo>
                    <a:pt x="83" y="206"/>
                  </a:lnTo>
                  <a:lnTo>
                    <a:pt x="83" y="206"/>
                  </a:lnTo>
                  <a:lnTo>
                    <a:pt x="83" y="206"/>
                  </a:lnTo>
                  <a:lnTo>
                    <a:pt x="83" y="206"/>
                  </a:lnTo>
                  <a:lnTo>
                    <a:pt x="83" y="206"/>
                  </a:lnTo>
                  <a:lnTo>
                    <a:pt x="83" y="208"/>
                  </a:lnTo>
                  <a:lnTo>
                    <a:pt x="85" y="211"/>
                  </a:lnTo>
                  <a:lnTo>
                    <a:pt x="85" y="213"/>
                  </a:lnTo>
                  <a:lnTo>
                    <a:pt x="88" y="215"/>
                  </a:lnTo>
                  <a:lnTo>
                    <a:pt x="88" y="218"/>
                  </a:lnTo>
                  <a:lnTo>
                    <a:pt x="90" y="220"/>
                  </a:lnTo>
                  <a:lnTo>
                    <a:pt x="93" y="223"/>
                  </a:lnTo>
                  <a:lnTo>
                    <a:pt x="93" y="225"/>
                  </a:lnTo>
                  <a:lnTo>
                    <a:pt x="90" y="225"/>
                  </a:lnTo>
                  <a:lnTo>
                    <a:pt x="88" y="225"/>
                  </a:lnTo>
                  <a:lnTo>
                    <a:pt x="85" y="225"/>
                  </a:lnTo>
                  <a:lnTo>
                    <a:pt x="81" y="225"/>
                  </a:lnTo>
                  <a:lnTo>
                    <a:pt x="78" y="225"/>
                  </a:lnTo>
                  <a:lnTo>
                    <a:pt x="73" y="225"/>
                  </a:lnTo>
                  <a:lnTo>
                    <a:pt x="71" y="225"/>
                  </a:lnTo>
                  <a:lnTo>
                    <a:pt x="66" y="225"/>
                  </a:lnTo>
                  <a:lnTo>
                    <a:pt x="63" y="223"/>
                  </a:lnTo>
                  <a:lnTo>
                    <a:pt x="61" y="223"/>
                  </a:lnTo>
                  <a:lnTo>
                    <a:pt x="56" y="223"/>
                  </a:lnTo>
                  <a:lnTo>
                    <a:pt x="54" y="220"/>
                  </a:lnTo>
                  <a:lnTo>
                    <a:pt x="51" y="220"/>
                  </a:lnTo>
                  <a:lnTo>
                    <a:pt x="46" y="218"/>
                  </a:lnTo>
                  <a:lnTo>
                    <a:pt x="44" y="215"/>
                  </a:lnTo>
                  <a:lnTo>
                    <a:pt x="41" y="215"/>
                  </a:lnTo>
                  <a:lnTo>
                    <a:pt x="39" y="213"/>
                  </a:lnTo>
                  <a:lnTo>
                    <a:pt x="36" y="211"/>
                  </a:lnTo>
                  <a:lnTo>
                    <a:pt x="34" y="208"/>
                  </a:lnTo>
                  <a:lnTo>
                    <a:pt x="32" y="206"/>
                  </a:lnTo>
                  <a:lnTo>
                    <a:pt x="29" y="203"/>
                  </a:lnTo>
                  <a:lnTo>
                    <a:pt x="27" y="201"/>
                  </a:lnTo>
                  <a:lnTo>
                    <a:pt x="24" y="198"/>
                  </a:lnTo>
                  <a:lnTo>
                    <a:pt x="22" y="196"/>
                  </a:lnTo>
                  <a:lnTo>
                    <a:pt x="19" y="193"/>
                  </a:lnTo>
                  <a:lnTo>
                    <a:pt x="19" y="191"/>
                  </a:lnTo>
                  <a:lnTo>
                    <a:pt x="17" y="189"/>
                  </a:lnTo>
                  <a:lnTo>
                    <a:pt x="17" y="186"/>
                  </a:lnTo>
                  <a:lnTo>
                    <a:pt x="14" y="181"/>
                  </a:lnTo>
                  <a:lnTo>
                    <a:pt x="14" y="179"/>
                  </a:lnTo>
                  <a:lnTo>
                    <a:pt x="12" y="176"/>
                  </a:lnTo>
                  <a:lnTo>
                    <a:pt x="12" y="171"/>
                  </a:lnTo>
                  <a:lnTo>
                    <a:pt x="12" y="169"/>
                  </a:lnTo>
                  <a:lnTo>
                    <a:pt x="9" y="166"/>
                  </a:lnTo>
                  <a:lnTo>
                    <a:pt x="9" y="162"/>
                  </a:lnTo>
                  <a:lnTo>
                    <a:pt x="9" y="159"/>
                  </a:lnTo>
                  <a:lnTo>
                    <a:pt x="9" y="157"/>
                  </a:lnTo>
                  <a:lnTo>
                    <a:pt x="9" y="154"/>
                  </a:lnTo>
                  <a:lnTo>
                    <a:pt x="12" y="149"/>
                  </a:lnTo>
                  <a:lnTo>
                    <a:pt x="12" y="147"/>
                  </a:lnTo>
                  <a:lnTo>
                    <a:pt x="12" y="144"/>
                  </a:lnTo>
                  <a:lnTo>
                    <a:pt x="12" y="142"/>
                  </a:lnTo>
                  <a:lnTo>
                    <a:pt x="14" y="139"/>
                  </a:lnTo>
                  <a:lnTo>
                    <a:pt x="14" y="137"/>
                  </a:lnTo>
                  <a:lnTo>
                    <a:pt x="14" y="135"/>
                  </a:lnTo>
                  <a:lnTo>
                    <a:pt x="17" y="132"/>
                  </a:lnTo>
                  <a:lnTo>
                    <a:pt x="17" y="130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22" y="122"/>
                  </a:lnTo>
                  <a:lnTo>
                    <a:pt x="24" y="120"/>
                  </a:lnTo>
                  <a:lnTo>
                    <a:pt x="24" y="117"/>
                  </a:lnTo>
                  <a:lnTo>
                    <a:pt x="27" y="115"/>
                  </a:lnTo>
                  <a:lnTo>
                    <a:pt x="29" y="115"/>
                  </a:lnTo>
                  <a:lnTo>
                    <a:pt x="32" y="113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6" y="108"/>
                  </a:lnTo>
                  <a:lnTo>
                    <a:pt x="39" y="105"/>
                  </a:lnTo>
                  <a:lnTo>
                    <a:pt x="41" y="103"/>
                  </a:lnTo>
                  <a:lnTo>
                    <a:pt x="44" y="103"/>
                  </a:lnTo>
                  <a:lnTo>
                    <a:pt x="46" y="100"/>
                  </a:lnTo>
                  <a:lnTo>
                    <a:pt x="49" y="100"/>
                  </a:lnTo>
                  <a:lnTo>
                    <a:pt x="51" y="98"/>
                  </a:lnTo>
                  <a:lnTo>
                    <a:pt x="54" y="98"/>
                  </a:lnTo>
                  <a:lnTo>
                    <a:pt x="59" y="95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56" y="86"/>
                  </a:lnTo>
                  <a:lnTo>
                    <a:pt x="54" y="86"/>
                  </a:lnTo>
                  <a:lnTo>
                    <a:pt x="51" y="88"/>
                  </a:lnTo>
                  <a:lnTo>
                    <a:pt x="46" y="88"/>
                  </a:lnTo>
                  <a:lnTo>
                    <a:pt x="44" y="90"/>
                  </a:lnTo>
                  <a:lnTo>
                    <a:pt x="41" y="93"/>
                  </a:lnTo>
                  <a:lnTo>
                    <a:pt x="39" y="93"/>
                  </a:lnTo>
                  <a:lnTo>
                    <a:pt x="36" y="95"/>
                  </a:lnTo>
                  <a:lnTo>
                    <a:pt x="34" y="93"/>
                  </a:lnTo>
                  <a:close/>
                  <a:moveTo>
                    <a:pt x="149" y="68"/>
                  </a:moveTo>
                  <a:lnTo>
                    <a:pt x="144" y="68"/>
                  </a:lnTo>
                  <a:lnTo>
                    <a:pt x="142" y="68"/>
                  </a:lnTo>
                  <a:lnTo>
                    <a:pt x="139" y="68"/>
                  </a:lnTo>
                  <a:lnTo>
                    <a:pt x="135" y="71"/>
                  </a:lnTo>
                  <a:lnTo>
                    <a:pt x="132" y="71"/>
                  </a:lnTo>
                  <a:lnTo>
                    <a:pt x="130" y="71"/>
                  </a:lnTo>
                  <a:lnTo>
                    <a:pt x="127" y="73"/>
                  </a:lnTo>
                  <a:lnTo>
                    <a:pt x="125" y="73"/>
                  </a:lnTo>
                  <a:lnTo>
                    <a:pt x="120" y="76"/>
                  </a:lnTo>
                  <a:lnTo>
                    <a:pt x="117" y="76"/>
                  </a:lnTo>
                  <a:lnTo>
                    <a:pt x="115" y="78"/>
                  </a:lnTo>
                  <a:lnTo>
                    <a:pt x="112" y="78"/>
                  </a:lnTo>
                  <a:lnTo>
                    <a:pt x="110" y="81"/>
                  </a:lnTo>
                  <a:lnTo>
                    <a:pt x="108" y="83"/>
                  </a:lnTo>
                  <a:lnTo>
                    <a:pt x="105" y="83"/>
                  </a:lnTo>
                  <a:lnTo>
                    <a:pt x="103" y="86"/>
                  </a:lnTo>
                  <a:lnTo>
                    <a:pt x="100" y="88"/>
                  </a:lnTo>
                  <a:lnTo>
                    <a:pt x="100" y="90"/>
                  </a:lnTo>
                  <a:lnTo>
                    <a:pt x="98" y="93"/>
                  </a:lnTo>
                  <a:lnTo>
                    <a:pt x="95" y="95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0" y="103"/>
                  </a:lnTo>
                  <a:lnTo>
                    <a:pt x="90" y="105"/>
                  </a:lnTo>
                  <a:lnTo>
                    <a:pt x="88" y="108"/>
                  </a:lnTo>
                  <a:lnTo>
                    <a:pt x="88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5" y="120"/>
                  </a:lnTo>
                  <a:lnTo>
                    <a:pt x="85" y="125"/>
                  </a:lnTo>
                  <a:lnTo>
                    <a:pt x="85" y="127"/>
                  </a:lnTo>
                  <a:lnTo>
                    <a:pt x="85" y="130"/>
                  </a:lnTo>
                  <a:lnTo>
                    <a:pt x="85" y="132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5" y="144"/>
                  </a:lnTo>
                  <a:lnTo>
                    <a:pt x="88" y="149"/>
                  </a:lnTo>
                  <a:lnTo>
                    <a:pt x="88" y="152"/>
                  </a:lnTo>
                  <a:lnTo>
                    <a:pt x="90" y="154"/>
                  </a:lnTo>
                  <a:lnTo>
                    <a:pt x="90" y="157"/>
                  </a:lnTo>
                  <a:lnTo>
                    <a:pt x="93" y="159"/>
                  </a:lnTo>
                  <a:lnTo>
                    <a:pt x="93" y="162"/>
                  </a:lnTo>
                  <a:lnTo>
                    <a:pt x="95" y="164"/>
                  </a:lnTo>
                  <a:lnTo>
                    <a:pt x="98" y="166"/>
                  </a:lnTo>
                  <a:lnTo>
                    <a:pt x="98" y="169"/>
                  </a:lnTo>
                  <a:lnTo>
                    <a:pt x="100" y="171"/>
                  </a:lnTo>
                  <a:lnTo>
                    <a:pt x="103" y="174"/>
                  </a:lnTo>
                  <a:lnTo>
                    <a:pt x="105" y="176"/>
                  </a:lnTo>
                  <a:lnTo>
                    <a:pt x="108" y="176"/>
                  </a:lnTo>
                  <a:lnTo>
                    <a:pt x="110" y="179"/>
                  </a:lnTo>
                  <a:lnTo>
                    <a:pt x="112" y="181"/>
                  </a:lnTo>
                  <a:lnTo>
                    <a:pt x="115" y="184"/>
                  </a:lnTo>
                  <a:lnTo>
                    <a:pt x="117" y="184"/>
                  </a:lnTo>
                  <a:lnTo>
                    <a:pt x="120" y="186"/>
                  </a:lnTo>
                  <a:lnTo>
                    <a:pt x="122" y="186"/>
                  </a:lnTo>
                  <a:lnTo>
                    <a:pt x="125" y="189"/>
                  </a:lnTo>
                  <a:lnTo>
                    <a:pt x="130" y="189"/>
                  </a:lnTo>
                  <a:lnTo>
                    <a:pt x="132" y="189"/>
                  </a:lnTo>
                  <a:lnTo>
                    <a:pt x="135" y="191"/>
                  </a:lnTo>
                  <a:lnTo>
                    <a:pt x="137" y="191"/>
                  </a:lnTo>
                  <a:lnTo>
                    <a:pt x="139" y="191"/>
                  </a:lnTo>
                  <a:lnTo>
                    <a:pt x="144" y="191"/>
                  </a:lnTo>
                  <a:lnTo>
                    <a:pt x="147" y="191"/>
                  </a:lnTo>
                  <a:lnTo>
                    <a:pt x="149" y="191"/>
                  </a:lnTo>
                  <a:lnTo>
                    <a:pt x="152" y="191"/>
                  </a:lnTo>
                  <a:lnTo>
                    <a:pt x="157" y="191"/>
                  </a:lnTo>
                  <a:lnTo>
                    <a:pt x="159" y="191"/>
                  </a:lnTo>
                  <a:lnTo>
                    <a:pt x="161" y="191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71" y="189"/>
                  </a:lnTo>
                  <a:lnTo>
                    <a:pt x="171" y="186"/>
                  </a:lnTo>
                  <a:lnTo>
                    <a:pt x="171" y="186"/>
                  </a:lnTo>
                  <a:lnTo>
                    <a:pt x="171" y="186"/>
                  </a:lnTo>
                  <a:lnTo>
                    <a:pt x="171" y="186"/>
                  </a:lnTo>
                  <a:lnTo>
                    <a:pt x="171" y="186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4" y="181"/>
                  </a:lnTo>
                  <a:lnTo>
                    <a:pt x="174" y="181"/>
                  </a:lnTo>
                  <a:lnTo>
                    <a:pt x="174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79"/>
                  </a:lnTo>
                  <a:lnTo>
                    <a:pt x="169" y="179"/>
                  </a:lnTo>
                  <a:lnTo>
                    <a:pt x="169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4" y="179"/>
                  </a:lnTo>
                  <a:lnTo>
                    <a:pt x="161" y="179"/>
                  </a:lnTo>
                  <a:lnTo>
                    <a:pt x="159" y="181"/>
                  </a:lnTo>
                  <a:lnTo>
                    <a:pt x="157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49" y="181"/>
                  </a:lnTo>
                  <a:lnTo>
                    <a:pt x="147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39" y="181"/>
                  </a:lnTo>
                  <a:lnTo>
                    <a:pt x="137" y="181"/>
                  </a:lnTo>
                  <a:lnTo>
                    <a:pt x="135" y="179"/>
                  </a:lnTo>
                  <a:lnTo>
                    <a:pt x="132" y="179"/>
                  </a:lnTo>
                  <a:lnTo>
                    <a:pt x="130" y="179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2" y="176"/>
                  </a:lnTo>
                  <a:lnTo>
                    <a:pt x="120" y="174"/>
                  </a:lnTo>
                  <a:lnTo>
                    <a:pt x="117" y="174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2" y="169"/>
                  </a:lnTo>
                  <a:lnTo>
                    <a:pt x="110" y="166"/>
                  </a:lnTo>
                  <a:lnTo>
                    <a:pt x="108" y="164"/>
                  </a:lnTo>
                  <a:lnTo>
                    <a:pt x="108" y="162"/>
                  </a:lnTo>
                  <a:lnTo>
                    <a:pt x="105" y="162"/>
                  </a:lnTo>
                  <a:lnTo>
                    <a:pt x="103" y="159"/>
                  </a:lnTo>
                  <a:lnTo>
                    <a:pt x="103" y="157"/>
                  </a:lnTo>
                  <a:lnTo>
                    <a:pt x="100" y="154"/>
                  </a:lnTo>
                  <a:lnTo>
                    <a:pt x="100" y="152"/>
                  </a:lnTo>
                  <a:lnTo>
                    <a:pt x="98" y="149"/>
                  </a:lnTo>
                  <a:lnTo>
                    <a:pt x="98" y="147"/>
                  </a:lnTo>
                  <a:lnTo>
                    <a:pt x="98" y="144"/>
                  </a:lnTo>
                  <a:lnTo>
                    <a:pt x="95" y="142"/>
                  </a:lnTo>
                  <a:lnTo>
                    <a:pt x="95" y="139"/>
                  </a:lnTo>
                  <a:lnTo>
                    <a:pt x="95" y="137"/>
                  </a:lnTo>
                  <a:lnTo>
                    <a:pt x="95" y="135"/>
                  </a:lnTo>
                  <a:lnTo>
                    <a:pt x="95" y="132"/>
                  </a:lnTo>
                  <a:lnTo>
                    <a:pt x="95" y="130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5" y="122"/>
                  </a:lnTo>
                  <a:lnTo>
                    <a:pt x="95" y="120"/>
                  </a:lnTo>
                  <a:lnTo>
                    <a:pt x="95" y="117"/>
                  </a:lnTo>
                  <a:lnTo>
                    <a:pt x="98" y="115"/>
                  </a:lnTo>
                  <a:lnTo>
                    <a:pt x="98" y="113"/>
                  </a:lnTo>
                  <a:lnTo>
                    <a:pt x="98" y="110"/>
                  </a:lnTo>
                  <a:lnTo>
                    <a:pt x="100" y="108"/>
                  </a:lnTo>
                  <a:lnTo>
                    <a:pt x="100" y="105"/>
                  </a:lnTo>
                  <a:lnTo>
                    <a:pt x="103" y="103"/>
                  </a:lnTo>
                  <a:lnTo>
                    <a:pt x="103" y="100"/>
                  </a:lnTo>
                  <a:lnTo>
                    <a:pt x="105" y="100"/>
                  </a:lnTo>
                  <a:lnTo>
                    <a:pt x="108" y="98"/>
                  </a:lnTo>
                  <a:lnTo>
                    <a:pt x="108" y="95"/>
                  </a:lnTo>
                  <a:lnTo>
                    <a:pt x="110" y="93"/>
                  </a:lnTo>
                  <a:lnTo>
                    <a:pt x="112" y="93"/>
                  </a:lnTo>
                  <a:lnTo>
                    <a:pt x="115" y="90"/>
                  </a:lnTo>
                  <a:lnTo>
                    <a:pt x="117" y="88"/>
                  </a:lnTo>
                  <a:lnTo>
                    <a:pt x="117" y="88"/>
                  </a:lnTo>
                  <a:lnTo>
                    <a:pt x="120" y="86"/>
                  </a:lnTo>
                  <a:lnTo>
                    <a:pt x="122" y="86"/>
                  </a:lnTo>
                  <a:lnTo>
                    <a:pt x="125" y="83"/>
                  </a:lnTo>
                  <a:lnTo>
                    <a:pt x="127" y="83"/>
                  </a:lnTo>
                  <a:lnTo>
                    <a:pt x="130" y="81"/>
                  </a:lnTo>
                  <a:lnTo>
                    <a:pt x="132" y="81"/>
                  </a:lnTo>
                  <a:lnTo>
                    <a:pt x="135" y="81"/>
                  </a:lnTo>
                  <a:lnTo>
                    <a:pt x="137" y="81"/>
                  </a:lnTo>
                  <a:lnTo>
                    <a:pt x="139" y="78"/>
                  </a:lnTo>
                  <a:lnTo>
                    <a:pt x="142" y="78"/>
                  </a:lnTo>
                  <a:lnTo>
                    <a:pt x="147" y="78"/>
                  </a:lnTo>
                  <a:lnTo>
                    <a:pt x="149" y="78"/>
                  </a:lnTo>
                  <a:lnTo>
                    <a:pt x="152" y="78"/>
                  </a:lnTo>
                  <a:lnTo>
                    <a:pt x="152" y="78"/>
                  </a:lnTo>
                  <a:lnTo>
                    <a:pt x="154" y="78"/>
                  </a:lnTo>
                  <a:lnTo>
                    <a:pt x="157" y="78"/>
                  </a:lnTo>
                  <a:lnTo>
                    <a:pt x="159" y="81"/>
                  </a:lnTo>
                  <a:lnTo>
                    <a:pt x="161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6" y="81"/>
                  </a:lnTo>
                  <a:lnTo>
                    <a:pt x="169" y="83"/>
                  </a:lnTo>
                  <a:lnTo>
                    <a:pt x="171" y="83"/>
                  </a:lnTo>
                  <a:lnTo>
                    <a:pt x="174" y="83"/>
                  </a:lnTo>
                  <a:lnTo>
                    <a:pt x="174" y="86"/>
                  </a:lnTo>
                  <a:lnTo>
                    <a:pt x="176" y="86"/>
                  </a:lnTo>
                  <a:lnTo>
                    <a:pt x="179" y="86"/>
                  </a:lnTo>
                  <a:lnTo>
                    <a:pt x="179" y="88"/>
                  </a:lnTo>
                  <a:lnTo>
                    <a:pt x="181" y="88"/>
                  </a:lnTo>
                  <a:lnTo>
                    <a:pt x="184" y="90"/>
                  </a:lnTo>
                  <a:lnTo>
                    <a:pt x="186" y="93"/>
                  </a:lnTo>
                  <a:lnTo>
                    <a:pt x="188" y="95"/>
                  </a:lnTo>
                  <a:lnTo>
                    <a:pt x="191" y="98"/>
                  </a:lnTo>
                  <a:lnTo>
                    <a:pt x="191" y="100"/>
                  </a:lnTo>
                  <a:lnTo>
                    <a:pt x="193" y="100"/>
                  </a:lnTo>
                  <a:lnTo>
                    <a:pt x="193" y="103"/>
                  </a:lnTo>
                  <a:lnTo>
                    <a:pt x="196" y="105"/>
                  </a:lnTo>
                  <a:lnTo>
                    <a:pt x="196" y="108"/>
                  </a:lnTo>
                  <a:lnTo>
                    <a:pt x="198" y="110"/>
                  </a:lnTo>
                  <a:lnTo>
                    <a:pt x="198" y="115"/>
                  </a:lnTo>
                  <a:lnTo>
                    <a:pt x="198" y="117"/>
                  </a:lnTo>
                  <a:lnTo>
                    <a:pt x="198" y="120"/>
                  </a:lnTo>
                  <a:lnTo>
                    <a:pt x="198" y="122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8" y="135"/>
                  </a:lnTo>
                  <a:lnTo>
                    <a:pt x="196" y="137"/>
                  </a:lnTo>
                  <a:lnTo>
                    <a:pt x="196" y="139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3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88" y="149"/>
                  </a:lnTo>
                  <a:lnTo>
                    <a:pt x="188" y="149"/>
                  </a:lnTo>
                  <a:lnTo>
                    <a:pt x="188" y="149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1" y="152"/>
                  </a:lnTo>
                  <a:lnTo>
                    <a:pt x="181" y="152"/>
                  </a:lnTo>
                  <a:lnTo>
                    <a:pt x="181" y="152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47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4" y="103"/>
                  </a:lnTo>
                  <a:lnTo>
                    <a:pt x="174" y="103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1" y="100"/>
                  </a:lnTo>
                  <a:lnTo>
                    <a:pt x="171" y="100"/>
                  </a:lnTo>
                  <a:lnTo>
                    <a:pt x="171" y="100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9" y="98"/>
                  </a:lnTo>
                  <a:lnTo>
                    <a:pt x="169" y="98"/>
                  </a:lnTo>
                  <a:lnTo>
                    <a:pt x="169" y="98"/>
                  </a:lnTo>
                  <a:lnTo>
                    <a:pt x="169" y="98"/>
                  </a:lnTo>
                  <a:lnTo>
                    <a:pt x="169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1" y="100"/>
                  </a:lnTo>
                  <a:lnTo>
                    <a:pt x="161" y="103"/>
                  </a:lnTo>
                  <a:lnTo>
                    <a:pt x="161" y="103"/>
                  </a:lnTo>
                  <a:lnTo>
                    <a:pt x="161" y="105"/>
                  </a:lnTo>
                  <a:lnTo>
                    <a:pt x="161" y="103"/>
                  </a:lnTo>
                  <a:lnTo>
                    <a:pt x="159" y="103"/>
                  </a:lnTo>
                  <a:lnTo>
                    <a:pt x="157" y="103"/>
                  </a:lnTo>
                  <a:lnTo>
                    <a:pt x="157" y="100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2" y="100"/>
                  </a:lnTo>
                  <a:lnTo>
                    <a:pt x="149" y="100"/>
                  </a:lnTo>
                  <a:lnTo>
                    <a:pt x="147" y="100"/>
                  </a:lnTo>
                  <a:lnTo>
                    <a:pt x="147" y="100"/>
                  </a:lnTo>
                  <a:lnTo>
                    <a:pt x="144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39" y="100"/>
                  </a:lnTo>
                  <a:lnTo>
                    <a:pt x="137" y="100"/>
                  </a:lnTo>
                  <a:lnTo>
                    <a:pt x="137" y="100"/>
                  </a:lnTo>
                  <a:lnTo>
                    <a:pt x="135" y="103"/>
                  </a:lnTo>
                  <a:lnTo>
                    <a:pt x="135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0" y="103"/>
                  </a:lnTo>
                  <a:lnTo>
                    <a:pt x="130" y="105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5" y="108"/>
                  </a:lnTo>
                  <a:lnTo>
                    <a:pt x="125" y="110"/>
                  </a:lnTo>
                  <a:lnTo>
                    <a:pt x="122" y="110"/>
                  </a:lnTo>
                  <a:lnTo>
                    <a:pt x="120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2"/>
                  </a:lnTo>
                  <a:lnTo>
                    <a:pt x="117" y="125"/>
                  </a:lnTo>
                  <a:lnTo>
                    <a:pt x="115" y="127"/>
                  </a:lnTo>
                  <a:lnTo>
                    <a:pt x="115" y="130"/>
                  </a:lnTo>
                  <a:lnTo>
                    <a:pt x="115" y="132"/>
                  </a:lnTo>
                  <a:lnTo>
                    <a:pt x="115" y="135"/>
                  </a:lnTo>
                  <a:lnTo>
                    <a:pt x="117" y="135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39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20" y="144"/>
                  </a:lnTo>
                  <a:lnTo>
                    <a:pt x="120" y="144"/>
                  </a:lnTo>
                  <a:lnTo>
                    <a:pt x="120" y="147"/>
                  </a:lnTo>
                  <a:lnTo>
                    <a:pt x="120" y="147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52"/>
                  </a:lnTo>
                  <a:lnTo>
                    <a:pt x="125" y="152"/>
                  </a:lnTo>
                  <a:lnTo>
                    <a:pt x="125" y="154"/>
                  </a:lnTo>
                  <a:lnTo>
                    <a:pt x="127" y="154"/>
                  </a:lnTo>
                  <a:lnTo>
                    <a:pt x="127" y="154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2" y="157"/>
                  </a:lnTo>
                  <a:lnTo>
                    <a:pt x="132" y="159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7" y="159"/>
                  </a:lnTo>
                  <a:lnTo>
                    <a:pt x="137" y="162"/>
                  </a:lnTo>
                  <a:lnTo>
                    <a:pt x="139" y="162"/>
                  </a:lnTo>
                  <a:lnTo>
                    <a:pt x="142" y="162"/>
                  </a:lnTo>
                  <a:lnTo>
                    <a:pt x="142" y="162"/>
                  </a:lnTo>
                  <a:lnTo>
                    <a:pt x="144" y="162"/>
                  </a:lnTo>
                  <a:lnTo>
                    <a:pt x="147" y="162"/>
                  </a:lnTo>
                  <a:lnTo>
                    <a:pt x="147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52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7" y="159"/>
                  </a:lnTo>
                  <a:lnTo>
                    <a:pt x="157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1" y="157"/>
                  </a:lnTo>
                  <a:lnTo>
                    <a:pt x="161" y="157"/>
                  </a:lnTo>
                  <a:lnTo>
                    <a:pt x="164" y="157"/>
                  </a:lnTo>
                  <a:lnTo>
                    <a:pt x="164" y="154"/>
                  </a:lnTo>
                  <a:lnTo>
                    <a:pt x="166" y="154"/>
                  </a:lnTo>
                  <a:lnTo>
                    <a:pt x="166" y="154"/>
                  </a:lnTo>
                  <a:lnTo>
                    <a:pt x="166" y="154"/>
                  </a:lnTo>
                  <a:lnTo>
                    <a:pt x="169" y="154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71" y="157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6" y="159"/>
                  </a:lnTo>
                  <a:lnTo>
                    <a:pt x="176" y="159"/>
                  </a:lnTo>
                  <a:lnTo>
                    <a:pt x="179" y="162"/>
                  </a:lnTo>
                  <a:lnTo>
                    <a:pt x="179" y="162"/>
                  </a:lnTo>
                  <a:lnTo>
                    <a:pt x="179" y="162"/>
                  </a:lnTo>
                  <a:lnTo>
                    <a:pt x="181" y="162"/>
                  </a:lnTo>
                  <a:lnTo>
                    <a:pt x="181" y="162"/>
                  </a:lnTo>
                  <a:lnTo>
                    <a:pt x="184" y="162"/>
                  </a:lnTo>
                  <a:lnTo>
                    <a:pt x="186" y="162"/>
                  </a:lnTo>
                  <a:lnTo>
                    <a:pt x="188" y="162"/>
                  </a:lnTo>
                  <a:lnTo>
                    <a:pt x="188" y="159"/>
                  </a:lnTo>
                  <a:lnTo>
                    <a:pt x="191" y="159"/>
                  </a:lnTo>
                  <a:lnTo>
                    <a:pt x="191" y="159"/>
                  </a:lnTo>
                  <a:lnTo>
                    <a:pt x="193" y="159"/>
                  </a:lnTo>
                  <a:lnTo>
                    <a:pt x="193" y="157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201" y="152"/>
                  </a:lnTo>
                  <a:lnTo>
                    <a:pt x="201" y="152"/>
                  </a:lnTo>
                  <a:lnTo>
                    <a:pt x="203" y="149"/>
                  </a:lnTo>
                  <a:lnTo>
                    <a:pt x="203" y="149"/>
                  </a:lnTo>
                  <a:lnTo>
                    <a:pt x="203" y="147"/>
                  </a:lnTo>
                  <a:lnTo>
                    <a:pt x="203" y="147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2"/>
                  </a:lnTo>
                  <a:lnTo>
                    <a:pt x="206" y="139"/>
                  </a:lnTo>
                  <a:lnTo>
                    <a:pt x="208" y="139"/>
                  </a:lnTo>
                  <a:lnTo>
                    <a:pt x="208" y="137"/>
                  </a:lnTo>
                  <a:lnTo>
                    <a:pt x="208" y="135"/>
                  </a:lnTo>
                  <a:lnTo>
                    <a:pt x="208" y="135"/>
                  </a:lnTo>
                  <a:lnTo>
                    <a:pt x="208" y="132"/>
                  </a:lnTo>
                  <a:lnTo>
                    <a:pt x="208" y="132"/>
                  </a:lnTo>
                  <a:lnTo>
                    <a:pt x="208" y="127"/>
                  </a:lnTo>
                  <a:lnTo>
                    <a:pt x="208" y="125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8" y="120"/>
                  </a:lnTo>
                  <a:lnTo>
                    <a:pt x="208" y="117"/>
                  </a:lnTo>
                  <a:lnTo>
                    <a:pt x="208" y="117"/>
                  </a:lnTo>
                  <a:lnTo>
                    <a:pt x="208" y="115"/>
                  </a:lnTo>
                  <a:lnTo>
                    <a:pt x="208" y="113"/>
                  </a:lnTo>
                  <a:lnTo>
                    <a:pt x="208" y="113"/>
                  </a:lnTo>
                  <a:lnTo>
                    <a:pt x="208" y="110"/>
                  </a:lnTo>
                  <a:lnTo>
                    <a:pt x="206" y="108"/>
                  </a:lnTo>
                  <a:lnTo>
                    <a:pt x="206" y="108"/>
                  </a:lnTo>
                  <a:lnTo>
                    <a:pt x="206" y="105"/>
                  </a:lnTo>
                  <a:lnTo>
                    <a:pt x="206" y="103"/>
                  </a:lnTo>
                  <a:lnTo>
                    <a:pt x="206" y="103"/>
                  </a:lnTo>
                  <a:lnTo>
                    <a:pt x="203" y="100"/>
                  </a:lnTo>
                  <a:lnTo>
                    <a:pt x="203" y="98"/>
                  </a:lnTo>
                  <a:lnTo>
                    <a:pt x="203" y="98"/>
                  </a:lnTo>
                  <a:lnTo>
                    <a:pt x="201" y="95"/>
                  </a:lnTo>
                  <a:lnTo>
                    <a:pt x="201" y="95"/>
                  </a:lnTo>
                  <a:lnTo>
                    <a:pt x="201" y="93"/>
                  </a:lnTo>
                  <a:lnTo>
                    <a:pt x="198" y="93"/>
                  </a:lnTo>
                  <a:lnTo>
                    <a:pt x="198" y="90"/>
                  </a:lnTo>
                  <a:lnTo>
                    <a:pt x="196" y="90"/>
                  </a:lnTo>
                  <a:lnTo>
                    <a:pt x="196" y="88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1" y="86"/>
                  </a:lnTo>
                  <a:lnTo>
                    <a:pt x="191" y="83"/>
                  </a:lnTo>
                  <a:lnTo>
                    <a:pt x="188" y="83"/>
                  </a:lnTo>
                  <a:lnTo>
                    <a:pt x="188" y="81"/>
                  </a:lnTo>
                  <a:lnTo>
                    <a:pt x="186" y="81"/>
                  </a:lnTo>
                  <a:lnTo>
                    <a:pt x="186" y="78"/>
                  </a:lnTo>
                  <a:lnTo>
                    <a:pt x="184" y="78"/>
                  </a:lnTo>
                  <a:lnTo>
                    <a:pt x="181" y="76"/>
                  </a:lnTo>
                  <a:lnTo>
                    <a:pt x="179" y="76"/>
                  </a:lnTo>
                  <a:lnTo>
                    <a:pt x="176" y="73"/>
                  </a:lnTo>
                  <a:lnTo>
                    <a:pt x="174" y="73"/>
                  </a:lnTo>
                  <a:lnTo>
                    <a:pt x="174" y="73"/>
                  </a:lnTo>
                  <a:lnTo>
                    <a:pt x="171" y="71"/>
                  </a:lnTo>
                  <a:lnTo>
                    <a:pt x="169" y="71"/>
                  </a:lnTo>
                  <a:lnTo>
                    <a:pt x="166" y="71"/>
                  </a:lnTo>
                  <a:lnTo>
                    <a:pt x="164" y="71"/>
                  </a:lnTo>
                  <a:lnTo>
                    <a:pt x="161" y="68"/>
                  </a:lnTo>
                  <a:lnTo>
                    <a:pt x="159" y="68"/>
                  </a:lnTo>
                  <a:lnTo>
                    <a:pt x="157" y="68"/>
                  </a:lnTo>
                  <a:lnTo>
                    <a:pt x="154" y="68"/>
                  </a:lnTo>
                  <a:lnTo>
                    <a:pt x="152" y="68"/>
                  </a:lnTo>
                  <a:lnTo>
                    <a:pt x="149" y="68"/>
                  </a:lnTo>
                  <a:close/>
                  <a:moveTo>
                    <a:pt x="144" y="152"/>
                  </a:moveTo>
                  <a:lnTo>
                    <a:pt x="142" y="152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39" y="149"/>
                  </a:lnTo>
                  <a:lnTo>
                    <a:pt x="139" y="149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5" y="149"/>
                  </a:lnTo>
                  <a:lnTo>
                    <a:pt x="135" y="147"/>
                  </a:lnTo>
                  <a:lnTo>
                    <a:pt x="135" y="147"/>
                  </a:lnTo>
                  <a:lnTo>
                    <a:pt x="132" y="147"/>
                  </a:lnTo>
                  <a:lnTo>
                    <a:pt x="132" y="147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0" y="144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27" y="139"/>
                  </a:lnTo>
                  <a:lnTo>
                    <a:pt x="127" y="139"/>
                  </a:lnTo>
                  <a:lnTo>
                    <a:pt x="127" y="137"/>
                  </a:lnTo>
                  <a:lnTo>
                    <a:pt x="127" y="135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30"/>
                  </a:lnTo>
                  <a:lnTo>
                    <a:pt x="127" y="127"/>
                  </a:lnTo>
                  <a:lnTo>
                    <a:pt x="127" y="125"/>
                  </a:lnTo>
                  <a:lnTo>
                    <a:pt x="127" y="125"/>
                  </a:lnTo>
                  <a:lnTo>
                    <a:pt x="127" y="122"/>
                  </a:lnTo>
                  <a:lnTo>
                    <a:pt x="127" y="122"/>
                  </a:lnTo>
                  <a:lnTo>
                    <a:pt x="130" y="120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3"/>
                  </a:lnTo>
                  <a:lnTo>
                    <a:pt x="139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7" y="110"/>
                  </a:lnTo>
                  <a:lnTo>
                    <a:pt x="149" y="110"/>
                  </a:lnTo>
                  <a:lnTo>
                    <a:pt x="149" y="110"/>
                  </a:lnTo>
                  <a:lnTo>
                    <a:pt x="152" y="110"/>
                  </a:lnTo>
                  <a:lnTo>
                    <a:pt x="154" y="110"/>
                  </a:lnTo>
                  <a:lnTo>
                    <a:pt x="154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61" y="115"/>
                  </a:lnTo>
                  <a:lnTo>
                    <a:pt x="161" y="117"/>
                  </a:lnTo>
                  <a:lnTo>
                    <a:pt x="161" y="137"/>
                  </a:lnTo>
                  <a:lnTo>
                    <a:pt x="161" y="139"/>
                  </a:lnTo>
                  <a:lnTo>
                    <a:pt x="161" y="139"/>
                  </a:lnTo>
                  <a:lnTo>
                    <a:pt x="161" y="139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59" y="147"/>
                  </a:lnTo>
                  <a:lnTo>
                    <a:pt x="159" y="147"/>
                  </a:lnTo>
                  <a:lnTo>
                    <a:pt x="157" y="147"/>
                  </a:lnTo>
                  <a:lnTo>
                    <a:pt x="157" y="149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2" y="149"/>
                  </a:lnTo>
                  <a:lnTo>
                    <a:pt x="152" y="152"/>
                  </a:lnTo>
                  <a:lnTo>
                    <a:pt x="149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4" y="152"/>
                  </a:lnTo>
                  <a:lnTo>
                    <a:pt x="144" y="1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6">
            <a:extLst>
              <a:ext uri="{FF2B5EF4-FFF2-40B4-BE49-F238E27FC236}">
                <a16:creationId xmlns:a16="http://schemas.microsoft.com/office/drawing/2014/main" id="{12D8868A-AA3B-4109-9236-1B4091E28A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065" y="310358"/>
            <a:ext cx="855662" cy="841375"/>
            <a:chOff x="1677" y="287"/>
            <a:chExt cx="539" cy="530"/>
          </a:xfrm>
        </p:grpSpPr>
        <p:sp>
          <p:nvSpPr>
            <p:cNvPr id="31" name="AutoShape 25">
              <a:extLst>
                <a:ext uri="{FF2B5EF4-FFF2-40B4-BE49-F238E27FC236}">
                  <a16:creationId xmlns:a16="http://schemas.microsoft.com/office/drawing/2014/main" id="{6E6C4C93-CF99-4A8E-9E89-BB09F73C21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7" y="287"/>
              <a:ext cx="539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7">
              <a:extLst>
                <a:ext uri="{FF2B5EF4-FFF2-40B4-BE49-F238E27FC236}">
                  <a16:creationId xmlns:a16="http://schemas.microsoft.com/office/drawing/2014/main" id="{2F764C28-9B75-4C5B-8255-DA2941C166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284"/>
              <a:ext cx="536" cy="53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F154C975-9AB3-45C0-AC8E-229B94F51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6" y="301"/>
              <a:ext cx="503" cy="502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7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8"/>
                    <a:pt x="139" y="177"/>
                    <a:pt x="91" y="177"/>
                  </a:cubicBezTo>
                  <a:cubicBezTo>
                    <a:pt x="43" y="177"/>
                    <a:pt x="4" y="138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132BDEED-CAAE-4E36-9E81-570B81712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0" y="417"/>
              <a:ext cx="315" cy="268"/>
            </a:xfrm>
            <a:custGeom>
              <a:avLst/>
              <a:gdLst>
                <a:gd name="T0" fmla="*/ 72 w 315"/>
                <a:gd name="T1" fmla="*/ 11 h 268"/>
                <a:gd name="T2" fmla="*/ 39 w 315"/>
                <a:gd name="T3" fmla="*/ 44 h 268"/>
                <a:gd name="T4" fmla="*/ 25 w 315"/>
                <a:gd name="T5" fmla="*/ 85 h 268"/>
                <a:gd name="T6" fmla="*/ 11 w 315"/>
                <a:gd name="T7" fmla="*/ 127 h 268"/>
                <a:gd name="T8" fmla="*/ 0 w 315"/>
                <a:gd name="T9" fmla="*/ 171 h 268"/>
                <a:gd name="T10" fmla="*/ 14 w 315"/>
                <a:gd name="T11" fmla="*/ 212 h 268"/>
                <a:gd name="T12" fmla="*/ 72 w 315"/>
                <a:gd name="T13" fmla="*/ 248 h 268"/>
                <a:gd name="T14" fmla="*/ 130 w 315"/>
                <a:gd name="T15" fmla="*/ 262 h 268"/>
                <a:gd name="T16" fmla="*/ 191 w 315"/>
                <a:gd name="T17" fmla="*/ 265 h 268"/>
                <a:gd name="T18" fmla="*/ 233 w 315"/>
                <a:gd name="T19" fmla="*/ 237 h 268"/>
                <a:gd name="T20" fmla="*/ 296 w 315"/>
                <a:gd name="T21" fmla="*/ 215 h 268"/>
                <a:gd name="T22" fmla="*/ 313 w 315"/>
                <a:gd name="T23" fmla="*/ 154 h 268"/>
                <a:gd name="T24" fmla="*/ 280 w 315"/>
                <a:gd name="T25" fmla="*/ 110 h 268"/>
                <a:gd name="T26" fmla="*/ 266 w 315"/>
                <a:gd name="T27" fmla="*/ 50 h 268"/>
                <a:gd name="T28" fmla="*/ 205 w 315"/>
                <a:gd name="T29" fmla="*/ 16 h 268"/>
                <a:gd name="T30" fmla="*/ 136 w 315"/>
                <a:gd name="T31" fmla="*/ 3 h 268"/>
                <a:gd name="T32" fmla="*/ 42 w 315"/>
                <a:gd name="T33" fmla="*/ 61 h 268"/>
                <a:gd name="T34" fmla="*/ 100 w 315"/>
                <a:gd name="T35" fmla="*/ 11 h 268"/>
                <a:gd name="T36" fmla="*/ 150 w 315"/>
                <a:gd name="T37" fmla="*/ 16 h 268"/>
                <a:gd name="T38" fmla="*/ 186 w 315"/>
                <a:gd name="T39" fmla="*/ 50 h 268"/>
                <a:gd name="T40" fmla="*/ 194 w 315"/>
                <a:gd name="T41" fmla="*/ 47 h 268"/>
                <a:gd name="T42" fmla="*/ 202 w 315"/>
                <a:gd name="T43" fmla="*/ 27 h 268"/>
                <a:gd name="T44" fmla="*/ 260 w 315"/>
                <a:gd name="T45" fmla="*/ 61 h 268"/>
                <a:gd name="T46" fmla="*/ 274 w 315"/>
                <a:gd name="T47" fmla="*/ 121 h 268"/>
                <a:gd name="T48" fmla="*/ 304 w 315"/>
                <a:gd name="T49" fmla="*/ 165 h 268"/>
                <a:gd name="T50" fmla="*/ 282 w 315"/>
                <a:gd name="T51" fmla="*/ 215 h 268"/>
                <a:gd name="T52" fmla="*/ 235 w 315"/>
                <a:gd name="T53" fmla="*/ 226 h 268"/>
                <a:gd name="T54" fmla="*/ 197 w 315"/>
                <a:gd name="T55" fmla="*/ 251 h 268"/>
                <a:gd name="T56" fmla="*/ 147 w 315"/>
                <a:gd name="T57" fmla="*/ 257 h 268"/>
                <a:gd name="T58" fmla="*/ 105 w 315"/>
                <a:gd name="T59" fmla="*/ 226 h 268"/>
                <a:gd name="T60" fmla="*/ 92 w 315"/>
                <a:gd name="T61" fmla="*/ 212 h 268"/>
                <a:gd name="T62" fmla="*/ 97 w 315"/>
                <a:gd name="T63" fmla="*/ 237 h 268"/>
                <a:gd name="T64" fmla="*/ 28 w 315"/>
                <a:gd name="T65" fmla="*/ 212 h 268"/>
                <a:gd name="T66" fmla="*/ 14 w 315"/>
                <a:gd name="T67" fmla="*/ 146 h 268"/>
                <a:gd name="T68" fmla="*/ 56 w 315"/>
                <a:gd name="T69" fmla="*/ 105 h 268"/>
                <a:gd name="T70" fmla="*/ 69 w 315"/>
                <a:gd name="T71" fmla="*/ 91 h 268"/>
                <a:gd name="T72" fmla="*/ 158 w 315"/>
                <a:gd name="T73" fmla="*/ 72 h 268"/>
                <a:gd name="T74" fmla="*/ 100 w 315"/>
                <a:gd name="T75" fmla="*/ 105 h 268"/>
                <a:gd name="T76" fmla="*/ 97 w 315"/>
                <a:gd name="T77" fmla="*/ 168 h 268"/>
                <a:gd name="T78" fmla="*/ 152 w 315"/>
                <a:gd name="T79" fmla="*/ 201 h 268"/>
                <a:gd name="T80" fmla="*/ 183 w 315"/>
                <a:gd name="T81" fmla="*/ 193 h 268"/>
                <a:gd name="T82" fmla="*/ 163 w 315"/>
                <a:gd name="T83" fmla="*/ 190 h 268"/>
                <a:gd name="T84" fmla="*/ 114 w 315"/>
                <a:gd name="T85" fmla="*/ 171 h 268"/>
                <a:gd name="T86" fmla="*/ 103 w 315"/>
                <a:gd name="T87" fmla="*/ 119 h 268"/>
                <a:gd name="T88" fmla="*/ 147 w 315"/>
                <a:gd name="T89" fmla="*/ 85 h 268"/>
                <a:gd name="T90" fmla="*/ 191 w 315"/>
                <a:gd name="T91" fmla="*/ 94 h 268"/>
                <a:gd name="T92" fmla="*/ 208 w 315"/>
                <a:gd name="T93" fmla="*/ 146 h 268"/>
                <a:gd name="T94" fmla="*/ 188 w 315"/>
                <a:gd name="T95" fmla="*/ 160 h 268"/>
                <a:gd name="T96" fmla="*/ 180 w 315"/>
                <a:gd name="T97" fmla="*/ 105 h 268"/>
                <a:gd name="T98" fmla="*/ 172 w 315"/>
                <a:gd name="T99" fmla="*/ 107 h 268"/>
                <a:gd name="T100" fmla="*/ 139 w 315"/>
                <a:gd name="T101" fmla="*/ 110 h 268"/>
                <a:gd name="T102" fmla="*/ 122 w 315"/>
                <a:gd name="T103" fmla="*/ 143 h 268"/>
                <a:gd name="T104" fmla="*/ 141 w 315"/>
                <a:gd name="T105" fmla="*/ 168 h 268"/>
                <a:gd name="T106" fmla="*/ 172 w 315"/>
                <a:gd name="T107" fmla="*/ 165 h 268"/>
                <a:gd name="T108" fmla="*/ 197 w 315"/>
                <a:gd name="T109" fmla="*/ 171 h 268"/>
                <a:gd name="T110" fmla="*/ 219 w 315"/>
                <a:gd name="T111" fmla="*/ 146 h 268"/>
                <a:gd name="T112" fmla="*/ 216 w 315"/>
                <a:gd name="T113" fmla="*/ 107 h 268"/>
                <a:gd name="T114" fmla="*/ 188 w 315"/>
                <a:gd name="T115" fmla="*/ 80 h 268"/>
                <a:gd name="T116" fmla="*/ 144 w 315"/>
                <a:gd name="T117" fmla="*/ 157 h 268"/>
                <a:gd name="T118" fmla="*/ 136 w 315"/>
                <a:gd name="T119" fmla="*/ 132 h 268"/>
                <a:gd name="T120" fmla="*/ 163 w 315"/>
                <a:gd name="T121" fmla="*/ 119 h 268"/>
                <a:gd name="T122" fmla="*/ 163 w 315"/>
                <a:gd name="T123" fmla="*/ 15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5" h="268">
                  <a:moveTo>
                    <a:pt x="114" y="0"/>
                  </a:moveTo>
                  <a:lnTo>
                    <a:pt x="111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4" y="3"/>
                  </a:lnTo>
                  <a:lnTo>
                    <a:pt x="92" y="3"/>
                  </a:lnTo>
                  <a:lnTo>
                    <a:pt x="89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3" y="5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5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69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1" y="16"/>
                  </a:lnTo>
                  <a:lnTo>
                    <a:pt x="61" y="19"/>
                  </a:lnTo>
                  <a:lnTo>
                    <a:pt x="58" y="19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0" y="27"/>
                  </a:lnTo>
                  <a:lnTo>
                    <a:pt x="50" y="30"/>
                  </a:lnTo>
                  <a:lnTo>
                    <a:pt x="47" y="30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5" y="36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39" y="41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6" y="47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2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1" y="58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28" y="66"/>
                  </a:lnTo>
                  <a:lnTo>
                    <a:pt x="28" y="69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4"/>
                  </a:lnTo>
                  <a:lnTo>
                    <a:pt x="28" y="77"/>
                  </a:lnTo>
                  <a:lnTo>
                    <a:pt x="25" y="80"/>
                  </a:lnTo>
                  <a:lnTo>
                    <a:pt x="25" y="83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8"/>
                  </a:lnTo>
                  <a:lnTo>
                    <a:pt x="25" y="91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8" y="99"/>
                  </a:lnTo>
                  <a:lnTo>
                    <a:pt x="28" y="102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7"/>
                  </a:lnTo>
                  <a:lnTo>
                    <a:pt x="28" y="110"/>
                  </a:lnTo>
                  <a:lnTo>
                    <a:pt x="25" y="110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0" y="116"/>
                  </a:lnTo>
                  <a:lnTo>
                    <a:pt x="20" y="119"/>
                  </a:lnTo>
                  <a:lnTo>
                    <a:pt x="17" y="119"/>
                  </a:lnTo>
                  <a:lnTo>
                    <a:pt x="17" y="121"/>
                  </a:lnTo>
                  <a:lnTo>
                    <a:pt x="14" y="121"/>
                  </a:lnTo>
                  <a:lnTo>
                    <a:pt x="14" y="124"/>
                  </a:lnTo>
                  <a:lnTo>
                    <a:pt x="14" y="127"/>
                  </a:lnTo>
                  <a:lnTo>
                    <a:pt x="11" y="127"/>
                  </a:lnTo>
                  <a:lnTo>
                    <a:pt x="11" y="130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9" y="135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41"/>
                  </a:lnTo>
                  <a:lnTo>
                    <a:pt x="6" y="143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9"/>
                  </a:lnTo>
                  <a:lnTo>
                    <a:pt x="3" y="152"/>
                  </a:lnTo>
                  <a:lnTo>
                    <a:pt x="3" y="154"/>
                  </a:lnTo>
                  <a:lnTo>
                    <a:pt x="0" y="154"/>
                  </a:lnTo>
                  <a:lnTo>
                    <a:pt x="0" y="157"/>
                  </a:lnTo>
                  <a:lnTo>
                    <a:pt x="0" y="160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5"/>
                  </a:lnTo>
                  <a:lnTo>
                    <a:pt x="0" y="168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3" y="182"/>
                  </a:lnTo>
                  <a:lnTo>
                    <a:pt x="3" y="185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3" y="190"/>
                  </a:lnTo>
                  <a:lnTo>
                    <a:pt x="6" y="193"/>
                  </a:lnTo>
                  <a:lnTo>
                    <a:pt x="6" y="193"/>
                  </a:lnTo>
                  <a:lnTo>
                    <a:pt x="6" y="196"/>
                  </a:lnTo>
                  <a:lnTo>
                    <a:pt x="6" y="199"/>
                  </a:lnTo>
                  <a:lnTo>
                    <a:pt x="9" y="199"/>
                  </a:lnTo>
                  <a:lnTo>
                    <a:pt x="9" y="201"/>
                  </a:lnTo>
                  <a:lnTo>
                    <a:pt x="9" y="204"/>
                  </a:lnTo>
                  <a:lnTo>
                    <a:pt x="11" y="204"/>
                  </a:lnTo>
                  <a:lnTo>
                    <a:pt x="11" y="207"/>
                  </a:lnTo>
                  <a:lnTo>
                    <a:pt x="14" y="210"/>
                  </a:lnTo>
                  <a:lnTo>
                    <a:pt x="14" y="212"/>
                  </a:lnTo>
                  <a:lnTo>
                    <a:pt x="17" y="218"/>
                  </a:lnTo>
                  <a:lnTo>
                    <a:pt x="20" y="221"/>
                  </a:lnTo>
                  <a:lnTo>
                    <a:pt x="22" y="223"/>
                  </a:lnTo>
                  <a:lnTo>
                    <a:pt x="25" y="226"/>
                  </a:lnTo>
                  <a:lnTo>
                    <a:pt x="28" y="229"/>
                  </a:lnTo>
                  <a:lnTo>
                    <a:pt x="31" y="232"/>
                  </a:lnTo>
                  <a:lnTo>
                    <a:pt x="36" y="234"/>
                  </a:lnTo>
                  <a:lnTo>
                    <a:pt x="39" y="234"/>
                  </a:lnTo>
                  <a:lnTo>
                    <a:pt x="42" y="237"/>
                  </a:lnTo>
                  <a:lnTo>
                    <a:pt x="45" y="240"/>
                  </a:lnTo>
                  <a:lnTo>
                    <a:pt x="50" y="240"/>
                  </a:lnTo>
                  <a:lnTo>
                    <a:pt x="53" y="243"/>
                  </a:lnTo>
                  <a:lnTo>
                    <a:pt x="58" y="246"/>
                  </a:lnTo>
                  <a:lnTo>
                    <a:pt x="58" y="246"/>
                  </a:lnTo>
                  <a:lnTo>
                    <a:pt x="61" y="246"/>
                  </a:lnTo>
                  <a:lnTo>
                    <a:pt x="64" y="246"/>
                  </a:lnTo>
                  <a:lnTo>
                    <a:pt x="64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5" y="248"/>
                  </a:lnTo>
                  <a:lnTo>
                    <a:pt x="78" y="248"/>
                  </a:lnTo>
                  <a:lnTo>
                    <a:pt x="80" y="248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6" y="248"/>
                  </a:lnTo>
                  <a:lnTo>
                    <a:pt x="89" y="248"/>
                  </a:lnTo>
                  <a:lnTo>
                    <a:pt x="92" y="248"/>
                  </a:lnTo>
                  <a:lnTo>
                    <a:pt x="94" y="248"/>
                  </a:lnTo>
                  <a:lnTo>
                    <a:pt x="97" y="248"/>
                  </a:lnTo>
                  <a:lnTo>
                    <a:pt x="100" y="248"/>
                  </a:lnTo>
                  <a:lnTo>
                    <a:pt x="103" y="248"/>
                  </a:lnTo>
                  <a:lnTo>
                    <a:pt x="105" y="248"/>
                  </a:lnTo>
                  <a:lnTo>
                    <a:pt x="108" y="246"/>
                  </a:lnTo>
                  <a:lnTo>
                    <a:pt x="111" y="248"/>
                  </a:lnTo>
                  <a:lnTo>
                    <a:pt x="114" y="251"/>
                  </a:lnTo>
                  <a:lnTo>
                    <a:pt x="116" y="254"/>
                  </a:lnTo>
                  <a:lnTo>
                    <a:pt x="119" y="257"/>
                  </a:lnTo>
                  <a:lnTo>
                    <a:pt x="122" y="259"/>
                  </a:lnTo>
                  <a:lnTo>
                    <a:pt x="127" y="259"/>
                  </a:lnTo>
                  <a:lnTo>
                    <a:pt x="130" y="262"/>
                  </a:lnTo>
                  <a:lnTo>
                    <a:pt x="133" y="262"/>
                  </a:lnTo>
                  <a:lnTo>
                    <a:pt x="136" y="265"/>
                  </a:lnTo>
                  <a:lnTo>
                    <a:pt x="141" y="265"/>
                  </a:lnTo>
                  <a:lnTo>
                    <a:pt x="144" y="268"/>
                  </a:lnTo>
                  <a:lnTo>
                    <a:pt x="147" y="268"/>
                  </a:lnTo>
                  <a:lnTo>
                    <a:pt x="152" y="268"/>
                  </a:lnTo>
                  <a:lnTo>
                    <a:pt x="155" y="268"/>
                  </a:lnTo>
                  <a:lnTo>
                    <a:pt x="161" y="268"/>
                  </a:lnTo>
                  <a:lnTo>
                    <a:pt x="163" y="268"/>
                  </a:lnTo>
                  <a:lnTo>
                    <a:pt x="166" y="268"/>
                  </a:lnTo>
                  <a:lnTo>
                    <a:pt x="169" y="268"/>
                  </a:lnTo>
                  <a:lnTo>
                    <a:pt x="172" y="268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7" y="268"/>
                  </a:lnTo>
                  <a:lnTo>
                    <a:pt x="180" y="268"/>
                  </a:lnTo>
                  <a:lnTo>
                    <a:pt x="183" y="268"/>
                  </a:lnTo>
                  <a:lnTo>
                    <a:pt x="186" y="265"/>
                  </a:lnTo>
                  <a:lnTo>
                    <a:pt x="188" y="265"/>
                  </a:lnTo>
                  <a:lnTo>
                    <a:pt x="188" y="265"/>
                  </a:lnTo>
                  <a:lnTo>
                    <a:pt x="191" y="265"/>
                  </a:lnTo>
                  <a:lnTo>
                    <a:pt x="194" y="262"/>
                  </a:lnTo>
                  <a:lnTo>
                    <a:pt x="197" y="262"/>
                  </a:lnTo>
                  <a:lnTo>
                    <a:pt x="199" y="262"/>
                  </a:lnTo>
                  <a:lnTo>
                    <a:pt x="199" y="259"/>
                  </a:lnTo>
                  <a:lnTo>
                    <a:pt x="202" y="259"/>
                  </a:lnTo>
                  <a:lnTo>
                    <a:pt x="205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10" y="254"/>
                  </a:lnTo>
                  <a:lnTo>
                    <a:pt x="213" y="254"/>
                  </a:lnTo>
                  <a:lnTo>
                    <a:pt x="213" y="251"/>
                  </a:lnTo>
                  <a:lnTo>
                    <a:pt x="216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6"/>
                  </a:lnTo>
                  <a:lnTo>
                    <a:pt x="224" y="243"/>
                  </a:lnTo>
                  <a:lnTo>
                    <a:pt x="224" y="240"/>
                  </a:lnTo>
                  <a:lnTo>
                    <a:pt x="227" y="240"/>
                  </a:lnTo>
                  <a:lnTo>
                    <a:pt x="227" y="237"/>
                  </a:lnTo>
                  <a:lnTo>
                    <a:pt x="230" y="234"/>
                  </a:lnTo>
                  <a:lnTo>
                    <a:pt x="233" y="237"/>
                  </a:lnTo>
                  <a:lnTo>
                    <a:pt x="235" y="237"/>
                  </a:lnTo>
                  <a:lnTo>
                    <a:pt x="238" y="237"/>
                  </a:lnTo>
                  <a:lnTo>
                    <a:pt x="244" y="237"/>
                  </a:lnTo>
                  <a:lnTo>
                    <a:pt x="246" y="237"/>
                  </a:lnTo>
                  <a:lnTo>
                    <a:pt x="249" y="237"/>
                  </a:lnTo>
                  <a:lnTo>
                    <a:pt x="252" y="237"/>
                  </a:lnTo>
                  <a:lnTo>
                    <a:pt x="255" y="237"/>
                  </a:lnTo>
                  <a:lnTo>
                    <a:pt x="260" y="237"/>
                  </a:lnTo>
                  <a:lnTo>
                    <a:pt x="263" y="234"/>
                  </a:lnTo>
                  <a:lnTo>
                    <a:pt x="266" y="234"/>
                  </a:lnTo>
                  <a:lnTo>
                    <a:pt x="268" y="234"/>
                  </a:lnTo>
                  <a:lnTo>
                    <a:pt x="271" y="232"/>
                  </a:lnTo>
                  <a:lnTo>
                    <a:pt x="274" y="232"/>
                  </a:lnTo>
                  <a:lnTo>
                    <a:pt x="277" y="229"/>
                  </a:lnTo>
                  <a:lnTo>
                    <a:pt x="280" y="229"/>
                  </a:lnTo>
                  <a:lnTo>
                    <a:pt x="282" y="226"/>
                  </a:lnTo>
                  <a:lnTo>
                    <a:pt x="285" y="226"/>
                  </a:lnTo>
                  <a:lnTo>
                    <a:pt x="288" y="223"/>
                  </a:lnTo>
                  <a:lnTo>
                    <a:pt x="291" y="221"/>
                  </a:lnTo>
                  <a:lnTo>
                    <a:pt x="293" y="218"/>
                  </a:lnTo>
                  <a:lnTo>
                    <a:pt x="296" y="215"/>
                  </a:lnTo>
                  <a:lnTo>
                    <a:pt x="299" y="215"/>
                  </a:lnTo>
                  <a:lnTo>
                    <a:pt x="302" y="212"/>
                  </a:lnTo>
                  <a:lnTo>
                    <a:pt x="302" y="210"/>
                  </a:lnTo>
                  <a:lnTo>
                    <a:pt x="304" y="207"/>
                  </a:lnTo>
                  <a:lnTo>
                    <a:pt x="307" y="204"/>
                  </a:lnTo>
                  <a:lnTo>
                    <a:pt x="307" y="201"/>
                  </a:lnTo>
                  <a:lnTo>
                    <a:pt x="310" y="196"/>
                  </a:lnTo>
                  <a:lnTo>
                    <a:pt x="310" y="193"/>
                  </a:lnTo>
                  <a:lnTo>
                    <a:pt x="313" y="190"/>
                  </a:lnTo>
                  <a:lnTo>
                    <a:pt x="313" y="188"/>
                  </a:lnTo>
                  <a:lnTo>
                    <a:pt x="313" y="185"/>
                  </a:lnTo>
                  <a:lnTo>
                    <a:pt x="315" y="182"/>
                  </a:lnTo>
                  <a:lnTo>
                    <a:pt x="315" y="179"/>
                  </a:lnTo>
                  <a:lnTo>
                    <a:pt x="315" y="177"/>
                  </a:lnTo>
                  <a:lnTo>
                    <a:pt x="315" y="174"/>
                  </a:lnTo>
                  <a:lnTo>
                    <a:pt x="315" y="168"/>
                  </a:lnTo>
                  <a:lnTo>
                    <a:pt x="315" y="165"/>
                  </a:lnTo>
                  <a:lnTo>
                    <a:pt x="315" y="163"/>
                  </a:lnTo>
                  <a:lnTo>
                    <a:pt x="315" y="160"/>
                  </a:lnTo>
                  <a:lnTo>
                    <a:pt x="313" y="157"/>
                  </a:lnTo>
                  <a:lnTo>
                    <a:pt x="313" y="154"/>
                  </a:lnTo>
                  <a:lnTo>
                    <a:pt x="313" y="152"/>
                  </a:lnTo>
                  <a:lnTo>
                    <a:pt x="313" y="149"/>
                  </a:lnTo>
                  <a:lnTo>
                    <a:pt x="310" y="146"/>
                  </a:lnTo>
                  <a:lnTo>
                    <a:pt x="310" y="143"/>
                  </a:lnTo>
                  <a:lnTo>
                    <a:pt x="310" y="141"/>
                  </a:lnTo>
                  <a:lnTo>
                    <a:pt x="307" y="138"/>
                  </a:lnTo>
                  <a:lnTo>
                    <a:pt x="307" y="138"/>
                  </a:lnTo>
                  <a:lnTo>
                    <a:pt x="304" y="135"/>
                  </a:lnTo>
                  <a:lnTo>
                    <a:pt x="304" y="132"/>
                  </a:lnTo>
                  <a:lnTo>
                    <a:pt x="302" y="130"/>
                  </a:lnTo>
                  <a:lnTo>
                    <a:pt x="302" y="127"/>
                  </a:lnTo>
                  <a:lnTo>
                    <a:pt x="299" y="127"/>
                  </a:lnTo>
                  <a:lnTo>
                    <a:pt x="296" y="124"/>
                  </a:lnTo>
                  <a:lnTo>
                    <a:pt x="296" y="121"/>
                  </a:lnTo>
                  <a:lnTo>
                    <a:pt x="293" y="121"/>
                  </a:lnTo>
                  <a:lnTo>
                    <a:pt x="291" y="119"/>
                  </a:lnTo>
                  <a:lnTo>
                    <a:pt x="288" y="116"/>
                  </a:lnTo>
                  <a:lnTo>
                    <a:pt x="288" y="116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80" y="110"/>
                  </a:lnTo>
                  <a:lnTo>
                    <a:pt x="280" y="107"/>
                  </a:lnTo>
                  <a:lnTo>
                    <a:pt x="280" y="105"/>
                  </a:lnTo>
                  <a:lnTo>
                    <a:pt x="282" y="99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4"/>
                  </a:lnTo>
                  <a:lnTo>
                    <a:pt x="282" y="91"/>
                  </a:lnTo>
                  <a:lnTo>
                    <a:pt x="280" y="88"/>
                  </a:lnTo>
                  <a:lnTo>
                    <a:pt x="280" y="85"/>
                  </a:lnTo>
                  <a:lnTo>
                    <a:pt x="280" y="85"/>
                  </a:lnTo>
                  <a:lnTo>
                    <a:pt x="280" y="83"/>
                  </a:lnTo>
                  <a:lnTo>
                    <a:pt x="280" y="80"/>
                  </a:lnTo>
                  <a:lnTo>
                    <a:pt x="280" y="77"/>
                  </a:lnTo>
                  <a:lnTo>
                    <a:pt x="277" y="72"/>
                  </a:lnTo>
                  <a:lnTo>
                    <a:pt x="277" y="69"/>
                  </a:lnTo>
                  <a:lnTo>
                    <a:pt x="274" y="66"/>
                  </a:lnTo>
                  <a:lnTo>
                    <a:pt x="274" y="63"/>
                  </a:lnTo>
                  <a:lnTo>
                    <a:pt x="271" y="58"/>
                  </a:lnTo>
                  <a:lnTo>
                    <a:pt x="268" y="55"/>
                  </a:lnTo>
                  <a:lnTo>
                    <a:pt x="268" y="52"/>
                  </a:lnTo>
                  <a:lnTo>
                    <a:pt x="266" y="50"/>
                  </a:lnTo>
                  <a:lnTo>
                    <a:pt x="263" y="47"/>
                  </a:lnTo>
                  <a:lnTo>
                    <a:pt x="260" y="44"/>
                  </a:lnTo>
                  <a:lnTo>
                    <a:pt x="257" y="41"/>
                  </a:lnTo>
                  <a:lnTo>
                    <a:pt x="255" y="38"/>
                  </a:lnTo>
                  <a:lnTo>
                    <a:pt x="252" y="36"/>
                  </a:lnTo>
                  <a:lnTo>
                    <a:pt x="249" y="33"/>
                  </a:lnTo>
                  <a:lnTo>
                    <a:pt x="246" y="30"/>
                  </a:lnTo>
                  <a:lnTo>
                    <a:pt x="244" y="30"/>
                  </a:lnTo>
                  <a:lnTo>
                    <a:pt x="238" y="27"/>
                  </a:lnTo>
                  <a:lnTo>
                    <a:pt x="235" y="25"/>
                  </a:lnTo>
                  <a:lnTo>
                    <a:pt x="233" y="25"/>
                  </a:lnTo>
                  <a:lnTo>
                    <a:pt x="230" y="22"/>
                  </a:lnTo>
                  <a:lnTo>
                    <a:pt x="224" y="22"/>
                  </a:lnTo>
                  <a:lnTo>
                    <a:pt x="221" y="19"/>
                  </a:lnTo>
                  <a:lnTo>
                    <a:pt x="216" y="19"/>
                  </a:lnTo>
                  <a:lnTo>
                    <a:pt x="216" y="19"/>
                  </a:lnTo>
                  <a:lnTo>
                    <a:pt x="213" y="19"/>
                  </a:lnTo>
                  <a:lnTo>
                    <a:pt x="210" y="19"/>
                  </a:lnTo>
                  <a:lnTo>
                    <a:pt x="210" y="19"/>
                  </a:lnTo>
                  <a:lnTo>
                    <a:pt x="208" y="19"/>
                  </a:lnTo>
                  <a:lnTo>
                    <a:pt x="205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197" y="16"/>
                  </a:lnTo>
                  <a:lnTo>
                    <a:pt x="194" y="19"/>
                  </a:lnTo>
                  <a:lnTo>
                    <a:pt x="191" y="19"/>
                  </a:lnTo>
                  <a:lnTo>
                    <a:pt x="188" y="19"/>
                  </a:lnTo>
                  <a:lnTo>
                    <a:pt x="186" y="19"/>
                  </a:lnTo>
                  <a:lnTo>
                    <a:pt x="183" y="19"/>
                  </a:lnTo>
                  <a:lnTo>
                    <a:pt x="177" y="22"/>
                  </a:lnTo>
                  <a:lnTo>
                    <a:pt x="174" y="22"/>
                  </a:lnTo>
                  <a:lnTo>
                    <a:pt x="172" y="19"/>
                  </a:lnTo>
                  <a:lnTo>
                    <a:pt x="169" y="16"/>
                  </a:lnTo>
                  <a:lnTo>
                    <a:pt x="166" y="14"/>
                  </a:lnTo>
                  <a:lnTo>
                    <a:pt x="163" y="14"/>
                  </a:lnTo>
                  <a:lnTo>
                    <a:pt x="158" y="11"/>
                  </a:lnTo>
                  <a:lnTo>
                    <a:pt x="155" y="8"/>
                  </a:lnTo>
                  <a:lnTo>
                    <a:pt x="152" y="8"/>
                  </a:lnTo>
                  <a:lnTo>
                    <a:pt x="147" y="5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6" y="3"/>
                  </a:lnTo>
                  <a:lnTo>
                    <a:pt x="133" y="3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19" y="0"/>
                  </a:lnTo>
                  <a:lnTo>
                    <a:pt x="116" y="0"/>
                  </a:lnTo>
                  <a:lnTo>
                    <a:pt x="114" y="0"/>
                  </a:lnTo>
                  <a:close/>
                  <a:moveTo>
                    <a:pt x="36" y="99"/>
                  </a:moveTo>
                  <a:lnTo>
                    <a:pt x="36" y="94"/>
                  </a:lnTo>
                  <a:lnTo>
                    <a:pt x="36" y="91"/>
                  </a:lnTo>
                  <a:lnTo>
                    <a:pt x="36" y="88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3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9" y="77"/>
                  </a:lnTo>
                  <a:lnTo>
                    <a:pt x="39" y="74"/>
                  </a:lnTo>
                  <a:lnTo>
                    <a:pt x="39" y="72"/>
                  </a:lnTo>
                  <a:lnTo>
                    <a:pt x="39" y="69"/>
                  </a:lnTo>
                  <a:lnTo>
                    <a:pt x="42" y="66"/>
                  </a:lnTo>
                  <a:lnTo>
                    <a:pt x="42" y="61"/>
                  </a:lnTo>
                  <a:lnTo>
                    <a:pt x="42" y="58"/>
                  </a:lnTo>
                  <a:lnTo>
                    <a:pt x="45" y="55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50" y="44"/>
                  </a:lnTo>
                  <a:lnTo>
                    <a:pt x="53" y="41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61" y="33"/>
                  </a:lnTo>
                  <a:lnTo>
                    <a:pt x="64" y="30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2" y="25"/>
                  </a:lnTo>
                  <a:lnTo>
                    <a:pt x="75" y="22"/>
                  </a:lnTo>
                  <a:lnTo>
                    <a:pt x="78" y="19"/>
                  </a:lnTo>
                  <a:lnTo>
                    <a:pt x="80" y="19"/>
                  </a:lnTo>
                  <a:lnTo>
                    <a:pt x="86" y="16"/>
                  </a:lnTo>
                  <a:lnTo>
                    <a:pt x="89" y="16"/>
                  </a:lnTo>
                  <a:lnTo>
                    <a:pt x="92" y="14"/>
                  </a:lnTo>
                  <a:lnTo>
                    <a:pt x="97" y="14"/>
                  </a:lnTo>
                  <a:lnTo>
                    <a:pt x="100" y="11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8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4" y="11"/>
                  </a:lnTo>
                  <a:lnTo>
                    <a:pt x="116" y="11"/>
                  </a:lnTo>
                  <a:lnTo>
                    <a:pt x="119" y="11"/>
                  </a:lnTo>
                  <a:lnTo>
                    <a:pt x="122" y="11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4" y="16"/>
                  </a:lnTo>
                  <a:lnTo>
                    <a:pt x="147" y="16"/>
                  </a:lnTo>
                  <a:lnTo>
                    <a:pt x="150" y="16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5" y="22"/>
                  </a:lnTo>
                  <a:lnTo>
                    <a:pt x="158" y="22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7"/>
                  </a:lnTo>
                  <a:lnTo>
                    <a:pt x="166" y="27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2" y="33"/>
                  </a:lnTo>
                  <a:lnTo>
                    <a:pt x="174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80" y="41"/>
                  </a:lnTo>
                  <a:lnTo>
                    <a:pt x="180" y="44"/>
                  </a:lnTo>
                  <a:lnTo>
                    <a:pt x="183" y="44"/>
                  </a:lnTo>
                  <a:lnTo>
                    <a:pt x="183" y="47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47"/>
                  </a:lnTo>
                  <a:lnTo>
                    <a:pt x="194" y="47"/>
                  </a:lnTo>
                  <a:lnTo>
                    <a:pt x="194" y="47"/>
                  </a:lnTo>
                  <a:lnTo>
                    <a:pt x="194" y="47"/>
                  </a:lnTo>
                  <a:lnTo>
                    <a:pt x="194" y="44"/>
                  </a:lnTo>
                  <a:lnTo>
                    <a:pt x="194" y="44"/>
                  </a:lnTo>
                  <a:lnTo>
                    <a:pt x="194" y="44"/>
                  </a:lnTo>
                  <a:lnTo>
                    <a:pt x="194" y="41"/>
                  </a:lnTo>
                  <a:lnTo>
                    <a:pt x="191" y="41"/>
                  </a:lnTo>
                  <a:lnTo>
                    <a:pt x="191" y="38"/>
                  </a:lnTo>
                  <a:lnTo>
                    <a:pt x="188" y="36"/>
                  </a:lnTo>
                  <a:lnTo>
                    <a:pt x="188" y="36"/>
                  </a:lnTo>
                  <a:lnTo>
                    <a:pt x="188" y="33"/>
                  </a:lnTo>
                  <a:lnTo>
                    <a:pt x="186" y="33"/>
                  </a:lnTo>
                  <a:lnTo>
                    <a:pt x="186" y="30"/>
                  </a:lnTo>
                  <a:lnTo>
                    <a:pt x="186" y="30"/>
                  </a:lnTo>
                  <a:lnTo>
                    <a:pt x="188" y="30"/>
                  </a:lnTo>
                  <a:lnTo>
                    <a:pt x="191" y="30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7" y="27"/>
                  </a:lnTo>
                  <a:lnTo>
                    <a:pt x="199" y="27"/>
                  </a:lnTo>
                  <a:lnTo>
                    <a:pt x="202" y="27"/>
                  </a:lnTo>
                  <a:lnTo>
                    <a:pt x="205" y="27"/>
                  </a:lnTo>
                  <a:lnTo>
                    <a:pt x="208" y="27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9" y="30"/>
                  </a:lnTo>
                  <a:lnTo>
                    <a:pt x="221" y="30"/>
                  </a:lnTo>
                  <a:lnTo>
                    <a:pt x="224" y="33"/>
                  </a:lnTo>
                  <a:lnTo>
                    <a:pt x="227" y="33"/>
                  </a:lnTo>
                  <a:lnTo>
                    <a:pt x="230" y="36"/>
                  </a:lnTo>
                  <a:lnTo>
                    <a:pt x="235" y="36"/>
                  </a:lnTo>
                  <a:lnTo>
                    <a:pt x="238" y="38"/>
                  </a:lnTo>
                  <a:lnTo>
                    <a:pt x="241" y="41"/>
                  </a:lnTo>
                  <a:lnTo>
                    <a:pt x="244" y="41"/>
                  </a:lnTo>
                  <a:lnTo>
                    <a:pt x="246" y="44"/>
                  </a:lnTo>
                  <a:lnTo>
                    <a:pt x="246" y="47"/>
                  </a:lnTo>
                  <a:lnTo>
                    <a:pt x="249" y="50"/>
                  </a:lnTo>
                  <a:lnTo>
                    <a:pt x="252" y="50"/>
                  </a:lnTo>
                  <a:lnTo>
                    <a:pt x="255" y="52"/>
                  </a:lnTo>
                  <a:lnTo>
                    <a:pt x="257" y="55"/>
                  </a:lnTo>
                  <a:lnTo>
                    <a:pt x="257" y="58"/>
                  </a:lnTo>
                  <a:lnTo>
                    <a:pt x="260" y="61"/>
                  </a:lnTo>
                  <a:lnTo>
                    <a:pt x="263" y="63"/>
                  </a:lnTo>
                  <a:lnTo>
                    <a:pt x="263" y="66"/>
                  </a:lnTo>
                  <a:lnTo>
                    <a:pt x="266" y="69"/>
                  </a:lnTo>
                  <a:lnTo>
                    <a:pt x="266" y="72"/>
                  </a:lnTo>
                  <a:lnTo>
                    <a:pt x="268" y="77"/>
                  </a:lnTo>
                  <a:lnTo>
                    <a:pt x="268" y="80"/>
                  </a:lnTo>
                  <a:lnTo>
                    <a:pt x="268" y="83"/>
                  </a:lnTo>
                  <a:lnTo>
                    <a:pt x="268" y="85"/>
                  </a:lnTo>
                  <a:lnTo>
                    <a:pt x="271" y="88"/>
                  </a:lnTo>
                  <a:lnTo>
                    <a:pt x="271" y="94"/>
                  </a:lnTo>
                  <a:lnTo>
                    <a:pt x="271" y="96"/>
                  </a:lnTo>
                  <a:lnTo>
                    <a:pt x="271" y="99"/>
                  </a:lnTo>
                  <a:lnTo>
                    <a:pt x="271" y="102"/>
                  </a:lnTo>
                  <a:lnTo>
                    <a:pt x="271" y="105"/>
                  </a:lnTo>
                  <a:lnTo>
                    <a:pt x="268" y="107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8" y="116"/>
                  </a:lnTo>
                  <a:lnTo>
                    <a:pt x="271" y="119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7" y="121"/>
                  </a:lnTo>
                  <a:lnTo>
                    <a:pt x="280" y="124"/>
                  </a:lnTo>
                  <a:lnTo>
                    <a:pt x="282" y="124"/>
                  </a:lnTo>
                  <a:lnTo>
                    <a:pt x="285" y="127"/>
                  </a:lnTo>
                  <a:lnTo>
                    <a:pt x="285" y="127"/>
                  </a:lnTo>
                  <a:lnTo>
                    <a:pt x="288" y="130"/>
                  </a:lnTo>
                  <a:lnTo>
                    <a:pt x="291" y="132"/>
                  </a:lnTo>
                  <a:lnTo>
                    <a:pt x="291" y="135"/>
                  </a:lnTo>
                  <a:lnTo>
                    <a:pt x="293" y="135"/>
                  </a:lnTo>
                  <a:lnTo>
                    <a:pt x="296" y="138"/>
                  </a:lnTo>
                  <a:lnTo>
                    <a:pt x="296" y="141"/>
                  </a:lnTo>
                  <a:lnTo>
                    <a:pt x="299" y="143"/>
                  </a:lnTo>
                  <a:lnTo>
                    <a:pt x="299" y="146"/>
                  </a:lnTo>
                  <a:lnTo>
                    <a:pt x="299" y="149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302" y="154"/>
                  </a:lnTo>
                  <a:lnTo>
                    <a:pt x="302" y="157"/>
                  </a:lnTo>
                  <a:lnTo>
                    <a:pt x="304" y="160"/>
                  </a:lnTo>
                  <a:lnTo>
                    <a:pt x="304" y="163"/>
                  </a:lnTo>
                  <a:lnTo>
                    <a:pt x="304" y="165"/>
                  </a:lnTo>
                  <a:lnTo>
                    <a:pt x="304" y="168"/>
                  </a:lnTo>
                  <a:lnTo>
                    <a:pt x="304" y="168"/>
                  </a:lnTo>
                  <a:lnTo>
                    <a:pt x="304" y="171"/>
                  </a:lnTo>
                  <a:lnTo>
                    <a:pt x="304" y="174"/>
                  </a:lnTo>
                  <a:lnTo>
                    <a:pt x="304" y="177"/>
                  </a:lnTo>
                  <a:lnTo>
                    <a:pt x="304" y="179"/>
                  </a:lnTo>
                  <a:lnTo>
                    <a:pt x="302" y="182"/>
                  </a:lnTo>
                  <a:lnTo>
                    <a:pt x="302" y="185"/>
                  </a:lnTo>
                  <a:lnTo>
                    <a:pt x="302" y="188"/>
                  </a:lnTo>
                  <a:lnTo>
                    <a:pt x="302" y="190"/>
                  </a:lnTo>
                  <a:lnTo>
                    <a:pt x="299" y="193"/>
                  </a:lnTo>
                  <a:lnTo>
                    <a:pt x="299" y="196"/>
                  </a:lnTo>
                  <a:lnTo>
                    <a:pt x="296" y="199"/>
                  </a:lnTo>
                  <a:lnTo>
                    <a:pt x="296" y="201"/>
                  </a:lnTo>
                  <a:lnTo>
                    <a:pt x="293" y="201"/>
                  </a:lnTo>
                  <a:lnTo>
                    <a:pt x="293" y="204"/>
                  </a:lnTo>
                  <a:lnTo>
                    <a:pt x="291" y="207"/>
                  </a:lnTo>
                  <a:lnTo>
                    <a:pt x="288" y="210"/>
                  </a:lnTo>
                  <a:lnTo>
                    <a:pt x="285" y="210"/>
                  </a:lnTo>
                  <a:lnTo>
                    <a:pt x="285" y="212"/>
                  </a:lnTo>
                  <a:lnTo>
                    <a:pt x="282" y="215"/>
                  </a:lnTo>
                  <a:lnTo>
                    <a:pt x="280" y="215"/>
                  </a:lnTo>
                  <a:lnTo>
                    <a:pt x="277" y="218"/>
                  </a:lnTo>
                  <a:lnTo>
                    <a:pt x="274" y="218"/>
                  </a:lnTo>
                  <a:lnTo>
                    <a:pt x="274" y="221"/>
                  </a:lnTo>
                  <a:lnTo>
                    <a:pt x="271" y="221"/>
                  </a:lnTo>
                  <a:lnTo>
                    <a:pt x="271" y="221"/>
                  </a:lnTo>
                  <a:lnTo>
                    <a:pt x="268" y="223"/>
                  </a:lnTo>
                  <a:lnTo>
                    <a:pt x="266" y="223"/>
                  </a:lnTo>
                  <a:lnTo>
                    <a:pt x="266" y="223"/>
                  </a:lnTo>
                  <a:lnTo>
                    <a:pt x="263" y="223"/>
                  </a:lnTo>
                  <a:lnTo>
                    <a:pt x="263" y="223"/>
                  </a:lnTo>
                  <a:lnTo>
                    <a:pt x="260" y="226"/>
                  </a:lnTo>
                  <a:lnTo>
                    <a:pt x="257" y="226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2" y="226"/>
                  </a:lnTo>
                  <a:lnTo>
                    <a:pt x="249" y="226"/>
                  </a:lnTo>
                  <a:lnTo>
                    <a:pt x="246" y="226"/>
                  </a:lnTo>
                  <a:lnTo>
                    <a:pt x="244" y="226"/>
                  </a:lnTo>
                  <a:lnTo>
                    <a:pt x="241" y="226"/>
                  </a:lnTo>
                  <a:lnTo>
                    <a:pt x="235" y="226"/>
                  </a:lnTo>
                  <a:lnTo>
                    <a:pt x="233" y="226"/>
                  </a:lnTo>
                  <a:lnTo>
                    <a:pt x="230" y="223"/>
                  </a:lnTo>
                  <a:lnTo>
                    <a:pt x="227" y="223"/>
                  </a:lnTo>
                  <a:lnTo>
                    <a:pt x="224" y="223"/>
                  </a:lnTo>
                  <a:lnTo>
                    <a:pt x="224" y="226"/>
                  </a:lnTo>
                  <a:lnTo>
                    <a:pt x="221" y="226"/>
                  </a:lnTo>
                  <a:lnTo>
                    <a:pt x="221" y="229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16" y="234"/>
                  </a:lnTo>
                  <a:lnTo>
                    <a:pt x="213" y="237"/>
                  </a:lnTo>
                  <a:lnTo>
                    <a:pt x="213" y="237"/>
                  </a:lnTo>
                  <a:lnTo>
                    <a:pt x="210" y="240"/>
                  </a:lnTo>
                  <a:lnTo>
                    <a:pt x="210" y="240"/>
                  </a:lnTo>
                  <a:lnTo>
                    <a:pt x="208" y="243"/>
                  </a:lnTo>
                  <a:lnTo>
                    <a:pt x="205" y="243"/>
                  </a:lnTo>
                  <a:lnTo>
                    <a:pt x="205" y="246"/>
                  </a:lnTo>
                  <a:lnTo>
                    <a:pt x="202" y="246"/>
                  </a:lnTo>
                  <a:lnTo>
                    <a:pt x="199" y="248"/>
                  </a:lnTo>
                  <a:lnTo>
                    <a:pt x="199" y="248"/>
                  </a:lnTo>
                  <a:lnTo>
                    <a:pt x="197" y="251"/>
                  </a:lnTo>
                  <a:lnTo>
                    <a:pt x="194" y="251"/>
                  </a:lnTo>
                  <a:lnTo>
                    <a:pt x="194" y="251"/>
                  </a:lnTo>
                  <a:lnTo>
                    <a:pt x="191" y="254"/>
                  </a:lnTo>
                  <a:lnTo>
                    <a:pt x="188" y="254"/>
                  </a:lnTo>
                  <a:lnTo>
                    <a:pt x="186" y="254"/>
                  </a:lnTo>
                  <a:lnTo>
                    <a:pt x="186" y="257"/>
                  </a:lnTo>
                  <a:lnTo>
                    <a:pt x="183" y="257"/>
                  </a:lnTo>
                  <a:lnTo>
                    <a:pt x="180" y="257"/>
                  </a:lnTo>
                  <a:lnTo>
                    <a:pt x="177" y="257"/>
                  </a:lnTo>
                  <a:lnTo>
                    <a:pt x="174" y="257"/>
                  </a:lnTo>
                  <a:lnTo>
                    <a:pt x="174" y="257"/>
                  </a:lnTo>
                  <a:lnTo>
                    <a:pt x="172" y="259"/>
                  </a:lnTo>
                  <a:lnTo>
                    <a:pt x="169" y="259"/>
                  </a:lnTo>
                  <a:lnTo>
                    <a:pt x="166" y="259"/>
                  </a:lnTo>
                  <a:lnTo>
                    <a:pt x="163" y="259"/>
                  </a:lnTo>
                  <a:lnTo>
                    <a:pt x="161" y="259"/>
                  </a:lnTo>
                  <a:lnTo>
                    <a:pt x="158" y="259"/>
                  </a:lnTo>
                  <a:lnTo>
                    <a:pt x="155" y="257"/>
                  </a:lnTo>
                  <a:lnTo>
                    <a:pt x="152" y="257"/>
                  </a:lnTo>
                  <a:lnTo>
                    <a:pt x="150" y="257"/>
                  </a:lnTo>
                  <a:lnTo>
                    <a:pt x="147" y="257"/>
                  </a:lnTo>
                  <a:lnTo>
                    <a:pt x="144" y="257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39" y="254"/>
                  </a:lnTo>
                  <a:lnTo>
                    <a:pt x="136" y="254"/>
                  </a:lnTo>
                  <a:lnTo>
                    <a:pt x="133" y="251"/>
                  </a:lnTo>
                  <a:lnTo>
                    <a:pt x="130" y="251"/>
                  </a:lnTo>
                  <a:lnTo>
                    <a:pt x="127" y="248"/>
                  </a:lnTo>
                  <a:lnTo>
                    <a:pt x="125" y="248"/>
                  </a:lnTo>
                  <a:lnTo>
                    <a:pt x="125" y="246"/>
                  </a:lnTo>
                  <a:lnTo>
                    <a:pt x="122" y="246"/>
                  </a:lnTo>
                  <a:lnTo>
                    <a:pt x="119" y="243"/>
                  </a:lnTo>
                  <a:lnTo>
                    <a:pt x="116" y="243"/>
                  </a:lnTo>
                  <a:lnTo>
                    <a:pt x="116" y="240"/>
                  </a:lnTo>
                  <a:lnTo>
                    <a:pt x="114" y="237"/>
                  </a:lnTo>
                  <a:lnTo>
                    <a:pt x="111" y="237"/>
                  </a:lnTo>
                  <a:lnTo>
                    <a:pt x="111" y="234"/>
                  </a:lnTo>
                  <a:lnTo>
                    <a:pt x="108" y="232"/>
                  </a:lnTo>
                  <a:lnTo>
                    <a:pt x="108" y="229"/>
                  </a:lnTo>
                  <a:lnTo>
                    <a:pt x="105" y="229"/>
                  </a:lnTo>
                  <a:lnTo>
                    <a:pt x="105" y="226"/>
                  </a:lnTo>
                  <a:lnTo>
                    <a:pt x="103" y="223"/>
                  </a:lnTo>
                  <a:lnTo>
                    <a:pt x="103" y="221"/>
                  </a:lnTo>
                  <a:lnTo>
                    <a:pt x="100" y="218"/>
                  </a:lnTo>
                  <a:lnTo>
                    <a:pt x="100" y="218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4" y="212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2" y="210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9" y="212"/>
                  </a:lnTo>
                  <a:lnTo>
                    <a:pt x="89" y="212"/>
                  </a:lnTo>
                  <a:lnTo>
                    <a:pt x="89" y="212"/>
                  </a:lnTo>
                  <a:lnTo>
                    <a:pt x="89" y="212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9" y="218"/>
                  </a:lnTo>
                  <a:lnTo>
                    <a:pt x="89" y="218"/>
                  </a:lnTo>
                  <a:lnTo>
                    <a:pt x="89" y="218"/>
                  </a:lnTo>
                  <a:lnTo>
                    <a:pt x="89" y="221"/>
                  </a:lnTo>
                  <a:lnTo>
                    <a:pt x="92" y="223"/>
                  </a:lnTo>
                  <a:lnTo>
                    <a:pt x="92" y="226"/>
                  </a:lnTo>
                  <a:lnTo>
                    <a:pt x="94" y="229"/>
                  </a:lnTo>
                  <a:lnTo>
                    <a:pt x="94" y="232"/>
                  </a:lnTo>
                  <a:lnTo>
                    <a:pt x="97" y="232"/>
                  </a:lnTo>
                  <a:lnTo>
                    <a:pt x="97" y="234"/>
                  </a:lnTo>
                  <a:lnTo>
                    <a:pt x="100" y="237"/>
                  </a:lnTo>
                  <a:lnTo>
                    <a:pt x="97" y="237"/>
                  </a:lnTo>
                  <a:lnTo>
                    <a:pt x="92" y="237"/>
                  </a:lnTo>
                  <a:lnTo>
                    <a:pt x="89" y="237"/>
                  </a:lnTo>
                  <a:lnTo>
                    <a:pt x="86" y="237"/>
                  </a:lnTo>
                  <a:lnTo>
                    <a:pt x="83" y="237"/>
                  </a:lnTo>
                  <a:lnTo>
                    <a:pt x="78" y="237"/>
                  </a:lnTo>
                  <a:lnTo>
                    <a:pt x="75" y="237"/>
                  </a:lnTo>
                  <a:lnTo>
                    <a:pt x="72" y="237"/>
                  </a:lnTo>
                  <a:lnTo>
                    <a:pt x="67" y="237"/>
                  </a:lnTo>
                  <a:lnTo>
                    <a:pt x="64" y="234"/>
                  </a:lnTo>
                  <a:lnTo>
                    <a:pt x="61" y="234"/>
                  </a:lnTo>
                  <a:lnTo>
                    <a:pt x="58" y="232"/>
                  </a:lnTo>
                  <a:lnTo>
                    <a:pt x="53" y="232"/>
                  </a:lnTo>
                  <a:lnTo>
                    <a:pt x="50" y="229"/>
                  </a:lnTo>
                  <a:lnTo>
                    <a:pt x="47" y="229"/>
                  </a:lnTo>
                  <a:lnTo>
                    <a:pt x="45" y="226"/>
                  </a:lnTo>
                  <a:lnTo>
                    <a:pt x="42" y="223"/>
                  </a:lnTo>
                  <a:lnTo>
                    <a:pt x="39" y="223"/>
                  </a:lnTo>
                  <a:lnTo>
                    <a:pt x="36" y="221"/>
                  </a:lnTo>
                  <a:lnTo>
                    <a:pt x="34" y="218"/>
                  </a:lnTo>
                  <a:lnTo>
                    <a:pt x="31" y="215"/>
                  </a:lnTo>
                  <a:lnTo>
                    <a:pt x="28" y="212"/>
                  </a:lnTo>
                  <a:lnTo>
                    <a:pt x="25" y="210"/>
                  </a:lnTo>
                  <a:lnTo>
                    <a:pt x="25" y="207"/>
                  </a:lnTo>
                  <a:lnTo>
                    <a:pt x="22" y="204"/>
                  </a:lnTo>
                  <a:lnTo>
                    <a:pt x="20" y="201"/>
                  </a:lnTo>
                  <a:lnTo>
                    <a:pt x="20" y="199"/>
                  </a:lnTo>
                  <a:lnTo>
                    <a:pt x="17" y="196"/>
                  </a:lnTo>
                  <a:lnTo>
                    <a:pt x="17" y="193"/>
                  </a:lnTo>
                  <a:lnTo>
                    <a:pt x="14" y="188"/>
                  </a:lnTo>
                  <a:lnTo>
                    <a:pt x="14" y="185"/>
                  </a:lnTo>
                  <a:lnTo>
                    <a:pt x="14" y="182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1" y="171"/>
                  </a:lnTo>
                  <a:lnTo>
                    <a:pt x="11" y="168"/>
                  </a:lnTo>
                  <a:lnTo>
                    <a:pt x="11" y="165"/>
                  </a:lnTo>
                  <a:lnTo>
                    <a:pt x="11" y="163"/>
                  </a:lnTo>
                  <a:lnTo>
                    <a:pt x="11" y="160"/>
                  </a:lnTo>
                  <a:lnTo>
                    <a:pt x="11" y="157"/>
                  </a:lnTo>
                  <a:lnTo>
                    <a:pt x="14" y="154"/>
                  </a:lnTo>
                  <a:lnTo>
                    <a:pt x="14" y="149"/>
                  </a:lnTo>
                  <a:lnTo>
                    <a:pt x="14" y="146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7" y="141"/>
                  </a:lnTo>
                  <a:lnTo>
                    <a:pt x="20" y="138"/>
                  </a:lnTo>
                  <a:lnTo>
                    <a:pt x="20" y="135"/>
                  </a:lnTo>
                  <a:lnTo>
                    <a:pt x="22" y="132"/>
                  </a:lnTo>
                  <a:lnTo>
                    <a:pt x="22" y="130"/>
                  </a:lnTo>
                  <a:lnTo>
                    <a:pt x="25" y="127"/>
                  </a:lnTo>
                  <a:lnTo>
                    <a:pt x="28" y="124"/>
                  </a:lnTo>
                  <a:lnTo>
                    <a:pt x="28" y="121"/>
                  </a:lnTo>
                  <a:lnTo>
                    <a:pt x="31" y="121"/>
                  </a:lnTo>
                  <a:lnTo>
                    <a:pt x="34" y="119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9" y="113"/>
                  </a:lnTo>
                  <a:lnTo>
                    <a:pt x="42" y="110"/>
                  </a:lnTo>
                  <a:lnTo>
                    <a:pt x="45" y="110"/>
                  </a:lnTo>
                  <a:lnTo>
                    <a:pt x="47" y="107"/>
                  </a:lnTo>
                  <a:lnTo>
                    <a:pt x="50" y="107"/>
                  </a:lnTo>
                  <a:lnTo>
                    <a:pt x="53" y="105"/>
                  </a:lnTo>
                  <a:lnTo>
                    <a:pt x="56" y="105"/>
                  </a:lnTo>
                  <a:lnTo>
                    <a:pt x="58" y="102"/>
                  </a:lnTo>
                  <a:lnTo>
                    <a:pt x="61" y="102"/>
                  </a:lnTo>
                  <a:lnTo>
                    <a:pt x="64" y="102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6"/>
                  </a:lnTo>
                  <a:lnTo>
                    <a:pt x="72" y="96"/>
                  </a:lnTo>
                  <a:lnTo>
                    <a:pt x="72" y="96"/>
                  </a:lnTo>
                  <a:lnTo>
                    <a:pt x="72" y="96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69" y="94"/>
                  </a:lnTo>
                  <a:lnTo>
                    <a:pt x="69" y="94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1" y="91"/>
                  </a:lnTo>
                  <a:lnTo>
                    <a:pt x="58" y="91"/>
                  </a:lnTo>
                  <a:lnTo>
                    <a:pt x="53" y="94"/>
                  </a:lnTo>
                  <a:lnTo>
                    <a:pt x="50" y="94"/>
                  </a:lnTo>
                  <a:lnTo>
                    <a:pt x="47" y="96"/>
                  </a:lnTo>
                  <a:lnTo>
                    <a:pt x="45" y="96"/>
                  </a:lnTo>
                  <a:lnTo>
                    <a:pt x="42" y="99"/>
                  </a:lnTo>
                  <a:lnTo>
                    <a:pt x="39" y="102"/>
                  </a:lnTo>
                  <a:lnTo>
                    <a:pt x="36" y="99"/>
                  </a:lnTo>
                  <a:close/>
                  <a:moveTo>
                    <a:pt x="158" y="72"/>
                  </a:moveTo>
                  <a:lnTo>
                    <a:pt x="155" y="72"/>
                  </a:lnTo>
                  <a:lnTo>
                    <a:pt x="150" y="74"/>
                  </a:lnTo>
                  <a:lnTo>
                    <a:pt x="147" y="74"/>
                  </a:lnTo>
                  <a:lnTo>
                    <a:pt x="144" y="74"/>
                  </a:lnTo>
                  <a:lnTo>
                    <a:pt x="141" y="74"/>
                  </a:lnTo>
                  <a:lnTo>
                    <a:pt x="136" y="74"/>
                  </a:lnTo>
                  <a:lnTo>
                    <a:pt x="133" y="77"/>
                  </a:lnTo>
                  <a:lnTo>
                    <a:pt x="130" y="77"/>
                  </a:lnTo>
                  <a:lnTo>
                    <a:pt x="127" y="80"/>
                  </a:lnTo>
                  <a:lnTo>
                    <a:pt x="125" y="80"/>
                  </a:lnTo>
                  <a:lnTo>
                    <a:pt x="122" y="83"/>
                  </a:lnTo>
                  <a:lnTo>
                    <a:pt x="119" y="83"/>
                  </a:lnTo>
                  <a:lnTo>
                    <a:pt x="116" y="85"/>
                  </a:lnTo>
                  <a:lnTo>
                    <a:pt x="114" y="88"/>
                  </a:lnTo>
                  <a:lnTo>
                    <a:pt x="111" y="88"/>
                  </a:lnTo>
                  <a:lnTo>
                    <a:pt x="108" y="91"/>
                  </a:lnTo>
                  <a:lnTo>
                    <a:pt x="108" y="94"/>
                  </a:lnTo>
                  <a:lnTo>
                    <a:pt x="105" y="96"/>
                  </a:lnTo>
                  <a:lnTo>
                    <a:pt x="103" y="99"/>
                  </a:lnTo>
                  <a:lnTo>
                    <a:pt x="100" y="102"/>
                  </a:lnTo>
                  <a:lnTo>
                    <a:pt x="100" y="105"/>
                  </a:lnTo>
                  <a:lnTo>
                    <a:pt x="97" y="107"/>
                  </a:lnTo>
                  <a:lnTo>
                    <a:pt x="97" y="110"/>
                  </a:lnTo>
                  <a:lnTo>
                    <a:pt x="94" y="113"/>
                  </a:lnTo>
                  <a:lnTo>
                    <a:pt x="94" y="116"/>
                  </a:lnTo>
                  <a:lnTo>
                    <a:pt x="92" y="119"/>
                  </a:lnTo>
                  <a:lnTo>
                    <a:pt x="92" y="121"/>
                  </a:lnTo>
                  <a:lnTo>
                    <a:pt x="92" y="124"/>
                  </a:lnTo>
                  <a:lnTo>
                    <a:pt x="92" y="127"/>
                  </a:lnTo>
                  <a:lnTo>
                    <a:pt x="89" y="130"/>
                  </a:lnTo>
                  <a:lnTo>
                    <a:pt x="89" y="135"/>
                  </a:lnTo>
                  <a:lnTo>
                    <a:pt x="89" y="138"/>
                  </a:lnTo>
                  <a:lnTo>
                    <a:pt x="89" y="141"/>
                  </a:lnTo>
                  <a:lnTo>
                    <a:pt x="89" y="143"/>
                  </a:lnTo>
                  <a:lnTo>
                    <a:pt x="92" y="146"/>
                  </a:lnTo>
                  <a:lnTo>
                    <a:pt x="92" y="152"/>
                  </a:lnTo>
                  <a:lnTo>
                    <a:pt x="92" y="154"/>
                  </a:lnTo>
                  <a:lnTo>
                    <a:pt x="92" y="157"/>
                  </a:lnTo>
                  <a:lnTo>
                    <a:pt x="94" y="160"/>
                  </a:lnTo>
                  <a:lnTo>
                    <a:pt x="94" y="163"/>
                  </a:lnTo>
                  <a:lnTo>
                    <a:pt x="97" y="165"/>
                  </a:lnTo>
                  <a:lnTo>
                    <a:pt x="97" y="168"/>
                  </a:lnTo>
                  <a:lnTo>
                    <a:pt x="100" y="171"/>
                  </a:lnTo>
                  <a:lnTo>
                    <a:pt x="100" y="174"/>
                  </a:lnTo>
                  <a:lnTo>
                    <a:pt x="103" y="177"/>
                  </a:lnTo>
                  <a:lnTo>
                    <a:pt x="105" y="179"/>
                  </a:lnTo>
                  <a:lnTo>
                    <a:pt x="108" y="182"/>
                  </a:lnTo>
                  <a:lnTo>
                    <a:pt x="108" y="182"/>
                  </a:lnTo>
                  <a:lnTo>
                    <a:pt x="111" y="185"/>
                  </a:lnTo>
                  <a:lnTo>
                    <a:pt x="114" y="188"/>
                  </a:lnTo>
                  <a:lnTo>
                    <a:pt x="116" y="190"/>
                  </a:lnTo>
                  <a:lnTo>
                    <a:pt x="119" y="190"/>
                  </a:lnTo>
                  <a:lnTo>
                    <a:pt x="122" y="193"/>
                  </a:lnTo>
                  <a:lnTo>
                    <a:pt x="125" y="193"/>
                  </a:lnTo>
                  <a:lnTo>
                    <a:pt x="127" y="196"/>
                  </a:lnTo>
                  <a:lnTo>
                    <a:pt x="130" y="196"/>
                  </a:lnTo>
                  <a:lnTo>
                    <a:pt x="133" y="199"/>
                  </a:lnTo>
                  <a:lnTo>
                    <a:pt x="136" y="199"/>
                  </a:lnTo>
                  <a:lnTo>
                    <a:pt x="139" y="201"/>
                  </a:lnTo>
                  <a:lnTo>
                    <a:pt x="141" y="201"/>
                  </a:lnTo>
                  <a:lnTo>
                    <a:pt x="147" y="201"/>
                  </a:lnTo>
                  <a:lnTo>
                    <a:pt x="150" y="201"/>
                  </a:lnTo>
                  <a:lnTo>
                    <a:pt x="152" y="201"/>
                  </a:lnTo>
                  <a:lnTo>
                    <a:pt x="155" y="201"/>
                  </a:lnTo>
                  <a:lnTo>
                    <a:pt x="158" y="201"/>
                  </a:lnTo>
                  <a:lnTo>
                    <a:pt x="161" y="201"/>
                  </a:lnTo>
                  <a:lnTo>
                    <a:pt x="163" y="201"/>
                  </a:lnTo>
                  <a:lnTo>
                    <a:pt x="166" y="201"/>
                  </a:lnTo>
                  <a:lnTo>
                    <a:pt x="172" y="201"/>
                  </a:lnTo>
                  <a:lnTo>
                    <a:pt x="174" y="199"/>
                  </a:lnTo>
                  <a:lnTo>
                    <a:pt x="177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6"/>
                  </a:lnTo>
                  <a:lnTo>
                    <a:pt x="183" y="196"/>
                  </a:lnTo>
                  <a:lnTo>
                    <a:pt x="183" y="196"/>
                  </a:lnTo>
                  <a:lnTo>
                    <a:pt x="183" y="196"/>
                  </a:lnTo>
                  <a:lnTo>
                    <a:pt x="183" y="196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3"/>
                  </a:lnTo>
                  <a:lnTo>
                    <a:pt x="183" y="190"/>
                  </a:lnTo>
                  <a:lnTo>
                    <a:pt x="183" y="190"/>
                  </a:lnTo>
                  <a:lnTo>
                    <a:pt x="183" y="190"/>
                  </a:lnTo>
                  <a:lnTo>
                    <a:pt x="183" y="190"/>
                  </a:lnTo>
                  <a:lnTo>
                    <a:pt x="183" y="190"/>
                  </a:lnTo>
                  <a:lnTo>
                    <a:pt x="180" y="190"/>
                  </a:lnTo>
                  <a:lnTo>
                    <a:pt x="180" y="188"/>
                  </a:lnTo>
                  <a:lnTo>
                    <a:pt x="180" y="188"/>
                  </a:lnTo>
                  <a:lnTo>
                    <a:pt x="180" y="188"/>
                  </a:lnTo>
                  <a:lnTo>
                    <a:pt x="177" y="188"/>
                  </a:lnTo>
                  <a:lnTo>
                    <a:pt x="177" y="188"/>
                  </a:lnTo>
                  <a:lnTo>
                    <a:pt x="177" y="188"/>
                  </a:lnTo>
                  <a:lnTo>
                    <a:pt x="177" y="188"/>
                  </a:lnTo>
                  <a:lnTo>
                    <a:pt x="177" y="188"/>
                  </a:lnTo>
                  <a:lnTo>
                    <a:pt x="174" y="188"/>
                  </a:lnTo>
                  <a:lnTo>
                    <a:pt x="174" y="188"/>
                  </a:lnTo>
                  <a:lnTo>
                    <a:pt x="172" y="190"/>
                  </a:lnTo>
                  <a:lnTo>
                    <a:pt x="169" y="190"/>
                  </a:lnTo>
                  <a:lnTo>
                    <a:pt x="166" y="190"/>
                  </a:lnTo>
                  <a:lnTo>
                    <a:pt x="163" y="190"/>
                  </a:lnTo>
                  <a:lnTo>
                    <a:pt x="161" y="190"/>
                  </a:lnTo>
                  <a:lnTo>
                    <a:pt x="158" y="190"/>
                  </a:lnTo>
                  <a:lnTo>
                    <a:pt x="155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7" y="190"/>
                  </a:lnTo>
                  <a:lnTo>
                    <a:pt x="144" y="190"/>
                  </a:lnTo>
                  <a:lnTo>
                    <a:pt x="141" y="190"/>
                  </a:lnTo>
                  <a:lnTo>
                    <a:pt x="139" y="190"/>
                  </a:lnTo>
                  <a:lnTo>
                    <a:pt x="136" y="188"/>
                  </a:lnTo>
                  <a:lnTo>
                    <a:pt x="133" y="188"/>
                  </a:lnTo>
                  <a:lnTo>
                    <a:pt x="133" y="185"/>
                  </a:lnTo>
                  <a:lnTo>
                    <a:pt x="130" y="185"/>
                  </a:lnTo>
                  <a:lnTo>
                    <a:pt x="127" y="185"/>
                  </a:lnTo>
                  <a:lnTo>
                    <a:pt x="125" y="182"/>
                  </a:lnTo>
                  <a:lnTo>
                    <a:pt x="122" y="179"/>
                  </a:lnTo>
                  <a:lnTo>
                    <a:pt x="119" y="179"/>
                  </a:lnTo>
                  <a:lnTo>
                    <a:pt x="119" y="177"/>
                  </a:lnTo>
                  <a:lnTo>
                    <a:pt x="116" y="177"/>
                  </a:lnTo>
                  <a:lnTo>
                    <a:pt x="114" y="174"/>
                  </a:lnTo>
                  <a:lnTo>
                    <a:pt x="114" y="171"/>
                  </a:lnTo>
                  <a:lnTo>
                    <a:pt x="111" y="171"/>
                  </a:lnTo>
                  <a:lnTo>
                    <a:pt x="111" y="168"/>
                  </a:lnTo>
                  <a:lnTo>
                    <a:pt x="108" y="165"/>
                  </a:lnTo>
                  <a:lnTo>
                    <a:pt x="108" y="163"/>
                  </a:lnTo>
                  <a:lnTo>
                    <a:pt x="105" y="160"/>
                  </a:lnTo>
                  <a:lnTo>
                    <a:pt x="105" y="157"/>
                  </a:lnTo>
                  <a:lnTo>
                    <a:pt x="103" y="157"/>
                  </a:lnTo>
                  <a:lnTo>
                    <a:pt x="103" y="154"/>
                  </a:lnTo>
                  <a:lnTo>
                    <a:pt x="103" y="152"/>
                  </a:lnTo>
                  <a:lnTo>
                    <a:pt x="103" y="149"/>
                  </a:lnTo>
                  <a:lnTo>
                    <a:pt x="100" y="146"/>
                  </a:lnTo>
                  <a:lnTo>
                    <a:pt x="100" y="143"/>
                  </a:lnTo>
                  <a:lnTo>
                    <a:pt x="100" y="141"/>
                  </a:lnTo>
                  <a:lnTo>
                    <a:pt x="100" y="138"/>
                  </a:lnTo>
                  <a:lnTo>
                    <a:pt x="100" y="135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3" y="127"/>
                  </a:lnTo>
                  <a:lnTo>
                    <a:pt x="103" y="124"/>
                  </a:lnTo>
                  <a:lnTo>
                    <a:pt x="103" y="121"/>
                  </a:lnTo>
                  <a:lnTo>
                    <a:pt x="103" y="119"/>
                  </a:lnTo>
                  <a:lnTo>
                    <a:pt x="105" y="116"/>
                  </a:lnTo>
                  <a:lnTo>
                    <a:pt x="105" y="113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4" y="102"/>
                  </a:lnTo>
                  <a:lnTo>
                    <a:pt x="116" y="102"/>
                  </a:lnTo>
                  <a:lnTo>
                    <a:pt x="116" y="99"/>
                  </a:lnTo>
                  <a:lnTo>
                    <a:pt x="119" y="96"/>
                  </a:lnTo>
                  <a:lnTo>
                    <a:pt x="122" y="96"/>
                  </a:lnTo>
                  <a:lnTo>
                    <a:pt x="122" y="94"/>
                  </a:lnTo>
                  <a:lnTo>
                    <a:pt x="125" y="94"/>
                  </a:lnTo>
                  <a:lnTo>
                    <a:pt x="127" y="91"/>
                  </a:lnTo>
                  <a:lnTo>
                    <a:pt x="130" y="91"/>
                  </a:lnTo>
                  <a:lnTo>
                    <a:pt x="133" y="88"/>
                  </a:lnTo>
                  <a:lnTo>
                    <a:pt x="136" y="88"/>
                  </a:lnTo>
                  <a:lnTo>
                    <a:pt x="139" y="85"/>
                  </a:lnTo>
                  <a:lnTo>
                    <a:pt x="141" y="85"/>
                  </a:lnTo>
                  <a:lnTo>
                    <a:pt x="144" y="85"/>
                  </a:lnTo>
                  <a:lnTo>
                    <a:pt x="147" y="85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5" y="83"/>
                  </a:lnTo>
                  <a:lnTo>
                    <a:pt x="158" y="83"/>
                  </a:lnTo>
                  <a:lnTo>
                    <a:pt x="161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6" y="83"/>
                  </a:lnTo>
                  <a:lnTo>
                    <a:pt x="169" y="85"/>
                  </a:lnTo>
                  <a:lnTo>
                    <a:pt x="172" y="85"/>
                  </a:lnTo>
                  <a:lnTo>
                    <a:pt x="172" y="85"/>
                  </a:lnTo>
                  <a:lnTo>
                    <a:pt x="174" y="85"/>
                  </a:lnTo>
                  <a:lnTo>
                    <a:pt x="177" y="85"/>
                  </a:lnTo>
                  <a:lnTo>
                    <a:pt x="177" y="88"/>
                  </a:lnTo>
                  <a:lnTo>
                    <a:pt x="180" y="88"/>
                  </a:lnTo>
                  <a:lnTo>
                    <a:pt x="183" y="88"/>
                  </a:lnTo>
                  <a:lnTo>
                    <a:pt x="186" y="88"/>
                  </a:lnTo>
                  <a:lnTo>
                    <a:pt x="186" y="91"/>
                  </a:lnTo>
                  <a:lnTo>
                    <a:pt x="188" y="91"/>
                  </a:lnTo>
                  <a:lnTo>
                    <a:pt x="191" y="94"/>
                  </a:lnTo>
                  <a:lnTo>
                    <a:pt x="191" y="94"/>
                  </a:lnTo>
                  <a:lnTo>
                    <a:pt x="194" y="96"/>
                  </a:lnTo>
                  <a:lnTo>
                    <a:pt x="197" y="99"/>
                  </a:lnTo>
                  <a:lnTo>
                    <a:pt x="199" y="99"/>
                  </a:lnTo>
                  <a:lnTo>
                    <a:pt x="199" y="102"/>
                  </a:lnTo>
                  <a:lnTo>
                    <a:pt x="202" y="105"/>
                  </a:lnTo>
                  <a:lnTo>
                    <a:pt x="205" y="107"/>
                  </a:lnTo>
                  <a:lnTo>
                    <a:pt x="205" y="110"/>
                  </a:lnTo>
                  <a:lnTo>
                    <a:pt x="208" y="113"/>
                  </a:lnTo>
                  <a:lnTo>
                    <a:pt x="208" y="116"/>
                  </a:lnTo>
                  <a:lnTo>
                    <a:pt x="208" y="119"/>
                  </a:lnTo>
                  <a:lnTo>
                    <a:pt x="208" y="121"/>
                  </a:lnTo>
                  <a:lnTo>
                    <a:pt x="210" y="124"/>
                  </a:lnTo>
                  <a:lnTo>
                    <a:pt x="210" y="127"/>
                  </a:lnTo>
                  <a:lnTo>
                    <a:pt x="210" y="130"/>
                  </a:lnTo>
                  <a:lnTo>
                    <a:pt x="210" y="132"/>
                  </a:lnTo>
                  <a:lnTo>
                    <a:pt x="210" y="135"/>
                  </a:lnTo>
                  <a:lnTo>
                    <a:pt x="210" y="135"/>
                  </a:lnTo>
                  <a:lnTo>
                    <a:pt x="210" y="138"/>
                  </a:lnTo>
                  <a:lnTo>
                    <a:pt x="210" y="141"/>
                  </a:lnTo>
                  <a:lnTo>
                    <a:pt x="208" y="143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8" y="149"/>
                  </a:lnTo>
                  <a:lnTo>
                    <a:pt x="205" y="152"/>
                  </a:lnTo>
                  <a:lnTo>
                    <a:pt x="205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57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7" y="157"/>
                  </a:lnTo>
                  <a:lnTo>
                    <a:pt x="197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88" y="160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6" y="154"/>
                  </a:lnTo>
                  <a:lnTo>
                    <a:pt x="183" y="154"/>
                  </a:lnTo>
                  <a:lnTo>
                    <a:pt x="183" y="154"/>
                  </a:lnTo>
                  <a:lnTo>
                    <a:pt x="183" y="154"/>
                  </a:lnTo>
                  <a:lnTo>
                    <a:pt x="183" y="152"/>
                  </a:lnTo>
                  <a:lnTo>
                    <a:pt x="183" y="152"/>
                  </a:lnTo>
                  <a:lnTo>
                    <a:pt x="183" y="149"/>
                  </a:lnTo>
                  <a:lnTo>
                    <a:pt x="183" y="149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3" y="105"/>
                  </a:lnTo>
                  <a:lnTo>
                    <a:pt x="183" y="105"/>
                  </a:lnTo>
                  <a:lnTo>
                    <a:pt x="183" y="105"/>
                  </a:lnTo>
                  <a:lnTo>
                    <a:pt x="180" y="105"/>
                  </a:lnTo>
                  <a:lnTo>
                    <a:pt x="180" y="105"/>
                  </a:lnTo>
                  <a:lnTo>
                    <a:pt x="180" y="105"/>
                  </a:lnTo>
                  <a:lnTo>
                    <a:pt x="180" y="102"/>
                  </a:lnTo>
                  <a:lnTo>
                    <a:pt x="180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4" y="102"/>
                  </a:lnTo>
                  <a:lnTo>
                    <a:pt x="174" y="102"/>
                  </a:lnTo>
                  <a:lnTo>
                    <a:pt x="174" y="105"/>
                  </a:lnTo>
                  <a:lnTo>
                    <a:pt x="174" y="105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72" y="105"/>
                  </a:lnTo>
                  <a:lnTo>
                    <a:pt x="172" y="105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72" y="110"/>
                  </a:lnTo>
                  <a:lnTo>
                    <a:pt x="169" y="110"/>
                  </a:lnTo>
                  <a:lnTo>
                    <a:pt x="169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3" y="107"/>
                  </a:lnTo>
                  <a:lnTo>
                    <a:pt x="161" y="107"/>
                  </a:lnTo>
                  <a:lnTo>
                    <a:pt x="161" y="105"/>
                  </a:lnTo>
                  <a:lnTo>
                    <a:pt x="158" y="105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2" y="105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41" y="107"/>
                  </a:lnTo>
                  <a:lnTo>
                    <a:pt x="141" y="107"/>
                  </a:lnTo>
                  <a:lnTo>
                    <a:pt x="141" y="107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36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3" y="116"/>
                  </a:lnTo>
                  <a:lnTo>
                    <a:pt x="130" y="116"/>
                  </a:lnTo>
                  <a:lnTo>
                    <a:pt x="130" y="119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5" y="124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5" y="130"/>
                  </a:lnTo>
                  <a:lnTo>
                    <a:pt x="122" y="132"/>
                  </a:lnTo>
                  <a:lnTo>
                    <a:pt x="122" y="135"/>
                  </a:lnTo>
                  <a:lnTo>
                    <a:pt x="122" y="138"/>
                  </a:lnTo>
                  <a:lnTo>
                    <a:pt x="122" y="141"/>
                  </a:lnTo>
                  <a:lnTo>
                    <a:pt x="122" y="141"/>
                  </a:lnTo>
                  <a:lnTo>
                    <a:pt x="122" y="143"/>
                  </a:lnTo>
                  <a:lnTo>
                    <a:pt x="122" y="143"/>
                  </a:lnTo>
                  <a:lnTo>
                    <a:pt x="125" y="146"/>
                  </a:lnTo>
                  <a:lnTo>
                    <a:pt x="125" y="146"/>
                  </a:lnTo>
                  <a:lnTo>
                    <a:pt x="125" y="149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7" y="154"/>
                  </a:lnTo>
                  <a:lnTo>
                    <a:pt x="127" y="154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6" y="163"/>
                  </a:lnTo>
                  <a:lnTo>
                    <a:pt x="136" y="165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68"/>
                  </a:lnTo>
                  <a:lnTo>
                    <a:pt x="141" y="168"/>
                  </a:lnTo>
                  <a:lnTo>
                    <a:pt x="144" y="168"/>
                  </a:lnTo>
                  <a:lnTo>
                    <a:pt x="144" y="168"/>
                  </a:lnTo>
                  <a:lnTo>
                    <a:pt x="147" y="168"/>
                  </a:lnTo>
                  <a:lnTo>
                    <a:pt x="147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55" y="171"/>
                  </a:lnTo>
                  <a:lnTo>
                    <a:pt x="155" y="171"/>
                  </a:lnTo>
                  <a:lnTo>
                    <a:pt x="158" y="171"/>
                  </a:lnTo>
                  <a:lnTo>
                    <a:pt x="158" y="171"/>
                  </a:lnTo>
                  <a:lnTo>
                    <a:pt x="161" y="171"/>
                  </a:lnTo>
                  <a:lnTo>
                    <a:pt x="161" y="171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9" y="168"/>
                  </a:lnTo>
                  <a:lnTo>
                    <a:pt x="169" y="165"/>
                  </a:lnTo>
                  <a:lnTo>
                    <a:pt x="172" y="165"/>
                  </a:lnTo>
                  <a:lnTo>
                    <a:pt x="172" y="165"/>
                  </a:lnTo>
                  <a:lnTo>
                    <a:pt x="174" y="165"/>
                  </a:lnTo>
                  <a:lnTo>
                    <a:pt x="174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7" y="165"/>
                  </a:lnTo>
                  <a:lnTo>
                    <a:pt x="180" y="165"/>
                  </a:lnTo>
                  <a:lnTo>
                    <a:pt x="180" y="165"/>
                  </a:lnTo>
                  <a:lnTo>
                    <a:pt x="180" y="168"/>
                  </a:lnTo>
                  <a:lnTo>
                    <a:pt x="183" y="168"/>
                  </a:lnTo>
                  <a:lnTo>
                    <a:pt x="183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8" y="168"/>
                  </a:lnTo>
                  <a:lnTo>
                    <a:pt x="188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4" y="171"/>
                  </a:lnTo>
                  <a:lnTo>
                    <a:pt x="194" y="171"/>
                  </a:lnTo>
                  <a:lnTo>
                    <a:pt x="197" y="171"/>
                  </a:lnTo>
                  <a:lnTo>
                    <a:pt x="197" y="168"/>
                  </a:lnTo>
                  <a:lnTo>
                    <a:pt x="199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5" y="168"/>
                  </a:lnTo>
                  <a:lnTo>
                    <a:pt x="205" y="165"/>
                  </a:lnTo>
                  <a:lnTo>
                    <a:pt x="208" y="165"/>
                  </a:lnTo>
                  <a:lnTo>
                    <a:pt x="208" y="165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10" y="160"/>
                  </a:lnTo>
                  <a:lnTo>
                    <a:pt x="213" y="160"/>
                  </a:lnTo>
                  <a:lnTo>
                    <a:pt x="213" y="160"/>
                  </a:lnTo>
                  <a:lnTo>
                    <a:pt x="213" y="157"/>
                  </a:lnTo>
                  <a:lnTo>
                    <a:pt x="216" y="157"/>
                  </a:lnTo>
                  <a:lnTo>
                    <a:pt x="216" y="154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9" y="149"/>
                  </a:lnTo>
                  <a:lnTo>
                    <a:pt x="219" y="149"/>
                  </a:lnTo>
                  <a:lnTo>
                    <a:pt x="219" y="146"/>
                  </a:lnTo>
                  <a:lnTo>
                    <a:pt x="219" y="146"/>
                  </a:lnTo>
                  <a:lnTo>
                    <a:pt x="219" y="143"/>
                  </a:lnTo>
                  <a:lnTo>
                    <a:pt x="219" y="141"/>
                  </a:lnTo>
                  <a:lnTo>
                    <a:pt x="221" y="141"/>
                  </a:lnTo>
                  <a:lnTo>
                    <a:pt x="221" y="138"/>
                  </a:lnTo>
                  <a:lnTo>
                    <a:pt x="221" y="135"/>
                  </a:lnTo>
                  <a:lnTo>
                    <a:pt x="221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1" y="127"/>
                  </a:lnTo>
                  <a:lnTo>
                    <a:pt x="221" y="124"/>
                  </a:lnTo>
                  <a:lnTo>
                    <a:pt x="221" y="124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19"/>
                  </a:lnTo>
                  <a:lnTo>
                    <a:pt x="219" y="116"/>
                  </a:lnTo>
                  <a:lnTo>
                    <a:pt x="219" y="116"/>
                  </a:lnTo>
                  <a:lnTo>
                    <a:pt x="219" y="113"/>
                  </a:lnTo>
                  <a:lnTo>
                    <a:pt x="219" y="110"/>
                  </a:lnTo>
                  <a:lnTo>
                    <a:pt x="216" y="110"/>
                  </a:lnTo>
                  <a:lnTo>
                    <a:pt x="216" y="107"/>
                  </a:lnTo>
                  <a:lnTo>
                    <a:pt x="216" y="107"/>
                  </a:lnTo>
                  <a:lnTo>
                    <a:pt x="216" y="105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3" y="99"/>
                  </a:lnTo>
                  <a:lnTo>
                    <a:pt x="210" y="99"/>
                  </a:lnTo>
                  <a:lnTo>
                    <a:pt x="210" y="96"/>
                  </a:lnTo>
                  <a:lnTo>
                    <a:pt x="210" y="96"/>
                  </a:lnTo>
                  <a:lnTo>
                    <a:pt x="208" y="94"/>
                  </a:lnTo>
                  <a:lnTo>
                    <a:pt x="208" y="94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2" y="88"/>
                  </a:lnTo>
                  <a:lnTo>
                    <a:pt x="202" y="88"/>
                  </a:lnTo>
                  <a:lnTo>
                    <a:pt x="199" y="88"/>
                  </a:lnTo>
                  <a:lnTo>
                    <a:pt x="199" y="85"/>
                  </a:lnTo>
                  <a:lnTo>
                    <a:pt x="197" y="85"/>
                  </a:lnTo>
                  <a:lnTo>
                    <a:pt x="197" y="83"/>
                  </a:lnTo>
                  <a:lnTo>
                    <a:pt x="194" y="83"/>
                  </a:lnTo>
                  <a:lnTo>
                    <a:pt x="191" y="80"/>
                  </a:lnTo>
                  <a:lnTo>
                    <a:pt x="188" y="80"/>
                  </a:lnTo>
                  <a:lnTo>
                    <a:pt x="188" y="80"/>
                  </a:lnTo>
                  <a:lnTo>
                    <a:pt x="186" y="77"/>
                  </a:lnTo>
                  <a:lnTo>
                    <a:pt x="183" y="77"/>
                  </a:lnTo>
                  <a:lnTo>
                    <a:pt x="180" y="77"/>
                  </a:lnTo>
                  <a:lnTo>
                    <a:pt x="177" y="74"/>
                  </a:lnTo>
                  <a:lnTo>
                    <a:pt x="174" y="74"/>
                  </a:lnTo>
                  <a:lnTo>
                    <a:pt x="172" y="74"/>
                  </a:lnTo>
                  <a:lnTo>
                    <a:pt x="169" y="74"/>
                  </a:lnTo>
                  <a:lnTo>
                    <a:pt x="169" y="74"/>
                  </a:lnTo>
                  <a:lnTo>
                    <a:pt x="166" y="74"/>
                  </a:lnTo>
                  <a:lnTo>
                    <a:pt x="163" y="72"/>
                  </a:lnTo>
                  <a:lnTo>
                    <a:pt x="161" y="72"/>
                  </a:lnTo>
                  <a:lnTo>
                    <a:pt x="158" y="72"/>
                  </a:lnTo>
                  <a:close/>
                  <a:moveTo>
                    <a:pt x="152" y="160"/>
                  </a:moveTo>
                  <a:lnTo>
                    <a:pt x="152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7" y="160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41" y="157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6" y="149"/>
                  </a:lnTo>
                  <a:lnTo>
                    <a:pt x="136" y="149"/>
                  </a:lnTo>
                  <a:lnTo>
                    <a:pt x="136" y="146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1"/>
                  </a:lnTo>
                  <a:lnTo>
                    <a:pt x="133" y="138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3" y="132"/>
                  </a:lnTo>
                  <a:lnTo>
                    <a:pt x="136" y="132"/>
                  </a:lnTo>
                  <a:lnTo>
                    <a:pt x="136" y="130"/>
                  </a:lnTo>
                  <a:lnTo>
                    <a:pt x="136" y="127"/>
                  </a:lnTo>
                  <a:lnTo>
                    <a:pt x="136" y="127"/>
                  </a:lnTo>
                  <a:lnTo>
                    <a:pt x="136" y="124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19"/>
                  </a:lnTo>
                  <a:lnTo>
                    <a:pt x="144" y="119"/>
                  </a:lnTo>
                  <a:lnTo>
                    <a:pt x="147" y="119"/>
                  </a:lnTo>
                  <a:lnTo>
                    <a:pt x="147" y="119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2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8" y="116"/>
                  </a:lnTo>
                  <a:lnTo>
                    <a:pt x="158" y="116"/>
                  </a:lnTo>
                  <a:lnTo>
                    <a:pt x="161" y="116"/>
                  </a:lnTo>
                  <a:lnTo>
                    <a:pt x="163" y="119"/>
                  </a:lnTo>
                  <a:lnTo>
                    <a:pt x="163" y="119"/>
                  </a:lnTo>
                  <a:lnTo>
                    <a:pt x="166" y="119"/>
                  </a:lnTo>
                  <a:lnTo>
                    <a:pt x="166" y="119"/>
                  </a:lnTo>
                  <a:lnTo>
                    <a:pt x="169" y="121"/>
                  </a:lnTo>
                  <a:lnTo>
                    <a:pt x="169" y="121"/>
                  </a:lnTo>
                  <a:lnTo>
                    <a:pt x="172" y="121"/>
                  </a:lnTo>
                  <a:lnTo>
                    <a:pt x="172" y="124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9"/>
                  </a:lnTo>
                  <a:lnTo>
                    <a:pt x="172" y="149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9" y="154"/>
                  </a:lnTo>
                  <a:lnTo>
                    <a:pt x="169" y="154"/>
                  </a:lnTo>
                  <a:lnTo>
                    <a:pt x="169" y="154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1" y="160"/>
                  </a:lnTo>
                  <a:lnTo>
                    <a:pt x="161" y="160"/>
                  </a:lnTo>
                  <a:lnTo>
                    <a:pt x="158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2" y="160"/>
                  </a:lnTo>
                  <a:lnTo>
                    <a:pt x="152" y="1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32">
            <a:extLst>
              <a:ext uri="{FF2B5EF4-FFF2-40B4-BE49-F238E27FC236}">
                <a16:creationId xmlns:a16="http://schemas.microsoft.com/office/drawing/2014/main" id="{A7569CB5-1A47-4F15-8FB2-FBABD5BBB7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0084" y="354833"/>
            <a:ext cx="758825" cy="758825"/>
            <a:chOff x="3655" y="420"/>
            <a:chExt cx="478" cy="478"/>
          </a:xfrm>
        </p:grpSpPr>
        <p:sp>
          <p:nvSpPr>
            <p:cNvPr id="40" name="AutoShape 31">
              <a:extLst>
                <a:ext uri="{FF2B5EF4-FFF2-40B4-BE49-F238E27FC236}">
                  <a16:creationId xmlns:a16="http://schemas.microsoft.com/office/drawing/2014/main" id="{CA13811F-8A3E-43F8-B46C-BEB448DFAA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5" y="42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E6F121DE-9CBA-4A32-BCF3-9700B857D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7" y="422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C32FCDA1-3030-4CD8-A663-509DD4EC6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" y="589"/>
              <a:ext cx="201" cy="42"/>
            </a:xfrm>
            <a:custGeom>
              <a:avLst/>
              <a:gdLst>
                <a:gd name="T0" fmla="*/ 201 w 201"/>
                <a:gd name="T1" fmla="*/ 34 h 42"/>
                <a:gd name="T2" fmla="*/ 201 w 201"/>
                <a:gd name="T3" fmla="*/ 34 h 42"/>
                <a:gd name="T4" fmla="*/ 201 w 201"/>
                <a:gd name="T5" fmla="*/ 32 h 42"/>
                <a:gd name="T6" fmla="*/ 198 w 201"/>
                <a:gd name="T7" fmla="*/ 30 h 42"/>
                <a:gd name="T8" fmla="*/ 196 w 201"/>
                <a:gd name="T9" fmla="*/ 27 h 42"/>
                <a:gd name="T10" fmla="*/ 176 w 201"/>
                <a:gd name="T11" fmla="*/ 15 h 42"/>
                <a:gd name="T12" fmla="*/ 159 w 201"/>
                <a:gd name="T13" fmla="*/ 10 h 42"/>
                <a:gd name="T14" fmla="*/ 142 w 201"/>
                <a:gd name="T15" fmla="*/ 5 h 42"/>
                <a:gd name="T16" fmla="*/ 127 w 201"/>
                <a:gd name="T17" fmla="*/ 0 h 42"/>
                <a:gd name="T18" fmla="*/ 110 w 201"/>
                <a:gd name="T19" fmla="*/ 0 h 42"/>
                <a:gd name="T20" fmla="*/ 100 w 201"/>
                <a:gd name="T21" fmla="*/ 0 h 42"/>
                <a:gd name="T22" fmla="*/ 83 w 201"/>
                <a:gd name="T23" fmla="*/ 0 h 42"/>
                <a:gd name="T24" fmla="*/ 68 w 201"/>
                <a:gd name="T25" fmla="*/ 3 h 42"/>
                <a:gd name="T26" fmla="*/ 51 w 201"/>
                <a:gd name="T27" fmla="*/ 5 h 42"/>
                <a:gd name="T28" fmla="*/ 36 w 201"/>
                <a:gd name="T29" fmla="*/ 10 h 42"/>
                <a:gd name="T30" fmla="*/ 24 w 201"/>
                <a:gd name="T31" fmla="*/ 15 h 42"/>
                <a:gd name="T32" fmla="*/ 12 w 201"/>
                <a:gd name="T33" fmla="*/ 22 h 42"/>
                <a:gd name="T34" fmla="*/ 0 w 201"/>
                <a:gd name="T35" fmla="*/ 30 h 42"/>
                <a:gd name="T36" fmla="*/ 0 w 201"/>
                <a:gd name="T37" fmla="*/ 32 h 42"/>
                <a:gd name="T38" fmla="*/ 0 w 201"/>
                <a:gd name="T39" fmla="*/ 34 h 42"/>
                <a:gd name="T40" fmla="*/ 0 w 201"/>
                <a:gd name="T41" fmla="*/ 37 h 42"/>
                <a:gd name="T42" fmla="*/ 2 w 201"/>
                <a:gd name="T43" fmla="*/ 39 h 42"/>
                <a:gd name="T44" fmla="*/ 5 w 201"/>
                <a:gd name="T45" fmla="*/ 42 h 42"/>
                <a:gd name="T46" fmla="*/ 7 w 201"/>
                <a:gd name="T47" fmla="*/ 42 h 42"/>
                <a:gd name="T48" fmla="*/ 10 w 201"/>
                <a:gd name="T49" fmla="*/ 42 h 42"/>
                <a:gd name="T50" fmla="*/ 39 w 201"/>
                <a:gd name="T51" fmla="*/ 25 h 42"/>
                <a:gd name="T52" fmla="*/ 51 w 201"/>
                <a:gd name="T53" fmla="*/ 20 h 42"/>
                <a:gd name="T54" fmla="*/ 71 w 201"/>
                <a:gd name="T55" fmla="*/ 15 h 42"/>
                <a:gd name="T56" fmla="*/ 86 w 201"/>
                <a:gd name="T57" fmla="*/ 15 h 42"/>
                <a:gd name="T58" fmla="*/ 100 w 201"/>
                <a:gd name="T59" fmla="*/ 12 h 42"/>
                <a:gd name="T60" fmla="*/ 117 w 201"/>
                <a:gd name="T61" fmla="*/ 15 h 42"/>
                <a:gd name="T62" fmla="*/ 132 w 201"/>
                <a:gd name="T63" fmla="*/ 17 h 42"/>
                <a:gd name="T64" fmla="*/ 149 w 201"/>
                <a:gd name="T65" fmla="*/ 20 h 42"/>
                <a:gd name="T66" fmla="*/ 169 w 201"/>
                <a:gd name="T67" fmla="*/ 30 h 42"/>
                <a:gd name="T68" fmla="*/ 176 w 201"/>
                <a:gd name="T69" fmla="*/ 32 h 42"/>
                <a:gd name="T70" fmla="*/ 191 w 201"/>
                <a:gd name="T71" fmla="*/ 42 h 42"/>
                <a:gd name="T72" fmla="*/ 193 w 201"/>
                <a:gd name="T73" fmla="*/ 42 h 42"/>
                <a:gd name="T74" fmla="*/ 196 w 201"/>
                <a:gd name="T75" fmla="*/ 42 h 42"/>
                <a:gd name="T76" fmla="*/ 201 w 201"/>
                <a:gd name="T77" fmla="*/ 37 h 42"/>
                <a:gd name="T78" fmla="*/ 201 w 201"/>
                <a:gd name="T79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1" h="42">
                  <a:moveTo>
                    <a:pt x="201" y="34"/>
                  </a:moveTo>
                  <a:lnTo>
                    <a:pt x="201" y="34"/>
                  </a:lnTo>
                  <a:lnTo>
                    <a:pt x="201" y="32"/>
                  </a:lnTo>
                  <a:lnTo>
                    <a:pt x="198" y="30"/>
                  </a:lnTo>
                  <a:lnTo>
                    <a:pt x="196" y="27"/>
                  </a:lnTo>
                  <a:lnTo>
                    <a:pt x="176" y="15"/>
                  </a:lnTo>
                  <a:lnTo>
                    <a:pt x="159" y="10"/>
                  </a:lnTo>
                  <a:lnTo>
                    <a:pt x="142" y="5"/>
                  </a:lnTo>
                  <a:lnTo>
                    <a:pt x="127" y="0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83" y="0"/>
                  </a:lnTo>
                  <a:lnTo>
                    <a:pt x="68" y="3"/>
                  </a:lnTo>
                  <a:lnTo>
                    <a:pt x="51" y="5"/>
                  </a:lnTo>
                  <a:lnTo>
                    <a:pt x="36" y="10"/>
                  </a:lnTo>
                  <a:lnTo>
                    <a:pt x="24" y="15"/>
                  </a:lnTo>
                  <a:lnTo>
                    <a:pt x="12" y="22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2" y="39"/>
                  </a:lnTo>
                  <a:lnTo>
                    <a:pt x="5" y="42"/>
                  </a:lnTo>
                  <a:lnTo>
                    <a:pt x="7" y="42"/>
                  </a:lnTo>
                  <a:lnTo>
                    <a:pt x="10" y="42"/>
                  </a:lnTo>
                  <a:lnTo>
                    <a:pt x="39" y="25"/>
                  </a:lnTo>
                  <a:lnTo>
                    <a:pt x="51" y="20"/>
                  </a:lnTo>
                  <a:lnTo>
                    <a:pt x="71" y="15"/>
                  </a:lnTo>
                  <a:lnTo>
                    <a:pt x="86" y="15"/>
                  </a:lnTo>
                  <a:lnTo>
                    <a:pt x="100" y="12"/>
                  </a:lnTo>
                  <a:lnTo>
                    <a:pt x="117" y="15"/>
                  </a:lnTo>
                  <a:lnTo>
                    <a:pt x="132" y="17"/>
                  </a:lnTo>
                  <a:lnTo>
                    <a:pt x="149" y="20"/>
                  </a:lnTo>
                  <a:lnTo>
                    <a:pt x="169" y="30"/>
                  </a:lnTo>
                  <a:lnTo>
                    <a:pt x="176" y="32"/>
                  </a:lnTo>
                  <a:lnTo>
                    <a:pt x="191" y="42"/>
                  </a:lnTo>
                  <a:lnTo>
                    <a:pt x="193" y="42"/>
                  </a:lnTo>
                  <a:lnTo>
                    <a:pt x="196" y="42"/>
                  </a:lnTo>
                  <a:lnTo>
                    <a:pt x="201" y="37"/>
                  </a:lnTo>
                  <a:lnTo>
                    <a:pt x="201" y="3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917905C9-1C36-4989-BFF8-D69BBE7F9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1" y="655"/>
              <a:ext cx="128" cy="30"/>
            </a:xfrm>
            <a:custGeom>
              <a:avLst/>
              <a:gdLst>
                <a:gd name="T0" fmla="*/ 126 w 128"/>
                <a:gd name="T1" fmla="*/ 20 h 30"/>
                <a:gd name="T2" fmla="*/ 126 w 128"/>
                <a:gd name="T3" fmla="*/ 17 h 30"/>
                <a:gd name="T4" fmla="*/ 123 w 128"/>
                <a:gd name="T5" fmla="*/ 17 h 30"/>
                <a:gd name="T6" fmla="*/ 116 w 128"/>
                <a:gd name="T7" fmla="*/ 13 h 30"/>
                <a:gd name="T8" fmla="*/ 106 w 128"/>
                <a:gd name="T9" fmla="*/ 8 h 30"/>
                <a:gd name="T10" fmla="*/ 96 w 128"/>
                <a:gd name="T11" fmla="*/ 5 h 30"/>
                <a:gd name="T12" fmla="*/ 89 w 128"/>
                <a:gd name="T13" fmla="*/ 3 h 30"/>
                <a:gd name="T14" fmla="*/ 76 w 128"/>
                <a:gd name="T15" fmla="*/ 0 h 30"/>
                <a:gd name="T16" fmla="*/ 69 w 128"/>
                <a:gd name="T17" fmla="*/ 0 h 30"/>
                <a:gd name="T18" fmla="*/ 64 w 128"/>
                <a:gd name="T19" fmla="*/ 0 h 30"/>
                <a:gd name="T20" fmla="*/ 57 w 128"/>
                <a:gd name="T21" fmla="*/ 0 h 30"/>
                <a:gd name="T22" fmla="*/ 50 w 128"/>
                <a:gd name="T23" fmla="*/ 0 h 30"/>
                <a:gd name="T24" fmla="*/ 40 w 128"/>
                <a:gd name="T25" fmla="*/ 3 h 30"/>
                <a:gd name="T26" fmla="*/ 30 w 128"/>
                <a:gd name="T27" fmla="*/ 5 h 30"/>
                <a:gd name="T28" fmla="*/ 23 w 128"/>
                <a:gd name="T29" fmla="*/ 8 h 30"/>
                <a:gd name="T30" fmla="*/ 10 w 128"/>
                <a:gd name="T31" fmla="*/ 13 h 30"/>
                <a:gd name="T32" fmla="*/ 3 w 128"/>
                <a:gd name="T33" fmla="*/ 20 h 30"/>
                <a:gd name="T34" fmla="*/ 0 w 128"/>
                <a:gd name="T35" fmla="*/ 22 h 30"/>
                <a:gd name="T36" fmla="*/ 0 w 128"/>
                <a:gd name="T37" fmla="*/ 22 h 30"/>
                <a:gd name="T38" fmla="*/ 3 w 128"/>
                <a:gd name="T39" fmla="*/ 27 h 30"/>
                <a:gd name="T40" fmla="*/ 5 w 128"/>
                <a:gd name="T41" fmla="*/ 30 h 30"/>
                <a:gd name="T42" fmla="*/ 8 w 128"/>
                <a:gd name="T43" fmla="*/ 30 h 30"/>
                <a:gd name="T44" fmla="*/ 8 w 128"/>
                <a:gd name="T45" fmla="*/ 30 h 30"/>
                <a:gd name="T46" fmla="*/ 10 w 128"/>
                <a:gd name="T47" fmla="*/ 30 h 30"/>
                <a:gd name="T48" fmla="*/ 13 w 128"/>
                <a:gd name="T49" fmla="*/ 30 h 30"/>
                <a:gd name="T50" fmla="*/ 18 w 128"/>
                <a:gd name="T51" fmla="*/ 25 h 30"/>
                <a:gd name="T52" fmla="*/ 27 w 128"/>
                <a:gd name="T53" fmla="*/ 22 h 30"/>
                <a:gd name="T54" fmla="*/ 37 w 128"/>
                <a:gd name="T55" fmla="*/ 17 h 30"/>
                <a:gd name="T56" fmla="*/ 45 w 128"/>
                <a:gd name="T57" fmla="*/ 15 h 30"/>
                <a:gd name="T58" fmla="*/ 50 w 128"/>
                <a:gd name="T59" fmla="*/ 15 h 30"/>
                <a:gd name="T60" fmla="*/ 62 w 128"/>
                <a:gd name="T61" fmla="*/ 15 h 30"/>
                <a:gd name="T62" fmla="*/ 64 w 128"/>
                <a:gd name="T63" fmla="*/ 15 h 30"/>
                <a:gd name="T64" fmla="*/ 74 w 128"/>
                <a:gd name="T65" fmla="*/ 15 h 30"/>
                <a:gd name="T66" fmla="*/ 79 w 128"/>
                <a:gd name="T67" fmla="*/ 15 h 30"/>
                <a:gd name="T68" fmla="*/ 89 w 128"/>
                <a:gd name="T69" fmla="*/ 17 h 30"/>
                <a:gd name="T70" fmla="*/ 99 w 128"/>
                <a:gd name="T71" fmla="*/ 20 h 30"/>
                <a:gd name="T72" fmla="*/ 103 w 128"/>
                <a:gd name="T73" fmla="*/ 22 h 30"/>
                <a:gd name="T74" fmla="*/ 113 w 128"/>
                <a:gd name="T75" fmla="*/ 27 h 30"/>
                <a:gd name="T76" fmla="*/ 118 w 128"/>
                <a:gd name="T77" fmla="*/ 30 h 30"/>
                <a:gd name="T78" fmla="*/ 118 w 128"/>
                <a:gd name="T79" fmla="*/ 30 h 30"/>
                <a:gd name="T80" fmla="*/ 123 w 128"/>
                <a:gd name="T81" fmla="*/ 30 h 30"/>
                <a:gd name="T82" fmla="*/ 126 w 128"/>
                <a:gd name="T83" fmla="*/ 27 h 30"/>
                <a:gd name="T84" fmla="*/ 128 w 128"/>
                <a:gd name="T85" fmla="*/ 22 h 30"/>
                <a:gd name="T86" fmla="*/ 126 w 128"/>
                <a:gd name="T8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30">
                  <a:moveTo>
                    <a:pt x="126" y="20"/>
                  </a:moveTo>
                  <a:lnTo>
                    <a:pt x="126" y="17"/>
                  </a:lnTo>
                  <a:lnTo>
                    <a:pt x="123" y="17"/>
                  </a:lnTo>
                  <a:lnTo>
                    <a:pt x="116" y="13"/>
                  </a:lnTo>
                  <a:lnTo>
                    <a:pt x="106" y="8"/>
                  </a:lnTo>
                  <a:lnTo>
                    <a:pt x="96" y="5"/>
                  </a:lnTo>
                  <a:lnTo>
                    <a:pt x="89" y="3"/>
                  </a:lnTo>
                  <a:lnTo>
                    <a:pt x="76" y="0"/>
                  </a:lnTo>
                  <a:lnTo>
                    <a:pt x="69" y="0"/>
                  </a:lnTo>
                  <a:lnTo>
                    <a:pt x="64" y="0"/>
                  </a:lnTo>
                  <a:lnTo>
                    <a:pt x="57" y="0"/>
                  </a:lnTo>
                  <a:lnTo>
                    <a:pt x="50" y="0"/>
                  </a:lnTo>
                  <a:lnTo>
                    <a:pt x="40" y="3"/>
                  </a:lnTo>
                  <a:lnTo>
                    <a:pt x="30" y="5"/>
                  </a:lnTo>
                  <a:lnTo>
                    <a:pt x="23" y="8"/>
                  </a:lnTo>
                  <a:lnTo>
                    <a:pt x="10" y="13"/>
                  </a:lnTo>
                  <a:lnTo>
                    <a:pt x="3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3" y="27"/>
                  </a:lnTo>
                  <a:lnTo>
                    <a:pt x="5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3" y="30"/>
                  </a:lnTo>
                  <a:lnTo>
                    <a:pt x="18" y="25"/>
                  </a:lnTo>
                  <a:lnTo>
                    <a:pt x="27" y="22"/>
                  </a:lnTo>
                  <a:lnTo>
                    <a:pt x="37" y="17"/>
                  </a:lnTo>
                  <a:lnTo>
                    <a:pt x="45" y="15"/>
                  </a:lnTo>
                  <a:lnTo>
                    <a:pt x="50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74" y="15"/>
                  </a:lnTo>
                  <a:lnTo>
                    <a:pt x="79" y="15"/>
                  </a:lnTo>
                  <a:lnTo>
                    <a:pt x="89" y="17"/>
                  </a:lnTo>
                  <a:lnTo>
                    <a:pt x="99" y="20"/>
                  </a:lnTo>
                  <a:lnTo>
                    <a:pt x="103" y="22"/>
                  </a:lnTo>
                  <a:lnTo>
                    <a:pt x="113" y="27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3" y="30"/>
                  </a:lnTo>
                  <a:lnTo>
                    <a:pt x="126" y="27"/>
                  </a:lnTo>
                  <a:lnTo>
                    <a:pt x="128" y="22"/>
                  </a:lnTo>
                  <a:lnTo>
                    <a:pt x="126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F8B2EC21-08C9-48F1-9C22-73466F341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520"/>
              <a:ext cx="280" cy="54"/>
            </a:xfrm>
            <a:custGeom>
              <a:avLst/>
              <a:gdLst>
                <a:gd name="T0" fmla="*/ 280 w 280"/>
                <a:gd name="T1" fmla="*/ 47 h 54"/>
                <a:gd name="T2" fmla="*/ 278 w 280"/>
                <a:gd name="T3" fmla="*/ 45 h 54"/>
                <a:gd name="T4" fmla="*/ 278 w 280"/>
                <a:gd name="T5" fmla="*/ 42 h 54"/>
                <a:gd name="T6" fmla="*/ 275 w 280"/>
                <a:gd name="T7" fmla="*/ 42 h 54"/>
                <a:gd name="T8" fmla="*/ 260 w 280"/>
                <a:gd name="T9" fmla="*/ 32 h 54"/>
                <a:gd name="T10" fmla="*/ 246 w 280"/>
                <a:gd name="T11" fmla="*/ 25 h 54"/>
                <a:gd name="T12" fmla="*/ 233 w 280"/>
                <a:gd name="T13" fmla="*/ 20 h 54"/>
                <a:gd name="T14" fmla="*/ 216 w 280"/>
                <a:gd name="T15" fmla="*/ 13 h 54"/>
                <a:gd name="T16" fmla="*/ 199 w 280"/>
                <a:gd name="T17" fmla="*/ 8 h 54"/>
                <a:gd name="T18" fmla="*/ 179 w 280"/>
                <a:gd name="T19" fmla="*/ 5 h 54"/>
                <a:gd name="T20" fmla="*/ 167 w 280"/>
                <a:gd name="T21" fmla="*/ 3 h 54"/>
                <a:gd name="T22" fmla="*/ 150 w 280"/>
                <a:gd name="T23" fmla="*/ 3 h 54"/>
                <a:gd name="T24" fmla="*/ 140 w 280"/>
                <a:gd name="T25" fmla="*/ 0 h 54"/>
                <a:gd name="T26" fmla="*/ 123 w 280"/>
                <a:gd name="T27" fmla="*/ 3 h 54"/>
                <a:gd name="T28" fmla="*/ 113 w 280"/>
                <a:gd name="T29" fmla="*/ 3 h 54"/>
                <a:gd name="T30" fmla="*/ 91 w 280"/>
                <a:gd name="T31" fmla="*/ 5 h 54"/>
                <a:gd name="T32" fmla="*/ 74 w 280"/>
                <a:gd name="T33" fmla="*/ 10 h 54"/>
                <a:gd name="T34" fmla="*/ 52 w 280"/>
                <a:gd name="T35" fmla="*/ 18 h 54"/>
                <a:gd name="T36" fmla="*/ 35 w 280"/>
                <a:gd name="T37" fmla="*/ 25 h 54"/>
                <a:gd name="T38" fmla="*/ 20 w 280"/>
                <a:gd name="T39" fmla="*/ 32 h 54"/>
                <a:gd name="T40" fmla="*/ 3 w 280"/>
                <a:gd name="T41" fmla="*/ 42 h 54"/>
                <a:gd name="T42" fmla="*/ 0 w 280"/>
                <a:gd name="T43" fmla="*/ 47 h 54"/>
                <a:gd name="T44" fmla="*/ 0 w 280"/>
                <a:gd name="T45" fmla="*/ 47 h 54"/>
                <a:gd name="T46" fmla="*/ 3 w 280"/>
                <a:gd name="T47" fmla="*/ 50 h 54"/>
                <a:gd name="T48" fmla="*/ 3 w 280"/>
                <a:gd name="T49" fmla="*/ 52 h 54"/>
                <a:gd name="T50" fmla="*/ 5 w 280"/>
                <a:gd name="T51" fmla="*/ 54 h 54"/>
                <a:gd name="T52" fmla="*/ 8 w 280"/>
                <a:gd name="T53" fmla="*/ 54 h 54"/>
                <a:gd name="T54" fmla="*/ 10 w 280"/>
                <a:gd name="T55" fmla="*/ 54 h 54"/>
                <a:gd name="T56" fmla="*/ 13 w 280"/>
                <a:gd name="T57" fmla="*/ 54 h 54"/>
                <a:gd name="T58" fmla="*/ 27 w 280"/>
                <a:gd name="T59" fmla="*/ 45 h 54"/>
                <a:gd name="T60" fmla="*/ 42 w 280"/>
                <a:gd name="T61" fmla="*/ 37 h 54"/>
                <a:gd name="T62" fmla="*/ 54 w 280"/>
                <a:gd name="T63" fmla="*/ 32 h 54"/>
                <a:gd name="T64" fmla="*/ 74 w 280"/>
                <a:gd name="T65" fmla="*/ 25 h 54"/>
                <a:gd name="T66" fmla="*/ 89 w 280"/>
                <a:gd name="T67" fmla="*/ 20 h 54"/>
                <a:gd name="T68" fmla="*/ 106 w 280"/>
                <a:gd name="T69" fmla="*/ 18 h 54"/>
                <a:gd name="T70" fmla="*/ 118 w 280"/>
                <a:gd name="T71" fmla="*/ 18 h 54"/>
                <a:gd name="T72" fmla="*/ 140 w 280"/>
                <a:gd name="T73" fmla="*/ 15 h 54"/>
                <a:gd name="T74" fmla="*/ 162 w 280"/>
                <a:gd name="T75" fmla="*/ 18 h 54"/>
                <a:gd name="T76" fmla="*/ 177 w 280"/>
                <a:gd name="T77" fmla="*/ 18 h 54"/>
                <a:gd name="T78" fmla="*/ 192 w 280"/>
                <a:gd name="T79" fmla="*/ 20 h 54"/>
                <a:gd name="T80" fmla="*/ 206 w 280"/>
                <a:gd name="T81" fmla="*/ 25 h 54"/>
                <a:gd name="T82" fmla="*/ 226 w 280"/>
                <a:gd name="T83" fmla="*/ 32 h 54"/>
                <a:gd name="T84" fmla="*/ 241 w 280"/>
                <a:gd name="T85" fmla="*/ 40 h 54"/>
                <a:gd name="T86" fmla="*/ 258 w 280"/>
                <a:gd name="T87" fmla="*/ 47 h 54"/>
                <a:gd name="T88" fmla="*/ 270 w 280"/>
                <a:gd name="T89" fmla="*/ 54 h 54"/>
                <a:gd name="T90" fmla="*/ 273 w 280"/>
                <a:gd name="T91" fmla="*/ 54 h 54"/>
                <a:gd name="T92" fmla="*/ 275 w 280"/>
                <a:gd name="T93" fmla="*/ 54 h 54"/>
                <a:gd name="T94" fmla="*/ 278 w 280"/>
                <a:gd name="T95" fmla="*/ 52 h 54"/>
                <a:gd name="T96" fmla="*/ 278 w 280"/>
                <a:gd name="T97" fmla="*/ 50 h 54"/>
                <a:gd name="T98" fmla="*/ 280 w 280"/>
                <a:gd name="T99" fmla="*/ 4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0" h="54">
                  <a:moveTo>
                    <a:pt x="280" y="47"/>
                  </a:moveTo>
                  <a:lnTo>
                    <a:pt x="278" y="45"/>
                  </a:lnTo>
                  <a:lnTo>
                    <a:pt x="278" y="42"/>
                  </a:lnTo>
                  <a:lnTo>
                    <a:pt x="275" y="42"/>
                  </a:lnTo>
                  <a:lnTo>
                    <a:pt x="260" y="32"/>
                  </a:lnTo>
                  <a:lnTo>
                    <a:pt x="246" y="25"/>
                  </a:lnTo>
                  <a:lnTo>
                    <a:pt x="233" y="20"/>
                  </a:lnTo>
                  <a:lnTo>
                    <a:pt x="216" y="13"/>
                  </a:lnTo>
                  <a:lnTo>
                    <a:pt x="199" y="8"/>
                  </a:lnTo>
                  <a:lnTo>
                    <a:pt x="179" y="5"/>
                  </a:lnTo>
                  <a:lnTo>
                    <a:pt x="167" y="3"/>
                  </a:lnTo>
                  <a:lnTo>
                    <a:pt x="150" y="3"/>
                  </a:lnTo>
                  <a:lnTo>
                    <a:pt x="140" y="0"/>
                  </a:lnTo>
                  <a:lnTo>
                    <a:pt x="123" y="3"/>
                  </a:lnTo>
                  <a:lnTo>
                    <a:pt x="113" y="3"/>
                  </a:lnTo>
                  <a:lnTo>
                    <a:pt x="91" y="5"/>
                  </a:lnTo>
                  <a:lnTo>
                    <a:pt x="74" y="10"/>
                  </a:lnTo>
                  <a:lnTo>
                    <a:pt x="52" y="18"/>
                  </a:lnTo>
                  <a:lnTo>
                    <a:pt x="35" y="25"/>
                  </a:lnTo>
                  <a:lnTo>
                    <a:pt x="20" y="32"/>
                  </a:lnTo>
                  <a:lnTo>
                    <a:pt x="3" y="42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50"/>
                  </a:lnTo>
                  <a:lnTo>
                    <a:pt x="3" y="52"/>
                  </a:lnTo>
                  <a:lnTo>
                    <a:pt x="5" y="54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27" y="45"/>
                  </a:lnTo>
                  <a:lnTo>
                    <a:pt x="42" y="37"/>
                  </a:lnTo>
                  <a:lnTo>
                    <a:pt x="54" y="32"/>
                  </a:lnTo>
                  <a:lnTo>
                    <a:pt x="74" y="25"/>
                  </a:lnTo>
                  <a:lnTo>
                    <a:pt x="89" y="20"/>
                  </a:lnTo>
                  <a:lnTo>
                    <a:pt x="106" y="18"/>
                  </a:lnTo>
                  <a:lnTo>
                    <a:pt x="118" y="18"/>
                  </a:lnTo>
                  <a:lnTo>
                    <a:pt x="140" y="15"/>
                  </a:lnTo>
                  <a:lnTo>
                    <a:pt x="162" y="18"/>
                  </a:lnTo>
                  <a:lnTo>
                    <a:pt x="177" y="18"/>
                  </a:lnTo>
                  <a:lnTo>
                    <a:pt x="192" y="20"/>
                  </a:lnTo>
                  <a:lnTo>
                    <a:pt x="206" y="25"/>
                  </a:lnTo>
                  <a:lnTo>
                    <a:pt x="226" y="32"/>
                  </a:lnTo>
                  <a:lnTo>
                    <a:pt x="241" y="40"/>
                  </a:lnTo>
                  <a:lnTo>
                    <a:pt x="258" y="47"/>
                  </a:lnTo>
                  <a:lnTo>
                    <a:pt x="270" y="54"/>
                  </a:lnTo>
                  <a:lnTo>
                    <a:pt x="273" y="54"/>
                  </a:lnTo>
                  <a:lnTo>
                    <a:pt x="275" y="54"/>
                  </a:lnTo>
                  <a:lnTo>
                    <a:pt x="278" y="52"/>
                  </a:lnTo>
                  <a:lnTo>
                    <a:pt x="278" y="50"/>
                  </a:lnTo>
                  <a:lnTo>
                    <a:pt x="280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2E3A433B-1F73-4691-9D9D-C0280B768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4" y="719"/>
              <a:ext cx="83" cy="81"/>
            </a:xfrm>
            <a:custGeom>
              <a:avLst/>
              <a:gdLst>
                <a:gd name="T0" fmla="*/ 66 w 83"/>
                <a:gd name="T1" fmla="*/ 49 h 81"/>
                <a:gd name="T2" fmla="*/ 61 w 83"/>
                <a:gd name="T3" fmla="*/ 59 h 81"/>
                <a:gd name="T4" fmla="*/ 49 w 83"/>
                <a:gd name="T5" fmla="*/ 64 h 81"/>
                <a:gd name="T6" fmla="*/ 41 w 83"/>
                <a:gd name="T7" fmla="*/ 66 h 81"/>
                <a:gd name="T8" fmla="*/ 29 w 83"/>
                <a:gd name="T9" fmla="*/ 64 h 81"/>
                <a:gd name="T10" fmla="*/ 22 w 83"/>
                <a:gd name="T11" fmla="*/ 56 h 81"/>
                <a:gd name="T12" fmla="*/ 17 w 83"/>
                <a:gd name="T13" fmla="*/ 47 h 81"/>
                <a:gd name="T14" fmla="*/ 14 w 83"/>
                <a:gd name="T15" fmla="*/ 39 h 81"/>
                <a:gd name="T16" fmla="*/ 17 w 83"/>
                <a:gd name="T17" fmla="*/ 29 h 81"/>
                <a:gd name="T18" fmla="*/ 22 w 83"/>
                <a:gd name="T19" fmla="*/ 22 h 81"/>
                <a:gd name="T20" fmla="*/ 31 w 83"/>
                <a:gd name="T21" fmla="*/ 15 h 81"/>
                <a:gd name="T22" fmla="*/ 41 w 83"/>
                <a:gd name="T23" fmla="*/ 12 h 81"/>
                <a:gd name="T24" fmla="*/ 56 w 83"/>
                <a:gd name="T25" fmla="*/ 17 h 81"/>
                <a:gd name="T26" fmla="*/ 66 w 83"/>
                <a:gd name="T27" fmla="*/ 27 h 81"/>
                <a:gd name="T28" fmla="*/ 68 w 83"/>
                <a:gd name="T29" fmla="*/ 37 h 81"/>
                <a:gd name="T30" fmla="*/ 68 w 83"/>
                <a:gd name="T31" fmla="*/ 44 h 81"/>
                <a:gd name="T32" fmla="*/ 83 w 83"/>
                <a:gd name="T33" fmla="*/ 47 h 81"/>
                <a:gd name="T34" fmla="*/ 83 w 83"/>
                <a:gd name="T35" fmla="*/ 34 h 81"/>
                <a:gd name="T36" fmla="*/ 76 w 83"/>
                <a:gd name="T37" fmla="*/ 20 h 81"/>
                <a:gd name="T38" fmla="*/ 66 w 83"/>
                <a:gd name="T39" fmla="*/ 7 h 81"/>
                <a:gd name="T40" fmla="*/ 53 w 83"/>
                <a:gd name="T41" fmla="*/ 0 h 81"/>
                <a:gd name="T42" fmla="*/ 41 w 83"/>
                <a:gd name="T43" fmla="*/ 0 h 81"/>
                <a:gd name="T44" fmla="*/ 34 w 83"/>
                <a:gd name="T45" fmla="*/ 0 h 81"/>
                <a:gd name="T46" fmla="*/ 17 w 83"/>
                <a:gd name="T47" fmla="*/ 7 h 81"/>
                <a:gd name="T48" fmla="*/ 7 w 83"/>
                <a:gd name="T49" fmla="*/ 20 h 81"/>
                <a:gd name="T50" fmla="*/ 2 w 83"/>
                <a:gd name="T51" fmla="*/ 29 h 81"/>
                <a:gd name="T52" fmla="*/ 0 w 83"/>
                <a:gd name="T53" fmla="*/ 39 h 81"/>
                <a:gd name="T54" fmla="*/ 2 w 83"/>
                <a:gd name="T55" fmla="*/ 52 h 81"/>
                <a:gd name="T56" fmla="*/ 7 w 83"/>
                <a:gd name="T57" fmla="*/ 61 h 81"/>
                <a:gd name="T58" fmla="*/ 17 w 83"/>
                <a:gd name="T59" fmla="*/ 71 h 81"/>
                <a:gd name="T60" fmla="*/ 31 w 83"/>
                <a:gd name="T61" fmla="*/ 79 h 81"/>
                <a:gd name="T62" fmla="*/ 41 w 83"/>
                <a:gd name="T63" fmla="*/ 81 h 81"/>
                <a:gd name="T64" fmla="*/ 53 w 83"/>
                <a:gd name="T65" fmla="*/ 79 h 81"/>
                <a:gd name="T66" fmla="*/ 66 w 83"/>
                <a:gd name="T67" fmla="*/ 71 h 81"/>
                <a:gd name="T68" fmla="*/ 76 w 83"/>
                <a:gd name="T69" fmla="*/ 64 h 81"/>
                <a:gd name="T70" fmla="*/ 80 w 83"/>
                <a:gd name="T71" fmla="*/ 5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3" h="81">
                  <a:moveTo>
                    <a:pt x="68" y="44"/>
                  </a:moveTo>
                  <a:lnTo>
                    <a:pt x="66" y="49"/>
                  </a:lnTo>
                  <a:lnTo>
                    <a:pt x="63" y="54"/>
                  </a:lnTo>
                  <a:lnTo>
                    <a:pt x="61" y="59"/>
                  </a:lnTo>
                  <a:lnTo>
                    <a:pt x="56" y="61"/>
                  </a:lnTo>
                  <a:lnTo>
                    <a:pt x="49" y="64"/>
                  </a:lnTo>
                  <a:lnTo>
                    <a:pt x="44" y="66"/>
                  </a:lnTo>
                  <a:lnTo>
                    <a:pt x="41" y="66"/>
                  </a:lnTo>
                  <a:lnTo>
                    <a:pt x="34" y="64"/>
                  </a:lnTo>
                  <a:lnTo>
                    <a:pt x="29" y="64"/>
                  </a:lnTo>
                  <a:lnTo>
                    <a:pt x="24" y="59"/>
                  </a:lnTo>
                  <a:lnTo>
                    <a:pt x="22" y="56"/>
                  </a:lnTo>
                  <a:lnTo>
                    <a:pt x="17" y="52"/>
                  </a:lnTo>
                  <a:lnTo>
                    <a:pt x="17" y="47"/>
                  </a:lnTo>
                  <a:lnTo>
                    <a:pt x="14" y="42"/>
                  </a:lnTo>
                  <a:lnTo>
                    <a:pt x="14" y="39"/>
                  </a:lnTo>
                  <a:lnTo>
                    <a:pt x="14" y="34"/>
                  </a:lnTo>
                  <a:lnTo>
                    <a:pt x="17" y="29"/>
                  </a:lnTo>
                  <a:lnTo>
                    <a:pt x="19" y="27"/>
                  </a:lnTo>
                  <a:lnTo>
                    <a:pt x="22" y="22"/>
                  </a:lnTo>
                  <a:lnTo>
                    <a:pt x="27" y="17"/>
                  </a:lnTo>
                  <a:lnTo>
                    <a:pt x="31" y="15"/>
                  </a:lnTo>
                  <a:lnTo>
                    <a:pt x="36" y="12"/>
                  </a:lnTo>
                  <a:lnTo>
                    <a:pt x="41" y="12"/>
                  </a:lnTo>
                  <a:lnTo>
                    <a:pt x="49" y="15"/>
                  </a:lnTo>
                  <a:lnTo>
                    <a:pt x="56" y="17"/>
                  </a:lnTo>
                  <a:lnTo>
                    <a:pt x="61" y="22"/>
                  </a:lnTo>
                  <a:lnTo>
                    <a:pt x="66" y="27"/>
                  </a:lnTo>
                  <a:lnTo>
                    <a:pt x="66" y="32"/>
                  </a:lnTo>
                  <a:lnTo>
                    <a:pt x="68" y="37"/>
                  </a:lnTo>
                  <a:lnTo>
                    <a:pt x="68" y="39"/>
                  </a:lnTo>
                  <a:lnTo>
                    <a:pt x="68" y="44"/>
                  </a:lnTo>
                  <a:close/>
                  <a:moveTo>
                    <a:pt x="80" y="52"/>
                  </a:moveTo>
                  <a:lnTo>
                    <a:pt x="83" y="47"/>
                  </a:lnTo>
                  <a:lnTo>
                    <a:pt x="83" y="39"/>
                  </a:lnTo>
                  <a:lnTo>
                    <a:pt x="83" y="34"/>
                  </a:lnTo>
                  <a:lnTo>
                    <a:pt x="80" y="25"/>
                  </a:lnTo>
                  <a:lnTo>
                    <a:pt x="76" y="20"/>
                  </a:lnTo>
                  <a:lnTo>
                    <a:pt x="71" y="12"/>
                  </a:lnTo>
                  <a:lnTo>
                    <a:pt x="66" y="7"/>
                  </a:lnTo>
                  <a:lnTo>
                    <a:pt x="61" y="5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4" y="0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9" y="12"/>
                  </a:lnTo>
                  <a:lnTo>
                    <a:pt x="7" y="20"/>
                  </a:lnTo>
                  <a:lnTo>
                    <a:pt x="4" y="22"/>
                  </a:lnTo>
                  <a:lnTo>
                    <a:pt x="2" y="29"/>
                  </a:lnTo>
                  <a:lnTo>
                    <a:pt x="0" y="34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2" y="52"/>
                  </a:lnTo>
                  <a:lnTo>
                    <a:pt x="4" y="56"/>
                  </a:lnTo>
                  <a:lnTo>
                    <a:pt x="7" y="61"/>
                  </a:lnTo>
                  <a:lnTo>
                    <a:pt x="9" y="66"/>
                  </a:lnTo>
                  <a:lnTo>
                    <a:pt x="17" y="71"/>
                  </a:lnTo>
                  <a:lnTo>
                    <a:pt x="24" y="76"/>
                  </a:lnTo>
                  <a:lnTo>
                    <a:pt x="31" y="79"/>
                  </a:lnTo>
                  <a:lnTo>
                    <a:pt x="36" y="79"/>
                  </a:lnTo>
                  <a:lnTo>
                    <a:pt x="41" y="81"/>
                  </a:lnTo>
                  <a:lnTo>
                    <a:pt x="46" y="79"/>
                  </a:lnTo>
                  <a:lnTo>
                    <a:pt x="53" y="79"/>
                  </a:lnTo>
                  <a:lnTo>
                    <a:pt x="58" y="76"/>
                  </a:lnTo>
                  <a:lnTo>
                    <a:pt x="66" y="71"/>
                  </a:lnTo>
                  <a:lnTo>
                    <a:pt x="71" y="69"/>
                  </a:lnTo>
                  <a:lnTo>
                    <a:pt x="76" y="64"/>
                  </a:lnTo>
                  <a:lnTo>
                    <a:pt x="78" y="56"/>
                  </a:lnTo>
                  <a:lnTo>
                    <a:pt x="80" y="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40">
            <a:extLst>
              <a:ext uri="{FF2B5EF4-FFF2-40B4-BE49-F238E27FC236}">
                <a16:creationId xmlns:a16="http://schemas.microsoft.com/office/drawing/2014/main" id="{ACD9D4A8-0807-40A4-A5D5-4500C5F488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8534" y="313558"/>
            <a:ext cx="841375" cy="841375"/>
            <a:chOff x="3003" y="264"/>
            <a:chExt cx="530" cy="530"/>
          </a:xfrm>
        </p:grpSpPr>
        <p:sp>
          <p:nvSpPr>
            <p:cNvPr id="47" name="AutoShape 39">
              <a:extLst>
                <a:ext uri="{FF2B5EF4-FFF2-40B4-BE49-F238E27FC236}">
                  <a16:creationId xmlns:a16="http://schemas.microsoft.com/office/drawing/2014/main" id="{6BA65B34-C3E6-4E25-AB07-075D4F0355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3" y="26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1">
              <a:extLst>
                <a:ext uri="{FF2B5EF4-FFF2-40B4-BE49-F238E27FC236}">
                  <a16:creationId xmlns:a16="http://schemas.microsoft.com/office/drawing/2014/main" id="{8EA2F5F0-B7F6-4B9F-A559-41F3BB4F09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267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CB5921E8-3E37-4B15-91A0-DD50CBC449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2" y="283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CEACC9EA-141C-49C7-8BFC-54E57A019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6" y="457"/>
              <a:ext cx="207" cy="43"/>
            </a:xfrm>
            <a:custGeom>
              <a:avLst/>
              <a:gdLst>
                <a:gd name="T0" fmla="*/ 207 w 207"/>
                <a:gd name="T1" fmla="*/ 35 h 43"/>
                <a:gd name="T2" fmla="*/ 207 w 207"/>
                <a:gd name="T3" fmla="*/ 35 h 43"/>
                <a:gd name="T4" fmla="*/ 207 w 207"/>
                <a:gd name="T5" fmla="*/ 33 h 43"/>
                <a:gd name="T6" fmla="*/ 207 w 207"/>
                <a:gd name="T7" fmla="*/ 30 h 43"/>
                <a:gd name="T8" fmla="*/ 201 w 207"/>
                <a:gd name="T9" fmla="*/ 27 h 43"/>
                <a:gd name="T10" fmla="*/ 182 w 207"/>
                <a:gd name="T11" fmla="*/ 16 h 43"/>
                <a:gd name="T12" fmla="*/ 166 w 207"/>
                <a:gd name="T13" fmla="*/ 11 h 43"/>
                <a:gd name="T14" fmla="*/ 147 w 207"/>
                <a:gd name="T15" fmla="*/ 3 h 43"/>
                <a:gd name="T16" fmla="*/ 131 w 207"/>
                <a:gd name="T17" fmla="*/ 0 h 43"/>
                <a:gd name="T18" fmla="*/ 114 w 207"/>
                <a:gd name="T19" fmla="*/ 0 h 43"/>
                <a:gd name="T20" fmla="*/ 103 w 207"/>
                <a:gd name="T21" fmla="*/ 0 h 43"/>
                <a:gd name="T22" fmla="*/ 87 w 207"/>
                <a:gd name="T23" fmla="*/ 0 h 43"/>
                <a:gd name="T24" fmla="*/ 71 w 207"/>
                <a:gd name="T25" fmla="*/ 3 h 43"/>
                <a:gd name="T26" fmla="*/ 54 w 207"/>
                <a:gd name="T27" fmla="*/ 5 h 43"/>
                <a:gd name="T28" fmla="*/ 38 w 207"/>
                <a:gd name="T29" fmla="*/ 11 h 43"/>
                <a:gd name="T30" fmla="*/ 25 w 207"/>
                <a:gd name="T31" fmla="*/ 16 h 43"/>
                <a:gd name="T32" fmla="*/ 11 w 207"/>
                <a:gd name="T33" fmla="*/ 24 h 43"/>
                <a:gd name="T34" fmla="*/ 0 w 207"/>
                <a:gd name="T35" fmla="*/ 30 h 43"/>
                <a:gd name="T36" fmla="*/ 0 w 207"/>
                <a:gd name="T37" fmla="*/ 33 h 43"/>
                <a:gd name="T38" fmla="*/ 0 w 207"/>
                <a:gd name="T39" fmla="*/ 35 h 43"/>
                <a:gd name="T40" fmla="*/ 0 w 207"/>
                <a:gd name="T41" fmla="*/ 38 h 43"/>
                <a:gd name="T42" fmla="*/ 3 w 207"/>
                <a:gd name="T43" fmla="*/ 41 h 43"/>
                <a:gd name="T44" fmla="*/ 6 w 207"/>
                <a:gd name="T45" fmla="*/ 41 h 43"/>
                <a:gd name="T46" fmla="*/ 6 w 207"/>
                <a:gd name="T47" fmla="*/ 43 h 43"/>
                <a:gd name="T48" fmla="*/ 8 w 207"/>
                <a:gd name="T49" fmla="*/ 41 h 43"/>
                <a:gd name="T50" fmla="*/ 41 w 207"/>
                <a:gd name="T51" fmla="*/ 24 h 43"/>
                <a:gd name="T52" fmla="*/ 52 w 207"/>
                <a:gd name="T53" fmla="*/ 22 h 43"/>
                <a:gd name="T54" fmla="*/ 73 w 207"/>
                <a:gd name="T55" fmla="*/ 16 h 43"/>
                <a:gd name="T56" fmla="*/ 87 w 207"/>
                <a:gd name="T57" fmla="*/ 14 h 43"/>
                <a:gd name="T58" fmla="*/ 103 w 207"/>
                <a:gd name="T59" fmla="*/ 14 h 43"/>
                <a:gd name="T60" fmla="*/ 122 w 207"/>
                <a:gd name="T61" fmla="*/ 14 h 43"/>
                <a:gd name="T62" fmla="*/ 136 w 207"/>
                <a:gd name="T63" fmla="*/ 16 h 43"/>
                <a:gd name="T64" fmla="*/ 155 w 207"/>
                <a:gd name="T65" fmla="*/ 22 h 43"/>
                <a:gd name="T66" fmla="*/ 174 w 207"/>
                <a:gd name="T67" fmla="*/ 30 h 43"/>
                <a:gd name="T68" fmla="*/ 182 w 207"/>
                <a:gd name="T69" fmla="*/ 33 h 43"/>
                <a:gd name="T70" fmla="*/ 199 w 207"/>
                <a:gd name="T71" fmla="*/ 43 h 43"/>
                <a:gd name="T72" fmla="*/ 199 w 207"/>
                <a:gd name="T73" fmla="*/ 43 h 43"/>
                <a:gd name="T74" fmla="*/ 204 w 207"/>
                <a:gd name="T75" fmla="*/ 41 h 43"/>
                <a:gd name="T76" fmla="*/ 207 w 207"/>
                <a:gd name="T77" fmla="*/ 38 h 43"/>
                <a:gd name="T78" fmla="*/ 207 w 207"/>
                <a:gd name="T7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7" h="43">
                  <a:moveTo>
                    <a:pt x="207" y="35"/>
                  </a:moveTo>
                  <a:lnTo>
                    <a:pt x="207" y="35"/>
                  </a:lnTo>
                  <a:lnTo>
                    <a:pt x="207" y="33"/>
                  </a:lnTo>
                  <a:lnTo>
                    <a:pt x="207" y="30"/>
                  </a:lnTo>
                  <a:lnTo>
                    <a:pt x="201" y="27"/>
                  </a:lnTo>
                  <a:lnTo>
                    <a:pt x="182" y="16"/>
                  </a:lnTo>
                  <a:lnTo>
                    <a:pt x="166" y="11"/>
                  </a:lnTo>
                  <a:lnTo>
                    <a:pt x="147" y="3"/>
                  </a:lnTo>
                  <a:lnTo>
                    <a:pt x="131" y="0"/>
                  </a:lnTo>
                  <a:lnTo>
                    <a:pt x="114" y="0"/>
                  </a:lnTo>
                  <a:lnTo>
                    <a:pt x="103" y="0"/>
                  </a:lnTo>
                  <a:lnTo>
                    <a:pt x="87" y="0"/>
                  </a:lnTo>
                  <a:lnTo>
                    <a:pt x="71" y="3"/>
                  </a:lnTo>
                  <a:lnTo>
                    <a:pt x="54" y="5"/>
                  </a:lnTo>
                  <a:lnTo>
                    <a:pt x="38" y="11"/>
                  </a:lnTo>
                  <a:lnTo>
                    <a:pt x="25" y="16"/>
                  </a:lnTo>
                  <a:lnTo>
                    <a:pt x="11" y="24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3" y="41"/>
                  </a:lnTo>
                  <a:lnTo>
                    <a:pt x="6" y="41"/>
                  </a:lnTo>
                  <a:lnTo>
                    <a:pt x="6" y="43"/>
                  </a:lnTo>
                  <a:lnTo>
                    <a:pt x="8" y="41"/>
                  </a:lnTo>
                  <a:lnTo>
                    <a:pt x="41" y="24"/>
                  </a:lnTo>
                  <a:lnTo>
                    <a:pt x="52" y="22"/>
                  </a:lnTo>
                  <a:lnTo>
                    <a:pt x="73" y="16"/>
                  </a:lnTo>
                  <a:lnTo>
                    <a:pt x="87" y="14"/>
                  </a:lnTo>
                  <a:lnTo>
                    <a:pt x="103" y="14"/>
                  </a:lnTo>
                  <a:lnTo>
                    <a:pt x="122" y="14"/>
                  </a:lnTo>
                  <a:lnTo>
                    <a:pt x="136" y="16"/>
                  </a:lnTo>
                  <a:lnTo>
                    <a:pt x="155" y="22"/>
                  </a:lnTo>
                  <a:lnTo>
                    <a:pt x="174" y="30"/>
                  </a:lnTo>
                  <a:lnTo>
                    <a:pt x="182" y="33"/>
                  </a:lnTo>
                  <a:lnTo>
                    <a:pt x="199" y="43"/>
                  </a:lnTo>
                  <a:lnTo>
                    <a:pt x="199" y="43"/>
                  </a:lnTo>
                  <a:lnTo>
                    <a:pt x="204" y="41"/>
                  </a:lnTo>
                  <a:lnTo>
                    <a:pt x="207" y="38"/>
                  </a:lnTo>
                  <a:lnTo>
                    <a:pt x="207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6D00A761-8D4F-4467-B9F7-3C81FD94B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4" y="525"/>
              <a:ext cx="131" cy="33"/>
            </a:xfrm>
            <a:custGeom>
              <a:avLst/>
              <a:gdLst>
                <a:gd name="T0" fmla="*/ 131 w 131"/>
                <a:gd name="T1" fmla="*/ 22 h 33"/>
                <a:gd name="T2" fmla="*/ 128 w 131"/>
                <a:gd name="T3" fmla="*/ 19 h 33"/>
                <a:gd name="T4" fmla="*/ 128 w 131"/>
                <a:gd name="T5" fmla="*/ 19 h 33"/>
                <a:gd name="T6" fmla="*/ 120 w 131"/>
                <a:gd name="T7" fmla="*/ 14 h 33"/>
                <a:gd name="T8" fmla="*/ 109 w 131"/>
                <a:gd name="T9" fmla="*/ 8 h 33"/>
                <a:gd name="T10" fmla="*/ 98 w 131"/>
                <a:gd name="T11" fmla="*/ 5 h 33"/>
                <a:gd name="T12" fmla="*/ 90 w 131"/>
                <a:gd name="T13" fmla="*/ 3 h 33"/>
                <a:gd name="T14" fmla="*/ 76 w 131"/>
                <a:gd name="T15" fmla="*/ 0 h 33"/>
                <a:gd name="T16" fmla="*/ 68 w 131"/>
                <a:gd name="T17" fmla="*/ 0 h 33"/>
                <a:gd name="T18" fmla="*/ 65 w 131"/>
                <a:gd name="T19" fmla="*/ 0 h 33"/>
                <a:gd name="T20" fmla="*/ 57 w 131"/>
                <a:gd name="T21" fmla="*/ 0 h 33"/>
                <a:gd name="T22" fmla="*/ 49 w 131"/>
                <a:gd name="T23" fmla="*/ 0 h 33"/>
                <a:gd name="T24" fmla="*/ 41 w 131"/>
                <a:gd name="T25" fmla="*/ 3 h 33"/>
                <a:gd name="T26" fmla="*/ 30 w 131"/>
                <a:gd name="T27" fmla="*/ 5 h 33"/>
                <a:gd name="T28" fmla="*/ 22 w 131"/>
                <a:gd name="T29" fmla="*/ 8 h 33"/>
                <a:gd name="T30" fmla="*/ 11 w 131"/>
                <a:gd name="T31" fmla="*/ 14 h 33"/>
                <a:gd name="T32" fmla="*/ 3 w 131"/>
                <a:gd name="T33" fmla="*/ 19 h 33"/>
                <a:gd name="T34" fmla="*/ 0 w 131"/>
                <a:gd name="T35" fmla="*/ 24 h 33"/>
                <a:gd name="T36" fmla="*/ 0 w 131"/>
                <a:gd name="T37" fmla="*/ 24 h 33"/>
                <a:gd name="T38" fmla="*/ 3 w 131"/>
                <a:gd name="T39" fmla="*/ 27 h 33"/>
                <a:gd name="T40" fmla="*/ 3 w 131"/>
                <a:gd name="T41" fmla="*/ 30 h 33"/>
                <a:gd name="T42" fmla="*/ 6 w 131"/>
                <a:gd name="T43" fmla="*/ 33 h 33"/>
                <a:gd name="T44" fmla="*/ 8 w 131"/>
                <a:gd name="T45" fmla="*/ 33 h 33"/>
                <a:gd name="T46" fmla="*/ 11 w 131"/>
                <a:gd name="T47" fmla="*/ 30 h 33"/>
                <a:gd name="T48" fmla="*/ 14 w 131"/>
                <a:gd name="T49" fmla="*/ 30 h 33"/>
                <a:gd name="T50" fmla="*/ 19 w 131"/>
                <a:gd name="T51" fmla="*/ 27 h 33"/>
                <a:gd name="T52" fmla="*/ 27 w 131"/>
                <a:gd name="T53" fmla="*/ 22 h 33"/>
                <a:gd name="T54" fmla="*/ 38 w 131"/>
                <a:gd name="T55" fmla="*/ 19 h 33"/>
                <a:gd name="T56" fmla="*/ 44 w 131"/>
                <a:gd name="T57" fmla="*/ 16 h 33"/>
                <a:gd name="T58" fmla="*/ 52 w 131"/>
                <a:gd name="T59" fmla="*/ 16 h 33"/>
                <a:gd name="T60" fmla="*/ 63 w 131"/>
                <a:gd name="T61" fmla="*/ 14 h 33"/>
                <a:gd name="T62" fmla="*/ 65 w 131"/>
                <a:gd name="T63" fmla="*/ 14 h 33"/>
                <a:gd name="T64" fmla="*/ 76 w 131"/>
                <a:gd name="T65" fmla="*/ 16 h 33"/>
                <a:gd name="T66" fmla="*/ 79 w 131"/>
                <a:gd name="T67" fmla="*/ 16 h 33"/>
                <a:gd name="T68" fmla="*/ 90 w 131"/>
                <a:gd name="T69" fmla="*/ 16 h 33"/>
                <a:gd name="T70" fmla="*/ 101 w 131"/>
                <a:gd name="T71" fmla="*/ 22 h 33"/>
                <a:gd name="T72" fmla="*/ 106 w 131"/>
                <a:gd name="T73" fmla="*/ 24 h 33"/>
                <a:gd name="T74" fmla="*/ 114 w 131"/>
                <a:gd name="T75" fmla="*/ 27 h 33"/>
                <a:gd name="T76" fmla="*/ 120 w 131"/>
                <a:gd name="T77" fmla="*/ 33 h 33"/>
                <a:gd name="T78" fmla="*/ 122 w 131"/>
                <a:gd name="T79" fmla="*/ 33 h 33"/>
                <a:gd name="T80" fmla="*/ 125 w 131"/>
                <a:gd name="T81" fmla="*/ 30 h 33"/>
                <a:gd name="T82" fmla="*/ 128 w 131"/>
                <a:gd name="T83" fmla="*/ 27 h 33"/>
                <a:gd name="T84" fmla="*/ 131 w 131"/>
                <a:gd name="T85" fmla="*/ 24 h 33"/>
                <a:gd name="T86" fmla="*/ 131 w 131"/>
                <a:gd name="T87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1" h="33">
                  <a:moveTo>
                    <a:pt x="131" y="22"/>
                  </a:moveTo>
                  <a:lnTo>
                    <a:pt x="128" y="19"/>
                  </a:lnTo>
                  <a:lnTo>
                    <a:pt x="128" y="19"/>
                  </a:lnTo>
                  <a:lnTo>
                    <a:pt x="120" y="14"/>
                  </a:lnTo>
                  <a:lnTo>
                    <a:pt x="109" y="8"/>
                  </a:lnTo>
                  <a:lnTo>
                    <a:pt x="98" y="5"/>
                  </a:lnTo>
                  <a:lnTo>
                    <a:pt x="90" y="3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"/>
                  </a:lnTo>
                  <a:lnTo>
                    <a:pt x="30" y="5"/>
                  </a:lnTo>
                  <a:lnTo>
                    <a:pt x="22" y="8"/>
                  </a:lnTo>
                  <a:lnTo>
                    <a:pt x="11" y="14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" y="27"/>
                  </a:lnTo>
                  <a:lnTo>
                    <a:pt x="3" y="30"/>
                  </a:lnTo>
                  <a:lnTo>
                    <a:pt x="6" y="33"/>
                  </a:lnTo>
                  <a:lnTo>
                    <a:pt x="8" y="33"/>
                  </a:lnTo>
                  <a:lnTo>
                    <a:pt x="11" y="30"/>
                  </a:lnTo>
                  <a:lnTo>
                    <a:pt x="14" y="30"/>
                  </a:lnTo>
                  <a:lnTo>
                    <a:pt x="19" y="27"/>
                  </a:lnTo>
                  <a:lnTo>
                    <a:pt x="27" y="22"/>
                  </a:lnTo>
                  <a:lnTo>
                    <a:pt x="38" y="19"/>
                  </a:lnTo>
                  <a:lnTo>
                    <a:pt x="44" y="16"/>
                  </a:lnTo>
                  <a:lnTo>
                    <a:pt x="52" y="16"/>
                  </a:lnTo>
                  <a:lnTo>
                    <a:pt x="63" y="14"/>
                  </a:lnTo>
                  <a:lnTo>
                    <a:pt x="65" y="14"/>
                  </a:lnTo>
                  <a:lnTo>
                    <a:pt x="76" y="16"/>
                  </a:lnTo>
                  <a:lnTo>
                    <a:pt x="79" y="16"/>
                  </a:lnTo>
                  <a:lnTo>
                    <a:pt x="90" y="16"/>
                  </a:lnTo>
                  <a:lnTo>
                    <a:pt x="101" y="22"/>
                  </a:lnTo>
                  <a:lnTo>
                    <a:pt x="106" y="24"/>
                  </a:lnTo>
                  <a:lnTo>
                    <a:pt x="114" y="27"/>
                  </a:lnTo>
                  <a:lnTo>
                    <a:pt x="120" y="33"/>
                  </a:lnTo>
                  <a:lnTo>
                    <a:pt x="122" y="33"/>
                  </a:lnTo>
                  <a:lnTo>
                    <a:pt x="125" y="30"/>
                  </a:lnTo>
                  <a:lnTo>
                    <a:pt x="128" y="27"/>
                  </a:lnTo>
                  <a:lnTo>
                    <a:pt x="131" y="24"/>
                  </a:lnTo>
                  <a:lnTo>
                    <a:pt x="131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937A1143-728D-4431-AC5D-AED2E4C25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" y="386"/>
              <a:ext cx="288" cy="57"/>
            </a:xfrm>
            <a:custGeom>
              <a:avLst/>
              <a:gdLst>
                <a:gd name="T0" fmla="*/ 288 w 288"/>
                <a:gd name="T1" fmla="*/ 49 h 57"/>
                <a:gd name="T2" fmla="*/ 288 w 288"/>
                <a:gd name="T3" fmla="*/ 47 h 57"/>
                <a:gd name="T4" fmla="*/ 286 w 288"/>
                <a:gd name="T5" fmla="*/ 44 h 57"/>
                <a:gd name="T6" fmla="*/ 286 w 288"/>
                <a:gd name="T7" fmla="*/ 44 h 57"/>
                <a:gd name="T8" fmla="*/ 269 w 288"/>
                <a:gd name="T9" fmla="*/ 33 h 57"/>
                <a:gd name="T10" fmla="*/ 253 w 288"/>
                <a:gd name="T11" fmla="*/ 25 h 57"/>
                <a:gd name="T12" fmla="*/ 240 w 288"/>
                <a:gd name="T13" fmla="*/ 19 h 57"/>
                <a:gd name="T14" fmla="*/ 223 w 288"/>
                <a:gd name="T15" fmla="*/ 14 h 57"/>
                <a:gd name="T16" fmla="*/ 204 w 288"/>
                <a:gd name="T17" fmla="*/ 8 h 57"/>
                <a:gd name="T18" fmla="*/ 185 w 288"/>
                <a:gd name="T19" fmla="*/ 3 h 57"/>
                <a:gd name="T20" fmla="*/ 172 w 288"/>
                <a:gd name="T21" fmla="*/ 3 h 57"/>
                <a:gd name="T22" fmla="*/ 153 w 288"/>
                <a:gd name="T23" fmla="*/ 0 h 57"/>
                <a:gd name="T24" fmla="*/ 144 w 288"/>
                <a:gd name="T25" fmla="*/ 0 h 57"/>
                <a:gd name="T26" fmla="*/ 125 w 288"/>
                <a:gd name="T27" fmla="*/ 0 h 57"/>
                <a:gd name="T28" fmla="*/ 117 w 288"/>
                <a:gd name="T29" fmla="*/ 3 h 57"/>
                <a:gd name="T30" fmla="*/ 93 w 288"/>
                <a:gd name="T31" fmla="*/ 6 h 57"/>
                <a:gd name="T32" fmla="*/ 76 w 288"/>
                <a:gd name="T33" fmla="*/ 11 h 57"/>
                <a:gd name="T34" fmla="*/ 55 w 288"/>
                <a:gd name="T35" fmla="*/ 17 h 57"/>
                <a:gd name="T36" fmla="*/ 36 w 288"/>
                <a:gd name="T37" fmla="*/ 25 h 57"/>
                <a:gd name="T38" fmla="*/ 19 w 288"/>
                <a:gd name="T39" fmla="*/ 33 h 57"/>
                <a:gd name="T40" fmla="*/ 3 w 288"/>
                <a:gd name="T41" fmla="*/ 44 h 57"/>
                <a:gd name="T42" fmla="*/ 0 w 288"/>
                <a:gd name="T43" fmla="*/ 47 h 57"/>
                <a:gd name="T44" fmla="*/ 0 w 288"/>
                <a:gd name="T45" fmla="*/ 49 h 57"/>
                <a:gd name="T46" fmla="*/ 0 w 288"/>
                <a:gd name="T47" fmla="*/ 52 h 57"/>
                <a:gd name="T48" fmla="*/ 3 w 288"/>
                <a:gd name="T49" fmla="*/ 55 h 57"/>
                <a:gd name="T50" fmla="*/ 6 w 288"/>
                <a:gd name="T51" fmla="*/ 55 h 57"/>
                <a:gd name="T52" fmla="*/ 8 w 288"/>
                <a:gd name="T53" fmla="*/ 57 h 57"/>
                <a:gd name="T54" fmla="*/ 11 w 288"/>
                <a:gd name="T55" fmla="*/ 55 h 57"/>
                <a:gd name="T56" fmla="*/ 14 w 288"/>
                <a:gd name="T57" fmla="*/ 55 h 57"/>
                <a:gd name="T58" fmla="*/ 27 w 288"/>
                <a:gd name="T59" fmla="*/ 47 h 57"/>
                <a:gd name="T60" fmla="*/ 44 w 288"/>
                <a:gd name="T61" fmla="*/ 38 h 57"/>
                <a:gd name="T62" fmla="*/ 55 w 288"/>
                <a:gd name="T63" fmla="*/ 33 h 57"/>
                <a:gd name="T64" fmla="*/ 76 w 288"/>
                <a:gd name="T65" fmla="*/ 25 h 57"/>
                <a:gd name="T66" fmla="*/ 93 w 288"/>
                <a:gd name="T67" fmla="*/ 22 h 57"/>
                <a:gd name="T68" fmla="*/ 109 w 288"/>
                <a:gd name="T69" fmla="*/ 19 h 57"/>
                <a:gd name="T70" fmla="*/ 123 w 288"/>
                <a:gd name="T71" fmla="*/ 17 h 57"/>
                <a:gd name="T72" fmla="*/ 144 w 288"/>
                <a:gd name="T73" fmla="*/ 17 h 57"/>
                <a:gd name="T74" fmla="*/ 166 w 288"/>
                <a:gd name="T75" fmla="*/ 17 h 57"/>
                <a:gd name="T76" fmla="*/ 182 w 288"/>
                <a:gd name="T77" fmla="*/ 19 h 57"/>
                <a:gd name="T78" fmla="*/ 196 w 288"/>
                <a:gd name="T79" fmla="*/ 22 h 57"/>
                <a:gd name="T80" fmla="*/ 212 w 288"/>
                <a:gd name="T81" fmla="*/ 25 h 57"/>
                <a:gd name="T82" fmla="*/ 234 w 288"/>
                <a:gd name="T83" fmla="*/ 33 h 57"/>
                <a:gd name="T84" fmla="*/ 250 w 288"/>
                <a:gd name="T85" fmla="*/ 38 h 57"/>
                <a:gd name="T86" fmla="*/ 264 w 288"/>
                <a:gd name="T87" fmla="*/ 49 h 57"/>
                <a:gd name="T88" fmla="*/ 278 w 288"/>
                <a:gd name="T89" fmla="*/ 55 h 57"/>
                <a:gd name="T90" fmla="*/ 280 w 288"/>
                <a:gd name="T91" fmla="*/ 57 h 57"/>
                <a:gd name="T92" fmla="*/ 283 w 288"/>
                <a:gd name="T93" fmla="*/ 55 h 57"/>
                <a:gd name="T94" fmla="*/ 286 w 288"/>
                <a:gd name="T95" fmla="*/ 55 h 57"/>
                <a:gd name="T96" fmla="*/ 288 w 288"/>
                <a:gd name="T97" fmla="*/ 52 h 57"/>
                <a:gd name="T98" fmla="*/ 288 w 288"/>
                <a:gd name="T99" fmla="*/ 4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8" h="57">
                  <a:moveTo>
                    <a:pt x="288" y="49"/>
                  </a:moveTo>
                  <a:lnTo>
                    <a:pt x="288" y="47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69" y="33"/>
                  </a:lnTo>
                  <a:lnTo>
                    <a:pt x="253" y="25"/>
                  </a:lnTo>
                  <a:lnTo>
                    <a:pt x="240" y="19"/>
                  </a:lnTo>
                  <a:lnTo>
                    <a:pt x="223" y="14"/>
                  </a:lnTo>
                  <a:lnTo>
                    <a:pt x="204" y="8"/>
                  </a:lnTo>
                  <a:lnTo>
                    <a:pt x="185" y="3"/>
                  </a:lnTo>
                  <a:lnTo>
                    <a:pt x="172" y="3"/>
                  </a:lnTo>
                  <a:lnTo>
                    <a:pt x="153" y="0"/>
                  </a:lnTo>
                  <a:lnTo>
                    <a:pt x="144" y="0"/>
                  </a:lnTo>
                  <a:lnTo>
                    <a:pt x="125" y="0"/>
                  </a:lnTo>
                  <a:lnTo>
                    <a:pt x="117" y="3"/>
                  </a:lnTo>
                  <a:lnTo>
                    <a:pt x="93" y="6"/>
                  </a:lnTo>
                  <a:lnTo>
                    <a:pt x="76" y="11"/>
                  </a:lnTo>
                  <a:lnTo>
                    <a:pt x="55" y="17"/>
                  </a:lnTo>
                  <a:lnTo>
                    <a:pt x="36" y="25"/>
                  </a:lnTo>
                  <a:lnTo>
                    <a:pt x="19" y="33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55"/>
                  </a:lnTo>
                  <a:lnTo>
                    <a:pt x="6" y="55"/>
                  </a:lnTo>
                  <a:lnTo>
                    <a:pt x="8" y="57"/>
                  </a:lnTo>
                  <a:lnTo>
                    <a:pt x="11" y="55"/>
                  </a:lnTo>
                  <a:lnTo>
                    <a:pt x="14" y="55"/>
                  </a:lnTo>
                  <a:lnTo>
                    <a:pt x="27" y="47"/>
                  </a:lnTo>
                  <a:lnTo>
                    <a:pt x="44" y="38"/>
                  </a:lnTo>
                  <a:lnTo>
                    <a:pt x="55" y="33"/>
                  </a:lnTo>
                  <a:lnTo>
                    <a:pt x="76" y="25"/>
                  </a:lnTo>
                  <a:lnTo>
                    <a:pt x="93" y="22"/>
                  </a:lnTo>
                  <a:lnTo>
                    <a:pt x="109" y="19"/>
                  </a:lnTo>
                  <a:lnTo>
                    <a:pt x="123" y="17"/>
                  </a:lnTo>
                  <a:lnTo>
                    <a:pt x="144" y="17"/>
                  </a:lnTo>
                  <a:lnTo>
                    <a:pt x="166" y="17"/>
                  </a:lnTo>
                  <a:lnTo>
                    <a:pt x="182" y="19"/>
                  </a:lnTo>
                  <a:lnTo>
                    <a:pt x="196" y="22"/>
                  </a:lnTo>
                  <a:lnTo>
                    <a:pt x="212" y="25"/>
                  </a:lnTo>
                  <a:lnTo>
                    <a:pt x="234" y="33"/>
                  </a:lnTo>
                  <a:lnTo>
                    <a:pt x="250" y="38"/>
                  </a:lnTo>
                  <a:lnTo>
                    <a:pt x="264" y="49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3" y="55"/>
                  </a:lnTo>
                  <a:lnTo>
                    <a:pt x="286" y="55"/>
                  </a:lnTo>
                  <a:lnTo>
                    <a:pt x="288" y="52"/>
                  </a:lnTo>
                  <a:lnTo>
                    <a:pt x="288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645A5744-66E4-4DD6-8C6C-9B7BDDDF37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6" y="590"/>
              <a:ext cx="87" cy="84"/>
            </a:xfrm>
            <a:custGeom>
              <a:avLst/>
              <a:gdLst>
                <a:gd name="T0" fmla="*/ 68 w 87"/>
                <a:gd name="T1" fmla="*/ 52 h 84"/>
                <a:gd name="T2" fmla="*/ 62 w 87"/>
                <a:gd name="T3" fmla="*/ 60 h 84"/>
                <a:gd name="T4" fmla="*/ 52 w 87"/>
                <a:gd name="T5" fmla="*/ 68 h 84"/>
                <a:gd name="T6" fmla="*/ 43 w 87"/>
                <a:gd name="T7" fmla="*/ 68 h 84"/>
                <a:gd name="T8" fmla="*/ 30 w 87"/>
                <a:gd name="T9" fmla="*/ 65 h 84"/>
                <a:gd name="T10" fmla="*/ 22 w 87"/>
                <a:gd name="T11" fmla="*/ 60 h 84"/>
                <a:gd name="T12" fmla="*/ 16 w 87"/>
                <a:gd name="T13" fmla="*/ 49 h 84"/>
                <a:gd name="T14" fmla="*/ 16 w 87"/>
                <a:gd name="T15" fmla="*/ 41 h 84"/>
                <a:gd name="T16" fmla="*/ 16 w 87"/>
                <a:gd name="T17" fmla="*/ 33 h 84"/>
                <a:gd name="T18" fmla="*/ 24 w 87"/>
                <a:gd name="T19" fmla="*/ 22 h 84"/>
                <a:gd name="T20" fmla="*/ 33 w 87"/>
                <a:gd name="T21" fmla="*/ 16 h 84"/>
                <a:gd name="T22" fmla="*/ 43 w 87"/>
                <a:gd name="T23" fmla="*/ 14 h 84"/>
                <a:gd name="T24" fmla="*/ 60 w 87"/>
                <a:gd name="T25" fmla="*/ 19 h 84"/>
                <a:gd name="T26" fmla="*/ 68 w 87"/>
                <a:gd name="T27" fmla="*/ 30 h 84"/>
                <a:gd name="T28" fmla="*/ 71 w 87"/>
                <a:gd name="T29" fmla="*/ 38 h 84"/>
                <a:gd name="T30" fmla="*/ 71 w 87"/>
                <a:gd name="T31" fmla="*/ 46 h 84"/>
                <a:gd name="T32" fmla="*/ 87 w 87"/>
                <a:gd name="T33" fmla="*/ 49 h 84"/>
                <a:gd name="T34" fmla="*/ 87 w 87"/>
                <a:gd name="T35" fmla="*/ 36 h 84"/>
                <a:gd name="T36" fmla="*/ 79 w 87"/>
                <a:gd name="T37" fmla="*/ 19 h 84"/>
                <a:gd name="T38" fmla="*/ 68 w 87"/>
                <a:gd name="T39" fmla="*/ 8 h 84"/>
                <a:gd name="T40" fmla="*/ 57 w 87"/>
                <a:gd name="T41" fmla="*/ 3 h 84"/>
                <a:gd name="T42" fmla="*/ 43 w 87"/>
                <a:gd name="T43" fmla="*/ 0 h 84"/>
                <a:gd name="T44" fmla="*/ 35 w 87"/>
                <a:gd name="T45" fmla="*/ 0 h 84"/>
                <a:gd name="T46" fmla="*/ 19 w 87"/>
                <a:gd name="T47" fmla="*/ 8 h 84"/>
                <a:gd name="T48" fmla="*/ 8 w 87"/>
                <a:gd name="T49" fmla="*/ 19 h 84"/>
                <a:gd name="T50" fmla="*/ 3 w 87"/>
                <a:gd name="T51" fmla="*/ 33 h 84"/>
                <a:gd name="T52" fmla="*/ 0 w 87"/>
                <a:gd name="T53" fmla="*/ 41 h 84"/>
                <a:gd name="T54" fmla="*/ 3 w 87"/>
                <a:gd name="T55" fmla="*/ 55 h 84"/>
                <a:gd name="T56" fmla="*/ 8 w 87"/>
                <a:gd name="T57" fmla="*/ 65 h 84"/>
                <a:gd name="T58" fmla="*/ 19 w 87"/>
                <a:gd name="T59" fmla="*/ 76 h 84"/>
                <a:gd name="T60" fmla="*/ 33 w 87"/>
                <a:gd name="T61" fmla="*/ 82 h 84"/>
                <a:gd name="T62" fmla="*/ 43 w 87"/>
                <a:gd name="T63" fmla="*/ 84 h 84"/>
                <a:gd name="T64" fmla="*/ 57 w 87"/>
                <a:gd name="T65" fmla="*/ 82 h 84"/>
                <a:gd name="T66" fmla="*/ 68 w 87"/>
                <a:gd name="T67" fmla="*/ 76 h 84"/>
                <a:gd name="T68" fmla="*/ 79 w 87"/>
                <a:gd name="T69" fmla="*/ 68 h 84"/>
                <a:gd name="T70" fmla="*/ 84 w 87"/>
                <a:gd name="T71" fmla="*/ 5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" h="84">
                  <a:moveTo>
                    <a:pt x="71" y="46"/>
                  </a:moveTo>
                  <a:lnTo>
                    <a:pt x="68" y="52"/>
                  </a:lnTo>
                  <a:lnTo>
                    <a:pt x="65" y="57"/>
                  </a:lnTo>
                  <a:lnTo>
                    <a:pt x="62" y="60"/>
                  </a:lnTo>
                  <a:lnTo>
                    <a:pt x="60" y="65"/>
                  </a:lnTo>
                  <a:lnTo>
                    <a:pt x="52" y="68"/>
                  </a:lnTo>
                  <a:lnTo>
                    <a:pt x="46" y="68"/>
                  </a:lnTo>
                  <a:lnTo>
                    <a:pt x="43" y="68"/>
                  </a:lnTo>
                  <a:lnTo>
                    <a:pt x="35" y="68"/>
                  </a:lnTo>
                  <a:lnTo>
                    <a:pt x="30" y="65"/>
                  </a:lnTo>
                  <a:lnTo>
                    <a:pt x="27" y="63"/>
                  </a:lnTo>
                  <a:lnTo>
                    <a:pt x="22" y="60"/>
                  </a:lnTo>
                  <a:lnTo>
                    <a:pt x="19" y="55"/>
                  </a:lnTo>
                  <a:lnTo>
                    <a:pt x="16" y="49"/>
                  </a:lnTo>
                  <a:lnTo>
                    <a:pt x="16" y="44"/>
                  </a:lnTo>
                  <a:lnTo>
                    <a:pt x="16" y="41"/>
                  </a:lnTo>
                  <a:lnTo>
                    <a:pt x="16" y="36"/>
                  </a:lnTo>
                  <a:lnTo>
                    <a:pt x="16" y="33"/>
                  </a:lnTo>
                  <a:lnTo>
                    <a:pt x="19" y="27"/>
                  </a:lnTo>
                  <a:lnTo>
                    <a:pt x="24" y="22"/>
                  </a:lnTo>
                  <a:lnTo>
                    <a:pt x="30" y="19"/>
                  </a:lnTo>
                  <a:lnTo>
                    <a:pt x="33" y="16"/>
                  </a:lnTo>
                  <a:lnTo>
                    <a:pt x="38" y="16"/>
                  </a:lnTo>
                  <a:lnTo>
                    <a:pt x="43" y="14"/>
                  </a:lnTo>
                  <a:lnTo>
                    <a:pt x="52" y="16"/>
                  </a:lnTo>
                  <a:lnTo>
                    <a:pt x="60" y="19"/>
                  </a:lnTo>
                  <a:lnTo>
                    <a:pt x="65" y="25"/>
                  </a:lnTo>
                  <a:lnTo>
                    <a:pt x="68" y="30"/>
                  </a:lnTo>
                  <a:lnTo>
                    <a:pt x="71" y="33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46"/>
                  </a:lnTo>
                  <a:close/>
                  <a:moveTo>
                    <a:pt x="84" y="55"/>
                  </a:moveTo>
                  <a:lnTo>
                    <a:pt x="87" y="49"/>
                  </a:lnTo>
                  <a:lnTo>
                    <a:pt x="87" y="41"/>
                  </a:lnTo>
                  <a:lnTo>
                    <a:pt x="87" y="36"/>
                  </a:lnTo>
                  <a:lnTo>
                    <a:pt x="84" y="27"/>
                  </a:lnTo>
                  <a:lnTo>
                    <a:pt x="79" y="19"/>
                  </a:lnTo>
                  <a:lnTo>
                    <a:pt x="76" y="14"/>
                  </a:lnTo>
                  <a:lnTo>
                    <a:pt x="68" y="8"/>
                  </a:lnTo>
                  <a:lnTo>
                    <a:pt x="62" y="6"/>
                  </a:lnTo>
                  <a:lnTo>
                    <a:pt x="57" y="3"/>
                  </a:lnTo>
                  <a:lnTo>
                    <a:pt x="49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19" y="8"/>
                  </a:lnTo>
                  <a:lnTo>
                    <a:pt x="11" y="14"/>
                  </a:lnTo>
                  <a:lnTo>
                    <a:pt x="8" y="19"/>
                  </a:lnTo>
                  <a:lnTo>
                    <a:pt x="5" y="25"/>
                  </a:lnTo>
                  <a:lnTo>
                    <a:pt x="3" y="33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9"/>
                  </a:lnTo>
                  <a:lnTo>
                    <a:pt x="3" y="55"/>
                  </a:lnTo>
                  <a:lnTo>
                    <a:pt x="5" y="60"/>
                  </a:lnTo>
                  <a:lnTo>
                    <a:pt x="8" y="65"/>
                  </a:lnTo>
                  <a:lnTo>
                    <a:pt x="11" y="71"/>
                  </a:lnTo>
                  <a:lnTo>
                    <a:pt x="19" y="76"/>
                  </a:lnTo>
                  <a:lnTo>
                    <a:pt x="27" y="82"/>
                  </a:lnTo>
                  <a:lnTo>
                    <a:pt x="33" y="82"/>
                  </a:lnTo>
                  <a:lnTo>
                    <a:pt x="38" y="84"/>
                  </a:lnTo>
                  <a:lnTo>
                    <a:pt x="43" y="84"/>
                  </a:lnTo>
                  <a:lnTo>
                    <a:pt x="49" y="84"/>
                  </a:lnTo>
                  <a:lnTo>
                    <a:pt x="57" y="82"/>
                  </a:lnTo>
                  <a:lnTo>
                    <a:pt x="62" y="79"/>
                  </a:lnTo>
                  <a:lnTo>
                    <a:pt x="68" y="76"/>
                  </a:lnTo>
                  <a:lnTo>
                    <a:pt x="73" y="71"/>
                  </a:lnTo>
                  <a:lnTo>
                    <a:pt x="79" y="68"/>
                  </a:lnTo>
                  <a:lnTo>
                    <a:pt x="81" y="60"/>
                  </a:lnTo>
                  <a:lnTo>
                    <a:pt x="84" y="5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49">
            <a:extLst>
              <a:ext uri="{FF2B5EF4-FFF2-40B4-BE49-F238E27FC236}">
                <a16:creationId xmlns:a16="http://schemas.microsoft.com/office/drawing/2014/main" id="{76FF57E0-C3C0-48B1-9E8D-DC17F437C7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559" y="343721"/>
            <a:ext cx="760413" cy="758825"/>
            <a:chOff x="5054" y="391"/>
            <a:chExt cx="479" cy="478"/>
          </a:xfrm>
        </p:grpSpPr>
        <p:sp>
          <p:nvSpPr>
            <p:cNvPr id="59" name="AutoShape 48">
              <a:extLst>
                <a:ext uri="{FF2B5EF4-FFF2-40B4-BE49-F238E27FC236}">
                  <a16:creationId xmlns:a16="http://schemas.microsoft.com/office/drawing/2014/main" id="{B2E11EB2-BC08-4958-A988-42EF5436FA1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4" y="39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C45B557D-A54D-4617-BEFE-5186D4E02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6" y="393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1">
              <a:extLst>
                <a:ext uri="{FF2B5EF4-FFF2-40B4-BE49-F238E27FC236}">
                  <a16:creationId xmlns:a16="http://schemas.microsoft.com/office/drawing/2014/main" id="{28C1A8B9-A2A1-4A48-9F85-CC63C2C72A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7" y="516"/>
              <a:ext cx="275" cy="230"/>
            </a:xfrm>
            <a:custGeom>
              <a:avLst/>
              <a:gdLst>
                <a:gd name="T0" fmla="*/ 251 w 275"/>
                <a:gd name="T1" fmla="*/ 147 h 230"/>
                <a:gd name="T2" fmla="*/ 231 w 275"/>
                <a:gd name="T3" fmla="*/ 167 h 230"/>
                <a:gd name="T4" fmla="*/ 214 w 275"/>
                <a:gd name="T5" fmla="*/ 169 h 230"/>
                <a:gd name="T6" fmla="*/ 197 w 275"/>
                <a:gd name="T7" fmla="*/ 154 h 230"/>
                <a:gd name="T8" fmla="*/ 182 w 275"/>
                <a:gd name="T9" fmla="*/ 118 h 230"/>
                <a:gd name="T10" fmla="*/ 229 w 275"/>
                <a:gd name="T11" fmla="*/ 101 h 230"/>
                <a:gd name="T12" fmla="*/ 229 w 275"/>
                <a:gd name="T13" fmla="*/ 83 h 230"/>
                <a:gd name="T14" fmla="*/ 211 w 275"/>
                <a:gd name="T15" fmla="*/ 66 h 230"/>
                <a:gd name="T16" fmla="*/ 192 w 275"/>
                <a:gd name="T17" fmla="*/ 34 h 230"/>
                <a:gd name="T18" fmla="*/ 211 w 275"/>
                <a:gd name="T19" fmla="*/ 15 h 230"/>
                <a:gd name="T20" fmla="*/ 231 w 275"/>
                <a:gd name="T21" fmla="*/ 15 h 230"/>
                <a:gd name="T22" fmla="*/ 251 w 275"/>
                <a:gd name="T23" fmla="*/ 34 h 230"/>
                <a:gd name="T24" fmla="*/ 263 w 275"/>
                <a:gd name="T25" fmla="*/ 83 h 230"/>
                <a:gd name="T26" fmla="*/ 180 w 275"/>
                <a:gd name="T27" fmla="*/ 86 h 230"/>
                <a:gd name="T28" fmla="*/ 216 w 275"/>
                <a:gd name="T29" fmla="*/ 78 h 230"/>
                <a:gd name="T30" fmla="*/ 221 w 275"/>
                <a:gd name="T31" fmla="*/ 98 h 230"/>
                <a:gd name="T32" fmla="*/ 211 w 275"/>
                <a:gd name="T33" fmla="*/ 105 h 230"/>
                <a:gd name="T34" fmla="*/ 148 w 275"/>
                <a:gd name="T35" fmla="*/ 130 h 230"/>
                <a:gd name="T36" fmla="*/ 108 w 275"/>
                <a:gd name="T37" fmla="*/ 125 h 230"/>
                <a:gd name="T38" fmla="*/ 98 w 275"/>
                <a:gd name="T39" fmla="*/ 96 h 230"/>
                <a:gd name="T40" fmla="*/ 103 w 275"/>
                <a:gd name="T41" fmla="*/ 66 h 230"/>
                <a:gd name="T42" fmla="*/ 125 w 275"/>
                <a:gd name="T43" fmla="*/ 56 h 230"/>
                <a:gd name="T44" fmla="*/ 175 w 275"/>
                <a:gd name="T45" fmla="*/ 39 h 230"/>
                <a:gd name="T46" fmla="*/ 170 w 275"/>
                <a:gd name="T47" fmla="*/ 120 h 230"/>
                <a:gd name="T48" fmla="*/ 148 w 275"/>
                <a:gd name="T49" fmla="*/ 130 h 230"/>
                <a:gd name="T50" fmla="*/ 96 w 275"/>
                <a:gd name="T51" fmla="*/ 137 h 230"/>
                <a:gd name="T52" fmla="*/ 37 w 275"/>
                <a:gd name="T53" fmla="*/ 125 h 230"/>
                <a:gd name="T54" fmla="*/ 17 w 275"/>
                <a:gd name="T55" fmla="*/ 105 h 230"/>
                <a:gd name="T56" fmla="*/ 15 w 275"/>
                <a:gd name="T57" fmla="*/ 81 h 230"/>
                <a:gd name="T58" fmla="*/ 35 w 275"/>
                <a:gd name="T59" fmla="*/ 56 h 230"/>
                <a:gd name="T60" fmla="*/ 86 w 275"/>
                <a:gd name="T61" fmla="*/ 76 h 230"/>
                <a:gd name="T62" fmla="*/ 91 w 275"/>
                <a:gd name="T63" fmla="*/ 120 h 230"/>
                <a:gd name="T64" fmla="*/ 275 w 275"/>
                <a:gd name="T65" fmla="*/ 98 h 230"/>
                <a:gd name="T66" fmla="*/ 270 w 275"/>
                <a:gd name="T67" fmla="*/ 54 h 230"/>
                <a:gd name="T68" fmla="*/ 246 w 275"/>
                <a:gd name="T69" fmla="*/ 10 h 230"/>
                <a:gd name="T70" fmla="*/ 224 w 275"/>
                <a:gd name="T71" fmla="*/ 0 h 230"/>
                <a:gd name="T72" fmla="*/ 199 w 275"/>
                <a:gd name="T73" fmla="*/ 7 h 230"/>
                <a:gd name="T74" fmla="*/ 184 w 275"/>
                <a:gd name="T75" fmla="*/ 22 h 230"/>
                <a:gd name="T76" fmla="*/ 138 w 275"/>
                <a:gd name="T77" fmla="*/ 39 h 230"/>
                <a:gd name="T78" fmla="*/ 35 w 275"/>
                <a:gd name="T79" fmla="*/ 44 h 230"/>
                <a:gd name="T80" fmla="*/ 12 w 275"/>
                <a:gd name="T81" fmla="*/ 59 h 230"/>
                <a:gd name="T82" fmla="*/ 0 w 275"/>
                <a:gd name="T83" fmla="*/ 93 h 230"/>
                <a:gd name="T84" fmla="*/ 12 w 275"/>
                <a:gd name="T85" fmla="*/ 123 h 230"/>
                <a:gd name="T86" fmla="*/ 37 w 275"/>
                <a:gd name="T87" fmla="*/ 137 h 230"/>
                <a:gd name="T88" fmla="*/ 44 w 275"/>
                <a:gd name="T89" fmla="*/ 137 h 230"/>
                <a:gd name="T90" fmla="*/ 81 w 275"/>
                <a:gd name="T91" fmla="*/ 230 h 230"/>
                <a:gd name="T92" fmla="*/ 118 w 275"/>
                <a:gd name="T93" fmla="*/ 218 h 230"/>
                <a:gd name="T94" fmla="*/ 108 w 275"/>
                <a:gd name="T95" fmla="*/ 137 h 230"/>
                <a:gd name="T96" fmla="*/ 157 w 275"/>
                <a:gd name="T97" fmla="*/ 147 h 230"/>
                <a:gd name="T98" fmla="*/ 192 w 275"/>
                <a:gd name="T99" fmla="*/ 167 h 230"/>
                <a:gd name="T100" fmla="*/ 216 w 275"/>
                <a:gd name="T101" fmla="*/ 181 h 230"/>
                <a:gd name="T102" fmla="*/ 243 w 275"/>
                <a:gd name="T103" fmla="*/ 174 h 230"/>
                <a:gd name="T104" fmla="*/ 265 w 275"/>
                <a:gd name="T105" fmla="*/ 145 h 230"/>
                <a:gd name="T106" fmla="*/ 275 w 275"/>
                <a:gd name="T107" fmla="*/ 9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5" h="230">
                  <a:moveTo>
                    <a:pt x="261" y="115"/>
                  </a:moveTo>
                  <a:lnTo>
                    <a:pt x="256" y="135"/>
                  </a:lnTo>
                  <a:lnTo>
                    <a:pt x="251" y="147"/>
                  </a:lnTo>
                  <a:lnTo>
                    <a:pt x="243" y="157"/>
                  </a:lnTo>
                  <a:lnTo>
                    <a:pt x="238" y="162"/>
                  </a:lnTo>
                  <a:lnTo>
                    <a:pt x="231" y="167"/>
                  </a:lnTo>
                  <a:lnTo>
                    <a:pt x="224" y="169"/>
                  </a:lnTo>
                  <a:lnTo>
                    <a:pt x="221" y="169"/>
                  </a:lnTo>
                  <a:lnTo>
                    <a:pt x="214" y="169"/>
                  </a:lnTo>
                  <a:lnTo>
                    <a:pt x="209" y="167"/>
                  </a:lnTo>
                  <a:lnTo>
                    <a:pt x="202" y="162"/>
                  </a:lnTo>
                  <a:lnTo>
                    <a:pt x="197" y="154"/>
                  </a:lnTo>
                  <a:lnTo>
                    <a:pt x="189" y="145"/>
                  </a:lnTo>
                  <a:lnTo>
                    <a:pt x="184" y="132"/>
                  </a:lnTo>
                  <a:lnTo>
                    <a:pt x="182" y="118"/>
                  </a:lnTo>
                  <a:lnTo>
                    <a:pt x="219" y="113"/>
                  </a:lnTo>
                  <a:lnTo>
                    <a:pt x="226" y="105"/>
                  </a:lnTo>
                  <a:lnTo>
                    <a:pt x="229" y="101"/>
                  </a:lnTo>
                  <a:lnTo>
                    <a:pt x="229" y="96"/>
                  </a:lnTo>
                  <a:lnTo>
                    <a:pt x="229" y="91"/>
                  </a:lnTo>
                  <a:lnTo>
                    <a:pt x="229" y="83"/>
                  </a:lnTo>
                  <a:lnTo>
                    <a:pt x="224" y="74"/>
                  </a:lnTo>
                  <a:lnTo>
                    <a:pt x="219" y="69"/>
                  </a:lnTo>
                  <a:lnTo>
                    <a:pt x="211" y="66"/>
                  </a:lnTo>
                  <a:lnTo>
                    <a:pt x="182" y="64"/>
                  </a:lnTo>
                  <a:lnTo>
                    <a:pt x="184" y="49"/>
                  </a:lnTo>
                  <a:lnTo>
                    <a:pt x="192" y="34"/>
                  </a:lnTo>
                  <a:lnTo>
                    <a:pt x="199" y="22"/>
                  </a:lnTo>
                  <a:lnTo>
                    <a:pt x="207" y="17"/>
                  </a:lnTo>
                  <a:lnTo>
                    <a:pt x="211" y="15"/>
                  </a:lnTo>
                  <a:lnTo>
                    <a:pt x="216" y="12"/>
                  </a:lnTo>
                  <a:lnTo>
                    <a:pt x="221" y="12"/>
                  </a:lnTo>
                  <a:lnTo>
                    <a:pt x="231" y="15"/>
                  </a:lnTo>
                  <a:lnTo>
                    <a:pt x="238" y="20"/>
                  </a:lnTo>
                  <a:lnTo>
                    <a:pt x="246" y="25"/>
                  </a:lnTo>
                  <a:lnTo>
                    <a:pt x="251" y="34"/>
                  </a:lnTo>
                  <a:lnTo>
                    <a:pt x="256" y="47"/>
                  </a:lnTo>
                  <a:lnTo>
                    <a:pt x="261" y="64"/>
                  </a:lnTo>
                  <a:lnTo>
                    <a:pt x="263" y="83"/>
                  </a:lnTo>
                  <a:lnTo>
                    <a:pt x="263" y="93"/>
                  </a:lnTo>
                  <a:lnTo>
                    <a:pt x="261" y="115"/>
                  </a:lnTo>
                  <a:close/>
                  <a:moveTo>
                    <a:pt x="180" y="86"/>
                  </a:moveTo>
                  <a:lnTo>
                    <a:pt x="180" y="71"/>
                  </a:lnTo>
                  <a:lnTo>
                    <a:pt x="214" y="76"/>
                  </a:lnTo>
                  <a:lnTo>
                    <a:pt x="216" y="78"/>
                  </a:lnTo>
                  <a:lnTo>
                    <a:pt x="221" y="83"/>
                  </a:lnTo>
                  <a:lnTo>
                    <a:pt x="221" y="91"/>
                  </a:lnTo>
                  <a:lnTo>
                    <a:pt x="221" y="98"/>
                  </a:lnTo>
                  <a:lnTo>
                    <a:pt x="219" y="103"/>
                  </a:lnTo>
                  <a:lnTo>
                    <a:pt x="216" y="105"/>
                  </a:lnTo>
                  <a:lnTo>
                    <a:pt x="211" y="105"/>
                  </a:lnTo>
                  <a:lnTo>
                    <a:pt x="180" y="110"/>
                  </a:lnTo>
                  <a:lnTo>
                    <a:pt x="180" y="86"/>
                  </a:lnTo>
                  <a:close/>
                  <a:moveTo>
                    <a:pt x="148" y="130"/>
                  </a:moveTo>
                  <a:lnTo>
                    <a:pt x="128" y="127"/>
                  </a:lnTo>
                  <a:lnTo>
                    <a:pt x="113" y="125"/>
                  </a:lnTo>
                  <a:lnTo>
                    <a:pt x="108" y="125"/>
                  </a:lnTo>
                  <a:lnTo>
                    <a:pt x="103" y="118"/>
                  </a:lnTo>
                  <a:lnTo>
                    <a:pt x="101" y="110"/>
                  </a:lnTo>
                  <a:lnTo>
                    <a:pt x="98" y="96"/>
                  </a:lnTo>
                  <a:lnTo>
                    <a:pt x="98" y="88"/>
                  </a:lnTo>
                  <a:lnTo>
                    <a:pt x="98" y="76"/>
                  </a:lnTo>
                  <a:lnTo>
                    <a:pt x="103" y="66"/>
                  </a:lnTo>
                  <a:lnTo>
                    <a:pt x="106" y="61"/>
                  </a:lnTo>
                  <a:lnTo>
                    <a:pt x="108" y="56"/>
                  </a:lnTo>
                  <a:lnTo>
                    <a:pt x="125" y="56"/>
                  </a:lnTo>
                  <a:lnTo>
                    <a:pt x="145" y="51"/>
                  </a:lnTo>
                  <a:lnTo>
                    <a:pt x="170" y="42"/>
                  </a:lnTo>
                  <a:lnTo>
                    <a:pt x="175" y="39"/>
                  </a:lnTo>
                  <a:lnTo>
                    <a:pt x="170" y="61"/>
                  </a:lnTo>
                  <a:lnTo>
                    <a:pt x="167" y="91"/>
                  </a:lnTo>
                  <a:lnTo>
                    <a:pt x="170" y="120"/>
                  </a:lnTo>
                  <a:lnTo>
                    <a:pt x="175" y="135"/>
                  </a:lnTo>
                  <a:lnTo>
                    <a:pt x="175" y="142"/>
                  </a:lnTo>
                  <a:lnTo>
                    <a:pt x="148" y="130"/>
                  </a:lnTo>
                  <a:close/>
                  <a:moveTo>
                    <a:pt x="86" y="216"/>
                  </a:moveTo>
                  <a:lnTo>
                    <a:pt x="57" y="137"/>
                  </a:lnTo>
                  <a:lnTo>
                    <a:pt x="96" y="137"/>
                  </a:lnTo>
                  <a:lnTo>
                    <a:pt x="106" y="211"/>
                  </a:lnTo>
                  <a:lnTo>
                    <a:pt x="86" y="216"/>
                  </a:lnTo>
                  <a:close/>
                  <a:moveTo>
                    <a:pt x="37" y="125"/>
                  </a:moveTo>
                  <a:lnTo>
                    <a:pt x="30" y="123"/>
                  </a:lnTo>
                  <a:lnTo>
                    <a:pt x="22" y="115"/>
                  </a:lnTo>
                  <a:lnTo>
                    <a:pt x="17" y="105"/>
                  </a:lnTo>
                  <a:lnTo>
                    <a:pt x="12" y="96"/>
                  </a:lnTo>
                  <a:lnTo>
                    <a:pt x="12" y="88"/>
                  </a:lnTo>
                  <a:lnTo>
                    <a:pt x="15" y="81"/>
                  </a:lnTo>
                  <a:lnTo>
                    <a:pt x="20" y="71"/>
                  </a:lnTo>
                  <a:lnTo>
                    <a:pt x="27" y="61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94" y="56"/>
                  </a:lnTo>
                  <a:lnTo>
                    <a:pt x="86" y="76"/>
                  </a:lnTo>
                  <a:lnTo>
                    <a:pt x="86" y="91"/>
                  </a:lnTo>
                  <a:lnTo>
                    <a:pt x="89" y="108"/>
                  </a:lnTo>
                  <a:lnTo>
                    <a:pt x="91" y="120"/>
                  </a:lnTo>
                  <a:lnTo>
                    <a:pt x="94" y="125"/>
                  </a:lnTo>
                  <a:lnTo>
                    <a:pt x="37" y="125"/>
                  </a:lnTo>
                  <a:close/>
                  <a:moveTo>
                    <a:pt x="275" y="98"/>
                  </a:moveTo>
                  <a:lnTo>
                    <a:pt x="275" y="91"/>
                  </a:lnTo>
                  <a:lnTo>
                    <a:pt x="275" y="74"/>
                  </a:lnTo>
                  <a:lnTo>
                    <a:pt x="270" y="54"/>
                  </a:lnTo>
                  <a:lnTo>
                    <a:pt x="265" y="37"/>
                  </a:lnTo>
                  <a:lnTo>
                    <a:pt x="256" y="20"/>
                  </a:lnTo>
                  <a:lnTo>
                    <a:pt x="246" y="10"/>
                  </a:lnTo>
                  <a:lnTo>
                    <a:pt x="238" y="2"/>
                  </a:lnTo>
                  <a:lnTo>
                    <a:pt x="231" y="0"/>
                  </a:lnTo>
                  <a:lnTo>
                    <a:pt x="224" y="0"/>
                  </a:lnTo>
                  <a:lnTo>
                    <a:pt x="211" y="2"/>
                  </a:lnTo>
                  <a:lnTo>
                    <a:pt x="207" y="2"/>
                  </a:lnTo>
                  <a:lnTo>
                    <a:pt x="199" y="7"/>
                  </a:lnTo>
                  <a:lnTo>
                    <a:pt x="194" y="12"/>
                  </a:lnTo>
                  <a:lnTo>
                    <a:pt x="187" y="17"/>
                  </a:lnTo>
                  <a:lnTo>
                    <a:pt x="184" y="22"/>
                  </a:lnTo>
                  <a:lnTo>
                    <a:pt x="167" y="29"/>
                  </a:lnTo>
                  <a:lnTo>
                    <a:pt x="152" y="37"/>
                  </a:lnTo>
                  <a:lnTo>
                    <a:pt x="138" y="39"/>
                  </a:lnTo>
                  <a:lnTo>
                    <a:pt x="121" y="44"/>
                  </a:lnTo>
                  <a:lnTo>
                    <a:pt x="106" y="44"/>
                  </a:lnTo>
                  <a:lnTo>
                    <a:pt x="35" y="44"/>
                  </a:lnTo>
                  <a:lnTo>
                    <a:pt x="27" y="47"/>
                  </a:lnTo>
                  <a:lnTo>
                    <a:pt x="17" y="51"/>
                  </a:lnTo>
                  <a:lnTo>
                    <a:pt x="12" y="59"/>
                  </a:lnTo>
                  <a:lnTo>
                    <a:pt x="5" y="71"/>
                  </a:lnTo>
                  <a:lnTo>
                    <a:pt x="0" y="83"/>
                  </a:lnTo>
                  <a:lnTo>
                    <a:pt x="0" y="93"/>
                  </a:lnTo>
                  <a:lnTo>
                    <a:pt x="3" y="103"/>
                  </a:lnTo>
                  <a:lnTo>
                    <a:pt x="8" y="113"/>
                  </a:lnTo>
                  <a:lnTo>
                    <a:pt x="12" y="123"/>
                  </a:lnTo>
                  <a:lnTo>
                    <a:pt x="20" y="130"/>
                  </a:lnTo>
                  <a:lnTo>
                    <a:pt x="25" y="132"/>
                  </a:lnTo>
                  <a:lnTo>
                    <a:pt x="37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44" y="137"/>
                  </a:lnTo>
                  <a:lnTo>
                    <a:pt x="79" y="230"/>
                  </a:lnTo>
                  <a:lnTo>
                    <a:pt x="81" y="230"/>
                  </a:lnTo>
                  <a:lnTo>
                    <a:pt x="81" y="230"/>
                  </a:lnTo>
                  <a:lnTo>
                    <a:pt x="81" y="230"/>
                  </a:lnTo>
                  <a:lnTo>
                    <a:pt x="86" y="230"/>
                  </a:lnTo>
                  <a:lnTo>
                    <a:pt x="118" y="218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08" y="137"/>
                  </a:lnTo>
                  <a:lnTo>
                    <a:pt x="125" y="137"/>
                  </a:lnTo>
                  <a:lnTo>
                    <a:pt x="140" y="142"/>
                  </a:lnTo>
                  <a:lnTo>
                    <a:pt x="157" y="147"/>
                  </a:lnTo>
                  <a:lnTo>
                    <a:pt x="177" y="154"/>
                  </a:lnTo>
                  <a:lnTo>
                    <a:pt x="187" y="162"/>
                  </a:lnTo>
                  <a:lnTo>
                    <a:pt x="192" y="167"/>
                  </a:lnTo>
                  <a:lnTo>
                    <a:pt x="197" y="174"/>
                  </a:lnTo>
                  <a:lnTo>
                    <a:pt x="204" y="177"/>
                  </a:lnTo>
                  <a:lnTo>
                    <a:pt x="216" y="181"/>
                  </a:lnTo>
                  <a:lnTo>
                    <a:pt x="221" y="181"/>
                  </a:lnTo>
                  <a:lnTo>
                    <a:pt x="231" y="179"/>
                  </a:lnTo>
                  <a:lnTo>
                    <a:pt x="243" y="174"/>
                  </a:lnTo>
                  <a:lnTo>
                    <a:pt x="251" y="167"/>
                  </a:lnTo>
                  <a:lnTo>
                    <a:pt x="261" y="154"/>
                  </a:lnTo>
                  <a:lnTo>
                    <a:pt x="265" y="145"/>
                  </a:lnTo>
                  <a:lnTo>
                    <a:pt x="270" y="130"/>
                  </a:lnTo>
                  <a:lnTo>
                    <a:pt x="273" y="115"/>
                  </a:lnTo>
                  <a:lnTo>
                    <a:pt x="275" y="9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54">
            <a:extLst>
              <a:ext uri="{FF2B5EF4-FFF2-40B4-BE49-F238E27FC236}">
                <a16:creationId xmlns:a16="http://schemas.microsoft.com/office/drawing/2014/main" id="{EA2A0939-B8E5-4484-9C9F-C87C69BF39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9438" y="302446"/>
            <a:ext cx="841375" cy="841375"/>
            <a:chOff x="4397" y="285"/>
            <a:chExt cx="530" cy="530"/>
          </a:xfrm>
        </p:grpSpPr>
        <p:sp>
          <p:nvSpPr>
            <p:cNvPr id="63" name="AutoShape 53">
              <a:extLst>
                <a:ext uri="{FF2B5EF4-FFF2-40B4-BE49-F238E27FC236}">
                  <a16:creationId xmlns:a16="http://schemas.microsoft.com/office/drawing/2014/main" id="{480325B2-3B93-4A02-847B-85EE774F99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7" y="2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Oval 55">
              <a:extLst>
                <a:ext uri="{FF2B5EF4-FFF2-40B4-BE49-F238E27FC236}">
                  <a16:creationId xmlns:a16="http://schemas.microsoft.com/office/drawing/2014/main" id="{EDCDE7DA-CD40-434E-9D35-CA48095D7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" y="288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8B26C87F-88D4-4B4F-89CF-F57418494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6" y="304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56F5F214-36FC-4786-9293-08C1D70A60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2" y="432"/>
              <a:ext cx="283" cy="239"/>
            </a:xfrm>
            <a:custGeom>
              <a:avLst/>
              <a:gdLst>
                <a:gd name="T0" fmla="*/ 258 w 283"/>
                <a:gd name="T1" fmla="*/ 152 h 239"/>
                <a:gd name="T2" fmla="*/ 237 w 283"/>
                <a:gd name="T3" fmla="*/ 174 h 239"/>
                <a:gd name="T4" fmla="*/ 220 w 283"/>
                <a:gd name="T5" fmla="*/ 174 h 239"/>
                <a:gd name="T6" fmla="*/ 201 w 283"/>
                <a:gd name="T7" fmla="*/ 160 h 239"/>
                <a:gd name="T8" fmla="*/ 188 w 283"/>
                <a:gd name="T9" fmla="*/ 122 h 239"/>
                <a:gd name="T10" fmla="*/ 234 w 283"/>
                <a:gd name="T11" fmla="*/ 106 h 239"/>
                <a:gd name="T12" fmla="*/ 237 w 283"/>
                <a:gd name="T13" fmla="*/ 87 h 239"/>
                <a:gd name="T14" fmla="*/ 217 w 283"/>
                <a:gd name="T15" fmla="*/ 70 h 239"/>
                <a:gd name="T16" fmla="*/ 198 w 283"/>
                <a:gd name="T17" fmla="*/ 35 h 239"/>
                <a:gd name="T18" fmla="*/ 217 w 283"/>
                <a:gd name="T19" fmla="*/ 13 h 239"/>
                <a:gd name="T20" fmla="*/ 239 w 283"/>
                <a:gd name="T21" fmla="*/ 16 h 239"/>
                <a:gd name="T22" fmla="*/ 258 w 283"/>
                <a:gd name="T23" fmla="*/ 35 h 239"/>
                <a:gd name="T24" fmla="*/ 269 w 283"/>
                <a:gd name="T25" fmla="*/ 87 h 239"/>
                <a:gd name="T26" fmla="*/ 185 w 283"/>
                <a:gd name="T27" fmla="*/ 89 h 239"/>
                <a:gd name="T28" fmla="*/ 223 w 283"/>
                <a:gd name="T29" fmla="*/ 81 h 239"/>
                <a:gd name="T30" fmla="*/ 226 w 283"/>
                <a:gd name="T31" fmla="*/ 103 h 239"/>
                <a:gd name="T32" fmla="*/ 217 w 283"/>
                <a:gd name="T33" fmla="*/ 111 h 239"/>
                <a:gd name="T34" fmla="*/ 152 w 283"/>
                <a:gd name="T35" fmla="*/ 136 h 239"/>
                <a:gd name="T36" fmla="*/ 111 w 283"/>
                <a:gd name="T37" fmla="*/ 130 h 239"/>
                <a:gd name="T38" fmla="*/ 101 w 283"/>
                <a:gd name="T39" fmla="*/ 98 h 239"/>
                <a:gd name="T40" fmla="*/ 106 w 283"/>
                <a:gd name="T41" fmla="*/ 68 h 239"/>
                <a:gd name="T42" fmla="*/ 128 w 283"/>
                <a:gd name="T43" fmla="*/ 57 h 239"/>
                <a:gd name="T44" fmla="*/ 179 w 283"/>
                <a:gd name="T45" fmla="*/ 41 h 239"/>
                <a:gd name="T46" fmla="*/ 174 w 283"/>
                <a:gd name="T47" fmla="*/ 125 h 239"/>
                <a:gd name="T48" fmla="*/ 152 w 283"/>
                <a:gd name="T49" fmla="*/ 136 h 239"/>
                <a:gd name="T50" fmla="*/ 98 w 283"/>
                <a:gd name="T51" fmla="*/ 141 h 239"/>
                <a:gd name="T52" fmla="*/ 35 w 283"/>
                <a:gd name="T53" fmla="*/ 128 h 239"/>
                <a:gd name="T54" fmla="*/ 16 w 283"/>
                <a:gd name="T55" fmla="*/ 109 h 239"/>
                <a:gd name="T56" fmla="*/ 14 w 283"/>
                <a:gd name="T57" fmla="*/ 84 h 239"/>
                <a:gd name="T58" fmla="*/ 35 w 283"/>
                <a:gd name="T59" fmla="*/ 60 h 239"/>
                <a:gd name="T60" fmla="*/ 90 w 283"/>
                <a:gd name="T61" fmla="*/ 79 h 239"/>
                <a:gd name="T62" fmla="*/ 92 w 283"/>
                <a:gd name="T63" fmla="*/ 125 h 239"/>
                <a:gd name="T64" fmla="*/ 283 w 283"/>
                <a:gd name="T65" fmla="*/ 100 h 239"/>
                <a:gd name="T66" fmla="*/ 280 w 283"/>
                <a:gd name="T67" fmla="*/ 57 h 239"/>
                <a:gd name="T68" fmla="*/ 253 w 283"/>
                <a:gd name="T69" fmla="*/ 11 h 239"/>
                <a:gd name="T70" fmla="*/ 228 w 283"/>
                <a:gd name="T71" fmla="*/ 0 h 239"/>
                <a:gd name="T72" fmla="*/ 204 w 283"/>
                <a:gd name="T73" fmla="*/ 8 h 239"/>
                <a:gd name="T74" fmla="*/ 190 w 283"/>
                <a:gd name="T75" fmla="*/ 22 h 239"/>
                <a:gd name="T76" fmla="*/ 141 w 283"/>
                <a:gd name="T77" fmla="*/ 41 h 239"/>
                <a:gd name="T78" fmla="*/ 33 w 283"/>
                <a:gd name="T79" fmla="*/ 46 h 239"/>
                <a:gd name="T80" fmla="*/ 11 w 283"/>
                <a:gd name="T81" fmla="*/ 60 h 239"/>
                <a:gd name="T82" fmla="*/ 0 w 283"/>
                <a:gd name="T83" fmla="*/ 95 h 239"/>
                <a:gd name="T84" fmla="*/ 14 w 283"/>
                <a:gd name="T85" fmla="*/ 128 h 239"/>
                <a:gd name="T86" fmla="*/ 38 w 283"/>
                <a:gd name="T87" fmla="*/ 141 h 239"/>
                <a:gd name="T88" fmla="*/ 46 w 283"/>
                <a:gd name="T89" fmla="*/ 141 h 239"/>
                <a:gd name="T90" fmla="*/ 84 w 283"/>
                <a:gd name="T91" fmla="*/ 239 h 239"/>
                <a:gd name="T92" fmla="*/ 120 w 283"/>
                <a:gd name="T93" fmla="*/ 225 h 239"/>
                <a:gd name="T94" fmla="*/ 111 w 283"/>
                <a:gd name="T95" fmla="*/ 141 h 239"/>
                <a:gd name="T96" fmla="*/ 163 w 283"/>
                <a:gd name="T97" fmla="*/ 152 h 239"/>
                <a:gd name="T98" fmla="*/ 196 w 283"/>
                <a:gd name="T99" fmla="*/ 174 h 239"/>
                <a:gd name="T100" fmla="*/ 223 w 283"/>
                <a:gd name="T101" fmla="*/ 187 h 239"/>
                <a:gd name="T102" fmla="*/ 250 w 283"/>
                <a:gd name="T103" fmla="*/ 182 h 239"/>
                <a:gd name="T104" fmla="*/ 272 w 283"/>
                <a:gd name="T105" fmla="*/ 149 h 239"/>
                <a:gd name="T106" fmla="*/ 283 w 283"/>
                <a:gd name="T107" fmla="*/ 10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3" h="239">
                  <a:moveTo>
                    <a:pt x="269" y="119"/>
                  </a:moveTo>
                  <a:lnTo>
                    <a:pt x="264" y="138"/>
                  </a:lnTo>
                  <a:lnTo>
                    <a:pt x="258" y="152"/>
                  </a:lnTo>
                  <a:lnTo>
                    <a:pt x="250" y="163"/>
                  </a:lnTo>
                  <a:lnTo>
                    <a:pt x="245" y="168"/>
                  </a:lnTo>
                  <a:lnTo>
                    <a:pt x="237" y="174"/>
                  </a:lnTo>
                  <a:lnTo>
                    <a:pt x="231" y="174"/>
                  </a:lnTo>
                  <a:lnTo>
                    <a:pt x="228" y="174"/>
                  </a:lnTo>
                  <a:lnTo>
                    <a:pt x="220" y="174"/>
                  </a:lnTo>
                  <a:lnTo>
                    <a:pt x="215" y="171"/>
                  </a:lnTo>
                  <a:lnTo>
                    <a:pt x="209" y="168"/>
                  </a:lnTo>
                  <a:lnTo>
                    <a:pt x="201" y="160"/>
                  </a:lnTo>
                  <a:lnTo>
                    <a:pt x="196" y="149"/>
                  </a:lnTo>
                  <a:lnTo>
                    <a:pt x="190" y="138"/>
                  </a:lnTo>
                  <a:lnTo>
                    <a:pt x="188" y="122"/>
                  </a:lnTo>
                  <a:lnTo>
                    <a:pt x="226" y="117"/>
                  </a:lnTo>
                  <a:lnTo>
                    <a:pt x="231" y="109"/>
                  </a:lnTo>
                  <a:lnTo>
                    <a:pt x="234" y="106"/>
                  </a:lnTo>
                  <a:lnTo>
                    <a:pt x="237" y="100"/>
                  </a:lnTo>
                  <a:lnTo>
                    <a:pt x="237" y="95"/>
                  </a:lnTo>
                  <a:lnTo>
                    <a:pt x="237" y="87"/>
                  </a:lnTo>
                  <a:lnTo>
                    <a:pt x="231" y="76"/>
                  </a:lnTo>
                  <a:lnTo>
                    <a:pt x="226" y="70"/>
                  </a:lnTo>
                  <a:lnTo>
                    <a:pt x="217" y="70"/>
                  </a:lnTo>
                  <a:lnTo>
                    <a:pt x="188" y="65"/>
                  </a:lnTo>
                  <a:lnTo>
                    <a:pt x="190" y="51"/>
                  </a:lnTo>
                  <a:lnTo>
                    <a:pt x="198" y="35"/>
                  </a:lnTo>
                  <a:lnTo>
                    <a:pt x="204" y="24"/>
                  </a:lnTo>
                  <a:lnTo>
                    <a:pt x="212" y="19"/>
                  </a:lnTo>
                  <a:lnTo>
                    <a:pt x="217" y="13"/>
                  </a:lnTo>
                  <a:lnTo>
                    <a:pt x="223" y="13"/>
                  </a:lnTo>
                  <a:lnTo>
                    <a:pt x="228" y="13"/>
                  </a:lnTo>
                  <a:lnTo>
                    <a:pt x="239" y="16"/>
                  </a:lnTo>
                  <a:lnTo>
                    <a:pt x="245" y="19"/>
                  </a:lnTo>
                  <a:lnTo>
                    <a:pt x="253" y="27"/>
                  </a:lnTo>
                  <a:lnTo>
                    <a:pt x="258" y="35"/>
                  </a:lnTo>
                  <a:lnTo>
                    <a:pt x="264" y="49"/>
                  </a:lnTo>
                  <a:lnTo>
                    <a:pt x="266" y="65"/>
                  </a:lnTo>
                  <a:lnTo>
                    <a:pt x="269" y="87"/>
                  </a:lnTo>
                  <a:lnTo>
                    <a:pt x="272" y="95"/>
                  </a:lnTo>
                  <a:lnTo>
                    <a:pt x="269" y="119"/>
                  </a:lnTo>
                  <a:close/>
                  <a:moveTo>
                    <a:pt x="185" y="89"/>
                  </a:moveTo>
                  <a:lnTo>
                    <a:pt x="185" y="73"/>
                  </a:lnTo>
                  <a:lnTo>
                    <a:pt x="220" y="79"/>
                  </a:lnTo>
                  <a:lnTo>
                    <a:pt x="223" y="81"/>
                  </a:lnTo>
                  <a:lnTo>
                    <a:pt x="226" y="84"/>
                  </a:lnTo>
                  <a:lnTo>
                    <a:pt x="228" y="95"/>
                  </a:lnTo>
                  <a:lnTo>
                    <a:pt x="226" y="103"/>
                  </a:lnTo>
                  <a:lnTo>
                    <a:pt x="226" y="106"/>
                  </a:lnTo>
                  <a:lnTo>
                    <a:pt x="223" y="109"/>
                  </a:lnTo>
                  <a:lnTo>
                    <a:pt x="217" y="111"/>
                  </a:lnTo>
                  <a:lnTo>
                    <a:pt x="185" y="114"/>
                  </a:lnTo>
                  <a:lnTo>
                    <a:pt x="185" y="89"/>
                  </a:lnTo>
                  <a:close/>
                  <a:moveTo>
                    <a:pt x="152" y="136"/>
                  </a:moveTo>
                  <a:lnTo>
                    <a:pt x="133" y="130"/>
                  </a:lnTo>
                  <a:lnTo>
                    <a:pt x="117" y="130"/>
                  </a:lnTo>
                  <a:lnTo>
                    <a:pt x="111" y="130"/>
                  </a:lnTo>
                  <a:lnTo>
                    <a:pt x="106" y="122"/>
                  </a:lnTo>
                  <a:lnTo>
                    <a:pt x="103" y="114"/>
                  </a:lnTo>
                  <a:lnTo>
                    <a:pt x="101" y="98"/>
                  </a:lnTo>
                  <a:lnTo>
                    <a:pt x="101" y="92"/>
                  </a:lnTo>
                  <a:lnTo>
                    <a:pt x="101" y="79"/>
                  </a:lnTo>
                  <a:lnTo>
                    <a:pt x="106" y="68"/>
                  </a:lnTo>
                  <a:lnTo>
                    <a:pt x="109" y="62"/>
                  </a:lnTo>
                  <a:lnTo>
                    <a:pt x="111" y="60"/>
                  </a:lnTo>
                  <a:lnTo>
                    <a:pt x="128" y="57"/>
                  </a:lnTo>
                  <a:lnTo>
                    <a:pt x="147" y="54"/>
                  </a:lnTo>
                  <a:lnTo>
                    <a:pt x="174" y="43"/>
                  </a:lnTo>
                  <a:lnTo>
                    <a:pt x="179" y="41"/>
                  </a:lnTo>
                  <a:lnTo>
                    <a:pt x="174" y="65"/>
                  </a:lnTo>
                  <a:lnTo>
                    <a:pt x="171" y="95"/>
                  </a:lnTo>
                  <a:lnTo>
                    <a:pt x="174" y="125"/>
                  </a:lnTo>
                  <a:lnTo>
                    <a:pt x="179" y="141"/>
                  </a:lnTo>
                  <a:lnTo>
                    <a:pt x="179" y="147"/>
                  </a:lnTo>
                  <a:lnTo>
                    <a:pt x="152" y="136"/>
                  </a:lnTo>
                  <a:close/>
                  <a:moveTo>
                    <a:pt x="90" y="225"/>
                  </a:moveTo>
                  <a:lnTo>
                    <a:pt x="60" y="141"/>
                  </a:lnTo>
                  <a:lnTo>
                    <a:pt x="98" y="141"/>
                  </a:lnTo>
                  <a:lnTo>
                    <a:pt x="109" y="217"/>
                  </a:lnTo>
                  <a:lnTo>
                    <a:pt x="90" y="225"/>
                  </a:lnTo>
                  <a:close/>
                  <a:moveTo>
                    <a:pt x="35" y="128"/>
                  </a:moveTo>
                  <a:lnTo>
                    <a:pt x="30" y="125"/>
                  </a:lnTo>
                  <a:lnTo>
                    <a:pt x="24" y="119"/>
                  </a:lnTo>
                  <a:lnTo>
                    <a:pt x="16" y="109"/>
                  </a:lnTo>
                  <a:lnTo>
                    <a:pt x="11" y="98"/>
                  </a:lnTo>
                  <a:lnTo>
                    <a:pt x="11" y="92"/>
                  </a:lnTo>
                  <a:lnTo>
                    <a:pt x="14" y="84"/>
                  </a:lnTo>
                  <a:lnTo>
                    <a:pt x="19" y="73"/>
                  </a:lnTo>
                  <a:lnTo>
                    <a:pt x="27" y="62"/>
                  </a:lnTo>
                  <a:lnTo>
                    <a:pt x="35" y="60"/>
                  </a:lnTo>
                  <a:lnTo>
                    <a:pt x="41" y="60"/>
                  </a:lnTo>
                  <a:lnTo>
                    <a:pt x="95" y="60"/>
                  </a:lnTo>
                  <a:lnTo>
                    <a:pt x="90" y="79"/>
                  </a:lnTo>
                  <a:lnTo>
                    <a:pt x="87" y="95"/>
                  </a:lnTo>
                  <a:lnTo>
                    <a:pt x="90" y="111"/>
                  </a:lnTo>
                  <a:lnTo>
                    <a:pt x="92" y="125"/>
                  </a:lnTo>
                  <a:lnTo>
                    <a:pt x="95" y="130"/>
                  </a:lnTo>
                  <a:lnTo>
                    <a:pt x="35" y="128"/>
                  </a:lnTo>
                  <a:close/>
                  <a:moveTo>
                    <a:pt x="283" y="100"/>
                  </a:moveTo>
                  <a:lnTo>
                    <a:pt x="283" y="95"/>
                  </a:lnTo>
                  <a:lnTo>
                    <a:pt x="283" y="76"/>
                  </a:lnTo>
                  <a:lnTo>
                    <a:pt x="280" y="57"/>
                  </a:lnTo>
                  <a:lnTo>
                    <a:pt x="272" y="38"/>
                  </a:lnTo>
                  <a:lnTo>
                    <a:pt x="264" y="22"/>
                  </a:lnTo>
                  <a:lnTo>
                    <a:pt x="253" y="11"/>
                  </a:lnTo>
                  <a:lnTo>
                    <a:pt x="245" y="2"/>
                  </a:lnTo>
                  <a:lnTo>
                    <a:pt x="237" y="0"/>
                  </a:lnTo>
                  <a:lnTo>
                    <a:pt x="228" y="0"/>
                  </a:lnTo>
                  <a:lnTo>
                    <a:pt x="217" y="2"/>
                  </a:lnTo>
                  <a:lnTo>
                    <a:pt x="212" y="2"/>
                  </a:lnTo>
                  <a:lnTo>
                    <a:pt x="204" y="8"/>
                  </a:lnTo>
                  <a:lnTo>
                    <a:pt x="198" y="13"/>
                  </a:lnTo>
                  <a:lnTo>
                    <a:pt x="193" y="19"/>
                  </a:lnTo>
                  <a:lnTo>
                    <a:pt x="190" y="22"/>
                  </a:lnTo>
                  <a:lnTo>
                    <a:pt x="171" y="32"/>
                  </a:lnTo>
                  <a:lnTo>
                    <a:pt x="155" y="38"/>
                  </a:lnTo>
                  <a:lnTo>
                    <a:pt x="141" y="41"/>
                  </a:lnTo>
                  <a:lnTo>
                    <a:pt x="122" y="46"/>
                  </a:lnTo>
                  <a:lnTo>
                    <a:pt x="109" y="46"/>
                  </a:lnTo>
                  <a:lnTo>
                    <a:pt x="33" y="46"/>
                  </a:lnTo>
                  <a:lnTo>
                    <a:pt x="27" y="49"/>
                  </a:lnTo>
                  <a:lnTo>
                    <a:pt x="19" y="54"/>
                  </a:lnTo>
                  <a:lnTo>
                    <a:pt x="11" y="60"/>
                  </a:lnTo>
                  <a:lnTo>
                    <a:pt x="3" y="73"/>
                  </a:lnTo>
                  <a:lnTo>
                    <a:pt x="0" y="87"/>
                  </a:lnTo>
                  <a:lnTo>
                    <a:pt x="0" y="95"/>
                  </a:lnTo>
                  <a:lnTo>
                    <a:pt x="3" y="109"/>
                  </a:lnTo>
                  <a:lnTo>
                    <a:pt x="5" y="117"/>
                  </a:lnTo>
                  <a:lnTo>
                    <a:pt x="14" y="128"/>
                  </a:lnTo>
                  <a:lnTo>
                    <a:pt x="19" y="133"/>
                  </a:lnTo>
                  <a:lnTo>
                    <a:pt x="24" y="138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82" y="236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7" y="239"/>
                  </a:lnTo>
                  <a:lnTo>
                    <a:pt x="120" y="225"/>
                  </a:lnTo>
                  <a:lnTo>
                    <a:pt x="122" y="223"/>
                  </a:lnTo>
                  <a:lnTo>
                    <a:pt x="122" y="220"/>
                  </a:lnTo>
                  <a:lnTo>
                    <a:pt x="111" y="141"/>
                  </a:lnTo>
                  <a:lnTo>
                    <a:pt x="128" y="144"/>
                  </a:lnTo>
                  <a:lnTo>
                    <a:pt x="144" y="147"/>
                  </a:lnTo>
                  <a:lnTo>
                    <a:pt x="163" y="152"/>
                  </a:lnTo>
                  <a:lnTo>
                    <a:pt x="182" y="160"/>
                  </a:lnTo>
                  <a:lnTo>
                    <a:pt x="190" y="166"/>
                  </a:lnTo>
                  <a:lnTo>
                    <a:pt x="196" y="174"/>
                  </a:lnTo>
                  <a:lnTo>
                    <a:pt x="204" y="179"/>
                  </a:lnTo>
                  <a:lnTo>
                    <a:pt x="209" y="185"/>
                  </a:lnTo>
                  <a:lnTo>
                    <a:pt x="223" y="187"/>
                  </a:lnTo>
                  <a:lnTo>
                    <a:pt x="228" y="187"/>
                  </a:lnTo>
                  <a:lnTo>
                    <a:pt x="239" y="187"/>
                  </a:lnTo>
                  <a:lnTo>
                    <a:pt x="250" y="182"/>
                  </a:lnTo>
                  <a:lnTo>
                    <a:pt x="258" y="174"/>
                  </a:lnTo>
                  <a:lnTo>
                    <a:pt x="266" y="160"/>
                  </a:lnTo>
                  <a:lnTo>
                    <a:pt x="272" y="149"/>
                  </a:lnTo>
                  <a:lnTo>
                    <a:pt x="277" y="136"/>
                  </a:lnTo>
                  <a:lnTo>
                    <a:pt x="283" y="119"/>
                  </a:lnTo>
                  <a:lnTo>
                    <a:pt x="283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60">
            <a:extLst>
              <a:ext uri="{FF2B5EF4-FFF2-40B4-BE49-F238E27FC236}">
                <a16:creationId xmlns:a16="http://schemas.microsoft.com/office/drawing/2014/main" id="{4EF9EA74-5EC1-473A-9369-C9779A53AB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060" y="1578012"/>
            <a:ext cx="758825" cy="758825"/>
            <a:chOff x="1029" y="1198"/>
            <a:chExt cx="478" cy="478"/>
          </a:xfrm>
        </p:grpSpPr>
        <p:sp>
          <p:nvSpPr>
            <p:cNvPr id="72" name="AutoShape 59">
              <a:extLst>
                <a:ext uri="{FF2B5EF4-FFF2-40B4-BE49-F238E27FC236}">
                  <a16:creationId xmlns:a16="http://schemas.microsoft.com/office/drawing/2014/main" id="{C71D1CDC-E72A-4466-BF36-FB9BE9BCB9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29" y="119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491A86D2-D7A9-43F9-9622-69F7AB292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" y="120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C9A98E3D-2802-4D99-8E10-669C72051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" y="1289"/>
              <a:ext cx="290" cy="279"/>
            </a:xfrm>
            <a:custGeom>
              <a:avLst/>
              <a:gdLst>
                <a:gd name="T0" fmla="*/ 95 w 118"/>
                <a:gd name="T1" fmla="*/ 106 h 114"/>
                <a:gd name="T2" fmla="*/ 104 w 118"/>
                <a:gd name="T3" fmla="*/ 90 h 114"/>
                <a:gd name="T4" fmla="*/ 110 w 118"/>
                <a:gd name="T5" fmla="*/ 85 h 114"/>
                <a:gd name="T6" fmla="*/ 85 w 118"/>
                <a:gd name="T7" fmla="*/ 111 h 114"/>
                <a:gd name="T8" fmla="*/ 113 w 118"/>
                <a:gd name="T9" fmla="*/ 83 h 114"/>
                <a:gd name="T10" fmla="*/ 92 w 118"/>
                <a:gd name="T11" fmla="*/ 58 h 114"/>
                <a:gd name="T12" fmla="*/ 74 w 118"/>
                <a:gd name="T13" fmla="*/ 41 h 114"/>
                <a:gd name="T14" fmla="*/ 82 w 118"/>
                <a:gd name="T15" fmla="*/ 47 h 114"/>
                <a:gd name="T16" fmla="*/ 112 w 118"/>
                <a:gd name="T17" fmla="*/ 15 h 114"/>
                <a:gd name="T18" fmla="*/ 65 w 118"/>
                <a:gd name="T19" fmla="*/ 30 h 114"/>
                <a:gd name="T20" fmla="*/ 71 w 118"/>
                <a:gd name="T21" fmla="*/ 38 h 114"/>
                <a:gd name="T22" fmla="*/ 48 w 118"/>
                <a:gd name="T23" fmla="*/ 24 h 114"/>
                <a:gd name="T24" fmla="*/ 39 w 118"/>
                <a:gd name="T25" fmla="*/ 22 h 114"/>
                <a:gd name="T26" fmla="*/ 27 w 118"/>
                <a:gd name="T27" fmla="*/ 45 h 114"/>
                <a:gd name="T28" fmla="*/ 24 w 118"/>
                <a:gd name="T29" fmla="*/ 49 h 114"/>
                <a:gd name="T30" fmla="*/ 33 w 118"/>
                <a:gd name="T31" fmla="*/ 64 h 114"/>
                <a:gd name="T32" fmla="*/ 1 w 118"/>
                <a:gd name="T33" fmla="*/ 93 h 114"/>
                <a:gd name="T34" fmla="*/ 15 w 118"/>
                <a:gd name="T35" fmla="*/ 110 h 114"/>
                <a:gd name="T36" fmla="*/ 48 w 118"/>
                <a:gd name="T37" fmla="*/ 81 h 114"/>
                <a:gd name="T38" fmla="*/ 45 w 118"/>
                <a:gd name="T39" fmla="*/ 69 h 114"/>
                <a:gd name="T40" fmla="*/ 68 w 118"/>
                <a:gd name="T41" fmla="*/ 114 h 114"/>
                <a:gd name="T42" fmla="*/ 115 w 118"/>
                <a:gd name="T43" fmla="*/ 70 h 114"/>
                <a:gd name="T44" fmla="*/ 96 w 118"/>
                <a:gd name="T45" fmla="*/ 4 h 114"/>
                <a:gd name="T46" fmla="*/ 69 w 118"/>
                <a:gd name="T47" fmla="*/ 31 h 114"/>
                <a:gd name="T48" fmla="*/ 4 w 118"/>
                <a:gd name="T49" fmla="*/ 95 h 114"/>
                <a:gd name="T50" fmla="*/ 26 w 118"/>
                <a:gd name="T51" fmla="*/ 39 h 114"/>
                <a:gd name="T52" fmla="*/ 29 w 118"/>
                <a:gd name="T53" fmla="*/ 42 h 114"/>
                <a:gd name="T54" fmla="*/ 60 w 118"/>
                <a:gd name="T55" fmla="*/ 80 h 114"/>
                <a:gd name="T56" fmla="*/ 38 w 118"/>
                <a:gd name="T57" fmla="*/ 38 h 114"/>
                <a:gd name="T58" fmla="*/ 80 w 118"/>
                <a:gd name="T59" fmla="*/ 60 h 114"/>
                <a:gd name="T60" fmla="*/ 76 w 118"/>
                <a:gd name="T61" fmla="*/ 62 h 114"/>
                <a:gd name="T62" fmla="*/ 71 w 118"/>
                <a:gd name="T63" fmla="*/ 65 h 114"/>
                <a:gd name="T64" fmla="*/ 66 w 118"/>
                <a:gd name="T65" fmla="*/ 69 h 114"/>
                <a:gd name="T66" fmla="*/ 64 w 118"/>
                <a:gd name="T67" fmla="*/ 73 h 114"/>
                <a:gd name="T68" fmla="*/ 61 w 118"/>
                <a:gd name="T69" fmla="*/ 77 h 114"/>
                <a:gd name="T70" fmla="*/ 62 w 118"/>
                <a:gd name="T71" fmla="*/ 90 h 114"/>
                <a:gd name="T72" fmla="*/ 64 w 118"/>
                <a:gd name="T73" fmla="*/ 79 h 114"/>
                <a:gd name="T74" fmla="*/ 66 w 118"/>
                <a:gd name="T75" fmla="*/ 76 h 114"/>
                <a:gd name="T76" fmla="*/ 69 w 118"/>
                <a:gd name="T77" fmla="*/ 72 h 114"/>
                <a:gd name="T78" fmla="*/ 73 w 118"/>
                <a:gd name="T79" fmla="*/ 68 h 114"/>
                <a:gd name="T80" fmla="*/ 75 w 118"/>
                <a:gd name="T81" fmla="*/ 66 h 114"/>
                <a:gd name="T82" fmla="*/ 80 w 118"/>
                <a:gd name="T83" fmla="*/ 64 h 114"/>
                <a:gd name="T84" fmla="*/ 84 w 118"/>
                <a:gd name="T85" fmla="*/ 62 h 114"/>
                <a:gd name="T86" fmla="*/ 70 w 118"/>
                <a:gd name="T87" fmla="*/ 11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14">
                  <a:moveTo>
                    <a:pt x="92" y="102"/>
                  </a:moveTo>
                  <a:cubicBezTo>
                    <a:pt x="91" y="105"/>
                    <a:pt x="91" y="105"/>
                    <a:pt x="91" y="105"/>
                  </a:cubicBezTo>
                  <a:cubicBezTo>
                    <a:pt x="92" y="106"/>
                    <a:pt x="94" y="106"/>
                    <a:pt x="95" y="106"/>
                  </a:cubicBezTo>
                  <a:cubicBezTo>
                    <a:pt x="98" y="106"/>
                    <a:pt x="102" y="105"/>
                    <a:pt x="104" y="102"/>
                  </a:cubicBezTo>
                  <a:cubicBezTo>
                    <a:pt x="107" y="99"/>
                    <a:pt x="109" y="94"/>
                    <a:pt x="107" y="89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5" y="94"/>
                    <a:pt x="104" y="97"/>
                    <a:pt x="102" y="100"/>
                  </a:cubicBezTo>
                  <a:cubicBezTo>
                    <a:pt x="99" y="103"/>
                    <a:pt x="95" y="103"/>
                    <a:pt x="92" y="102"/>
                  </a:cubicBezTo>
                  <a:moveTo>
                    <a:pt x="110" y="85"/>
                  </a:moveTo>
                  <a:cubicBezTo>
                    <a:pt x="114" y="92"/>
                    <a:pt x="113" y="100"/>
                    <a:pt x="107" y="106"/>
                  </a:cubicBezTo>
                  <a:cubicBezTo>
                    <a:pt x="102" y="111"/>
                    <a:pt x="93" y="112"/>
                    <a:pt x="86" y="108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8" y="113"/>
                    <a:pt x="91" y="114"/>
                    <a:pt x="95" y="114"/>
                  </a:cubicBezTo>
                  <a:cubicBezTo>
                    <a:pt x="100" y="114"/>
                    <a:pt x="106" y="112"/>
                    <a:pt x="110" y="108"/>
                  </a:cubicBezTo>
                  <a:cubicBezTo>
                    <a:pt x="116" y="101"/>
                    <a:pt x="118" y="91"/>
                    <a:pt x="113" y="83"/>
                  </a:cubicBezTo>
                  <a:lnTo>
                    <a:pt x="110" y="85"/>
                  </a:lnTo>
                  <a:close/>
                  <a:moveTo>
                    <a:pt x="115" y="67"/>
                  </a:moveTo>
                  <a:cubicBezTo>
                    <a:pt x="109" y="61"/>
                    <a:pt x="101" y="58"/>
                    <a:pt x="92" y="58"/>
                  </a:cubicBezTo>
                  <a:cubicBezTo>
                    <a:pt x="90" y="58"/>
                    <a:pt x="87" y="58"/>
                    <a:pt x="85" y="58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3" y="17"/>
                    <a:pt x="113" y="17"/>
                    <a:pt x="113" y="16"/>
                  </a:cubicBezTo>
                  <a:cubicBezTo>
                    <a:pt x="113" y="16"/>
                    <a:pt x="113" y="15"/>
                    <a:pt x="112" y="15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6" y="0"/>
                    <a:pt x="95" y="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5" y="30"/>
                    <a:pt x="65" y="31"/>
                  </a:cubicBezTo>
                  <a:cubicBezTo>
                    <a:pt x="65" y="31"/>
                    <a:pt x="65" y="32"/>
                    <a:pt x="65" y="3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9" y="23"/>
                    <a:pt x="48" y="23"/>
                    <a:pt x="48" y="24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0" y="22"/>
                    <a:pt x="39" y="22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2" y="39"/>
                    <a:pt x="22" y="40"/>
                    <a:pt x="23" y="41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8"/>
                  </a:cubicBezTo>
                  <a:cubicBezTo>
                    <a:pt x="24" y="48"/>
                    <a:pt x="24" y="49"/>
                    <a:pt x="24" y="49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2" y="64"/>
                    <a:pt x="32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4"/>
                    <a:pt x="0" y="94"/>
                    <a:pt x="0" y="95"/>
                  </a:cubicBezTo>
                  <a:cubicBezTo>
                    <a:pt x="0" y="95"/>
                    <a:pt x="0" y="95"/>
                    <a:pt x="1" y="96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7" y="111"/>
                    <a:pt x="17" y="111"/>
                    <a:pt x="18" y="11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0"/>
                    <a:pt x="48" y="79"/>
                    <a:pt x="48" y="79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6"/>
                    <a:pt x="59" y="88"/>
                    <a:pt x="59" y="90"/>
                  </a:cubicBezTo>
                  <a:cubicBezTo>
                    <a:pt x="59" y="99"/>
                    <a:pt x="62" y="107"/>
                    <a:pt x="68" y="114"/>
                  </a:cubicBezTo>
                  <a:cubicBezTo>
                    <a:pt x="69" y="114"/>
                    <a:pt x="69" y="114"/>
                    <a:pt x="70" y="114"/>
                  </a:cubicBezTo>
                  <a:cubicBezTo>
                    <a:pt x="70" y="114"/>
                    <a:pt x="70" y="114"/>
                    <a:pt x="71" y="114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69"/>
                    <a:pt x="116" y="68"/>
                    <a:pt x="115" y="67"/>
                  </a:cubicBezTo>
                  <a:moveTo>
                    <a:pt x="69" y="31"/>
                  </a:moveTo>
                  <a:cubicBezTo>
                    <a:pt x="96" y="4"/>
                    <a:pt x="96" y="4"/>
                    <a:pt x="96" y="4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81" y="43"/>
                    <a:pt x="81" y="43"/>
                    <a:pt x="81" y="43"/>
                  </a:cubicBezTo>
                  <a:lnTo>
                    <a:pt x="69" y="31"/>
                  </a:lnTo>
                  <a:close/>
                  <a:moveTo>
                    <a:pt x="44" y="80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31" y="68"/>
                    <a:pt x="31" y="68"/>
                    <a:pt x="31" y="68"/>
                  </a:cubicBezTo>
                  <a:lnTo>
                    <a:pt x="44" y="80"/>
                  </a:lnTo>
                  <a:close/>
                  <a:moveTo>
                    <a:pt x="26" y="39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29" y="42"/>
                    <a:pt x="29" y="42"/>
                    <a:pt x="29" y="42"/>
                  </a:cubicBezTo>
                  <a:lnTo>
                    <a:pt x="26" y="39"/>
                  </a:lnTo>
                  <a:close/>
                  <a:moveTo>
                    <a:pt x="61" y="78"/>
                  </a:moveTo>
                  <a:cubicBezTo>
                    <a:pt x="61" y="79"/>
                    <a:pt x="61" y="79"/>
                    <a:pt x="60" y="80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60"/>
                    <a:pt x="80" y="60"/>
                    <a:pt x="80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8" y="61"/>
                    <a:pt x="77" y="61"/>
                    <a:pt x="77" y="61"/>
                  </a:cubicBezTo>
                  <a:cubicBezTo>
                    <a:pt x="77" y="61"/>
                    <a:pt x="76" y="61"/>
                    <a:pt x="76" y="62"/>
                  </a:cubicBezTo>
                  <a:cubicBezTo>
                    <a:pt x="75" y="62"/>
                    <a:pt x="75" y="62"/>
                    <a:pt x="74" y="63"/>
                  </a:cubicBezTo>
                  <a:cubicBezTo>
                    <a:pt x="74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0" y="66"/>
                    <a:pt x="69" y="67"/>
                    <a:pt x="68" y="67"/>
                  </a:cubicBezTo>
                  <a:cubicBezTo>
                    <a:pt x="68" y="68"/>
                    <a:pt x="67" y="69"/>
                    <a:pt x="66" y="69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5" y="71"/>
                    <a:pt x="65" y="71"/>
                    <a:pt x="65" y="72"/>
                  </a:cubicBezTo>
                  <a:cubicBezTo>
                    <a:pt x="64" y="72"/>
                    <a:pt x="64" y="72"/>
                    <a:pt x="64" y="73"/>
                  </a:cubicBezTo>
                  <a:cubicBezTo>
                    <a:pt x="64" y="73"/>
                    <a:pt x="63" y="74"/>
                    <a:pt x="63" y="75"/>
                  </a:cubicBezTo>
                  <a:cubicBezTo>
                    <a:pt x="63" y="75"/>
                    <a:pt x="62" y="75"/>
                    <a:pt x="62" y="76"/>
                  </a:cubicBezTo>
                  <a:cubicBezTo>
                    <a:pt x="62" y="76"/>
                    <a:pt x="62" y="77"/>
                    <a:pt x="61" y="77"/>
                  </a:cubicBezTo>
                  <a:cubicBezTo>
                    <a:pt x="61" y="78"/>
                    <a:pt x="61" y="78"/>
                    <a:pt x="61" y="78"/>
                  </a:cubicBezTo>
                  <a:moveTo>
                    <a:pt x="70" y="110"/>
                  </a:moveTo>
                  <a:cubicBezTo>
                    <a:pt x="65" y="105"/>
                    <a:pt x="62" y="98"/>
                    <a:pt x="62" y="90"/>
                  </a:cubicBezTo>
                  <a:cubicBezTo>
                    <a:pt x="62" y="88"/>
                    <a:pt x="62" y="85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4" y="81"/>
                    <a:pt x="64" y="80"/>
                    <a:pt x="64" y="79"/>
                  </a:cubicBezTo>
                  <a:cubicBezTo>
                    <a:pt x="64" y="79"/>
                    <a:pt x="64" y="79"/>
                    <a:pt x="65" y="79"/>
                  </a:cubicBezTo>
                  <a:cubicBezTo>
                    <a:pt x="65" y="78"/>
                    <a:pt x="65" y="78"/>
                    <a:pt x="65" y="77"/>
                  </a:cubicBezTo>
                  <a:cubicBezTo>
                    <a:pt x="65" y="77"/>
                    <a:pt x="66" y="77"/>
                    <a:pt x="66" y="76"/>
                  </a:cubicBezTo>
                  <a:cubicBezTo>
                    <a:pt x="66" y="76"/>
                    <a:pt x="66" y="75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8" y="73"/>
                    <a:pt x="68" y="73"/>
                    <a:pt x="69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70" y="71"/>
                    <a:pt x="70" y="70"/>
                    <a:pt x="71" y="70"/>
                  </a:cubicBezTo>
                  <a:cubicBezTo>
                    <a:pt x="71" y="69"/>
                    <a:pt x="72" y="68"/>
                    <a:pt x="73" y="68"/>
                  </a:cubicBezTo>
                  <a:cubicBezTo>
                    <a:pt x="73" y="68"/>
                    <a:pt x="73" y="68"/>
                    <a:pt x="73" y="67"/>
                  </a:cubicBezTo>
                  <a:cubicBezTo>
                    <a:pt x="74" y="67"/>
                    <a:pt x="74" y="67"/>
                    <a:pt x="75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6" y="65"/>
                    <a:pt x="77" y="65"/>
                    <a:pt x="77" y="65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9" y="64"/>
                    <a:pt x="79" y="64"/>
                    <a:pt x="80" y="64"/>
                  </a:cubicBezTo>
                  <a:cubicBezTo>
                    <a:pt x="80" y="63"/>
                    <a:pt x="80" y="63"/>
                    <a:pt x="81" y="63"/>
                  </a:cubicBezTo>
                  <a:cubicBezTo>
                    <a:pt x="81" y="63"/>
                    <a:pt x="82" y="63"/>
                    <a:pt x="83" y="62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7" y="61"/>
                    <a:pt x="89" y="61"/>
                    <a:pt x="92" y="61"/>
                  </a:cubicBezTo>
                  <a:cubicBezTo>
                    <a:pt x="99" y="61"/>
                    <a:pt x="106" y="64"/>
                    <a:pt x="112" y="68"/>
                  </a:cubicBezTo>
                  <a:lnTo>
                    <a:pt x="70" y="1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65">
            <a:extLst>
              <a:ext uri="{FF2B5EF4-FFF2-40B4-BE49-F238E27FC236}">
                <a16:creationId xmlns:a16="http://schemas.microsoft.com/office/drawing/2014/main" id="{88DB5599-5CF6-4AE8-90E3-88DBDE7B4E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1536737"/>
            <a:ext cx="841375" cy="841375"/>
            <a:chOff x="269" y="969"/>
            <a:chExt cx="530" cy="530"/>
          </a:xfrm>
        </p:grpSpPr>
        <p:sp>
          <p:nvSpPr>
            <p:cNvPr id="76" name="AutoShape 64">
              <a:extLst>
                <a:ext uri="{FF2B5EF4-FFF2-40B4-BE49-F238E27FC236}">
                  <a16:creationId xmlns:a16="http://schemas.microsoft.com/office/drawing/2014/main" id="{CF629A8E-ACA4-4A39-A880-C6D25A4BB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9" y="9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6">
              <a:extLst>
                <a:ext uri="{FF2B5EF4-FFF2-40B4-BE49-F238E27FC236}">
                  <a16:creationId xmlns:a16="http://schemas.microsoft.com/office/drawing/2014/main" id="{DAD810DE-725C-40A8-A5C5-EE4726EC0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" y="972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7">
              <a:extLst>
                <a:ext uri="{FF2B5EF4-FFF2-40B4-BE49-F238E27FC236}">
                  <a16:creationId xmlns:a16="http://schemas.microsoft.com/office/drawing/2014/main" id="{2203FB1D-B2F7-4B2A-8BF2-A925CD2D9F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" y="988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8">
              <a:extLst>
                <a:ext uri="{FF2B5EF4-FFF2-40B4-BE49-F238E27FC236}">
                  <a16:creationId xmlns:a16="http://schemas.microsoft.com/office/drawing/2014/main" id="{0CD44A95-1A16-488B-9C4E-2E3B84528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" y="1080"/>
              <a:ext cx="299" cy="291"/>
            </a:xfrm>
            <a:custGeom>
              <a:avLst/>
              <a:gdLst>
                <a:gd name="T0" fmla="*/ 89 w 110"/>
                <a:gd name="T1" fmla="*/ 99 h 107"/>
                <a:gd name="T2" fmla="*/ 97 w 110"/>
                <a:gd name="T3" fmla="*/ 84 h 107"/>
                <a:gd name="T4" fmla="*/ 103 w 110"/>
                <a:gd name="T5" fmla="*/ 79 h 107"/>
                <a:gd name="T6" fmla="*/ 79 w 110"/>
                <a:gd name="T7" fmla="*/ 104 h 107"/>
                <a:gd name="T8" fmla="*/ 106 w 110"/>
                <a:gd name="T9" fmla="*/ 78 h 107"/>
                <a:gd name="T10" fmla="*/ 86 w 110"/>
                <a:gd name="T11" fmla="*/ 54 h 107"/>
                <a:gd name="T12" fmla="*/ 69 w 110"/>
                <a:gd name="T13" fmla="*/ 38 h 107"/>
                <a:gd name="T14" fmla="*/ 77 w 110"/>
                <a:gd name="T15" fmla="*/ 44 h 107"/>
                <a:gd name="T16" fmla="*/ 105 w 110"/>
                <a:gd name="T17" fmla="*/ 14 h 107"/>
                <a:gd name="T18" fmla="*/ 61 w 110"/>
                <a:gd name="T19" fmla="*/ 28 h 107"/>
                <a:gd name="T20" fmla="*/ 67 w 110"/>
                <a:gd name="T21" fmla="*/ 36 h 107"/>
                <a:gd name="T22" fmla="*/ 44 w 110"/>
                <a:gd name="T23" fmla="*/ 22 h 107"/>
                <a:gd name="T24" fmla="*/ 36 w 110"/>
                <a:gd name="T25" fmla="*/ 21 h 107"/>
                <a:gd name="T26" fmla="*/ 25 w 110"/>
                <a:gd name="T27" fmla="*/ 42 h 107"/>
                <a:gd name="T28" fmla="*/ 23 w 110"/>
                <a:gd name="T29" fmla="*/ 46 h 107"/>
                <a:gd name="T30" fmla="*/ 31 w 110"/>
                <a:gd name="T31" fmla="*/ 60 h 107"/>
                <a:gd name="T32" fmla="*/ 1 w 110"/>
                <a:gd name="T33" fmla="*/ 87 h 107"/>
                <a:gd name="T34" fmla="*/ 14 w 110"/>
                <a:gd name="T35" fmla="*/ 103 h 107"/>
                <a:gd name="T36" fmla="*/ 44 w 110"/>
                <a:gd name="T37" fmla="*/ 76 h 107"/>
                <a:gd name="T38" fmla="*/ 42 w 110"/>
                <a:gd name="T39" fmla="*/ 65 h 107"/>
                <a:gd name="T40" fmla="*/ 64 w 110"/>
                <a:gd name="T41" fmla="*/ 106 h 107"/>
                <a:gd name="T42" fmla="*/ 108 w 110"/>
                <a:gd name="T43" fmla="*/ 65 h 107"/>
                <a:gd name="T44" fmla="*/ 90 w 110"/>
                <a:gd name="T45" fmla="*/ 4 h 107"/>
                <a:gd name="T46" fmla="*/ 64 w 110"/>
                <a:gd name="T47" fmla="*/ 29 h 107"/>
                <a:gd name="T48" fmla="*/ 4 w 110"/>
                <a:gd name="T49" fmla="*/ 88 h 107"/>
                <a:gd name="T50" fmla="*/ 25 w 110"/>
                <a:gd name="T51" fmla="*/ 37 h 107"/>
                <a:gd name="T52" fmla="*/ 27 w 110"/>
                <a:gd name="T53" fmla="*/ 39 h 107"/>
                <a:gd name="T54" fmla="*/ 57 w 110"/>
                <a:gd name="T55" fmla="*/ 75 h 107"/>
                <a:gd name="T56" fmla="*/ 36 w 110"/>
                <a:gd name="T57" fmla="*/ 35 h 107"/>
                <a:gd name="T58" fmla="*/ 74 w 110"/>
                <a:gd name="T59" fmla="*/ 56 h 107"/>
                <a:gd name="T60" fmla="*/ 71 w 110"/>
                <a:gd name="T61" fmla="*/ 58 h 107"/>
                <a:gd name="T62" fmla="*/ 66 w 110"/>
                <a:gd name="T63" fmla="*/ 61 h 107"/>
                <a:gd name="T64" fmla="*/ 62 w 110"/>
                <a:gd name="T65" fmla="*/ 65 h 107"/>
                <a:gd name="T66" fmla="*/ 60 w 110"/>
                <a:gd name="T67" fmla="*/ 68 h 107"/>
                <a:gd name="T68" fmla="*/ 57 w 110"/>
                <a:gd name="T69" fmla="*/ 72 h 107"/>
                <a:gd name="T70" fmla="*/ 58 w 110"/>
                <a:gd name="T71" fmla="*/ 84 h 107"/>
                <a:gd name="T72" fmla="*/ 60 w 110"/>
                <a:gd name="T73" fmla="*/ 74 h 107"/>
                <a:gd name="T74" fmla="*/ 61 w 110"/>
                <a:gd name="T75" fmla="*/ 71 h 107"/>
                <a:gd name="T76" fmla="*/ 64 w 110"/>
                <a:gd name="T77" fmla="*/ 67 h 107"/>
                <a:gd name="T78" fmla="*/ 68 w 110"/>
                <a:gd name="T79" fmla="*/ 63 h 107"/>
                <a:gd name="T80" fmla="*/ 71 w 110"/>
                <a:gd name="T81" fmla="*/ 62 h 107"/>
                <a:gd name="T82" fmla="*/ 75 w 110"/>
                <a:gd name="T83" fmla="*/ 59 h 107"/>
                <a:gd name="T84" fmla="*/ 78 w 110"/>
                <a:gd name="T85" fmla="*/ 58 h 107"/>
                <a:gd name="T86" fmla="*/ 65 w 110"/>
                <a:gd name="T87" fmla="*/ 10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0" h="107">
                  <a:moveTo>
                    <a:pt x="86" y="96"/>
                  </a:moveTo>
                  <a:cubicBezTo>
                    <a:pt x="85" y="99"/>
                    <a:pt x="85" y="99"/>
                    <a:pt x="85" y="99"/>
                  </a:cubicBezTo>
                  <a:cubicBezTo>
                    <a:pt x="86" y="99"/>
                    <a:pt x="87" y="99"/>
                    <a:pt x="89" y="99"/>
                  </a:cubicBezTo>
                  <a:cubicBezTo>
                    <a:pt x="92" y="99"/>
                    <a:pt x="95" y="98"/>
                    <a:pt x="97" y="96"/>
                  </a:cubicBezTo>
                  <a:cubicBezTo>
                    <a:pt x="100" y="92"/>
                    <a:pt x="102" y="88"/>
                    <a:pt x="100" y="84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8" y="88"/>
                    <a:pt x="97" y="91"/>
                    <a:pt x="95" y="93"/>
                  </a:cubicBezTo>
                  <a:cubicBezTo>
                    <a:pt x="93" y="96"/>
                    <a:pt x="89" y="97"/>
                    <a:pt x="86" y="96"/>
                  </a:cubicBezTo>
                  <a:moveTo>
                    <a:pt x="103" y="79"/>
                  </a:moveTo>
                  <a:cubicBezTo>
                    <a:pt x="106" y="86"/>
                    <a:pt x="105" y="93"/>
                    <a:pt x="100" y="99"/>
                  </a:cubicBezTo>
                  <a:cubicBezTo>
                    <a:pt x="95" y="104"/>
                    <a:pt x="87" y="105"/>
                    <a:pt x="81" y="101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2" y="106"/>
                    <a:pt x="85" y="106"/>
                    <a:pt x="89" y="106"/>
                  </a:cubicBezTo>
                  <a:cubicBezTo>
                    <a:pt x="94" y="106"/>
                    <a:pt x="99" y="104"/>
                    <a:pt x="102" y="101"/>
                  </a:cubicBezTo>
                  <a:cubicBezTo>
                    <a:pt x="109" y="95"/>
                    <a:pt x="110" y="85"/>
                    <a:pt x="106" y="78"/>
                  </a:cubicBezTo>
                  <a:lnTo>
                    <a:pt x="103" y="79"/>
                  </a:lnTo>
                  <a:close/>
                  <a:moveTo>
                    <a:pt x="108" y="63"/>
                  </a:moveTo>
                  <a:cubicBezTo>
                    <a:pt x="102" y="57"/>
                    <a:pt x="94" y="54"/>
                    <a:pt x="86" y="54"/>
                  </a:cubicBezTo>
                  <a:cubicBezTo>
                    <a:pt x="84" y="54"/>
                    <a:pt x="82" y="54"/>
                    <a:pt x="79" y="55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6" y="44"/>
                    <a:pt x="76" y="44"/>
                  </a:cubicBezTo>
                  <a:cubicBezTo>
                    <a:pt x="76" y="44"/>
                    <a:pt x="77" y="44"/>
                    <a:pt x="77" y="44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5"/>
                  </a:cubicBezTo>
                  <a:cubicBezTo>
                    <a:pt x="105" y="15"/>
                    <a:pt x="105" y="14"/>
                    <a:pt x="105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0" y="0"/>
                    <a:pt x="89" y="0"/>
                    <a:pt x="89" y="0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60" y="28"/>
                    <a:pt x="60" y="29"/>
                  </a:cubicBezTo>
                  <a:cubicBezTo>
                    <a:pt x="60" y="29"/>
                    <a:pt x="61" y="30"/>
                    <a:pt x="61" y="30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6" y="22"/>
                    <a:pt x="45" y="22"/>
                    <a:pt x="44" y="22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0"/>
                    <a:pt x="37" y="20"/>
                    <a:pt x="36" y="2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2" y="44"/>
                    <a:pt x="22" y="45"/>
                  </a:cubicBezTo>
                  <a:cubicBezTo>
                    <a:pt x="22" y="45"/>
                    <a:pt x="23" y="46"/>
                    <a:pt x="23" y="46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60"/>
                    <a:pt x="30" y="59"/>
                    <a:pt x="29" y="59"/>
                  </a:cubicBezTo>
                  <a:cubicBezTo>
                    <a:pt x="29" y="59"/>
                    <a:pt x="29" y="60"/>
                    <a:pt x="28" y="60"/>
                  </a:cubicBezTo>
                  <a:cubicBezTo>
                    <a:pt x="1" y="87"/>
                    <a:pt x="1" y="87"/>
                    <a:pt x="1" y="8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9"/>
                    <a:pt x="0" y="89"/>
                    <a:pt x="1" y="89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5" y="103"/>
                    <a:pt x="15" y="104"/>
                    <a:pt x="16" y="104"/>
                  </a:cubicBezTo>
                  <a:cubicBezTo>
                    <a:pt x="16" y="104"/>
                    <a:pt x="16" y="103"/>
                    <a:pt x="17" y="103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5" y="75"/>
                    <a:pt x="45" y="74"/>
                    <a:pt x="44" y="74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5" y="80"/>
                    <a:pt x="55" y="82"/>
                    <a:pt x="55" y="84"/>
                  </a:cubicBezTo>
                  <a:cubicBezTo>
                    <a:pt x="55" y="93"/>
                    <a:pt x="58" y="100"/>
                    <a:pt x="64" y="106"/>
                  </a:cubicBezTo>
                  <a:cubicBezTo>
                    <a:pt x="64" y="106"/>
                    <a:pt x="65" y="107"/>
                    <a:pt x="65" y="107"/>
                  </a:cubicBezTo>
                  <a:cubicBezTo>
                    <a:pt x="65" y="107"/>
                    <a:pt x="66" y="106"/>
                    <a:pt x="66" y="106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9" y="64"/>
                    <a:pt x="109" y="63"/>
                    <a:pt x="108" y="63"/>
                  </a:cubicBezTo>
                  <a:moveTo>
                    <a:pt x="64" y="29"/>
                  </a:moveTo>
                  <a:cubicBezTo>
                    <a:pt x="90" y="4"/>
                    <a:pt x="90" y="4"/>
                    <a:pt x="90" y="4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76" y="40"/>
                    <a:pt x="76" y="40"/>
                    <a:pt x="76" y="40"/>
                  </a:cubicBezTo>
                  <a:lnTo>
                    <a:pt x="64" y="29"/>
                  </a:lnTo>
                  <a:close/>
                  <a:moveTo>
                    <a:pt x="41" y="75"/>
                  </a:moveTo>
                  <a:cubicBezTo>
                    <a:pt x="16" y="100"/>
                    <a:pt x="16" y="100"/>
                    <a:pt x="16" y="10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9" y="63"/>
                    <a:pt x="29" y="63"/>
                    <a:pt x="29" y="63"/>
                  </a:cubicBezTo>
                  <a:lnTo>
                    <a:pt x="41" y="75"/>
                  </a:lnTo>
                  <a:close/>
                  <a:moveTo>
                    <a:pt x="25" y="37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27" y="39"/>
                    <a:pt x="27" y="39"/>
                    <a:pt x="27" y="39"/>
                  </a:cubicBezTo>
                  <a:lnTo>
                    <a:pt x="25" y="37"/>
                  </a:lnTo>
                  <a:close/>
                  <a:moveTo>
                    <a:pt x="57" y="73"/>
                  </a:moveTo>
                  <a:cubicBezTo>
                    <a:pt x="57" y="74"/>
                    <a:pt x="57" y="74"/>
                    <a:pt x="57" y="7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5" y="56"/>
                    <a:pt x="75" y="56"/>
                    <a:pt x="74" y="56"/>
                  </a:cubicBezTo>
                  <a:cubicBezTo>
                    <a:pt x="74" y="56"/>
                    <a:pt x="74" y="56"/>
                    <a:pt x="73" y="56"/>
                  </a:cubicBezTo>
                  <a:cubicBezTo>
                    <a:pt x="73" y="57"/>
                    <a:pt x="72" y="57"/>
                    <a:pt x="72" y="57"/>
                  </a:cubicBezTo>
                  <a:cubicBezTo>
                    <a:pt x="72" y="57"/>
                    <a:pt x="71" y="57"/>
                    <a:pt x="71" y="58"/>
                  </a:cubicBezTo>
                  <a:cubicBezTo>
                    <a:pt x="70" y="58"/>
                    <a:pt x="70" y="58"/>
                    <a:pt x="69" y="59"/>
                  </a:cubicBezTo>
                  <a:cubicBezTo>
                    <a:pt x="69" y="59"/>
                    <a:pt x="69" y="59"/>
                    <a:pt x="68" y="59"/>
                  </a:cubicBezTo>
                  <a:cubicBezTo>
                    <a:pt x="68" y="60"/>
                    <a:pt x="67" y="60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5" y="62"/>
                    <a:pt x="65" y="62"/>
                    <a:pt x="64" y="63"/>
                  </a:cubicBezTo>
                  <a:cubicBezTo>
                    <a:pt x="63" y="63"/>
                    <a:pt x="63" y="64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6"/>
                    <a:pt x="61" y="67"/>
                    <a:pt x="60" y="67"/>
                  </a:cubicBezTo>
                  <a:cubicBezTo>
                    <a:pt x="60" y="67"/>
                    <a:pt x="60" y="68"/>
                    <a:pt x="60" y="68"/>
                  </a:cubicBezTo>
                  <a:cubicBezTo>
                    <a:pt x="59" y="69"/>
                    <a:pt x="59" y="69"/>
                    <a:pt x="59" y="70"/>
                  </a:cubicBezTo>
                  <a:cubicBezTo>
                    <a:pt x="59" y="70"/>
                    <a:pt x="58" y="70"/>
                    <a:pt x="58" y="71"/>
                  </a:cubicBezTo>
                  <a:cubicBezTo>
                    <a:pt x="58" y="71"/>
                    <a:pt x="58" y="72"/>
                    <a:pt x="57" y="72"/>
                  </a:cubicBezTo>
                  <a:cubicBezTo>
                    <a:pt x="57" y="73"/>
                    <a:pt x="57" y="73"/>
                    <a:pt x="57" y="73"/>
                  </a:cubicBezTo>
                  <a:moveTo>
                    <a:pt x="65" y="103"/>
                  </a:moveTo>
                  <a:cubicBezTo>
                    <a:pt x="61" y="98"/>
                    <a:pt x="58" y="91"/>
                    <a:pt x="58" y="84"/>
                  </a:cubicBezTo>
                  <a:cubicBezTo>
                    <a:pt x="58" y="82"/>
                    <a:pt x="58" y="79"/>
                    <a:pt x="59" y="77"/>
                  </a:cubicBezTo>
                  <a:cubicBezTo>
                    <a:pt x="59" y="77"/>
                    <a:pt x="59" y="77"/>
                    <a:pt x="59" y="76"/>
                  </a:cubicBezTo>
                  <a:cubicBezTo>
                    <a:pt x="59" y="76"/>
                    <a:pt x="60" y="75"/>
                    <a:pt x="60" y="74"/>
                  </a:cubicBezTo>
                  <a:cubicBezTo>
                    <a:pt x="60" y="74"/>
                    <a:pt x="60" y="74"/>
                    <a:pt x="60" y="73"/>
                  </a:cubicBezTo>
                  <a:cubicBezTo>
                    <a:pt x="61" y="73"/>
                    <a:pt x="61" y="73"/>
                    <a:pt x="61" y="72"/>
                  </a:cubicBezTo>
                  <a:cubicBezTo>
                    <a:pt x="61" y="72"/>
                    <a:pt x="61" y="72"/>
                    <a:pt x="61" y="71"/>
                  </a:cubicBezTo>
                  <a:cubicBezTo>
                    <a:pt x="62" y="71"/>
                    <a:pt x="62" y="70"/>
                    <a:pt x="63" y="69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3" y="68"/>
                    <a:pt x="64" y="68"/>
                    <a:pt x="64" y="67"/>
                  </a:cubicBezTo>
                  <a:cubicBezTo>
                    <a:pt x="64" y="67"/>
                    <a:pt x="64" y="67"/>
                    <a:pt x="65" y="67"/>
                  </a:cubicBezTo>
                  <a:cubicBezTo>
                    <a:pt x="65" y="66"/>
                    <a:pt x="66" y="66"/>
                    <a:pt x="66" y="65"/>
                  </a:cubicBezTo>
                  <a:cubicBezTo>
                    <a:pt x="67" y="64"/>
                    <a:pt x="67" y="64"/>
                    <a:pt x="68" y="63"/>
                  </a:cubicBezTo>
                  <a:cubicBezTo>
                    <a:pt x="68" y="63"/>
                    <a:pt x="68" y="63"/>
                    <a:pt x="69" y="63"/>
                  </a:cubicBezTo>
                  <a:cubicBezTo>
                    <a:pt x="69" y="63"/>
                    <a:pt x="70" y="62"/>
                    <a:pt x="70" y="62"/>
                  </a:cubicBezTo>
                  <a:cubicBezTo>
                    <a:pt x="70" y="62"/>
                    <a:pt x="70" y="62"/>
                    <a:pt x="71" y="62"/>
                  </a:cubicBezTo>
                  <a:cubicBezTo>
                    <a:pt x="71" y="61"/>
                    <a:pt x="72" y="61"/>
                    <a:pt x="72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0"/>
                    <a:pt x="74" y="60"/>
                    <a:pt x="75" y="59"/>
                  </a:cubicBezTo>
                  <a:cubicBezTo>
                    <a:pt x="75" y="59"/>
                    <a:pt x="75" y="59"/>
                    <a:pt x="76" y="59"/>
                  </a:cubicBezTo>
                  <a:cubicBezTo>
                    <a:pt x="76" y="59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81" y="57"/>
                    <a:pt x="83" y="57"/>
                    <a:pt x="86" y="57"/>
                  </a:cubicBezTo>
                  <a:cubicBezTo>
                    <a:pt x="93" y="57"/>
                    <a:pt x="99" y="59"/>
                    <a:pt x="105" y="64"/>
                  </a:cubicBezTo>
                  <a:lnTo>
                    <a:pt x="65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71">
            <a:extLst>
              <a:ext uri="{FF2B5EF4-FFF2-40B4-BE49-F238E27FC236}">
                <a16:creationId xmlns:a16="http://schemas.microsoft.com/office/drawing/2014/main" id="{771C08A2-C90C-4236-93C5-023527A58A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7964" y="1583135"/>
            <a:ext cx="769938" cy="758825"/>
            <a:chOff x="2434" y="1238"/>
            <a:chExt cx="485" cy="478"/>
          </a:xfrm>
        </p:grpSpPr>
        <p:sp>
          <p:nvSpPr>
            <p:cNvPr id="85" name="AutoShape 70">
              <a:extLst>
                <a:ext uri="{FF2B5EF4-FFF2-40B4-BE49-F238E27FC236}">
                  <a16:creationId xmlns:a16="http://schemas.microsoft.com/office/drawing/2014/main" id="{345DE0D9-B58D-4826-9008-C20F0E5027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34" y="1238"/>
              <a:ext cx="485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2">
              <a:extLst>
                <a:ext uri="{FF2B5EF4-FFF2-40B4-BE49-F238E27FC236}">
                  <a16:creationId xmlns:a16="http://schemas.microsoft.com/office/drawing/2014/main" id="{2684FC40-4B15-4E3D-A5B3-8ACDF747F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7" y="1236"/>
              <a:ext cx="482" cy="483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89 h 194"/>
                <a:gd name="T16" fmla="*/ 5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3">
              <a:extLst>
                <a:ext uri="{FF2B5EF4-FFF2-40B4-BE49-F238E27FC236}">
                  <a16:creationId xmlns:a16="http://schemas.microsoft.com/office/drawing/2014/main" id="{E19B7A2C-1EBE-4AF0-960C-836071908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3" y="1320"/>
              <a:ext cx="232" cy="314"/>
            </a:xfrm>
            <a:custGeom>
              <a:avLst/>
              <a:gdLst>
                <a:gd name="T0" fmla="*/ 40 w 93"/>
                <a:gd name="T1" fmla="*/ 0 h 126"/>
                <a:gd name="T2" fmla="*/ 21 w 93"/>
                <a:gd name="T3" fmla="*/ 13 h 126"/>
                <a:gd name="T4" fmla="*/ 15 w 93"/>
                <a:gd name="T5" fmla="*/ 7 h 126"/>
                <a:gd name="T6" fmla="*/ 0 w 93"/>
                <a:gd name="T7" fmla="*/ 12 h 126"/>
                <a:gd name="T8" fmla="*/ 6 w 93"/>
                <a:gd name="T9" fmla="*/ 69 h 126"/>
                <a:gd name="T10" fmla="*/ 9 w 93"/>
                <a:gd name="T11" fmla="*/ 126 h 126"/>
                <a:gd name="T12" fmla="*/ 12 w 93"/>
                <a:gd name="T13" fmla="*/ 69 h 126"/>
                <a:gd name="T14" fmla="*/ 21 w 93"/>
                <a:gd name="T15" fmla="*/ 63 h 126"/>
                <a:gd name="T16" fmla="*/ 27 w 93"/>
                <a:gd name="T17" fmla="*/ 29 h 126"/>
                <a:gd name="T18" fmla="*/ 61 w 93"/>
                <a:gd name="T19" fmla="*/ 21 h 126"/>
                <a:gd name="T20" fmla="*/ 15 w 93"/>
                <a:gd name="T21" fmla="*/ 65 h 126"/>
                <a:gd name="T22" fmla="*/ 3 w 93"/>
                <a:gd name="T23" fmla="*/ 63 h 126"/>
                <a:gd name="T24" fmla="*/ 6 w 93"/>
                <a:gd name="T25" fmla="*/ 10 h 126"/>
                <a:gd name="T26" fmla="*/ 18 w 93"/>
                <a:gd name="T27" fmla="*/ 12 h 126"/>
                <a:gd name="T28" fmla="*/ 27 w 93"/>
                <a:gd name="T29" fmla="*/ 26 h 126"/>
                <a:gd name="T30" fmla="*/ 21 w 93"/>
                <a:gd name="T31" fmla="*/ 17 h 126"/>
                <a:gd name="T32" fmla="*/ 27 w 93"/>
                <a:gd name="T33" fmla="*/ 21 h 126"/>
                <a:gd name="T34" fmla="*/ 30 w 93"/>
                <a:gd name="T35" fmla="*/ 21 h 126"/>
                <a:gd name="T36" fmla="*/ 30 w 93"/>
                <a:gd name="T37" fmla="*/ 19 h 126"/>
                <a:gd name="T38" fmla="*/ 30 w 93"/>
                <a:gd name="T39" fmla="*/ 17 h 126"/>
                <a:gd name="T40" fmla="*/ 58 w 93"/>
                <a:gd name="T41" fmla="*/ 21 h 126"/>
                <a:gd name="T42" fmla="*/ 30 w 93"/>
                <a:gd name="T43" fmla="*/ 21 h 126"/>
                <a:gd name="T44" fmla="*/ 77 w 93"/>
                <a:gd name="T45" fmla="*/ 53 h 126"/>
                <a:gd name="T46" fmla="*/ 71 w 93"/>
                <a:gd name="T47" fmla="*/ 60 h 126"/>
                <a:gd name="T48" fmla="*/ 52 w 93"/>
                <a:gd name="T49" fmla="*/ 47 h 126"/>
                <a:gd name="T50" fmla="*/ 52 w 93"/>
                <a:gd name="T51" fmla="*/ 89 h 126"/>
                <a:gd name="T52" fmla="*/ 71 w 93"/>
                <a:gd name="T53" fmla="*/ 76 h 126"/>
                <a:gd name="T54" fmla="*/ 77 w 93"/>
                <a:gd name="T55" fmla="*/ 115 h 126"/>
                <a:gd name="T56" fmla="*/ 80 w 93"/>
                <a:gd name="T57" fmla="*/ 126 h 126"/>
                <a:gd name="T58" fmla="*/ 83 w 93"/>
                <a:gd name="T59" fmla="*/ 115 h 126"/>
                <a:gd name="T60" fmla="*/ 93 w 93"/>
                <a:gd name="T61" fmla="*/ 109 h 126"/>
                <a:gd name="T62" fmla="*/ 87 w 93"/>
                <a:gd name="T63" fmla="*/ 53 h 126"/>
                <a:gd name="T64" fmla="*/ 63 w 93"/>
                <a:gd name="T65" fmla="*/ 70 h 126"/>
                <a:gd name="T66" fmla="*/ 62 w 93"/>
                <a:gd name="T67" fmla="*/ 72 h 126"/>
                <a:gd name="T68" fmla="*/ 35 w 93"/>
                <a:gd name="T69" fmla="*/ 68 h 126"/>
                <a:gd name="T70" fmla="*/ 63 w 93"/>
                <a:gd name="T71" fmla="*/ 68 h 126"/>
                <a:gd name="T72" fmla="*/ 71 w 93"/>
                <a:gd name="T73" fmla="*/ 72 h 126"/>
                <a:gd name="T74" fmla="*/ 66 w 93"/>
                <a:gd name="T75" fmla="*/ 68 h 126"/>
                <a:gd name="T76" fmla="*/ 71 w 93"/>
                <a:gd name="T77" fmla="*/ 63 h 126"/>
                <a:gd name="T78" fmla="*/ 89 w 93"/>
                <a:gd name="T79" fmla="*/ 109 h 126"/>
                <a:gd name="T80" fmla="*/ 77 w 93"/>
                <a:gd name="T81" fmla="*/ 112 h 126"/>
                <a:gd name="T82" fmla="*/ 74 w 93"/>
                <a:gd name="T83" fmla="*/ 59 h 126"/>
                <a:gd name="T84" fmla="*/ 87 w 93"/>
                <a:gd name="T85" fmla="*/ 56 h 126"/>
                <a:gd name="T86" fmla="*/ 89 w 93"/>
                <a:gd name="T87" fmla="*/ 10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" h="126">
                  <a:moveTo>
                    <a:pt x="61" y="21"/>
                  </a:moveTo>
                  <a:cubicBezTo>
                    <a:pt x="61" y="9"/>
                    <a:pt x="52" y="0"/>
                    <a:pt x="40" y="0"/>
                  </a:cubicBezTo>
                  <a:cubicBezTo>
                    <a:pt x="30" y="0"/>
                    <a:pt x="28" y="7"/>
                    <a:pt x="27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9"/>
                    <a:pt x="19" y="7"/>
                    <a:pt x="1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2" y="7"/>
                    <a:pt x="0" y="9"/>
                    <a:pt x="0" y="1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6"/>
                    <a:pt x="2" y="69"/>
                    <a:pt x="6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9" y="69"/>
                    <a:pt x="21" y="66"/>
                    <a:pt x="21" y="63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8" y="36"/>
                    <a:pt x="30" y="42"/>
                    <a:pt x="40" y="42"/>
                  </a:cubicBezTo>
                  <a:cubicBezTo>
                    <a:pt x="52" y="42"/>
                    <a:pt x="61" y="33"/>
                    <a:pt x="61" y="21"/>
                  </a:cubicBezTo>
                  <a:moveTo>
                    <a:pt x="18" y="63"/>
                  </a:moveTo>
                  <a:cubicBezTo>
                    <a:pt x="18" y="64"/>
                    <a:pt x="17" y="65"/>
                    <a:pt x="15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4" y="65"/>
                    <a:pt x="3" y="64"/>
                    <a:pt x="3" y="6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4" y="10"/>
                    <a:pt x="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7" y="10"/>
                    <a:pt x="18" y="11"/>
                    <a:pt x="18" y="12"/>
                  </a:cubicBezTo>
                  <a:lnTo>
                    <a:pt x="18" y="63"/>
                  </a:lnTo>
                  <a:close/>
                  <a:moveTo>
                    <a:pt x="27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8"/>
                    <a:pt x="27" y="20"/>
                    <a:pt x="27" y="21"/>
                  </a:cubicBezTo>
                  <a:cubicBezTo>
                    <a:pt x="27" y="23"/>
                    <a:pt x="27" y="24"/>
                    <a:pt x="27" y="26"/>
                  </a:cubicBezTo>
                  <a:moveTo>
                    <a:pt x="30" y="21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8"/>
                    <a:pt x="30" y="18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8"/>
                    <a:pt x="33" y="3"/>
                    <a:pt x="40" y="3"/>
                  </a:cubicBezTo>
                  <a:cubicBezTo>
                    <a:pt x="50" y="3"/>
                    <a:pt x="58" y="11"/>
                    <a:pt x="58" y="21"/>
                  </a:cubicBezTo>
                  <a:cubicBezTo>
                    <a:pt x="58" y="31"/>
                    <a:pt x="50" y="39"/>
                    <a:pt x="40" y="39"/>
                  </a:cubicBezTo>
                  <a:cubicBezTo>
                    <a:pt x="33" y="39"/>
                    <a:pt x="30" y="36"/>
                    <a:pt x="30" y="21"/>
                  </a:cubicBezTo>
                  <a:moveTo>
                    <a:pt x="87" y="53"/>
                  </a:moveTo>
                  <a:cubicBezTo>
                    <a:pt x="77" y="53"/>
                    <a:pt x="77" y="53"/>
                    <a:pt x="77" y="53"/>
                  </a:cubicBezTo>
                  <a:cubicBezTo>
                    <a:pt x="74" y="53"/>
                    <a:pt x="71" y="56"/>
                    <a:pt x="71" y="59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53"/>
                    <a:pt x="62" y="47"/>
                    <a:pt x="52" y="47"/>
                  </a:cubicBezTo>
                  <a:cubicBezTo>
                    <a:pt x="41" y="47"/>
                    <a:pt x="31" y="56"/>
                    <a:pt x="31" y="68"/>
                  </a:cubicBezTo>
                  <a:cubicBezTo>
                    <a:pt x="31" y="79"/>
                    <a:pt x="41" y="89"/>
                    <a:pt x="52" y="89"/>
                  </a:cubicBezTo>
                  <a:cubicBezTo>
                    <a:pt x="62" y="89"/>
                    <a:pt x="65" y="82"/>
                    <a:pt x="65" y="76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109"/>
                    <a:pt x="71" y="109"/>
                    <a:pt x="71" y="109"/>
                  </a:cubicBezTo>
                  <a:cubicBezTo>
                    <a:pt x="71" y="112"/>
                    <a:pt x="74" y="115"/>
                    <a:pt x="77" y="115"/>
                  </a:cubicBezTo>
                  <a:cubicBezTo>
                    <a:pt x="80" y="115"/>
                    <a:pt x="80" y="115"/>
                    <a:pt x="80" y="115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90" y="115"/>
                    <a:pt x="93" y="112"/>
                    <a:pt x="93" y="10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6"/>
                    <a:pt x="90" y="53"/>
                    <a:pt x="87" y="53"/>
                  </a:cubicBezTo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3" y="71"/>
                    <a:pt x="62" y="71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81"/>
                    <a:pt x="60" y="86"/>
                    <a:pt x="52" y="86"/>
                  </a:cubicBezTo>
                  <a:cubicBezTo>
                    <a:pt x="43" y="86"/>
                    <a:pt x="35" y="78"/>
                    <a:pt x="35" y="68"/>
                  </a:cubicBezTo>
                  <a:cubicBezTo>
                    <a:pt x="35" y="58"/>
                    <a:pt x="43" y="50"/>
                    <a:pt x="52" y="50"/>
                  </a:cubicBezTo>
                  <a:cubicBezTo>
                    <a:pt x="59" y="50"/>
                    <a:pt x="63" y="53"/>
                    <a:pt x="63" y="68"/>
                  </a:cubicBezTo>
                  <a:lnTo>
                    <a:pt x="63" y="70"/>
                  </a:lnTo>
                  <a:close/>
                  <a:moveTo>
                    <a:pt x="71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71"/>
                    <a:pt x="66" y="69"/>
                    <a:pt x="66" y="68"/>
                  </a:cubicBezTo>
                  <a:cubicBezTo>
                    <a:pt x="66" y="66"/>
                    <a:pt x="66" y="65"/>
                    <a:pt x="66" y="63"/>
                  </a:cubicBezTo>
                  <a:cubicBezTo>
                    <a:pt x="71" y="63"/>
                    <a:pt x="71" y="63"/>
                    <a:pt x="71" y="63"/>
                  </a:cubicBezTo>
                  <a:lnTo>
                    <a:pt x="71" y="72"/>
                  </a:lnTo>
                  <a:close/>
                  <a:moveTo>
                    <a:pt x="89" y="109"/>
                  </a:moveTo>
                  <a:cubicBezTo>
                    <a:pt x="89" y="111"/>
                    <a:pt x="88" y="112"/>
                    <a:pt x="87" y="112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5" y="112"/>
                    <a:pt x="74" y="111"/>
                    <a:pt x="74" y="10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8"/>
                    <a:pt x="75" y="56"/>
                    <a:pt x="7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9" y="58"/>
                    <a:pt x="89" y="59"/>
                  </a:cubicBezTo>
                  <a:lnTo>
                    <a:pt x="89" y="10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76">
            <a:extLst>
              <a:ext uri="{FF2B5EF4-FFF2-40B4-BE49-F238E27FC236}">
                <a16:creationId xmlns:a16="http://schemas.microsoft.com/office/drawing/2014/main" id="{4E07B454-2B4F-4D91-AD0A-7CA6FB056D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065" y="1541860"/>
            <a:ext cx="841375" cy="841375"/>
            <a:chOff x="1685" y="1053"/>
            <a:chExt cx="530" cy="530"/>
          </a:xfrm>
        </p:grpSpPr>
        <p:sp>
          <p:nvSpPr>
            <p:cNvPr id="89" name="AutoShape 75">
              <a:extLst>
                <a:ext uri="{FF2B5EF4-FFF2-40B4-BE49-F238E27FC236}">
                  <a16:creationId xmlns:a16="http://schemas.microsoft.com/office/drawing/2014/main" id="{0D671E50-CC46-46D1-AD77-C3D15632F2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5" y="105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77">
              <a:extLst>
                <a:ext uri="{FF2B5EF4-FFF2-40B4-BE49-F238E27FC236}">
                  <a16:creationId xmlns:a16="http://schemas.microsoft.com/office/drawing/2014/main" id="{250FBA38-BCB9-4408-9600-91122020C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8" y="1056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8">
              <a:extLst>
                <a:ext uri="{FF2B5EF4-FFF2-40B4-BE49-F238E27FC236}">
                  <a16:creationId xmlns:a16="http://schemas.microsoft.com/office/drawing/2014/main" id="{992CAB03-407C-4FB6-9415-317F8EF5B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4" y="1072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9">
              <a:extLst>
                <a:ext uri="{FF2B5EF4-FFF2-40B4-BE49-F238E27FC236}">
                  <a16:creationId xmlns:a16="http://schemas.microsoft.com/office/drawing/2014/main" id="{E108E016-13FA-4F6A-8822-0EEC528ED4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1159"/>
              <a:ext cx="234" cy="321"/>
            </a:xfrm>
            <a:custGeom>
              <a:avLst/>
              <a:gdLst>
                <a:gd name="T0" fmla="*/ 37 w 86"/>
                <a:gd name="T1" fmla="*/ 0 h 118"/>
                <a:gd name="T2" fmla="*/ 20 w 86"/>
                <a:gd name="T3" fmla="*/ 13 h 118"/>
                <a:gd name="T4" fmla="*/ 14 w 86"/>
                <a:gd name="T5" fmla="*/ 6 h 118"/>
                <a:gd name="T6" fmla="*/ 0 w 86"/>
                <a:gd name="T7" fmla="*/ 12 h 118"/>
                <a:gd name="T8" fmla="*/ 5 w 86"/>
                <a:gd name="T9" fmla="*/ 64 h 118"/>
                <a:gd name="T10" fmla="*/ 8 w 86"/>
                <a:gd name="T11" fmla="*/ 118 h 118"/>
                <a:gd name="T12" fmla="*/ 11 w 86"/>
                <a:gd name="T13" fmla="*/ 64 h 118"/>
                <a:gd name="T14" fmla="*/ 20 w 86"/>
                <a:gd name="T15" fmla="*/ 59 h 118"/>
                <a:gd name="T16" fmla="*/ 25 w 86"/>
                <a:gd name="T17" fmla="*/ 27 h 118"/>
                <a:gd name="T18" fmla="*/ 57 w 86"/>
                <a:gd name="T19" fmla="*/ 20 h 118"/>
                <a:gd name="T20" fmla="*/ 14 w 86"/>
                <a:gd name="T21" fmla="*/ 61 h 118"/>
                <a:gd name="T22" fmla="*/ 3 w 86"/>
                <a:gd name="T23" fmla="*/ 59 h 118"/>
                <a:gd name="T24" fmla="*/ 5 w 86"/>
                <a:gd name="T25" fmla="*/ 9 h 118"/>
                <a:gd name="T26" fmla="*/ 17 w 86"/>
                <a:gd name="T27" fmla="*/ 12 h 118"/>
                <a:gd name="T28" fmla="*/ 25 w 86"/>
                <a:gd name="T29" fmla="*/ 24 h 118"/>
                <a:gd name="T30" fmla="*/ 20 w 86"/>
                <a:gd name="T31" fmla="*/ 16 h 118"/>
                <a:gd name="T32" fmla="*/ 25 w 86"/>
                <a:gd name="T33" fmla="*/ 20 h 118"/>
                <a:gd name="T34" fmla="*/ 28 w 86"/>
                <a:gd name="T35" fmla="*/ 20 h 118"/>
                <a:gd name="T36" fmla="*/ 28 w 86"/>
                <a:gd name="T37" fmla="*/ 18 h 118"/>
                <a:gd name="T38" fmla="*/ 28 w 86"/>
                <a:gd name="T39" fmla="*/ 16 h 118"/>
                <a:gd name="T40" fmla="*/ 54 w 86"/>
                <a:gd name="T41" fmla="*/ 20 h 118"/>
                <a:gd name="T42" fmla="*/ 28 w 86"/>
                <a:gd name="T43" fmla="*/ 20 h 118"/>
                <a:gd name="T44" fmla="*/ 72 w 86"/>
                <a:gd name="T45" fmla="*/ 50 h 118"/>
                <a:gd name="T46" fmla="*/ 66 w 86"/>
                <a:gd name="T47" fmla="*/ 56 h 118"/>
                <a:gd name="T48" fmla="*/ 49 w 86"/>
                <a:gd name="T49" fmla="*/ 44 h 118"/>
                <a:gd name="T50" fmla="*/ 49 w 86"/>
                <a:gd name="T51" fmla="*/ 83 h 118"/>
                <a:gd name="T52" fmla="*/ 66 w 86"/>
                <a:gd name="T53" fmla="*/ 71 h 118"/>
                <a:gd name="T54" fmla="*/ 72 w 86"/>
                <a:gd name="T55" fmla="*/ 108 h 118"/>
                <a:gd name="T56" fmla="*/ 75 w 86"/>
                <a:gd name="T57" fmla="*/ 118 h 118"/>
                <a:gd name="T58" fmla="*/ 78 w 86"/>
                <a:gd name="T59" fmla="*/ 108 h 118"/>
                <a:gd name="T60" fmla="*/ 86 w 86"/>
                <a:gd name="T61" fmla="*/ 102 h 118"/>
                <a:gd name="T62" fmla="*/ 81 w 86"/>
                <a:gd name="T63" fmla="*/ 50 h 118"/>
                <a:gd name="T64" fmla="*/ 58 w 86"/>
                <a:gd name="T65" fmla="*/ 66 h 118"/>
                <a:gd name="T66" fmla="*/ 58 w 86"/>
                <a:gd name="T67" fmla="*/ 67 h 118"/>
                <a:gd name="T68" fmla="*/ 32 w 86"/>
                <a:gd name="T69" fmla="*/ 64 h 118"/>
                <a:gd name="T70" fmla="*/ 58 w 86"/>
                <a:gd name="T71" fmla="*/ 64 h 118"/>
                <a:gd name="T72" fmla="*/ 66 w 86"/>
                <a:gd name="T73" fmla="*/ 68 h 118"/>
                <a:gd name="T74" fmla="*/ 61 w 86"/>
                <a:gd name="T75" fmla="*/ 64 h 118"/>
                <a:gd name="T76" fmla="*/ 66 w 86"/>
                <a:gd name="T77" fmla="*/ 59 h 118"/>
                <a:gd name="T78" fmla="*/ 83 w 86"/>
                <a:gd name="T79" fmla="*/ 102 h 118"/>
                <a:gd name="T80" fmla="*/ 72 w 86"/>
                <a:gd name="T81" fmla="*/ 105 h 118"/>
                <a:gd name="T82" fmla="*/ 69 w 86"/>
                <a:gd name="T83" fmla="*/ 55 h 118"/>
                <a:gd name="T84" fmla="*/ 81 w 86"/>
                <a:gd name="T85" fmla="*/ 53 h 118"/>
                <a:gd name="T86" fmla="*/ 83 w 86"/>
                <a:gd name="T87" fmla="*/ 10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6" h="118">
                  <a:moveTo>
                    <a:pt x="57" y="20"/>
                  </a:moveTo>
                  <a:cubicBezTo>
                    <a:pt x="57" y="9"/>
                    <a:pt x="48" y="0"/>
                    <a:pt x="37" y="0"/>
                  </a:cubicBezTo>
                  <a:cubicBezTo>
                    <a:pt x="28" y="0"/>
                    <a:pt x="26" y="7"/>
                    <a:pt x="25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9"/>
                    <a:pt x="17" y="6"/>
                    <a:pt x="1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6"/>
                    <a:pt x="0" y="9"/>
                    <a:pt x="0" y="12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2"/>
                    <a:pt x="2" y="64"/>
                    <a:pt x="5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7" y="64"/>
                    <a:pt x="20" y="62"/>
                    <a:pt x="20" y="5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6" y="34"/>
                    <a:pt x="28" y="40"/>
                    <a:pt x="37" y="40"/>
                  </a:cubicBezTo>
                  <a:cubicBezTo>
                    <a:pt x="48" y="40"/>
                    <a:pt x="57" y="31"/>
                    <a:pt x="57" y="20"/>
                  </a:cubicBezTo>
                  <a:moveTo>
                    <a:pt x="17" y="59"/>
                  </a:moveTo>
                  <a:cubicBezTo>
                    <a:pt x="17" y="60"/>
                    <a:pt x="16" y="61"/>
                    <a:pt x="14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4" y="61"/>
                    <a:pt x="3" y="60"/>
                    <a:pt x="3" y="5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4" y="9"/>
                    <a:pt x="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9"/>
                    <a:pt x="17" y="11"/>
                    <a:pt x="17" y="12"/>
                  </a:cubicBezTo>
                  <a:lnTo>
                    <a:pt x="17" y="59"/>
                  </a:lnTo>
                  <a:close/>
                  <a:moveTo>
                    <a:pt x="25" y="24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7"/>
                    <a:pt x="25" y="19"/>
                    <a:pt x="25" y="20"/>
                  </a:cubicBezTo>
                  <a:cubicBezTo>
                    <a:pt x="25" y="21"/>
                    <a:pt x="25" y="23"/>
                    <a:pt x="25" y="24"/>
                  </a:cubicBezTo>
                  <a:moveTo>
                    <a:pt x="28" y="20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7"/>
                    <a:pt x="28" y="17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8"/>
                    <a:pt x="30" y="3"/>
                    <a:pt x="37" y="3"/>
                  </a:cubicBezTo>
                  <a:cubicBezTo>
                    <a:pt x="46" y="3"/>
                    <a:pt x="54" y="11"/>
                    <a:pt x="54" y="20"/>
                  </a:cubicBezTo>
                  <a:cubicBezTo>
                    <a:pt x="54" y="29"/>
                    <a:pt x="46" y="37"/>
                    <a:pt x="37" y="37"/>
                  </a:cubicBezTo>
                  <a:cubicBezTo>
                    <a:pt x="31" y="37"/>
                    <a:pt x="28" y="34"/>
                    <a:pt x="28" y="20"/>
                  </a:cubicBezTo>
                  <a:moveTo>
                    <a:pt x="81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69" y="50"/>
                    <a:pt x="66" y="52"/>
                    <a:pt x="66" y="55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0" y="50"/>
                    <a:pt x="58" y="44"/>
                    <a:pt x="49" y="44"/>
                  </a:cubicBezTo>
                  <a:cubicBezTo>
                    <a:pt x="38" y="44"/>
                    <a:pt x="29" y="53"/>
                    <a:pt x="29" y="64"/>
                  </a:cubicBezTo>
                  <a:cubicBezTo>
                    <a:pt x="29" y="74"/>
                    <a:pt x="38" y="83"/>
                    <a:pt x="49" y="83"/>
                  </a:cubicBezTo>
                  <a:cubicBezTo>
                    <a:pt x="58" y="83"/>
                    <a:pt x="60" y="77"/>
                    <a:pt x="61" y="71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102"/>
                    <a:pt x="66" y="102"/>
                    <a:pt x="66" y="102"/>
                  </a:cubicBezTo>
                  <a:cubicBezTo>
                    <a:pt x="66" y="105"/>
                    <a:pt x="69" y="108"/>
                    <a:pt x="72" y="108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4" y="108"/>
                    <a:pt x="86" y="105"/>
                    <a:pt x="86" y="102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2"/>
                    <a:pt x="84" y="50"/>
                    <a:pt x="81" y="50"/>
                  </a:cubicBezTo>
                  <a:moveTo>
                    <a:pt x="58" y="65"/>
                  </a:moveTo>
                  <a:cubicBezTo>
                    <a:pt x="58" y="66"/>
                    <a:pt x="58" y="66"/>
                    <a:pt x="58" y="66"/>
                  </a:cubicBezTo>
                  <a:cubicBezTo>
                    <a:pt x="58" y="66"/>
                    <a:pt x="58" y="67"/>
                    <a:pt x="58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8" y="76"/>
                    <a:pt x="56" y="80"/>
                    <a:pt x="49" y="80"/>
                  </a:cubicBezTo>
                  <a:cubicBezTo>
                    <a:pt x="40" y="80"/>
                    <a:pt x="32" y="73"/>
                    <a:pt x="32" y="64"/>
                  </a:cubicBezTo>
                  <a:cubicBezTo>
                    <a:pt x="32" y="54"/>
                    <a:pt x="40" y="47"/>
                    <a:pt x="49" y="47"/>
                  </a:cubicBezTo>
                  <a:cubicBezTo>
                    <a:pt x="55" y="47"/>
                    <a:pt x="58" y="49"/>
                    <a:pt x="58" y="64"/>
                  </a:cubicBezTo>
                  <a:lnTo>
                    <a:pt x="58" y="65"/>
                  </a:lnTo>
                  <a:close/>
                  <a:moveTo>
                    <a:pt x="66" y="68"/>
                  </a:moveTo>
                  <a:cubicBezTo>
                    <a:pt x="61" y="68"/>
                    <a:pt x="61" y="68"/>
                    <a:pt x="61" y="68"/>
                  </a:cubicBezTo>
                  <a:cubicBezTo>
                    <a:pt x="61" y="66"/>
                    <a:pt x="61" y="65"/>
                    <a:pt x="61" y="64"/>
                  </a:cubicBezTo>
                  <a:cubicBezTo>
                    <a:pt x="61" y="62"/>
                    <a:pt x="61" y="61"/>
                    <a:pt x="61" y="59"/>
                  </a:cubicBezTo>
                  <a:cubicBezTo>
                    <a:pt x="66" y="59"/>
                    <a:pt x="66" y="59"/>
                    <a:pt x="66" y="59"/>
                  </a:cubicBezTo>
                  <a:lnTo>
                    <a:pt x="66" y="68"/>
                  </a:lnTo>
                  <a:close/>
                  <a:moveTo>
                    <a:pt x="83" y="102"/>
                  </a:moveTo>
                  <a:cubicBezTo>
                    <a:pt x="83" y="104"/>
                    <a:pt x="82" y="105"/>
                    <a:pt x="81" y="105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5"/>
                    <a:pt x="69" y="104"/>
                    <a:pt x="69" y="102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4"/>
                    <a:pt x="70" y="53"/>
                    <a:pt x="72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3" y="54"/>
                    <a:pt x="83" y="55"/>
                  </a:cubicBezTo>
                  <a:lnTo>
                    <a:pt x="83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7" name="Group 82">
            <a:extLst>
              <a:ext uri="{FF2B5EF4-FFF2-40B4-BE49-F238E27FC236}">
                <a16:creationId xmlns:a16="http://schemas.microsoft.com/office/drawing/2014/main" id="{1DEB9374-2AA7-4CA3-9B6F-4A73F38162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0084" y="1583135"/>
            <a:ext cx="760413" cy="758825"/>
            <a:chOff x="3768" y="1153"/>
            <a:chExt cx="479" cy="478"/>
          </a:xfrm>
        </p:grpSpPr>
        <p:sp>
          <p:nvSpPr>
            <p:cNvPr id="98" name="AutoShape 81">
              <a:extLst>
                <a:ext uri="{FF2B5EF4-FFF2-40B4-BE49-F238E27FC236}">
                  <a16:creationId xmlns:a16="http://schemas.microsoft.com/office/drawing/2014/main" id="{E713C80E-018B-4226-857C-1CF8145AAC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68" y="115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3">
              <a:extLst>
                <a:ext uri="{FF2B5EF4-FFF2-40B4-BE49-F238E27FC236}">
                  <a16:creationId xmlns:a16="http://schemas.microsoft.com/office/drawing/2014/main" id="{9588D3AF-5BDF-4EBD-BBAC-3ED98BD04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0" y="1155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4">
              <a:extLst>
                <a:ext uri="{FF2B5EF4-FFF2-40B4-BE49-F238E27FC236}">
                  <a16:creationId xmlns:a16="http://schemas.microsoft.com/office/drawing/2014/main" id="{C66C6E7A-2131-4CDB-B1C4-775B3C48B0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4" y="1244"/>
              <a:ext cx="329" cy="279"/>
            </a:xfrm>
            <a:custGeom>
              <a:avLst/>
              <a:gdLst>
                <a:gd name="T0" fmla="*/ 122 w 134"/>
                <a:gd name="T1" fmla="*/ 65 h 114"/>
                <a:gd name="T2" fmla="*/ 114 w 134"/>
                <a:gd name="T3" fmla="*/ 52 h 114"/>
                <a:gd name="T4" fmla="*/ 115 w 134"/>
                <a:gd name="T5" fmla="*/ 36 h 114"/>
                <a:gd name="T6" fmla="*/ 117 w 134"/>
                <a:gd name="T7" fmla="*/ 34 h 114"/>
                <a:gd name="T8" fmla="*/ 17 w 134"/>
                <a:gd name="T9" fmla="*/ 34 h 114"/>
                <a:gd name="T10" fmla="*/ 18 w 134"/>
                <a:gd name="T11" fmla="*/ 36 h 114"/>
                <a:gd name="T12" fmla="*/ 20 w 134"/>
                <a:gd name="T13" fmla="*/ 52 h 114"/>
                <a:gd name="T14" fmla="*/ 12 w 134"/>
                <a:gd name="T15" fmla="*/ 65 h 114"/>
                <a:gd name="T16" fmla="*/ 12 w 134"/>
                <a:gd name="T17" fmla="*/ 105 h 114"/>
                <a:gd name="T18" fmla="*/ 31 w 134"/>
                <a:gd name="T19" fmla="*/ 102 h 114"/>
                <a:gd name="T20" fmla="*/ 23 w 134"/>
                <a:gd name="T21" fmla="*/ 56 h 114"/>
                <a:gd name="T22" fmla="*/ 25 w 134"/>
                <a:gd name="T23" fmla="*/ 38 h 114"/>
                <a:gd name="T24" fmla="*/ 31 w 134"/>
                <a:gd name="T25" fmla="*/ 39 h 114"/>
                <a:gd name="T26" fmla="*/ 103 w 134"/>
                <a:gd name="T27" fmla="*/ 39 h 114"/>
                <a:gd name="T28" fmla="*/ 105 w 134"/>
                <a:gd name="T29" fmla="*/ 40 h 114"/>
                <a:gd name="T30" fmla="*/ 111 w 134"/>
                <a:gd name="T31" fmla="*/ 52 h 114"/>
                <a:gd name="T32" fmla="*/ 103 w 134"/>
                <a:gd name="T33" fmla="*/ 68 h 114"/>
                <a:gd name="T34" fmla="*/ 113 w 134"/>
                <a:gd name="T35" fmla="*/ 114 h 114"/>
                <a:gd name="T36" fmla="*/ 134 w 134"/>
                <a:gd name="T37" fmla="*/ 85 h 114"/>
                <a:gd name="T38" fmla="*/ 3 w 134"/>
                <a:gd name="T39" fmla="*/ 85 h 114"/>
                <a:gd name="T40" fmla="*/ 11 w 134"/>
                <a:gd name="T41" fmla="*/ 102 h 114"/>
                <a:gd name="T42" fmla="*/ 28 w 134"/>
                <a:gd name="T43" fmla="*/ 102 h 114"/>
                <a:gd name="T44" fmla="*/ 15 w 134"/>
                <a:gd name="T45" fmla="*/ 102 h 114"/>
                <a:gd name="T46" fmla="*/ 21 w 134"/>
                <a:gd name="T47" fmla="*/ 59 h 114"/>
                <a:gd name="T48" fmla="*/ 67 w 134"/>
                <a:gd name="T49" fmla="*/ 10 h 114"/>
                <a:gd name="T50" fmla="*/ 21 w 134"/>
                <a:gd name="T51" fmla="*/ 34 h 114"/>
                <a:gd name="T52" fmla="*/ 113 w 134"/>
                <a:gd name="T53" fmla="*/ 34 h 114"/>
                <a:gd name="T54" fmla="*/ 67 w 134"/>
                <a:gd name="T55" fmla="*/ 10 h 114"/>
                <a:gd name="T56" fmla="*/ 106 w 134"/>
                <a:gd name="T57" fmla="*/ 102 h 114"/>
                <a:gd name="T58" fmla="*/ 113 w 134"/>
                <a:gd name="T59" fmla="*/ 59 h 114"/>
                <a:gd name="T60" fmla="*/ 119 w 134"/>
                <a:gd name="T61" fmla="*/ 102 h 114"/>
                <a:gd name="T62" fmla="*/ 123 w 134"/>
                <a:gd name="T63" fmla="*/ 102 h 114"/>
                <a:gd name="T64" fmla="*/ 131 w 134"/>
                <a:gd name="T65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14">
                  <a:moveTo>
                    <a:pt x="134" y="85"/>
                  </a:moveTo>
                  <a:cubicBezTo>
                    <a:pt x="134" y="74"/>
                    <a:pt x="129" y="66"/>
                    <a:pt x="122" y="65"/>
                  </a:cubicBezTo>
                  <a:cubicBezTo>
                    <a:pt x="121" y="60"/>
                    <a:pt x="118" y="57"/>
                    <a:pt x="114" y="56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4" y="47"/>
                    <a:pt x="114" y="42"/>
                    <a:pt x="112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6" y="36"/>
                    <a:pt x="116" y="36"/>
                    <a:pt x="116" y="35"/>
                  </a:cubicBezTo>
                  <a:cubicBezTo>
                    <a:pt x="117" y="35"/>
                    <a:pt x="117" y="34"/>
                    <a:pt x="117" y="34"/>
                  </a:cubicBezTo>
                  <a:cubicBezTo>
                    <a:pt x="109" y="13"/>
                    <a:pt x="89" y="0"/>
                    <a:pt x="67" y="0"/>
                  </a:cubicBezTo>
                  <a:cubicBezTo>
                    <a:pt x="45" y="0"/>
                    <a:pt x="25" y="13"/>
                    <a:pt x="17" y="34"/>
                  </a:cubicBezTo>
                  <a:cubicBezTo>
                    <a:pt x="17" y="34"/>
                    <a:pt x="17" y="35"/>
                    <a:pt x="18" y="35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0" y="42"/>
                    <a:pt x="20" y="47"/>
                    <a:pt x="20" y="52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6" y="57"/>
                    <a:pt x="13" y="60"/>
                    <a:pt x="12" y="65"/>
                  </a:cubicBezTo>
                  <a:cubicBezTo>
                    <a:pt x="5" y="66"/>
                    <a:pt x="0" y="74"/>
                    <a:pt x="0" y="85"/>
                  </a:cubicBezTo>
                  <a:cubicBezTo>
                    <a:pt x="0" y="96"/>
                    <a:pt x="5" y="104"/>
                    <a:pt x="12" y="105"/>
                  </a:cubicBezTo>
                  <a:cubicBezTo>
                    <a:pt x="13" y="111"/>
                    <a:pt x="17" y="114"/>
                    <a:pt x="21" y="114"/>
                  </a:cubicBezTo>
                  <a:cubicBezTo>
                    <a:pt x="27" y="114"/>
                    <a:pt x="31" y="109"/>
                    <a:pt x="31" y="102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2"/>
                    <a:pt x="28" y="57"/>
                    <a:pt x="23" y="5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47"/>
                    <a:pt x="24" y="43"/>
                    <a:pt x="25" y="38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30" y="40"/>
                    <a:pt x="31" y="39"/>
                  </a:cubicBezTo>
                  <a:cubicBezTo>
                    <a:pt x="36" y="24"/>
                    <a:pt x="51" y="14"/>
                    <a:pt x="67" y="14"/>
                  </a:cubicBezTo>
                  <a:cubicBezTo>
                    <a:pt x="83" y="14"/>
                    <a:pt x="98" y="24"/>
                    <a:pt x="103" y="39"/>
                  </a:cubicBezTo>
                  <a:cubicBezTo>
                    <a:pt x="104" y="39"/>
                    <a:pt x="104" y="40"/>
                    <a:pt x="105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10" y="43"/>
                    <a:pt x="111" y="47"/>
                    <a:pt x="111" y="52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06" y="57"/>
                    <a:pt x="103" y="62"/>
                    <a:pt x="103" y="68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103" y="109"/>
                    <a:pt x="107" y="114"/>
                    <a:pt x="113" y="114"/>
                  </a:cubicBezTo>
                  <a:cubicBezTo>
                    <a:pt x="117" y="114"/>
                    <a:pt x="121" y="111"/>
                    <a:pt x="122" y="105"/>
                  </a:cubicBezTo>
                  <a:cubicBezTo>
                    <a:pt x="129" y="104"/>
                    <a:pt x="134" y="96"/>
                    <a:pt x="134" y="85"/>
                  </a:cubicBezTo>
                  <a:moveTo>
                    <a:pt x="11" y="102"/>
                  </a:moveTo>
                  <a:cubicBezTo>
                    <a:pt x="7" y="100"/>
                    <a:pt x="3" y="93"/>
                    <a:pt x="3" y="85"/>
                  </a:cubicBezTo>
                  <a:cubicBezTo>
                    <a:pt x="3" y="77"/>
                    <a:pt x="7" y="70"/>
                    <a:pt x="11" y="68"/>
                  </a:cubicBezTo>
                  <a:lnTo>
                    <a:pt x="11" y="102"/>
                  </a:lnTo>
                  <a:close/>
                  <a:moveTo>
                    <a:pt x="28" y="68"/>
                  </a:moveTo>
                  <a:cubicBezTo>
                    <a:pt x="28" y="102"/>
                    <a:pt x="28" y="102"/>
                    <a:pt x="28" y="102"/>
                  </a:cubicBezTo>
                  <a:cubicBezTo>
                    <a:pt x="28" y="107"/>
                    <a:pt x="25" y="111"/>
                    <a:pt x="21" y="111"/>
                  </a:cubicBezTo>
                  <a:cubicBezTo>
                    <a:pt x="18" y="111"/>
                    <a:pt x="15" y="107"/>
                    <a:pt x="15" y="102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3"/>
                    <a:pt x="18" y="59"/>
                    <a:pt x="21" y="59"/>
                  </a:cubicBezTo>
                  <a:cubicBezTo>
                    <a:pt x="25" y="59"/>
                    <a:pt x="28" y="63"/>
                    <a:pt x="28" y="68"/>
                  </a:cubicBezTo>
                  <a:moveTo>
                    <a:pt x="67" y="10"/>
                  </a:moveTo>
                  <a:cubicBezTo>
                    <a:pt x="50" y="10"/>
                    <a:pt x="35" y="20"/>
                    <a:pt x="28" y="36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9" y="15"/>
                    <a:pt x="47" y="3"/>
                    <a:pt x="67" y="3"/>
                  </a:cubicBezTo>
                  <a:cubicBezTo>
                    <a:pt x="87" y="3"/>
                    <a:pt x="105" y="15"/>
                    <a:pt x="113" y="34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99" y="20"/>
                    <a:pt x="84" y="10"/>
                    <a:pt x="67" y="10"/>
                  </a:cubicBezTo>
                  <a:moveTo>
                    <a:pt x="113" y="111"/>
                  </a:moveTo>
                  <a:cubicBezTo>
                    <a:pt x="109" y="111"/>
                    <a:pt x="106" y="107"/>
                    <a:pt x="106" y="102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106" y="63"/>
                    <a:pt x="109" y="59"/>
                    <a:pt x="113" y="59"/>
                  </a:cubicBezTo>
                  <a:cubicBezTo>
                    <a:pt x="116" y="59"/>
                    <a:pt x="119" y="63"/>
                    <a:pt x="119" y="68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7"/>
                    <a:pt x="116" y="111"/>
                    <a:pt x="113" y="111"/>
                  </a:cubicBezTo>
                  <a:moveTo>
                    <a:pt x="123" y="102"/>
                  </a:moveTo>
                  <a:cubicBezTo>
                    <a:pt x="123" y="68"/>
                    <a:pt x="123" y="68"/>
                    <a:pt x="123" y="68"/>
                  </a:cubicBezTo>
                  <a:cubicBezTo>
                    <a:pt x="127" y="70"/>
                    <a:pt x="131" y="77"/>
                    <a:pt x="131" y="85"/>
                  </a:cubicBezTo>
                  <a:cubicBezTo>
                    <a:pt x="131" y="93"/>
                    <a:pt x="127" y="100"/>
                    <a:pt x="123" y="10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87">
            <a:extLst>
              <a:ext uri="{FF2B5EF4-FFF2-40B4-BE49-F238E27FC236}">
                <a16:creationId xmlns:a16="http://schemas.microsoft.com/office/drawing/2014/main" id="{9252FBEC-B593-45A0-9F20-1B7242CF23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8534" y="1541860"/>
            <a:ext cx="841375" cy="841375"/>
            <a:chOff x="2985" y="1058"/>
            <a:chExt cx="530" cy="530"/>
          </a:xfrm>
        </p:grpSpPr>
        <p:sp>
          <p:nvSpPr>
            <p:cNvPr id="102" name="AutoShape 86">
              <a:extLst>
                <a:ext uri="{FF2B5EF4-FFF2-40B4-BE49-F238E27FC236}">
                  <a16:creationId xmlns:a16="http://schemas.microsoft.com/office/drawing/2014/main" id="{573BAD9D-1577-4927-AE41-80FFE7DEFF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5" y="105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Oval 88">
              <a:extLst>
                <a:ext uri="{FF2B5EF4-FFF2-40B4-BE49-F238E27FC236}">
                  <a16:creationId xmlns:a16="http://schemas.microsoft.com/office/drawing/2014/main" id="{EA833804-ED78-4139-8357-18C55B988A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8" y="106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9">
              <a:extLst>
                <a:ext uri="{FF2B5EF4-FFF2-40B4-BE49-F238E27FC236}">
                  <a16:creationId xmlns:a16="http://schemas.microsoft.com/office/drawing/2014/main" id="{FDC9138E-286F-46AD-A8E0-3EBB8CABB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4" y="107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0">
              <a:extLst>
                <a:ext uri="{FF2B5EF4-FFF2-40B4-BE49-F238E27FC236}">
                  <a16:creationId xmlns:a16="http://schemas.microsoft.com/office/drawing/2014/main" id="{5DE1CF45-1916-4194-81F9-86765386B9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0" y="1169"/>
              <a:ext cx="343" cy="291"/>
            </a:xfrm>
            <a:custGeom>
              <a:avLst/>
              <a:gdLst>
                <a:gd name="T0" fmla="*/ 115 w 126"/>
                <a:gd name="T1" fmla="*/ 60 h 107"/>
                <a:gd name="T2" fmla="*/ 107 w 126"/>
                <a:gd name="T3" fmla="*/ 48 h 107"/>
                <a:gd name="T4" fmla="*/ 108 w 126"/>
                <a:gd name="T5" fmla="*/ 34 h 107"/>
                <a:gd name="T6" fmla="*/ 109 w 126"/>
                <a:gd name="T7" fmla="*/ 32 h 107"/>
                <a:gd name="T8" fmla="*/ 17 w 126"/>
                <a:gd name="T9" fmla="*/ 32 h 107"/>
                <a:gd name="T10" fmla="*/ 18 w 126"/>
                <a:gd name="T11" fmla="*/ 34 h 107"/>
                <a:gd name="T12" fmla="*/ 19 w 126"/>
                <a:gd name="T13" fmla="*/ 48 h 107"/>
                <a:gd name="T14" fmla="*/ 11 w 126"/>
                <a:gd name="T15" fmla="*/ 60 h 107"/>
                <a:gd name="T16" fmla="*/ 11 w 126"/>
                <a:gd name="T17" fmla="*/ 98 h 107"/>
                <a:gd name="T18" fmla="*/ 30 w 126"/>
                <a:gd name="T19" fmla="*/ 95 h 107"/>
                <a:gd name="T20" fmla="*/ 22 w 126"/>
                <a:gd name="T21" fmla="*/ 52 h 107"/>
                <a:gd name="T22" fmla="*/ 24 w 126"/>
                <a:gd name="T23" fmla="*/ 36 h 107"/>
                <a:gd name="T24" fmla="*/ 29 w 126"/>
                <a:gd name="T25" fmla="*/ 36 h 107"/>
                <a:gd name="T26" fmla="*/ 97 w 126"/>
                <a:gd name="T27" fmla="*/ 36 h 107"/>
                <a:gd name="T28" fmla="*/ 99 w 126"/>
                <a:gd name="T29" fmla="*/ 37 h 107"/>
                <a:gd name="T30" fmla="*/ 104 w 126"/>
                <a:gd name="T31" fmla="*/ 48 h 107"/>
                <a:gd name="T32" fmla="*/ 96 w 126"/>
                <a:gd name="T33" fmla="*/ 64 h 107"/>
                <a:gd name="T34" fmla="*/ 106 w 126"/>
                <a:gd name="T35" fmla="*/ 107 h 107"/>
                <a:gd name="T36" fmla="*/ 126 w 126"/>
                <a:gd name="T37" fmla="*/ 79 h 107"/>
                <a:gd name="T38" fmla="*/ 4 w 126"/>
                <a:gd name="T39" fmla="*/ 79 h 107"/>
                <a:gd name="T40" fmla="*/ 11 w 126"/>
                <a:gd name="T41" fmla="*/ 95 h 107"/>
                <a:gd name="T42" fmla="*/ 26 w 126"/>
                <a:gd name="T43" fmla="*/ 95 h 107"/>
                <a:gd name="T44" fmla="*/ 14 w 126"/>
                <a:gd name="T45" fmla="*/ 95 h 107"/>
                <a:gd name="T46" fmla="*/ 20 w 126"/>
                <a:gd name="T47" fmla="*/ 55 h 107"/>
                <a:gd name="T48" fmla="*/ 63 w 126"/>
                <a:gd name="T49" fmla="*/ 10 h 107"/>
                <a:gd name="T50" fmla="*/ 20 w 126"/>
                <a:gd name="T51" fmla="*/ 31 h 107"/>
                <a:gd name="T52" fmla="*/ 106 w 126"/>
                <a:gd name="T53" fmla="*/ 31 h 107"/>
                <a:gd name="T54" fmla="*/ 63 w 126"/>
                <a:gd name="T55" fmla="*/ 10 h 107"/>
                <a:gd name="T56" fmla="*/ 100 w 126"/>
                <a:gd name="T57" fmla="*/ 95 h 107"/>
                <a:gd name="T58" fmla="*/ 106 w 126"/>
                <a:gd name="T59" fmla="*/ 55 h 107"/>
                <a:gd name="T60" fmla="*/ 112 w 126"/>
                <a:gd name="T61" fmla="*/ 95 h 107"/>
                <a:gd name="T62" fmla="*/ 115 w 126"/>
                <a:gd name="T63" fmla="*/ 95 h 107"/>
                <a:gd name="T64" fmla="*/ 122 w 126"/>
                <a:gd name="T65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07">
                  <a:moveTo>
                    <a:pt x="126" y="79"/>
                  </a:moveTo>
                  <a:cubicBezTo>
                    <a:pt x="126" y="69"/>
                    <a:pt x="121" y="61"/>
                    <a:pt x="115" y="60"/>
                  </a:cubicBezTo>
                  <a:cubicBezTo>
                    <a:pt x="114" y="56"/>
                    <a:pt x="111" y="53"/>
                    <a:pt x="107" y="52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44"/>
                    <a:pt x="106" y="39"/>
                    <a:pt x="105" y="35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9" y="34"/>
                    <a:pt x="109" y="33"/>
                    <a:pt x="109" y="33"/>
                  </a:cubicBezTo>
                  <a:cubicBezTo>
                    <a:pt x="109" y="33"/>
                    <a:pt x="109" y="32"/>
                    <a:pt x="109" y="32"/>
                  </a:cubicBezTo>
                  <a:cubicBezTo>
                    <a:pt x="102" y="13"/>
                    <a:pt x="84" y="0"/>
                    <a:pt x="63" y="0"/>
                  </a:cubicBezTo>
                  <a:cubicBezTo>
                    <a:pt x="42" y="0"/>
                    <a:pt x="24" y="13"/>
                    <a:pt x="17" y="32"/>
                  </a:cubicBezTo>
                  <a:cubicBezTo>
                    <a:pt x="17" y="32"/>
                    <a:pt x="17" y="33"/>
                    <a:pt x="17" y="33"/>
                  </a:cubicBezTo>
                  <a:cubicBezTo>
                    <a:pt x="17" y="33"/>
                    <a:pt x="17" y="34"/>
                    <a:pt x="18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9" y="39"/>
                    <a:pt x="19" y="44"/>
                    <a:pt x="19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5" y="53"/>
                    <a:pt x="12" y="56"/>
                    <a:pt x="11" y="60"/>
                  </a:cubicBezTo>
                  <a:cubicBezTo>
                    <a:pt x="5" y="61"/>
                    <a:pt x="0" y="69"/>
                    <a:pt x="0" y="79"/>
                  </a:cubicBezTo>
                  <a:cubicBezTo>
                    <a:pt x="0" y="89"/>
                    <a:pt x="5" y="97"/>
                    <a:pt x="11" y="98"/>
                  </a:cubicBezTo>
                  <a:cubicBezTo>
                    <a:pt x="13" y="103"/>
                    <a:pt x="16" y="107"/>
                    <a:pt x="20" y="107"/>
                  </a:cubicBezTo>
                  <a:cubicBezTo>
                    <a:pt x="25" y="107"/>
                    <a:pt x="30" y="101"/>
                    <a:pt x="30" y="95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58"/>
                    <a:pt x="26" y="53"/>
                    <a:pt x="22" y="52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4"/>
                    <a:pt x="23" y="40"/>
                    <a:pt x="24" y="36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9" y="37"/>
                    <a:pt x="29" y="36"/>
                  </a:cubicBezTo>
                  <a:cubicBezTo>
                    <a:pt x="34" y="22"/>
                    <a:pt x="48" y="13"/>
                    <a:pt x="63" y="13"/>
                  </a:cubicBezTo>
                  <a:cubicBezTo>
                    <a:pt x="78" y="13"/>
                    <a:pt x="92" y="22"/>
                    <a:pt x="97" y="36"/>
                  </a:cubicBezTo>
                  <a:cubicBezTo>
                    <a:pt x="97" y="37"/>
                    <a:pt x="98" y="37"/>
                    <a:pt x="98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3" y="40"/>
                    <a:pt x="104" y="44"/>
                    <a:pt x="104" y="48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0" y="53"/>
                    <a:pt x="96" y="58"/>
                    <a:pt x="96" y="64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6" y="101"/>
                    <a:pt x="101" y="107"/>
                    <a:pt x="106" y="107"/>
                  </a:cubicBezTo>
                  <a:cubicBezTo>
                    <a:pt x="110" y="107"/>
                    <a:pt x="113" y="103"/>
                    <a:pt x="115" y="98"/>
                  </a:cubicBezTo>
                  <a:cubicBezTo>
                    <a:pt x="121" y="97"/>
                    <a:pt x="126" y="89"/>
                    <a:pt x="126" y="79"/>
                  </a:cubicBezTo>
                  <a:moveTo>
                    <a:pt x="11" y="95"/>
                  </a:moveTo>
                  <a:cubicBezTo>
                    <a:pt x="7" y="94"/>
                    <a:pt x="4" y="87"/>
                    <a:pt x="4" y="79"/>
                  </a:cubicBezTo>
                  <a:cubicBezTo>
                    <a:pt x="4" y="72"/>
                    <a:pt x="7" y="65"/>
                    <a:pt x="11" y="64"/>
                  </a:cubicBezTo>
                  <a:lnTo>
                    <a:pt x="11" y="95"/>
                  </a:lnTo>
                  <a:close/>
                  <a:moveTo>
                    <a:pt x="26" y="64"/>
                  </a:moveTo>
                  <a:cubicBezTo>
                    <a:pt x="26" y="95"/>
                    <a:pt x="26" y="95"/>
                    <a:pt x="26" y="95"/>
                  </a:cubicBezTo>
                  <a:cubicBezTo>
                    <a:pt x="26" y="100"/>
                    <a:pt x="24" y="104"/>
                    <a:pt x="20" y="104"/>
                  </a:cubicBezTo>
                  <a:cubicBezTo>
                    <a:pt x="17" y="104"/>
                    <a:pt x="14" y="100"/>
                    <a:pt x="14" y="9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59"/>
                    <a:pt x="17" y="55"/>
                    <a:pt x="20" y="55"/>
                  </a:cubicBezTo>
                  <a:cubicBezTo>
                    <a:pt x="24" y="55"/>
                    <a:pt x="26" y="59"/>
                    <a:pt x="26" y="64"/>
                  </a:cubicBezTo>
                  <a:moveTo>
                    <a:pt x="63" y="10"/>
                  </a:moveTo>
                  <a:cubicBezTo>
                    <a:pt x="47" y="10"/>
                    <a:pt x="33" y="19"/>
                    <a:pt x="27" y="34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7" y="14"/>
                    <a:pt x="44" y="3"/>
                    <a:pt x="63" y="3"/>
                  </a:cubicBezTo>
                  <a:cubicBezTo>
                    <a:pt x="82" y="3"/>
                    <a:pt x="99" y="14"/>
                    <a:pt x="106" y="31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19"/>
                    <a:pt x="79" y="10"/>
                    <a:pt x="63" y="10"/>
                  </a:cubicBezTo>
                  <a:moveTo>
                    <a:pt x="106" y="104"/>
                  </a:moveTo>
                  <a:cubicBezTo>
                    <a:pt x="102" y="104"/>
                    <a:pt x="100" y="100"/>
                    <a:pt x="100" y="95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100" y="59"/>
                    <a:pt x="102" y="55"/>
                    <a:pt x="106" y="55"/>
                  </a:cubicBezTo>
                  <a:cubicBezTo>
                    <a:pt x="109" y="55"/>
                    <a:pt x="112" y="59"/>
                    <a:pt x="112" y="64"/>
                  </a:cubicBezTo>
                  <a:cubicBezTo>
                    <a:pt x="112" y="95"/>
                    <a:pt x="112" y="95"/>
                    <a:pt x="112" y="95"/>
                  </a:cubicBezTo>
                  <a:cubicBezTo>
                    <a:pt x="112" y="100"/>
                    <a:pt x="109" y="104"/>
                    <a:pt x="106" y="104"/>
                  </a:cubicBezTo>
                  <a:moveTo>
                    <a:pt x="115" y="95"/>
                  </a:moveTo>
                  <a:cubicBezTo>
                    <a:pt x="115" y="64"/>
                    <a:pt x="115" y="64"/>
                    <a:pt x="115" y="64"/>
                  </a:cubicBezTo>
                  <a:cubicBezTo>
                    <a:pt x="119" y="65"/>
                    <a:pt x="122" y="72"/>
                    <a:pt x="122" y="79"/>
                  </a:cubicBezTo>
                  <a:cubicBezTo>
                    <a:pt x="122" y="87"/>
                    <a:pt x="119" y="94"/>
                    <a:pt x="11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93">
            <a:extLst>
              <a:ext uri="{FF2B5EF4-FFF2-40B4-BE49-F238E27FC236}">
                <a16:creationId xmlns:a16="http://schemas.microsoft.com/office/drawing/2014/main" id="{5D9B7AD4-4300-4B6F-A8F7-1152A4CF5C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559" y="1583135"/>
            <a:ext cx="758825" cy="758825"/>
            <a:chOff x="4960" y="1171"/>
            <a:chExt cx="478" cy="478"/>
          </a:xfrm>
        </p:grpSpPr>
        <p:sp>
          <p:nvSpPr>
            <p:cNvPr id="111" name="AutoShape 92">
              <a:extLst>
                <a:ext uri="{FF2B5EF4-FFF2-40B4-BE49-F238E27FC236}">
                  <a16:creationId xmlns:a16="http://schemas.microsoft.com/office/drawing/2014/main" id="{20FBA9DB-0C93-4B8B-902D-E77C8FDE9A0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60" y="117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FB951C59-FA98-403A-9CC3-687D5D2EB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2" y="1173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02103ABA-A3AE-4644-8B06-C0D906B83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8" y="1274"/>
              <a:ext cx="304" cy="275"/>
            </a:xfrm>
            <a:custGeom>
              <a:avLst/>
              <a:gdLst>
                <a:gd name="T0" fmla="*/ 107 w 124"/>
                <a:gd name="T1" fmla="*/ 4 h 112"/>
                <a:gd name="T2" fmla="*/ 106 w 124"/>
                <a:gd name="T3" fmla="*/ 0 h 112"/>
                <a:gd name="T4" fmla="*/ 77 w 124"/>
                <a:gd name="T5" fmla="*/ 14 h 112"/>
                <a:gd name="T6" fmla="*/ 0 w 124"/>
                <a:gd name="T7" fmla="*/ 37 h 112"/>
                <a:gd name="T8" fmla="*/ 95 w 124"/>
                <a:gd name="T9" fmla="*/ 60 h 112"/>
                <a:gd name="T10" fmla="*/ 95 w 124"/>
                <a:gd name="T11" fmla="*/ 99 h 112"/>
                <a:gd name="T12" fmla="*/ 28 w 124"/>
                <a:gd name="T13" fmla="*/ 90 h 112"/>
                <a:gd name="T14" fmla="*/ 17 w 124"/>
                <a:gd name="T15" fmla="*/ 92 h 112"/>
                <a:gd name="T16" fmla="*/ 3 w 124"/>
                <a:gd name="T17" fmla="*/ 93 h 112"/>
                <a:gd name="T18" fmla="*/ 2 w 124"/>
                <a:gd name="T19" fmla="*/ 107 h 112"/>
                <a:gd name="T20" fmla="*/ 17 w 124"/>
                <a:gd name="T21" fmla="*/ 109 h 112"/>
                <a:gd name="T22" fmla="*/ 19 w 124"/>
                <a:gd name="T23" fmla="*/ 112 h 112"/>
                <a:gd name="T24" fmla="*/ 38 w 124"/>
                <a:gd name="T25" fmla="*/ 102 h 112"/>
                <a:gd name="T26" fmla="*/ 118 w 124"/>
                <a:gd name="T27" fmla="*/ 79 h 112"/>
                <a:gd name="T28" fmla="*/ 22 w 124"/>
                <a:gd name="T29" fmla="*/ 56 h 112"/>
                <a:gd name="T30" fmla="*/ 22 w 124"/>
                <a:gd name="T31" fmla="*/ 17 h 112"/>
                <a:gd name="T32" fmla="*/ 92 w 124"/>
                <a:gd name="T33" fmla="*/ 31 h 112"/>
                <a:gd name="T34" fmla="*/ 107 w 124"/>
                <a:gd name="T35" fmla="*/ 29 h 112"/>
                <a:gd name="T36" fmla="*/ 122 w 124"/>
                <a:gd name="T37" fmla="*/ 26 h 112"/>
                <a:gd name="T38" fmla="*/ 124 w 124"/>
                <a:gd name="T39" fmla="*/ 6 h 112"/>
                <a:gd name="T40" fmla="*/ 17 w 124"/>
                <a:gd name="T41" fmla="*/ 105 h 112"/>
                <a:gd name="T42" fmla="*/ 5 w 124"/>
                <a:gd name="T43" fmla="*/ 97 h 112"/>
                <a:gd name="T44" fmla="*/ 17 w 124"/>
                <a:gd name="T45" fmla="*/ 105 h 112"/>
                <a:gd name="T46" fmla="*/ 21 w 124"/>
                <a:gd name="T47" fmla="*/ 108 h 112"/>
                <a:gd name="T48" fmla="*/ 28 w 124"/>
                <a:gd name="T49" fmla="*/ 94 h 112"/>
                <a:gd name="T50" fmla="*/ 28 w 124"/>
                <a:gd name="T51" fmla="*/ 108 h 112"/>
                <a:gd name="T52" fmla="*/ 92 w 124"/>
                <a:gd name="T53" fmla="*/ 27 h 112"/>
                <a:gd name="T54" fmla="*/ 92 w 124"/>
                <a:gd name="T55" fmla="*/ 4 h 112"/>
                <a:gd name="T56" fmla="*/ 104 w 124"/>
                <a:gd name="T57" fmla="*/ 27 h 112"/>
                <a:gd name="T58" fmla="*/ 107 w 124"/>
                <a:gd name="T59" fmla="*/ 23 h 112"/>
                <a:gd name="T60" fmla="*/ 121 w 124"/>
                <a:gd name="T61" fmla="*/ 8 h 112"/>
                <a:gd name="T62" fmla="*/ 116 w 124"/>
                <a:gd name="T63" fmla="*/ 11 h 112"/>
                <a:gd name="T64" fmla="*/ 112 w 124"/>
                <a:gd name="T65" fmla="*/ 14 h 112"/>
                <a:gd name="T66" fmla="*/ 116 w 124"/>
                <a:gd name="T67" fmla="*/ 11 h 112"/>
                <a:gd name="T68" fmla="*/ 112 w 124"/>
                <a:gd name="T69" fmla="*/ 17 h 112"/>
                <a:gd name="T70" fmla="*/ 116 w 124"/>
                <a:gd name="T71" fmla="*/ 2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4" h="112">
                  <a:moveTo>
                    <a:pt x="122" y="4"/>
                  </a:moveTo>
                  <a:cubicBezTo>
                    <a:pt x="107" y="4"/>
                    <a:pt x="107" y="4"/>
                    <a:pt x="107" y="4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1"/>
                    <a:pt x="107" y="0"/>
                    <a:pt x="10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4" y="0"/>
                    <a:pt x="78" y="6"/>
                    <a:pt x="77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0" y="14"/>
                    <a:pt x="0" y="24"/>
                    <a:pt x="0" y="37"/>
                  </a:cubicBezTo>
                  <a:cubicBezTo>
                    <a:pt x="0" y="50"/>
                    <a:pt x="10" y="60"/>
                    <a:pt x="22" y="60"/>
                  </a:cubicBezTo>
                  <a:cubicBezTo>
                    <a:pt x="95" y="60"/>
                    <a:pt x="95" y="60"/>
                    <a:pt x="95" y="60"/>
                  </a:cubicBezTo>
                  <a:cubicBezTo>
                    <a:pt x="106" y="60"/>
                    <a:pt x="114" y="69"/>
                    <a:pt x="114" y="79"/>
                  </a:cubicBezTo>
                  <a:cubicBezTo>
                    <a:pt x="114" y="90"/>
                    <a:pt x="106" y="99"/>
                    <a:pt x="95" y="99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37" y="94"/>
                    <a:pt x="33" y="90"/>
                    <a:pt x="28" y="90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18" y="90"/>
                    <a:pt x="17" y="91"/>
                    <a:pt x="17" y="92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3" y="93"/>
                    <a:pt x="3" y="93"/>
                    <a:pt x="3" y="93"/>
                  </a:cubicBezTo>
                  <a:cubicBezTo>
                    <a:pt x="3" y="93"/>
                    <a:pt x="2" y="94"/>
                    <a:pt x="2" y="95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3" y="109"/>
                    <a:pt x="3" y="109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11"/>
                    <a:pt x="18" y="112"/>
                    <a:pt x="19" y="112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33" y="112"/>
                    <a:pt x="38" y="108"/>
                    <a:pt x="38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108" y="102"/>
                    <a:pt x="118" y="92"/>
                    <a:pt x="118" y="79"/>
                  </a:cubicBezTo>
                  <a:cubicBezTo>
                    <a:pt x="118" y="67"/>
                    <a:pt x="108" y="56"/>
                    <a:pt x="95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2" y="56"/>
                    <a:pt x="3" y="48"/>
                    <a:pt x="3" y="37"/>
                  </a:cubicBezTo>
                  <a:cubicBezTo>
                    <a:pt x="3" y="26"/>
                    <a:pt x="12" y="17"/>
                    <a:pt x="22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8" y="25"/>
                    <a:pt x="84" y="31"/>
                    <a:pt x="92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7" y="31"/>
                    <a:pt x="107" y="30"/>
                    <a:pt x="107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3" y="26"/>
                    <a:pt x="124" y="25"/>
                    <a:pt x="124" y="24"/>
                  </a:cubicBezTo>
                  <a:cubicBezTo>
                    <a:pt x="124" y="6"/>
                    <a:pt x="124" y="6"/>
                    <a:pt x="124" y="6"/>
                  </a:cubicBezTo>
                  <a:cubicBezTo>
                    <a:pt x="124" y="5"/>
                    <a:pt x="123" y="4"/>
                    <a:pt x="122" y="4"/>
                  </a:cubicBezTo>
                  <a:moveTo>
                    <a:pt x="17" y="105"/>
                  </a:moveTo>
                  <a:cubicBezTo>
                    <a:pt x="5" y="105"/>
                    <a:pt x="5" y="105"/>
                    <a:pt x="5" y="105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17" y="97"/>
                    <a:pt x="17" y="97"/>
                    <a:pt x="17" y="97"/>
                  </a:cubicBezTo>
                  <a:lnTo>
                    <a:pt x="17" y="105"/>
                  </a:lnTo>
                  <a:close/>
                  <a:moveTo>
                    <a:pt x="28" y="108"/>
                  </a:moveTo>
                  <a:cubicBezTo>
                    <a:pt x="21" y="108"/>
                    <a:pt x="21" y="108"/>
                    <a:pt x="21" y="108"/>
                  </a:cubicBezTo>
                  <a:cubicBezTo>
                    <a:pt x="21" y="94"/>
                    <a:pt x="21" y="94"/>
                    <a:pt x="21" y="94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2" y="94"/>
                    <a:pt x="35" y="97"/>
                    <a:pt x="35" y="101"/>
                  </a:cubicBezTo>
                  <a:cubicBezTo>
                    <a:pt x="35" y="105"/>
                    <a:pt x="32" y="108"/>
                    <a:pt x="28" y="108"/>
                  </a:cubicBezTo>
                  <a:moveTo>
                    <a:pt x="104" y="27"/>
                  </a:moveTo>
                  <a:cubicBezTo>
                    <a:pt x="92" y="27"/>
                    <a:pt x="92" y="27"/>
                    <a:pt x="92" y="27"/>
                  </a:cubicBezTo>
                  <a:cubicBezTo>
                    <a:pt x="86" y="27"/>
                    <a:pt x="80" y="22"/>
                    <a:pt x="80" y="16"/>
                  </a:cubicBezTo>
                  <a:cubicBezTo>
                    <a:pt x="80" y="9"/>
                    <a:pt x="86" y="4"/>
                    <a:pt x="92" y="4"/>
                  </a:cubicBezTo>
                  <a:cubicBezTo>
                    <a:pt x="104" y="4"/>
                    <a:pt x="104" y="4"/>
                    <a:pt x="104" y="4"/>
                  </a:cubicBezTo>
                  <a:lnTo>
                    <a:pt x="104" y="27"/>
                  </a:lnTo>
                  <a:close/>
                  <a:moveTo>
                    <a:pt x="121" y="23"/>
                  </a:moveTo>
                  <a:cubicBezTo>
                    <a:pt x="107" y="23"/>
                    <a:pt x="107" y="23"/>
                    <a:pt x="107" y="23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21" y="8"/>
                    <a:pt x="121" y="8"/>
                    <a:pt x="121" y="8"/>
                  </a:cubicBezTo>
                  <a:lnTo>
                    <a:pt x="121" y="23"/>
                  </a:lnTo>
                  <a:close/>
                  <a:moveTo>
                    <a:pt x="116" y="11"/>
                  </a:moveTo>
                  <a:cubicBezTo>
                    <a:pt x="112" y="11"/>
                    <a:pt x="112" y="11"/>
                    <a:pt x="112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6" y="14"/>
                    <a:pt x="116" y="14"/>
                    <a:pt x="116" y="14"/>
                  </a:cubicBezTo>
                  <a:lnTo>
                    <a:pt x="116" y="11"/>
                  </a:lnTo>
                  <a:close/>
                  <a:moveTo>
                    <a:pt x="116" y="17"/>
                  </a:moveTo>
                  <a:cubicBezTo>
                    <a:pt x="112" y="17"/>
                    <a:pt x="112" y="17"/>
                    <a:pt x="112" y="17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6" y="20"/>
                    <a:pt x="116" y="20"/>
                    <a:pt x="116" y="20"/>
                  </a:cubicBezTo>
                  <a:lnTo>
                    <a:pt x="116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98">
            <a:extLst>
              <a:ext uri="{FF2B5EF4-FFF2-40B4-BE49-F238E27FC236}">
                <a16:creationId xmlns:a16="http://schemas.microsoft.com/office/drawing/2014/main" id="{EF457789-7E7F-467F-A90B-80406D781D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9438" y="1541860"/>
            <a:ext cx="841375" cy="841375"/>
            <a:chOff x="4406" y="1036"/>
            <a:chExt cx="530" cy="530"/>
          </a:xfrm>
        </p:grpSpPr>
        <p:sp>
          <p:nvSpPr>
            <p:cNvPr id="115" name="AutoShape 97">
              <a:extLst>
                <a:ext uri="{FF2B5EF4-FFF2-40B4-BE49-F238E27FC236}">
                  <a16:creationId xmlns:a16="http://schemas.microsoft.com/office/drawing/2014/main" id="{42704BB5-CA0A-4E8F-B098-B77D4ACE02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06" y="103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Oval 99">
              <a:extLst>
                <a:ext uri="{FF2B5EF4-FFF2-40B4-BE49-F238E27FC236}">
                  <a16:creationId xmlns:a16="http://schemas.microsoft.com/office/drawing/2014/main" id="{88F5E5DA-F12A-4F2F-AF88-8FCDEA628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9" y="1039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0">
              <a:extLst>
                <a:ext uri="{FF2B5EF4-FFF2-40B4-BE49-F238E27FC236}">
                  <a16:creationId xmlns:a16="http://schemas.microsoft.com/office/drawing/2014/main" id="{1C9FEBC7-F080-41A3-856C-D2BF5913A3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" y="1055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1">
              <a:extLst>
                <a:ext uri="{FF2B5EF4-FFF2-40B4-BE49-F238E27FC236}">
                  <a16:creationId xmlns:a16="http://schemas.microsoft.com/office/drawing/2014/main" id="{5BBFE26B-6A0C-411C-BCBA-7687905D2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5" y="1161"/>
              <a:ext cx="315" cy="283"/>
            </a:xfrm>
            <a:custGeom>
              <a:avLst/>
              <a:gdLst>
                <a:gd name="T0" fmla="*/ 100 w 116"/>
                <a:gd name="T1" fmla="*/ 4 h 104"/>
                <a:gd name="T2" fmla="*/ 99 w 116"/>
                <a:gd name="T3" fmla="*/ 0 h 104"/>
                <a:gd name="T4" fmla="*/ 72 w 116"/>
                <a:gd name="T5" fmla="*/ 13 h 104"/>
                <a:gd name="T6" fmla="*/ 0 w 116"/>
                <a:gd name="T7" fmla="*/ 34 h 104"/>
                <a:gd name="T8" fmla="*/ 89 w 116"/>
                <a:gd name="T9" fmla="*/ 56 h 104"/>
                <a:gd name="T10" fmla="*/ 89 w 116"/>
                <a:gd name="T11" fmla="*/ 92 h 104"/>
                <a:gd name="T12" fmla="*/ 26 w 116"/>
                <a:gd name="T13" fmla="*/ 84 h 104"/>
                <a:gd name="T14" fmla="*/ 16 w 116"/>
                <a:gd name="T15" fmla="*/ 86 h 104"/>
                <a:gd name="T16" fmla="*/ 3 w 116"/>
                <a:gd name="T17" fmla="*/ 87 h 104"/>
                <a:gd name="T18" fmla="*/ 2 w 116"/>
                <a:gd name="T19" fmla="*/ 100 h 104"/>
                <a:gd name="T20" fmla="*/ 16 w 116"/>
                <a:gd name="T21" fmla="*/ 101 h 104"/>
                <a:gd name="T22" fmla="*/ 18 w 116"/>
                <a:gd name="T23" fmla="*/ 104 h 104"/>
                <a:gd name="T24" fmla="*/ 36 w 116"/>
                <a:gd name="T25" fmla="*/ 95 h 104"/>
                <a:gd name="T26" fmla="*/ 110 w 116"/>
                <a:gd name="T27" fmla="*/ 74 h 104"/>
                <a:gd name="T28" fmla="*/ 21 w 116"/>
                <a:gd name="T29" fmla="*/ 52 h 104"/>
                <a:gd name="T30" fmla="*/ 21 w 116"/>
                <a:gd name="T31" fmla="*/ 16 h 104"/>
                <a:gd name="T32" fmla="*/ 86 w 116"/>
                <a:gd name="T33" fmla="*/ 28 h 104"/>
                <a:gd name="T34" fmla="*/ 100 w 116"/>
                <a:gd name="T35" fmla="*/ 27 h 104"/>
                <a:gd name="T36" fmla="*/ 114 w 116"/>
                <a:gd name="T37" fmla="*/ 24 h 104"/>
                <a:gd name="T38" fmla="*/ 116 w 116"/>
                <a:gd name="T39" fmla="*/ 6 h 104"/>
                <a:gd name="T40" fmla="*/ 16 w 116"/>
                <a:gd name="T41" fmla="*/ 98 h 104"/>
                <a:gd name="T42" fmla="*/ 5 w 116"/>
                <a:gd name="T43" fmla="*/ 90 h 104"/>
                <a:gd name="T44" fmla="*/ 16 w 116"/>
                <a:gd name="T45" fmla="*/ 98 h 104"/>
                <a:gd name="T46" fmla="*/ 19 w 116"/>
                <a:gd name="T47" fmla="*/ 101 h 104"/>
                <a:gd name="T48" fmla="*/ 26 w 116"/>
                <a:gd name="T49" fmla="*/ 87 h 104"/>
                <a:gd name="T50" fmla="*/ 26 w 116"/>
                <a:gd name="T51" fmla="*/ 101 h 104"/>
                <a:gd name="T52" fmla="*/ 86 w 116"/>
                <a:gd name="T53" fmla="*/ 25 h 104"/>
                <a:gd name="T54" fmla="*/ 86 w 116"/>
                <a:gd name="T55" fmla="*/ 3 h 104"/>
                <a:gd name="T56" fmla="*/ 97 w 116"/>
                <a:gd name="T57" fmla="*/ 25 h 104"/>
                <a:gd name="T58" fmla="*/ 100 w 116"/>
                <a:gd name="T59" fmla="*/ 21 h 104"/>
                <a:gd name="T60" fmla="*/ 113 w 116"/>
                <a:gd name="T61" fmla="*/ 7 h 104"/>
                <a:gd name="T62" fmla="*/ 108 w 116"/>
                <a:gd name="T63" fmla="*/ 10 h 104"/>
                <a:gd name="T64" fmla="*/ 105 w 116"/>
                <a:gd name="T65" fmla="*/ 13 h 104"/>
                <a:gd name="T66" fmla="*/ 108 w 116"/>
                <a:gd name="T67" fmla="*/ 10 h 104"/>
                <a:gd name="T68" fmla="*/ 105 w 116"/>
                <a:gd name="T69" fmla="*/ 15 h 104"/>
                <a:gd name="T70" fmla="*/ 108 w 116"/>
                <a:gd name="T71" fmla="*/ 1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6" h="104">
                  <a:moveTo>
                    <a:pt x="114" y="4"/>
                  </a:moveTo>
                  <a:cubicBezTo>
                    <a:pt x="100" y="4"/>
                    <a:pt x="100" y="4"/>
                    <a:pt x="100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1"/>
                    <a:pt x="100" y="0"/>
                    <a:pt x="99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9" y="0"/>
                    <a:pt x="73" y="5"/>
                    <a:pt x="72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9" y="13"/>
                    <a:pt x="0" y="22"/>
                    <a:pt x="0" y="34"/>
                  </a:cubicBezTo>
                  <a:cubicBezTo>
                    <a:pt x="0" y="46"/>
                    <a:pt x="9" y="56"/>
                    <a:pt x="21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9" y="56"/>
                    <a:pt x="107" y="64"/>
                    <a:pt x="107" y="74"/>
                  </a:cubicBezTo>
                  <a:cubicBezTo>
                    <a:pt x="107" y="84"/>
                    <a:pt x="99" y="92"/>
                    <a:pt x="89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5" y="88"/>
                    <a:pt x="31" y="84"/>
                    <a:pt x="26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7" y="84"/>
                    <a:pt x="16" y="85"/>
                    <a:pt x="16" y="86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2" y="87"/>
                    <a:pt x="2" y="88"/>
                    <a:pt x="2" y="89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2" y="101"/>
                    <a:pt x="2" y="101"/>
                    <a:pt x="3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3"/>
                    <a:pt x="17" y="104"/>
                    <a:pt x="18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1" y="104"/>
                    <a:pt x="35" y="100"/>
                    <a:pt x="36" y="95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101" y="95"/>
                    <a:pt x="110" y="86"/>
                    <a:pt x="110" y="74"/>
                  </a:cubicBezTo>
                  <a:cubicBezTo>
                    <a:pt x="110" y="62"/>
                    <a:pt x="101" y="52"/>
                    <a:pt x="89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11" y="52"/>
                    <a:pt x="3" y="44"/>
                    <a:pt x="3" y="34"/>
                  </a:cubicBezTo>
                  <a:cubicBezTo>
                    <a:pt x="3" y="24"/>
                    <a:pt x="11" y="16"/>
                    <a:pt x="21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23"/>
                    <a:pt x="79" y="28"/>
                    <a:pt x="86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0" y="28"/>
                    <a:pt x="100" y="28"/>
                    <a:pt x="100" y="27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5" y="24"/>
                    <a:pt x="116" y="23"/>
                    <a:pt x="116" y="23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5"/>
                    <a:pt x="115" y="4"/>
                    <a:pt x="114" y="4"/>
                  </a:cubicBezTo>
                  <a:moveTo>
                    <a:pt x="16" y="98"/>
                  </a:moveTo>
                  <a:cubicBezTo>
                    <a:pt x="5" y="98"/>
                    <a:pt x="5" y="98"/>
                    <a:pt x="5" y="98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16" y="90"/>
                    <a:pt x="16" y="90"/>
                    <a:pt x="16" y="90"/>
                  </a:cubicBezTo>
                  <a:lnTo>
                    <a:pt x="16" y="98"/>
                  </a:lnTo>
                  <a:close/>
                  <a:moveTo>
                    <a:pt x="26" y="101"/>
                  </a:moveTo>
                  <a:cubicBezTo>
                    <a:pt x="19" y="101"/>
                    <a:pt x="19" y="101"/>
                    <a:pt x="19" y="101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7"/>
                    <a:pt x="33" y="90"/>
                    <a:pt x="33" y="94"/>
                  </a:cubicBezTo>
                  <a:cubicBezTo>
                    <a:pt x="33" y="98"/>
                    <a:pt x="30" y="101"/>
                    <a:pt x="26" y="101"/>
                  </a:cubicBezTo>
                  <a:moveTo>
                    <a:pt x="97" y="25"/>
                  </a:moveTo>
                  <a:cubicBezTo>
                    <a:pt x="86" y="25"/>
                    <a:pt x="86" y="25"/>
                    <a:pt x="86" y="25"/>
                  </a:cubicBezTo>
                  <a:cubicBezTo>
                    <a:pt x="80" y="25"/>
                    <a:pt x="75" y="20"/>
                    <a:pt x="75" y="14"/>
                  </a:cubicBezTo>
                  <a:cubicBezTo>
                    <a:pt x="75" y="8"/>
                    <a:pt x="80" y="3"/>
                    <a:pt x="86" y="3"/>
                  </a:cubicBezTo>
                  <a:cubicBezTo>
                    <a:pt x="97" y="3"/>
                    <a:pt x="97" y="3"/>
                    <a:pt x="97" y="3"/>
                  </a:cubicBezTo>
                  <a:lnTo>
                    <a:pt x="97" y="25"/>
                  </a:lnTo>
                  <a:close/>
                  <a:moveTo>
                    <a:pt x="113" y="21"/>
                  </a:moveTo>
                  <a:cubicBezTo>
                    <a:pt x="100" y="21"/>
                    <a:pt x="100" y="21"/>
                    <a:pt x="100" y="21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13" y="7"/>
                    <a:pt x="113" y="7"/>
                    <a:pt x="113" y="7"/>
                  </a:cubicBezTo>
                  <a:lnTo>
                    <a:pt x="113" y="21"/>
                  </a:lnTo>
                  <a:close/>
                  <a:moveTo>
                    <a:pt x="108" y="10"/>
                  </a:moveTo>
                  <a:cubicBezTo>
                    <a:pt x="105" y="10"/>
                    <a:pt x="105" y="10"/>
                    <a:pt x="105" y="10"/>
                  </a:cubicBezTo>
                  <a:cubicBezTo>
                    <a:pt x="105" y="13"/>
                    <a:pt x="105" y="13"/>
                    <a:pt x="105" y="13"/>
                  </a:cubicBezTo>
                  <a:cubicBezTo>
                    <a:pt x="108" y="13"/>
                    <a:pt x="108" y="13"/>
                    <a:pt x="108" y="13"/>
                  </a:cubicBezTo>
                  <a:lnTo>
                    <a:pt x="108" y="10"/>
                  </a:lnTo>
                  <a:close/>
                  <a:moveTo>
                    <a:pt x="108" y="15"/>
                  </a:moveTo>
                  <a:cubicBezTo>
                    <a:pt x="105" y="15"/>
                    <a:pt x="105" y="15"/>
                    <a:pt x="105" y="15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8" y="19"/>
                    <a:pt x="108" y="19"/>
                    <a:pt x="108" y="19"/>
                  </a:cubicBezTo>
                  <a:lnTo>
                    <a:pt x="108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Group 104">
            <a:extLst>
              <a:ext uri="{FF2B5EF4-FFF2-40B4-BE49-F238E27FC236}">
                <a16:creationId xmlns:a16="http://schemas.microsoft.com/office/drawing/2014/main" id="{846543A8-DDCE-4D59-AAD0-3D2F106B67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060" y="2860529"/>
            <a:ext cx="758825" cy="758825"/>
            <a:chOff x="1002" y="2014"/>
            <a:chExt cx="478" cy="478"/>
          </a:xfrm>
        </p:grpSpPr>
        <p:sp>
          <p:nvSpPr>
            <p:cNvPr id="124" name="AutoShape 103">
              <a:extLst>
                <a:ext uri="{FF2B5EF4-FFF2-40B4-BE49-F238E27FC236}">
                  <a16:creationId xmlns:a16="http://schemas.microsoft.com/office/drawing/2014/main" id="{C2B9DBC5-829C-4A36-8930-D29B6FCA4E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02" y="201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D968F952-8510-485A-96C6-ED87005330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" y="2016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C924DE04-8073-423A-8DEF-1F70B6C83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5" y="2105"/>
              <a:ext cx="294" cy="279"/>
            </a:xfrm>
            <a:custGeom>
              <a:avLst/>
              <a:gdLst>
                <a:gd name="T0" fmla="*/ 28 w 120"/>
                <a:gd name="T1" fmla="*/ 75 h 114"/>
                <a:gd name="T2" fmla="*/ 28 w 120"/>
                <a:gd name="T3" fmla="*/ 78 h 114"/>
                <a:gd name="T4" fmla="*/ 15 w 120"/>
                <a:gd name="T5" fmla="*/ 91 h 114"/>
                <a:gd name="T6" fmla="*/ 35 w 120"/>
                <a:gd name="T7" fmla="*/ 91 h 114"/>
                <a:gd name="T8" fmla="*/ 28 w 120"/>
                <a:gd name="T9" fmla="*/ 98 h 114"/>
                <a:gd name="T10" fmla="*/ 28 w 120"/>
                <a:gd name="T11" fmla="*/ 95 h 114"/>
                <a:gd name="T12" fmla="*/ 104 w 120"/>
                <a:gd name="T13" fmla="*/ 22 h 114"/>
                <a:gd name="T14" fmla="*/ 120 w 120"/>
                <a:gd name="T15" fmla="*/ 24 h 114"/>
                <a:gd name="T16" fmla="*/ 117 w 120"/>
                <a:gd name="T17" fmla="*/ 20 h 114"/>
                <a:gd name="T18" fmla="*/ 98 w 120"/>
                <a:gd name="T19" fmla="*/ 11 h 114"/>
                <a:gd name="T20" fmla="*/ 81 w 120"/>
                <a:gd name="T21" fmla="*/ 24 h 114"/>
                <a:gd name="T22" fmla="*/ 69 w 120"/>
                <a:gd name="T23" fmla="*/ 104 h 114"/>
                <a:gd name="T24" fmla="*/ 49 w 120"/>
                <a:gd name="T25" fmla="*/ 0 h 114"/>
                <a:gd name="T26" fmla="*/ 38 w 120"/>
                <a:gd name="T27" fmla="*/ 11 h 114"/>
                <a:gd name="T28" fmla="*/ 7 w 120"/>
                <a:gd name="T29" fmla="*/ 18 h 114"/>
                <a:gd name="T30" fmla="*/ 7 w 120"/>
                <a:gd name="T31" fmla="*/ 114 h 114"/>
                <a:gd name="T32" fmla="*/ 56 w 120"/>
                <a:gd name="T33" fmla="*/ 25 h 114"/>
                <a:gd name="T34" fmla="*/ 46 w 120"/>
                <a:gd name="T35" fmla="*/ 12 h 114"/>
                <a:gd name="T36" fmla="*/ 42 w 120"/>
                <a:gd name="T37" fmla="*/ 10 h 114"/>
                <a:gd name="T38" fmla="*/ 66 w 120"/>
                <a:gd name="T39" fmla="*/ 10 h 114"/>
                <a:gd name="T40" fmla="*/ 84 w 120"/>
                <a:gd name="T41" fmla="*/ 104 h 114"/>
                <a:gd name="T42" fmla="*/ 94 w 120"/>
                <a:gd name="T43" fmla="*/ 54 h 114"/>
                <a:gd name="T44" fmla="*/ 106 w 120"/>
                <a:gd name="T45" fmla="*/ 59 h 114"/>
                <a:gd name="T46" fmla="*/ 111 w 120"/>
                <a:gd name="T47" fmla="*/ 69 h 114"/>
                <a:gd name="T48" fmla="*/ 117 w 120"/>
                <a:gd name="T49" fmla="*/ 59 h 114"/>
                <a:gd name="T50" fmla="*/ 115 w 120"/>
                <a:gd name="T51" fmla="*/ 48 h 114"/>
                <a:gd name="T52" fmla="*/ 90 w 120"/>
                <a:gd name="T53" fmla="*/ 51 h 114"/>
                <a:gd name="T54" fmla="*/ 90 w 120"/>
                <a:gd name="T55" fmla="*/ 17 h 114"/>
                <a:gd name="T56" fmla="*/ 106 w 120"/>
                <a:gd name="T57" fmla="*/ 20 h 114"/>
                <a:gd name="T58" fmla="*/ 53 w 120"/>
                <a:gd name="T59" fmla="*/ 107 h 114"/>
                <a:gd name="T60" fmla="*/ 3 w 120"/>
                <a:gd name="T61" fmla="*/ 107 h 114"/>
                <a:gd name="T62" fmla="*/ 53 w 120"/>
                <a:gd name="T63" fmla="*/ 107 h 114"/>
                <a:gd name="T64" fmla="*/ 3 w 120"/>
                <a:gd name="T65" fmla="*/ 31 h 114"/>
                <a:gd name="T66" fmla="*/ 49 w 120"/>
                <a:gd name="T67" fmla="*/ 21 h 114"/>
                <a:gd name="T68" fmla="*/ 3 w 120"/>
                <a:gd name="T69" fmla="*/ 27 h 114"/>
                <a:gd name="T70" fmla="*/ 49 w 120"/>
                <a:gd name="T71" fmla="*/ 21 h 114"/>
                <a:gd name="T72" fmla="*/ 39 w 120"/>
                <a:gd name="T73" fmla="*/ 14 h 114"/>
                <a:gd name="T74" fmla="*/ 111 w 120"/>
                <a:gd name="T75" fmla="*/ 66 h 114"/>
                <a:gd name="T76" fmla="*/ 111 w 120"/>
                <a:gd name="T77" fmla="*/ 66 h 114"/>
                <a:gd name="T78" fmla="*/ 114 w 120"/>
                <a:gd name="T79" fmla="*/ 59 h 114"/>
                <a:gd name="T80" fmla="*/ 98 w 120"/>
                <a:gd name="T81" fmla="*/ 51 h 114"/>
                <a:gd name="T82" fmla="*/ 115 w 120"/>
                <a:gd name="T83" fmla="*/ 54 h 114"/>
                <a:gd name="T84" fmla="*/ 98 w 120"/>
                <a:gd name="T85" fmla="*/ 51 h 114"/>
                <a:gd name="T86" fmla="*/ 117 w 120"/>
                <a:gd name="T87" fmla="*/ 25 h 114"/>
                <a:gd name="T88" fmla="*/ 114 w 120"/>
                <a:gd name="T89" fmla="*/ 20 h 114"/>
                <a:gd name="T90" fmla="*/ 109 w 120"/>
                <a:gd name="T91" fmla="*/ 20 h 114"/>
                <a:gd name="T92" fmla="*/ 98 w 120"/>
                <a:gd name="T93" fmla="*/ 14 h 114"/>
                <a:gd name="T94" fmla="*/ 115 w 120"/>
                <a:gd name="T95" fmla="*/ 17 h 114"/>
                <a:gd name="T96" fmla="*/ 31 w 120"/>
                <a:gd name="T97" fmla="*/ 36 h 114"/>
                <a:gd name="T98" fmla="*/ 33 w 120"/>
                <a:gd name="T99" fmla="*/ 38 h 114"/>
                <a:gd name="T100" fmla="*/ 16 w 120"/>
                <a:gd name="T101" fmla="*/ 6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0" h="114">
                  <a:moveTo>
                    <a:pt x="28" y="106"/>
                  </a:moveTo>
                  <a:cubicBezTo>
                    <a:pt x="37" y="106"/>
                    <a:pt x="44" y="99"/>
                    <a:pt x="44" y="91"/>
                  </a:cubicBezTo>
                  <a:cubicBezTo>
                    <a:pt x="44" y="82"/>
                    <a:pt x="37" y="75"/>
                    <a:pt x="28" y="75"/>
                  </a:cubicBezTo>
                  <a:cubicBezTo>
                    <a:pt x="19" y="75"/>
                    <a:pt x="12" y="82"/>
                    <a:pt x="12" y="91"/>
                  </a:cubicBezTo>
                  <a:cubicBezTo>
                    <a:pt x="12" y="99"/>
                    <a:pt x="19" y="106"/>
                    <a:pt x="28" y="106"/>
                  </a:cubicBezTo>
                  <a:moveTo>
                    <a:pt x="28" y="78"/>
                  </a:moveTo>
                  <a:cubicBezTo>
                    <a:pt x="35" y="78"/>
                    <a:pt x="41" y="84"/>
                    <a:pt x="41" y="91"/>
                  </a:cubicBezTo>
                  <a:cubicBezTo>
                    <a:pt x="41" y="98"/>
                    <a:pt x="35" y="103"/>
                    <a:pt x="28" y="103"/>
                  </a:cubicBezTo>
                  <a:cubicBezTo>
                    <a:pt x="21" y="103"/>
                    <a:pt x="15" y="98"/>
                    <a:pt x="15" y="91"/>
                  </a:cubicBezTo>
                  <a:cubicBezTo>
                    <a:pt x="15" y="84"/>
                    <a:pt x="21" y="78"/>
                    <a:pt x="28" y="78"/>
                  </a:cubicBezTo>
                  <a:moveTo>
                    <a:pt x="28" y="98"/>
                  </a:moveTo>
                  <a:cubicBezTo>
                    <a:pt x="32" y="98"/>
                    <a:pt x="35" y="95"/>
                    <a:pt x="35" y="91"/>
                  </a:cubicBezTo>
                  <a:cubicBezTo>
                    <a:pt x="35" y="87"/>
                    <a:pt x="32" y="83"/>
                    <a:pt x="28" y="83"/>
                  </a:cubicBezTo>
                  <a:cubicBezTo>
                    <a:pt x="24" y="83"/>
                    <a:pt x="21" y="87"/>
                    <a:pt x="21" y="91"/>
                  </a:cubicBezTo>
                  <a:cubicBezTo>
                    <a:pt x="21" y="95"/>
                    <a:pt x="24" y="98"/>
                    <a:pt x="28" y="98"/>
                  </a:cubicBezTo>
                  <a:moveTo>
                    <a:pt x="28" y="86"/>
                  </a:moveTo>
                  <a:cubicBezTo>
                    <a:pt x="30" y="86"/>
                    <a:pt x="32" y="88"/>
                    <a:pt x="32" y="91"/>
                  </a:cubicBezTo>
                  <a:cubicBezTo>
                    <a:pt x="32" y="93"/>
                    <a:pt x="30" y="95"/>
                    <a:pt x="28" y="95"/>
                  </a:cubicBezTo>
                  <a:cubicBezTo>
                    <a:pt x="26" y="95"/>
                    <a:pt x="24" y="93"/>
                    <a:pt x="24" y="91"/>
                  </a:cubicBezTo>
                  <a:cubicBezTo>
                    <a:pt x="24" y="88"/>
                    <a:pt x="26" y="86"/>
                    <a:pt x="28" y="86"/>
                  </a:cubicBezTo>
                  <a:moveTo>
                    <a:pt x="104" y="22"/>
                  </a:moveTo>
                  <a:cubicBezTo>
                    <a:pt x="104" y="22"/>
                    <a:pt x="103" y="23"/>
                    <a:pt x="103" y="24"/>
                  </a:cubicBezTo>
                  <a:cubicBezTo>
                    <a:pt x="103" y="28"/>
                    <a:pt x="107" y="32"/>
                    <a:pt x="111" y="32"/>
                  </a:cubicBezTo>
                  <a:cubicBezTo>
                    <a:pt x="116" y="32"/>
                    <a:pt x="120" y="28"/>
                    <a:pt x="120" y="24"/>
                  </a:cubicBezTo>
                  <a:cubicBezTo>
                    <a:pt x="120" y="23"/>
                    <a:pt x="119" y="22"/>
                    <a:pt x="118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9" y="19"/>
                    <a:pt x="120" y="18"/>
                    <a:pt x="120" y="16"/>
                  </a:cubicBezTo>
                  <a:cubicBezTo>
                    <a:pt x="120" y="13"/>
                    <a:pt x="118" y="11"/>
                    <a:pt x="115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6" y="11"/>
                    <a:pt x="94" y="12"/>
                    <a:pt x="94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14"/>
                    <a:pt x="81" y="18"/>
                    <a:pt x="81" y="24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1" y="107"/>
                    <a:pt x="79" y="110"/>
                    <a:pt x="75" y="110"/>
                  </a:cubicBezTo>
                  <a:cubicBezTo>
                    <a:pt x="72" y="110"/>
                    <a:pt x="69" y="107"/>
                    <a:pt x="69" y="104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4"/>
                    <a:pt x="65" y="0"/>
                    <a:pt x="5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4" y="0"/>
                    <a:pt x="39" y="4"/>
                    <a:pt x="39" y="10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1"/>
                    <a:pt x="36" y="12"/>
                    <a:pt x="36" y="12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3" y="18"/>
                    <a:pt x="0" y="21"/>
                    <a:pt x="0" y="2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11"/>
                    <a:pt x="3" y="114"/>
                    <a:pt x="7" y="114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53" y="114"/>
                    <a:pt x="56" y="111"/>
                    <a:pt x="56" y="107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1"/>
                    <a:pt x="53" y="18"/>
                    <a:pt x="49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5" y="11"/>
                    <a:pt x="44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6"/>
                    <a:pt x="45" y="3"/>
                    <a:pt x="4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3" y="3"/>
                    <a:pt x="66" y="6"/>
                    <a:pt x="66" y="10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6" y="109"/>
                    <a:pt x="70" y="113"/>
                    <a:pt x="75" y="113"/>
                  </a:cubicBezTo>
                  <a:cubicBezTo>
                    <a:pt x="80" y="113"/>
                    <a:pt x="84" y="109"/>
                    <a:pt x="84" y="104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57"/>
                    <a:pt x="87" y="54"/>
                    <a:pt x="90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6"/>
                    <a:pt x="96" y="57"/>
                    <a:pt x="98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3" y="60"/>
                    <a:pt x="103" y="61"/>
                  </a:cubicBezTo>
                  <a:cubicBezTo>
                    <a:pt x="103" y="65"/>
                    <a:pt x="107" y="69"/>
                    <a:pt x="111" y="69"/>
                  </a:cubicBezTo>
                  <a:cubicBezTo>
                    <a:pt x="116" y="69"/>
                    <a:pt x="120" y="65"/>
                    <a:pt x="120" y="61"/>
                  </a:cubicBezTo>
                  <a:cubicBezTo>
                    <a:pt x="120" y="60"/>
                    <a:pt x="119" y="59"/>
                    <a:pt x="118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9" y="56"/>
                    <a:pt x="120" y="55"/>
                    <a:pt x="120" y="53"/>
                  </a:cubicBezTo>
                  <a:cubicBezTo>
                    <a:pt x="120" y="50"/>
                    <a:pt x="118" y="48"/>
                    <a:pt x="115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6" y="48"/>
                    <a:pt x="95" y="49"/>
                    <a:pt x="94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8" y="51"/>
                    <a:pt x="86" y="52"/>
                    <a:pt x="84" y="53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0"/>
                    <a:pt x="87" y="17"/>
                    <a:pt x="90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9"/>
                    <a:pt x="96" y="20"/>
                    <a:pt x="98" y="20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2"/>
                    <a:pt x="106" y="22"/>
                    <a:pt x="106" y="22"/>
                  </a:cubicBezTo>
                  <a:lnTo>
                    <a:pt x="104" y="22"/>
                  </a:lnTo>
                  <a:close/>
                  <a:moveTo>
                    <a:pt x="53" y="107"/>
                  </a:moveTo>
                  <a:cubicBezTo>
                    <a:pt x="53" y="109"/>
                    <a:pt x="51" y="111"/>
                    <a:pt x="49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5" y="111"/>
                    <a:pt x="3" y="109"/>
                    <a:pt x="3" y="107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53" y="70"/>
                    <a:pt x="53" y="70"/>
                    <a:pt x="53" y="70"/>
                  </a:cubicBezTo>
                  <a:lnTo>
                    <a:pt x="53" y="107"/>
                  </a:lnTo>
                  <a:close/>
                  <a:moveTo>
                    <a:pt x="53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53" y="31"/>
                    <a:pt x="53" y="31"/>
                    <a:pt x="53" y="31"/>
                  </a:cubicBezTo>
                  <a:lnTo>
                    <a:pt x="53" y="67"/>
                  </a:lnTo>
                  <a:close/>
                  <a:moveTo>
                    <a:pt x="49" y="21"/>
                  </a:moveTo>
                  <a:cubicBezTo>
                    <a:pt x="51" y="21"/>
                    <a:pt x="53" y="23"/>
                    <a:pt x="53" y="25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3"/>
                    <a:pt x="5" y="21"/>
                    <a:pt x="7" y="21"/>
                  </a:cubicBezTo>
                  <a:lnTo>
                    <a:pt x="49" y="21"/>
                  </a:lnTo>
                  <a:close/>
                  <a:moveTo>
                    <a:pt x="43" y="18"/>
                  </a:moveTo>
                  <a:cubicBezTo>
                    <a:pt x="39" y="18"/>
                    <a:pt x="39" y="18"/>
                    <a:pt x="39" y="18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lnTo>
                    <a:pt x="43" y="18"/>
                  </a:lnTo>
                  <a:close/>
                  <a:moveTo>
                    <a:pt x="111" y="66"/>
                  </a:moveTo>
                  <a:cubicBezTo>
                    <a:pt x="109" y="66"/>
                    <a:pt x="107" y="65"/>
                    <a:pt x="106" y="62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6" y="65"/>
                    <a:pt x="114" y="66"/>
                    <a:pt x="111" y="66"/>
                  </a:cubicBezTo>
                  <a:moveTo>
                    <a:pt x="109" y="57"/>
                  </a:moveTo>
                  <a:cubicBezTo>
                    <a:pt x="114" y="57"/>
                    <a:pt x="114" y="57"/>
                    <a:pt x="114" y="57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09" y="59"/>
                    <a:pt x="109" y="59"/>
                    <a:pt x="109" y="59"/>
                  </a:cubicBezTo>
                  <a:lnTo>
                    <a:pt x="109" y="57"/>
                  </a:lnTo>
                  <a:close/>
                  <a:moveTo>
                    <a:pt x="98" y="51"/>
                  </a:moveTo>
                  <a:cubicBezTo>
                    <a:pt x="115" y="51"/>
                    <a:pt x="115" y="51"/>
                    <a:pt x="115" y="51"/>
                  </a:cubicBezTo>
                  <a:cubicBezTo>
                    <a:pt x="116" y="51"/>
                    <a:pt x="117" y="52"/>
                    <a:pt x="117" y="53"/>
                  </a:cubicBezTo>
                  <a:cubicBezTo>
                    <a:pt x="117" y="54"/>
                    <a:pt x="116" y="54"/>
                    <a:pt x="115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7" y="54"/>
                    <a:pt x="97" y="54"/>
                    <a:pt x="97" y="53"/>
                  </a:cubicBezTo>
                  <a:cubicBezTo>
                    <a:pt x="97" y="52"/>
                    <a:pt x="97" y="51"/>
                    <a:pt x="98" y="51"/>
                  </a:cubicBezTo>
                  <a:moveTo>
                    <a:pt x="111" y="29"/>
                  </a:moveTo>
                  <a:cubicBezTo>
                    <a:pt x="109" y="29"/>
                    <a:pt x="107" y="27"/>
                    <a:pt x="106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6" y="27"/>
                    <a:pt x="114" y="29"/>
                    <a:pt x="111" y="29"/>
                  </a:cubicBezTo>
                  <a:moveTo>
                    <a:pt x="109" y="20"/>
                  </a:moveTo>
                  <a:cubicBezTo>
                    <a:pt x="114" y="20"/>
                    <a:pt x="114" y="20"/>
                    <a:pt x="114" y="20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09" y="22"/>
                    <a:pt x="109" y="22"/>
                    <a:pt x="109" y="22"/>
                  </a:cubicBezTo>
                  <a:lnTo>
                    <a:pt x="109" y="20"/>
                  </a:lnTo>
                  <a:close/>
                  <a:moveTo>
                    <a:pt x="98" y="17"/>
                  </a:moveTo>
                  <a:cubicBezTo>
                    <a:pt x="97" y="17"/>
                    <a:pt x="97" y="17"/>
                    <a:pt x="97" y="16"/>
                  </a:cubicBezTo>
                  <a:cubicBezTo>
                    <a:pt x="97" y="15"/>
                    <a:pt x="97" y="14"/>
                    <a:pt x="98" y="14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6" y="14"/>
                    <a:pt x="117" y="15"/>
                    <a:pt x="117" y="16"/>
                  </a:cubicBezTo>
                  <a:cubicBezTo>
                    <a:pt x="117" y="17"/>
                    <a:pt x="116" y="17"/>
                    <a:pt x="115" y="17"/>
                  </a:cubicBezTo>
                  <a:lnTo>
                    <a:pt x="98" y="17"/>
                  </a:lnTo>
                  <a:close/>
                  <a:moveTo>
                    <a:pt x="33" y="38"/>
                  </a:moveTo>
                  <a:cubicBezTo>
                    <a:pt x="31" y="36"/>
                    <a:pt x="31" y="36"/>
                    <a:pt x="31" y="36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" y="52"/>
                    <a:pt x="19" y="52"/>
                    <a:pt x="19" y="52"/>
                  </a:cubicBezTo>
                  <a:lnTo>
                    <a:pt x="33" y="38"/>
                  </a:lnTo>
                  <a:close/>
                  <a:moveTo>
                    <a:pt x="45" y="38"/>
                  </a:moveTo>
                  <a:cubicBezTo>
                    <a:pt x="43" y="36"/>
                    <a:pt x="43" y="36"/>
                    <a:pt x="43" y="36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9" y="64"/>
                    <a:pt x="19" y="64"/>
                    <a:pt x="19" y="64"/>
                  </a:cubicBezTo>
                  <a:lnTo>
                    <a:pt x="45" y="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7" name="Group 109">
            <a:extLst>
              <a:ext uri="{FF2B5EF4-FFF2-40B4-BE49-F238E27FC236}">
                <a16:creationId xmlns:a16="http://schemas.microsoft.com/office/drawing/2014/main" id="{160296BE-7AAE-49F5-80E9-D7C81639F9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2819254"/>
            <a:ext cx="841375" cy="841375"/>
            <a:chOff x="314" y="1828"/>
            <a:chExt cx="530" cy="530"/>
          </a:xfrm>
        </p:grpSpPr>
        <p:sp>
          <p:nvSpPr>
            <p:cNvPr id="128" name="AutoShape 108">
              <a:extLst>
                <a:ext uri="{FF2B5EF4-FFF2-40B4-BE49-F238E27FC236}">
                  <a16:creationId xmlns:a16="http://schemas.microsoft.com/office/drawing/2014/main" id="{CBA603A8-374F-4A6C-B2A9-11B55C9F74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4" y="182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10">
              <a:extLst>
                <a:ext uri="{FF2B5EF4-FFF2-40B4-BE49-F238E27FC236}">
                  <a16:creationId xmlns:a16="http://schemas.microsoft.com/office/drawing/2014/main" id="{85CAA03C-1EAA-4C02-AA6D-7D183FF33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" y="183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1">
              <a:extLst>
                <a:ext uri="{FF2B5EF4-FFF2-40B4-BE49-F238E27FC236}">
                  <a16:creationId xmlns:a16="http://schemas.microsoft.com/office/drawing/2014/main" id="{7684ABC9-D00E-4939-86DD-C54DD6B46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" y="184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2">
              <a:extLst>
                <a:ext uri="{FF2B5EF4-FFF2-40B4-BE49-F238E27FC236}">
                  <a16:creationId xmlns:a16="http://schemas.microsoft.com/office/drawing/2014/main" id="{2644BA6A-E16E-41E0-B8BA-DD97B07C26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" y="1939"/>
              <a:ext cx="305" cy="289"/>
            </a:xfrm>
            <a:custGeom>
              <a:avLst/>
              <a:gdLst>
                <a:gd name="T0" fmla="*/ 26 w 112"/>
                <a:gd name="T1" fmla="*/ 70 h 106"/>
                <a:gd name="T2" fmla="*/ 26 w 112"/>
                <a:gd name="T3" fmla="*/ 73 h 106"/>
                <a:gd name="T4" fmla="*/ 14 w 112"/>
                <a:gd name="T5" fmla="*/ 85 h 106"/>
                <a:gd name="T6" fmla="*/ 33 w 112"/>
                <a:gd name="T7" fmla="*/ 85 h 106"/>
                <a:gd name="T8" fmla="*/ 26 w 112"/>
                <a:gd name="T9" fmla="*/ 92 h 106"/>
                <a:gd name="T10" fmla="*/ 26 w 112"/>
                <a:gd name="T11" fmla="*/ 89 h 106"/>
                <a:gd name="T12" fmla="*/ 97 w 112"/>
                <a:gd name="T13" fmla="*/ 21 h 106"/>
                <a:gd name="T14" fmla="*/ 112 w 112"/>
                <a:gd name="T15" fmla="*/ 22 h 106"/>
                <a:gd name="T16" fmla="*/ 109 w 112"/>
                <a:gd name="T17" fmla="*/ 19 h 106"/>
                <a:gd name="T18" fmla="*/ 92 w 112"/>
                <a:gd name="T19" fmla="*/ 10 h 106"/>
                <a:gd name="T20" fmla="*/ 76 w 112"/>
                <a:gd name="T21" fmla="*/ 22 h 106"/>
                <a:gd name="T22" fmla="*/ 65 w 112"/>
                <a:gd name="T23" fmla="*/ 97 h 106"/>
                <a:gd name="T24" fmla="*/ 46 w 112"/>
                <a:gd name="T25" fmla="*/ 0 h 106"/>
                <a:gd name="T26" fmla="*/ 35 w 112"/>
                <a:gd name="T27" fmla="*/ 10 h 106"/>
                <a:gd name="T28" fmla="*/ 7 w 112"/>
                <a:gd name="T29" fmla="*/ 17 h 106"/>
                <a:gd name="T30" fmla="*/ 7 w 112"/>
                <a:gd name="T31" fmla="*/ 106 h 106"/>
                <a:gd name="T32" fmla="*/ 52 w 112"/>
                <a:gd name="T33" fmla="*/ 23 h 106"/>
                <a:gd name="T34" fmla="*/ 43 w 112"/>
                <a:gd name="T35" fmla="*/ 12 h 106"/>
                <a:gd name="T36" fmla="*/ 40 w 112"/>
                <a:gd name="T37" fmla="*/ 9 h 106"/>
                <a:gd name="T38" fmla="*/ 62 w 112"/>
                <a:gd name="T39" fmla="*/ 9 h 106"/>
                <a:gd name="T40" fmla="*/ 79 w 112"/>
                <a:gd name="T41" fmla="*/ 97 h 106"/>
                <a:gd name="T42" fmla="*/ 88 w 112"/>
                <a:gd name="T43" fmla="*/ 50 h 106"/>
                <a:gd name="T44" fmla="*/ 99 w 112"/>
                <a:gd name="T45" fmla="*/ 56 h 106"/>
                <a:gd name="T46" fmla="*/ 104 w 112"/>
                <a:gd name="T47" fmla="*/ 65 h 106"/>
                <a:gd name="T48" fmla="*/ 109 w 112"/>
                <a:gd name="T49" fmla="*/ 56 h 106"/>
                <a:gd name="T50" fmla="*/ 108 w 112"/>
                <a:gd name="T51" fmla="*/ 45 h 106"/>
                <a:gd name="T52" fmla="*/ 84 w 112"/>
                <a:gd name="T53" fmla="*/ 48 h 106"/>
                <a:gd name="T54" fmla="*/ 84 w 112"/>
                <a:gd name="T55" fmla="*/ 16 h 106"/>
                <a:gd name="T56" fmla="*/ 99 w 112"/>
                <a:gd name="T57" fmla="*/ 19 h 106"/>
                <a:gd name="T58" fmla="*/ 49 w 112"/>
                <a:gd name="T59" fmla="*/ 100 h 106"/>
                <a:gd name="T60" fmla="*/ 3 w 112"/>
                <a:gd name="T61" fmla="*/ 100 h 106"/>
                <a:gd name="T62" fmla="*/ 49 w 112"/>
                <a:gd name="T63" fmla="*/ 100 h 106"/>
                <a:gd name="T64" fmla="*/ 3 w 112"/>
                <a:gd name="T65" fmla="*/ 29 h 106"/>
                <a:gd name="T66" fmla="*/ 45 w 112"/>
                <a:gd name="T67" fmla="*/ 20 h 106"/>
                <a:gd name="T68" fmla="*/ 3 w 112"/>
                <a:gd name="T69" fmla="*/ 26 h 106"/>
                <a:gd name="T70" fmla="*/ 45 w 112"/>
                <a:gd name="T71" fmla="*/ 20 h 106"/>
                <a:gd name="T72" fmla="*/ 36 w 112"/>
                <a:gd name="T73" fmla="*/ 13 h 106"/>
                <a:gd name="T74" fmla="*/ 104 w 112"/>
                <a:gd name="T75" fmla="*/ 62 h 106"/>
                <a:gd name="T76" fmla="*/ 104 w 112"/>
                <a:gd name="T77" fmla="*/ 62 h 106"/>
                <a:gd name="T78" fmla="*/ 106 w 112"/>
                <a:gd name="T79" fmla="*/ 55 h 106"/>
                <a:gd name="T80" fmla="*/ 92 w 112"/>
                <a:gd name="T81" fmla="*/ 48 h 106"/>
                <a:gd name="T82" fmla="*/ 108 w 112"/>
                <a:gd name="T83" fmla="*/ 51 h 106"/>
                <a:gd name="T84" fmla="*/ 92 w 112"/>
                <a:gd name="T85" fmla="*/ 48 h 106"/>
                <a:gd name="T86" fmla="*/ 109 w 112"/>
                <a:gd name="T87" fmla="*/ 24 h 106"/>
                <a:gd name="T88" fmla="*/ 106 w 112"/>
                <a:gd name="T89" fmla="*/ 19 h 106"/>
                <a:gd name="T90" fmla="*/ 102 w 112"/>
                <a:gd name="T91" fmla="*/ 19 h 106"/>
                <a:gd name="T92" fmla="*/ 92 w 112"/>
                <a:gd name="T93" fmla="*/ 13 h 106"/>
                <a:gd name="T94" fmla="*/ 108 w 112"/>
                <a:gd name="T95" fmla="*/ 16 h 106"/>
                <a:gd name="T96" fmla="*/ 29 w 112"/>
                <a:gd name="T97" fmla="*/ 34 h 106"/>
                <a:gd name="T98" fmla="*/ 31 w 112"/>
                <a:gd name="T99" fmla="*/ 36 h 106"/>
                <a:gd name="T100" fmla="*/ 15 w 112"/>
                <a:gd name="T101" fmla="*/ 5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2" h="106">
                  <a:moveTo>
                    <a:pt x="26" y="99"/>
                  </a:moveTo>
                  <a:cubicBezTo>
                    <a:pt x="34" y="99"/>
                    <a:pt x="41" y="93"/>
                    <a:pt x="41" y="85"/>
                  </a:cubicBezTo>
                  <a:cubicBezTo>
                    <a:pt x="41" y="77"/>
                    <a:pt x="34" y="70"/>
                    <a:pt x="26" y="70"/>
                  </a:cubicBezTo>
                  <a:cubicBezTo>
                    <a:pt x="18" y="70"/>
                    <a:pt x="11" y="77"/>
                    <a:pt x="11" y="85"/>
                  </a:cubicBezTo>
                  <a:cubicBezTo>
                    <a:pt x="11" y="93"/>
                    <a:pt x="18" y="99"/>
                    <a:pt x="26" y="99"/>
                  </a:cubicBezTo>
                  <a:moveTo>
                    <a:pt x="26" y="73"/>
                  </a:moveTo>
                  <a:cubicBezTo>
                    <a:pt x="33" y="73"/>
                    <a:pt x="38" y="78"/>
                    <a:pt x="38" y="85"/>
                  </a:cubicBezTo>
                  <a:cubicBezTo>
                    <a:pt x="38" y="91"/>
                    <a:pt x="33" y="97"/>
                    <a:pt x="26" y="97"/>
                  </a:cubicBezTo>
                  <a:cubicBezTo>
                    <a:pt x="19" y="97"/>
                    <a:pt x="14" y="91"/>
                    <a:pt x="14" y="85"/>
                  </a:cubicBezTo>
                  <a:cubicBezTo>
                    <a:pt x="14" y="78"/>
                    <a:pt x="19" y="73"/>
                    <a:pt x="26" y="73"/>
                  </a:cubicBezTo>
                  <a:moveTo>
                    <a:pt x="26" y="92"/>
                  </a:moveTo>
                  <a:cubicBezTo>
                    <a:pt x="30" y="92"/>
                    <a:pt x="33" y="88"/>
                    <a:pt x="33" y="85"/>
                  </a:cubicBezTo>
                  <a:cubicBezTo>
                    <a:pt x="33" y="81"/>
                    <a:pt x="30" y="78"/>
                    <a:pt x="26" y="78"/>
                  </a:cubicBezTo>
                  <a:cubicBezTo>
                    <a:pt x="22" y="78"/>
                    <a:pt x="19" y="81"/>
                    <a:pt x="19" y="85"/>
                  </a:cubicBezTo>
                  <a:cubicBezTo>
                    <a:pt x="19" y="88"/>
                    <a:pt x="22" y="92"/>
                    <a:pt x="26" y="92"/>
                  </a:cubicBezTo>
                  <a:moveTo>
                    <a:pt x="26" y="81"/>
                  </a:moveTo>
                  <a:cubicBezTo>
                    <a:pt x="28" y="81"/>
                    <a:pt x="30" y="82"/>
                    <a:pt x="30" y="85"/>
                  </a:cubicBezTo>
                  <a:cubicBezTo>
                    <a:pt x="30" y="87"/>
                    <a:pt x="28" y="89"/>
                    <a:pt x="26" y="89"/>
                  </a:cubicBezTo>
                  <a:cubicBezTo>
                    <a:pt x="24" y="89"/>
                    <a:pt x="22" y="87"/>
                    <a:pt x="22" y="85"/>
                  </a:cubicBezTo>
                  <a:cubicBezTo>
                    <a:pt x="22" y="82"/>
                    <a:pt x="24" y="81"/>
                    <a:pt x="26" y="81"/>
                  </a:cubicBezTo>
                  <a:moveTo>
                    <a:pt x="97" y="21"/>
                  </a:moveTo>
                  <a:cubicBezTo>
                    <a:pt x="97" y="21"/>
                    <a:pt x="96" y="21"/>
                    <a:pt x="96" y="22"/>
                  </a:cubicBezTo>
                  <a:cubicBezTo>
                    <a:pt x="96" y="26"/>
                    <a:pt x="100" y="30"/>
                    <a:pt x="104" y="30"/>
                  </a:cubicBezTo>
                  <a:cubicBezTo>
                    <a:pt x="108" y="30"/>
                    <a:pt x="112" y="26"/>
                    <a:pt x="112" y="22"/>
                  </a:cubicBezTo>
                  <a:cubicBezTo>
                    <a:pt x="112" y="21"/>
                    <a:pt x="111" y="21"/>
                    <a:pt x="110" y="21"/>
                  </a:cubicBezTo>
                  <a:cubicBezTo>
                    <a:pt x="109" y="21"/>
                    <a:pt x="109" y="21"/>
                    <a:pt x="109" y="21"/>
                  </a:cubicBezTo>
                  <a:cubicBezTo>
                    <a:pt x="109" y="19"/>
                    <a:pt x="109" y="19"/>
                    <a:pt x="109" y="19"/>
                  </a:cubicBezTo>
                  <a:cubicBezTo>
                    <a:pt x="111" y="18"/>
                    <a:pt x="112" y="17"/>
                    <a:pt x="112" y="15"/>
                  </a:cubicBezTo>
                  <a:cubicBezTo>
                    <a:pt x="112" y="12"/>
                    <a:pt x="110" y="10"/>
                    <a:pt x="108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0" y="10"/>
                    <a:pt x="88" y="12"/>
                    <a:pt x="88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79" y="13"/>
                    <a:pt x="76" y="17"/>
                    <a:pt x="76" y="22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6" y="100"/>
                    <a:pt x="73" y="103"/>
                    <a:pt x="70" y="103"/>
                  </a:cubicBezTo>
                  <a:cubicBezTo>
                    <a:pt x="67" y="103"/>
                    <a:pt x="65" y="100"/>
                    <a:pt x="65" y="97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5" y="4"/>
                    <a:pt x="61" y="0"/>
                    <a:pt x="5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1" y="0"/>
                    <a:pt x="37" y="4"/>
                    <a:pt x="37" y="9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10"/>
                    <a:pt x="34" y="11"/>
                    <a:pt x="34" y="12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3" y="17"/>
                    <a:pt x="0" y="20"/>
                    <a:pt x="0" y="23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3" y="106"/>
                    <a:pt x="7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9" y="106"/>
                    <a:pt x="52" y="103"/>
                    <a:pt x="52" y="10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0"/>
                    <a:pt x="49" y="17"/>
                    <a:pt x="45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1"/>
                    <a:pt x="42" y="10"/>
                    <a:pt x="41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6"/>
                    <a:pt x="42" y="3"/>
                    <a:pt x="46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9" y="3"/>
                    <a:pt x="62" y="6"/>
                    <a:pt x="62" y="9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102"/>
                    <a:pt x="66" y="106"/>
                    <a:pt x="70" y="106"/>
                  </a:cubicBezTo>
                  <a:cubicBezTo>
                    <a:pt x="75" y="106"/>
                    <a:pt x="79" y="102"/>
                    <a:pt x="79" y="9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3"/>
                    <a:pt x="81" y="50"/>
                    <a:pt x="84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2"/>
                    <a:pt x="90" y="54"/>
                    <a:pt x="92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7"/>
                  </a:cubicBezTo>
                  <a:cubicBezTo>
                    <a:pt x="96" y="61"/>
                    <a:pt x="100" y="65"/>
                    <a:pt x="104" y="65"/>
                  </a:cubicBezTo>
                  <a:cubicBezTo>
                    <a:pt x="108" y="65"/>
                    <a:pt x="112" y="61"/>
                    <a:pt x="112" y="57"/>
                  </a:cubicBezTo>
                  <a:cubicBezTo>
                    <a:pt x="112" y="56"/>
                    <a:pt x="111" y="56"/>
                    <a:pt x="110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9" y="53"/>
                    <a:pt x="109" y="53"/>
                    <a:pt x="109" y="53"/>
                  </a:cubicBezTo>
                  <a:cubicBezTo>
                    <a:pt x="111" y="53"/>
                    <a:pt x="112" y="51"/>
                    <a:pt x="112" y="49"/>
                  </a:cubicBezTo>
                  <a:cubicBezTo>
                    <a:pt x="112" y="47"/>
                    <a:pt x="110" y="45"/>
                    <a:pt x="108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0" y="45"/>
                    <a:pt x="88" y="46"/>
                    <a:pt x="88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8"/>
                    <a:pt x="79" y="50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19"/>
                    <a:pt x="81" y="16"/>
                    <a:pt x="84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18"/>
                    <a:pt x="90" y="19"/>
                    <a:pt x="92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21"/>
                    <a:pt x="99" y="21"/>
                    <a:pt x="99" y="21"/>
                  </a:cubicBezTo>
                  <a:lnTo>
                    <a:pt x="97" y="21"/>
                  </a:lnTo>
                  <a:close/>
                  <a:moveTo>
                    <a:pt x="49" y="100"/>
                  </a:moveTo>
                  <a:cubicBezTo>
                    <a:pt x="49" y="102"/>
                    <a:pt x="48" y="104"/>
                    <a:pt x="45" y="104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5" y="104"/>
                    <a:pt x="3" y="102"/>
                    <a:pt x="3" y="100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49" y="66"/>
                    <a:pt x="49" y="66"/>
                    <a:pt x="49" y="66"/>
                  </a:cubicBezTo>
                  <a:lnTo>
                    <a:pt x="49" y="100"/>
                  </a:lnTo>
                  <a:close/>
                  <a:moveTo>
                    <a:pt x="49" y="63"/>
                  </a:moveTo>
                  <a:cubicBezTo>
                    <a:pt x="3" y="63"/>
                    <a:pt x="3" y="63"/>
                    <a:pt x="3" y="63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49" y="63"/>
                  </a:lnTo>
                  <a:close/>
                  <a:moveTo>
                    <a:pt x="45" y="20"/>
                  </a:moveTo>
                  <a:cubicBezTo>
                    <a:pt x="48" y="20"/>
                    <a:pt x="49" y="21"/>
                    <a:pt x="49" y="23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1"/>
                    <a:pt x="5" y="20"/>
                    <a:pt x="7" y="20"/>
                  </a:cubicBezTo>
                  <a:lnTo>
                    <a:pt x="45" y="20"/>
                  </a:lnTo>
                  <a:close/>
                  <a:moveTo>
                    <a:pt x="40" y="17"/>
                  </a:moveTo>
                  <a:cubicBezTo>
                    <a:pt x="36" y="17"/>
                    <a:pt x="36" y="17"/>
                    <a:pt x="36" y="17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40" y="13"/>
                    <a:pt x="40" y="13"/>
                    <a:pt x="40" y="13"/>
                  </a:cubicBezTo>
                  <a:lnTo>
                    <a:pt x="40" y="17"/>
                  </a:lnTo>
                  <a:close/>
                  <a:moveTo>
                    <a:pt x="104" y="62"/>
                  </a:moveTo>
                  <a:cubicBezTo>
                    <a:pt x="102" y="62"/>
                    <a:pt x="100" y="60"/>
                    <a:pt x="9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8" y="60"/>
                    <a:pt x="106" y="62"/>
                    <a:pt x="104" y="62"/>
                  </a:cubicBezTo>
                  <a:moveTo>
                    <a:pt x="102" y="54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2" y="55"/>
                    <a:pt x="102" y="55"/>
                    <a:pt x="102" y="55"/>
                  </a:cubicBezTo>
                  <a:lnTo>
                    <a:pt x="102" y="54"/>
                  </a:lnTo>
                  <a:close/>
                  <a:moveTo>
                    <a:pt x="92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9" y="49"/>
                    <a:pt x="109" y="49"/>
                  </a:cubicBezTo>
                  <a:cubicBezTo>
                    <a:pt x="109" y="50"/>
                    <a:pt x="108" y="51"/>
                    <a:pt x="108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1" y="51"/>
                    <a:pt x="90" y="50"/>
                    <a:pt x="90" y="49"/>
                  </a:cubicBezTo>
                  <a:cubicBezTo>
                    <a:pt x="90" y="49"/>
                    <a:pt x="91" y="48"/>
                    <a:pt x="92" y="48"/>
                  </a:cubicBezTo>
                  <a:moveTo>
                    <a:pt x="104" y="27"/>
                  </a:moveTo>
                  <a:cubicBezTo>
                    <a:pt x="102" y="27"/>
                    <a:pt x="100" y="26"/>
                    <a:pt x="99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8" y="26"/>
                    <a:pt x="106" y="27"/>
                    <a:pt x="104" y="27"/>
                  </a:cubicBezTo>
                  <a:moveTo>
                    <a:pt x="102" y="19"/>
                  </a:moveTo>
                  <a:cubicBezTo>
                    <a:pt x="106" y="19"/>
                    <a:pt x="106" y="19"/>
                    <a:pt x="106" y="1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2" y="21"/>
                    <a:pt x="102" y="21"/>
                    <a:pt x="102" y="21"/>
                  </a:cubicBezTo>
                  <a:lnTo>
                    <a:pt x="102" y="19"/>
                  </a:lnTo>
                  <a:close/>
                  <a:moveTo>
                    <a:pt x="92" y="16"/>
                  </a:moveTo>
                  <a:cubicBezTo>
                    <a:pt x="91" y="16"/>
                    <a:pt x="90" y="15"/>
                    <a:pt x="90" y="15"/>
                  </a:cubicBezTo>
                  <a:cubicBezTo>
                    <a:pt x="90" y="14"/>
                    <a:pt x="91" y="13"/>
                    <a:pt x="92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9" y="14"/>
                    <a:pt x="109" y="15"/>
                  </a:cubicBezTo>
                  <a:cubicBezTo>
                    <a:pt x="109" y="15"/>
                    <a:pt x="108" y="16"/>
                    <a:pt x="108" y="16"/>
                  </a:cubicBezTo>
                  <a:lnTo>
                    <a:pt x="92" y="16"/>
                  </a:lnTo>
                  <a:close/>
                  <a:moveTo>
                    <a:pt x="31" y="36"/>
                  </a:moveTo>
                  <a:cubicBezTo>
                    <a:pt x="29" y="34"/>
                    <a:pt x="29" y="34"/>
                    <a:pt x="29" y="34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7" y="49"/>
                    <a:pt x="17" y="49"/>
                    <a:pt x="17" y="49"/>
                  </a:cubicBezTo>
                  <a:lnTo>
                    <a:pt x="31" y="36"/>
                  </a:lnTo>
                  <a:close/>
                  <a:moveTo>
                    <a:pt x="42" y="35"/>
                  </a:moveTo>
                  <a:cubicBezTo>
                    <a:pt x="40" y="33"/>
                    <a:pt x="40" y="33"/>
                    <a:pt x="40" y="33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7" y="60"/>
                    <a:pt x="17" y="60"/>
                    <a:pt x="17" y="60"/>
                  </a:cubicBezTo>
                  <a:lnTo>
                    <a:pt x="42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6" name="Group 115">
            <a:extLst>
              <a:ext uri="{FF2B5EF4-FFF2-40B4-BE49-F238E27FC236}">
                <a16:creationId xmlns:a16="http://schemas.microsoft.com/office/drawing/2014/main" id="{0CDEB0A8-7667-400B-8FC1-4A36FDD351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065" y="2819254"/>
            <a:ext cx="842963" cy="841375"/>
            <a:chOff x="1674" y="1640"/>
            <a:chExt cx="531" cy="530"/>
          </a:xfrm>
        </p:grpSpPr>
        <p:sp>
          <p:nvSpPr>
            <p:cNvPr id="137" name="AutoShape 114">
              <a:extLst>
                <a:ext uri="{FF2B5EF4-FFF2-40B4-BE49-F238E27FC236}">
                  <a16:creationId xmlns:a16="http://schemas.microsoft.com/office/drawing/2014/main" id="{BD9A9254-746F-4F90-BA9D-37CC85FEF2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4" y="164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Oval 116">
              <a:extLst>
                <a:ext uri="{FF2B5EF4-FFF2-40B4-BE49-F238E27FC236}">
                  <a16:creationId xmlns:a16="http://schemas.microsoft.com/office/drawing/2014/main" id="{8A13DE05-9410-4762-A85E-496F9819B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" y="1643"/>
              <a:ext cx="528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7">
              <a:extLst>
                <a:ext uri="{FF2B5EF4-FFF2-40B4-BE49-F238E27FC236}">
                  <a16:creationId xmlns:a16="http://schemas.microsoft.com/office/drawing/2014/main" id="{7ADE3CF5-F51E-4AAE-9AD9-60BEBD71BA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3" y="1659"/>
              <a:ext cx="496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8">
              <a:extLst>
                <a:ext uri="{FF2B5EF4-FFF2-40B4-BE49-F238E27FC236}">
                  <a16:creationId xmlns:a16="http://schemas.microsoft.com/office/drawing/2014/main" id="{63B81EAF-55CC-42B8-9E25-64866EC9C5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" y="1757"/>
              <a:ext cx="300" cy="299"/>
            </a:xfrm>
            <a:custGeom>
              <a:avLst/>
              <a:gdLst>
                <a:gd name="T0" fmla="*/ 48 w 110"/>
                <a:gd name="T1" fmla="*/ 0 h 110"/>
                <a:gd name="T2" fmla="*/ 48 w 110"/>
                <a:gd name="T3" fmla="*/ 110 h 110"/>
                <a:gd name="T4" fmla="*/ 110 w 110"/>
                <a:gd name="T5" fmla="*/ 9 h 110"/>
                <a:gd name="T6" fmla="*/ 48 w 110"/>
                <a:gd name="T7" fmla="*/ 105 h 110"/>
                <a:gd name="T8" fmla="*/ 105 w 110"/>
                <a:gd name="T9" fmla="*/ 92 h 110"/>
                <a:gd name="T10" fmla="*/ 44 w 110"/>
                <a:gd name="T11" fmla="*/ 87 h 110"/>
                <a:gd name="T12" fmla="*/ 105 w 110"/>
                <a:gd name="T13" fmla="*/ 87 h 110"/>
                <a:gd name="T14" fmla="*/ 44 w 110"/>
                <a:gd name="T15" fmla="*/ 9 h 110"/>
                <a:gd name="T16" fmla="*/ 105 w 110"/>
                <a:gd name="T17" fmla="*/ 9 h 110"/>
                <a:gd name="T18" fmla="*/ 69 w 110"/>
                <a:gd name="T19" fmla="*/ 96 h 110"/>
                <a:gd name="T20" fmla="*/ 80 w 110"/>
                <a:gd name="T21" fmla="*/ 96 h 110"/>
                <a:gd name="T22" fmla="*/ 57 w 110"/>
                <a:gd name="T23" fmla="*/ 48 h 110"/>
                <a:gd name="T24" fmla="*/ 66 w 110"/>
                <a:gd name="T25" fmla="*/ 45 h 110"/>
                <a:gd name="T26" fmla="*/ 80 w 110"/>
                <a:gd name="T27" fmla="*/ 53 h 110"/>
                <a:gd name="T28" fmla="*/ 85 w 110"/>
                <a:gd name="T29" fmla="*/ 44 h 110"/>
                <a:gd name="T30" fmla="*/ 100 w 110"/>
                <a:gd name="T31" fmla="*/ 40 h 110"/>
                <a:gd name="T32" fmla="*/ 96 w 110"/>
                <a:gd name="T33" fmla="*/ 32 h 110"/>
                <a:gd name="T34" fmla="*/ 101 w 110"/>
                <a:gd name="T35" fmla="*/ 25 h 110"/>
                <a:gd name="T36" fmla="*/ 91 w 110"/>
                <a:gd name="T37" fmla="*/ 32 h 110"/>
                <a:gd name="T38" fmla="*/ 90 w 110"/>
                <a:gd name="T39" fmla="*/ 43 h 110"/>
                <a:gd name="T40" fmla="*/ 79 w 110"/>
                <a:gd name="T41" fmla="*/ 41 h 110"/>
                <a:gd name="T42" fmla="*/ 71 w 110"/>
                <a:gd name="T43" fmla="*/ 48 h 110"/>
                <a:gd name="T44" fmla="*/ 65 w 110"/>
                <a:gd name="T45" fmla="*/ 39 h 110"/>
                <a:gd name="T46" fmla="*/ 53 w 110"/>
                <a:gd name="T47" fmla="*/ 38 h 110"/>
                <a:gd name="T48" fmla="*/ 56 w 110"/>
                <a:gd name="T49" fmla="*/ 27 h 110"/>
                <a:gd name="T50" fmla="*/ 48 w 110"/>
                <a:gd name="T51" fmla="*/ 30 h 110"/>
                <a:gd name="T52" fmla="*/ 49 w 110"/>
                <a:gd name="T53" fmla="*/ 37 h 110"/>
                <a:gd name="T54" fmla="*/ 85 w 110"/>
                <a:gd name="T55" fmla="*/ 21 h 110"/>
                <a:gd name="T56" fmla="*/ 69 w 110"/>
                <a:gd name="T57" fmla="*/ 21 h 110"/>
                <a:gd name="T58" fmla="*/ 28 w 110"/>
                <a:gd name="T59" fmla="*/ 21 h 110"/>
                <a:gd name="T60" fmla="*/ 19 w 110"/>
                <a:gd name="T61" fmla="*/ 24 h 110"/>
                <a:gd name="T62" fmla="*/ 6 w 110"/>
                <a:gd name="T63" fmla="*/ 37 h 110"/>
                <a:gd name="T64" fmla="*/ 2 w 110"/>
                <a:gd name="T65" fmla="*/ 46 h 110"/>
                <a:gd name="T66" fmla="*/ 2 w 110"/>
                <a:gd name="T67" fmla="*/ 64 h 110"/>
                <a:gd name="T68" fmla="*/ 6 w 110"/>
                <a:gd name="T69" fmla="*/ 73 h 110"/>
                <a:gd name="T70" fmla="*/ 19 w 110"/>
                <a:gd name="T71" fmla="*/ 86 h 110"/>
                <a:gd name="T72" fmla="*/ 28 w 110"/>
                <a:gd name="T73" fmla="*/ 89 h 110"/>
                <a:gd name="T74" fmla="*/ 37 w 110"/>
                <a:gd name="T75" fmla="*/ 87 h 110"/>
                <a:gd name="T76" fmla="*/ 30 w 110"/>
                <a:gd name="T77" fmla="*/ 79 h 110"/>
                <a:gd name="T78" fmla="*/ 17 w 110"/>
                <a:gd name="T79" fmla="*/ 81 h 110"/>
                <a:gd name="T80" fmla="*/ 15 w 110"/>
                <a:gd name="T81" fmla="*/ 68 h 110"/>
                <a:gd name="T82" fmla="*/ 5 w 110"/>
                <a:gd name="T83" fmla="*/ 60 h 110"/>
                <a:gd name="T84" fmla="*/ 12 w 110"/>
                <a:gd name="T85" fmla="*/ 49 h 110"/>
                <a:gd name="T86" fmla="*/ 11 w 110"/>
                <a:gd name="T87" fmla="*/ 36 h 110"/>
                <a:gd name="T88" fmla="*/ 24 w 110"/>
                <a:gd name="T89" fmla="*/ 33 h 110"/>
                <a:gd name="T90" fmla="*/ 32 w 110"/>
                <a:gd name="T91" fmla="*/ 23 h 110"/>
                <a:gd name="T92" fmla="*/ 30 w 110"/>
                <a:gd name="T93" fmla="*/ 18 h 110"/>
                <a:gd name="T94" fmla="*/ 37 w 110"/>
                <a:gd name="T95" fmla="*/ 71 h 110"/>
                <a:gd name="T96" fmla="*/ 37 w 110"/>
                <a:gd name="T97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0" h="110">
                  <a:moveTo>
                    <a:pt x="110" y="9"/>
                  </a:moveTo>
                  <a:cubicBezTo>
                    <a:pt x="110" y="4"/>
                    <a:pt x="106" y="0"/>
                    <a:pt x="10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3" y="0"/>
                    <a:pt x="39" y="4"/>
                    <a:pt x="39" y="9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39" y="106"/>
                    <a:pt x="43" y="110"/>
                    <a:pt x="48" y="110"/>
                  </a:cubicBezTo>
                  <a:cubicBezTo>
                    <a:pt x="101" y="110"/>
                    <a:pt x="101" y="110"/>
                    <a:pt x="101" y="110"/>
                  </a:cubicBezTo>
                  <a:cubicBezTo>
                    <a:pt x="106" y="110"/>
                    <a:pt x="110" y="106"/>
                    <a:pt x="110" y="101"/>
                  </a:cubicBezTo>
                  <a:lnTo>
                    <a:pt x="110" y="9"/>
                  </a:lnTo>
                  <a:close/>
                  <a:moveTo>
                    <a:pt x="105" y="101"/>
                  </a:moveTo>
                  <a:cubicBezTo>
                    <a:pt x="105" y="103"/>
                    <a:pt x="103" y="105"/>
                    <a:pt x="101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6" y="105"/>
                    <a:pt x="44" y="103"/>
                    <a:pt x="44" y="10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105" y="92"/>
                    <a:pt x="105" y="92"/>
                    <a:pt x="105" y="92"/>
                  </a:cubicBezTo>
                  <a:lnTo>
                    <a:pt x="105" y="101"/>
                  </a:lnTo>
                  <a:close/>
                  <a:moveTo>
                    <a:pt x="105" y="87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105" y="16"/>
                    <a:pt x="105" y="16"/>
                    <a:pt x="105" y="16"/>
                  </a:cubicBezTo>
                  <a:lnTo>
                    <a:pt x="105" y="87"/>
                  </a:lnTo>
                  <a:close/>
                  <a:moveTo>
                    <a:pt x="105" y="12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7"/>
                    <a:pt x="46" y="5"/>
                    <a:pt x="48" y="5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5"/>
                    <a:pt x="105" y="7"/>
                    <a:pt x="105" y="9"/>
                  </a:cubicBezTo>
                  <a:lnTo>
                    <a:pt x="105" y="12"/>
                  </a:lnTo>
                  <a:close/>
                  <a:moveTo>
                    <a:pt x="80" y="96"/>
                  </a:moveTo>
                  <a:cubicBezTo>
                    <a:pt x="69" y="96"/>
                    <a:pt x="69" y="96"/>
                    <a:pt x="69" y="96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80" y="101"/>
                    <a:pt x="80" y="101"/>
                    <a:pt x="80" y="101"/>
                  </a:cubicBezTo>
                  <a:lnTo>
                    <a:pt x="80" y="96"/>
                  </a:lnTo>
                  <a:close/>
                  <a:moveTo>
                    <a:pt x="48" y="38"/>
                  </a:moveTo>
                  <a:cubicBezTo>
                    <a:pt x="48" y="39"/>
                    <a:pt x="48" y="39"/>
                    <a:pt x="49" y="40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49"/>
                    <a:pt x="59" y="49"/>
                    <a:pt x="60" y="48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5" y="44"/>
                    <a:pt x="66" y="44"/>
                    <a:pt x="66" y="45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2"/>
                    <a:pt x="67" y="53"/>
                    <a:pt x="69" y="53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1" y="53"/>
                    <a:pt x="82" y="52"/>
                    <a:pt x="82" y="51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3" y="44"/>
                    <a:pt x="84" y="44"/>
                    <a:pt x="85" y="44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90" y="49"/>
                    <a:pt x="91" y="49"/>
                    <a:pt x="92" y="48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1" y="39"/>
                    <a:pt x="101" y="39"/>
                    <a:pt x="101" y="38"/>
                  </a:cubicBezTo>
                  <a:cubicBezTo>
                    <a:pt x="101" y="37"/>
                    <a:pt x="101" y="37"/>
                    <a:pt x="100" y="37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6" y="32"/>
                    <a:pt x="97" y="31"/>
                    <a:pt x="97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4" y="25"/>
                    <a:pt x="93" y="26"/>
                    <a:pt x="93" y="27"/>
                  </a:cubicBezTo>
                  <a:cubicBezTo>
                    <a:pt x="93" y="29"/>
                    <a:pt x="92" y="30"/>
                    <a:pt x="91" y="32"/>
                  </a:cubicBezTo>
                  <a:cubicBezTo>
                    <a:pt x="91" y="32"/>
                    <a:pt x="91" y="34"/>
                    <a:pt x="92" y="34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0" y="43"/>
                    <a:pt x="90" y="43"/>
                    <a:pt x="90" y="43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6" y="38"/>
                    <a:pt x="85" y="38"/>
                    <a:pt x="84" y="39"/>
                  </a:cubicBezTo>
                  <a:cubicBezTo>
                    <a:pt x="83" y="40"/>
                    <a:pt x="81" y="40"/>
                    <a:pt x="79" y="41"/>
                  </a:cubicBezTo>
                  <a:cubicBezTo>
                    <a:pt x="78" y="41"/>
                    <a:pt x="78" y="42"/>
                    <a:pt x="78" y="43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0" y="41"/>
                    <a:pt x="69" y="41"/>
                  </a:cubicBezTo>
                  <a:cubicBezTo>
                    <a:pt x="68" y="40"/>
                    <a:pt x="66" y="40"/>
                    <a:pt x="65" y="39"/>
                  </a:cubicBezTo>
                  <a:cubicBezTo>
                    <a:pt x="64" y="38"/>
                    <a:pt x="63" y="38"/>
                    <a:pt x="62" y="39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8" y="34"/>
                    <a:pt x="58" y="32"/>
                    <a:pt x="57" y="31"/>
                  </a:cubicBezTo>
                  <a:cubicBezTo>
                    <a:pt x="57" y="30"/>
                    <a:pt x="56" y="29"/>
                    <a:pt x="56" y="27"/>
                  </a:cubicBezTo>
                  <a:cubicBezTo>
                    <a:pt x="55" y="26"/>
                    <a:pt x="55" y="25"/>
                    <a:pt x="53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1"/>
                    <a:pt x="52" y="32"/>
                    <a:pt x="53" y="32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8" y="37"/>
                    <a:pt x="48" y="38"/>
                  </a:cubicBezTo>
                  <a:moveTo>
                    <a:pt x="74" y="31"/>
                  </a:moveTo>
                  <a:cubicBezTo>
                    <a:pt x="80" y="31"/>
                    <a:pt x="85" y="26"/>
                    <a:pt x="85" y="21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78" y="27"/>
                    <a:pt x="74" y="27"/>
                  </a:cubicBezTo>
                  <a:cubicBezTo>
                    <a:pt x="71" y="27"/>
                    <a:pt x="69" y="24"/>
                    <a:pt x="69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6"/>
                    <a:pt x="69" y="31"/>
                    <a:pt x="74" y="31"/>
                  </a:cubicBezTo>
                  <a:moveTo>
                    <a:pt x="28" y="21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6" y="27"/>
                    <a:pt x="25" y="28"/>
                    <a:pt x="23" y="29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4"/>
                    <a:pt x="17" y="24"/>
                    <a:pt x="16" y="2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6" y="37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3"/>
                    <a:pt x="9" y="44"/>
                    <a:pt x="8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6"/>
                    <a:pt x="0" y="47"/>
                    <a:pt x="0" y="4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3"/>
                    <a:pt x="1" y="64"/>
                    <a:pt x="2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9" y="66"/>
                    <a:pt x="10" y="67"/>
                    <a:pt x="10" y="69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5" y="74"/>
                    <a:pt x="5" y="75"/>
                    <a:pt x="6" y="7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7" y="87"/>
                    <a:pt x="18" y="87"/>
                    <a:pt x="19" y="86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5" y="82"/>
                    <a:pt x="26" y="83"/>
                    <a:pt x="28" y="83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91"/>
                    <a:pt x="29" y="92"/>
                    <a:pt x="30" y="92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1"/>
                    <a:pt x="31" y="80"/>
                    <a:pt x="30" y="79"/>
                  </a:cubicBezTo>
                  <a:cubicBezTo>
                    <a:pt x="28" y="79"/>
                    <a:pt x="26" y="78"/>
                    <a:pt x="24" y="77"/>
                  </a:cubicBezTo>
                  <a:cubicBezTo>
                    <a:pt x="23" y="76"/>
                    <a:pt x="22" y="76"/>
                    <a:pt x="21" y="77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0"/>
                    <a:pt x="16" y="69"/>
                    <a:pt x="15" y="68"/>
                  </a:cubicBezTo>
                  <a:cubicBezTo>
                    <a:pt x="14" y="66"/>
                    <a:pt x="13" y="64"/>
                    <a:pt x="12" y="61"/>
                  </a:cubicBezTo>
                  <a:cubicBezTo>
                    <a:pt x="12" y="60"/>
                    <a:pt x="11" y="60"/>
                    <a:pt x="10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1" y="50"/>
                    <a:pt x="12" y="50"/>
                    <a:pt x="12" y="49"/>
                  </a:cubicBezTo>
                  <a:cubicBezTo>
                    <a:pt x="13" y="46"/>
                    <a:pt x="14" y="44"/>
                    <a:pt x="15" y="42"/>
                  </a:cubicBezTo>
                  <a:cubicBezTo>
                    <a:pt x="16" y="41"/>
                    <a:pt x="15" y="40"/>
                    <a:pt x="15" y="4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2" y="34"/>
                    <a:pt x="23" y="34"/>
                    <a:pt x="24" y="33"/>
                  </a:cubicBezTo>
                  <a:cubicBezTo>
                    <a:pt x="26" y="32"/>
                    <a:pt x="28" y="31"/>
                    <a:pt x="30" y="31"/>
                  </a:cubicBezTo>
                  <a:cubicBezTo>
                    <a:pt x="31" y="31"/>
                    <a:pt x="32" y="30"/>
                    <a:pt x="32" y="29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8" y="20"/>
                    <a:pt x="28" y="21"/>
                  </a:cubicBezTo>
                  <a:moveTo>
                    <a:pt x="21" y="55"/>
                  </a:moveTo>
                  <a:cubicBezTo>
                    <a:pt x="21" y="64"/>
                    <a:pt x="28" y="71"/>
                    <a:pt x="37" y="71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0" y="67"/>
                    <a:pt x="25" y="61"/>
                    <a:pt x="25" y="55"/>
                  </a:cubicBezTo>
                  <a:cubicBezTo>
                    <a:pt x="25" y="49"/>
                    <a:pt x="30" y="44"/>
                    <a:pt x="37" y="44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28" y="39"/>
                    <a:pt x="21" y="46"/>
                    <a:pt x="21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1" name="Group 121">
            <a:extLst>
              <a:ext uri="{FF2B5EF4-FFF2-40B4-BE49-F238E27FC236}">
                <a16:creationId xmlns:a16="http://schemas.microsoft.com/office/drawing/2014/main" id="{0AE3D17E-CAAB-4C70-9EA7-D14F0F30AE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7964" y="2860529"/>
            <a:ext cx="758825" cy="758825"/>
            <a:chOff x="2358" y="1964"/>
            <a:chExt cx="478" cy="478"/>
          </a:xfrm>
        </p:grpSpPr>
        <p:sp>
          <p:nvSpPr>
            <p:cNvPr id="142" name="AutoShape 120">
              <a:extLst>
                <a:ext uri="{FF2B5EF4-FFF2-40B4-BE49-F238E27FC236}">
                  <a16:creationId xmlns:a16="http://schemas.microsoft.com/office/drawing/2014/main" id="{64A7D450-2E0E-4751-BC28-2A34FAFF3C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58" y="196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22">
              <a:extLst>
                <a:ext uri="{FF2B5EF4-FFF2-40B4-BE49-F238E27FC236}">
                  <a16:creationId xmlns:a16="http://schemas.microsoft.com/office/drawing/2014/main" id="{1F062FDC-C19A-416F-A2AE-124F0B701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0" y="1966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3">
              <a:extLst>
                <a:ext uri="{FF2B5EF4-FFF2-40B4-BE49-F238E27FC236}">
                  <a16:creationId xmlns:a16="http://schemas.microsoft.com/office/drawing/2014/main" id="{7D021496-025B-4FA6-9FEE-38944EDC69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2060"/>
              <a:ext cx="289" cy="289"/>
            </a:xfrm>
            <a:custGeom>
              <a:avLst/>
              <a:gdLst>
                <a:gd name="T0" fmla="*/ 52 w 118"/>
                <a:gd name="T1" fmla="*/ 0 h 118"/>
                <a:gd name="T2" fmla="*/ 52 w 118"/>
                <a:gd name="T3" fmla="*/ 118 h 118"/>
                <a:gd name="T4" fmla="*/ 118 w 118"/>
                <a:gd name="T5" fmla="*/ 10 h 118"/>
                <a:gd name="T6" fmla="*/ 52 w 118"/>
                <a:gd name="T7" fmla="*/ 113 h 118"/>
                <a:gd name="T8" fmla="*/ 113 w 118"/>
                <a:gd name="T9" fmla="*/ 98 h 118"/>
                <a:gd name="T10" fmla="*/ 47 w 118"/>
                <a:gd name="T11" fmla="*/ 93 h 118"/>
                <a:gd name="T12" fmla="*/ 113 w 118"/>
                <a:gd name="T13" fmla="*/ 93 h 118"/>
                <a:gd name="T14" fmla="*/ 47 w 118"/>
                <a:gd name="T15" fmla="*/ 10 h 118"/>
                <a:gd name="T16" fmla="*/ 113 w 118"/>
                <a:gd name="T17" fmla="*/ 10 h 118"/>
                <a:gd name="T18" fmla="*/ 74 w 118"/>
                <a:gd name="T19" fmla="*/ 103 h 118"/>
                <a:gd name="T20" fmla="*/ 86 w 118"/>
                <a:gd name="T21" fmla="*/ 103 h 118"/>
                <a:gd name="T22" fmla="*/ 61 w 118"/>
                <a:gd name="T23" fmla="*/ 51 h 118"/>
                <a:gd name="T24" fmla="*/ 71 w 118"/>
                <a:gd name="T25" fmla="*/ 48 h 118"/>
                <a:gd name="T26" fmla="*/ 86 w 118"/>
                <a:gd name="T27" fmla="*/ 57 h 118"/>
                <a:gd name="T28" fmla="*/ 91 w 118"/>
                <a:gd name="T29" fmla="*/ 47 h 118"/>
                <a:gd name="T30" fmla="*/ 107 w 118"/>
                <a:gd name="T31" fmla="*/ 43 h 118"/>
                <a:gd name="T32" fmla="*/ 103 w 118"/>
                <a:gd name="T33" fmla="*/ 35 h 118"/>
                <a:gd name="T34" fmla="*/ 108 w 118"/>
                <a:gd name="T35" fmla="*/ 27 h 118"/>
                <a:gd name="T36" fmla="*/ 98 w 118"/>
                <a:gd name="T37" fmla="*/ 34 h 118"/>
                <a:gd name="T38" fmla="*/ 97 w 118"/>
                <a:gd name="T39" fmla="*/ 46 h 118"/>
                <a:gd name="T40" fmla="*/ 85 w 118"/>
                <a:gd name="T41" fmla="*/ 44 h 118"/>
                <a:gd name="T42" fmla="*/ 76 w 118"/>
                <a:gd name="T43" fmla="*/ 52 h 118"/>
                <a:gd name="T44" fmla="*/ 69 w 118"/>
                <a:gd name="T45" fmla="*/ 42 h 118"/>
                <a:gd name="T46" fmla="*/ 57 w 118"/>
                <a:gd name="T47" fmla="*/ 41 h 118"/>
                <a:gd name="T48" fmla="*/ 60 w 118"/>
                <a:gd name="T49" fmla="*/ 29 h 118"/>
                <a:gd name="T50" fmla="*/ 52 w 118"/>
                <a:gd name="T51" fmla="*/ 32 h 118"/>
                <a:gd name="T52" fmla="*/ 52 w 118"/>
                <a:gd name="T53" fmla="*/ 39 h 118"/>
                <a:gd name="T54" fmla="*/ 91 w 118"/>
                <a:gd name="T55" fmla="*/ 22 h 118"/>
                <a:gd name="T56" fmla="*/ 74 w 118"/>
                <a:gd name="T57" fmla="*/ 22 h 118"/>
                <a:gd name="T58" fmla="*/ 30 w 118"/>
                <a:gd name="T59" fmla="*/ 22 h 118"/>
                <a:gd name="T60" fmla="*/ 20 w 118"/>
                <a:gd name="T61" fmla="*/ 26 h 118"/>
                <a:gd name="T62" fmla="*/ 7 w 118"/>
                <a:gd name="T63" fmla="*/ 40 h 118"/>
                <a:gd name="T64" fmla="*/ 3 w 118"/>
                <a:gd name="T65" fmla="*/ 49 h 118"/>
                <a:gd name="T66" fmla="*/ 3 w 118"/>
                <a:gd name="T67" fmla="*/ 69 h 118"/>
                <a:gd name="T68" fmla="*/ 7 w 118"/>
                <a:gd name="T69" fmla="*/ 78 h 118"/>
                <a:gd name="T70" fmla="*/ 20 w 118"/>
                <a:gd name="T71" fmla="*/ 92 h 118"/>
                <a:gd name="T72" fmla="*/ 30 w 118"/>
                <a:gd name="T73" fmla="*/ 96 h 118"/>
                <a:gd name="T74" fmla="*/ 39 w 118"/>
                <a:gd name="T75" fmla="*/ 93 h 118"/>
                <a:gd name="T76" fmla="*/ 33 w 118"/>
                <a:gd name="T77" fmla="*/ 85 h 118"/>
                <a:gd name="T78" fmla="*/ 19 w 118"/>
                <a:gd name="T79" fmla="*/ 87 h 118"/>
                <a:gd name="T80" fmla="*/ 16 w 118"/>
                <a:gd name="T81" fmla="*/ 73 h 118"/>
                <a:gd name="T82" fmla="*/ 5 w 118"/>
                <a:gd name="T83" fmla="*/ 64 h 118"/>
                <a:gd name="T84" fmla="*/ 13 w 118"/>
                <a:gd name="T85" fmla="*/ 52 h 118"/>
                <a:gd name="T86" fmla="*/ 12 w 118"/>
                <a:gd name="T87" fmla="*/ 38 h 118"/>
                <a:gd name="T88" fmla="*/ 26 w 118"/>
                <a:gd name="T89" fmla="*/ 36 h 118"/>
                <a:gd name="T90" fmla="*/ 35 w 118"/>
                <a:gd name="T91" fmla="*/ 25 h 118"/>
                <a:gd name="T92" fmla="*/ 32 w 118"/>
                <a:gd name="T93" fmla="*/ 20 h 118"/>
                <a:gd name="T94" fmla="*/ 39 w 118"/>
                <a:gd name="T95" fmla="*/ 76 h 118"/>
                <a:gd name="T96" fmla="*/ 39 w 118"/>
                <a:gd name="T97" fmla="*/ 4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8" h="118">
                  <a:moveTo>
                    <a:pt x="118" y="10"/>
                  </a:moveTo>
                  <a:cubicBezTo>
                    <a:pt x="118" y="5"/>
                    <a:pt x="113" y="0"/>
                    <a:pt x="10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6" y="0"/>
                    <a:pt x="42" y="5"/>
                    <a:pt x="42" y="10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3"/>
                    <a:pt x="46" y="118"/>
                    <a:pt x="52" y="118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113" y="118"/>
                    <a:pt x="118" y="113"/>
                    <a:pt x="118" y="108"/>
                  </a:cubicBezTo>
                  <a:lnTo>
                    <a:pt x="118" y="10"/>
                  </a:lnTo>
                  <a:close/>
                  <a:moveTo>
                    <a:pt x="113" y="108"/>
                  </a:moveTo>
                  <a:cubicBezTo>
                    <a:pt x="113" y="111"/>
                    <a:pt x="111" y="113"/>
                    <a:pt x="108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9" y="113"/>
                    <a:pt x="47" y="111"/>
                    <a:pt x="47" y="108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113" y="98"/>
                    <a:pt x="113" y="98"/>
                    <a:pt x="113" y="98"/>
                  </a:cubicBezTo>
                  <a:lnTo>
                    <a:pt x="113" y="108"/>
                  </a:lnTo>
                  <a:close/>
                  <a:moveTo>
                    <a:pt x="113" y="93"/>
                  </a:moveTo>
                  <a:cubicBezTo>
                    <a:pt x="47" y="93"/>
                    <a:pt x="47" y="93"/>
                    <a:pt x="47" y="93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113" y="18"/>
                    <a:pt x="113" y="18"/>
                    <a:pt x="113" y="18"/>
                  </a:cubicBezTo>
                  <a:lnTo>
                    <a:pt x="113" y="93"/>
                  </a:lnTo>
                  <a:close/>
                  <a:moveTo>
                    <a:pt x="113" y="13"/>
                  </a:moveTo>
                  <a:cubicBezTo>
                    <a:pt x="47" y="13"/>
                    <a:pt x="47" y="13"/>
                    <a:pt x="47" y="13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7"/>
                    <a:pt x="49" y="5"/>
                    <a:pt x="52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1" y="5"/>
                    <a:pt x="113" y="7"/>
                    <a:pt x="113" y="10"/>
                  </a:cubicBezTo>
                  <a:lnTo>
                    <a:pt x="113" y="13"/>
                  </a:lnTo>
                  <a:close/>
                  <a:moveTo>
                    <a:pt x="86" y="103"/>
                  </a:moveTo>
                  <a:cubicBezTo>
                    <a:pt x="74" y="103"/>
                    <a:pt x="74" y="103"/>
                    <a:pt x="74" y="103"/>
                  </a:cubicBezTo>
                  <a:cubicBezTo>
                    <a:pt x="74" y="108"/>
                    <a:pt x="74" y="108"/>
                    <a:pt x="74" y="108"/>
                  </a:cubicBezTo>
                  <a:cubicBezTo>
                    <a:pt x="86" y="108"/>
                    <a:pt x="86" y="108"/>
                    <a:pt x="86" y="108"/>
                  </a:cubicBezTo>
                  <a:lnTo>
                    <a:pt x="86" y="103"/>
                  </a:lnTo>
                  <a:close/>
                  <a:moveTo>
                    <a:pt x="51" y="41"/>
                  </a:moveTo>
                  <a:cubicBezTo>
                    <a:pt x="51" y="42"/>
                    <a:pt x="52" y="42"/>
                    <a:pt x="52" y="43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4" y="51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70" y="48"/>
                    <a:pt x="71" y="48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6"/>
                    <a:pt x="72" y="57"/>
                    <a:pt x="74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7" y="57"/>
                    <a:pt x="88" y="56"/>
                    <a:pt x="88" y="54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8"/>
                    <a:pt x="90" y="47"/>
                    <a:pt x="91" y="47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6" y="52"/>
                    <a:pt x="98" y="52"/>
                    <a:pt x="99" y="51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8" y="42"/>
                    <a:pt x="108" y="42"/>
                    <a:pt x="108" y="41"/>
                  </a:cubicBezTo>
                  <a:cubicBezTo>
                    <a:pt x="108" y="40"/>
                    <a:pt x="108" y="40"/>
                    <a:pt x="107" y="39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4"/>
                    <a:pt x="104" y="33"/>
                    <a:pt x="104" y="32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1" y="27"/>
                    <a:pt x="100" y="28"/>
                    <a:pt x="100" y="29"/>
                  </a:cubicBezTo>
                  <a:cubicBezTo>
                    <a:pt x="99" y="31"/>
                    <a:pt x="99" y="32"/>
                    <a:pt x="98" y="34"/>
                  </a:cubicBezTo>
                  <a:cubicBezTo>
                    <a:pt x="97" y="35"/>
                    <a:pt x="97" y="36"/>
                    <a:pt x="98" y="37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2" y="41"/>
                    <a:pt x="91" y="41"/>
                    <a:pt x="90" y="42"/>
                  </a:cubicBezTo>
                  <a:cubicBezTo>
                    <a:pt x="89" y="43"/>
                    <a:pt x="87" y="43"/>
                    <a:pt x="85" y="44"/>
                  </a:cubicBezTo>
                  <a:cubicBezTo>
                    <a:pt x="84" y="44"/>
                    <a:pt x="83" y="45"/>
                    <a:pt x="83" y="46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5"/>
                    <a:pt x="75" y="44"/>
                    <a:pt x="74" y="44"/>
                  </a:cubicBezTo>
                  <a:cubicBezTo>
                    <a:pt x="73" y="43"/>
                    <a:pt x="71" y="43"/>
                    <a:pt x="69" y="42"/>
                  </a:cubicBezTo>
                  <a:cubicBezTo>
                    <a:pt x="68" y="41"/>
                    <a:pt x="67" y="41"/>
                    <a:pt x="66" y="42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2" y="36"/>
                    <a:pt x="62" y="35"/>
                    <a:pt x="62" y="34"/>
                  </a:cubicBezTo>
                  <a:cubicBezTo>
                    <a:pt x="61" y="32"/>
                    <a:pt x="60" y="31"/>
                    <a:pt x="60" y="29"/>
                  </a:cubicBezTo>
                  <a:cubicBezTo>
                    <a:pt x="59" y="28"/>
                    <a:pt x="58" y="27"/>
                    <a:pt x="57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6" y="33"/>
                    <a:pt x="56" y="34"/>
                    <a:pt x="57" y="35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40"/>
                    <a:pt x="51" y="40"/>
                    <a:pt x="51" y="41"/>
                  </a:cubicBezTo>
                  <a:moveTo>
                    <a:pt x="80" y="33"/>
                  </a:moveTo>
                  <a:cubicBezTo>
                    <a:pt x="86" y="33"/>
                    <a:pt x="91" y="28"/>
                    <a:pt x="91" y="22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6"/>
                    <a:pt x="83" y="28"/>
                    <a:pt x="80" y="28"/>
                  </a:cubicBezTo>
                  <a:cubicBezTo>
                    <a:pt x="76" y="28"/>
                    <a:pt x="74" y="26"/>
                    <a:pt x="74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8"/>
                    <a:pt x="74" y="33"/>
                    <a:pt x="80" y="33"/>
                  </a:cubicBezTo>
                  <a:moveTo>
                    <a:pt x="30" y="22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28" y="29"/>
                    <a:pt x="26" y="30"/>
                    <a:pt x="25" y="31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9" y="25"/>
                    <a:pt x="18" y="25"/>
                    <a:pt x="17" y="26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8"/>
                    <a:pt x="6" y="39"/>
                    <a:pt x="7" y="40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0" y="46"/>
                    <a:pt x="10" y="48"/>
                    <a:pt x="9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1" y="49"/>
                    <a:pt x="0" y="50"/>
                    <a:pt x="0" y="5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8"/>
                    <a:pt x="1" y="69"/>
                    <a:pt x="3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0"/>
                    <a:pt x="10" y="72"/>
                    <a:pt x="11" y="74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6" y="79"/>
                    <a:pt x="6" y="81"/>
                    <a:pt x="7" y="8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8" y="93"/>
                    <a:pt x="19" y="93"/>
                    <a:pt x="20" y="9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6" y="88"/>
                    <a:pt x="28" y="89"/>
                    <a:pt x="30" y="89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7"/>
                    <a:pt x="31" y="98"/>
                    <a:pt x="32" y="98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6"/>
                    <a:pt x="34" y="85"/>
                    <a:pt x="33" y="85"/>
                  </a:cubicBezTo>
                  <a:cubicBezTo>
                    <a:pt x="30" y="84"/>
                    <a:pt x="28" y="84"/>
                    <a:pt x="26" y="82"/>
                  </a:cubicBezTo>
                  <a:cubicBezTo>
                    <a:pt x="25" y="82"/>
                    <a:pt x="24" y="82"/>
                    <a:pt x="23" y="83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7" y="75"/>
                    <a:pt x="17" y="74"/>
                    <a:pt x="16" y="73"/>
                  </a:cubicBezTo>
                  <a:cubicBezTo>
                    <a:pt x="15" y="71"/>
                    <a:pt x="14" y="68"/>
                    <a:pt x="13" y="66"/>
                  </a:cubicBezTo>
                  <a:cubicBezTo>
                    <a:pt x="13" y="65"/>
                    <a:pt x="12" y="64"/>
                    <a:pt x="11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2" y="54"/>
                    <a:pt x="13" y="53"/>
                    <a:pt x="13" y="52"/>
                  </a:cubicBezTo>
                  <a:cubicBezTo>
                    <a:pt x="14" y="50"/>
                    <a:pt x="15" y="48"/>
                    <a:pt x="16" y="45"/>
                  </a:cubicBezTo>
                  <a:cubicBezTo>
                    <a:pt x="17" y="44"/>
                    <a:pt x="17" y="43"/>
                    <a:pt x="16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4" y="36"/>
                    <a:pt x="25" y="37"/>
                    <a:pt x="26" y="36"/>
                  </a:cubicBezTo>
                  <a:cubicBezTo>
                    <a:pt x="28" y="35"/>
                    <a:pt x="30" y="34"/>
                    <a:pt x="33" y="33"/>
                  </a:cubicBezTo>
                  <a:cubicBezTo>
                    <a:pt x="34" y="33"/>
                    <a:pt x="35" y="32"/>
                    <a:pt x="35" y="31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1" y="20"/>
                    <a:pt x="30" y="21"/>
                    <a:pt x="30" y="22"/>
                  </a:cubicBezTo>
                  <a:moveTo>
                    <a:pt x="22" y="59"/>
                  </a:moveTo>
                  <a:cubicBezTo>
                    <a:pt x="22" y="69"/>
                    <a:pt x="30" y="76"/>
                    <a:pt x="39" y="76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3" y="71"/>
                    <a:pt x="27" y="66"/>
                    <a:pt x="27" y="59"/>
                  </a:cubicBezTo>
                  <a:cubicBezTo>
                    <a:pt x="27" y="52"/>
                    <a:pt x="33" y="47"/>
                    <a:pt x="39" y="47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0" y="42"/>
                    <a:pt x="22" y="50"/>
                    <a:pt x="22" y="5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9" name="Group 126">
            <a:extLst>
              <a:ext uri="{FF2B5EF4-FFF2-40B4-BE49-F238E27FC236}">
                <a16:creationId xmlns:a16="http://schemas.microsoft.com/office/drawing/2014/main" id="{D6A5CE85-7247-444F-BC7D-230CC740E12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0084" y="2860529"/>
            <a:ext cx="760412" cy="758825"/>
            <a:chOff x="3643" y="1821"/>
            <a:chExt cx="479" cy="478"/>
          </a:xfrm>
        </p:grpSpPr>
        <p:sp>
          <p:nvSpPr>
            <p:cNvPr id="150" name="AutoShape 125">
              <a:extLst>
                <a:ext uri="{FF2B5EF4-FFF2-40B4-BE49-F238E27FC236}">
                  <a16:creationId xmlns:a16="http://schemas.microsoft.com/office/drawing/2014/main" id="{98B826AD-B15E-4385-8EF5-3ACA376C0A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3" y="182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7">
              <a:extLst>
                <a:ext uri="{FF2B5EF4-FFF2-40B4-BE49-F238E27FC236}">
                  <a16:creationId xmlns:a16="http://schemas.microsoft.com/office/drawing/2014/main" id="{37C9D508-100C-4AA9-8788-861062214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5" y="1823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8">
              <a:extLst>
                <a:ext uri="{FF2B5EF4-FFF2-40B4-BE49-F238E27FC236}">
                  <a16:creationId xmlns:a16="http://schemas.microsoft.com/office/drawing/2014/main" id="{24FB839F-1C5F-4E7C-9258-84D77876C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9" y="1944"/>
              <a:ext cx="329" cy="235"/>
            </a:xfrm>
            <a:custGeom>
              <a:avLst/>
              <a:gdLst>
                <a:gd name="T0" fmla="*/ 131 w 134"/>
                <a:gd name="T1" fmla="*/ 71 h 96"/>
                <a:gd name="T2" fmla="*/ 126 w 134"/>
                <a:gd name="T3" fmla="*/ 71 h 96"/>
                <a:gd name="T4" fmla="*/ 126 w 134"/>
                <a:gd name="T5" fmla="*/ 8 h 96"/>
                <a:gd name="T6" fmla="*/ 117 w 134"/>
                <a:gd name="T7" fmla="*/ 0 h 96"/>
                <a:gd name="T8" fmla="*/ 17 w 134"/>
                <a:gd name="T9" fmla="*/ 0 h 96"/>
                <a:gd name="T10" fmla="*/ 8 w 134"/>
                <a:gd name="T11" fmla="*/ 8 h 96"/>
                <a:gd name="T12" fmla="*/ 8 w 134"/>
                <a:gd name="T13" fmla="*/ 71 h 96"/>
                <a:gd name="T14" fmla="*/ 3 w 134"/>
                <a:gd name="T15" fmla="*/ 71 h 96"/>
                <a:gd name="T16" fmla="*/ 0 w 134"/>
                <a:gd name="T17" fmla="*/ 74 h 96"/>
                <a:gd name="T18" fmla="*/ 0 w 134"/>
                <a:gd name="T19" fmla="*/ 82 h 96"/>
                <a:gd name="T20" fmla="*/ 14 w 134"/>
                <a:gd name="T21" fmla="*/ 96 h 96"/>
                <a:gd name="T22" fmla="*/ 120 w 134"/>
                <a:gd name="T23" fmla="*/ 96 h 96"/>
                <a:gd name="T24" fmla="*/ 134 w 134"/>
                <a:gd name="T25" fmla="*/ 82 h 96"/>
                <a:gd name="T26" fmla="*/ 134 w 134"/>
                <a:gd name="T27" fmla="*/ 74 h 96"/>
                <a:gd name="T28" fmla="*/ 131 w 134"/>
                <a:gd name="T29" fmla="*/ 71 h 96"/>
                <a:gd name="T30" fmla="*/ 14 w 134"/>
                <a:gd name="T31" fmla="*/ 8 h 96"/>
                <a:gd name="T32" fmla="*/ 17 w 134"/>
                <a:gd name="T33" fmla="*/ 5 h 96"/>
                <a:gd name="T34" fmla="*/ 117 w 134"/>
                <a:gd name="T35" fmla="*/ 5 h 96"/>
                <a:gd name="T36" fmla="*/ 120 w 134"/>
                <a:gd name="T37" fmla="*/ 8 h 96"/>
                <a:gd name="T38" fmla="*/ 120 w 134"/>
                <a:gd name="T39" fmla="*/ 71 h 96"/>
                <a:gd name="T40" fmla="*/ 14 w 134"/>
                <a:gd name="T41" fmla="*/ 71 h 96"/>
                <a:gd name="T42" fmla="*/ 14 w 134"/>
                <a:gd name="T43" fmla="*/ 8 h 96"/>
                <a:gd name="T44" fmla="*/ 128 w 134"/>
                <a:gd name="T45" fmla="*/ 82 h 96"/>
                <a:gd name="T46" fmla="*/ 120 w 134"/>
                <a:gd name="T47" fmla="*/ 91 h 96"/>
                <a:gd name="T48" fmla="*/ 14 w 134"/>
                <a:gd name="T49" fmla="*/ 91 h 96"/>
                <a:gd name="T50" fmla="*/ 6 w 134"/>
                <a:gd name="T51" fmla="*/ 82 h 96"/>
                <a:gd name="T52" fmla="*/ 6 w 134"/>
                <a:gd name="T53" fmla="*/ 77 h 96"/>
                <a:gd name="T54" fmla="*/ 128 w 134"/>
                <a:gd name="T55" fmla="*/ 77 h 96"/>
                <a:gd name="T56" fmla="*/ 128 w 134"/>
                <a:gd name="T57" fmla="*/ 82 h 96"/>
                <a:gd name="T58" fmla="*/ 75 w 134"/>
                <a:gd name="T59" fmla="*/ 80 h 96"/>
                <a:gd name="T60" fmla="*/ 59 w 134"/>
                <a:gd name="T61" fmla="*/ 80 h 96"/>
                <a:gd name="T62" fmla="*/ 59 w 134"/>
                <a:gd name="T63" fmla="*/ 85 h 96"/>
                <a:gd name="T64" fmla="*/ 75 w 134"/>
                <a:gd name="T65" fmla="*/ 85 h 96"/>
                <a:gd name="T66" fmla="*/ 75 w 134"/>
                <a:gd name="T67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96">
                  <a:moveTo>
                    <a:pt x="131" y="71"/>
                  </a:moveTo>
                  <a:cubicBezTo>
                    <a:pt x="126" y="71"/>
                    <a:pt x="126" y="71"/>
                    <a:pt x="126" y="71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4"/>
                    <a:pt x="122" y="0"/>
                    <a:pt x="1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0"/>
                    <a:pt x="8" y="4"/>
                    <a:pt x="8" y="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1" y="71"/>
                    <a:pt x="0" y="73"/>
                    <a:pt x="0" y="74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0"/>
                    <a:pt x="6" y="96"/>
                    <a:pt x="14" y="96"/>
                  </a:cubicBezTo>
                  <a:cubicBezTo>
                    <a:pt x="120" y="96"/>
                    <a:pt x="120" y="96"/>
                    <a:pt x="120" y="96"/>
                  </a:cubicBezTo>
                  <a:cubicBezTo>
                    <a:pt x="128" y="96"/>
                    <a:pt x="134" y="90"/>
                    <a:pt x="134" y="82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73"/>
                    <a:pt x="133" y="71"/>
                    <a:pt x="131" y="71"/>
                  </a:cubicBezTo>
                  <a:moveTo>
                    <a:pt x="14" y="8"/>
                  </a:moveTo>
                  <a:cubicBezTo>
                    <a:pt x="14" y="7"/>
                    <a:pt x="15" y="5"/>
                    <a:pt x="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9" y="5"/>
                    <a:pt x="120" y="7"/>
                    <a:pt x="120" y="8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4" y="71"/>
                    <a:pt x="14" y="71"/>
                    <a:pt x="14" y="71"/>
                  </a:cubicBezTo>
                  <a:lnTo>
                    <a:pt x="14" y="8"/>
                  </a:lnTo>
                  <a:close/>
                  <a:moveTo>
                    <a:pt x="128" y="82"/>
                  </a:moveTo>
                  <a:cubicBezTo>
                    <a:pt x="128" y="87"/>
                    <a:pt x="125" y="91"/>
                    <a:pt x="120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9" y="91"/>
                    <a:pt x="6" y="87"/>
                    <a:pt x="6" y="82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28" y="77"/>
                    <a:pt x="128" y="77"/>
                    <a:pt x="128" y="77"/>
                  </a:cubicBezTo>
                  <a:lnTo>
                    <a:pt x="128" y="82"/>
                  </a:lnTo>
                  <a:close/>
                  <a:moveTo>
                    <a:pt x="75" y="80"/>
                  </a:moveTo>
                  <a:cubicBezTo>
                    <a:pt x="59" y="80"/>
                    <a:pt x="59" y="80"/>
                    <a:pt x="59" y="80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75" y="85"/>
                    <a:pt x="75" y="85"/>
                    <a:pt x="75" y="85"/>
                  </a:cubicBezTo>
                  <a:lnTo>
                    <a:pt x="75" y="8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9">
              <a:extLst>
                <a:ext uri="{FF2B5EF4-FFF2-40B4-BE49-F238E27FC236}">
                  <a16:creationId xmlns:a16="http://schemas.microsoft.com/office/drawing/2014/main" id="{67FC5F3F-7773-4D7B-9E58-44DF38056D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" y="1985"/>
              <a:ext cx="226" cy="123"/>
            </a:xfrm>
            <a:custGeom>
              <a:avLst/>
              <a:gdLst>
                <a:gd name="T0" fmla="*/ 89 w 92"/>
                <a:gd name="T1" fmla="*/ 36 h 50"/>
                <a:gd name="T2" fmla="*/ 82 w 92"/>
                <a:gd name="T3" fmla="*/ 36 h 50"/>
                <a:gd name="T4" fmla="*/ 79 w 92"/>
                <a:gd name="T5" fmla="*/ 29 h 50"/>
                <a:gd name="T6" fmla="*/ 84 w 92"/>
                <a:gd name="T7" fmla="*/ 23 h 50"/>
                <a:gd name="T8" fmla="*/ 85 w 92"/>
                <a:gd name="T9" fmla="*/ 21 h 50"/>
                <a:gd name="T10" fmla="*/ 84 w 92"/>
                <a:gd name="T11" fmla="*/ 19 h 50"/>
                <a:gd name="T12" fmla="*/ 73 w 92"/>
                <a:gd name="T13" fmla="*/ 8 h 50"/>
                <a:gd name="T14" fmla="*/ 69 w 92"/>
                <a:gd name="T15" fmla="*/ 8 h 50"/>
                <a:gd name="T16" fmla="*/ 64 w 92"/>
                <a:gd name="T17" fmla="*/ 13 h 50"/>
                <a:gd name="T18" fmla="*/ 57 w 92"/>
                <a:gd name="T19" fmla="*/ 10 h 50"/>
                <a:gd name="T20" fmla="*/ 57 w 92"/>
                <a:gd name="T21" fmla="*/ 2 h 50"/>
                <a:gd name="T22" fmla="*/ 54 w 92"/>
                <a:gd name="T23" fmla="*/ 0 h 50"/>
                <a:gd name="T24" fmla="*/ 38 w 92"/>
                <a:gd name="T25" fmla="*/ 0 h 50"/>
                <a:gd name="T26" fmla="*/ 35 w 92"/>
                <a:gd name="T27" fmla="*/ 2 h 50"/>
                <a:gd name="T28" fmla="*/ 35 w 92"/>
                <a:gd name="T29" fmla="*/ 10 h 50"/>
                <a:gd name="T30" fmla="*/ 28 w 92"/>
                <a:gd name="T31" fmla="*/ 13 h 50"/>
                <a:gd name="T32" fmla="*/ 23 w 92"/>
                <a:gd name="T33" fmla="*/ 8 h 50"/>
                <a:gd name="T34" fmla="*/ 19 w 92"/>
                <a:gd name="T35" fmla="*/ 8 h 50"/>
                <a:gd name="T36" fmla="*/ 8 w 92"/>
                <a:gd name="T37" fmla="*/ 19 h 50"/>
                <a:gd name="T38" fmla="*/ 7 w 92"/>
                <a:gd name="T39" fmla="*/ 21 h 50"/>
                <a:gd name="T40" fmla="*/ 8 w 92"/>
                <a:gd name="T41" fmla="*/ 23 h 50"/>
                <a:gd name="T42" fmla="*/ 13 w 92"/>
                <a:gd name="T43" fmla="*/ 29 h 50"/>
                <a:gd name="T44" fmla="*/ 10 w 92"/>
                <a:gd name="T45" fmla="*/ 36 h 50"/>
                <a:gd name="T46" fmla="*/ 3 w 92"/>
                <a:gd name="T47" fmla="*/ 36 h 50"/>
                <a:gd name="T48" fmla="*/ 0 w 92"/>
                <a:gd name="T49" fmla="*/ 39 h 50"/>
                <a:gd name="T50" fmla="*/ 0 w 92"/>
                <a:gd name="T51" fmla="*/ 50 h 50"/>
                <a:gd name="T52" fmla="*/ 5 w 92"/>
                <a:gd name="T53" fmla="*/ 50 h 50"/>
                <a:gd name="T54" fmla="*/ 5 w 92"/>
                <a:gd name="T55" fmla="*/ 41 h 50"/>
                <a:gd name="T56" fmla="*/ 12 w 92"/>
                <a:gd name="T57" fmla="*/ 41 h 50"/>
                <a:gd name="T58" fmla="*/ 14 w 92"/>
                <a:gd name="T59" fmla="*/ 39 h 50"/>
                <a:gd name="T60" fmla="*/ 18 w 92"/>
                <a:gd name="T61" fmla="*/ 29 h 50"/>
                <a:gd name="T62" fmla="*/ 18 w 92"/>
                <a:gd name="T63" fmla="*/ 26 h 50"/>
                <a:gd name="T64" fmla="*/ 13 w 92"/>
                <a:gd name="T65" fmla="*/ 21 h 50"/>
                <a:gd name="T66" fmla="*/ 21 w 92"/>
                <a:gd name="T67" fmla="*/ 14 h 50"/>
                <a:gd name="T68" fmla="*/ 26 w 92"/>
                <a:gd name="T69" fmla="*/ 18 h 50"/>
                <a:gd name="T70" fmla="*/ 29 w 92"/>
                <a:gd name="T71" fmla="*/ 19 h 50"/>
                <a:gd name="T72" fmla="*/ 38 w 92"/>
                <a:gd name="T73" fmla="*/ 15 h 50"/>
                <a:gd name="T74" fmla="*/ 41 w 92"/>
                <a:gd name="T75" fmla="*/ 12 h 50"/>
                <a:gd name="T76" fmla="*/ 41 w 92"/>
                <a:gd name="T77" fmla="*/ 5 h 50"/>
                <a:gd name="T78" fmla="*/ 51 w 92"/>
                <a:gd name="T79" fmla="*/ 5 h 50"/>
                <a:gd name="T80" fmla="*/ 51 w 92"/>
                <a:gd name="T81" fmla="*/ 12 h 50"/>
                <a:gd name="T82" fmla="*/ 53 w 92"/>
                <a:gd name="T83" fmla="*/ 14 h 50"/>
                <a:gd name="T84" fmla="*/ 63 w 92"/>
                <a:gd name="T85" fmla="*/ 19 h 50"/>
                <a:gd name="T86" fmla="*/ 66 w 92"/>
                <a:gd name="T87" fmla="*/ 18 h 50"/>
                <a:gd name="T88" fmla="*/ 71 w 92"/>
                <a:gd name="T89" fmla="*/ 14 h 50"/>
                <a:gd name="T90" fmla="*/ 79 w 92"/>
                <a:gd name="T91" fmla="*/ 21 h 50"/>
                <a:gd name="T92" fmla="*/ 74 w 92"/>
                <a:gd name="T93" fmla="*/ 26 h 50"/>
                <a:gd name="T94" fmla="*/ 74 w 92"/>
                <a:gd name="T95" fmla="*/ 29 h 50"/>
                <a:gd name="T96" fmla="*/ 78 w 92"/>
                <a:gd name="T97" fmla="*/ 39 h 50"/>
                <a:gd name="T98" fmla="*/ 80 w 92"/>
                <a:gd name="T99" fmla="*/ 41 h 50"/>
                <a:gd name="T100" fmla="*/ 87 w 92"/>
                <a:gd name="T101" fmla="*/ 41 h 50"/>
                <a:gd name="T102" fmla="*/ 87 w 92"/>
                <a:gd name="T103" fmla="*/ 50 h 50"/>
                <a:gd name="T104" fmla="*/ 92 w 92"/>
                <a:gd name="T105" fmla="*/ 50 h 50"/>
                <a:gd name="T106" fmla="*/ 92 w 92"/>
                <a:gd name="T107" fmla="*/ 39 h 50"/>
                <a:gd name="T108" fmla="*/ 89 w 92"/>
                <a:gd name="T109" fmla="*/ 36 h 50"/>
                <a:gd name="T110" fmla="*/ 46 w 92"/>
                <a:gd name="T111" fmla="*/ 25 h 50"/>
                <a:gd name="T112" fmla="*/ 22 w 92"/>
                <a:gd name="T113" fmla="*/ 50 h 50"/>
                <a:gd name="T114" fmla="*/ 27 w 92"/>
                <a:gd name="T115" fmla="*/ 50 h 50"/>
                <a:gd name="T116" fmla="*/ 46 w 92"/>
                <a:gd name="T117" fmla="*/ 30 h 50"/>
                <a:gd name="T118" fmla="*/ 65 w 92"/>
                <a:gd name="T119" fmla="*/ 50 h 50"/>
                <a:gd name="T120" fmla="*/ 70 w 92"/>
                <a:gd name="T121" fmla="*/ 50 h 50"/>
                <a:gd name="T122" fmla="*/ 46 w 92"/>
                <a:gd name="T123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" h="50">
                  <a:moveTo>
                    <a:pt x="89" y="36"/>
                  </a:moveTo>
                  <a:cubicBezTo>
                    <a:pt x="82" y="36"/>
                    <a:pt x="82" y="36"/>
                    <a:pt x="82" y="36"/>
                  </a:cubicBezTo>
                  <a:cubicBezTo>
                    <a:pt x="82" y="33"/>
                    <a:pt x="81" y="31"/>
                    <a:pt x="79" y="29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5" y="23"/>
                    <a:pt x="85" y="22"/>
                    <a:pt x="85" y="21"/>
                  </a:cubicBezTo>
                  <a:cubicBezTo>
                    <a:pt x="85" y="21"/>
                    <a:pt x="85" y="20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7"/>
                    <a:pt x="70" y="7"/>
                    <a:pt x="69" y="8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2" y="12"/>
                    <a:pt x="59" y="11"/>
                    <a:pt x="57" y="10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7" y="1"/>
                    <a:pt x="56" y="0"/>
                    <a:pt x="54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0"/>
                    <a:pt x="35" y="1"/>
                    <a:pt x="35" y="2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3" y="10"/>
                    <a:pt x="30" y="11"/>
                    <a:pt x="28" y="13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7"/>
                    <a:pt x="20" y="7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2"/>
                    <a:pt x="7" y="23"/>
                    <a:pt x="8" y="23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1" y="31"/>
                    <a:pt x="10" y="33"/>
                    <a:pt x="10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6"/>
                    <a:pt x="0" y="37"/>
                    <a:pt x="0" y="3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41"/>
                    <a:pt x="14" y="41"/>
                    <a:pt x="14" y="39"/>
                  </a:cubicBezTo>
                  <a:cubicBezTo>
                    <a:pt x="15" y="36"/>
                    <a:pt x="16" y="33"/>
                    <a:pt x="18" y="29"/>
                  </a:cubicBezTo>
                  <a:cubicBezTo>
                    <a:pt x="19" y="28"/>
                    <a:pt x="19" y="27"/>
                    <a:pt x="18" y="26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8" y="19"/>
                    <a:pt x="29" y="19"/>
                  </a:cubicBezTo>
                  <a:cubicBezTo>
                    <a:pt x="32" y="17"/>
                    <a:pt x="35" y="15"/>
                    <a:pt x="38" y="15"/>
                  </a:cubicBezTo>
                  <a:cubicBezTo>
                    <a:pt x="40" y="14"/>
                    <a:pt x="41" y="13"/>
                    <a:pt x="41" y="12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3"/>
                    <a:pt x="52" y="14"/>
                    <a:pt x="53" y="14"/>
                  </a:cubicBezTo>
                  <a:cubicBezTo>
                    <a:pt x="56" y="15"/>
                    <a:pt x="60" y="17"/>
                    <a:pt x="63" y="19"/>
                  </a:cubicBezTo>
                  <a:cubicBezTo>
                    <a:pt x="64" y="19"/>
                    <a:pt x="65" y="19"/>
                    <a:pt x="66" y="18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3" y="27"/>
                    <a:pt x="73" y="28"/>
                    <a:pt x="74" y="29"/>
                  </a:cubicBezTo>
                  <a:cubicBezTo>
                    <a:pt x="75" y="33"/>
                    <a:pt x="77" y="36"/>
                    <a:pt x="78" y="39"/>
                  </a:cubicBezTo>
                  <a:cubicBezTo>
                    <a:pt x="78" y="41"/>
                    <a:pt x="79" y="41"/>
                    <a:pt x="80" y="41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37"/>
                    <a:pt x="91" y="36"/>
                    <a:pt x="89" y="36"/>
                  </a:cubicBezTo>
                  <a:moveTo>
                    <a:pt x="46" y="25"/>
                  </a:moveTo>
                  <a:cubicBezTo>
                    <a:pt x="33" y="25"/>
                    <a:pt x="22" y="36"/>
                    <a:pt x="22" y="50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7" y="39"/>
                    <a:pt x="36" y="30"/>
                    <a:pt x="46" y="30"/>
                  </a:cubicBezTo>
                  <a:cubicBezTo>
                    <a:pt x="56" y="30"/>
                    <a:pt x="65" y="39"/>
                    <a:pt x="65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36"/>
                    <a:pt x="59" y="25"/>
                    <a:pt x="46" y="2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4" name="Group 132">
            <a:extLst>
              <a:ext uri="{FF2B5EF4-FFF2-40B4-BE49-F238E27FC236}">
                <a16:creationId xmlns:a16="http://schemas.microsoft.com/office/drawing/2014/main" id="{735AEB3E-6B7B-4E31-A9B9-EC75DFC605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8534" y="2819254"/>
            <a:ext cx="841375" cy="841375"/>
            <a:chOff x="2972" y="1802"/>
            <a:chExt cx="530" cy="530"/>
          </a:xfrm>
        </p:grpSpPr>
        <p:sp>
          <p:nvSpPr>
            <p:cNvPr id="155" name="AutoShape 131">
              <a:extLst>
                <a:ext uri="{FF2B5EF4-FFF2-40B4-BE49-F238E27FC236}">
                  <a16:creationId xmlns:a16="http://schemas.microsoft.com/office/drawing/2014/main" id="{5D8531FD-2C15-49EE-8EE9-98056E4BC3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72" y="180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Oval 133">
              <a:extLst>
                <a:ext uri="{FF2B5EF4-FFF2-40B4-BE49-F238E27FC236}">
                  <a16:creationId xmlns:a16="http://schemas.microsoft.com/office/drawing/2014/main" id="{BA3B3581-003F-4AB8-872B-897BDFA1B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5" y="1805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4">
              <a:extLst>
                <a:ext uri="{FF2B5EF4-FFF2-40B4-BE49-F238E27FC236}">
                  <a16:creationId xmlns:a16="http://schemas.microsoft.com/office/drawing/2014/main" id="{6241196C-6349-43A4-853B-78DAF713F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1" y="1821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5">
              <a:extLst>
                <a:ext uri="{FF2B5EF4-FFF2-40B4-BE49-F238E27FC236}">
                  <a16:creationId xmlns:a16="http://schemas.microsoft.com/office/drawing/2014/main" id="{C647E8E2-456D-4DBF-8788-3400670251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7" y="1946"/>
              <a:ext cx="343" cy="245"/>
            </a:xfrm>
            <a:custGeom>
              <a:avLst/>
              <a:gdLst>
                <a:gd name="T0" fmla="*/ 123 w 126"/>
                <a:gd name="T1" fmla="*/ 67 h 90"/>
                <a:gd name="T2" fmla="*/ 118 w 126"/>
                <a:gd name="T3" fmla="*/ 67 h 90"/>
                <a:gd name="T4" fmla="*/ 118 w 126"/>
                <a:gd name="T5" fmla="*/ 8 h 90"/>
                <a:gd name="T6" fmla="*/ 110 w 126"/>
                <a:gd name="T7" fmla="*/ 0 h 90"/>
                <a:gd name="T8" fmla="*/ 16 w 126"/>
                <a:gd name="T9" fmla="*/ 0 h 90"/>
                <a:gd name="T10" fmla="*/ 8 w 126"/>
                <a:gd name="T11" fmla="*/ 8 h 90"/>
                <a:gd name="T12" fmla="*/ 8 w 126"/>
                <a:gd name="T13" fmla="*/ 67 h 90"/>
                <a:gd name="T14" fmla="*/ 3 w 126"/>
                <a:gd name="T15" fmla="*/ 67 h 90"/>
                <a:gd name="T16" fmla="*/ 0 w 126"/>
                <a:gd name="T17" fmla="*/ 69 h 90"/>
                <a:gd name="T18" fmla="*/ 0 w 126"/>
                <a:gd name="T19" fmla="*/ 77 h 90"/>
                <a:gd name="T20" fmla="*/ 13 w 126"/>
                <a:gd name="T21" fmla="*/ 90 h 90"/>
                <a:gd name="T22" fmla="*/ 113 w 126"/>
                <a:gd name="T23" fmla="*/ 90 h 90"/>
                <a:gd name="T24" fmla="*/ 126 w 126"/>
                <a:gd name="T25" fmla="*/ 77 h 90"/>
                <a:gd name="T26" fmla="*/ 126 w 126"/>
                <a:gd name="T27" fmla="*/ 69 h 90"/>
                <a:gd name="T28" fmla="*/ 123 w 126"/>
                <a:gd name="T29" fmla="*/ 67 h 90"/>
                <a:gd name="T30" fmla="*/ 13 w 126"/>
                <a:gd name="T31" fmla="*/ 8 h 90"/>
                <a:gd name="T32" fmla="*/ 16 w 126"/>
                <a:gd name="T33" fmla="*/ 5 h 90"/>
                <a:gd name="T34" fmla="*/ 110 w 126"/>
                <a:gd name="T35" fmla="*/ 5 h 90"/>
                <a:gd name="T36" fmla="*/ 112 w 126"/>
                <a:gd name="T37" fmla="*/ 8 h 90"/>
                <a:gd name="T38" fmla="*/ 112 w 126"/>
                <a:gd name="T39" fmla="*/ 67 h 90"/>
                <a:gd name="T40" fmla="*/ 13 w 126"/>
                <a:gd name="T41" fmla="*/ 67 h 90"/>
                <a:gd name="T42" fmla="*/ 13 w 126"/>
                <a:gd name="T43" fmla="*/ 8 h 90"/>
                <a:gd name="T44" fmla="*/ 120 w 126"/>
                <a:gd name="T45" fmla="*/ 77 h 90"/>
                <a:gd name="T46" fmla="*/ 113 w 126"/>
                <a:gd name="T47" fmla="*/ 85 h 90"/>
                <a:gd name="T48" fmla="*/ 13 w 126"/>
                <a:gd name="T49" fmla="*/ 85 h 90"/>
                <a:gd name="T50" fmla="*/ 6 w 126"/>
                <a:gd name="T51" fmla="*/ 77 h 90"/>
                <a:gd name="T52" fmla="*/ 6 w 126"/>
                <a:gd name="T53" fmla="*/ 72 h 90"/>
                <a:gd name="T54" fmla="*/ 120 w 126"/>
                <a:gd name="T55" fmla="*/ 72 h 90"/>
                <a:gd name="T56" fmla="*/ 120 w 126"/>
                <a:gd name="T57" fmla="*/ 77 h 90"/>
                <a:gd name="T58" fmla="*/ 71 w 126"/>
                <a:gd name="T59" fmla="*/ 75 h 90"/>
                <a:gd name="T60" fmla="*/ 55 w 126"/>
                <a:gd name="T61" fmla="*/ 75 h 90"/>
                <a:gd name="T62" fmla="*/ 55 w 126"/>
                <a:gd name="T63" fmla="*/ 80 h 90"/>
                <a:gd name="T64" fmla="*/ 71 w 126"/>
                <a:gd name="T65" fmla="*/ 80 h 90"/>
                <a:gd name="T66" fmla="*/ 71 w 126"/>
                <a:gd name="T67" fmla="*/ 7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6" h="90">
                  <a:moveTo>
                    <a:pt x="123" y="67"/>
                  </a:moveTo>
                  <a:cubicBezTo>
                    <a:pt x="118" y="67"/>
                    <a:pt x="118" y="67"/>
                    <a:pt x="118" y="67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8" y="3"/>
                    <a:pt x="114" y="0"/>
                    <a:pt x="11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8" y="3"/>
                    <a:pt x="8" y="8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2" y="67"/>
                    <a:pt x="0" y="68"/>
                    <a:pt x="0" y="69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4"/>
                    <a:pt x="6" y="90"/>
                    <a:pt x="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20" y="90"/>
                    <a:pt x="126" y="84"/>
                    <a:pt x="126" y="77"/>
                  </a:cubicBezTo>
                  <a:cubicBezTo>
                    <a:pt x="126" y="69"/>
                    <a:pt x="126" y="69"/>
                    <a:pt x="126" y="69"/>
                  </a:cubicBezTo>
                  <a:cubicBezTo>
                    <a:pt x="126" y="68"/>
                    <a:pt x="124" y="67"/>
                    <a:pt x="123" y="67"/>
                  </a:cubicBezTo>
                  <a:moveTo>
                    <a:pt x="13" y="8"/>
                  </a:moveTo>
                  <a:cubicBezTo>
                    <a:pt x="13" y="6"/>
                    <a:pt x="15" y="5"/>
                    <a:pt x="16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11" y="5"/>
                    <a:pt x="112" y="6"/>
                    <a:pt x="112" y="8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3" y="67"/>
                    <a:pt x="13" y="67"/>
                    <a:pt x="13" y="67"/>
                  </a:cubicBezTo>
                  <a:lnTo>
                    <a:pt x="13" y="8"/>
                  </a:lnTo>
                  <a:close/>
                  <a:moveTo>
                    <a:pt x="120" y="77"/>
                  </a:moveTo>
                  <a:cubicBezTo>
                    <a:pt x="120" y="81"/>
                    <a:pt x="117" y="85"/>
                    <a:pt x="1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9" y="85"/>
                    <a:pt x="6" y="81"/>
                    <a:pt x="6" y="77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20" y="72"/>
                    <a:pt x="120" y="72"/>
                    <a:pt x="120" y="72"/>
                  </a:cubicBezTo>
                  <a:lnTo>
                    <a:pt x="120" y="77"/>
                  </a:lnTo>
                  <a:close/>
                  <a:moveTo>
                    <a:pt x="71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71" y="80"/>
                    <a:pt x="71" y="80"/>
                    <a:pt x="71" y="80"/>
                  </a:cubicBezTo>
                  <a:lnTo>
                    <a:pt x="71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6">
              <a:extLst>
                <a:ext uri="{FF2B5EF4-FFF2-40B4-BE49-F238E27FC236}">
                  <a16:creationId xmlns:a16="http://schemas.microsoft.com/office/drawing/2014/main" id="{5676C01F-AC0C-4213-81C4-B941C971EF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1" y="1990"/>
              <a:ext cx="234" cy="127"/>
            </a:xfrm>
            <a:custGeom>
              <a:avLst/>
              <a:gdLst>
                <a:gd name="T0" fmla="*/ 84 w 86"/>
                <a:gd name="T1" fmla="*/ 34 h 47"/>
                <a:gd name="T2" fmla="*/ 77 w 86"/>
                <a:gd name="T3" fmla="*/ 34 h 47"/>
                <a:gd name="T4" fmla="*/ 74 w 86"/>
                <a:gd name="T5" fmla="*/ 27 h 47"/>
                <a:gd name="T6" fmla="*/ 79 w 86"/>
                <a:gd name="T7" fmla="*/ 22 h 47"/>
                <a:gd name="T8" fmla="*/ 80 w 86"/>
                <a:gd name="T9" fmla="*/ 20 h 47"/>
                <a:gd name="T10" fmla="*/ 79 w 86"/>
                <a:gd name="T11" fmla="*/ 18 h 47"/>
                <a:gd name="T12" fmla="*/ 68 w 86"/>
                <a:gd name="T13" fmla="*/ 7 h 47"/>
                <a:gd name="T14" fmla="*/ 64 w 86"/>
                <a:gd name="T15" fmla="*/ 7 h 47"/>
                <a:gd name="T16" fmla="*/ 60 w 86"/>
                <a:gd name="T17" fmla="*/ 12 h 47"/>
                <a:gd name="T18" fmla="*/ 53 w 86"/>
                <a:gd name="T19" fmla="*/ 9 h 47"/>
                <a:gd name="T20" fmla="*/ 53 w 86"/>
                <a:gd name="T21" fmla="*/ 2 h 47"/>
                <a:gd name="T22" fmla="*/ 51 w 86"/>
                <a:gd name="T23" fmla="*/ 0 h 47"/>
                <a:gd name="T24" fmla="*/ 35 w 86"/>
                <a:gd name="T25" fmla="*/ 0 h 47"/>
                <a:gd name="T26" fmla="*/ 33 w 86"/>
                <a:gd name="T27" fmla="*/ 2 h 47"/>
                <a:gd name="T28" fmla="*/ 33 w 86"/>
                <a:gd name="T29" fmla="*/ 9 h 47"/>
                <a:gd name="T30" fmla="*/ 26 w 86"/>
                <a:gd name="T31" fmla="*/ 12 h 47"/>
                <a:gd name="T32" fmla="*/ 21 w 86"/>
                <a:gd name="T33" fmla="*/ 7 h 47"/>
                <a:gd name="T34" fmla="*/ 18 w 86"/>
                <a:gd name="T35" fmla="*/ 7 h 47"/>
                <a:gd name="T36" fmla="*/ 7 w 86"/>
                <a:gd name="T37" fmla="*/ 18 h 47"/>
                <a:gd name="T38" fmla="*/ 6 w 86"/>
                <a:gd name="T39" fmla="*/ 20 h 47"/>
                <a:gd name="T40" fmla="*/ 7 w 86"/>
                <a:gd name="T41" fmla="*/ 22 h 47"/>
                <a:gd name="T42" fmla="*/ 12 w 86"/>
                <a:gd name="T43" fmla="*/ 27 h 47"/>
                <a:gd name="T44" fmla="*/ 9 w 86"/>
                <a:gd name="T45" fmla="*/ 34 h 47"/>
                <a:gd name="T46" fmla="*/ 2 w 86"/>
                <a:gd name="T47" fmla="*/ 34 h 47"/>
                <a:gd name="T48" fmla="*/ 0 w 86"/>
                <a:gd name="T49" fmla="*/ 36 h 47"/>
                <a:gd name="T50" fmla="*/ 0 w 86"/>
                <a:gd name="T51" fmla="*/ 47 h 47"/>
                <a:gd name="T52" fmla="*/ 5 w 86"/>
                <a:gd name="T53" fmla="*/ 47 h 47"/>
                <a:gd name="T54" fmla="*/ 5 w 86"/>
                <a:gd name="T55" fmla="*/ 39 h 47"/>
                <a:gd name="T56" fmla="*/ 11 w 86"/>
                <a:gd name="T57" fmla="*/ 39 h 47"/>
                <a:gd name="T58" fmla="*/ 13 w 86"/>
                <a:gd name="T59" fmla="*/ 37 h 47"/>
                <a:gd name="T60" fmla="*/ 17 w 86"/>
                <a:gd name="T61" fmla="*/ 28 h 47"/>
                <a:gd name="T62" fmla="*/ 17 w 86"/>
                <a:gd name="T63" fmla="*/ 24 h 47"/>
                <a:gd name="T64" fmla="*/ 13 w 86"/>
                <a:gd name="T65" fmla="*/ 20 h 47"/>
                <a:gd name="T66" fmla="*/ 20 w 86"/>
                <a:gd name="T67" fmla="*/ 13 h 47"/>
                <a:gd name="T68" fmla="*/ 24 w 86"/>
                <a:gd name="T69" fmla="*/ 17 h 47"/>
                <a:gd name="T70" fmla="*/ 27 w 86"/>
                <a:gd name="T71" fmla="*/ 17 h 47"/>
                <a:gd name="T72" fmla="*/ 36 w 86"/>
                <a:gd name="T73" fmla="*/ 14 h 47"/>
                <a:gd name="T74" fmla="*/ 38 w 86"/>
                <a:gd name="T75" fmla="*/ 11 h 47"/>
                <a:gd name="T76" fmla="*/ 38 w 86"/>
                <a:gd name="T77" fmla="*/ 5 h 47"/>
                <a:gd name="T78" fmla="*/ 48 w 86"/>
                <a:gd name="T79" fmla="*/ 5 h 47"/>
                <a:gd name="T80" fmla="*/ 48 w 86"/>
                <a:gd name="T81" fmla="*/ 11 h 47"/>
                <a:gd name="T82" fmla="*/ 50 w 86"/>
                <a:gd name="T83" fmla="*/ 14 h 47"/>
                <a:gd name="T84" fmla="*/ 59 w 86"/>
                <a:gd name="T85" fmla="*/ 17 h 47"/>
                <a:gd name="T86" fmla="*/ 62 w 86"/>
                <a:gd name="T87" fmla="*/ 17 h 47"/>
                <a:gd name="T88" fmla="*/ 66 w 86"/>
                <a:gd name="T89" fmla="*/ 13 h 47"/>
                <a:gd name="T90" fmla="*/ 73 w 86"/>
                <a:gd name="T91" fmla="*/ 20 h 47"/>
                <a:gd name="T92" fmla="*/ 69 w 86"/>
                <a:gd name="T93" fmla="*/ 24 h 47"/>
                <a:gd name="T94" fmla="*/ 69 w 86"/>
                <a:gd name="T95" fmla="*/ 28 h 47"/>
                <a:gd name="T96" fmla="*/ 73 w 86"/>
                <a:gd name="T97" fmla="*/ 37 h 47"/>
                <a:gd name="T98" fmla="*/ 75 w 86"/>
                <a:gd name="T99" fmla="*/ 39 h 47"/>
                <a:gd name="T100" fmla="*/ 81 w 86"/>
                <a:gd name="T101" fmla="*/ 39 h 47"/>
                <a:gd name="T102" fmla="*/ 81 w 86"/>
                <a:gd name="T103" fmla="*/ 47 h 47"/>
                <a:gd name="T104" fmla="*/ 86 w 86"/>
                <a:gd name="T105" fmla="*/ 47 h 47"/>
                <a:gd name="T106" fmla="*/ 86 w 86"/>
                <a:gd name="T107" fmla="*/ 36 h 47"/>
                <a:gd name="T108" fmla="*/ 84 w 86"/>
                <a:gd name="T109" fmla="*/ 34 h 47"/>
                <a:gd name="T110" fmla="*/ 43 w 86"/>
                <a:gd name="T111" fmla="*/ 23 h 47"/>
                <a:gd name="T112" fmla="*/ 20 w 86"/>
                <a:gd name="T113" fmla="*/ 47 h 47"/>
                <a:gd name="T114" fmla="*/ 25 w 86"/>
                <a:gd name="T115" fmla="*/ 47 h 47"/>
                <a:gd name="T116" fmla="*/ 43 w 86"/>
                <a:gd name="T117" fmla="*/ 28 h 47"/>
                <a:gd name="T118" fmla="*/ 61 w 86"/>
                <a:gd name="T119" fmla="*/ 47 h 47"/>
                <a:gd name="T120" fmla="*/ 66 w 86"/>
                <a:gd name="T121" fmla="*/ 47 h 47"/>
                <a:gd name="T122" fmla="*/ 43 w 86"/>
                <a:gd name="T12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6" h="47">
                  <a:moveTo>
                    <a:pt x="84" y="34"/>
                  </a:moveTo>
                  <a:cubicBezTo>
                    <a:pt x="77" y="34"/>
                    <a:pt x="77" y="34"/>
                    <a:pt x="77" y="34"/>
                  </a:cubicBezTo>
                  <a:cubicBezTo>
                    <a:pt x="76" y="31"/>
                    <a:pt x="75" y="29"/>
                    <a:pt x="74" y="27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1"/>
                    <a:pt x="80" y="21"/>
                    <a:pt x="80" y="20"/>
                  </a:cubicBezTo>
                  <a:cubicBezTo>
                    <a:pt x="80" y="19"/>
                    <a:pt x="79" y="19"/>
                    <a:pt x="79" y="18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7" y="6"/>
                    <a:pt x="65" y="6"/>
                    <a:pt x="64" y="7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8" y="11"/>
                    <a:pt x="55" y="10"/>
                    <a:pt x="53" y="9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2" y="0"/>
                    <a:pt x="51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3" y="1"/>
                    <a:pt x="33" y="2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1" y="10"/>
                    <a:pt x="28" y="11"/>
                    <a:pt x="26" y="1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6"/>
                    <a:pt x="19" y="6"/>
                    <a:pt x="18" y="7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9"/>
                    <a:pt x="6" y="19"/>
                    <a:pt x="6" y="20"/>
                  </a:cubicBezTo>
                  <a:cubicBezTo>
                    <a:pt x="6" y="21"/>
                    <a:pt x="7" y="21"/>
                    <a:pt x="7" y="22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9"/>
                    <a:pt x="10" y="31"/>
                    <a:pt x="9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0" y="35"/>
                    <a:pt x="0" y="3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2" y="39"/>
                    <a:pt x="13" y="38"/>
                    <a:pt x="13" y="37"/>
                  </a:cubicBezTo>
                  <a:cubicBezTo>
                    <a:pt x="14" y="34"/>
                    <a:pt x="15" y="30"/>
                    <a:pt x="17" y="28"/>
                  </a:cubicBezTo>
                  <a:cubicBezTo>
                    <a:pt x="18" y="27"/>
                    <a:pt x="18" y="25"/>
                    <a:pt x="17" y="24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30" y="16"/>
                    <a:pt x="33" y="14"/>
                    <a:pt x="36" y="14"/>
                  </a:cubicBezTo>
                  <a:cubicBezTo>
                    <a:pt x="37" y="13"/>
                    <a:pt x="38" y="12"/>
                    <a:pt x="38" y="11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2"/>
                    <a:pt x="49" y="13"/>
                    <a:pt x="50" y="14"/>
                  </a:cubicBezTo>
                  <a:cubicBezTo>
                    <a:pt x="52" y="14"/>
                    <a:pt x="56" y="16"/>
                    <a:pt x="59" y="17"/>
                  </a:cubicBezTo>
                  <a:cubicBezTo>
                    <a:pt x="60" y="18"/>
                    <a:pt x="61" y="18"/>
                    <a:pt x="62" y="17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5"/>
                    <a:pt x="68" y="27"/>
                    <a:pt x="69" y="28"/>
                  </a:cubicBezTo>
                  <a:cubicBezTo>
                    <a:pt x="71" y="30"/>
                    <a:pt x="72" y="34"/>
                    <a:pt x="73" y="37"/>
                  </a:cubicBezTo>
                  <a:cubicBezTo>
                    <a:pt x="73" y="38"/>
                    <a:pt x="74" y="39"/>
                    <a:pt x="75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5"/>
                    <a:pt x="85" y="34"/>
                    <a:pt x="84" y="34"/>
                  </a:cubicBezTo>
                  <a:moveTo>
                    <a:pt x="43" y="23"/>
                  </a:moveTo>
                  <a:cubicBezTo>
                    <a:pt x="30" y="23"/>
                    <a:pt x="20" y="34"/>
                    <a:pt x="20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37"/>
                    <a:pt x="33" y="28"/>
                    <a:pt x="43" y="28"/>
                  </a:cubicBezTo>
                  <a:cubicBezTo>
                    <a:pt x="53" y="28"/>
                    <a:pt x="61" y="37"/>
                    <a:pt x="61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34"/>
                    <a:pt x="56" y="23"/>
                    <a:pt x="43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4" name="Group 139">
            <a:extLst>
              <a:ext uri="{FF2B5EF4-FFF2-40B4-BE49-F238E27FC236}">
                <a16:creationId xmlns:a16="http://schemas.microsoft.com/office/drawing/2014/main" id="{A89CC65C-5D89-4C66-B4C0-29125348A0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559" y="2858942"/>
            <a:ext cx="758825" cy="760412"/>
            <a:chOff x="4962" y="1925"/>
            <a:chExt cx="478" cy="479"/>
          </a:xfrm>
        </p:grpSpPr>
        <p:sp>
          <p:nvSpPr>
            <p:cNvPr id="165" name="AutoShape 138">
              <a:extLst>
                <a:ext uri="{FF2B5EF4-FFF2-40B4-BE49-F238E27FC236}">
                  <a16:creationId xmlns:a16="http://schemas.microsoft.com/office/drawing/2014/main" id="{2CB240B6-A1F2-45D4-A83B-2B4EE83A46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62" y="1925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0">
              <a:extLst>
                <a:ext uri="{FF2B5EF4-FFF2-40B4-BE49-F238E27FC236}">
                  <a16:creationId xmlns:a16="http://schemas.microsoft.com/office/drawing/2014/main" id="{E58B527A-4F91-4523-8ACD-3FD1C77F6D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4" y="1927"/>
              <a:ext cx="476" cy="477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1">
              <a:extLst>
                <a:ext uri="{FF2B5EF4-FFF2-40B4-BE49-F238E27FC236}">
                  <a16:creationId xmlns:a16="http://schemas.microsoft.com/office/drawing/2014/main" id="{D0C3C0C1-0B0B-4B39-8EEB-B32321C5F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0" y="2023"/>
              <a:ext cx="284" cy="285"/>
            </a:xfrm>
            <a:custGeom>
              <a:avLst/>
              <a:gdLst>
                <a:gd name="T0" fmla="*/ 46 w 116"/>
                <a:gd name="T1" fmla="*/ 97 h 116"/>
                <a:gd name="T2" fmla="*/ 31 w 116"/>
                <a:gd name="T3" fmla="*/ 90 h 116"/>
                <a:gd name="T4" fmla="*/ 20 w 116"/>
                <a:gd name="T5" fmla="*/ 80 h 116"/>
                <a:gd name="T6" fmla="*/ 14 w 116"/>
                <a:gd name="T7" fmla="*/ 64 h 116"/>
                <a:gd name="T8" fmla="*/ 14 w 116"/>
                <a:gd name="T9" fmla="*/ 49 h 116"/>
                <a:gd name="T10" fmla="*/ 20 w 116"/>
                <a:gd name="T11" fmla="*/ 34 h 116"/>
                <a:gd name="T12" fmla="*/ 31 w 116"/>
                <a:gd name="T13" fmla="*/ 23 h 116"/>
                <a:gd name="T14" fmla="*/ 46 w 116"/>
                <a:gd name="T15" fmla="*/ 17 h 116"/>
                <a:gd name="T16" fmla="*/ 62 w 116"/>
                <a:gd name="T17" fmla="*/ 18 h 116"/>
                <a:gd name="T18" fmla="*/ 65 w 116"/>
                <a:gd name="T19" fmla="*/ 2 h 116"/>
                <a:gd name="T20" fmla="*/ 41 w 116"/>
                <a:gd name="T21" fmla="*/ 15 h 116"/>
                <a:gd name="T22" fmla="*/ 25 w 116"/>
                <a:gd name="T23" fmla="*/ 10 h 116"/>
                <a:gd name="T24" fmla="*/ 8 w 116"/>
                <a:gd name="T25" fmla="*/ 27 h 116"/>
                <a:gd name="T26" fmla="*/ 12 w 116"/>
                <a:gd name="T27" fmla="*/ 44 h 116"/>
                <a:gd name="T28" fmla="*/ 0 w 116"/>
                <a:gd name="T29" fmla="*/ 67 h 116"/>
                <a:gd name="T30" fmla="*/ 15 w 116"/>
                <a:gd name="T31" fmla="*/ 77 h 116"/>
                <a:gd name="T32" fmla="*/ 8 w 116"/>
                <a:gd name="T33" fmla="*/ 88 h 116"/>
                <a:gd name="T34" fmla="*/ 34 w 116"/>
                <a:gd name="T35" fmla="*/ 96 h 116"/>
                <a:gd name="T36" fmla="*/ 44 w 116"/>
                <a:gd name="T37" fmla="*/ 111 h 116"/>
                <a:gd name="T38" fmla="*/ 67 w 116"/>
                <a:gd name="T39" fmla="*/ 96 h 116"/>
                <a:gd name="T40" fmla="*/ 74 w 116"/>
                <a:gd name="T41" fmla="*/ 30 h 116"/>
                <a:gd name="T42" fmla="*/ 101 w 116"/>
                <a:gd name="T43" fmla="*/ 10 h 116"/>
                <a:gd name="T44" fmla="*/ 82 w 116"/>
                <a:gd name="T45" fmla="*/ 15 h 116"/>
                <a:gd name="T46" fmla="*/ 70 w 116"/>
                <a:gd name="T47" fmla="*/ 31 h 116"/>
                <a:gd name="T48" fmla="*/ 90 w 116"/>
                <a:gd name="T49" fmla="*/ 5 h 116"/>
                <a:gd name="T50" fmla="*/ 85 w 116"/>
                <a:gd name="T51" fmla="*/ 10 h 116"/>
                <a:gd name="T52" fmla="*/ 85 w 116"/>
                <a:gd name="T53" fmla="*/ 31 h 116"/>
                <a:gd name="T54" fmla="*/ 54 w 116"/>
                <a:gd name="T55" fmla="*/ 41 h 116"/>
                <a:gd name="T56" fmla="*/ 57 w 116"/>
                <a:gd name="T57" fmla="*/ 72 h 116"/>
                <a:gd name="T58" fmla="*/ 44 w 116"/>
                <a:gd name="T59" fmla="*/ 57 h 116"/>
                <a:gd name="T60" fmla="*/ 77 w 116"/>
                <a:gd name="T61" fmla="*/ 46 h 116"/>
                <a:gd name="T62" fmla="*/ 106 w 116"/>
                <a:gd name="T63" fmla="*/ 44 h 116"/>
                <a:gd name="T64" fmla="*/ 96 w 116"/>
                <a:gd name="T65" fmla="*/ 31 h 116"/>
                <a:gd name="T66" fmla="*/ 106 w 116"/>
                <a:gd name="T67" fmla="*/ 39 h 116"/>
                <a:gd name="T68" fmla="*/ 106 w 116"/>
                <a:gd name="T69" fmla="*/ 46 h 116"/>
                <a:gd name="T70" fmla="*/ 116 w 116"/>
                <a:gd name="T71" fmla="*/ 57 h 116"/>
                <a:gd name="T72" fmla="*/ 101 w 116"/>
                <a:gd name="T73" fmla="*/ 57 h 116"/>
                <a:gd name="T74" fmla="*/ 106 w 116"/>
                <a:gd name="T75" fmla="*/ 62 h 116"/>
                <a:gd name="T76" fmla="*/ 89 w 116"/>
                <a:gd name="T77" fmla="*/ 80 h 116"/>
                <a:gd name="T78" fmla="*/ 72 w 116"/>
                <a:gd name="T79" fmla="*/ 67 h 116"/>
                <a:gd name="T80" fmla="*/ 86 w 116"/>
                <a:gd name="T81" fmla="*/ 84 h 116"/>
                <a:gd name="T82" fmla="*/ 106 w 116"/>
                <a:gd name="T83" fmla="*/ 93 h 116"/>
                <a:gd name="T84" fmla="*/ 106 w 116"/>
                <a:gd name="T85" fmla="*/ 88 h 116"/>
                <a:gd name="T86" fmla="*/ 111 w 116"/>
                <a:gd name="T87" fmla="*/ 83 h 116"/>
                <a:gd name="T88" fmla="*/ 85 w 116"/>
                <a:gd name="T89" fmla="*/ 97 h 116"/>
                <a:gd name="T90" fmla="*/ 54 w 116"/>
                <a:gd name="T91" fmla="*/ 83 h 116"/>
                <a:gd name="T92" fmla="*/ 54 w 116"/>
                <a:gd name="T93" fmla="*/ 26 h 116"/>
                <a:gd name="T94" fmla="*/ 69 w 116"/>
                <a:gd name="T95" fmla="*/ 88 h 116"/>
                <a:gd name="T96" fmla="*/ 90 w 116"/>
                <a:gd name="T97" fmla="*/ 116 h 116"/>
                <a:gd name="T98" fmla="*/ 90 w 116"/>
                <a:gd name="T99" fmla="*/ 111 h 116"/>
                <a:gd name="T100" fmla="*/ 96 w 116"/>
                <a:gd name="T101" fmla="*/ 106 h 116"/>
                <a:gd name="T102" fmla="*/ 72 w 116"/>
                <a:gd name="T103" fmla="*/ 59 h 116"/>
                <a:gd name="T104" fmla="*/ 96 w 116"/>
                <a:gd name="T105" fmla="*/ 54 h 116"/>
                <a:gd name="T106" fmla="*/ 57 w 116"/>
                <a:gd name="T107" fmla="*/ 59 h 116"/>
                <a:gd name="T108" fmla="*/ 52 w 116"/>
                <a:gd name="T109" fmla="*/ 59 h 116"/>
                <a:gd name="T110" fmla="*/ 62 w 116"/>
                <a:gd name="T111" fmla="*/ 59 h 116"/>
                <a:gd name="T112" fmla="*/ 62 w 116"/>
                <a:gd name="T113" fmla="*/ 72 h 116"/>
                <a:gd name="T114" fmla="*/ 62 w 116"/>
                <a:gd name="T115" fmla="*/ 67 h 116"/>
                <a:gd name="T116" fmla="*/ 64 w 116"/>
                <a:gd name="T117" fmla="*/ 31 h 116"/>
                <a:gd name="T118" fmla="*/ 59 w 116"/>
                <a:gd name="T119" fmla="*/ 3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" h="116">
                  <a:moveTo>
                    <a:pt x="62" y="106"/>
                  </a:moveTo>
                  <a:cubicBezTo>
                    <a:pt x="46" y="106"/>
                    <a:pt x="46" y="106"/>
                    <a:pt x="46" y="106"/>
                  </a:cubicBezTo>
                  <a:cubicBezTo>
                    <a:pt x="46" y="97"/>
                    <a:pt x="46" y="97"/>
                    <a:pt x="46" y="97"/>
                  </a:cubicBezTo>
                  <a:cubicBezTo>
                    <a:pt x="46" y="96"/>
                    <a:pt x="46" y="95"/>
                    <a:pt x="44" y="94"/>
                  </a:cubicBezTo>
                  <a:cubicBezTo>
                    <a:pt x="41" y="93"/>
                    <a:pt x="38" y="92"/>
                    <a:pt x="34" y="90"/>
                  </a:cubicBezTo>
                  <a:cubicBezTo>
                    <a:pt x="33" y="90"/>
                    <a:pt x="32" y="90"/>
                    <a:pt x="31" y="90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1" y="79"/>
                    <a:pt x="21" y="77"/>
                    <a:pt x="21" y="76"/>
                  </a:cubicBezTo>
                  <a:cubicBezTo>
                    <a:pt x="19" y="73"/>
                    <a:pt x="18" y="70"/>
                    <a:pt x="17" y="66"/>
                  </a:cubicBezTo>
                  <a:cubicBezTo>
                    <a:pt x="16" y="65"/>
                    <a:pt x="15" y="64"/>
                    <a:pt x="14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9"/>
                    <a:pt x="16" y="48"/>
                    <a:pt x="17" y="47"/>
                  </a:cubicBezTo>
                  <a:cubicBezTo>
                    <a:pt x="18" y="44"/>
                    <a:pt x="19" y="40"/>
                    <a:pt x="21" y="37"/>
                  </a:cubicBezTo>
                  <a:cubicBezTo>
                    <a:pt x="21" y="36"/>
                    <a:pt x="21" y="35"/>
                    <a:pt x="20" y="34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2" y="24"/>
                    <a:pt x="33" y="24"/>
                    <a:pt x="34" y="23"/>
                  </a:cubicBezTo>
                  <a:cubicBezTo>
                    <a:pt x="38" y="21"/>
                    <a:pt x="41" y="20"/>
                    <a:pt x="44" y="19"/>
                  </a:cubicBezTo>
                  <a:cubicBezTo>
                    <a:pt x="46" y="19"/>
                    <a:pt x="46" y="18"/>
                    <a:pt x="46" y="17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6" y="2"/>
                    <a:pt x="65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2" y="2"/>
                    <a:pt x="41" y="4"/>
                    <a:pt x="41" y="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39" y="16"/>
                    <a:pt x="36" y="17"/>
                    <a:pt x="34" y="18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0"/>
                    <a:pt x="26" y="10"/>
                    <a:pt x="25" y="10"/>
                  </a:cubicBezTo>
                  <a:cubicBezTo>
                    <a:pt x="24" y="10"/>
                    <a:pt x="24" y="10"/>
                    <a:pt x="23" y="11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7"/>
                    <a:pt x="8" y="27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4" y="39"/>
                    <a:pt x="13" y="41"/>
                    <a:pt x="1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5"/>
                    <a:pt x="0" y="46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8"/>
                    <a:pt x="1" y="70"/>
                    <a:pt x="2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3" y="72"/>
                    <a:pt x="14" y="75"/>
                    <a:pt x="15" y="77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5"/>
                    <a:pt x="8" y="85"/>
                    <a:pt x="8" y="86"/>
                  </a:cubicBezTo>
                  <a:cubicBezTo>
                    <a:pt x="8" y="87"/>
                    <a:pt x="8" y="87"/>
                    <a:pt x="8" y="88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4" y="103"/>
                    <a:pt x="26" y="103"/>
                    <a:pt x="27" y="102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6" y="97"/>
                    <a:pt x="39" y="98"/>
                    <a:pt x="41" y="99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10"/>
                    <a:pt x="42" y="111"/>
                    <a:pt x="44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6" y="111"/>
                    <a:pt x="67" y="110"/>
                    <a:pt x="67" y="108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2" y="96"/>
                    <a:pt x="62" y="96"/>
                    <a:pt x="62" y="96"/>
                  </a:cubicBezTo>
                  <a:lnTo>
                    <a:pt x="62" y="106"/>
                  </a:lnTo>
                  <a:close/>
                  <a:moveTo>
                    <a:pt x="74" y="30"/>
                  </a:moveTo>
                  <a:cubicBezTo>
                    <a:pt x="85" y="19"/>
                    <a:pt x="85" y="19"/>
                    <a:pt x="85" y="19"/>
                  </a:cubicBezTo>
                  <a:cubicBezTo>
                    <a:pt x="87" y="20"/>
                    <a:pt x="88" y="20"/>
                    <a:pt x="90" y="20"/>
                  </a:cubicBezTo>
                  <a:cubicBezTo>
                    <a:pt x="96" y="20"/>
                    <a:pt x="101" y="16"/>
                    <a:pt x="101" y="10"/>
                  </a:cubicBezTo>
                  <a:cubicBezTo>
                    <a:pt x="101" y="4"/>
                    <a:pt x="96" y="0"/>
                    <a:pt x="90" y="0"/>
                  </a:cubicBezTo>
                  <a:cubicBezTo>
                    <a:pt x="85" y="0"/>
                    <a:pt x="80" y="4"/>
                    <a:pt x="80" y="10"/>
                  </a:cubicBezTo>
                  <a:cubicBezTo>
                    <a:pt x="80" y="12"/>
                    <a:pt x="81" y="14"/>
                    <a:pt x="82" y="15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3" y="31"/>
                    <a:pt x="74" y="31"/>
                    <a:pt x="74" y="30"/>
                  </a:cubicBezTo>
                  <a:moveTo>
                    <a:pt x="90" y="5"/>
                  </a:moveTo>
                  <a:cubicBezTo>
                    <a:pt x="93" y="5"/>
                    <a:pt x="96" y="7"/>
                    <a:pt x="96" y="10"/>
                  </a:cubicBezTo>
                  <a:cubicBezTo>
                    <a:pt x="96" y="13"/>
                    <a:pt x="93" y="15"/>
                    <a:pt x="90" y="15"/>
                  </a:cubicBezTo>
                  <a:cubicBezTo>
                    <a:pt x="88" y="15"/>
                    <a:pt x="85" y="13"/>
                    <a:pt x="85" y="10"/>
                  </a:cubicBezTo>
                  <a:cubicBezTo>
                    <a:pt x="85" y="7"/>
                    <a:pt x="88" y="5"/>
                    <a:pt x="90" y="5"/>
                  </a:cubicBezTo>
                  <a:moveTo>
                    <a:pt x="96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4" y="31"/>
                    <a:pt x="83" y="3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46" y="41"/>
                    <a:pt x="39" y="48"/>
                    <a:pt x="39" y="57"/>
                  </a:cubicBezTo>
                  <a:cubicBezTo>
                    <a:pt x="39" y="65"/>
                    <a:pt x="46" y="72"/>
                    <a:pt x="54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48" y="67"/>
                    <a:pt x="44" y="62"/>
                    <a:pt x="44" y="57"/>
                  </a:cubicBezTo>
                  <a:cubicBezTo>
                    <a:pt x="44" y="51"/>
                    <a:pt x="48" y="46"/>
                    <a:pt x="5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6" y="46"/>
                    <a:pt x="76" y="46"/>
                    <a:pt x="77" y="4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7" y="40"/>
                    <a:pt x="101" y="44"/>
                    <a:pt x="106" y="44"/>
                  </a:cubicBezTo>
                  <a:cubicBezTo>
                    <a:pt x="112" y="44"/>
                    <a:pt x="116" y="39"/>
                    <a:pt x="116" y="33"/>
                  </a:cubicBezTo>
                  <a:cubicBezTo>
                    <a:pt x="116" y="28"/>
                    <a:pt x="112" y="23"/>
                    <a:pt x="106" y="23"/>
                  </a:cubicBezTo>
                  <a:cubicBezTo>
                    <a:pt x="101" y="23"/>
                    <a:pt x="97" y="26"/>
                    <a:pt x="96" y="31"/>
                  </a:cubicBezTo>
                  <a:moveTo>
                    <a:pt x="106" y="28"/>
                  </a:moveTo>
                  <a:cubicBezTo>
                    <a:pt x="109" y="28"/>
                    <a:pt x="111" y="31"/>
                    <a:pt x="111" y="33"/>
                  </a:cubicBezTo>
                  <a:cubicBezTo>
                    <a:pt x="111" y="36"/>
                    <a:pt x="109" y="39"/>
                    <a:pt x="106" y="39"/>
                  </a:cubicBezTo>
                  <a:cubicBezTo>
                    <a:pt x="103" y="39"/>
                    <a:pt x="101" y="36"/>
                    <a:pt x="101" y="33"/>
                  </a:cubicBezTo>
                  <a:cubicBezTo>
                    <a:pt x="101" y="31"/>
                    <a:pt x="103" y="28"/>
                    <a:pt x="106" y="28"/>
                  </a:cubicBezTo>
                  <a:moveTo>
                    <a:pt x="106" y="46"/>
                  </a:moveTo>
                  <a:cubicBezTo>
                    <a:pt x="100" y="46"/>
                    <a:pt x="96" y="51"/>
                    <a:pt x="96" y="57"/>
                  </a:cubicBezTo>
                  <a:cubicBezTo>
                    <a:pt x="96" y="62"/>
                    <a:pt x="100" y="67"/>
                    <a:pt x="106" y="67"/>
                  </a:cubicBezTo>
                  <a:cubicBezTo>
                    <a:pt x="112" y="67"/>
                    <a:pt x="116" y="62"/>
                    <a:pt x="116" y="57"/>
                  </a:cubicBezTo>
                  <a:cubicBezTo>
                    <a:pt x="116" y="51"/>
                    <a:pt x="112" y="46"/>
                    <a:pt x="106" y="46"/>
                  </a:cubicBezTo>
                  <a:moveTo>
                    <a:pt x="106" y="62"/>
                  </a:moveTo>
                  <a:cubicBezTo>
                    <a:pt x="103" y="62"/>
                    <a:pt x="101" y="60"/>
                    <a:pt x="101" y="57"/>
                  </a:cubicBezTo>
                  <a:cubicBezTo>
                    <a:pt x="101" y="54"/>
                    <a:pt x="103" y="52"/>
                    <a:pt x="106" y="52"/>
                  </a:cubicBezTo>
                  <a:cubicBezTo>
                    <a:pt x="109" y="52"/>
                    <a:pt x="111" y="54"/>
                    <a:pt x="111" y="57"/>
                  </a:cubicBezTo>
                  <a:cubicBezTo>
                    <a:pt x="111" y="60"/>
                    <a:pt x="109" y="62"/>
                    <a:pt x="106" y="62"/>
                  </a:cubicBezTo>
                  <a:moveTo>
                    <a:pt x="106" y="72"/>
                  </a:moveTo>
                  <a:cubicBezTo>
                    <a:pt x="101" y="72"/>
                    <a:pt x="97" y="76"/>
                    <a:pt x="96" y="80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6" y="67"/>
                    <a:pt x="76" y="67"/>
                    <a:pt x="75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86" y="84"/>
                    <a:pt x="86" y="84"/>
                    <a:pt x="86" y="84"/>
                  </a:cubicBezTo>
                  <a:cubicBezTo>
                    <a:pt x="86" y="85"/>
                    <a:pt x="87" y="85"/>
                    <a:pt x="88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7" y="90"/>
                    <a:pt x="101" y="93"/>
                    <a:pt x="106" y="93"/>
                  </a:cubicBezTo>
                  <a:cubicBezTo>
                    <a:pt x="112" y="93"/>
                    <a:pt x="116" y="88"/>
                    <a:pt x="116" y="83"/>
                  </a:cubicBezTo>
                  <a:cubicBezTo>
                    <a:pt x="116" y="77"/>
                    <a:pt x="112" y="72"/>
                    <a:pt x="106" y="72"/>
                  </a:cubicBezTo>
                  <a:moveTo>
                    <a:pt x="106" y="88"/>
                  </a:moveTo>
                  <a:cubicBezTo>
                    <a:pt x="103" y="88"/>
                    <a:pt x="101" y="85"/>
                    <a:pt x="101" y="83"/>
                  </a:cubicBezTo>
                  <a:cubicBezTo>
                    <a:pt x="101" y="80"/>
                    <a:pt x="103" y="77"/>
                    <a:pt x="106" y="77"/>
                  </a:cubicBezTo>
                  <a:cubicBezTo>
                    <a:pt x="109" y="77"/>
                    <a:pt x="111" y="80"/>
                    <a:pt x="111" y="83"/>
                  </a:cubicBezTo>
                  <a:cubicBezTo>
                    <a:pt x="111" y="85"/>
                    <a:pt x="109" y="88"/>
                    <a:pt x="106" y="88"/>
                  </a:cubicBezTo>
                  <a:moveTo>
                    <a:pt x="90" y="96"/>
                  </a:moveTo>
                  <a:cubicBezTo>
                    <a:pt x="88" y="96"/>
                    <a:pt x="87" y="96"/>
                    <a:pt x="85" y="97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1" y="83"/>
                    <a:pt x="70" y="83"/>
                    <a:pt x="70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40" y="83"/>
                    <a:pt x="28" y="71"/>
                    <a:pt x="28" y="57"/>
                  </a:cubicBezTo>
                  <a:cubicBezTo>
                    <a:pt x="28" y="42"/>
                    <a:pt x="40" y="31"/>
                    <a:pt x="54" y="3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37" y="26"/>
                    <a:pt x="23" y="40"/>
                    <a:pt x="23" y="57"/>
                  </a:cubicBezTo>
                  <a:cubicBezTo>
                    <a:pt x="23" y="74"/>
                    <a:pt x="37" y="88"/>
                    <a:pt x="54" y="88"/>
                  </a:cubicBezTo>
                  <a:cubicBezTo>
                    <a:pt x="69" y="88"/>
                    <a:pt x="69" y="88"/>
                    <a:pt x="69" y="88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1" y="102"/>
                    <a:pt x="80" y="104"/>
                    <a:pt x="80" y="106"/>
                  </a:cubicBezTo>
                  <a:cubicBezTo>
                    <a:pt x="80" y="112"/>
                    <a:pt x="85" y="116"/>
                    <a:pt x="90" y="116"/>
                  </a:cubicBezTo>
                  <a:cubicBezTo>
                    <a:pt x="96" y="116"/>
                    <a:pt x="101" y="112"/>
                    <a:pt x="101" y="106"/>
                  </a:cubicBezTo>
                  <a:cubicBezTo>
                    <a:pt x="101" y="100"/>
                    <a:pt x="96" y="96"/>
                    <a:pt x="90" y="96"/>
                  </a:cubicBezTo>
                  <a:moveTo>
                    <a:pt x="90" y="111"/>
                  </a:moveTo>
                  <a:cubicBezTo>
                    <a:pt x="88" y="111"/>
                    <a:pt x="85" y="109"/>
                    <a:pt x="85" y="106"/>
                  </a:cubicBezTo>
                  <a:cubicBezTo>
                    <a:pt x="85" y="103"/>
                    <a:pt x="88" y="101"/>
                    <a:pt x="90" y="101"/>
                  </a:cubicBezTo>
                  <a:cubicBezTo>
                    <a:pt x="93" y="101"/>
                    <a:pt x="96" y="103"/>
                    <a:pt x="96" y="106"/>
                  </a:cubicBezTo>
                  <a:cubicBezTo>
                    <a:pt x="96" y="109"/>
                    <a:pt x="93" y="111"/>
                    <a:pt x="90" y="111"/>
                  </a:cubicBezTo>
                  <a:moveTo>
                    <a:pt x="72" y="54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4"/>
                    <a:pt x="96" y="54"/>
                    <a:pt x="96" y="54"/>
                  </a:cubicBezTo>
                  <a:lnTo>
                    <a:pt x="72" y="54"/>
                  </a:lnTo>
                  <a:close/>
                  <a:moveTo>
                    <a:pt x="52" y="59"/>
                  </a:moveTo>
                  <a:cubicBezTo>
                    <a:pt x="57" y="59"/>
                    <a:pt x="57" y="59"/>
                    <a:pt x="57" y="59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2" y="54"/>
                    <a:pt x="52" y="54"/>
                    <a:pt x="52" y="54"/>
                  </a:cubicBezTo>
                  <a:lnTo>
                    <a:pt x="52" y="59"/>
                  </a:lnTo>
                  <a:close/>
                  <a:moveTo>
                    <a:pt x="67" y="54"/>
                  </a:moveTo>
                  <a:cubicBezTo>
                    <a:pt x="62" y="54"/>
                    <a:pt x="62" y="54"/>
                    <a:pt x="62" y="54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9"/>
                    <a:pt x="67" y="59"/>
                    <a:pt x="67" y="59"/>
                  </a:cubicBezTo>
                  <a:lnTo>
                    <a:pt x="67" y="54"/>
                  </a:lnTo>
                  <a:close/>
                  <a:moveTo>
                    <a:pt x="62" y="72"/>
                  </a:moveTo>
                  <a:cubicBezTo>
                    <a:pt x="67" y="72"/>
                    <a:pt x="67" y="72"/>
                    <a:pt x="67" y="72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2" y="67"/>
                    <a:pt x="62" y="67"/>
                    <a:pt x="62" y="67"/>
                  </a:cubicBezTo>
                  <a:lnTo>
                    <a:pt x="62" y="72"/>
                  </a:lnTo>
                  <a:close/>
                  <a:moveTo>
                    <a:pt x="59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59" y="26"/>
                    <a:pt x="59" y="26"/>
                    <a:pt x="59" y="26"/>
                  </a:cubicBezTo>
                  <a:lnTo>
                    <a:pt x="59" y="3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8" name="Group 144">
            <a:extLst>
              <a:ext uri="{FF2B5EF4-FFF2-40B4-BE49-F238E27FC236}">
                <a16:creationId xmlns:a16="http://schemas.microsoft.com/office/drawing/2014/main" id="{F01472E2-2FC6-4B82-9E8B-C6E39D1422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9438" y="2818461"/>
            <a:ext cx="841375" cy="841375"/>
            <a:chOff x="4446" y="1881"/>
            <a:chExt cx="530" cy="530"/>
          </a:xfrm>
        </p:grpSpPr>
        <p:sp>
          <p:nvSpPr>
            <p:cNvPr id="169" name="AutoShape 143">
              <a:extLst>
                <a:ext uri="{FF2B5EF4-FFF2-40B4-BE49-F238E27FC236}">
                  <a16:creationId xmlns:a16="http://schemas.microsoft.com/office/drawing/2014/main" id="{322646CA-B16B-4467-A65B-829662B4E4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6" y="188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145">
              <a:extLst>
                <a:ext uri="{FF2B5EF4-FFF2-40B4-BE49-F238E27FC236}">
                  <a16:creationId xmlns:a16="http://schemas.microsoft.com/office/drawing/2014/main" id="{5DD8E533-C017-4BAA-9E54-C11536F5F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9" y="188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6">
              <a:extLst>
                <a:ext uri="{FF2B5EF4-FFF2-40B4-BE49-F238E27FC236}">
                  <a16:creationId xmlns:a16="http://schemas.microsoft.com/office/drawing/2014/main" id="{BB3DC79D-1599-4050-9193-44FB3CDB8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5" y="1900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47">
              <a:extLst>
                <a:ext uri="{FF2B5EF4-FFF2-40B4-BE49-F238E27FC236}">
                  <a16:creationId xmlns:a16="http://schemas.microsoft.com/office/drawing/2014/main" id="{516480C7-67E2-4150-A564-F80632D09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6" y="2001"/>
              <a:ext cx="293" cy="293"/>
            </a:xfrm>
            <a:custGeom>
              <a:avLst/>
              <a:gdLst>
                <a:gd name="T0" fmla="*/ 43 w 108"/>
                <a:gd name="T1" fmla="*/ 90 h 108"/>
                <a:gd name="T2" fmla="*/ 29 w 108"/>
                <a:gd name="T3" fmla="*/ 84 h 108"/>
                <a:gd name="T4" fmla="*/ 19 w 108"/>
                <a:gd name="T5" fmla="*/ 74 h 108"/>
                <a:gd name="T6" fmla="*/ 13 w 108"/>
                <a:gd name="T7" fmla="*/ 60 h 108"/>
                <a:gd name="T8" fmla="*/ 13 w 108"/>
                <a:gd name="T9" fmla="*/ 46 h 108"/>
                <a:gd name="T10" fmla="*/ 19 w 108"/>
                <a:gd name="T11" fmla="*/ 31 h 108"/>
                <a:gd name="T12" fmla="*/ 29 w 108"/>
                <a:gd name="T13" fmla="*/ 21 h 108"/>
                <a:gd name="T14" fmla="*/ 43 w 108"/>
                <a:gd name="T15" fmla="*/ 15 h 108"/>
                <a:gd name="T16" fmla="*/ 58 w 108"/>
                <a:gd name="T17" fmla="*/ 17 h 108"/>
                <a:gd name="T18" fmla="*/ 60 w 108"/>
                <a:gd name="T19" fmla="*/ 2 h 108"/>
                <a:gd name="T20" fmla="*/ 38 w 108"/>
                <a:gd name="T21" fmla="*/ 14 h 108"/>
                <a:gd name="T22" fmla="*/ 23 w 108"/>
                <a:gd name="T23" fmla="*/ 9 h 108"/>
                <a:gd name="T24" fmla="*/ 7 w 108"/>
                <a:gd name="T25" fmla="*/ 25 h 108"/>
                <a:gd name="T26" fmla="*/ 11 w 108"/>
                <a:gd name="T27" fmla="*/ 41 h 108"/>
                <a:gd name="T28" fmla="*/ 0 w 108"/>
                <a:gd name="T29" fmla="*/ 62 h 108"/>
                <a:gd name="T30" fmla="*/ 14 w 108"/>
                <a:gd name="T31" fmla="*/ 72 h 108"/>
                <a:gd name="T32" fmla="*/ 8 w 108"/>
                <a:gd name="T33" fmla="*/ 82 h 108"/>
                <a:gd name="T34" fmla="*/ 31 w 108"/>
                <a:gd name="T35" fmla="*/ 89 h 108"/>
                <a:gd name="T36" fmla="*/ 41 w 108"/>
                <a:gd name="T37" fmla="*/ 104 h 108"/>
                <a:gd name="T38" fmla="*/ 63 w 108"/>
                <a:gd name="T39" fmla="*/ 89 h 108"/>
                <a:gd name="T40" fmla="*/ 69 w 108"/>
                <a:gd name="T41" fmla="*/ 28 h 108"/>
                <a:gd name="T42" fmla="*/ 94 w 108"/>
                <a:gd name="T43" fmla="*/ 9 h 108"/>
                <a:gd name="T44" fmla="*/ 76 w 108"/>
                <a:gd name="T45" fmla="*/ 14 h 108"/>
                <a:gd name="T46" fmla="*/ 65 w 108"/>
                <a:gd name="T47" fmla="*/ 29 h 108"/>
                <a:gd name="T48" fmla="*/ 84 w 108"/>
                <a:gd name="T49" fmla="*/ 4 h 108"/>
                <a:gd name="T50" fmla="*/ 79 w 108"/>
                <a:gd name="T51" fmla="*/ 9 h 108"/>
                <a:gd name="T52" fmla="*/ 79 w 108"/>
                <a:gd name="T53" fmla="*/ 29 h 108"/>
                <a:gd name="T54" fmla="*/ 50 w 108"/>
                <a:gd name="T55" fmla="*/ 38 h 108"/>
                <a:gd name="T56" fmla="*/ 53 w 108"/>
                <a:gd name="T57" fmla="*/ 67 h 108"/>
                <a:gd name="T58" fmla="*/ 41 w 108"/>
                <a:gd name="T59" fmla="*/ 53 h 108"/>
                <a:gd name="T60" fmla="*/ 71 w 108"/>
                <a:gd name="T61" fmla="*/ 42 h 108"/>
                <a:gd name="T62" fmla="*/ 99 w 108"/>
                <a:gd name="T63" fmla="*/ 41 h 108"/>
                <a:gd name="T64" fmla="*/ 89 w 108"/>
                <a:gd name="T65" fmla="*/ 29 h 108"/>
                <a:gd name="T66" fmla="*/ 99 w 108"/>
                <a:gd name="T67" fmla="*/ 36 h 108"/>
                <a:gd name="T68" fmla="*/ 99 w 108"/>
                <a:gd name="T69" fmla="*/ 43 h 108"/>
                <a:gd name="T70" fmla="*/ 108 w 108"/>
                <a:gd name="T71" fmla="*/ 53 h 108"/>
                <a:gd name="T72" fmla="*/ 94 w 108"/>
                <a:gd name="T73" fmla="*/ 53 h 108"/>
                <a:gd name="T74" fmla="*/ 99 w 108"/>
                <a:gd name="T75" fmla="*/ 58 h 108"/>
                <a:gd name="T76" fmla="*/ 83 w 108"/>
                <a:gd name="T77" fmla="*/ 75 h 108"/>
                <a:gd name="T78" fmla="*/ 67 w 108"/>
                <a:gd name="T79" fmla="*/ 62 h 108"/>
                <a:gd name="T80" fmla="*/ 80 w 108"/>
                <a:gd name="T81" fmla="*/ 79 h 108"/>
                <a:gd name="T82" fmla="*/ 99 w 108"/>
                <a:gd name="T83" fmla="*/ 87 h 108"/>
                <a:gd name="T84" fmla="*/ 99 w 108"/>
                <a:gd name="T85" fmla="*/ 82 h 108"/>
                <a:gd name="T86" fmla="*/ 104 w 108"/>
                <a:gd name="T87" fmla="*/ 77 h 108"/>
                <a:gd name="T88" fmla="*/ 79 w 108"/>
                <a:gd name="T89" fmla="*/ 90 h 108"/>
                <a:gd name="T90" fmla="*/ 50 w 108"/>
                <a:gd name="T91" fmla="*/ 77 h 108"/>
                <a:gd name="T92" fmla="*/ 50 w 108"/>
                <a:gd name="T93" fmla="*/ 24 h 108"/>
                <a:gd name="T94" fmla="*/ 64 w 108"/>
                <a:gd name="T95" fmla="*/ 82 h 108"/>
                <a:gd name="T96" fmla="*/ 84 w 108"/>
                <a:gd name="T97" fmla="*/ 108 h 108"/>
                <a:gd name="T98" fmla="*/ 84 w 108"/>
                <a:gd name="T99" fmla="*/ 104 h 108"/>
                <a:gd name="T100" fmla="*/ 89 w 108"/>
                <a:gd name="T101" fmla="*/ 99 h 108"/>
                <a:gd name="T102" fmla="*/ 67 w 108"/>
                <a:gd name="T103" fmla="*/ 55 h 108"/>
                <a:gd name="T104" fmla="*/ 89 w 108"/>
                <a:gd name="T105" fmla="*/ 50 h 108"/>
                <a:gd name="T106" fmla="*/ 53 w 108"/>
                <a:gd name="T107" fmla="*/ 55 h 108"/>
                <a:gd name="T108" fmla="*/ 48 w 108"/>
                <a:gd name="T109" fmla="*/ 55 h 108"/>
                <a:gd name="T110" fmla="*/ 58 w 108"/>
                <a:gd name="T111" fmla="*/ 55 h 108"/>
                <a:gd name="T112" fmla="*/ 58 w 108"/>
                <a:gd name="T113" fmla="*/ 67 h 108"/>
                <a:gd name="T114" fmla="*/ 58 w 108"/>
                <a:gd name="T115" fmla="*/ 62 h 108"/>
                <a:gd name="T116" fmla="*/ 60 w 108"/>
                <a:gd name="T117" fmla="*/ 29 h 108"/>
                <a:gd name="T118" fmla="*/ 55 w 108"/>
                <a:gd name="T119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8" h="108">
                  <a:moveTo>
                    <a:pt x="58" y="99"/>
                  </a:moveTo>
                  <a:cubicBezTo>
                    <a:pt x="43" y="99"/>
                    <a:pt x="43" y="99"/>
                    <a:pt x="43" y="99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3" y="89"/>
                    <a:pt x="42" y="88"/>
                    <a:pt x="41" y="88"/>
                  </a:cubicBezTo>
                  <a:cubicBezTo>
                    <a:pt x="38" y="87"/>
                    <a:pt x="35" y="86"/>
                    <a:pt x="32" y="84"/>
                  </a:cubicBezTo>
                  <a:cubicBezTo>
                    <a:pt x="31" y="83"/>
                    <a:pt x="30" y="84"/>
                    <a:pt x="29" y="8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0" y="73"/>
                    <a:pt x="20" y="72"/>
                    <a:pt x="19" y="71"/>
                  </a:cubicBezTo>
                  <a:cubicBezTo>
                    <a:pt x="18" y="68"/>
                    <a:pt x="16" y="65"/>
                    <a:pt x="15" y="62"/>
                  </a:cubicBezTo>
                  <a:cubicBezTo>
                    <a:pt x="15" y="61"/>
                    <a:pt x="14" y="60"/>
                    <a:pt x="13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4" y="46"/>
                    <a:pt x="15" y="45"/>
                    <a:pt x="15" y="44"/>
                  </a:cubicBezTo>
                  <a:cubicBezTo>
                    <a:pt x="16" y="40"/>
                    <a:pt x="18" y="37"/>
                    <a:pt x="19" y="34"/>
                  </a:cubicBezTo>
                  <a:cubicBezTo>
                    <a:pt x="20" y="33"/>
                    <a:pt x="20" y="32"/>
                    <a:pt x="19" y="31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0" y="22"/>
                    <a:pt x="31" y="22"/>
                    <a:pt x="32" y="22"/>
                  </a:cubicBezTo>
                  <a:cubicBezTo>
                    <a:pt x="35" y="20"/>
                    <a:pt x="38" y="19"/>
                    <a:pt x="41" y="18"/>
                  </a:cubicBezTo>
                  <a:cubicBezTo>
                    <a:pt x="42" y="17"/>
                    <a:pt x="43" y="16"/>
                    <a:pt x="43" y="15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3"/>
                    <a:pt x="61" y="2"/>
                    <a:pt x="60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9" y="2"/>
                    <a:pt x="38" y="3"/>
                    <a:pt x="38" y="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6" y="14"/>
                    <a:pt x="34" y="15"/>
                    <a:pt x="31" y="16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9"/>
                    <a:pt x="23" y="9"/>
                  </a:cubicBezTo>
                  <a:cubicBezTo>
                    <a:pt x="22" y="9"/>
                    <a:pt x="22" y="10"/>
                    <a:pt x="21" y="1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7" y="25"/>
                    <a:pt x="7" y="25"/>
                  </a:cubicBezTo>
                  <a:cubicBezTo>
                    <a:pt x="7" y="26"/>
                    <a:pt x="7" y="27"/>
                    <a:pt x="8" y="27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6"/>
                    <a:pt x="12" y="38"/>
                    <a:pt x="11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2"/>
                    <a:pt x="0" y="43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1" y="65"/>
                    <a:pt x="2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67"/>
                    <a:pt x="13" y="70"/>
                    <a:pt x="14" y="72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7" y="79"/>
                    <a:pt x="7" y="79"/>
                    <a:pt x="7" y="80"/>
                  </a:cubicBezTo>
                  <a:cubicBezTo>
                    <a:pt x="7" y="81"/>
                    <a:pt x="7" y="81"/>
                    <a:pt x="8" y="82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22" y="96"/>
                    <a:pt x="24" y="96"/>
                    <a:pt x="25" y="95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4" y="90"/>
                    <a:pt x="36" y="91"/>
                    <a:pt x="38" y="92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2"/>
                    <a:pt x="39" y="104"/>
                    <a:pt x="41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1" y="104"/>
                    <a:pt x="63" y="102"/>
                    <a:pt x="63" y="101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58" y="89"/>
                    <a:pt x="58" y="89"/>
                    <a:pt x="58" y="89"/>
                  </a:cubicBezTo>
                  <a:lnTo>
                    <a:pt x="58" y="99"/>
                  </a:lnTo>
                  <a:close/>
                  <a:moveTo>
                    <a:pt x="69" y="28"/>
                  </a:moveTo>
                  <a:cubicBezTo>
                    <a:pt x="79" y="18"/>
                    <a:pt x="79" y="18"/>
                    <a:pt x="79" y="18"/>
                  </a:cubicBezTo>
                  <a:cubicBezTo>
                    <a:pt x="81" y="18"/>
                    <a:pt x="82" y="19"/>
                    <a:pt x="84" y="19"/>
                  </a:cubicBezTo>
                  <a:cubicBezTo>
                    <a:pt x="90" y="19"/>
                    <a:pt x="94" y="15"/>
                    <a:pt x="94" y="9"/>
                  </a:cubicBezTo>
                  <a:cubicBezTo>
                    <a:pt x="94" y="4"/>
                    <a:pt x="90" y="0"/>
                    <a:pt x="84" y="0"/>
                  </a:cubicBezTo>
                  <a:cubicBezTo>
                    <a:pt x="79" y="0"/>
                    <a:pt x="75" y="4"/>
                    <a:pt x="75" y="9"/>
                  </a:cubicBezTo>
                  <a:cubicBezTo>
                    <a:pt x="75" y="11"/>
                    <a:pt x="75" y="13"/>
                    <a:pt x="76" y="1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8" y="29"/>
                    <a:pt x="69" y="28"/>
                    <a:pt x="69" y="28"/>
                  </a:cubicBezTo>
                  <a:moveTo>
                    <a:pt x="84" y="4"/>
                  </a:moveTo>
                  <a:cubicBezTo>
                    <a:pt x="87" y="4"/>
                    <a:pt x="89" y="7"/>
                    <a:pt x="89" y="9"/>
                  </a:cubicBezTo>
                  <a:cubicBezTo>
                    <a:pt x="89" y="12"/>
                    <a:pt x="87" y="14"/>
                    <a:pt x="84" y="14"/>
                  </a:cubicBezTo>
                  <a:cubicBezTo>
                    <a:pt x="82" y="14"/>
                    <a:pt x="79" y="12"/>
                    <a:pt x="79" y="9"/>
                  </a:cubicBezTo>
                  <a:cubicBezTo>
                    <a:pt x="79" y="7"/>
                    <a:pt x="82" y="4"/>
                    <a:pt x="84" y="4"/>
                  </a:cubicBezTo>
                  <a:moveTo>
                    <a:pt x="89" y="29"/>
                  </a:move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8" y="29"/>
                    <a:pt x="78" y="29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2" y="38"/>
                    <a:pt x="36" y="45"/>
                    <a:pt x="36" y="53"/>
                  </a:cubicBezTo>
                  <a:cubicBezTo>
                    <a:pt x="36" y="61"/>
                    <a:pt x="42" y="67"/>
                    <a:pt x="50" y="67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5" y="62"/>
                    <a:pt x="41" y="58"/>
                    <a:pt x="41" y="53"/>
                  </a:cubicBezTo>
                  <a:cubicBezTo>
                    <a:pt x="41" y="47"/>
                    <a:pt x="45" y="43"/>
                    <a:pt x="5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2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90" y="38"/>
                    <a:pt x="94" y="41"/>
                    <a:pt x="99" y="41"/>
                  </a:cubicBezTo>
                  <a:cubicBezTo>
                    <a:pt x="104" y="41"/>
                    <a:pt x="108" y="36"/>
                    <a:pt x="108" y="31"/>
                  </a:cubicBezTo>
                  <a:cubicBezTo>
                    <a:pt x="108" y="26"/>
                    <a:pt x="104" y="21"/>
                    <a:pt x="99" y="21"/>
                  </a:cubicBezTo>
                  <a:cubicBezTo>
                    <a:pt x="94" y="21"/>
                    <a:pt x="90" y="25"/>
                    <a:pt x="89" y="29"/>
                  </a:cubicBezTo>
                  <a:moveTo>
                    <a:pt x="99" y="26"/>
                  </a:moveTo>
                  <a:cubicBezTo>
                    <a:pt x="101" y="26"/>
                    <a:pt x="104" y="28"/>
                    <a:pt x="104" y="31"/>
                  </a:cubicBezTo>
                  <a:cubicBezTo>
                    <a:pt x="104" y="34"/>
                    <a:pt x="101" y="36"/>
                    <a:pt x="99" y="36"/>
                  </a:cubicBezTo>
                  <a:cubicBezTo>
                    <a:pt x="96" y="36"/>
                    <a:pt x="94" y="34"/>
                    <a:pt x="94" y="31"/>
                  </a:cubicBezTo>
                  <a:cubicBezTo>
                    <a:pt x="94" y="28"/>
                    <a:pt x="96" y="26"/>
                    <a:pt x="99" y="26"/>
                  </a:cubicBezTo>
                  <a:moveTo>
                    <a:pt x="99" y="43"/>
                  </a:moveTo>
                  <a:cubicBezTo>
                    <a:pt x="93" y="43"/>
                    <a:pt x="89" y="47"/>
                    <a:pt x="89" y="53"/>
                  </a:cubicBezTo>
                  <a:cubicBezTo>
                    <a:pt x="89" y="58"/>
                    <a:pt x="93" y="62"/>
                    <a:pt x="99" y="62"/>
                  </a:cubicBezTo>
                  <a:cubicBezTo>
                    <a:pt x="104" y="62"/>
                    <a:pt x="108" y="58"/>
                    <a:pt x="108" y="53"/>
                  </a:cubicBezTo>
                  <a:cubicBezTo>
                    <a:pt x="108" y="47"/>
                    <a:pt x="104" y="43"/>
                    <a:pt x="99" y="43"/>
                  </a:cubicBezTo>
                  <a:moveTo>
                    <a:pt x="99" y="58"/>
                  </a:moveTo>
                  <a:cubicBezTo>
                    <a:pt x="96" y="58"/>
                    <a:pt x="94" y="55"/>
                    <a:pt x="94" y="53"/>
                  </a:cubicBezTo>
                  <a:cubicBezTo>
                    <a:pt x="94" y="50"/>
                    <a:pt x="96" y="48"/>
                    <a:pt x="99" y="48"/>
                  </a:cubicBezTo>
                  <a:cubicBezTo>
                    <a:pt x="101" y="48"/>
                    <a:pt x="104" y="50"/>
                    <a:pt x="104" y="53"/>
                  </a:cubicBezTo>
                  <a:cubicBezTo>
                    <a:pt x="104" y="55"/>
                    <a:pt x="101" y="58"/>
                    <a:pt x="99" y="58"/>
                  </a:cubicBezTo>
                  <a:moveTo>
                    <a:pt x="99" y="67"/>
                  </a:moveTo>
                  <a:cubicBezTo>
                    <a:pt x="94" y="67"/>
                    <a:pt x="90" y="70"/>
                    <a:pt x="89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0" y="62"/>
                    <a:pt x="70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1" y="79"/>
                    <a:pt x="81" y="79"/>
                    <a:pt x="82" y="79"/>
                  </a:cubicBezTo>
                  <a:cubicBezTo>
                    <a:pt x="89" y="79"/>
                    <a:pt x="89" y="79"/>
                    <a:pt x="89" y="79"/>
                  </a:cubicBezTo>
                  <a:cubicBezTo>
                    <a:pt x="90" y="84"/>
                    <a:pt x="94" y="87"/>
                    <a:pt x="99" y="87"/>
                  </a:cubicBezTo>
                  <a:cubicBezTo>
                    <a:pt x="104" y="87"/>
                    <a:pt x="108" y="82"/>
                    <a:pt x="108" y="77"/>
                  </a:cubicBezTo>
                  <a:cubicBezTo>
                    <a:pt x="108" y="72"/>
                    <a:pt x="104" y="67"/>
                    <a:pt x="99" y="67"/>
                  </a:cubicBezTo>
                  <a:moveTo>
                    <a:pt x="99" y="82"/>
                  </a:moveTo>
                  <a:cubicBezTo>
                    <a:pt x="96" y="82"/>
                    <a:pt x="94" y="80"/>
                    <a:pt x="94" y="77"/>
                  </a:cubicBezTo>
                  <a:cubicBezTo>
                    <a:pt x="94" y="74"/>
                    <a:pt x="96" y="72"/>
                    <a:pt x="99" y="72"/>
                  </a:cubicBezTo>
                  <a:cubicBezTo>
                    <a:pt x="101" y="72"/>
                    <a:pt x="104" y="74"/>
                    <a:pt x="104" y="77"/>
                  </a:cubicBezTo>
                  <a:cubicBezTo>
                    <a:pt x="104" y="80"/>
                    <a:pt x="101" y="82"/>
                    <a:pt x="99" y="82"/>
                  </a:cubicBezTo>
                  <a:moveTo>
                    <a:pt x="84" y="89"/>
                  </a:moveTo>
                  <a:cubicBezTo>
                    <a:pt x="82" y="89"/>
                    <a:pt x="81" y="90"/>
                    <a:pt x="79" y="90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6" y="77"/>
                    <a:pt x="66" y="77"/>
                    <a:pt x="65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37" y="77"/>
                    <a:pt x="26" y="66"/>
                    <a:pt x="26" y="53"/>
                  </a:cubicBezTo>
                  <a:cubicBezTo>
                    <a:pt x="26" y="39"/>
                    <a:pt x="37" y="29"/>
                    <a:pt x="50" y="29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34" y="24"/>
                    <a:pt x="21" y="37"/>
                    <a:pt x="21" y="53"/>
                  </a:cubicBezTo>
                  <a:cubicBezTo>
                    <a:pt x="21" y="69"/>
                    <a:pt x="34" y="82"/>
                    <a:pt x="50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5" y="95"/>
                    <a:pt x="75" y="97"/>
                    <a:pt x="75" y="99"/>
                  </a:cubicBezTo>
                  <a:cubicBezTo>
                    <a:pt x="75" y="104"/>
                    <a:pt x="79" y="108"/>
                    <a:pt x="84" y="108"/>
                  </a:cubicBezTo>
                  <a:cubicBezTo>
                    <a:pt x="90" y="108"/>
                    <a:pt x="94" y="104"/>
                    <a:pt x="94" y="99"/>
                  </a:cubicBezTo>
                  <a:cubicBezTo>
                    <a:pt x="94" y="93"/>
                    <a:pt x="90" y="89"/>
                    <a:pt x="84" y="89"/>
                  </a:cubicBezTo>
                  <a:moveTo>
                    <a:pt x="84" y="104"/>
                  </a:moveTo>
                  <a:cubicBezTo>
                    <a:pt x="82" y="104"/>
                    <a:pt x="79" y="101"/>
                    <a:pt x="79" y="99"/>
                  </a:cubicBezTo>
                  <a:cubicBezTo>
                    <a:pt x="79" y="96"/>
                    <a:pt x="82" y="94"/>
                    <a:pt x="84" y="94"/>
                  </a:cubicBezTo>
                  <a:cubicBezTo>
                    <a:pt x="87" y="94"/>
                    <a:pt x="89" y="96"/>
                    <a:pt x="89" y="99"/>
                  </a:cubicBezTo>
                  <a:cubicBezTo>
                    <a:pt x="89" y="101"/>
                    <a:pt x="87" y="104"/>
                    <a:pt x="84" y="104"/>
                  </a:cubicBezTo>
                  <a:moveTo>
                    <a:pt x="67" y="50"/>
                  </a:moveTo>
                  <a:cubicBezTo>
                    <a:pt x="67" y="55"/>
                    <a:pt x="67" y="55"/>
                    <a:pt x="67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0"/>
                    <a:pt x="89" y="50"/>
                    <a:pt x="89" y="50"/>
                  </a:cubicBezTo>
                  <a:lnTo>
                    <a:pt x="67" y="50"/>
                  </a:lnTo>
                  <a:close/>
                  <a:moveTo>
                    <a:pt x="48" y="55"/>
                  </a:moveTo>
                  <a:cubicBezTo>
                    <a:pt x="53" y="55"/>
                    <a:pt x="53" y="55"/>
                    <a:pt x="53" y="55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48" y="50"/>
                    <a:pt x="48" y="50"/>
                    <a:pt x="48" y="50"/>
                  </a:cubicBezTo>
                  <a:lnTo>
                    <a:pt x="48" y="55"/>
                  </a:lnTo>
                  <a:close/>
                  <a:moveTo>
                    <a:pt x="63" y="50"/>
                  </a:moveTo>
                  <a:cubicBezTo>
                    <a:pt x="58" y="50"/>
                    <a:pt x="58" y="50"/>
                    <a:pt x="58" y="50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63" y="55"/>
                    <a:pt x="63" y="55"/>
                    <a:pt x="63" y="55"/>
                  </a:cubicBezTo>
                  <a:lnTo>
                    <a:pt x="63" y="50"/>
                  </a:lnTo>
                  <a:close/>
                  <a:moveTo>
                    <a:pt x="58" y="67"/>
                  </a:moveTo>
                  <a:cubicBezTo>
                    <a:pt x="63" y="67"/>
                    <a:pt x="63" y="67"/>
                    <a:pt x="63" y="6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58" y="62"/>
                    <a:pt x="58" y="62"/>
                    <a:pt x="58" y="62"/>
                  </a:cubicBezTo>
                  <a:lnTo>
                    <a:pt x="58" y="67"/>
                  </a:lnTo>
                  <a:close/>
                  <a:moveTo>
                    <a:pt x="55" y="29"/>
                  </a:moveTo>
                  <a:cubicBezTo>
                    <a:pt x="60" y="29"/>
                    <a:pt x="60" y="29"/>
                    <a:pt x="60" y="29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5" y="24"/>
                    <a:pt x="55" y="24"/>
                    <a:pt x="55" y="24"/>
                  </a:cubicBezTo>
                  <a:lnTo>
                    <a:pt x="55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7" name="Group 150">
            <a:extLst>
              <a:ext uri="{FF2B5EF4-FFF2-40B4-BE49-F238E27FC236}">
                <a16:creationId xmlns:a16="http://schemas.microsoft.com/office/drawing/2014/main" id="{72D3E09D-24F5-442F-9422-842496EDE5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060" y="4167497"/>
            <a:ext cx="760413" cy="758825"/>
            <a:chOff x="1036" y="2791"/>
            <a:chExt cx="479" cy="478"/>
          </a:xfrm>
        </p:grpSpPr>
        <p:sp>
          <p:nvSpPr>
            <p:cNvPr id="178" name="AutoShape 149">
              <a:extLst>
                <a:ext uri="{FF2B5EF4-FFF2-40B4-BE49-F238E27FC236}">
                  <a16:creationId xmlns:a16="http://schemas.microsoft.com/office/drawing/2014/main" id="{F9F43522-BB8E-4CD4-A333-99E8AF7516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36" y="279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1">
              <a:extLst>
                <a:ext uri="{FF2B5EF4-FFF2-40B4-BE49-F238E27FC236}">
                  <a16:creationId xmlns:a16="http://schemas.microsoft.com/office/drawing/2014/main" id="{34197F7E-ACC0-4460-BC91-19819ECFA7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2793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2">
              <a:extLst>
                <a:ext uri="{FF2B5EF4-FFF2-40B4-BE49-F238E27FC236}">
                  <a16:creationId xmlns:a16="http://schemas.microsoft.com/office/drawing/2014/main" id="{EC62EE90-4B34-462F-8943-51F1F25E06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" y="2928"/>
              <a:ext cx="191" cy="201"/>
            </a:xfrm>
            <a:custGeom>
              <a:avLst/>
              <a:gdLst>
                <a:gd name="T0" fmla="*/ 29 w 78"/>
                <a:gd name="T1" fmla="*/ 73 h 82"/>
                <a:gd name="T2" fmla="*/ 27 w 78"/>
                <a:gd name="T3" fmla="*/ 72 h 82"/>
                <a:gd name="T4" fmla="*/ 6 w 78"/>
                <a:gd name="T5" fmla="*/ 58 h 82"/>
                <a:gd name="T6" fmla="*/ 11 w 78"/>
                <a:gd name="T7" fmla="*/ 52 h 82"/>
                <a:gd name="T8" fmla="*/ 0 w 78"/>
                <a:gd name="T9" fmla="*/ 47 h 82"/>
                <a:gd name="T10" fmla="*/ 11 w 78"/>
                <a:gd name="T11" fmla="*/ 30 h 82"/>
                <a:gd name="T12" fmla="*/ 6 w 78"/>
                <a:gd name="T13" fmla="*/ 24 h 82"/>
                <a:gd name="T14" fmla="*/ 26 w 78"/>
                <a:gd name="T15" fmla="*/ 11 h 82"/>
                <a:gd name="T16" fmla="*/ 29 w 78"/>
                <a:gd name="T17" fmla="*/ 10 h 82"/>
                <a:gd name="T18" fmla="*/ 45 w 78"/>
                <a:gd name="T19" fmla="*/ 0 h 82"/>
                <a:gd name="T20" fmla="*/ 50 w 78"/>
                <a:gd name="T21" fmla="*/ 11 h 82"/>
                <a:gd name="T22" fmla="*/ 62 w 78"/>
                <a:gd name="T23" fmla="*/ 6 h 82"/>
                <a:gd name="T24" fmla="*/ 68 w 78"/>
                <a:gd name="T25" fmla="*/ 29 h 82"/>
                <a:gd name="T26" fmla="*/ 69 w 78"/>
                <a:gd name="T27" fmla="*/ 31 h 82"/>
                <a:gd name="T28" fmla="*/ 73 w 78"/>
                <a:gd name="T29" fmla="*/ 52 h 82"/>
                <a:gd name="T30" fmla="*/ 68 w 78"/>
                <a:gd name="T31" fmla="*/ 53 h 82"/>
                <a:gd name="T32" fmla="*/ 62 w 78"/>
                <a:gd name="T33" fmla="*/ 76 h 82"/>
                <a:gd name="T34" fmla="*/ 50 w 78"/>
                <a:gd name="T35" fmla="*/ 71 h 82"/>
                <a:gd name="T36" fmla="*/ 49 w 78"/>
                <a:gd name="T37" fmla="*/ 77 h 82"/>
                <a:gd name="T38" fmla="*/ 43 w 78"/>
                <a:gd name="T39" fmla="*/ 75 h 82"/>
                <a:gd name="T40" fmla="*/ 46 w 78"/>
                <a:gd name="T41" fmla="*/ 67 h 82"/>
                <a:gd name="T42" fmla="*/ 49 w 78"/>
                <a:gd name="T43" fmla="*/ 65 h 82"/>
                <a:gd name="T44" fmla="*/ 54 w 78"/>
                <a:gd name="T45" fmla="*/ 66 h 82"/>
                <a:gd name="T46" fmla="*/ 67 w 78"/>
                <a:gd name="T47" fmla="*/ 63 h 82"/>
                <a:gd name="T48" fmla="*/ 62 w 78"/>
                <a:gd name="T49" fmla="*/ 56 h 82"/>
                <a:gd name="T50" fmla="*/ 63 w 78"/>
                <a:gd name="T51" fmla="*/ 50 h 82"/>
                <a:gd name="T52" fmla="*/ 72 w 78"/>
                <a:gd name="T53" fmla="*/ 45 h 82"/>
                <a:gd name="T54" fmla="*/ 66 w 78"/>
                <a:gd name="T55" fmla="*/ 36 h 82"/>
                <a:gd name="T56" fmla="*/ 63 w 78"/>
                <a:gd name="T57" fmla="*/ 33 h 82"/>
                <a:gd name="T58" fmla="*/ 62 w 78"/>
                <a:gd name="T59" fmla="*/ 29 h 82"/>
                <a:gd name="T60" fmla="*/ 67 w 78"/>
                <a:gd name="T61" fmla="*/ 21 h 82"/>
                <a:gd name="T62" fmla="*/ 55 w 78"/>
                <a:gd name="T63" fmla="*/ 16 h 82"/>
                <a:gd name="T64" fmla="*/ 50 w 78"/>
                <a:gd name="T65" fmla="*/ 18 h 82"/>
                <a:gd name="T66" fmla="*/ 43 w 78"/>
                <a:gd name="T67" fmla="*/ 12 h 82"/>
                <a:gd name="T68" fmla="*/ 35 w 78"/>
                <a:gd name="T69" fmla="*/ 7 h 82"/>
                <a:gd name="T70" fmla="*/ 32 w 78"/>
                <a:gd name="T71" fmla="*/ 15 h 82"/>
                <a:gd name="T72" fmla="*/ 29 w 78"/>
                <a:gd name="T73" fmla="*/ 17 h 82"/>
                <a:gd name="T74" fmla="*/ 25 w 78"/>
                <a:gd name="T75" fmla="*/ 16 h 82"/>
                <a:gd name="T76" fmla="*/ 12 w 78"/>
                <a:gd name="T77" fmla="*/ 20 h 82"/>
                <a:gd name="T78" fmla="*/ 16 w 78"/>
                <a:gd name="T79" fmla="*/ 27 h 82"/>
                <a:gd name="T80" fmla="*/ 16 w 78"/>
                <a:gd name="T81" fmla="*/ 33 h 82"/>
                <a:gd name="T82" fmla="*/ 6 w 78"/>
                <a:gd name="T83" fmla="*/ 38 h 82"/>
                <a:gd name="T84" fmla="*/ 12 w 78"/>
                <a:gd name="T85" fmla="*/ 46 h 82"/>
                <a:gd name="T86" fmla="*/ 16 w 78"/>
                <a:gd name="T87" fmla="*/ 50 h 82"/>
                <a:gd name="T88" fmla="*/ 16 w 78"/>
                <a:gd name="T89" fmla="*/ 53 h 82"/>
                <a:gd name="T90" fmla="*/ 12 w 78"/>
                <a:gd name="T91" fmla="*/ 61 h 82"/>
                <a:gd name="T92" fmla="*/ 24 w 78"/>
                <a:gd name="T93" fmla="*/ 66 h 82"/>
                <a:gd name="T94" fmla="*/ 29 w 78"/>
                <a:gd name="T95" fmla="*/ 65 h 82"/>
                <a:gd name="T96" fmla="*/ 35 w 78"/>
                <a:gd name="T97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8" h="82">
                  <a:moveTo>
                    <a:pt x="44" y="82"/>
                  </a:moveTo>
                  <a:cubicBezTo>
                    <a:pt x="34" y="82"/>
                    <a:pt x="34" y="82"/>
                    <a:pt x="34" y="82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7" y="72"/>
                    <a:pt x="27" y="72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4"/>
                    <a:pt x="11" y="54"/>
                    <a:pt x="11" y="5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2"/>
                    <a:pt x="11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1"/>
                    <a:pt x="9" y="51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0" y="28"/>
                    <a:pt x="10" y="28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9" y="11"/>
                  </a:cubicBezTo>
                  <a:cubicBezTo>
                    <a:pt x="29" y="11"/>
                    <a:pt x="29" y="11"/>
                    <a:pt x="29" y="10"/>
                  </a:cubicBezTo>
                  <a:cubicBezTo>
                    <a:pt x="29" y="10"/>
                    <a:pt x="29" y="10"/>
                    <a:pt x="30" y="10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2" y="11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30"/>
                    <a:pt x="68" y="30"/>
                    <a:pt x="68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8" y="36"/>
                    <a:pt x="78" y="36"/>
                    <a:pt x="78" y="3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7" y="53"/>
                    <a:pt x="67" y="53"/>
                  </a:cubicBezTo>
                  <a:cubicBezTo>
                    <a:pt x="67" y="53"/>
                    <a:pt x="68" y="53"/>
                    <a:pt x="68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1" y="71"/>
                    <a:pt x="51" y="71"/>
                  </a:cubicBezTo>
                  <a:cubicBezTo>
                    <a:pt x="51" y="71"/>
                    <a:pt x="51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9" y="77"/>
                    <a:pt x="49" y="77"/>
                    <a:pt x="49" y="77"/>
                  </a:cubicBezTo>
                  <a:lnTo>
                    <a:pt x="44" y="82"/>
                  </a:lnTo>
                  <a:close/>
                  <a:moveTo>
                    <a:pt x="36" y="76"/>
                  </a:moveTo>
                  <a:cubicBezTo>
                    <a:pt x="42" y="76"/>
                    <a:pt x="42" y="76"/>
                    <a:pt x="42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69"/>
                    <a:pt x="44" y="69"/>
                    <a:pt x="45" y="68"/>
                  </a:cubicBezTo>
                  <a:cubicBezTo>
                    <a:pt x="45" y="68"/>
                    <a:pt x="45" y="68"/>
                    <a:pt x="46" y="67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9" y="66"/>
                    <a:pt x="49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5"/>
                    <a:pt x="52" y="66"/>
                    <a:pt x="52" y="66"/>
                  </a:cubicBezTo>
                  <a:cubicBezTo>
                    <a:pt x="53" y="66"/>
                    <a:pt x="53" y="66"/>
                    <a:pt x="54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3" y="56"/>
                    <a:pt x="63" y="56"/>
                    <a:pt x="62" y="56"/>
                  </a:cubicBezTo>
                  <a:cubicBezTo>
                    <a:pt x="62" y="55"/>
                    <a:pt x="62" y="54"/>
                    <a:pt x="62" y="53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2" y="51"/>
                    <a:pt x="62" y="50"/>
                    <a:pt x="63" y="50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5" y="36"/>
                    <a:pt x="65" y="35"/>
                  </a:cubicBezTo>
                  <a:cubicBezTo>
                    <a:pt x="65" y="35"/>
                    <a:pt x="64" y="35"/>
                    <a:pt x="64" y="34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1"/>
                    <a:pt x="62" y="31"/>
                    <a:pt x="62" y="31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2" y="28"/>
                    <a:pt x="62" y="28"/>
                    <a:pt x="63" y="27"/>
                  </a:cubicBezTo>
                  <a:cubicBezTo>
                    <a:pt x="63" y="27"/>
                    <a:pt x="63" y="26"/>
                    <a:pt x="63" y="26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3" y="16"/>
                    <a:pt x="53" y="17"/>
                  </a:cubicBezTo>
                  <a:cubicBezTo>
                    <a:pt x="52" y="17"/>
                    <a:pt x="52" y="17"/>
                    <a:pt x="51" y="17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7"/>
                    <a:pt x="48" y="17"/>
                    <a:pt x="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3"/>
                    <a:pt x="34" y="13"/>
                    <a:pt x="33" y="14"/>
                  </a:cubicBezTo>
                  <a:cubicBezTo>
                    <a:pt x="33" y="14"/>
                    <a:pt x="33" y="15"/>
                    <a:pt x="32" y="15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0" y="16"/>
                  </a:cubicBezTo>
                  <a:cubicBezTo>
                    <a:pt x="30" y="17"/>
                    <a:pt x="30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6" y="17"/>
                    <a:pt x="26" y="17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6"/>
                    <a:pt x="16" y="26"/>
                    <a:pt x="16" y="27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3" y="46"/>
                    <a:pt x="13" y="47"/>
                    <a:pt x="13" y="47"/>
                  </a:cubicBezTo>
                  <a:cubicBezTo>
                    <a:pt x="14" y="47"/>
                    <a:pt x="14" y="48"/>
                    <a:pt x="15" y="48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1"/>
                    <a:pt x="16" y="51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6"/>
                    <a:pt x="16" y="57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6" y="66"/>
                    <a:pt x="27" y="65"/>
                    <a:pt x="28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6"/>
                    <a:pt x="30" y="66"/>
                    <a:pt x="31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5" y="75"/>
                    <a:pt x="35" y="75"/>
                    <a:pt x="35" y="7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3">
              <a:extLst>
                <a:ext uri="{FF2B5EF4-FFF2-40B4-BE49-F238E27FC236}">
                  <a16:creationId xmlns:a16="http://schemas.microsoft.com/office/drawing/2014/main" id="{1FB93228-435D-40C7-9912-0EB1590E02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0" y="2992"/>
              <a:ext cx="64" cy="74"/>
            </a:xfrm>
            <a:custGeom>
              <a:avLst/>
              <a:gdLst>
                <a:gd name="T0" fmla="*/ 13 w 26"/>
                <a:gd name="T1" fmla="*/ 30 h 30"/>
                <a:gd name="T2" fmla="*/ 4 w 26"/>
                <a:gd name="T3" fmla="*/ 26 h 30"/>
                <a:gd name="T4" fmla="*/ 0 w 26"/>
                <a:gd name="T5" fmla="*/ 15 h 30"/>
                <a:gd name="T6" fmla="*/ 4 w 26"/>
                <a:gd name="T7" fmla="*/ 5 h 30"/>
                <a:gd name="T8" fmla="*/ 13 w 26"/>
                <a:gd name="T9" fmla="*/ 0 h 30"/>
                <a:gd name="T10" fmla="*/ 22 w 26"/>
                <a:gd name="T11" fmla="*/ 5 h 30"/>
                <a:gd name="T12" fmla="*/ 26 w 26"/>
                <a:gd name="T13" fmla="*/ 15 h 30"/>
                <a:gd name="T14" fmla="*/ 22 w 26"/>
                <a:gd name="T15" fmla="*/ 26 h 30"/>
                <a:gd name="T16" fmla="*/ 13 w 26"/>
                <a:gd name="T17" fmla="*/ 30 h 30"/>
                <a:gd name="T18" fmla="*/ 13 w 26"/>
                <a:gd name="T19" fmla="*/ 6 h 30"/>
                <a:gd name="T20" fmla="*/ 8 w 26"/>
                <a:gd name="T21" fmla="*/ 9 h 30"/>
                <a:gd name="T22" fmla="*/ 5 w 26"/>
                <a:gd name="T23" fmla="*/ 15 h 30"/>
                <a:gd name="T24" fmla="*/ 8 w 26"/>
                <a:gd name="T25" fmla="*/ 22 h 30"/>
                <a:gd name="T26" fmla="*/ 19 w 26"/>
                <a:gd name="T27" fmla="*/ 22 h 30"/>
                <a:gd name="T28" fmla="*/ 21 w 26"/>
                <a:gd name="T29" fmla="*/ 15 h 30"/>
                <a:gd name="T30" fmla="*/ 19 w 26"/>
                <a:gd name="T31" fmla="*/ 9 h 30"/>
                <a:gd name="T32" fmla="*/ 13 w 26"/>
                <a:gd name="T33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30">
                  <a:moveTo>
                    <a:pt x="13" y="30"/>
                  </a:moveTo>
                  <a:cubicBezTo>
                    <a:pt x="10" y="30"/>
                    <a:pt x="6" y="29"/>
                    <a:pt x="4" y="26"/>
                  </a:cubicBezTo>
                  <a:cubicBezTo>
                    <a:pt x="2" y="23"/>
                    <a:pt x="0" y="19"/>
                    <a:pt x="0" y="15"/>
                  </a:cubicBezTo>
                  <a:cubicBezTo>
                    <a:pt x="0" y="11"/>
                    <a:pt x="2" y="7"/>
                    <a:pt x="4" y="5"/>
                  </a:cubicBezTo>
                  <a:cubicBezTo>
                    <a:pt x="6" y="2"/>
                    <a:pt x="10" y="0"/>
                    <a:pt x="13" y="0"/>
                  </a:cubicBezTo>
                  <a:cubicBezTo>
                    <a:pt x="17" y="0"/>
                    <a:pt x="20" y="2"/>
                    <a:pt x="22" y="5"/>
                  </a:cubicBezTo>
                  <a:cubicBezTo>
                    <a:pt x="25" y="7"/>
                    <a:pt x="26" y="11"/>
                    <a:pt x="26" y="15"/>
                  </a:cubicBezTo>
                  <a:cubicBezTo>
                    <a:pt x="26" y="19"/>
                    <a:pt x="25" y="23"/>
                    <a:pt x="22" y="26"/>
                  </a:cubicBezTo>
                  <a:cubicBezTo>
                    <a:pt x="20" y="29"/>
                    <a:pt x="17" y="30"/>
                    <a:pt x="13" y="30"/>
                  </a:cubicBezTo>
                  <a:moveTo>
                    <a:pt x="13" y="6"/>
                  </a:moveTo>
                  <a:cubicBezTo>
                    <a:pt x="11" y="6"/>
                    <a:pt x="9" y="7"/>
                    <a:pt x="8" y="9"/>
                  </a:cubicBezTo>
                  <a:cubicBezTo>
                    <a:pt x="6" y="10"/>
                    <a:pt x="5" y="13"/>
                    <a:pt x="5" y="15"/>
                  </a:cubicBezTo>
                  <a:cubicBezTo>
                    <a:pt x="5" y="18"/>
                    <a:pt x="6" y="20"/>
                    <a:pt x="8" y="22"/>
                  </a:cubicBezTo>
                  <a:cubicBezTo>
                    <a:pt x="11" y="25"/>
                    <a:pt x="16" y="25"/>
                    <a:pt x="19" y="22"/>
                  </a:cubicBezTo>
                  <a:cubicBezTo>
                    <a:pt x="20" y="20"/>
                    <a:pt x="21" y="18"/>
                    <a:pt x="21" y="15"/>
                  </a:cubicBezTo>
                  <a:cubicBezTo>
                    <a:pt x="21" y="13"/>
                    <a:pt x="20" y="10"/>
                    <a:pt x="19" y="9"/>
                  </a:cubicBezTo>
                  <a:cubicBezTo>
                    <a:pt x="17" y="7"/>
                    <a:pt x="15" y="6"/>
                    <a:pt x="13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54">
              <a:extLst>
                <a:ext uri="{FF2B5EF4-FFF2-40B4-BE49-F238E27FC236}">
                  <a16:creationId xmlns:a16="http://schemas.microsoft.com/office/drawing/2014/main" id="{C95F303B-206D-427E-A426-036A8BA50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2" y="2865"/>
              <a:ext cx="329" cy="316"/>
            </a:xfrm>
            <a:custGeom>
              <a:avLst/>
              <a:gdLst>
                <a:gd name="T0" fmla="*/ 27 w 134"/>
                <a:gd name="T1" fmla="*/ 28 h 129"/>
                <a:gd name="T2" fmla="*/ 107 w 134"/>
                <a:gd name="T3" fmla="*/ 28 h 129"/>
                <a:gd name="T4" fmla="*/ 110 w 134"/>
                <a:gd name="T5" fmla="*/ 32 h 129"/>
                <a:gd name="T6" fmla="*/ 101 w 134"/>
                <a:gd name="T7" fmla="*/ 32 h 129"/>
                <a:gd name="T8" fmla="*/ 101 w 134"/>
                <a:gd name="T9" fmla="*/ 37 h 129"/>
                <a:gd name="T10" fmla="*/ 120 w 134"/>
                <a:gd name="T11" fmla="*/ 37 h 129"/>
                <a:gd name="T12" fmla="*/ 120 w 134"/>
                <a:gd name="T13" fmla="*/ 18 h 129"/>
                <a:gd name="T14" fmla="*/ 115 w 134"/>
                <a:gd name="T15" fmla="*/ 18 h 129"/>
                <a:gd name="T16" fmla="*/ 115 w 134"/>
                <a:gd name="T17" fmla="*/ 29 h 129"/>
                <a:gd name="T18" fmla="*/ 111 w 134"/>
                <a:gd name="T19" fmla="*/ 25 h 129"/>
                <a:gd name="T20" fmla="*/ 23 w 134"/>
                <a:gd name="T21" fmla="*/ 24 h 129"/>
                <a:gd name="T22" fmla="*/ 11 w 134"/>
                <a:gd name="T23" fmla="*/ 93 h 129"/>
                <a:gd name="T24" fmla="*/ 16 w 134"/>
                <a:gd name="T25" fmla="*/ 91 h 129"/>
                <a:gd name="T26" fmla="*/ 27 w 134"/>
                <a:gd name="T27" fmla="*/ 28 h 129"/>
                <a:gd name="T28" fmla="*/ 123 w 134"/>
                <a:gd name="T29" fmla="*/ 43 h 129"/>
                <a:gd name="T30" fmla="*/ 118 w 134"/>
                <a:gd name="T31" fmla="*/ 45 h 129"/>
                <a:gd name="T32" fmla="*/ 107 w 134"/>
                <a:gd name="T33" fmla="*/ 108 h 129"/>
                <a:gd name="T34" fmla="*/ 67 w 134"/>
                <a:gd name="T35" fmla="*/ 124 h 129"/>
                <a:gd name="T36" fmla="*/ 27 w 134"/>
                <a:gd name="T37" fmla="*/ 108 h 129"/>
                <a:gd name="T38" fmla="*/ 24 w 134"/>
                <a:gd name="T39" fmla="*/ 104 h 129"/>
                <a:gd name="T40" fmla="*/ 33 w 134"/>
                <a:gd name="T41" fmla="*/ 104 h 129"/>
                <a:gd name="T42" fmla="*/ 33 w 134"/>
                <a:gd name="T43" fmla="*/ 99 h 129"/>
                <a:gd name="T44" fmla="*/ 14 w 134"/>
                <a:gd name="T45" fmla="*/ 99 h 129"/>
                <a:gd name="T46" fmla="*/ 14 w 134"/>
                <a:gd name="T47" fmla="*/ 118 h 129"/>
                <a:gd name="T48" fmla="*/ 19 w 134"/>
                <a:gd name="T49" fmla="*/ 118 h 129"/>
                <a:gd name="T50" fmla="*/ 19 w 134"/>
                <a:gd name="T51" fmla="*/ 108 h 129"/>
                <a:gd name="T52" fmla="*/ 23 w 134"/>
                <a:gd name="T53" fmla="*/ 112 h 129"/>
                <a:gd name="T54" fmla="*/ 67 w 134"/>
                <a:gd name="T55" fmla="*/ 129 h 129"/>
                <a:gd name="T56" fmla="*/ 67 w 134"/>
                <a:gd name="T57" fmla="*/ 129 h 129"/>
                <a:gd name="T58" fmla="*/ 111 w 134"/>
                <a:gd name="T59" fmla="*/ 112 h 129"/>
                <a:gd name="T60" fmla="*/ 123 w 134"/>
                <a:gd name="T61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4" h="129">
                  <a:moveTo>
                    <a:pt x="27" y="28"/>
                  </a:moveTo>
                  <a:cubicBezTo>
                    <a:pt x="49" y="7"/>
                    <a:pt x="85" y="7"/>
                    <a:pt x="107" y="28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87" y="1"/>
                    <a:pt x="48" y="0"/>
                    <a:pt x="23" y="24"/>
                  </a:cubicBezTo>
                  <a:cubicBezTo>
                    <a:pt x="5" y="42"/>
                    <a:pt x="0" y="70"/>
                    <a:pt x="11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6" y="70"/>
                    <a:pt x="11" y="45"/>
                    <a:pt x="27" y="28"/>
                  </a:cubicBezTo>
                  <a:moveTo>
                    <a:pt x="123" y="43"/>
                  </a:moveTo>
                  <a:cubicBezTo>
                    <a:pt x="118" y="45"/>
                    <a:pt x="118" y="45"/>
                    <a:pt x="118" y="45"/>
                  </a:cubicBezTo>
                  <a:cubicBezTo>
                    <a:pt x="128" y="66"/>
                    <a:pt x="123" y="91"/>
                    <a:pt x="107" y="108"/>
                  </a:cubicBezTo>
                  <a:cubicBezTo>
                    <a:pt x="96" y="118"/>
                    <a:pt x="82" y="124"/>
                    <a:pt x="67" y="124"/>
                  </a:cubicBezTo>
                  <a:cubicBezTo>
                    <a:pt x="52" y="124"/>
                    <a:pt x="38" y="118"/>
                    <a:pt x="27" y="108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33" y="104"/>
                    <a:pt x="33" y="104"/>
                    <a:pt x="33" y="104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35" y="123"/>
                    <a:pt x="50" y="129"/>
                    <a:pt x="67" y="129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83" y="129"/>
                    <a:pt x="99" y="123"/>
                    <a:pt x="111" y="112"/>
                  </a:cubicBezTo>
                  <a:cubicBezTo>
                    <a:pt x="129" y="94"/>
                    <a:pt x="134" y="66"/>
                    <a:pt x="123" y="4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157">
            <a:extLst>
              <a:ext uri="{FF2B5EF4-FFF2-40B4-BE49-F238E27FC236}">
                <a16:creationId xmlns:a16="http://schemas.microsoft.com/office/drawing/2014/main" id="{DD7554A4-0B70-45D1-871B-0E1D2CAB86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4126222"/>
            <a:ext cx="841375" cy="841375"/>
            <a:chOff x="341" y="2831"/>
            <a:chExt cx="530" cy="530"/>
          </a:xfrm>
        </p:grpSpPr>
        <p:sp>
          <p:nvSpPr>
            <p:cNvPr id="184" name="AutoShape 156">
              <a:extLst>
                <a:ext uri="{FF2B5EF4-FFF2-40B4-BE49-F238E27FC236}">
                  <a16:creationId xmlns:a16="http://schemas.microsoft.com/office/drawing/2014/main" id="{FE674114-7EEB-43AA-B331-375EE88115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1" y="283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158">
              <a:extLst>
                <a:ext uri="{FF2B5EF4-FFF2-40B4-BE49-F238E27FC236}">
                  <a16:creationId xmlns:a16="http://schemas.microsoft.com/office/drawing/2014/main" id="{F0E9363E-F1E9-43C9-BE1E-FE426B111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" y="2834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59">
              <a:extLst>
                <a:ext uri="{FF2B5EF4-FFF2-40B4-BE49-F238E27FC236}">
                  <a16:creationId xmlns:a16="http://schemas.microsoft.com/office/drawing/2014/main" id="{32B31051-8D95-4452-BDC7-87819BE75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" y="2850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60">
              <a:extLst>
                <a:ext uri="{FF2B5EF4-FFF2-40B4-BE49-F238E27FC236}">
                  <a16:creationId xmlns:a16="http://schemas.microsoft.com/office/drawing/2014/main" id="{A926B9B9-D1B2-46FB-9520-1275DA6266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2991"/>
              <a:ext cx="196" cy="207"/>
            </a:xfrm>
            <a:custGeom>
              <a:avLst/>
              <a:gdLst>
                <a:gd name="T0" fmla="*/ 27 w 72"/>
                <a:gd name="T1" fmla="*/ 68 h 76"/>
                <a:gd name="T2" fmla="*/ 24 w 72"/>
                <a:gd name="T3" fmla="*/ 67 h 76"/>
                <a:gd name="T4" fmla="*/ 5 w 72"/>
                <a:gd name="T5" fmla="*/ 54 h 76"/>
                <a:gd name="T6" fmla="*/ 9 w 72"/>
                <a:gd name="T7" fmla="*/ 49 h 76"/>
                <a:gd name="T8" fmla="*/ 0 w 72"/>
                <a:gd name="T9" fmla="*/ 43 h 76"/>
                <a:gd name="T10" fmla="*/ 9 w 72"/>
                <a:gd name="T11" fmla="*/ 28 h 76"/>
                <a:gd name="T12" fmla="*/ 5 w 72"/>
                <a:gd name="T13" fmla="*/ 22 h 76"/>
                <a:gd name="T14" fmla="*/ 24 w 72"/>
                <a:gd name="T15" fmla="*/ 10 h 76"/>
                <a:gd name="T16" fmla="*/ 27 w 72"/>
                <a:gd name="T17" fmla="*/ 9 h 76"/>
                <a:gd name="T18" fmla="*/ 41 w 72"/>
                <a:gd name="T19" fmla="*/ 0 h 76"/>
                <a:gd name="T20" fmla="*/ 47 w 72"/>
                <a:gd name="T21" fmla="*/ 10 h 76"/>
                <a:gd name="T22" fmla="*/ 57 w 72"/>
                <a:gd name="T23" fmla="*/ 6 h 76"/>
                <a:gd name="T24" fmla="*/ 63 w 72"/>
                <a:gd name="T25" fmla="*/ 27 h 76"/>
                <a:gd name="T26" fmla="*/ 64 w 72"/>
                <a:gd name="T27" fmla="*/ 29 h 76"/>
                <a:gd name="T28" fmla="*/ 68 w 72"/>
                <a:gd name="T29" fmla="*/ 48 h 76"/>
                <a:gd name="T30" fmla="*/ 63 w 72"/>
                <a:gd name="T31" fmla="*/ 50 h 76"/>
                <a:gd name="T32" fmla="*/ 57 w 72"/>
                <a:gd name="T33" fmla="*/ 71 h 76"/>
                <a:gd name="T34" fmla="*/ 46 w 72"/>
                <a:gd name="T35" fmla="*/ 66 h 76"/>
                <a:gd name="T36" fmla="*/ 45 w 72"/>
                <a:gd name="T37" fmla="*/ 72 h 76"/>
                <a:gd name="T38" fmla="*/ 40 w 72"/>
                <a:gd name="T39" fmla="*/ 70 h 76"/>
                <a:gd name="T40" fmla="*/ 42 w 72"/>
                <a:gd name="T41" fmla="*/ 62 h 76"/>
                <a:gd name="T42" fmla="*/ 45 w 72"/>
                <a:gd name="T43" fmla="*/ 61 h 76"/>
                <a:gd name="T44" fmla="*/ 50 w 72"/>
                <a:gd name="T45" fmla="*/ 62 h 76"/>
                <a:gd name="T46" fmla="*/ 62 w 72"/>
                <a:gd name="T47" fmla="*/ 58 h 76"/>
                <a:gd name="T48" fmla="*/ 58 w 72"/>
                <a:gd name="T49" fmla="*/ 52 h 76"/>
                <a:gd name="T50" fmla="*/ 58 w 72"/>
                <a:gd name="T51" fmla="*/ 46 h 76"/>
                <a:gd name="T52" fmla="*/ 67 w 72"/>
                <a:gd name="T53" fmla="*/ 41 h 76"/>
                <a:gd name="T54" fmla="*/ 61 w 72"/>
                <a:gd name="T55" fmla="*/ 34 h 76"/>
                <a:gd name="T56" fmla="*/ 58 w 72"/>
                <a:gd name="T57" fmla="*/ 30 h 76"/>
                <a:gd name="T58" fmla="*/ 57 w 72"/>
                <a:gd name="T59" fmla="*/ 27 h 76"/>
                <a:gd name="T60" fmla="*/ 62 w 72"/>
                <a:gd name="T61" fmla="*/ 20 h 76"/>
                <a:gd name="T62" fmla="*/ 51 w 72"/>
                <a:gd name="T63" fmla="*/ 15 h 76"/>
                <a:gd name="T64" fmla="*/ 46 w 72"/>
                <a:gd name="T65" fmla="*/ 16 h 76"/>
                <a:gd name="T66" fmla="*/ 40 w 72"/>
                <a:gd name="T67" fmla="*/ 11 h 76"/>
                <a:gd name="T68" fmla="*/ 32 w 72"/>
                <a:gd name="T69" fmla="*/ 7 h 76"/>
                <a:gd name="T70" fmla="*/ 30 w 72"/>
                <a:gd name="T71" fmla="*/ 14 h 76"/>
                <a:gd name="T72" fmla="*/ 27 w 72"/>
                <a:gd name="T73" fmla="*/ 15 h 76"/>
                <a:gd name="T74" fmla="*/ 22 w 72"/>
                <a:gd name="T75" fmla="*/ 15 h 76"/>
                <a:gd name="T76" fmla="*/ 10 w 72"/>
                <a:gd name="T77" fmla="*/ 18 h 76"/>
                <a:gd name="T78" fmla="*/ 14 w 72"/>
                <a:gd name="T79" fmla="*/ 25 h 76"/>
                <a:gd name="T80" fmla="*/ 14 w 72"/>
                <a:gd name="T81" fmla="*/ 30 h 76"/>
                <a:gd name="T82" fmla="*/ 5 w 72"/>
                <a:gd name="T83" fmla="*/ 35 h 76"/>
                <a:gd name="T84" fmla="*/ 11 w 72"/>
                <a:gd name="T85" fmla="*/ 43 h 76"/>
                <a:gd name="T86" fmla="*/ 14 w 72"/>
                <a:gd name="T87" fmla="*/ 46 h 76"/>
                <a:gd name="T88" fmla="*/ 15 w 72"/>
                <a:gd name="T89" fmla="*/ 50 h 76"/>
                <a:gd name="T90" fmla="*/ 10 w 72"/>
                <a:gd name="T91" fmla="*/ 57 h 76"/>
                <a:gd name="T92" fmla="*/ 21 w 72"/>
                <a:gd name="T93" fmla="*/ 62 h 76"/>
                <a:gd name="T94" fmla="*/ 26 w 72"/>
                <a:gd name="T95" fmla="*/ 60 h 76"/>
                <a:gd name="T96" fmla="*/ 32 w 72"/>
                <a:gd name="T97" fmla="*/ 6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" h="76">
                  <a:moveTo>
                    <a:pt x="4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5" y="66"/>
                    <a:pt x="25" y="66"/>
                  </a:cubicBezTo>
                  <a:cubicBezTo>
                    <a:pt x="25" y="66"/>
                    <a:pt x="25" y="67"/>
                    <a:pt x="24" y="67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51"/>
                    <a:pt x="9" y="50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8" y="48"/>
                    <a:pt x="8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10" y="27"/>
                    <a:pt x="10" y="27"/>
                  </a:cubicBezTo>
                  <a:cubicBezTo>
                    <a:pt x="10" y="27"/>
                    <a:pt x="10" y="27"/>
                    <a:pt x="9" y="27"/>
                  </a:cubicBezTo>
                  <a:cubicBezTo>
                    <a:pt x="9" y="27"/>
                    <a:pt x="9" y="26"/>
                    <a:pt x="9" y="26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5" y="10"/>
                    <a:pt x="25" y="10"/>
                  </a:cubicBezTo>
                  <a:cubicBezTo>
                    <a:pt x="25" y="10"/>
                    <a:pt x="25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7" y="10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8" y="10"/>
                    <a:pt x="48" y="1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27"/>
                    <a:pt x="63" y="28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49"/>
                    <a:pt x="62" y="49"/>
                    <a:pt x="62" y="49"/>
                  </a:cubicBezTo>
                  <a:cubicBezTo>
                    <a:pt x="62" y="49"/>
                    <a:pt x="63" y="49"/>
                    <a:pt x="63" y="50"/>
                  </a:cubicBezTo>
                  <a:cubicBezTo>
                    <a:pt x="63" y="50"/>
                    <a:pt x="63" y="50"/>
                    <a:pt x="63" y="51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7" y="66"/>
                    <a:pt x="47" y="66"/>
                  </a:cubicBezTo>
                  <a:cubicBezTo>
                    <a:pt x="47" y="66"/>
                    <a:pt x="47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7"/>
                    <a:pt x="45" y="67"/>
                    <a:pt x="45" y="67"/>
                  </a:cubicBezTo>
                  <a:cubicBezTo>
                    <a:pt x="45" y="67"/>
                    <a:pt x="45" y="67"/>
                    <a:pt x="45" y="68"/>
                  </a:cubicBezTo>
                  <a:cubicBezTo>
                    <a:pt x="45" y="72"/>
                    <a:pt x="45" y="72"/>
                    <a:pt x="45" y="72"/>
                  </a:cubicBezTo>
                  <a:lnTo>
                    <a:pt x="41" y="76"/>
                  </a:lnTo>
                  <a:close/>
                  <a:moveTo>
                    <a:pt x="33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66"/>
                    <a:pt x="40" y="66"/>
                    <a:pt x="40" y="66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3"/>
                    <a:pt x="42" y="63"/>
                    <a:pt x="42" y="6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1"/>
                    <a:pt x="48" y="61"/>
                    <a:pt x="48" y="61"/>
                  </a:cubicBezTo>
                  <a:cubicBezTo>
                    <a:pt x="49" y="61"/>
                    <a:pt x="49" y="61"/>
                    <a:pt x="50" y="6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1"/>
                    <a:pt x="57" y="50"/>
                    <a:pt x="57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47"/>
                    <a:pt x="58" y="47"/>
                    <a:pt x="58" y="46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3"/>
                    <a:pt x="61" y="33"/>
                    <a:pt x="60" y="33"/>
                  </a:cubicBezTo>
                  <a:cubicBezTo>
                    <a:pt x="60" y="32"/>
                    <a:pt x="59" y="32"/>
                    <a:pt x="59" y="32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26"/>
                    <a:pt x="58" y="26"/>
                    <a:pt x="58" y="25"/>
                  </a:cubicBezTo>
                  <a:cubicBezTo>
                    <a:pt x="58" y="25"/>
                    <a:pt x="58" y="24"/>
                    <a:pt x="58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49" y="15"/>
                    <a:pt x="49" y="15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4" y="15"/>
                    <a:pt x="44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1" y="12"/>
                    <a:pt x="31" y="12"/>
                    <a:pt x="31" y="13"/>
                  </a:cubicBezTo>
                  <a:cubicBezTo>
                    <a:pt x="30" y="13"/>
                    <a:pt x="30" y="14"/>
                    <a:pt x="30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4" y="15"/>
                    <a:pt x="24" y="15"/>
                  </a:cubicBezTo>
                  <a:cubicBezTo>
                    <a:pt x="23" y="15"/>
                    <a:pt x="23" y="15"/>
                    <a:pt x="22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5"/>
                  </a:cubicBezTo>
                  <a:cubicBezTo>
                    <a:pt x="14" y="25"/>
                    <a:pt x="15" y="26"/>
                    <a:pt x="15" y="27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9"/>
                    <a:pt x="14" y="30"/>
                    <a:pt x="14" y="30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2" y="43"/>
                    <a:pt x="12" y="44"/>
                  </a:cubicBezTo>
                  <a:cubicBezTo>
                    <a:pt x="12" y="44"/>
                    <a:pt x="13" y="44"/>
                    <a:pt x="13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8"/>
                    <a:pt x="15" y="48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4" y="51"/>
                    <a:pt x="14" y="51"/>
                  </a:cubicBezTo>
                  <a:cubicBezTo>
                    <a:pt x="14" y="52"/>
                    <a:pt x="14" y="52"/>
                    <a:pt x="14" y="53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3" y="62"/>
                    <a:pt x="23" y="61"/>
                    <a:pt x="23" y="61"/>
                  </a:cubicBezTo>
                  <a:cubicBezTo>
                    <a:pt x="24" y="61"/>
                    <a:pt x="24" y="61"/>
                    <a:pt x="25" y="61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8" y="61"/>
                    <a:pt x="28" y="61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70"/>
                    <a:pt x="32" y="70"/>
                    <a:pt x="32" y="70"/>
                  </a:cubicBezTo>
                  <a:lnTo>
                    <a:pt x="33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61">
              <a:extLst>
                <a:ext uri="{FF2B5EF4-FFF2-40B4-BE49-F238E27FC236}">
                  <a16:creationId xmlns:a16="http://schemas.microsoft.com/office/drawing/2014/main" id="{10B959ED-41DE-48EC-9EA6-EEC7C37C07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" y="3057"/>
              <a:ext cx="65" cy="76"/>
            </a:xfrm>
            <a:custGeom>
              <a:avLst/>
              <a:gdLst>
                <a:gd name="T0" fmla="*/ 12 w 24"/>
                <a:gd name="T1" fmla="*/ 28 h 28"/>
                <a:gd name="T2" fmla="*/ 3 w 24"/>
                <a:gd name="T3" fmla="*/ 24 h 28"/>
                <a:gd name="T4" fmla="*/ 0 w 24"/>
                <a:gd name="T5" fmla="*/ 14 h 28"/>
                <a:gd name="T6" fmla="*/ 3 w 24"/>
                <a:gd name="T7" fmla="*/ 4 h 28"/>
                <a:gd name="T8" fmla="*/ 12 w 24"/>
                <a:gd name="T9" fmla="*/ 0 h 28"/>
                <a:gd name="T10" fmla="*/ 21 w 24"/>
                <a:gd name="T11" fmla="*/ 4 h 28"/>
                <a:gd name="T12" fmla="*/ 24 w 24"/>
                <a:gd name="T13" fmla="*/ 14 h 28"/>
                <a:gd name="T14" fmla="*/ 21 w 24"/>
                <a:gd name="T15" fmla="*/ 24 h 28"/>
                <a:gd name="T16" fmla="*/ 12 w 24"/>
                <a:gd name="T17" fmla="*/ 28 h 28"/>
                <a:gd name="T18" fmla="*/ 12 w 24"/>
                <a:gd name="T19" fmla="*/ 6 h 28"/>
                <a:gd name="T20" fmla="*/ 7 w 24"/>
                <a:gd name="T21" fmla="*/ 8 h 28"/>
                <a:gd name="T22" fmla="*/ 5 w 24"/>
                <a:gd name="T23" fmla="*/ 14 h 28"/>
                <a:gd name="T24" fmla="*/ 7 w 24"/>
                <a:gd name="T25" fmla="*/ 20 h 28"/>
                <a:gd name="T26" fmla="*/ 17 w 24"/>
                <a:gd name="T27" fmla="*/ 20 h 28"/>
                <a:gd name="T28" fmla="*/ 19 w 24"/>
                <a:gd name="T29" fmla="*/ 14 h 28"/>
                <a:gd name="T30" fmla="*/ 17 w 24"/>
                <a:gd name="T31" fmla="*/ 8 h 28"/>
                <a:gd name="T32" fmla="*/ 12 w 24"/>
                <a:gd name="T33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8">
                  <a:moveTo>
                    <a:pt x="12" y="28"/>
                  </a:moveTo>
                  <a:cubicBezTo>
                    <a:pt x="9" y="28"/>
                    <a:pt x="6" y="27"/>
                    <a:pt x="3" y="24"/>
                  </a:cubicBezTo>
                  <a:cubicBezTo>
                    <a:pt x="1" y="21"/>
                    <a:pt x="0" y="18"/>
                    <a:pt x="0" y="14"/>
                  </a:cubicBezTo>
                  <a:cubicBezTo>
                    <a:pt x="0" y="10"/>
                    <a:pt x="1" y="7"/>
                    <a:pt x="3" y="4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5" y="0"/>
                    <a:pt x="18" y="2"/>
                    <a:pt x="21" y="4"/>
                  </a:cubicBezTo>
                  <a:cubicBezTo>
                    <a:pt x="23" y="7"/>
                    <a:pt x="24" y="10"/>
                    <a:pt x="24" y="14"/>
                  </a:cubicBezTo>
                  <a:cubicBezTo>
                    <a:pt x="24" y="18"/>
                    <a:pt x="23" y="21"/>
                    <a:pt x="21" y="24"/>
                  </a:cubicBezTo>
                  <a:cubicBezTo>
                    <a:pt x="18" y="27"/>
                    <a:pt x="15" y="28"/>
                    <a:pt x="12" y="28"/>
                  </a:cubicBezTo>
                  <a:moveTo>
                    <a:pt x="12" y="6"/>
                  </a:moveTo>
                  <a:cubicBezTo>
                    <a:pt x="10" y="6"/>
                    <a:pt x="8" y="7"/>
                    <a:pt x="7" y="8"/>
                  </a:cubicBezTo>
                  <a:cubicBezTo>
                    <a:pt x="6" y="10"/>
                    <a:pt x="5" y="12"/>
                    <a:pt x="5" y="14"/>
                  </a:cubicBezTo>
                  <a:cubicBezTo>
                    <a:pt x="5" y="16"/>
                    <a:pt x="6" y="19"/>
                    <a:pt x="7" y="20"/>
                  </a:cubicBezTo>
                  <a:cubicBezTo>
                    <a:pt x="10" y="23"/>
                    <a:pt x="14" y="23"/>
                    <a:pt x="17" y="20"/>
                  </a:cubicBezTo>
                  <a:cubicBezTo>
                    <a:pt x="18" y="19"/>
                    <a:pt x="19" y="16"/>
                    <a:pt x="19" y="14"/>
                  </a:cubicBezTo>
                  <a:cubicBezTo>
                    <a:pt x="19" y="12"/>
                    <a:pt x="18" y="10"/>
                    <a:pt x="17" y="8"/>
                  </a:cubicBezTo>
                  <a:cubicBezTo>
                    <a:pt x="16" y="7"/>
                    <a:pt x="14" y="6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2">
              <a:extLst>
                <a:ext uri="{FF2B5EF4-FFF2-40B4-BE49-F238E27FC236}">
                  <a16:creationId xmlns:a16="http://schemas.microsoft.com/office/drawing/2014/main" id="{4551F229-7BBB-49C2-95ED-DA84C18BFC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" y="2926"/>
              <a:ext cx="337" cy="326"/>
            </a:xfrm>
            <a:custGeom>
              <a:avLst/>
              <a:gdLst>
                <a:gd name="T0" fmla="*/ 25 w 124"/>
                <a:gd name="T1" fmla="*/ 26 h 120"/>
                <a:gd name="T2" fmla="*/ 99 w 124"/>
                <a:gd name="T3" fmla="*/ 26 h 120"/>
                <a:gd name="T4" fmla="*/ 102 w 124"/>
                <a:gd name="T5" fmla="*/ 29 h 120"/>
                <a:gd name="T6" fmla="*/ 93 w 124"/>
                <a:gd name="T7" fmla="*/ 29 h 120"/>
                <a:gd name="T8" fmla="*/ 93 w 124"/>
                <a:gd name="T9" fmla="*/ 34 h 120"/>
                <a:gd name="T10" fmla="*/ 112 w 124"/>
                <a:gd name="T11" fmla="*/ 34 h 120"/>
                <a:gd name="T12" fmla="*/ 112 w 124"/>
                <a:gd name="T13" fmla="*/ 16 h 120"/>
                <a:gd name="T14" fmla="*/ 106 w 124"/>
                <a:gd name="T15" fmla="*/ 16 h 120"/>
                <a:gd name="T16" fmla="*/ 106 w 124"/>
                <a:gd name="T17" fmla="*/ 26 h 120"/>
                <a:gd name="T18" fmla="*/ 103 w 124"/>
                <a:gd name="T19" fmla="*/ 22 h 120"/>
                <a:gd name="T20" fmla="*/ 21 w 124"/>
                <a:gd name="T21" fmla="*/ 22 h 120"/>
                <a:gd name="T22" fmla="*/ 9 w 124"/>
                <a:gd name="T23" fmla="*/ 86 h 120"/>
                <a:gd name="T24" fmla="*/ 14 w 124"/>
                <a:gd name="T25" fmla="*/ 84 h 120"/>
                <a:gd name="T26" fmla="*/ 25 w 124"/>
                <a:gd name="T27" fmla="*/ 26 h 120"/>
                <a:gd name="T28" fmla="*/ 114 w 124"/>
                <a:gd name="T29" fmla="*/ 40 h 120"/>
                <a:gd name="T30" fmla="*/ 110 w 124"/>
                <a:gd name="T31" fmla="*/ 42 h 120"/>
                <a:gd name="T32" fmla="*/ 99 w 124"/>
                <a:gd name="T33" fmla="*/ 100 h 120"/>
                <a:gd name="T34" fmla="*/ 62 w 124"/>
                <a:gd name="T35" fmla="*/ 115 h 120"/>
                <a:gd name="T36" fmla="*/ 25 w 124"/>
                <a:gd name="T37" fmla="*/ 100 h 120"/>
                <a:gd name="T38" fmla="*/ 22 w 124"/>
                <a:gd name="T39" fmla="*/ 97 h 120"/>
                <a:gd name="T40" fmla="*/ 31 w 124"/>
                <a:gd name="T41" fmla="*/ 97 h 120"/>
                <a:gd name="T42" fmla="*/ 31 w 124"/>
                <a:gd name="T43" fmla="*/ 92 h 120"/>
                <a:gd name="T44" fmla="*/ 12 w 124"/>
                <a:gd name="T45" fmla="*/ 92 h 120"/>
                <a:gd name="T46" fmla="*/ 12 w 124"/>
                <a:gd name="T47" fmla="*/ 110 h 120"/>
                <a:gd name="T48" fmla="*/ 17 w 124"/>
                <a:gd name="T49" fmla="*/ 110 h 120"/>
                <a:gd name="T50" fmla="*/ 17 w 124"/>
                <a:gd name="T51" fmla="*/ 100 h 120"/>
                <a:gd name="T52" fmla="*/ 21 w 124"/>
                <a:gd name="T53" fmla="*/ 104 h 120"/>
                <a:gd name="T54" fmla="*/ 62 w 124"/>
                <a:gd name="T55" fmla="*/ 120 h 120"/>
                <a:gd name="T56" fmla="*/ 62 w 124"/>
                <a:gd name="T57" fmla="*/ 120 h 120"/>
                <a:gd name="T58" fmla="*/ 103 w 124"/>
                <a:gd name="T59" fmla="*/ 104 h 120"/>
                <a:gd name="T60" fmla="*/ 114 w 124"/>
                <a:gd name="T61" fmla="*/ 4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4" h="120">
                  <a:moveTo>
                    <a:pt x="25" y="26"/>
                  </a:moveTo>
                  <a:cubicBezTo>
                    <a:pt x="45" y="6"/>
                    <a:pt x="79" y="6"/>
                    <a:pt x="99" y="26"/>
                  </a:cubicBezTo>
                  <a:cubicBezTo>
                    <a:pt x="102" y="29"/>
                    <a:pt x="102" y="29"/>
                    <a:pt x="102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80" y="0"/>
                    <a:pt x="44" y="0"/>
                    <a:pt x="21" y="22"/>
                  </a:cubicBezTo>
                  <a:cubicBezTo>
                    <a:pt x="4" y="39"/>
                    <a:pt x="0" y="65"/>
                    <a:pt x="9" y="86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5" y="65"/>
                    <a:pt x="10" y="41"/>
                    <a:pt x="25" y="26"/>
                  </a:cubicBezTo>
                  <a:moveTo>
                    <a:pt x="114" y="40"/>
                  </a:moveTo>
                  <a:cubicBezTo>
                    <a:pt x="110" y="42"/>
                    <a:pt x="110" y="42"/>
                    <a:pt x="110" y="42"/>
                  </a:cubicBezTo>
                  <a:cubicBezTo>
                    <a:pt x="119" y="61"/>
                    <a:pt x="114" y="85"/>
                    <a:pt x="99" y="100"/>
                  </a:cubicBezTo>
                  <a:cubicBezTo>
                    <a:pt x="89" y="110"/>
                    <a:pt x="76" y="115"/>
                    <a:pt x="62" y="115"/>
                  </a:cubicBezTo>
                  <a:cubicBezTo>
                    <a:pt x="48" y="115"/>
                    <a:pt x="35" y="110"/>
                    <a:pt x="25" y="100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31" y="97"/>
                    <a:pt x="31" y="97"/>
                    <a:pt x="31" y="97"/>
                  </a:cubicBezTo>
                  <a:cubicBezTo>
                    <a:pt x="31" y="92"/>
                    <a:pt x="31" y="92"/>
                    <a:pt x="31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32" y="114"/>
                    <a:pt x="47" y="120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77" y="120"/>
                    <a:pt x="92" y="115"/>
                    <a:pt x="103" y="104"/>
                  </a:cubicBezTo>
                  <a:cubicBezTo>
                    <a:pt x="120" y="87"/>
                    <a:pt x="124" y="61"/>
                    <a:pt x="114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65">
            <a:extLst>
              <a:ext uri="{FF2B5EF4-FFF2-40B4-BE49-F238E27FC236}">
                <a16:creationId xmlns:a16="http://schemas.microsoft.com/office/drawing/2014/main" id="{7C8A8948-DCA8-4108-8863-46B4E84424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6376" y="4168980"/>
            <a:ext cx="760413" cy="758825"/>
            <a:chOff x="2250" y="2641"/>
            <a:chExt cx="479" cy="478"/>
          </a:xfrm>
        </p:grpSpPr>
        <p:sp>
          <p:nvSpPr>
            <p:cNvPr id="195" name="AutoShape 164">
              <a:extLst>
                <a:ext uri="{FF2B5EF4-FFF2-40B4-BE49-F238E27FC236}">
                  <a16:creationId xmlns:a16="http://schemas.microsoft.com/office/drawing/2014/main" id="{5D4F0553-1B13-4E99-A36C-1A4E6A746C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0" y="264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66">
              <a:extLst>
                <a:ext uri="{FF2B5EF4-FFF2-40B4-BE49-F238E27FC236}">
                  <a16:creationId xmlns:a16="http://schemas.microsoft.com/office/drawing/2014/main" id="{063A2C2A-2211-44EE-8F27-1A26AAB092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2" y="2643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67">
              <a:extLst>
                <a:ext uri="{FF2B5EF4-FFF2-40B4-BE49-F238E27FC236}">
                  <a16:creationId xmlns:a16="http://schemas.microsoft.com/office/drawing/2014/main" id="{9F4757C5-325C-46E4-AF21-E62A432E92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4" y="2734"/>
              <a:ext cx="211" cy="211"/>
            </a:xfrm>
            <a:custGeom>
              <a:avLst/>
              <a:gdLst>
                <a:gd name="T0" fmla="*/ 78 w 86"/>
                <a:gd name="T1" fmla="*/ 47 h 86"/>
                <a:gd name="T2" fmla="*/ 84 w 86"/>
                <a:gd name="T3" fmla="*/ 36 h 86"/>
                <a:gd name="T4" fmla="*/ 80 w 86"/>
                <a:gd name="T5" fmla="*/ 20 h 86"/>
                <a:gd name="T6" fmla="*/ 71 w 86"/>
                <a:gd name="T7" fmla="*/ 20 h 86"/>
                <a:gd name="T8" fmla="*/ 67 w 86"/>
                <a:gd name="T9" fmla="*/ 9 h 86"/>
                <a:gd name="T10" fmla="*/ 53 w 86"/>
                <a:gd name="T11" fmla="*/ 0 h 86"/>
                <a:gd name="T12" fmla="*/ 47 w 86"/>
                <a:gd name="T13" fmla="*/ 7 h 86"/>
                <a:gd name="T14" fmla="*/ 36 w 86"/>
                <a:gd name="T15" fmla="*/ 2 h 86"/>
                <a:gd name="T16" fmla="*/ 20 w 86"/>
                <a:gd name="T17" fmla="*/ 6 h 86"/>
                <a:gd name="T18" fmla="*/ 20 w 86"/>
                <a:gd name="T19" fmla="*/ 15 h 86"/>
                <a:gd name="T20" fmla="*/ 9 w 86"/>
                <a:gd name="T21" fmla="*/ 18 h 86"/>
                <a:gd name="T22" fmla="*/ 0 w 86"/>
                <a:gd name="T23" fmla="*/ 33 h 86"/>
                <a:gd name="T24" fmla="*/ 7 w 86"/>
                <a:gd name="T25" fmla="*/ 39 h 86"/>
                <a:gd name="T26" fmla="*/ 2 w 86"/>
                <a:gd name="T27" fmla="*/ 49 h 86"/>
                <a:gd name="T28" fmla="*/ 6 w 86"/>
                <a:gd name="T29" fmla="*/ 65 h 86"/>
                <a:gd name="T30" fmla="*/ 15 w 86"/>
                <a:gd name="T31" fmla="*/ 65 h 86"/>
                <a:gd name="T32" fmla="*/ 18 w 86"/>
                <a:gd name="T33" fmla="*/ 76 h 86"/>
                <a:gd name="T34" fmla="*/ 33 w 86"/>
                <a:gd name="T35" fmla="*/ 85 h 86"/>
                <a:gd name="T36" fmla="*/ 36 w 86"/>
                <a:gd name="T37" fmla="*/ 84 h 86"/>
                <a:gd name="T38" fmla="*/ 47 w 86"/>
                <a:gd name="T39" fmla="*/ 78 h 86"/>
                <a:gd name="T40" fmla="*/ 53 w 86"/>
                <a:gd name="T41" fmla="*/ 85 h 86"/>
                <a:gd name="T42" fmla="*/ 67 w 86"/>
                <a:gd name="T43" fmla="*/ 76 h 86"/>
                <a:gd name="T44" fmla="*/ 71 w 86"/>
                <a:gd name="T45" fmla="*/ 65 h 86"/>
                <a:gd name="T46" fmla="*/ 80 w 86"/>
                <a:gd name="T47" fmla="*/ 65 h 86"/>
                <a:gd name="T48" fmla="*/ 84 w 86"/>
                <a:gd name="T49" fmla="*/ 49 h 86"/>
                <a:gd name="T50" fmla="*/ 71 w 86"/>
                <a:gd name="T51" fmla="*/ 59 h 86"/>
                <a:gd name="T52" fmla="*/ 60 w 86"/>
                <a:gd name="T53" fmla="*/ 67 h 86"/>
                <a:gd name="T54" fmla="*/ 61 w 86"/>
                <a:gd name="T55" fmla="*/ 76 h 86"/>
                <a:gd name="T56" fmla="*/ 51 w 86"/>
                <a:gd name="T57" fmla="*/ 74 h 86"/>
                <a:gd name="T58" fmla="*/ 48 w 86"/>
                <a:gd name="T59" fmla="*/ 73 h 86"/>
                <a:gd name="T60" fmla="*/ 35 w 86"/>
                <a:gd name="T61" fmla="*/ 74 h 86"/>
                <a:gd name="T62" fmla="*/ 24 w 86"/>
                <a:gd name="T63" fmla="*/ 76 h 86"/>
                <a:gd name="T64" fmla="*/ 25 w 86"/>
                <a:gd name="T65" fmla="*/ 67 h 86"/>
                <a:gd name="T66" fmla="*/ 15 w 86"/>
                <a:gd name="T67" fmla="*/ 59 h 86"/>
                <a:gd name="T68" fmla="*/ 6 w 86"/>
                <a:gd name="T69" fmla="*/ 53 h 86"/>
                <a:gd name="T70" fmla="*/ 13 w 86"/>
                <a:gd name="T71" fmla="*/ 48 h 86"/>
                <a:gd name="T72" fmla="*/ 11 w 86"/>
                <a:gd name="T73" fmla="*/ 35 h 86"/>
                <a:gd name="T74" fmla="*/ 10 w 86"/>
                <a:gd name="T75" fmla="*/ 24 h 86"/>
                <a:gd name="T76" fmla="*/ 18 w 86"/>
                <a:gd name="T77" fmla="*/ 25 h 86"/>
                <a:gd name="T78" fmla="*/ 26 w 86"/>
                <a:gd name="T79" fmla="*/ 15 h 86"/>
                <a:gd name="T80" fmla="*/ 32 w 86"/>
                <a:gd name="T81" fmla="*/ 6 h 86"/>
                <a:gd name="T82" fmla="*/ 38 w 86"/>
                <a:gd name="T83" fmla="*/ 13 h 86"/>
                <a:gd name="T84" fmla="*/ 51 w 86"/>
                <a:gd name="T85" fmla="*/ 11 h 86"/>
                <a:gd name="T86" fmla="*/ 61 w 86"/>
                <a:gd name="T87" fmla="*/ 10 h 86"/>
                <a:gd name="T88" fmla="*/ 60 w 86"/>
                <a:gd name="T89" fmla="*/ 18 h 86"/>
                <a:gd name="T90" fmla="*/ 71 w 86"/>
                <a:gd name="T91" fmla="*/ 26 h 86"/>
                <a:gd name="T92" fmla="*/ 79 w 86"/>
                <a:gd name="T93" fmla="*/ 32 h 86"/>
                <a:gd name="T94" fmla="*/ 73 w 86"/>
                <a:gd name="T95" fmla="*/ 38 h 86"/>
                <a:gd name="T96" fmla="*/ 74 w 86"/>
                <a:gd name="T97" fmla="*/ 51 h 86"/>
                <a:gd name="T98" fmla="*/ 76 w 86"/>
                <a:gd name="T99" fmla="*/ 61 h 86"/>
                <a:gd name="T100" fmla="*/ 28 w 86"/>
                <a:gd name="T101" fmla="*/ 49 h 86"/>
                <a:gd name="T102" fmla="*/ 49 w 86"/>
                <a:gd name="T103" fmla="*/ 57 h 86"/>
                <a:gd name="T104" fmla="*/ 37 w 86"/>
                <a:gd name="T105" fmla="*/ 28 h 86"/>
                <a:gd name="T106" fmla="*/ 33 w 86"/>
                <a:gd name="T107" fmla="*/ 47 h 86"/>
                <a:gd name="T108" fmla="*/ 43 w 86"/>
                <a:gd name="T109" fmla="*/ 32 h 86"/>
                <a:gd name="T110" fmla="*/ 47 w 86"/>
                <a:gd name="T111" fmla="*/ 5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" h="86">
                  <a:moveTo>
                    <a:pt x="84" y="49"/>
                  </a:moveTo>
                  <a:cubicBezTo>
                    <a:pt x="78" y="47"/>
                    <a:pt x="78" y="47"/>
                    <a:pt x="78" y="47"/>
                  </a:cubicBezTo>
                  <a:cubicBezTo>
                    <a:pt x="79" y="44"/>
                    <a:pt x="79" y="41"/>
                    <a:pt x="78" y="39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5" y="35"/>
                    <a:pt x="86" y="34"/>
                    <a:pt x="85" y="33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79" y="18"/>
                    <a:pt x="78" y="18"/>
                    <a:pt x="77" y="18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69" y="18"/>
                    <a:pt x="67" y="16"/>
                    <a:pt x="65" y="15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8" y="8"/>
                    <a:pt x="67" y="6"/>
                    <a:pt x="66" y="6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2" y="0"/>
                    <a:pt x="50" y="0"/>
                    <a:pt x="49" y="2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4" y="7"/>
                    <a:pt x="42" y="7"/>
                    <a:pt x="39" y="7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0"/>
                    <a:pt x="34" y="0"/>
                    <a:pt x="33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8" y="8"/>
                    <a:pt x="18" y="9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8" y="16"/>
                    <a:pt x="17" y="18"/>
                    <a:pt x="15" y="2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6" y="18"/>
                    <a:pt x="6" y="2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4"/>
                    <a:pt x="0" y="35"/>
                    <a:pt x="2" y="3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41"/>
                    <a:pt x="7" y="44"/>
                    <a:pt x="7" y="47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0" y="50"/>
                    <a:pt x="0" y="51"/>
                    <a:pt x="0" y="53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7"/>
                    <a:pt x="8" y="68"/>
                    <a:pt x="9" y="6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7" y="67"/>
                    <a:pt x="18" y="69"/>
                    <a:pt x="20" y="71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8"/>
                    <a:pt x="19" y="79"/>
                    <a:pt x="20" y="80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3" y="85"/>
                    <a:pt x="34" y="85"/>
                  </a:cubicBezTo>
                  <a:cubicBezTo>
                    <a:pt x="35" y="85"/>
                    <a:pt x="36" y="85"/>
                    <a:pt x="36" y="84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42" y="79"/>
                    <a:pt x="44" y="79"/>
                    <a:pt x="47" y="78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0" y="85"/>
                    <a:pt x="52" y="86"/>
                    <a:pt x="53" y="85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7" y="79"/>
                    <a:pt x="68" y="78"/>
                    <a:pt x="67" y="76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7" y="69"/>
                    <a:pt x="69" y="67"/>
                    <a:pt x="71" y="65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78" y="68"/>
                    <a:pt x="79" y="67"/>
                    <a:pt x="80" y="65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6" y="51"/>
                    <a:pt x="85" y="50"/>
                    <a:pt x="84" y="49"/>
                  </a:cubicBezTo>
                  <a:moveTo>
                    <a:pt x="76" y="61"/>
                  </a:moveTo>
                  <a:cubicBezTo>
                    <a:pt x="71" y="59"/>
                    <a:pt x="71" y="59"/>
                    <a:pt x="71" y="59"/>
                  </a:cubicBezTo>
                  <a:cubicBezTo>
                    <a:pt x="69" y="59"/>
                    <a:pt x="68" y="59"/>
                    <a:pt x="67" y="60"/>
                  </a:cubicBezTo>
                  <a:cubicBezTo>
                    <a:pt x="66" y="63"/>
                    <a:pt x="63" y="65"/>
                    <a:pt x="60" y="67"/>
                  </a:cubicBezTo>
                  <a:cubicBezTo>
                    <a:pt x="59" y="68"/>
                    <a:pt x="59" y="69"/>
                    <a:pt x="59" y="70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3"/>
                    <a:pt x="49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4" y="73"/>
                    <a:pt x="41" y="73"/>
                    <a:pt x="38" y="73"/>
                  </a:cubicBezTo>
                  <a:cubicBezTo>
                    <a:pt x="37" y="72"/>
                    <a:pt x="35" y="73"/>
                    <a:pt x="35" y="74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69"/>
                    <a:pt x="26" y="68"/>
                    <a:pt x="25" y="67"/>
                  </a:cubicBezTo>
                  <a:cubicBezTo>
                    <a:pt x="22" y="65"/>
                    <a:pt x="20" y="63"/>
                    <a:pt x="18" y="60"/>
                  </a:cubicBezTo>
                  <a:cubicBezTo>
                    <a:pt x="17" y="59"/>
                    <a:pt x="16" y="59"/>
                    <a:pt x="15" y="59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2" y="50"/>
                    <a:pt x="13" y="49"/>
                    <a:pt x="13" y="48"/>
                  </a:cubicBezTo>
                  <a:cubicBezTo>
                    <a:pt x="12" y="44"/>
                    <a:pt x="12" y="41"/>
                    <a:pt x="13" y="38"/>
                  </a:cubicBezTo>
                  <a:cubicBezTo>
                    <a:pt x="13" y="37"/>
                    <a:pt x="12" y="35"/>
                    <a:pt x="11" y="35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6"/>
                    <a:pt x="17" y="26"/>
                    <a:pt x="18" y="25"/>
                  </a:cubicBezTo>
                  <a:cubicBezTo>
                    <a:pt x="20" y="22"/>
                    <a:pt x="22" y="20"/>
                    <a:pt x="25" y="18"/>
                  </a:cubicBezTo>
                  <a:cubicBezTo>
                    <a:pt x="26" y="17"/>
                    <a:pt x="27" y="16"/>
                    <a:pt x="26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2"/>
                    <a:pt x="37" y="13"/>
                    <a:pt x="38" y="13"/>
                  </a:cubicBezTo>
                  <a:cubicBezTo>
                    <a:pt x="41" y="12"/>
                    <a:pt x="44" y="12"/>
                    <a:pt x="48" y="13"/>
                  </a:cubicBezTo>
                  <a:cubicBezTo>
                    <a:pt x="49" y="13"/>
                    <a:pt x="50" y="12"/>
                    <a:pt x="51" y="11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6"/>
                    <a:pt x="59" y="17"/>
                    <a:pt x="60" y="18"/>
                  </a:cubicBezTo>
                  <a:cubicBezTo>
                    <a:pt x="63" y="20"/>
                    <a:pt x="66" y="22"/>
                    <a:pt x="67" y="25"/>
                  </a:cubicBezTo>
                  <a:cubicBezTo>
                    <a:pt x="68" y="26"/>
                    <a:pt x="69" y="26"/>
                    <a:pt x="71" y="26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3" y="35"/>
                    <a:pt x="73" y="37"/>
                    <a:pt x="73" y="38"/>
                  </a:cubicBezTo>
                  <a:cubicBezTo>
                    <a:pt x="73" y="41"/>
                    <a:pt x="73" y="44"/>
                    <a:pt x="73" y="48"/>
                  </a:cubicBezTo>
                  <a:cubicBezTo>
                    <a:pt x="73" y="49"/>
                    <a:pt x="73" y="50"/>
                    <a:pt x="74" y="51"/>
                  </a:cubicBezTo>
                  <a:cubicBezTo>
                    <a:pt x="79" y="53"/>
                    <a:pt x="79" y="53"/>
                    <a:pt x="79" y="53"/>
                  </a:cubicBezTo>
                  <a:lnTo>
                    <a:pt x="76" y="61"/>
                  </a:lnTo>
                  <a:close/>
                  <a:moveTo>
                    <a:pt x="37" y="28"/>
                  </a:moveTo>
                  <a:cubicBezTo>
                    <a:pt x="29" y="31"/>
                    <a:pt x="25" y="41"/>
                    <a:pt x="28" y="49"/>
                  </a:cubicBezTo>
                  <a:cubicBezTo>
                    <a:pt x="31" y="55"/>
                    <a:pt x="37" y="59"/>
                    <a:pt x="43" y="59"/>
                  </a:cubicBezTo>
                  <a:cubicBezTo>
                    <a:pt x="45" y="59"/>
                    <a:pt x="47" y="58"/>
                    <a:pt x="49" y="57"/>
                  </a:cubicBezTo>
                  <a:cubicBezTo>
                    <a:pt x="57" y="54"/>
                    <a:pt x="61" y="45"/>
                    <a:pt x="58" y="37"/>
                  </a:cubicBezTo>
                  <a:cubicBezTo>
                    <a:pt x="54" y="28"/>
                    <a:pt x="45" y="25"/>
                    <a:pt x="37" y="28"/>
                  </a:cubicBezTo>
                  <a:moveTo>
                    <a:pt x="47" y="52"/>
                  </a:moveTo>
                  <a:cubicBezTo>
                    <a:pt x="41" y="55"/>
                    <a:pt x="35" y="52"/>
                    <a:pt x="33" y="47"/>
                  </a:cubicBezTo>
                  <a:cubicBezTo>
                    <a:pt x="31" y="41"/>
                    <a:pt x="33" y="35"/>
                    <a:pt x="39" y="33"/>
                  </a:cubicBezTo>
                  <a:cubicBezTo>
                    <a:pt x="40" y="32"/>
                    <a:pt x="41" y="32"/>
                    <a:pt x="43" y="32"/>
                  </a:cubicBezTo>
                  <a:cubicBezTo>
                    <a:pt x="47" y="32"/>
                    <a:pt x="51" y="35"/>
                    <a:pt x="53" y="39"/>
                  </a:cubicBezTo>
                  <a:cubicBezTo>
                    <a:pt x="55" y="44"/>
                    <a:pt x="52" y="50"/>
                    <a:pt x="47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68">
              <a:extLst>
                <a:ext uri="{FF2B5EF4-FFF2-40B4-BE49-F238E27FC236}">
                  <a16:creationId xmlns:a16="http://schemas.microsoft.com/office/drawing/2014/main" id="{F6B6DF68-9804-437F-A9B5-C62F07D9F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6" y="2766"/>
              <a:ext cx="118" cy="115"/>
            </a:xfrm>
            <a:custGeom>
              <a:avLst/>
              <a:gdLst>
                <a:gd name="T0" fmla="*/ 26 w 48"/>
                <a:gd name="T1" fmla="*/ 18 h 47"/>
                <a:gd name="T2" fmla="*/ 20 w 48"/>
                <a:gd name="T3" fmla="*/ 33 h 47"/>
                <a:gd name="T4" fmla="*/ 28 w 48"/>
                <a:gd name="T5" fmla="*/ 34 h 47"/>
                <a:gd name="T6" fmla="*/ 25 w 48"/>
                <a:gd name="T7" fmla="*/ 26 h 47"/>
                <a:gd name="T8" fmla="*/ 34 w 48"/>
                <a:gd name="T9" fmla="*/ 23 h 47"/>
                <a:gd name="T10" fmla="*/ 42 w 48"/>
                <a:gd name="T11" fmla="*/ 24 h 47"/>
                <a:gd name="T12" fmla="*/ 46 w 48"/>
                <a:gd name="T13" fmla="*/ 3 h 47"/>
                <a:gd name="T14" fmla="*/ 34 w 48"/>
                <a:gd name="T15" fmla="*/ 0 h 47"/>
                <a:gd name="T16" fmla="*/ 31 w 48"/>
                <a:gd name="T17" fmla="*/ 6 h 47"/>
                <a:gd name="T18" fmla="*/ 26 w 48"/>
                <a:gd name="T19" fmla="*/ 2 h 47"/>
                <a:gd name="T20" fmla="*/ 13 w 48"/>
                <a:gd name="T21" fmla="*/ 5 h 47"/>
                <a:gd name="T22" fmla="*/ 12 w 48"/>
                <a:gd name="T23" fmla="*/ 8 h 47"/>
                <a:gd name="T24" fmla="*/ 12 w 48"/>
                <a:gd name="T25" fmla="*/ 15 h 47"/>
                <a:gd name="T26" fmla="*/ 4 w 48"/>
                <a:gd name="T27" fmla="*/ 15 h 47"/>
                <a:gd name="T28" fmla="*/ 1 w 48"/>
                <a:gd name="T29" fmla="*/ 25 h 47"/>
                <a:gd name="T30" fmla="*/ 7 w 48"/>
                <a:gd name="T31" fmla="*/ 28 h 47"/>
                <a:gd name="T32" fmla="*/ 3 w 48"/>
                <a:gd name="T33" fmla="*/ 34 h 47"/>
                <a:gd name="T34" fmla="*/ 2 w 48"/>
                <a:gd name="T35" fmla="*/ 37 h 47"/>
                <a:gd name="T36" fmla="*/ 7 w 48"/>
                <a:gd name="T37" fmla="*/ 47 h 47"/>
                <a:gd name="T38" fmla="*/ 9 w 48"/>
                <a:gd name="T39" fmla="*/ 47 h 47"/>
                <a:gd name="T40" fmla="*/ 14 w 48"/>
                <a:gd name="T41" fmla="*/ 39 h 47"/>
                <a:gd name="T42" fmla="*/ 8 w 48"/>
                <a:gd name="T43" fmla="*/ 37 h 47"/>
                <a:gd name="T44" fmla="*/ 13 w 48"/>
                <a:gd name="T45" fmla="*/ 32 h 47"/>
                <a:gd name="T46" fmla="*/ 11 w 48"/>
                <a:gd name="T47" fmla="*/ 24 h 47"/>
                <a:gd name="T48" fmla="*/ 8 w 48"/>
                <a:gd name="T49" fmla="*/ 19 h 47"/>
                <a:gd name="T50" fmla="*/ 16 w 48"/>
                <a:gd name="T51" fmla="*/ 19 h 47"/>
                <a:gd name="T52" fmla="*/ 20 w 48"/>
                <a:gd name="T53" fmla="*/ 12 h 47"/>
                <a:gd name="T54" fmla="*/ 22 w 48"/>
                <a:gd name="T55" fmla="*/ 7 h 47"/>
                <a:gd name="T56" fmla="*/ 27 w 48"/>
                <a:gd name="T57" fmla="*/ 12 h 47"/>
                <a:gd name="T58" fmla="*/ 36 w 48"/>
                <a:gd name="T59" fmla="*/ 10 h 47"/>
                <a:gd name="T60" fmla="*/ 41 w 48"/>
                <a:gd name="T61" fmla="*/ 7 h 47"/>
                <a:gd name="T62" fmla="*/ 45 w 48"/>
                <a:gd name="T63" fmla="*/ 13 h 47"/>
                <a:gd name="T64" fmla="*/ 46 w 48"/>
                <a:gd name="T65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" h="47">
                  <a:moveTo>
                    <a:pt x="36" y="18"/>
                  </a:moveTo>
                  <a:cubicBezTo>
                    <a:pt x="33" y="17"/>
                    <a:pt x="29" y="17"/>
                    <a:pt x="26" y="18"/>
                  </a:cubicBezTo>
                  <a:cubicBezTo>
                    <a:pt x="23" y="19"/>
                    <a:pt x="21" y="22"/>
                    <a:pt x="20" y="24"/>
                  </a:cubicBezTo>
                  <a:cubicBezTo>
                    <a:pt x="19" y="27"/>
                    <a:pt x="19" y="30"/>
                    <a:pt x="20" y="33"/>
                  </a:cubicBezTo>
                  <a:cubicBezTo>
                    <a:pt x="21" y="36"/>
                    <a:pt x="23" y="38"/>
                    <a:pt x="25" y="39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7" y="33"/>
                    <a:pt x="26" y="32"/>
                    <a:pt x="25" y="31"/>
                  </a:cubicBezTo>
                  <a:cubicBezTo>
                    <a:pt x="24" y="30"/>
                    <a:pt x="24" y="28"/>
                    <a:pt x="25" y="26"/>
                  </a:cubicBezTo>
                  <a:cubicBezTo>
                    <a:pt x="26" y="25"/>
                    <a:pt x="27" y="24"/>
                    <a:pt x="29" y="23"/>
                  </a:cubicBezTo>
                  <a:cubicBezTo>
                    <a:pt x="30" y="23"/>
                    <a:pt x="32" y="23"/>
                    <a:pt x="34" y="23"/>
                  </a:cubicBezTo>
                  <a:cubicBezTo>
                    <a:pt x="35" y="24"/>
                    <a:pt x="36" y="25"/>
                    <a:pt x="37" y="26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2"/>
                    <a:pt x="39" y="19"/>
                    <a:pt x="36" y="18"/>
                  </a:cubicBezTo>
                  <a:moveTo>
                    <a:pt x="46" y="3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4" y="0"/>
                    <a:pt x="33" y="1"/>
                    <a:pt x="33" y="1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0" y="6"/>
                    <a:pt x="29" y="6"/>
                    <a:pt x="28" y="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1"/>
                    <a:pt x="23" y="0"/>
                    <a:pt x="22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7"/>
                    <a:pt x="12" y="7"/>
                    <a:pt x="12" y="8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3" y="14"/>
                    <a:pt x="12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3"/>
                    <a:pt x="4" y="14"/>
                    <a:pt x="4" y="1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4"/>
                    <a:pt x="0" y="25"/>
                    <a:pt x="1" y="25"/>
                  </a:cubicBezTo>
                  <a:cubicBezTo>
                    <a:pt x="1" y="26"/>
                    <a:pt x="2" y="27"/>
                    <a:pt x="2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9"/>
                    <a:pt x="7" y="30"/>
                    <a:pt x="8" y="32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5"/>
                    <a:pt x="1" y="35"/>
                  </a:cubicBezTo>
                  <a:cubicBezTo>
                    <a:pt x="1" y="36"/>
                    <a:pt x="1" y="37"/>
                    <a:pt x="2" y="37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7" y="46"/>
                    <a:pt x="7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4" y="34"/>
                    <a:pt x="13" y="32"/>
                  </a:cubicBezTo>
                  <a:cubicBezTo>
                    <a:pt x="13" y="31"/>
                    <a:pt x="13" y="29"/>
                    <a:pt x="13" y="27"/>
                  </a:cubicBezTo>
                  <a:cubicBezTo>
                    <a:pt x="13" y="26"/>
                    <a:pt x="12" y="24"/>
                    <a:pt x="11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21"/>
                    <a:pt x="15" y="21"/>
                    <a:pt x="16" y="19"/>
                  </a:cubicBezTo>
                  <a:cubicBezTo>
                    <a:pt x="17" y="18"/>
                    <a:pt x="18" y="16"/>
                    <a:pt x="20" y="15"/>
                  </a:cubicBezTo>
                  <a:cubicBezTo>
                    <a:pt x="21" y="14"/>
                    <a:pt x="21" y="13"/>
                    <a:pt x="20" y="12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2"/>
                    <a:pt x="26" y="12"/>
                    <a:pt x="27" y="12"/>
                  </a:cubicBezTo>
                  <a:cubicBezTo>
                    <a:pt x="29" y="11"/>
                    <a:pt x="31" y="11"/>
                    <a:pt x="33" y="12"/>
                  </a:cubicBezTo>
                  <a:cubicBezTo>
                    <a:pt x="34" y="12"/>
                    <a:pt x="35" y="11"/>
                    <a:pt x="36" y="10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8" y="5"/>
                    <a:pt x="47" y="3"/>
                    <a:pt x="46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69">
              <a:extLst>
                <a:ext uri="{FF2B5EF4-FFF2-40B4-BE49-F238E27FC236}">
                  <a16:creationId xmlns:a16="http://schemas.microsoft.com/office/drawing/2014/main" id="{116A4909-1DB0-4D47-88DB-480B0EFB8E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6" y="2881"/>
              <a:ext cx="150" cy="147"/>
            </a:xfrm>
            <a:custGeom>
              <a:avLst/>
              <a:gdLst>
                <a:gd name="T0" fmla="*/ 54 w 61"/>
                <a:gd name="T1" fmla="*/ 32 h 60"/>
                <a:gd name="T2" fmla="*/ 59 w 61"/>
                <a:gd name="T3" fmla="*/ 26 h 60"/>
                <a:gd name="T4" fmla="*/ 57 w 61"/>
                <a:gd name="T5" fmla="*/ 14 h 60"/>
                <a:gd name="T6" fmla="*/ 48 w 61"/>
                <a:gd name="T7" fmla="*/ 15 h 60"/>
                <a:gd name="T8" fmla="*/ 48 w 61"/>
                <a:gd name="T9" fmla="*/ 8 h 60"/>
                <a:gd name="T10" fmla="*/ 38 w 61"/>
                <a:gd name="T11" fmla="*/ 0 h 60"/>
                <a:gd name="T12" fmla="*/ 32 w 61"/>
                <a:gd name="T13" fmla="*/ 7 h 60"/>
                <a:gd name="T14" fmla="*/ 27 w 61"/>
                <a:gd name="T15" fmla="*/ 2 h 60"/>
                <a:gd name="T16" fmla="*/ 23 w 61"/>
                <a:gd name="T17" fmla="*/ 0 h 60"/>
                <a:gd name="T18" fmla="*/ 13 w 61"/>
                <a:gd name="T19" fmla="*/ 8 h 60"/>
                <a:gd name="T20" fmla="*/ 13 w 61"/>
                <a:gd name="T21" fmla="*/ 15 h 60"/>
                <a:gd name="T22" fmla="*/ 5 w 61"/>
                <a:gd name="T23" fmla="*/ 14 h 60"/>
                <a:gd name="T24" fmla="*/ 1 w 61"/>
                <a:gd name="T25" fmla="*/ 25 h 60"/>
                <a:gd name="T26" fmla="*/ 7 w 61"/>
                <a:gd name="T27" fmla="*/ 28 h 60"/>
                <a:gd name="T28" fmla="*/ 2 w 61"/>
                <a:gd name="T29" fmla="*/ 34 h 60"/>
                <a:gd name="T30" fmla="*/ 5 w 61"/>
                <a:gd name="T31" fmla="*/ 46 h 60"/>
                <a:gd name="T32" fmla="*/ 8 w 61"/>
                <a:gd name="T33" fmla="*/ 47 h 60"/>
                <a:gd name="T34" fmla="*/ 15 w 61"/>
                <a:gd name="T35" fmla="*/ 48 h 60"/>
                <a:gd name="T36" fmla="*/ 15 w 61"/>
                <a:gd name="T37" fmla="*/ 56 h 60"/>
                <a:gd name="T38" fmla="*/ 25 w 61"/>
                <a:gd name="T39" fmla="*/ 60 h 60"/>
                <a:gd name="T40" fmla="*/ 29 w 61"/>
                <a:gd name="T41" fmla="*/ 54 h 60"/>
                <a:gd name="T42" fmla="*/ 34 w 61"/>
                <a:gd name="T43" fmla="*/ 58 h 60"/>
                <a:gd name="T44" fmla="*/ 38 w 61"/>
                <a:gd name="T45" fmla="*/ 60 h 60"/>
                <a:gd name="T46" fmla="*/ 48 w 61"/>
                <a:gd name="T47" fmla="*/ 53 h 60"/>
                <a:gd name="T48" fmla="*/ 48 w 61"/>
                <a:gd name="T49" fmla="*/ 45 h 60"/>
                <a:gd name="T50" fmla="*/ 57 w 61"/>
                <a:gd name="T51" fmla="*/ 46 h 60"/>
                <a:gd name="T52" fmla="*/ 59 w 61"/>
                <a:gd name="T53" fmla="*/ 34 h 60"/>
                <a:gd name="T54" fmla="*/ 48 w 61"/>
                <a:gd name="T55" fmla="*/ 40 h 60"/>
                <a:gd name="T56" fmla="*/ 41 w 61"/>
                <a:gd name="T57" fmla="*/ 45 h 60"/>
                <a:gd name="T58" fmla="*/ 42 w 61"/>
                <a:gd name="T59" fmla="*/ 52 h 60"/>
                <a:gd name="T60" fmla="*/ 36 w 61"/>
                <a:gd name="T61" fmla="*/ 50 h 60"/>
                <a:gd name="T62" fmla="*/ 33 w 61"/>
                <a:gd name="T63" fmla="*/ 48 h 60"/>
                <a:gd name="T64" fmla="*/ 25 w 61"/>
                <a:gd name="T65" fmla="*/ 50 h 60"/>
                <a:gd name="T66" fmla="*/ 19 w 61"/>
                <a:gd name="T67" fmla="*/ 52 h 60"/>
                <a:gd name="T68" fmla="*/ 20 w 61"/>
                <a:gd name="T69" fmla="*/ 45 h 60"/>
                <a:gd name="T70" fmla="*/ 13 w 61"/>
                <a:gd name="T71" fmla="*/ 40 h 60"/>
                <a:gd name="T72" fmla="*/ 7 w 61"/>
                <a:gd name="T73" fmla="*/ 38 h 60"/>
                <a:gd name="T74" fmla="*/ 13 w 61"/>
                <a:gd name="T75" fmla="*/ 33 h 60"/>
                <a:gd name="T76" fmla="*/ 11 w 61"/>
                <a:gd name="T77" fmla="*/ 24 h 60"/>
                <a:gd name="T78" fmla="*/ 9 w 61"/>
                <a:gd name="T79" fmla="*/ 19 h 60"/>
                <a:gd name="T80" fmla="*/ 16 w 61"/>
                <a:gd name="T81" fmla="*/ 20 h 60"/>
                <a:gd name="T82" fmla="*/ 21 w 61"/>
                <a:gd name="T83" fmla="*/ 12 h 60"/>
                <a:gd name="T84" fmla="*/ 23 w 61"/>
                <a:gd name="T85" fmla="*/ 7 h 60"/>
                <a:gd name="T86" fmla="*/ 28 w 61"/>
                <a:gd name="T87" fmla="*/ 12 h 60"/>
                <a:gd name="T88" fmla="*/ 36 w 61"/>
                <a:gd name="T89" fmla="*/ 11 h 60"/>
                <a:gd name="T90" fmla="*/ 42 w 61"/>
                <a:gd name="T91" fmla="*/ 8 h 60"/>
                <a:gd name="T92" fmla="*/ 41 w 61"/>
                <a:gd name="T93" fmla="*/ 15 h 60"/>
                <a:gd name="T94" fmla="*/ 48 w 61"/>
                <a:gd name="T95" fmla="*/ 21 h 60"/>
                <a:gd name="T96" fmla="*/ 54 w 61"/>
                <a:gd name="T97" fmla="*/ 22 h 60"/>
                <a:gd name="T98" fmla="*/ 48 w 61"/>
                <a:gd name="T99" fmla="*/ 27 h 60"/>
                <a:gd name="T100" fmla="*/ 50 w 61"/>
                <a:gd name="T101" fmla="*/ 36 h 60"/>
                <a:gd name="T102" fmla="*/ 53 w 61"/>
                <a:gd name="T103" fmla="*/ 41 h 60"/>
                <a:gd name="T104" fmla="*/ 20 w 61"/>
                <a:gd name="T105" fmla="*/ 26 h 60"/>
                <a:gd name="T106" fmla="*/ 31 w 61"/>
                <a:gd name="T107" fmla="*/ 42 h 60"/>
                <a:gd name="T108" fmla="*/ 41 w 61"/>
                <a:gd name="T109" fmla="*/ 35 h 60"/>
                <a:gd name="T110" fmla="*/ 35 w 61"/>
                <a:gd name="T111" fmla="*/ 19 h 60"/>
                <a:gd name="T112" fmla="*/ 33 w 61"/>
                <a:gd name="T113" fmla="*/ 36 h 60"/>
                <a:gd name="T114" fmla="*/ 25 w 61"/>
                <a:gd name="T115" fmla="*/ 28 h 60"/>
                <a:gd name="T116" fmla="*/ 33 w 61"/>
                <a:gd name="T117" fmla="*/ 24 h 60"/>
                <a:gd name="T118" fmla="*/ 36 w 61"/>
                <a:gd name="T119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1" h="60">
                  <a:moveTo>
                    <a:pt x="59" y="34"/>
                  </a:moveTo>
                  <a:cubicBezTo>
                    <a:pt x="54" y="32"/>
                    <a:pt x="54" y="32"/>
                    <a:pt x="54" y="32"/>
                  </a:cubicBezTo>
                  <a:cubicBezTo>
                    <a:pt x="54" y="31"/>
                    <a:pt x="54" y="30"/>
                    <a:pt x="54" y="28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60" y="26"/>
                    <a:pt x="61" y="24"/>
                    <a:pt x="60" y="23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6" y="13"/>
                    <a:pt x="54" y="12"/>
                    <a:pt x="53" y="13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7" y="14"/>
                    <a:pt x="47" y="13"/>
                    <a:pt x="46" y="12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6"/>
                    <a:pt x="48" y="5"/>
                    <a:pt x="46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6" y="0"/>
                    <a:pt x="35" y="0"/>
                    <a:pt x="34" y="2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7"/>
                    <a:pt x="30" y="7"/>
                    <a:pt x="29" y="7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1"/>
                    <a:pt x="26" y="1"/>
                    <a:pt x="25" y="0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5"/>
                    <a:pt x="13" y="6"/>
                    <a:pt x="13" y="8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3"/>
                    <a:pt x="14" y="14"/>
                    <a:pt x="13" y="15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2"/>
                    <a:pt x="5" y="13"/>
                    <a:pt x="5" y="1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1"/>
                    <a:pt x="7" y="32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0" y="36"/>
                    <a:pt x="1" y="3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7"/>
                    <a:pt x="5" y="47"/>
                    <a:pt x="6" y="47"/>
                  </a:cubicBezTo>
                  <a:cubicBezTo>
                    <a:pt x="7" y="48"/>
                    <a:pt x="7" y="48"/>
                    <a:pt x="8" y="47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4" y="46"/>
                    <a:pt x="14" y="47"/>
                    <a:pt x="15" y="48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4"/>
                    <a:pt x="13" y="56"/>
                    <a:pt x="15" y="56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4" y="60"/>
                    <a:pt x="25" y="60"/>
                    <a:pt x="25" y="60"/>
                  </a:cubicBezTo>
                  <a:cubicBezTo>
                    <a:pt x="26" y="60"/>
                    <a:pt x="27" y="59"/>
                    <a:pt x="27" y="58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0" y="54"/>
                    <a:pt x="31" y="54"/>
                    <a:pt x="32" y="54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5" y="59"/>
                    <a:pt x="36" y="60"/>
                    <a:pt x="37" y="60"/>
                  </a:cubicBezTo>
                  <a:cubicBezTo>
                    <a:pt x="37" y="60"/>
                    <a:pt x="37" y="60"/>
                    <a:pt x="38" y="60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8" y="56"/>
                    <a:pt x="48" y="54"/>
                    <a:pt x="48" y="53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7"/>
                    <a:pt x="47" y="46"/>
                    <a:pt x="48" y="45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4" y="48"/>
                    <a:pt x="56" y="47"/>
                    <a:pt x="57" y="46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1" y="36"/>
                    <a:pt x="60" y="34"/>
                    <a:pt x="59" y="34"/>
                  </a:cubicBezTo>
                  <a:moveTo>
                    <a:pt x="53" y="41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7" y="39"/>
                    <a:pt x="46" y="40"/>
                    <a:pt x="45" y="41"/>
                  </a:cubicBezTo>
                  <a:cubicBezTo>
                    <a:pt x="44" y="42"/>
                    <a:pt x="43" y="44"/>
                    <a:pt x="41" y="45"/>
                  </a:cubicBezTo>
                  <a:cubicBezTo>
                    <a:pt x="40" y="46"/>
                    <a:pt x="40" y="47"/>
                    <a:pt x="40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48"/>
                    <a:pt x="35" y="48"/>
                    <a:pt x="34" y="48"/>
                  </a:cubicBezTo>
                  <a:cubicBezTo>
                    <a:pt x="34" y="48"/>
                    <a:pt x="34" y="48"/>
                    <a:pt x="33" y="48"/>
                  </a:cubicBezTo>
                  <a:cubicBezTo>
                    <a:pt x="32" y="48"/>
                    <a:pt x="30" y="48"/>
                    <a:pt x="28" y="48"/>
                  </a:cubicBezTo>
                  <a:cubicBezTo>
                    <a:pt x="26" y="48"/>
                    <a:pt x="25" y="48"/>
                    <a:pt x="25" y="50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2" y="47"/>
                    <a:pt x="21" y="46"/>
                    <a:pt x="20" y="45"/>
                  </a:cubicBezTo>
                  <a:cubicBezTo>
                    <a:pt x="18" y="44"/>
                    <a:pt x="17" y="42"/>
                    <a:pt x="16" y="41"/>
                  </a:cubicBezTo>
                  <a:cubicBezTo>
                    <a:pt x="15" y="40"/>
                    <a:pt x="14" y="39"/>
                    <a:pt x="13" y="40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2" y="36"/>
                    <a:pt x="13" y="34"/>
                    <a:pt x="13" y="33"/>
                  </a:cubicBezTo>
                  <a:cubicBezTo>
                    <a:pt x="13" y="31"/>
                    <a:pt x="13" y="29"/>
                    <a:pt x="13" y="27"/>
                  </a:cubicBezTo>
                  <a:cubicBezTo>
                    <a:pt x="13" y="26"/>
                    <a:pt x="12" y="25"/>
                    <a:pt x="11" y="24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5" y="21"/>
                    <a:pt x="16" y="20"/>
                  </a:cubicBezTo>
                  <a:cubicBezTo>
                    <a:pt x="17" y="18"/>
                    <a:pt x="18" y="17"/>
                    <a:pt x="20" y="15"/>
                  </a:cubicBezTo>
                  <a:cubicBezTo>
                    <a:pt x="21" y="15"/>
                    <a:pt x="22" y="13"/>
                    <a:pt x="21" y="12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6" y="13"/>
                    <a:pt x="28" y="12"/>
                  </a:cubicBezTo>
                  <a:cubicBezTo>
                    <a:pt x="30" y="12"/>
                    <a:pt x="32" y="12"/>
                    <a:pt x="33" y="12"/>
                  </a:cubicBezTo>
                  <a:cubicBezTo>
                    <a:pt x="35" y="13"/>
                    <a:pt x="36" y="12"/>
                    <a:pt x="36" y="11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3"/>
                    <a:pt x="40" y="15"/>
                    <a:pt x="41" y="15"/>
                  </a:cubicBezTo>
                  <a:cubicBezTo>
                    <a:pt x="43" y="17"/>
                    <a:pt x="44" y="18"/>
                    <a:pt x="45" y="20"/>
                  </a:cubicBezTo>
                  <a:cubicBezTo>
                    <a:pt x="46" y="21"/>
                    <a:pt x="47" y="21"/>
                    <a:pt x="48" y="21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9" y="25"/>
                    <a:pt x="48" y="26"/>
                    <a:pt x="48" y="27"/>
                  </a:cubicBezTo>
                  <a:cubicBezTo>
                    <a:pt x="49" y="29"/>
                    <a:pt x="49" y="31"/>
                    <a:pt x="48" y="33"/>
                  </a:cubicBezTo>
                  <a:cubicBezTo>
                    <a:pt x="48" y="34"/>
                    <a:pt x="49" y="36"/>
                    <a:pt x="50" y="36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53" y="41"/>
                  </a:lnTo>
                  <a:close/>
                  <a:moveTo>
                    <a:pt x="35" y="19"/>
                  </a:moveTo>
                  <a:cubicBezTo>
                    <a:pt x="29" y="17"/>
                    <a:pt x="22" y="20"/>
                    <a:pt x="20" y="26"/>
                  </a:cubicBezTo>
                  <a:cubicBezTo>
                    <a:pt x="17" y="32"/>
                    <a:pt x="20" y="39"/>
                    <a:pt x="26" y="41"/>
                  </a:cubicBezTo>
                  <a:cubicBezTo>
                    <a:pt x="27" y="42"/>
                    <a:pt x="29" y="42"/>
                    <a:pt x="31" y="42"/>
                  </a:cubicBezTo>
                  <a:cubicBezTo>
                    <a:pt x="32" y="42"/>
                    <a:pt x="34" y="42"/>
                    <a:pt x="35" y="41"/>
                  </a:cubicBezTo>
                  <a:cubicBezTo>
                    <a:pt x="38" y="40"/>
                    <a:pt x="40" y="38"/>
                    <a:pt x="41" y="35"/>
                  </a:cubicBezTo>
                  <a:cubicBezTo>
                    <a:pt x="43" y="32"/>
                    <a:pt x="43" y="29"/>
                    <a:pt x="41" y="26"/>
                  </a:cubicBezTo>
                  <a:cubicBezTo>
                    <a:pt x="40" y="23"/>
                    <a:pt x="38" y="20"/>
                    <a:pt x="35" y="19"/>
                  </a:cubicBezTo>
                  <a:moveTo>
                    <a:pt x="36" y="33"/>
                  </a:moveTo>
                  <a:cubicBezTo>
                    <a:pt x="36" y="34"/>
                    <a:pt x="35" y="35"/>
                    <a:pt x="33" y="36"/>
                  </a:cubicBezTo>
                  <a:cubicBezTo>
                    <a:pt x="31" y="37"/>
                    <a:pt x="30" y="37"/>
                    <a:pt x="28" y="36"/>
                  </a:cubicBezTo>
                  <a:cubicBezTo>
                    <a:pt x="25" y="35"/>
                    <a:pt x="23" y="31"/>
                    <a:pt x="25" y="28"/>
                  </a:cubicBezTo>
                  <a:cubicBezTo>
                    <a:pt x="26" y="25"/>
                    <a:pt x="28" y="24"/>
                    <a:pt x="31" y="24"/>
                  </a:cubicBezTo>
                  <a:cubicBezTo>
                    <a:pt x="31" y="24"/>
                    <a:pt x="32" y="24"/>
                    <a:pt x="33" y="24"/>
                  </a:cubicBezTo>
                  <a:cubicBezTo>
                    <a:pt x="35" y="25"/>
                    <a:pt x="36" y="26"/>
                    <a:pt x="36" y="28"/>
                  </a:cubicBezTo>
                  <a:cubicBezTo>
                    <a:pt x="37" y="29"/>
                    <a:pt x="37" y="31"/>
                    <a:pt x="36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0" name="Group 172">
            <a:extLst>
              <a:ext uri="{FF2B5EF4-FFF2-40B4-BE49-F238E27FC236}">
                <a16:creationId xmlns:a16="http://schemas.microsoft.com/office/drawing/2014/main" id="{96482170-B83B-455D-B06E-CF1274579A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065" y="4127705"/>
            <a:ext cx="842962" cy="841375"/>
            <a:chOff x="1691" y="2640"/>
            <a:chExt cx="531" cy="530"/>
          </a:xfrm>
        </p:grpSpPr>
        <p:sp>
          <p:nvSpPr>
            <p:cNvPr id="201" name="AutoShape 171">
              <a:extLst>
                <a:ext uri="{FF2B5EF4-FFF2-40B4-BE49-F238E27FC236}">
                  <a16:creationId xmlns:a16="http://schemas.microsoft.com/office/drawing/2014/main" id="{97712B03-227E-4E6B-A33C-7973E3E42B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91" y="264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Oval 173">
              <a:extLst>
                <a:ext uri="{FF2B5EF4-FFF2-40B4-BE49-F238E27FC236}">
                  <a16:creationId xmlns:a16="http://schemas.microsoft.com/office/drawing/2014/main" id="{5872A0E1-E659-4ADD-B534-575D4D01AD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" y="2643"/>
              <a:ext cx="528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74">
              <a:extLst>
                <a:ext uri="{FF2B5EF4-FFF2-40B4-BE49-F238E27FC236}">
                  <a16:creationId xmlns:a16="http://schemas.microsoft.com/office/drawing/2014/main" id="{4EE4A23A-EA1F-4004-BD84-1D37536FC7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0" y="2659"/>
              <a:ext cx="496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75">
              <a:extLst>
                <a:ext uri="{FF2B5EF4-FFF2-40B4-BE49-F238E27FC236}">
                  <a16:creationId xmlns:a16="http://schemas.microsoft.com/office/drawing/2014/main" id="{07DFE576-3552-4C9D-B93F-5F9948E6D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9" y="2754"/>
              <a:ext cx="218" cy="218"/>
            </a:xfrm>
            <a:custGeom>
              <a:avLst/>
              <a:gdLst>
                <a:gd name="T0" fmla="*/ 73 w 80"/>
                <a:gd name="T1" fmla="*/ 43 h 80"/>
                <a:gd name="T2" fmla="*/ 79 w 80"/>
                <a:gd name="T3" fmla="*/ 34 h 80"/>
                <a:gd name="T4" fmla="*/ 75 w 80"/>
                <a:gd name="T5" fmla="*/ 18 h 80"/>
                <a:gd name="T6" fmla="*/ 66 w 80"/>
                <a:gd name="T7" fmla="*/ 19 h 80"/>
                <a:gd name="T8" fmla="*/ 63 w 80"/>
                <a:gd name="T9" fmla="*/ 8 h 80"/>
                <a:gd name="T10" fmla="*/ 50 w 80"/>
                <a:gd name="T11" fmla="*/ 0 h 80"/>
                <a:gd name="T12" fmla="*/ 44 w 80"/>
                <a:gd name="T13" fmla="*/ 7 h 80"/>
                <a:gd name="T14" fmla="*/ 34 w 80"/>
                <a:gd name="T15" fmla="*/ 1 h 80"/>
                <a:gd name="T16" fmla="*/ 19 w 80"/>
                <a:gd name="T17" fmla="*/ 5 h 80"/>
                <a:gd name="T18" fmla="*/ 19 w 80"/>
                <a:gd name="T19" fmla="*/ 14 h 80"/>
                <a:gd name="T20" fmla="*/ 9 w 80"/>
                <a:gd name="T21" fmla="*/ 17 h 80"/>
                <a:gd name="T22" fmla="*/ 1 w 80"/>
                <a:gd name="T23" fmla="*/ 30 h 80"/>
                <a:gd name="T24" fmla="*/ 7 w 80"/>
                <a:gd name="T25" fmla="*/ 36 h 80"/>
                <a:gd name="T26" fmla="*/ 2 w 80"/>
                <a:gd name="T27" fmla="*/ 46 h 80"/>
                <a:gd name="T28" fmla="*/ 5 w 80"/>
                <a:gd name="T29" fmla="*/ 61 h 80"/>
                <a:gd name="T30" fmla="*/ 14 w 80"/>
                <a:gd name="T31" fmla="*/ 61 h 80"/>
                <a:gd name="T32" fmla="*/ 17 w 80"/>
                <a:gd name="T33" fmla="*/ 71 h 80"/>
                <a:gd name="T34" fmla="*/ 31 w 80"/>
                <a:gd name="T35" fmla="*/ 79 h 80"/>
                <a:gd name="T36" fmla="*/ 34 w 80"/>
                <a:gd name="T37" fmla="*/ 78 h 80"/>
                <a:gd name="T38" fmla="*/ 44 w 80"/>
                <a:gd name="T39" fmla="*/ 73 h 80"/>
                <a:gd name="T40" fmla="*/ 50 w 80"/>
                <a:gd name="T41" fmla="*/ 79 h 80"/>
                <a:gd name="T42" fmla="*/ 63 w 80"/>
                <a:gd name="T43" fmla="*/ 71 h 80"/>
                <a:gd name="T44" fmla="*/ 66 w 80"/>
                <a:gd name="T45" fmla="*/ 61 h 80"/>
                <a:gd name="T46" fmla="*/ 75 w 80"/>
                <a:gd name="T47" fmla="*/ 61 h 80"/>
                <a:gd name="T48" fmla="*/ 79 w 80"/>
                <a:gd name="T49" fmla="*/ 46 h 80"/>
                <a:gd name="T50" fmla="*/ 66 w 80"/>
                <a:gd name="T51" fmla="*/ 55 h 80"/>
                <a:gd name="T52" fmla="*/ 57 w 80"/>
                <a:gd name="T53" fmla="*/ 63 h 80"/>
                <a:gd name="T54" fmla="*/ 57 w 80"/>
                <a:gd name="T55" fmla="*/ 71 h 80"/>
                <a:gd name="T56" fmla="*/ 48 w 80"/>
                <a:gd name="T57" fmla="*/ 69 h 80"/>
                <a:gd name="T58" fmla="*/ 45 w 80"/>
                <a:gd name="T59" fmla="*/ 68 h 80"/>
                <a:gd name="T60" fmla="*/ 33 w 80"/>
                <a:gd name="T61" fmla="*/ 69 h 80"/>
                <a:gd name="T62" fmla="*/ 23 w 80"/>
                <a:gd name="T63" fmla="*/ 71 h 80"/>
                <a:gd name="T64" fmla="*/ 24 w 80"/>
                <a:gd name="T65" fmla="*/ 63 h 80"/>
                <a:gd name="T66" fmla="*/ 14 w 80"/>
                <a:gd name="T67" fmla="*/ 55 h 80"/>
                <a:gd name="T68" fmla="*/ 6 w 80"/>
                <a:gd name="T69" fmla="*/ 49 h 80"/>
                <a:gd name="T70" fmla="*/ 12 w 80"/>
                <a:gd name="T71" fmla="*/ 44 h 80"/>
                <a:gd name="T72" fmla="*/ 11 w 80"/>
                <a:gd name="T73" fmla="*/ 32 h 80"/>
                <a:gd name="T74" fmla="*/ 9 w 80"/>
                <a:gd name="T75" fmla="*/ 23 h 80"/>
                <a:gd name="T76" fmla="*/ 17 w 80"/>
                <a:gd name="T77" fmla="*/ 23 h 80"/>
                <a:gd name="T78" fmla="*/ 25 w 80"/>
                <a:gd name="T79" fmla="*/ 14 h 80"/>
                <a:gd name="T80" fmla="*/ 31 w 80"/>
                <a:gd name="T81" fmla="*/ 6 h 80"/>
                <a:gd name="T82" fmla="*/ 36 w 80"/>
                <a:gd name="T83" fmla="*/ 12 h 80"/>
                <a:gd name="T84" fmla="*/ 48 w 80"/>
                <a:gd name="T85" fmla="*/ 11 h 80"/>
                <a:gd name="T86" fmla="*/ 57 w 80"/>
                <a:gd name="T87" fmla="*/ 9 h 80"/>
                <a:gd name="T88" fmla="*/ 57 w 80"/>
                <a:gd name="T89" fmla="*/ 17 h 80"/>
                <a:gd name="T90" fmla="*/ 66 w 80"/>
                <a:gd name="T91" fmla="*/ 24 h 80"/>
                <a:gd name="T92" fmla="*/ 74 w 80"/>
                <a:gd name="T93" fmla="*/ 30 h 80"/>
                <a:gd name="T94" fmla="*/ 68 w 80"/>
                <a:gd name="T95" fmla="*/ 35 h 80"/>
                <a:gd name="T96" fmla="*/ 70 w 80"/>
                <a:gd name="T97" fmla="*/ 47 h 80"/>
                <a:gd name="T98" fmla="*/ 71 w 80"/>
                <a:gd name="T99" fmla="*/ 57 h 80"/>
                <a:gd name="T100" fmla="*/ 26 w 80"/>
                <a:gd name="T101" fmla="*/ 46 h 80"/>
                <a:gd name="T102" fmla="*/ 46 w 80"/>
                <a:gd name="T103" fmla="*/ 54 h 80"/>
                <a:gd name="T104" fmla="*/ 35 w 80"/>
                <a:gd name="T105" fmla="*/ 26 h 80"/>
                <a:gd name="T106" fmla="*/ 31 w 80"/>
                <a:gd name="T107" fmla="*/ 44 h 80"/>
                <a:gd name="T108" fmla="*/ 40 w 80"/>
                <a:gd name="T109" fmla="*/ 30 h 80"/>
                <a:gd name="T110" fmla="*/ 44 w 80"/>
                <a:gd name="T111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0" h="80">
                  <a:moveTo>
                    <a:pt x="79" y="46"/>
                  </a:moveTo>
                  <a:cubicBezTo>
                    <a:pt x="73" y="43"/>
                    <a:pt x="73" y="43"/>
                    <a:pt x="73" y="43"/>
                  </a:cubicBezTo>
                  <a:cubicBezTo>
                    <a:pt x="74" y="41"/>
                    <a:pt x="74" y="39"/>
                    <a:pt x="73" y="36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0" y="33"/>
                    <a:pt x="80" y="32"/>
                    <a:pt x="80" y="30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5" y="17"/>
                    <a:pt x="63" y="15"/>
                    <a:pt x="61" y="14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7"/>
                    <a:pt x="63" y="6"/>
                    <a:pt x="62" y="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8" y="0"/>
                    <a:pt x="47" y="0"/>
                    <a:pt x="46" y="1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6"/>
                    <a:pt x="39" y="6"/>
                    <a:pt x="37" y="7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0"/>
                    <a:pt x="32" y="0"/>
                    <a:pt x="31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6"/>
                    <a:pt x="17" y="7"/>
                    <a:pt x="17" y="8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7" y="15"/>
                    <a:pt x="16" y="17"/>
                    <a:pt x="14" y="19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7" y="17"/>
                    <a:pt x="6" y="17"/>
                    <a:pt x="5" y="18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2"/>
                    <a:pt x="1" y="33"/>
                    <a:pt x="2" y="34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9"/>
                    <a:pt x="7" y="41"/>
                    <a:pt x="7" y="4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7"/>
                    <a:pt x="0" y="48"/>
                    <a:pt x="1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6" y="62"/>
                    <a:pt x="7" y="63"/>
                    <a:pt x="9" y="63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6" y="63"/>
                    <a:pt x="17" y="64"/>
                    <a:pt x="19" y="66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3"/>
                    <a:pt x="18" y="74"/>
                    <a:pt x="19" y="75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80"/>
                    <a:pt x="31" y="80"/>
                    <a:pt x="32" y="80"/>
                  </a:cubicBezTo>
                  <a:cubicBezTo>
                    <a:pt x="33" y="80"/>
                    <a:pt x="34" y="79"/>
                    <a:pt x="34" y="78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9" y="73"/>
                    <a:pt x="41" y="73"/>
                    <a:pt x="44" y="73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9"/>
                    <a:pt x="48" y="80"/>
                    <a:pt x="50" y="79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3" y="74"/>
                    <a:pt x="63" y="73"/>
                    <a:pt x="63" y="71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3" y="64"/>
                    <a:pt x="65" y="63"/>
                    <a:pt x="66" y="61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3" y="63"/>
                    <a:pt x="74" y="62"/>
                    <a:pt x="75" y="61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8"/>
                    <a:pt x="80" y="47"/>
                    <a:pt x="79" y="46"/>
                  </a:cubicBezTo>
                  <a:moveTo>
                    <a:pt x="71" y="57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5" y="55"/>
                    <a:pt x="64" y="55"/>
                    <a:pt x="63" y="56"/>
                  </a:cubicBezTo>
                  <a:cubicBezTo>
                    <a:pt x="61" y="59"/>
                    <a:pt x="59" y="61"/>
                    <a:pt x="57" y="63"/>
                  </a:cubicBezTo>
                  <a:cubicBezTo>
                    <a:pt x="56" y="63"/>
                    <a:pt x="55" y="65"/>
                    <a:pt x="56" y="66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7" y="68"/>
                    <a:pt x="46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2" y="68"/>
                    <a:pt x="39" y="68"/>
                    <a:pt x="36" y="68"/>
                  </a:cubicBezTo>
                  <a:cubicBezTo>
                    <a:pt x="34" y="68"/>
                    <a:pt x="33" y="68"/>
                    <a:pt x="33" y="69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5"/>
                    <a:pt x="25" y="63"/>
                    <a:pt x="24" y="63"/>
                  </a:cubicBezTo>
                  <a:cubicBezTo>
                    <a:pt x="21" y="61"/>
                    <a:pt x="19" y="59"/>
                    <a:pt x="17" y="56"/>
                  </a:cubicBezTo>
                  <a:cubicBezTo>
                    <a:pt x="17" y="55"/>
                    <a:pt x="15" y="55"/>
                    <a:pt x="14" y="55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" y="47"/>
                    <a:pt x="12" y="46"/>
                    <a:pt x="12" y="44"/>
                  </a:cubicBezTo>
                  <a:cubicBezTo>
                    <a:pt x="12" y="41"/>
                    <a:pt x="12" y="38"/>
                    <a:pt x="12" y="35"/>
                  </a:cubicBezTo>
                  <a:cubicBezTo>
                    <a:pt x="12" y="34"/>
                    <a:pt x="12" y="33"/>
                    <a:pt x="11" y="3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5"/>
                    <a:pt x="17" y="24"/>
                    <a:pt x="17" y="23"/>
                  </a:cubicBezTo>
                  <a:cubicBezTo>
                    <a:pt x="19" y="21"/>
                    <a:pt x="21" y="19"/>
                    <a:pt x="24" y="17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2"/>
                    <a:pt x="34" y="12"/>
                    <a:pt x="36" y="12"/>
                  </a:cubicBezTo>
                  <a:cubicBezTo>
                    <a:pt x="39" y="11"/>
                    <a:pt x="42" y="11"/>
                    <a:pt x="45" y="12"/>
                  </a:cubicBezTo>
                  <a:cubicBezTo>
                    <a:pt x="46" y="12"/>
                    <a:pt x="47" y="12"/>
                    <a:pt x="48" y="11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5" y="15"/>
                    <a:pt x="56" y="16"/>
                    <a:pt x="57" y="17"/>
                  </a:cubicBezTo>
                  <a:cubicBezTo>
                    <a:pt x="59" y="19"/>
                    <a:pt x="61" y="21"/>
                    <a:pt x="63" y="23"/>
                  </a:cubicBezTo>
                  <a:cubicBezTo>
                    <a:pt x="64" y="24"/>
                    <a:pt x="65" y="25"/>
                    <a:pt x="66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69" y="33"/>
                    <a:pt x="68" y="34"/>
                    <a:pt x="68" y="35"/>
                  </a:cubicBezTo>
                  <a:cubicBezTo>
                    <a:pt x="69" y="38"/>
                    <a:pt x="69" y="41"/>
                    <a:pt x="68" y="44"/>
                  </a:cubicBezTo>
                  <a:cubicBezTo>
                    <a:pt x="68" y="46"/>
                    <a:pt x="69" y="47"/>
                    <a:pt x="70" y="47"/>
                  </a:cubicBezTo>
                  <a:cubicBezTo>
                    <a:pt x="74" y="49"/>
                    <a:pt x="74" y="49"/>
                    <a:pt x="74" y="49"/>
                  </a:cubicBezTo>
                  <a:lnTo>
                    <a:pt x="71" y="57"/>
                  </a:lnTo>
                  <a:close/>
                  <a:moveTo>
                    <a:pt x="35" y="26"/>
                  </a:moveTo>
                  <a:cubicBezTo>
                    <a:pt x="27" y="29"/>
                    <a:pt x="23" y="38"/>
                    <a:pt x="26" y="46"/>
                  </a:cubicBezTo>
                  <a:cubicBezTo>
                    <a:pt x="29" y="51"/>
                    <a:pt x="34" y="55"/>
                    <a:pt x="40" y="55"/>
                  </a:cubicBezTo>
                  <a:cubicBezTo>
                    <a:pt x="42" y="55"/>
                    <a:pt x="44" y="54"/>
                    <a:pt x="46" y="54"/>
                  </a:cubicBezTo>
                  <a:cubicBezTo>
                    <a:pt x="54" y="50"/>
                    <a:pt x="57" y="42"/>
                    <a:pt x="54" y="34"/>
                  </a:cubicBezTo>
                  <a:cubicBezTo>
                    <a:pt x="51" y="27"/>
                    <a:pt x="42" y="23"/>
                    <a:pt x="35" y="26"/>
                  </a:cubicBezTo>
                  <a:moveTo>
                    <a:pt x="44" y="49"/>
                  </a:moveTo>
                  <a:cubicBezTo>
                    <a:pt x="39" y="51"/>
                    <a:pt x="33" y="49"/>
                    <a:pt x="31" y="44"/>
                  </a:cubicBezTo>
                  <a:cubicBezTo>
                    <a:pt x="29" y="39"/>
                    <a:pt x="31" y="33"/>
                    <a:pt x="36" y="31"/>
                  </a:cubicBezTo>
                  <a:cubicBezTo>
                    <a:pt x="38" y="30"/>
                    <a:pt x="39" y="30"/>
                    <a:pt x="40" y="30"/>
                  </a:cubicBezTo>
                  <a:cubicBezTo>
                    <a:pt x="44" y="30"/>
                    <a:pt x="48" y="32"/>
                    <a:pt x="49" y="36"/>
                  </a:cubicBezTo>
                  <a:cubicBezTo>
                    <a:pt x="51" y="41"/>
                    <a:pt x="49" y="47"/>
                    <a:pt x="44" y="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6">
              <a:extLst>
                <a:ext uri="{FF2B5EF4-FFF2-40B4-BE49-F238E27FC236}">
                  <a16:creationId xmlns:a16="http://schemas.microsoft.com/office/drawing/2014/main" id="{09741F44-8D41-4A67-9995-6133A7773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9" y="2787"/>
              <a:ext cx="120" cy="119"/>
            </a:xfrm>
            <a:custGeom>
              <a:avLst/>
              <a:gdLst>
                <a:gd name="T0" fmla="*/ 24 w 44"/>
                <a:gd name="T1" fmla="*/ 17 h 44"/>
                <a:gd name="T2" fmla="*/ 18 w 44"/>
                <a:gd name="T3" fmla="*/ 31 h 44"/>
                <a:gd name="T4" fmla="*/ 25 w 44"/>
                <a:gd name="T5" fmla="*/ 32 h 44"/>
                <a:gd name="T6" fmla="*/ 23 w 44"/>
                <a:gd name="T7" fmla="*/ 25 h 44"/>
                <a:gd name="T8" fmla="*/ 31 w 44"/>
                <a:gd name="T9" fmla="*/ 22 h 44"/>
                <a:gd name="T10" fmla="*/ 39 w 44"/>
                <a:gd name="T11" fmla="*/ 23 h 44"/>
                <a:gd name="T12" fmla="*/ 42 w 44"/>
                <a:gd name="T13" fmla="*/ 3 h 44"/>
                <a:gd name="T14" fmla="*/ 32 w 44"/>
                <a:gd name="T15" fmla="*/ 0 h 44"/>
                <a:gd name="T16" fmla="*/ 29 w 44"/>
                <a:gd name="T17" fmla="*/ 6 h 44"/>
                <a:gd name="T18" fmla="*/ 23 w 44"/>
                <a:gd name="T19" fmla="*/ 2 h 44"/>
                <a:gd name="T20" fmla="*/ 12 w 44"/>
                <a:gd name="T21" fmla="*/ 4 h 44"/>
                <a:gd name="T22" fmla="*/ 11 w 44"/>
                <a:gd name="T23" fmla="*/ 8 h 44"/>
                <a:gd name="T24" fmla="*/ 11 w 44"/>
                <a:gd name="T25" fmla="*/ 14 h 44"/>
                <a:gd name="T26" fmla="*/ 3 w 44"/>
                <a:gd name="T27" fmla="*/ 14 h 44"/>
                <a:gd name="T28" fmla="*/ 0 w 44"/>
                <a:gd name="T29" fmla="*/ 24 h 44"/>
                <a:gd name="T30" fmla="*/ 6 w 44"/>
                <a:gd name="T31" fmla="*/ 27 h 44"/>
                <a:gd name="T32" fmla="*/ 2 w 44"/>
                <a:gd name="T33" fmla="*/ 32 h 44"/>
                <a:gd name="T34" fmla="*/ 1 w 44"/>
                <a:gd name="T35" fmla="*/ 35 h 44"/>
                <a:gd name="T36" fmla="*/ 6 w 44"/>
                <a:gd name="T37" fmla="*/ 44 h 44"/>
                <a:gd name="T38" fmla="*/ 8 w 44"/>
                <a:gd name="T39" fmla="*/ 44 h 44"/>
                <a:gd name="T40" fmla="*/ 12 w 44"/>
                <a:gd name="T41" fmla="*/ 36 h 44"/>
                <a:gd name="T42" fmla="*/ 7 w 44"/>
                <a:gd name="T43" fmla="*/ 35 h 44"/>
                <a:gd name="T44" fmla="*/ 12 w 44"/>
                <a:gd name="T45" fmla="*/ 30 h 44"/>
                <a:gd name="T46" fmla="*/ 10 w 44"/>
                <a:gd name="T47" fmla="*/ 23 h 44"/>
                <a:gd name="T48" fmla="*/ 7 w 44"/>
                <a:gd name="T49" fmla="*/ 18 h 44"/>
                <a:gd name="T50" fmla="*/ 14 w 44"/>
                <a:gd name="T51" fmla="*/ 18 h 44"/>
                <a:gd name="T52" fmla="*/ 18 w 44"/>
                <a:gd name="T53" fmla="*/ 11 h 44"/>
                <a:gd name="T54" fmla="*/ 20 w 44"/>
                <a:gd name="T55" fmla="*/ 6 h 44"/>
                <a:gd name="T56" fmla="*/ 25 w 44"/>
                <a:gd name="T57" fmla="*/ 11 h 44"/>
                <a:gd name="T58" fmla="*/ 33 w 44"/>
                <a:gd name="T59" fmla="*/ 9 h 44"/>
                <a:gd name="T60" fmla="*/ 38 w 44"/>
                <a:gd name="T61" fmla="*/ 7 h 44"/>
                <a:gd name="T62" fmla="*/ 41 w 44"/>
                <a:gd name="T63" fmla="*/ 12 h 44"/>
                <a:gd name="T64" fmla="*/ 42 w 44"/>
                <a:gd name="T6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" h="44">
                  <a:moveTo>
                    <a:pt x="33" y="17"/>
                  </a:moveTo>
                  <a:cubicBezTo>
                    <a:pt x="30" y="16"/>
                    <a:pt x="27" y="16"/>
                    <a:pt x="24" y="17"/>
                  </a:cubicBezTo>
                  <a:cubicBezTo>
                    <a:pt x="21" y="18"/>
                    <a:pt x="19" y="20"/>
                    <a:pt x="18" y="23"/>
                  </a:cubicBezTo>
                  <a:cubicBezTo>
                    <a:pt x="17" y="26"/>
                    <a:pt x="17" y="28"/>
                    <a:pt x="18" y="31"/>
                  </a:cubicBezTo>
                  <a:cubicBezTo>
                    <a:pt x="19" y="33"/>
                    <a:pt x="21" y="35"/>
                    <a:pt x="23" y="36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4" y="31"/>
                    <a:pt x="23" y="30"/>
                    <a:pt x="23" y="29"/>
                  </a:cubicBezTo>
                  <a:cubicBezTo>
                    <a:pt x="22" y="28"/>
                    <a:pt x="22" y="26"/>
                    <a:pt x="23" y="25"/>
                  </a:cubicBezTo>
                  <a:cubicBezTo>
                    <a:pt x="23" y="23"/>
                    <a:pt x="25" y="22"/>
                    <a:pt x="26" y="22"/>
                  </a:cubicBezTo>
                  <a:cubicBezTo>
                    <a:pt x="28" y="21"/>
                    <a:pt x="29" y="21"/>
                    <a:pt x="31" y="22"/>
                  </a:cubicBezTo>
                  <a:cubicBezTo>
                    <a:pt x="32" y="22"/>
                    <a:pt x="33" y="23"/>
                    <a:pt x="34" y="25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0"/>
                    <a:pt x="36" y="18"/>
                    <a:pt x="33" y="17"/>
                  </a:cubicBezTo>
                  <a:moveTo>
                    <a:pt x="42" y="3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8" y="6"/>
                    <a:pt x="27" y="6"/>
                    <a:pt x="26" y="6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1" y="0"/>
                    <a:pt x="20" y="1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0" y="6"/>
                    <a:pt x="10" y="7"/>
                    <a:pt x="11" y="8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2" y="12"/>
                    <a:pt x="11" y="13"/>
                    <a:pt x="11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3" y="13"/>
                    <a:pt x="3" y="1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6" y="29"/>
                    <a:pt x="6" y="30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0" y="34"/>
                    <a:pt x="1" y="34"/>
                    <a:pt x="1" y="35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3"/>
                    <a:pt x="6" y="43"/>
                    <a:pt x="6" y="44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8" y="44"/>
                    <a:pt x="8" y="44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2" y="32"/>
                    <a:pt x="12" y="30"/>
                  </a:cubicBezTo>
                  <a:cubicBezTo>
                    <a:pt x="11" y="29"/>
                    <a:pt x="11" y="27"/>
                    <a:pt x="12" y="25"/>
                  </a:cubicBezTo>
                  <a:cubicBezTo>
                    <a:pt x="12" y="24"/>
                    <a:pt x="11" y="23"/>
                    <a:pt x="10" y="23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3" y="19"/>
                    <a:pt x="14" y="18"/>
                  </a:cubicBezTo>
                  <a:cubicBezTo>
                    <a:pt x="15" y="17"/>
                    <a:pt x="16" y="15"/>
                    <a:pt x="18" y="14"/>
                  </a:cubicBezTo>
                  <a:cubicBezTo>
                    <a:pt x="19" y="14"/>
                    <a:pt x="19" y="12"/>
                    <a:pt x="18" y="11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1"/>
                    <a:pt x="23" y="11"/>
                    <a:pt x="25" y="11"/>
                  </a:cubicBezTo>
                  <a:cubicBezTo>
                    <a:pt x="26" y="11"/>
                    <a:pt x="28" y="11"/>
                    <a:pt x="30" y="11"/>
                  </a:cubicBezTo>
                  <a:cubicBezTo>
                    <a:pt x="31" y="11"/>
                    <a:pt x="33" y="10"/>
                    <a:pt x="33" y="9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4"/>
                    <a:pt x="43" y="3"/>
                    <a:pt x="4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77">
              <a:extLst>
                <a:ext uri="{FF2B5EF4-FFF2-40B4-BE49-F238E27FC236}">
                  <a16:creationId xmlns:a16="http://schemas.microsoft.com/office/drawing/2014/main" id="{49B15855-4A2E-464B-9020-26DDEDA2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9" y="2906"/>
              <a:ext cx="153" cy="153"/>
            </a:xfrm>
            <a:custGeom>
              <a:avLst/>
              <a:gdLst>
                <a:gd name="T0" fmla="*/ 50 w 56"/>
                <a:gd name="T1" fmla="*/ 30 h 56"/>
                <a:gd name="T2" fmla="*/ 54 w 56"/>
                <a:gd name="T3" fmla="*/ 25 h 56"/>
                <a:gd name="T4" fmla="*/ 52 w 56"/>
                <a:gd name="T5" fmla="*/ 13 h 56"/>
                <a:gd name="T6" fmla="*/ 44 w 56"/>
                <a:gd name="T7" fmla="*/ 14 h 56"/>
                <a:gd name="T8" fmla="*/ 44 w 56"/>
                <a:gd name="T9" fmla="*/ 7 h 56"/>
                <a:gd name="T10" fmla="*/ 35 w 56"/>
                <a:gd name="T11" fmla="*/ 0 h 56"/>
                <a:gd name="T12" fmla="*/ 30 w 56"/>
                <a:gd name="T13" fmla="*/ 6 h 56"/>
                <a:gd name="T14" fmla="*/ 25 w 56"/>
                <a:gd name="T15" fmla="*/ 2 h 56"/>
                <a:gd name="T16" fmla="*/ 21 w 56"/>
                <a:gd name="T17" fmla="*/ 0 h 56"/>
                <a:gd name="T18" fmla="*/ 12 w 56"/>
                <a:gd name="T19" fmla="*/ 7 h 56"/>
                <a:gd name="T20" fmla="*/ 11 w 56"/>
                <a:gd name="T21" fmla="*/ 14 h 56"/>
                <a:gd name="T22" fmla="*/ 4 w 56"/>
                <a:gd name="T23" fmla="*/ 13 h 56"/>
                <a:gd name="T24" fmla="*/ 0 w 56"/>
                <a:gd name="T25" fmla="*/ 23 h 56"/>
                <a:gd name="T26" fmla="*/ 6 w 56"/>
                <a:gd name="T27" fmla="*/ 27 h 56"/>
                <a:gd name="T28" fmla="*/ 2 w 56"/>
                <a:gd name="T29" fmla="*/ 32 h 56"/>
                <a:gd name="T30" fmla="*/ 4 w 56"/>
                <a:gd name="T31" fmla="*/ 43 h 56"/>
                <a:gd name="T32" fmla="*/ 7 w 56"/>
                <a:gd name="T33" fmla="*/ 44 h 56"/>
                <a:gd name="T34" fmla="*/ 14 w 56"/>
                <a:gd name="T35" fmla="*/ 45 h 56"/>
                <a:gd name="T36" fmla="*/ 13 w 56"/>
                <a:gd name="T37" fmla="*/ 52 h 56"/>
                <a:gd name="T38" fmla="*/ 23 w 56"/>
                <a:gd name="T39" fmla="*/ 56 h 56"/>
                <a:gd name="T40" fmla="*/ 26 w 56"/>
                <a:gd name="T41" fmla="*/ 50 h 56"/>
                <a:gd name="T42" fmla="*/ 31 w 56"/>
                <a:gd name="T43" fmla="*/ 54 h 56"/>
                <a:gd name="T44" fmla="*/ 35 w 56"/>
                <a:gd name="T45" fmla="*/ 56 h 56"/>
                <a:gd name="T46" fmla="*/ 44 w 56"/>
                <a:gd name="T47" fmla="*/ 49 h 56"/>
                <a:gd name="T48" fmla="*/ 44 w 56"/>
                <a:gd name="T49" fmla="*/ 42 h 56"/>
                <a:gd name="T50" fmla="*/ 52 w 56"/>
                <a:gd name="T51" fmla="*/ 43 h 56"/>
                <a:gd name="T52" fmla="*/ 54 w 56"/>
                <a:gd name="T53" fmla="*/ 32 h 56"/>
                <a:gd name="T54" fmla="*/ 45 w 56"/>
                <a:gd name="T55" fmla="*/ 37 h 56"/>
                <a:gd name="T56" fmla="*/ 38 w 56"/>
                <a:gd name="T57" fmla="*/ 42 h 56"/>
                <a:gd name="T58" fmla="*/ 38 w 56"/>
                <a:gd name="T59" fmla="*/ 49 h 56"/>
                <a:gd name="T60" fmla="*/ 33 w 56"/>
                <a:gd name="T61" fmla="*/ 46 h 56"/>
                <a:gd name="T62" fmla="*/ 31 w 56"/>
                <a:gd name="T63" fmla="*/ 45 h 56"/>
                <a:gd name="T64" fmla="*/ 22 w 56"/>
                <a:gd name="T65" fmla="*/ 46 h 56"/>
                <a:gd name="T66" fmla="*/ 17 w 56"/>
                <a:gd name="T67" fmla="*/ 49 h 56"/>
                <a:gd name="T68" fmla="*/ 18 w 56"/>
                <a:gd name="T69" fmla="*/ 42 h 56"/>
                <a:gd name="T70" fmla="*/ 11 w 56"/>
                <a:gd name="T71" fmla="*/ 37 h 56"/>
                <a:gd name="T72" fmla="*/ 6 w 56"/>
                <a:gd name="T73" fmla="*/ 35 h 56"/>
                <a:gd name="T74" fmla="*/ 11 w 56"/>
                <a:gd name="T75" fmla="*/ 31 h 56"/>
                <a:gd name="T76" fmla="*/ 10 w 56"/>
                <a:gd name="T77" fmla="*/ 23 h 56"/>
                <a:gd name="T78" fmla="*/ 7 w 56"/>
                <a:gd name="T79" fmla="*/ 18 h 56"/>
                <a:gd name="T80" fmla="*/ 14 w 56"/>
                <a:gd name="T81" fmla="*/ 18 h 56"/>
                <a:gd name="T82" fmla="*/ 19 w 56"/>
                <a:gd name="T83" fmla="*/ 11 h 56"/>
                <a:gd name="T84" fmla="*/ 21 w 56"/>
                <a:gd name="T85" fmla="*/ 6 h 56"/>
                <a:gd name="T86" fmla="*/ 25 w 56"/>
                <a:gd name="T87" fmla="*/ 12 h 56"/>
                <a:gd name="T88" fmla="*/ 33 w 56"/>
                <a:gd name="T89" fmla="*/ 10 h 56"/>
                <a:gd name="T90" fmla="*/ 38 w 56"/>
                <a:gd name="T91" fmla="*/ 7 h 56"/>
                <a:gd name="T92" fmla="*/ 38 w 56"/>
                <a:gd name="T93" fmla="*/ 14 h 56"/>
                <a:gd name="T94" fmla="*/ 45 w 56"/>
                <a:gd name="T95" fmla="*/ 19 h 56"/>
                <a:gd name="T96" fmla="*/ 50 w 56"/>
                <a:gd name="T97" fmla="*/ 21 h 56"/>
                <a:gd name="T98" fmla="*/ 44 w 56"/>
                <a:gd name="T99" fmla="*/ 25 h 56"/>
                <a:gd name="T100" fmla="*/ 46 w 56"/>
                <a:gd name="T101" fmla="*/ 34 h 56"/>
                <a:gd name="T102" fmla="*/ 48 w 56"/>
                <a:gd name="T103" fmla="*/ 39 h 56"/>
                <a:gd name="T104" fmla="*/ 18 w 56"/>
                <a:gd name="T105" fmla="*/ 24 h 56"/>
                <a:gd name="T106" fmla="*/ 28 w 56"/>
                <a:gd name="T107" fmla="*/ 39 h 56"/>
                <a:gd name="T108" fmla="*/ 38 w 56"/>
                <a:gd name="T109" fmla="*/ 32 h 56"/>
                <a:gd name="T110" fmla="*/ 32 w 56"/>
                <a:gd name="T111" fmla="*/ 18 h 56"/>
                <a:gd name="T112" fmla="*/ 30 w 56"/>
                <a:gd name="T113" fmla="*/ 34 h 56"/>
                <a:gd name="T114" fmla="*/ 22 w 56"/>
                <a:gd name="T115" fmla="*/ 26 h 56"/>
                <a:gd name="T116" fmla="*/ 30 w 56"/>
                <a:gd name="T117" fmla="*/ 23 h 56"/>
                <a:gd name="T118" fmla="*/ 33 w 56"/>
                <a:gd name="T1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56">
                  <a:moveTo>
                    <a:pt x="54" y="32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29"/>
                    <a:pt x="50" y="28"/>
                    <a:pt x="50" y="27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5" y="24"/>
                    <a:pt x="56" y="23"/>
                    <a:pt x="56" y="21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2"/>
                    <a:pt x="50" y="11"/>
                    <a:pt x="49" y="12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3"/>
                    <a:pt x="43" y="12"/>
                    <a:pt x="42" y="12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6"/>
                    <a:pt x="44" y="4"/>
                    <a:pt x="43" y="4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2" y="0"/>
                    <a:pt x="31" y="2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7" y="6"/>
                    <a:pt x="26" y="6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1"/>
                    <a:pt x="24" y="1"/>
                    <a:pt x="23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1" y="6"/>
                    <a:pt x="12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1" y="14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1"/>
                    <a:pt x="4" y="12"/>
                    <a:pt x="4" y="1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1" y="24"/>
                    <a:pt x="1" y="24"/>
                    <a:pt x="2" y="25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8"/>
                    <a:pt x="6" y="29"/>
                    <a:pt x="6" y="30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2"/>
                    <a:pt x="0" y="34"/>
                    <a:pt x="0" y="35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4"/>
                    <a:pt x="4" y="44"/>
                    <a:pt x="5" y="44"/>
                  </a:cubicBezTo>
                  <a:cubicBezTo>
                    <a:pt x="6" y="45"/>
                    <a:pt x="6" y="45"/>
                    <a:pt x="7" y="44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3"/>
                    <a:pt x="13" y="44"/>
                    <a:pt x="14" y="45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1" y="50"/>
                    <a:pt x="12" y="52"/>
                    <a:pt x="13" y="52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4" y="56"/>
                    <a:pt x="24" y="55"/>
                    <a:pt x="25" y="54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7" y="50"/>
                    <a:pt x="28" y="50"/>
                    <a:pt x="30" y="50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2" y="55"/>
                    <a:pt x="33" y="56"/>
                    <a:pt x="34" y="56"/>
                  </a:cubicBezTo>
                  <a:cubicBezTo>
                    <a:pt x="34" y="56"/>
                    <a:pt x="34" y="56"/>
                    <a:pt x="35" y="56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2"/>
                    <a:pt x="45" y="50"/>
                    <a:pt x="44" y="49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3" y="44"/>
                    <a:pt x="44" y="43"/>
                    <a:pt x="44" y="42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50" y="45"/>
                    <a:pt x="52" y="44"/>
                    <a:pt x="52" y="43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6" y="34"/>
                    <a:pt x="55" y="32"/>
                    <a:pt x="54" y="32"/>
                  </a:cubicBezTo>
                  <a:moveTo>
                    <a:pt x="48" y="39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4" y="37"/>
                    <a:pt x="42" y="37"/>
                    <a:pt x="42" y="38"/>
                  </a:cubicBezTo>
                  <a:cubicBezTo>
                    <a:pt x="41" y="39"/>
                    <a:pt x="39" y="41"/>
                    <a:pt x="38" y="42"/>
                  </a:cubicBezTo>
                  <a:cubicBezTo>
                    <a:pt x="37" y="43"/>
                    <a:pt x="36" y="44"/>
                    <a:pt x="37" y="45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5"/>
                    <a:pt x="32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29" y="45"/>
                    <a:pt x="27" y="45"/>
                    <a:pt x="25" y="45"/>
                  </a:cubicBezTo>
                  <a:cubicBezTo>
                    <a:pt x="24" y="45"/>
                    <a:pt x="23" y="45"/>
                    <a:pt x="22" y="46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0" y="44"/>
                    <a:pt x="19" y="43"/>
                    <a:pt x="18" y="42"/>
                  </a:cubicBezTo>
                  <a:cubicBezTo>
                    <a:pt x="17" y="41"/>
                    <a:pt x="15" y="39"/>
                    <a:pt x="14" y="38"/>
                  </a:cubicBezTo>
                  <a:cubicBezTo>
                    <a:pt x="14" y="37"/>
                    <a:pt x="12" y="37"/>
                    <a:pt x="11" y="3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3"/>
                    <a:pt x="12" y="32"/>
                    <a:pt x="11" y="31"/>
                  </a:cubicBezTo>
                  <a:cubicBezTo>
                    <a:pt x="11" y="29"/>
                    <a:pt x="11" y="27"/>
                    <a:pt x="11" y="25"/>
                  </a:cubicBezTo>
                  <a:cubicBezTo>
                    <a:pt x="12" y="24"/>
                    <a:pt x="11" y="23"/>
                    <a:pt x="10" y="23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4" y="19"/>
                    <a:pt x="14" y="18"/>
                  </a:cubicBezTo>
                  <a:cubicBezTo>
                    <a:pt x="15" y="17"/>
                    <a:pt x="17" y="16"/>
                    <a:pt x="18" y="14"/>
                  </a:cubicBezTo>
                  <a:cubicBezTo>
                    <a:pt x="19" y="14"/>
                    <a:pt x="20" y="12"/>
                    <a:pt x="19" y="1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1"/>
                    <a:pt x="24" y="12"/>
                    <a:pt x="25" y="12"/>
                  </a:cubicBezTo>
                  <a:cubicBezTo>
                    <a:pt x="27" y="11"/>
                    <a:pt x="29" y="11"/>
                    <a:pt x="31" y="12"/>
                  </a:cubicBezTo>
                  <a:cubicBezTo>
                    <a:pt x="32" y="12"/>
                    <a:pt x="33" y="11"/>
                    <a:pt x="33" y="10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2"/>
                    <a:pt x="37" y="14"/>
                    <a:pt x="38" y="14"/>
                  </a:cubicBezTo>
                  <a:cubicBezTo>
                    <a:pt x="39" y="16"/>
                    <a:pt x="41" y="17"/>
                    <a:pt x="42" y="18"/>
                  </a:cubicBezTo>
                  <a:cubicBezTo>
                    <a:pt x="42" y="19"/>
                    <a:pt x="44" y="20"/>
                    <a:pt x="45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3"/>
                    <a:pt x="44" y="24"/>
                    <a:pt x="44" y="25"/>
                  </a:cubicBezTo>
                  <a:cubicBezTo>
                    <a:pt x="45" y="27"/>
                    <a:pt x="45" y="29"/>
                    <a:pt x="44" y="31"/>
                  </a:cubicBezTo>
                  <a:cubicBezTo>
                    <a:pt x="44" y="32"/>
                    <a:pt x="45" y="33"/>
                    <a:pt x="46" y="34"/>
                  </a:cubicBezTo>
                  <a:cubicBezTo>
                    <a:pt x="50" y="35"/>
                    <a:pt x="50" y="35"/>
                    <a:pt x="50" y="35"/>
                  </a:cubicBezTo>
                  <a:lnTo>
                    <a:pt x="48" y="39"/>
                  </a:lnTo>
                  <a:close/>
                  <a:moveTo>
                    <a:pt x="32" y="18"/>
                  </a:moveTo>
                  <a:cubicBezTo>
                    <a:pt x="27" y="16"/>
                    <a:pt x="20" y="18"/>
                    <a:pt x="18" y="24"/>
                  </a:cubicBezTo>
                  <a:cubicBezTo>
                    <a:pt x="15" y="30"/>
                    <a:pt x="18" y="36"/>
                    <a:pt x="24" y="38"/>
                  </a:cubicBezTo>
                  <a:cubicBezTo>
                    <a:pt x="25" y="39"/>
                    <a:pt x="27" y="39"/>
                    <a:pt x="28" y="39"/>
                  </a:cubicBezTo>
                  <a:cubicBezTo>
                    <a:pt x="29" y="39"/>
                    <a:pt x="31" y="39"/>
                    <a:pt x="32" y="38"/>
                  </a:cubicBezTo>
                  <a:cubicBezTo>
                    <a:pt x="35" y="37"/>
                    <a:pt x="37" y="35"/>
                    <a:pt x="38" y="32"/>
                  </a:cubicBezTo>
                  <a:cubicBezTo>
                    <a:pt x="39" y="30"/>
                    <a:pt x="39" y="27"/>
                    <a:pt x="38" y="24"/>
                  </a:cubicBezTo>
                  <a:cubicBezTo>
                    <a:pt x="37" y="21"/>
                    <a:pt x="35" y="19"/>
                    <a:pt x="32" y="18"/>
                  </a:cubicBezTo>
                  <a:moveTo>
                    <a:pt x="33" y="30"/>
                  </a:moveTo>
                  <a:cubicBezTo>
                    <a:pt x="33" y="32"/>
                    <a:pt x="32" y="33"/>
                    <a:pt x="30" y="34"/>
                  </a:cubicBezTo>
                  <a:cubicBezTo>
                    <a:pt x="29" y="34"/>
                    <a:pt x="27" y="34"/>
                    <a:pt x="26" y="34"/>
                  </a:cubicBezTo>
                  <a:cubicBezTo>
                    <a:pt x="23" y="32"/>
                    <a:pt x="21" y="29"/>
                    <a:pt x="22" y="26"/>
                  </a:cubicBezTo>
                  <a:cubicBezTo>
                    <a:pt x="23" y="24"/>
                    <a:pt x="26" y="22"/>
                    <a:pt x="28" y="22"/>
                  </a:cubicBezTo>
                  <a:cubicBezTo>
                    <a:pt x="29" y="22"/>
                    <a:pt x="29" y="22"/>
                    <a:pt x="30" y="23"/>
                  </a:cubicBezTo>
                  <a:cubicBezTo>
                    <a:pt x="32" y="23"/>
                    <a:pt x="33" y="24"/>
                    <a:pt x="33" y="26"/>
                  </a:cubicBezTo>
                  <a:cubicBezTo>
                    <a:pt x="34" y="27"/>
                    <a:pt x="34" y="29"/>
                    <a:pt x="33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1" name="Group 180">
            <a:extLst>
              <a:ext uri="{FF2B5EF4-FFF2-40B4-BE49-F238E27FC236}">
                <a16:creationId xmlns:a16="http://schemas.microsoft.com/office/drawing/2014/main" id="{0ACBF096-526C-4B97-BFC4-B49261ECBB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0084" y="4168980"/>
            <a:ext cx="758825" cy="758825"/>
            <a:chOff x="3652" y="2796"/>
            <a:chExt cx="478" cy="478"/>
          </a:xfrm>
        </p:grpSpPr>
        <p:sp>
          <p:nvSpPr>
            <p:cNvPr id="212" name="AutoShape 179">
              <a:extLst>
                <a:ext uri="{FF2B5EF4-FFF2-40B4-BE49-F238E27FC236}">
                  <a16:creationId xmlns:a16="http://schemas.microsoft.com/office/drawing/2014/main" id="{055673F1-57D2-4877-AA51-1F4319D908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2" y="279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81">
              <a:extLst>
                <a:ext uri="{FF2B5EF4-FFF2-40B4-BE49-F238E27FC236}">
                  <a16:creationId xmlns:a16="http://schemas.microsoft.com/office/drawing/2014/main" id="{83E57381-0EBA-4D1C-8AA9-734F3E09F8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4" y="2798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82">
              <a:extLst>
                <a:ext uri="{FF2B5EF4-FFF2-40B4-BE49-F238E27FC236}">
                  <a16:creationId xmlns:a16="http://schemas.microsoft.com/office/drawing/2014/main" id="{87AE6898-4B5E-4900-A684-4F22A5B71F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5" y="2874"/>
              <a:ext cx="314" cy="322"/>
            </a:xfrm>
            <a:custGeom>
              <a:avLst/>
              <a:gdLst>
                <a:gd name="T0" fmla="*/ 117 w 128"/>
                <a:gd name="T1" fmla="*/ 70 h 131"/>
                <a:gd name="T2" fmla="*/ 108 w 128"/>
                <a:gd name="T3" fmla="*/ 53 h 131"/>
                <a:gd name="T4" fmla="*/ 95 w 128"/>
                <a:gd name="T5" fmla="*/ 47 h 131"/>
                <a:gd name="T6" fmla="*/ 76 w 128"/>
                <a:gd name="T7" fmla="*/ 53 h 131"/>
                <a:gd name="T8" fmla="*/ 54 w 128"/>
                <a:gd name="T9" fmla="*/ 60 h 131"/>
                <a:gd name="T10" fmla="*/ 51 w 128"/>
                <a:gd name="T11" fmla="*/ 76 h 131"/>
                <a:gd name="T12" fmla="*/ 53 w 128"/>
                <a:gd name="T13" fmla="*/ 96 h 131"/>
                <a:gd name="T14" fmla="*/ 57 w 128"/>
                <a:gd name="T15" fmla="*/ 115 h 131"/>
                <a:gd name="T16" fmla="*/ 76 w 128"/>
                <a:gd name="T17" fmla="*/ 119 h 131"/>
                <a:gd name="T18" fmla="*/ 96 w 128"/>
                <a:gd name="T19" fmla="*/ 121 h 131"/>
                <a:gd name="T20" fmla="*/ 109 w 128"/>
                <a:gd name="T21" fmla="*/ 119 h 131"/>
                <a:gd name="T22" fmla="*/ 117 w 128"/>
                <a:gd name="T23" fmla="*/ 102 h 131"/>
                <a:gd name="T24" fmla="*/ 128 w 128"/>
                <a:gd name="T25" fmla="*/ 81 h 131"/>
                <a:gd name="T26" fmla="*/ 112 w 128"/>
                <a:gd name="T27" fmla="*/ 101 h 131"/>
                <a:gd name="T28" fmla="*/ 104 w 128"/>
                <a:gd name="T29" fmla="*/ 111 h 131"/>
                <a:gd name="T30" fmla="*/ 90 w 128"/>
                <a:gd name="T31" fmla="*/ 121 h 131"/>
                <a:gd name="T32" fmla="*/ 73 w 128"/>
                <a:gd name="T33" fmla="*/ 111 h 131"/>
                <a:gd name="T34" fmla="*/ 60 w 128"/>
                <a:gd name="T35" fmla="*/ 106 h 131"/>
                <a:gd name="T36" fmla="*/ 53 w 128"/>
                <a:gd name="T37" fmla="*/ 90 h 131"/>
                <a:gd name="T38" fmla="*/ 59 w 128"/>
                <a:gd name="T39" fmla="*/ 77 h 131"/>
                <a:gd name="T40" fmla="*/ 63 w 128"/>
                <a:gd name="T41" fmla="*/ 58 h 131"/>
                <a:gd name="T42" fmla="*/ 81 w 128"/>
                <a:gd name="T43" fmla="*/ 55 h 131"/>
                <a:gd name="T44" fmla="*/ 94 w 128"/>
                <a:gd name="T45" fmla="*/ 57 h 131"/>
                <a:gd name="T46" fmla="*/ 112 w 128"/>
                <a:gd name="T47" fmla="*/ 60 h 131"/>
                <a:gd name="T48" fmla="*/ 115 w 128"/>
                <a:gd name="T49" fmla="*/ 78 h 131"/>
                <a:gd name="T50" fmla="*/ 68 w 128"/>
                <a:gd name="T51" fmla="*/ 86 h 131"/>
                <a:gd name="T52" fmla="*/ 102 w 128"/>
                <a:gd name="T53" fmla="*/ 86 h 131"/>
                <a:gd name="T54" fmla="*/ 51 w 128"/>
                <a:gd name="T55" fmla="*/ 131 h 131"/>
                <a:gd name="T56" fmla="*/ 42 w 128"/>
                <a:gd name="T57" fmla="*/ 64 h 131"/>
                <a:gd name="T58" fmla="*/ 53 w 128"/>
                <a:gd name="T59" fmla="*/ 53 h 131"/>
                <a:gd name="T60" fmla="*/ 52 w 128"/>
                <a:gd name="T61" fmla="*/ 37 h 131"/>
                <a:gd name="T62" fmla="*/ 46 w 128"/>
                <a:gd name="T63" fmla="*/ 23 h 131"/>
                <a:gd name="T64" fmla="*/ 32 w 128"/>
                <a:gd name="T65" fmla="*/ 13 h 131"/>
                <a:gd name="T66" fmla="*/ 17 w 128"/>
                <a:gd name="T67" fmla="*/ 13 h 131"/>
                <a:gd name="T68" fmla="*/ 6 w 128"/>
                <a:gd name="T69" fmla="*/ 23 h 131"/>
                <a:gd name="T70" fmla="*/ 4 w 128"/>
                <a:gd name="T71" fmla="*/ 41 h 131"/>
                <a:gd name="T72" fmla="*/ 9 w 128"/>
                <a:gd name="T73" fmla="*/ 55 h 131"/>
                <a:gd name="T74" fmla="*/ 20 w 128"/>
                <a:gd name="T75" fmla="*/ 67 h 131"/>
                <a:gd name="T76" fmla="*/ 26 w 128"/>
                <a:gd name="T77" fmla="*/ 58 h 131"/>
                <a:gd name="T78" fmla="*/ 17 w 128"/>
                <a:gd name="T79" fmla="*/ 59 h 131"/>
                <a:gd name="T80" fmla="*/ 9 w 128"/>
                <a:gd name="T81" fmla="*/ 50 h 131"/>
                <a:gd name="T82" fmla="*/ 9 w 128"/>
                <a:gd name="T83" fmla="*/ 41 h 131"/>
                <a:gd name="T84" fmla="*/ 7 w 128"/>
                <a:gd name="T85" fmla="*/ 29 h 131"/>
                <a:gd name="T86" fmla="*/ 17 w 128"/>
                <a:gd name="T87" fmla="*/ 21 h 131"/>
                <a:gd name="T88" fmla="*/ 26 w 128"/>
                <a:gd name="T89" fmla="*/ 21 h 131"/>
                <a:gd name="T90" fmla="*/ 37 w 128"/>
                <a:gd name="T91" fmla="*/ 18 h 131"/>
                <a:gd name="T92" fmla="*/ 43 w 128"/>
                <a:gd name="T93" fmla="*/ 28 h 131"/>
                <a:gd name="T94" fmla="*/ 48 w 128"/>
                <a:gd name="T95" fmla="*/ 34 h 131"/>
                <a:gd name="T96" fmla="*/ 50 w 128"/>
                <a:gd name="T97" fmla="*/ 47 h 131"/>
                <a:gd name="T98" fmla="*/ 39 w 128"/>
                <a:gd name="T99" fmla="*/ 54 h 131"/>
                <a:gd name="T100" fmla="*/ 34 w 128"/>
                <a:gd name="T101" fmla="*/ 60 h 131"/>
                <a:gd name="T102" fmla="*/ 33 w 128"/>
                <a:gd name="T103" fmla="*/ 27 h 131"/>
                <a:gd name="T104" fmla="*/ 28 w 128"/>
                <a:gd name="T105" fmla="*/ 49 h 131"/>
                <a:gd name="T106" fmla="*/ 37 w 128"/>
                <a:gd name="T107" fmla="*/ 43 h 131"/>
                <a:gd name="T108" fmla="*/ 53 w 128"/>
                <a:gd name="T109" fmla="*/ 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8" h="131">
                  <a:moveTo>
                    <a:pt x="128" y="81"/>
                  </a:moveTo>
                  <a:cubicBezTo>
                    <a:pt x="127" y="79"/>
                    <a:pt x="126" y="78"/>
                    <a:pt x="125" y="77"/>
                  </a:cubicBezTo>
                  <a:cubicBezTo>
                    <a:pt x="124" y="77"/>
                    <a:pt x="122" y="76"/>
                    <a:pt x="121" y="76"/>
                  </a:cubicBezTo>
                  <a:cubicBezTo>
                    <a:pt x="121" y="76"/>
                    <a:pt x="120" y="75"/>
                    <a:pt x="119" y="75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19" y="73"/>
                    <a:pt x="118" y="71"/>
                    <a:pt x="117" y="70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69"/>
                    <a:pt x="118" y="68"/>
                    <a:pt x="118" y="68"/>
                  </a:cubicBezTo>
                  <a:cubicBezTo>
                    <a:pt x="118" y="67"/>
                    <a:pt x="119" y="65"/>
                    <a:pt x="119" y="64"/>
                  </a:cubicBezTo>
                  <a:cubicBezTo>
                    <a:pt x="120" y="63"/>
                    <a:pt x="120" y="61"/>
                    <a:pt x="119" y="60"/>
                  </a:cubicBezTo>
                  <a:cubicBezTo>
                    <a:pt x="118" y="59"/>
                    <a:pt x="117" y="58"/>
                    <a:pt x="116" y="56"/>
                  </a:cubicBezTo>
                  <a:cubicBezTo>
                    <a:pt x="114" y="55"/>
                    <a:pt x="113" y="54"/>
                    <a:pt x="112" y="53"/>
                  </a:cubicBezTo>
                  <a:cubicBezTo>
                    <a:pt x="111" y="52"/>
                    <a:pt x="110" y="52"/>
                    <a:pt x="109" y="52"/>
                  </a:cubicBezTo>
                  <a:cubicBezTo>
                    <a:pt x="109" y="52"/>
                    <a:pt x="108" y="52"/>
                    <a:pt x="108" y="53"/>
                  </a:cubicBezTo>
                  <a:cubicBezTo>
                    <a:pt x="107" y="53"/>
                    <a:pt x="105" y="54"/>
                    <a:pt x="104" y="54"/>
                  </a:cubicBezTo>
                  <a:cubicBezTo>
                    <a:pt x="103" y="54"/>
                    <a:pt x="103" y="55"/>
                    <a:pt x="102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0" y="54"/>
                    <a:pt x="99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2"/>
                    <a:pt x="96" y="51"/>
                    <a:pt x="96" y="51"/>
                  </a:cubicBezTo>
                  <a:cubicBezTo>
                    <a:pt x="96" y="50"/>
                    <a:pt x="95" y="48"/>
                    <a:pt x="95" y="47"/>
                  </a:cubicBezTo>
                  <a:cubicBezTo>
                    <a:pt x="94" y="46"/>
                    <a:pt x="93" y="45"/>
                    <a:pt x="91" y="44"/>
                  </a:cubicBezTo>
                  <a:cubicBezTo>
                    <a:pt x="90" y="44"/>
                    <a:pt x="89" y="44"/>
                    <a:pt x="86" y="44"/>
                  </a:cubicBezTo>
                  <a:cubicBezTo>
                    <a:pt x="84" y="44"/>
                    <a:pt x="83" y="44"/>
                    <a:pt x="81" y="44"/>
                  </a:cubicBezTo>
                  <a:cubicBezTo>
                    <a:pt x="80" y="45"/>
                    <a:pt x="79" y="46"/>
                    <a:pt x="78" y="47"/>
                  </a:cubicBezTo>
                  <a:cubicBezTo>
                    <a:pt x="78" y="48"/>
                    <a:pt x="77" y="50"/>
                    <a:pt x="77" y="51"/>
                  </a:cubicBezTo>
                  <a:cubicBezTo>
                    <a:pt x="76" y="51"/>
                    <a:pt x="76" y="52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4" y="53"/>
                    <a:pt x="72" y="54"/>
                    <a:pt x="71" y="55"/>
                  </a:cubicBezTo>
                  <a:cubicBezTo>
                    <a:pt x="71" y="55"/>
                    <a:pt x="70" y="55"/>
                    <a:pt x="70" y="55"/>
                  </a:cubicBezTo>
                  <a:cubicBezTo>
                    <a:pt x="70" y="55"/>
                    <a:pt x="69" y="54"/>
                    <a:pt x="68" y="54"/>
                  </a:cubicBezTo>
                  <a:cubicBezTo>
                    <a:pt x="67" y="54"/>
                    <a:pt x="66" y="53"/>
                    <a:pt x="65" y="53"/>
                  </a:cubicBezTo>
                  <a:cubicBezTo>
                    <a:pt x="63" y="52"/>
                    <a:pt x="62" y="52"/>
                    <a:pt x="61" y="53"/>
                  </a:cubicBezTo>
                  <a:cubicBezTo>
                    <a:pt x="60" y="54"/>
                    <a:pt x="58" y="55"/>
                    <a:pt x="57" y="56"/>
                  </a:cubicBezTo>
                  <a:cubicBezTo>
                    <a:pt x="55" y="58"/>
                    <a:pt x="55" y="59"/>
                    <a:pt x="54" y="60"/>
                  </a:cubicBezTo>
                  <a:cubicBezTo>
                    <a:pt x="53" y="61"/>
                    <a:pt x="53" y="63"/>
                    <a:pt x="53" y="64"/>
                  </a:cubicBezTo>
                  <a:cubicBezTo>
                    <a:pt x="54" y="65"/>
                    <a:pt x="54" y="67"/>
                    <a:pt x="55" y="68"/>
                  </a:cubicBezTo>
                  <a:cubicBezTo>
                    <a:pt x="55" y="68"/>
                    <a:pt x="55" y="69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5" y="72"/>
                    <a:pt x="54" y="73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2" y="76"/>
                    <a:pt x="51" y="76"/>
                  </a:cubicBezTo>
                  <a:cubicBezTo>
                    <a:pt x="50" y="76"/>
                    <a:pt x="49" y="77"/>
                    <a:pt x="48" y="77"/>
                  </a:cubicBezTo>
                  <a:cubicBezTo>
                    <a:pt x="46" y="78"/>
                    <a:pt x="45" y="79"/>
                    <a:pt x="45" y="81"/>
                  </a:cubicBezTo>
                  <a:cubicBezTo>
                    <a:pt x="45" y="82"/>
                    <a:pt x="45" y="83"/>
                    <a:pt x="45" y="86"/>
                  </a:cubicBezTo>
                  <a:cubicBezTo>
                    <a:pt x="45" y="88"/>
                    <a:pt x="45" y="89"/>
                    <a:pt x="45" y="91"/>
                  </a:cubicBezTo>
                  <a:cubicBezTo>
                    <a:pt x="45" y="92"/>
                    <a:pt x="46" y="93"/>
                    <a:pt x="48" y="94"/>
                  </a:cubicBezTo>
                  <a:cubicBezTo>
                    <a:pt x="49" y="94"/>
                    <a:pt x="50" y="95"/>
                    <a:pt x="51" y="95"/>
                  </a:cubicBezTo>
                  <a:cubicBezTo>
                    <a:pt x="52" y="96"/>
                    <a:pt x="53" y="96"/>
                    <a:pt x="53" y="96"/>
                  </a:cubicBezTo>
                  <a:cubicBezTo>
                    <a:pt x="53" y="96"/>
                    <a:pt x="54" y="96"/>
                    <a:pt x="54" y="96"/>
                  </a:cubicBezTo>
                  <a:cubicBezTo>
                    <a:pt x="54" y="98"/>
                    <a:pt x="55" y="100"/>
                    <a:pt x="56" y="101"/>
                  </a:cubicBezTo>
                  <a:cubicBezTo>
                    <a:pt x="56" y="101"/>
                    <a:pt x="56" y="101"/>
                    <a:pt x="56" y="102"/>
                  </a:cubicBezTo>
                  <a:cubicBezTo>
                    <a:pt x="55" y="102"/>
                    <a:pt x="55" y="103"/>
                    <a:pt x="55" y="103"/>
                  </a:cubicBezTo>
                  <a:cubicBezTo>
                    <a:pt x="54" y="105"/>
                    <a:pt x="54" y="106"/>
                    <a:pt x="53" y="107"/>
                  </a:cubicBezTo>
                  <a:cubicBezTo>
                    <a:pt x="53" y="108"/>
                    <a:pt x="53" y="110"/>
                    <a:pt x="54" y="111"/>
                  </a:cubicBezTo>
                  <a:cubicBezTo>
                    <a:pt x="55" y="113"/>
                    <a:pt x="55" y="113"/>
                    <a:pt x="57" y="115"/>
                  </a:cubicBezTo>
                  <a:cubicBezTo>
                    <a:pt x="58" y="117"/>
                    <a:pt x="60" y="117"/>
                    <a:pt x="61" y="118"/>
                  </a:cubicBezTo>
                  <a:cubicBezTo>
                    <a:pt x="62" y="119"/>
                    <a:pt x="63" y="119"/>
                    <a:pt x="65" y="119"/>
                  </a:cubicBezTo>
                  <a:cubicBezTo>
                    <a:pt x="66" y="118"/>
                    <a:pt x="67" y="118"/>
                    <a:pt x="68" y="117"/>
                  </a:cubicBezTo>
                  <a:cubicBezTo>
                    <a:pt x="69" y="117"/>
                    <a:pt x="70" y="116"/>
                    <a:pt x="70" y="116"/>
                  </a:cubicBezTo>
                  <a:cubicBezTo>
                    <a:pt x="70" y="116"/>
                    <a:pt x="71" y="116"/>
                    <a:pt x="71" y="116"/>
                  </a:cubicBezTo>
                  <a:cubicBezTo>
                    <a:pt x="72" y="117"/>
                    <a:pt x="74" y="118"/>
                    <a:pt x="76" y="118"/>
                  </a:cubicBezTo>
                  <a:cubicBezTo>
                    <a:pt x="76" y="118"/>
                    <a:pt x="76" y="119"/>
                    <a:pt x="76" y="119"/>
                  </a:cubicBezTo>
                  <a:cubicBezTo>
                    <a:pt x="76" y="119"/>
                    <a:pt x="76" y="120"/>
                    <a:pt x="77" y="121"/>
                  </a:cubicBezTo>
                  <a:cubicBezTo>
                    <a:pt x="77" y="122"/>
                    <a:pt x="78" y="123"/>
                    <a:pt x="78" y="124"/>
                  </a:cubicBezTo>
                  <a:cubicBezTo>
                    <a:pt x="79" y="126"/>
                    <a:pt x="80" y="126"/>
                    <a:pt x="81" y="127"/>
                  </a:cubicBezTo>
                  <a:cubicBezTo>
                    <a:pt x="83" y="127"/>
                    <a:pt x="84" y="127"/>
                    <a:pt x="86" y="127"/>
                  </a:cubicBezTo>
                  <a:cubicBezTo>
                    <a:pt x="89" y="127"/>
                    <a:pt x="90" y="127"/>
                    <a:pt x="91" y="127"/>
                  </a:cubicBezTo>
                  <a:cubicBezTo>
                    <a:pt x="93" y="126"/>
                    <a:pt x="94" y="126"/>
                    <a:pt x="95" y="124"/>
                  </a:cubicBezTo>
                  <a:cubicBezTo>
                    <a:pt x="95" y="123"/>
                    <a:pt x="96" y="122"/>
                    <a:pt x="96" y="121"/>
                  </a:cubicBezTo>
                  <a:cubicBezTo>
                    <a:pt x="96" y="120"/>
                    <a:pt x="97" y="119"/>
                    <a:pt x="97" y="119"/>
                  </a:cubicBezTo>
                  <a:cubicBezTo>
                    <a:pt x="97" y="119"/>
                    <a:pt x="97" y="119"/>
                    <a:pt x="97" y="118"/>
                  </a:cubicBezTo>
                  <a:cubicBezTo>
                    <a:pt x="99" y="118"/>
                    <a:pt x="100" y="117"/>
                    <a:pt x="102" y="116"/>
                  </a:cubicBezTo>
                  <a:cubicBezTo>
                    <a:pt x="102" y="116"/>
                    <a:pt x="102" y="116"/>
                    <a:pt x="102" y="116"/>
                  </a:cubicBezTo>
                  <a:cubicBezTo>
                    <a:pt x="103" y="116"/>
                    <a:pt x="103" y="117"/>
                    <a:pt x="104" y="117"/>
                  </a:cubicBezTo>
                  <a:cubicBezTo>
                    <a:pt x="105" y="118"/>
                    <a:pt x="107" y="118"/>
                    <a:pt x="108" y="119"/>
                  </a:cubicBezTo>
                  <a:cubicBezTo>
                    <a:pt x="108" y="119"/>
                    <a:pt x="109" y="119"/>
                    <a:pt x="109" y="119"/>
                  </a:cubicBezTo>
                  <a:cubicBezTo>
                    <a:pt x="110" y="119"/>
                    <a:pt x="111" y="119"/>
                    <a:pt x="112" y="118"/>
                  </a:cubicBezTo>
                  <a:cubicBezTo>
                    <a:pt x="113" y="117"/>
                    <a:pt x="114" y="117"/>
                    <a:pt x="116" y="115"/>
                  </a:cubicBezTo>
                  <a:cubicBezTo>
                    <a:pt x="117" y="113"/>
                    <a:pt x="118" y="112"/>
                    <a:pt x="119" y="111"/>
                  </a:cubicBezTo>
                  <a:cubicBezTo>
                    <a:pt x="120" y="110"/>
                    <a:pt x="120" y="108"/>
                    <a:pt x="119" y="107"/>
                  </a:cubicBezTo>
                  <a:cubicBezTo>
                    <a:pt x="119" y="106"/>
                    <a:pt x="118" y="105"/>
                    <a:pt x="118" y="103"/>
                  </a:cubicBezTo>
                  <a:cubicBezTo>
                    <a:pt x="118" y="103"/>
                    <a:pt x="117" y="102"/>
                    <a:pt x="117" y="102"/>
                  </a:cubicBezTo>
                  <a:cubicBezTo>
                    <a:pt x="117" y="102"/>
                    <a:pt x="117" y="102"/>
                    <a:pt x="117" y="102"/>
                  </a:cubicBezTo>
                  <a:cubicBezTo>
                    <a:pt x="118" y="100"/>
                    <a:pt x="119" y="98"/>
                    <a:pt x="119" y="96"/>
                  </a:cubicBezTo>
                  <a:cubicBezTo>
                    <a:pt x="119" y="96"/>
                    <a:pt x="119" y="96"/>
                    <a:pt x="119" y="96"/>
                  </a:cubicBezTo>
                  <a:cubicBezTo>
                    <a:pt x="120" y="96"/>
                    <a:pt x="121" y="96"/>
                    <a:pt x="121" y="95"/>
                  </a:cubicBezTo>
                  <a:cubicBezTo>
                    <a:pt x="122" y="95"/>
                    <a:pt x="124" y="94"/>
                    <a:pt x="125" y="94"/>
                  </a:cubicBezTo>
                  <a:cubicBezTo>
                    <a:pt x="126" y="93"/>
                    <a:pt x="127" y="92"/>
                    <a:pt x="128" y="91"/>
                  </a:cubicBezTo>
                  <a:cubicBezTo>
                    <a:pt x="128" y="89"/>
                    <a:pt x="128" y="88"/>
                    <a:pt x="128" y="86"/>
                  </a:cubicBezTo>
                  <a:cubicBezTo>
                    <a:pt x="128" y="83"/>
                    <a:pt x="128" y="82"/>
                    <a:pt x="128" y="81"/>
                  </a:cubicBezTo>
                  <a:moveTo>
                    <a:pt x="122" y="89"/>
                  </a:moveTo>
                  <a:cubicBezTo>
                    <a:pt x="121" y="89"/>
                    <a:pt x="120" y="90"/>
                    <a:pt x="119" y="90"/>
                  </a:cubicBezTo>
                  <a:cubicBezTo>
                    <a:pt x="118" y="90"/>
                    <a:pt x="118" y="91"/>
                    <a:pt x="117" y="91"/>
                  </a:cubicBezTo>
                  <a:cubicBezTo>
                    <a:pt x="116" y="91"/>
                    <a:pt x="115" y="92"/>
                    <a:pt x="115" y="93"/>
                  </a:cubicBezTo>
                  <a:cubicBezTo>
                    <a:pt x="115" y="93"/>
                    <a:pt x="114" y="94"/>
                    <a:pt x="114" y="94"/>
                  </a:cubicBezTo>
                  <a:cubicBezTo>
                    <a:pt x="114" y="96"/>
                    <a:pt x="113" y="98"/>
                    <a:pt x="112" y="100"/>
                  </a:cubicBezTo>
                  <a:cubicBezTo>
                    <a:pt x="112" y="100"/>
                    <a:pt x="112" y="100"/>
                    <a:pt x="112" y="101"/>
                  </a:cubicBezTo>
                  <a:cubicBezTo>
                    <a:pt x="111" y="102"/>
                    <a:pt x="112" y="103"/>
                    <a:pt x="112" y="104"/>
                  </a:cubicBezTo>
                  <a:cubicBezTo>
                    <a:pt x="112" y="104"/>
                    <a:pt x="112" y="105"/>
                    <a:pt x="113" y="106"/>
                  </a:cubicBezTo>
                  <a:cubicBezTo>
                    <a:pt x="113" y="107"/>
                    <a:pt x="114" y="108"/>
                    <a:pt x="114" y="109"/>
                  </a:cubicBezTo>
                  <a:cubicBezTo>
                    <a:pt x="114" y="109"/>
                    <a:pt x="113" y="110"/>
                    <a:pt x="112" y="111"/>
                  </a:cubicBezTo>
                  <a:cubicBezTo>
                    <a:pt x="111" y="112"/>
                    <a:pt x="110" y="113"/>
                    <a:pt x="109" y="113"/>
                  </a:cubicBezTo>
                  <a:cubicBezTo>
                    <a:pt x="108" y="113"/>
                    <a:pt x="107" y="113"/>
                    <a:pt x="106" y="112"/>
                  </a:cubicBezTo>
                  <a:cubicBezTo>
                    <a:pt x="106" y="112"/>
                    <a:pt x="105" y="111"/>
                    <a:pt x="104" y="111"/>
                  </a:cubicBezTo>
                  <a:cubicBezTo>
                    <a:pt x="103" y="111"/>
                    <a:pt x="102" y="111"/>
                    <a:pt x="101" y="111"/>
                  </a:cubicBezTo>
                  <a:cubicBezTo>
                    <a:pt x="101" y="111"/>
                    <a:pt x="100" y="111"/>
                    <a:pt x="100" y="111"/>
                  </a:cubicBezTo>
                  <a:cubicBezTo>
                    <a:pt x="98" y="112"/>
                    <a:pt x="97" y="113"/>
                    <a:pt x="95" y="113"/>
                  </a:cubicBezTo>
                  <a:cubicBezTo>
                    <a:pt x="94" y="114"/>
                    <a:pt x="94" y="114"/>
                    <a:pt x="94" y="114"/>
                  </a:cubicBezTo>
                  <a:cubicBezTo>
                    <a:pt x="93" y="115"/>
                    <a:pt x="92" y="115"/>
                    <a:pt x="92" y="117"/>
                  </a:cubicBezTo>
                  <a:cubicBezTo>
                    <a:pt x="91" y="117"/>
                    <a:pt x="91" y="118"/>
                    <a:pt x="91" y="119"/>
                  </a:cubicBezTo>
                  <a:cubicBezTo>
                    <a:pt x="91" y="119"/>
                    <a:pt x="90" y="121"/>
                    <a:pt x="90" y="121"/>
                  </a:cubicBezTo>
                  <a:cubicBezTo>
                    <a:pt x="89" y="122"/>
                    <a:pt x="88" y="122"/>
                    <a:pt x="86" y="122"/>
                  </a:cubicBezTo>
                  <a:cubicBezTo>
                    <a:pt x="85" y="122"/>
                    <a:pt x="84" y="122"/>
                    <a:pt x="83" y="121"/>
                  </a:cubicBezTo>
                  <a:cubicBezTo>
                    <a:pt x="83" y="121"/>
                    <a:pt x="82" y="119"/>
                    <a:pt x="82" y="119"/>
                  </a:cubicBezTo>
                  <a:cubicBezTo>
                    <a:pt x="81" y="118"/>
                    <a:pt x="81" y="117"/>
                    <a:pt x="81" y="117"/>
                  </a:cubicBezTo>
                  <a:cubicBezTo>
                    <a:pt x="81" y="115"/>
                    <a:pt x="80" y="114"/>
                    <a:pt x="78" y="114"/>
                  </a:cubicBezTo>
                  <a:cubicBezTo>
                    <a:pt x="78" y="113"/>
                    <a:pt x="78" y="113"/>
                    <a:pt x="78" y="113"/>
                  </a:cubicBezTo>
                  <a:cubicBezTo>
                    <a:pt x="76" y="113"/>
                    <a:pt x="74" y="112"/>
                    <a:pt x="73" y="111"/>
                  </a:cubicBezTo>
                  <a:cubicBezTo>
                    <a:pt x="73" y="111"/>
                    <a:pt x="73" y="111"/>
                    <a:pt x="72" y="111"/>
                  </a:cubicBezTo>
                  <a:cubicBezTo>
                    <a:pt x="71" y="111"/>
                    <a:pt x="70" y="111"/>
                    <a:pt x="68" y="111"/>
                  </a:cubicBezTo>
                  <a:cubicBezTo>
                    <a:pt x="68" y="111"/>
                    <a:pt x="67" y="112"/>
                    <a:pt x="66" y="112"/>
                  </a:cubicBezTo>
                  <a:cubicBezTo>
                    <a:pt x="65" y="113"/>
                    <a:pt x="64" y="113"/>
                    <a:pt x="63" y="113"/>
                  </a:cubicBezTo>
                  <a:cubicBezTo>
                    <a:pt x="63" y="113"/>
                    <a:pt x="62" y="112"/>
                    <a:pt x="61" y="111"/>
                  </a:cubicBezTo>
                  <a:cubicBezTo>
                    <a:pt x="60" y="110"/>
                    <a:pt x="59" y="109"/>
                    <a:pt x="59" y="109"/>
                  </a:cubicBezTo>
                  <a:cubicBezTo>
                    <a:pt x="59" y="108"/>
                    <a:pt x="59" y="107"/>
                    <a:pt x="60" y="106"/>
                  </a:cubicBezTo>
                  <a:cubicBezTo>
                    <a:pt x="60" y="105"/>
                    <a:pt x="60" y="104"/>
                    <a:pt x="61" y="104"/>
                  </a:cubicBezTo>
                  <a:cubicBezTo>
                    <a:pt x="61" y="102"/>
                    <a:pt x="61" y="101"/>
                    <a:pt x="61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0" y="97"/>
                    <a:pt x="59" y="96"/>
                    <a:pt x="59" y="95"/>
                  </a:cubicBezTo>
                  <a:cubicBezTo>
                    <a:pt x="59" y="95"/>
                    <a:pt x="59" y="94"/>
                    <a:pt x="59" y="94"/>
                  </a:cubicBezTo>
                  <a:cubicBezTo>
                    <a:pt x="58" y="93"/>
                    <a:pt x="57" y="92"/>
                    <a:pt x="55" y="91"/>
                  </a:cubicBezTo>
                  <a:cubicBezTo>
                    <a:pt x="55" y="91"/>
                    <a:pt x="54" y="90"/>
                    <a:pt x="53" y="90"/>
                  </a:cubicBezTo>
                  <a:cubicBezTo>
                    <a:pt x="52" y="90"/>
                    <a:pt x="51" y="89"/>
                    <a:pt x="50" y="89"/>
                  </a:cubicBezTo>
                  <a:cubicBezTo>
                    <a:pt x="50" y="88"/>
                    <a:pt x="50" y="87"/>
                    <a:pt x="50" y="86"/>
                  </a:cubicBezTo>
                  <a:cubicBezTo>
                    <a:pt x="50" y="84"/>
                    <a:pt x="50" y="83"/>
                    <a:pt x="50" y="82"/>
                  </a:cubicBezTo>
                  <a:cubicBezTo>
                    <a:pt x="51" y="82"/>
                    <a:pt x="52" y="81"/>
                    <a:pt x="53" y="81"/>
                  </a:cubicBezTo>
                  <a:cubicBezTo>
                    <a:pt x="54" y="81"/>
                    <a:pt x="55" y="80"/>
                    <a:pt x="55" y="80"/>
                  </a:cubicBezTo>
                  <a:cubicBezTo>
                    <a:pt x="57" y="80"/>
                    <a:pt x="58" y="78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5"/>
                    <a:pt x="60" y="74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1"/>
                    <a:pt x="61" y="69"/>
                    <a:pt x="61" y="67"/>
                  </a:cubicBezTo>
                  <a:cubicBezTo>
                    <a:pt x="60" y="67"/>
                    <a:pt x="60" y="66"/>
                    <a:pt x="60" y="66"/>
                  </a:cubicBezTo>
                  <a:cubicBezTo>
                    <a:pt x="59" y="65"/>
                    <a:pt x="59" y="64"/>
                    <a:pt x="59" y="63"/>
                  </a:cubicBezTo>
                  <a:cubicBezTo>
                    <a:pt x="59" y="62"/>
                    <a:pt x="60" y="61"/>
                    <a:pt x="61" y="60"/>
                  </a:cubicBezTo>
                  <a:cubicBezTo>
                    <a:pt x="62" y="59"/>
                    <a:pt x="63" y="58"/>
                    <a:pt x="63" y="58"/>
                  </a:cubicBezTo>
                  <a:cubicBezTo>
                    <a:pt x="64" y="58"/>
                    <a:pt x="65" y="59"/>
                    <a:pt x="66" y="59"/>
                  </a:cubicBezTo>
                  <a:cubicBezTo>
                    <a:pt x="67" y="59"/>
                    <a:pt x="68" y="60"/>
                    <a:pt x="68" y="60"/>
                  </a:cubicBezTo>
                  <a:cubicBezTo>
                    <a:pt x="70" y="60"/>
                    <a:pt x="71" y="61"/>
                    <a:pt x="72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59"/>
                    <a:pt x="76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80" y="57"/>
                    <a:pt x="80" y="56"/>
                    <a:pt x="81" y="55"/>
                  </a:cubicBezTo>
                  <a:cubicBezTo>
                    <a:pt x="81" y="54"/>
                    <a:pt x="81" y="54"/>
                    <a:pt x="82" y="53"/>
                  </a:cubicBezTo>
                  <a:cubicBezTo>
                    <a:pt x="82" y="52"/>
                    <a:pt x="83" y="51"/>
                    <a:pt x="83" y="50"/>
                  </a:cubicBezTo>
                  <a:cubicBezTo>
                    <a:pt x="84" y="50"/>
                    <a:pt x="85" y="49"/>
                    <a:pt x="86" y="49"/>
                  </a:cubicBezTo>
                  <a:cubicBezTo>
                    <a:pt x="88" y="49"/>
                    <a:pt x="89" y="50"/>
                    <a:pt x="90" y="50"/>
                  </a:cubicBezTo>
                  <a:cubicBezTo>
                    <a:pt x="90" y="51"/>
                    <a:pt x="91" y="52"/>
                    <a:pt x="91" y="53"/>
                  </a:cubicBezTo>
                  <a:cubicBezTo>
                    <a:pt x="91" y="54"/>
                    <a:pt x="91" y="54"/>
                    <a:pt x="92" y="55"/>
                  </a:cubicBezTo>
                  <a:cubicBezTo>
                    <a:pt x="92" y="56"/>
                    <a:pt x="93" y="57"/>
                    <a:pt x="94" y="57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7" y="58"/>
                    <a:pt x="98" y="59"/>
                    <a:pt x="100" y="60"/>
                  </a:cubicBezTo>
                  <a:cubicBezTo>
                    <a:pt x="100" y="60"/>
                    <a:pt x="101" y="60"/>
                    <a:pt x="101" y="60"/>
                  </a:cubicBezTo>
                  <a:cubicBezTo>
                    <a:pt x="102" y="61"/>
                    <a:pt x="103" y="60"/>
                    <a:pt x="104" y="60"/>
                  </a:cubicBezTo>
                  <a:cubicBezTo>
                    <a:pt x="105" y="60"/>
                    <a:pt x="106" y="59"/>
                    <a:pt x="106" y="59"/>
                  </a:cubicBezTo>
                  <a:cubicBezTo>
                    <a:pt x="107" y="59"/>
                    <a:pt x="108" y="58"/>
                    <a:pt x="109" y="58"/>
                  </a:cubicBezTo>
                  <a:cubicBezTo>
                    <a:pt x="110" y="58"/>
                    <a:pt x="111" y="59"/>
                    <a:pt x="112" y="60"/>
                  </a:cubicBezTo>
                  <a:cubicBezTo>
                    <a:pt x="113" y="61"/>
                    <a:pt x="114" y="62"/>
                    <a:pt x="114" y="63"/>
                  </a:cubicBezTo>
                  <a:cubicBezTo>
                    <a:pt x="114" y="64"/>
                    <a:pt x="113" y="65"/>
                    <a:pt x="113" y="66"/>
                  </a:cubicBezTo>
                  <a:cubicBezTo>
                    <a:pt x="112" y="66"/>
                    <a:pt x="112" y="67"/>
                    <a:pt x="112" y="67"/>
                  </a:cubicBezTo>
                  <a:cubicBezTo>
                    <a:pt x="112" y="68"/>
                    <a:pt x="111" y="70"/>
                    <a:pt x="112" y="71"/>
                  </a:cubicBezTo>
                  <a:cubicBezTo>
                    <a:pt x="112" y="71"/>
                    <a:pt x="112" y="71"/>
                    <a:pt x="112" y="72"/>
                  </a:cubicBezTo>
                  <a:cubicBezTo>
                    <a:pt x="113" y="73"/>
                    <a:pt x="114" y="75"/>
                    <a:pt x="114" y="77"/>
                  </a:cubicBezTo>
                  <a:cubicBezTo>
                    <a:pt x="114" y="78"/>
                    <a:pt x="115" y="78"/>
                    <a:pt x="115" y="78"/>
                  </a:cubicBezTo>
                  <a:cubicBezTo>
                    <a:pt x="115" y="79"/>
                    <a:pt x="116" y="80"/>
                    <a:pt x="117" y="80"/>
                  </a:cubicBezTo>
                  <a:cubicBezTo>
                    <a:pt x="118" y="80"/>
                    <a:pt x="118" y="81"/>
                    <a:pt x="119" y="81"/>
                  </a:cubicBezTo>
                  <a:cubicBezTo>
                    <a:pt x="120" y="81"/>
                    <a:pt x="121" y="82"/>
                    <a:pt x="122" y="82"/>
                  </a:cubicBezTo>
                  <a:cubicBezTo>
                    <a:pt x="122" y="83"/>
                    <a:pt x="123" y="84"/>
                    <a:pt x="123" y="86"/>
                  </a:cubicBezTo>
                  <a:cubicBezTo>
                    <a:pt x="123" y="87"/>
                    <a:pt x="122" y="88"/>
                    <a:pt x="122" y="89"/>
                  </a:cubicBezTo>
                  <a:moveTo>
                    <a:pt x="86" y="67"/>
                  </a:moveTo>
                  <a:cubicBezTo>
                    <a:pt x="76" y="67"/>
                    <a:pt x="68" y="75"/>
                    <a:pt x="68" y="86"/>
                  </a:cubicBezTo>
                  <a:cubicBezTo>
                    <a:pt x="68" y="96"/>
                    <a:pt x="76" y="104"/>
                    <a:pt x="86" y="104"/>
                  </a:cubicBezTo>
                  <a:cubicBezTo>
                    <a:pt x="97" y="104"/>
                    <a:pt x="105" y="96"/>
                    <a:pt x="105" y="86"/>
                  </a:cubicBezTo>
                  <a:cubicBezTo>
                    <a:pt x="105" y="75"/>
                    <a:pt x="97" y="67"/>
                    <a:pt x="86" y="67"/>
                  </a:cubicBezTo>
                  <a:moveTo>
                    <a:pt x="86" y="101"/>
                  </a:moveTo>
                  <a:cubicBezTo>
                    <a:pt x="78" y="101"/>
                    <a:pt x="71" y="94"/>
                    <a:pt x="71" y="86"/>
                  </a:cubicBezTo>
                  <a:cubicBezTo>
                    <a:pt x="71" y="77"/>
                    <a:pt x="78" y="70"/>
                    <a:pt x="86" y="70"/>
                  </a:cubicBezTo>
                  <a:cubicBezTo>
                    <a:pt x="95" y="70"/>
                    <a:pt x="102" y="77"/>
                    <a:pt x="102" y="86"/>
                  </a:cubicBezTo>
                  <a:cubicBezTo>
                    <a:pt x="102" y="94"/>
                    <a:pt x="95" y="101"/>
                    <a:pt x="86" y="101"/>
                  </a:cubicBezTo>
                  <a:moveTo>
                    <a:pt x="53" y="127"/>
                  </a:moveTo>
                  <a:cubicBezTo>
                    <a:pt x="42" y="118"/>
                    <a:pt x="35" y="105"/>
                    <a:pt x="34" y="90"/>
                  </a:cubicBezTo>
                  <a:cubicBezTo>
                    <a:pt x="34" y="89"/>
                    <a:pt x="32" y="88"/>
                    <a:pt x="31" y="88"/>
                  </a:cubicBezTo>
                  <a:cubicBezTo>
                    <a:pt x="29" y="88"/>
                    <a:pt x="28" y="90"/>
                    <a:pt x="28" y="91"/>
                  </a:cubicBezTo>
                  <a:cubicBezTo>
                    <a:pt x="30" y="107"/>
                    <a:pt x="37" y="121"/>
                    <a:pt x="50" y="131"/>
                  </a:cubicBezTo>
                  <a:cubicBezTo>
                    <a:pt x="50" y="131"/>
                    <a:pt x="51" y="131"/>
                    <a:pt x="51" y="131"/>
                  </a:cubicBezTo>
                  <a:cubicBezTo>
                    <a:pt x="52" y="131"/>
                    <a:pt x="53" y="131"/>
                    <a:pt x="53" y="130"/>
                  </a:cubicBezTo>
                  <a:cubicBezTo>
                    <a:pt x="54" y="129"/>
                    <a:pt x="54" y="128"/>
                    <a:pt x="53" y="127"/>
                  </a:cubicBezTo>
                  <a:moveTo>
                    <a:pt x="30" y="64"/>
                  </a:moveTo>
                  <a:cubicBezTo>
                    <a:pt x="31" y="65"/>
                    <a:pt x="31" y="65"/>
                    <a:pt x="32" y="66"/>
                  </a:cubicBezTo>
                  <a:cubicBezTo>
                    <a:pt x="33" y="67"/>
                    <a:pt x="34" y="67"/>
                    <a:pt x="35" y="67"/>
                  </a:cubicBezTo>
                  <a:cubicBezTo>
                    <a:pt x="37" y="67"/>
                    <a:pt x="37" y="66"/>
                    <a:pt x="39" y="66"/>
                  </a:cubicBezTo>
                  <a:cubicBezTo>
                    <a:pt x="40" y="65"/>
                    <a:pt x="41" y="65"/>
                    <a:pt x="42" y="64"/>
                  </a:cubicBezTo>
                  <a:cubicBezTo>
                    <a:pt x="43" y="63"/>
                    <a:pt x="44" y="62"/>
                    <a:pt x="44" y="61"/>
                  </a:cubicBezTo>
                  <a:cubicBezTo>
                    <a:pt x="44" y="60"/>
                    <a:pt x="44" y="59"/>
                    <a:pt x="44" y="58"/>
                  </a:cubicBezTo>
                  <a:cubicBezTo>
                    <a:pt x="44" y="58"/>
                    <a:pt x="44" y="58"/>
                    <a:pt x="44" y="57"/>
                  </a:cubicBezTo>
                  <a:cubicBezTo>
                    <a:pt x="44" y="57"/>
                    <a:pt x="45" y="56"/>
                    <a:pt x="46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9" y="55"/>
                    <a:pt x="50" y="55"/>
                  </a:cubicBezTo>
                  <a:cubicBezTo>
                    <a:pt x="51" y="55"/>
                    <a:pt x="52" y="54"/>
                    <a:pt x="53" y="53"/>
                  </a:cubicBezTo>
                  <a:cubicBezTo>
                    <a:pt x="53" y="52"/>
                    <a:pt x="54" y="52"/>
                    <a:pt x="54" y="50"/>
                  </a:cubicBezTo>
                  <a:cubicBezTo>
                    <a:pt x="55" y="49"/>
                    <a:pt x="55" y="48"/>
                    <a:pt x="55" y="47"/>
                  </a:cubicBezTo>
                  <a:cubicBezTo>
                    <a:pt x="56" y="46"/>
                    <a:pt x="55" y="44"/>
                    <a:pt x="54" y="43"/>
                  </a:cubicBezTo>
                  <a:cubicBezTo>
                    <a:pt x="54" y="43"/>
                    <a:pt x="53" y="42"/>
                    <a:pt x="52" y="42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0"/>
                    <a:pt x="52" y="39"/>
                    <a:pt x="52" y="38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3" y="36"/>
                    <a:pt x="54" y="36"/>
                    <a:pt x="54" y="35"/>
                  </a:cubicBezTo>
                  <a:cubicBezTo>
                    <a:pt x="55" y="34"/>
                    <a:pt x="56" y="33"/>
                    <a:pt x="55" y="31"/>
                  </a:cubicBezTo>
                  <a:cubicBezTo>
                    <a:pt x="55" y="31"/>
                    <a:pt x="55" y="30"/>
                    <a:pt x="54" y="28"/>
                  </a:cubicBezTo>
                  <a:cubicBezTo>
                    <a:pt x="54" y="27"/>
                    <a:pt x="53" y="26"/>
                    <a:pt x="53" y="25"/>
                  </a:cubicBezTo>
                  <a:cubicBezTo>
                    <a:pt x="52" y="24"/>
                    <a:pt x="51" y="23"/>
                    <a:pt x="49" y="23"/>
                  </a:cubicBezTo>
                  <a:cubicBezTo>
                    <a:pt x="49" y="23"/>
                    <a:pt x="48" y="23"/>
                    <a:pt x="47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3"/>
                    <a:pt x="44" y="22"/>
                    <a:pt x="44" y="21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18"/>
                    <a:pt x="44" y="17"/>
                  </a:cubicBezTo>
                  <a:cubicBezTo>
                    <a:pt x="44" y="16"/>
                    <a:pt x="43" y="15"/>
                    <a:pt x="42" y="14"/>
                  </a:cubicBezTo>
                  <a:cubicBezTo>
                    <a:pt x="41" y="14"/>
                    <a:pt x="40" y="13"/>
                    <a:pt x="39" y="13"/>
                  </a:cubicBezTo>
                  <a:cubicBezTo>
                    <a:pt x="37" y="12"/>
                    <a:pt x="36" y="12"/>
                    <a:pt x="35" y="12"/>
                  </a:cubicBezTo>
                  <a:cubicBezTo>
                    <a:pt x="34" y="11"/>
                    <a:pt x="33" y="12"/>
                    <a:pt x="32" y="13"/>
                  </a:cubicBezTo>
                  <a:cubicBezTo>
                    <a:pt x="31" y="13"/>
                    <a:pt x="31" y="14"/>
                    <a:pt x="30" y="15"/>
                  </a:cubicBezTo>
                  <a:cubicBezTo>
                    <a:pt x="30" y="15"/>
                    <a:pt x="29" y="15"/>
                    <a:pt x="29" y="15"/>
                  </a:cubicBezTo>
                  <a:cubicBezTo>
                    <a:pt x="28" y="15"/>
                    <a:pt x="27" y="15"/>
                    <a:pt x="26" y="15"/>
                  </a:cubicBezTo>
                  <a:cubicBezTo>
                    <a:pt x="26" y="15"/>
                    <a:pt x="26" y="15"/>
                    <a:pt x="25" y="15"/>
                  </a:cubicBezTo>
                  <a:cubicBezTo>
                    <a:pt x="25" y="14"/>
                    <a:pt x="24" y="13"/>
                    <a:pt x="24" y="13"/>
                  </a:cubicBezTo>
                  <a:cubicBezTo>
                    <a:pt x="23" y="12"/>
                    <a:pt x="21" y="11"/>
                    <a:pt x="20" y="12"/>
                  </a:cubicBezTo>
                  <a:cubicBezTo>
                    <a:pt x="19" y="12"/>
                    <a:pt x="18" y="12"/>
                    <a:pt x="17" y="13"/>
                  </a:cubicBezTo>
                  <a:cubicBezTo>
                    <a:pt x="15" y="13"/>
                    <a:pt x="15" y="14"/>
                    <a:pt x="14" y="14"/>
                  </a:cubicBezTo>
                  <a:cubicBezTo>
                    <a:pt x="13" y="15"/>
                    <a:pt x="12" y="16"/>
                    <a:pt x="12" y="17"/>
                  </a:cubicBezTo>
                  <a:cubicBezTo>
                    <a:pt x="12" y="18"/>
                    <a:pt x="12" y="19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2"/>
                    <a:pt x="10" y="23"/>
                    <a:pt x="10" y="23"/>
                  </a:cubicBezTo>
                  <a:cubicBezTo>
                    <a:pt x="10" y="23"/>
                    <a:pt x="9" y="23"/>
                    <a:pt x="9" y="23"/>
                  </a:cubicBezTo>
                  <a:cubicBezTo>
                    <a:pt x="8" y="23"/>
                    <a:pt x="7" y="23"/>
                    <a:pt x="6" y="23"/>
                  </a:cubicBezTo>
                  <a:cubicBezTo>
                    <a:pt x="5" y="23"/>
                    <a:pt x="3" y="24"/>
                    <a:pt x="3" y="25"/>
                  </a:cubicBezTo>
                  <a:cubicBezTo>
                    <a:pt x="2" y="26"/>
                    <a:pt x="2" y="27"/>
                    <a:pt x="1" y="28"/>
                  </a:cubicBezTo>
                  <a:cubicBezTo>
                    <a:pt x="1" y="30"/>
                    <a:pt x="0" y="30"/>
                    <a:pt x="0" y="32"/>
                  </a:cubicBezTo>
                  <a:cubicBezTo>
                    <a:pt x="0" y="33"/>
                    <a:pt x="0" y="34"/>
                    <a:pt x="1" y="35"/>
                  </a:cubicBezTo>
                  <a:cubicBezTo>
                    <a:pt x="2" y="36"/>
                    <a:pt x="2" y="36"/>
                    <a:pt x="3" y="37"/>
                  </a:cubicBezTo>
                  <a:cubicBezTo>
                    <a:pt x="3" y="37"/>
                    <a:pt x="4" y="38"/>
                    <a:pt x="4" y="38"/>
                  </a:cubicBezTo>
                  <a:cubicBezTo>
                    <a:pt x="4" y="39"/>
                    <a:pt x="4" y="40"/>
                    <a:pt x="4" y="41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2" y="42"/>
                    <a:pt x="2" y="43"/>
                    <a:pt x="1" y="43"/>
                  </a:cubicBezTo>
                  <a:cubicBezTo>
                    <a:pt x="0" y="44"/>
                    <a:pt x="0" y="46"/>
                    <a:pt x="0" y="47"/>
                  </a:cubicBezTo>
                  <a:cubicBezTo>
                    <a:pt x="0" y="48"/>
                    <a:pt x="1" y="49"/>
                    <a:pt x="1" y="50"/>
                  </a:cubicBezTo>
                  <a:cubicBezTo>
                    <a:pt x="2" y="52"/>
                    <a:pt x="2" y="53"/>
                    <a:pt x="3" y="53"/>
                  </a:cubicBezTo>
                  <a:cubicBezTo>
                    <a:pt x="4" y="54"/>
                    <a:pt x="5" y="55"/>
                    <a:pt x="6" y="55"/>
                  </a:cubicBezTo>
                  <a:cubicBezTo>
                    <a:pt x="7" y="55"/>
                    <a:pt x="8" y="55"/>
                    <a:pt x="9" y="55"/>
                  </a:cubicBezTo>
                  <a:cubicBezTo>
                    <a:pt x="9" y="55"/>
                    <a:pt x="10" y="55"/>
                    <a:pt x="10" y="55"/>
                  </a:cubicBezTo>
                  <a:cubicBezTo>
                    <a:pt x="10" y="56"/>
                    <a:pt x="11" y="57"/>
                    <a:pt x="12" y="57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9"/>
                    <a:pt x="12" y="60"/>
                    <a:pt x="12" y="61"/>
                  </a:cubicBezTo>
                  <a:cubicBezTo>
                    <a:pt x="12" y="62"/>
                    <a:pt x="13" y="63"/>
                    <a:pt x="14" y="64"/>
                  </a:cubicBezTo>
                  <a:cubicBezTo>
                    <a:pt x="14" y="65"/>
                    <a:pt x="15" y="65"/>
                    <a:pt x="17" y="66"/>
                  </a:cubicBezTo>
                  <a:cubicBezTo>
                    <a:pt x="18" y="66"/>
                    <a:pt x="19" y="67"/>
                    <a:pt x="20" y="67"/>
                  </a:cubicBezTo>
                  <a:cubicBezTo>
                    <a:pt x="20" y="67"/>
                    <a:pt x="21" y="67"/>
                    <a:pt x="21" y="67"/>
                  </a:cubicBezTo>
                  <a:cubicBezTo>
                    <a:pt x="22" y="67"/>
                    <a:pt x="23" y="67"/>
                    <a:pt x="24" y="66"/>
                  </a:cubicBezTo>
                  <a:cubicBezTo>
                    <a:pt x="24" y="65"/>
                    <a:pt x="25" y="65"/>
                    <a:pt x="25" y="64"/>
                  </a:cubicBezTo>
                  <a:cubicBezTo>
                    <a:pt x="26" y="64"/>
                    <a:pt x="26" y="63"/>
                    <a:pt x="26" y="63"/>
                  </a:cubicBezTo>
                  <a:cubicBezTo>
                    <a:pt x="27" y="63"/>
                    <a:pt x="28" y="63"/>
                    <a:pt x="29" y="63"/>
                  </a:cubicBezTo>
                  <a:cubicBezTo>
                    <a:pt x="30" y="63"/>
                    <a:pt x="30" y="64"/>
                    <a:pt x="30" y="64"/>
                  </a:cubicBezTo>
                  <a:moveTo>
                    <a:pt x="26" y="58"/>
                  </a:moveTo>
                  <a:cubicBezTo>
                    <a:pt x="26" y="58"/>
                    <a:pt x="25" y="58"/>
                    <a:pt x="25" y="58"/>
                  </a:cubicBezTo>
                  <a:cubicBezTo>
                    <a:pt x="24" y="58"/>
                    <a:pt x="23" y="58"/>
                    <a:pt x="22" y="59"/>
                  </a:cubicBezTo>
                  <a:cubicBezTo>
                    <a:pt x="22" y="59"/>
                    <a:pt x="22" y="60"/>
                    <a:pt x="21" y="60"/>
                  </a:cubicBezTo>
                  <a:cubicBezTo>
                    <a:pt x="21" y="61"/>
                    <a:pt x="21" y="61"/>
                    <a:pt x="20" y="61"/>
                  </a:cubicBezTo>
                  <a:cubicBezTo>
                    <a:pt x="20" y="61"/>
                    <a:pt x="20" y="61"/>
                    <a:pt x="19" y="61"/>
                  </a:cubicBezTo>
                  <a:cubicBezTo>
                    <a:pt x="18" y="61"/>
                    <a:pt x="18" y="60"/>
                    <a:pt x="17" y="60"/>
                  </a:cubicBezTo>
                  <a:cubicBezTo>
                    <a:pt x="17" y="60"/>
                    <a:pt x="17" y="59"/>
                    <a:pt x="17" y="5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6"/>
                    <a:pt x="17" y="55"/>
                    <a:pt x="16" y="54"/>
                  </a:cubicBezTo>
                  <a:cubicBezTo>
                    <a:pt x="16" y="54"/>
                    <a:pt x="16" y="54"/>
                    <a:pt x="16" y="53"/>
                  </a:cubicBezTo>
                  <a:cubicBezTo>
                    <a:pt x="15" y="53"/>
                    <a:pt x="14" y="52"/>
                    <a:pt x="14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2" y="50"/>
                    <a:pt x="11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49"/>
                    <a:pt x="7" y="49"/>
                    <a:pt x="6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7" y="46"/>
                  </a:cubicBezTo>
                  <a:cubicBezTo>
                    <a:pt x="7" y="45"/>
                    <a:pt x="8" y="45"/>
                    <a:pt x="8" y="45"/>
                  </a:cubicBezTo>
                  <a:cubicBezTo>
                    <a:pt x="9" y="44"/>
                    <a:pt x="9" y="42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0"/>
                    <a:pt x="9" y="39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6"/>
                    <a:pt x="9" y="35"/>
                    <a:pt x="8" y="34"/>
                  </a:cubicBezTo>
                  <a:cubicBezTo>
                    <a:pt x="8" y="34"/>
                    <a:pt x="7" y="33"/>
                    <a:pt x="7" y="33"/>
                  </a:cubicBezTo>
                  <a:cubicBezTo>
                    <a:pt x="6" y="33"/>
                    <a:pt x="6" y="32"/>
                    <a:pt x="6" y="32"/>
                  </a:cubicBezTo>
                  <a:cubicBezTo>
                    <a:pt x="6" y="31"/>
                    <a:pt x="6" y="31"/>
                    <a:pt x="6" y="30"/>
                  </a:cubicBezTo>
                  <a:cubicBezTo>
                    <a:pt x="7" y="30"/>
                    <a:pt x="7" y="29"/>
                    <a:pt x="7" y="29"/>
                  </a:cubicBezTo>
                  <a:cubicBezTo>
                    <a:pt x="7" y="29"/>
                    <a:pt x="8" y="29"/>
                    <a:pt x="9" y="29"/>
                  </a:cubicBezTo>
                  <a:cubicBezTo>
                    <a:pt x="9" y="29"/>
                    <a:pt x="10" y="29"/>
                    <a:pt x="10" y="29"/>
                  </a:cubicBezTo>
                  <a:cubicBezTo>
                    <a:pt x="11" y="29"/>
                    <a:pt x="13" y="28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5" y="26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4"/>
                    <a:pt x="17" y="23"/>
                    <a:pt x="17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7" y="19"/>
                    <a:pt x="17" y="18"/>
                  </a:cubicBezTo>
                  <a:cubicBezTo>
                    <a:pt x="18" y="18"/>
                    <a:pt x="18" y="18"/>
                    <a:pt x="19" y="18"/>
                  </a:cubicBezTo>
                  <a:cubicBezTo>
                    <a:pt x="19" y="17"/>
                    <a:pt x="20" y="17"/>
                    <a:pt x="20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20"/>
                    <a:pt x="24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8" y="21"/>
                    <a:pt x="2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1" y="21"/>
                    <a:pt x="32" y="20"/>
                    <a:pt x="33" y="19"/>
                  </a:cubicBezTo>
                  <a:cubicBezTo>
                    <a:pt x="33" y="19"/>
                    <a:pt x="34" y="19"/>
                    <a:pt x="34" y="18"/>
                  </a:cubicBezTo>
                  <a:cubicBezTo>
                    <a:pt x="34" y="18"/>
                    <a:pt x="35" y="18"/>
                    <a:pt x="35" y="17"/>
                  </a:cubicBezTo>
                  <a:cubicBezTo>
                    <a:pt x="36" y="17"/>
                    <a:pt x="36" y="17"/>
                    <a:pt x="37" y="18"/>
                  </a:cubicBezTo>
                  <a:cubicBezTo>
                    <a:pt x="37" y="18"/>
                    <a:pt x="38" y="18"/>
                    <a:pt x="38" y="18"/>
                  </a:cubicBezTo>
                  <a:cubicBezTo>
                    <a:pt x="38" y="19"/>
                    <a:pt x="38" y="19"/>
                    <a:pt x="38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2"/>
                    <a:pt x="38" y="23"/>
                    <a:pt x="39" y="24"/>
                  </a:cubicBezTo>
                  <a:cubicBezTo>
                    <a:pt x="39" y="24"/>
                    <a:pt x="39" y="25"/>
                    <a:pt x="40" y="25"/>
                  </a:cubicBezTo>
                  <a:cubicBezTo>
                    <a:pt x="40" y="26"/>
                    <a:pt x="41" y="27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ubicBezTo>
                    <a:pt x="44" y="29"/>
                    <a:pt x="45" y="29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9" y="29"/>
                  </a:cubicBezTo>
                  <a:cubicBezTo>
                    <a:pt x="49" y="29"/>
                    <a:pt x="49" y="30"/>
                    <a:pt x="49" y="30"/>
                  </a:cubicBezTo>
                  <a:cubicBezTo>
                    <a:pt x="50" y="31"/>
                    <a:pt x="50" y="31"/>
                    <a:pt x="50" y="32"/>
                  </a:cubicBezTo>
                  <a:cubicBezTo>
                    <a:pt x="49" y="32"/>
                    <a:pt x="49" y="33"/>
                    <a:pt x="49" y="33"/>
                  </a:cubicBezTo>
                  <a:cubicBezTo>
                    <a:pt x="48" y="33"/>
                    <a:pt x="48" y="34"/>
                    <a:pt x="48" y="34"/>
                  </a:cubicBezTo>
                  <a:cubicBezTo>
                    <a:pt x="47" y="35"/>
                    <a:pt x="47" y="35"/>
                    <a:pt x="46" y="36"/>
                  </a:cubicBezTo>
                  <a:cubicBezTo>
                    <a:pt x="46" y="36"/>
                    <a:pt x="46" y="37"/>
                    <a:pt x="46" y="37"/>
                  </a:cubicBezTo>
                  <a:cubicBezTo>
                    <a:pt x="46" y="39"/>
                    <a:pt x="46" y="40"/>
                    <a:pt x="46" y="4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7" y="43"/>
                    <a:pt x="47" y="44"/>
                    <a:pt x="48" y="45"/>
                  </a:cubicBezTo>
                  <a:cubicBezTo>
                    <a:pt x="48" y="45"/>
                    <a:pt x="48" y="45"/>
                    <a:pt x="49" y="46"/>
                  </a:cubicBezTo>
                  <a:cubicBezTo>
                    <a:pt x="49" y="46"/>
                    <a:pt x="50" y="46"/>
                    <a:pt x="50" y="47"/>
                  </a:cubicBezTo>
                  <a:cubicBezTo>
                    <a:pt x="50" y="47"/>
                    <a:pt x="50" y="48"/>
                    <a:pt x="49" y="48"/>
                  </a:cubicBezTo>
                  <a:cubicBezTo>
                    <a:pt x="49" y="49"/>
                    <a:pt x="49" y="49"/>
                    <a:pt x="49" y="50"/>
                  </a:cubicBezTo>
                  <a:cubicBezTo>
                    <a:pt x="48" y="50"/>
                    <a:pt x="48" y="50"/>
                    <a:pt x="47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5" y="50"/>
                    <a:pt x="44" y="50"/>
                    <a:pt x="43" y="50"/>
                  </a:cubicBezTo>
                  <a:cubicBezTo>
                    <a:pt x="43" y="50"/>
                    <a:pt x="42" y="51"/>
                    <a:pt x="42" y="51"/>
                  </a:cubicBezTo>
                  <a:cubicBezTo>
                    <a:pt x="41" y="52"/>
                    <a:pt x="40" y="53"/>
                    <a:pt x="39" y="54"/>
                  </a:cubicBezTo>
                  <a:cubicBezTo>
                    <a:pt x="39" y="54"/>
                    <a:pt x="39" y="54"/>
                    <a:pt x="39" y="55"/>
                  </a:cubicBezTo>
                  <a:cubicBezTo>
                    <a:pt x="38" y="55"/>
                    <a:pt x="38" y="56"/>
                    <a:pt x="38" y="57"/>
                  </a:cubicBezTo>
                  <a:cubicBezTo>
                    <a:pt x="38" y="57"/>
                    <a:pt x="38" y="58"/>
                    <a:pt x="38" y="59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1"/>
                    <a:pt x="36" y="61"/>
                    <a:pt x="35" y="61"/>
                  </a:cubicBezTo>
                  <a:cubicBezTo>
                    <a:pt x="35" y="61"/>
                    <a:pt x="34" y="61"/>
                    <a:pt x="34" y="60"/>
                  </a:cubicBezTo>
                  <a:cubicBezTo>
                    <a:pt x="34" y="60"/>
                    <a:pt x="33" y="59"/>
                    <a:pt x="33" y="59"/>
                  </a:cubicBezTo>
                  <a:cubicBezTo>
                    <a:pt x="32" y="58"/>
                    <a:pt x="32" y="58"/>
                    <a:pt x="31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8" y="58"/>
                    <a:pt x="27" y="58"/>
                    <a:pt x="26" y="58"/>
                  </a:cubicBezTo>
                  <a:moveTo>
                    <a:pt x="40" y="44"/>
                  </a:moveTo>
                  <a:cubicBezTo>
                    <a:pt x="41" y="41"/>
                    <a:pt x="41" y="37"/>
                    <a:pt x="40" y="34"/>
                  </a:cubicBezTo>
                  <a:cubicBezTo>
                    <a:pt x="38" y="31"/>
                    <a:pt x="36" y="29"/>
                    <a:pt x="33" y="27"/>
                  </a:cubicBezTo>
                  <a:cubicBezTo>
                    <a:pt x="31" y="27"/>
                    <a:pt x="29" y="26"/>
                    <a:pt x="28" y="26"/>
                  </a:cubicBezTo>
                  <a:cubicBezTo>
                    <a:pt x="23" y="26"/>
                    <a:pt x="18" y="29"/>
                    <a:pt x="16" y="34"/>
                  </a:cubicBezTo>
                  <a:cubicBezTo>
                    <a:pt x="15" y="37"/>
                    <a:pt x="15" y="41"/>
                    <a:pt x="16" y="44"/>
                  </a:cubicBezTo>
                  <a:cubicBezTo>
                    <a:pt x="17" y="47"/>
                    <a:pt x="20" y="50"/>
                    <a:pt x="23" y="51"/>
                  </a:cubicBezTo>
                  <a:cubicBezTo>
                    <a:pt x="24" y="52"/>
                    <a:pt x="26" y="52"/>
                    <a:pt x="28" y="52"/>
                  </a:cubicBezTo>
                  <a:cubicBezTo>
                    <a:pt x="33" y="52"/>
                    <a:pt x="38" y="49"/>
                    <a:pt x="40" y="44"/>
                  </a:cubicBezTo>
                  <a:moveTo>
                    <a:pt x="28" y="49"/>
                  </a:moveTo>
                  <a:cubicBezTo>
                    <a:pt x="26" y="49"/>
                    <a:pt x="25" y="49"/>
                    <a:pt x="24" y="48"/>
                  </a:cubicBezTo>
                  <a:cubicBezTo>
                    <a:pt x="22" y="47"/>
                    <a:pt x="20" y="45"/>
                    <a:pt x="19" y="43"/>
                  </a:cubicBezTo>
                  <a:cubicBezTo>
                    <a:pt x="18" y="41"/>
                    <a:pt x="18" y="38"/>
                    <a:pt x="19" y="35"/>
                  </a:cubicBezTo>
                  <a:cubicBezTo>
                    <a:pt x="20" y="32"/>
                    <a:pt x="24" y="29"/>
                    <a:pt x="28" y="29"/>
                  </a:cubicBezTo>
                  <a:cubicBezTo>
                    <a:pt x="29" y="29"/>
                    <a:pt x="30" y="30"/>
                    <a:pt x="32" y="30"/>
                  </a:cubicBezTo>
                  <a:cubicBezTo>
                    <a:pt x="34" y="31"/>
                    <a:pt x="36" y="33"/>
                    <a:pt x="37" y="35"/>
                  </a:cubicBezTo>
                  <a:cubicBezTo>
                    <a:pt x="38" y="38"/>
                    <a:pt x="38" y="41"/>
                    <a:pt x="37" y="43"/>
                  </a:cubicBezTo>
                  <a:cubicBezTo>
                    <a:pt x="35" y="47"/>
                    <a:pt x="32" y="49"/>
                    <a:pt x="28" y="49"/>
                  </a:cubicBezTo>
                  <a:moveTo>
                    <a:pt x="50" y="6"/>
                  </a:moveTo>
                  <a:cubicBezTo>
                    <a:pt x="58" y="11"/>
                    <a:pt x="63" y="18"/>
                    <a:pt x="66" y="26"/>
                  </a:cubicBezTo>
                  <a:cubicBezTo>
                    <a:pt x="66" y="27"/>
                    <a:pt x="67" y="28"/>
                    <a:pt x="68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71" y="27"/>
                    <a:pt x="72" y="26"/>
                    <a:pt x="71" y="24"/>
                  </a:cubicBezTo>
                  <a:cubicBezTo>
                    <a:pt x="68" y="15"/>
                    <a:pt x="62" y="7"/>
                    <a:pt x="53" y="1"/>
                  </a:cubicBezTo>
                  <a:cubicBezTo>
                    <a:pt x="52" y="0"/>
                    <a:pt x="50" y="0"/>
                    <a:pt x="49" y="2"/>
                  </a:cubicBezTo>
                  <a:cubicBezTo>
                    <a:pt x="48" y="3"/>
                    <a:pt x="49" y="5"/>
                    <a:pt x="50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5" name="Group 185">
            <a:extLst>
              <a:ext uri="{FF2B5EF4-FFF2-40B4-BE49-F238E27FC236}">
                <a16:creationId xmlns:a16="http://schemas.microsoft.com/office/drawing/2014/main" id="{C442A6BF-F8F4-457E-8059-F23F103315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8534" y="4127705"/>
            <a:ext cx="841375" cy="841375"/>
            <a:chOff x="2963" y="2618"/>
            <a:chExt cx="530" cy="530"/>
          </a:xfrm>
        </p:grpSpPr>
        <p:sp>
          <p:nvSpPr>
            <p:cNvPr id="216" name="AutoShape 184">
              <a:extLst>
                <a:ext uri="{FF2B5EF4-FFF2-40B4-BE49-F238E27FC236}">
                  <a16:creationId xmlns:a16="http://schemas.microsoft.com/office/drawing/2014/main" id="{20E4404A-7DDB-4790-9250-9DDC8FBFFF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63" y="26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Oval 186">
              <a:extLst>
                <a:ext uri="{FF2B5EF4-FFF2-40B4-BE49-F238E27FC236}">
                  <a16:creationId xmlns:a16="http://schemas.microsoft.com/office/drawing/2014/main" id="{31DFFAD2-51C5-487E-BFB5-D17BC62F53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6" y="262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7">
              <a:extLst>
                <a:ext uri="{FF2B5EF4-FFF2-40B4-BE49-F238E27FC236}">
                  <a16:creationId xmlns:a16="http://schemas.microsoft.com/office/drawing/2014/main" id="{5BD6DF3A-8545-45FD-968B-38A3CB1AF0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2" y="263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88">
              <a:extLst>
                <a:ext uri="{FF2B5EF4-FFF2-40B4-BE49-F238E27FC236}">
                  <a16:creationId xmlns:a16="http://schemas.microsoft.com/office/drawing/2014/main" id="{3BAA8EF8-B1C8-41B5-B750-65C74C576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6" y="2716"/>
              <a:ext cx="326" cy="334"/>
            </a:xfrm>
            <a:custGeom>
              <a:avLst/>
              <a:gdLst>
                <a:gd name="T0" fmla="*/ 110 w 120"/>
                <a:gd name="T1" fmla="*/ 65 h 123"/>
                <a:gd name="T2" fmla="*/ 101 w 120"/>
                <a:gd name="T3" fmla="*/ 49 h 123"/>
                <a:gd name="T4" fmla="*/ 89 w 120"/>
                <a:gd name="T5" fmla="*/ 44 h 123"/>
                <a:gd name="T6" fmla="*/ 71 w 120"/>
                <a:gd name="T7" fmla="*/ 50 h 123"/>
                <a:gd name="T8" fmla="*/ 50 w 120"/>
                <a:gd name="T9" fmla="*/ 56 h 123"/>
                <a:gd name="T10" fmla="*/ 48 w 120"/>
                <a:gd name="T11" fmla="*/ 71 h 123"/>
                <a:gd name="T12" fmla="*/ 50 w 120"/>
                <a:gd name="T13" fmla="*/ 90 h 123"/>
                <a:gd name="T14" fmla="*/ 53 w 120"/>
                <a:gd name="T15" fmla="*/ 108 h 123"/>
                <a:gd name="T16" fmla="*/ 71 w 120"/>
                <a:gd name="T17" fmla="*/ 111 h 123"/>
                <a:gd name="T18" fmla="*/ 90 w 120"/>
                <a:gd name="T19" fmla="*/ 113 h 123"/>
                <a:gd name="T20" fmla="*/ 102 w 120"/>
                <a:gd name="T21" fmla="*/ 112 h 123"/>
                <a:gd name="T22" fmla="*/ 109 w 120"/>
                <a:gd name="T23" fmla="*/ 95 h 123"/>
                <a:gd name="T24" fmla="*/ 119 w 120"/>
                <a:gd name="T25" fmla="*/ 76 h 123"/>
                <a:gd name="T26" fmla="*/ 104 w 120"/>
                <a:gd name="T27" fmla="*/ 94 h 123"/>
                <a:gd name="T28" fmla="*/ 98 w 120"/>
                <a:gd name="T29" fmla="*/ 104 h 123"/>
                <a:gd name="T30" fmla="*/ 84 w 120"/>
                <a:gd name="T31" fmla="*/ 114 h 123"/>
                <a:gd name="T32" fmla="*/ 68 w 120"/>
                <a:gd name="T33" fmla="*/ 104 h 123"/>
                <a:gd name="T34" fmla="*/ 56 w 120"/>
                <a:gd name="T35" fmla="*/ 99 h 123"/>
                <a:gd name="T36" fmla="*/ 50 w 120"/>
                <a:gd name="T37" fmla="*/ 85 h 123"/>
                <a:gd name="T38" fmla="*/ 55 w 120"/>
                <a:gd name="T39" fmla="*/ 72 h 123"/>
                <a:gd name="T40" fmla="*/ 59 w 120"/>
                <a:gd name="T41" fmla="*/ 54 h 123"/>
                <a:gd name="T42" fmla="*/ 76 w 120"/>
                <a:gd name="T43" fmla="*/ 51 h 123"/>
                <a:gd name="T44" fmla="*/ 88 w 120"/>
                <a:gd name="T45" fmla="*/ 54 h 123"/>
                <a:gd name="T46" fmla="*/ 105 w 120"/>
                <a:gd name="T47" fmla="*/ 56 h 123"/>
                <a:gd name="T48" fmla="*/ 107 w 120"/>
                <a:gd name="T49" fmla="*/ 73 h 123"/>
                <a:gd name="T50" fmla="*/ 64 w 120"/>
                <a:gd name="T51" fmla="*/ 80 h 123"/>
                <a:gd name="T52" fmla="*/ 95 w 120"/>
                <a:gd name="T53" fmla="*/ 80 h 123"/>
                <a:gd name="T54" fmla="*/ 48 w 120"/>
                <a:gd name="T55" fmla="*/ 123 h 123"/>
                <a:gd name="T56" fmla="*/ 39 w 120"/>
                <a:gd name="T57" fmla="*/ 60 h 123"/>
                <a:gd name="T58" fmla="*/ 50 w 120"/>
                <a:gd name="T59" fmla="*/ 50 h 123"/>
                <a:gd name="T60" fmla="*/ 49 w 120"/>
                <a:gd name="T61" fmla="*/ 35 h 123"/>
                <a:gd name="T62" fmla="*/ 43 w 120"/>
                <a:gd name="T63" fmla="*/ 22 h 123"/>
                <a:gd name="T64" fmla="*/ 30 w 120"/>
                <a:gd name="T65" fmla="*/ 12 h 123"/>
                <a:gd name="T66" fmla="*/ 16 w 120"/>
                <a:gd name="T67" fmla="*/ 12 h 123"/>
                <a:gd name="T68" fmla="*/ 6 w 120"/>
                <a:gd name="T69" fmla="*/ 22 h 123"/>
                <a:gd name="T70" fmla="*/ 4 w 120"/>
                <a:gd name="T71" fmla="*/ 38 h 123"/>
                <a:gd name="T72" fmla="*/ 8 w 120"/>
                <a:gd name="T73" fmla="*/ 52 h 123"/>
                <a:gd name="T74" fmla="*/ 19 w 120"/>
                <a:gd name="T75" fmla="*/ 63 h 123"/>
                <a:gd name="T76" fmla="*/ 24 w 120"/>
                <a:gd name="T77" fmla="*/ 54 h 123"/>
                <a:gd name="T78" fmla="*/ 17 w 120"/>
                <a:gd name="T79" fmla="*/ 55 h 123"/>
                <a:gd name="T80" fmla="*/ 8 w 120"/>
                <a:gd name="T81" fmla="*/ 47 h 123"/>
                <a:gd name="T82" fmla="*/ 9 w 120"/>
                <a:gd name="T83" fmla="*/ 38 h 123"/>
                <a:gd name="T84" fmla="*/ 7 w 120"/>
                <a:gd name="T85" fmla="*/ 27 h 123"/>
                <a:gd name="T86" fmla="*/ 17 w 120"/>
                <a:gd name="T87" fmla="*/ 20 h 123"/>
                <a:gd name="T88" fmla="*/ 24 w 120"/>
                <a:gd name="T89" fmla="*/ 20 h 123"/>
                <a:gd name="T90" fmla="*/ 34 w 120"/>
                <a:gd name="T91" fmla="*/ 17 h 123"/>
                <a:gd name="T92" fmla="*/ 40 w 120"/>
                <a:gd name="T93" fmla="*/ 27 h 123"/>
                <a:gd name="T94" fmla="*/ 45 w 120"/>
                <a:gd name="T95" fmla="*/ 32 h 123"/>
                <a:gd name="T96" fmla="*/ 47 w 120"/>
                <a:gd name="T97" fmla="*/ 44 h 123"/>
                <a:gd name="T98" fmla="*/ 37 w 120"/>
                <a:gd name="T99" fmla="*/ 51 h 123"/>
                <a:gd name="T100" fmla="*/ 32 w 120"/>
                <a:gd name="T101" fmla="*/ 57 h 123"/>
                <a:gd name="T102" fmla="*/ 31 w 120"/>
                <a:gd name="T103" fmla="*/ 26 h 123"/>
                <a:gd name="T104" fmla="*/ 26 w 120"/>
                <a:gd name="T105" fmla="*/ 46 h 123"/>
                <a:gd name="T106" fmla="*/ 35 w 120"/>
                <a:gd name="T107" fmla="*/ 41 h 123"/>
                <a:gd name="T108" fmla="*/ 50 w 120"/>
                <a:gd name="T109" fmla="*/ 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" h="123">
                  <a:moveTo>
                    <a:pt x="119" y="76"/>
                  </a:moveTo>
                  <a:cubicBezTo>
                    <a:pt x="119" y="74"/>
                    <a:pt x="118" y="73"/>
                    <a:pt x="117" y="73"/>
                  </a:cubicBezTo>
                  <a:cubicBezTo>
                    <a:pt x="116" y="72"/>
                    <a:pt x="115" y="72"/>
                    <a:pt x="114" y="71"/>
                  </a:cubicBezTo>
                  <a:cubicBezTo>
                    <a:pt x="113" y="71"/>
                    <a:pt x="112" y="71"/>
                    <a:pt x="112" y="71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1" y="69"/>
                    <a:pt x="110" y="67"/>
                    <a:pt x="109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1" y="63"/>
                    <a:pt x="111" y="61"/>
                    <a:pt x="112" y="60"/>
                  </a:cubicBezTo>
                  <a:cubicBezTo>
                    <a:pt x="112" y="59"/>
                    <a:pt x="112" y="58"/>
                    <a:pt x="111" y="56"/>
                  </a:cubicBezTo>
                  <a:cubicBezTo>
                    <a:pt x="111" y="55"/>
                    <a:pt x="110" y="54"/>
                    <a:pt x="108" y="53"/>
                  </a:cubicBezTo>
                  <a:cubicBezTo>
                    <a:pt x="107" y="51"/>
                    <a:pt x="106" y="51"/>
                    <a:pt x="105" y="50"/>
                  </a:cubicBezTo>
                  <a:cubicBezTo>
                    <a:pt x="104" y="49"/>
                    <a:pt x="103" y="49"/>
                    <a:pt x="102" y="49"/>
                  </a:cubicBezTo>
                  <a:cubicBezTo>
                    <a:pt x="102" y="49"/>
                    <a:pt x="101" y="49"/>
                    <a:pt x="101" y="49"/>
                  </a:cubicBezTo>
                  <a:cubicBezTo>
                    <a:pt x="100" y="50"/>
                    <a:pt x="99" y="50"/>
                    <a:pt x="98" y="51"/>
                  </a:cubicBezTo>
                  <a:cubicBezTo>
                    <a:pt x="97" y="51"/>
                    <a:pt x="96" y="51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51"/>
                    <a:pt x="92" y="50"/>
                    <a:pt x="91" y="50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89" y="47"/>
                    <a:pt x="89" y="45"/>
                    <a:pt x="89" y="44"/>
                  </a:cubicBezTo>
                  <a:cubicBezTo>
                    <a:pt x="88" y="43"/>
                    <a:pt x="87" y="42"/>
                    <a:pt x="85" y="42"/>
                  </a:cubicBezTo>
                  <a:cubicBezTo>
                    <a:pt x="84" y="42"/>
                    <a:pt x="83" y="41"/>
                    <a:pt x="81" y="41"/>
                  </a:cubicBezTo>
                  <a:cubicBezTo>
                    <a:pt x="79" y="41"/>
                    <a:pt x="77" y="42"/>
                    <a:pt x="76" y="42"/>
                  </a:cubicBezTo>
                  <a:cubicBezTo>
                    <a:pt x="75" y="42"/>
                    <a:pt x="74" y="43"/>
                    <a:pt x="73" y="44"/>
                  </a:cubicBezTo>
                  <a:cubicBezTo>
                    <a:pt x="73" y="45"/>
                    <a:pt x="72" y="47"/>
                    <a:pt x="72" y="48"/>
                  </a:cubicBezTo>
                  <a:cubicBezTo>
                    <a:pt x="72" y="48"/>
                    <a:pt x="71" y="49"/>
                    <a:pt x="71" y="49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1"/>
                    <a:pt x="65" y="51"/>
                    <a:pt x="64" y="51"/>
                  </a:cubicBezTo>
                  <a:cubicBezTo>
                    <a:pt x="63" y="50"/>
                    <a:pt x="62" y="50"/>
                    <a:pt x="61" y="49"/>
                  </a:cubicBezTo>
                  <a:cubicBezTo>
                    <a:pt x="60" y="49"/>
                    <a:pt x="58" y="49"/>
                    <a:pt x="57" y="50"/>
                  </a:cubicBezTo>
                  <a:cubicBezTo>
                    <a:pt x="56" y="51"/>
                    <a:pt x="55" y="51"/>
                    <a:pt x="53" y="53"/>
                  </a:cubicBezTo>
                  <a:cubicBezTo>
                    <a:pt x="52" y="54"/>
                    <a:pt x="51" y="55"/>
                    <a:pt x="50" y="56"/>
                  </a:cubicBezTo>
                  <a:cubicBezTo>
                    <a:pt x="50" y="58"/>
                    <a:pt x="49" y="59"/>
                    <a:pt x="50" y="60"/>
                  </a:cubicBezTo>
                  <a:cubicBezTo>
                    <a:pt x="50" y="61"/>
                    <a:pt x="51" y="63"/>
                    <a:pt x="51" y="64"/>
                  </a:cubicBezTo>
                  <a:cubicBezTo>
                    <a:pt x="52" y="64"/>
                    <a:pt x="52" y="65"/>
                    <a:pt x="52" y="65"/>
                  </a:cubicBezTo>
                  <a:cubicBezTo>
                    <a:pt x="52" y="65"/>
                    <a:pt x="52" y="66"/>
                    <a:pt x="52" y="66"/>
                  </a:cubicBezTo>
                  <a:cubicBezTo>
                    <a:pt x="52" y="67"/>
                    <a:pt x="51" y="69"/>
                    <a:pt x="50" y="70"/>
                  </a:cubicBezTo>
                  <a:cubicBezTo>
                    <a:pt x="50" y="70"/>
                    <a:pt x="50" y="71"/>
                    <a:pt x="50" y="71"/>
                  </a:cubicBezTo>
                  <a:cubicBezTo>
                    <a:pt x="50" y="71"/>
                    <a:pt x="49" y="71"/>
                    <a:pt x="48" y="71"/>
                  </a:cubicBezTo>
                  <a:cubicBezTo>
                    <a:pt x="47" y="72"/>
                    <a:pt x="46" y="72"/>
                    <a:pt x="45" y="73"/>
                  </a:cubicBezTo>
                  <a:cubicBezTo>
                    <a:pt x="44" y="73"/>
                    <a:pt x="43" y="74"/>
                    <a:pt x="42" y="76"/>
                  </a:cubicBezTo>
                  <a:cubicBezTo>
                    <a:pt x="42" y="77"/>
                    <a:pt x="42" y="78"/>
                    <a:pt x="42" y="80"/>
                  </a:cubicBezTo>
                  <a:cubicBezTo>
                    <a:pt x="42" y="82"/>
                    <a:pt x="42" y="83"/>
                    <a:pt x="42" y="85"/>
                  </a:cubicBezTo>
                  <a:cubicBezTo>
                    <a:pt x="43" y="86"/>
                    <a:pt x="44" y="87"/>
                    <a:pt x="45" y="88"/>
                  </a:cubicBezTo>
                  <a:cubicBezTo>
                    <a:pt x="46" y="88"/>
                    <a:pt x="47" y="89"/>
                    <a:pt x="48" y="89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1" y="92"/>
                    <a:pt x="52" y="93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2" y="96"/>
                    <a:pt x="51" y="97"/>
                  </a:cubicBezTo>
                  <a:cubicBezTo>
                    <a:pt x="51" y="98"/>
                    <a:pt x="50" y="99"/>
                    <a:pt x="50" y="100"/>
                  </a:cubicBezTo>
                  <a:cubicBezTo>
                    <a:pt x="49" y="102"/>
                    <a:pt x="50" y="103"/>
                    <a:pt x="50" y="104"/>
                  </a:cubicBezTo>
                  <a:cubicBezTo>
                    <a:pt x="51" y="106"/>
                    <a:pt x="52" y="106"/>
                    <a:pt x="53" y="108"/>
                  </a:cubicBezTo>
                  <a:cubicBezTo>
                    <a:pt x="55" y="109"/>
                    <a:pt x="56" y="110"/>
                    <a:pt x="57" y="111"/>
                  </a:cubicBezTo>
                  <a:cubicBezTo>
                    <a:pt x="58" y="112"/>
                    <a:pt x="60" y="112"/>
                    <a:pt x="61" y="111"/>
                  </a:cubicBezTo>
                  <a:cubicBezTo>
                    <a:pt x="62" y="111"/>
                    <a:pt x="63" y="110"/>
                    <a:pt x="64" y="110"/>
                  </a:cubicBezTo>
                  <a:cubicBezTo>
                    <a:pt x="65" y="109"/>
                    <a:pt x="66" y="109"/>
                    <a:pt x="66" y="109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68" y="110"/>
                    <a:pt x="69" y="110"/>
                    <a:pt x="71" y="111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1" y="112"/>
                    <a:pt x="72" y="112"/>
                    <a:pt x="72" y="113"/>
                  </a:cubicBezTo>
                  <a:cubicBezTo>
                    <a:pt x="72" y="114"/>
                    <a:pt x="73" y="115"/>
                    <a:pt x="73" y="116"/>
                  </a:cubicBezTo>
                  <a:cubicBezTo>
                    <a:pt x="74" y="118"/>
                    <a:pt x="75" y="119"/>
                    <a:pt x="76" y="119"/>
                  </a:cubicBezTo>
                  <a:cubicBezTo>
                    <a:pt x="77" y="119"/>
                    <a:pt x="79" y="119"/>
                    <a:pt x="81" y="119"/>
                  </a:cubicBezTo>
                  <a:cubicBezTo>
                    <a:pt x="83" y="119"/>
                    <a:pt x="84" y="119"/>
                    <a:pt x="85" y="119"/>
                  </a:cubicBezTo>
                  <a:cubicBezTo>
                    <a:pt x="87" y="119"/>
                    <a:pt x="88" y="118"/>
                    <a:pt x="89" y="116"/>
                  </a:cubicBezTo>
                  <a:cubicBezTo>
                    <a:pt x="89" y="115"/>
                    <a:pt x="89" y="114"/>
                    <a:pt x="90" y="113"/>
                  </a:cubicBezTo>
                  <a:cubicBezTo>
                    <a:pt x="90" y="112"/>
                    <a:pt x="90" y="112"/>
                    <a:pt x="91" y="111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92" y="110"/>
                    <a:pt x="94" y="110"/>
                    <a:pt x="96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6" y="109"/>
                    <a:pt x="97" y="109"/>
                    <a:pt x="98" y="110"/>
                  </a:cubicBezTo>
                  <a:cubicBezTo>
                    <a:pt x="99" y="110"/>
                    <a:pt x="100" y="111"/>
                    <a:pt x="101" y="111"/>
                  </a:cubicBezTo>
                  <a:cubicBezTo>
                    <a:pt x="101" y="111"/>
                    <a:pt x="102" y="112"/>
                    <a:pt x="102" y="112"/>
                  </a:cubicBezTo>
                  <a:cubicBezTo>
                    <a:pt x="103" y="112"/>
                    <a:pt x="104" y="111"/>
                    <a:pt x="105" y="111"/>
                  </a:cubicBezTo>
                  <a:cubicBezTo>
                    <a:pt x="106" y="110"/>
                    <a:pt x="107" y="109"/>
                    <a:pt x="108" y="108"/>
                  </a:cubicBezTo>
                  <a:cubicBezTo>
                    <a:pt x="110" y="106"/>
                    <a:pt x="111" y="105"/>
                    <a:pt x="111" y="104"/>
                  </a:cubicBezTo>
                  <a:cubicBezTo>
                    <a:pt x="112" y="103"/>
                    <a:pt x="112" y="102"/>
                    <a:pt x="112" y="100"/>
                  </a:cubicBezTo>
                  <a:cubicBezTo>
                    <a:pt x="111" y="99"/>
                    <a:pt x="111" y="98"/>
                    <a:pt x="110" y="97"/>
                  </a:cubicBezTo>
                  <a:cubicBezTo>
                    <a:pt x="110" y="96"/>
                    <a:pt x="110" y="96"/>
                    <a:pt x="110" y="95"/>
                  </a:cubicBezTo>
                  <a:cubicBezTo>
                    <a:pt x="110" y="95"/>
                    <a:pt x="110" y="95"/>
                    <a:pt x="109" y="95"/>
                  </a:cubicBezTo>
                  <a:cubicBezTo>
                    <a:pt x="110" y="94"/>
                    <a:pt x="111" y="92"/>
                    <a:pt x="112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0"/>
                    <a:pt x="113" y="90"/>
                    <a:pt x="114" y="89"/>
                  </a:cubicBezTo>
                  <a:cubicBezTo>
                    <a:pt x="115" y="89"/>
                    <a:pt x="116" y="88"/>
                    <a:pt x="117" y="88"/>
                  </a:cubicBezTo>
                  <a:cubicBezTo>
                    <a:pt x="118" y="87"/>
                    <a:pt x="119" y="86"/>
                    <a:pt x="119" y="85"/>
                  </a:cubicBezTo>
                  <a:cubicBezTo>
                    <a:pt x="120" y="83"/>
                    <a:pt x="120" y="82"/>
                    <a:pt x="120" y="80"/>
                  </a:cubicBezTo>
                  <a:cubicBezTo>
                    <a:pt x="120" y="78"/>
                    <a:pt x="120" y="77"/>
                    <a:pt x="119" y="76"/>
                  </a:cubicBezTo>
                  <a:moveTo>
                    <a:pt x="114" y="84"/>
                  </a:moveTo>
                  <a:cubicBezTo>
                    <a:pt x="114" y="84"/>
                    <a:pt x="113" y="84"/>
                    <a:pt x="112" y="85"/>
                  </a:cubicBezTo>
                  <a:cubicBezTo>
                    <a:pt x="111" y="85"/>
                    <a:pt x="110" y="85"/>
                    <a:pt x="110" y="85"/>
                  </a:cubicBezTo>
                  <a:cubicBezTo>
                    <a:pt x="109" y="86"/>
                    <a:pt x="108" y="86"/>
                    <a:pt x="107" y="87"/>
                  </a:cubicBezTo>
                  <a:cubicBezTo>
                    <a:pt x="107" y="87"/>
                    <a:pt x="107" y="88"/>
                    <a:pt x="107" y="88"/>
                  </a:cubicBezTo>
                  <a:cubicBezTo>
                    <a:pt x="106" y="90"/>
                    <a:pt x="106" y="92"/>
                    <a:pt x="105" y="93"/>
                  </a:cubicBezTo>
                  <a:cubicBezTo>
                    <a:pt x="105" y="94"/>
                    <a:pt x="104" y="94"/>
                    <a:pt x="104" y="94"/>
                  </a:cubicBezTo>
                  <a:cubicBezTo>
                    <a:pt x="104" y="95"/>
                    <a:pt x="104" y="96"/>
                    <a:pt x="105" y="97"/>
                  </a:cubicBezTo>
                  <a:cubicBezTo>
                    <a:pt x="105" y="98"/>
                    <a:pt x="105" y="98"/>
                    <a:pt x="106" y="99"/>
                  </a:cubicBezTo>
                  <a:cubicBezTo>
                    <a:pt x="106" y="100"/>
                    <a:pt x="106" y="101"/>
                    <a:pt x="107" y="102"/>
                  </a:cubicBezTo>
                  <a:cubicBezTo>
                    <a:pt x="106" y="102"/>
                    <a:pt x="106" y="103"/>
                    <a:pt x="105" y="104"/>
                  </a:cubicBezTo>
                  <a:cubicBezTo>
                    <a:pt x="104" y="105"/>
                    <a:pt x="103" y="106"/>
                    <a:pt x="102" y="106"/>
                  </a:cubicBezTo>
                  <a:cubicBezTo>
                    <a:pt x="101" y="106"/>
                    <a:pt x="100" y="105"/>
                    <a:pt x="100" y="105"/>
                  </a:cubicBezTo>
                  <a:cubicBezTo>
                    <a:pt x="99" y="105"/>
                    <a:pt x="98" y="104"/>
                    <a:pt x="98" y="104"/>
                  </a:cubicBezTo>
                  <a:cubicBezTo>
                    <a:pt x="97" y="104"/>
                    <a:pt x="96" y="104"/>
                    <a:pt x="95" y="104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2" y="105"/>
                    <a:pt x="90" y="106"/>
                    <a:pt x="89" y="106"/>
                  </a:cubicBezTo>
                  <a:cubicBezTo>
                    <a:pt x="88" y="106"/>
                    <a:pt x="88" y="106"/>
                    <a:pt x="88" y="107"/>
                  </a:cubicBezTo>
                  <a:cubicBezTo>
                    <a:pt x="87" y="107"/>
                    <a:pt x="86" y="108"/>
                    <a:pt x="86" y="109"/>
                  </a:cubicBezTo>
                  <a:cubicBezTo>
                    <a:pt x="86" y="110"/>
                    <a:pt x="85" y="110"/>
                    <a:pt x="85" y="111"/>
                  </a:cubicBezTo>
                  <a:cubicBezTo>
                    <a:pt x="85" y="112"/>
                    <a:pt x="84" y="113"/>
                    <a:pt x="84" y="114"/>
                  </a:cubicBezTo>
                  <a:cubicBezTo>
                    <a:pt x="83" y="114"/>
                    <a:pt x="82" y="114"/>
                    <a:pt x="81" y="114"/>
                  </a:cubicBezTo>
                  <a:cubicBezTo>
                    <a:pt x="79" y="114"/>
                    <a:pt x="79" y="114"/>
                    <a:pt x="78" y="114"/>
                  </a:cubicBezTo>
                  <a:cubicBezTo>
                    <a:pt x="77" y="113"/>
                    <a:pt x="77" y="112"/>
                    <a:pt x="77" y="111"/>
                  </a:cubicBezTo>
                  <a:cubicBezTo>
                    <a:pt x="76" y="110"/>
                    <a:pt x="76" y="110"/>
                    <a:pt x="76" y="109"/>
                  </a:cubicBezTo>
                  <a:cubicBezTo>
                    <a:pt x="75" y="108"/>
                    <a:pt x="75" y="107"/>
                    <a:pt x="73" y="106"/>
                  </a:cubicBezTo>
                  <a:cubicBezTo>
                    <a:pt x="73" y="106"/>
                    <a:pt x="73" y="106"/>
                    <a:pt x="73" y="106"/>
                  </a:cubicBezTo>
                  <a:cubicBezTo>
                    <a:pt x="71" y="106"/>
                    <a:pt x="70" y="105"/>
                    <a:pt x="68" y="104"/>
                  </a:cubicBezTo>
                  <a:cubicBezTo>
                    <a:pt x="68" y="104"/>
                    <a:pt x="68" y="104"/>
                    <a:pt x="68" y="104"/>
                  </a:cubicBezTo>
                  <a:cubicBezTo>
                    <a:pt x="67" y="104"/>
                    <a:pt x="65" y="104"/>
                    <a:pt x="64" y="104"/>
                  </a:cubicBezTo>
                  <a:cubicBezTo>
                    <a:pt x="64" y="104"/>
                    <a:pt x="63" y="105"/>
                    <a:pt x="62" y="105"/>
                  </a:cubicBezTo>
                  <a:cubicBezTo>
                    <a:pt x="61" y="105"/>
                    <a:pt x="60" y="106"/>
                    <a:pt x="59" y="106"/>
                  </a:cubicBezTo>
                  <a:cubicBezTo>
                    <a:pt x="59" y="106"/>
                    <a:pt x="58" y="105"/>
                    <a:pt x="57" y="104"/>
                  </a:cubicBezTo>
                  <a:cubicBezTo>
                    <a:pt x="56" y="103"/>
                    <a:pt x="56" y="103"/>
                    <a:pt x="55" y="102"/>
                  </a:cubicBezTo>
                  <a:cubicBezTo>
                    <a:pt x="55" y="101"/>
                    <a:pt x="56" y="100"/>
                    <a:pt x="56" y="99"/>
                  </a:cubicBezTo>
                  <a:cubicBezTo>
                    <a:pt x="56" y="98"/>
                    <a:pt x="57" y="98"/>
                    <a:pt x="57" y="97"/>
                  </a:cubicBezTo>
                  <a:cubicBezTo>
                    <a:pt x="57" y="96"/>
                    <a:pt x="57" y="94"/>
                    <a:pt x="57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6" y="91"/>
                    <a:pt x="56" y="90"/>
                    <a:pt x="55" y="89"/>
                  </a:cubicBezTo>
                  <a:cubicBezTo>
                    <a:pt x="55" y="89"/>
                    <a:pt x="55" y="89"/>
                    <a:pt x="55" y="88"/>
                  </a:cubicBezTo>
                  <a:cubicBezTo>
                    <a:pt x="55" y="87"/>
                    <a:pt x="53" y="86"/>
                    <a:pt x="52" y="85"/>
                  </a:cubicBezTo>
                  <a:cubicBezTo>
                    <a:pt x="52" y="85"/>
                    <a:pt x="51" y="85"/>
                    <a:pt x="50" y="85"/>
                  </a:cubicBezTo>
                  <a:cubicBezTo>
                    <a:pt x="49" y="84"/>
                    <a:pt x="48" y="84"/>
                    <a:pt x="47" y="84"/>
                  </a:cubicBezTo>
                  <a:cubicBezTo>
                    <a:pt x="47" y="82"/>
                    <a:pt x="47" y="82"/>
                    <a:pt x="47" y="80"/>
                  </a:cubicBezTo>
                  <a:cubicBezTo>
                    <a:pt x="47" y="79"/>
                    <a:pt x="47" y="78"/>
                    <a:pt x="47" y="77"/>
                  </a:cubicBezTo>
                  <a:cubicBezTo>
                    <a:pt x="48" y="77"/>
                    <a:pt x="49" y="76"/>
                    <a:pt x="50" y="76"/>
                  </a:cubicBezTo>
                  <a:cubicBezTo>
                    <a:pt x="51" y="76"/>
                    <a:pt x="52" y="76"/>
                    <a:pt x="52" y="75"/>
                  </a:cubicBezTo>
                  <a:cubicBezTo>
                    <a:pt x="53" y="75"/>
                    <a:pt x="55" y="74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6" y="71"/>
                    <a:pt x="56" y="69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6"/>
                    <a:pt x="57" y="65"/>
                    <a:pt x="57" y="63"/>
                  </a:cubicBezTo>
                  <a:cubicBezTo>
                    <a:pt x="57" y="63"/>
                    <a:pt x="56" y="62"/>
                    <a:pt x="56" y="62"/>
                  </a:cubicBezTo>
                  <a:cubicBezTo>
                    <a:pt x="56" y="61"/>
                    <a:pt x="55" y="60"/>
                    <a:pt x="55" y="59"/>
                  </a:cubicBezTo>
                  <a:cubicBezTo>
                    <a:pt x="56" y="58"/>
                    <a:pt x="56" y="57"/>
                    <a:pt x="57" y="56"/>
                  </a:cubicBezTo>
                  <a:cubicBezTo>
                    <a:pt x="58" y="55"/>
                    <a:pt x="59" y="55"/>
                    <a:pt x="59" y="54"/>
                  </a:cubicBezTo>
                  <a:cubicBezTo>
                    <a:pt x="60" y="55"/>
                    <a:pt x="61" y="55"/>
                    <a:pt x="62" y="56"/>
                  </a:cubicBezTo>
                  <a:cubicBezTo>
                    <a:pt x="63" y="56"/>
                    <a:pt x="64" y="56"/>
                    <a:pt x="64" y="56"/>
                  </a:cubicBezTo>
                  <a:cubicBezTo>
                    <a:pt x="65" y="57"/>
                    <a:pt x="67" y="57"/>
                    <a:pt x="68" y="57"/>
                  </a:cubicBezTo>
                  <a:cubicBezTo>
                    <a:pt x="68" y="57"/>
                    <a:pt x="68" y="56"/>
                    <a:pt x="68" y="56"/>
                  </a:cubicBezTo>
                  <a:cubicBezTo>
                    <a:pt x="70" y="56"/>
                    <a:pt x="71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5" y="54"/>
                    <a:pt x="75" y="53"/>
                    <a:pt x="76" y="51"/>
                  </a:cubicBezTo>
                  <a:cubicBezTo>
                    <a:pt x="76" y="51"/>
                    <a:pt x="76" y="50"/>
                    <a:pt x="77" y="49"/>
                  </a:cubicBezTo>
                  <a:cubicBezTo>
                    <a:pt x="77" y="49"/>
                    <a:pt x="77" y="48"/>
                    <a:pt x="78" y="47"/>
                  </a:cubicBezTo>
                  <a:cubicBezTo>
                    <a:pt x="79" y="47"/>
                    <a:pt x="79" y="47"/>
                    <a:pt x="81" y="47"/>
                  </a:cubicBezTo>
                  <a:cubicBezTo>
                    <a:pt x="82" y="47"/>
                    <a:pt x="83" y="47"/>
                    <a:pt x="84" y="47"/>
                  </a:cubicBezTo>
                  <a:cubicBezTo>
                    <a:pt x="84" y="48"/>
                    <a:pt x="85" y="49"/>
                    <a:pt x="85" y="49"/>
                  </a:cubicBezTo>
                  <a:cubicBezTo>
                    <a:pt x="85" y="50"/>
                    <a:pt x="86" y="51"/>
                    <a:pt x="86" y="51"/>
                  </a:cubicBezTo>
                  <a:cubicBezTo>
                    <a:pt x="86" y="52"/>
                    <a:pt x="87" y="53"/>
                    <a:pt x="88" y="54"/>
                  </a:cubicBezTo>
                  <a:cubicBezTo>
                    <a:pt x="88" y="54"/>
                    <a:pt x="88" y="54"/>
                    <a:pt x="89" y="54"/>
                  </a:cubicBezTo>
                  <a:cubicBezTo>
                    <a:pt x="90" y="55"/>
                    <a:pt x="92" y="56"/>
                    <a:pt x="94" y="56"/>
                  </a:cubicBezTo>
                  <a:cubicBezTo>
                    <a:pt x="94" y="57"/>
                    <a:pt x="94" y="57"/>
                    <a:pt x="95" y="57"/>
                  </a:cubicBezTo>
                  <a:cubicBezTo>
                    <a:pt x="96" y="57"/>
                    <a:pt x="97" y="57"/>
                    <a:pt x="98" y="56"/>
                  </a:cubicBezTo>
                  <a:cubicBezTo>
                    <a:pt x="98" y="56"/>
                    <a:pt x="99" y="56"/>
                    <a:pt x="100" y="56"/>
                  </a:cubicBezTo>
                  <a:cubicBezTo>
                    <a:pt x="100" y="55"/>
                    <a:pt x="101" y="55"/>
                    <a:pt x="102" y="54"/>
                  </a:cubicBezTo>
                  <a:cubicBezTo>
                    <a:pt x="103" y="55"/>
                    <a:pt x="104" y="55"/>
                    <a:pt x="105" y="56"/>
                  </a:cubicBezTo>
                  <a:cubicBezTo>
                    <a:pt x="106" y="57"/>
                    <a:pt x="106" y="58"/>
                    <a:pt x="107" y="59"/>
                  </a:cubicBezTo>
                  <a:cubicBezTo>
                    <a:pt x="106" y="60"/>
                    <a:pt x="106" y="61"/>
                    <a:pt x="106" y="62"/>
                  </a:cubicBezTo>
                  <a:cubicBezTo>
                    <a:pt x="105" y="62"/>
                    <a:pt x="105" y="63"/>
                    <a:pt x="105" y="63"/>
                  </a:cubicBezTo>
                  <a:cubicBezTo>
                    <a:pt x="104" y="64"/>
                    <a:pt x="104" y="65"/>
                    <a:pt x="104" y="66"/>
                  </a:cubicBezTo>
                  <a:cubicBezTo>
                    <a:pt x="104" y="67"/>
                    <a:pt x="105" y="67"/>
                    <a:pt x="105" y="67"/>
                  </a:cubicBezTo>
                  <a:cubicBezTo>
                    <a:pt x="106" y="69"/>
                    <a:pt x="106" y="71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8" y="74"/>
                    <a:pt x="109" y="75"/>
                    <a:pt x="110" y="75"/>
                  </a:cubicBezTo>
                  <a:cubicBezTo>
                    <a:pt x="110" y="76"/>
                    <a:pt x="111" y="76"/>
                    <a:pt x="112" y="76"/>
                  </a:cubicBezTo>
                  <a:cubicBezTo>
                    <a:pt x="113" y="76"/>
                    <a:pt x="114" y="77"/>
                    <a:pt x="114" y="77"/>
                  </a:cubicBezTo>
                  <a:cubicBezTo>
                    <a:pt x="115" y="78"/>
                    <a:pt x="115" y="79"/>
                    <a:pt x="115" y="80"/>
                  </a:cubicBezTo>
                  <a:cubicBezTo>
                    <a:pt x="115" y="82"/>
                    <a:pt x="115" y="82"/>
                    <a:pt x="114" y="84"/>
                  </a:cubicBezTo>
                  <a:moveTo>
                    <a:pt x="81" y="63"/>
                  </a:moveTo>
                  <a:cubicBezTo>
                    <a:pt x="71" y="63"/>
                    <a:pt x="64" y="71"/>
                    <a:pt x="64" y="80"/>
                  </a:cubicBezTo>
                  <a:cubicBezTo>
                    <a:pt x="64" y="90"/>
                    <a:pt x="71" y="98"/>
                    <a:pt x="81" y="98"/>
                  </a:cubicBezTo>
                  <a:cubicBezTo>
                    <a:pt x="90" y="98"/>
                    <a:pt x="98" y="90"/>
                    <a:pt x="98" y="80"/>
                  </a:cubicBezTo>
                  <a:cubicBezTo>
                    <a:pt x="98" y="71"/>
                    <a:pt x="90" y="63"/>
                    <a:pt x="81" y="63"/>
                  </a:cubicBezTo>
                  <a:moveTo>
                    <a:pt x="81" y="95"/>
                  </a:moveTo>
                  <a:cubicBezTo>
                    <a:pt x="73" y="95"/>
                    <a:pt x="66" y="88"/>
                    <a:pt x="66" y="80"/>
                  </a:cubicBezTo>
                  <a:cubicBezTo>
                    <a:pt x="66" y="72"/>
                    <a:pt x="73" y="66"/>
                    <a:pt x="81" y="66"/>
                  </a:cubicBezTo>
                  <a:cubicBezTo>
                    <a:pt x="89" y="66"/>
                    <a:pt x="95" y="72"/>
                    <a:pt x="95" y="80"/>
                  </a:cubicBezTo>
                  <a:cubicBezTo>
                    <a:pt x="95" y="88"/>
                    <a:pt x="89" y="95"/>
                    <a:pt x="81" y="95"/>
                  </a:cubicBezTo>
                  <a:moveTo>
                    <a:pt x="50" y="119"/>
                  </a:moveTo>
                  <a:cubicBezTo>
                    <a:pt x="39" y="110"/>
                    <a:pt x="33" y="98"/>
                    <a:pt x="32" y="85"/>
                  </a:cubicBezTo>
                  <a:cubicBezTo>
                    <a:pt x="32" y="83"/>
                    <a:pt x="30" y="82"/>
                    <a:pt x="29" y="83"/>
                  </a:cubicBezTo>
                  <a:cubicBezTo>
                    <a:pt x="28" y="83"/>
                    <a:pt x="27" y="84"/>
                    <a:pt x="27" y="85"/>
                  </a:cubicBezTo>
                  <a:cubicBezTo>
                    <a:pt x="28" y="100"/>
                    <a:pt x="35" y="113"/>
                    <a:pt x="47" y="123"/>
                  </a:cubicBezTo>
                  <a:cubicBezTo>
                    <a:pt x="47" y="123"/>
                    <a:pt x="48" y="123"/>
                    <a:pt x="48" y="123"/>
                  </a:cubicBezTo>
                  <a:cubicBezTo>
                    <a:pt x="49" y="123"/>
                    <a:pt x="50" y="123"/>
                    <a:pt x="50" y="122"/>
                  </a:cubicBezTo>
                  <a:cubicBezTo>
                    <a:pt x="51" y="121"/>
                    <a:pt x="51" y="120"/>
                    <a:pt x="50" y="119"/>
                  </a:cubicBezTo>
                  <a:moveTo>
                    <a:pt x="28" y="60"/>
                  </a:moveTo>
                  <a:cubicBezTo>
                    <a:pt x="29" y="61"/>
                    <a:pt x="30" y="61"/>
                    <a:pt x="30" y="62"/>
                  </a:cubicBezTo>
                  <a:cubicBezTo>
                    <a:pt x="31" y="63"/>
                    <a:pt x="32" y="63"/>
                    <a:pt x="33" y="63"/>
                  </a:cubicBezTo>
                  <a:cubicBezTo>
                    <a:pt x="34" y="63"/>
                    <a:pt x="35" y="62"/>
                    <a:pt x="36" y="62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40" y="60"/>
                    <a:pt x="41" y="59"/>
                    <a:pt x="41" y="57"/>
                  </a:cubicBezTo>
                  <a:cubicBezTo>
                    <a:pt x="41" y="57"/>
                    <a:pt x="41" y="56"/>
                    <a:pt x="41" y="55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2" y="53"/>
                    <a:pt x="42" y="53"/>
                    <a:pt x="43" y="52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5" y="52"/>
                    <a:pt x="46" y="52"/>
                    <a:pt x="47" y="52"/>
                  </a:cubicBezTo>
                  <a:cubicBezTo>
                    <a:pt x="48" y="52"/>
                    <a:pt x="49" y="51"/>
                    <a:pt x="50" y="50"/>
                  </a:cubicBezTo>
                  <a:cubicBezTo>
                    <a:pt x="50" y="49"/>
                    <a:pt x="50" y="49"/>
                    <a:pt x="51" y="47"/>
                  </a:cubicBezTo>
                  <a:cubicBezTo>
                    <a:pt x="52" y="46"/>
                    <a:pt x="52" y="45"/>
                    <a:pt x="52" y="44"/>
                  </a:cubicBezTo>
                  <a:cubicBezTo>
                    <a:pt x="52" y="43"/>
                    <a:pt x="52" y="42"/>
                    <a:pt x="51" y="41"/>
                  </a:cubicBezTo>
                  <a:cubicBezTo>
                    <a:pt x="51" y="40"/>
                    <a:pt x="50" y="40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7"/>
                    <a:pt x="49" y="36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50" y="34"/>
                    <a:pt x="50" y="34"/>
                    <a:pt x="51" y="33"/>
                  </a:cubicBezTo>
                  <a:cubicBezTo>
                    <a:pt x="52" y="32"/>
                    <a:pt x="52" y="31"/>
                    <a:pt x="52" y="30"/>
                  </a:cubicBezTo>
                  <a:cubicBezTo>
                    <a:pt x="52" y="29"/>
                    <a:pt x="51" y="28"/>
                    <a:pt x="51" y="27"/>
                  </a:cubicBezTo>
                  <a:cubicBezTo>
                    <a:pt x="50" y="25"/>
                    <a:pt x="50" y="25"/>
                    <a:pt x="49" y="24"/>
                  </a:cubicBezTo>
                  <a:cubicBezTo>
                    <a:pt x="49" y="23"/>
                    <a:pt x="48" y="22"/>
                    <a:pt x="46" y="22"/>
                  </a:cubicBezTo>
                  <a:cubicBezTo>
                    <a:pt x="46" y="22"/>
                    <a:pt x="45" y="22"/>
                    <a:pt x="44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2" y="21"/>
                    <a:pt x="42" y="21"/>
                    <a:pt x="41" y="20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18"/>
                    <a:pt x="41" y="17"/>
                    <a:pt x="41" y="17"/>
                  </a:cubicBezTo>
                  <a:cubicBezTo>
                    <a:pt x="41" y="15"/>
                    <a:pt x="40" y="14"/>
                    <a:pt x="39" y="14"/>
                  </a:cubicBezTo>
                  <a:cubicBezTo>
                    <a:pt x="38" y="13"/>
                    <a:pt x="38" y="13"/>
                    <a:pt x="36" y="12"/>
                  </a:cubicBezTo>
                  <a:cubicBezTo>
                    <a:pt x="35" y="12"/>
                    <a:pt x="34" y="11"/>
                    <a:pt x="33" y="11"/>
                  </a:cubicBezTo>
                  <a:cubicBezTo>
                    <a:pt x="32" y="11"/>
                    <a:pt x="31" y="11"/>
                    <a:pt x="30" y="12"/>
                  </a:cubicBezTo>
                  <a:cubicBezTo>
                    <a:pt x="29" y="13"/>
                    <a:pt x="29" y="13"/>
                    <a:pt x="28" y="14"/>
                  </a:cubicBezTo>
                  <a:cubicBezTo>
                    <a:pt x="28" y="14"/>
                    <a:pt x="28" y="14"/>
                    <a:pt x="28" y="15"/>
                  </a:cubicBezTo>
                  <a:cubicBezTo>
                    <a:pt x="27" y="15"/>
                    <a:pt x="26" y="15"/>
                    <a:pt x="25" y="15"/>
                  </a:cubicBezTo>
                  <a:cubicBezTo>
                    <a:pt x="25" y="14"/>
                    <a:pt x="24" y="14"/>
                    <a:pt x="24" y="14"/>
                  </a:cubicBezTo>
                  <a:cubicBezTo>
                    <a:pt x="23" y="13"/>
                    <a:pt x="23" y="13"/>
                    <a:pt x="22" y="12"/>
                  </a:cubicBezTo>
                  <a:cubicBezTo>
                    <a:pt x="21" y="11"/>
                    <a:pt x="20" y="11"/>
                    <a:pt x="19" y="11"/>
                  </a:cubicBezTo>
                  <a:cubicBezTo>
                    <a:pt x="18" y="11"/>
                    <a:pt x="17" y="12"/>
                    <a:pt x="16" y="12"/>
                  </a:cubicBezTo>
                  <a:cubicBezTo>
                    <a:pt x="15" y="13"/>
                    <a:pt x="14" y="13"/>
                    <a:pt x="13" y="14"/>
                  </a:cubicBezTo>
                  <a:cubicBezTo>
                    <a:pt x="12" y="14"/>
                    <a:pt x="11" y="15"/>
                    <a:pt x="11" y="17"/>
                  </a:cubicBezTo>
                  <a:cubicBezTo>
                    <a:pt x="11" y="17"/>
                    <a:pt x="11" y="18"/>
                    <a:pt x="11" y="19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1"/>
                    <a:pt x="10" y="22"/>
                    <a:pt x="9" y="22"/>
                  </a:cubicBezTo>
                  <a:cubicBezTo>
                    <a:pt x="9" y="22"/>
                    <a:pt x="9" y="22"/>
                    <a:pt x="8" y="22"/>
                  </a:cubicBezTo>
                  <a:cubicBezTo>
                    <a:pt x="8" y="22"/>
                    <a:pt x="7" y="22"/>
                    <a:pt x="6" y="22"/>
                  </a:cubicBezTo>
                  <a:cubicBezTo>
                    <a:pt x="5" y="22"/>
                    <a:pt x="3" y="23"/>
                    <a:pt x="3" y="24"/>
                  </a:cubicBezTo>
                  <a:cubicBezTo>
                    <a:pt x="2" y="25"/>
                    <a:pt x="2" y="25"/>
                    <a:pt x="1" y="27"/>
                  </a:cubicBezTo>
                  <a:cubicBezTo>
                    <a:pt x="1" y="28"/>
                    <a:pt x="1" y="29"/>
                    <a:pt x="0" y="30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2" y="34"/>
                    <a:pt x="3" y="34"/>
                    <a:pt x="3" y="35"/>
                  </a:cubicBezTo>
                  <a:cubicBezTo>
                    <a:pt x="3" y="35"/>
                    <a:pt x="4" y="35"/>
                    <a:pt x="4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4" y="39"/>
                    <a:pt x="3" y="39"/>
                    <a:pt x="3" y="39"/>
                  </a:cubicBezTo>
                  <a:cubicBezTo>
                    <a:pt x="3" y="40"/>
                    <a:pt x="2" y="40"/>
                    <a:pt x="1" y="41"/>
                  </a:cubicBezTo>
                  <a:cubicBezTo>
                    <a:pt x="0" y="42"/>
                    <a:pt x="0" y="43"/>
                    <a:pt x="0" y="44"/>
                  </a:cubicBezTo>
                  <a:cubicBezTo>
                    <a:pt x="1" y="45"/>
                    <a:pt x="1" y="46"/>
                    <a:pt x="1" y="47"/>
                  </a:cubicBezTo>
                  <a:cubicBezTo>
                    <a:pt x="2" y="49"/>
                    <a:pt x="2" y="49"/>
                    <a:pt x="3" y="50"/>
                  </a:cubicBezTo>
                  <a:cubicBezTo>
                    <a:pt x="4" y="51"/>
                    <a:pt x="5" y="52"/>
                    <a:pt x="6" y="52"/>
                  </a:cubicBezTo>
                  <a:cubicBezTo>
                    <a:pt x="7" y="52"/>
                    <a:pt x="8" y="52"/>
                    <a:pt x="8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10" y="53"/>
                    <a:pt x="11" y="53"/>
                    <a:pt x="11" y="54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6"/>
                    <a:pt x="11" y="57"/>
                    <a:pt x="11" y="57"/>
                  </a:cubicBezTo>
                  <a:cubicBezTo>
                    <a:pt x="11" y="59"/>
                    <a:pt x="12" y="60"/>
                    <a:pt x="13" y="60"/>
                  </a:cubicBezTo>
                  <a:cubicBezTo>
                    <a:pt x="14" y="61"/>
                    <a:pt x="15" y="61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9" y="63"/>
                    <a:pt x="20" y="63"/>
                    <a:pt x="20" y="63"/>
                  </a:cubicBezTo>
                  <a:cubicBezTo>
                    <a:pt x="21" y="63"/>
                    <a:pt x="22" y="63"/>
                    <a:pt x="22" y="62"/>
                  </a:cubicBezTo>
                  <a:cubicBezTo>
                    <a:pt x="23" y="61"/>
                    <a:pt x="23" y="61"/>
                    <a:pt x="24" y="60"/>
                  </a:cubicBezTo>
                  <a:cubicBezTo>
                    <a:pt x="24" y="60"/>
                    <a:pt x="25" y="60"/>
                    <a:pt x="25" y="59"/>
                  </a:cubicBezTo>
                  <a:cubicBezTo>
                    <a:pt x="26" y="59"/>
                    <a:pt x="27" y="59"/>
                    <a:pt x="28" y="59"/>
                  </a:cubicBezTo>
                  <a:cubicBezTo>
                    <a:pt x="28" y="60"/>
                    <a:pt x="28" y="60"/>
                    <a:pt x="28" y="60"/>
                  </a:cubicBezTo>
                  <a:moveTo>
                    <a:pt x="24" y="54"/>
                  </a:moveTo>
                  <a:cubicBezTo>
                    <a:pt x="24" y="54"/>
                    <a:pt x="24" y="54"/>
                    <a:pt x="24" y="54"/>
                  </a:cubicBezTo>
                  <a:cubicBezTo>
                    <a:pt x="23" y="55"/>
                    <a:pt x="22" y="55"/>
                    <a:pt x="21" y="56"/>
                  </a:cubicBezTo>
                  <a:cubicBezTo>
                    <a:pt x="21" y="56"/>
                    <a:pt x="21" y="56"/>
                    <a:pt x="20" y="57"/>
                  </a:cubicBezTo>
                  <a:cubicBezTo>
                    <a:pt x="20" y="57"/>
                    <a:pt x="20" y="57"/>
                    <a:pt x="19" y="58"/>
                  </a:cubicBezTo>
                  <a:cubicBezTo>
                    <a:pt x="19" y="58"/>
                    <a:pt x="19" y="57"/>
                    <a:pt x="18" y="57"/>
                  </a:cubicBezTo>
                  <a:cubicBezTo>
                    <a:pt x="17" y="57"/>
                    <a:pt x="17" y="57"/>
                    <a:pt x="16" y="56"/>
                  </a:cubicBezTo>
                  <a:cubicBezTo>
                    <a:pt x="16" y="56"/>
                    <a:pt x="16" y="55"/>
                    <a:pt x="17" y="55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6" y="52"/>
                    <a:pt x="16" y="51"/>
                  </a:cubicBezTo>
                  <a:cubicBezTo>
                    <a:pt x="15" y="51"/>
                    <a:pt x="15" y="50"/>
                    <a:pt x="15" y="50"/>
                  </a:cubicBezTo>
                  <a:cubicBezTo>
                    <a:pt x="14" y="50"/>
                    <a:pt x="14" y="49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2" y="47"/>
                    <a:pt x="11" y="47"/>
                    <a:pt x="10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6"/>
                    <a:pt x="6" y="46"/>
                    <a:pt x="6" y="45"/>
                  </a:cubicBezTo>
                  <a:cubicBezTo>
                    <a:pt x="6" y="45"/>
                    <a:pt x="6" y="44"/>
                    <a:pt x="6" y="44"/>
                  </a:cubicBezTo>
                  <a:cubicBezTo>
                    <a:pt x="6" y="44"/>
                    <a:pt x="6" y="43"/>
                    <a:pt x="7" y="43"/>
                  </a:cubicBezTo>
                  <a:cubicBezTo>
                    <a:pt x="7" y="42"/>
                    <a:pt x="7" y="42"/>
                    <a:pt x="8" y="42"/>
                  </a:cubicBezTo>
                  <a:cubicBezTo>
                    <a:pt x="8" y="41"/>
                    <a:pt x="9" y="40"/>
                    <a:pt x="9" y="3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7"/>
                    <a:pt x="9" y="37"/>
                    <a:pt x="9" y="36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4"/>
                    <a:pt x="8" y="33"/>
                    <a:pt x="8" y="32"/>
                  </a:cubicBezTo>
                  <a:cubicBezTo>
                    <a:pt x="7" y="32"/>
                    <a:pt x="7" y="32"/>
                    <a:pt x="7" y="31"/>
                  </a:cubicBezTo>
                  <a:cubicBezTo>
                    <a:pt x="6" y="31"/>
                    <a:pt x="6" y="30"/>
                    <a:pt x="6" y="30"/>
                  </a:cubicBezTo>
                  <a:cubicBezTo>
                    <a:pt x="6" y="30"/>
                    <a:pt x="6" y="29"/>
                    <a:pt x="6" y="29"/>
                  </a:cubicBezTo>
                  <a:cubicBezTo>
                    <a:pt x="6" y="28"/>
                    <a:pt x="7" y="28"/>
                    <a:pt x="7" y="27"/>
                  </a:cubicBezTo>
                  <a:cubicBezTo>
                    <a:pt x="7" y="27"/>
                    <a:pt x="8" y="27"/>
                    <a:pt x="8" y="27"/>
                  </a:cubicBezTo>
                  <a:cubicBezTo>
                    <a:pt x="9" y="27"/>
                    <a:pt x="9" y="27"/>
                    <a:pt x="10" y="27"/>
                  </a:cubicBezTo>
                  <a:cubicBezTo>
                    <a:pt x="11" y="27"/>
                    <a:pt x="12" y="27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3"/>
                    <a:pt x="17" y="22"/>
                    <a:pt x="17" y="20"/>
                  </a:cubicBezTo>
                  <a:cubicBezTo>
                    <a:pt x="17" y="20"/>
                    <a:pt x="16" y="20"/>
                    <a:pt x="16" y="19"/>
                  </a:cubicBezTo>
                  <a:cubicBezTo>
                    <a:pt x="16" y="19"/>
                    <a:pt x="16" y="18"/>
                    <a:pt x="16" y="18"/>
                  </a:cubicBezTo>
                  <a:cubicBezTo>
                    <a:pt x="17" y="17"/>
                    <a:pt x="17" y="17"/>
                    <a:pt x="18" y="17"/>
                  </a:cubicBezTo>
                  <a:cubicBezTo>
                    <a:pt x="18" y="17"/>
                    <a:pt x="19" y="16"/>
                    <a:pt x="19" y="16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9"/>
                    <a:pt x="23" y="20"/>
                    <a:pt x="24" y="20"/>
                  </a:cubicBezTo>
                  <a:cubicBezTo>
                    <a:pt x="24" y="20"/>
                    <a:pt x="24" y="20"/>
                    <a:pt x="25" y="20"/>
                  </a:cubicBezTo>
                  <a:cubicBezTo>
                    <a:pt x="26" y="20"/>
                    <a:pt x="27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9" y="20"/>
                    <a:pt x="30" y="19"/>
                    <a:pt x="31" y="18"/>
                  </a:cubicBezTo>
                  <a:cubicBezTo>
                    <a:pt x="31" y="18"/>
                    <a:pt x="32" y="18"/>
                    <a:pt x="32" y="17"/>
                  </a:cubicBezTo>
                  <a:cubicBezTo>
                    <a:pt x="32" y="17"/>
                    <a:pt x="33" y="17"/>
                    <a:pt x="33" y="16"/>
                  </a:cubicBezTo>
                  <a:cubicBezTo>
                    <a:pt x="33" y="16"/>
                    <a:pt x="34" y="17"/>
                    <a:pt x="34" y="17"/>
                  </a:cubicBezTo>
                  <a:cubicBezTo>
                    <a:pt x="35" y="17"/>
                    <a:pt x="35" y="17"/>
                    <a:pt x="36" y="18"/>
                  </a:cubicBezTo>
                  <a:cubicBezTo>
                    <a:pt x="36" y="18"/>
                    <a:pt x="36" y="19"/>
                    <a:pt x="36" y="19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1"/>
                    <a:pt x="36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8" y="24"/>
                    <a:pt x="39" y="25"/>
                    <a:pt x="40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1" y="27"/>
                    <a:pt x="42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5" y="27"/>
                    <a:pt x="46" y="27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9"/>
                    <a:pt x="47" y="30"/>
                    <a:pt x="47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4" y="33"/>
                    <a:pt x="44" y="33"/>
                    <a:pt x="44" y="34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4" y="36"/>
                    <a:pt x="44" y="38"/>
                    <a:pt x="43" y="39"/>
                  </a:cubicBezTo>
                  <a:cubicBezTo>
                    <a:pt x="43" y="39"/>
                    <a:pt x="43" y="39"/>
                    <a:pt x="43" y="40"/>
                  </a:cubicBezTo>
                  <a:cubicBezTo>
                    <a:pt x="44" y="41"/>
                    <a:pt x="44" y="41"/>
                    <a:pt x="45" y="42"/>
                  </a:cubicBezTo>
                  <a:cubicBezTo>
                    <a:pt x="45" y="42"/>
                    <a:pt x="45" y="42"/>
                    <a:pt x="46" y="43"/>
                  </a:cubicBezTo>
                  <a:cubicBezTo>
                    <a:pt x="46" y="43"/>
                    <a:pt x="46" y="44"/>
                    <a:pt x="47" y="44"/>
                  </a:cubicBezTo>
                  <a:cubicBezTo>
                    <a:pt x="47" y="44"/>
                    <a:pt x="47" y="45"/>
                    <a:pt x="46" y="45"/>
                  </a:cubicBezTo>
                  <a:cubicBezTo>
                    <a:pt x="46" y="46"/>
                    <a:pt x="46" y="46"/>
                    <a:pt x="46" y="47"/>
                  </a:cubicBezTo>
                  <a:cubicBezTo>
                    <a:pt x="45" y="47"/>
                    <a:pt x="45" y="47"/>
                    <a:pt x="44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2" y="47"/>
                    <a:pt x="41" y="47"/>
                    <a:pt x="40" y="47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39" y="49"/>
                    <a:pt x="38" y="50"/>
                    <a:pt x="37" y="51"/>
                  </a:cubicBezTo>
                  <a:cubicBezTo>
                    <a:pt x="37" y="51"/>
                    <a:pt x="37" y="51"/>
                    <a:pt x="36" y="51"/>
                  </a:cubicBezTo>
                  <a:cubicBezTo>
                    <a:pt x="36" y="52"/>
                    <a:pt x="36" y="53"/>
                    <a:pt x="36" y="54"/>
                  </a:cubicBezTo>
                  <a:cubicBezTo>
                    <a:pt x="36" y="54"/>
                    <a:pt x="36" y="54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6" y="57"/>
                    <a:pt x="35" y="57"/>
                    <a:pt x="34" y="57"/>
                  </a:cubicBezTo>
                  <a:cubicBezTo>
                    <a:pt x="34" y="57"/>
                    <a:pt x="33" y="57"/>
                    <a:pt x="33" y="58"/>
                  </a:cubicBezTo>
                  <a:cubicBezTo>
                    <a:pt x="33" y="57"/>
                    <a:pt x="32" y="57"/>
                    <a:pt x="32" y="57"/>
                  </a:cubicBezTo>
                  <a:cubicBezTo>
                    <a:pt x="32" y="56"/>
                    <a:pt x="31" y="56"/>
                    <a:pt x="31" y="56"/>
                  </a:cubicBezTo>
                  <a:cubicBezTo>
                    <a:pt x="30" y="55"/>
                    <a:pt x="30" y="55"/>
                    <a:pt x="29" y="54"/>
                  </a:cubicBezTo>
                  <a:cubicBezTo>
                    <a:pt x="29" y="54"/>
                    <a:pt x="28" y="54"/>
                    <a:pt x="28" y="54"/>
                  </a:cubicBezTo>
                  <a:cubicBezTo>
                    <a:pt x="27" y="54"/>
                    <a:pt x="26" y="54"/>
                    <a:pt x="24" y="54"/>
                  </a:cubicBezTo>
                  <a:moveTo>
                    <a:pt x="37" y="42"/>
                  </a:moveTo>
                  <a:cubicBezTo>
                    <a:pt x="39" y="39"/>
                    <a:pt x="39" y="35"/>
                    <a:pt x="37" y="32"/>
                  </a:cubicBezTo>
                  <a:cubicBezTo>
                    <a:pt x="36" y="29"/>
                    <a:pt x="34" y="27"/>
                    <a:pt x="31" y="26"/>
                  </a:cubicBezTo>
                  <a:cubicBezTo>
                    <a:pt x="29" y="25"/>
                    <a:pt x="28" y="25"/>
                    <a:pt x="26" y="25"/>
                  </a:cubicBezTo>
                  <a:cubicBezTo>
                    <a:pt x="21" y="25"/>
                    <a:pt x="17" y="28"/>
                    <a:pt x="15" y="32"/>
                  </a:cubicBezTo>
                  <a:cubicBezTo>
                    <a:pt x="14" y="35"/>
                    <a:pt x="14" y="39"/>
                    <a:pt x="15" y="42"/>
                  </a:cubicBezTo>
                  <a:cubicBezTo>
                    <a:pt x="16" y="45"/>
                    <a:pt x="19" y="47"/>
                    <a:pt x="22" y="48"/>
                  </a:cubicBezTo>
                  <a:cubicBezTo>
                    <a:pt x="23" y="49"/>
                    <a:pt x="25" y="49"/>
                    <a:pt x="26" y="49"/>
                  </a:cubicBezTo>
                  <a:cubicBezTo>
                    <a:pt x="31" y="49"/>
                    <a:pt x="35" y="46"/>
                    <a:pt x="37" y="42"/>
                  </a:cubicBezTo>
                  <a:moveTo>
                    <a:pt x="26" y="46"/>
                  </a:moveTo>
                  <a:cubicBezTo>
                    <a:pt x="25" y="46"/>
                    <a:pt x="24" y="46"/>
                    <a:pt x="23" y="46"/>
                  </a:cubicBezTo>
                  <a:cubicBezTo>
                    <a:pt x="20" y="45"/>
                    <a:pt x="19" y="43"/>
                    <a:pt x="18" y="41"/>
                  </a:cubicBezTo>
                  <a:cubicBezTo>
                    <a:pt x="17" y="38"/>
                    <a:pt x="17" y="36"/>
                    <a:pt x="18" y="33"/>
                  </a:cubicBezTo>
                  <a:cubicBezTo>
                    <a:pt x="19" y="30"/>
                    <a:pt x="22" y="28"/>
                    <a:pt x="26" y="28"/>
                  </a:cubicBezTo>
                  <a:cubicBezTo>
                    <a:pt x="27" y="28"/>
                    <a:pt x="29" y="28"/>
                    <a:pt x="30" y="28"/>
                  </a:cubicBezTo>
                  <a:cubicBezTo>
                    <a:pt x="32" y="29"/>
                    <a:pt x="34" y="31"/>
                    <a:pt x="35" y="33"/>
                  </a:cubicBezTo>
                  <a:cubicBezTo>
                    <a:pt x="36" y="36"/>
                    <a:pt x="36" y="38"/>
                    <a:pt x="35" y="41"/>
                  </a:cubicBezTo>
                  <a:cubicBezTo>
                    <a:pt x="33" y="44"/>
                    <a:pt x="30" y="46"/>
                    <a:pt x="26" y="46"/>
                  </a:cubicBezTo>
                  <a:moveTo>
                    <a:pt x="47" y="6"/>
                  </a:moveTo>
                  <a:cubicBezTo>
                    <a:pt x="54" y="10"/>
                    <a:pt x="59" y="17"/>
                    <a:pt x="62" y="25"/>
                  </a:cubicBezTo>
                  <a:cubicBezTo>
                    <a:pt x="62" y="26"/>
                    <a:pt x="63" y="26"/>
                    <a:pt x="64" y="26"/>
                  </a:cubicBezTo>
                  <a:cubicBezTo>
                    <a:pt x="64" y="26"/>
                    <a:pt x="65" y="26"/>
                    <a:pt x="65" y="26"/>
                  </a:cubicBezTo>
                  <a:cubicBezTo>
                    <a:pt x="66" y="26"/>
                    <a:pt x="67" y="24"/>
                    <a:pt x="67" y="23"/>
                  </a:cubicBezTo>
                  <a:cubicBezTo>
                    <a:pt x="64" y="14"/>
                    <a:pt x="58" y="7"/>
                    <a:pt x="50" y="1"/>
                  </a:cubicBezTo>
                  <a:cubicBezTo>
                    <a:pt x="49" y="0"/>
                    <a:pt x="47" y="1"/>
                    <a:pt x="46" y="2"/>
                  </a:cubicBezTo>
                  <a:cubicBezTo>
                    <a:pt x="45" y="3"/>
                    <a:pt x="46" y="5"/>
                    <a:pt x="47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4" name="Group 191">
            <a:extLst>
              <a:ext uri="{FF2B5EF4-FFF2-40B4-BE49-F238E27FC236}">
                <a16:creationId xmlns:a16="http://schemas.microsoft.com/office/drawing/2014/main" id="{B45B16DF-2473-440C-A8E9-20D27772EA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559" y="4168980"/>
            <a:ext cx="758825" cy="758825"/>
            <a:chOff x="5007" y="2719"/>
            <a:chExt cx="478" cy="478"/>
          </a:xfrm>
        </p:grpSpPr>
        <p:sp>
          <p:nvSpPr>
            <p:cNvPr id="225" name="AutoShape 190">
              <a:extLst>
                <a:ext uri="{FF2B5EF4-FFF2-40B4-BE49-F238E27FC236}">
                  <a16:creationId xmlns:a16="http://schemas.microsoft.com/office/drawing/2014/main" id="{46643E85-EB7D-4155-A4C0-C5686DF3DAB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07" y="27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92">
              <a:extLst>
                <a:ext uri="{FF2B5EF4-FFF2-40B4-BE49-F238E27FC236}">
                  <a16:creationId xmlns:a16="http://schemas.microsoft.com/office/drawing/2014/main" id="{25E7BF66-C045-4143-A825-E56D098E0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9" y="272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3">
              <a:extLst>
                <a:ext uri="{FF2B5EF4-FFF2-40B4-BE49-F238E27FC236}">
                  <a16:creationId xmlns:a16="http://schemas.microsoft.com/office/drawing/2014/main" id="{1DFA9C3B-DE45-4D1A-AE67-D16D6B50D4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5" y="2793"/>
              <a:ext cx="304" cy="311"/>
            </a:xfrm>
            <a:custGeom>
              <a:avLst/>
              <a:gdLst>
                <a:gd name="T0" fmla="*/ 99 w 124"/>
                <a:gd name="T1" fmla="*/ 71 h 127"/>
                <a:gd name="T2" fmla="*/ 62 w 124"/>
                <a:gd name="T3" fmla="*/ 69 h 127"/>
                <a:gd name="T4" fmla="*/ 25 w 124"/>
                <a:gd name="T5" fmla="*/ 71 h 127"/>
                <a:gd name="T6" fmla="*/ 13 w 124"/>
                <a:gd name="T7" fmla="*/ 92 h 127"/>
                <a:gd name="T8" fmla="*/ 37 w 124"/>
                <a:gd name="T9" fmla="*/ 59 h 127"/>
                <a:gd name="T10" fmla="*/ 37 w 124"/>
                <a:gd name="T11" fmla="*/ 56 h 127"/>
                <a:gd name="T12" fmla="*/ 41 w 124"/>
                <a:gd name="T13" fmla="*/ 42 h 127"/>
                <a:gd name="T14" fmla="*/ 47 w 124"/>
                <a:gd name="T15" fmla="*/ 59 h 127"/>
                <a:gd name="T16" fmla="*/ 62 w 124"/>
                <a:gd name="T17" fmla="*/ 68 h 127"/>
                <a:gd name="T18" fmla="*/ 77 w 124"/>
                <a:gd name="T19" fmla="*/ 59 h 127"/>
                <a:gd name="T20" fmla="*/ 83 w 124"/>
                <a:gd name="T21" fmla="*/ 43 h 127"/>
                <a:gd name="T22" fmla="*/ 87 w 124"/>
                <a:gd name="T23" fmla="*/ 56 h 127"/>
                <a:gd name="T24" fmla="*/ 87 w 124"/>
                <a:gd name="T25" fmla="*/ 59 h 127"/>
                <a:gd name="T26" fmla="*/ 111 w 124"/>
                <a:gd name="T27" fmla="*/ 92 h 127"/>
                <a:gd name="T28" fmla="*/ 62 w 124"/>
                <a:gd name="T29" fmla="*/ 124 h 127"/>
                <a:gd name="T30" fmla="*/ 28 w 124"/>
                <a:gd name="T31" fmla="*/ 121 h 127"/>
                <a:gd name="T32" fmla="*/ 96 w 124"/>
                <a:gd name="T33" fmla="*/ 121 h 127"/>
                <a:gd name="T34" fmla="*/ 62 w 124"/>
                <a:gd name="T35" fmla="*/ 124 h 127"/>
                <a:gd name="T36" fmla="*/ 96 w 124"/>
                <a:gd name="T37" fmla="*/ 72 h 127"/>
                <a:gd name="T38" fmla="*/ 62 w 124"/>
                <a:gd name="T39" fmla="*/ 118 h 127"/>
                <a:gd name="T40" fmla="*/ 28 w 124"/>
                <a:gd name="T41" fmla="*/ 72 h 127"/>
                <a:gd name="T42" fmla="*/ 80 w 124"/>
                <a:gd name="T43" fmla="*/ 42 h 127"/>
                <a:gd name="T44" fmla="*/ 62 w 124"/>
                <a:gd name="T45" fmla="*/ 65 h 127"/>
                <a:gd name="T46" fmla="*/ 44 w 124"/>
                <a:gd name="T47" fmla="*/ 41 h 127"/>
                <a:gd name="T48" fmla="*/ 43 w 124"/>
                <a:gd name="T49" fmla="*/ 17 h 127"/>
                <a:gd name="T50" fmla="*/ 61 w 124"/>
                <a:gd name="T51" fmla="*/ 9 h 127"/>
                <a:gd name="T52" fmla="*/ 63 w 124"/>
                <a:gd name="T53" fmla="*/ 9 h 127"/>
                <a:gd name="T54" fmla="*/ 81 w 124"/>
                <a:gd name="T55" fmla="*/ 17 h 127"/>
                <a:gd name="T56" fmla="*/ 83 w 124"/>
                <a:gd name="T57" fmla="*/ 39 h 127"/>
                <a:gd name="T58" fmla="*/ 82 w 124"/>
                <a:gd name="T59" fmla="*/ 39 h 127"/>
                <a:gd name="T60" fmla="*/ 63 w 124"/>
                <a:gd name="T61" fmla="*/ 22 h 127"/>
                <a:gd name="T62" fmla="*/ 61 w 124"/>
                <a:gd name="T63" fmla="*/ 22 h 127"/>
                <a:gd name="T64" fmla="*/ 42 w 124"/>
                <a:gd name="T65" fmla="*/ 39 h 127"/>
                <a:gd name="T66" fmla="*/ 41 w 124"/>
                <a:gd name="T67" fmla="*/ 39 h 127"/>
                <a:gd name="T68" fmla="*/ 43 w 124"/>
                <a:gd name="T69" fmla="*/ 17 h 127"/>
                <a:gd name="T70" fmla="*/ 106 w 124"/>
                <a:gd name="T71" fmla="*/ 113 h 127"/>
                <a:gd name="T72" fmla="*/ 114 w 124"/>
                <a:gd name="T73" fmla="*/ 91 h 127"/>
                <a:gd name="T74" fmla="*/ 90 w 124"/>
                <a:gd name="T75" fmla="*/ 57 h 127"/>
                <a:gd name="T76" fmla="*/ 84 w 124"/>
                <a:gd name="T77" fmla="*/ 15 h 127"/>
                <a:gd name="T78" fmla="*/ 62 w 124"/>
                <a:gd name="T79" fmla="*/ 0 h 127"/>
                <a:gd name="T80" fmla="*/ 62 w 124"/>
                <a:gd name="T81" fmla="*/ 0 h 127"/>
                <a:gd name="T82" fmla="*/ 62 w 124"/>
                <a:gd name="T83" fmla="*/ 0 h 127"/>
                <a:gd name="T84" fmla="*/ 27 w 124"/>
                <a:gd name="T85" fmla="*/ 47 h 127"/>
                <a:gd name="T86" fmla="*/ 27 w 124"/>
                <a:gd name="T87" fmla="*/ 47 h 127"/>
                <a:gd name="T88" fmla="*/ 17 w 124"/>
                <a:gd name="T89" fmla="*/ 73 h 127"/>
                <a:gd name="T90" fmla="*/ 10 w 124"/>
                <a:gd name="T91" fmla="*/ 92 h 127"/>
                <a:gd name="T92" fmla="*/ 1 w 124"/>
                <a:gd name="T93" fmla="*/ 113 h 127"/>
                <a:gd name="T94" fmla="*/ 1 w 124"/>
                <a:gd name="T95" fmla="*/ 115 h 127"/>
                <a:gd name="T96" fmla="*/ 25 w 124"/>
                <a:gd name="T97" fmla="*/ 120 h 127"/>
                <a:gd name="T98" fmla="*/ 27 w 124"/>
                <a:gd name="T99" fmla="*/ 127 h 127"/>
                <a:gd name="T100" fmla="*/ 97 w 124"/>
                <a:gd name="T101" fmla="*/ 127 h 127"/>
                <a:gd name="T102" fmla="*/ 99 w 124"/>
                <a:gd name="T103" fmla="*/ 120 h 127"/>
                <a:gd name="T104" fmla="*/ 123 w 124"/>
                <a:gd name="T105" fmla="*/ 115 h 127"/>
                <a:gd name="T106" fmla="*/ 123 w 124"/>
                <a:gd name="T107" fmla="*/ 11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127">
                  <a:moveTo>
                    <a:pt x="99" y="11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9" y="70"/>
                    <a:pt x="98" y="69"/>
                    <a:pt x="97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5" y="70"/>
                    <a:pt x="25" y="71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15" y="106"/>
                    <a:pt x="13" y="94"/>
                    <a:pt x="13" y="92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2" y="66"/>
                    <a:pt x="37" y="59"/>
                    <a:pt x="37" y="59"/>
                  </a:cubicBezTo>
                  <a:cubicBezTo>
                    <a:pt x="37" y="58"/>
                    <a:pt x="38" y="58"/>
                    <a:pt x="38" y="58"/>
                  </a:cubicBezTo>
                  <a:cubicBezTo>
                    <a:pt x="38" y="57"/>
                    <a:pt x="37" y="57"/>
                    <a:pt x="37" y="56"/>
                  </a:cubicBezTo>
                  <a:cubicBezTo>
                    <a:pt x="35" y="55"/>
                    <a:pt x="31" y="51"/>
                    <a:pt x="30" y="48"/>
                  </a:cubicBezTo>
                  <a:cubicBezTo>
                    <a:pt x="31" y="46"/>
                    <a:pt x="35" y="44"/>
                    <a:pt x="41" y="42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6" y="59"/>
                    <a:pt x="47" y="59"/>
                    <a:pt x="47" y="59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3" y="68"/>
                    <a:pt x="63" y="67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7" y="44"/>
                    <a:pt x="90" y="46"/>
                    <a:pt x="94" y="48"/>
                  </a:cubicBezTo>
                  <a:cubicBezTo>
                    <a:pt x="93" y="51"/>
                    <a:pt x="89" y="55"/>
                    <a:pt x="87" y="56"/>
                  </a:cubicBezTo>
                  <a:cubicBezTo>
                    <a:pt x="87" y="57"/>
                    <a:pt x="86" y="57"/>
                    <a:pt x="86" y="58"/>
                  </a:cubicBezTo>
                  <a:cubicBezTo>
                    <a:pt x="86" y="58"/>
                    <a:pt x="87" y="58"/>
                    <a:pt x="87" y="59"/>
                  </a:cubicBezTo>
                  <a:cubicBezTo>
                    <a:pt x="87" y="59"/>
                    <a:pt x="102" y="66"/>
                    <a:pt x="104" y="74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4"/>
                    <a:pt x="109" y="106"/>
                    <a:pt x="99" y="116"/>
                  </a:cubicBezTo>
                  <a:moveTo>
                    <a:pt x="62" y="124"/>
                  </a:moveTo>
                  <a:cubicBezTo>
                    <a:pt x="28" y="124"/>
                    <a:pt x="28" y="124"/>
                    <a:pt x="28" y="124"/>
                  </a:cubicBezTo>
                  <a:cubicBezTo>
                    <a:pt x="28" y="121"/>
                    <a:pt x="28" y="121"/>
                    <a:pt x="28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96" y="121"/>
                    <a:pt x="96" y="121"/>
                    <a:pt x="96" y="121"/>
                  </a:cubicBezTo>
                  <a:cubicBezTo>
                    <a:pt x="96" y="124"/>
                    <a:pt x="96" y="124"/>
                    <a:pt x="96" y="124"/>
                  </a:cubicBezTo>
                  <a:lnTo>
                    <a:pt x="62" y="124"/>
                  </a:lnTo>
                  <a:close/>
                  <a:moveTo>
                    <a:pt x="62" y="72"/>
                  </a:moveTo>
                  <a:cubicBezTo>
                    <a:pt x="96" y="72"/>
                    <a:pt x="96" y="72"/>
                    <a:pt x="96" y="72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28" y="72"/>
                    <a:pt x="28" y="72"/>
                    <a:pt x="28" y="72"/>
                  </a:cubicBezTo>
                  <a:lnTo>
                    <a:pt x="62" y="72"/>
                  </a:lnTo>
                  <a:close/>
                  <a:moveTo>
                    <a:pt x="80" y="42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53" y="38"/>
                    <a:pt x="65" y="37"/>
                    <a:pt x="80" y="42"/>
                  </a:cubicBezTo>
                  <a:moveTo>
                    <a:pt x="43" y="17"/>
                  </a:moveTo>
                  <a:cubicBezTo>
                    <a:pt x="49" y="6"/>
                    <a:pt x="57" y="4"/>
                    <a:pt x="61" y="3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10"/>
                    <a:pt x="61" y="10"/>
                    <a:pt x="62" y="10"/>
                  </a:cubicBezTo>
                  <a:cubicBezTo>
                    <a:pt x="63" y="10"/>
                    <a:pt x="63" y="10"/>
                    <a:pt x="63" y="9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7" y="4"/>
                    <a:pt x="75" y="6"/>
                    <a:pt x="81" y="17"/>
                  </a:cubicBezTo>
                  <a:cubicBezTo>
                    <a:pt x="91" y="34"/>
                    <a:pt x="94" y="41"/>
                    <a:pt x="94" y="45"/>
                  </a:cubicBezTo>
                  <a:cubicBezTo>
                    <a:pt x="90" y="42"/>
                    <a:pt x="87" y="41"/>
                    <a:pt x="83" y="39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83" y="39"/>
                    <a:pt x="82" y="39"/>
                    <a:pt x="82" y="39"/>
                  </a:cubicBezTo>
                  <a:cubicBezTo>
                    <a:pt x="76" y="37"/>
                    <a:pt x="69" y="36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1" y="21"/>
                    <a:pt x="61" y="21"/>
                    <a:pt x="61" y="22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53" y="35"/>
                    <a:pt x="47" y="37"/>
                    <a:pt x="42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36" y="41"/>
                    <a:pt x="32" y="43"/>
                    <a:pt x="30" y="44"/>
                  </a:cubicBezTo>
                  <a:cubicBezTo>
                    <a:pt x="31" y="41"/>
                    <a:pt x="34" y="33"/>
                    <a:pt x="43" y="17"/>
                  </a:cubicBezTo>
                  <a:moveTo>
                    <a:pt x="123" y="113"/>
                  </a:moveTo>
                  <a:cubicBezTo>
                    <a:pt x="106" y="113"/>
                    <a:pt x="106" y="113"/>
                    <a:pt x="106" y="113"/>
                  </a:cubicBezTo>
                  <a:cubicBezTo>
                    <a:pt x="113" y="102"/>
                    <a:pt x="114" y="92"/>
                    <a:pt x="114" y="92"/>
                  </a:cubicBezTo>
                  <a:cubicBezTo>
                    <a:pt x="114" y="92"/>
                    <a:pt x="114" y="92"/>
                    <a:pt x="114" y="91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4" y="66"/>
                    <a:pt x="94" y="59"/>
                    <a:pt x="90" y="57"/>
                  </a:cubicBezTo>
                  <a:cubicBezTo>
                    <a:pt x="93" y="55"/>
                    <a:pt x="96" y="51"/>
                    <a:pt x="97" y="47"/>
                  </a:cubicBezTo>
                  <a:cubicBezTo>
                    <a:pt x="98" y="46"/>
                    <a:pt x="99" y="41"/>
                    <a:pt x="84" y="15"/>
                  </a:cubicBezTo>
                  <a:cubicBezTo>
                    <a:pt x="75" y="1"/>
                    <a:pt x="64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49" y="1"/>
                    <a:pt x="40" y="15"/>
                  </a:cubicBezTo>
                  <a:cubicBezTo>
                    <a:pt x="25" y="41"/>
                    <a:pt x="26" y="46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51"/>
                    <a:pt x="31" y="55"/>
                    <a:pt x="34" y="57"/>
                  </a:cubicBezTo>
                  <a:cubicBezTo>
                    <a:pt x="30" y="59"/>
                    <a:pt x="20" y="66"/>
                    <a:pt x="17" y="73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3"/>
                    <a:pt x="11" y="103"/>
                    <a:pt x="18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3"/>
                    <a:pt x="0" y="113"/>
                    <a:pt x="0" y="114"/>
                  </a:cubicBezTo>
                  <a:cubicBezTo>
                    <a:pt x="0" y="115"/>
                    <a:pt x="0" y="115"/>
                    <a:pt x="1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22" y="117"/>
                    <a:pt x="24" y="119"/>
                    <a:pt x="25" y="120"/>
                  </a:cubicBezTo>
                  <a:cubicBezTo>
                    <a:pt x="25" y="125"/>
                    <a:pt x="25" y="125"/>
                    <a:pt x="25" y="125"/>
                  </a:cubicBezTo>
                  <a:cubicBezTo>
                    <a:pt x="25" y="126"/>
                    <a:pt x="26" y="127"/>
                    <a:pt x="27" y="127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8" y="127"/>
                    <a:pt x="99" y="126"/>
                    <a:pt x="99" y="125"/>
                  </a:cubicBezTo>
                  <a:cubicBezTo>
                    <a:pt x="99" y="120"/>
                    <a:pt x="99" y="120"/>
                    <a:pt x="99" y="120"/>
                  </a:cubicBezTo>
                  <a:cubicBezTo>
                    <a:pt x="100" y="119"/>
                    <a:pt x="102" y="117"/>
                    <a:pt x="103" y="115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4" y="115"/>
                    <a:pt x="124" y="115"/>
                    <a:pt x="124" y="114"/>
                  </a:cubicBezTo>
                  <a:cubicBezTo>
                    <a:pt x="124" y="113"/>
                    <a:pt x="124" y="113"/>
                    <a:pt x="123" y="1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94">
              <a:extLst>
                <a:ext uri="{FF2B5EF4-FFF2-40B4-BE49-F238E27FC236}">
                  <a16:creationId xmlns:a16="http://schemas.microsoft.com/office/drawing/2014/main" id="{A4FDCE03-EFBD-4BD4-8A9B-0A57497FA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3" y="2986"/>
              <a:ext cx="71" cy="84"/>
            </a:xfrm>
            <a:custGeom>
              <a:avLst/>
              <a:gdLst>
                <a:gd name="T0" fmla="*/ 6 w 29"/>
                <a:gd name="T1" fmla="*/ 6 h 34"/>
                <a:gd name="T2" fmla="*/ 15 w 29"/>
                <a:gd name="T3" fmla="*/ 3 h 34"/>
                <a:gd name="T4" fmla="*/ 25 w 29"/>
                <a:gd name="T5" fmla="*/ 13 h 34"/>
                <a:gd name="T6" fmla="*/ 23 w 29"/>
                <a:gd name="T7" fmla="*/ 22 h 34"/>
                <a:gd name="T8" fmla="*/ 23 w 29"/>
                <a:gd name="T9" fmla="*/ 22 h 34"/>
                <a:gd name="T10" fmla="*/ 23 w 29"/>
                <a:gd name="T11" fmla="*/ 24 h 34"/>
                <a:gd name="T12" fmla="*/ 24 w 29"/>
                <a:gd name="T13" fmla="*/ 27 h 34"/>
                <a:gd name="T14" fmla="*/ 20 w 29"/>
                <a:gd name="T15" fmla="*/ 25 h 34"/>
                <a:gd name="T16" fmla="*/ 19 w 29"/>
                <a:gd name="T17" fmla="*/ 25 h 34"/>
                <a:gd name="T18" fmla="*/ 18 w 29"/>
                <a:gd name="T19" fmla="*/ 26 h 34"/>
                <a:gd name="T20" fmla="*/ 18 w 29"/>
                <a:gd name="T21" fmla="*/ 31 h 34"/>
                <a:gd name="T22" fmla="*/ 10 w 29"/>
                <a:gd name="T23" fmla="*/ 31 h 34"/>
                <a:gd name="T24" fmla="*/ 10 w 29"/>
                <a:gd name="T25" fmla="*/ 26 h 34"/>
                <a:gd name="T26" fmla="*/ 9 w 29"/>
                <a:gd name="T27" fmla="*/ 25 h 34"/>
                <a:gd name="T28" fmla="*/ 8 w 29"/>
                <a:gd name="T29" fmla="*/ 25 h 34"/>
                <a:gd name="T30" fmla="*/ 4 w 29"/>
                <a:gd name="T31" fmla="*/ 27 h 34"/>
                <a:gd name="T32" fmla="*/ 5 w 29"/>
                <a:gd name="T33" fmla="*/ 24 h 34"/>
                <a:gd name="T34" fmla="*/ 5 w 29"/>
                <a:gd name="T35" fmla="*/ 23 h 34"/>
                <a:gd name="T36" fmla="*/ 5 w 29"/>
                <a:gd name="T37" fmla="*/ 22 h 34"/>
                <a:gd name="T38" fmla="*/ 3 w 29"/>
                <a:gd name="T39" fmla="*/ 14 h 34"/>
                <a:gd name="T40" fmla="*/ 6 w 29"/>
                <a:gd name="T41" fmla="*/ 6 h 34"/>
                <a:gd name="T42" fmla="*/ 2 w 29"/>
                <a:gd name="T43" fmla="*/ 28 h 34"/>
                <a:gd name="T44" fmla="*/ 7 w 29"/>
                <a:gd name="T45" fmla="*/ 29 h 34"/>
                <a:gd name="T46" fmla="*/ 7 w 29"/>
                <a:gd name="T47" fmla="*/ 32 h 34"/>
                <a:gd name="T48" fmla="*/ 9 w 29"/>
                <a:gd name="T49" fmla="*/ 34 h 34"/>
                <a:gd name="T50" fmla="*/ 19 w 29"/>
                <a:gd name="T51" fmla="*/ 34 h 34"/>
                <a:gd name="T52" fmla="*/ 21 w 29"/>
                <a:gd name="T53" fmla="*/ 32 h 34"/>
                <a:gd name="T54" fmla="*/ 21 w 29"/>
                <a:gd name="T55" fmla="*/ 29 h 34"/>
                <a:gd name="T56" fmla="*/ 27 w 29"/>
                <a:gd name="T57" fmla="*/ 28 h 34"/>
                <a:gd name="T58" fmla="*/ 26 w 29"/>
                <a:gd name="T59" fmla="*/ 23 h 34"/>
                <a:gd name="T60" fmla="*/ 28 w 29"/>
                <a:gd name="T61" fmla="*/ 13 h 34"/>
                <a:gd name="T62" fmla="*/ 16 w 29"/>
                <a:gd name="T63" fmla="*/ 0 h 34"/>
                <a:gd name="T64" fmla="*/ 4 w 29"/>
                <a:gd name="T65" fmla="*/ 4 h 34"/>
                <a:gd name="T66" fmla="*/ 0 w 29"/>
                <a:gd name="T67" fmla="*/ 14 h 34"/>
                <a:gd name="T68" fmla="*/ 2 w 29"/>
                <a:gd name="T69" fmla="*/ 23 h 34"/>
                <a:gd name="T70" fmla="*/ 2 w 29"/>
                <a:gd name="T71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" h="34">
                  <a:moveTo>
                    <a:pt x="6" y="6"/>
                  </a:moveTo>
                  <a:cubicBezTo>
                    <a:pt x="9" y="4"/>
                    <a:pt x="12" y="3"/>
                    <a:pt x="15" y="3"/>
                  </a:cubicBezTo>
                  <a:cubicBezTo>
                    <a:pt x="20" y="4"/>
                    <a:pt x="25" y="8"/>
                    <a:pt x="25" y="13"/>
                  </a:cubicBezTo>
                  <a:cubicBezTo>
                    <a:pt x="26" y="16"/>
                    <a:pt x="25" y="19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3"/>
                    <a:pt x="23" y="23"/>
                    <a:pt x="23" y="24"/>
                  </a:cubicBezTo>
                  <a:cubicBezTo>
                    <a:pt x="24" y="25"/>
                    <a:pt x="25" y="26"/>
                    <a:pt x="24" y="27"/>
                  </a:cubicBezTo>
                  <a:cubicBezTo>
                    <a:pt x="24" y="27"/>
                    <a:pt x="22" y="26"/>
                    <a:pt x="20" y="25"/>
                  </a:cubicBezTo>
                  <a:cubicBezTo>
                    <a:pt x="20" y="25"/>
                    <a:pt x="19" y="25"/>
                    <a:pt x="19" y="25"/>
                  </a:cubicBezTo>
                  <a:cubicBezTo>
                    <a:pt x="18" y="25"/>
                    <a:pt x="18" y="26"/>
                    <a:pt x="18" y="26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5"/>
                    <a:pt x="9" y="25"/>
                  </a:cubicBezTo>
                  <a:cubicBezTo>
                    <a:pt x="9" y="25"/>
                    <a:pt x="8" y="25"/>
                    <a:pt x="8" y="25"/>
                  </a:cubicBezTo>
                  <a:cubicBezTo>
                    <a:pt x="6" y="26"/>
                    <a:pt x="4" y="27"/>
                    <a:pt x="4" y="27"/>
                  </a:cubicBezTo>
                  <a:cubicBezTo>
                    <a:pt x="4" y="26"/>
                    <a:pt x="4" y="25"/>
                    <a:pt x="5" y="24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0"/>
                    <a:pt x="3" y="17"/>
                    <a:pt x="3" y="14"/>
                  </a:cubicBezTo>
                  <a:cubicBezTo>
                    <a:pt x="3" y="11"/>
                    <a:pt x="4" y="8"/>
                    <a:pt x="6" y="6"/>
                  </a:cubicBezTo>
                  <a:moveTo>
                    <a:pt x="2" y="28"/>
                  </a:moveTo>
                  <a:cubicBezTo>
                    <a:pt x="3" y="30"/>
                    <a:pt x="5" y="29"/>
                    <a:pt x="7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8" y="34"/>
                    <a:pt x="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1" y="33"/>
                    <a:pt x="21" y="32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29"/>
                    <a:pt x="25" y="30"/>
                    <a:pt x="27" y="28"/>
                  </a:cubicBezTo>
                  <a:cubicBezTo>
                    <a:pt x="28" y="26"/>
                    <a:pt x="27" y="24"/>
                    <a:pt x="26" y="23"/>
                  </a:cubicBezTo>
                  <a:cubicBezTo>
                    <a:pt x="28" y="20"/>
                    <a:pt x="29" y="16"/>
                    <a:pt x="28" y="13"/>
                  </a:cubicBezTo>
                  <a:cubicBezTo>
                    <a:pt x="27" y="6"/>
                    <a:pt x="22" y="1"/>
                    <a:pt x="16" y="0"/>
                  </a:cubicBezTo>
                  <a:cubicBezTo>
                    <a:pt x="12" y="0"/>
                    <a:pt x="7" y="1"/>
                    <a:pt x="4" y="4"/>
                  </a:cubicBezTo>
                  <a:cubicBezTo>
                    <a:pt x="1" y="7"/>
                    <a:pt x="0" y="10"/>
                    <a:pt x="0" y="14"/>
                  </a:cubicBezTo>
                  <a:cubicBezTo>
                    <a:pt x="0" y="17"/>
                    <a:pt x="1" y="20"/>
                    <a:pt x="2" y="23"/>
                  </a:cubicBezTo>
                  <a:cubicBezTo>
                    <a:pt x="1" y="24"/>
                    <a:pt x="0" y="26"/>
                    <a:pt x="2" y="2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5">
              <a:extLst>
                <a:ext uri="{FF2B5EF4-FFF2-40B4-BE49-F238E27FC236}">
                  <a16:creationId xmlns:a16="http://schemas.microsoft.com/office/drawing/2014/main" id="{F1B2F87F-195A-44F8-83AC-F52F9AE8E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3021"/>
              <a:ext cx="17" cy="12"/>
            </a:xfrm>
            <a:custGeom>
              <a:avLst/>
              <a:gdLst>
                <a:gd name="T0" fmla="*/ 2 w 7"/>
                <a:gd name="T1" fmla="*/ 3 h 5"/>
                <a:gd name="T2" fmla="*/ 5 w 7"/>
                <a:gd name="T3" fmla="*/ 5 h 5"/>
                <a:gd name="T4" fmla="*/ 6 w 7"/>
                <a:gd name="T5" fmla="*/ 5 h 5"/>
                <a:gd name="T6" fmla="*/ 7 w 7"/>
                <a:gd name="T7" fmla="*/ 4 h 5"/>
                <a:gd name="T8" fmla="*/ 6 w 7"/>
                <a:gd name="T9" fmla="*/ 2 h 5"/>
                <a:gd name="T10" fmla="*/ 3 w 7"/>
                <a:gd name="T11" fmla="*/ 0 h 5"/>
                <a:gd name="T12" fmla="*/ 1 w 7"/>
                <a:gd name="T13" fmla="*/ 1 h 5"/>
                <a:gd name="T14" fmla="*/ 2 w 7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2" y="3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6">
              <a:extLst>
                <a:ext uri="{FF2B5EF4-FFF2-40B4-BE49-F238E27FC236}">
                  <a16:creationId xmlns:a16="http://schemas.microsoft.com/office/drawing/2014/main" id="{B707A55F-1C0A-48E2-A3ED-75B9102C4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" y="3021"/>
              <a:ext cx="17" cy="12"/>
            </a:xfrm>
            <a:custGeom>
              <a:avLst/>
              <a:gdLst>
                <a:gd name="T0" fmla="*/ 1 w 7"/>
                <a:gd name="T1" fmla="*/ 5 h 5"/>
                <a:gd name="T2" fmla="*/ 2 w 7"/>
                <a:gd name="T3" fmla="*/ 5 h 5"/>
                <a:gd name="T4" fmla="*/ 5 w 7"/>
                <a:gd name="T5" fmla="*/ 3 h 5"/>
                <a:gd name="T6" fmla="*/ 6 w 7"/>
                <a:gd name="T7" fmla="*/ 1 h 5"/>
                <a:gd name="T8" fmla="*/ 4 w 7"/>
                <a:gd name="T9" fmla="*/ 0 h 5"/>
                <a:gd name="T10" fmla="*/ 1 w 7"/>
                <a:gd name="T11" fmla="*/ 2 h 5"/>
                <a:gd name="T12" fmla="*/ 0 w 7"/>
                <a:gd name="T13" fmla="*/ 4 h 5"/>
                <a:gd name="T14" fmla="*/ 1 w 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6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97">
              <a:extLst>
                <a:ext uri="{FF2B5EF4-FFF2-40B4-BE49-F238E27FC236}">
                  <a16:creationId xmlns:a16="http://schemas.microsoft.com/office/drawing/2014/main" id="{B58B995B-93C5-40C5-9B4C-174031C6C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2824"/>
              <a:ext cx="5" cy="13"/>
            </a:xfrm>
            <a:custGeom>
              <a:avLst/>
              <a:gdLst>
                <a:gd name="T0" fmla="*/ 1 w 2"/>
                <a:gd name="T1" fmla="*/ 5 h 5"/>
                <a:gd name="T2" fmla="*/ 2 w 2"/>
                <a:gd name="T3" fmla="*/ 4 h 5"/>
                <a:gd name="T4" fmla="*/ 2 w 2"/>
                <a:gd name="T5" fmla="*/ 2 h 5"/>
                <a:gd name="T6" fmla="*/ 1 w 2"/>
                <a:gd name="T7" fmla="*/ 0 h 5"/>
                <a:gd name="T8" fmla="*/ 0 w 2"/>
                <a:gd name="T9" fmla="*/ 2 h 5"/>
                <a:gd name="T10" fmla="*/ 0 w 2"/>
                <a:gd name="T11" fmla="*/ 4 h 5"/>
                <a:gd name="T12" fmla="*/ 1 w 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2" y="5"/>
                    <a:pt x="2" y="5"/>
                    <a:pt x="2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1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98">
              <a:extLst>
                <a:ext uri="{FF2B5EF4-FFF2-40B4-BE49-F238E27FC236}">
                  <a16:creationId xmlns:a16="http://schemas.microsoft.com/office/drawing/2014/main" id="{9F7D9A17-BDAE-405D-8A85-164BD01EB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2900"/>
              <a:ext cx="10" cy="25"/>
            </a:xfrm>
            <a:custGeom>
              <a:avLst/>
              <a:gdLst>
                <a:gd name="T0" fmla="*/ 1 w 4"/>
                <a:gd name="T1" fmla="*/ 10 h 10"/>
                <a:gd name="T2" fmla="*/ 3 w 4"/>
                <a:gd name="T3" fmla="*/ 10 h 10"/>
                <a:gd name="T4" fmla="*/ 4 w 4"/>
                <a:gd name="T5" fmla="*/ 9 h 10"/>
                <a:gd name="T6" fmla="*/ 3 w 4"/>
                <a:gd name="T7" fmla="*/ 7 h 10"/>
                <a:gd name="T8" fmla="*/ 2 w 4"/>
                <a:gd name="T9" fmla="*/ 7 h 10"/>
                <a:gd name="T10" fmla="*/ 2 w 4"/>
                <a:gd name="T11" fmla="*/ 1 h 10"/>
                <a:gd name="T12" fmla="*/ 1 w 4"/>
                <a:gd name="T13" fmla="*/ 0 h 10"/>
                <a:gd name="T14" fmla="*/ 0 w 4"/>
                <a:gd name="T15" fmla="*/ 1 h 10"/>
                <a:gd name="T16" fmla="*/ 0 w 4"/>
                <a:gd name="T17" fmla="*/ 9 h 10"/>
                <a:gd name="T18" fmla="*/ 1 w 4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0">
                  <a:moveTo>
                    <a:pt x="1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1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201">
            <a:extLst>
              <a:ext uri="{FF2B5EF4-FFF2-40B4-BE49-F238E27FC236}">
                <a16:creationId xmlns:a16="http://schemas.microsoft.com/office/drawing/2014/main" id="{3F5BB5AC-EBDE-4ACE-8B47-C76CC58210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9438" y="4127705"/>
            <a:ext cx="841375" cy="841375"/>
            <a:chOff x="4313" y="2588"/>
            <a:chExt cx="530" cy="530"/>
          </a:xfrm>
        </p:grpSpPr>
        <p:sp>
          <p:nvSpPr>
            <p:cNvPr id="234" name="AutoShape 200">
              <a:extLst>
                <a:ext uri="{FF2B5EF4-FFF2-40B4-BE49-F238E27FC236}">
                  <a16:creationId xmlns:a16="http://schemas.microsoft.com/office/drawing/2014/main" id="{656C572A-6084-4AC5-AAAF-17450088F81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13" y="258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202">
              <a:extLst>
                <a:ext uri="{FF2B5EF4-FFF2-40B4-BE49-F238E27FC236}">
                  <a16:creationId xmlns:a16="http://schemas.microsoft.com/office/drawing/2014/main" id="{2032054B-BE79-40ED-A2E0-BF4A11C4B2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3" y="258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3">
              <a:extLst>
                <a:ext uri="{FF2B5EF4-FFF2-40B4-BE49-F238E27FC236}">
                  <a16:creationId xmlns:a16="http://schemas.microsoft.com/office/drawing/2014/main" id="{36BF818C-2C5F-4A60-BB16-3B4227336A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1" y="260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4">
              <a:extLst>
                <a:ext uri="{FF2B5EF4-FFF2-40B4-BE49-F238E27FC236}">
                  <a16:creationId xmlns:a16="http://schemas.microsoft.com/office/drawing/2014/main" id="{62663E00-ACDB-41ED-829B-108C32DBB2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0" y="2680"/>
              <a:ext cx="318" cy="325"/>
            </a:xfrm>
            <a:custGeom>
              <a:avLst/>
              <a:gdLst>
                <a:gd name="T0" fmla="*/ 99 w 124"/>
                <a:gd name="T1" fmla="*/ 71 h 127"/>
                <a:gd name="T2" fmla="*/ 62 w 124"/>
                <a:gd name="T3" fmla="*/ 69 h 127"/>
                <a:gd name="T4" fmla="*/ 25 w 124"/>
                <a:gd name="T5" fmla="*/ 71 h 127"/>
                <a:gd name="T6" fmla="*/ 13 w 124"/>
                <a:gd name="T7" fmla="*/ 92 h 127"/>
                <a:gd name="T8" fmla="*/ 37 w 124"/>
                <a:gd name="T9" fmla="*/ 59 h 127"/>
                <a:gd name="T10" fmla="*/ 37 w 124"/>
                <a:gd name="T11" fmla="*/ 56 h 127"/>
                <a:gd name="T12" fmla="*/ 41 w 124"/>
                <a:gd name="T13" fmla="*/ 42 h 127"/>
                <a:gd name="T14" fmla="*/ 47 w 124"/>
                <a:gd name="T15" fmla="*/ 59 h 127"/>
                <a:gd name="T16" fmla="*/ 62 w 124"/>
                <a:gd name="T17" fmla="*/ 68 h 127"/>
                <a:gd name="T18" fmla="*/ 77 w 124"/>
                <a:gd name="T19" fmla="*/ 59 h 127"/>
                <a:gd name="T20" fmla="*/ 83 w 124"/>
                <a:gd name="T21" fmla="*/ 43 h 127"/>
                <a:gd name="T22" fmla="*/ 87 w 124"/>
                <a:gd name="T23" fmla="*/ 56 h 127"/>
                <a:gd name="T24" fmla="*/ 87 w 124"/>
                <a:gd name="T25" fmla="*/ 59 h 127"/>
                <a:gd name="T26" fmla="*/ 111 w 124"/>
                <a:gd name="T27" fmla="*/ 92 h 127"/>
                <a:gd name="T28" fmla="*/ 62 w 124"/>
                <a:gd name="T29" fmla="*/ 124 h 127"/>
                <a:gd name="T30" fmla="*/ 28 w 124"/>
                <a:gd name="T31" fmla="*/ 121 h 127"/>
                <a:gd name="T32" fmla="*/ 96 w 124"/>
                <a:gd name="T33" fmla="*/ 121 h 127"/>
                <a:gd name="T34" fmla="*/ 62 w 124"/>
                <a:gd name="T35" fmla="*/ 124 h 127"/>
                <a:gd name="T36" fmla="*/ 96 w 124"/>
                <a:gd name="T37" fmla="*/ 72 h 127"/>
                <a:gd name="T38" fmla="*/ 62 w 124"/>
                <a:gd name="T39" fmla="*/ 118 h 127"/>
                <a:gd name="T40" fmla="*/ 28 w 124"/>
                <a:gd name="T41" fmla="*/ 72 h 127"/>
                <a:gd name="T42" fmla="*/ 80 w 124"/>
                <a:gd name="T43" fmla="*/ 42 h 127"/>
                <a:gd name="T44" fmla="*/ 62 w 124"/>
                <a:gd name="T45" fmla="*/ 65 h 127"/>
                <a:gd name="T46" fmla="*/ 44 w 124"/>
                <a:gd name="T47" fmla="*/ 41 h 127"/>
                <a:gd name="T48" fmla="*/ 43 w 124"/>
                <a:gd name="T49" fmla="*/ 17 h 127"/>
                <a:gd name="T50" fmla="*/ 61 w 124"/>
                <a:gd name="T51" fmla="*/ 9 h 127"/>
                <a:gd name="T52" fmla="*/ 63 w 124"/>
                <a:gd name="T53" fmla="*/ 9 h 127"/>
                <a:gd name="T54" fmla="*/ 81 w 124"/>
                <a:gd name="T55" fmla="*/ 17 h 127"/>
                <a:gd name="T56" fmla="*/ 83 w 124"/>
                <a:gd name="T57" fmla="*/ 39 h 127"/>
                <a:gd name="T58" fmla="*/ 82 w 124"/>
                <a:gd name="T59" fmla="*/ 39 h 127"/>
                <a:gd name="T60" fmla="*/ 63 w 124"/>
                <a:gd name="T61" fmla="*/ 22 h 127"/>
                <a:gd name="T62" fmla="*/ 61 w 124"/>
                <a:gd name="T63" fmla="*/ 22 h 127"/>
                <a:gd name="T64" fmla="*/ 42 w 124"/>
                <a:gd name="T65" fmla="*/ 39 h 127"/>
                <a:gd name="T66" fmla="*/ 41 w 124"/>
                <a:gd name="T67" fmla="*/ 39 h 127"/>
                <a:gd name="T68" fmla="*/ 43 w 124"/>
                <a:gd name="T69" fmla="*/ 17 h 127"/>
                <a:gd name="T70" fmla="*/ 106 w 124"/>
                <a:gd name="T71" fmla="*/ 113 h 127"/>
                <a:gd name="T72" fmla="*/ 114 w 124"/>
                <a:gd name="T73" fmla="*/ 91 h 127"/>
                <a:gd name="T74" fmla="*/ 90 w 124"/>
                <a:gd name="T75" fmla="*/ 57 h 127"/>
                <a:gd name="T76" fmla="*/ 84 w 124"/>
                <a:gd name="T77" fmla="*/ 15 h 127"/>
                <a:gd name="T78" fmla="*/ 62 w 124"/>
                <a:gd name="T79" fmla="*/ 0 h 127"/>
                <a:gd name="T80" fmla="*/ 62 w 124"/>
                <a:gd name="T81" fmla="*/ 0 h 127"/>
                <a:gd name="T82" fmla="*/ 62 w 124"/>
                <a:gd name="T83" fmla="*/ 0 h 127"/>
                <a:gd name="T84" fmla="*/ 27 w 124"/>
                <a:gd name="T85" fmla="*/ 47 h 127"/>
                <a:gd name="T86" fmla="*/ 27 w 124"/>
                <a:gd name="T87" fmla="*/ 47 h 127"/>
                <a:gd name="T88" fmla="*/ 17 w 124"/>
                <a:gd name="T89" fmla="*/ 73 h 127"/>
                <a:gd name="T90" fmla="*/ 10 w 124"/>
                <a:gd name="T91" fmla="*/ 92 h 127"/>
                <a:gd name="T92" fmla="*/ 1 w 124"/>
                <a:gd name="T93" fmla="*/ 113 h 127"/>
                <a:gd name="T94" fmla="*/ 1 w 124"/>
                <a:gd name="T95" fmla="*/ 115 h 127"/>
                <a:gd name="T96" fmla="*/ 25 w 124"/>
                <a:gd name="T97" fmla="*/ 120 h 127"/>
                <a:gd name="T98" fmla="*/ 27 w 124"/>
                <a:gd name="T99" fmla="*/ 127 h 127"/>
                <a:gd name="T100" fmla="*/ 97 w 124"/>
                <a:gd name="T101" fmla="*/ 127 h 127"/>
                <a:gd name="T102" fmla="*/ 99 w 124"/>
                <a:gd name="T103" fmla="*/ 120 h 127"/>
                <a:gd name="T104" fmla="*/ 123 w 124"/>
                <a:gd name="T105" fmla="*/ 115 h 127"/>
                <a:gd name="T106" fmla="*/ 123 w 124"/>
                <a:gd name="T107" fmla="*/ 11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127">
                  <a:moveTo>
                    <a:pt x="99" y="11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9" y="70"/>
                    <a:pt x="98" y="69"/>
                    <a:pt x="97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5" y="70"/>
                    <a:pt x="25" y="71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15" y="106"/>
                    <a:pt x="13" y="94"/>
                    <a:pt x="13" y="92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2" y="66"/>
                    <a:pt x="37" y="59"/>
                    <a:pt x="37" y="59"/>
                  </a:cubicBezTo>
                  <a:cubicBezTo>
                    <a:pt x="37" y="58"/>
                    <a:pt x="38" y="58"/>
                    <a:pt x="38" y="58"/>
                  </a:cubicBezTo>
                  <a:cubicBezTo>
                    <a:pt x="38" y="57"/>
                    <a:pt x="37" y="57"/>
                    <a:pt x="37" y="56"/>
                  </a:cubicBezTo>
                  <a:cubicBezTo>
                    <a:pt x="35" y="55"/>
                    <a:pt x="31" y="51"/>
                    <a:pt x="30" y="48"/>
                  </a:cubicBezTo>
                  <a:cubicBezTo>
                    <a:pt x="31" y="46"/>
                    <a:pt x="35" y="44"/>
                    <a:pt x="41" y="42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6" y="59"/>
                    <a:pt x="47" y="59"/>
                    <a:pt x="47" y="59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3" y="68"/>
                    <a:pt x="63" y="67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7" y="44"/>
                    <a:pt x="90" y="46"/>
                    <a:pt x="94" y="48"/>
                  </a:cubicBezTo>
                  <a:cubicBezTo>
                    <a:pt x="93" y="51"/>
                    <a:pt x="89" y="55"/>
                    <a:pt x="87" y="56"/>
                  </a:cubicBezTo>
                  <a:cubicBezTo>
                    <a:pt x="87" y="57"/>
                    <a:pt x="86" y="57"/>
                    <a:pt x="86" y="58"/>
                  </a:cubicBezTo>
                  <a:cubicBezTo>
                    <a:pt x="86" y="58"/>
                    <a:pt x="87" y="58"/>
                    <a:pt x="87" y="59"/>
                  </a:cubicBezTo>
                  <a:cubicBezTo>
                    <a:pt x="87" y="59"/>
                    <a:pt x="102" y="66"/>
                    <a:pt x="104" y="74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4"/>
                    <a:pt x="109" y="106"/>
                    <a:pt x="99" y="116"/>
                  </a:cubicBezTo>
                  <a:moveTo>
                    <a:pt x="62" y="124"/>
                  </a:moveTo>
                  <a:cubicBezTo>
                    <a:pt x="28" y="124"/>
                    <a:pt x="28" y="124"/>
                    <a:pt x="28" y="124"/>
                  </a:cubicBezTo>
                  <a:cubicBezTo>
                    <a:pt x="28" y="121"/>
                    <a:pt x="28" y="121"/>
                    <a:pt x="28" y="121"/>
                  </a:cubicBezTo>
                  <a:cubicBezTo>
                    <a:pt x="62" y="121"/>
                    <a:pt x="62" y="121"/>
                    <a:pt x="62" y="121"/>
                  </a:cubicBezTo>
                  <a:cubicBezTo>
                    <a:pt x="96" y="121"/>
                    <a:pt x="96" y="121"/>
                    <a:pt x="96" y="121"/>
                  </a:cubicBezTo>
                  <a:cubicBezTo>
                    <a:pt x="96" y="124"/>
                    <a:pt x="96" y="124"/>
                    <a:pt x="96" y="124"/>
                  </a:cubicBezTo>
                  <a:lnTo>
                    <a:pt x="62" y="124"/>
                  </a:lnTo>
                  <a:close/>
                  <a:moveTo>
                    <a:pt x="62" y="72"/>
                  </a:moveTo>
                  <a:cubicBezTo>
                    <a:pt x="96" y="72"/>
                    <a:pt x="96" y="72"/>
                    <a:pt x="96" y="72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28" y="72"/>
                    <a:pt x="28" y="72"/>
                    <a:pt x="28" y="72"/>
                  </a:cubicBezTo>
                  <a:lnTo>
                    <a:pt x="62" y="72"/>
                  </a:lnTo>
                  <a:close/>
                  <a:moveTo>
                    <a:pt x="80" y="42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53" y="38"/>
                    <a:pt x="65" y="37"/>
                    <a:pt x="80" y="42"/>
                  </a:cubicBezTo>
                  <a:moveTo>
                    <a:pt x="43" y="17"/>
                  </a:moveTo>
                  <a:cubicBezTo>
                    <a:pt x="49" y="6"/>
                    <a:pt x="57" y="4"/>
                    <a:pt x="61" y="3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10"/>
                    <a:pt x="61" y="10"/>
                    <a:pt x="62" y="10"/>
                  </a:cubicBezTo>
                  <a:cubicBezTo>
                    <a:pt x="63" y="10"/>
                    <a:pt x="63" y="10"/>
                    <a:pt x="63" y="9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7" y="4"/>
                    <a:pt x="75" y="6"/>
                    <a:pt x="81" y="17"/>
                  </a:cubicBezTo>
                  <a:cubicBezTo>
                    <a:pt x="91" y="34"/>
                    <a:pt x="94" y="41"/>
                    <a:pt x="94" y="45"/>
                  </a:cubicBezTo>
                  <a:cubicBezTo>
                    <a:pt x="90" y="42"/>
                    <a:pt x="87" y="41"/>
                    <a:pt x="83" y="39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83" y="39"/>
                    <a:pt x="82" y="39"/>
                    <a:pt x="82" y="39"/>
                  </a:cubicBezTo>
                  <a:cubicBezTo>
                    <a:pt x="76" y="37"/>
                    <a:pt x="69" y="36"/>
                    <a:pt x="63" y="35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1" y="21"/>
                    <a:pt x="61" y="21"/>
                    <a:pt x="61" y="22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53" y="35"/>
                    <a:pt x="47" y="37"/>
                    <a:pt x="42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36" y="41"/>
                    <a:pt x="32" y="43"/>
                    <a:pt x="30" y="44"/>
                  </a:cubicBezTo>
                  <a:cubicBezTo>
                    <a:pt x="31" y="41"/>
                    <a:pt x="34" y="33"/>
                    <a:pt x="43" y="17"/>
                  </a:cubicBezTo>
                  <a:moveTo>
                    <a:pt x="123" y="113"/>
                  </a:moveTo>
                  <a:cubicBezTo>
                    <a:pt x="106" y="113"/>
                    <a:pt x="106" y="113"/>
                    <a:pt x="106" y="113"/>
                  </a:cubicBezTo>
                  <a:cubicBezTo>
                    <a:pt x="113" y="102"/>
                    <a:pt x="114" y="92"/>
                    <a:pt x="114" y="92"/>
                  </a:cubicBezTo>
                  <a:cubicBezTo>
                    <a:pt x="114" y="92"/>
                    <a:pt x="114" y="92"/>
                    <a:pt x="114" y="91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4" y="66"/>
                    <a:pt x="94" y="59"/>
                    <a:pt x="90" y="57"/>
                  </a:cubicBezTo>
                  <a:cubicBezTo>
                    <a:pt x="93" y="55"/>
                    <a:pt x="96" y="51"/>
                    <a:pt x="97" y="47"/>
                  </a:cubicBezTo>
                  <a:cubicBezTo>
                    <a:pt x="98" y="46"/>
                    <a:pt x="99" y="41"/>
                    <a:pt x="84" y="15"/>
                  </a:cubicBezTo>
                  <a:cubicBezTo>
                    <a:pt x="75" y="1"/>
                    <a:pt x="64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1" y="0"/>
                    <a:pt x="49" y="1"/>
                    <a:pt x="40" y="15"/>
                  </a:cubicBezTo>
                  <a:cubicBezTo>
                    <a:pt x="25" y="41"/>
                    <a:pt x="26" y="46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51"/>
                    <a:pt x="31" y="55"/>
                    <a:pt x="34" y="57"/>
                  </a:cubicBezTo>
                  <a:cubicBezTo>
                    <a:pt x="30" y="59"/>
                    <a:pt x="20" y="66"/>
                    <a:pt x="17" y="73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3"/>
                    <a:pt x="11" y="103"/>
                    <a:pt x="18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0" y="113"/>
                    <a:pt x="0" y="113"/>
                    <a:pt x="0" y="114"/>
                  </a:cubicBezTo>
                  <a:cubicBezTo>
                    <a:pt x="0" y="115"/>
                    <a:pt x="0" y="115"/>
                    <a:pt x="1" y="115"/>
                  </a:cubicBezTo>
                  <a:cubicBezTo>
                    <a:pt x="21" y="115"/>
                    <a:pt x="21" y="115"/>
                    <a:pt x="21" y="115"/>
                  </a:cubicBezTo>
                  <a:cubicBezTo>
                    <a:pt x="22" y="117"/>
                    <a:pt x="24" y="119"/>
                    <a:pt x="25" y="120"/>
                  </a:cubicBezTo>
                  <a:cubicBezTo>
                    <a:pt x="25" y="125"/>
                    <a:pt x="25" y="125"/>
                    <a:pt x="25" y="125"/>
                  </a:cubicBezTo>
                  <a:cubicBezTo>
                    <a:pt x="25" y="126"/>
                    <a:pt x="26" y="127"/>
                    <a:pt x="27" y="127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8" y="127"/>
                    <a:pt x="99" y="126"/>
                    <a:pt x="99" y="125"/>
                  </a:cubicBezTo>
                  <a:cubicBezTo>
                    <a:pt x="99" y="120"/>
                    <a:pt x="99" y="120"/>
                    <a:pt x="99" y="120"/>
                  </a:cubicBezTo>
                  <a:cubicBezTo>
                    <a:pt x="100" y="119"/>
                    <a:pt x="102" y="117"/>
                    <a:pt x="103" y="115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4" y="115"/>
                    <a:pt x="124" y="115"/>
                    <a:pt x="124" y="114"/>
                  </a:cubicBezTo>
                  <a:cubicBezTo>
                    <a:pt x="124" y="113"/>
                    <a:pt x="124" y="113"/>
                    <a:pt x="123" y="1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05">
              <a:extLst>
                <a:ext uri="{FF2B5EF4-FFF2-40B4-BE49-F238E27FC236}">
                  <a16:creationId xmlns:a16="http://schemas.microsoft.com/office/drawing/2014/main" id="{F89ACB61-ABCC-404A-8813-80BC2062B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3" y="2882"/>
              <a:ext cx="75" cy="87"/>
            </a:xfrm>
            <a:custGeom>
              <a:avLst/>
              <a:gdLst>
                <a:gd name="T0" fmla="*/ 6 w 29"/>
                <a:gd name="T1" fmla="*/ 6 h 34"/>
                <a:gd name="T2" fmla="*/ 15 w 29"/>
                <a:gd name="T3" fmla="*/ 3 h 34"/>
                <a:gd name="T4" fmla="*/ 25 w 29"/>
                <a:gd name="T5" fmla="*/ 13 h 34"/>
                <a:gd name="T6" fmla="*/ 23 w 29"/>
                <a:gd name="T7" fmla="*/ 22 h 34"/>
                <a:gd name="T8" fmla="*/ 23 w 29"/>
                <a:gd name="T9" fmla="*/ 22 h 34"/>
                <a:gd name="T10" fmla="*/ 23 w 29"/>
                <a:gd name="T11" fmla="*/ 24 h 34"/>
                <a:gd name="T12" fmla="*/ 24 w 29"/>
                <a:gd name="T13" fmla="*/ 27 h 34"/>
                <a:gd name="T14" fmla="*/ 20 w 29"/>
                <a:gd name="T15" fmla="*/ 25 h 34"/>
                <a:gd name="T16" fmla="*/ 19 w 29"/>
                <a:gd name="T17" fmla="*/ 25 h 34"/>
                <a:gd name="T18" fmla="*/ 18 w 29"/>
                <a:gd name="T19" fmla="*/ 26 h 34"/>
                <a:gd name="T20" fmla="*/ 18 w 29"/>
                <a:gd name="T21" fmla="*/ 31 h 34"/>
                <a:gd name="T22" fmla="*/ 10 w 29"/>
                <a:gd name="T23" fmla="*/ 31 h 34"/>
                <a:gd name="T24" fmla="*/ 10 w 29"/>
                <a:gd name="T25" fmla="*/ 26 h 34"/>
                <a:gd name="T26" fmla="*/ 9 w 29"/>
                <a:gd name="T27" fmla="*/ 25 h 34"/>
                <a:gd name="T28" fmla="*/ 8 w 29"/>
                <a:gd name="T29" fmla="*/ 25 h 34"/>
                <a:gd name="T30" fmla="*/ 4 w 29"/>
                <a:gd name="T31" fmla="*/ 27 h 34"/>
                <a:gd name="T32" fmla="*/ 5 w 29"/>
                <a:gd name="T33" fmla="*/ 24 h 34"/>
                <a:gd name="T34" fmla="*/ 5 w 29"/>
                <a:gd name="T35" fmla="*/ 23 h 34"/>
                <a:gd name="T36" fmla="*/ 5 w 29"/>
                <a:gd name="T37" fmla="*/ 22 h 34"/>
                <a:gd name="T38" fmla="*/ 3 w 29"/>
                <a:gd name="T39" fmla="*/ 14 h 34"/>
                <a:gd name="T40" fmla="*/ 6 w 29"/>
                <a:gd name="T41" fmla="*/ 6 h 34"/>
                <a:gd name="T42" fmla="*/ 2 w 29"/>
                <a:gd name="T43" fmla="*/ 28 h 34"/>
                <a:gd name="T44" fmla="*/ 7 w 29"/>
                <a:gd name="T45" fmla="*/ 29 h 34"/>
                <a:gd name="T46" fmla="*/ 7 w 29"/>
                <a:gd name="T47" fmla="*/ 32 h 34"/>
                <a:gd name="T48" fmla="*/ 9 w 29"/>
                <a:gd name="T49" fmla="*/ 34 h 34"/>
                <a:gd name="T50" fmla="*/ 19 w 29"/>
                <a:gd name="T51" fmla="*/ 34 h 34"/>
                <a:gd name="T52" fmla="*/ 21 w 29"/>
                <a:gd name="T53" fmla="*/ 32 h 34"/>
                <a:gd name="T54" fmla="*/ 21 w 29"/>
                <a:gd name="T55" fmla="*/ 29 h 34"/>
                <a:gd name="T56" fmla="*/ 27 w 29"/>
                <a:gd name="T57" fmla="*/ 28 h 34"/>
                <a:gd name="T58" fmla="*/ 26 w 29"/>
                <a:gd name="T59" fmla="*/ 23 h 34"/>
                <a:gd name="T60" fmla="*/ 28 w 29"/>
                <a:gd name="T61" fmla="*/ 13 h 34"/>
                <a:gd name="T62" fmla="*/ 16 w 29"/>
                <a:gd name="T63" fmla="*/ 0 h 34"/>
                <a:gd name="T64" fmla="*/ 4 w 29"/>
                <a:gd name="T65" fmla="*/ 4 h 34"/>
                <a:gd name="T66" fmla="*/ 0 w 29"/>
                <a:gd name="T67" fmla="*/ 14 h 34"/>
                <a:gd name="T68" fmla="*/ 2 w 29"/>
                <a:gd name="T69" fmla="*/ 23 h 34"/>
                <a:gd name="T70" fmla="*/ 2 w 29"/>
                <a:gd name="T71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" h="34">
                  <a:moveTo>
                    <a:pt x="6" y="6"/>
                  </a:moveTo>
                  <a:cubicBezTo>
                    <a:pt x="9" y="4"/>
                    <a:pt x="12" y="3"/>
                    <a:pt x="15" y="3"/>
                  </a:cubicBezTo>
                  <a:cubicBezTo>
                    <a:pt x="20" y="4"/>
                    <a:pt x="25" y="8"/>
                    <a:pt x="25" y="13"/>
                  </a:cubicBezTo>
                  <a:cubicBezTo>
                    <a:pt x="26" y="16"/>
                    <a:pt x="25" y="19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3"/>
                    <a:pt x="23" y="23"/>
                    <a:pt x="23" y="24"/>
                  </a:cubicBezTo>
                  <a:cubicBezTo>
                    <a:pt x="24" y="25"/>
                    <a:pt x="25" y="26"/>
                    <a:pt x="24" y="27"/>
                  </a:cubicBezTo>
                  <a:cubicBezTo>
                    <a:pt x="24" y="27"/>
                    <a:pt x="22" y="26"/>
                    <a:pt x="20" y="25"/>
                  </a:cubicBezTo>
                  <a:cubicBezTo>
                    <a:pt x="20" y="25"/>
                    <a:pt x="19" y="25"/>
                    <a:pt x="19" y="25"/>
                  </a:cubicBezTo>
                  <a:cubicBezTo>
                    <a:pt x="18" y="25"/>
                    <a:pt x="18" y="26"/>
                    <a:pt x="18" y="26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5"/>
                    <a:pt x="9" y="25"/>
                  </a:cubicBezTo>
                  <a:cubicBezTo>
                    <a:pt x="9" y="25"/>
                    <a:pt x="8" y="25"/>
                    <a:pt x="8" y="25"/>
                  </a:cubicBezTo>
                  <a:cubicBezTo>
                    <a:pt x="6" y="26"/>
                    <a:pt x="4" y="27"/>
                    <a:pt x="4" y="27"/>
                  </a:cubicBezTo>
                  <a:cubicBezTo>
                    <a:pt x="4" y="26"/>
                    <a:pt x="4" y="25"/>
                    <a:pt x="5" y="24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3" y="20"/>
                    <a:pt x="3" y="17"/>
                    <a:pt x="3" y="14"/>
                  </a:cubicBezTo>
                  <a:cubicBezTo>
                    <a:pt x="3" y="11"/>
                    <a:pt x="4" y="8"/>
                    <a:pt x="6" y="6"/>
                  </a:cubicBezTo>
                  <a:moveTo>
                    <a:pt x="2" y="28"/>
                  </a:moveTo>
                  <a:cubicBezTo>
                    <a:pt x="3" y="30"/>
                    <a:pt x="5" y="29"/>
                    <a:pt x="7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8" y="34"/>
                    <a:pt x="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4"/>
                    <a:pt x="21" y="33"/>
                    <a:pt x="21" y="32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29"/>
                    <a:pt x="25" y="30"/>
                    <a:pt x="27" y="28"/>
                  </a:cubicBezTo>
                  <a:cubicBezTo>
                    <a:pt x="28" y="26"/>
                    <a:pt x="27" y="24"/>
                    <a:pt x="26" y="23"/>
                  </a:cubicBezTo>
                  <a:cubicBezTo>
                    <a:pt x="28" y="20"/>
                    <a:pt x="29" y="16"/>
                    <a:pt x="28" y="13"/>
                  </a:cubicBezTo>
                  <a:cubicBezTo>
                    <a:pt x="27" y="6"/>
                    <a:pt x="22" y="1"/>
                    <a:pt x="16" y="0"/>
                  </a:cubicBezTo>
                  <a:cubicBezTo>
                    <a:pt x="12" y="0"/>
                    <a:pt x="7" y="1"/>
                    <a:pt x="4" y="4"/>
                  </a:cubicBezTo>
                  <a:cubicBezTo>
                    <a:pt x="1" y="7"/>
                    <a:pt x="0" y="10"/>
                    <a:pt x="0" y="14"/>
                  </a:cubicBezTo>
                  <a:cubicBezTo>
                    <a:pt x="0" y="17"/>
                    <a:pt x="1" y="20"/>
                    <a:pt x="2" y="23"/>
                  </a:cubicBezTo>
                  <a:cubicBezTo>
                    <a:pt x="1" y="24"/>
                    <a:pt x="0" y="26"/>
                    <a:pt x="2" y="2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06">
              <a:extLst>
                <a:ext uri="{FF2B5EF4-FFF2-40B4-BE49-F238E27FC236}">
                  <a16:creationId xmlns:a16="http://schemas.microsoft.com/office/drawing/2014/main" id="{B10FD5E9-AB7B-4D2A-AB45-979149741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6" y="2918"/>
              <a:ext cx="18" cy="13"/>
            </a:xfrm>
            <a:custGeom>
              <a:avLst/>
              <a:gdLst>
                <a:gd name="T0" fmla="*/ 2 w 7"/>
                <a:gd name="T1" fmla="*/ 3 h 5"/>
                <a:gd name="T2" fmla="*/ 5 w 7"/>
                <a:gd name="T3" fmla="*/ 5 h 5"/>
                <a:gd name="T4" fmla="*/ 6 w 7"/>
                <a:gd name="T5" fmla="*/ 5 h 5"/>
                <a:gd name="T6" fmla="*/ 7 w 7"/>
                <a:gd name="T7" fmla="*/ 4 h 5"/>
                <a:gd name="T8" fmla="*/ 6 w 7"/>
                <a:gd name="T9" fmla="*/ 2 h 5"/>
                <a:gd name="T10" fmla="*/ 3 w 7"/>
                <a:gd name="T11" fmla="*/ 0 h 5"/>
                <a:gd name="T12" fmla="*/ 1 w 7"/>
                <a:gd name="T13" fmla="*/ 1 h 5"/>
                <a:gd name="T14" fmla="*/ 2 w 7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2" y="3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07">
              <a:extLst>
                <a:ext uri="{FF2B5EF4-FFF2-40B4-BE49-F238E27FC236}">
                  <a16:creationId xmlns:a16="http://schemas.microsoft.com/office/drawing/2014/main" id="{DBA97EBB-AEBB-4D08-BD42-DBC54CFBE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918"/>
              <a:ext cx="18" cy="13"/>
            </a:xfrm>
            <a:custGeom>
              <a:avLst/>
              <a:gdLst>
                <a:gd name="T0" fmla="*/ 1 w 7"/>
                <a:gd name="T1" fmla="*/ 5 h 5"/>
                <a:gd name="T2" fmla="*/ 2 w 7"/>
                <a:gd name="T3" fmla="*/ 5 h 5"/>
                <a:gd name="T4" fmla="*/ 5 w 7"/>
                <a:gd name="T5" fmla="*/ 3 h 5"/>
                <a:gd name="T6" fmla="*/ 6 w 7"/>
                <a:gd name="T7" fmla="*/ 1 h 5"/>
                <a:gd name="T8" fmla="*/ 4 w 7"/>
                <a:gd name="T9" fmla="*/ 0 h 5"/>
                <a:gd name="T10" fmla="*/ 1 w 7"/>
                <a:gd name="T11" fmla="*/ 2 h 5"/>
                <a:gd name="T12" fmla="*/ 0 w 7"/>
                <a:gd name="T13" fmla="*/ 4 h 5"/>
                <a:gd name="T14" fmla="*/ 1 w 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7" y="2"/>
                    <a:pt x="6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8">
              <a:extLst>
                <a:ext uri="{FF2B5EF4-FFF2-40B4-BE49-F238E27FC236}">
                  <a16:creationId xmlns:a16="http://schemas.microsoft.com/office/drawing/2014/main" id="{C29C072A-BEFB-4AAB-8A26-362D594C8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7" y="2713"/>
              <a:ext cx="5" cy="13"/>
            </a:xfrm>
            <a:custGeom>
              <a:avLst/>
              <a:gdLst>
                <a:gd name="T0" fmla="*/ 1 w 2"/>
                <a:gd name="T1" fmla="*/ 5 h 5"/>
                <a:gd name="T2" fmla="*/ 2 w 2"/>
                <a:gd name="T3" fmla="*/ 4 h 5"/>
                <a:gd name="T4" fmla="*/ 2 w 2"/>
                <a:gd name="T5" fmla="*/ 2 h 5"/>
                <a:gd name="T6" fmla="*/ 1 w 2"/>
                <a:gd name="T7" fmla="*/ 0 h 5"/>
                <a:gd name="T8" fmla="*/ 0 w 2"/>
                <a:gd name="T9" fmla="*/ 2 h 5"/>
                <a:gd name="T10" fmla="*/ 0 w 2"/>
                <a:gd name="T11" fmla="*/ 4 h 5"/>
                <a:gd name="T12" fmla="*/ 1 w 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2" y="5"/>
                    <a:pt x="2" y="5"/>
                    <a:pt x="2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09">
              <a:extLst>
                <a:ext uri="{FF2B5EF4-FFF2-40B4-BE49-F238E27FC236}">
                  <a16:creationId xmlns:a16="http://schemas.microsoft.com/office/drawing/2014/main" id="{6E2394F2-7105-4A5E-8657-CB00B5D4A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7" y="2793"/>
              <a:ext cx="10" cy="25"/>
            </a:xfrm>
            <a:custGeom>
              <a:avLst/>
              <a:gdLst>
                <a:gd name="T0" fmla="*/ 1 w 4"/>
                <a:gd name="T1" fmla="*/ 10 h 10"/>
                <a:gd name="T2" fmla="*/ 3 w 4"/>
                <a:gd name="T3" fmla="*/ 10 h 10"/>
                <a:gd name="T4" fmla="*/ 4 w 4"/>
                <a:gd name="T5" fmla="*/ 9 h 10"/>
                <a:gd name="T6" fmla="*/ 3 w 4"/>
                <a:gd name="T7" fmla="*/ 7 h 10"/>
                <a:gd name="T8" fmla="*/ 2 w 4"/>
                <a:gd name="T9" fmla="*/ 7 h 10"/>
                <a:gd name="T10" fmla="*/ 2 w 4"/>
                <a:gd name="T11" fmla="*/ 1 h 10"/>
                <a:gd name="T12" fmla="*/ 1 w 4"/>
                <a:gd name="T13" fmla="*/ 0 h 10"/>
                <a:gd name="T14" fmla="*/ 0 w 4"/>
                <a:gd name="T15" fmla="*/ 1 h 10"/>
                <a:gd name="T16" fmla="*/ 0 w 4"/>
                <a:gd name="T17" fmla="*/ 9 h 10"/>
                <a:gd name="T18" fmla="*/ 1 w 4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0">
                  <a:moveTo>
                    <a:pt x="1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1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7" name="Group 212">
            <a:extLst>
              <a:ext uri="{FF2B5EF4-FFF2-40B4-BE49-F238E27FC236}">
                <a16:creationId xmlns:a16="http://schemas.microsoft.com/office/drawing/2014/main" id="{B05168B6-AABE-4065-8A06-97D634A7BA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060" y="5494084"/>
            <a:ext cx="760412" cy="758825"/>
            <a:chOff x="975" y="3618"/>
            <a:chExt cx="479" cy="478"/>
          </a:xfrm>
        </p:grpSpPr>
        <p:sp>
          <p:nvSpPr>
            <p:cNvPr id="248" name="AutoShape 211">
              <a:extLst>
                <a:ext uri="{FF2B5EF4-FFF2-40B4-BE49-F238E27FC236}">
                  <a16:creationId xmlns:a16="http://schemas.microsoft.com/office/drawing/2014/main" id="{E91FEE55-FD04-45F4-A434-4BAA0F6F8F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5" y="361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13">
              <a:extLst>
                <a:ext uri="{FF2B5EF4-FFF2-40B4-BE49-F238E27FC236}">
                  <a16:creationId xmlns:a16="http://schemas.microsoft.com/office/drawing/2014/main" id="{E5CF5BE5-D66B-47F8-A946-3F15E4500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" y="362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4">
              <a:extLst>
                <a:ext uri="{FF2B5EF4-FFF2-40B4-BE49-F238E27FC236}">
                  <a16:creationId xmlns:a16="http://schemas.microsoft.com/office/drawing/2014/main" id="{8B977518-9BFC-4034-B0AF-78A226E20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9" y="3802"/>
              <a:ext cx="133" cy="135"/>
            </a:xfrm>
            <a:custGeom>
              <a:avLst/>
              <a:gdLst>
                <a:gd name="T0" fmla="*/ 43 w 54"/>
                <a:gd name="T1" fmla="*/ 46 h 55"/>
                <a:gd name="T2" fmla="*/ 39 w 54"/>
                <a:gd name="T3" fmla="*/ 43 h 55"/>
                <a:gd name="T4" fmla="*/ 21 w 54"/>
                <a:gd name="T5" fmla="*/ 51 h 55"/>
                <a:gd name="T6" fmla="*/ 15 w 54"/>
                <a:gd name="T7" fmla="*/ 43 h 55"/>
                <a:gd name="T8" fmla="*/ 11 w 54"/>
                <a:gd name="T9" fmla="*/ 9 h 55"/>
                <a:gd name="T10" fmla="*/ 15 w 54"/>
                <a:gd name="T11" fmla="*/ 12 h 55"/>
                <a:gd name="T12" fmla="*/ 33 w 54"/>
                <a:gd name="T13" fmla="*/ 4 h 55"/>
                <a:gd name="T14" fmla="*/ 39 w 54"/>
                <a:gd name="T15" fmla="*/ 12 h 55"/>
                <a:gd name="T16" fmla="*/ 28 w 54"/>
                <a:gd name="T17" fmla="*/ 29 h 55"/>
                <a:gd name="T18" fmla="*/ 38 w 54"/>
                <a:gd name="T19" fmla="*/ 39 h 55"/>
                <a:gd name="T20" fmla="*/ 28 w 54"/>
                <a:gd name="T21" fmla="*/ 51 h 55"/>
                <a:gd name="T22" fmla="*/ 37 w 54"/>
                <a:gd name="T23" fmla="*/ 41 h 55"/>
                <a:gd name="T24" fmla="*/ 26 w 54"/>
                <a:gd name="T25" fmla="*/ 40 h 55"/>
                <a:gd name="T26" fmla="*/ 17 w 54"/>
                <a:gd name="T27" fmla="*/ 41 h 55"/>
                <a:gd name="T28" fmla="*/ 26 w 54"/>
                <a:gd name="T29" fmla="*/ 29 h 55"/>
                <a:gd name="T30" fmla="*/ 16 w 54"/>
                <a:gd name="T31" fmla="*/ 39 h 55"/>
                <a:gd name="T32" fmla="*/ 26 w 54"/>
                <a:gd name="T33" fmla="*/ 29 h 55"/>
                <a:gd name="T34" fmla="*/ 26 w 54"/>
                <a:gd name="T35" fmla="*/ 26 h 55"/>
                <a:gd name="T36" fmla="*/ 16 w 54"/>
                <a:gd name="T37" fmla="*/ 16 h 55"/>
                <a:gd name="T38" fmla="*/ 26 w 54"/>
                <a:gd name="T39" fmla="*/ 4 h 55"/>
                <a:gd name="T40" fmla="*/ 17 w 54"/>
                <a:gd name="T41" fmla="*/ 13 h 55"/>
                <a:gd name="T42" fmla="*/ 28 w 54"/>
                <a:gd name="T43" fmla="*/ 15 h 55"/>
                <a:gd name="T44" fmla="*/ 37 w 54"/>
                <a:gd name="T45" fmla="*/ 13 h 55"/>
                <a:gd name="T46" fmla="*/ 28 w 54"/>
                <a:gd name="T47" fmla="*/ 26 h 55"/>
                <a:gd name="T48" fmla="*/ 38 w 54"/>
                <a:gd name="T49" fmla="*/ 16 h 55"/>
                <a:gd name="T50" fmla="*/ 28 w 54"/>
                <a:gd name="T51" fmla="*/ 26 h 55"/>
                <a:gd name="T52" fmla="*/ 42 w 54"/>
                <a:gd name="T53" fmla="*/ 26 h 55"/>
                <a:gd name="T54" fmla="*/ 45 w 54"/>
                <a:gd name="T55" fmla="*/ 11 h 55"/>
                <a:gd name="T56" fmla="*/ 9 w 54"/>
                <a:gd name="T57" fmla="*/ 11 h 55"/>
                <a:gd name="T58" fmla="*/ 12 w 54"/>
                <a:gd name="T59" fmla="*/ 26 h 55"/>
                <a:gd name="T60" fmla="*/ 9 w 54"/>
                <a:gd name="T61" fmla="*/ 11 h 55"/>
                <a:gd name="T62" fmla="*/ 12 w 54"/>
                <a:gd name="T63" fmla="*/ 29 h 55"/>
                <a:gd name="T64" fmla="*/ 9 w 54"/>
                <a:gd name="T65" fmla="*/ 44 h 55"/>
                <a:gd name="T66" fmla="*/ 45 w 54"/>
                <a:gd name="T67" fmla="*/ 44 h 55"/>
                <a:gd name="T68" fmla="*/ 42 w 54"/>
                <a:gd name="T69" fmla="*/ 29 h 55"/>
                <a:gd name="T70" fmla="*/ 45 w 54"/>
                <a:gd name="T71" fmla="*/ 44 h 55"/>
                <a:gd name="T72" fmla="*/ 46 w 54"/>
                <a:gd name="T73" fmla="*/ 8 h 55"/>
                <a:gd name="T74" fmla="*/ 27 w 54"/>
                <a:gd name="T75" fmla="*/ 0 h 55"/>
                <a:gd name="T76" fmla="*/ 27 w 54"/>
                <a:gd name="T77" fmla="*/ 0 h 55"/>
                <a:gd name="T78" fmla="*/ 8 w 54"/>
                <a:gd name="T79" fmla="*/ 8 h 55"/>
                <a:gd name="T80" fmla="*/ 0 w 54"/>
                <a:gd name="T81" fmla="*/ 27 h 55"/>
                <a:gd name="T82" fmla="*/ 0 w 54"/>
                <a:gd name="T83" fmla="*/ 27 h 55"/>
                <a:gd name="T84" fmla="*/ 8 w 54"/>
                <a:gd name="T85" fmla="*/ 47 h 55"/>
                <a:gd name="T86" fmla="*/ 27 w 54"/>
                <a:gd name="T87" fmla="*/ 55 h 55"/>
                <a:gd name="T88" fmla="*/ 46 w 54"/>
                <a:gd name="T89" fmla="*/ 47 h 55"/>
                <a:gd name="T90" fmla="*/ 54 w 54"/>
                <a:gd name="T91" fmla="*/ 27 h 55"/>
                <a:gd name="T92" fmla="*/ 54 w 54"/>
                <a:gd name="T93" fmla="*/ 27 h 55"/>
                <a:gd name="T94" fmla="*/ 54 w 54"/>
                <a:gd name="T95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4" h="55">
                  <a:moveTo>
                    <a:pt x="39" y="43"/>
                  </a:moveTo>
                  <a:cubicBezTo>
                    <a:pt x="41" y="44"/>
                    <a:pt x="42" y="45"/>
                    <a:pt x="43" y="46"/>
                  </a:cubicBezTo>
                  <a:cubicBezTo>
                    <a:pt x="40" y="48"/>
                    <a:pt x="37" y="50"/>
                    <a:pt x="33" y="51"/>
                  </a:cubicBezTo>
                  <a:cubicBezTo>
                    <a:pt x="35" y="49"/>
                    <a:pt x="37" y="46"/>
                    <a:pt x="39" y="43"/>
                  </a:cubicBezTo>
                  <a:moveTo>
                    <a:pt x="15" y="43"/>
                  </a:moveTo>
                  <a:cubicBezTo>
                    <a:pt x="17" y="46"/>
                    <a:pt x="19" y="49"/>
                    <a:pt x="21" y="51"/>
                  </a:cubicBezTo>
                  <a:cubicBezTo>
                    <a:pt x="17" y="50"/>
                    <a:pt x="14" y="48"/>
                    <a:pt x="11" y="46"/>
                  </a:cubicBezTo>
                  <a:cubicBezTo>
                    <a:pt x="12" y="45"/>
                    <a:pt x="13" y="44"/>
                    <a:pt x="15" y="43"/>
                  </a:cubicBezTo>
                  <a:moveTo>
                    <a:pt x="15" y="12"/>
                  </a:moveTo>
                  <a:cubicBezTo>
                    <a:pt x="13" y="11"/>
                    <a:pt x="12" y="10"/>
                    <a:pt x="11" y="9"/>
                  </a:cubicBezTo>
                  <a:cubicBezTo>
                    <a:pt x="14" y="6"/>
                    <a:pt x="17" y="5"/>
                    <a:pt x="21" y="4"/>
                  </a:cubicBezTo>
                  <a:cubicBezTo>
                    <a:pt x="19" y="5"/>
                    <a:pt x="17" y="8"/>
                    <a:pt x="15" y="12"/>
                  </a:cubicBezTo>
                  <a:moveTo>
                    <a:pt x="39" y="12"/>
                  </a:moveTo>
                  <a:cubicBezTo>
                    <a:pt x="37" y="8"/>
                    <a:pt x="35" y="5"/>
                    <a:pt x="33" y="4"/>
                  </a:cubicBezTo>
                  <a:cubicBezTo>
                    <a:pt x="37" y="5"/>
                    <a:pt x="40" y="6"/>
                    <a:pt x="43" y="9"/>
                  </a:cubicBezTo>
                  <a:cubicBezTo>
                    <a:pt x="42" y="10"/>
                    <a:pt x="41" y="11"/>
                    <a:pt x="39" y="12"/>
                  </a:cubicBezTo>
                  <a:moveTo>
                    <a:pt x="28" y="37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33"/>
                    <a:pt x="39" y="36"/>
                    <a:pt x="38" y="39"/>
                  </a:cubicBezTo>
                  <a:cubicBezTo>
                    <a:pt x="35" y="38"/>
                    <a:pt x="32" y="37"/>
                    <a:pt x="28" y="37"/>
                  </a:cubicBezTo>
                  <a:moveTo>
                    <a:pt x="28" y="51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32" y="40"/>
                    <a:pt x="34" y="41"/>
                    <a:pt x="37" y="41"/>
                  </a:cubicBezTo>
                  <a:cubicBezTo>
                    <a:pt x="34" y="47"/>
                    <a:pt x="31" y="49"/>
                    <a:pt x="28" y="51"/>
                  </a:cubicBezTo>
                  <a:moveTo>
                    <a:pt x="26" y="40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3" y="49"/>
                    <a:pt x="20" y="47"/>
                    <a:pt x="17" y="41"/>
                  </a:cubicBezTo>
                  <a:cubicBezTo>
                    <a:pt x="20" y="41"/>
                    <a:pt x="22" y="40"/>
                    <a:pt x="26" y="40"/>
                  </a:cubicBezTo>
                  <a:moveTo>
                    <a:pt x="26" y="29"/>
                  </a:moveTo>
                  <a:cubicBezTo>
                    <a:pt x="26" y="37"/>
                    <a:pt x="26" y="37"/>
                    <a:pt x="26" y="37"/>
                  </a:cubicBezTo>
                  <a:cubicBezTo>
                    <a:pt x="22" y="37"/>
                    <a:pt x="19" y="38"/>
                    <a:pt x="16" y="39"/>
                  </a:cubicBezTo>
                  <a:cubicBezTo>
                    <a:pt x="15" y="36"/>
                    <a:pt x="15" y="33"/>
                    <a:pt x="15" y="29"/>
                  </a:cubicBezTo>
                  <a:lnTo>
                    <a:pt x="26" y="29"/>
                  </a:lnTo>
                  <a:close/>
                  <a:moveTo>
                    <a:pt x="26" y="18"/>
                  </a:moveTo>
                  <a:cubicBezTo>
                    <a:pt x="26" y="26"/>
                    <a:pt x="26" y="26"/>
                    <a:pt x="2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2"/>
                    <a:pt x="15" y="19"/>
                    <a:pt x="16" y="16"/>
                  </a:cubicBezTo>
                  <a:cubicBezTo>
                    <a:pt x="19" y="17"/>
                    <a:pt x="22" y="17"/>
                    <a:pt x="26" y="18"/>
                  </a:cubicBezTo>
                  <a:moveTo>
                    <a:pt x="26" y="4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2" y="15"/>
                    <a:pt x="20" y="14"/>
                    <a:pt x="17" y="13"/>
                  </a:cubicBezTo>
                  <a:cubicBezTo>
                    <a:pt x="20" y="8"/>
                    <a:pt x="23" y="5"/>
                    <a:pt x="26" y="4"/>
                  </a:cubicBezTo>
                  <a:moveTo>
                    <a:pt x="28" y="15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1" y="5"/>
                    <a:pt x="34" y="8"/>
                    <a:pt x="37" y="13"/>
                  </a:cubicBezTo>
                  <a:cubicBezTo>
                    <a:pt x="34" y="14"/>
                    <a:pt x="32" y="15"/>
                    <a:pt x="28" y="15"/>
                  </a:cubicBezTo>
                  <a:moveTo>
                    <a:pt x="28" y="26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32" y="17"/>
                    <a:pt x="35" y="17"/>
                    <a:pt x="38" y="16"/>
                  </a:cubicBezTo>
                  <a:cubicBezTo>
                    <a:pt x="39" y="19"/>
                    <a:pt x="39" y="22"/>
                    <a:pt x="39" y="26"/>
                  </a:cubicBezTo>
                  <a:lnTo>
                    <a:pt x="28" y="26"/>
                  </a:lnTo>
                  <a:close/>
                  <a:moveTo>
                    <a:pt x="51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2"/>
                    <a:pt x="41" y="18"/>
                    <a:pt x="40" y="15"/>
                  </a:cubicBezTo>
                  <a:cubicBezTo>
                    <a:pt x="43" y="14"/>
                    <a:pt x="44" y="12"/>
                    <a:pt x="45" y="11"/>
                  </a:cubicBezTo>
                  <a:cubicBezTo>
                    <a:pt x="49" y="15"/>
                    <a:pt x="51" y="20"/>
                    <a:pt x="51" y="26"/>
                  </a:cubicBezTo>
                  <a:moveTo>
                    <a:pt x="9" y="11"/>
                  </a:moveTo>
                  <a:cubicBezTo>
                    <a:pt x="10" y="12"/>
                    <a:pt x="11" y="14"/>
                    <a:pt x="14" y="15"/>
                  </a:cubicBezTo>
                  <a:cubicBezTo>
                    <a:pt x="13" y="18"/>
                    <a:pt x="12" y="22"/>
                    <a:pt x="12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0"/>
                    <a:pt x="5" y="15"/>
                    <a:pt x="9" y="11"/>
                  </a:cubicBezTo>
                  <a:moveTo>
                    <a:pt x="3" y="29"/>
                  </a:moveTo>
                  <a:cubicBezTo>
                    <a:pt x="12" y="29"/>
                    <a:pt x="12" y="29"/>
                    <a:pt x="12" y="29"/>
                  </a:cubicBezTo>
                  <a:cubicBezTo>
                    <a:pt x="12" y="33"/>
                    <a:pt x="13" y="37"/>
                    <a:pt x="14" y="40"/>
                  </a:cubicBezTo>
                  <a:cubicBezTo>
                    <a:pt x="11" y="41"/>
                    <a:pt x="10" y="43"/>
                    <a:pt x="9" y="44"/>
                  </a:cubicBezTo>
                  <a:cubicBezTo>
                    <a:pt x="5" y="40"/>
                    <a:pt x="3" y="34"/>
                    <a:pt x="3" y="29"/>
                  </a:cubicBezTo>
                  <a:moveTo>
                    <a:pt x="45" y="44"/>
                  </a:moveTo>
                  <a:cubicBezTo>
                    <a:pt x="44" y="43"/>
                    <a:pt x="43" y="41"/>
                    <a:pt x="40" y="40"/>
                  </a:cubicBezTo>
                  <a:cubicBezTo>
                    <a:pt x="41" y="37"/>
                    <a:pt x="42" y="33"/>
                    <a:pt x="42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34"/>
                    <a:pt x="49" y="40"/>
                    <a:pt x="45" y="44"/>
                  </a:cubicBezTo>
                  <a:moveTo>
                    <a:pt x="54" y="27"/>
                  </a:moveTo>
                  <a:cubicBezTo>
                    <a:pt x="54" y="20"/>
                    <a:pt x="51" y="13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1" y="3"/>
                    <a:pt x="34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0" y="0"/>
                    <a:pt x="13" y="3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" y="13"/>
                    <a:pt x="0" y="20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5"/>
                    <a:pt x="3" y="42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3" y="52"/>
                    <a:pt x="20" y="55"/>
                    <a:pt x="27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4" y="55"/>
                    <a:pt x="41" y="52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1" y="42"/>
                    <a:pt x="54" y="35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5">
              <a:extLst>
                <a:ext uri="{FF2B5EF4-FFF2-40B4-BE49-F238E27FC236}">
                  <a16:creationId xmlns:a16="http://schemas.microsoft.com/office/drawing/2014/main" id="{1DBA517A-1F4F-47A5-8179-D7A516A80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3721"/>
              <a:ext cx="275" cy="297"/>
            </a:xfrm>
            <a:custGeom>
              <a:avLst/>
              <a:gdLst>
                <a:gd name="T0" fmla="*/ 58 w 112"/>
                <a:gd name="T1" fmla="*/ 117 h 121"/>
                <a:gd name="T2" fmla="*/ 54 w 112"/>
                <a:gd name="T3" fmla="*/ 117 h 121"/>
                <a:gd name="T4" fmla="*/ 3 w 112"/>
                <a:gd name="T5" fmla="*/ 28 h 121"/>
                <a:gd name="T6" fmla="*/ 4 w 112"/>
                <a:gd name="T7" fmla="*/ 25 h 121"/>
                <a:gd name="T8" fmla="*/ 7 w 112"/>
                <a:gd name="T9" fmla="*/ 23 h 121"/>
                <a:gd name="T10" fmla="*/ 53 w 112"/>
                <a:gd name="T11" fmla="*/ 4 h 121"/>
                <a:gd name="T12" fmla="*/ 53 w 112"/>
                <a:gd name="T13" fmla="*/ 4 h 121"/>
                <a:gd name="T14" fmla="*/ 56 w 112"/>
                <a:gd name="T15" fmla="*/ 3 h 121"/>
                <a:gd name="T16" fmla="*/ 59 w 112"/>
                <a:gd name="T17" fmla="*/ 4 h 121"/>
                <a:gd name="T18" fmla="*/ 105 w 112"/>
                <a:gd name="T19" fmla="*/ 23 h 121"/>
                <a:gd name="T20" fmla="*/ 108 w 112"/>
                <a:gd name="T21" fmla="*/ 25 h 121"/>
                <a:gd name="T22" fmla="*/ 109 w 112"/>
                <a:gd name="T23" fmla="*/ 28 h 121"/>
                <a:gd name="T24" fmla="*/ 58 w 112"/>
                <a:gd name="T25" fmla="*/ 117 h 121"/>
                <a:gd name="T26" fmla="*/ 110 w 112"/>
                <a:gd name="T27" fmla="*/ 23 h 121"/>
                <a:gd name="T28" fmla="*/ 105 w 112"/>
                <a:gd name="T29" fmla="*/ 21 h 121"/>
                <a:gd name="T30" fmla="*/ 62 w 112"/>
                <a:gd name="T31" fmla="*/ 3 h 121"/>
                <a:gd name="T32" fmla="*/ 56 w 112"/>
                <a:gd name="T33" fmla="*/ 0 h 121"/>
                <a:gd name="T34" fmla="*/ 50 w 112"/>
                <a:gd name="T35" fmla="*/ 3 h 121"/>
                <a:gd name="T36" fmla="*/ 7 w 112"/>
                <a:gd name="T37" fmla="*/ 21 h 121"/>
                <a:gd name="T38" fmla="*/ 2 w 112"/>
                <a:gd name="T39" fmla="*/ 23 h 121"/>
                <a:gd name="T40" fmla="*/ 0 w 112"/>
                <a:gd name="T41" fmla="*/ 28 h 121"/>
                <a:gd name="T42" fmla="*/ 52 w 112"/>
                <a:gd name="T43" fmla="*/ 120 h 121"/>
                <a:gd name="T44" fmla="*/ 56 w 112"/>
                <a:gd name="T45" fmla="*/ 121 h 121"/>
                <a:gd name="T46" fmla="*/ 60 w 112"/>
                <a:gd name="T47" fmla="*/ 120 h 121"/>
                <a:gd name="T48" fmla="*/ 112 w 112"/>
                <a:gd name="T49" fmla="*/ 28 h 121"/>
                <a:gd name="T50" fmla="*/ 110 w 112"/>
                <a:gd name="T51" fmla="*/ 2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2" h="121">
                  <a:moveTo>
                    <a:pt x="58" y="117"/>
                  </a:moveTo>
                  <a:cubicBezTo>
                    <a:pt x="57" y="118"/>
                    <a:pt x="55" y="118"/>
                    <a:pt x="54" y="117"/>
                  </a:cubicBezTo>
                  <a:cubicBezTo>
                    <a:pt x="12" y="90"/>
                    <a:pt x="4" y="42"/>
                    <a:pt x="3" y="28"/>
                  </a:cubicBezTo>
                  <a:cubicBezTo>
                    <a:pt x="3" y="27"/>
                    <a:pt x="3" y="26"/>
                    <a:pt x="4" y="25"/>
                  </a:cubicBezTo>
                  <a:cubicBezTo>
                    <a:pt x="5" y="24"/>
                    <a:pt x="6" y="24"/>
                    <a:pt x="7" y="23"/>
                  </a:cubicBezTo>
                  <a:cubicBezTo>
                    <a:pt x="28" y="22"/>
                    <a:pt x="45" y="15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5" y="3"/>
                    <a:pt x="56" y="3"/>
                  </a:cubicBezTo>
                  <a:cubicBezTo>
                    <a:pt x="57" y="3"/>
                    <a:pt x="58" y="3"/>
                    <a:pt x="59" y="4"/>
                  </a:cubicBezTo>
                  <a:cubicBezTo>
                    <a:pt x="67" y="15"/>
                    <a:pt x="84" y="22"/>
                    <a:pt x="105" y="23"/>
                  </a:cubicBezTo>
                  <a:cubicBezTo>
                    <a:pt x="106" y="24"/>
                    <a:pt x="107" y="24"/>
                    <a:pt x="108" y="25"/>
                  </a:cubicBezTo>
                  <a:cubicBezTo>
                    <a:pt x="109" y="26"/>
                    <a:pt x="109" y="27"/>
                    <a:pt x="109" y="28"/>
                  </a:cubicBezTo>
                  <a:cubicBezTo>
                    <a:pt x="108" y="42"/>
                    <a:pt x="100" y="90"/>
                    <a:pt x="58" y="117"/>
                  </a:cubicBezTo>
                  <a:moveTo>
                    <a:pt x="110" y="23"/>
                  </a:moveTo>
                  <a:cubicBezTo>
                    <a:pt x="109" y="22"/>
                    <a:pt x="107" y="21"/>
                    <a:pt x="105" y="21"/>
                  </a:cubicBezTo>
                  <a:cubicBezTo>
                    <a:pt x="85" y="20"/>
                    <a:pt x="68" y="13"/>
                    <a:pt x="62" y="3"/>
                  </a:cubicBezTo>
                  <a:cubicBezTo>
                    <a:pt x="60" y="1"/>
                    <a:pt x="58" y="0"/>
                    <a:pt x="56" y="0"/>
                  </a:cubicBezTo>
                  <a:cubicBezTo>
                    <a:pt x="54" y="0"/>
                    <a:pt x="52" y="1"/>
                    <a:pt x="50" y="3"/>
                  </a:cubicBezTo>
                  <a:cubicBezTo>
                    <a:pt x="44" y="13"/>
                    <a:pt x="27" y="20"/>
                    <a:pt x="7" y="21"/>
                  </a:cubicBezTo>
                  <a:cubicBezTo>
                    <a:pt x="5" y="21"/>
                    <a:pt x="3" y="22"/>
                    <a:pt x="2" y="23"/>
                  </a:cubicBezTo>
                  <a:cubicBezTo>
                    <a:pt x="1" y="24"/>
                    <a:pt x="0" y="26"/>
                    <a:pt x="0" y="28"/>
                  </a:cubicBezTo>
                  <a:cubicBezTo>
                    <a:pt x="2" y="42"/>
                    <a:pt x="9" y="92"/>
                    <a:pt x="52" y="120"/>
                  </a:cubicBezTo>
                  <a:cubicBezTo>
                    <a:pt x="53" y="120"/>
                    <a:pt x="55" y="121"/>
                    <a:pt x="56" y="121"/>
                  </a:cubicBezTo>
                  <a:cubicBezTo>
                    <a:pt x="57" y="121"/>
                    <a:pt x="59" y="120"/>
                    <a:pt x="60" y="120"/>
                  </a:cubicBezTo>
                  <a:cubicBezTo>
                    <a:pt x="103" y="92"/>
                    <a:pt x="110" y="42"/>
                    <a:pt x="112" y="28"/>
                  </a:cubicBezTo>
                  <a:cubicBezTo>
                    <a:pt x="112" y="26"/>
                    <a:pt x="111" y="24"/>
                    <a:pt x="110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16">
              <a:extLst>
                <a:ext uri="{FF2B5EF4-FFF2-40B4-BE49-F238E27FC236}">
                  <a16:creationId xmlns:a16="http://schemas.microsoft.com/office/drawing/2014/main" id="{0354368A-A5E8-4568-97EB-AAF3873AB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" y="3878"/>
              <a:ext cx="59" cy="86"/>
            </a:xfrm>
            <a:custGeom>
              <a:avLst/>
              <a:gdLst>
                <a:gd name="T0" fmla="*/ 3 w 24"/>
                <a:gd name="T1" fmla="*/ 1 h 35"/>
                <a:gd name="T2" fmla="*/ 1 w 24"/>
                <a:gd name="T3" fmla="*/ 0 h 35"/>
                <a:gd name="T4" fmla="*/ 0 w 24"/>
                <a:gd name="T5" fmla="*/ 2 h 35"/>
                <a:gd name="T6" fmla="*/ 22 w 24"/>
                <a:gd name="T7" fmla="*/ 34 h 35"/>
                <a:gd name="T8" fmla="*/ 23 w 24"/>
                <a:gd name="T9" fmla="*/ 35 h 35"/>
                <a:gd name="T10" fmla="*/ 24 w 24"/>
                <a:gd name="T11" fmla="*/ 34 h 35"/>
                <a:gd name="T12" fmla="*/ 24 w 24"/>
                <a:gd name="T13" fmla="*/ 32 h 35"/>
                <a:gd name="T14" fmla="*/ 3 w 24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5">
                  <a:moveTo>
                    <a:pt x="3" y="1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5" y="14"/>
                    <a:pt x="13" y="25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5"/>
                    <a:pt x="24" y="34"/>
                    <a:pt x="24" y="34"/>
                  </a:cubicBezTo>
                  <a:cubicBezTo>
                    <a:pt x="24" y="34"/>
                    <a:pt x="24" y="33"/>
                    <a:pt x="24" y="32"/>
                  </a:cubicBezTo>
                  <a:cubicBezTo>
                    <a:pt x="15" y="24"/>
                    <a:pt x="8" y="13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17">
              <a:extLst>
                <a:ext uri="{FF2B5EF4-FFF2-40B4-BE49-F238E27FC236}">
                  <a16:creationId xmlns:a16="http://schemas.microsoft.com/office/drawing/2014/main" id="{D3CC65BB-E777-407C-A38D-31E289D52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3831"/>
              <a:ext cx="12" cy="25"/>
            </a:xfrm>
            <a:custGeom>
              <a:avLst/>
              <a:gdLst>
                <a:gd name="T0" fmla="*/ 3 w 5"/>
                <a:gd name="T1" fmla="*/ 2 h 10"/>
                <a:gd name="T2" fmla="*/ 1 w 5"/>
                <a:gd name="T3" fmla="*/ 1 h 10"/>
                <a:gd name="T4" fmla="*/ 0 w 5"/>
                <a:gd name="T5" fmla="*/ 2 h 10"/>
                <a:gd name="T6" fmla="*/ 2 w 5"/>
                <a:gd name="T7" fmla="*/ 9 h 10"/>
                <a:gd name="T8" fmla="*/ 3 w 5"/>
                <a:gd name="T9" fmla="*/ 10 h 10"/>
                <a:gd name="T10" fmla="*/ 3 w 5"/>
                <a:gd name="T11" fmla="*/ 10 h 10"/>
                <a:gd name="T12" fmla="*/ 4 w 5"/>
                <a:gd name="T13" fmla="*/ 9 h 10"/>
                <a:gd name="T14" fmla="*/ 3 w 5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0">
                  <a:moveTo>
                    <a:pt x="3" y="2"/>
                  </a:moveTo>
                  <a:cubicBezTo>
                    <a:pt x="2" y="1"/>
                    <a:pt x="2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1" y="7"/>
                    <a:pt x="2" y="9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5" y="9"/>
                    <a:pt x="4" y="9"/>
                  </a:cubicBezTo>
                  <a:cubicBezTo>
                    <a:pt x="4" y="6"/>
                    <a:pt x="3" y="4"/>
                    <a:pt x="3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18">
              <a:extLst>
                <a:ext uri="{FF2B5EF4-FFF2-40B4-BE49-F238E27FC236}">
                  <a16:creationId xmlns:a16="http://schemas.microsoft.com/office/drawing/2014/main" id="{BCD800C7-CE18-4A0F-BCB9-57EE95F02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" y="3770"/>
              <a:ext cx="79" cy="27"/>
            </a:xfrm>
            <a:custGeom>
              <a:avLst/>
              <a:gdLst>
                <a:gd name="T0" fmla="*/ 1 w 32"/>
                <a:gd name="T1" fmla="*/ 11 h 11"/>
                <a:gd name="T2" fmla="*/ 1 w 32"/>
                <a:gd name="T3" fmla="*/ 11 h 11"/>
                <a:gd name="T4" fmla="*/ 31 w 32"/>
                <a:gd name="T5" fmla="*/ 3 h 11"/>
                <a:gd name="T6" fmla="*/ 31 w 32"/>
                <a:gd name="T7" fmla="*/ 1 h 11"/>
                <a:gd name="T8" fmla="*/ 29 w 32"/>
                <a:gd name="T9" fmla="*/ 0 h 11"/>
                <a:gd name="T10" fmla="*/ 1 w 32"/>
                <a:gd name="T11" fmla="*/ 8 h 11"/>
                <a:gd name="T12" fmla="*/ 0 w 32"/>
                <a:gd name="T13" fmla="*/ 9 h 11"/>
                <a:gd name="T14" fmla="*/ 1 w 3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1">
                  <a:moveTo>
                    <a:pt x="1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8" y="11"/>
                    <a:pt x="21" y="9"/>
                    <a:pt x="31" y="3"/>
                  </a:cubicBezTo>
                  <a:cubicBezTo>
                    <a:pt x="32" y="2"/>
                    <a:pt x="32" y="1"/>
                    <a:pt x="31" y="1"/>
                  </a:cubicBezTo>
                  <a:cubicBezTo>
                    <a:pt x="31" y="0"/>
                    <a:pt x="30" y="0"/>
                    <a:pt x="29" y="0"/>
                  </a:cubicBezTo>
                  <a:cubicBezTo>
                    <a:pt x="23" y="5"/>
                    <a:pt x="13" y="7"/>
                    <a:pt x="1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1" y="11"/>
                    <a:pt x="1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19">
              <a:extLst>
                <a:ext uri="{FF2B5EF4-FFF2-40B4-BE49-F238E27FC236}">
                  <a16:creationId xmlns:a16="http://schemas.microsoft.com/office/drawing/2014/main" id="{4244E696-ED06-43B6-9289-38FBE8AF3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" y="3753"/>
              <a:ext cx="15" cy="17"/>
            </a:xfrm>
            <a:custGeom>
              <a:avLst/>
              <a:gdLst>
                <a:gd name="T0" fmla="*/ 1 w 6"/>
                <a:gd name="T1" fmla="*/ 7 h 7"/>
                <a:gd name="T2" fmla="*/ 2 w 6"/>
                <a:gd name="T3" fmla="*/ 6 h 7"/>
                <a:gd name="T4" fmla="*/ 6 w 6"/>
                <a:gd name="T5" fmla="*/ 2 h 7"/>
                <a:gd name="T6" fmla="*/ 5 w 6"/>
                <a:gd name="T7" fmla="*/ 0 h 7"/>
                <a:gd name="T8" fmla="*/ 3 w 6"/>
                <a:gd name="T9" fmla="*/ 1 h 7"/>
                <a:gd name="T10" fmla="*/ 0 w 6"/>
                <a:gd name="T11" fmla="*/ 4 h 7"/>
                <a:gd name="T12" fmla="*/ 0 w 6"/>
                <a:gd name="T13" fmla="*/ 6 h 7"/>
                <a:gd name="T14" fmla="*/ 1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1" y="7"/>
                  </a:moveTo>
                  <a:cubicBezTo>
                    <a:pt x="2" y="7"/>
                    <a:pt x="2" y="6"/>
                    <a:pt x="2" y="6"/>
                  </a:cubicBezTo>
                  <a:cubicBezTo>
                    <a:pt x="4" y="5"/>
                    <a:pt x="5" y="4"/>
                    <a:pt x="6" y="2"/>
                  </a:cubicBezTo>
                  <a:cubicBezTo>
                    <a:pt x="6" y="2"/>
                    <a:pt x="6" y="1"/>
                    <a:pt x="5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2"/>
                    <a:pt x="2" y="3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6"/>
                    <a:pt x="1" y="7"/>
                    <a:pt x="1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6" name="Group 222">
            <a:extLst>
              <a:ext uri="{FF2B5EF4-FFF2-40B4-BE49-F238E27FC236}">
                <a16:creationId xmlns:a16="http://schemas.microsoft.com/office/drawing/2014/main" id="{AA06CA4F-140A-408B-947E-4C0A56900E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5452809"/>
            <a:ext cx="841375" cy="841375"/>
            <a:chOff x="330" y="3505"/>
            <a:chExt cx="530" cy="530"/>
          </a:xfrm>
        </p:grpSpPr>
        <p:sp>
          <p:nvSpPr>
            <p:cNvPr id="257" name="AutoShape 221">
              <a:extLst>
                <a:ext uri="{FF2B5EF4-FFF2-40B4-BE49-F238E27FC236}">
                  <a16:creationId xmlns:a16="http://schemas.microsoft.com/office/drawing/2014/main" id="{209437A3-5F2A-4614-879F-DBC4130E5E3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0" y="350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223">
              <a:extLst>
                <a:ext uri="{FF2B5EF4-FFF2-40B4-BE49-F238E27FC236}">
                  <a16:creationId xmlns:a16="http://schemas.microsoft.com/office/drawing/2014/main" id="{3AAC1B64-7F3C-450C-80EE-82DF305691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" y="350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4">
              <a:extLst>
                <a:ext uri="{FF2B5EF4-FFF2-40B4-BE49-F238E27FC236}">
                  <a16:creationId xmlns:a16="http://schemas.microsoft.com/office/drawing/2014/main" id="{3C18A577-7430-4527-AE17-AD834DB9E6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352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5">
              <a:extLst>
                <a:ext uri="{FF2B5EF4-FFF2-40B4-BE49-F238E27FC236}">
                  <a16:creationId xmlns:a16="http://schemas.microsoft.com/office/drawing/2014/main" id="{E960EECE-EEED-4DFB-8AB3-2352C5712C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" y="3712"/>
              <a:ext cx="138" cy="141"/>
            </a:xfrm>
            <a:custGeom>
              <a:avLst/>
              <a:gdLst>
                <a:gd name="T0" fmla="*/ 43 w 54"/>
                <a:gd name="T1" fmla="*/ 46 h 55"/>
                <a:gd name="T2" fmla="*/ 39 w 54"/>
                <a:gd name="T3" fmla="*/ 43 h 55"/>
                <a:gd name="T4" fmla="*/ 21 w 54"/>
                <a:gd name="T5" fmla="*/ 51 h 55"/>
                <a:gd name="T6" fmla="*/ 15 w 54"/>
                <a:gd name="T7" fmla="*/ 43 h 55"/>
                <a:gd name="T8" fmla="*/ 11 w 54"/>
                <a:gd name="T9" fmla="*/ 9 h 55"/>
                <a:gd name="T10" fmla="*/ 15 w 54"/>
                <a:gd name="T11" fmla="*/ 12 h 55"/>
                <a:gd name="T12" fmla="*/ 33 w 54"/>
                <a:gd name="T13" fmla="*/ 4 h 55"/>
                <a:gd name="T14" fmla="*/ 39 w 54"/>
                <a:gd name="T15" fmla="*/ 12 h 55"/>
                <a:gd name="T16" fmla="*/ 28 w 54"/>
                <a:gd name="T17" fmla="*/ 29 h 55"/>
                <a:gd name="T18" fmla="*/ 38 w 54"/>
                <a:gd name="T19" fmla="*/ 39 h 55"/>
                <a:gd name="T20" fmla="*/ 28 w 54"/>
                <a:gd name="T21" fmla="*/ 51 h 55"/>
                <a:gd name="T22" fmla="*/ 37 w 54"/>
                <a:gd name="T23" fmla="*/ 41 h 55"/>
                <a:gd name="T24" fmla="*/ 26 w 54"/>
                <a:gd name="T25" fmla="*/ 40 h 55"/>
                <a:gd name="T26" fmla="*/ 17 w 54"/>
                <a:gd name="T27" fmla="*/ 41 h 55"/>
                <a:gd name="T28" fmla="*/ 26 w 54"/>
                <a:gd name="T29" fmla="*/ 29 h 55"/>
                <a:gd name="T30" fmla="*/ 16 w 54"/>
                <a:gd name="T31" fmla="*/ 39 h 55"/>
                <a:gd name="T32" fmla="*/ 26 w 54"/>
                <a:gd name="T33" fmla="*/ 29 h 55"/>
                <a:gd name="T34" fmla="*/ 26 w 54"/>
                <a:gd name="T35" fmla="*/ 26 h 55"/>
                <a:gd name="T36" fmla="*/ 16 w 54"/>
                <a:gd name="T37" fmla="*/ 16 h 55"/>
                <a:gd name="T38" fmla="*/ 26 w 54"/>
                <a:gd name="T39" fmla="*/ 4 h 55"/>
                <a:gd name="T40" fmla="*/ 17 w 54"/>
                <a:gd name="T41" fmla="*/ 13 h 55"/>
                <a:gd name="T42" fmla="*/ 28 w 54"/>
                <a:gd name="T43" fmla="*/ 15 h 55"/>
                <a:gd name="T44" fmla="*/ 37 w 54"/>
                <a:gd name="T45" fmla="*/ 13 h 55"/>
                <a:gd name="T46" fmla="*/ 28 w 54"/>
                <a:gd name="T47" fmla="*/ 26 h 55"/>
                <a:gd name="T48" fmla="*/ 38 w 54"/>
                <a:gd name="T49" fmla="*/ 16 h 55"/>
                <a:gd name="T50" fmla="*/ 28 w 54"/>
                <a:gd name="T51" fmla="*/ 26 h 55"/>
                <a:gd name="T52" fmla="*/ 42 w 54"/>
                <a:gd name="T53" fmla="*/ 26 h 55"/>
                <a:gd name="T54" fmla="*/ 45 w 54"/>
                <a:gd name="T55" fmla="*/ 11 h 55"/>
                <a:gd name="T56" fmla="*/ 9 w 54"/>
                <a:gd name="T57" fmla="*/ 11 h 55"/>
                <a:gd name="T58" fmla="*/ 12 w 54"/>
                <a:gd name="T59" fmla="*/ 26 h 55"/>
                <a:gd name="T60" fmla="*/ 9 w 54"/>
                <a:gd name="T61" fmla="*/ 11 h 55"/>
                <a:gd name="T62" fmla="*/ 12 w 54"/>
                <a:gd name="T63" fmla="*/ 29 h 55"/>
                <a:gd name="T64" fmla="*/ 9 w 54"/>
                <a:gd name="T65" fmla="*/ 44 h 55"/>
                <a:gd name="T66" fmla="*/ 45 w 54"/>
                <a:gd name="T67" fmla="*/ 44 h 55"/>
                <a:gd name="T68" fmla="*/ 42 w 54"/>
                <a:gd name="T69" fmla="*/ 29 h 55"/>
                <a:gd name="T70" fmla="*/ 45 w 54"/>
                <a:gd name="T71" fmla="*/ 44 h 55"/>
                <a:gd name="T72" fmla="*/ 46 w 54"/>
                <a:gd name="T73" fmla="*/ 8 h 55"/>
                <a:gd name="T74" fmla="*/ 27 w 54"/>
                <a:gd name="T75" fmla="*/ 0 h 55"/>
                <a:gd name="T76" fmla="*/ 27 w 54"/>
                <a:gd name="T77" fmla="*/ 0 h 55"/>
                <a:gd name="T78" fmla="*/ 8 w 54"/>
                <a:gd name="T79" fmla="*/ 8 h 55"/>
                <a:gd name="T80" fmla="*/ 0 w 54"/>
                <a:gd name="T81" fmla="*/ 27 h 55"/>
                <a:gd name="T82" fmla="*/ 0 w 54"/>
                <a:gd name="T83" fmla="*/ 27 h 55"/>
                <a:gd name="T84" fmla="*/ 8 w 54"/>
                <a:gd name="T85" fmla="*/ 47 h 55"/>
                <a:gd name="T86" fmla="*/ 27 w 54"/>
                <a:gd name="T87" fmla="*/ 55 h 55"/>
                <a:gd name="T88" fmla="*/ 46 w 54"/>
                <a:gd name="T89" fmla="*/ 47 h 55"/>
                <a:gd name="T90" fmla="*/ 54 w 54"/>
                <a:gd name="T91" fmla="*/ 27 h 55"/>
                <a:gd name="T92" fmla="*/ 54 w 54"/>
                <a:gd name="T93" fmla="*/ 27 h 55"/>
                <a:gd name="T94" fmla="*/ 54 w 54"/>
                <a:gd name="T95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4" h="55">
                  <a:moveTo>
                    <a:pt x="39" y="43"/>
                  </a:moveTo>
                  <a:cubicBezTo>
                    <a:pt x="41" y="44"/>
                    <a:pt x="42" y="45"/>
                    <a:pt x="43" y="46"/>
                  </a:cubicBezTo>
                  <a:cubicBezTo>
                    <a:pt x="40" y="48"/>
                    <a:pt x="37" y="50"/>
                    <a:pt x="33" y="51"/>
                  </a:cubicBezTo>
                  <a:cubicBezTo>
                    <a:pt x="35" y="49"/>
                    <a:pt x="37" y="46"/>
                    <a:pt x="39" y="43"/>
                  </a:cubicBezTo>
                  <a:moveTo>
                    <a:pt x="15" y="43"/>
                  </a:moveTo>
                  <a:cubicBezTo>
                    <a:pt x="17" y="46"/>
                    <a:pt x="19" y="49"/>
                    <a:pt x="21" y="51"/>
                  </a:cubicBezTo>
                  <a:cubicBezTo>
                    <a:pt x="17" y="50"/>
                    <a:pt x="14" y="48"/>
                    <a:pt x="11" y="46"/>
                  </a:cubicBezTo>
                  <a:cubicBezTo>
                    <a:pt x="12" y="45"/>
                    <a:pt x="13" y="44"/>
                    <a:pt x="15" y="43"/>
                  </a:cubicBezTo>
                  <a:moveTo>
                    <a:pt x="15" y="12"/>
                  </a:moveTo>
                  <a:cubicBezTo>
                    <a:pt x="13" y="11"/>
                    <a:pt x="12" y="10"/>
                    <a:pt x="11" y="9"/>
                  </a:cubicBezTo>
                  <a:cubicBezTo>
                    <a:pt x="14" y="6"/>
                    <a:pt x="17" y="5"/>
                    <a:pt x="21" y="4"/>
                  </a:cubicBezTo>
                  <a:cubicBezTo>
                    <a:pt x="19" y="5"/>
                    <a:pt x="17" y="8"/>
                    <a:pt x="15" y="12"/>
                  </a:cubicBezTo>
                  <a:moveTo>
                    <a:pt x="39" y="12"/>
                  </a:moveTo>
                  <a:cubicBezTo>
                    <a:pt x="37" y="8"/>
                    <a:pt x="35" y="5"/>
                    <a:pt x="33" y="4"/>
                  </a:cubicBezTo>
                  <a:cubicBezTo>
                    <a:pt x="37" y="5"/>
                    <a:pt x="40" y="6"/>
                    <a:pt x="43" y="9"/>
                  </a:cubicBezTo>
                  <a:cubicBezTo>
                    <a:pt x="42" y="10"/>
                    <a:pt x="41" y="11"/>
                    <a:pt x="39" y="12"/>
                  </a:cubicBezTo>
                  <a:moveTo>
                    <a:pt x="28" y="37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33"/>
                    <a:pt x="39" y="36"/>
                    <a:pt x="38" y="39"/>
                  </a:cubicBezTo>
                  <a:cubicBezTo>
                    <a:pt x="35" y="38"/>
                    <a:pt x="32" y="37"/>
                    <a:pt x="28" y="37"/>
                  </a:cubicBezTo>
                  <a:moveTo>
                    <a:pt x="28" y="51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32" y="40"/>
                    <a:pt x="34" y="41"/>
                    <a:pt x="37" y="41"/>
                  </a:cubicBezTo>
                  <a:cubicBezTo>
                    <a:pt x="34" y="47"/>
                    <a:pt x="31" y="49"/>
                    <a:pt x="28" y="51"/>
                  </a:cubicBezTo>
                  <a:moveTo>
                    <a:pt x="26" y="40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3" y="49"/>
                    <a:pt x="20" y="47"/>
                    <a:pt x="17" y="41"/>
                  </a:cubicBezTo>
                  <a:cubicBezTo>
                    <a:pt x="20" y="41"/>
                    <a:pt x="22" y="40"/>
                    <a:pt x="26" y="40"/>
                  </a:cubicBezTo>
                  <a:moveTo>
                    <a:pt x="26" y="29"/>
                  </a:moveTo>
                  <a:cubicBezTo>
                    <a:pt x="26" y="37"/>
                    <a:pt x="26" y="37"/>
                    <a:pt x="26" y="37"/>
                  </a:cubicBezTo>
                  <a:cubicBezTo>
                    <a:pt x="22" y="37"/>
                    <a:pt x="19" y="38"/>
                    <a:pt x="16" y="39"/>
                  </a:cubicBezTo>
                  <a:cubicBezTo>
                    <a:pt x="15" y="36"/>
                    <a:pt x="15" y="33"/>
                    <a:pt x="15" y="29"/>
                  </a:cubicBezTo>
                  <a:lnTo>
                    <a:pt x="26" y="29"/>
                  </a:lnTo>
                  <a:close/>
                  <a:moveTo>
                    <a:pt x="26" y="18"/>
                  </a:moveTo>
                  <a:cubicBezTo>
                    <a:pt x="26" y="26"/>
                    <a:pt x="26" y="26"/>
                    <a:pt x="2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2"/>
                    <a:pt x="15" y="19"/>
                    <a:pt x="16" y="16"/>
                  </a:cubicBezTo>
                  <a:cubicBezTo>
                    <a:pt x="19" y="17"/>
                    <a:pt x="22" y="17"/>
                    <a:pt x="26" y="18"/>
                  </a:cubicBezTo>
                  <a:moveTo>
                    <a:pt x="26" y="4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2" y="15"/>
                    <a:pt x="20" y="14"/>
                    <a:pt x="17" y="13"/>
                  </a:cubicBezTo>
                  <a:cubicBezTo>
                    <a:pt x="20" y="8"/>
                    <a:pt x="23" y="5"/>
                    <a:pt x="26" y="4"/>
                  </a:cubicBezTo>
                  <a:moveTo>
                    <a:pt x="28" y="15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31" y="5"/>
                    <a:pt x="34" y="8"/>
                    <a:pt x="37" y="13"/>
                  </a:cubicBezTo>
                  <a:cubicBezTo>
                    <a:pt x="34" y="14"/>
                    <a:pt x="32" y="15"/>
                    <a:pt x="28" y="15"/>
                  </a:cubicBezTo>
                  <a:moveTo>
                    <a:pt x="28" y="26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32" y="17"/>
                    <a:pt x="35" y="17"/>
                    <a:pt x="38" y="16"/>
                  </a:cubicBezTo>
                  <a:cubicBezTo>
                    <a:pt x="39" y="19"/>
                    <a:pt x="39" y="22"/>
                    <a:pt x="39" y="26"/>
                  </a:cubicBezTo>
                  <a:lnTo>
                    <a:pt x="28" y="26"/>
                  </a:lnTo>
                  <a:close/>
                  <a:moveTo>
                    <a:pt x="51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2"/>
                    <a:pt x="41" y="18"/>
                    <a:pt x="40" y="15"/>
                  </a:cubicBezTo>
                  <a:cubicBezTo>
                    <a:pt x="43" y="14"/>
                    <a:pt x="44" y="12"/>
                    <a:pt x="45" y="11"/>
                  </a:cubicBezTo>
                  <a:cubicBezTo>
                    <a:pt x="49" y="15"/>
                    <a:pt x="51" y="20"/>
                    <a:pt x="51" y="26"/>
                  </a:cubicBezTo>
                  <a:moveTo>
                    <a:pt x="9" y="11"/>
                  </a:moveTo>
                  <a:cubicBezTo>
                    <a:pt x="10" y="12"/>
                    <a:pt x="11" y="14"/>
                    <a:pt x="14" y="15"/>
                  </a:cubicBezTo>
                  <a:cubicBezTo>
                    <a:pt x="13" y="18"/>
                    <a:pt x="12" y="22"/>
                    <a:pt x="12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0"/>
                    <a:pt x="5" y="15"/>
                    <a:pt x="9" y="11"/>
                  </a:cubicBezTo>
                  <a:moveTo>
                    <a:pt x="3" y="29"/>
                  </a:moveTo>
                  <a:cubicBezTo>
                    <a:pt x="12" y="29"/>
                    <a:pt x="12" y="29"/>
                    <a:pt x="12" y="29"/>
                  </a:cubicBezTo>
                  <a:cubicBezTo>
                    <a:pt x="12" y="33"/>
                    <a:pt x="13" y="37"/>
                    <a:pt x="14" y="40"/>
                  </a:cubicBezTo>
                  <a:cubicBezTo>
                    <a:pt x="11" y="41"/>
                    <a:pt x="10" y="43"/>
                    <a:pt x="9" y="44"/>
                  </a:cubicBezTo>
                  <a:cubicBezTo>
                    <a:pt x="5" y="40"/>
                    <a:pt x="3" y="34"/>
                    <a:pt x="3" y="29"/>
                  </a:cubicBezTo>
                  <a:moveTo>
                    <a:pt x="45" y="44"/>
                  </a:moveTo>
                  <a:cubicBezTo>
                    <a:pt x="44" y="43"/>
                    <a:pt x="43" y="41"/>
                    <a:pt x="40" y="40"/>
                  </a:cubicBezTo>
                  <a:cubicBezTo>
                    <a:pt x="41" y="37"/>
                    <a:pt x="42" y="33"/>
                    <a:pt x="42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34"/>
                    <a:pt x="49" y="40"/>
                    <a:pt x="45" y="44"/>
                  </a:cubicBezTo>
                  <a:moveTo>
                    <a:pt x="54" y="27"/>
                  </a:moveTo>
                  <a:cubicBezTo>
                    <a:pt x="54" y="20"/>
                    <a:pt x="51" y="13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1" y="3"/>
                    <a:pt x="34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0" y="0"/>
                    <a:pt x="13" y="3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" y="13"/>
                    <a:pt x="0" y="20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5"/>
                    <a:pt x="3" y="42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3" y="52"/>
                    <a:pt x="20" y="55"/>
                    <a:pt x="27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4" y="55"/>
                    <a:pt x="41" y="52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1" y="42"/>
                    <a:pt x="54" y="35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6">
              <a:extLst>
                <a:ext uri="{FF2B5EF4-FFF2-40B4-BE49-F238E27FC236}">
                  <a16:creationId xmlns:a16="http://schemas.microsoft.com/office/drawing/2014/main" id="{A2A6A3B8-8674-4149-AA1A-CC0A3D4B2F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" y="3628"/>
              <a:ext cx="287" cy="310"/>
            </a:xfrm>
            <a:custGeom>
              <a:avLst/>
              <a:gdLst>
                <a:gd name="T0" fmla="*/ 58 w 112"/>
                <a:gd name="T1" fmla="*/ 117 h 121"/>
                <a:gd name="T2" fmla="*/ 54 w 112"/>
                <a:gd name="T3" fmla="*/ 117 h 121"/>
                <a:gd name="T4" fmla="*/ 3 w 112"/>
                <a:gd name="T5" fmla="*/ 28 h 121"/>
                <a:gd name="T6" fmla="*/ 4 w 112"/>
                <a:gd name="T7" fmla="*/ 25 h 121"/>
                <a:gd name="T8" fmla="*/ 7 w 112"/>
                <a:gd name="T9" fmla="*/ 23 h 121"/>
                <a:gd name="T10" fmla="*/ 53 w 112"/>
                <a:gd name="T11" fmla="*/ 4 h 121"/>
                <a:gd name="T12" fmla="*/ 53 w 112"/>
                <a:gd name="T13" fmla="*/ 4 h 121"/>
                <a:gd name="T14" fmla="*/ 56 w 112"/>
                <a:gd name="T15" fmla="*/ 3 h 121"/>
                <a:gd name="T16" fmla="*/ 59 w 112"/>
                <a:gd name="T17" fmla="*/ 4 h 121"/>
                <a:gd name="T18" fmla="*/ 105 w 112"/>
                <a:gd name="T19" fmla="*/ 23 h 121"/>
                <a:gd name="T20" fmla="*/ 108 w 112"/>
                <a:gd name="T21" fmla="*/ 25 h 121"/>
                <a:gd name="T22" fmla="*/ 109 w 112"/>
                <a:gd name="T23" fmla="*/ 28 h 121"/>
                <a:gd name="T24" fmla="*/ 58 w 112"/>
                <a:gd name="T25" fmla="*/ 117 h 121"/>
                <a:gd name="T26" fmla="*/ 110 w 112"/>
                <a:gd name="T27" fmla="*/ 23 h 121"/>
                <a:gd name="T28" fmla="*/ 105 w 112"/>
                <a:gd name="T29" fmla="*/ 21 h 121"/>
                <a:gd name="T30" fmla="*/ 62 w 112"/>
                <a:gd name="T31" fmla="*/ 3 h 121"/>
                <a:gd name="T32" fmla="*/ 56 w 112"/>
                <a:gd name="T33" fmla="*/ 0 h 121"/>
                <a:gd name="T34" fmla="*/ 50 w 112"/>
                <a:gd name="T35" fmla="*/ 3 h 121"/>
                <a:gd name="T36" fmla="*/ 7 w 112"/>
                <a:gd name="T37" fmla="*/ 21 h 121"/>
                <a:gd name="T38" fmla="*/ 2 w 112"/>
                <a:gd name="T39" fmla="*/ 23 h 121"/>
                <a:gd name="T40" fmla="*/ 0 w 112"/>
                <a:gd name="T41" fmla="*/ 28 h 121"/>
                <a:gd name="T42" fmla="*/ 52 w 112"/>
                <a:gd name="T43" fmla="*/ 120 h 121"/>
                <a:gd name="T44" fmla="*/ 56 w 112"/>
                <a:gd name="T45" fmla="*/ 121 h 121"/>
                <a:gd name="T46" fmla="*/ 60 w 112"/>
                <a:gd name="T47" fmla="*/ 120 h 121"/>
                <a:gd name="T48" fmla="*/ 112 w 112"/>
                <a:gd name="T49" fmla="*/ 28 h 121"/>
                <a:gd name="T50" fmla="*/ 110 w 112"/>
                <a:gd name="T51" fmla="*/ 2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2" h="121">
                  <a:moveTo>
                    <a:pt x="58" y="117"/>
                  </a:moveTo>
                  <a:cubicBezTo>
                    <a:pt x="57" y="118"/>
                    <a:pt x="55" y="118"/>
                    <a:pt x="54" y="117"/>
                  </a:cubicBezTo>
                  <a:cubicBezTo>
                    <a:pt x="12" y="90"/>
                    <a:pt x="4" y="42"/>
                    <a:pt x="3" y="28"/>
                  </a:cubicBezTo>
                  <a:cubicBezTo>
                    <a:pt x="3" y="27"/>
                    <a:pt x="3" y="26"/>
                    <a:pt x="4" y="25"/>
                  </a:cubicBezTo>
                  <a:cubicBezTo>
                    <a:pt x="5" y="24"/>
                    <a:pt x="6" y="24"/>
                    <a:pt x="7" y="23"/>
                  </a:cubicBezTo>
                  <a:cubicBezTo>
                    <a:pt x="28" y="22"/>
                    <a:pt x="45" y="15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5" y="3"/>
                    <a:pt x="56" y="3"/>
                  </a:cubicBezTo>
                  <a:cubicBezTo>
                    <a:pt x="57" y="3"/>
                    <a:pt x="58" y="3"/>
                    <a:pt x="59" y="4"/>
                  </a:cubicBezTo>
                  <a:cubicBezTo>
                    <a:pt x="67" y="15"/>
                    <a:pt x="84" y="22"/>
                    <a:pt x="105" y="23"/>
                  </a:cubicBezTo>
                  <a:cubicBezTo>
                    <a:pt x="106" y="24"/>
                    <a:pt x="107" y="24"/>
                    <a:pt x="108" y="25"/>
                  </a:cubicBezTo>
                  <a:cubicBezTo>
                    <a:pt x="109" y="26"/>
                    <a:pt x="109" y="27"/>
                    <a:pt x="109" y="28"/>
                  </a:cubicBezTo>
                  <a:cubicBezTo>
                    <a:pt x="108" y="42"/>
                    <a:pt x="100" y="90"/>
                    <a:pt x="58" y="117"/>
                  </a:cubicBezTo>
                  <a:moveTo>
                    <a:pt x="110" y="23"/>
                  </a:moveTo>
                  <a:cubicBezTo>
                    <a:pt x="109" y="22"/>
                    <a:pt x="107" y="21"/>
                    <a:pt x="105" y="21"/>
                  </a:cubicBezTo>
                  <a:cubicBezTo>
                    <a:pt x="85" y="20"/>
                    <a:pt x="68" y="13"/>
                    <a:pt x="62" y="3"/>
                  </a:cubicBezTo>
                  <a:cubicBezTo>
                    <a:pt x="60" y="1"/>
                    <a:pt x="58" y="0"/>
                    <a:pt x="56" y="0"/>
                  </a:cubicBezTo>
                  <a:cubicBezTo>
                    <a:pt x="54" y="0"/>
                    <a:pt x="52" y="1"/>
                    <a:pt x="50" y="3"/>
                  </a:cubicBezTo>
                  <a:cubicBezTo>
                    <a:pt x="44" y="13"/>
                    <a:pt x="27" y="20"/>
                    <a:pt x="7" y="21"/>
                  </a:cubicBezTo>
                  <a:cubicBezTo>
                    <a:pt x="5" y="21"/>
                    <a:pt x="3" y="22"/>
                    <a:pt x="2" y="23"/>
                  </a:cubicBezTo>
                  <a:cubicBezTo>
                    <a:pt x="1" y="24"/>
                    <a:pt x="0" y="26"/>
                    <a:pt x="0" y="28"/>
                  </a:cubicBezTo>
                  <a:cubicBezTo>
                    <a:pt x="2" y="42"/>
                    <a:pt x="9" y="92"/>
                    <a:pt x="52" y="120"/>
                  </a:cubicBezTo>
                  <a:cubicBezTo>
                    <a:pt x="53" y="120"/>
                    <a:pt x="55" y="121"/>
                    <a:pt x="56" y="121"/>
                  </a:cubicBezTo>
                  <a:cubicBezTo>
                    <a:pt x="57" y="121"/>
                    <a:pt x="59" y="120"/>
                    <a:pt x="60" y="120"/>
                  </a:cubicBezTo>
                  <a:cubicBezTo>
                    <a:pt x="103" y="92"/>
                    <a:pt x="110" y="42"/>
                    <a:pt x="112" y="28"/>
                  </a:cubicBezTo>
                  <a:cubicBezTo>
                    <a:pt x="112" y="26"/>
                    <a:pt x="111" y="24"/>
                    <a:pt x="110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27">
              <a:extLst>
                <a:ext uri="{FF2B5EF4-FFF2-40B4-BE49-F238E27FC236}">
                  <a16:creationId xmlns:a16="http://schemas.microsoft.com/office/drawing/2014/main" id="{EB9DBFDA-9454-42CF-9F1A-ED50F36FB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" y="3792"/>
              <a:ext cx="61" cy="89"/>
            </a:xfrm>
            <a:custGeom>
              <a:avLst/>
              <a:gdLst>
                <a:gd name="T0" fmla="*/ 3 w 24"/>
                <a:gd name="T1" fmla="*/ 1 h 35"/>
                <a:gd name="T2" fmla="*/ 1 w 24"/>
                <a:gd name="T3" fmla="*/ 0 h 35"/>
                <a:gd name="T4" fmla="*/ 0 w 24"/>
                <a:gd name="T5" fmla="*/ 2 h 35"/>
                <a:gd name="T6" fmla="*/ 22 w 24"/>
                <a:gd name="T7" fmla="*/ 34 h 35"/>
                <a:gd name="T8" fmla="*/ 23 w 24"/>
                <a:gd name="T9" fmla="*/ 35 h 35"/>
                <a:gd name="T10" fmla="*/ 24 w 24"/>
                <a:gd name="T11" fmla="*/ 34 h 35"/>
                <a:gd name="T12" fmla="*/ 24 w 24"/>
                <a:gd name="T13" fmla="*/ 32 h 35"/>
                <a:gd name="T14" fmla="*/ 3 w 24"/>
                <a:gd name="T15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5">
                  <a:moveTo>
                    <a:pt x="3" y="1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5" y="14"/>
                    <a:pt x="13" y="25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5"/>
                    <a:pt x="24" y="34"/>
                    <a:pt x="24" y="34"/>
                  </a:cubicBezTo>
                  <a:cubicBezTo>
                    <a:pt x="24" y="34"/>
                    <a:pt x="24" y="33"/>
                    <a:pt x="24" y="32"/>
                  </a:cubicBezTo>
                  <a:cubicBezTo>
                    <a:pt x="15" y="24"/>
                    <a:pt x="8" y="13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8">
              <a:extLst>
                <a:ext uri="{FF2B5EF4-FFF2-40B4-BE49-F238E27FC236}">
                  <a16:creationId xmlns:a16="http://schemas.microsoft.com/office/drawing/2014/main" id="{B486C5BE-8AC3-441D-970E-2C7DF9CC3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" y="3743"/>
              <a:ext cx="13" cy="26"/>
            </a:xfrm>
            <a:custGeom>
              <a:avLst/>
              <a:gdLst>
                <a:gd name="T0" fmla="*/ 3 w 5"/>
                <a:gd name="T1" fmla="*/ 2 h 10"/>
                <a:gd name="T2" fmla="*/ 1 w 5"/>
                <a:gd name="T3" fmla="*/ 1 h 10"/>
                <a:gd name="T4" fmla="*/ 0 w 5"/>
                <a:gd name="T5" fmla="*/ 2 h 10"/>
                <a:gd name="T6" fmla="*/ 2 w 5"/>
                <a:gd name="T7" fmla="*/ 9 h 10"/>
                <a:gd name="T8" fmla="*/ 3 w 5"/>
                <a:gd name="T9" fmla="*/ 10 h 10"/>
                <a:gd name="T10" fmla="*/ 3 w 5"/>
                <a:gd name="T11" fmla="*/ 10 h 10"/>
                <a:gd name="T12" fmla="*/ 4 w 5"/>
                <a:gd name="T13" fmla="*/ 9 h 10"/>
                <a:gd name="T14" fmla="*/ 3 w 5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0">
                  <a:moveTo>
                    <a:pt x="3" y="2"/>
                  </a:moveTo>
                  <a:cubicBezTo>
                    <a:pt x="2" y="1"/>
                    <a:pt x="2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1" y="7"/>
                    <a:pt x="2" y="9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5" y="9"/>
                    <a:pt x="4" y="9"/>
                  </a:cubicBezTo>
                  <a:cubicBezTo>
                    <a:pt x="4" y="6"/>
                    <a:pt x="3" y="4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29">
              <a:extLst>
                <a:ext uri="{FF2B5EF4-FFF2-40B4-BE49-F238E27FC236}">
                  <a16:creationId xmlns:a16="http://schemas.microsoft.com/office/drawing/2014/main" id="{D339BF81-0DDD-48E6-BED9-26E35D72E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3679"/>
              <a:ext cx="82" cy="28"/>
            </a:xfrm>
            <a:custGeom>
              <a:avLst/>
              <a:gdLst>
                <a:gd name="T0" fmla="*/ 1 w 32"/>
                <a:gd name="T1" fmla="*/ 11 h 11"/>
                <a:gd name="T2" fmla="*/ 1 w 32"/>
                <a:gd name="T3" fmla="*/ 11 h 11"/>
                <a:gd name="T4" fmla="*/ 31 w 32"/>
                <a:gd name="T5" fmla="*/ 3 h 11"/>
                <a:gd name="T6" fmla="*/ 31 w 32"/>
                <a:gd name="T7" fmla="*/ 1 h 11"/>
                <a:gd name="T8" fmla="*/ 29 w 32"/>
                <a:gd name="T9" fmla="*/ 0 h 11"/>
                <a:gd name="T10" fmla="*/ 1 w 32"/>
                <a:gd name="T11" fmla="*/ 8 h 11"/>
                <a:gd name="T12" fmla="*/ 0 w 32"/>
                <a:gd name="T13" fmla="*/ 9 h 11"/>
                <a:gd name="T14" fmla="*/ 1 w 3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1">
                  <a:moveTo>
                    <a:pt x="1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8" y="11"/>
                    <a:pt x="21" y="9"/>
                    <a:pt x="31" y="3"/>
                  </a:cubicBezTo>
                  <a:cubicBezTo>
                    <a:pt x="32" y="2"/>
                    <a:pt x="32" y="1"/>
                    <a:pt x="31" y="1"/>
                  </a:cubicBezTo>
                  <a:cubicBezTo>
                    <a:pt x="31" y="0"/>
                    <a:pt x="30" y="0"/>
                    <a:pt x="29" y="0"/>
                  </a:cubicBezTo>
                  <a:cubicBezTo>
                    <a:pt x="23" y="5"/>
                    <a:pt x="13" y="7"/>
                    <a:pt x="1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1" y="11"/>
                    <a:pt x="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30">
              <a:extLst>
                <a:ext uri="{FF2B5EF4-FFF2-40B4-BE49-F238E27FC236}">
                  <a16:creationId xmlns:a16="http://schemas.microsoft.com/office/drawing/2014/main" id="{B4DB338E-AAD4-46C9-B280-11608A66A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" y="3661"/>
              <a:ext cx="15" cy="18"/>
            </a:xfrm>
            <a:custGeom>
              <a:avLst/>
              <a:gdLst>
                <a:gd name="T0" fmla="*/ 1 w 6"/>
                <a:gd name="T1" fmla="*/ 7 h 7"/>
                <a:gd name="T2" fmla="*/ 2 w 6"/>
                <a:gd name="T3" fmla="*/ 6 h 7"/>
                <a:gd name="T4" fmla="*/ 6 w 6"/>
                <a:gd name="T5" fmla="*/ 2 h 7"/>
                <a:gd name="T6" fmla="*/ 5 w 6"/>
                <a:gd name="T7" fmla="*/ 0 h 7"/>
                <a:gd name="T8" fmla="*/ 3 w 6"/>
                <a:gd name="T9" fmla="*/ 1 h 7"/>
                <a:gd name="T10" fmla="*/ 0 w 6"/>
                <a:gd name="T11" fmla="*/ 4 h 7"/>
                <a:gd name="T12" fmla="*/ 0 w 6"/>
                <a:gd name="T13" fmla="*/ 6 h 7"/>
                <a:gd name="T14" fmla="*/ 1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1" y="7"/>
                  </a:moveTo>
                  <a:cubicBezTo>
                    <a:pt x="2" y="7"/>
                    <a:pt x="2" y="6"/>
                    <a:pt x="2" y="6"/>
                  </a:cubicBezTo>
                  <a:cubicBezTo>
                    <a:pt x="4" y="5"/>
                    <a:pt x="5" y="4"/>
                    <a:pt x="6" y="2"/>
                  </a:cubicBezTo>
                  <a:cubicBezTo>
                    <a:pt x="6" y="2"/>
                    <a:pt x="6" y="1"/>
                    <a:pt x="5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2"/>
                    <a:pt x="2" y="3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6"/>
                    <a:pt x="1" y="7"/>
                    <a:pt x="1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0" name="Group 233">
            <a:extLst>
              <a:ext uri="{FF2B5EF4-FFF2-40B4-BE49-F238E27FC236}">
                <a16:creationId xmlns:a16="http://schemas.microsoft.com/office/drawing/2014/main" id="{469C7652-BE7D-4864-B7E7-ADE3954106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6376" y="5494084"/>
            <a:ext cx="760413" cy="758825"/>
            <a:chOff x="2446" y="3538"/>
            <a:chExt cx="479" cy="478"/>
          </a:xfrm>
        </p:grpSpPr>
        <p:sp>
          <p:nvSpPr>
            <p:cNvPr id="271" name="AutoShape 232">
              <a:extLst>
                <a:ext uri="{FF2B5EF4-FFF2-40B4-BE49-F238E27FC236}">
                  <a16:creationId xmlns:a16="http://schemas.microsoft.com/office/drawing/2014/main" id="{0AF485BC-650F-4E4E-84FE-3D40888177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46" y="353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34">
              <a:extLst>
                <a:ext uri="{FF2B5EF4-FFF2-40B4-BE49-F238E27FC236}">
                  <a16:creationId xmlns:a16="http://schemas.microsoft.com/office/drawing/2014/main" id="{D56AA7E3-4E61-4A8F-9F74-250211F58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" y="354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5">
              <a:extLst>
                <a:ext uri="{FF2B5EF4-FFF2-40B4-BE49-F238E27FC236}">
                  <a16:creationId xmlns:a16="http://schemas.microsoft.com/office/drawing/2014/main" id="{087F5354-A93D-4705-A7A8-4077E6B1F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" y="3737"/>
              <a:ext cx="39" cy="83"/>
            </a:xfrm>
            <a:custGeom>
              <a:avLst/>
              <a:gdLst>
                <a:gd name="T0" fmla="*/ 3 w 16"/>
                <a:gd name="T1" fmla="*/ 7 h 34"/>
                <a:gd name="T2" fmla="*/ 7 w 16"/>
                <a:gd name="T3" fmla="*/ 3 h 34"/>
                <a:gd name="T4" fmla="*/ 11 w 16"/>
                <a:gd name="T5" fmla="*/ 7 h 34"/>
                <a:gd name="T6" fmla="*/ 7 w 16"/>
                <a:gd name="T7" fmla="*/ 10 h 34"/>
                <a:gd name="T8" fmla="*/ 3 w 16"/>
                <a:gd name="T9" fmla="*/ 7 h 34"/>
                <a:gd name="T10" fmla="*/ 14 w 16"/>
                <a:gd name="T11" fmla="*/ 31 h 34"/>
                <a:gd name="T12" fmla="*/ 9 w 16"/>
                <a:gd name="T13" fmla="*/ 31 h 34"/>
                <a:gd name="T14" fmla="*/ 9 w 16"/>
                <a:gd name="T15" fmla="*/ 27 h 34"/>
                <a:gd name="T16" fmla="*/ 11 w 16"/>
                <a:gd name="T17" fmla="*/ 27 h 34"/>
                <a:gd name="T18" fmla="*/ 13 w 16"/>
                <a:gd name="T19" fmla="*/ 26 h 34"/>
                <a:gd name="T20" fmla="*/ 11 w 16"/>
                <a:gd name="T21" fmla="*/ 24 h 34"/>
                <a:gd name="T22" fmla="*/ 9 w 16"/>
                <a:gd name="T23" fmla="*/ 24 h 34"/>
                <a:gd name="T24" fmla="*/ 9 w 16"/>
                <a:gd name="T25" fmla="*/ 13 h 34"/>
                <a:gd name="T26" fmla="*/ 14 w 16"/>
                <a:gd name="T27" fmla="*/ 7 h 34"/>
                <a:gd name="T28" fmla="*/ 7 w 16"/>
                <a:gd name="T29" fmla="*/ 0 h 34"/>
                <a:gd name="T30" fmla="*/ 0 w 16"/>
                <a:gd name="T31" fmla="*/ 7 h 34"/>
                <a:gd name="T32" fmla="*/ 6 w 16"/>
                <a:gd name="T33" fmla="*/ 13 h 34"/>
                <a:gd name="T34" fmla="*/ 6 w 16"/>
                <a:gd name="T35" fmla="*/ 33 h 34"/>
                <a:gd name="T36" fmla="*/ 7 w 16"/>
                <a:gd name="T37" fmla="*/ 34 h 34"/>
                <a:gd name="T38" fmla="*/ 14 w 16"/>
                <a:gd name="T39" fmla="*/ 34 h 34"/>
                <a:gd name="T40" fmla="*/ 16 w 16"/>
                <a:gd name="T41" fmla="*/ 33 h 34"/>
                <a:gd name="T42" fmla="*/ 14 w 1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34">
                  <a:moveTo>
                    <a:pt x="3" y="7"/>
                  </a:move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cubicBezTo>
                    <a:pt x="5" y="10"/>
                    <a:pt x="3" y="9"/>
                    <a:pt x="3" y="7"/>
                  </a:cubicBezTo>
                  <a:moveTo>
                    <a:pt x="14" y="31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3" y="26"/>
                    <a:pt x="13" y="26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2"/>
                    <a:pt x="14" y="10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2"/>
                    <a:pt x="6" y="1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4"/>
                    <a:pt x="7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5" y="34"/>
                    <a:pt x="16" y="33"/>
                    <a:pt x="16" y="33"/>
                  </a:cubicBezTo>
                  <a:cubicBezTo>
                    <a:pt x="16" y="32"/>
                    <a:pt x="15" y="31"/>
                    <a:pt x="14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36">
              <a:extLst>
                <a:ext uri="{FF2B5EF4-FFF2-40B4-BE49-F238E27FC236}">
                  <a16:creationId xmlns:a16="http://schemas.microsoft.com/office/drawing/2014/main" id="{10D7F976-00DB-4FC0-A635-947192F7F6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4" y="3648"/>
              <a:ext cx="37" cy="57"/>
            </a:xfrm>
            <a:custGeom>
              <a:avLst/>
              <a:gdLst>
                <a:gd name="T0" fmla="*/ 8 w 15"/>
                <a:gd name="T1" fmla="*/ 3 h 23"/>
                <a:gd name="T2" fmla="*/ 12 w 15"/>
                <a:gd name="T3" fmla="*/ 8 h 23"/>
                <a:gd name="T4" fmla="*/ 8 w 15"/>
                <a:gd name="T5" fmla="*/ 12 h 23"/>
                <a:gd name="T6" fmla="*/ 3 w 15"/>
                <a:gd name="T7" fmla="*/ 8 h 23"/>
                <a:gd name="T8" fmla="*/ 8 w 15"/>
                <a:gd name="T9" fmla="*/ 3 h 23"/>
                <a:gd name="T10" fmla="*/ 6 w 15"/>
                <a:gd name="T11" fmla="*/ 15 h 23"/>
                <a:gd name="T12" fmla="*/ 6 w 15"/>
                <a:gd name="T13" fmla="*/ 21 h 23"/>
                <a:gd name="T14" fmla="*/ 8 w 15"/>
                <a:gd name="T15" fmla="*/ 23 h 23"/>
                <a:gd name="T16" fmla="*/ 9 w 15"/>
                <a:gd name="T17" fmla="*/ 21 h 23"/>
                <a:gd name="T18" fmla="*/ 9 w 15"/>
                <a:gd name="T19" fmla="*/ 15 h 23"/>
                <a:gd name="T20" fmla="*/ 15 w 15"/>
                <a:gd name="T21" fmla="*/ 8 h 23"/>
                <a:gd name="T22" fmla="*/ 8 w 15"/>
                <a:gd name="T23" fmla="*/ 0 h 23"/>
                <a:gd name="T24" fmla="*/ 0 w 15"/>
                <a:gd name="T25" fmla="*/ 8 h 23"/>
                <a:gd name="T26" fmla="*/ 6 w 15"/>
                <a:gd name="T27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8" y="3"/>
                  </a:moveTo>
                  <a:cubicBezTo>
                    <a:pt x="10" y="3"/>
                    <a:pt x="12" y="5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5" y="12"/>
                    <a:pt x="3" y="10"/>
                    <a:pt x="3" y="8"/>
                  </a:cubicBezTo>
                  <a:cubicBezTo>
                    <a:pt x="3" y="5"/>
                    <a:pt x="5" y="3"/>
                    <a:pt x="8" y="3"/>
                  </a:cubicBezTo>
                  <a:moveTo>
                    <a:pt x="6" y="15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8" y="23"/>
                    <a:pt x="9" y="22"/>
                    <a:pt x="9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2" y="14"/>
                    <a:pt x="15" y="11"/>
                    <a:pt x="15" y="8"/>
                  </a:cubicBezTo>
                  <a:cubicBezTo>
                    <a:pt x="15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3" y="14"/>
                    <a:pt x="6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37">
              <a:extLst>
                <a:ext uri="{FF2B5EF4-FFF2-40B4-BE49-F238E27FC236}">
                  <a16:creationId xmlns:a16="http://schemas.microsoft.com/office/drawing/2014/main" id="{60EED3A8-04C3-48C5-9EA7-8DF6B4676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2" y="3724"/>
              <a:ext cx="52" cy="35"/>
            </a:xfrm>
            <a:custGeom>
              <a:avLst/>
              <a:gdLst>
                <a:gd name="T0" fmla="*/ 7 w 21"/>
                <a:gd name="T1" fmla="*/ 3 h 14"/>
                <a:gd name="T2" fmla="*/ 11 w 21"/>
                <a:gd name="T3" fmla="*/ 7 h 14"/>
                <a:gd name="T4" fmla="*/ 7 w 21"/>
                <a:gd name="T5" fmla="*/ 11 h 14"/>
                <a:gd name="T6" fmla="*/ 3 w 21"/>
                <a:gd name="T7" fmla="*/ 7 h 14"/>
                <a:gd name="T8" fmla="*/ 7 w 21"/>
                <a:gd name="T9" fmla="*/ 3 h 14"/>
                <a:gd name="T10" fmla="*/ 7 w 21"/>
                <a:gd name="T11" fmla="*/ 14 h 14"/>
                <a:gd name="T12" fmla="*/ 14 w 21"/>
                <a:gd name="T13" fmla="*/ 8 h 14"/>
                <a:gd name="T14" fmla="*/ 19 w 21"/>
                <a:gd name="T15" fmla="*/ 8 h 14"/>
                <a:gd name="T16" fmla="*/ 21 w 21"/>
                <a:gd name="T17" fmla="*/ 7 h 14"/>
                <a:gd name="T18" fmla="*/ 19 w 21"/>
                <a:gd name="T19" fmla="*/ 5 h 14"/>
                <a:gd name="T20" fmla="*/ 14 w 21"/>
                <a:gd name="T21" fmla="*/ 5 h 14"/>
                <a:gd name="T22" fmla="*/ 7 w 21"/>
                <a:gd name="T23" fmla="*/ 0 h 14"/>
                <a:gd name="T24" fmla="*/ 0 w 21"/>
                <a:gd name="T25" fmla="*/ 7 h 14"/>
                <a:gd name="T26" fmla="*/ 7 w 21"/>
                <a:gd name="T2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7" y="3"/>
                  </a:moveTo>
                  <a:cubicBezTo>
                    <a:pt x="9" y="3"/>
                    <a:pt x="11" y="4"/>
                    <a:pt x="11" y="7"/>
                  </a:cubicBezTo>
                  <a:cubicBezTo>
                    <a:pt x="11" y="9"/>
                    <a:pt x="9" y="11"/>
                    <a:pt x="7" y="11"/>
                  </a:cubicBezTo>
                  <a:cubicBezTo>
                    <a:pt x="5" y="11"/>
                    <a:pt x="3" y="9"/>
                    <a:pt x="3" y="7"/>
                  </a:cubicBezTo>
                  <a:cubicBezTo>
                    <a:pt x="3" y="4"/>
                    <a:pt x="5" y="3"/>
                    <a:pt x="7" y="3"/>
                  </a:cubicBezTo>
                  <a:moveTo>
                    <a:pt x="7" y="14"/>
                  </a:moveTo>
                  <a:cubicBezTo>
                    <a:pt x="11" y="14"/>
                    <a:pt x="13" y="12"/>
                    <a:pt x="14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1" y="8"/>
                    <a:pt x="21" y="7"/>
                  </a:cubicBezTo>
                  <a:cubicBezTo>
                    <a:pt x="21" y="6"/>
                    <a:pt x="20" y="5"/>
                    <a:pt x="19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2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38">
              <a:extLst>
                <a:ext uri="{FF2B5EF4-FFF2-40B4-BE49-F238E27FC236}">
                  <a16:creationId xmlns:a16="http://schemas.microsoft.com/office/drawing/2014/main" id="{FB1A0623-258D-4EE5-AE49-F4F9AC9AFD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4" y="3852"/>
              <a:ext cx="37" cy="56"/>
            </a:xfrm>
            <a:custGeom>
              <a:avLst/>
              <a:gdLst>
                <a:gd name="T0" fmla="*/ 8 w 15"/>
                <a:gd name="T1" fmla="*/ 20 h 23"/>
                <a:gd name="T2" fmla="*/ 3 w 15"/>
                <a:gd name="T3" fmla="*/ 15 h 23"/>
                <a:gd name="T4" fmla="*/ 8 w 15"/>
                <a:gd name="T5" fmla="*/ 11 h 23"/>
                <a:gd name="T6" fmla="*/ 12 w 15"/>
                <a:gd name="T7" fmla="*/ 15 h 23"/>
                <a:gd name="T8" fmla="*/ 8 w 15"/>
                <a:gd name="T9" fmla="*/ 20 h 23"/>
                <a:gd name="T10" fmla="*/ 9 w 15"/>
                <a:gd name="T11" fmla="*/ 8 h 23"/>
                <a:gd name="T12" fmla="*/ 9 w 15"/>
                <a:gd name="T13" fmla="*/ 2 h 23"/>
                <a:gd name="T14" fmla="*/ 8 w 15"/>
                <a:gd name="T15" fmla="*/ 0 h 23"/>
                <a:gd name="T16" fmla="*/ 6 w 15"/>
                <a:gd name="T17" fmla="*/ 2 h 23"/>
                <a:gd name="T18" fmla="*/ 6 w 15"/>
                <a:gd name="T19" fmla="*/ 8 h 23"/>
                <a:gd name="T20" fmla="*/ 0 w 15"/>
                <a:gd name="T21" fmla="*/ 15 h 23"/>
                <a:gd name="T22" fmla="*/ 8 w 15"/>
                <a:gd name="T23" fmla="*/ 23 h 23"/>
                <a:gd name="T24" fmla="*/ 15 w 15"/>
                <a:gd name="T25" fmla="*/ 15 h 23"/>
                <a:gd name="T26" fmla="*/ 9 w 15"/>
                <a:gd name="T2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8" y="20"/>
                  </a:moveTo>
                  <a:cubicBezTo>
                    <a:pt x="5" y="20"/>
                    <a:pt x="3" y="18"/>
                    <a:pt x="3" y="15"/>
                  </a:cubicBezTo>
                  <a:cubicBezTo>
                    <a:pt x="3" y="13"/>
                    <a:pt x="5" y="11"/>
                    <a:pt x="8" y="11"/>
                  </a:cubicBezTo>
                  <a:cubicBezTo>
                    <a:pt x="10" y="11"/>
                    <a:pt x="12" y="13"/>
                    <a:pt x="12" y="15"/>
                  </a:cubicBezTo>
                  <a:cubicBezTo>
                    <a:pt x="12" y="18"/>
                    <a:pt x="10" y="20"/>
                    <a:pt x="8" y="20"/>
                  </a:cubicBezTo>
                  <a:moveTo>
                    <a:pt x="9" y="8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9"/>
                    <a:pt x="0" y="12"/>
                    <a:pt x="0" y="15"/>
                  </a:cubicBezTo>
                  <a:cubicBezTo>
                    <a:pt x="0" y="19"/>
                    <a:pt x="4" y="23"/>
                    <a:pt x="8" y="23"/>
                  </a:cubicBezTo>
                  <a:cubicBezTo>
                    <a:pt x="12" y="23"/>
                    <a:pt x="15" y="19"/>
                    <a:pt x="15" y="15"/>
                  </a:cubicBezTo>
                  <a:cubicBezTo>
                    <a:pt x="15" y="12"/>
                    <a:pt x="12" y="9"/>
                    <a:pt x="9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39">
              <a:extLst>
                <a:ext uri="{FF2B5EF4-FFF2-40B4-BE49-F238E27FC236}">
                  <a16:creationId xmlns:a16="http://schemas.microsoft.com/office/drawing/2014/main" id="{68ABD44E-41DA-4D4C-981E-CD4C988D00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3648"/>
              <a:ext cx="37" cy="57"/>
            </a:xfrm>
            <a:custGeom>
              <a:avLst/>
              <a:gdLst>
                <a:gd name="T0" fmla="*/ 7 w 15"/>
                <a:gd name="T1" fmla="*/ 3 h 23"/>
                <a:gd name="T2" fmla="*/ 12 w 15"/>
                <a:gd name="T3" fmla="*/ 8 h 23"/>
                <a:gd name="T4" fmla="*/ 7 w 15"/>
                <a:gd name="T5" fmla="*/ 12 h 23"/>
                <a:gd name="T6" fmla="*/ 3 w 15"/>
                <a:gd name="T7" fmla="*/ 8 h 23"/>
                <a:gd name="T8" fmla="*/ 7 w 15"/>
                <a:gd name="T9" fmla="*/ 3 h 23"/>
                <a:gd name="T10" fmla="*/ 6 w 15"/>
                <a:gd name="T11" fmla="*/ 15 h 23"/>
                <a:gd name="T12" fmla="*/ 6 w 15"/>
                <a:gd name="T13" fmla="*/ 21 h 23"/>
                <a:gd name="T14" fmla="*/ 7 w 15"/>
                <a:gd name="T15" fmla="*/ 23 h 23"/>
                <a:gd name="T16" fmla="*/ 9 w 15"/>
                <a:gd name="T17" fmla="*/ 21 h 23"/>
                <a:gd name="T18" fmla="*/ 9 w 15"/>
                <a:gd name="T19" fmla="*/ 15 h 23"/>
                <a:gd name="T20" fmla="*/ 15 w 15"/>
                <a:gd name="T21" fmla="*/ 8 h 23"/>
                <a:gd name="T22" fmla="*/ 7 w 15"/>
                <a:gd name="T23" fmla="*/ 0 h 23"/>
                <a:gd name="T24" fmla="*/ 0 w 15"/>
                <a:gd name="T25" fmla="*/ 8 h 23"/>
                <a:gd name="T26" fmla="*/ 6 w 15"/>
                <a:gd name="T27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7" y="3"/>
                  </a:moveTo>
                  <a:cubicBezTo>
                    <a:pt x="10" y="3"/>
                    <a:pt x="12" y="5"/>
                    <a:pt x="12" y="8"/>
                  </a:cubicBezTo>
                  <a:cubicBezTo>
                    <a:pt x="12" y="10"/>
                    <a:pt x="10" y="12"/>
                    <a:pt x="7" y="12"/>
                  </a:cubicBezTo>
                  <a:cubicBezTo>
                    <a:pt x="5" y="12"/>
                    <a:pt x="3" y="10"/>
                    <a:pt x="3" y="8"/>
                  </a:cubicBezTo>
                  <a:cubicBezTo>
                    <a:pt x="3" y="5"/>
                    <a:pt x="5" y="3"/>
                    <a:pt x="7" y="3"/>
                  </a:cubicBezTo>
                  <a:moveTo>
                    <a:pt x="6" y="15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7" y="23"/>
                    <a:pt x="7" y="23"/>
                  </a:cubicBezTo>
                  <a:cubicBezTo>
                    <a:pt x="8" y="23"/>
                    <a:pt x="9" y="22"/>
                    <a:pt x="9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2" y="14"/>
                    <a:pt x="15" y="11"/>
                    <a:pt x="15" y="8"/>
                  </a:cubicBezTo>
                  <a:cubicBezTo>
                    <a:pt x="15" y="4"/>
                    <a:pt x="11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1"/>
                    <a:pt x="3" y="14"/>
                    <a:pt x="6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0">
              <a:extLst>
                <a:ext uri="{FF2B5EF4-FFF2-40B4-BE49-F238E27FC236}">
                  <a16:creationId xmlns:a16="http://schemas.microsoft.com/office/drawing/2014/main" id="{EED52419-ACBF-4E41-8100-13C98423B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0" y="3798"/>
              <a:ext cx="52" cy="34"/>
            </a:xfrm>
            <a:custGeom>
              <a:avLst/>
              <a:gdLst>
                <a:gd name="T0" fmla="*/ 14 w 21"/>
                <a:gd name="T1" fmla="*/ 11 h 14"/>
                <a:gd name="T2" fmla="*/ 10 w 21"/>
                <a:gd name="T3" fmla="*/ 7 h 14"/>
                <a:gd name="T4" fmla="*/ 14 w 21"/>
                <a:gd name="T5" fmla="*/ 3 h 14"/>
                <a:gd name="T6" fmla="*/ 18 w 21"/>
                <a:gd name="T7" fmla="*/ 7 h 14"/>
                <a:gd name="T8" fmla="*/ 14 w 21"/>
                <a:gd name="T9" fmla="*/ 11 h 14"/>
                <a:gd name="T10" fmla="*/ 14 w 21"/>
                <a:gd name="T11" fmla="*/ 0 h 14"/>
                <a:gd name="T12" fmla="*/ 7 w 21"/>
                <a:gd name="T13" fmla="*/ 6 h 14"/>
                <a:gd name="T14" fmla="*/ 2 w 21"/>
                <a:gd name="T15" fmla="*/ 6 h 14"/>
                <a:gd name="T16" fmla="*/ 0 w 21"/>
                <a:gd name="T17" fmla="*/ 7 h 14"/>
                <a:gd name="T18" fmla="*/ 2 w 21"/>
                <a:gd name="T19" fmla="*/ 9 h 14"/>
                <a:gd name="T20" fmla="*/ 7 w 21"/>
                <a:gd name="T21" fmla="*/ 9 h 14"/>
                <a:gd name="T22" fmla="*/ 14 w 21"/>
                <a:gd name="T23" fmla="*/ 14 h 14"/>
                <a:gd name="T24" fmla="*/ 21 w 21"/>
                <a:gd name="T25" fmla="*/ 7 h 14"/>
                <a:gd name="T26" fmla="*/ 14 w 21"/>
                <a:gd name="T2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14" y="11"/>
                  </a:moveTo>
                  <a:cubicBezTo>
                    <a:pt x="12" y="11"/>
                    <a:pt x="10" y="10"/>
                    <a:pt x="10" y="7"/>
                  </a:cubicBezTo>
                  <a:cubicBezTo>
                    <a:pt x="10" y="5"/>
                    <a:pt x="12" y="3"/>
                    <a:pt x="14" y="3"/>
                  </a:cubicBezTo>
                  <a:cubicBezTo>
                    <a:pt x="16" y="3"/>
                    <a:pt x="18" y="5"/>
                    <a:pt x="18" y="7"/>
                  </a:cubicBezTo>
                  <a:cubicBezTo>
                    <a:pt x="18" y="10"/>
                    <a:pt x="16" y="11"/>
                    <a:pt x="14" y="11"/>
                  </a:cubicBezTo>
                  <a:moveTo>
                    <a:pt x="14" y="0"/>
                  </a:moveTo>
                  <a:cubicBezTo>
                    <a:pt x="11" y="0"/>
                    <a:pt x="8" y="2"/>
                    <a:pt x="7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12"/>
                    <a:pt x="11" y="14"/>
                    <a:pt x="14" y="14"/>
                  </a:cubicBezTo>
                  <a:cubicBezTo>
                    <a:pt x="18" y="14"/>
                    <a:pt x="21" y="11"/>
                    <a:pt x="21" y="7"/>
                  </a:cubicBezTo>
                  <a:cubicBezTo>
                    <a:pt x="21" y="3"/>
                    <a:pt x="18" y="0"/>
                    <a:pt x="1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41">
              <a:extLst>
                <a:ext uri="{FF2B5EF4-FFF2-40B4-BE49-F238E27FC236}">
                  <a16:creationId xmlns:a16="http://schemas.microsoft.com/office/drawing/2014/main" id="{F11F4543-D107-49AC-9858-340FDC64D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" y="3852"/>
              <a:ext cx="37" cy="56"/>
            </a:xfrm>
            <a:custGeom>
              <a:avLst/>
              <a:gdLst>
                <a:gd name="T0" fmla="*/ 7 w 15"/>
                <a:gd name="T1" fmla="*/ 20 h 23"/>
                <a:gd name="T2" fmla="*/ 3 w 15"/>
                <a:gd name="T3" fmla="*/ 15 h 23"/>
                <a:gd name="T4" fmla="*/ 7 w 15"/>
                <a:gd name="T5" fmla="*/ 11 h 23"/>
                <a:gd name="T6" fmla="*/ 12 w 15"/>
                <a:gd name="T7" fmla="*/ 15 h 23"/>
                <a:gd name="T8" fmla="*/ 7 w 15"/>
                <a:gd name="T9" fmla="*/ 20 h 23"/>
                <a:gd name="T10" fmla="*/ 9 w 15"/>
                <a:gd name="T11" fmla="*/ 8 h 23"/>
                <a:gd name="T12" fmla="*/ 9 w 15"/>
                <a:gd name="T13" fmla="*/ 2 h 23"/>
                <a:gd name="T14" fmla="*/ 7 w 15"/>
                <a:gd name="T15" fmla="*/ 0 h 23"/>
                <a:gd name="T16" fmla="*/ 6 w 15"/>
                <a:gd name="T17" fmla="*/ 2 h 23"/>
                <a:gd name="T18" fmla="*/ 6 w 15"/>
                <a:gd name="T19" fmla="*/ 8 h 23"/>
                <a:gd name="T20" fmla="*/ 0 w 15"/>
                <a:gd name="T21" fmla="*/ 15 h 23"/>
                <a:gd name="T22" fmla="*/ 7 w 15"/>
                <a:gd name="T23" fmla="*/ 23 h 23"/>
                <a:gd name="T24" fmla="*/ 15 w 15"/>
                <a:gd name="T25" fmla="*/ 15 h 23"/>
                <a:gd name="T26" fmla="*/ 9 w 15"/>
                <a:gd name="T2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7" y="20"/>
                  </a:moveTo>
                  <a:cubicBezTo>
                    <a:pt x="5" y="20"/>
                    <a:pt x="3" y="18"/>
                    <a:pt x="3" y="15"/>
                  </a:cubicBezTo>
                  <a:cubicBezTo>
                    <a:pt x="3" y="13"/>
                    <a:pt x="5" y="11"/>
                    <a:pt x="7" y="11"/>
                  </a:cubicBezTo>
                  <a:cubicBezTo>
                    <a:pt x="10" y="11"/>
                    <a:pt x="12" y="13"/>
                    <a:pt x="12" y="15"/>
                  </a:cubicBezTo>
                  <a:cubicBezTo>
                    <a:pt x="12" y="18"/>
                    <a:pt x="10" y="20"/>
                    <a:pt x="7" y="20"/>
                  </a:cubicBezTo>
                  <a:moveTo>
                    <a:pt x="9" y="8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8" y="0"/>
                    <a:pt x="7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9"/>
                    <a:pt x="0" y="12"/>
                    <a:pt x="0" y="15"/>
                  </a:cubicBezTo>
                  <a:cubicBezTo>
                    <a:pt x="0" y="19"/>
                    <a:pt x="3" y="23"/>
                    <a:pt x="7" y="23"/>
                  </a:cubicBezTo>
                  <a:cubicBezTo>
                    <a:pt x="11" y="23"/>
                    <a:pt x="15" y="19"/>
                    <a:pt x="15" y="15"/>
                  </a:cubicBezTo>
                  <a:cubicBezTo>
                    <a:pt x="15" y="12"/>
                    <a:pt x="12" y="9"/>
                    <a:pt x="9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42">
              <a:extLst>
                <a:ext uri="{FF2B5EF4-FFF2-40B4-BE49-F238E27FC236}">
                  <a16:creationId xmlns:a16="http://schemas.microsoft.com/office/drawing/2014/main" id="{2D5A8330-5F61-42F1-8FDF-CB067B524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3707"/>
              <a:ext cx="7" cy="7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1 w 3"/>
                <a:gd name="T7" fmla="*/ 0 h 3"/>
                <a:gd name="T8" fmla="*/ 1 w 3"/>
                <a:gd name="T9" fmla="*/ 0 h 3"/>
                <a:gd name="T10" fmla="*/ 0 w 3"/>
                <a:gd name="T11" fmla="*/ 1 h 3"/>
                <a:gd name="T12" fmla="*/ 0 w 3"/>
                <a:gd name="T13" fmla="*/ 2 h 3"/>
                <a:gd name="T14" fmla="*/ 1 w 3"/>
                <a:gd name="T15" fmla="*/ 2 h 3"/>
                <a:gd name="T16" fmla="*/ 2 w 3"/>
                <a:gd name="T17" fmla="*/ 3 h 3"/>
                <a:gd name="T18" fmla="*/ 2 w 3"/>
                <a:gd name="T19" fmla="*/ 3 h 3"/>
                <a:gd name="T20" fmla="*/ 3 w 3"/>
                <a:gd name="T21" fmla="*/ 2 h 3"/>
                <a:gd name="T22" fmla="*/ 3 w 3"/>
                <a:gd name="T23" fmla="*/ 2 h 3"/>
                <a:gd name="T24" fmla="*/ 3 w 3"/>
                <a:gd name="T25" fmla="*/ 1 h 3"/>
                <a:gd name="T26" fmla="*/ 3 w 3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43">
              <a:extLst>
                <a:ext uri="{FF2B5EF4-FFF2-40B4-BE49-F238E27FC236}">
                  <a16:creationId xmlns:a16="http://schemas.microsoft.com/office/drawing/2014/main" id="{4C53AA63-9FA8-4360-B324-FEFF7A74E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3707"/>
              <a:ext cx="8" cy="7"/>
            </a:xfrm>
            <a:custGeom>
              <a:avLst/>
              <a:gdLst>
                <a:gd name="T0" fmla="*/ 3 w 3"/>
                <a:gd name="T1" fmla="*/ 2 h 3"/>
                <a:gd name="T2" fmla="*/ 3 w 3"/>
                <a:gd name="T3" fmla="*/ 2 h 3"/>
                <a:gd name="T4" fmla="*/ 3 w 3"/>
                <a:gd name="T5" fmla="*/ 1 h 3"/>
                <a:gd name="T6" fmla="*/ 3 w 3"/>
                <a:gd name="T7" fmla="*/ 0 h 3"/>
                <a:gd name="T8" fmla="*/ 2 w 3"/>
                <a:gd name="T9" fmla="*/ 0 h 3"/>
                <a:gd name="T10" fmla="*/ 2 w 3"/>
                <a:gd name="T11" fmla="*/ 0 h 3"/>
                <a:gd name="T12" fmla="*/ 2 w 3"/>
                <a:gd name="T13" fmla="*/ 0 h 3"/>
                <a:gd name="T14" fmla="*/ 0 w 3"/>
                <a:gd name="T15" fmla="*/ 0 h 3"/>
                <a:gd name="T16" fmla="*/ 0 w 3"/>
                <a:gd name="T17" fmla="*/ 1 h 3"/>
                <a:gd name="T18" fmla="*/ 0 w 3"/>
                <a:gd name="T19" fmla="*/ 2 h 3"/>
                <a:gd name="T20" fmla="*/ 0 w 3"/>
                <a:gd name="T21" fmla="*/ 2 h 3"/>
                <a:gd name="T22" fmla="*/ 1 w 3"/>
                <a:gd name="T23" fmla="*/ 3 h 3"/>
                <a:gd name="T24" fmla="*/ 3 w 3"/>
                <a:gd name="T2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3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44">
              <a:extLst>
                <a:ext uri="{FF2B5EF4-FFF2-40B4-BE49-F238E27FC236}">
                  <a16:creationId xmlns:a16="http://schemas.microsoft.com/office/drawing/2014/main" id="{8BD6749C-2E45-431A-8353-694CB7A7B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3842"/>
              <a:ext cx="8" cy="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3 h 3"/>
                <a:gd name="T4" fmla="*/ 1 w 3"/>
                <a:gd name="T5" fmla="*/ 3 h 3"/>
                <a:gd name="T6" fmla="*/ 1 w 3"/>
                <a:gd name="T7" fmla="*/ 3 h 3"/>
                <a:gd name="T8" fmla="*/ 2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3 w 3"/>
                <a:gd name="T15" fmla="*/ 1 h 3"/>
                <a:gd name="T16" fmla="*/ 2 w 3"/>
                <a:gd name="T17" fmla="*/ 0 h 3"/>
                <a:gd name="T18" fmla="*/ 2 w 3"/>
                <a:gd name="T19" fmla="*/ 0 h 3"/>
                <a:gd name="T20" fmla="*/ 2 w 3"/>
                <a:gd name="T21" fmla="*/ 0 h 3"/>
                <a:gd name="T22" fmla="*/ 1 w 3"/>
                <a:gd name="T23" fmla="*/ 0 h 3"/>
                <a:gd name="T24" fmla="*/ 1 w 3"/>
                <a:gd name="T25" fmla="*/ 0 h 3"/>
                <a:gd name="T26" fmla="*/ 1 w 3"/>
                <a:gd name="T27" fmla="*/ 0 h 3"/>
                <a:gd name="T28" fmla="*/ 0 w 3"/>
                <a:gd name="T29" fmla="*/ 1 h 3"/>
                <a:gd name="T30" fmla="*/ 0 w 3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45">
              <a:extLst>
                <a:ext uri="{FF2B5EF4-FFF2-40B4-BE49-F238E27FC236}">
                  <a16:creationId xmlns:a16="http://schemas.microsoft.com/office/drawing/2014/main" id="{4EB7821C-A526-4FCD-80C1-08FA61969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" y="3656"/>
              <a:ext cx="201" cy="193"/>
            </a:xfrm>
            <a:custGeom>
              <a:avLst/>
              <a:gdLst>
                <a:gd name="T0" fmla="*/ 64 w 82"/>
                <a:gd name="T1" fmla="*/ 76 h 79"/>
                <a:gd name="T2" fmla="*/ 13 w 82"/>
                <a:gd name="T3" fmla="*/ 71 h 79"/>
                <a:gd name="T4" fmla="*/ 18 w 82"/>
                <a:gd name="T5" fmla="*/ 24 h 79"/>
                <a:gd name="T6" fmla="*/ 26 w 82"/>
                <a:gd name="T7" fmla="*/ 24 h 79"/>
                <a:gd name="T8" fmla="*/ 62 w 82"/>
                <a:gd name="T9" fmla="*/ 24 h 79"/>
                <a:gd name="T10" fmla="*/ 69 w 82"/>
                <a:gd name="T11" fmla="*/ 29 h 79"/>
                <a:gd name="T12" fmla="*/ 54 w 82"/>
                <a:gd name="T13" fmla="*/ 21 h 79"/>
                <a:gd name="T14" fmla="*/ 41 w 82"/>
                <a:gd name="T15" fmla="*/ 9 h 79"/>
                <a:gd name="T16" fmla="*/ 41 w 82"/>
                <a:gd name="T17" fmla="*/ 3 h 79"/>
                <a:gd name="T18" fmla="*/ 57 w 82"/>
                <a:gd name="T19" fmla="*/ 21 h 79"/>
                <a:gd name="T20" fmla="*/ 25 w 82"/>
                <a:gd name="T21" fmla="*/ 21 h 79"/>
                <a:gd name="T22" fmla="*/ 41 w 82"/>
                <a:gd name="T23" fmla="*/ 3 h 79"/>
                <a:gd name="T24" fmla="*/ 79 w 82"/>
                <a:gd name="T25" fmla="*/ 76 h 79"/>
                <a:gd name="T26" fmla="*/ 70 w 82"/>
                <a:gd name="T27" fmla="*/ 76 h 79"/>
                <a:gd name="T28" fmla="*/ 72 w 82"/>
                <a:gd name="T29" fmla="*/ 59 h 79"/>
                <a:gd name="T30" fmla="*/ 79 w 82"/>
                <a:gd name="T31" fmla="*/ 61 h 79"/>
                <a:gd name="T32" fmla="*/ 82 w 82"/>
                <a:gd name="T33" fmla="*/ 61 h 79"/>
                <a:gd name="T34" fmla="*/ 80 w 82"/>
                <a:gd name="T35" fmla="*/ 56 h 79"/>
                <a:gd name="T36" fmla="*/ 72 w 82"/>
                <a:gd name="T37" fmla="*/ 44 h 79"/>
                <a:gd name="T38" fmla="*/ 82 w 82"/>
                <a:gd name="T39" fmla="*/ 43 h 79"/>
                <a:gd name="T40" fmla="*/ 80 w 82"/>
                <a:gd name="T41" fmla="*/ 37 h 79"/>
                <a:gd name="T42" fmla="*/ 79 w 82"/>
                <a:gd name="T43" fmla="*/ 41 h 79"/>
                <a:gd name="T44" fmla="*/ 72 w 82"/>
                <a:gd name="T45" fmla="*/ 29 h 79"/>
                <a:gd name="T46" fmla="*/ 70 w 82"/>
                <a:gd name="T47" fmla="*/ 24 h 79"/>
                <a:gd name="T48" fmla="*/ 81 w 82"/>
                <a:gd name="T49" fmla="*/ 22 h 79"/>
                <a:gd name="T50" fmla="*/ 70 w 82"/>
                <a:gd name="T51" fmla="*/ 21 h 79"/>
                <a:gd name="T52" fmla="*/ 69 w 82"/>
                <a:gd name="T53" fmla="*/ 23 h 79"/>
                <a:gd name="T54" fmla="*/ 63 w 82"/>
                <a:gd name="T55" fmla="*/ 21 h 79"/>
                <a:gd name="T56" fmla="*/ 19 w 82"/>
                <a:gd name="T57" fmla="*/ 21 h 79"/>
                <a:gd name="T58" fmla="*/ 13 w 82"/>
                <a:gd name="T59" fmla="*/ 23 h 79"/>
                <a:gd name="T60" fmla="*/ 12 w 82"/>
                <a:gd name="T61" fmla="*/ 21 h 79"/>
                <a:gd name="T62" fmla="*/ 1 w 82"/>
                <a:gd name="T63" fmla="*/ 22 h 79"/>
                <a:gd name="T64" fmla="*/ 12 w 82"/>
                <a:gd name="T65" fmla="*/ 24 h 79"/>
                <a:gd name="T66" fmla="*/ 10 w 82"/>
                <a:gd name="T67" fmla="*/ 29 h 79"/>
                <a:gd name="T68" fmla="*/ 3 w 82"/>
                <a:gd name="T69" fmla="*/ 41 h 79"/>
                <a:gd name="T70" fmla="*/ 2 w 82"/>
                <a:gd name="T71" fmla="*/ 38 h 79"/>
                <a:gd name="T72" fmla="*/ 0 w 82"/>
                <a:gd name="T73" fmla="*/ 43 h 79"/>
                <a:gd name="T74" fmla="*/ 10 w 82"/>
                <a:gd name="T75" fmla="*/ 44 h 79"/>
                <a:gd name="T76" fmla="*/ 2 w 82"/>
                <a:gd name="T77" fmla="*/ 56 h 79"/>
                <a:gd name="T78" fmla="*/ 0 w 82"/>
                <a:gd name="T79" fmla="*/ 61 h 79"/>
                <a:gd name="T80" fmla="*/ 3 w 82"/>
                <a:gd name="T81" fmla="*/ 61 h 79"/>
                <a:gd name="T82" fmla="*/ 10 w 82"/>
                <a:gd name="T83" fmla="*/ 59 h 79"/>
                <a:gd name="T84" fmla="*/ 12 w 82"/>
                <a:gd name="T85" fmla="*/ 76 h 79"/>
                <a:gd name="T86" fmla="*/ 3 w 82"/>
                <a:gd name="T87" fmla="*/ 76 h 79"/>
                <a:gd name="T88" fmla="*/ 3 w 82"/>
                <a:gd name="T89" fmla="*/ 79 h 79"/>
                <a:gd name="T90" fmla="*/ 13 w 82"/>
                <a:gd name="T91" fmla="*/ 78 h 79"/>
                <a:gd name="T92" fmla="*/ 18 w 82"/>
                <a:gd name="T93" fmla="*/ 79 h 79"/>
                <a:gd name="T94" fmla="*/ 69 w 82"/>
                <a:gd name="T95" fmla="*/ 77 h 79"/>
                <a:gd name="T96" fmla="*/ 70 w 82"/>
                <a:gd name="T97" fmla="*/ 79 h 79"/>
                <a:gd name="T98" fmla="*/ 81 w 82"/>
                <a:gd name="T9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" h="79">
                  <a:moveTo>
                    <a:pt x="69" y="71"/>
                  </a:moveTo>
                  <a:cubicBezTo>
                    <a:pt x="69" y="74"/>
                    <a:pt x="66" y="76"/>
                    <a:pt x="64" y="76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6" y="76"/>
                    <a:pt x="13" y="74"/>
                    <a:pt x="13" y="71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6"/>
                    <a:pt x="16" y="24"/>
                    <a:pt x="18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6" y="24"/>
                    <a:pt x="69" y="26"/>
                    <a:pt x="69" y="29"/>
                  </a:cubicBezTo>
                  <a:lnTo>
                    <a:pt x="69" y="71"/>
                  </a:lnTo>
                  <a:close/>
                  <a:moveTo>
                    <a:pt x="54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28" y="17"/>
                    <a:pt x="30" y="9"/>
                    <a:pt x="41" y="9"/>
                  </a:cubicBezTo>
                  <a:cubicBezTo>
                    <a:pt x="52" y="9"/>
                    <a:pt x="54" y="17"/>
                    <a:pt x="54" y="21"/>
                  </a:cubicBezTo>
                  <a:moveTo>
                    <a:pt x="41" y="3"/>
                  </a:moveTo>
                  <a:cubicBezTo>
                    <a:pt x="55" y="3"/>
                    <a:pt x="60" y="14"/>
                    <a:pt x="61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17"/>
                    <a:pt x="55" y="6"/>
                    <a:pt x="41" y="6"/>
                  </a:cubicBezTo>
                  <a:cubicBezTo>
                    <a:pt x="28" y="6"/>
                    <a:pt x="25" y="17"/>
                    <a:pt x="25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14"/>
                    <a:pt x="27" y="3"/>
                    <a:pt x="41" y="3"/>
                  </a:cubicBezTo>
                  <a:moveTo>
                    <a:pt x="81" y="78"/>
                  </a:moveTo>
                  <a:cubicBezTo>
                    <a:pt x="81" y="77"/>
                    <a:pt x="80" y="76"/>
                    <a:pt x="79" y="76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1" y="75"/>
                    <a:pt x="72" y="73"/>
                    <a:pt x="72" y="71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2"/>
                    <a:pt x="80" y="62"/>
                    <a:pt x="80" y="62"/>
                  </a:cubicBezTo>
                  <a:cubicBezTo>
                    <a:pt x="81" y="62"/>
                    <a:pt x="82" y="62"/>
                    <a:pt x="82" y="61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6"/>
                    <a:pt x="81" y="56"/>
                    <a:pt x="80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2" y="43"/>
                    <a:pt x="82" y="43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1" y="37"/>
                    <a:pt x="80" y="37"/>
                  </a:cubicBezTo>
                  <a:cubicBezTo>
                    <a:pt x="80" y="37"/>
                    <a:pt x="79" y="38"/>
                    <a:pt x="79" y="39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7"/>
                    <a:pt x="71" y="25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80" y="24"/>
                    <a:pt x="81" y="23"/>
                    <a:pt x="81" y="22"/>
                  </a:cubicBezTo>
                  <a:cubicBezTo>
                    <a:pt x="81" y="22"/>
                    <a:pt x="80" y="21"/>
                    <a:pt x="79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9" y="21"/>
                    <a:pt x="69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8" y="22"/>
                    <a:pt x="66" y="21"/>
                    <a:pt x="64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13"/>
                    <a:pt x="58" y="0"/>
                    <a:pt x="41" y="0"/>
                  </a:cubicBezTo>
                  <a:cubicBezTo>
                    <a:pt x="24" y="0"/>
                    <a:pt x="19" y="13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6" y="21"/>
                    <a:pt x="15" y="22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3" y="21"/>
                    <a:pt x="12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1" y="22"/>
                    <a:pt x="1" y="22"/>
                  </a:cubicBezTo>
                  <a:cubicBezTo>
                    <a:pt x="1" y="23"/>
                    <a:pt x="2" y="24"/>
                    <a:pt x="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1" y="38"/>
                    <a:pt x="0" y="38"/>
                    <a:pt x="0" y="3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4"/>
                    <a:pt x="1" y="44"/>
                    <a:pt x="2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7"/>
                    <a:pt x="0" y="5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2"/>
                    <a:pt x="1" y="63"/>
                    <a:pt x="2" y="63"/>
                  </a:cubicBezTo>
                  <a:cubicBezTo>
                    <a:pt x="2" y="63"/>
                    <a:pt x="3" y="62"/>
                    <a:pt x="3" y="61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3"/>
                    <a:pt x="11" y="75"/>
                    <a:pt x="12" y="7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6"/>
                    <a:pt x="1" y="77"/>
                    <a:pt x="1" y="78"/>
                  </a:cubicBezTo>
                  <a:cubicBezTo>
                    <a:pt x="1" y="78"/>
                    <a:pt x="2" y="79"/>
                    <a:pt x="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3" y="79"/>
                    <a:pt x="13" y="78"/>
                    <a:pt x="13" y="78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5" y="78"/>
                    <a:pt x="16" y="79"/>
                    <a:pt x="18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6" y="79"/>
                    <a:pt x="68" y="78"/>
                    <a:pt x="69" y="77"/>
                  </a:cubicBezTo>
                  <a:cubicBezTo>
                    <a:pt x="69" y="77"/>
                    <a:pt x="69" y="77"/>
                    <a:pt x="69" y="78"/>
                  </a:cubicBezTo>
                  <a:cubicBezTo>
                    <a:pt x="69" y="78"/>
                    <a:pt x="69" y="79"/>
                    <a:pt x="70" y="79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80" y="79"/>
                    <a:pt x="81" y="78"/>
                    <a:pt x="81" y="7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46">
              <a:extLst>
                <a:ext uri="{FF2B5EF4-FFF2-40B4-BE49-F238E27FC236}">
                  <a16:creationId xmlns:a16="http://schemas.microsoft.com/office/drawing/2014/main" id="{D548C5E3-B1C5-4178-8907-18F19071D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3842"/>
              <a:ext cx="7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1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1 w 3"/>
                <a:gd name="T13" fmla="*/ 3 h 3"/>
                <a:gd name="T14" fmla="*/ 2 w 3"/>
                <a:gd name="T15" fmla="*/ 3 h 3"/>
                <a:gd name="T16" fmla="*/ 3 w 3"/>
                <a:gd name="T17" fmla="*/ 3 h 3"/>
                <a:gd name="T18" fmla="*/ 3 w 3"/>
                <a:gd name="T19" fmla="*/ 2 h 3"/>
                <a:gd name="T20" fmla="*/ 3 w 3"/>
                <a:gd name="T21" fmla="*/ 1 h 3"/>
                <a:gd name="T22" fmla="*/ 1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47">
              <a:extLst>
                <a:ext uri="{FF2B5EF4-FFF2-40B4-BE49-F238E27FC236}">
                  <a16:creationId xmlns:a16="http://schemas.microsoft.com/office/drawing/2014/main" id="{B503B9B8-1059-44E1-9318-B935C726A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2" y="3798"/>
              <a:ext cx="52" cy="34"/>
            </a:xfrm>
            <a:custGeom>
              <a:avLst/>
              <a:gdLst>
                <a:gd name="T0" fmla="*/ 7 w 21"/>
                <a:gd name="T1" fmla="*/ 11 h 14"/>
                <a:gd name="T2" fmla="*/ 3 w 21"/>
                <a:gd name="T3" fmla="*/ 7 h 14"/>
                <a:gd name="T4" fmla="*/ 7 w 21"/>
                <a:gd name="T5" fmla="*/ 3 h 14"/>
                <a:gd name="T6" fmla="*/ 11 w 21"/>
                <a:gd name="T7" fmla="*/ 7 h 14"/>
                <a:gd name="T8" fmla="*/ 7 w 21"/>
                <a:gd name="T9" fmla="*/ 11 h 14"/>
                <a:gd name="T10" fmla="*/ 19 w 21"/>
                <a:gd name="T11" fmla="*/ 9 h 14"/>
                <a:gd name="T12" fmla="*/ 21 w 21"/>
                <a:gd name="T13" fmla="*/ 7 h 14"/>
                <a:gd name="T14" fmla="*/ 19 w 21"/>
                <a:gd name="T15" fmla="*/ 6 h 14"/>
                <a:gd name="T16" fmla="*/ 14 w 21"/>
                <a:gd name="T17" fmla="*/ 6 h 14"/>
                <a:gd name="T18" fmla="*/ 7 w 21"/>
                <a:gd name="T19" fmla="*/ 0 h 14"/>
                <a:gd name="T20" fmla="*/ 0 w 21"/>
                <a:gd name="T21" fmla="*/ 7 h 14"/>
                <a:gd name="T22" fmla="*/ 7 w 21"/>
                <a:gd name="T23" fmla="*/ 14 h 14"/>
                <a:gd name="T24" fmla="*/ 14 w 21"/>
                <a:gd name="T25" fmla="*/ 9 h 14"/>
                <a:gd name="T26" fmla="*/ 19 w 21"/>
                <a:gd name="T2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7" y="11"/>
                  </a:moveTo>
                  <a:cubicBezTo>
                    <a:pt x="5" y="11"/>
                    <a:pt x="3" y="10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10"/>
                    <a:pt x="9" y="11"/>
                    <a:pt x="7" y="11"/>
                  </a:cubicBezTo>
                  <a:moveTo>
                    <a:pt x="19" y="9"/>
                  </a:moveTo>
                  <a:cubicBezTo>
                    <a:pt x="20" y="9"/>
                    <a:pt x="21" y="8"/>
                    <a:pt x="21" y="7"/>
                  </a:cubicBezTo>
                  <a:cubicBezTo>
                    <a:pt x="21" y="7"/>
                    <a:pt x="20" y="6"/>
                    <a:pt x="1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0" y="14"/>
                    <a:pt x="13" y="12"/>
                    <a:pt x="14" y="9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48">
              <a:extLst>
                <a:ext uri="{FF2B5EF4-FFF2-40B4-BE49-F238E27FC236}">
                  <a16:creationId xmlns:a16="http://schemas.microsoft.com/office/drawing/2014/main" id="{D757CBDC-5F93-4D80-9F3D-B721F0476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" y="3813"/>
              <a:ext cx="7" cy="7"/>
            </a:xfrm>
            <a:custGeom>
              <a:avLst/>
              <a:gdLst>
                <a:gd name="T0" fmla="*/ 1 w 3"/>
                <a:gd name="T1" fmla="*/ 3 h 3"/>
                <a:gd name="T2" fmla="*/ 2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3 w 3"/>
                <a:gd name="T9" fmla="*/ 1 h 3"/>
                <a:gd name="T10" fmla="*/ 3 w 3"/>
                <a:gd name="T11" fmla="*/ 1 h 3"/>
                <a:gd name="T12" fmla="*/ 3 w 3"/>
                <a:gd name="T13" fmla="*/ 1 h 3"/>
                <a:gd name="T14" fmla="*/ 3 w 3"/>
                <a:gd name="T15" fmla="*/ 1 h 3"/>
                <a:gd name="T16" fmla="*/ 3 w 3"/>
                <a:gd name="T17" fmla="*/ 0 h 3"/>
                <a:gd name="T18" fmla="*/ 1 w 3"/>
                <a:gd name="T19" fmla="*/ 0 h 3"/>
                <a:gd name="T20" fmla="*/ 0 w 3"/>
                <a:gd name="T21" fmla="*/ 1 h 3"/>
                <a:gd name="T22" fmla="*/ 0 w 3"/>
                <a:gd name="T23" fmla="*/ 1 h 3"/>
                <a:gd name="T24" fmla="*/ 0 w 3"/>
                <a:gd name="T25" fmla="*/ 1 h 3"/>
                <a:gd name="T26" fmla="*/ 0 w 3"/>
                <a:gd name="T27" fmla="*/ 1 h 3"/>
                <a:gd name="T28" fmla="*/ 0 w 3"/>
                <a:gd name="T29" fmla="*/ 2 h 3"/>
                <a:gd name="T30" fmla="*/ 1 w 3"/>
                <a:gd name="T31" fmla="*/ 2 h 3"/>
                <a:gd name="T32" fmla="*/ 1 w 3"/>
                <a:gd name="T3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49">
              <a:extLst>
                <a:ext uri="{FF2B5EF4-FFF2-40B4-BE49-F238E27FC236}">
                  <a16:creationId xmlns:a16="http://schemas.microsoft.com/office/drawing/2014/main" id="{E2125A0E-8D0F-49AF-BDFE-67087471C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0" y="3813"/>
              <a:ext cx="7" cy="7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2 w 3"/>
                <a:gd name="T9" fmla="*/ 0 h 3"/>
                <a:gd name="T10" fmla="*/ 2 w 3"/>
                <a:gd name="T11" fmla="*/ 0 h 3"/>
                <a:gd name="T12" fmla="*/ 0 w 3"/>
                <a:gd name="T13" fmla="*/ 0 h 3"/>
                <a:gd name="T14" fmla="*/ 0 w 3"/>
                <a:gd name="T15" fmla="*/ 0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1 h 3"/>
                <a:gd name="T22" fmla="*/ 0 w 3"/>
                <a:gd name="T23" fmla="*/ 2 h 3"/>
                <a:gd name="T24" fmla="*/ 0 w 3"/>
                <a:gd name="T25" fmla="*/ 2 h 3"/>
                <a:gd name="T26" fmla="*/ 1 w 3"/>
                <a:gd name="T27" fmla="*/ 3 h 3"/>
                <a:gd name="T28" fmla="*/ 2 w 3"/>
                <a:gd name="T29" fmla="*/ 2 h 3"/>
                <a:gd name="T30" fmla="*/ 2 w 3"/>
                <a:gd name="T31" fmla="*/ 2 h 3"/>
                <a:gd name="T32" fmla="*/ 3 w 3"/>
                <a:gd name="T33" fmla="*/ 2 h 3"/>
                <a:gd name="T34" fmla="*/ 3 w 3"/>
                <a:gd name="T35" fmla="*/ 1 h 3"/>
                <a:gd name="T36" fmla="*/ 3 w 3"/>
                <a:gd name="T37" fmla="*/ 1 h 3"/>
                <a:gd name="T38" fmla="*/ 3 w 3"/>
                <a:gd name="T3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50">
              <a:extLst>
                <a:ext uri="{FF2B5EF4-FFF2-40B4-BE49-F238E27FC236}">
                  <a16:creationId xmlns:a16="http://schemas.microsoft.com/office/drawing/2014/main" id="{20B52520-8E35-4E92-87CA-27A234992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0" y="3724"/>
              <a:ext cx="52" cy="35"/>
            </a:xfrm>
            <a:custGeom>
              <a:avLst/>
              <a:gdLst>
                <a:gd name="T0" fmla="*/ 14 w 21"/>
                <a:gd name="T1" fmla="*/ 3 h 14"/>
                <a:gd name="T2" fmla="*/ 18 w 21"/>
                <a:gd name="T3" fmla="*/ 7 h 14"/>
                <a:gd name="T4" fmla="*/ 14 w 21"/>
                <a:gd name="T5" fmla="*/ 11 h 14"/>
                <a:gd name="T6" fmla="*/ 10 w 21"/>
                <a:gd name="T7" fmla="*/ 7 h 14"/>
                <a:gd name="T8" fmla="*/ 14 w 21"/>
                <a:gd name="T9" fmla="*/ 3 h 14"/>
                <a:gd name="T10" fmla="*/ 2 w 21"/>
                <a:gd name="T11" fmla="*/ 5 h 14"/>
                <a:gd name="T12" fmla="*/ 0 w 21"/>
                <a:gd name="T13" fmla="*/ 6 h 14"/>
                <a:gd name="T14" fmla="*/ 2 w 21"/>
                <a:gd name="T15" fmla="*/ 8 h 14"/>
                <a:gd name="T16" fmla="*/ 7 w 21"/>
                <a:gd name="T17" fmla="*/ 8 h 14"/>
                <a:gd name="T18" fmla="*/ 14 w 21"/>
                <a:gd name="T19" fmla="*/ 14 h 14"/>
                <a:gd name="T20" fmla="*/ 21 w 21"/>
                <a:gd name="T21" fmla="*/ 7 h 14"/>
                <a:gd name="T22" fmla="*/ 14 w 21"/>
                <a:gd name="T23" fmla="*/ 0 h 14"/>
                <a:gd name="T24" fmla="*/ 7 w 21"/>
                <a:gd name="T25" fmla="*/ 5 h 14"/>
                <a:gd name="T26" fmla="*/ 2 w 21"/>
                <a:gd name="T2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14" y="3"/>
                  </a:moveTo>
                  <a:cubicBezTo>
                    <a:pt x="16" y="3"/>
                    <a:pt x="18" y="4"/>
                    <a:pt x="18" y="7"/>
                  </a:cubicBezTo>
                  <a:cubicBezTo>
                    <a:pt x="18" y="9"/>
                    <a:pt x="16" y="11"/>
                    <a:pt x="14" y="11"/>
                  </a:cubicBezTo>
                  <a:cubicBezTo>
                    <a:pt x="12" y="11"/>
                    <a:pt x="10" y="9"/>
                    <a:pt x="10" y="7"/>
                  </a:cubicBezTo>
                  <a:cubicBezTo>
                    <a:pt x="10" y="4"/>
                    <a:pt x="12" y="3"/>
                    <a:pt x="14" y="3"/>
                  </a:cubicBezTo>
                  <a:moveTo>
                    <a:pt x="2" y="5"/>
                  </a:moveTo>
                  <a:cubicBezTo>
                    <a:pt x="1" y="5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10" y="14"/>
                    <a:pt x="14" y="14"/>
                  </a:cubicBezTo>
                  <a:cubicBezTo>
                    <a:pt x="18" y="14"/>
                    <a:pt x="21" y="11"/>
                    <a:pt x="21" y="7"/>
                  </a:cubicBezTo>
                  <a:cubicBezTo>
                    <a:pt x="21" y="3"/>
                    <a:pt x="18" y="0"/>
                    <a:pt x="14" y="0"/>
                  </a:cubicBezTo>
                  <a:cubicBezTo>
                    <a:pt x="11" y="0"/>
                    <a:pt x="8" y="2"/>
                    <a:pt x="7" y="5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51">
              <a:extLst>
                <a:ext uri="{FF2B5EF4-FFF2-40B4-BE49-F238E27FC236}">
                  <a16:creationId xmlns:a16="http://schemas.microsoft.com/office/drawing/2014/main" id="{2580E6F1-5024-4E56-B517-05FE742B8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0" y="3737"/>
              <a:ext cx="7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0 w 3"/>
                <a:gd name="T7" fmla="*/ 0 h 3"/>
                <a:gd name="T8" fmla="*/ 0 w 3"/>
                <a:gd name="T9" fmla="*/ 1 h 3"/>
                <a:gd name="T10" fmla="*/ 0 w 3"/>
                <a:gd name="T11" fmla="*/ 2 h 3"/>
                <a:gd name="T12" fmla="*/ 1 w 3"/>
                <a:gd name="T13" fmla="*/ 3 h 3"/>
                <a:gd name="T14" fmla="*/ 1 w 3"/>
                <a:gd name="T15" fmla="*/ 3 h 3"/>
                <a:gd name="T16" fmla="*/ 2 w 3"/>
                <a:gd name="T17" fmla="*/ 2 h 3"/>
                <a:gd name="T18" fmla="*/ 3 w 3"/>
                <a:gd name="T19" fmla="*/ 2 h 3"/>
                <a:gd name="T20" fmla="*/ 3 w 3"/>
                <a:gd name="T21" fmla="*/ 1 h 3"/>
                <a:gd name="T22" fmla="*/ 2 w 3"/>
                <a:gd name="T23" fmla="*/ 0 h 3"/>
                <a:gd name="T24" fmla="*/ 1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52">
              <a:extLst>
                <a:ext uri="{FF2B5EF4-FFF2-40B4-BE49-F238E27FC236}">
                  <a16:creationId xmlns:a16="http://schemas.microsoft.com/office/drawing/2014/main" id="{3DA67CFA-F37F-451A-8A9C-73FD453A4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" y="3737"/>
              <a:ext cx="7" cy="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  <a:gd name="T4" fmla="*/ 1 w 3"/>
                <a:gd name="T5" fmla="*/ 3 h 3"/>
                <a:gd name="T6" fmla="*/ 1 w 3"/>
                <a:gd name="T7" fmla="*/ 3 h 3"/>
                <a:gd name="T8" fmla="*/ 2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3 w 3"/>
                <a:gd name="T15" fmla="*/ 2 h 3"/>
                <a:gd name="T16" fmla="*/ 3 w 3"/>
                <a:gd name="T17" fmla="*/ 2 h 3"/>
                <a:gd name="T18" fmla="*/ 3 w 3"/>
                <a:gd name="T19" fmla="*/ 1 h 3"/>
                <a:gd name="T20" fmla="*/ 3 w 3"/>
                <a:gd name="T21" fmla="*/ 1 h 3"/>
                <a:gd name="T22" fmla="*/ 3 w 3"/>
                <a:gd name="T23" fmla="*/ 1 h 3"/>
                <a:gd name="T24" fmla="*/ 1 w 3"/>
                <a:gd name="T25" fmla="*/ 1 h 3"/>
                <a:gd name="T26" fmla="*/ 0 w 3"/>
                <a:gd name="T27" fmla="*/ 1 h 3"/>
                <a:gd name="T28" fmla="*/ 0 w 3"/>
                <a:gd name="T29" fmla="*/ 1 h 3"/>
                <a:gd name="T30" fmla="*/ 0 w 3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1" name="Group 255">
            <a:extLst>
              <a:ext uri="{FF2B5EF4-FFF2-40B4-BE49-F238E27FC236}">
                <a16:creationId xmlns:a16="http://schemas.microsoft.com/office/drawing/2014/main" id="{B2ABDD88-AE96-48A5-953B-64C4DBAC7D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1652" y="5452809"/>
            <a:ext cx="841375" cy="841375"/>
            <a:chOff x="1593" y="3466"/>
            <a:chExt cx="530" cy="530"/>
          </a:xfrm>
        </p:grpSpPr>
        <p:sp>
          <p:nvSpPr>
            <p:cNvPr id="292" name="AutoShape 254">
              <a:extLst>
                <a:ext uri="{FF2B5EF4-FFF2-40B4-BE49-F238E27FC236}">
                  <a16:creationId xmlns:a16="http://schemas.microsoft.com/office/drawing/2014/main" id="{ECE501A0-8A59-4E57-A9FA-E6C32546B2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93" y="34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256">
              <a:extLst>
                <a:ext uri="{FF2B5EF4-FFF2-40B4-BE49-F238E27FC236}">
                  <a16:creationId xmlns:a16="http://schemas.microsoft.com/office/drawing/2014/main" id="{B41031C6-7A32-442D-AF2F-16062B892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" y="34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57">
              <a:extLst>
                <a:ext uri="{FF2B5EF4-FFF2-40B4-BE49-F238E27FC236}">
                  <a16:creationId xmlns:a16="http://schemas.microsoft.com/office/drawing/2014/main" id="{D8079EC6-7293-4187-9C3C-BDABDE25E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1" y="34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58">
              <a:extLst>
                <a:ext uri="{FF2B5EF4-FFF2-40B4-BE49-F238E27FC236}">
                  <a16:creationId xmlns:a16="http://schemas.microsoft.com/office/drawing/2014/main" id="{811F225A-C51F-4C7D-AFA4-AC1F3FC2A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" y="3689"/>
              <a:ext cx="41" cy="87"/>
            </a:xfrm>
            <a:custGeom>
              <a:avLst/>
              <a:gdLst>
                <a:gd name="T0" fmla="*/ 3 w 16"/>
                <a:gd name="T1" fmla="*/ 7 h 34"/>
                <a:gd name="T2" fmla="*/ 7 w 16"/>
                <a:gd name="T3" fmla="*/ 3 h 34"/>
                <a:gd name="T4" fmla="*/ 11 w 16"/>
                <a:gd name="T5" fmla="*/ 7 h 34"/>
                <a:gd name="T6" fmla="*/ 7 w 16"/>
                <a:gd name="T7" fmla="*/ 10 h 34"/>
                <a:gd name="T8" fmla="*/ 3 w 16"/>
                <a:gd name="T9" fmla="*/ 7 h 34"/>
                <a:gd name="T10" fmla="*/ 14 w 16"/>
                <a:gd name="T11" fmla="*/ 31 h 34"/>
                <a:gd name="T12" fmla="*/ 9 w 16"/>
                <a:gd name="T13" fmla="*/ 31 h 34"/>
                <a:gd name="T14" fmla="*/ 9 w 16"/>
                <a:gd name="T15" fmla="*/ 27 h 34"/>
                <a:gd name="T16" fmla="*/ 11 w 16"/>
                <a:gd name="T17" fmla="*/ 27 h 34"/>
                <a:gd name="T18" fmla="*/ 13 w 16"/>
                <a:gd name="T19" fmla="*/ 26 h 34"/>
                <a:gd name="T20" fmla="*/ 11 w 16"/>
                <a:gd name="T21" fmla="*/ 24 h 34"/>
                <a:gd name="T22" fmla="*/ 9 w 16"/>
                <a:gd name="T23" fmla="*/ 24 h 34"/>
                <a:gd name="T24" fmla="*/ 9 w 16"/>
                <a:gd name="T25" fmla="*/ 13 h 34"/>
                <a:gd name="T26" fmla="*/ 14 w 16"/>
                <a:gd name="T27" fmla="*/ 7 h 34"/>
                <a:gd name="T28" fmla="*/ 7 w 16"/>
                <a:gd name="T29" fmla="*/ 0 h 34"/>
                <a:gd name="T30" fmla="*/ 0 w 16"/>
                <a:gd name="T31" fmla="*/ 7 h 34"/>
                <a:gd name="T32" fmla="*/ 6 w 16"/>
                <a:gd name="T33" fmla="*/ 13 h 34"/>
                <a:gd name="T34" fmla="*/ 6 w 16"/>
                <a:gd name="T35" fmla="*/ 33 h 34"/>
                <a:gd name="T36" fmla="*/ 7 w 16"/>
                <a:gd name="T37" fmla="*/ 34 h 34"/>
                <a:gd name="T38" fmla="*/ 14 w 16"/>
                <a:gd name="T39" fmla="*/ 34 h 34"/>
                <a:gd name="T40" fmla="*/ 16 w 16"/>
                <a:gd name="T41" fmla="*/ 33 h 34"/>
                <a:gd name="T42" fmla="*/ 14 w 1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34">
                  <a:moveTo>
                    <a:pt x="3" y="7"/>
                  </a:move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9"/>
                    <a:pt x="9" y="10"/>
                    <a:pt x="7" y="10"/>
                  </a:cubicBezTo>
                  <a:cubicBezTo>
                    <a:pt x="5" y="10"/>
                    <a:pt x="3" y="9"/>
                    <a:pt x="3" y="7"/>
                  </a:cubicBezTo>
                  <a:moveTo>
                    <a:pt x="14" y="31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3" y="26"/>
                    <a:pt x="13" y="26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2"/>
                    <a:pt x="14" y="10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2"/>
                    <a:pt x="6" y="1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4"/>
                    <a:pt x="7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5" y="34"/>
                    <a:pt x="16" y="33"/>
                    <a:pt x="16" y="33"/>
                  </a:cubicBezTo>
                  <a:cubicBezTo>
                    <a:pt x="16" y="32"/>
                    <a:pt x="15" y="31"/>
                    <a:pt x="14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59">
              <a:extLst>
                <a:ext uri="{FF2B5EF4-FFF2-40B4-BE49-F238E27FC236}">
                  <a16:creationId xmlns:a16="http://schemas.microsoft.com/office/drawing/2014/main" id="{4FC1C8E0-CA2E-40C9-8B0C-49231DFFAC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1" y="3596"/>
              <a:ext cx="39" cy="59"/>
            </a:xfrm>
            <a:custGeom>
              <a:avLst/>
              <a:gdLst>
                <a:gd name="T0" fmla="*/ 8 w 15"/>
                <a:gd name="T1" fmla="*/ 3 h 23"/>
                <a:gd name="T2" fmla="*/ 12 w 15"/>
                <a:gd name="T3" fmla="*/ 8 h 23"/>
                <a:gd name="T4" fmla="*/ 8 w 15"/>
                <a:gd name="T5" fmla="*/ 12 h 23"/>
                <a:gd name="T6" fmla="*/ 3 w 15"/>
                <a:gd name="T7" fmla="*/ 8 h 23"/>
                <a:gd name="T8" fmla="*/ 8 w 15"/>
                <a:gd name="T9" fmla="*/ 3 h 23"/>
                <a:gd name="T10" fmla="*/ 6 w 15"/>
                <a:gd name="T11" fmla="*/ 15 h 23"/>
                <a:gd name="T12" fmla="*/ 6 w 15"/>
                <a:gd name="T13" fmla="*/ 21 h 23"/>
                <a:gd name="T14" fmla="*/ 8 w 15"/>
                <a:gd name="T15" fmla="*/ 23 h 23"/>
                <a:gd name="T16" fmla="*/ 9 w 15"/>
                <a:gd name="T17" fmla="*/ 21 h 23"/>
                <a:gd name="T18" fmla="*/ 9 w 15"/>
                <a:gd name="T19" fmla="*/ 15 h 23"/>
                <a:gd name="T20" fmla="*/ 15 w 15"/>
                <a:gd name="T21" fmla="*/ 8 h 23"/>
                <a:gd name="T22" fmla="*/ 8 w 15"/>
                <a:gd name="T23" fmla="*/ 0 h 23"/>
                <a:gd name="T24" fmla="*/ 0 w 15"/>
                <a:gd name="T25" fmla="*/ 8 h 23"/>
                <a:gd name="T26" fmla="*/ 6 w 15"/>
                <a:gd name="T27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8" y="3"/>
                  </a:moveTo>
                  <a:cubicBezTo>
                    <a:pt x="10" y="3"/>
                    <a:pt x="12" y="5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5" y="12"/>
                    <a:pt x="3" y="10"/>
                    <a:pt x="3" y="8"/>
                  </a:cubicBezTo>
                  <a:cubicBezTo>
                    <a:pt x="3" y="5"/>
                    <a:pt x="5" y="3"/>
                    <a:pt x="8" y="3"/>
                  </a:cubicBezTo>
                  <a:moveTo>
                    <a:pt x="6" y="15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8" y="23"/>
                    <a:pt x="9" y="22"/>
                    <a:pt x="9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2" y="14"/>
                    <a:pt x="15" y="11"/>
                    <a:pt x="15" y="8"/>
                  </a:cubicBezTo>
                  <a:cubicBezTo>
                    <a:pt x="15" y="4"/>
                    <a:pt x="12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3" y="14"/>
                    <a:pt x="6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60">
              <a:extLst>
                <a:ext uri="{FF2B5EF4-FFF2-40B4-BE49-F238E27FC236}">
                  <a16:creationId xmlns:a16="http://schemas.microsoft.com/office/drawing/2014/main" id="{4DE64178-6749-456F-86AA-27BDA7C994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8" y="3676"/>
              <a:ext cx="54" cy="36"/>
            </a:xfrm>
            <a:custGeom>
              <a:avLst/>
              <a:gdLst>
                <a:gd name="T0" fmla="*/ 7 w 21"/>
                <a:gd name="T1" fmla="*/ 3 h 14"/>
                <a:gd name="T2" fmla="*/ 11 w 21"/>
                <a:gd name="T3" fmla="*/ 7 h 14"/>
                <a:gd name="T4" fmla="*/ 7 w 21"/>
                <a:gd name="T5" fmla="*/ 11 h 14"/>
                <a:gd name="T6" fmla="*/ 3 w 21"/>
                <a:gd name="T7" fmla="*/ 7 h 14"/>
                <a:gd name="T8" fmla="*/ 7 w 21"/>
                <a:gd name="T9" fmla="*/ 3 h 14"/>
                <a:gd name="T10" fmla="*/ 7 w 21"/>
                <a:gd name="T11" fmla="*/ 14 h 14"/>
                <a:gd name="T12" fmla="*/ 14 w 21"/>
                <a:gd name="T13" fmla="*/ 8 h 14"/>
                <a:gd name="T14" fmla="*/ 19 w 21"/>
                <a:gd name="T15" fmla="*/ 8 h 14"/>
                <a:gd name="T16" fmla="*/ 21 w 21"/>
                <a:gd name="T17" fmla="*/ 7 h 14"/>
                <a:gd name="T18" fmla="*/ 19 w 21"/>
                <a:gd name="T19" fmla="*/ 5 h 14"/>
                <a:gd name="T20" fmla="*/ 14 w 21"/>
                <a:gd name="T21" fmla="*/ 5 h 14"/>
                <a:gd name="T22" fmla="*/ 7 w 21"/>
                <a:gd name="T23" fmla="*/ 0 h 14"/>
                <a:gd name="T24" fmla="*/ 0 w 21"/>
                <a:gd name="T25" fmla="*/ 7 h 14"/>
                <a:gd name="T26" fmla="*/ 7 w 21"/>
                <a:gd name="T2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7" y="3"/>
                  </a:moveTo>
                  <a:cubicBezTo>
                    <a:pt x="9" y="3"/>
                    <a:pt x="11" y="4"/>
                    <a:pt x="11" y="7"/>
                  </a:cubicBezTo>
                  <a:cubicBezTo>
                    <a:pt x="11" y="9"/>
                    <a:pt x="9" y="11"/>
                    <a:pt x="7" y="11"/>
                  </a:cubicBezTo>
                  <a:cubicBezTo>
                    <a:pt x="5" y="11"/>
                    <a:pt x="3" y="9"/>
                    <a:pt x="3" y="7"/>
                  </a:cubicBezTo>
                  <a:cubicBezTo>
                    <a:pt x="3" y="4"/>
                    <a:pt x="5" y="3"/>
                    <a:pt x="7" y="3"/>
                  </a:cubicBezTo>
                  <a:moveTo>
                    <a:pt x="7" y="14"/>
                  </a:moveTo>
                  <a:cubicBezTo>
                    <a:pt x="11" y="14"/>
                    <a:pt x="13" y="12"/>
                    <a:pt x="14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1" y="8"/>
                    <a:pt x="21" y="7"/>
                  </a:cubicBezTo>
                  <a:cubicBezTo>
                    <a:pt x="21" y="6"/>
                    <a:pt x="20" y="5"/>
                    <a:pt x="19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2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61">
              <a:extLst>
                <a:ext uri="{FF2B5EF4-FFF2-40B4-BE49-F238E27FC236}">
                  <a16:creationId xmlns:a16="http://schemas.microsoft.com/office/drawing/2014/main" id="{B4A95299-D43D-408F-979F-7C1C6B3B60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1" y="3809"/>
              <a:ext cx="39" cy="59"/>
            </a:xfrm>
            <a:custGeom>
              <a:avLst/>
              <a:gdLst>
                <a:gd name="T0" fmla="*/ 8 w 15"/>
                <a:gd name="T1" fmla="*/ 20 h 23"/>
                <a:gd name="T2" fmla="*/ 3 w 15"/>
                <a:gd name="T3" fmla="*/ 15 h 23"/>
                <a:gd name="T4" fmla="*/ 8 w 15"/>
                <a:gd name="T5" fmla="*/ 11 h 23"/>
                <a:gd name="T6" fmla="*/ 12 w 15"/>
                <a:gd name="T7" fmla="*/ 15 h 23"/>
                <a:gd name="T8" fmla="*/ 8 w 15"/>
                <a:gd name="T9" fmla="*/ 20 h 23"/>
                <a:gd name="T10" fmla="*/ 9 w 15"/>
                <a:gd name="T11" fmla="*/ 8 h 23"/>
                <a:gd name="T12" fmla="*/ 9 w 15"/>
                <a:gd name="T13" fmla="*/ 2 h 23"/>
                <a:gd name="T14" fmla="*/ 8 w 15"/>
                <a:gd name="T15" fmla="*/ 0 h 23"/>
                <a:gd name="T16" fmla="*/ 6 w 15"/>
                <a:gd name="T17" fmla="*/ 2 h 23"/>
                <a:gd name="T18" fmla="*/ 6 w 15"/>
                <a:gd name="T19" fmla="*/ 8 h 23"/>
                <a:gd name="T20" fmla="*/ 0 w 15"/>
                <a:gd name="T21" fmla="*/ 15 h 23"/>
                <a:gd name="T22" fmla="*/ 8 w 15"/>
                <a:gd name="T23" fmla="*/ 23 h 23"/>
                <a:gd name="T24" fmla="*/ 15 w 15"/>
                <a:gd name="T25" fmla="*/ 15 h 23"/>
                <a:gd name="T26" fmla="*/ 9 w 15"/>
                <a:gd name="T2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8" y="20"/>
                  </a:moveTo>
                  <a:cubicBezTo>
                    <a:pt x="5" y="20"/>
                    <a:pt x="3" y="18"/>
                    <a:pt x="3" y="15"/>
                  </a:cubicBezTo>
                  <a:cubicBezTo>
                    <a:pt x="3" y="13"/>
                    <a:pt x="5" y="11"/>
                    <a:pt x="8" y="11"/>
                  </a:cubicBezTo>
                  <a:cubicBezTo>
                    <a:pt x="10" y="11"/>
                    <a:pt x="12" y="13"/>
                    <a:pt x="12" y="15"/>
                  </a:cubicBezTo>
                  <a:cubicBezTo>
                    <a:pt x="12" y="18"/>
                    <a:pt x="10" y="20"/>
                    <a:pt x="8" y="20"/>
                  </a:cubicBezTo>
                  <a:moveTo>
                    <a:pt x="9" y="8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9"/>
                    <a:pt x="0" y="12"/>
                    <a:pt x="0" y="15"/>
                  </a:cubicBezTo>
                  <a:cubicBezTo>
                    <a:pt x="0" y="19"/>
                    <a:pt x="4" y="23"/>
                    <a:pt x="8" y="23"/>
                  </a:cubicBezTo>
                  <a:cubicBezTo>
                    <a:pt x="12" y="23"/>
                    <a:pt x="15" y="19"/>
                    <a:pt x="15" y="15"/>
                  </a:cubicBezTo>
                  <a:cubicBezTo>
                    <a:pt x="15" y="12"/>
                    <a:pt x="12" y="9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62">
              <a:extLst>
                <a:ext uri="{FF2B5EF4-FFF2-40B4-BE49-F238E27FC236}">
                  <a16:creationId xmlns:a16="http://schemas.microsoft.com/office/drawing/2014/main" id="{BA233E78-189E-47F7-8935-AB5115B91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9" y="3596"/>
              <a:ext cx="38" cy="59"/>
            </a:xfrm>
            <a:custGeom>
              <a:avLst/>
              <a:gdLst>
                <a:gd name="T0" fmla="*/ 7 w 15"/>
                <a:gd name="T1" fmla="*/ 3 h 23"/>
                <a:gd name="T2" fmla="*/ 12 w 15"/>
                <a:gd name="T3" fmla="*/ 8 h 23"/>
                <a:gd name="T4" fmla="*/ 7 w 15"/>
                <a:gd name="T5" fmla="*/ 12 h 23"/>
                <a:gd name="T6" fmla="*/ 3 w 15"/>
                <a:gd name="T7" fmla="*/ 8 h 23"/>
                <a:gd name="T8" fmla="*/ 7 w 15"/>
                <a:gd name="T9" fmla="*/ 3 h 23"/>
                <a:gd name="T10" fmla="*/ 6 w 15"/>
                <a:gd name="T11" fmla="*/ 15 h 23"/>
                <a:gd name="T12" fmla="*/ 6 w 15"/>
                <a:gd name="T13" fmla="*/ 21 h 23"/>
                <a:gd name="T14" fmla="*/ 7 w 15"/>
                <a:gd name="T15" fmla="*/ 23 h 23"/>
                <a:gd name="T16" fmla="*/ 9 w 15"/>
                <a:gd name="T17" fmla="*/ 21 h 23"/>
                <a:gd name="T18" fmla="*/ 9 w 15"/>
                <a:gd name="T19" fmla="*/ 15 h 23"/>
                <a:gd name="T20" fmla="*/ 15 w 15"/>
                <a:gd name="T21" fmla="*/ 8 h 23"/>
                <a:gd name="T22" fmla="*/ 7 w 15"/>
                <a:gd name="T23" fmla="*/ 0 h 23"/>
                <a:gd name="T24" fmla="*/ 0 w 15"/>
                <a:gd name="T25" fmla="*/ 8 h 23"/>
                <a:gd name="T26" fmla="*/ 6 w 15"/>
                <a:gd name="T27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7" y="3"/>
                  </a:moveTo>
                  <a:cubicBezTo>
                    <a:pt x="10" y="3"/>
                    <a:pt x="12" y="5"/>
                    <a:pt x="12" y="8"/>
                  </a:cubicBezTo>
                  <a:cubicBezTo>
                    <a:pt x="12" y="10"/>
                    <a:pt x="10" y="12"/>
                    <a:pt x="7" y="12"/>
                  </a:cubicBezTo>
                  <a:cubicBezTo>
                    <a:pt x="5" y="12"/>
                    <a:pt x="3" y="10"/>
                    <a:pt x="3" y="8"/>
                  </a:cubicBezTo>
                  <a:cubicBezTo>
                    <a:pt x="3" y="5"/>
                    <a:pt x="5" y="3"/>
                    <a:pt x="7" y="3"/>
                  </a:cubicBezTo>
                  <a:moveTo>
                    <a:pt x="6" y="15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2"/>
                    <a:pt x="7" y="23"/>
                    <a:pt x="7" y="23"/>
                  </a:cubicBezTo>
                  <a:cubicBezTo>
                    <a:pt x="8" y="23"/>
                    <a:pt x="9" y="22"/>
                    <a:pt x="9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2" y="14"/>
                    <a:pt x="15" y="11"/>
                    <a:pt x="15" y="8"/>
                  </a:cubicBezTo>
                  <a:cubicBezTo>
                    <a:pt x="15" y="4"/>
                    <a:pt x="11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1"/>
                    <a:pt x="3" y="14"/>
                    <a:pt x="6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63">
              <a:extLst>
                <a:ext uri="{FF2B5EF4-FFF2-40B4-BE49-F238E27FC236}">
                  <a16:creationId xmlns:a16="http://schemas.microsoft.com/office/drawing/2014/main" id="{84E8D685-8A4C-4537-BF4E-92A0C5D20D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3753"/>
              <a:ext cx="53" cy="36"/>
            </a:xfrm>
            <a:custGeom>
              <a:avLst/>
              <a:gdLst>
                <a:gd name="T0" fmla="*/ 14 w 21"/>
                <a:gd name="T1" fmla="*/ 11 h 14"/>
                <a:gd name="T2" fmla="*/ 10 w 21"/>
                <a:gd name="T3" fmla="*/ 7 h 14"/>
                <a:gd name="T4" fmla="*/ 14 w 21"/>
                <a:gd name="T5" fmla="*/ 3 h 14"/>
                <a:gd name="T6" fmla="*/ 18 w 21"/>
                <a:gd name="T7" fmla="*/ 7 h 14"/>
                <a:gd name="T8" fmla="*/ 14 w 21"/>
                <a:gd name="T9" fmla="*/ 11 h 14"/>
                <a:gd name="T10" fmla="*/ 14 w 21"/>
                <a:gd name="T11" fmla="*/ 0 h 14"/>
                <a:gd name="T12" fmla="*/ 7 w 21"/>
                <a:gd name="T13" fmla="*/ 6 h 14"/>
                <a:gd name="T14" fmla="*/ 2 w 21"/>
                <a:gd name="T15" fmla="*/ 6 h 14"/>
                <a:gd name="T16" fmla="*/ 0 w 21"/>
                <a:gd name="T17" fmla="*/ 7 h 14"/>
                <a:gd name="T18" fmla="*/ 2 w 21"/>
                <a:gd name="T19" fmla="*/ 9 h 14"/>
                <a:gd name="T20" fmla="*/ 7 w 21"/>
                <a:gd name="T21" fmla="*/ 9 h 14"/>
                <a:gd name="T22" fmla="*/ 14 w 21"/>
                <a:gd name="T23" fmla="*/ 14 h 14"/>
                <a:gd name="T24" fmla="*/ 21 w 21"/>
                <a:gd name="T25" fmla="*/ 7 h 14"/>
                <a:gd name="T26" fmla="*/ 14 w 21"/>
                <a:gd name="T2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14" y="11"/>
                  </a:moveTo>
                  <a:cubicBezTo>
                    <a:pt x="12" y="11"/>
                    <a:pt x="10" y="10"/>
                    <a:pt x="10" y="7"/>
                  </a:cubicBezTo>
                  <a:cubicBezTo>
                    <a:pt x="10" y="5"/>
                    <a:pt x="12" y="3"/>
                    <a:pt x="14" y="3"/>
                  </a:cubicBezTo>
                  <a:cubicBezTo>
                    <a:pt x="16" y="3"/>
                    <a:pt x="18" y="5"/>
                    <a:pt x="18" y="7"/>
                  </a:cubicBezTo>
                  <a:cubicBezTo>
                    <a:pt x="18" y="10"/>
                    <a:pt x="16" y="11"/>
                    <a:pt x="14" y="11"/>
                  </a:cubicBezTo>
                  <a:moveTo>
                    <a:pt x="14" y="0"/>
                  </a:moveTo>
                  <a:cubicBezTo>
                    <a:pt x="11" y="0"/>
                    <a:pt x="8" y="2"/>
                    <a:pt x="7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12"/>
                    <a:pt x="11" y="14"/>
                    <a:pt x="14" y="14"/>
                  </a:cubicBezTo>
                  <a:cubicBezTo>
                    <a:pt x="18" y="14"/>
                    <a:pt x="21" y="11"/>
                    <a:pt x="21" y="7"/>
                  </a:cubicBezTo>
                  <a:cubicBezTo>
                    <a:pt x="21" y="3"/>
                    <a:pt x="18" y="0"/>
                    <a:pt x="1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64">
              <a:extLst>
                <a:ext uri="{FF2B5EF4-FFF2-40B4-BE49-F238E27FC236}">
                  <a16:creationId xmlns:a16="http://schemas.microsoft.com/office/drawing/2014/main" id="{6C2F6727-DE94-46F5-9AEA-A8082DA69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9" y="3809"/>
              <a:ext cx="38" cy="59"/>
            </a:xfrm>
            <a:custGeom>
              <a:avLst/>
              <a:gdLst>
                <a:gd name="T0" fmla="*/ 7 w 15"/>
                <a:gd name="T1" fmla="*/ 20 h 23"/>
                <a:gd name="T2" fmla="*/ 3 w 15"/>
                <a:gd name="T3" fmla="*/ 15 h 23"/>
                <a:gd name="T4" fmla="*/ 7 w 15"/>
                <a:gd name="T5" fmla="*/ 11 h 23"/>
                <a:gd name="T6" fmla="*/ 12 w 15"/>
                <a:gd name="T7" fmla="*/ 15 h 23"/>
                <a:gd name="T8" fmla="*/ 7 w 15"/>
                <a:gd name="T9" fmla="*/ 20 h 23"/>
                <a:gd name="T10" fmla="*/ 9 w 15"/>
                <a:gd name="T11" fmla="*/ 8 h 23"/>
                <a:gd name="T12" fmla="*/ 9 w 15"/>
                <a:gd name="T13" fmla="*/ 2 h 23"/>
                <a:gd name="T14" fmla="*/ 7 w 15"/>
                <a:gd name="T15" fmla="*/ 0 h 23"/>
                <a:gd name="T16" fmla="*/ 6 w 15"/>
                <a:gd name="T17" fmla="*/ 2 h 23"/>
                <a:gd name="T18" fmla="*/ 6 w 15"/>
                <a:gd name="T19" fmla="*/ 8 h 23"/>
                <a:gd name="T20" fmla="*/ 0 w 15"/>
                <a:gd name="T21" fmla="*/ 15 h 23"/>
                <a:gd name="T22" fmla="*/ 7 w 15"/>
                <a:gd name="T23" fmla="*/ 23 h 23"/>
                <a:gd name="T24" fmla="*/ 15 w 15"/>
                <a:gd name="T25" fmla="*/ 15 h 23"/>
                <a:gd name="T26" fmla="*/ 9 w 15"/>
                <a:gd name="T2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3">
                  <a:moveTo>
                    <a:pt x="7" y="20"/>
                  </a:moveTo>
                  <a:cubicBezTo>
                    <a:pt x="5" y="20"/>
                    <a:pt x="3" y="18"/>
                    <a:pt x="3" y="15"/>
                  </a:cubicBezTo>
                  <a:cubicBezTo>
                    <a:pt x="3" y="13"/>
                    <a:pt x="5" y="11"/>
                    <a:pt x="7" y="11"/>
                  </a:cubicBezTo>
                  <a:cubicBezTo>
                    <a:pt x="10" y="11"/>
                    <a:pt x="12" y="13"/>
                    <a:pt x="12" y="15"/>
                  </a:cubicBezTo>
                  <a:cubicBezTo>
                    <a:pt x="12" y="18"/>
                    <a:pt x="10" y="20"/>
                    <a:pt x="7" y="20"/>
                  </a:cubicBezTo>
                  <a:moveTo>
                    <a:pt x="9" y="8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8" y="0"/>
                    <a:pt x="7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9"/>
                    <a:pt x="0" y="12"/>
                    <a:pt x="0" y="15"/>
                  </a:cubicBezTo>
                  <a:cubicBezTo>
                    <a:pt x="0" y="19"/>
                    <a:pt x="3" y="23"/>
                    <a:pt x="7" y="23"/>
                  </a:cubicBezTo>
                  <a:cubicBezTo>
                    <a:pt x="11" y="23"/>
                    <a:pt x="15" y="19"/>
                    <a:pt x="15" y="15"/>
                  </a:cubicBezTo>
                  <a:cubicBezTo>
                    <a:pt x="15" y="12"/>
                    <a:pt x="12" y="9"/>
                    <a:pt x="9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65">
              <a:extLst>
                <a:ext uri="{FF2B5EF4-FFF2-40B4-BE49-F238E27FC236}">
                  <a16:creationId xmlns:a16="http://schemas.microsoft.com/office/drawing/2014/main" id="{14C4E8F0-66EB-4937-8BAD-A841A62AC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" y="3658"/>
              <a:ext cx="7" cy="8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1 w 3"/>
                <a:gd name="T7" fmla="*/ 0 h 3"/>
                <a:gd name="T8" fmla="*/ 1 w 3"/>
                <a:gd name="T9" fmla="*/ 0 h 3"/>
                <a:gd name="T10" fmla="*/ 0 w 3"/>
                <a:gd name="T11" fmla="*/ 1 h 3"/>
                <a:gd name="T12" fmla="*/ 0 w 3"/>
                <a:gd name="T13" fmla="*/ 2 h 3"/>
                <a:gd name="T14" fmla="*/ 1 w 3"/>
                <a:gd name="T15" fmla="*/ 2 h 3"/>
                <a:gd name="T16" fmla="*/ 2 w 3"/>
                <a:gd name="T17" fmla="*/ 3 h 3"/>
                <a:gd name="T18" fmla="*/ 2 w 3"/>
                <a:gd name="T19" fmla="*/ 3 h 3"/>
                <a:gd name="T20" fmla="*/ 3 w 3"/>
                <a:gd name="T21" fmla="*/ 2 h 3"/>
                <a:gd name="T22" fmla="*/ 3 w 3"/>
                <a:gd name="T23" fmla="*/ 2 h 3"/>
                <a:gd name="T24" fmla="*/ 3 w 3"/>
                <a:gd name="T25" fmla="*/ 1 h 3"/>
                <a:gd name="T26" fmla="*/ 3 w 3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266">
              <a:extLst>
                <a:ext uri="{FF2B5EF4-FFF2-40B4-BE49-F238E27FC236}">
                  <a16:creationId xmlns:a16="http://schemas.microsoft.com/office/drawing/2014/main" id="{B1BA7AF4-7A46-4209-9522-9189397C7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" y="3658"/>
              <a:ext cx="8" cy="8"/>
            </a:xfrm>
            <a:custGeom>
              <a:avLst/>
              <a:gdLst>
                <a:gd name="T0" fmla="*/ 3 w 3"/>
                <a:gd name="T1" fmla="*/ 2 h 3"/>
                <a:gd name="T2" fmla="*/ 3 w 3"/>
                <a:gd name="T3" fmla="*/ 2 h 3"/>
                <a:gd name="T4" fmla="*/ 3 w 3"/>
                <a:gd name="T5" fmla="*/ 1 h 3"/>
                <a:gd name="T6" fmla="*/ 3 w 3"/>
                <a:gd name="T7" fmla="*/ 0 h 3"/>
                <a:gd name="T8" fmla="*/ 2 w 3"/>
                <a:gd name="T9" fmla="*/ 0 h 3"/>
                <a:gd name="T10" fmla="*/ 2 w 3"/>
                <a:gd name="T11" fmla="*/ 0 h 3"/>
                <a:gd name="T12" fmla="*/ 2 w 3"/>
                <a:gd name="T13" fmla="*/ 0 h 3"/>
                <a:gd name="T14" fmla="*/ 0 w 3"/>
                <a:gd name="T15" fmla="*/ 0 h 3"/>
                <a:gd name="T16" fmla="*/ 0 w 3"/>
                <a:gd name="T17" fmla="*/ 1 h 3"/>
                <a:gd name="T18" fmla="*/ 0 w 3"/>
                <a:gd name="T19" fmla="*/ 2 h 3"/>
                <a:gd name="T20" fmla="*/ 0 w 3"/>
                <a:gd name="T21" fmla="*/ 2 h 3"/>
                <a:gd name="T22" fmla="*/ 1 w 3"/>
                <a:gd name="T23" fmla="*/ 3 h 3"/>
                <a:gd name="T24" fmla="*/ 3 w 3"/>
                <a:gd name="T2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7">
              <a:extLst>
                <a:ext uri="{FF2B5EF4-FFF2-40B4-BE49-F238E27FC236}">
                  <a16:creationId xmlns:a16="http://schemas.microsoft.com/office/drawing/2014/main" id="{E8B4DD95-9D4A-40F7-8EA0-72E101FB9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" y="3799"/>
              <a:ext cx="8" cy="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3 h 3"/>
                <a:gd name="T4" fmla="*/ 1 w 3"/>
                <a:gd name="T5" fmla="*/ 3 h 3"/>
                <a:gd name="T6" fmla="*/ 1 w 3"/>
                <a:gd name="T7" fmla="*/ 3 h 3"/>
                <a:gd name="T8" fmla="*/ 2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3 w 3"/>
                <a:gd name="T15" fmla="*/ 1 h 3"/>
                <a:gd name="T16" fmla="*/ 2 w 3"/>
                <a:gd name="T17" fmla="*/ 0 h 3"/>
                <a:gd name="T18" fmla="*/ 2 w 3"/>
                <a:gd name="T19" fmla="*/ 0 h 3"/>
                <a:gd name="T20" fmla="*/ 2 w 3"/>
                <a:gd name="T21" fmla="*/ 0 h 3"/>
                <a:gd name="T22" fmla="*/ 1 w 3"/>
                <a:gd name="T23" fmla="*/ 0 h 3"/>
                <a:gd name="T24" fmla="*/ 1 w 3"/>
                <a:gd name="T25" fmla="*/ 0 h 3"/>
                <a:gd name="T26" fmla="*/ 1 w 3"/>
                <a:gd name="T27" fmla="*/ 0 h 3"/>
                <a:gd name="T28" fmla="*/ 0 w 3"/>
                <a:gd name="T29" fmla="*/ 1 h 3"/>
                <a:gd name="T30" fmla="*/ 0 w 3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8">
              <a:extLst>
                <a:ext uri="{FF2B5EF4-FFF2-40B4-BE49-F238E27FC236}">
                  <a16:creationId xmlns:a16="http://schemas.microsoft.com/office/drawing/2014/main" id="{E88579C4-69B3-4332-AD03-8A816D1C9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4" y="3604"/>
              <a:ext cx="210" cy="202"/>
            </a:xfrm>
            <a:custGeom>
              <a:avLst/>
              <a:gdLst>
                <a:gd name="T0" fmla="*/ 64 w 82"/>
                <a:gd name="T1" fmla="*/ 76 h 79"/>
                <a:gd name="T2" fmla="*/ 13 w 82"/>
                <a:gd name="T3" fmla="*/ 71 h 79"/>
                <a:gd name="T4" fmla="*/ 18 w 82"/>
                <a:gd name="T5" fmla="*/ 24 h 79"/>
                <a:gd name="T6" fmla="*/ 26 w 82"/>
                <a:gd name="T7" fmla="*/ 24 h 79"/>
                <a:gd name="T8" fmla="*/ 62 w 82"/>
                <a:gd name="T9" fmla="*/ 24 h 79"/>
                <a:gd name="T10" fmla="*/ 69 w 82"/>
                <a:gd name="T11" fmla="*/ 29 h 79"/>
                <a:gd name="T12" fmla="*/ 54 w 82"/>
                <a:gd name="T13" fmla="*/ 21 h 79"/>
                <a:gd name="T14" fmla="*/ 41 w 82"/>
                <a:gd name="T15" fmla="*/ 9 h 79"/>
                <a:gd name="T16" fmla="*/ 41 w 82"/>
                <a:gd name="T17" fmla="*/ 3 h 79"/>
                <a:gd name="T18" fmla="*/ 57 w 82"/>
                <a:gd name="T19" fmla="*/ 21 h 79"/>
                <a:gd name="T20" fmla="*/ 25 w 82"/>
                <a:gd name="T21" fmla="*/ 21 h 79"/>
                <a:gd name="T22" fmla="*/ 41 w 82"/>
                <a:gd name="T23" fmla="*/ 3 h 79"/>
                <a:gd name="T24" fmla="*/ 79 w 82"/>
                <a:gd name="T25" fmla="*/ 76 h 79"/>
                <a:gd name="T26" fmla="*/ 70 w 82"/>
                <a:gd name="T27" fmla="*/ 76 h 79"/>
                <a:gd name="T28" fmla="*/ 72 w 82"/>
                <a:gd name="T29" fmla="*/ 59 h 79"/>
                <a:gd name="T30" fmla="*/ 79 w 82"/>
                <a:gd name="T31" fmla="*/ 61 h 79"/>
                <a:gd name="T32" fmla="*/ 82 w 82"/>
                <a:gd name="T33" fmla="*/ 61 h 79"/>
                <a:gd name="T34" fmla="*/ 80 w 82"/>
                <a:gd name="T35" fmla="*/ 56 h 79"/>
                <a:gd name="T36" fmla="*/ 72 w 82"/>
                <a:gd name="T37" fmla="*/ 44 h 79"/>
                <a:gd name="T38" fmla="*/ 82 w 82"/>
                <a:gd name="T39" fmla="*/ 43 h 79"/>
                <a:gd name="T40" fmla="*/ 80 w 82"/>
                <a:gd name="T41" fmla="*/ 37 h 79"/>
                <a:gd name="T42" fmla="*/ 79 w 82"/>
                <a:gd name="T43" fmla="*/ 41 h 79"/>
                <a:gd name="T44" fmla="*/ 72 w 82"/>
                <a:gd name="T45" fmla="*/ 29 h 79"/>
                <a:gd name="T46" fmla="*/ 70 w 82"/>
                <a:gd name="T47" fmla="*/ 24 h 79"/>
                <a:gd name="T48" fmla="*/ 81 w 82"/>
                <a:gd name="T49" fmla="*/ 22 h 79"/>
                <a:gd name="T50" fmla="*/ 70 w 82"/>
                <a:gd name="T51" fmla="*/ 21 h 79"/>
                <a:gd name="T52" fmla="*/ 69 w 82"/>
                <a:gd name="T53" fmla="*/ 23 h 79"/>
                <a:gd name="T54" fmla="*/ 63 w 82"/>
                <a:gd name="T55" fmla="*/ 21 h 79"/>
                <a:gd name="T56" fmla="*/ 19 w 82"/>
                <a:gd name="T57" fmla="*/ 21 h 79"/>
                <a:gd name="T58" fmla="*/ 13 w 82"/>
                <a:gd name="T59" fmla="*/ 23 h 79"/>
                <a:gd name="T60" fmla="*/ 12 w 82"/>
                <a:gd name="T61" fmla="*/ 21 h 79"/>
                <a:gd name="T62" fmla="*/ 1 w 82"/>
                <a:gd name="T63" fmla="*/ 22 h 79"/>
                <a:gd name="T64" fmla="*/ 12 w 82"/>
                <a:gd name="T65" fmla="*/ 24 h 79"/>
                <a:gd name="T66" fmla="*/ 10 w 82"/>
                <a:gd name="T67" fmla="*/ 29 h 79"/>
                <a:gd name="T68" fmla="*/ 3 w 82"/>
                <a:gd name="T69" fmla="*/ 41 h 79"/>
                <a:gd name="T70" fmla="*/ 2 w 82"/>
                <a:gd name="T71" fmla="*/ 38 h 79"/>
                <a:gd name="T72" fmla="*/ 0 w 82"/>
                <a:gd name="T73" fmla="*/ 43 h 79"/>
                <a:gd name="T74" fmla="*/ 10 w 82"/>
                <a:gd name="T75" fmla="*/ 44 h 79"/>
                <a:gd name="T76" fmla="*/ 2 w 82"/>
                <a:gd name="T77" fmla="*/ 56 h 79"/>
                <a:gd name="T78" fmla="*/ 0 w 82"/>
                <a:gd name="T79" fmla="*/ 61 h 79"/>
                <a:gd name="T80" fmla="*/ 3 w 82"/>
                <a:gd name="T81" fmla="*/ 61 h 79"/>
                <a:gd name="T82" fmla="*/ 10 w 82"/>
                <a:gd name="T83" fmla="*/ 59 h 79"/>
                <a:gd name="T84" fmla="*/ 12 w 82"/>
                <a:gd name="T85" fmla="*/ 76 h 79"/>
                <a:gd name="T86" fmla="*/ 3 w 82"/>
                <a:gd name="T87" fmla="*/ 76 h 79"/>
                <a:gd name="T88" fmla="*/ 3 w 82"/>
                <a:gd name="T89" fmla="*/ 79 h 79"/>
                <a:gd name="T90" fmla="*/ 13 w 82"/>
                <a:gd name="T91" fmla="*/ 78 h 79"/>
                <a:gd name="T92" fmla="*/ 18 w 82"/>
                <a:gd name="T93" fmla="*/ 79 h 79"/>
                <a:gd name="T94" fmla="*/ 69 w 82"/>
                <a:gd name="T95" fmla="*/ 77 h 79"/>
                <a:gd name="T96" fmla="*/ 70 w 82"/>
                <a:gd name="T97" fmla="*/ 79 h 79"/>
                <a:gd name="T98" fmla="*/ 81 w 82"/>
                <a:gd name="T9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" h="79">
                  <a:moveTo>
                    <a:pt x="69" y="71"/>
                  </a:moveTo>
                  <a:cubicBezTo>
                    <a:pt x="69" y="74"/>
                    <a:pt x="66" y="76"/>
                    <a:pt x="64" y="76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6" y="76"/>
                    <a:pt x="13" y="74"/>
                    <a:pt x="13" y="71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6"/>
                    <a:pt x="16" y="24"/>
                    <a:pt x="18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6" y="24"/>
                    <a:pt x="69" y="26"/>
                    <a:pt x="69" y="29"/>
                  </a:cubicBezTo>
                  <a:lnTo>
                    <a:pt x="69" y="71"/>
                  </a:lnTo>
                  <a:close/>
                  <a:moveTo>
                    <a:pt x="54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28" y="17"/>
                    <a:pt x="30" y="9"/>
                    <a:pt x="41" y="9"/>
                  </a:cubicBezTo>
                  <a:cubicBezTo>
                    <a:pt x="52" y="9"/>
                    <a:pt x="54" y="17"/>
                    <a:pt x="54" y="21"/>
                  </a:cubicBezTo>
                  <a:moveTo>
                    <a:pt x="41" y="3"/>
                  </a:moveTo>
                  <a:cubicBezTo>
                    <a:pt x="55" y="3"/>
                    <a:pt x="60" y="14"/>
                    <a:pt x="61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17"/>
                    <a:pt x="55" y="6"/>
                    <a:pt x="41" y="6"/>
                  </a:cubicBezTo>
                  <a:cubicBezTo>
                    <a:pt x="28" y="6"/>
                    <a:pt x="25" y="17"/>
                    <a:pt x="25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14"/>
                    <a:pt x="27" y="3"/>
                    <a:pt x="41" y="3"/>
                  </a:cubicBezTo>
                  <a:moveTo>
                    <a:pt x="81" y="78"/>
                  </a:moveTo>
                  <a:cubicBezTo>
                    <a:pt x="81" y="77"/>
                    <a:pt x="80" y="76"/>
                    <a:pt x="79" y="76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1" y="75"/>
                    <a:pt x="72" y="73"/>
                    <a:pt x="72" y="71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2"/>
                    <a:pt x="80" y="62"/>
                    <a:pt x="80" y="62"/>
                  </a:cubicBezTo>
                  <a:cubicBezTo>
                    <a:pt x="81" y="62"/>
                    <a:pt x="82" y="62"/>
                    <a:pt x="82" y="61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6"/>
                    <a:pt x="81" y="56"/>
                    <a:pt x="80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2" y="43"/>
                    <a:pt x="82" y="43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1" y="37"/>
                    <a:pt x="80" y="37"/>
                  </a:cubicBezTo>
                  <a:cubicBezTo>
                    <a:pt x="80" y="37"/>
                    <a:pt x="79" y="38"/>
                    <a:pt x="79" y="39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7"/>
                    <a:pt x="71" y="25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80" y="24"/>
                    <a:pt x="81" y="23"/>
                    <a:pt x="81" y="22"/>
                  </a:cubicBezTo>
                  <a:cubicBezTo>
                    <a:pt x="81" y="22"/>
                    <a:pt x="80" y="21"/>
                    <a:pt x="79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9" y="21"/>
                    <a:pt x="69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8" y="22"/>
                    <a:pt x="66" y="21"/>
                    <a:pt x="64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13"/>
                    <a:pt x="58" y="0"/>
                    <a:pt x="41" y="0"/>
                  </a:cubicBezTo>
                  <a:cubicBezTo>
                    <a:pt x="24" y="0"/>
                    <a:pt x="19" y="13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6" y="21"/>
                    <a:pt x="15" y="22"/>
                    <a:pt x="13" y="23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3" y="21"/>
                    <a:pt x="12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1" y="22"/>
                    <a:pt x="1" y="22"/>
                  </a:cubicBezTo>
                  <a:cubicBezTo>
                    <a:pt x="1" y="23"/>
                    <a:pt x="2" y="24"/>
                    <a:pt x="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5"/>
                    <a:pt x="10" y="27"/>
                    <a:pt x="10" y="29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1" y="38"/>
                    <a:pt x="0" y="38"/>
                    <a:pt x="0" y="3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4"/>
                    <a:pt x="1" y="44"/>
                    <a:pt x="2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7"/>
                    <a:pt x="0" y="5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2"/>
                    <a:pt x="1" y="63"/>
                    <a:pt x="2" y="63"/>
                  </a:cubicBezTo>
                  <a:cubicBezTo>
                    <a:pt x="2" y="63"/>
                    <a:pt x="3" y="62"/>
                    <a:pt x="3" y="61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3"/>
                    <a:pt x="11" y="75"/>
                    <a:pt x="12" y="7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6"/>
                    <a:pt x="1" y="77"/>
                    <a:pt x="1" y="78"/>
                  </a:cubicBezTo>
                  <a:cubicBezTo>
                    <a:pt x="1" y="78"/>
                    <a:pt x="2" y="79"/>
                    <a:pt x="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3" y="79"/>
                    <a:pt x="13" y="78"/>
                    <a:pt x="13" y="78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5" y="78"/>
                    <a:pt x="16" y="79"/>
                    <a:pt x="18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6" y="79"/>
                    <a:pt x="68" y="78"/>
                    <a:pt x="69" y="77"/>
                  </a:cubicBezTo>
                  <a:cubicBezTo>
                    <a:pt x="69" y="77"/>
                    <a:pt x="69" y="77"/>
                    <a:pt x="69" y="78"/>
                  </a:cubicBezTo>
                  <a:cubicBezTo>
                    <a:pt x="69" y="78"/>
                    <a:pt x="69" y="79"/>
                    <a:pt x="70" y="79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80" y="79"/>
                    <a:pt x="81" y="78"/>
                    <a:pt x="81" y="7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269">
              <a:extLst>
                <a:ext uri="{FF2B5EF4-FFF2-40B4-BE49-F238E27FC236}">
                  <a16:creationId xmlns:a16="http://schemas.microsoft.com/office/drawing/2014/main" id="{56FA8619-653D-4C49-84FF-59844E254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" y="3799"/>
              <a:ext cx="7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1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1 w 3"/>
                <a:gd name="T13" fmla="*/ 3 h 3"/>
                <a:gd name="T14" fmla="*/ 2 w 3"/>
                <a:gd name="T15" fmla="*/ 3 h 3"/>
                <a:gd name="T16" fmla="*/ 3 w 3"/>
                <a:gd name="T17" fmla="*/ 3 h 3"/>
                <a:gd name="T18" fmla="*/ 3 w 3"/>
                <a:gd name="T19" fmla="*/ 2 h 3"/>
                <a:gd name="T20" fmla="*/ 3 w 3"/>
                <a:gd name="T21" fmla="*/ 1 h 3"/>
                <a:gd name="T22" fmla="*/ 1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70">
              <a:extLst>
                <a:ext uri="{FF2B5EF4-FFF2-40B4-BE49-F238E27FC236}">
                  <a16:creationId xmlns:a16="http://schemas.microsoft.com/office/drawing/2014/main" id="{31B14CCD-E292-41FB-BB9E-ADC786B60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8" y="3753"/>
              <a:ext cx="54" cy="36"/>
            </a:xfrm>
            <a:custGeom>
              <a:avLst/>
              <a:gdLst>
                <a:gd name="T0" fmla="*/ 7 w 21"/>
                <a:gd name="T1" fmla="*/ 11 h 14"/>
                <a:gd name="T2" fmla="*/ 3 w 21"/>
                <a:gd name="T3" fmla="*/ 7 h 14"/>
                <a:gd name="T4" fmla="*/ 7 w 21"/>
                <a:gd name="T5" fmla="*/ 3 h 14"/>
                <a:gd name="T6" fmla="*/ 11 w 21"/>
                <a:gd name="T7" fmla="*/ 7 h 14"/>
                <a:gd name="T8" fmla="*/ 7 w 21"/>
                <a:gd name="T9" fmla="*/ 11 h 14"/>
                <a:gd name="T10" fmla="*/ 19 w 21"/>
                <a:gd name="T11" fmla="*/ 9 h 14"/>
                <a:gd name="T12" fmla="*/ 21 w 21"/>
                <a:gd name="T13" fmla="*/ 7 h 14"/>
                <a:gd name="T14" fmla="*/ 19 w 21"/>
                <a:gd name="T15" fmla="*/ 6 h 14"/>
                <a:gd name="T16" fmla="*/ 14 w 21"/>
                <a:gd name="T17" fmla="*/ 6 h 14"/>
                <a:gd name="T18" fmla="*/ 7 w 21"/>
                <a:gd name="T19" fmla="*/ 0 h 14"/>
                <a:gd name="T20" fmla="*/ 0 w 21"/>
                <a:gd name="T21" fmla="*/ 7 h 14"/>
                <a:gd name="T22" fmla="*/ 7 w 21"/>
                <a:gd name="T23" fmla="*/ 14 h 14"/>
                <a:gd name="T24" fmla="*/ 14 w 21"/>
                <a:gd name="T25" fmla="*/ 9 h 14"/>
                <a:gd name="T26" fmla="*/ 19 w 21"/>
                <a:gd name="T2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7" y="11"/>
                  </a:moveTo>
                  <a:cubicBezTo>
                    <a:pt x="5" y="11"/>
                    <a:pt x="3" y="10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9" y="3"/>
                    <a:pt x="11" y="5"/>
                    <a:pt x="11" y="7"/>
                  </a:cubicBezTo>
                  <a:cubicBezTo>
                    <a:pt x="11" y="10"/>
                    <a:pt x="9" y="11"/>
                    <a:pt x="7" y="11"/>
                  </a:cubicBezTo>
                  <a:moveTo>
                    <a:pt x="19" y="9"/>
                  </a:moveTo>
                  <a:cubicBezTo>
                    <a:pt x="20" y="9"/>
                    <a:pt x="21" y="8"/>
                    <a:pt x="21" y="7"/>
                  </a:cubicBezTo>
                  <a:cubicBezTo>
                    <a:pt x="21" y="7"/>
                    <a:pt x="20" y="6"/>
                    <a:pt x="1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7" y="14"/>
                  </a:cubicBezTo>
                  <a:cubicBezTo>
                    <a:pt x="10" y="14"/>
                    <a:pt x="13" y="12"/>
                    <a:pt x="14" y="9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71">
              <a:extLst>
                <a:ext uri="{FF2B5EF4-FFF2-40B4-BE49-F238E27FC236}">
                  <a16:creationId xmlns:a16="http://schemas.microsoft.com/office/drawing/2014/main" id="{38AB060F-453F-46CC-AD6E-2189F7C3E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" y="3768"/>
              <a:ext cx="8" cy="8"/>
            </a:xfrm>
            <a:custGeom>
              <a:avLst/>
              <a:gdLst>
                <a:gd name="T0" fmla="*/ 1 w 3"/>
                <a:gd name="T1" fmla="*/ 3 h 3"/>
                <a:gd name="T2" fmla="*/ 2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3 w 3"/>
                <a:gd name="T9" fmla="*/ 1 h 3"/>
                <a:gd name="T10" fmla="*/ 3 w 3"/>
                <a:gd name="T11" fmla="*/ 1 h 3"/>
                <a:gd name="T12" fmla="*/ 3 w 3"/>
                <a:gd name="T13" fmla="*/ 1 h 3"/>
                <a:gd name="T14" fmla="*/ 3 w 3"/>
                <a:gd name="T15" fmla="*/ 1 h 3"/>
                <a:gd name="T16" fmla="*/ 3 w 3"/>
                <a:gd name="T17" fmla="*/ 0 h 3"/>
                <a:gd name="T18" fmla="*/ 1 w 3"/>
                <a:gd name="T19" fmla="*/ 0 h 3"/>
                <a:gd name="T20" fmla="*/ 0 w 3"/>
                <a:gd name="T21" fmla="*/ 1 h 3"/>
                <a:gd name="T22" fmla="*/ 0 w 3"/>
                <a:gd name="T23" fmla="*/ 1 h 3"/>
                <a:gd name="T24" fmla="*/ 0 w 3"/>
                <a:gd name="T25" fmla="*/ 1 h 3"/>
                <a:gd name="T26" fmla="*/ 0 w 3"/>
                <a:gd name="T27" fmla="*/ 1 h 3"/>
                <a:gd name="T28" fmla="*/ 0 w 3"/>
                <a:gd name="T29" fmla="*/ 2 h 3"/>
                <a:gd name="T30" fmla="*/ 1 w 3"/>
                <a:gd name="T31" fmla="*/ 2 h 3"/>
                <a:gd name="T32" fmla="*/ 1 w 3"/>
                <a:gd name="T3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72">
              <a:extLst>
                <a:ext uri="{FF2B5EF4-FFF2-40B4-BE49-F238E27FC236}">
                  <a16:creationId xmlns:a16="http://schemas.microsoft.com/office/drawing/2014/main" id="{D66018ED-6B3B-40F1-A285-B1EDACAC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3768"/>
              <a:ext cx="8" cy="8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2 w 3"/>
                <a:gd name="T9" fmla="*/ 0 h 3"/>
                <a:gd name="T10" fmla="*/ 2 w 3"/>
                <a:gd name="T11" fmla="*/ 0 h 3"/>
                <a:gd name="T12" fmla="*/ 0 w 3"/>
                <a:gd name="T13" fmla="*/ 0 h 3"/>
                <a:gd name="T14" fmla="*/ 0 w 3"/>
                <a:gd name="T15" fmla="*/ 0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1 h 3"/>
                <a:gd name="T22" fmla="*/ 0 w 3"/>
                <a:gd name="T23" fmla="*/ 2 h 3"/>
                <a:gd name="T24" fmla="*/ 0 w 3"/>
                <a:gd name="T25" fmla="*/ 2 h 3"/>
                <a:gd name="T26" fmla="*/ 1 w 3"/>
                <a:gd name="T27" fmla="*/ 3 h 3"/>
                <a:gd name="T28" fmla="*/ 2 w 3"/>
                <a:gd name="T29" fmla="*/ 2 h 3"/>
                <a:gd name="T30" fmla="*/ 2 w 3"/>
                <a:gd name="T31" fmla="*/ 2 h 3"/>
                <a:gd name="T32" fmla="*/ 3 w 3"/>
                <a:gd name="T33" fmla="*/ 2 h 3"/>
                <a:gd name="T34" fmla="*/ 3 w 3"/>
                <a:gd name="T35" fmla="*/ 1 h 3"/>
                <a:gd name="T36" fmla="*/ 3 w 3"/>
                <a:gd name="T37" fmla="*/ 1 h 3"/>
                <a:gd name="T38" fmla="*/ 3 w 3"/>
                <a:gd name="T3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73">
              <a:extLst>
                <a:ext uri="{FF2B5EF4-FFF2-40B4-BE49-F238E27FC236}">
                  <a16:creationId xmlns:a16="http://schemas.microsoft.com/office/drawing/2014/main" id="{A394104A-F707-4788-AACB-4DC8F75B0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3676"/>
              <a:ext cx="53" cy="36"/>
            </a:xfrm>
            <a:custGeom>
              <a:avLst/>
              <a:gdLst>
                <a:gd name="T0" fmla="*/ 14 w 21"/>
                <a:gd name="T1" fmla="*/ 3 h 14"/>
                <a:gd name="T2" fmla="*/ 18 w 21"/>
                <a:gd name="T3" fmla="*/ 7 h 14"/>
                <a:gd name="T4" fmla="*/ 14 w 21"/>
                <a:gd name="T5" fmla="*/ 11 h 14"/>
                <a:gd name="T6" fmla="*/ 10 w 21"/>
                <a:gd name="T7" fmla="*/ 7 h 14"/>
                <a:gd name="T8" fmla="*/ 14 w 21"/>
                <a:gd name="T9" fmla="*/ 3 h 14"/>
                <a:gd name="T10" fmla="*/ 2 w 21"/>
                <a:gd name="T11" fmla="*/ 5 h 14"/>
                <a:gd name="T12" fmla="*/ 0 w 21"/>
                <a:gd name="T13" fmla="*/ 6 h 14"/>
                <a:gd name="T14" fmla="*/ 2 w 21"/>
                <a:gd name="T15" fmla="*/ 8 h 14"/>
                <a:gd name="T16" fmla="*/ 7 w 21"/>
                <a:gd name="T17" fmla="*/ 8 h 14"/>
                <a:gd name="T18" fmla="*/ 14 w 21"/>
                <a:gd name="T19" fmla="*/ 14 h 14"/>
                <a:gd name="T20" fmla="*/ 21 w 21"/>
                <a:gd name="T21" fmla="*/ 7 h 14"/>
                <a:gd name="T22" fmla="*/ 14 w 21"/>
                <a:gd name="T23" fmla="*/ 0 h 14"/>
                <a:gd name="T24" fmla="*/ 7 w 21"/>
                <a:gd name="T25" fmla="*/ 5 h 14"/>
                <a:gd name="T26" fmla="*/ 2 w 21"/>
                <a:gd name="T2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4">
                  <a:moveTo>
                    <a:pt x="14" y="3"/>
                  </a:moveTo>
                  <a:cubicBezTo>
                    <a:pt x="16" y="3"/>
                    <a:pt x="18" y="4"/>
                    <a:pt x="18" y="7"/>
                  </a:cubicBezTo>
                  <a:cubicBezTo>
                    <a:pt x="18" y="9"/>
                    <a:pt x="16" y="11"/>
                    <a:pt x="14" y="11"/>
                  </a:cubicBezTo>
                  <a:cubicBezTo>
                    <a:pt x="12" y="11"/>
                    <a:pt x="10" y="9"/>
                    <a:pt x="10" y="7"/>
                  </a:cubicBezTo>
                  <a:cubicBezTo>
                    <a:pt x="10" y="4"/>
                    <a:pt x="12" y="3"/>
                    <a:pt x="14" y="3"/>
                  </a:cubicBezTo>
                  <a:moveTo>
                    <a:pt x="2" y="5"/>
                  </a:moveTo>
                  <a:cubicBezTo>
                    <a:pt x="1" y="5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1"/>
                    <a:pt x="10" y="14"/>
                    <a:pt x="14" y="14"/>
                  </a:cubicBezTo>
                  <a:cubicBezTo>
                    <a:pt x="18" y="14"/>
                    <a:pt x="21" y="11"/>
                    <a:pt x="21" y="7"/>
                  </a:cubicBezTo>
                  <a:cubicBezTo>
                    <a:pt x="21" y="3"/>
                    <a:pt x="18" y="0"/>
                    <a:pt x="14" y="0"/>
                  </a:cubicBezTo>
                  <a:cubicBezTo>
                    <a:pt x="11" y="0"/>
                    <a:pt x="8" y="2"/>
                    <a:pt x="7" y="5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74">
              <a:extLst>
                <a:ext uri="{FF2B5EF4-FFF2-40B4-BE49-F238E27FC236}">
                  <a16:creationId xmlns:a16="http://schemas.microsoft.com/office/drawing/2014/main" id="{8B7BC130-B271-4F63-ABDC-30CF7FD3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3689"/>
              <a:ext cx="8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0 w 3"/>
                <a:gd name="T7" fmla="*/ 0 h 3"/>
                <a:gd name="T8" fmla="*/ 0 w 3"/>
                <a:gd name="T9" fmla="*/ 1 h 3"/>
                <a:gd name="T10" fmla="*/ 0 w 3"/>
                <a:gd name="T11" fmla="*/ 2 h 3"/>
                <a:gd name="T12" fmla="*/ 1 w 3"/>
                <a:gd name="T13" fmla="*/ 3 h 3"/>
                <a:gd name="T14" fmla="*/ 1 w 3"/>
                <a:gd name="T15" fmla="*/ 3 h 3"/>
                <a:gd name="T16" fmla="*/ 2 w 3"/>
                <a:gd name="T17" fmla="*/ 2 h 3"/>
                <a:gd name="T18" fmla="*/ 3 w 3"/>
                <a:gd name="T19" fmla="*/ 2 h 3"/>
                <a:gd name="T20" fmla="*/ 3 w 3"/>
                <a:gd name="T21" fmla="*/ 1 h 3"/>
                <a:gd name="T22" fmla="*/ 2 w 3"/>
                <a:gd name="T23" fmla="*/ 0 h 3"/>
                <a:gd name="T24" fmla="*/ 1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75">
              <a:extLst>
                <a:ext uri="{FF2B5EF4-FFF2-40B4-BE49-F238E27FC236}">
                  <a16:creationId xmlns:a16="http://schemas.microsoft.com/office/drawing/2014/main" id="{BA0AE5B2-CB17-4C3B-BF3E-3F7966F16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" y="3689"/>
              <a:ext cx="8" cy="7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  <a:gd name="T4" fmla="*/ 1 w 3"/>
                <a:gd name="T5" fmla="*/ 3 h 3"/>
                <a:gd name="T6" fmla="*/ 1 w 3"/>
                <a:gd name="T7" fmla="*/ 3 h 3"/>
                <a:gd name="T8" fmla="*/ 2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3 w 3"/>
                <a:gd name="T15" fmla="*/ 2 h 3"/>
                <a:gd name="T16" fmla="*/ 3 w 3"/>
                <a:gd name="T17" fmla="*/ 2 h 3"/>
                <a:gd name="T18" fmla="*/ 3 w 3"/>
                <a:gd name="T19" fmla="*/ 1 h 3"/>
                <a:gd name="T20" fmla="*/ 3 w 3"/>
                <a:gd name="T21" fmla="*/ 1 h 3"/>
                <a:gd name="T22" fmla="*/ 3 w 3"/>
                <a:gd name="T23" fmla="*/ 1 h 3"/>
                <a:gd name="T24" fmla="*/ 1 w 3"/>
                <a:gd name="T25" fmla="*/ 1 h 3"/>
                <a:gd name="T26" fmla="*/ 0 w 3"/>
                <a:gd name="T27" fmla="*/ 1 h 3"/>
                <a:gd name="T28" fmla="*/ 0 w 3"/>
                <a:gd name="T29" fmla="*/ 1 h 3"/>
                <a:gd name="T30" fmla="*/ 0 w 3"/>
                <a:gd name="T3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7" name="Group 278">
            <a:extLst>
              <a:ext uri="{FF2B5EF4-FFF2-40B4-BE49-F238E27FC236}">
                <a16:creationId xmlns:a16="http://schemas.microsoft.com/office/drawing/2014/main" id="{ADD83B74-A8F2-4CFC-93A2-A5499A2874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0084" y="5494084"/>
            <a:ext cx="758825" cy="758825"/>
            <a:chOff x="3775" y="3579"/>
            <a:chExt cx="478" cy="478"/>
          </a:xfrm>
        </p:grpSpPr>
        <p:sp>
          <p:nvSpPr>
            <p:cNvPr id="318" name="AutoShape 277">
              <a:extLst>
                <a:ext uri="{FF2B5EF4-FFF2-40B4-BE49-F238E27FC236}">
                  <a16:creationId xmlns:a16="http://schemas.microsoft.com/office/drawing/2014/main" id="{EA3AB204-B37C-4463-B1A6-0E7FFADDCE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75" y="357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79">
              <a:extLst>
                <a:ext uri="{FF2B5EF4-FFF2-40B4-BE49-F238E27FC236}">
                  <a16:creationId xmlns:a16="http://schemas.microsoft.com/office/drawing/2014/main" id="{8F754BE6-C493-4C0F-9D1A-83208AB19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7" y="358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80">
              <a:extLst>
                <a:ext uri="{FF2B5EF4-FFF2-40B4-BE49-F238E27FC236}">
                  <a16:creationId xmlns:a16="http://schemas.microsoft.com/office/drawing/2014/main" id="{91428F17-EF34-4882-8D9B-39393D5F6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" y="3670"/>
              <a:ext cx="211" cy="206"/>
            </a:xfrm>
            <a:custGeom>
              <a:avLst/>
              <a:gdLst>
                <a:gd name="T0" fmla="*/ 43 w 86"/>
                <a:gd name="T1" fmla="*/ 3 h 84"/>
                <a:gd name="T2" fmla="*/ 82 w 86"/>
                <a:gd name="T3" fmla="*/ 28 h 84"/>
                <a:gd name="T4" fmla="*/ 43 w 86"/>
                <a:gd name="T5" fmla="*/ 53 h 84"/>
                <a:gd name="T6" fmla="*/ 4 w 86"/>
                <a:gd name="T7" fmla="*/ 28 h 84"/>
                <a:gd name="T8" fmla="*/ 43 w 86"/>
                <a:gd name="T9" fmla="*/ 3 h 84"/>
                <a:gd name="T10" fmla="*/ 60 w 86"/>
                <a:gd name="T11" fmla="*/ 64 h 84"/>
                <a:gd name="T12" fmla="*/ 58 w 86"/>
                <a:gd name="T13" fmla="*/ 65 h 84"/>
                <a:gd name="T14" fmla="*/ 58 w 86"/>
                <a:gd name="T15" fmla="*/ 67 h 84"/>
                <a:gd name="T16" fmla="*/ 80 w 86"/>
                <a:gd name="T17" fmla="*/ 81 h 84"/>
                <a:gd name="T18" fmla="*/ 6 w 86"/>
                <a:gd name="T19" fmla="*/ 81 h 84"/>
                <a:gd name="T20" fmla="*/ 28 w 86"/>
                <a:gd name="T21" fmla="*/ 67 h 84"/>
                <a:gd name="T22" fmla="*/ 28 w 86"/>
                <a:gd name="T23" fmla="*/ 65 h 84"/>
                <a:gd name="T24" fmla="*/ 26 w 86"/>
                <a:gd name="T25" fmla="*/ 64 h 84"/>
                <a:gd name="T26" fmla="*/ 3 w 86"/>
                <a:gd name="T27" fmla="*/ 79 h 84"/>
                <a:gd name="T28" fmla="*/ 3 w 86"/>
                <a:gd name="T29" fmla="*/ 31 h 84"/>
                <a:gd name="T30" fmla="*/ 42 w 86"/>
                <a:gd name="T31" fmla="*/ 56 h 84"/>
                <a:gd name="T32" fmla="*/ 43 w 86"/>
                <a:gd name="T33" fmla="*/ 57 h 84"/>
                <a:gd name="T34" fmla="*/ 44 w 86"/>
                <a:gd name="T35" fmla="*/ 56 h 84"/>
                <a:gd name="T36" fmla="*/ 83 w 86"/>
                <a:gd name="T37" fmla="*/ 31 h 84"/>
                <a:gd name="T38" fmla="*/ 83 w 86"/>
                <a:gd name="T39" fmla="*/ 79 h 84"/>
                <a:gd name="T40" fmla="*/ 60 w 86"/>
                <a:gd name="T41" fmla="*/ 64 h 84"/>
                <a:gd name="T42" fmla="*/ 86 w 86"/>
                <a:gd name="T43" fmla="*/ 28 h 84"/>
                <a:gd name="T44" fmla="*/ 86 w 86"/>
                <a:gd name="T45" fmla="*/ 28 h 84"/>
                <a:gd name="T46" fmla="*/ 86 w 86"/>
                <a:gd name="T47" fmla="*/ 27 h 84"/>
                <a:gd name="T48" fmla="*/ 86 w 86"/>
                <a:gd name="T49" fmla="*/ 27 h 84"/>
                <a:gd name="T50" fmla="*/ 86 w 86"/>
                <a:gd name="T51" fmla="*/ 27 h 84"/>
                <a:gd name="T52" fmla="*/ 86 w 86"/>
                <a:gd name="T53" fmla="*/ 27 h 84"/>
                <a:gd name="T54" fmla="*/ 86 w 86"/>
                <a:gd name="T55" fmla="*/ 27 h 84"/>
                <a:gd name="T56" fmla="*/ 86 w 86"/>
                <a:gd name="T57" fmla="*/ 27 h 84"/>
                <a:gd name="T58" fmla="*/ 44 w 86"/>
                <a:gd name="T59" fmla="*/ 0 h 84"/>
                <a:gd name="T60" fmla="*/ 42 w 86"/>
                <a:gd name="T61" fmla="*/ 0 h 84"/>
                <a:gd name="T62" fmla="*/ 0 w 86"/>
                <a:gd name="T63" fmla="*/ 27 h 84"/>
                <a:gd name="T64" fmla="*/ 0 w 86"/>
                <a:gd name="T65" fmla="*/ 27 h 84"/>
                <a:gd name="T66" fmla="*/ 0 w 86"/>
                <a:gd name="T67" fmla="*/ 27 h 84"/>
                <a:gd name="T68" fmla="*/ 0 w 86"/>
                <a:gd name="T69" fmla="*/ 27 h 84"/>
                <a:gd name="T70" fmla="*/ 0 w 86"/>
                <a:gd name="T71" fmla="*/ 27 h 84"/>
                <a:gd name="T72" fmla="*/ 0 w 86"/>
                <a:gd name="T73" fmla="*/ 27 h 84"/>
                <a:gd name="T74" fmla="*/ 0 w 86"/>
                <a:gd name="T75" fmla="*/ 28 h 84"/>
                <a:gd name="T76" fmla="*/ 0 w 86"/>
                <a:gd name="T77" fmla="*/ 28 h 84"/>
                <a:gd name="T78" fmla="*/ 0 w 86"/>
                <a:gd name="T79" fmla="*/ 28 h 84"/>
                <a:gd name="T80" fmla="*/ 0 w 86"/>
                <a:gd name="T81" fmla="*/ 82 h 84"/>
                <a:gd name="T82" fmla="*/ 0 w 86"/>
                <a:gd name="T83" fmla="*/ 82 h 84"/>
                <a:gd name="T84" fmla="*/ 0 w 86"/>
                <a:gd name="T85" fmla="*/ 82 h 84"/>
                <a:gd name="T86" fmla="*/ 0 w 86"/>
                <a:gd name="T87" fmla="*/ 83 h 84"/>
                <a:gd name="T88" fmla="*/ 0 w 86"/>
                <a:gd name="T89" fmla="*/ 83 h 84"/>
                <a:gd name="T90" fmla="*/ 0 w 86"/>
                <a:gd name="T91" fmla="*/ 83 h 84"/>
                <a:gd name="T92" fmla="*/ 0 w 86"/>
                <a:gd name="T93" fmla="*/ 83 h 84"/>
                <a:gd name="T94" fmla="*/ 1 w 86"/>
                <a:gd name="T95" fmla="*/ 83 h 84"/>
                <a:gd name="T96" fmla="*/ 1 w 86"/>
                <a:gd name="T97" fmla="*/ 83 h 84"/>
                <a:gd name="T98" fmla="*/ 1 w 86"/>
                <a:gd name="T99" fmla="*/ 84 h 84"/>
                <a:gd name="T100" fmla="*/ 1 w 86"/>
                <a:gd name="T101" fmla="*/ 84 h 84"/>
                <a:gd name="T102" fmla="*/ 85 w 86"/>
                <a:gd name="T103" fmla="*/ 84 h 84"/>
                <a:gd name="T104" fmla="*/ 85 w 86"/>
                <a:gd name="T105" fmla="*/ 83 h 84"/>
                <a:gd name="T106" fmla="*/ 85 w 86"/>
                <a:gd name="T107" fmla="*/ 83 h 84"/>
                <a:gd name="T108" fmla="*/ 86 w 86"/>
                <a:gd name="T109" fmla="*/ 83 h 84"/>
                <a:gd name="T110" fmla="*/ 86 w 86"/>
                <a:gd name="T111" fmla="*/ 83 h 84"/>
                <a:gd name="T112" fmla="*/ 86 w 86"/>
                <a:gd name="T113" fmla="*/ 83 h 84"/>
                <a:gd name="T114" fmla="*/ 86 w 86"/>
                <a:gd name="T115" fmla="*/ 83 h 84"/>
                <a:gd name="T116" fmla="*/ 86 w 86"/>
                <a:gd name="T117" fmla="*/ 82 h 84"/>
                <a:gd name="T118" fmla="*/ 86 w 86"/>
                <a:gd name="T119" fmla="*/ 82 h 84"/>
                <a:gd name="T120" fmla="*/ 86 w 86"/>
                <a:gd name="T121" fmla="*/ 82 h 84"/>
                <a:gd name="T122" fmla="*/ 86 w 86"/>
                <a:gd name="T123" fmla="*/ 28 h 84"/>
                <a:gd name="T124" fmla="*/ 86 w 86"/>
                <a:gd name="T125" fmla="*/ 2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" h="84">
                  <a:moveTo>
                    <a:pt x="43" y="3"/>
                  </a:moveTo>
                  <a:cubicBezTo>
                    <a:pt x="82" y="28"/>
                    <a:pt x="82" y="28"/>
                    <a:pt x="82" y="28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" y="28"/>
                    <a:pt x="4" y="28"/>
                    <a:pt x="4" y="28"/>
                  </a:cubicBezTo>
                  <a:lnTo>
                    <a:pt x="43" y="3"/>
                  </a:lnTo>
                  <a:close/>
                  <a:moveTo>
                    <a:pt x="60" y="64"/>
                  </a:moveTo>
                  <a:cubicBezTo>
                    <a:pt x="59" y="64"/>
                    <a:pt x="58" y="64"/>
                    <a:pt x="58" y="65"/>
                  </a:cubicBezTo>
                  <a:cubicBezTo>
                    <a:pt x="57" y="65"/>
                    <a:pt x="57" y="66"/>
                    <a:pt x="58" y="67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6"/>
                    <a:pt x="29" y="65"/>
                    <a:pt x="28" y="65"/>
                  </a:cubicBezTo>
                  <a:cubicBezTo>
                    <a:pt x="28" y="64"/>
                    <a:pt x="27" y="64"/>
                    <a:pt x="26" y="6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3" y="57"/>
                    <a:pt x="43" y="57"/>
                  </a:cubicBezTo>
                  <a:cubicBezTo>
                    <a:pt x="43" y="57"/>
                    <a:pt x="44" y="56"/>
                    <a:pt x="44" y="56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79"/>
                    <a:pt x="83" y="79"/>
                    <a:pt x="83" y="79"/>
                  </a:cubicBezTo>
                  <a:lnTo>
                    <a:pt x="60" y="64"/>
                  </a:ln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3" y="0"/>
                    <a:pt x="43" y="0"/>
                    <a:pt x="42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1" y="83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84"/>
                    <a:pt x="85" y="83"/>
                    <a:pt x="85" y="83"/>
                  </a:cubicBezTo>
                  <a:cubicBezTo>
                    <a:pt x="85" y="83"/>
                    <a:pt x="85" y="83"/>
                    <a:pt x="85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81">
              <a:extLst>
                <a:ext uri="{FF2B5EF4-FFF2-40B4-BE49-F238E27FC236}">
                  <a16:creationId xmlns:a16="http://schemas.microsoft.com/office/drawing/2014/main" id="{C013BF0E-781C-446E-A6CA-C4D3B9D48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0" y="3888"/>
              <a:ext cx="7" cy="81"/>
            </a:xfrm>
            <a:custGeom>
              <a:avLst/>
              <a:gdLst>
                <a:gd name="T0" fmla="*/ 1 w 3"/>
                <a:gd name="T1" fmla="*/ 0 h 33"/>
                <a:gd name="T2" fmla="*/ 0 w 3"/>
                <a:gd name="T3" fmla="*/ 1 h 33"/>
                <a:gd name="T4" fmla="*/ 0 w 3"/>
                <a:gd name="T5" fmla="*/ 32 h 33"/>
                <a:gd name="T6" fmla="*/ 1 w 3"/>
                <a:gd name="T7" fmla="*/ 33 h 33"/>
                <a:gd name="T8" fmla="*/ 3 w 3"/>
                <a:gd name="T9" fmla="*/ 32 h 33"/>
                <a:gd name="T10" fmla="*/ 3 w 3"/>
                <a:gd name="T11" fmla="*/ 1 h 33"/>
                <a:gd name="T12" fmla="*/ 1 w 3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3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1" y="33"/>
                  </a:cubicBezTo>
                  <a:cubicBezTo>
                    <a:pt x="2" y="33"/>
                    <a:pt x="3" y="33"/>
                    <a:pt x="3" y="3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82">
              <a:extLst>
                <a:ext uri="{FF2B5EF4-FFF2-40B4-BE49-F238E27FC236}">
                  <a16:creationId xmlns:a16="http://schemas.microsoft.com/office/drawing/2014/main" id="{AEBC5E5B-EFEC-4E53-962A-C2FA61A59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" y="3932"/>
              <a:ext cx="8" cy="37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83">
              <a:extLst>
                <a:ext uri="{FF2B5EF4-FFF2-40B4-BE49-F238E27FC236}">
                  <a16:creationId xmlns:a16="http://schemas.microsoft.com/office/drawing/2014/main" id="{98FF0EDC-1168-43C9-AA37-F0A50BC93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" y="3888"/>
              <a:ext cx="8" cy="32"/>
            </a:xfrm>
            <a:custGeom>
              <a:avLst/>
              <a:gdLst>
                <a:gd name="T0" fmla="*/ 2 w 3"/>
                <a:gd name="T1" fmla="*/ 0 h 13"/>
                <a:gd name="T2" fmla="*/ 0 w 3"/>
                <a:gd name="T3" fmla="*/ 1 h 13"/>
                <a:gd name="T4" fmla="*/ 0 w 3"/>
                <a:gd name="T5" fmla="*/ 11 h 13"/>
                <a:gd name="T6" fmla="*/ 2 w 3"/>
                <a:gd name="T7" fmla="*/ 13 h 13"/>
                <a:gd name="T8" fmla="*/ 3 w 3"/>
                <a:gd name="T9" fmla="*/ 11 h 13"/>
                <a:gd name="T10" fmla="*/ 3 w 3"/>
                <a:gd name="T11" fmla="*/ 1 h 13"/>
                <a:gd name="T12" fmla="*/ 2 w 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84">
              <a:extLst>
                <a:ext uri="{FF2B5EF4-FFF2-40B4-BE49-F238E27FC236}">
                  <a16:creationId xmlns:a16="http://schemas.microsoft.com/office/drawing/2014/main" id="{E5002D2A-D5D4-4673-98E7-3B7214A5D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1" y="3907"/>
              <a:ext cx="8" cy="37"/>
            </a:xfrm>
            <a:custGeom>
              <a:avLst/>
              <a:gdLst>
                <a:gd name="T0" fmla="*/ 1 w 3"/>
                <a:gd name="T1" fmla="*/ 0 h 15"/>
                <a:gd name="T2" fmla="*/ 0 w 3"/>
                <a:gd name="T3" fmla="*/ 2 h 15"/>
                <a:gd name="T4" fmla="*/ 0 w 3"/>
                <a:gd name="T5" fmla="*/ 14 h 15"/>
                <a:gd name="T6" fmla="*/ 1 w 3"/>
                <a:gd name="T7" fmla="*/ 15 h 15"/>
                <a:gd name="T8" fmla="*/ 3 w 3"/>
                <a:gd name="T9" fmla="*/ 14 h 15"/>
                <a:gd name="T10" fmla="*/ 3 w 3"/>
                <a:gd name="T11" fmla="*/ 2 h 15"/>
                <a:gd name="T12" fmla="*/ 1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85">
              <a:extLst>
                <a:ext uri="{FF2B5EF4-FFF2-40B4-BE49-F238E27FC236}">
                  <a16:creationId xmlns:a16="http://schemas.microsoft.com/office/drawing/2014/main" id="{CA884567-C522-42F6-86C4-4356C303D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1" y="3888"/>
              <a:ext cx="8" cy="17"/>
            </a:xfrm>
            <a:custGeom>
              <a:avLst/>
              <a:gdLst>
                <a:gd name="T0" fmla="*/ 1 w 3"/>
                <a:gd name="T1" fmla="*/ 0 h 7"/>
                <a:gd name="T2" fmla="*/ 0 w 3"/>
                <a:gd name="T3" fmla="*/ 1 h 7"/>
                <a:gd name="T4" fmla="*/ 0 w 3"/>
                <a:gd name="T5" fmla="*/ 6 h 7"/>
                <a:gd name="T6" fmla="*/ 1 w 3"/>
                <a:gd name="T7" fmla="*/ 7 h 7"/>
                <a:gd name="T8" fmla="*/ 3 w 3"/>
                <a:gd name="T9" fmla="*/ 6 h 7"/>
                <a:gd name="T10" fmla="*/ 3 w 3"/>
                <a:gd name="T11" fmla="*/ 1 h 7"/>
                <a:gd name="T12" fmla="*/ 1 w 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2" y="7"/>
                    <a:pt x="3" y="6"/>
                    <a:pt x="3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86">
              <a:extLst>
                <a:ext uri="{FF2B5EF4-FFF2-40B4-BE49-F238E27FC236}">
                  <a16:creationId xmlns:a16="http://schemas.microsoft.com/office/drawing/2014/main" id="{23CBF772-77D1-44CD-8201-4693591EB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" y="3932"/>
              <a:ext cx="7" cy="37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87">
              <a:extLst>
                <a:ext uri="{FF2B5EF4-FFF2-40B4-BE49-F238E27FC236}">
                  <a16:creationId xmlns:a16="http://schemas.microsoft.com/office/drawing/2014/main" id="{4D640D5B-C3E1-4880-844A-C1F0854F5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" y="3888"/>
              <a:ext cx="7" cy="32"/>
            </a:xfrm>
            <a:custGeom>
              <a:avLst/>
              <a:gdLst>
                <a:gd name="T0" fmla="*/ 2 w 3"/>
                <a:gd name="T1" fmla="*/ 0 h 13"/>
                <a:gd name="T2" fmla="*/ 0 w 3"/>
                <a:gd name="T3" fmla="*/ 1 h 13"/>
                <a:gd name="T4" fmla="*/ 0 w 3"/>
                <a:gd name="T5" fmla="*/ 11 h 13"/>
                <a:gd name="T6" fmla="*/ 2 w 3"/>
                <a:gd name="T7" fmla="*/ 13 h 13"/>
                <a:gd name="T8" fmla="*/ 3 w 3"/>
                <a:gd name="T9" fmla="*/ 11 h 13"/>
                <a:gd name="T10" fmla="*/ 3 w 3"/>
                <a:gd name="T11" fmla="*/ 1 h 13"/>
                <a:gd name="T12" fmla="*/ 2 w 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288">
              <a:extLst>
                <a:ext uri="{FF2B5EF4-FFF2-40B4-BE49-F238E27FC236}">
                  <a16:creationId xmlns:a16="http://schemas.microsoft.com/office/drawing/2014/main" id="{850D411D-2ECE-4009-AED7-1A60219D6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3949"/>
              <a:ext cx="5" cy="20"/>
            </a:xfrm>
            <a:custGeom>
              <a:avLst/>
              <a:gdLst>
                <a:gd name="T0" fmla="*/ 1 w 2"/>
                <a:gd name="T1" fmla="*/ 0 h 8"/>
                <a:gd name="T2" fmla="*/ 0 w 2"/>
                <a:gd name="T3" fmla="*/ 1 h 8"/>
                <a:gd name="T4" fmla="*/ 0 w 2"/>
                <a:gd name="T5" fmla="*/ 7 h 8"/>
                <a:gd name="T6" fmla="*/ 1 w 2"/>
                <a:gd name="T7" fmla="*/ 8 h 8"/>
                <a:gd name="T8" fmla="*/ 2 w 2"/>
                <a:gd name="T9" fmla="*/ 7 h 8"/>
                <a:gd name="T10" fmla="*/ 2 w 2"/>
                <a:gd name="T11" fmla="*/ 1 h 8"/>
                <a:gd name="T12" fmla="*/ 1 w 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89">
              <a:extLst>
                <a:ext uri="{FF2B5EF4-FFF2-40B4-BE49-F238E27FC236}">
                  <a16:creationId xmlns:a16="http://schemas.microsoft.com/office/drawing/2014/main" id="{9D533F4E-5E64-4875-AC36-33FA25B87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3888"/>
              <a:ext cx="5" cy="17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1 h 7"/>
                <a:gd name="T4" fmla="*/ 0 w 2"/>
                <a:gd name="T5" fmla="*/ 6 h 7"/>
                <a:gd name="T6" fmla="*/ 1 w 2"/>
                <a:gd name="T7" fmla="*/ 7 h 7"/>
                <a:gd name="T8" fmla="*/ 2 w 2"/>
                <a:gd name="T9" fmla="*/ 6 h 7"/>
                <a:gd name="T10" fmla="*/ 2 w 2"/>
                <a:gd name="T11" fmla="*/ 1 h 7"/>
                <a:gd name="T12" fmla="*/ 1 w 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90">
              <a:extLst>
                <a:ext uri="{FF2B5EF4-FFF2-40B4-BE49-F238E27FC236}">
                  <a16:creationId xmlns:a16="http://schemas.microsoft.com/office/drawing/2014/main" id="{D5FE3E21-AE37-4D7F-BB81-A382BF162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" y="3888"/>
              <a:ext cx="8" cy="81"/>
            </a:xfrm>
            <a:custGeom>
              <a:avLst/>
              <a:gdLst>
                <a:gd name="T0" fmla="*/ 2 w 3"/>
                <a:gd name="T1" fmla="*/ 0 h 33"/>
                <a:gd name="T2" fmla="*/ 0 w 3"/>
                <a:gd name="T3" fmla="*/ 1 h 33"/>
                <a:gd name="T4" fmla="*/ 0 w 3"/>
                <a:gd name="T5" fmla="*/ 32 h 33"/>
                <a:gd name="T6" fmla="*/ 2 w 3"/>
                <a:gd name="T7" fmla="*/ 33 h 33"/>
                <a:gd name="T8" fmla="*/ 3 w 3"/>
                <a:gd name="T9" fmla="*/ 32 h 33"/>
                <a:gd name="T10" fmla="*/ 3 w 3"/>
                <a:gd name="T11" fmla="*/ 1 h 33"/>
                <a:gd name="T12" fmla="*/ 2 w 3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3"/>
                    <a:pt x="2" y="33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91">
              <a:extLst>
                <a:ext uri="{FF2B5EF4-FFF2-40B4-BE49-F238E27FC236}">
                  <a16:creationId xmlns:a16="http://schemas.microsoft.com/office/drawing/2014/main" id="{83D08886-AC96-4D76-AC4F-98E6A063C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" y="3939"/>
              <a:ext cx="7" cy="30"/>
            </a:xfrm>
            <a:custGeom>
              <a:avLst/>
              <a:gdLst>
                <a:gd name="T0" fmla="*/ 1 w 3"/>
                <a:gd name="T1" fmla="*/ 0 h 12"/>
                <a:gd name="T2" fmla="*/ 0 w 3"/>
                <a:gd name="T3" fmla="*/ 1 h 12"/>
                <a:gd name="T4" fmla="*/ 0 w 3"/>
                <a:gd name="T5" fmla="*/ 11 h 12"/>
                <a:gd name="T6" fmla="*/ 1 w 3"/>
                <a:gd name="T7" fmla="*/ 12 h 12"/>
                <a:gd name="T8" fmla="*/ 3 w 3"/>
                <a:gd name="T9" fmla="*/ 11 h 12"/>
                <a:gd name="T10" fmla="*/ 3 w 3"/>
                <a:gd name="T11" fmla="*/ 1 h 12"/>
                <a:gd name="T12" fmla="*/ 1 w 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2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292">
              <a:extLst>
                <a:ext uri="{FF2B5EF4-FFF2-40B4-BE49-F238E27FC236}">
                  <a16:creationId xmlns:a16="http://schemas.microsoft.com/office/drawing/2014/main" id="{7159E561-750B-4622-89C4-904057D3C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3912"/>
              <a:ext cx="7" cy="37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3" y="15"/>
                    <a:pt x="3" y="14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293">
              <a:extLst>
                <a:ext uri="{FF2B5EF4-FFF2-40B4-BE49-F238E27FC236}">
                  <a16:creationId xmlns:a16="http://schemas.microsoft.com/office/drawing/2014/main" id="{6CDC96D8-980A-4167-82BD-8B1BD693D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3888"/>
              <a:ext cx="7" cy="19"/>
            </a:xfrm>
            <a:custGeom>
              <a:avLst/>
              <a:gdLst>
                <a:gd name="T0" fmla="*/ 2 w 3"/>
                <a:gd name="T1" fmla="*/ 0 h 8"/>
                <a:gd name="T2" fmla="*/ 0 w 3"/>
                <a:gd name="T3" fmla="*/ 1 h 8"/>
                <a:gd name="T4" fmla="*/ 0 w 3"/>
                <a:gd name="T5" fmla="*/ 7 h 8"/>
                <a:gd name="T6" fmla="*/ 2 w 3"/>
                <a:gd name="T7" fmla="*/ 8 h 8"/>
                <a:gd name="T8" fmla="*/ 3 w 3"/>
                <a:gd name="T9" fmla="*/ 7 h 8"/>
                <a:gd name="T10" fmla="*/ 3 w 3"/>
                <a:gd name="T11" fmla="*/ 1 h 8"/>
                <a:gd name="T12" fmla="*/ 2 w 3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8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294">
              <a:extLst>
                <a:ext uri="{FF2B5EF4-FFF2-40B4-BE49-F238E27FC236}">
                  <a16:creationId xmlns:a16="http://schemas.microsoft.com/office/drawing/2014/main" id="{2FBA9980-C3DA-4615-8068-D5C8F3632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3952"/>
              <a:ext cx="7" cy="17"/>
            </a:xfrm>
            <a:custGeom>
              <a:avLst/>
              <a:gdLst>
                <a:gd name="T0" fmla="*/ 2 w 3"/>
                <a:gd name="T1" fmla="*/ 0 h 7"/>
                <a:gd name="T2" fmla="*/ 0 w 3"/>
                <a:gd name="T3" fmla="*/ 2 h 7"/>
                <a:gd name="T4" fmla="*/ 0 w 3"/>
                <a:gd name="T5" fmla="*/ 6 h 7"/>
                <a:gd name="T6" fmla="*/ 2 w 3"/>
                <a:gd name="T7" fmla="*/ 7 h 7"/>
                <a:gd name="T8" fmla="*/ 3 w 3"/>
                <a:gd name="T9" fmla="*/ 6 h 7"/>
                <a:gd name="T10" fmla="*/ 3 w 3"/>
                <a:gd name="T11" fmla="*/ 2 h 7"/>
                <a:gd name="T12" fmla="*/ 2 w 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7"/>
                    <a:pt x="2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295">
              <a:extLst>
                <a:ext uri="{FF2B5EF4-FFF2-40B4-BE49-F238E27FC236}">
                  <a16:creationId xmlns:a16="http://schemas.microsoft.com/office/drawing/2014/main" id="{9192112F-652F-4CE7-8F9F-6B9F58EBE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" y="3888"/>
              <a:ext cx="8" cy="39"/>
            </a:xfrm>
            <a:custGeom>
              <a:avLst/>
              <a:gdLst>
                <a:gd name="T0" fmla="*/ 1 w 3"/>
                <a:gd name="T1" fmla="*/ 0 h 16"/>
                <a:gd name="T2" fmla="*/ 0 w 3"/>
                <a:gd name="T3" fmla="*/ 1 h 16"/>
                <a:gd name="T4" fmla="*/ 0 w 3"/>
                <a:gd name="T5" fmla="*/ 14 h 16"/>
                <a:gd name="T6" fmla="*/ 1 w 3"/>
                <a:gd name="T7" fmla="*/ 16 h 16"/>
                <a:gd name="T8" fmla="*/ 3 w 3"/>
                <a:gd name="T9" fmla="*/ 14 h 16"/>
                <a:gd name="T10" fmla="*/ 3 w 3"/>
                <a:gd name="T11" fmla="*/ 1 h 16"/>
                <a:gd name="T12" fmla="*/ 1 w 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6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2" y="16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296">
              <a:extLst>
                <a:ext uri="{FF2B5EF4-FFF2-40B4-BE49-F238E27FC236}">
                  <a16:creationId xmlns:a16="http://schemas.microsoft.com/office/drawing/2014/main" id="{09392DD1-0509-49F2-9201-50423F5A5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" y="3939"/>
              <a:ext cx="8" cy="30"/>
            </a:xfrm>
            <a:custGeom>
              <a:avLst/>
              <a:gdLst>
                <a:gd name="T0" fmla="*/ 1 w 3"/>
                <a:gd name="T1" fmla="*/ 0 h 12"/>
                <a:gd name="T2" fmla="*/ 0 w 3"/>
                <a:gd name="T3" fmla="*/ 1 h 12"/>
                <a:gd name="T4" fmla="*/ 0 w 3"/>
                <a:gd name="T5" fmla="*/ 11 h 12"/>
                <a:gd name="T6" fmla="*/ 1 w 3"/>
                <a:gd name="T7" fmla="*/ 12 h 12"/>
                <a:gd name="T8" fmla="*/ 3 w 3"/>
                <a:gd name="T9" fmla="*/ 11 h 12"/>
                <a:gd name="T10" fmla="*/ 3 w 3"/>
                <a:gd name="T11" fmla="*/ 1 h 12"/>
                <a:gd name="T12" fmla="*/ 1 w 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2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297">
              <a:extLst>
                <a:ext uri="{FF2B5EF4-FFF2-40B4-BE49-F238E27FC236}">
                  <a16:creationId xmlns:a16="http://schemas.microsoft.com/office/drawing/2014/main" id="{CA69EE39-5290-4875-93D2-EB13E72C6F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" y="3699"/>
              <a:ext cx="132" cy="83"/>
            </a:xfrm>
            <a:custGeom>
              <a:avLst/>
              <a:gdLst>
                <a:gd name="T0" fmla="*/ 36 w 54"/>
                <a:gd name="T1" fmla="*/ 23 h 34"/>
                <a:gd name="T2" fmla="*/ 28 w 54"/>
                <a:gd name="T3" fmla="*/ 23 h 34"/>
                <a:gd name="T4" fmla="*/ 26 w 54"/>
                <a:gd name="T5" fmla="*/ 23 h 34"/>
                <a:gd name="T6" fmla="*/ 18 w 54"/>
                <a:gd name="T7" fmla="*/ 23 h 34"/>
                <a:gd name="T8" fmla="*/ 36 w 54"/>
                <a:gd name="T9" fmla="*/ 14 h 34"/>
                <a:gd name="T10" fmla="*/ 35 w 54"/>
                <a:gd name="T11" fmla="*/ 11 h 34"/>
                <a:gd name="T12" fmla="*/ 27 w 54"/>
                <a:gd name="T13" fmla="*/ 5 h 34"/>
                <a:gd name="T14" fmla="*/ 5 w 54"/>
                <a:gd name="T15" fmla="*/ 18 h 34"/>
                <a:gd name="T16" fmla="*/ 16 w 54"/>
                <a:gd name="T17" fmla="*/ 18 h 34"/>
                <a:gd name="T18" fmla="*/ 9 w 54"/>
                <a:gd name="T19" fmla="*/ 20 h 34"/>
                <a:gd name="T20" fmla="*/ 8 w 54"/>
                <a:gd name="T21" fmla="*/ 25 h 34"/>
                <a:gd name="T22" fmla="*/ 13 w 54"/>
                <a:gd name="T23" fmla="*/ 25 h 34"/>
                <a:gd name="T24" fmla="*/ 12 w 54"/>
                <a:gd name="T25" fmla="*/ 21 h 34"/>
                <a:gd name="T26" fmla="*/ 16 w 54"/>
                <a:gd name="T27" fmla="*/ 23 h 34"/>
                <a:gd name="T28" fmla="*/ 38 w 54"/>
                <a:gd name="T29" fmla="*/ 23 h 34"/>
                <a:gd name="T30" fmla="*/ 42 w 54"/>
                <a:gd name="T31" fmla="*/ 21 h 34"/>
                <a:gd name="T32" fmla="*/ 41 w 54"/>
                <a:gd name="T33" fmla="*/ 25 h 34"/>
                <a:gd name="T34" fmla="*/ 46 w 54"/>
                <a:gd name="T35" fmla="*/ 25 h 34"/>
                <a:gd name="T36" fmla="*/ 45 w 54"/>
                <a:gd name="T37" fmla="*/ 20 h 34"/>
                <a:gd name="T38" fmla="*/ 38 w 54"/>
                <a:gd name="T39" fmla="*/ 18 h 34"/>
                <a:gd name="T40" fmla="*/ 49 w 54"/>
                <a:gd name="T41" fmla="*/ 18 h 34"/>
                <a:gd name="T42" fmla="*/ 54 w 54"/>
                <a:gd name="T43" fmla="*/ 16 h 34"/>
                <a:gd name="T44" fmla="*/ 49 w 54"/>
                <a:gd name="T45" fmla="*/ 15 h 34"/>
                <a:gd name="T46" fmla="*/ 38 w 54"/>
                <a:gd name="T47" fmla="*/ 14 h 34"/>
                <a:gd name="T48" fmla="*/ 45 w 54"/>
                <a:gd name="T49" fmla="*/ 12 h 34"/>
                <a:gd name="T50" fmla="*/ 46 w 54"/>
                <a:gd name="T51" fmla="*/ 7 h 34"/>
                <a:gd name="T52" fmla="*/ 41 w 54"/>
                <a:gd name="T53" fmla="*/ 7 h 34"/>
                <a:gd name="T54" fmla="*/ 42 w 54"/>
                <a:gd name="T55" fmla="*/ 11 h 34"/>
                <a:gd name="T56" fmla="*/ 31 w 54"/>
                <a:gd name="T57" fmla="*/ 3 h 34"/>
                <a:gd name="T58" fmla="*/ 29 w 54"/>
                <a:gd name="T59" fmla="*/ 0 h 34"/>
                <a:gd name="T60" fmla="*/ 28 w 54"/>
                <a:gd name="T61" fmla="*/ 2 h 34"/>
                <a:gd name="T62" fmla="*/ 26 w 54"/>
                <a:gd name="T63" fmla="*/ 2 h 34"/>
                <a:gd name="T64" fmla="*/ 25 w 54"/>
                <a:gd name="T65" fmla="*/ 0 h 34"/>
                <a:gd name="T66" fmla="*/ 23 w 54"/>
                <a:gd name="T67" fmla="*/ 3 h 34"/>
                <a:gd name="T68" fmla="*/ 12 w 54"/>
                <a:gd name="T69" fmla="*/ 11 h 34"/>
                <a:gd name="T70" fmla="*/ 13 w 54"/>
                <a:gd name="T71" fmla="*/ 7 h 34"/>
                <a:gd name="T72" fmla="*/ 8 w 54"/>
                <a:gd name="T73" fmla="*/ 7 h 34"/>
                <a:gd name="T74" fmla="*/ 9 w 54"/>
                <a:gd name="T75" fmla="*/ 12 h 34"/>
                <a:gd name="T76" fmla="*/ 16 w 54"/>
                <a:gd name="T77" fmla="*/ 14 h 34"/>
                <a:gd name="T78" fmla="*/ 5 w 54"/>
                <a:gd name="T79" fmla="*/ 15 h 34"/>
                <a:gd name="T80" fmla="*/ 0 w 54"/>
                <a:gd name="T8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" h="34">
                  <a:moveTo>
                    <a:pt x="36" y="14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7"/>
                    <a:pt x="32" y="30"/>
                    <a:pt x="28" y="31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2"/>
                    <a:pt x="28" y="22"/>
                    <a:pt x="27" y="22"/>
                  </a:cubicBezTo>
                  <a:cubicBezTo>
                    <a:pt x="26" y="22"/>
                    <a:pt x="26" y="22"/>
                    <a:pt x="26" y="2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0"/>
                    <a:pt x="18" y="27"/>
                    <a:pt x="18" y="23"/>
                  </a:cubicBezTo>
                  <a:cubicBezTo>
                    <a:pt x="18" y="14"/>
                    <a:pt x="18" y="14"/>
                    <a:pt x="18" y="14"/>
                  </a:cubicBezTo>
                  <a:lnTo>
                    <a:pt x="36" y="14"/>
                  </a:lnTo>
                  <a:close/>
                  <a:moveTo>
                    <a:pt x="27" y="5"/>
                  </a:moveTo>
                  <a:cubicBezTo>
                    <a:pt x="31" y="5"/>
                    <a:pt x="34" y="8"/>
                    <a:pt x="35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8"/>
                    <a:pt x="23" y="5"/>
                    <a:pt x="27" y="5"/>
                  </a:cubicBezTo>
                  <a:moveTo>
                    <a:pt x="3" y="19"/>
                  </a:moveTo>
                  <a:cubicBezTo>
                    <a:pt x="4" y="19"/>
                    <a:pt x="5" y="18"/>
                    <a:pt x="5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9" y="19"/>
                    <a:pt x="9" y="2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4"/>
                    <a:pt x="8" y="25"/>
                  </a:cubicBezTo>
                  <a:cubicBezTo>
                    <a:pt x="8" y="27"/>
                    <a:pt x="9" y="28"/>
                    <a:pt x="10" y="28"/>
                  </a:cubicBezTo>
                  <a:cubicBezTo>
                    <a:pt x="12" y="28"/>
                    <a:pt x="13" y="27"/>
                    <a:pt x="13" y="25"/>
                  </a:cubicBezTo>
                  <a:cubicBezTo>
                    <a:pt x="13" y="24"/>
                    <a:pt x="13" y="23"/>
                    <a:pt x="12" y="23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9"/>
                    <a:pt x="21" y="34"/>
                    <a:pt x="27" y="34"/>
                  </a:cubicBezTo>
                  <a:cubicBezTo>
                    <a:pt x="33" y="34"/>
                    <a:pt x="38" y="29"/>
                    <a:pt x="38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1" y="27"/>
                    <a:pt x="42" y="28"/>
                    <a:pt x="44" y="28"/>
                  </a:cubicBezTo>
                  <a:cubicBezTo>
                    <a:pt x="45" y="28"/>
                    <a:pt x="46" y="27"/>
                    <a:pt x="46" y="25"/>
                  </a:cubicBezTo>
                  <a:cubicBezTo>
                    <a:pt x="46" y="24"/>
                    <a:pt x="46" y="23"/>
                    <a:pt x="45" y="23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4" y="18"/>
                    <a:pt x="44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50" y="19"/>
                    <a:pt x="51" y="19"/>
                  </a:cubicBezTo>
                  <a:cubicBezTo>
                    <a:pt x="53" y="19"/>
                    <a:pt x="54" y="18"/>
                    <a:pt x="54" y="16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50" y="13"/>
                    <a:pt x="49" y="14"/>
                    <a:pt x="4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5" y="13"/>
                    <a:pt x="45" y="12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6" y="9"/>
                    <a:pt x="46" y="8"/>
                    <a:pt x="46" y="7"/>
                  </a:cubicBezTo>
                  <a:cubicBezTo>
                    <a:pt x="46" y="6"/>
                    <a:pt x="45" y="4"/>
                    <a:pt x="44" y="4"/>
                  </a:cubicBezTo>
                  <a:cubicBezTo>
                    <a:pt x="42" y="4"/>
                    <a:pt x="41" y="6"/>
                    <a:pt x="41" y="7"/>
                  </a:cubicBezTo>
                  <a:cubicBezTo>
                    <a:pt x="41" y="8"/>
                    <a:pt x="41" y="9"/>
                    <a:pt x="42" y="10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7"/>
                    <a:pt x="34" y="4"/>
                    <a:pt x="31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0" y="0"/>
                    <a:pt x="29" y="0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7" y="2"/>
                    <a:pt x="27" y="2"/>
                  </a:cubicBezTo>
                  <a:cubicBezTo>
                    <a:pt x="27" y="2"/>
                    <a:pt x="26" y="2"/>
                    <a:pt x="26" y="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3" y="0"/>
                    <a:pt x="23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4"/>
                    <a:pt x="17" y="7"/>
                    <a:pt x="16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9"/>
                    <a:pt x="13" y="8"/>
                    <a:pt x="13" y="7"/>
                  </a:cubicBezTo>
                  <a:cubicBezTo>
                    <a:pt x="13" y="6"/>
                    <a:pt x="12" y="4"/>
                    <a:pt x="10" y="4"/>
                  </a:cubicBezTo>
                  <a:cubicBezTo>
                    <a:pt x="9" y="4"/>
                    <a:pt x="8" y="6"/>
                    <a:pt x="8" y="7"/>
                  </a:cubicBezTo>
                  <a:cubicBezTo>
                    <a:pt x="8" y="8"/>
                    <a:pt x="8" y="9"/>
                    <a:pt x="9" y="10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1" y="13"/>
                    <a:pt x="0" y="15"/>
                    <a:pt x="0" y="16"/>
                  </a:cubicBezTo>
                  <a:cubicBezTo>
                    <a:pt x="0" y="18"/>
                    <a:pt x="1" y="19"/>
                    <a:pt x="3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8" name="Group 300">
            <a:extLst>
              <a:ext uri="{FF2B5EF4-FFF2-40B4-BE49-F238E27FC236}">
                <a16:creationId xmlns:a16="http://schemas.microsoft.com/office/drawing/2014/main" id="{9F100187-8C25-4CBD-83B8-E6D688A840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88534" y="5452809"/>
            <a:ext cx="841375" cy="841375"/>
            <a:chOff x="3117" y="3527"/>
            <a:chExt cx="530" cy="530"/>
          </a:xfrm>
        </p:grpSpPr>
        <p:sp>
          <p:nvSpPr>
            <p:cNvPr id="339" name="AutoShape 299">
              <a:extLst>
                <a:ext uri="{FF2B5EF4-FFF2-40B4-BE49-F238E27FC236}">
                  <a16:creationId xmlns:a16="http://schemas.microsoft.com/office/drawing/2014/main" id="{31D26C18-E4E5-4022-90EA-2ED45981A7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17" y="352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Oval 301">
              <a:extLst>
                <a:ext uri="{FF2B5EF4-FFF2-40B4-BE49-F238E27FC236}">
                  <a16:creationId xmlns:a16="http://schemas.microsoft.com/office/drawing/2014/main" id="{A0CB5F17-769F-46A1-8C62-BE988E2FC2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7" y="352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302">
              <a:extLst>
                <a:ext uri="{FF2B5EF4-FFF2-40B4-BE49-F238E27FC236}">
                  <a16:creationId xmlns:a16="http://schemas.microsoft.com/office/drawing/2014/main" id="{0E9889AB-9FAA-4B6B-AED9-1BE5AD589A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" y="354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303">
              <a:extLst>
                <a:ext uri="{FF2B5EF4-FFF2-40B4-BE49-F238E27FC236}">
                  <a16:creationId xmlns:a16="http://schemas.microsoft.com/office/drawing/2014/main" id="{BBAC003B-8B9E-41D6-8BA0-E1D36775A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3" y="3637"/>
              <a:ext cx="220" cy="215"/>
            </a:xfrm>
            <a:custGeom>
              <a:avLst/>
              <a:gdLst>
                <a:gd name="T0" fmla="*/ 43 w 86"/>
                <a:gd name="T1" fmla="*/ 3 h 84"/>
                <a:gd name="T2" fmla="*/ 82 w 86"/>
                <a:gd name="T3" fmla="*/ 28 h 84"/>
                <a:gd name="T4" fmla="*/ 43 w 86"/>
                <a:gd name="T5" fmla="*/ 53 h 84"/>
                <a:gd name="T6" fmla="*/ 4 w 86"/>
                <a:gd name="T7" fmla="*/ 28 h 84"/>
                <a:gd name="T8" fmla="*/ 43 w 86"/>
                <a:gd name="T9" fmla="*/ 3 h 84"/>
                <a:gd name="T10" fmla="*/ 60 w 86"/>
                <a:gd name="T11" fmla="*/ 64 h 84"/>
                <a:gd name="T12" fmla="*/ 58 w 86"/>
                <a:gd name="T13" fmla="*/ 65 h 84"/>
                <a:gd name="T14" fmla="*/ 58 w 86"/>
                <a:gd name="T15" fmla="*/ 67 h 84"/>
                <a:gd name="T16" fmla="*/ 80 w 86"/>
                <a:gd name="T17" fmla="*/ 81 h 84"/>
                <a:gd name="T18" fmla="*/ 6 w 86"/>
                <a:gd name="T19" fmla="*/ 81 h 84"/>
                <a:gd name="T20" fmla="*/ 28 w 86"/>
                <a:gd name="T21" fmla="*/ 67 h 84"/>
                <a:gd name="T22" fmla="*/ 28 w 86"/>
                <a:gd name="T23" fmla="*/ 65 h 84"/>
                <a:gd name="T24" fmla="*/ 26 w 86"/>
                <a:gd name="T25" fmla="*/ 64 h 84"/>
                <a:gd name="T26" fmla="*/ 3 w 86"/>
                <a:gd name="T27" fmla="*/ 79 h 84"/>
                <a:gd name="T28" fmla="*/ 3 w 86"/>
                <a:gd name="T29" fmla="*/ 31 h 84"/>
                <a:gd name="T30" fmla="*/ 42 w 86"/>
                <a:gd name="T31" fmla="*/ 56 h 84"/>
                <a:gd name="T32" fmla="*/ 43 w 86"/>
                <a:gd name="T33" fmla="*/ 57 h 84"/>
                <a:gd name="T34" fmla="*/ 44 w 86"/>
                <a:gd name="T35" fmla="*/ 56 h 84"/>
                <a:gd name="T36" fmla="*/ 83 w 86"/>
                <a:gd name="T37" fmla="*/ 31 h 84"/>
                <a:gd name="T38" fmla="*/ 83 w 86"/>
                <a:gd name="T39" fmla="*/ 79 h 84"/>
                <a:gd name="T40" fmla="*/ 60 w 86"/>
                <a:gd name="T41" fmla="*/ 64 h 84"/>
                <a:gd name="T42" fmla="*/ 86 w 86"/>
                <a:gd name="T43" fmla="*/ 28 h 84"/>
                <a:gd name="T44" fmla="*/ 86 w 86"/>
                <a:gd name="T45" fmla="*/ 28 h 84"/>
                <a:gd name="T46" fmla="*/ 86 w 86"/>
                <a:gd name="T47" fmla="*/ 27 h 84"/>
                <a:gd name="T48" fmla="*/ 86 w 86"/>
                <a:gd name="T49" fmla="*/ 27 h 84"/>
                <a:gd name="T50" fmla="*/ 86 w 86"/>
                <a:gd name="T51" fmla="*/ 27 h 84"/>
                <a:gd name="T52" fmla="*/ 86 w 86"/>
                <a:gd name="T53" fmla="*/ 27 h 84"/>
                <a:gd name="T54" fmla="*/ 86 w 86"/>
                <a:gd name="T55" fmla="*/ 27 h 84"/>
                <a:gd name="T56" fmla="*/ 86 w 86"/>
                <a:gd name="T57" fmla="*/ 27 h 84"/>
                <a:gd name="T58" fmla="*/ 44 w 86"/>
                <a:gd name="T59" fmla="*/ 0 h 84"/>
                <a:gd name="T60" fmla="*/ 42 w 86"/>
                <a:gd name="T61" fmla="*/ 0 h 84"/>
                <a:gd name="T62" fmla="*/ 0 w 86"/>
                <a:gd name="T63" fmla="*/ 27 h 84"/>
                <a:gd name="T64" fmla="*/ 0 w 86"/>
                <a:gd name="T65" fmla="*/ 27 h 84"/>
                <a:gd name="T66" fmla="*/ 0 w 86"/>
                <a:gd name="T67" fmla="*/ 27 h 84"/>
                <a:gd name="T68" fmla="*/ 0 w 86"/>
                <a:gd name="T69" fmla="*/ 27 h 84"/>
                <a:gd name="T70" fmla="*/ 0 w 86"/>
                <a:gd name="T71" fmla="*/ 27 h 84"/>
                <a:gd name="T72" fmla="*/ 0 w 86"/>
                <a:gd name="T73" fmla="*/ 27 h 84"/>
                <a:gd name="T74" fmla="*/ 0 w 86"/>
                <a:gd name="T75" fmla="*/ 28 h 84"/>
                <a:gd name="T76" fmla="*/ 0 w 86"/>
                <a:gd name="T77" fmla="*/ 28 h 84"/>
                <a:gd name="T78" fmla="*/ 0 w 86"/>
                <a:gd name="T79" fmla="*/ 28 h 84"/>
                <a:gd name="T80" fmla="*/ 0 w 86"/>
                <a:gd name="T81" fmla="*/ 82 h 84"/>
                <a:gd name="T82" fmla="*/ 0 w 86"/>
                <a:gd name="T83" fmla="*/ 82 h 84"/>
                <a:gd name="T84" fmla="*/ 0 w 86"/>
                <a:gd name="T85" fmla="*/ 82 h 84"/>
                <a:gd name="T86" fmla="*/ 0 w 86"/>
                <a:gd name="T87" fmla="*/ 83 h 84"/>
                <a:gd name="T88" fmla="*/ 0 w 86"/>
                <a:gd name="T89" fmla="*/ 83 h 84"/>
                <a:gd name="T90" fmla="*/ 0 w 86"/>
                <a:gd name="T91" fmla="*/ 83 h 84"/>
                <a:gd name="T92" fmla="*/ 0 w 86"/>
                <a:gd name="T93" fmla="*/ 83 h 84"/>
                <a:gd name="T94" fmla="*/ 1 w 86"/>
                <a:gd name="T95" fmla="*/ 83 h 84"/>
                <a:gd name="T96" fmla="*/ 1 w 86"/>
                <a:gd name="T97" fmla="*/ 83 h 84"/>
                <a:gd name="T98" fmla="*/ 1 w 86"/>
                <a:gd name="T99" fmla="*/ 84 h 84"/>
                <a:gd name="T100" fmla="*/ 1 w 86"/>
                <a:gd name="T101" fmla="*/ 84 h 84"/>
                <a:gd name="T102" fmla="*/ 85 w 86"/>
                <a:gd name="T103" fmla="*/ 84 h 84"/>
                <a:gd name="T104" fmla="*/ 85 w 86"/>
                <a:gd name="T105" fmla="*/ 83 h 84"/>
                <a:gd name="T106" fmla="*/ 85 w 86"/>
                <a:gd name="T107" fmla="*/ 83 h 84"/>
                <a:gd name="T108" fmla="*/ 86 w 86"/>
                <a:gd name="T109" fmla="*/ 83 h 84"/>
                <a:gd name="T110" fmla="*/ 86 w 86"/>
                <a:gd name="T111" fmla="*/ 83 h 84"/>
                <a:gd name="T112" fmla="*/ 86 w 86"/>
                <a:gd name="T113" fmla="*/ 83 h 84"/>
                <a:gd name="T114" fmla="*/ 86 w 86"/>
                <a:gd name="T115" fmla="*/ 83 h 84"/>
                <a:gd name="T116" fmla="*/ 86 w 86"/>
                <a:gd name="T117" fmla="*/ 82 h 84"/>
                <a:gd name="T118" fmla="*/ 86 w 86"/>
                <a:gd name="T119" fmla="*/ 82 h 84"/>
                <a:gd name="T120" fmla="*/ 86 w 86"/>
                <a:gd name="T121" fmla="*/ 82 h 84"/>
                <a:gd name="T122" fmla="*/ 86 w 86"/>
                <a:gd name="T123" fmla="*/ 28 h 84"/>
                <a:gd name="T124" fmla="*/ 86 w 86"/>
                <a:gd name="T125" fmla="*/ 2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" h="84">
                  <a:moveTo>
                    <a:pt x="43" y="3"/>
                  </a:moveTo>
                  <a:cubicBezTo>
                    <a:pt x="82" y="28"/>
                    <a:pt x="82" y="28"/>
                    <a:pt x="82" y="28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" y="28"/>
                    <a:pt x="4" y="28"/>
                    <a:pt x="4" y="28"/>
                  </a:cubicBezTo>
                  <a:lnTo>
                    <a:pt x="43" y="3"/>
                  </a:lnTo>
                  <a:close/>
                  <a:moveTo>
                    <a:pt x="60" y="64"/>
                  </a:moveTo>
                  <a:cubicBezTo>
                    <a:pt x="59" y="64"/>
                    <a:pt x="58" y="64"/>
                    <a:pt x="58" y="65"/>
                  </a:cubicBezTo>
                  <a:cubicBezTo>
                    <a:pt x="57" y="65"/>
                    <a:pt x="57" y="66"/>
                    <a:pt x="58" y="67"/>
                  </a:cubicBezTo>
                  <a:cubicBezTo>
                    <a:pt x="80" y="81"/>
                    <a:pt x="80" y="81"/>
                    <a:pt x="80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6"/>
                    <a:pt x="29" y="65"/>
                    <a:pt x="28" y="65"/>
                  </a:cubicBezTo>
                  <a:cubicBezTo>
                    <a:pt x="28" y="64"/>
                    <a:pt x="27" y="64"/>
                    <a:pt x="26" y="6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3" y="57"/>
                    <a:pt x="43" y="57"/>
                  </a:cubicBezTo>
                  <a:cubicBezTo>
                    <a:pt x="43" y="57"/>
                    <a:pt x="44" y="56"/>
                    <a:pt x="44" y="56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79"/>
                    <a:pt x="83" y="79"/>
                    <a:pt x="83" y="79"/>
                  </a:cubicBezTo>
                  <a:lnTo>
                    <a:pt x="60" y="64"/>
                  </a:ln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3" y="0"/>
                    <a:pt x="43" y="0"/>
                    <a:pt x="42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1" y="83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85" y="84"/>
                    <a:pt x="85" y="84"/>
                    <a:pt x="85" y="84"/>
                  </a:cubicBezTo>
                  <a:cubicBezTo>
                    <a:pt x="85" y="84"/>
                    <a:pt x="85" y="83"/>
                    <a:pt x="85" y="83"/>
                  </a:cubicBezTo>
                  <a:cubicBezTo>
                    <a:pt x="85" y="83"/>
                    <a:pt x="85" y="83"/>
                    <a:pt x="85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6" y="83"/>
                    <a:pt x="86" y="83"/>
                    <a:pt x="86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304">
              <a:extLst>
                <a:ext uri="{FF2B5EF4-FFF2-40B4-BE49-F238E27FC236}">
                  <a16:creationId xmlns:a16="http://schemas.microsoft.com/office/drawing/2014/main" id="{3D056975-487F-44BD-A850-44C6AC437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" y="3865"/>
              <a:ext cx="8" cy="84"/>
            </a:xfrm>
            <a:custGeom>
              <a:avLst/>
              <a:gdLst>
                <a:gd name="T0" fmla="*/ 1 w 3"/>
                <a:gd name="T1" fmla="*/ 0 h 33"/>
                <a:gd name="T2" fmla="*/ 0 w 3"/>
                <a:gd name="T3" fmla="*/ 1 h 33"/>
                <a:gd name="T4" fmla="*/ 0 w 3"/>
                <a:gd name="T5" fmla="*/ 32 h 33"/>
                <a:gd name="T6" fmla="*/ 1 w 3"/>
                <a:gd name="T7" fmla="*/ 33 h 33"/>
                <a:gd name="T8" fmla="*/ 3 w 3"/>
                <a:gd name="T9" fmla="*/ 32 h 33"/>
                <a:gd name="T10" fmla="*/ 3 w 3"/>
                <a:gd name="T11" fmla="*/ 1 h 33"/>
                <a:gd name="T12" fmla="*/ 1 w 3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3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1" y="33"/>
                  </a:cubicBezTo>
                  <a:cubicBezTo>
                    <a:pt x="2" y="33"/>
                    <a:pt x="3" y="33"/>
                    <a:pt x="3" y="3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305">
              <a:extLst>
                <a:ext uri="{FF2B5EF4-FFF2-40B4-BE49-F238E27FC236}">
                  <a16:creationId xmlns:a16="http://schemas.microsoft.com/office/drawing/2014/main" id="{3C1EB339-7330-48C5-956F-29C8FCB58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" y="3911"/>
              <a:ext cx="7" cy="38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306">
              <a:extLst>
                <a:ext uri="{FF2B5EF4-FFF2-40B4-BE49-F238E27FC236}">
                  <a16:creationId xmlns:a16="http://schemas.microsoft.com/office/drawing/2014/main" id="{8B027DDE-DEC7-45AF-BFED-26AE23360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9" y="3865"/>
              <a:ext cx="7" cy="33"/>
            </a:xfrm>
            <a:custGeom>
              <a:avLst/>
              <a:gdLst>
                <a:gd name="T0" fmla="*/ 2 w 3"/>
                <a:gd name="T1" fmla="*/ 0 h 13"/>
                <a:gd name="T2" fmla="*/ 0 w 3"/>
                <a:gd name="T3" fmla="*/ 1 h 13"/>
                <a:gd name="T4" fmla="*/ 0 w 3"/>
                <a:gd name="T5" fmla="*/ 11 h 13"/>
                <a:gd name="T6" fmla="*/ 2 w 3"/>
                <a:gd name="T7" fmla="*/ 13 h 13"/>
                <a:gd name="T8" fmla="*/ 3 w 3"/>
                <a:gd name="T9" fmla="*/ 11 h 13"/>
                <a:gd name="T10" fmla="*/ 3 w 3"/>
                <a:gd name="T11" fmla="*/ 1 h 13"/>
                <a:gd name="T12" fmla="*/ 2 w 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307">
              <a:extLst>
                <a:ext uri="{FF2B5EF4-FFF2-40B4-BE49-F238E27FC236}">
                  <a16:creationId xmlns:a16="http://schemas.microsoft.com/office/drawing/2014/main" id="{8DD5EFC0-20A0-4936-9E15-1BA6704F4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" y="3885"/>
              <a:ext cx="8" cy="39"/>
            </a:xfrm>
            <a:custGeom>
              <a:avLst/>
              <a:gdLst>
                <a:gd name="T0" fmla="*/ 1 w 3"/>
                <a:gd name="T1" fmla="*/ 0 h 15"/>
                <a:gd name="T2" fmla="*/ 0 w 3"/>
                <a:gd name="T3" fmla="*/ 2 h 15"/>
                <a:gd name="T4" fmla="*/ 0 w 3"/>
                <a:gd name="T5" fmla="*/ 14 h 15"/>
                <a:gd name="T6" fmla="*/ 1 w 3"/>
                <a:gd name="T7" fmla="*/ 15 h 15"/>
                <a:gd name="T8" fmla="*/ 3 w 3"/>
                <a:gd name="T9" fmla="*/ 14 h 15"/>
                <a:gd name="T10" fmla="*/ 3 w 3"/>
                <a:gd name="T11" fmla="*/ 2 h 15"/>
                <a:gd name="T12" fmla="*/ 1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308">
              <a:extLst>
                <a:ext uri="{FF2B5EF4-FFF2-40B4-BE49-F238E27FC236}">
                  <a16:creationId xmlns:a16="http://schemas.microsoft.com/office/drawing/2014/main" id="{A8F13A34-E6F4-4CCD-99D5-C10686A49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" y="3865"/>
              <a:ext cx="8" cy="18"/>
            </a:xfrm>
            <a:custGeom>
              <a:avLst/>
              <a:gdLst>
                <a:gd name="T0" fmla="*/ 1 w 3"/>
                <a:gd name="T1" fmla="*/ 0 h 7"/>
                <a:gd name="T2" fmla="*/ 0 w 3"/>
                <a:gd name="T3" fmla="*/ 1 h 7"/>
                <a:gd name="T4" fmla="*/ 0 w 3"/>
                <a:gd name="T5" fmla="*/ 6 h 7"/>
                <a:gd name="T6" fmla="*/ 1 w 3"/>
                <a:gd name="T7" fmla="*/ 7 h 7"/>
                <a:gd name="T8" fmla="*/ 3 w 3"/>
                <a:gd name="T9" fmla="*/ 6 h 7"/>
                <a:gd name="T10" fmla="*/ 3 w 3"/>
                <a:gd name="T11" fmla="*/ 1 h 7"/>
                <a:gd name="T12" fmla="*/ 1 w 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2" y="7"/>
                    <a:pt x="3" y="6"/>
                    <a:pt x="3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309">
              <a:extLst>
                <a:ext uri="{FF2B5EF4-FFF2-40B4-BE49-F238E27FC236}">
                  <a16:creationId xmlns:a16="http://schemas.microsoft.com/office/drawing/2014/main" id="{CA41AA5B-2590-45CB-84E7-20DA13F34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" y="3911"/>
              <a:ext cx="8" cy="38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310">
              <a:extLst>
                <a:ext uri="{FF2B5EF4-FFF2-40B4-BE49-F238E27FC236}">
                  <a16:creationId xmlns:a16="http://schemas.microsoft.com/office/drawing/2014/main" id="{B4EDCBB3-B37E-4D37-85A8-842D7C3F0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" y="3865"/>
              <a:ext cx="8" cy="33"/>
            </a:xfrm>
            <a:custGeom>
              <a:avLst/>
              <a:gdLst>
                <a:gd name="T0" fmla="*/ 2 w 3"/>
                <a:gd name="T1" fmla="*/ 0 h 13"/>
                <a:gd name="T2" fmla="*/ 0 w 3"/>
                <a:gd name="T3" fmla="*/ 1 h 13"/>
                <a:gd name="T4" fmla="*/ 0 w 3"/>
                <a:gd name="T5" fmla="*/ 11 h 13"/>
                <a:gd name="T6" fmla="*/ 2 w 3"/>
                <a:gd name="T7" fmla="*/ 13 h 13"/>
                <a:gd name="T8" fmla="*/ 3 w 3"/>
                <a:gd name="T9" fmla="*/ 11 h 13"/>
                <a:gd name="T10" fmla="*/ 3 w 3"/>
                <a:gd name="T11" fmla="*/ 1 h 13"/>
                <a:gd name="T12" fmla="*/ 2 w 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3"/>
                    <a:pt x="2" y="13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311">
              <a:extLst>
                <a:ext uri="{FF2B5EF4-FFF2-40B4-BE49-F238E27FC236}">
                  <a16:creationId xmlns:a16="http://schemas.microsoft.com/office/drawing/2014/main" id="{9644A31B-259E-4B59-B137-DABA9AA3A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3929"/>
              <a:ext cx="5" cy="20"/>
            </a:xfrm>
            <a:custGeom>
              <a:avLst/>
              <a:gdLst>
                <a:gd name="T0" fmla="*/ 1 w 2"/>
                <a:gd name="T1" fmla="*/ 0 h 8"/>
                <a:gd name="T2" fmla="*/ 0 w 2"/>
                <a:gd name="T3" fmla="*/ 1 h 8"/>
                <a:gd name="T4" fmla="*/ 0 w 2"/>
                <a:gd name="T5" fmla="*/ 7 h 8"/>
                <a:gd name="T6" fmla="*/ 1 w 2"/>
                <a:gd name="T7" fmla="*/ 8 h 8"/>
                <a:gd name="T8" fmla="*/ 2 w 2"/>
                <a:gd name="T9" fmla="*/ 7 h 8"/>
                <a:gd name="T10" fmla="*/ 2 w 2"/>
                <a:gd name="T11" fmla="*/ 1 h 8"/>
                <a:gd name="T12" fmla="*/ 1 w 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312">
              <a:extLst>
                <a:ext uri="{FF2B5EF4-FFF2-40B4-BE49-F238E27FC236}">
                  <a16:creationId xmlns:a16="http://schemas.microsoft.com/office/drawing/2014/main" id="{C5C113FF-CF7A-4460-AA0E-2A0738EFF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3865"/>
              <a:ext cx="5" cy="18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1 h 7"/>
                <a:gd name="T4" fmla="*/ 0 w 2"/>
                <a:gd name="T5" fmla="*/ 6 h 7"/>
                <a:gd name="T6" fmla="*/ 1 w 2"/>
                <a:gd name="T7" fmla="*/ 7 h 7"/>
                <a:gd name="T8" fmla="*/ 2 w 2"/>
                <a:gd name="T9" fmla="*/ 6 h 7"/>
                <a:gd name="T10" fmla="*/ 2 w 2"/>
                <a:gd name="T11" fmla="*/ 1 h 7"/>
                <a:gd name="T12" fmla="*/ 1 w 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313">
              <a:extLst>
                <a:ext uri="{FF2B5EF4-FFF2-40B4-BE49-F238E27FC236}">
                  <a16:creationId xmlns:a16="http://schemas.microsoft.com/office/drawing/2014/main" id="{035887EB-FA11-4FBB-864E-DDB4032E0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6" y="3865"/>
              <a:ext cx="7" cy="84"/>
            </a:xfrm>
            <a:custGeom>
              <a:avLst/>
              <a:gdLst>
                <a:gd name="T0" fmla="*/ 2 w 3"/>
                <a:gd name="T1" fmla="*/ 0 h 33"/>
                <a:gd name="T2" fmla="*/ 0 w 3"/>
                <a:gd name="T3" fmla="*/ 1 h 33"/>
                <a:gd name="T4" fmla="*/ 0 w 3"/>
                <a:gd name="T5" fmla="*/ 32 h 33"/>
                <a:gd name="T6" fmla="*/ 2 w 3"/>
                <a:gd name="T7" fmla="*/ 33 h 33"/>
                <a:gd name="T8" fmla="*/ 3 w 3"/>
                <a:gd name="T9" fmla="*/ 32 h 33"/>
                <a:gd name="T10" fmla="*/ 3 w 3"/>
                <a:gd name="T11" fmla="*/ 1 h 33"/>
                <a:gd name="T12" fmla="*/ 2 w 3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3"/>
                    <a:pt x="2" y="33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314">
              <a:extLst>
                <a:ext uri="{FF2B5EF4-FFF2-40B4-BE49-F238E27FC236}">
                  <a16:creationId xmlns:a16="http://schemas.microsoft.com/office/drawing/2014/main" id="{C19580A3-253B-490E-9C7B-84FB809F5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" y="3919"/>
              <a:ext cx="8" cy="30"/>
            </a:xfrm>
            <a:custGeom>
              <a:avLst/>
              <a:gdLst>
                <a:gd name="T0" fmla="*/ 1 w 3"/>
                <a:gd name="T1" fmla="*/ 0 h 12"/>
                <a:gd name="T2" fmla="*/ 0 w 3"/>
                <a:gd name="T3" fmla="*/ 1 h 12"/>
                <a:gd name="T4" fmla="*/ 0 w 3"/>
                <a:gd name="T5" fmla="*/ 11 h 12"/>
                <a:gd name="T6" fmla="*/ 1 w 3"/>
                <a:gd name="T7" fmla="*/ 12 h 12"/>
                <a:gd name="T8" fmla="*/ 3 w 3"/>
                <a:gd name="T9" fmla="*/ 11 h 12"/>
                <a:gd name="T10" fmla="*/ 3 w 3"/>
                <a:gd name="T11" fmla="*/ 1 h 12"/>
                <a:gd name="T12" fmla="*/ 1 w 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2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315">
              <a:extLst>
                <a:ext uri="{FF2B5EF4-FFF2-40B4-BE49-F238E27FC236}">
                  <a16:creationId xmlns:a16="http://schemas.microsoft.com/office/drawing/2014/main" id="{D6335F2C-E269-4544-93A2-5B9758D1D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3890"/>
              <a:ext cx="8" cy="39"/>
            </a:xfrm>
            <a:custGeom>
              <a:avLst/>
              <a:gdLst>
                <a:gd name="T0" fmla="*/ 2 w 3"/>
                <a:gd name="T1" fmla="*/ 0 h 15"/>
                <a:gd name="T2" fmla="*/ 0 w 3"/>
                <a:gd name="T3" fmla="*/ 1 h 15"/>
                <a:gd name="T4" fmla="*/ 0 w 3"/>
                <a:gd name="T5" fmla="*/ 14 h 15"/>
                <a:gd name="T6" fmla="*/ 2 w 3"/>
                <a:gd name="T7" fmla="*/ 15 h 15"/>
                <a:gd name="T8" fmla="*/ 3 w 3"/>
                <a:gd name="T9" fmla="*/ 14 h 15"/>
                <a:gd name="T10" fmla="*/ 3 w 3"/>
                <a:gd name="T11" fmla="*/ 1 h 15"/>
                <a:gd name="T12" fmla="*/ 2 w 3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5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15"/>
                    <a:pt x="2" y="15"/>
                  </a:cubicBezTo>
                  <a:cubicBezTo>
                    <a:pt x="3" y="15"/>
                    <a:pt x="3" y="14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16">
              <a:extLst>
                <a:ext uri="{FF2B5EF4-FFF2-40B4-BE49-F238E27FC236}">
                  <a16:creationId xmlns:a16="http://schemas.microsoft.com/office/drawing/2014/main" id="{2FB65651-2EB7-4793-B4D9-092D79C03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3865"/>
              <a:ext cx="8" cy="20"/>
            </a:xfrm>
            <a:custGeom>
              <a:avLst/>
              <a:gdLst>
                <a:gd name="T0" fmla="*/ 2 w 3"/>
                <a:gd name="T1" fmla="*/ 0 h 8"/>
                <a:gd name="T2" fmla="*/ 0 w 3"/>
                <a:gd name="T3" fmla="*/ 1 h 8"/>
                <a:gd name="T4" fmla="*/ 0 w 3"/>
                <a:gd name="T5" fmla="*/ 7 h 8"/>
                <a:gd name="T6" fmla="*/ 2 w 3"/>
                <a:gd name="T7" fmla="*/ 8 h 8"/>
                <a:gd name="T8" fmla="*/ 3 w 3"/>
                <a:gd name="T9" fmla="*/ 7 h 8"/>
                <a:gd name="T10" fmla="*/ 3 w 3"/>
                <a:gd name="T11" fmla="*/ 1 h 8"/>
                <a:gd name="T12" fmla="*/ 2 w 3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8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317">
              <a:extLst>
                <a:ext uri="{FF2B5EF4-FFF2-40B4-BE49-F238E27FC236}">
                  <a16:creationId xmlns:a16="http://schemas.microsoft.com/office/drawing/2014/main" id="{668D6F89-42F7-4C54-82A3-3E2589B64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3931"/>
              <a:ext cx="8" cy="18"/>
            </a:xfrm>
            <a:custGeom>
              <a:avLst/>
              <a:gdLst>
                <a:gd name="T0" fmla="*/ 2 w 3"/>
                <a:gd name="T1" fmla="*/ 0 h 7"/>
                <a:gd name="T2" fmla="*/ 0 w 3"/>
                <a:gd name="T3" fmla="*/ 2 h 7"/>
                <a:gd name="T4" fmla="*/ 0 w 3"/>
                <a:gd name="T5" fmla="*/ 6 h 7"/>
                <a:gd name="T6" fmla="*/ 2 w 3"/>
                <a:gd name="T7" fmla="*/ 7 h 7"/>
                <a:gd name="T8" fmla="*/ 3 w 3"/>
                <a:gd name="T9" fmla="*/ 6 h 7"/>
                <a:gd name="T10" fmla="*/ 3 w 3"/>
                <a:gd name="T11" fmla="*/ 2 h 7"/>
                <a:gd name="T12" fmla="*/ 2 w 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7"/>
                    <a:pt x="2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318">
              <a:extLst>
                <a:ext uri="{FF2B5EF4-FFF2-40B4-BE49-F238E27FC236}">
                  <a16:creationId xmlns:a16="http://schemas.microsoft.com/office/drawing/2014/main" id="{D7784C92-5B81-481E-B44D-A22D81494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" y="3865"/>
              <a:ext cx="8" cy="41"/>
            </a:xfrm>
            <a:custGeom>
              <a:avLst/>
              <a:gdLst>
                <a:gd name="T0" fmla="*/ 1 w 3"/>
                <a:gd name="T1" fmla="*/ 0 h 16"/>
                <a:gd name="T2" fmla="*/ 0 w 3"/>
                <a:gd name="T3" fmla="*/ 1 h 16"/>
                <a:gd name="T4" fmla="*/ 0 w 3"/>
                <a:gd name="T5" fmla="*/ 14 h 16"/>
                <a:gd name="T6" fmla="*/ 1 w 3"/>
                <a:gd name="T7" fmla="*/ 16 h 16"/>
                <a:gd name="T8" fmla="*/ 3 w 3"/>
                <a:gd name="T9" fmla="*/ 14 h 16"/>
                <a:gd name="T10" fmla="*/ 3 w 3"/>
                <a:gd name="T11" fmla="*/ 1 h 16"/>
                <a:gd name="T12" fmla="*/ 1 w 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6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1" y="16"/>
                  </a:cubicBezTo>
                  <a:cubicBezTo>
                    <a:pt x="2" y="16"/>
                    <a:pt x="3" y="15"/>
                    <a:pt x="3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319">
              <a:extLst>
                <a:ext uri="{FF2B5EF4-FFF2-40B4-BE49-F238E27FC236}">
                  <a16:creationId xmlns:a16="http://schemas.microsoft.com/office/drawing/2014/main" id="{2370A888-FABF-4B1A-AE1F-66EDE39A2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" y="3919"/>
              <a:ext cx="8" cy="30"/>
            </a:xfrm>
            <a:custGeom>
              <a:avLst/>
              <a:gdLst>
                <a:gd name="T0" fmla="*/ 1 w 3"/>
                <a:gd name="T1" fmla="*/ 0 h 12"/>
                <a:gd name="T2" fmla="*/ 0 w 3"/>
                <a:gd name="T3" fmla="*/ 1 h 12"/>
                <a:gd name="T4" fmla="*/ 0 w 3"/>
                <a:gd name="T5" fmla="*/ 11 h 12"/>
                <a:gd name="T6" fmla="*/ 1 w 3"/>
                <a:gd name="T7" fmla="*/ 12 h 12"/>
                <a:gd name="T8" fmla="*/ 3 w 3"/>
                <a:gd name="T9" fmla="*/ 11 h 12"/>
                <a:gd name="T10" fmla="*/ 3 w 3"/>
                <a:gd name="T11" fmla="*/ 1 h 12"/>
                <a:gd name="T12" fmla="*/ 1 w 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2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320">
              <a:extLst>
                <a:ext uri="{FF2B5EF4-FFF2-40B4-BE49-F238E27FC236}">
                  <a16:creationId xmlns:a16="http://schemas.microsoft.com/office/drawing/2014/main" id="{DDF0F588-DDA3-4FAD-A1F4-66D894823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4" y="3668"/>
              <a:ext cx="138" cy="87"/>
            </a:xfrm>
            <a:custGeom>
              <a:avLst/>
              <a:gdLst>
                <a:gd name="T0" fmla="*/ 36 w 54"/>
                <a:gd name="T1" fmla="*/ 23 h 34"/>
                <a:gd name="T2" fmla="*/ 28 w 54"/>
                <a:gd name="T3" fmla="*/ 23 h 34"/>
                <a:gd name="T4" fmla="*/ 26 w 54"/>
                <a:gd name="T5" fmla="*/ 23 h 34"/>
                <a:gd name="T6" fmla="*/ 18 w 54"/>
                <a:gd name="T7" fmla="*/ 23 h 34"/>
                <a:gd name="T8" fmla="*/ 36 w 54"/>
                <a:gd name="T9" fmla="*/ 14 h 34"/>
                <a:gd name="T10" fmla="*/ 35 w 54"/>
                <a:gd name="T11" fmla="*/ 11 h 34"/>
                <a:gd name="T12" fmla="*/ 27 w 54"/>
                <a:gd name="T13" fmla="*/ 5 h 34"/>
                <a:gd name="T14" fmla="*/ 5 w 54"/>
                <a:gd name="T15" fmla="*/ 18 h 34"/>
                <a:gd name="T16" fmla="*/ 16 w 54"/>
                <a:gd name="T17" fmla="*/ 18 h 34"/>
                <a:gd name="T18" fmla="*/ 9 w 54"/>
                <a:gd name="T19" fmla="*/ 20 h 34"/>
                <a:gd name="T20" fmla="*/ 8 w 54"/>
                <a:gd name="T21" fmla="*/ 25 h 34"/>
                <a:gd name="T22" fmla="*/ 13 w 54"/>
                <a:gd name="T23" fmla="*/ 25 h 34"/>
                <a:gd name="T24" fmla="*/ 12 w 54"/>
                <a:gd name="T25" fmla="*/ 21 h 34"/>
                <a:gd name="T26" fmla="*/ 16 w 54"/>
                <a:gd name="T27" fmla="*/ 23 h 34"/>
                <a:gd name="T28" fmla="*/ 38 w 54"/>
                <a:gd name="T29" fmla="*/ 23 h 34"/>
                <a:gd name="T30" fmla="*/ 42 w 54"/>
                <a:gd name="T31" fmla="*/ 21 h 34"/>
                <a:gd name="T32" fmla="*/ 41 w 54"/>
                <a:gd name="T33" fmla="*/ 25 h 34"/>
                <a:gd name="T34" fmla="*/ 46 w 54"/>
                <a:gd name="T35" fmla="*/ 25 h 34"/>
                <a:gd name="T36" fmla="*/ 45 w 54"/>
                <a:gd name="T37" fmla="*/ 20 h 34"/>
                <a:gd name="T38" fmla="*/ 38 w 54"/>
                <a:gd name="T39" fmla="*/ 18 h 34"/>
                <a:gd name="T40" fmla="*/ 49 w 54"/>
                <a:gd name="T41" fmla="*/ 18 h 34"/>
                <a:gd name="T42" fmla="*/ 54 w 54"/>
                <a:gd name="T43" fmla="*/ 16 h 34"/>
                <a:gd name="T44" fmla="*/ 49 w 54"/>
                <a:gd name="T45" fmla="*/ 15 h 34"/>
                <a:gd name="T46" fmla="*/ 38 w 54"/>
                <a:gd name="T47" fmla="*/ 14 h 34"/>
                <a:gd name="T48" fmla="*/ 45 w 54"/>
                <a:gd name="T49" fmla="*/ 12 h 34"/>
                <a:gd name="T50" fmla="*/ 46 w 54"/>
                <a:gd name="T51" fmla="*/ 7 h 34"/>
                <a:gd name="T52" fmla="*/ 41 w 54"/>
                <a:gd name="T53" fmla="*/ 7 h 34"/>
                <a:gd name="T54" fmla="*/ 42 w 54"/>
                <a:gd name="T55" fmla="*/ 11 h 34"/>
                <a:gd name="T56" fmla="*/ 31 w 54"/>
                <a:gd name="T57" fmla="*/ 3 h 34"/>
                <a:gd name="T58" fmla="*/ 29 w 54"/>
                <a:gd name="T59" fmla="*/ 0 h 34"/>
                <a:gd name="T60" fmla="*/ 28 w 54"/>
                <a:gd name="T61" fmla="*/ 2 h 34"/>
                <a:gd name="T62" fmla="*/ 26 w 54"/>
                <a:gd name="T63" fmla="*/ 2 h 34"/>
                <a:gd name="T64" fmla="*/ 25 w 54"/>
                <a:gd name="T65" fmla="*/ 0 h 34"/>
                <a:gd name="T66" fmla="*/ 23 w 54"/>
                <a:gd name="T67" fmla="*/ 3 h 34"/>
                <a:gd name="T68" fmla="*/ 12 w 54"/>
                <a:gd name="T69" fmla="*/ 11 h 34"/>
                <a:gd name="T70" fmla="*/ 13 w 54"/>
                <a:gd name="T71" fmla="*/ 7 h 34"/>
                <a:gd name="T72" fmla="*/ 8 w 54"/>
                <a:gd name="T73" fmla="*/ 7 h 34"/>
                <a:gd name="T74" fmla="*/ 9 w 54"/>
                <a:gd name="T75" fmla="*/ 12 h 34"/>
                <a:gd name="T76" fmla="*/ 16 w 54"/>
                <a:gd name="T77" fmla="*/ 14 h 34"/>
                <a:gd name="T78" fmla="*/ 5 w 54"/>
                <a:gd name="T79" fmla="*/ 15 h 34"/>
                <a:gd name="T80" fmla="*/ 0 w 54"/>
                <a:gd name="T8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" h="34">
                  <a:moveTo>
                    <a:pt x="36" y="14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7"/>
                    <a:pt x="32" y="30"/>
                    <a:pt x="28" y="31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2"/>
                    <a:pt x="28" y="22"/>
                    <a:pt x="27" y="22"/>
                  </a:cubicBezTo>
                  <a:cubicBezTo>
                    <a:pt x="26" y="22"/>
                    <a:pt x="26" y="22"/>
                    <a:pt x="26" y="2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0"/>
                    <a:pt x="18" y="27"/>
                    <a:pt x="18" y="23"/>
                  </a:cubicBezTo>
                  <a:cubicBezTo>
                    <a:pt x="18" y="14"/>
                    <a:pt x="18" y="14"/>
                    <a:pt x="18" y="14"/>
                  </a:cubicBezTo>
                  <a:lnTo>
                    <a:pt x="36" y="14"/>
                  </a:lnTo>
                  <a:close/>
                  <a:moveTo>
                    <a:pt x="27" y="5"/>
                  </a:moveTo>
                  <a:cubicBezTo>
                    <a:pt x="31" y="5"/>
                    <a:pt x="34" y="8"/>
                    <a:pt x="35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8"/>
                    <a:pt x="23" y="5"/>
                    <a:pt x="27" y="5"/>
                  </a:cubicBezTo>
                  <a:moveTo>
                    <a:pt x="3" y="19"/>
                  </a:moveTo>
                  <a:cubicBezTo>
                    <a:pt x="4" y="19"/>
                    <a:pt x="5" y="18"/>
                    <a:pt x="5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9" y="19"/>
                    <a:pt x="9" y="2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4"/>
                    <a:pt x="8" y="25"/>
                  </a:cubicBezTo>
                  <a:cubicBezTo>
                    <a:pt x="8" y="27"/>
                    <a:pt x="9" y="28"/>
                    <a:pt x="10" y="28"/>
                  </a:cubicBezTo>
                  <a:cubicBezTo>
                    <a:pt x="12" y="28"/>
                    <a:pt x="13" y="27"/>
                    <a:pt x="13" y="25"/>
                  </a:cubicBezTo>
                  <a:cubicBezTo>
                    <a:pt x="13" y="24"/>
                    <a:pt x="13" y="23"/>
                    <a:pt x="12" y="23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9"/>
                    <a:pt x="21" y="34"/>
                    <a:pt x="27" y="34"/>
                  </a:cubicBezTo>
                  <a:cubicBezTo>
                    <a:pt x="33" y="34"/>
                    <a:pt x="38" y="29"/>
                    <a:pt x="38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1" y="27"/>
                    <a:pt x="42" y="28"/>
                    <a:pt x="44" y="28"/>
                  </a:cubicBezTo>
                  <a:cubicBezTo>
                    <a:pt x="45" y="28"/>
                    <a:pt x="46" y="27"/>
                    <a:pt x="46" y="25"/>
                  </a:cubicBezTo>
                  <a:cubicBezTo>
                    <a:pt x="46" y="24"/>
                    <a:pt x="46" y="23"/>
                    <a:pt x="45" y="23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4" y="18"/>
                    <a:pt x="44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50" y="19"/>
                    <a:pt x="51" y="19"/>
                  </a:cubicBezTo>
                  <a:cubicBezTo>
                    <a:pt x="53" y="19"/>
                    <a:pt x="54" y="18"/>
                    <a:pt x="54" y="16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50" y="13"/>
                    <a:pt x="49" y="14"/>
                    <a:pt x="4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5" y="13"/>
                    <a:pt x="45" y="12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6" y="9"/>
                    <a:pt x="46" y="8"/>
                    <a:pt x="46" y="7"/>
                  </a:cubicBezTo>
                  <a:cubicBezTo>
                    <a:pt x="46" y="6"/>
                    <a:pt x="45" y="4"/>
                    <a:pt x="44" y="4"/>
                  </a:cubicBezTo>
                  <a:cubicBezTo>
                    <a:pt x="42" y="4"/>
                    <a:pt x="41" y="6"/>
                    <a:pt x="41" y="7"/>
                  </a:cubicBezTo>
                  <a:cubicBezTo>
                    <a:pt x="41" y="8"/>
                    <a:pt x="41" y="9"/>
                    <a:pt x="42" y="10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7"/>
                    <a:pt x="34" y="4"/>
                    <a:pt x="31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0" y="0"/>
                    <a:pt x="29" y="0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7" y="2"/>
                    <a:pt x="27" y="2"/>
                  </a:cubicBezTo>
                  <a:cubicBezTo>
                    <a:pt x="27" y="2"/>
                    <a:pt x="26" y="2"/>
                    <a:pt x="26" y="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3" y="0"/>
                    <a:pt x="23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4"/>
                    <a:pt x="17" y="7"/>
                    <a:pt x="16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9"/>
                    <a:pt x="13" y="8"/>
                    <a:pt x="13" y="7"/>
                  </a:cubicBezTo>
                  <a:cubicBezTo>
                    <a:pt x="13" y="6"/>
                    <a:pt x="12" y="4"/>
                    <a:pt x="10" y="4"/>
                  </a:cubicBezTo>
                  <a:cubicBezTo>
                    <a:pt x="9" y="4"/>
                    <a:pt x="8" y="6"/>
                    <a:pt x="8" y="7"/>
                  </a:cubicBezTo>
                  <a:cubicBezTo>
                    <a:pt x="8" y="8"/>
                    <a:pt x="8" y="9"/>
                    <a:pt x="9" y="10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1" y="13"/>
                    <a:pt x="0" y="15"/>
                    <a:pt x="0" y="16"/>
                  </a:cubicBezTo>
                  <a:cubicBezTo>
                    <a:pt x="0" y="18"/>
                    <a:pt x="1" y="19"/>
                    <a:pt x="3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4" name="Group 323">
            <a:extLst>
              <a:ext uri="{FF2B5EF4-FFF2-40B4-BE49-F238E27FC236}">
                <a16:creationId xmlns:a16="http://schemas.microsoft.com/office/drawing/2014/main" id="{52442CD0-D325-4919-BECD-89BBD94A86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3972" y="5494084"/>
            <a:ext cx="760412" cy="758825"/>
            <a:chOff x="5029" y="3613"/>
            <a:chExt cx="479" cy="478"/>
          </a:xfrm>
        </p:grpSpPr>
        <p:sp>
          <p:nvSpPr>
            <p:cNvPr id="365" name="AutoShape 322">
              <a:extLst>
                <a:ext uri="{FF2B5EF4-FFF2-40B4-BE49-F238E27FC236}">
                  <a16:creationId xmlns:a16="http://schemas.microsoft.com/office/drawing/2014/main" id="{720F29C9-874C-4F30-A402-F434F26DD0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29" y="361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324">
              <a:extLst>
                <a:ext uri="{FF2B5EF4-FFF2-40B4-BE49-F238E27FC236}">
                  <a16:creationId xmlns:a16="http://schemas.microsoft.com/office/drawing/2014/main" id="{5D54C513-0D08-4641-A271-439C02F5E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1" y="361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25">
              <a:extLst>
                <a:ext uri="{FF2B5EF4-FFF2-40B4-BE49-F238E27FC236}">
                  <a16:creationId xmlns:a16="http://schemas.microsoft.com/office/drawing/2014/main" id="{FDA31504-428A-4A20-BBB5-FB5FB3DBC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7" y="3713"/>
              <a:ext cx="206" cy="280"/>
            </a:xfrm>
            <a:custGeom>
              <a:avLst/>
              <a:gdLst>
                <a:gd name="T0" fmla="*/ 42 w 84"/>
                <a:gd name="T1" fmla="*/ 114 h 114"/>
                <a:gd name="T2" fmla="*/ 0 w 84"/>
                <a:gd name="T3" fmla="*/ 72 h 114"/>
                <a:gd name="T4" fmla="*/ 0 w 84"/>
                <a:gd name="T5" fmla="*/ 42 h 114"/>
                <a:gd name="T6" fmla="*/ 42 w 84"/>
                <a:gd name="T7" fmla="*/ 0 h 114"/>
                <a:gd name="T8" fmla="*/ 84 w 84"/>
                <a:gd name="T9" fmla="*/ 42 h 114"/>
                <a:gd name="T10" fmla="*/ 84 w 84"/>
                <a:gd name="T11" fmla="*/ 72 h 114"/>
                <a:gd name="T12" fmla="*/ 82 w 84"/>
                <a:gd name="T13" fmla="*/ 73 h 114"/>
                <a:gd name="T14" fmla="*/ 81 w 84"/>
                <a:gd name="T15" fmla="*/ 72 h 114"/>
                <a:gd name="T16" fmla="*/ 81 w 84"/>
                <a:gd name="T17" fmla="*/ 42 h 114"/>
                <a:gd name="T18" fmla="*/ 42 w 84"/>
                <a:gd name="T19" fmla="*/ 3 h 114"/>
                <a:gd name="T20" fmla="*/ 3 w 84"/>
                <a:gd name="T21" fmla="*/ 42 h 114"/>
                <a:gd name="T22" fmla="*/ 3 w 84"/>
                <a:gd name="T23" fmla="*/ 72 h 114"/>
                <a:gd name="T24" fmla="*/ 42 w 84"/>
                <a:gd name="T25" fmla="*/ 111 h 114"/>
                <a:gd name="T26" fmla="*/ 43 w 84"/>
                <a:gd name="T27" fmla="*/ 112 h 114"/>
                <a:gd name="T28" fmla="*/ 42 w 84"/>
                <a:gd name="T2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14">
                  <a:moveTo>
                    <a:pt x="42" y="114"/>
                  </a:moveTo>
                  <a:cubicBezTo>
                    <a:pt x="19" y="114"/>
                    <a:pt x="0" y="95"/>
                    <a:pt x="0" y="7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3"/>
                    <a:pt x="83" y="73"/>
                    <a:pt x="82" y="73"/>
                  </a:cubicBezTo>
                  <a:cubicBezTo>
                    <a:pt x="81" y="73"/>
                    <a:pt x="81" y="73"/>
                    <a:pt x="81" y="7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21"/>
                    <a:pt x="63" y="3"/>
                    <a:pt x="42" y="3"/>
                  </a:cubicBezTo>
                  <a:cubicBezTo>
                    <a:pt x="21" y="3"/>
                    <a:pt x="3" y="21"/>
                    <a:pt x="3" y="4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3" y="93"/>
                    <a:pt x="21" y="111"/>
                    <a:pt x="42" y="111"/>
                  </a:cubicBezTo>
                  <a:cubicBezTo>
                    <a:pt x="43" y="111"/>
                    <a:pt x="43" y="111"/>
                    <a:pt x="43" y="112"/>
                  </a:cubicBezTo>
                  <a:cubicBezTo>
                    <a:pt x="43" y="113"/>
                    <a:pt x="43" y="114"/>
                    <a:pt x="42" y="1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26">
              <a:extLst>
                <a:ext uri="{FF2B5EF4-FFF2-40B4-BE49-F238E27FC236}">
                  <a16:creationId xmlns:a16="http://schemas.microsoft.com/office/drawing/2014/main" id="{3DF9FB16-1C7E-4AEA-ACEB-2919C12A4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3922"/>
              <a:ext cx="17" cy="24"/>
            </a:xfrm>
            <a:custGeom>
              <a:avLst/>
              <a:gdLst>
                <a:gd name="T0" fmla="*/ 6 w 7"/>
                <a:gd name="T1" fmla="*/ 10 h 10"/>
                <a:gd name="T2" fmla="*/ 5 w 7"/>
                <a:gd name="T3" fmla="*/ 9 h 10"/>
                <a:gd name="T4" fmla="*/ 0 w 7"/>
                <a:gd name="T5" fmla="*/ 2 h 10"/>
                <a:gd name="T6" fmla="*/ 1 w 7"/>
                <a:gd name="T7" fmla="*/ 1 h 10"/>
                <a:gd name="T8" fmla="*/ 3 w 7"/>
                <a:gd name="T9" fmla="*/ 1 h 10"/>
                <a:gd name="T10" fmla="*/ 7 w 7"/>
                <a:gd name="T11" fmla="*/ 7 h 10"/>
                <a:gd name="T12" fmla="*/ 7 w 7"/>
                <a:gd name="T13" fmla="*/ 9 h 10"/>
                <a:gd name="T14" fmla="*/ 6 w 7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0">
                  <a:moveTo>
                    <a:pt x="6" y="10"/>
                  </a:moveTo>
                  <a:cubicBezTo>
                    <a:pt x="5" y="10"/>
                    <a:pt x="5" y="10"/>
                    <a:pt x="5" y="9"/>
                  </a:cubicBezTo>
                  <a:cubicBezTo>
                    <a:pt x="3" y="7"/>
                    <a:pt x="1" y="5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4" y="3"/>
                    <a:pt x="5" y="5"/>
                    <a:pt x="7" y="7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10"/>
                    <a:pt x="6" y="10"/>
                    <a:pt x="6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27">
              <a:extLst>
                <a:ext uri="{FF2B5EF4-FFF2-40B4-BE49-F238E27FC236}">
                  <a16:creationId xmlns:a16="http://schemas.microsoft.com/office/drawing/2014/main" id="{AC3E836E-5657-4BAC-9A76-9E7CBFC75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" y="3814"/>
              <a:ext cx="115" cy="159"/>
            </a:xfrm>
            <a:custGeom>
              <a:avLst/>
              <a:gdLst>
                <a:gd name="T0" fmla="*/ 13 w 47"/>
                <a:gd name="T1" fmla="*/ 65 h 65"/>
                <a:gd name="T2" fmla="*/ 1 w 47"/>
                <a:gd name="T3" fmla="*/ 62 h 65"/>
                <a:gd name="T4" fmla="*/ 0 w 47"/>
                <a:gd name="T5" fmla="*/ 61 h 65"/>
                <a:gd name="T6" fmla="*/ 2 w 47"/>
                <a:gd name="T7" fmla="*/ 60 h 65"/>
                <a:gd name="T8" fmla="*/ 13 w 47"/>
                <a:gd name="T9" fmla="*/ 62 h 65"/>
                <a:gd name="T10" fmla="*/ 44 w 47"/>
                <a:gd name="T11" fmla="*/ 31 h 65"/>
                <a:gd name="T12" fmla="*/ 44 w 47"/>
                <a:gd name="T13" fmla="*/ 1 h 65"/>
                <a:gd name="T14" fmla="*/ 45 w 47"/>
                <a:gd name="T15" fmla="*/ 0 h 65"/>
                <a:gd name="T16" fmla="*/ 47 w 47"/>
                <a:gd name="T17" fmla="*/ 1 h 65"/>
                <a:gd name="T18" fmla="*/ 47 w 47"/>
                <a:gd name="T19" fmla="*/ 31 h 65"/>
                <a:gd name="T20" fmla="*/ 13 w 47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65">
                  <a:moveTo>
                    <a:pt x="13" y="65"/>
                  </a:moveTo>
                  <a:cubicBezTo>
                    <a:pt x="9" y="65"/>
                    <a:pt x="5" y="64"/>
                    <a:pt x="1" y="62"/>
                  </a:cubicBezTo>
                  <a:cubicBezTo>
                    <a:pt x="0" y="62"/>
                    <a:pt x="0" y="61"/>
                    <a:pt x="0" y="61"/>
                  </a:cubicBezTo>
                  <a:cubicBezTo>
                    <a:pt x="0" y="60"/>
                    <a:pt x="1" y="59"/>
                    <a:pt x="2" y="60"/>
                  </a:cubicBezTo>
                  <a:cubicBezTo>
                    <a:pt x="6" y="61"/>
                    <a:pt x="9" y="62"/>
                    <a:pt x="13" y="62"/>
                  </a:cubicBezTo>
                  <a:cubicBezTo>
                    <a:pt x="30" y="62"/>
                    <a:pt x="44" y="48"/>
                    <a:pt x="44" y="3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4" y="0"/>
                    <a:pt x="45" y="0"/>
                  </a:cubicBezTo>
                  <a:cubicBezTo>
                    <a:pt x="46" y="0"/>
                    <a:pt x="47" y="0"/>
                    <a:pt x="47" y="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50"/>
                    <a:pt x="32" y="65"/>
                    <a:pt x="13" y="6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28">
              <a:extLst>
                <a:ext uri="{FF2B5EF4-FFF2-40B4-BE49-F238E27FC236}">
                  <a16:creationId xmlns:a16="http://schemas.microsoft.com/office/drawing/2014/main" id="{31236EAC-4749-46AD-B5DC-34A7797F9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" y="3758"/>
              <a:ext cx="24" cy="34"/>
            </a:xfrm>
            <a:custGeom>
              <a:avLst/>
              <a:gdLst>
                <a:gd name="T0" fmla="*/ 8 w 10"/>
                <a:gd name="T1" fmla="*/ 14 h 14"/>
                <a:gd name="T2" fmla="*/ 7 w 10"/>
                <a:gd name="T3" fmla="*/ 13 h 14"/>
                <a:gd name="T4" fmla="*/ 4 w 10"/>
                <a:gd name="T5" fmla="*/ 7 h 14"/>
                <a:gd name="T6" fmla="*/ 0 w 10"/>
                <a:gd name="T7" fmla="*/ 3 h 14"/>
                <a:gd name="T8" fmla="*/ 0 w 10"/>
                <a:gd name="T9" fmla="*/ 1 h 14"/>
                <a:gd name="T10" fmla="*/ 2 w 10"/>
                <a:gd name="T11" fmla="*/ 1 h 14"/>
                <a:gd name="T12" fmla="*/ 6 w 10"/>
                <a:gd name="T13" fmla="*/ 5 h 14"/>
                <a:gd name="T14" fmla="*/ 10 w 10"/>
                <a:gd name="T15" fmla="*/ 12 h 14"/>
                <a:gd name="T16" fmla="*/ 9 w 10"/>
                <a:gd name="T17" fmla="*/ 14 h 14"/>
                <a:gd name="T18" fmla="*/ 8 w 10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4">
                  <a:moveTo>
                    <a:pt x="8" y="14"/>
                  </a:moveTo>
                  <a:cubicBezTo>
                    <a:pt x="8" y="14"/>
                    <a:pt x="7" y="14"/>
                    <a:pt x="7" y="13"/>
                  </a:cubicBezTo>
                  <a:cubicBezTo>
                    <a:pt x="6" y="11"/>
                    <a:pt x="5" y="9"/>
                    <a:pt x="4" y="7"/>
                  </a:cubicBezTo>
                  <a:cubicBezTo>
                    <a:pt x="3" y="5"/>
                    <a:pt x="1" y="4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4" y="2"/>
                    <a:pt x="5" y="4"/>
                    <a:pt x="6" y="5"/>
                  </a:cubicBezTo>
                  <a:cubicBezTo>
                    <a:pt x="7" y="8"/>
                    <a:pt x="9" y="10"/>
                    <a:pt x="10" y="12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29">
              <a:extLst>
                <a:ext uri="{FF2B5EF4-FFF2-40B4-BE49-F238E27FC236}">
                  <a16:creationId xmlns:a16="http://schemas.microsoft.com/office/drawing/2014/main" id="{A2D0126F-DDC2-4477-8129-770FF8E93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2" y="3736"/>
              <a:ext cx="25" cy="12"/>
            </a:xfrm>
            <a:custGeom>
              <a:avLst/>
              <a:gdLst>
                <a:gd name="T0" fmla="*/ 8 w 10"/>
                <a:gd name="T1" fmla="*/ 5 h 5"/>
                <a:gd name="T2" fmla="*/ 7 w 10"/>
                <a:gd name="T3" fmla="*/ 5 h 5"/>
                <a:gd name="T4" fmla="*/ 1 w 10"/>
                <a:gd name="T5" fmla="*/ 3 h 5"/>
                <a:gd name="T6" fmla="*/ 0 w 10"/>
                <a:gd name="T7" fmla="*/ 1 h 5"/>
                <a:gd name="T8" fmla="*/ 2 w 10"/>
                <a:gd name="T9" fmla="*/ 0 h 5"/>
                <a:gd name="T10" fmla="*/ 9 w 10"/>
                <a:gd name="T11" fmla="*/ 2 h 5"/>
                <a:gd name="T12" fmla="*/ 9 w 10"/>
                <a:gd name="T13" fmla="*/ 4 h 5"/>
                <a:gd name="T14" fmla="*/ 8 w 10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8" y="5"/>
                  </a:moveTo>
                  <a:cubicBezTo>
                    <a:pt x="8" y="5"/>
                    <a:pt x="8" y="5"/>
                    <a:pt x="7" y="5"/>
                  </a:cubicBezTo>
                  <a:cubicBezTo>
                    <a:pt x="5" y="4"/>
                    <a:pt x="3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1"/>
                    <a:pt x="6" y="1"/>
                    <a:pt x="9" y="2"/>
                  </a:cubicBezTo>
                  <a:cubicBezTo>
                    <a:pt x="9" y="3"/>
                    <a:pt x="10" y="3"/>
                    <a:pt x="9" y="4"/>
                  </a:cubicBezTo>
                  <a:cubicBezTo>
                    <a:pt x="9" y="5"/>
                    <a:pt x="9" y="5"/>
                    <a:pt x="8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0">
              <a:extLst>
                <a:ext uri="{FF2B5EF4-FFF2-40B4-BE49-F238E27FC236}">
                  <a16:creationId xmlns:a16="http://schemas.microsoft.com/office/drawing/2014/main" id="{88C99F0E-091C-45EE-B1D0-E285F801F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6" y="3733"/>
              <a:ext cx="86" cy="159"/>
            </a:xfrm>
            <a:custGeom>
              <a:avLst/>
              <a:gdLst>
                <a:gd name="T0" fmla="*/ 2 w 35"/>
                <a:gd name="T1" fmla="*/ 65 h 65"/>
                <a:gd name="T2" fmla="*/ 0 w 35"/>
                <a:gd name="T3" fmla="*/ 64 h 65"/>
                <a:gd name="T4" fmla="*/ 0 w 35"/>
                <a:gd name="T5" fmla="*/ 34 h 65"/>
                <a:gd name="T6" fmla="*/ 34 w 35"/>
                <a:gd name="T7" fmla="*/ 0 h 65"/>
                <a:gd name="T8" fmla="*/ 35 w 35"/>
                <a:gd name="T9" fmla="*/ 2 h 65"/>
                <a:gd name="T10" fmla="*/ 34 w 35"/>
                <a:gd name="T11" fmla="*/ 3 h 65"/>
                <a:gd name="T12" fmla="*/ 3 w 35"/>
                <a:gd name="T13" fmla="*/ 34 h 65"/>
                <a:gd name="T14" fmla="*/ 3 w 35"/>
                <a:gd name="T15" fmla="*/ 64 h 65"/>
                <a:gd name="T16" fmla="*/ 2 w 35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65">
                  <a:moveTo>
                    <a:pt x="2" y="65"/>
                  </a:moveTo>
                  <a:cubicBezTo>
                    <a:pt x="1" y="65"/>
                    <a:pt x="0" y="65"/>
                    <a:pt x="0" y="6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35" y="0"/>
                    <a:pt x="35" y="1"/>
                    <a:pt x="35" y="2"/>
                  </a:cubicBezTo>
                  <a:cubicBezTo>
                    <a:pt x="35" y="3"/>
                    <a:pt x="35" y="3"/>
                    <a:pt x="34" y="3"/>
                  </a:cubicBezTo>
                  <a:cubicBezTo>
                    <a:pt x="17" y="3"/>
                    <a:pt x="3" y="17"/>
                    <a:pt x="3" y="3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2" y="6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31">
              <a:extLst>
                <a:ext uri="{FF2B5EF4-FFF2-40B4-BE49-F238E27FC236}">
                  <a16:creationId xmlns:a16="http://schemas.microsoft.com/office/drawing/2014/main" id="{2027F959-DA1D-41AA-B29D-C24745FAD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" y="3917"/>
              <a:ext cx="19" cy="20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8 h 8"/>
                <a:gd name="T4" fmla="*/ 1 w 8"/>
                <a:gd name="T5" fmla="*/ 6 h 8"/>
                <a:gd name="T6" fmla="*/ 5 w 8"/>
                <a:gd name="T7" fmla="*/ 1 h 8"/>
                <a:gd name="T8" fmla="*/ 7 w 8"/>
                <a:gd name="T9" fmla="*/ 1 h 8"/>
                <a:gd name="T10" fmla="*/ 8 w 8"/>
                <a:gd name="T11" fmla="*/ 3 h 8"/>
                <a:gd name="T12" fmla="*/ 2 w 8"/>
                <a:gd name="T13" fmla="*/ 8 h 8"/>
                <a:gd name="T14" fmla="*/ 2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2" y="5"/>
                    <a:pt x="4" y="3"/>
                    <a:pt x="5" y="1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6" y="5"/>
                    <a:pt x="4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332">
              <a:extLst>
                <a:ext uri="{FF2B5EF4-FFF2-40B4-BE49-F238E27FC236}">
                  <a16:creationId xmlns:a16="http://schemas.microsoft.com/office/drawing/2014/main" id="{853561CF-E0A2-4BCF-89E9-BC08D0E66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" y="3846"/>
              <a:ext cx="8" cy="44"/>
            </a:xfrm>
            <a:custGeom>
              <a:avLst/>
              <a:gdLst>
                <a:gd name="T0" fmla="*/ 1 w 3"/>
                <a:gd name="T1" fmla="*/ 18 h 18"/>
                <a:gd name="T2" fmla="*/ 0 w 3"/>
                <a:gd name="T3" fmla="*/ 17 h 18"/>
                <a:gd name="T4" fmla="*/ 0 w 3"/>
                <a:gd name="T5" fmla="*/ 1 h 18"/>
                <a:gd name="T6" fmla="*/ 1 w 3"/>
                <a:gd name="T7" fmla="*/ 0 h 18"/>
                <a:gd name="T8" fmla="*/ 3 w 3"/>
                <a:gd name="T9" fmla="*/ 1 h 18"/>
                <a:gd name="T10" fmla="*/ 3 w 3"/>
                <a:gd name="T11" fmla="*/ 17 h 18"/>
                <a:gd name="T12" fmla="*/ 1 w 3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8">
                  <a:moveTo>
                    <a:pt x="1" y="18"/>
                  </a:moveTo>
                  <a:cubicBezTo>
                    <a:pt x="0" y="18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2" y="18"/>
                    <a:pt x="1" y="1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333">
              <a:extLst>
                <a:ext uri="{FF2B5EF4-FFF2-40B4-BE49-F238E27FC236}">
                  <a16:creationId xmlns:a16="http://schemas.microsoft.com/office/drawing/2014/main" id="{B730F991-1C5B-420E-8635-0A1616482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6" y="3753"/>
              <a:ext cx="128" cy="196"/>
            </a:xfrm>
            <a:custGeom>
              <a:avLst/>
              <a:gdLst>
                <a:gd name="T0" fmla="*/ 26 w 52"/>
                <a:gd name="T1" fmla="*/ 80 h 80"/>
                <a:gd name="T2" fmla="*/ 26 w 52"/>
                <a:gd name="T3" fmla="*/ 80 h 80"/>
                <a:gd name="T4" fmla="*/ 0 w 52"/>
                <a:gd name="T5" fmla="*/ 55 h 80"/>
                <a:gd name="T6" fmla="*/ 0 w 52"/>
                <a:gd name="T7" fmla="*/ 26 h 80"/>
                <a:gd name="T8" fmla="*/ 26 w 52"/>
                <a:gd name="T9" fmla="*/ 0 h 80"/>
                <a:gd name="T10" fmla="*/ 26 w 52"/>
                <a:gd name="T11" fmla="*/ 0 h 80"/>
                <a:gd name="T12" fmla="*/ 52 w 52"/>
                <a:gd name="T13" fmla="*/ 26 h 80"/>
                <a:gd name="T14" fmla="*/ 50 w 52"/>
                <a:gd name="T15" fmla="*/ 27 h 80"/>
                <a:gd name="T16" fmla="*/ 49 w 52"/>
                <a:gd name="T17" fmla="*/ 26 h 80"/>
                <a:gd name="T18" fmla="*/ 26 w 52"/>
                <a:gd name="T19" fmla="*/ 3 h 80"/>
                <a:gd name="T20" fmla="*/ 26 w 52"/>
                <a:gd name="T21" fmla="*/ 3 h 80"/>
                <a:gd name="T22" fmla="*/ 3 w 52"/>
                <a:gd name="T23" fmla="*/ 26 h 80"/>
                <a:gd name="T24" fmla="*/ 3 w 52"/>
                <a:gd name="T25" fmla="*/ 55 h 80"/>
                <a:gd name="T26" fmla="*/ 26 w 52"/>
                <a:gd name="T27" fmla="*/ 77 h 80"/>
                <a:gd name="T28" fmla="*/ 26 w 52"/>
                <a:gd name="T29" fmla="*/ 77 h 80"/>
                <a:gd name="T30" fmla="*/ 28 w 52"/>
                <a:gd name="T31" fmla="*/ 79 h 80"/>
                <a:gd name="T32" fmla="*/ 26 w 52"/>
                <a:gd name="T3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80"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12" y="80"/>
                    <a:pt x="0" y="69"/>
                    <a:pt x="0" y="5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27"/>
                    <a:pt x="51" y="27"/>
                    <a:pt x="50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9" y="13"/>
                    <a:pt x="39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3" y="3"/>
                    <a:pt x="3" y="13"/>
                    <a:pt x="3" y="26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67"/>
                    <a:pt x="13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7" y="77"/>
                    <a:pt x="28" y="78"/>
                    <a:pt x="28" y="79"/>
                  </a:cubicBezTo>
                  <a:cubicBezTo>
                    <a:pt x="28" y="80"/>
                    <a:pt x="27" y="80"/>
                    <a:pt x="26" y="8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34">
              <a:extLst>
                <a:ext uri="{FF2B5EF4-FFF2-40B4-BE49-F238E27FC236}">
                  <a16:creationId xmlns:a16="http://schemas.microsoft.com/office/drawing/2014/main" id="{62E27601-8FC6-47E8-B25B-EC241A43E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" y="3772"/>
              <a:ext cx="88" cy="157"/>
            </a:xfrm>
            <a:custGeom>
              <a:avLst/>
              <a:gdLst>
                <a:gd name="T0" fmla="*/ 18 w 36"/>
                <a:gd name="T1" fmla="*/ 64 h 64"/>
                <a:gd name="T2" fmla="*/ 18 w 36"/>
                <a:gd name="T3" fmla="*/ 64 h 64"/>
                <a:gd name="T4" fmla="*/ 0 w 36"/>
                <a:gd name="T5" fmla="*/ 47 h 64"/>
                <a:gd name="T6" fmla="*/ 0 w 36"/>
                <a:gd name="T7" fmla="*/ 18 h 64"/>
                <a:gd name="T8" fmla="*/ 18 w 36"/>
                <a:gd name="T9" fmla="*/ 0 h 64"/>
                <a:gd name="T10" fmla="*/ 19 w 36"/>
                <a:gd name="T11" fmla="*/ 2 h 64"/>
                <a:gd name="T12" fmla="*/ 18 w 36"/>
                <a:gd name="T13" fmla="*/ 3 h 64"/>
                <a:gd name="T14" fmla="*/ 3 w 36"/>
                <a:gd name="T15" fmla="*/ 18 h 64"/>
                <a:gd name="T16" fmla="*/ 3 w 36"/>
                <a:gd name="T17" fmla="*/ 47 h 64"/>
                <a:gd name="T18" fmla="*/ 18 w 36"/>
                <a:gd name="T19" fmla="*/ 61 h 64"/>
                <a:gd name="T20" fmla="*/ 18 w 36"/>
                <a:gd name="T21" fmla="*/ 61 h 64"/>
                <a:gd name="T22" fmla="*/ 33 w 36"/>
                <a:gd name="T23" fmla="*/ 47 h 64"/>
                <a:gd name="T24" fmla="*/ 33 w 36"/>
                <a:gd name="T25" fmla="*/ 18 h 64"/>
                <a:gd name="T26" fmla="*/ 34 w 36"/>
                <a:gd name="T27" fmla="*/ 16 h 64"/>
                <a:gd name="T28" fmla="*/ 36 w 36"/>
                <a:gd name="T29" fmla="*/ 18 h 64"/>
                <a:gd name="T30" fmla="*/ 36 w 36"/>
                <a:gd name="T31" fmla="*/ 47 h 64"/>
                <a:gd name="T32" fmla="*/ 18 w 36"/>
                <a:gd name="T3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64"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8" y="64"/>
                    <a:pt x="0" y="57"/>
                    <a:pt x="0" y="4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0" y="3"/>
                    <a:pt x="3" y="10"/>
                    <a:pt x="3" y="18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55"/>
                    <a:pt x="10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26" y="61"/>
                    <a:pt x="33" y="55"/>
                    <a:pt x="33" y="4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7"/>
                    <a:pt x="33" y="16"/>
                    <a:pt x="34" y="16"/>
                  </a:cubicBezTo>
                  <a:cubicBezTo>
                    <a:pt x="35" y="16"/>
                    <a:pt x="36" y="17"/>
                    <a:pt x="36" y="1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57"/>
                    <a:pt x="28" y="64"/>
                    <a:pt x="18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35">
              <a:extLst>
                <a:ext uri="{FF2B5EF4-FFF2-40B4-BE49-F238E27FC236}">
                  <a16:creationId xmlns:a16="http://schemas.microsoft.com/office/drawing/2014/main" id="{38B2304B-46B3-4956-9FB7-73EB968AF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8" y="3794"/>
              <a:ext cx="44" cy="116"/>
            </a:xfrm>
            <a:custGeom>
              <a:avLst/>
              <a:gdLst>
                <a:gd name="T0" fmla="*/ 9 w 18"/>
                <a:gd name="T1" fmla="*/ 47 h 47"/>
                <a:gd name="T2" fmla="*/ 8 w 18"/>
                <a:gd name="T3" fmla="*/ 46 h 47"/>
                <a:gd name="T4" fmla="*/ 9 w 18"/>
                <a:gd name="T5" fmla="*/ 44 h 47"/>
                <a:gd name="T6" fmla="*/ 16 w 18"/>
                <a:gd name="T7" fmla="*/ 38 h 47"/>
                <a:gd name="T8" fmla="*/ 16 w 18"/>
                <a:gd name="T9" fmla="*/ 9 h 47"/>
                <a:gd name="T10" fmla="*/ 9 w 18"/>
                <a:gd name="T11" fmla="*/ 2 h 47"/>
                <a:gd name="T12" fmla="*/ 2 w 18"/>
                <a:gd name="T13" fmla="*/ 9 h 47"/>
                <a:gd name="T14" fmla="*/ 2 w 18"/>
                <a:gd name="T15" fmla="*/ 38 h 47"/>
                <a:gd name="T16" fmla="*/ 1 w 18"/>
                <a:gd name="T17" fmla="*/ 39 h 47"/>
                <a:gd name="T18" fmla="*/ 0 w 18"/>
                <a:gd name="T19" fmla="*/ 38 h 47"/>
                <a:gd name="T20" fmla="*/ 0 w 18"/>
                <a:gd name="T21" fmla="*/ 9 h 47"/>
                <a:gd name="T22" fmla="*/ 9 w 18"/>
                <a:gd name="T23" fmla="*/ 0 h 47"/>
                <a:gd name="T24" fmla="*/ 18 w 18"/>
                <a:gd name="T25" fmla="*/ 9 h 47"/>
                <a:gd name="T26" fmla="*/ 18 w 18"/>
                <a:gd name="T27" fmla="*/ 38 h 47"/>
                <a:gd name="T28" fmla="*/ 9 w 18"/>
                <a:gd name="T2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47">
                  <a:moveTo>
                    <a:pt x="9" y="47"/>
                  </a:moveTo>
                  <a:cubicBezTo>
                    <a:pt x="8" y="47"/>
                    <a:pt x="8" y="47"/>
                    <a:pt x="8" y="46"/>
                  </a:cubicBezTo>
                  <a:cubicBezTo>
                    <a:pt x="8" y="45"/>
                    <a:pt x="8" y="44"/>
                    <a:pt x="9" y="44"/>
                  </a:cubicBezTo>
                  <a:cubicBezTo>
                    <a:pt x="13" y="44"/>
                    <a:pt x="16" y="41"/>
                    <a:pt x="16" y="3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5"/>
                    <a:pt x="13" y="2"/>
                    <a:pt x="9" y="2"/>
                  </a:cubicBezTo>
                  <a:cubicBezTo>
                    <a:pt x="5" y="2"/>
                    <a:pt x="2" y="5"/>
                    <a:pt x="2" y="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9"/>
                    <a:pt x="2" y="39"/>
                    <a:pt x="1" y="39"/>
                  </a:cubicBezTo>
                  <a:cubicBezTo>
                    <a:pt x="0" y="39"/>
                    <a:pt x="0" y="39"/>
                    <a:pt x="0" y="3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43"/>
                    <a:pt x="14" y="47"/>
                    <a:pt x="9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36">
              <a:extLst>
                <a:ext uri="{FF2B5EF4-FFF2-40B4-BE49-F238E27FC236}">
                  <a16:creationId xmlns:a16="http://schemas.microsoft.com/office/drawing/2014/main" id="{0B7706A6-518C-452A-ACDB-34839CC8D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" y="3814"/>
              <a:ext cx="5" cy="76"/>
            </a:xfrm>
            <a:custGeom>
              <a:avLst/>
              <a:gdLst>
                <a:gd name="T0" fmla="*/ 1 w 2"/>
                <a:gd name="T1" fmla="*/ 31 h 31"/>
                <a:gd name="T2" fmla="*/ 0 w 2"/>
                <a:gd name="T3" fmla="*/ 30 h 31"/>
                <a:gd name="T4" fmla="*/ 0 w 2"/>
                <a:gd name="T5" fmla="*/ 1 h 31"/>
                <a:gd name="T6" fmla="*/ 1 w 2"/>
                <a:gd name="T7" fmla="*/ 0 h 31"/>
                <a:gd name="T8" fmla="*/ 2 w 2"/>
                <a:gd name="T9" fmla="*/ 1 h 31"/>
                <a:gd name="T10" fmla="*/ 2 w 2"/>
                <a:gd name="T11" fmla="*/ 30 h 31"/>
                <a:gd name="T12" fmla="*/ 1 w 2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1">
                  <a:moveTo>
                    <a:pt x="1" y="31"/>
                  </a:moveTo>
                  <a:cubicBezTo>
                    <a:pt x="0" y="31"/>
                    <a:pt x="0" y="31"/>
                    <a:pt x="0" y="3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1"/>
                    <a:pt x="2" y="31"/>
                    <a:pt x="1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37">
              <a:extLst>
                <a:ext uri="{FF2B5EF4-FFF2-40B4-BE49-F238E27FC236}">
                  <a16:creationId xmlns:a16="http://schemas.microsoft.com/office/drawing/2014/main" id="{83F1B586-1A22-405B-800E-443CDCC80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" y="3662"/>
              <a:ext cx="5" cy="37"/>
            </a:xfrm>
            <a:custGeom>
              <a:avLst/>
              <a:gdLst>
                <a:gd name="T0" fmla="*/ 1 w 2"/>
                <a:gd name="T1" fmla="*/ 15 h 15"/>
                <a:gd name="T2" fmla="*/ 0 w 2"/>
                <a:gd name="T3" fmla="*/ 14 h 15"/>
                <a:gd name="T4" fmla="*/ 0 w 2"/>
                <a:gd name="T5" fmla="*/ 2 h 15"/>
                <a:gd name="T6" fmla="*/ 1 w 2"/>
                <a:gd name="T7" fmla="*/ 0 h 15"/>
                <a:gd name="T8" fmla="*/ 2 w 2"/>
                <a:gd name="T9" fmla="*/ 2 h 15"/>
                <a:gd name="T10" fmla="*/ 2 w 2"/>
                <a:gd name="T11" fmla="*/ 14 h 15"/>
                <a:gd name="T12" fmla="*/ 1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1" y="15"/>
                  </a:moveTo>
                  <a:cubicBezTo>
                    <a:pt x="0" y="15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338">
              <a:extLst>
                <a:ext uri="{FF2B5EF4-FFF2-40B4-BE49-F238E27FC236}">
                  <a16:creationId xmlns:a16="http://schemas.microsoft.com/office/drawing/2014/main" id="{0AE27EDE-DFF3-4C61-8370-1F37BF04A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" y="4008"/>
              <a:ext cx="5" cy="36"/>
            </a:xfrm>
            <a:custGeom>
              <a:avLst/>
              <a:gdLst>
                <a:gd name="T0" fmla="*/ 1 w 2"/>
                <a:gd name="T1" fmla="*/ 15 h 15"/>
                <a:gd name="T2" fmla="*/ 0 w 2"/>
                <a:gd name="T3" fmla="*/ 13 h 15"/>
                <a:gd name="T4" fmla="*/ 0 w 2"/>
                <a:gd name="T5" fmla="*/ 1 h 15"/>
                <a:gd name="T6" fmla="*/ 1 w 2"/>
                <a:gd name="T7" fmla="*/ 0 h 15"/>
                <a:gd name="T8" fmla="*/ 2 w 2"/>
                <a:gd name="T9" fmla="*/ 1 h 15"/>
                <a:gd name="T10" fmla="*/ 2 w 2"/>
                <a:gd name="T11" fmla="*/ 13 h 15"/>
                <a:gd name="T12" fmla="*/ 1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1" y="15"/>
                  </a:moveTo>
                  <a:cubicBezTo>
                    <a:pt x="0" y="15"/>
                    <a:pt x="0" y="14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5"/>
                    <a:pt x="1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Freeform 339">
              <a:extLst>
                <a:ext uri="{FF2B5EF4-FFF2-40B4-BE49-F238E27FC236}">
                  <a16:creationId xmlns:a16="http://schemas.microsoft.com/office/drawing/2014/main" id="{7D98AA42-5BED-41F2-BAD2-E95B885B8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" y="3851"/>
              <a:ext cx="36" cy="5"/>
            </a:xfrm>
            <a:custGeom>
              <a:avLst/>
              <a:gdLst>
                <a:gd name="T0" fmla="*/ 14 w 15"/>
                <a:gd name="T1" fmla="*/ 2 h 2"/>
                <a:gd name="T2" fmla="*/ 2 w 15"/>
                <a:gd name="T3" fmla="*/ 2 h 2"/>
                <a:gd name="T4" fmla="*/ 0 w 15"/>
                <a:gd name="T5" fmla="*/ 1 h 2"/>
                <a:gd name="T6" fmla="*/ 2 w 15"/>
                <a:gd name="T7" fmla="*/ 0 h 2"/>
                <a:gd name="T8" fmla="*/ 14 w 15"/>
                <a:gd name="T9" fmla="*/ 0 h 2"/>
                <a:gd name="T10" fmla="*/ 15 w 15"/>
                <a:gd name="T11" fmla="*/ 1 h 2"/>
                <a:gd name="T12" fmla="*/ 14 w 1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">
                  <a:moveTo>
                    <a:pt x="14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2"/>
                    <a:pt x="14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340">
              <a:extLst>
                <a:ext uri="{FF2B5EF4-FFF2-40B4-BE49-F238E27FC236}">
                  <a16:creationId xmlns:a16="http://schemas.microsoft.com/office/drawing/2014/main" id="{3C09FE48-9064-4E8D-8BDD-6494C8D23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" y="3851"/>
              <a:ext cx="37" cy="5"/>
            </a:xfrm>
            <a:custGeom>
              <a:avLst/>
              <a:gdLst>
                <a:gd name="T0" fmla="*/ 13 w 15"/>
                <a:gd name="T1" fmla="*/ 2 h 2"/>
                <a:gd name="T2" fmla="*/ 1 w 15"/>
                <a:gd name="T3" fmla="*/ 2 h 2"/>
                <a:gd name="T4" fmla="*/ 0 w 15"/>
                <a:gd name="T5" fmla="*/ 1 h 2"/>
                <a:gd name="T6" fmla="*/ 1 w 15"/>
                <a:gd name="T7" fmla="*/ 0 h 2"/>
                <a:gd name="T8" fmla="*/ 13 w 15"/>
                <a:gd name="T9" fmla="*/ 0 h 2"/>
                <a:gd name="T10" fmla="*/ 15 w 15"/>
                <a:gd name="T11" fmla="*/ 1 h 2"/>
                <a:gd name="T12" fmla="*/ 13 w 1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">
                  <a:moveTo>
                    <a:pt x="1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4" y="2"/>
                    <a:pt x="13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3" name="Group 343">
            <a:extLst>
              <a:ext uri="{FF2B5EF4-FFF2-40B4-BE49-F238E27FC236}">
                <a16:creationId xmlns:a16="http://schemas.microsoft.com/office/drawing/2014/main" id="{13B36144-A0CB-4C57-BDC6-063A146DD7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9438" y="5452809"/>
            <a:ext cx="841375" cy="841375"/>
            <a:chOff x="4304" y="3438"/>
            <a:chExt cx="530" cy="530"/>
          </a:xfrm>
        </p:grpSpPr>
        <p:sp>
          <p:nvSpPr>
            <p:cNvPr id="384" name="AutoShape 342">
              <a:extLst>
                <a:ext uri="{FF2B5EF4-FFF2-40B4-BE49-F238E27FC236}">
                  <a16:creationId xmlns:a16="http://schemas.microsoft.com/office/drawing/2014/main" id="{7FF4B938-39E3-4B8D-8F61-FFCDA457C1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04" y="343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Oval 344">
              <a:extLst>
                <a:ext uri="{FF2B5EF4-FFF2-40B4-BE49-F238E27FC236}">
                  <a16:creationId xmlns:a16="http://schemas.microsoft.com/office/drawing/2014/main" id="{E3027DE7-C733-4390-8F1A-E1DEDE4BB3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4" y="343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345">
              <a:extLst>
                <a:ext uri="{FF2B5EF4-FFF2-40B4-BE49-F238E27FC236}">
                  <a16:creationId xmlns:a16="http://schemas.microsoft.com/office/drawing/2014/main" id="{F688D8BE-A1CB-4720-A419-BE10597D6D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2" y="345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346">
              <a:extLst>
                <a:ext uri="{FF2B5EF4-FFF2-40B4-BE49-F238E27FC236}">
                  <a16:creationId xmlns:a16="http://schemas.microsoft.com/office/drawing/2014/main" id="{5476F8A8-D8EB-455F-B21B-A962D13EB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3" y="3558"/>
              <a:ext cx="215" cy="292"/>
            </a:xfrm>
            <a:custGeom>
              <a:avLst/>
              <a:gdLst>
                <a:gd name="T0" fmla="*/ 42 w 84"/>
                <a:gd name="T1" fmla="*/ 114 h 114"/>
                <a:gd name="T2" fmla="*/ 0 w 84"/>
                <a:gd name="T3" fmla="*/ 72 h 114"/>
                <a:gd name="T4" fmla="*/ 0 w 84"/>
                <a:gd name="T5" fmla="*/ 42 h 114"/>
                <a:gd name="T6" fmla="*/ 42 w 84"/>
                <a:gd name="T7" fmla="*/ 0 h 114"/>
                <a:gd name="T8" fmla="*/ 84 w 84"/>
                <a:gd name="T9" fmla="*/ 42 h 114"/>
                <a:gd name="T10" fmla="*/ 84 w 84"/>
                <a:gd name="T11" fmla="*/ 72 h 114"/>
                <a:gd name="T12" fmla="*/ 82 w 84"/>
                <a:gd name="T13" fmla="*/ 73 h 114"/>
                <a:gd name="T14" fmla="*/ 81 w 84"/>
                <a:gd name="T15" fmla="*/ 72 h 114"/>
                <a:gd name="T16" fmla="*/ 81 w 84"/>
                <a:gd name="T17" fmla="*/ 42 h 114"/>
                <a:gd name="T18" fmla="*/ 42 w 84"/>
                <a:gd name="T19" fmla="*/ 3 h 114"/>
                <a:gd name="T20" fmla="*/ 3 w 84"/>
                <a:gd name="T21" fmla="*/ 42 h 114"/>
                <a:gd name="T22" fmla="*/ 3 w 84"/>
                <a:gd name="T23" fmla="*/ 72 h 114"/>
                <a:gd name="T24" fmla="*/ 42 w 84"/>
                <a:gd name="T25" fmla="*/ 111 h 114"/>
                <a:gd name="T26" fmla="*/ 43 w 84"/>
                <a:gd name="T27" fmla="*/ 112 h 114"/>
                <a:gd name="T28" fmla="*/ 42 w 84"/>
                <a:gd name="T2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14">
                  <a:moveTo>
                    <a:pt x="42" y="114"/>
                  </a:moveTo>
                  <a:cubicBezTo>
                    <a:pt x="19" y="114"/>
                    <a:pt x="0" y="95"/>
                    <a:pt x="0" y="7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3"/>
                    <a:pt x="83" y="73"/>
                    <a:pt x="82" y="73"/>
                  </a:cubicBezTo>
                  <a:cubicBezTo>
                    <a:pt x="81" y="73"/>
                    <a:pt x="81" y="73"/>
                    <a:pt x="81" y="7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21"/>
                    <a:pt x="63" y="3"/>
                    <a:pt x="42" y="3"/>
                  </a:cubicBezTo>
                  <a:cubicBezTo>
                    <a:pt x="21" y="3"/>
                    <a:pt x="3" y="21"/>
                    <a:pt x="3" y="4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3" y="93"/>
                    <a:pt x="21" y="111"/>
                    <a:pt x="42" y="111"/>
                  </a:cubicBezTo>
                  <a:cubicBezTo>
                    <a:pt x="43" y="111"/>
                    <a:pt x="43" y="111"/>
                    <a:pt x="43" y="112"/>
                  </a:cubicBezTo>
                  <a:cubicBezTo>
                    <a:pt x="43" y="113"/>
                    <a:pt x="43" y="114"/>
                    <a:pt x="42" y="1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347">
              <a:extLst>
                <a:ext uri="{FF2B5EF4-FFF2-40B4-BE49-F238E27FC236}">
                  <a16:creationId xmlns:a16="http://schemas.microsoft.com/office/drawing/2014/main" id="{B5304EEE-C2AB-452C-B674-24B02D61D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3776"/>
              <a:ext cx="18" cy="25"/>
            </a:xfrm>
            <a:custGeom>
              <a:avLst/>
              <a:gdLst>
                <a:gd name="T0" fmla="*/ 6 w 7"/>
                <a:gd name="T1" fmla="*/ 10 h 10"/>
                <a:gd name="T2" fmla="*/ 5 w 7"/>
                <a:gd name="T3" fmla="*/ 9 h 10"/>
                <a:gd name="T4" fmla="*/ 0 w 7"/>
                <a:gd name="T5" fmla="*/ 2 h 10"/>
                <a:gd name="T6" fmla="*/ 1 w 7"/>
                <a:gd name="T7" fmla="*/ 1 h 10"/>
                <a:gd name="T8" fmla="*/ 3 w 7"/>
                <a:gd name="T9" fmla="*/ 1 h 10"/>
                <a:gd name="T10" fmla="*/ 7 w 7"/>
                <a:gd name="T11" fmla="*/ 7 h 10"/>
                <a:gd name="T12" fmla="*/ 7 w 7"/>
                <a:gd name="T13" fmla="*/ 9 h 10"/>
                <a:gd name="T14" fmla="*/ 6 w 7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0">
                  <a:moveTo>
                    <a:pt x="6" y="10"/>
                  </a:moveTo>
                  <a:cubicBezTo>
                    <a:pt x="5" y="10"/>
                    <a:pt x="5" y="10"/>
                    <a:pt x="5" y="9"/>
                  </a:cubicBezTo>
                  <a:cubicBezTo>
                    <a:pt x="3" y="7"/>
                    <a:pt x="1" y="5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4" y="3"/>
                    <a:pt x="5" y="5"/>
                    <a:pt x="7" y="7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10"/>
                    <a:pt x="6" y="10"/>
                    <a:pt x="6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348">
              <a:extLst>
                <a:ext uri="{FF2B5EF4-FFF2-40B4-BE49-F238E27FC236}">
                  <a16:creationId xmlns:a16="http://schemas.microsoft.com/office/drawing/2014/main" id="{1011C365-E050-431E-8D05-08B3BD40D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7" y="3663"/>
              <a:ext cx="120" cy="167"/>
            </a:xfrm>
            <a:custGeom>
              <a:avLst/>
              <a:gdLst>
                <a:gd name="T0" fmla="*/ 13 w 47"/>
                <a:gd name="T1" fmla="*/ 65 h 65"/>
                <a:gd name="T2" fmla="*/ 1 w 47"/>
                <a:gd name="T3" fmla="*/ 62 h 65"/>
                <a:gd name="T4" fmla="*/ 0 w 47"/>
                <a:gd name="T5" fmla="*/ 61 h 65"/>
                <a:gd name="T6" fmla="*/ 2 w 47"/>
                <a:gd name="T7" fmla="*/ 60 h 65"/>
                <a:gd name="T8" fmla="*/ 13 w 47"/>
                <a:gd name="T9" fmla="*/ 62 h 65"/>
                <a:gd name="T10" fmla="*/ 44 w 47"/>
                <a:gd name="T11" fmla="*/ 31 h 65"/>
                <a:gd name="T12" fmla="*/ 44 w 47"/>
                <a:gd name="T13" fmla="*/ 1 h 65"/>
                <a:gd name="T14" fmla="*/ 45 w 47"/>
                <a:gd name="T15" fmla="*/ 0 h 65"/>
                <a:gd name="T16" fmla="*/ 47 w 47"/>
                <a:gd name="T17" fmla="*/ 1 h 65"/>
                <a:gd name="T18" fmla="*/ 47 w 47"/>
                <a:gd name="T19" fmla="*/ 31 h 65"/>
                <a:gd name="T20" fmla="*/ 13 w 47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65">
                  <a:moveTo>
                    <a:pt x="13" y="65"/>
                  </a:moveTo>
                  <a:cubicBezTo>
                    <a:pt x="9" y="65"/>
                    <a:pt x="5" y="64"/>
                    <a:pt x="1" y="62"/>
                  </a:cubicBezTo>
                  <a:cubicBezTo>
                    <a:pt x="0" y="62"/>
                    <a:pt x="0" y="61"/>
                    <a:pt x="0" y="61"/>
                  </a:cubicBezTo>
                  <a:cubicBezTo>
                    <a:pt x="0" y="60"/>
                    <a:pt x="1" y="59"/>
                    <a:pt x="2" y="60"/>
                  </a:cubicBezTo>
                  <a:cubicBezTo>
                    <a:pt x="6" y="61"/>
                    <a:pt x="9" y="62"/>
                    <a:pt x="13" y="62"/>
                  </a:cubicBezTo>
                  <a:cubicBezTo>
                    <a:pt x="30" y="62"/>
                    <a:pt x="44" y="48"/>
                    <a:pt x="44" y="3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4" y="0"/>
                    <a:pt x="45" y="0"/>
                  </a:cubicBezTo>
                  <a:cubicBezTo>
                    <a:pt x="46" y="0"/>
                    <a:pt x="47" y="0"/>
                    <a:pt x="47" y="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50"/>
                    <a:pt x="32" y="65"/>
                    <a:pt x="13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349">
              <a:extLst>
                <a:ext uri="{FF2B5EF4-FFF2-40B4-BE49-F238E27FC236}">
                  <a16:creationId xmlns:a16="http://schemas.microsoft.com/office/drawing/2014/main" id="{BB184659-7056-4F3C-B410-6F0F06028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" y="3604"/>
              <a:ext cx="25" cy="36"/>
            </a:xfrm>
            <a:custGeom>
              <a:avLst/>
              <a:gdLst>
                <a:gd name="T0" fmla="*/ 8 w 10"/>
                <a:gd name="T1" fmla="*/ 14 h 14"/>
                <a:gd name="T2" fmla="*/ 7 w 10"/>
                <a:gd name="T3" fmla="*/ 13 h 14"/>
                <a:gd name="T4" fmla="*/ 4 w 10"/>
                <a:gd name="T5" fmla="*/ 7 h 14"/>
                <a:gd name="T6" fmla="*/ 0 w 10"/>
                <a:gd name="T7" fmla="*/ 3 h 14"/>
                <a:gd name="T8" fmla="*/ 0 w 10"/>
                <a:gd name="T9" fmla="*/ 1 h 14"/>
                <a:gd name="T10" fmla="*/ 2 w 10"/>
                <a:gd name="T11" fmla="*/ 1 h 14"/>
                <a:gd name="T12" fmla="*/ 6 w 10"/>
                <a:gd name="T13" fmla="*/ 5 h 14"/>
                <a:gd name="T14" fmla="*/ 10 w 10"/>
                <a:gd name="T15" fmla="*/ 12 h 14"/>
                <a:gd name="T16" fmla="*/ 9 w 10"/>
                <a:gd name="T17" fmla="*/ 14 h 14"/>
                <a:gd name="T18" fmla="*/ 8 w 10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4">
                  <a:moveTo>
                    <a:pt x="8" y="14"/>
                  </a:moveTo>
                  <a:cubicBezTo>
                    <a:pt x="8" y="14"/>
                    <a:pt x="7" y="14"/>
                    <a:pt x="7" y="13"/>
                  </a:cubicBezTo>
                  <a:cubicBezTo>
                    <a:pt x="6" y="11"/>
                    <a:pt x="5" y="9"/>
                    <a:pt x="4" y="7"/>
                  </a:cubicBezTo>
                  <a:cubicBezTo>
                    <a:pt x="3" y="5"/>
                    <a:pt x="1" y="4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4" y="2"/>
                    <a:pt x="5" y="4"/>
                    <a:pt x="6" y="5"/>
                  </a:cubicBezTo>
                  <a:cubicBezTo>
                    <a:pt x="7" y="8"/>
                    <a:pt x="9" y="10"/>
                    <a:pt x="10" y="12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350">
              <a:extLst>
                <a:ext uri="{FF2B5EF4-FFF2-40B4-BE49-F238E27FC236}">
                  <a16:creationId xmlns:a16="http://schemas.microsoft.com/office/drawing/2014/main" id="{00E623A7-0E38-42E0-907A-270383141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" y="3581"/>
              <a:ext cx="26" cy="13"/>
            </a:xfrm>
            <a:custGeom>
              <a:avLst/>
              <a:gdLst>
                <a:gd name="T0" fmla="*/ 8 w 10"/>
                <a:gd name="T1" fmla="*/ 5 h 5"/>
                <a:gd name="T2" fmla="*/ 7 w 10"/>
                <a:gd name="T3" fmla="*/ 5 h 5"/>
                <a:gd name="T4" fmla="*/ 1 w 10"/>
                <a:gd name="T5" fmla="*/ 3 h 5"/>
                <a:gd name="T6" fmla="*/ 0 w 10"/>
                <a:gd name="T7" fmla="*/ 1 h 5"/>
                <a:gd name="T8" fmla="*/ 2 w 10"/>
                <a:gd name="T9" fmla="*/ 0 h 5"/>
                <a:gd name="T10" fmla="*/ 9 w 10"/>
                <a:gd name="T11" fmla="*/ 2 h 5"/>
                <a:gd name="T12" fmla="*/ 9 w 10"/>
                <a:gd name="T13" fmla="*/ 4 h 5"/>
                <a:gd name="T14" fmla="*/ 8 w 10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8" y="5"/>
                  </a:moveTo>
                  <a:cubicBezTo>
                    <a:pt x="8" y="5"/>
                    <a:pt x="8" y="5"/>
                    <a:pt x="7" y="5"/>
                  </a:cubicBezTo>
                  <a:cubicBezTo>
                    <a:pt x="5" y="4"/>
                    <a:pt x="3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1"/>
                    <a:pt x="6" y="1"/>
                    <a:pt x="9" y="2"/>
                  </a:cubicBezTo>
                  <a:cubicBezTo>
                    <a:pt x="9" y="3"/>
                    <a:pt x="10" y="3"/>
                    <a:pt x="9" y="4"/>
                  </a:cubicBezTo>
                  <a:cubicBezTo>
                    <a:pt x="9" y="5"/>
                    <a:pt x="9" y="5"/>
                    <a:pt x="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351">
              <a:extLst>
                <a:ext uri="{FF2B5EF4-FFF2-40B4-BE49-F238E27FC236}">
                  <a16:creationId xmlns:a16="http://schemas.microsoft.com/office/drawing/2014/main" id="{86EF3BA2-66CB-44F9-B6BD-E80111367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" y="3579"/>
              <a:ext cx="90" cy="166"/>
            </a:xfrm>
            <a:custGeom>
              <a:avLst/>
              <a:gdLst>
                <a:gd name="T0" fmla="*/ 2 w 35"/>
                <a:gd name="T1" fmla="*/ 65 h 65"/>
                <a:gd name="T2" fmla="*/ 0 w 35"/>
                <a:gd name="T3" fmla="*/ 64 h 65"/>
                <a:gd name="T4" fmla="*/ 0 w 35"/>
                <a:gd name="T5" fmla="*/ 34 h 65"/>
                <a:gd name="T6" fmla="*/ 34 w 35"/>
                <a:gd name="T7" fmla="*/ 0 h 65"/>
                <a:gd name="T8" fmla="*/ 35 w 35"/>
                <a:gd name="T9" fmla="*/ 2 h 65"/>
                <a:gd name="T10" fmla="*/ 34 w 35"/>
                <a:gd name="T11" fmla="*/ 3 h 65"/>
                <a:gd name="T12" fmla="*/ 3 w 35"/>
                <a:gd name="T13" fmla="*/ 34 h 65"/>
                <a:gd name="T14" fmla="*/ 3 w 35"/>
                <a:gd name="T15" fmla="*/ 64 h 65"/>
                <a:gd name="T16" fmla="*/ 2 w 35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65">
                  <a:moveTo>
                    <a:pt x="2" y="65"/>
                  </a:moveTo>
                  <a:cubicBezTo>
                    <a:pt x="1" y="65"/>
                    <a:pt x="0" y="65"/>
                    <a:pt x="0" y="6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35" y="0"/>
                    <a:pt x="35" y="1"/>
                    <a:pt x="35" y="2"/>
                  </a:cubicBezTo>
                  <a:cubicBezTo>
                    <a:pt x="35" y="3"/>
                    <a:pt x="35" y="3"/>
                    <a:pt x="34" y="3"/>
                  </a:cubicBezTo>
                  <a:cubicBezTo>
                    <a:pt x="17" y="3"/>
                    <a:pt x="3" y="17"/>
                    <a:pt x="3" y="3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65"/>
                    <a:pt x="3" y="65"/>
                    <a:pt x="2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52">
              <a:extLst>
                <a:ext uri="{FF2B5EF4-FFF2-40B4-BE49-F238E27FC236}">
                  <a16:creationId xmlns:a16="http://schemas.microsoft.com/office/drawing/2014/main" id="{A372B87E-2DEA-4B18-BA90-69301F52C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3771"/>
              <a:ext cx="21" cy="20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8 h 8"/>
                <a:gd name="T4" fmla="*/ 1 w 8"/>
                <a:gd name="T5" fmla="*/ 6 h 8"/>
                <a:gd name="T6" fmla="*/ 5 w 8"/>
                <a:gd name="T7" fmla="*/ 1 h 8"/>
                <a:gd name="T8" fmla="*/ 7 w 8"/>
                <a:gd name="T9" fmla="*/ 1 h 8"/>
                <a:gd name="T10" fmla="*/ 8 w 8"/>
                <a:gd name="T11" fmla="*/ 3 h 8"/>
                <a:gd name="T12" fmla="*/ 2 w 8"/>
                <a:gd name="T13" fmla="*/ 8 h 8"/>
                <a:gd name="T14" fmla="*/ 2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2" y="5"/>
                    <a:pt x="4" y="3"/>
                    <a:pt x="5" y="1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6" y="5"/>
                    <a:pt x="4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353">
              <a:extLst>
                <a:ext uri="{FF2B5EF4-FFF2-40B4-BE49-F238E27FC236}">
                  <a16:creationId xmlns:a16="http://schemas.microsoft.com/office/drawing/2014/main" id="{BA0B683C-5AA8-47C2-A290-B276DFCF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" y="3696"/>
              <a:ext cx="8" cy="47"/>
            </a:xfrm>
            <a:custGeom>
              <a:avLst/>
              <a:gdLst>
                <a:gd name="T0" fmla="*/ 1 w 3"/>
                <a:gd name="T1" fmla="*/ 18 h 18"/>
                <a:gd name="T2" fmla="*/ 0 w 3"/>
                <a:gd name="T3" fmla="*/ 17 h 18"/>
                <a:gd name="T4" fmla="*/ 0 w 3"/>
                <a:gd name="T5" fmla="*/ 1 h 18"/>
                <a:gd name="T6" fmla="*/ 1 w 3"/>
                <a:gd name="T7" fmla="*/ 0 h 18"/>
                <a:gd name="T8" fmla="*/ 3 w 3"/>
                <a:gd name="T9" fmla="*/ 1 h 18"/>
                <a:gd name="T10" fmla="*/ 3 w 3"/>
                <a:gd name="T11" fmla="*/ 17 h 18"/>
                <a:gd name="T12" fmla="*/ 1 w 3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8">
                  <a:moveTo>
                    <a:pt x="1" y="18"/>
                  </a:moveTo>
                  <a:cubicBezTo>
                    <a:pt x="0" y="18"/>
                    <a:pt x="0" y="18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2" y="18"/>
                    <a:pt x="1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54">
              <a:extLst>
                <a:ext uri="{FF2B5EF4-FFF2-40B4-BE49-F238E27FC236}">
                  <a16:creationId xmlns:a16="http://schemas.microsoft.com/office/drawing/2014/main" id="{A533F261-68A9-46C1-BBF2-1AC0E0C90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4" y="3599"/>
              <a:ext cx="133" cy="205"/>
            </a:xfrm>
            <a:custGeom>
              <a:avLst/>
              <a:gdLst>
                <a:gd name="T0" fmla="*/ 26 w 52"/>
                <a:gd name="T1" fmla="*/ 80 h 80"/>
                <a:gd name="T2" fmla="*/ 26 w 52"/>
                <a:gd name="T3" fmla="*/ 80 h 80"/>
                <a:gd name="T4" fmla="*/ 0 w 52"/>
                <a:gd name="T5" fmla="*/ 55 h 80"/>
                <a:gd name="T6" fmla="*/ 0 w 52"/>
                <a:gd name="T7" fmla="*/ 26 h 80"/>
                <a:gd name="T8" fmla="*/ 26 w 52"/>
                <a:gd name="T9" fmla="*/ 0 h 80"/>
                <a:gd name="T10" fmla="*/ 26 w 52"/>
                <a:gd name="T11" fmla="*/ 0 h 80"/>
                <a:gd name="T12" fmla="*/ 52 w 52"/>
                <a:gd name="T13" fmla="*/ 26 h 80"/>
                <a:gd name="T14" fmla="*/ 50 w 52"/>
                <a:gd name="T15" fmla="*/ 27 h 80"/>
                <a:gd name="T16" fmla="*/ 49 w 52"/>
                <a:gd name="T17" fmla="*/ 26 h 80"/>
                <a:gd name="T18" fmla="*/ 26 w 52"/>
                <a:gd name="T19" fmla="*/ 3 h 80"/>
                <a:gd name="T20" fmla="*/ 26 w 52"/>
                <a:gd name="T21" fmla="*/ 3 h 80"/>
                <a:gd name="T22" fmla="*/ 3 w 52"/>
                <a:gd name="T23" fmla="*/ 26 h 80"/>
                <a:gd name="T24" fmla="*/ 3 w 52"/>
                <a:gd name="T25" fmla="*/ 55 h 80"/>
                <a:gd name="T26" fmla="*/ 26 w 52"/>
                <a:gd name="T27" fmla="*/ 77 h 80"/>
                <a:gd name="T28" fmla="*/ 26 w 52"/>
                <a:gd name="T29" fmla="*/ 77 h 80"/>
                <a:gd name="T30" fmla="*/ 28 w 52"/>
                <a:gd name="T31" fmla="*/ 79 h 80"/>
                <a:gd name="T32" fmla="*/ 26 w 52"/>
                <a:gd name="T3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80"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12" y="80"/>
                    <a:pt x="0" y="69"/>
                    <a:pt x="0" y="5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27"/>
                    <a:pt x="51" y="27"/>
                    <a:pt x="50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9" y="13"/>
                    <a:pt x="39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3" y="3"/>
                    <a:pt x="3" y="13"/>
                    <a:pt x="3" y="26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67"/>
                    <a:pt x="13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7" y="77"/>
                    <a:pt x="28" y="78"/>
                    <a:pt x="28" y="79"/>
                  </a:cubicBezTo>
                  <a:cubicBezTo>
                    <a:pt x="28" y="80"/>
                    <a:pt x="27" y="80"/>
                    <a:pt x="26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355">
              <a:extLst>
                <a:ext uri="{FF2B5EF4-FFF2-40B4-BE49-F238E27FC236}">
                  <a16:creationId xmlns:a16="http://schemas.microsoft.com/office/drawing/2014/main" id="{FF93AF65-2699-4737-A430-3BBE750EC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" y="3620"/>
              <a:ext cx="92" cy="164"/>
            </a:xfrm>
            <a:custGeom>
              <a:avLst/>
              <a:gdLst>
                <a:gd name="T0" fmla="*/ 18 w 36"/>
                <a:gd name="T1" fmla="*/ 64 h 64"/>
                <a:gd name="T2" fmla="*/ 18 w 36"/>
                <a:gd name="T3" fmla="*/ 64 h 64"/>
                <a:gd name="T4" fmla="*/ 0 w 36"/>
                <a:gd name="T5" fmla="*/ 47 h 64"/>
                <a:gd name="T6" fmla="*/ 0 w 36"/>
                <a:gd name="T7" fmla="*/ 18 h 64"/>
                <a:gd name="T8" fmla="*/ 18 w 36"/>
                <a:gd name="T9" fmla="*/ 0 h 64"/>
                <a:gd name="T10" fmla="*/ 19 w 36"/>
                <a:gd name="T11" fmla="*/ 2 h 64"/>
                <a:gd name="T12" fmla="*/ 18 w 36"/>
                <a:gd name="T13" fmla="*/ 3 h 64"/>
                <a:gd name="T14" fmla="*/ 3 w 36"/>
                <a:gd name="T15" fmla="*/ 18 h 64"/>
                <a:gd name="T16" fmla="*/ 3 w 36"/>
                <a:gd name="T17" fmla="*/ 47 h 64"/>
                <a:gd name="T18" fmla="*/ 18 w 36"/>
                <a:gd name="T19" fmla="*/ 61 h 64"/>
                <a:gd name="T20" fmla="*/ 18 w 36"/>
                <a:gd name="T21" fmla="*/ 61 h 64"/>
                <a:gd name="T22" fmla="*/ 33 w 36"/>
                <a:gd name="T23" fmla="*/ 47 h 64"/>
                <a:gd name="T24" fmla="*/ 33 w 36"/>
                <a:gd name="T25" fmla="*/ 18 h 64"/>
                <a:gd name="T26" fmla="*/ 34 w 36"/>
                <a:gd name="T27" fmla="*/ 16 h 64"/>
                <a:gd name="T28" fmla="*/ 36 w 36"/>
                <a:gd name="T29" fmla="*/ 18 h 64"/>
                <a:gd name="T30" fmla="*/ 36 w 36"/>
                <a:gd name="T31" fmla="*/ 47 h 64"/>
                <a:gd name="T32" fmla="*/ 18 w 36"/>
                <a:gd name="T3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64"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8" y="64"/>
                    <a:pt x="0" y="57"/>
                    <a:pt x="0" y="4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0" y="3"/>
                    <a:pt x="3" y="10"/>
                    <a:pt x="3" y="18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55"/>
                    <a:pt x="10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26" y="61"/>
                    <a:pt x="33" y="55"/>
                    <a:pt x="33" y="4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7"/>
                    <a:pt x="33" y="16"/>
                    <a:pt x="34" y="16"/>
                  </a:cubicBezTo>
                  <a:cubicBezTo>
                    <a:pt x="35" y="16"/>
                    <a:pt x="36" y="17"/>
                    <a:pt x="36" y="1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57"/>
                    <a:pt x="28" y="64"/>
                    <a:pt x="18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356">
              <a:extLst>
                <a:ext uri="{FF2B5EF4-FFF2-40B4-BE49-F238E27FC236}">
                  <a16:creationId xmlns:a16="http://schemas.microsoft.com/office/drawing/2014/main" id="{80F9CBDE-AA31-49FB-930E-04BCFA07F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" y="3643"/>
              <a:ext cx="46" cy="120"/>
            </a:xfrm>
            <a:custGeom>
              <a:avLst/>
              <a:gdLst>
                <a:gd name="T0" fmla="*/ 9 w 18"/>
                <a:gd name="T1" fmla="*/ 47 h 47"/>
                <a:gd name="T2" fmla="*/ 8 w 18"/>
                <a:gd name="T3" fmla="*/ 46 h 47"/>
                <a:gd name="T4" fmla="*/ 9 w 18"/>
                <a:gd name="T5" fmla="*/ 44 h 47"/>
                <a:gd name="T6" fmla="*/ 16 w 18"/>
                <a:gd name="T7" fmla="*/ 38 h 47"/>
                <a:gd name="T8" fmla="*/ 16 w 18"/>
                <a:gd name="T9" fmla="*/ 9 h 47"/>
                <a:gd name="T10" fmla="*/ 9 w 18"/>
                <a:gd name="T11" fmla="*/ 2 h 47"/>
                <a:gd name="T12" fmla="*/ 2 w 18"/>
                <a:gd name="T13" fmla="*/ 9 h 47"/>
                <a:gd name="T14" fmla="*/ 2 w 18"/>
                <a:gd name="T15" fmla="*/ 38 h 47"/>
                <a:gd name="T16" fmla="*/ 1 w 18"/>
                <a:gd name="T17" fmla="*/ 39 h 47"/>
                <a:gd name="T18" fmla="*/ 0 w 18"/>
                <a:gd name="T19" fmla="*/ 38 h 47"/>
                <a:gd name="T20" fmla="*/ 0 w 18"/>
                <a:gd name="T21" fmla="*/ 9 h 47"/>
                <a:gd name="T22" fmla="*/ 9 w 18"/>
                <a:gd name="T23" fmla="*/ 0 h 47"/>
                <a:gd name="T24" fmla="*/ 18 w 18"/>
                <a:gd name="T25" fmla="*/ 9 h 47"/>
                <a:gd name="T26" fmla="*/ 18 w 18"/>
                <a:gd name="T27" fmla="*/ 38 h 47"/>
                <a:gd name="T28" fmla="*/ 9 w 18"/>
                <a:gd name="T2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47">
                  <a:moveTo>
                    <a:pt x="9" y="47"/>
                  </a:moveTo>
                  <a:cubicBezTo>
                    <a:pt x="8" y="47"/>
                    <a:pt x="8" y="47"/>
                    <a:pt x="8" y="46"/>
                  </a:cubicBezTo>
                  <a:cubicBezTo>
                    <a:pt x="8" y="45"/>
                    <a:pt x="8" y="44"/>
                    <a:pt x="9" y="44"/>
                  </a:cubicBezTo>
                  <a:cubicBezTo>
                    <a:pt x="13" y="44"/>
                    <a:pt x="16" y="41"/>
                    <a:pt x="16" y="3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5"/>
                    <a:pt x="13" y="2"/>
                    <a:pt x="9" y="2"/>
                  </a:cubicBezTo>
                  <a:cubicBezTo>
                    <a:pt x="5" y="2"/>
                    <a:pt x="2" y="5"/>
                    <a:pt x="2" y="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9"/>
                    <a:pt x="2" y="39"/>
                    <a:pt x="1" y="39"/>
                  </a:cubicBezTo>
                  <a:cubicBezTo>
                    <a:pt x="0" y="39"/>
                    <a:pt x="0" y="39"/>
                    <a:pt x="0" y="3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43"/>
                    <a:pt x="14" y="47"/>
                    <a:pt x="9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357">
              <a:extLst>
                <a:ext uri="{FF2B5EF4-FFF2-40B4-BE49-F238E27FC236}">
                  <a16:creationId xmlns:a16="http://schemas.microsoft.com/office/drawing/2014/main" id="{DD628649-50C7-4688-989F-65C7D56C4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3663"/>
              <a:ext cx="5" cy="80"/>
            </a:xfrm>
            <a:custGeom>
              <a:avLst/>
              <a:gdLst>
                <a:gd name="T0" fmla="*/ 1 w 2"/>
                <a:gd name="T1" fmla="*/ 31 h 31"/>
                <a:gd name="T2" fmla="*/ 0 w 2"/>
                <a:gd name="T3" fmla="*/ 30 h 31"/>
                <a:gd name="T4" fmla="*/ 0 w 2"/>
                <a:gd name="T5" fmla="*/ 1 h 31"/>
                <a:gd name="T6" fmla="*/ 1 w 2"/>
                <a:gd name="T7" fmla="*/ 0 h 31"/>
                <a:gd name="T8" fmla="*/ 2 w 2"/>
                <a:gd name="T9" fmla="*/ 1 h 31"/>
                <a:gd name="T10" fmla="*/ 2 w 2"/>
                <a:gd name="T11" fmla="*/ 30 h 31"/>
                <a:gd name="T12" fmla="*/ 1 w 2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1">
                  <a:moveTo>
                    <a:pt x="1" y="31"/>
                  </a:moveTo>
                  <a:cubicBezTo>
                    <a:pt x="0" y="31"/>
                    <a:pt x="0" y="31"/>
                    <a:pt x="0" y="3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1"/>
                    <a:pt x="2" y="31"/>
                    <a:pt x="1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358">
              <a:extLst>
                <a:ext uri="{FF2B5EF4-FFF2-40B4-BE49-F238E27FC236}">
                  <a16:creationId xmlns:a16="http://schemas.microsoft.com/office/drawing/2014/main" id="{F9AB07B9-A4BE-4C0B-98FB-D712481C6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3504"/>
              <a:ext cx="5" cy="39"/>
            </a:xfrm>
            <a:custGeom>
              <a:avLst/>
              <a:gdLst>
                <a:gd name="T0" fmla="*/ 1 w 2"/>
                <a:gd name="T1" fmla="*/ 15 h 15"/>
                <a:gd name="T2" fmla="*/ 0 w 2"/>
                <a:gd name="T3" fmla="*/ 14 h 15"/>
                <a:gd name="T4" fmla="*/ 0 w 2"/>
                <a:gd name="T5" fmla="*/ 2 h 15"/>
                <a:gd name="T6" fmla="*/ 1 w 2"/>
                <a:gd name="T7" fmla="*/ 0 h 15"/>
                <a:gd name="T8" fmla="*/ 2 w 2"/>
                <a:gd name="T9" fmla="*/ 2 h 15"/>
                <a:gd name="T10" fmla="*/ 2 w 2"/>
                <a:gd name="T11" fmla="*/ 14 h 15"/>
                <a:gd name="T12" fmla="*/ 1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1" y="15"/>
                  </a:moveTo>
                  <a:cubicBezTo>
                    <a:pt x="0" y="15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359">
              <a:extLst>
                <a:ext uri="{FF2B5EF4-FFF2-40B4-BE49-F238E27FC236}">
                  <a16:creationId xmlns:a16="http://schemas.microsoft.com/office/drawing/2014/main" id="{CE477D32-5546-4773-9760-7A1F7A291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3865"/>
              <a:ext cx="5" cy="39"/>
            </a:xfrm>
            <a:custGeom>
              <a:avLst/>
              <a:gdLst>
                <a:gd name="T0" fmla="*/ 1 w 2"/>
                <a:gd name="T1" fmla="*/ 15 h 15"/>
                <a:gd name="T2" fmla="*/ 0 w 2"/>
                <a:gd name="T3" fmla="*/ 13 h 15"/>
                <a:gd name="T4" fmla="*/ 0 w 2"/>
                <a:gd name="T5" fmla="*/ 1 h 15"/>
                <a:gd name="T6" fmla="*/ 1 w 2"/>
                <a:gd name="T7" fmla="*/ 0 h 15"/>
                <a:gd name="T8" fmla="*/ 2 w 2"/>
                <a:gd name="T9" fmla="*/ 1 h 15"/>
                <a:gd name="T10" fmla="*/ 2 w 2"/>
                <a:gd name="T11" fmla="*/ 13 h 15"/>
                <a:gd name="T12" fmla="*/ 1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1" y="15"/>
                  </a:moveTo>
                  <a:cubicBezTo>
                    <a:pt x="0" y="15"/>
                    <a:pt x="0" y="14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5"/>
                    <a:pt x="1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360">
              <a:extLst>
                <a:ext uri="{FF2B5EF4-FFF2-40B4-BE49-F238E27FC236}">
                  <a16:creationId xmlns:a16="http://schemas.microsoft.com/office/drawing/2014/main" id="{12C454CD-97F6-4E0E-9899-A1CC1648E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" y="3702"/>
              <a:ext cx="39" cy="5"/>
            </a:xfrm>
            <a:custGeom>
              <a:avLst/>
              <a:gdLst>
                <a:gd name="T0" fmla="*/ 14 w 15"/>
                <a:gd name="T1" fmla="*/ 2 h 2"/>
                <a:gd name="T2" fmla="*/ 2 w 15"/>
                <a:gd name="T3" fmla="*/ 2 h 2"/>
                <a:gd name="T4" fmla="*/ 0 w 15"/>
                <a:gd name="T5" fmla="*/ 1 h 2"/>
                <a:gd name="T6" fmla="*/ 2 w 15"/>
                <a:gd name="T7" fmla="*/ 0 h 2"/>
                <a:gd name="T8" fmla="*/ 14 w 15"/>
                <a:gd name="T9" fmla="*/ 0 h 2"/>
                <a:gd name="T10" fmla="*/ 15 w 15"/>
                <a:gd name="T11" fmla="*/ 1 h 2"/>
                <a:gd name="T12" fmla="*/ 14 w 1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">
                  <a:moveTo>
                    <a:pt x="14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2"/>
                    <a:pt x="14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361">
              <a:extLst>
                <a:ext uri="{FF2B5EF4-FFF2-40B4-BE49-F238E27FC236}">
                  <a16:creationId xmlns:a16="http://schemas.microsoft.com/office/drawing/2014/main" id="{8B9649BE-7993-430B-91A3-A900459FE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4" y="3702"/>
              <a:ext cx="38" cy="5"/>
            </a:xfrm>
            <a:custGeom>
              <a:avLst/>
              <a:gdLst>
                <a:gd name="T0" fmla="*/ 13 w 15"/>
                <a:gd name="T1" fmla="*/ 2 h 2"/>
                <a:gd name="T2" fmla="*/ 1 w 15"/>
                <a:gd name="T3" fmla="*/ 2 h 2"/>
                <a:gd name="T4" fmla="*/ 0 w 15"/>
                <a:gd name="T5" fmla="*/ 1 h 2"/>
                <a:gd name="T6" fmla="*/ 1 w 15"/>
                <a:gd name="T7" fmla="*/ 0 h 2"/>
                <a:gd name="T8" fmla="*/ 13 w 15"/>
                <a:gd name="T9" fmla="*/ 0 h 2"/>
                <a:gd name="T10" fmla="*/ 15 w 15"/>
                <a:gd name="T11" fmla="*/ 1 h 2"/>
                <a:gd name="T12" fmla="*/ 13 w 1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">
                  <a:moveTo>
                    <a:pt x="1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4" y="2"/>
                    <a:pt x="13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226691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9C3F8F2-FB85-4034-9E20-1975295CA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9688154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afe Card Pay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mera Surveill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hishing Atta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tina Scann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vice Securit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iew On Mobi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urchase On Mobi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lecu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Particl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otating Particl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emistry Bottl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as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NA – Double Helix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uble Helix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NA Stran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Upload Download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Upload Download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Searc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cure Cloud Computing/Storag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Setting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E23D0CEE-9A91-42F6-8214-8469670580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6363" y="307182"/>
            <a:ext cx="758825" cy="760413"/>
            <a:chOff x="1000" y="398"/>
            <a:chExt cx="478" cy="479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CD4C93E-427D-433F-8D8D-D513F72698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00" y="398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047CA6D-408A-4592-A364-11255DD5F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" y="400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3C7F61F-BB6F-45D9-9A7F-87A3FCB139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2" y="550"/>
              <a:ext cx="25" cy="54"/>
            </a:xfrm>
            <a:custGeom>
              <a:avLst/>
              <a:gdLst>
                <a:gd name="T0" fmla="*/ 5 w 10"/>
                <a:gd name="T1" fmla="*/ 3 h 22"/>
                <a:gd name="T2" fmla="*/ 6 w 10"/>
                <a:gd name="T3" fmla="*/ 5 h 22"/>
                <a:gd name="T4" fmla="*/ 5 w 10"/>
                <a:gd name="T5" fmla="*/ 7 h 22"/>
                <a:gd name="T6" fmla="*/ 3 w 10"/>
                <a:gd name="T7" fmla="*/ 5 h 22"/>
                <a:gd name="T8" fmla="*/ 5 w 10"/>
                <a:gd name="T9" fmla="*/ 3 h 22"/>
                <a:gd name="T10" fmla="*/ 3 w 10"/>
                <a:gd name="T11" fmla="*/ 9 h 22"/>
                <a:gd name="T12" fmla="*/ 3 w 10"/>
                <a:gd name="T13" fmla="*/ 20 h 22"/>
                <a:gd name="T14" fmla="*/ 5 w 10"/>
                <a:gd name="T15" fmla="*/ 22 h 22"/>
                <a:gd name="T16" fmla="*/ 9 w 10"/>
                <a:gd name="T17" fmla="*/ 22 h 22"/>
                <a:gd name="T18" fmla="*/ 10 w 10"/>
                <a:gd name="T19" fmla="*/ 20 h 22"/>
                <a:gd name="T20" fmla="*/ 9 w 10"/>
                <a:gd name="T21" fmla="*/ 19 h 22"/>
                <a:gd name="T22" fmla="*/ 6 w 10"/>
                <a:gd name="T23" fmla="*/ 19 h 22"/>
                <a:gd name="T24" fmla="*/ 6 w 10"/>
                <a:gd name="T25" fmla="*/ 18 h 22"/>
                <a:gd name="T26" fmla="*/ 7 w 10"/>
                <a:gd name="T27" fmla="*/ 18 h 22"/>
                <a:gd name="T28" fmla="*/ 9 w 10"/>
                <a:gd name="T29" fmla="*/ 16 h 22"/>
                <a:gd name="T30" fmla="*/ 7 w 10"/>
                <a:gd name="T31" fmla="*/ 15 h 22"/>
                <a:gd name="T32" fmla="*/ 6 w 10"/>
                <a:gd name="T33" fmla="*/ 15 h 22"/>
                <a:gd name="T34" fmla="*/ 6 w 10"/>
                <a:gd name="T35" fmla="*/ 9 h 22"/>
                <a:gd name="T36" fmla="*/ 9 w 10"/>
                <a:gd name="T37" fmla="*/ 5 h 22"/>
                <a:gd name="T38" fmla="*/ 5 w 10"/>
                <a:gd name="T39" fmla="*/ 0 h 22"/>
                <a:gd name="T40" fmla="*/ 0 w 10"/>
                <a:gd name="T41" fmla="*/ 5 h 22"/>
                <a:gd name="T42" fmla="*/ 3 w 10"/>
                <a:gd name="T43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2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3" y="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10" y="19"/>
                    <a:pt x="9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9" y="17"/>
                    <a:pt x="9" y="16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9" y="7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1" y="9"/>
                    <a:pt x="3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B6BD246-4372-4484-8B3F-1B87D8190A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" y="501"/>
              <a:ext cx="294" cy="251"/>
            </a:xfrm>
            <a:custGeom>
              <a:avLst/>
              <a:gdLst>
                <a:gd name="T0" fmla="*/ 30 w 120"/>
                <a:gd name="T1" fmla="*/ 100 h 102"/>
                <a:gd name="T2" fmla="*/ 27 w 120"/>
                <a:gd name="T3" fmla="*/ 91 h 102"/>
                <a:gd name="T4" fmla="*/ 96 w 120"/>
                <a:gd name="T5" fmla="*/ 85 h 102"/>
                <a:gd name="T6" fmla="*/ 117 w 120"/>
                <a:gd name="T7" fmla="*/ 69 h 102"/>
                <a:gd name="T8" fmla="*/ 114 w 120"/>
                <a:gd name="T9" fmla="*/ 100 h 102"/>
                <a:gd name="T10" fmla="*/ 3 w 120"/>
                <a:gd name="T11" fmla="*/ 36 h 102"/>
                <a:gd name="T12" fmla="*/ 51 w 120"/>
                <a:gd name="T13" fmla="*/ 33 h 102"/>
                <a:gd name="T14" fmla="*/ 59 w 120"/>
                <a:gd name="T15" fmla="*/ 49 h 102"/>
                <a:gd name="T16" fmla="*/ 89 w 120"/>
                <a:gd name="T17" fmla="*/ 41 h 102"/>
                <a:gd name="T18" fmla="*/ 91 w 120"/>
                <a:gd name="T19" fmla="*/ 33 h 102"/>
                <a:gd name="T20" fmla="*/ 93 w 120"/>
                <a:gd name="T21" fmla="*/ 56 h 102"/>
                <a:gd name="T22" fmla="*/ 93 w 120"/>
                <a:gd name="T23" fmla="*/ 85 h 102"/>
                <a:gd name="T24" fmla="*/ 6 w 120"/>
                <a:gd name="T25" fmla="*/ 88 h 102"/>
                <a:gd name="T26" fmla="*/ 54 w 120"/>
                <a:gd name="T27" fmla="*/ 21 h 102"/>
                <a:gd name="T28" fmla="*/ 61 w 120"/>
                <a:gd name="T29" fmla="*/ 16 h 102"/>
                <a:gd name="T30" fmla="*/ 81 w 120"/>
                <a:gd name="T31" fmla="*/ 16 h 102"/>
                <a:gd name="T32" fmla="*/ 86 w 120"/>
                <a:gd name="T33" fmla="*/ 41 h 102"/>
                <a:gd name="T34" fmla="*/ 59 w 120"/>
                <a:gd name="T35" fmla="*/ 46 h 102"/>
                <a:gd name="T36" fmla="*/ 54 w 120"/>
                <a:gd name="T37" fmla="*/ 21 h 102"/>
                <a:gd name="T38" fmla="*/ 63 w 120"/>
                <a:gd name="T39" fmla="*/ 13 h 102"/>
                <a:gd name="T40" fmla="*/ 78 w 120"/>
                <a:gd name="T41" fmla="*/ 13 h 102"/>
                <a:gd name="T42" fmla="*/ 70 w 120"/>
                <a:gd name="T43" fmla="*/ 3 h 102"/>
                <a:gd name="T44" fmla="*/ 81 w 120"/>
                <a:gd name="T45" fmla="*/ 13 h 102"/>
                <a:gd name="T46" fmla="*/ 70 w 120"/>
                <a:gd name="T47" fmla="*/ 4 h 102"/>
                <a:gd name="T48" fmla="*/ 59 w 120"/>
                <a:gd name="T49" fmla="*/ 13 h 102"/>
                <a:gd name="T50" fmla="*/ 96 w 120"/>
                <a:gd name="T51" fmla="*/ 66 h 102"/>
                <a:gd name="T52" fmla="*/ 117 w 120"/>
                <a:gd name="T53" fmla="*/ 57 h 102"/>
                <a:gd name="T54" fmla="*/ 114 w 120"/>
                <a:gd name="T55" fmla="*/ 45 h 102"/>
                <a:gd name="T56" fmla="*/ 117 w 120"/>
                <a:gd name="T57" fmla="*/ 54 h 102"/>
                <a:gd name="T58" fmla="*/ 96 w 120"/>
                <a:gd name="T59" fmla="*/ 45 h 102"/>
                <a:gd name="T60" fmla="*/ 114 w 120"/>
                <a:gd name="T61" fmla="*/ 42 h 102"/>
                <a:gd name="T62" fmla="*/ 96 w 120"/>
                <a:gd name="T63" fmla="*/ 36 h 102"/>
                <a:gd name="T64" fmla="*/ 89 w 120"/>
                <a:gd name="T65" fmla="*/ 30 h 102"/>
                <a:gd name="T66" fmla="*/ 84 w 120"/>
                <a:gd name="T67" fmla="*/ 14 h 102"/>
                <a:gd name="T68" fmla="*/ 56 w 120"/>
                <a:gd name="T69" fmla="*/ 14 h 102"/>
                <a:gd name="T70" fmla="*/ 51 w 120"/>
                <a:gd name="T71" fmla="*/ 30 h 102"/>
                <a:gd name="T72" fmla="*/ 0 w 120"/>
                <a:gd name="T73" fmla="*/ 36 h 102"/>
                <a:gd name="T74" fmla="*/ 6 w 120"/>
                <a:gd name="T75" fmla="*/ 91 h 102"/>
                <a:gd name="T76" fmla="*/ 24 w 120"/>
                <a:gd name="T77" fmla="*/ 96 h 102"/>
                <a:gd name="T78" fmla="*/ 114 w 120"/>
                <a:gd name="T79" fmla="*/ 102 h 102"/>
                <a:gd name="T80" fmla="*/ 120 w 120"/>
                <a:gd name="T81" fmla="*/ 67 h 102"/>
                <a:gd name="T82" fmla="*/ 120 w 120"/>
                <a:gd name="T83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02">
                  <a:moveTo>
                    <a:pt x="114" y="100"/>
                  </a:moveTo>
                  <a:cubicBezTo>
                    <a:pt x="30" y="100"/>
                    <a:pt x="30" y="100"/>
                    <a:pt x="30" y="100"/>
                  </a:cubicBezTo>
                  <a:cubicBezTo>
                    <a:pt x="28" y="100"/>
                    <a:pt x="27" y="98"/>
                    <a:pt x="27" y="96"/>
                  </a:cubicBezTo>
                  <a:cubicBezTo>
                    <a:pt x="27" y="91"/>
                    <a:pt x="27" y="91"/>
                    <a:pt x="27" y="91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4" y="91"/>
                    <a:pt x="96" y="88"/>
                    <a:pt x="96" y="85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17" y="98"/>
                    <a:pt x="115" y="100"/>
                    <a:pt x="114" y="100"/>
                  </a:cubicBezTo>
                  <a:moveTo>
                    <a:pt x="3" y="85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4"/>
                    <a:pt x="5" y="33"/>
                    <a:pt x="6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6"/>
                    <a:pt x="55" y="49"/>
                    <a:pt x="59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6" y="49"/>
                    <a:pt x="89" y="46"/>
                    <a:pt x="89" y="41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2" y="33"/>
                    <a:pt x="93" y="34"/>
                    <a:pt x="93" y="3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93" y="87"/>
                    <a:pt x="92" y="88"/>
                    <a:pt x="91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8"/>
                    <a:pt x="3" y="87"/>
                    <a:pt x="3" y="85"/>
                  </a:cubicBezTo>
                  <a:moveTo>
                    <a:pt x="54" y="21"/>
                  </a:moveTo>
                  <a:cubicBezTo>
                    <a:pt x="54" y="18"/>
                    <a:pt x="56" y="16"/>
                    <a:pt x="59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16"/>
                    <a:pt x="86" y="18"/>
                    <a:pt x="86" y="21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4"/>
                    <a:pt x="84" y="46"/>
                    <a:pt x="81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6" y="46"/>
                    <a:pt x="54" y="44"/>
                    <a:pt x="54" y="41"/>
                  </a:cubicBezTo>
                  <a:lnTo>
                    <a:pt x="54" y="21"/>
                  </a:lnTo>
                  <a:close/>
                  <a:moveTo>
                    <a:pt x="78" y="13"/>
                  </a:moveTo>
                  <a:cubicBezTo>
                    <a:pt x="63" y="13"/>
                    <a:pt x="63" y="13"/>
                    <a:pt x="63" y="13"/>
                  </a:cubicBezTo>
                  <a:cubicBezTo>
                    <a:pt x="63" y="11"/>
                    <a:pt x="65" y="7"/>
                    <a:pt x="70" y="7"/>
                  </a:cubicBezTo>
                  <a:cubicBezTo>
                    <a:pt x="76" y="7"/>
                    <a:pt x="77" y="11"/>
                    <a:pt x="78" y="13"/>
                  </a:cubicBezTo>
                  <a:moveTo>
                    <a:pt x="59" y="13"/>
                  </a:moveTo>
                  <a:cubicBezTo>
                    <a:pt x="59" y="10"/>
                    <a:pt x="61" y="3"/>
                    <a:pt x="70" y="3"/>
                  </a:cubicBezTo>
                  <a:cubicBezTo>
                    <a:pt x="79" y="3"/>
                    <a:pt x="81" y="10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0" y="9"/>
                    <a:pt x="77" y="4"/>
                    <a:pt x="70" y="4"/>
                  </a:cubicBezTo>
                  <a:cubicBezTo>
                    <a:pt x="63" y="4"/>
                    <a:pt x="60" y="9"/>
                    <a:pt x="60" y="13"/>
                  </a:cubicBezTo>
                  <a:cubicBezTo>
                    <a:pt x="59" y="13"/>
                    <a:pt x="59" y="13"/>
                    <a:pt x="59" y="13"/>
                  </a:cubicBezTo>
                  <a:close/>
                  <a:moveTo>
                    <a:pt x="117" y="66"/>
                  </a:moveTo>
                  <a:cubicBezTo>
                    <a:pt x="96" y="66"/>
                    <a:pt x="96" y="66"/>
                    <a:pt x="96" y="66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7" y="66"/>
                  </a:lnTo>
                  <a:close/>
                  <a:moveTo>
                    <a:pt x="114" y="45"/>
                  </a:moveTo>
                  <a:cubicBezTo>
                    <a:pt x="115" y="45"/>
                    <a:pt x="117" y="46"/>
                    <a:pt x="117" y="48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45"/>
                    <a:pt x="96" y="45"/>
                    <a:pt x="96" y="45"/>
                  </a:cubicBezTo>
                  <a:lnTo>
                    <a:pt x="114" y="45"/>
                  </a:lnTo>
                  <a:close/>
                  <a:moveTo>
                    <a:pt x="114" y="42"/>
                  </a:moveTo>
                  <a:cubicBezTo>
                    <a:pt x="96" y="42"/>
                    <a:pt x="96" y="42"/>
                    <a:pt x="96" y="42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3"/>
                    <a:pt x="94" y="30"/>
                    <a:pt x="91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18"/>
                    <a:pt x="87" y="15"/>
                    <a:pt x="84" y="14"/>
                  </a:cubicBezTo>
                  <a:cubicBezTo>
                    <a:pt x="84" y="9"/>
                    <a:pt x="81" y="0"/>
                    <a:pt x="70" y="0"/>
                  </a:cubicBezTo>
                  <a:cubicBezTo>
                    <a:pt x="60" y="0"/>
                    <a:pt x="56" y="9"/>
                    <a:pt x="56" y="14"/>
                  </a:cubicBezTo>
                  <a:cubicBezTo>
                    <a:pt x="53" y="15"/>
                    <a:pt x="51" y="18"/>
                    <a:pt x="51" y="2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3" y="30"/>
                    <a:pt x="0" y="33"/>
                    <a:pt x="0" y="3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8"/>
                    <a:pt x="3" y="91"/>
                    <a:pt x="6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4" y="100"/>
                    <a:pt x="26" y="102"/>
                    <a:pt x="30" y="102"/>
                  </a:cubicBezTo>
                  <a:cubicBezTo>
                    <a:pt x="114" y="102"/>
                    <a:pt x="114" y="102"/>
                    <a:pt x="114" y="102"/>
                  </a:cubicBezTo>
                  <a:cubicBezTo>
                    <a:pt x="117" y="102"/>
                    <a:pt x="120" y="100"/>
                    <a:pt x="120" y="9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45"/>
                    <a:pt x="117" y="42"/>
                    <a:pt x="114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CE9D74B-2DF7-4878-A9E0-8A6C8C466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" y="683"/>
              <a:ext cx="8" cy="22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E39AF81C-77E3-4E9C-9C4B-E5CDE133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" y="683"/>
              <a:ext cx="7" cy="22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8AE15837-6C2C-4414-B0B2-96A42689B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" y="683"/>
              <a:ext cx="7" cy="22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5E789E9C-666E-4691-A225-1B5283141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" y="683"/>
              <a:ext cx="7" cy="22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DF202B87-78B2-4079-B865-8E2A2F012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683"/>
              <a:ext cx="7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3BB4C44D-4F48-4DD7-9AAA-3EE15D40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683"/>
              <a:ext cx="8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837815E6-AA4E-4171-B89B-1D92624D1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" y="683"/>
              <a:ext cx="8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7E6C0C6E-AFD7-40CC-BC23-87A1A6BB1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" y="683"/>
              <a:ext cx="7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5F7BE346-E904-4119-AD1F-0CF20414E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6" y="683"/>
              <a:ext cx="7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7EA7E5F7-842F-48D9-BDDD-9D56FC804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" y="683"/>
              <a:ext cx="7" cy="22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BCEDC112-31FA-4E6A-A204-131F9E34F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" y="683"/>
              <a:ext cx="7" cy="22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16B3BFC3-6DF6-440F-BBEE-0A34F6CD0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683"/>
              <a:ext cx="8" cy="2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2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2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8114D90-D2EC-4D4F-9509-486F4AC56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683"/>
              <a:ext cx="7" cy="2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2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2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5FACB878-9EC8-416F-9F1D-06BF45AE9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" y="683"/>
              <a:ext cx="7" cy="22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0599CFE1-6D9C-4CF9-852B-3B139FE1D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" y="683"/>
              <a:ext cx="7" cy="22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AEBBCCC2-CA34-4076-92BC-63A3FF22C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" y="683"/>
              <a:ext cx="7" cy="22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1334B997-C6B3-4484-8470-EE6DAF4F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8" y="708"/>
              <a:ext cx="8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3B9D233A-E6C8-4349-8A65-247975750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" y="708"/>
              <a:ext cx="7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8D7036E5-4C4A-402F-87BA-291BDD23E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708"/>
              <a:ext cx="7" cy="22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876422E9-9EF0-4292-987F-1C8A0829A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" y="602"/>
              <a:ext cx="37" cy="7"/>
            </a:xfrm>
            <a:custGeom>
              <a:avLst/>
              <a:gdLst>
                <a:gd name="T0" fmla="*/ 2 w 15"/>
                <a:gd name="T1" fmla="*/ 3 h 3"/>
                <a:gd name="T2" fmla="*/ 14 w 15"/>
                <a:gd name="T3" fmla="*/ 3 h 3"/>
                <a:gd name="T4" fmla="*/ 15 w 15"/>
                <a:gd name="T5" fmla="*/ 1 h 3"/>
                <a:gd name="T6" fmla="*/ 14 w 15"/>
                <a:gd name="T7" fmla="*/ 0 h 3"/>
                <a:gd name="T8" fmla="*/ 2 w 15"/>
                <a:gd name="T9" fmla="*/ 0 h 3"/>
                <a:gd name="T10" fmla="*/ 0 w 15"/>
                <a:gd name="T11" fmla="*/ 1 h 3"/>
                <a:gd name="T12" fmla="*/ 2 w 15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2" y="3"/>
                  </a:move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5" y="2"/>
                    <a:pt x="15" y="1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F31E67AF-CF32-4DFC-9404-3E7EA77E0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" y="614"/>
              <a:ext cx="98" cy="8"/>
            </a:xfrm>
            <a:custGeom>
              <a:avLst/>
              <a:gdLst>
                <a:gd name="T0" fmla="*/ 2 w 40"/>
                <a:gd name="T1" fmla="*/ 3 h 3"/>
                <a:gd name="T2" fmla="*/ 38 w 40"/>
                <a:gd name="T3" fmla="*/ 3 h 3"/>
                <a:gd name="T4" fmla="*/ 40 w 40"/>
                <a:gd name="T5" fmla="*/ 2 h 3"/>
                <a:gd name="T6" fmla="*/ 38 w 40"/>
                <a:gd name="T7" fmla="*/ 0 h 3"/>
                <a:gd name="T8" fmla="*/ 2 w 40"/>
                <a:gd name="T9" fmla="*/ 0 h 3"/>
                <a:gd name="T10" fmla="*/ 0 w 40"/>
                <a:gd name="T11" fmla="*/ 2 h 3"/>
                <a:gd name="T12" fmla="*/ 2 w 40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">
                  <a:moveTo>
                    <a:pt x="2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9" y="3"/>
                    <a:pt x="40" y="3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D146DC10-EC30-41EA-9457-E5749F64D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" y="602"/>
              <a:ext cx="22" cy="7"/>
            </a:xfrm>
            <a:custGeom>
              <a:avLst/>
              <a:gdLst>
                <a:gd name="T0" fmla="*/ 2 w 9"/>
                <a:gd name="T1" fmla="*/ 3 h 3"/>
                <a:gd name="T2" fmla="*/ 7 w 9"/>
                <a:gd name="T3" fmla="*/ 3 h 3"/>
                <a:gd name="T4" fmla="*/ 9 w 9"/>
                <a:gd name="T5" fmla="*/ 1 h 3"/>
                <a:gd name="T6" fmla="*/ 7 w 9"/>
                <a:gd name="T7" fmla="*/ 0 h 3"/>
                <a:gd name="T8" fmla="*/ 2 w 9"/>
                <a:gd name="T9" fmla="*/ 0 h 3"/>
                <a:gd name="T10" fmla="*/ 0 w 9"/>
                <a:gd name="T11" fmla="*/ 1 h 3"/>
                <a:gd name="T12" fmla="*/ 2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2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2">
            <a:extLst>
              <a:ext uri="{FF2B5EF4-FFF2-40B4-BE49-F238E27FC236}">
                <a16:creationId xmlns:a16="http://schemas.microsoft.com/office/drawing/2014/main" id="{A80F1F2A-6286-4383-BE97-270A799A5E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3701" y="266701"/>
            <a:ext cx="841375" cy="841375"/>
            <a:chOff x="355" y="256"/>
            <a:chExt cx="530" cy="530"/>
          </a:xfrm>
        </p:grpSpPr>
        <p:sp>
          <p:nvSpPr>
            <p:cNvPr id="35" name="AutoShape 31">
              <a:extLst>
                <a:ext uri="{FF2B5EF4-FFF2-40B4-BE49-F238E27FC236}">
                  <a16:creationId xmlns:a16="http://schemas.microsoft.com/office/drawing/2014/main" id="{3114FC97-C00D-4562-8B7E-0F81AAECFB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5" y="25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3">
              <a:extLst>
                <a:ext uri="{FF2B5EF4-FFF2-40B4-BE49-F238E27FC236}">
                  <a16:creationId xmlns:a16="http://schemas.microsoft.com/office/drawing/2014/main" id="{144022C3-7B50-4686-A4A6-90D61735D9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" y="25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76EB7C93-0601-4238-A0C3-AE6966C27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" y="27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AFD70358-7173-4E5E-8E52-2DF585891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" y="430"/>
              <a:ext cx="26" cy="56"/>
            </a:xfrm>
            <a:custGeom>
              <a:avLst/>
              <a:gdLst>
                <a:gd name="T0" fmla="*/ 5 w 10"/>
                <a:gd name="T1" fmla="*/ 3 h 22"/>
                <a:gd name="T2" fmla="*/ 6 w 10"/>
                <a:gd name="T3" fmla="*/ 5 h 22"/>
                <a:gd name="T4" fmla="*/ 5 w 10"/>
                <a:gd name="T5" fmla="*/ 7 h 22"/>
                <a:gd name="T6" fmla="*/ 3 w 10"/>
                <a:gd name="T7" fmla="*/ 5 h 22"/>
                <a:gd name="T8" fmla="*/ 5 w 10"/>
                <a:gd name="T9" fmla="*/ 3 h 22"/>
                <a:gd name="T10" fmla="*/ 3 w 10"/>
                <a:gd name="T11" fmla="*/ 9 h 22"/>
                <a:gd name="T12" fmla="*/ 3 w 10"/>
                <a:gd name="T13" fmla="*/ 20 h 22"/>
                <a:gd name="T14" fmla="*/ 5 w 10"/>
                <a:gd name="T15" fmla="*/ 22 h 22"/>
                <a:gd name="T16" fmla="*/ 9 w 10"/>
                <a:gd name="T17" fmla="*/ 22 h 22"/>
                <a:gd name="T18" fmla="*/ 10 w 10"/>
                <a:gd name="T19" fmla="*/ 20 h 22"/>
                <a:gd name="T20" fmla="*/ 9 w 10"/>
                <a:gd name="T21" fmla="*/ 19 h 22"/>
                <a:gd name="T22" fmla="*/ 6 w 10"/>
                <a:gd name="T23" fmla="*/ 19 h 22"/>
                <a:gd name="T24" fmla="*/ 6 w 10"/>
                <a:gd name="T25" fmla="*/ 18 h 22"/>
                <a:gd name="T26" fmla="*/ 7 w 10"/>
                <a:gd name="T27" fmla="*/ 18 h 22"/>
                <a:gd name="T28" fmla="*/ 9 w 10"/>
                <a:gd name="T29" fmla="*/ 16 h 22"/>
                <a:gd name="T30" fmla="*/ 7 w 10"/>
                <a:gd name="T31" fmla="*/ 15 h 22"/>
                <a:gd name="T32" fmla="*/ 6 w 10"/>
                <a:gd name="T33" fmla="*/ 15 h 22"/>
                <a:gd name="T34" fmla="*/ 6 w 10"/>
                <a:gd name="T35" fmla="*/ 9 h 22"/>
                <a:gd name="T36" fmla="*/ 9 w 10"/>
                <a:gd name="T37" fmla="*/ 5 h 22"/>
                <a:gd name="T38" fmla="*/ 5 w 10"/>
                <a:gd name="T39" fmla="*/ 0 h 22"/>
                <a:gd name="T40" fmla="*/ 0 w 10"/>
                <a:gd name="T41" fmla="*/ 5 h 22"/>
                <a:gd name="T42" fmla="*/ 3 w 10"/>
                <a:gd name="T43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2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3" y="9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1"/>
                    <a:pt x="10" y="20"/>
                  </a:cubicBezTo>
                  <a:cubicBezTo>
                    <a:pt x="10" y="20"/>
                    <a:pt x="10" y="19"/>
                    <a:pt x="9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9" y="17"/>
                    <a:pt x="9" y="16"/>
                  </a:cubicBezTo>
                  <a:cubicBezTo>
                    <a:pt x="9" y="15"/>
                    <a:pt x="8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9" y="7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1" y="9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FCD03644-900A-4E32-AEE2-3BF0AFCF4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" y="379"/>
              <a:ext cx="307" cy="261"/>
            </a:xfrm>
            <a:custGeom>
              <a:avLst/>
              <a:gdLst>
                <a:gd name="T0" fmla="*/ 30 w 120"/>
                <a:gd name="T1" fmla="*/ 100 h 102"/>
                <a:gd name="T2" fmla="*/ 27 w 120"/>
                <a:gd name="T3" fmla="*/ 91 h 102"/>
                <a:gd name="T4" fmla="*/ 96 w 120"/>
                <a:gd name="T5" fmla="*/ 85 h 102"/>
                <a:gd name="T6" fmla="*/ 117 w 120"/>
                <a:gd name="T7" fmla="*/ 69 h 102"/>
                <a:gd name="T8" fmla="*/ 114 w 120"/>
                <a:gd name="T9" fmla="*/ 100 h 102"/>
                <a:gd name="T10" fmla="*/ 3 w 120"/>
                <a:gd name="T11" fmla="*/ 36 h 102"/>
                <a:gd name="T12" fmla="*/ 51 w 120"/>
                <a:gd name="T13" fmla="*/ 33 h 102"/>
                <a:gd name="T14" fmla="*/ 59 w 120"/>
                <a:gd name="T15" fmla="*/ 49 h 102"/>
                <a:gd name="T16" fmla="*/ 89 w 120"/>
                <a:gd name="T17" fmla="*/ 41 h 102"/>
                <a:gd name="T18" fmla="*/ 91 w 120"/>
                <a:gd name="T19" fmla="*/ 33 h 102"/>
                <a:gd name="T20" fmla="*/ 93 w 120"/>
                <a:gd name="T21" fmla="*/ 56 h 102"/>
                <a:gd name="T22" fmla="*/ 93 w 120"/>
                <a:gd name="T23" fmla="*/ 85 h 102"/>
                <a:gd name="T24" fmla="*/ 6 w 120"/>
                <a:gd name="T25" fmla="*/ 88 h 102"/>
                <a:gd name="T26" fmla="*/ 54 w 120"/>
                <a:gd name="T27" fmla="*/ 21 h 102"/>
                <a:gd name="T28" fmla="*/ 61 w 120"/>
                <a:gd name="T29" fmla="*/ 16 h 102"/>
                <a:gd name="T30" fmla="*/ 81 w 120"/>
                <a:gd name="T31" fmla="*/ 16 h 102"/>
                <a:gd name="T32" fmla="*/ 86 w 120"/>
                <a:gd name="T33" fmla="*/ 41 h 102"/>
                <a:gd name="T34" fmla="*/ 59 w 120"/>
                <a:gd name="T35" fmla="*/ 46 h 102"/>
                <a:gd name="T36" fmla="*/ 54 w 120"/>
                <a:gd name="T37" fmla="*/ 21 h 102"/>
                <a:gd name="T38" fmla="*/ 63 w 120"/>
                <a:gd name="T39" fmla="*/ 13 h 102"/>
                <a:gd name="T40" fmla="*/ 78 w 120"/>
                <a:gd name="T41" fmla="*/ 13 h 102"/>
                <a:gd name="T42" fmla="*/ 70 w 120"/>
                <a:gd name="T43" fmla="*/ 3 h 102"/>
                <a:gd name="T44" fmla="*/ 81 w 120"/>
                <a:gd name="T45" fmla="*/ 13 h 102"/>
                <a:gd name="T46" fmla="*/ 70 w 120"/>
                <a:gd name="T47" fmla="*/ 4 h 102"/>
                <a:gd name="T48" fmla="*/ 59 w 120"/>
                <a:gd name="T49" fmla="*/ 13 h 102"/>
                <a:gd name="T50" fmla="*/ 96 w 120"/>
                <a:gd name="T51" fmla="*/ 66 h 102"/>
                <a:gd name="T52" fmla="*/ 117 w 120"/>
                <a:gd name="T53" fmla="*/ 57 h 102"/>
                <a:gd name="T54" fmla="*/ 114 w 120"/>
                <a:gd name="T55" fmla="*/ 45 h 102"/>
                <a:gd name="T56" fmla="*/ 117 w 120"/>
                <a:gd name="T57" fmla="*/ 54 h 102"/>
                <a:gd name="T58" fmla="*/ 96 w 120"/>
                <a:gd name="T59" fmla="*/ 45 h 102"/>
                <a:gd name="T60" fmla="*/ 114 w 120"/>
                <a:gd name="T61" fmla="*/ 42 h 102"/>
                <a:gd name="T62" fmla="*/ 96 w 120"/>
                <a:gd name="T63" fmla="*/ 36 h 102"/>
                <a:gd name="T64" fmla="*/ 89 w 120"/>
                <a:gd name="T65" fmla="*/ 30 h 102"/>
                <a:gd name="T66" fmla="*/ 84 w 120"/>
                <a:gd name="T67" fmla="*/ 14 h 102"/>
                <a:gd name="T68" fmla="*/ 56 w 120"/>
                <a:gd name="T69" fmla="*/ 14 h 102"/>
                <a:gd name="T70" fmla="*/ 51 w 120"/>
                <a:gd name="T71" fmla="*/ 30 h 102"/>
                <a:gd name="T72" fmla="*/ 0 w 120"/>
                <a:gd name="T73" fmla="*/ 36 h 102"/>
                <a:gd name="T74" fmla="*/ 6 w 120"/>
                <a:gd name="T75" fmla="*/ 91 h 102"/>
                <a:gd name="T76" fmla="*/ 24 w 120"/>
                <a:gd name="T77" fmla="*/ 96 h 102"/>
                <a:gd name="T78" fmla="*/ 114 w 120"/>
                <a:gd name="T79" fmla="*/ 102 h 102"/>
                <a:gd name="T80" fmla="*/ 120 w 120"/>
                <a:gd name="T81" fmla="*/ 67 h 102"/>
                <a:gd name="T82" fmla="*/ 120 w 120"/>
                <a:gd name="T83" fmla="*/ 4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02">
                  <a:moveTo>
                    <a:pt x="114" y="100"/>
                  </a:moveTo>
                  <a:cubicBezTo>
                    <a:pt x="30" y="100"/>
                    <a:pt x="30" y="100"/>
                    <a:pt x="30" y="100"/>
                  </a:cubicBezTo>
                  <a:cubicBezTo>
                    <a:pt x="28" y="100"/>
                    <a:pt x="27" y="98"/>
                    <a:pt x="27" y="96"/>
                  </a:cubicBezTo>
                  <a:cubicBezTo>
                    <a:pt x="27" y="91"/>
                    <a:pt x="27" y="91"/>
                    <a:pt x="27" y="91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4" y="91"/>
                    <a:pt x="96" y="88"/>
                    <a:pt x="96" y="85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17" y="98"/>
                    <a:pt x="115" y="100"/>
                    <a:pt x="114" y="100"/>
                  </a:cubicBezTo>
                  <a:moveTo>
                    <a:pt x="3" y="85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4"/>
                    <a:pt x="5" y="33"/>
                    <a:pt x="6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6"/>
                    <a:pt x="55" y="49"/>
                    <a:pt x="59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6" y="49"/>
                    <a:pt x="89" y="46"/>
                    <a:pt x="89" y="41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2" y="33"/>
                    <a:pt x="93" y="34"/>
                    <a:pt x="93" y="3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93" y="87"/>
                    <a:pt x="92" y="88"/>
                    <a:pt x="91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8"/>
                    <a:pt x="3" y="87"/>
                    <a:pt x="3" y="85"/>
                  </a:cubicBezTo>
                  <a:moveTo>
                    <a:pt x="54" y="21"/>
                  </a:moveTo>
                  <a:cubicBezTo>
                    <a:pt x="54" y="18"/>
                    <a:pt x="56" y="16"/>
                    <a:pt x="59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16"/>
                    <a:pt x="86" y="18"/>
                    <a:pt x="86" y="21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4"/>
                    <a:pt x="84" y="46"/>
                    <a:pt x="81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6" y="46"/>
                    <a:pt x="54" y="44"/>
                    <a:pt x="54" y="41"/>
                  </a:cubicBezTo>
                  <a:lnTo>
                    <a:pt x="54" y="21"/>
                  </a:lnTo>
                  <a:close/>
                  <a:moveTo>
                    <a:pt x="78" y="13"/>
                  </a:moveTo>
                  <a:cubicBezTo>
                    <a:pt x="63" y="13"/>
                    <a:pt x="63" y="13"/>
                    <a:pt x="63" y="13"/>
                  </a:cubicBezTo>
                  <a:cubicBezTo>
                    <a:pt x="63" y="11"/>
                    <a:pt x="65" y="7"/>
                    <a:pt x="70" y="7"/>
                  </a:cubicBezTo>
                  <a:cubicBezTo>
                    <a:pt x="76" y="7"/>
                    <a:pt x="77" y="11"/>
                    <a:pt x="78" y="13"/>
                  </a:cubicBezTo>
                  <a:moveTo>
                    <a:pt x="59" y="13"/>
                  </a:moveTo>
                  <a:cubicBezTo>
                    <a:pt x="59" y="10"/>
                    <a:pt x="61" y="3"/>
                    <a:pt x="70" y="3"/>
                  </a:cubicBezTo>
                  <a:cubicBezTo>
                    <a:pt x="79" y="3"/>
                    <a:pt x="81" y="10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0" y="9"/>
                    <a:pt x="77" y="4"/>
                    <a:pt x="70" y="4"/>
                  </a:cubicBezTo>
                  <a:cubicBezTo>
                    <a:pt x="63" y="4"/>
                    <a:pt x="60" y="9"/>
                    <a:pt x="60" y="13"/>
                  </a:cubicBezTo>
                  <a:cubicBezTo>
                    <a:pt x="59" y="13"/>
                    <a:pt x="59" y="13"/>
                    <a:pt x="59" y="13"/>
                  </a:cubicBezTo>
                  <a:close/>
                  <a:moveTo>
                    <a:pt x="117" y="66"/>
                  </a:moveTo>
                  <a:cubicBezTo>
                    <a:pt x="96" y="66"/>
                    <a:pt x="96" y="66"/>
                    <a:pt x="96" y="66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7" y="66"/>
                  </a:lnTo>
                  <a:close/>
                  <a:moveTo>
                    <a:pt x="114" y="45"/>
                  </a:moveTo>
                  <a:cubicBezTo>
                    <a:pt x="115" y="45"/>
                    <a:pt x="117" y="46"/>
                    <a:pt x="117" y="48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45"/>
                    <a:pt x="96" y="45"/>
                    <a:pt x="96" y="45"/>
                  </a:cubicBezTo>
                  <a:lnTo>
                    <a:pt x="114" y="45"/>
                  </a:lnTo>
                  <a:close/>
                  <a:moveTo>
                    <a:pt x="114" y="42"/>
                  </a:moveTo>
                  <a:cubicBezTo>
                    <a:pt x="96" y="42"/>
                    <a:pt x="96" y="42"/>
                    <a:pt x="96" y="42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3"/>
                    <a:pt x="94" y="30"/>
                    <a:pt x="91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89" y="18"/>
                    <a:pt x="87" y="15"/>
                    <a:pt x="84" y="14"/>
                  </a:cubicBezTo>
                  <a:cubicBezTo>
                    <a:pt x="84" y="9"/>
                    <a:pt x="81" y="0"/>
                    <a:pt x="70" y="0"/>
                  </a:cubicBezTo>
                  <a:cubicBezTo>
                    <a:pt x="60" y="0"/>
                    <a:pt x="56" y="9"/>
                    <a:pt x="56" y="14"/>
                  </a:cubicBezTo>
                  <a:cubicBezTo>
                    <a:pt x="53" y="15"/>
                    <a:pt x="51" y="18"/>
                    <a:pt x="51" y="2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3" y="30"/>
                    <a:pt x="0" y="33"/>
                    <a:pt x="0" y="3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88"/>
                    <a:pt x="3" y="91"/>
                    <a:pt x="6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4" y="100"/>
                    <a:pt x="26" y="102"/>
                    <a:pt x="30" y="102"/>
                  </a:cubicBezTo>
                  <a:cubicBezTo>
                    <a:pt x="114" y="102"/>
                    <a:pt x="114" y="102"/>
                    <a:pt x="114" y="102"/>
                  </a:cubicBezTo>
                  <a:cubicBezTo>
                    <a:pt x="117" y="102"/>
                    <a:pt x="120" y="100"/>
                    <a:pt x="120" y="9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45"/>
                    <a:pt x="117" y="42"/>
                    <a:pt x="114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76C2A094-77D4-4482-BAA4-76087F5B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568"/>
              <a:ext cx="7" cy="23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D2C6DD69-B957-46F6-A38B-F21E43B3C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568"/>
              <a:ext cx="8" cy="23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9142FD13-8F7A-46FA-B0FC-10868FADE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568"/>
              <a:ext cx="8" cy="23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A8A609E3-2DF2-45EC-B1AB-094342235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568"/>
              <a:ext cx="8" cy="23"/>
            </a:xfrm>
            <a:custGeom>
              <a:avLst/>
              <a:gdLst>
                <a:gd name="T0" fmla="*/ 2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2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2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28CD69C4-A32C-4269-86A6-6B6CE027F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568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2BA03AF4-47FD-453A-AE6A-78585F066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" y="568"/>
              <a:ext cx="7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3">
              <a:extLst>
                <a:ext uri="{FF2B5EF4-FFF2-40B4-BE49-F238E27FC236}">
                  <a16:creationId xmlns:a16="http://schemas.microsoft.com/office/drawing/2014/main" id="{21B28AFA-C2B6-483B-8095-0E8FC6880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" y="568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4">
              <a:extLst>
                <a:ext uri="{FF2B5EF4-FFF2-40B4-BE49-F238E27FC236}">
                  <a16:creationId xmlns:a16="http://schemas.microsoft.com/office/drawing/2014/main" id="{D2EDA264-8F88-481D-B006-AED992DC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" y="568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1988792E-495A-480E-97E1-AC59FC11A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" y="568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8347AA23-9281-4F95-91AE-2E61A8EF5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568"/>
              <a:ext cx="8" cy="23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B2311EC5-530A-4BAD-A867-FFC2CD0A8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" y="568"/>
              <a:ext cx="7" cy="23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BC516AD7-63D2-40B4-AC46-310E7D04B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" y="568"/>
              <a:ext cx="8" cy="23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2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2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cubicBezTo>
                    <a:pt x="3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9">
              <a:extLst>
                <a:ext uri="{FF2B5EF4-FFF2-40B4-BE49-F238E27FC236}">
                  <a16:creationId xmlns:a16="http://schemas.microsoft.com/office/drawing/2014/main" id="{827E8A55-9575-43CE-BD55-AFE0CE06C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" y="568"/>
              <a:ext cx="8" cy="23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2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2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0">
              <a:extLst>
                <a:ext uri="{FF2B5EF4-FFF2-40B4-BE49-F238E27FC236}">
                  <a16:creationId xmlns:a16="http://schemas.microsoft.com/office/drawing/2014/main" id="{E2593699-0CA1-4B40-9F1C-EAAD14792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" y="568"/>
              <a:ext cx="7" cy="23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1">
              <a:extLst>
                <a:ext uri="{FF2B5EF4-FFF2-40B4-BE49-F238E27FC236}">
                  <a16:creationId xmlns:a16="http://schemas.microsoft.com/office/drawing/2014/main" id="{1D4856B9-D721-4479-84A6-0C4CDDCF6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" y="568"/>
              <a:ext cx="8" cy="23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2">
              <a:extLst>
                <a:ext uri="{FF2B5EF4-FFF2-40B4-BE49-F238E27FC236}">
                  <a16:creationId xmlns:a16="http://schemas.microsoft.com/office/drawing/2014/main" id="{1D87BC5B-AE1D-41A3-B86A-68EAC94EB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" y="568"/>
              <a:ext cx="8" cy="23"/>
            </a:xfrm>
            <a:custGeom>
              <a:avLst/>
              <a:gdLst>
                <a:gd name="T0" fmla="*/ 1 w 3"/>
                <a:gd name="T1" fmla="*/ 9 h 9"/>
                <a:gd name="T2" fmla="*/ 3 w 3"/>
                <a:gd name="T3" fmla="*/ 8 h 9"/>
                <a:gd name="T4" fmla="*/ 3 w 3"/>
                <a:gd name="T5" fmla="*/ 1 h 9"/>
                <a:gd name="T6" fmla="*/ 1 w 3"/>
                <a:gd name="T7" fmla="*/ 0 h 9"/>
                <a:gd name="T8" fmla="*/ 0 w 3"/>
                <a:gd name="T9" fmla="*/ 1 h 9"/>
                <a:gd name="T10" fmla="*/ 0 w 3"/>
                <a:gd name="T11" fmla="*/ 8 h 9"/>
                <a:gd name="T12" fmla="*/ 1 w 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9"/>
                  </a:move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3">
              <a:extLst>
                <a:ext uri="{FF2B5EF4-FFF2-40B4-BE49-F238E27FC236}">
                  <a16:creationId xmlns:a16="http://schemas.microsoft.com/office/drawing/2014/main" id="{02E759A2-0933-4BCB-A785-0D83CE821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594"/>
              <a:ext cx="7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4">
              <a:extLst>
                <a:ext uri="{FF2B5EF4-FFF2-40B4-BE49-F238E27FC236}">
                  <a16:creationId xmlns:a16="http://schemas.microsoft.com/office/drawing/2014/main" id="{B0D49AED-16B6-4FCD-A05B-0CF245FE7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" y="594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id="{0696F83A-9D95-484D-B8FA-5B5270057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" y="594"/>
              <a:ext cx="8" cy="23"/>
            </a:xfrm>
            <a:custGeom>
              <a:avLst/>
              <a:gdLst>
                <a:gd name="T0" fmla="*/ 1 w 3"/>
                <a:gd name="T1" fmla="*/ 0 h 9"/>
                <a:gd name="T2" fmla="*/ 0 w 3"/>
                <a:gd name="T3" fmla="*/ 1 h 9"/>
                <a:gd name="T4" fmla="*/ 0 w 3"/>
                <a:gd name="T5" fmla="*/ 8 h 9"/>
                <a:gd name="T6" fmla="*/ 1 w 3"/>
                <a:gd name="T7" fmla="*/ 9 h 9"/>
                <a:gd name="T8" fmla="*/ 3 w 3"/>
                <a:gd name="T9" fmla="*/ 8 h 9"/>
                <a:gd name="T10" fmla="*/ 3 w 3"/>
                <a:gd name="T11" fmla="*/ 1 h 9"/>
                <a:gd name="T12" fmla="*/ 1 w 3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6">
              <a:extLst>
                <a:ext uri="{FF2B5EF4-FFF2-40B4-BE49-F238E27FC236}">
                  <a16:creationId xmlns:a16="http://schemas.microsoft.com/office/drawing/2014/main" id="{5961AA8E-B669-4C42-9A98-8F8E9DD53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484"/>
              <a:ext cx="38" cy="7"/>
            </a:xfrm>
            <a:custGeom>
              <a:avLst/>
              <a:gdLst>
                <a:gd name="T0" fmla="*/ 2 w 15"/>
                <a:gd name="T1" fmla="*/ 3 h 3"/>
                <a:gd name="T2" fmla="*/ 14 w 15"/>
                <a:gd name="T3" fmla="*/ 3 h 3"/>
                <a:gd name="T4" fmla="*/ 15 w 15"/>
                <a:gd name="T5" fmla="*/ 1 h 3"/>
                <a:gd name="T6" fmla="*/ 14 w 15"/>
                <a:gd name="T7" fmla="*/ 0 h 3"/>
                <a:gd name="T8" fmla="*/ 2 w 15"/>
                <a:gd name="T9" fmla="*/ 0 h 3"/>
                <a:gd name="T10" fmla="*/ 0 w 15"/>
                <a:gd name="T11" fmla="*/ 1 h 3"/>
                <a:gd name="T12" fmla="*/ 2 w 15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2" y="3"/>
                  </a:move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5" y="2"/>
                    <a:pt x="15" y="1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7">
              <a:extLst>
                <a:ext uri="{FF2B5EF4-FFF2-40B4-BE49-F238E27FC236}">
                  <a16:creationId xmlns:a16="http://schemas.microsoft.com/office/drawing/2014/main" id="{4F10D9A8-D365-4CDE-9DC7-63421E97A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497"/>
              <a:ext cx="102" cy="7"/>
            </a:xfrm>
            <a:custGeom>
              <a:avLst/>
              <a:gdLst>
                <a:gd name="T0" fmla="*/ 2 w 40"/>
                <a:gd name="T1" fmla="*/ 3 h 3"/>
                <a:gd name="T2" fmla="*/ 38 w 40"/>
                <a:gd name="T3" fmla="*/ 3 h 3"/>
                <a:gd name="T4" fmla="*/ 40 w 40"/>
                <a:gd name="T5" fmla="*/ 2 h 3"/>
                <a:gd name="T6" fmla="*/ 38 w 40"/>
                <a:gd name="T7" fmla="*/ 0 h 3"/>
                <a:gd name="T8" fmla="*/ 2 w 40"/>
                <a:gd name="T9" fmla="*/ 0 h 3"/>
                <a:gd name="T10" fmla="*/ 0 w 40"/>
                <a:gd name="T11" fmla="*/ 2 h 3"/>
                <a:gd name="T12" fmla="*/ 2 w 40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">
                  <a:moveTo>
                    <a:pt x="2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9" y="3"/>
                    <a:pt x="40" y="3"/>
                    <a:pt x="40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8">
              <a:extLst>
                <a:ext uri="{FF2B5EF4-FFF2-40B4-BE49-F238E27FC236}">
                  <a16:creationId xmlns:a16="http://schemas.microsoft.com/office/drawing/2014/main" id="{0892D7C5-B79F-4CD4-BCC9-28C777E21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484"/>
              <a:ext cx="23" cy="7"/>
            </a:xfrm>
            <a:custGeom>
              <a:avLst/>
              <a:gdLst>
                <a:gd name="T0" fmla="*/ 2 w 9"/>
                <a:gd name="T1" fmla="*/ 3 h 3"/>
                <a:gd name="T2" fmla="*/ 7 w 9"/>
                <a:gd name="T3" fmla="*/ 3 h 3"/>
                <a:gd name="T4" fmla="*/ 9 w 9"/>
                <a:gd name="T5" fmla="*/ 1 h 3"/>
                <a:gd name="T6" fmla="*/ 7 w 9"/>
                <a:gd name="T7" fmla="*/ 0 h 3"/>
                <a:gd name="T8" fmla="*/ 2 w 9"/>
                <a:gd name="T9" fmla="*/ 0 h 3"/>
                <a:gd name="T10" fmla="*/ 0 w 9"/>
                <a:gd name="T11" fmla="*/ 1 h 3"/>
                <a:gd name="T12" fmla="*/ 2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2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61">
            <a:extLst>
              <a:ext uri="{FF2B5EF4-FFF2-40B4-BE49-F238E27FC236}">
                <a16:creationId xmlns:a16="http://schemas.microsoft.com/office/drawing/2014/main" id="{7FBA8015-91ED-4108-A1C8-9222B83468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693" y="307976"/>
            <a:ext cx="758825" cy="758825"/>
            <a:chOff x="2396" y="395"/>
            <a:chExt cx="478" cy="478"/>
          </a:xfrm>
        </p:grpSpPr>
        <p:sp>
          <p:nvSpPr>
            <p:cNvPr id="67" name="AutoShape 60">
              <a:extLst>
                <a:ext uri="{FF2B5EF4-FFF2-40B4-BE49-F238E27FC236}">
                  <a16:creationId xmlns:a16="http://schemas.microsoft.com/office/drawing/2014/main" id="{A99C9476-40D7-48E7-A3F2-816C265440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96" y="3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2">
              <a:extLst>
                <a:ext uri="{FF2B5EF4-FFF2-40B4-BE49-F238E27FC236}">
                  <a16:creationId xmlns:a16="http://schemas.microsoft.com/office/drawing/2014/main" id="{354B3FA3-4C56-4335-9FC3-B547A3F8BC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8" y="3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3">
              <a:extLst>
                <a:ext uri="{FF2B5EF4-FFF2-40B4-BE49-F238E27FC236}">
                  <a16:creationId xmlns:a16="http://schemas.microsoft.com/office/drawing/2014/main" id="{B2FA2868-CCD6-4D1D-A857-5DAAD4197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2" y="721"/>
              <a:ext cx="35" cy="49"/>
            </a:xfrm>
            <a:custGeom>
              <a:avLst/>
              <a:gdLst>
                <a:gd name="T0" fmla="*/ 7 w 14"/>
                <a:gd name="T1" fmla="*/ 18 h 20"/>
                <a:gd name="T2" fmla="*/ 3 w 14"/>
                <a:gd name="T3" fmla="*/ 13 h 20"/>
                <a:gd name="T4" fmla="*/ 7 w 14"/>
                <a:gd name="T5" fmla="*/ 9 h 20"/>
                <a:gd name="T6" fmla="*/ 11 w 14"/>
                <a:gd name="T7" fmla="*/ 13 h 20"/>
                <a:gd name="T8" fmla="*/ 7 w 14"/>
                <a:gd name="T9" fmla="*/ 18 h 20"/>
                <a:gd name="T10" fmla="*/ 8 w 14"/>
                <a:gd name="T11" fmla="*/ 6 h 20"/>
                <a:gd name="T12" fmla="*/ 8 w 14"/>
                <a:gd name="T13" fmla="*/ 1 h 20"/>
                <a:gd name="T14" fmla="*/ 7 w 14"/>
                <a:gd name="T15" fmla="*/ 0 h 20"/>
                <a:gd name="T16" fmla="*/ 5 w 14"/>
                <a:gd name="T17" fmla="*/ 1 h 20"/>
                <a:gd name="T18" fmla="*/ 5 w 14"/>
                <a:gd name="T19" fmla="*/ 6 h 20"/>
                <a:gd name="T20" fmla="*/ 0 w 14"/>
                <a:gd name="T21" fmla="*/ 13 h 20"/>
                <a:gd name="T22" fmla="*/ 7 w 14"/>
                <a:gd name="T23" fmla="*/ 20 h 20"/>
                <a:gd name="T24" fmla="*/ 14 w 14"/>
                <a:gd name="T25" fmla="*/ 13 h 20"/>
                <a:gd name="T26" fmla="*/ 8 w 14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0">
                  <a:moveTo>
                    <a:pt x="7" y="18"/>
                  </a:moveTo>
                  <a:cubicBezTo>
                    <a:pt x="4" y="18"/>
                    <a:pt x="3" y="16"/>
                    <a:pt x="3" y="13"/>
                  </a:cubicBezTo>
                  <a:cubicBezTo>
                    <a:pt x="3" y="11"/>
                    <a:pt x="4" y="9"/>
                    <a:pt x="7" y="9"/>
                  </a:cubicBezTo>
                  <a:cubicBezTo>
                    <a:pt x="9" y="9"/>
                    <a:pt x="11" y="11"/>
                    <a:pt x="11" y="13"/>
                  </a:cubicBezTo>
                  <a:cubicBezTo>
                    <a:pt x="11" y="16"/>
                    <a:pt x="9" y="18"/>
                    <a:pt x="7" y="18"/>
                  </a:cubicBezTo>
                  <a:moveTo>
                    <a:pt x="8" y="6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7"/>
                    <a:pt x="0" y="10"/>
                    <a:pt x="0" y="13"/>
                  </a:cubicBezTo>
                  <a:cubicBezTo>
                    <a:pt x="0" y="17"/>
                    <a:pt x="3" y="20"/>
                    <a:pt x="7" y="20"/>
                  </a:cubicBezTo>
                  <a:cubicBezTo>
                    <a:pt x="11" y="20"/>
                    <a:pt x="14" y="17"/>
                    <a:pt x="14" y="13"/>
                  </a:cubicBezTo>
                  <a:cubicBezTo>
                    <a:pt x="14" y="10"/>
                    <a:pt x="12" y="7"/>
                    <a:pt x="8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">
              <a:extLst>
                <a:ext uri="{FF2B5EF4-FFF2-40B4-BE49-F238E27FC236}">
                  <a16:creationId xmlns:a16="http://schemas.microsoft.com/office/drawing/2014/main" id="{A35EB1E9-C1D3-45C5-9C6B-60501A8E92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" y="721"/>
              <a:ext cx="34" cy="49"/>
            </a:xfrm>
            <a:custGeom>
              <a:avLst/>
              <a:gdLst>
                <a:gd name="T0" fmla="*/ 7 w 14"/>
                <a:gd name="T1" fmla="*/ 18 h 20"/>
                <a:gd name="T2" fmla="*/ 3 w 14"/>
                <a:gd name="T3" fmla="*/ 13 h 20"/>
                <a:gd name="T4" fmla="*/ 7 w 14"/>
                <a:gd name="T5" fmla="*/ 9 h 20"/>
                <a:gd name="T6" fmla="*/ 11 w 14"/>
                <a:gd name="T7" fmla="*/ 13 h 20"/>
                <a:gd name="T8" fmla="*/ 7 w 14"/>
                <a:gd name="T9" fmla="*/ 18 h 20"/>
                <a:gd name="T10" fmla="*/ 9 w 14"/>
                <a:gd name="T11" fmla="*/ 6 h 20"/>
                <a:gd name="T12" fmla="*/ 9 w 14"/>
                <a:gd name="T13" fmla="*/ 1 h 20"/>
                <a:gd name="T14" fmla="*/ 7 w 14"/>
                <a:gd name="T15" fmla="*/ 0 h 20"/>
                <a:gd name="T16" fmla="*/ 6 w 14"/>
                <a:gd name="T17" fmla="*/ 1 h 20"/>
                <a:gd name="T18" fmla="*/ 6 w 14"/>
                <a:gd name="T19" fmla="*/ 6 h 20"/>
                <a:gd name="T20" fmla="*/ 0 w 14"/>
                <a:gd name="T21" fmla="*/ 13 h 20"/>
                <a:gd name="T22" fmla="*/ 7 w 14"/>
                <a:gd name="T23" fmla="*/ 20 h 20"/>
                <a:gd name="T24" fmla="*/ 14 w 14"/>
                <a:gd name="T25" fmla="*/ 13 h 20"/>
                <a:gd name="T26" fmla="*/ 9 w 14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0">
                  <a:moveTo>
                    <a:pt x="7" y="18"/>
                  </a:moveTo>
                  <a:cubicBezTo>
                    <a:pt x="5" y="18"/>
                    <a:pt x="3" y="16"/>
                    <a:pt x="3" y="13"/>
                  </a:cubicBezTo>
                  <a:cubicBezTo>
                    <a:pt x="3" y="11"/>
                    <a:pt x="5" y="9"/>
                    <a:pt x="7" y="9"/>
                  </a:cubicBezTo>
                  <a:cubicBezTo>
                    <a:pt x="10" y="9"/>
                    <a:pt x="11" y="11"/>
                    <a:pt x="11" y="13"/>
                  </a:cubicBezTo>
                  <a:cubicBezTo>
                    <a:pt x="11" y="16"/>
                    <a:pt x="10" y="18"/>
                    <a:pt x="7" y="18"/>
                  </a:cubicBezTo>
                  <a:moveTo>
                    <a:pt x="9" y="6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3" y="7"/>
                    <a:pt x="0" y="10"/>
                    <a:pt x="0" y="13"/>
                  </a:cubicBezTo>
                  <a:cubicBezTo>
                    <a:pt x="0" y="17"/>
                    <a:pt x="3" y="20"/>
                    <a:pt x="7" y="20"/>
                  </a:cubicBezTo>
                  <a:cubicBezTo>
                    <a:pt x="11" y="20"/>
                    <a:pt x="14" y="17"/>
                    <a:pt x="14" y="13"/>
                  </a:cubicBezTo>
                  <a:cubicBezTo>
                    <a:pt x="14" y="10"/>
                    <a:pt x="12" y="7"/>
                    <a:pt x="9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5">
              <a:extLst>
                <a:ext uri="{FF2B5EF4-FFF2-40B4-BE49-F238E27FC236}">
                  <a16:creationId xmlns:a16="http://schemas.microsoft.com/office/drawing/2014/main" id="{23A3F1AC-F8B2-4FD5-9A80-989E10B6D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704"/>
              <a:ext cx="56" cy="34"/>
            </a:xfrm>
            <a:custGeom>
              <a:avLst/>
              <a:gdLst>
                <a:gd name="T0" fmla="*/ 15 w 23"/>
                <a:gd name="T1" fmla="*/ 11 h 14"/>
                <a:gd name="T2" fmla="*/ 11 w 23"/>
                <a:gd name="T3" fmla="*/ 7 h 14"/>
                <a:gd name="T4" fmla="*/ 15 w 23"/>
                <a:gd name="T5" fmla="*/ 3 h 14"/>
                <a:gd name="T6" fmla="*/ 20 w 23"/>
                <a:gd name="T7" fmla="*/ 7 h 14"/>
                <a:gd name="T8" fmla="*/ 15 w 23"/>
                <a:gd name="T9" fmla="*/ 11 h 14"/>
                <a:gd name="T10" fmla="*/ 15 w 23"/>
                <a:gd name="T11" fmla="*/ 0 h 14"/>
                <a:gd name="T12" fmla="*/ 8 w 23"/>
                <a:gd name="T13" fmla="*/ 5 h 14"/>
                <a:gd name="T14" fmla="*/ 2 w 23"/>
                <a:gd name="T15" fmla="*/ 5 h 14"/>
                <a:gd name="T16" fmla="*/ 0 w 23"/>
                <a:gd name="T17" fmla="*/ 7 h 14"/>
                <a:gd name="T18" fmla="*/ 2 w 23"/>
                <a:gd name="T19" fmla="*/ 8 h 14"/>
                <a:gd name="T20" fmla="*/ 8 w 23"/>
                <a:gd name="T21" fmla="*/ 8 h 14"/>
                <a:gd name="T22" fmla="*/ 15 w 23"/>
                <a:gd name="T23" fmla="*/ 14 h 14"/>
                <a:gd name="T24" fmla="*/ 23 w 23"/>
                <a:gd name="T25" fmla="*/ 7 h 14"/>
                <a:gd name="T26" fmla="*/ 15 w 23"/>
                <a:gd name="T2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">
                  <a:moveTo>
                    <a:pt x="15" y="11"/>
                  </a:moveTo>
                  <a:cubicBezTo>
                    <a:pt x="13" y="11"/>
                    <a:pt x="11" y="9"/>
                    <a:pt x="11" y="7"/>
                  </a:cubicBezTo>
                  <a:cubicBezTo>
                    <a:pt x="11" y="4"/>
                    <a:pt x="13" y="3"/>
                    <a:pt x="15" y="3"/>
                  </a:cubicBezTo>
                  <a:cubicBezTo>
                    <a:pt x="18" y="3"/>
                    <a:pt x="20" y="4"/>
                    <a:pt x="20" y="7"/>
                  </a:cubicBezTo>
                  <a:cubicBezTo>
                    <a:pt x="20" y="9"/>
                    <a:pt x="18" y="11"/>
                    <a:pt x="15" y="11"/>
                  </a:cubicBezTo>
                  <a:moveTo>
                    <a:pt x="15" y="0"/>
                  </a:moveTo>
                  <a:cubicBezTo>
                    <a:pt x="12" y="0"/>
                    <a:pt x="9" y="2"/>
                    <a:pt x="8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12"/>
                    <a:pt x="12" y="14"/>
                    <a:pt x="15" y="14"/>
                  </a:cubicBezTo>
                  <a:cubicBezTo>
                    <a:pt x="19" y="14"/>
                    <a:pt x="23" y="11"/>
                    <a:pt x="23" y="7"/>
                  </a:cubicBezTo>
                  <a:cubicBezTo>
                    <a:pt x="23" y="3"/>
                    <a:pt x="19" y="0"/>
                    <a:pt x="1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6">
              <a:extLst>
                <a:ext uri="{FF2B5EF4-FFF2-40B4-BE49-F238E27FC236}">
                  <a16:creationId xmlns:a16="http://schemas.microsoft.com/office/drawing/2014/main" id="{1AF3A3C5-4A72-4421-A6E6-685472BC7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6" y="704"/>
              <a:ext cx="57" cy="34"/>
            </a:xfrm>
            <a:custGeom>
              <a:avLst/>
              <a:gdLst>
                <a:gd name="T0" fmla="*/ 8 w 23"/>
                <a:gd name="T1" fmla="*/ 11 h 14"/>
                <a:gd name="T2" fmla="*/ 3 w 23"/>
                <a:gd name="T3" fmla="*/ 7 h 14"/>
                <a:gd name="T4" fmla="*/ 8 w 23"/>
                <a:gd name="T5" fmla="*/ 3 h 14"/>
                <a:gd name="T6" fmla="*/ 12 w 23"/>
                <a:gd name="T7" fmla="*/ 7 h 14"/>
                <a:gd name="T8" fmla="*/ 8 w 23"/>
                <a:gd name="T9" fmla="*/ 11 h 14"/>
                <a:gd name="T10" fmla="*/ 21 w 23"/>
                <a:gd name="T11" fmla="*/ 5 h 14"/>
                <a:gd name="T12" fmla="*/ 15 w 23"/>
                <a:gd name="T13" fmla="*/ 5 h 14"/>
                <a:gd name="T14" fmla="*/ 8 w 23"/>
                <a:gd name="T15" fmla="*/ 0 h 14"/>
                <a:gd name="T16" fmla="*/ 0 w 23"/>
                <a:gd name="T17" fmla="*/ 7 h 14"/>
                <a:gd name="T18" fmla="*/ 8 w 23"/>
                <a:gd name="T19" fmla="*/ 14 h 14"/>
                <a:gd name="T20" fmla="*/ 15 w 23"/>
                <a:gd name="T21" fmla="*/ 8 h 14"/>
                <a:gd name="T22" fmla="*/ 21 w 23"/>
                <a:gd name="T23" fmla="*/ 8 h 14"/>
                <a:gd name="T24" fmla="*/ 23 w 23"/>
                <a:gd name="T25" fmla="*/ 7 h 14"/>
                <a:gd name="T26" fmla="*/ 21 w 23"/>
                <a:gd name="T2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">
                  <a:moveTo>
                    <a:pt x="8" y="11"/>
                  </a:moveTo>
                  <a:cubicBezTo>
                    <a:pt x="5" y="11"/>
                    <a:pt x="3" y="9"/>
                    <a:pt x="3" y="7"/>
                  </a:cubicBezTo>
                  <a:cubicBezTo>
                    <a:pt x="3" y="4"/>
                    <a:pt x="5" y="3"/>
                    <a:pt x="8" y="3"/>
                  </a:cubicBezTo>
                  <a:cubicBezTo>
                    <a:pt x="10" y="3"/>
                    <a:pt x="12" y="4"/>
                    <a:pt x="12" y="7"/>
                  </a:cubicBezTo>
                  <a:cubicBezTo>
                    <a:pt x="12" y="9"/>
                    <a:pt x="10" y="11"/>
                    <a:pt x="8" y="11"/>
                  </a:cubicBezTo>
                  <a:moveTo>
                    <a:pt x="21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8" y="14"/>
                  </a:cubicBezTo>
                  <a:cubicBezTo>
                    <a:pt x="11" y="14"/>
                    <a:pt x="14" y="12"/>
                    <a:pt x="15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3" y="8"/>
                    <a:pt x="23" y="7"/>
                  </a:cubicBezTo>
                  <a:cubicBezTo>
                    <a:pt x="23" y="6"/>
                    <a:pt x="22" y="5"/>
                    <a:pt x="21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7">
              <a:extLst>
                <a:ext uri="{FF2B5EF4-FFF2-40B4-BE49-F238E27FC236}">
                  <a16:creationId xmlns:a16="http://schemas.microsoft.com/office/drawing/2014/main" id="{B29FEEB1-4630-4BF2-B762-83A683267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716"/>
              <a:ext cx="7" cy="7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2 w 3"/>
                <a:gd name="T5" fmla="*/ 0 h 3"/>
                <a:gd name="T6" fmla="*/ 0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0 w 3"/>
                <a:gd name="T19" fmla="*/ 3 h 3"/>
                <a:gd name="T20" fmla="*/ 1 w 3"/>
                <a:gd name="T21" fmla="*/ 3 h 3"/>
                <a:gd name="T22" fmla="*/ 1 w 3"/>
                <a:gd name="T23" fmla="*/ 3 h 3"/>
                <a:gd name="T24" fmla="*/ 2 w 3"/>
                <a:gd name="T25" fmla="*/ 3 h 3"/>
                <a:gd name="T26" fmla="*/ 3 w 3"/>
                <a:gd name="T27" fmla="*/ 2 h 3"/>
                <a:gd name="T28" fmla="*/ 2 w 3"/>
                <a:gd name="T29" fmla="*/ 1 h 3"/>
                <a:gd name="T30" fmla="*/ 2 w 3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8">
              <a:extLst>
                <a:ext uri="{FF2B5EF4-FFF2-40B4-BE49-F238E27FC236}">
                  <a16:creationId xmlns:a16="http://schemas.microsoft.com/office/drawing/2014/main" id="{5F03D4AC-C5F2-472F-9083-0FE77848E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" y="716"/>
              <a:ext cx="7" cy="7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3 w 3"/>
                <a:gd name="T5" fmla="*/ 1 h 3"/>
                <a:gd name="T6" fmla="*/ 1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1 w 3"/>
                <a:gd name="T19" fmla="*/ 3 h 3"/>
                <a:gd name="T20" fmla="*/ 2 w 3"/>
                <a:gd name="T21" fmla="*/ 3 h 3"/>
                <a:gd name="T22" fmla="*/ 3 w 3"/>
                <a:gd name="T23" fmla="*/ 3 h 3"/>
                <a:gd name="T24" fmla="*/ 3 w 3"/>
                <a:gd name="T25" fmla="*/ 2 h 3"/>
                <a:gd name="T26" fmla="*/ 3 w 3"/>
                <a:gd name="T27" fmla="*/ 2 h 3"/>
                <a:gd name="T28" fmla="*/ 3 w 3"/>
                <a:gd name="T29" fmla="*/ 2 h 3"/>
                <a:gd name="T30" fmla="*/ 3 w 3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B401BF86-E33A-48F3-B252-06372029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709"/>
              <a:ext cx="7" cy="7"/>
            </a:xfrm>
            <a:custGeom>
              <a:avLst/>
              <a:gdLst>
                <a:gd name="T0" fmla="*/ 1 w 3"/>
                <a:gd name="T1" fmla="*/ 3 h 3"/>
                <a:gd name="T2" fmla="*/ 2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2 w 3"/>
                <a:gd name="T9" fmla="*/ 1 h 3"/>
                <a:gd name="T10" fmla="*/ 2 w 3"/>
                <a:gd name="T11" fmla="*/ 1 h 3"/>
                <a:gd name="T12" fmla="*/ 2 w 3"/>
                <a:gd name="T13" fmla="*/ 0 h 3"/>
                <a:gd name="T14" fmla="*/ 2 w 3"/>
                <a:gd name="T15" fmla="*/ 0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1 h 3"/>
                <a:gd name="T22" fmla="*/ 0 w 3"/>
                <a:gd name="T23" fmla="*/ 2 h 3"/>
                <a:gd name="T24" fmla="*/ 0 w 3"/>
                <a:gd name="T25" fmla="*/ 2 h 3"/>
                <a:gd name="T26" fmla="*/ 0 w 3"/>
                <a:gd name="T27" fmla="*/ 2 h 3"/>
                <a:gd name="T28" fmla="*/ 0 w 3"/>
                <a:gd name="T29" fmla="*/ 3 h 3"/>
                <a:gd name="T30" fmla="*/ 1 w 3"/>
                <a:gd name="T3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DC1AB155-8D22-4955-8107-B2CC6E521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709"/>
              <a:ext cx="7" cy="7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3 w 3"/>
                <a:gd name="T9" fmla="*/ 1 h 3"/>
                <a:gd name="T10" fmla="*/ 3 w 3"/>
                <a:gd name="T11" fmla="*/ 1 h 3"/>
                <a:gd name="T12" fmla="*/ 2 w 3"/>
                <a:gd name="T13" fmla="*/ 0 h 3"/>
                <a:gd name="T14" fmla="*/ 2 w 3"/>
                <a:gd name="T15" fmla="*/ 0 h 3"/>
                <a:gd name="T16" fmla="*/ 1 w 3"/>
                <a:gd name="T17" fmla="*/ 1 h 3"/>
                <a:gd name="T18" fmla="*/ 0 w 3"/>
                <a:gd name="T19" fmla="*/ 2 h 3"/>
                <a:gd name="T20" fmla="*/ 0 w 3"/>
                <a:gd name="T21" fmla="*/ 2 h 3"/>
                <a:gd name="T22" fmla="*/ 1 w 3"/>
                <a:gd name="T23" fmla="*/ 3 h 3"/>
                <a:gd name="T24" fmla="*/ 2 w 3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1">
              <a:extLst>
                <a:ext uri="{FF2B5EF4-FFF2-40B4-BE49-F238E27FC236}">
                  <a16:creationId xmlns:a16="http://schemas.microsoft.com/office/drawing/2014/main" id="{C8205FE4-AC9F-487D-B8DB-B7EDF1683A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" y="498"/>
              <a:ext cx="270" cy="218"/>
            </a:xfrm>
            <a:custGeom>
              <a:avLst/>
              <a:gdLst>
                <a:gd name="T0" fmla="*/ 105 w 110"/>
                <a:gd name="T1" fmla="*/ 68 h 89"/>
                <a:gd name="T2" fmla="*/ 69 w 110"/>
                <a:gd name="T3" fmla="*/ 66 h 89"/>
                <a:gd name="T4" fmla="*/ 71 w 110"/>
                <a:gd name="T5" fmla="*/ 54 h 89"/>
                <a:gd name="T6" fmla="*/ 74 w 110"/>
                <a:gd name="T7" fmla="*/ 63 h 89"/>
                <a:gd name="T8" fmla="*/ 107 w 110"/>
                <a:gd name="T9" fmla="*/ 66 h 89"/>
                <a:gd name="T10" fmla="*/ 67 w 110"/>
                <a:gd name="T11" fmla="*/ 49 h 89"/>
                <a:gd name="T12" fmla="*/ 68 w 110"/>
                <a:gd name="T13" fmla="*/ 52 h 89"/>
                <a:gd name="T14" fmla="*/ 67 w 110"/>
                <a:gd name="T15" fmla="*/ 49 h 89"/>
                <a:gd name="T16" fmla="*/ 29 w 110"/>
                <a:gd name="T17" fmla="*/ 27 h 89"/>
                <a:gd name="T18" fmla="*/ 27 w 110"/>
                <a:gd name="T19" fmla="*/ 19 h 89"/>
                <a:gd name="T20" fmla="*/ 96 w 110"/>
                <a:gd name="T21" fmla="*/ 38 h 89"/>
                <a:gd name="T22" fmla="*/ 78 w 110"/>
                <a:gd name="T23" fmla="*/ 43 h 89"/>
                <a:gd name="T24" fmla="*/ 36 w 110"/>
                <a:gd name="T25" fmla="*/ 54 h 89"/>
                <a:gd name="T26" fmla="*/ 31 w 110"/>
                <a:gd name="T27" fmla="*/ 45 h 89"/>
                <a:gd name="T28" fmla="*/ 20 w 110"/>
                <a:gd name="T29" fmla="*/ 42 h 89"/>
                <a:gd name="T30" fmla="*/ 27 w 110"/>
                <a:gd name="T31" fmla="*/ 29 h 89"/>
                <a:gd name="T32" fmla="*/ 31 w 110"/>
                <a:gd name="T33" fmla="*/ 45 h 89"/>
                <a:gd name="T34" fmla="*/ 11 w 110"/>
                <a:gd name="T35" fmla="*/ 57 h 89"/>
                <a:gd name="T36" fmla="*/ 9 w 110"/>
                <a:gd name="T37" fmla="*/ 28 h 89"/>
                <a:gd name="T38" fmla="*/ 14 w 110"/>
                <a:gd name="T39" fmla="*/ 30 h 89"/>
                <a:gd name="T40" fmla="*/ 19 w 110"/>
                <a:gd name="T41" fmla="*/ 50 h 89"/>
                <a:gd name="T42" fmla="*/ 19 w 110"/>
                <a:gd name="T43" fmla="*/ 51 h 89"/>
                <a:gd name="T44" fmla="*/ 105 w 110"/>
                <a:gd name="T45" fmla="*/ 61 h 89"/>
                <a:gd name="T46" fmla="*/ 73 w 110"/>
                <a:gd name="T47" fmla="*/ 53 h 89"/>
                <a:gd name="T48" fmla="*/ 98 w 110"/>
                <a:gd name="T49" fmla="*/ 41 h 89"/>
                <a:gd name="T50" fmla="*/ 90 w 110"/>
                <a:gd name="T51" fmla="*/ 2 h 89"/>
                <a:gd name="T52" fmla="*/ 88 w 110"/>
                <a:gd name="T53" fmla="*/ 1 h 89"/>
                <a:gd name="T54" fmla="*/ 25 w 110"/>
                <a:gd name="T55" fmla="*/ 17 h 89"/>
                <a:gd name="T56" fmla="*/ 26 w 110"/>
                <a:gd name="T57" fmla="*/ 26 h 89"/>
                <a:gd name="T58" fmla="*/ 14 w 110"/>
                <a:gd name="T59" fmla="*/ 25 h 89"/>
                <a:gd name="T60" fmla="*/ 1 w 110"/>
                <a:gd name="T61" fmla="*/ 27 h 89"/>
                <a:gd name="T62" fmla="*/ 0 w 110"/>
                <a:gd name="T63" fmla="*/ 28 h 89"/>
                <a:gd name="T64" fmla="*/ 9 w 110"/>
                <a:gd name="T65" fmla="*/ 60 h 89"/>
                <a:gd name="T66" fmla="*/ 10 w 110"/>
                <a:gd name="T67" fmla="*/ 60 h 89"/>
                <a:gd name="T68" fmla="*/ 21 w 110"/>
                <a:gd name="T69" fmla="*/ 55 h 89"/>
                <a:gd name="T70" fmla="*/ 32 w 110"/>
                <a:gd name="T71" fmla="*/ 48 h 89"/>
                <a:gd name="T72" fmla="*/ 35 w 110"/>
                <a:gd name="T73" fmla="*/ 57 h 89"/>
                <a:gd name="T74" fmla="*/ 54 w 110"/>
                <a:gd name="T75" fmla="*/ 52 h 89"/>
                <a:gd name="T76" fmla="*/ 27 w 110"/>
                <a:gd name="T77" fmla="*/ 76 h 89"/>
                <a:gd name="T78" fmla="*/ 26 w 110"/>
                <a:gd name="T79" fmla="*/ 87 h 89"/>
                <a:gd name="T80" fmla="*/ 29 w 110"/>
                <a:gd name="T81" fmla="*/ 87 h 89"/>
                <a:gd name="T82" fmla="*/ 46 w 110"/>
                <a:gd name="T83" fmla="*/ 79 h 89"/>
                <a:gd name="T84" fmla="*/ 44 w 110"/>
                <a:gd name="T85" fmla="*/ 86 h 89"/>
                <a:gd name="T86" fmla="*/ 44 w 110"/>
                <a:gd name="T87" fmla="*/ 89 h 89"/>
                <a:gd name="T88" fmla="*/ 49 w 110"/>
                <a:gd name="T89" fmla="*/ 88 h 89"/>
                <a:gd name="T90" fmla="*/ 61 w 110"/>
                <a:gd name="T91" fmla="*/ 79 h 89"/>
                <a:gd name="T92" fmla="*/ 62 w 110"/>
                <a:gd name="T93" fmla="*/ 89 h 89"/>
                <a:gd name="T94" fmla="*/ 68 w 110"/>
                <a:gd name="T95" fmla="*/ 88 h 89"/>
                <a:gd name="T96" fmla="*/ 64 w 110"/>
                <a:gd name="T97" fmla="*/ 86 h 89"/>
                <a:gd name="T98" fmla="*/ 81 w 110"/>
                <a:gd name="T99" fmla="*/ 79 h 89"/>
                <a:gd name="T100" fmla="*/ 83 w 110"/>
                <a:gd name="T101" fmla="*/ 88 h 89"/>
                <a:gd name="T102" fmla="*/ 84 w 110"/>
                <a:gd name="T103" fmla="*/ 78 h 89"/>
                <a:gd name="T104" fmla="*/ 56 w 110"/>
                <a:gd name="T105" fmla="*/ 76 h 89"/>
                <a:gd name="T106" fmla="*/ 63 w 110"/>
                <a:gd name="T107" fmla="*/ 55 h 89"/>
                <a:gd name="T108" fmla="*/ 71 w 110"/>
                <a:gd name="T109" fmla="*/ 71 h 89"/>
                <a:gd name="T110" fmla="*/ 105 w 110"/>
                <a:gd name="T111" fmla="*/ 71 h 89"/>
                <a:gd name="T112" fmla="*/ 110 w 110"/>
                <a:gd name="T113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" h="89">
                  <a:moveTo>
                    <a:pt x="105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0" y="68"/>
                    <a:pt x="69" y="67"/>
                    <a:pt x="69" y="6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3"/>
                    <a:pt x="74" y="63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6" y="64"/>
                    <a:pt x="107" y="65"/>
                    <a:pt x="107" y="66"/>
                  </a:cubicBezTo>
                  <a:cubicBezTo>
                    <a:pt x="107" y="67"/>
                    <a:pt x="106" y="68"/>
                    <a:pt x="105" y="68"/>
                  </a:cubicBezTo>
                  <a:moveTo>
                    <a:pt x="67" y="49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4" y="49"/>
                    <a:pt x="71" y="51"/>
                    <a:pt x="68" y="52"/>
                  </a:cubicBezTo>
                  <a:cubicBezTo>
                    <a:pt x="65" y="53"/>
                    <a:pt x="61" y="52"/>
                    <a:pt x="58" y="51"/>
                  </a:cubicBezTo>
                  <a:lnTo>
                    <a:pt x="67" y="49"/>
                  </a:lnTo>
                  <a:close/>
                  <a:moveTo>
                    <a:pt x="32" y="3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36" y="54"/>
                    <a:pt x="36" y="54"/>
                    <a:pt x="36" y="54"/>
                  </a:cubicBezTo>
                  <a:lnTo>
                    <a:pt x="32" y="36"/>
                  </a:lnTo>
                  <a:close/>
                  <a:moveTo>
                    <a:pt x="31" y="45"/>
                  </a:moveTo>
                  <a:cubicBezTo>
                    <a:pt x="22" y="48"/>
                    <a:pt x="22" y="48"/>
                    <a:pt x="22" y="4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7"/>
                    <a:pt x="29" y="37"/>
                    <a:pt x="29" y="37"/>
                  </a:cubicBezTo>
                  <a:lnTo>
                    <a:pt x="31" y="45"/>
                  </a:lnTo>
                  <a:close/>
                  <a:moveTo>
                    <a:pt x="17" y="55"/>
                  </a:moveTo>
                  <a:cubicBezTo>
                    <a:pt x="11" y="57"/>
                    <a:pt x="11" y="57"/>
                    <a:pt x="11" y="5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7"/>
                    <a:pt x="11" y="27"/>
                    <a:pt x="12" y="28"/>
                  </a:cubicBezTo>
                  <a:cubicBezTo>
                    <a:pt x="13" y="28"/>
                    <a:pt x="14" y="29"/>
                    <a:pt x="14" y="3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3"/>
                    <a:pt x="19" y="54"/>
                    <a:pt x="17" y="55"/>
                  </a:cubicBezTo>
                  <a:moveTo>
                    <a:pt x="105" y="61"/>
                  </a:moveTo>
                  <a:cubicBezTo>
                    <a:pt x="75" y="61"/>
                    <a:pt x="75" y="61"/>
                    <a:pt x="75" y="61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6" y="51"/>
                    <a:pt x="78" y="49"/>
                    <a:pt x="80" y="46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9" y="41"/>
                    <a:pt x="99" y="40"/>
                    <a:pt x="99" y="39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1"/>
                    <a:pt x="89" y="1"/>
                  </a:cubicBezTo>
                  <a:cubicBezTo>
                    <a:pt x="89" y="1"/>
                    <a:pt x="88" y="0"/>
                    <a:pt x="88" y="1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7"/>
                    <a:pt x="15" y="26"/>
                    <a:pt x="14" y="25"/>
                  </a:cubicBezTo>
                  <a:cubicBezTo>
                    <a:pt x="12" y="25"/>
                    <a:pt x="10" y="24"/>
                    <a:pt x="9" y="25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9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7"/>
                    <a:pt x="21" y="56"/>
                    <a:pt x="21" y="55"/>
                  </a:cubicBezTo>
                  <a:cubicBezTo>
                    <a:pt x="22" y="54"/>
                    <a:pt x="22" y="52"/>
                    <a:pt x="22" y="51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7"/>
                    <a:pt x="35" y="57"/>
                    <a:pt x="35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6" y="77"/>
                    <a:pt x="26" y="78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7" y="88"/>
                    <a:pt x="27" y="88"/>
                  </a:cubicBezTo>
                  <a:cubicBezTo>
                    <a:pt x="28" y="88"/>
                    <a:pt x="29" y="87"/>
                    <a:pt x="29" y="87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3" y="86"/>
                    <a:pt x="43" y="87"/>
                    <a:pt x="43" y="88"/>
                  </a:cubicBezTo>
                  <a:cubicBezTo>
                    <a:pt x="43" y="89"/>
                    <a:pt x="43" y="89"/>
                    <a:pt x="44" y="89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9" y="89"/>
                    <a:pt x="49" y="89"/>
                    <a:pt x="49" y="88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9"/>
                    <a:pt x="62" y="89"/>
                    <a:pt x="62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7" y="89"/>
                    <a:pt x="68" y="89"/>
                    <a:pt x="68" y="88"/>
                  </a:cubicBezTo>
                  <a:cubicBezTo>
                    <a:pt x="68" y="87"/>
                    <a:pt x="67" y="86"/>
                    <a:pt x="66" y="86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81" y="87"/>
                    <a:pt x="82" y="88"/>
                    <a:pt x="83" y="88"/>
                  </a:cubicBezTo>
                  <a:cubicBezTo>
                    <a:pt x="83" y="88"/>
                    <a:pt x="84" y="87"/>
                    <a:pt x="84" y="8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77"/>
                    <a:pt x="83" y="76"/>
                    <a:pt x="8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4"/>
                    <a:pt x="61" y="55"/>
                    <a:pt x="63" y="55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9"/>
                    <a:pt x="69" y="71"/>
                    <a:pt x="71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6" y="71"/>
                    <a:pt x="106" y="71"/>
                  </a:cubicBezTo>
                  <a:cubicBezTo>
                    <a:pt x="108" y="70"/>
                    <a:pt x="110" y="68"/>
                    <a:pt x="110" y="66"/>
                  </a:cubicBezTo>
                  <a:cubicBezTo>
                    <a:pt x="110" y="63"/>
                    <a:pt x="108" y="61"/>
                    <a:pt x="105" y="6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4">
            <a:extLst>
              <a:ext uri="{FF2B5EF4-FFF2-40B4-BE49-F238E27FC236}">
                <a16:creationId xmlns:a16="http://schemas.microsoft.com/office/drawing/2014/main" id="{852E7DEB-C005-4F63-8515-2B780CA4BB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3692" y="266701"/>
            <a:ext cx="841375" cy="841375"/>
            <a:chOff x="1692" y="241"/>
            <a:chExt cx="530" cy="530"/>
          </a:xfrm>
        </p:grpSpPr>
        <p:sp>
          <p:nvSpPr>
            <p:cNvPr id="79" name="AutoShape 73">
              <a:extLst>
                <a:ext uri="{FF2B5EF4-FFF2-40B4-BE49-F238E27FC236}">
                  <a16:creationId xmlns:a16="http://schemas.microsoft.com/office/drawing/2014/main" id="{D34B1AFB-6405-4346-9E47-31F63DCAFF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92" y="24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75">
              <a:extLst>
                <a:ext uri="{FF2B5EF4-FFF2-40B4-BE49-F238E27FC236}">
                  <a16:creationId xmlns:a16="http://schemas.microsoft.com/office/drawing/2014/main" id="{CD0D3196-7B92-4E40-8214-98216BFE8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" y="24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6">
              <a:extLst>
                <a:ext uri="{FF2B5EF4-FFF2-40B4-BE49-F238E27FC236}">
                  <a16:creationId xmlns:a16="http://schemas.microsoft.com/office/drawing/2014/main" id="{D66EAA89-FD9E-4F9E-A257-FF059B065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0" y="25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7">
              <a:extLst>
                <a:ext uri="{FF2B5EF4-FFF2-40B4-BE49-F238E27FC236}">
                  <a16:creationId xmlns:a16="http://schemas.microsoft.com/office/drawing/2014/main" id="{0C42D761-236B-48E3-AF5C-E91773D83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2" y="597"/>
              <a:ext cx="36" cy="51"/>
            </a:xfrm>
            <a:custGeom>
              <a:avLst/>
              <a:gdLst>
                <a:gd name="T0" fmla="*/ 7 w 14"/>
                <a:gd name="T1" fmla="*/ 18 h 20"/>
                <a:gd name="T2" fmla="*/ 3 w 14"/>
                <a:gd name="T3" fmla="*/ 13 h 20"/>
                <a:gd name="T4" fmla="*/ 7 w 14"/>
                <a:gd name="T5" fmla="*/ 9 h 20"/>
                <a:gd name="T6" fmla="*/ 11 w 14"/>
                <a:gd name="T7" fmla="*/ 13 h 20"/>
                <a:gd name="T8" fmla="*/ 7 w 14"/>
                <a:gd name="T9" fmla="*/ 18 h 20"/>
                <a:gd name="T10" fmla="*/ 8 w 14"/>
                <a:gd name="T11" fmla="*/ 6 h 20"/>
                <a:gd name="T12" fmla="*/ 8 w 14"/>
                <a:gd name="T13" fmla="*/ 1 h 20"/>
                <a:gd name="T14" fmla="*/ 7 w 14"/>
                <a:gd name="T15" fmla="*/ 0 h 20"/>
                <a:gd name="T16" fmla="*/ 5 w 14"/>
                <a:gd name="T17" fmla="*/ 1 h 20"/>
                <a:gd name="T18" fmla="*/ 5 w 14"/>
                <a:gd name="T19" fmla="*/ 6 h 20"/>
                <a:gd name="T20" fmla="*/ 0 w 14"/>
                <a:gd name="T21" fmla="*/ 13 h 20"/>
                <a:gd name="T22" fmla="*/ 7 w 14"/>
                <a:gd name="T23" fmla="*/ 20 h 20"/>
                <a:gd name="T24" fmla="*/ 14 w 14"/>
                <a:gd name="T25" fmla="*/ 13 h 20"/>
                <a:gd name="T26" fmla="*/ 8 w 14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0">
                  <a:moveTo>
                    <a:pt x="7" y="18"/>
                  </a:moveTo>
                  <a:cubicBezTo>
                    <a:pt x="4" y="18"/>
                    <a:pt x="3" y="16"/>
                    <a:pt x="3" y="13"/>
                  </a:cubicBezTo>
                  <a:cubicBezTo>
                    <a:pt x="3" y="11"/>
                    <a:pt x="4" y="9"/>
                    <a:pt x="7" y="9"/>
                  </a:cubicBezTo>
                  <a:cubicBezTo>
                    <a:pt x="9" y="9"/>
                    <a:pt x="11" y="11"/>
                    <a:pt x="11" y="13"/>
                  </a:cubicBezTo>
                  <a:cubicBezTo>
                    <a:pt x="11" y="16"/>
                    <a:pt x="9" y="18"/>
                    <a:pt x="7" y="18"/>
                  </a:cubicBezTo>
                  <a:moveTo>
                    <a:pt x="8" y="6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2" y="7"/>
                    <a:pt x="0" y="10"/>
                    <a:pt x="0" y="13"/>
                  </a:cubicBezTo>
                  <a:cubicBezTo>
                    <a:pt x="0" y="17"/>
                    <a:pt x="3" y="20"/>
                    <a:pt x="7" y="20"/>
                  </a:cubicBezTo>
                  <a:cubicBezTo>
                    <a:pt x="11" y="20"/>
                    <a:pt x="14" y="17"/>
                    <a:pt x="14" y="13"/>
                  </a:cubicBezTo>
                  <a:cubicBezTo>
                    <a:pt x="14" y="10"/>
                    <a:pt x="12" y="7"/>
                    <a:pt x="8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8">
              <a:extLst>
                <a:ext uri="{FF2B5EF4-FFF2-40B4-BE49-F238E27FC236}">
                  <a16:creationId xmlns:a16="http://schemas.microsoft.com/office/drawing/2014/main" id="{BAFDC576-B2A2-4519-BCF6-3958768C73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9" y="597"/>
              <a:ext cx="36" cy="51"/>
            </a:xfrm>
            <a:custGeom>
              <a:avLst/>
              <a:gdLst>
                <a:gd name="T0" fmla="*/ 7 w 14"/>
                <a:gd name="T1" fmla="*/ 18 h 20"/>
                <a:gd name="T2" fmla="*/ 3 w 14"/>
                <a:gd name="T3" fmla="*/ 13 h 20"/>
                <a:gd name="T4" fmla="*/ 7 w 14"/>
                <a:gd name="T5" fmla="*/ 9 h 20"/>
                <a:gd name="T6" fmla="*/ 11 w 14"/>
                <a:gd name="T7" fmla="*/ 13 h 20"/>
                <a:gd name="T8" fmla="*/ 7 w 14"/>
                <a:gd name="T9" fmla="*/ 18 h 20"/>
                <a:gd name="T10" fmla="*/ 9 w 14"/>
                <a:gd name="T11" fmla="*/ 6 h 20"/>
                <a:gd name="T12" fmla="*/ 9 w 14"/>
                <a:gd name="T13" fmla="*/ 1 h 20"/>
                <a:gd name="T14" fmla="*/ 7 w 14"/>
                <a:gd name="T15" fmla="*/ 0 h 20"/>
                <a:gd name="T16" fmla="*/ 6 w 14"/>
                <a:gd name="T17" fmla="*/ 1 h 20"/>
                <a:gd name="T18" fmla="*/ 6 w 14"/>
                <a:gd name="T19" fmla="*/ 6 h 20"/>
                <a:gd name="T20" fmla="*/ 0 w 14"/>
                <a:gd name="T21" fmla="*/ 13 h 20"/>
                <a:gd name="T22" fmla="*/ 7 w 14"/>
                <a:gd name="T23" fmla="*/ 20 h 20"/>
                <a:gd name="T24" fmla="*/ 14 w 14"/>
                <a:gd name="T25" fmla="*/ 13 h 20"/>
                <a:gd name="T26" fmla="*/ 9 w 14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0">
                  <a:moveTo>
                    <a:pt x="7" y="18"/>
                  </a:moveTo>
                  <a:cubicBezTo>
                    <a:pt x="5" y="18"/>
                    <a:pt x="3" y="16"/>
                    <a:pt x="3" y="13"/>
                  </a:cubicBezTo>
                  <a:cubicBezTo>
                    <a:pt x="3" y="11"/>
                    <a:pt x="5" y="9"/>
                    <a:pt x="7" y="9"/>
                  </a:cubicBezTo>
                  <a:cubicBezTo>
                    <a:pt x="10" y="9"/>
                    <a:pt x="11" y="11"/>
                    <a:pt x="11" y="13"/>
                  </a:cubicBezTo>
                  <a:cubicBezTo>
                    <a:pt x="11" y="16"/>
                    <a:pt x="10" y="18"/>
                    <a:pt x="7" y="18"/>
                  </a:cubicBezTo>
                  <a:moveTo>
                    <a:pt x="9" y="6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3" y="7"/>
                    <a:pt x="0" y="10"/>
                    <a:pt x="0" y="13"/>
                  </a:cubicBezTo>
                  <a:cubicBezTo>
                    <a:pt x="0" y="17"/>
                    <a:pt x="3" y="20"/>
                    <a:pt x="7" y="20"/>
                  </a:cubicBezTo>
                  <a:cubicBezTo>
                    <a:pt x="11" y="20"/>
                    <a:pt x="14" y="17"/>
                    <a:pt x="14" y="13"/>
                  </a:cubicBezTo>
                  <a:cubicBezTo>
                    <a:pt x="14" y="10"/>
                    <a:pt x="12" y="7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79">
              <a:extLst>
                <a:ext uri="{FF2B5EF4-FFF2-40B4-BE49-F238E27FC236}">
                  <a16:creationId xmlns:a16="http://schemas.microsoft.com/office/drawing/2014/main" id="{24420F59-7FFC-4203-9933-DE4BAD75F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5" y="579"/>
              <a:ext cx="59" cy="36"/>
            </a:xfrm>
            <a:custGeom>
              <a:avLst/>
              <a:gdLst>
                <a:gd name="T0" fmla="*/ 15 w 23"/>
                <a:gd name="T1" fmla="*/ 11 h 14"/>
                <a:gd name="T2" fmla="*/ 11 w 23"/>
                <a:gd name="T3" fmla="*/ 7 h 14"/>
                <a:gd name="T4" fmla="*/ 15 w 23"/>
                <a:gd name="T5" fmla="*/ 3 h 14"/>
                <a:gd name="T6" fmla="*/ 20 w 23"/>
                <a:gd name="T7" fmla="*/ 7 h 14"/>
                <a:gd name="T8" fmla="*/ 15 w 23"/>
                <a:gd name="T9" fmla="*/ 11 h 14"/>
                <a:gd name="T10" fmla="*/ 15 w 23"/>
                <a:gd name="T11" fmla="*/ 0 h 14"/>
                <a:gd name="T12" fmla="*/ 8 w 23"/>
                <a:gd name="T13" fmla="*/ 5 h 14"/>
                <a:gd name="T14" fmla="*/ 2 w 23"/>
                <a:gd name="T15" fmla="*/ 5 h 14"/>
                <a:gd name="T16" fmla="*/ 0 w 23"/>
                <a:gd name="T17" fmla="*/ 7 h 14"/>
                <a:gd name="T18" fmla="*/ 2 w 23"/>
                <a:gd name="T19" fmla="*/ 8 h 14"/>
                <a:gd name="T20" fmla="*/ 8 w 23"/>
                <a:gd name="T21" fmla="*/ 8 h 14"/>
                <a:gd name="T22" fmla="*/ 15 w 23"/>
                <a:gd name="T23" fmla="*/ 14 h 14"/>
                <a:gd name="T24" fmla="*/ 23 w 23"/>
                <a:gd name="T25" fmla="*/ 7 h 14"/>
                <a:gd name="T26" fmla="*/ 15 w 23"/>
                <a:gd name="T2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">
                  <a:moveTo>
                    <a:pt x="15" y="11"/>
                  </a:moveTo>
                  <a:cubicBezTo>
                    <a:pt x="13" y="11"/>
                    <a:pt x="11" y="9"/>
                    <a:pt x="11" y="7"/>
                  </a:cubicBezTo>
                  <a:cubicBezTo>
                    <a:pt x="11" y="4"/>
                    <a:pt x="13" y="3"/>
                    <a:pt x="15" y="3"/>
                  </a:cubicBezTo>
                  <a:cubicBezTo>
                    <a:pt x="18" y="3"/>
                    <a:pt x="20" y="4"/>
                    <a:pt x="20" y="7"/>
                  </a:cubicBezTo>
                  <a:cubicBezTo>
                    <a:pt x="20" y="9"/>
                    <a:pt x="18" y="11"/>
                    <a:pt x="15" y="11"/>
                  </a:cubicBezTo>
                  <a:moveTo>
                    <a:pt x="15" y="0"/>
                  </a:moveTo>
                  <a:cubicBezTo>
                    <a:pt x="12" y="0"/>
                    <a:pt x="9" y="2"/>
                    <a:pt x="8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12"/>
                    <a:pt x="12" y="14"/>
                    <a:pt x="15" y="14"/>
                  </a:cubicBezTo>
                  <a:cubicBezTo>
                    <a:pt x="19" y="14"/>
                    <a:pt x="23" y="11"/>
                    <a:pt x="23" y="7"/>
                  </a:cubicBezTo>
                  <a:cubicBezTo>
                    <a:pt x="23" y="3"/>
                    <a:pt x="19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0">
              <a:extLst>
                <a:ext uri="{FF2B5EF4-FFF2-40B4-BE49-F238E27FC236}">
                  <a16:creationId xmlns:a16="http://schemas.microsoft.com/office/drawing/2014/main" id="{E4B64B05-1ED1-420C-8FB3-728B61F58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2" y="579"/>
              <a:ext cx="59" cy="36"/>
            </a:xfrm>
            <a:custGeom>
              <a:avLst/>
              <a:gdLst>
                <a:gd name="T0" fmla="*/ 8 w 23"/>
                <a:gd name="T1" fmla="*/ 11 h 14"/>
                <a:gd name="T2" fmla="*/ 3 w 23"/>
                <a:gd name="T3" fmla="*/ 7 h 14"/>
                <a:gd name="T4" fmla="*/ 8 w 23"/>
                <a:gd name="T5" fmla="*/ 3 h 14"/>
                <a:gd name="T6" fmla="*/ 12 w 23"/>
                <a:gd name="T7" fmla="*/ 7 h 14"/>
                <a:gd name="T8" fmla="*/ 8 w 23"/>
                <a:gd name="T9" fmla="*/ 11 h 14"/>
                <a:gd name="T10" fmla="*/ 21 w 23"/>
                <a:gd name="T11" fmla="*/ 5 h 14"/>
                <a:gd name="T12" fmla="*/ 15 w 23"/>
                <a:gd name="T13" fmla="*/ 5 h 14"/>
                <a:gd name="T14" fmla="*/ 8 w 23"/>
                <a:gd name="T15" fmla="*/ 0 h 14"/>
                <a:gd name="T16" fmla="*/ 0 w 23"/>
                <a:gd name="T17" fmla="*/ 7 h 14"/>
                <a:gd name="T18" fmla="*/ 8 w 23"/>
                <a:gd name="T19" fmla="*/ 14 h 14"/>
                <a:gd name="T20" fmla="*/ 15 w 23"/>
                <a:gd name="T21" fmla="*/ 8 h 14"/>
                <a:gd name="T22" fmla="*/ 21 w 23"/>
                <a:gd name="T23" fmla="*/ 8 h 14"/>
                <a:gd name="T24" fmla="*/ 23 w 23"/>
                <a:gd name="T25" fmla="*/ 7 h 14"/>
                <a:gd name="T26" fmla="*/ 21 w 23"/>
                <a:gd name="T27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4">
                  <a:moveTo>
                    <a:pt x="8" y="11"/>
                  </a:moveTo>
                  <a:cubicBezTo>
                    <a:pt x="5" y="11"/>
                    <a:pt x="3" y="9"/>
                    <a:pt x="3" y="7"/>
                  </a:cubicBezTo>
                  <a:cubicBezTo>
                    <a:pt x="3" y="4"/>
                    <a:pt x="5" y="3"/>
                    <a:pt x="8" y="3"/>
                  </a:cubicBezTo>
                  <a:cubicBezTo>
                    <a:pt x="10" y="3"/>
                    <a:pt x="12" y="4"/>
                    <a:pt x="12" y="7"/>
                  </a:cubicBezTo>
                  <a:cubicBezTo>
                    <a:pt x="12" y="9"/>
                    <a:pt x="10" y="11"/>
                    <a:pt x="8" y="11"/>
                  </a:cubicBezTo>
                  <a:moveTo>
                    <a:pt x="21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4" y="2"/>
                    <a:pt x="11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1"/>
                    <a:pt x="4" y="14"/>
                    <a:pt x="8" y="14"/>
                  </a:cubicBezTo>
                  <a:cubicBezTo>
                    <a:pt x="11" y="14"/>
                    <a:pt x="14" y="12"/>
                    <a:pt x="15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3" y="8"/>
                    <a:pt x="23" y="7"/>
                  </a:cubicBezTo>
                  <a:cubicBezTo>
                    <a:pt x="23" y="6"/>
                    <a:pt x="22" y="5"/>
                    <a:pt x="21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1">
              <a:extLst>
                <a:ext uri="{FF2B5EF4-FFF2-40B4-BE49-F238E27FC236}">
                  <a16:creationId xmlns:a16="http://schemas.microsoft.com/office/drawing/2014/main" id="{4894ECDA-EEE0-43AC-8738-92ED5E83F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" y="592"/>
              <a:ext cx="8" cy="7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2 w 3"/>
                <a:gd name="T5" fmla="*/ 0 h 3"/>
                <a:gd name="T6" fmla="*/ 0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0 w 3"/>
                <a:gd name="T19" fmla="*/ 3 h 3"/>
                <a:gd name="T20" fmla="*/ 1 w 3"/>
                <a:gd name="T21" fmla="*/ 3 h 3"/>
                <a:gd name="T22" fmla="*/ 1 w 3"/>
                <a:gd name="T23" fmla="*/ 3 h 3"/>
                <a:gd name="T24" fmla="*/ 2 w 3"/>
                <a:gd name="T25" fmla="*/ 3 h 3"/>
                <a:gd name="T26" fmla="*/ 3 w 3"/>
                <a:gd name="T27" fmla="*/ 2 h 3"/>
                <a:gd name="T28" fmla="*/ 2 w 3"/>
                <a:gd name="T29" fmla="*/ 1 h 3"/>
                <a:gd name="T30" fmla="*/ 2 w 3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2">
              <a:extLst>
                <a:ext uri="{FF2B5EF4-FFF2-40B4-BE49-F238E27FC236}">
                  <a16:creationId xmlns:a16="http://schemas.microsoft.com/office/drawing/2014/main" id="{DC065826-2C5F-43F5-85C5-9886201FD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" y="592"/>
              <a:ext cx="7" cy="7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3 w 3"/>
                <a:gd name="T5" fmla="*/ 1 h 3"/>
                <a:gd name="T6" fmla="*/ 1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2 h 3"/>
                <a:gd name="T18" fmla="*/ 1 w 3"/>
                <a:gd name="T19" fmla="*/ 3 h 3"/>
                <a:gd name="T20" fmla="*/ 2 w 3"/>
                <a:gd name="T21" fmla="*/ 3 h 3"/>
                <a:gd name="T22" fmla="*/ 3 w 3"/>
                <a:gd name="T23" fmla="*/ 3 h 3"/>
                <a:gd name="T24" fmla="*/ 3 w 3"/>
                <a:gd name="T25" fmla="*/ 2 h 3"/>
                <a:gd name="T26" fmla="*/ 3 w 3"/>
                <a:gd name="T27" fmla="*/ 2 h 3"/>
                <a:gd name="T28" fmla="*/ 3 w 3"/>
                <a:gd name="T29" fmla="*/ 2 h 3"/>
                <a:gd name="T30" fmla="*/ 3 w 3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3">
              <a:extLst>
                <a:ext uri="{FF2B5EF4-FFF2-40B4-BE49-F238E27FC236}">
                  <a16:creationId xmlns:a16="http://schemas.microsoft.com/office/drawing/2014/main" id="{14E0D99C-5BC3-4F8E-918A-E74A6EF03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" y="584"/>
              <a:ext cx="8" cy="8"/>
            </a:xfrm>
            <a:custGeom>
              <a:avLst/>
              <a:gdLst>
                <a:gd name="T0" fmla="*/ 1 w 3"/>
                <a:gd name="T1" fmla="*/ 3 h 3"/>
                <a:gd name="T2" fmla="*/ 2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2 w 3"/>
                <a:gd name="T9" fmla="*/ 1 h 3"/>
                <a:gd name="T10" fmla="*/ 2 w 3"/>
                <a:gd name="T11" fmla="*/ 1 h 3"/>
                <a:gd name="T12" fmla="*/ 2 w 3"/>
                <a:gd name="T13" fmla="*/ 0 h 3"/>
                <a:gd name="T14" fmla="*/ 2 w 3"/>
                <a:gd name="T15" fmla="*/ 0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1 h 3"/>
                <a:gd name="T22" fmla="*/ 0 w 3"/>
                <a:gd name="T23" fmla="*/ 2 h 3"/>
                <a:gd name="T24" fmla="*/ 0 w 3"/>
                <a:gd name="T25" fmla="*/ 2 h 3"/>
                <a:gd name="T26" fmla="*/ 0 w 3"/>
                <a:gd name="T27" fmla="*/ 2 h 3"/>
                <a:gd name="T28" fmla="*/ 0 w 3"/>
                <a:gd name="T29" fmla="*/ 3 h 3"/>
                <a:gd name="T30" fmla="*/ 1 w 3"/>
                <a:gd name="T3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4">
              <a:extLst>
                <a:ext uri="{FF2B5EF4-FFF2-40B4-BE49-F238E27FC236}">
                  <a16:creationId xmlns:a16="http://schemas.microsoft.com/office/drawing/2014/main" id="{0F96E0D6-D8DD-47D8-8687-8E2148264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5" y="584"/>
              <a:ext cx="7" cy="8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3 h 3"/>
                <a:gd name="T4" fmla="*/ 3 w 3"/>
                <a:gd name="T5" fmla="*/ 2 h 3"/>
                <a:gd name="T6" fmla="*/ 3 w 3"/>
                <a:gd name="T7" fmla="*/ 2 h 3"/>
                <a:gd name="T8" fmla="*/ 3 w 3"/>
                <a:gd name="T9" fmla="*/ 1 h 3"/>
                <a:gd name="T10" fmla="*/ 3 w 3"/>
                <a:gd name="T11" fmla="*/ 1 h 3"/>
                <a:gd name="T12" fmla="*/ 2 w 3"/>
                <a:gd name="T13" fmla="*/ 0 h 3"/>
                <a:gd name="T14" fmla="*/ 2 w 3"/>
                <a:gd name="T15" fmla="*/ 0 h 3"/>
                <a:gd name="T16" fmla="*/ 1 w 3"/>
                <a:gd name="T17" fmla="*/ 1 h 3"/>
                <a:gd name="T18" fmla="*/ 0 w 3"/>
                <a:gd name="T19" fmla="*/ 2 h 3"/>
                <a:gd name="T20" fmla="*/ 0 w 3"/>
                <a:gd name="T21" fmla="*/ 2 h 3"/>
                <a:gd name="T22" fmla="*/ 1 w 3"/>
                <a:gd name="T23" fmla="*/ 3 h 3"/>
                <a:gd name="T24" fmla="*/ 2 w 3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5">
              <a:extLst>
                <a:ext uri="{FF2B5EF4-FFF2-40B4-BE49-F238E27FC236}">
                  <a16:creationId xmlns:a16="http://schemas.microsoft.com/office/drawing/2014/main" id="{DC3DDBB2-E24E-4CE4-A46D-9FFA070EC5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7" y="364"/>
              <a:ext cx="282" cy="228"/>
            </a:xfrm>
            <a:custGeom>
              <a:avLst/>
              <a:gdLst>
                <a:gd name="T0" fmla="*/ 105 w 110"/>
                <a:gd name="T1" fmla="*/ 68 h 89"/>
                <a:gd name="T2" fmla="*/ 69 w 110"/>
                <a:gd name="T3" fmla="*/ 66 h 89"/>
                <a:gd name="T4" fmla="*/ 71 w 110"/>
                <a:gd name="T5" fmla="*/ 54 h 89"/>
                <a:gd name="T6" fmla="*/ 74 w 110"/>
                <a:gd name="T7" fmla="*/ 63 h 89"/>
                <a:gd name="T8" fmla="*/ 107 w 110"/>
                <a:gd name="T9" fmla="*/ 66 h 89"/>
                <a:gd name="T10" fmla="*/ 67 w 110"/>
                <a:gd name="T11" fmla="*/ 49 h 89"/>
                <a:gd name="T12" fmla="*/ 68 w 110"/>
                <a:gd name="T13" fmla="*/ 52 h 89"/>
                <a:gd name="T14" fmla="*/ 67 w 110"/>
                <a:gd name="T15" fmla="*/ 49 h 89"/>
                <a:gd name="T16" fmla="*/ 29 w 110"/>
                <a:gd name="T17" fmla="*/ 27 h 89"/>
                <a:gd name="T18" fmla="*/ 27 w 110"/>
                <a:gd name="T19" fmla="*/ 19 h 89"/>
                <a:gd name="T20" fmla="*/ 96 w 110"/>
                <a:gd name="T21" fmla="*/ 38 h 89"/>
                <a:gd name="T22" fmla="*/ 78 w 110"/>
                <a:gd name="T23" fmla="*/ 43 h 89"/>
                <a:gd name="T24" fmla="*/ 36 w 110"/>
                <a:gd name="T25" fmla="*/ 54 h 89"/>
                <a:gd name="T26" fmla="*/ 31 w 110"/>
                <a:gd name="T27" fmla="*/ 45 h 89"/>
                <a:gd name="T28" fmla="*/ 20 w 110"/>
                <a:gd name="T29" fmla="*/ 42 h 89"/>
                <a:gd name="T30" fmla="*/ 27 w 110"/>
                <a:gd name="T31" fmla="*/ 29 h 89"/>
                <a:gd name="T32" fmla="*/ 31 w 110"/>
                <a:gd name="T33" fmla="*/ 45 h 89"/>
                <a:gd name="T34" fmla="*/ 11 w 110"/>
                <a:gd name="T35" fmla="*/ 57 h 89"/>
                <a:gd name="T36" fmla="*/ 9 w 110"/>
                <a:gd name="T37" fmla="*/ 28 h 89"/>
                <a:gd name="T38" fmla="*/ 14 w 110"/>
                <a:gd name="T39" fmla="*/ 30 h 89"/>
                <a:gd name="T40" fmla="*/ 19 w 110"/>
                <a:gd name="T41" fmla="*/ 50 h 89"/>
                <a:gd name="T42" fmla="*/ 19 w 110"/>
                <a:gd name="T43" fmla="*/ 51 h 89"/>
                <a:gd name="T44" fmla="*/ 105 w 110"/>
                <a:gd name="T45" fmla="*/ 61 h 89"/>
                <a:gd name="T46" fmla="*/ 73 w 110"/>
                <a:gd name="T47" fmla="*/ 53 h 89"/>
                <a:gd name="T48" fmla="*/ 98 w 110"/>
                <a:gd name="T49" fmla="*/ 41 h 89"/>
                <a:gd name="T50" fmla="*/ 90 w 110"/>
                <a:gd name="T51" fmla="*/ 2 h 89"/>
                <a:gd name="T52" fmla="*/ 88 w 110"/>
                <a:gd name="T53" fmla="*/ 1 h 89"/>
                <a:gd name="T54" fmla="*/ 25 w 110"/>
                <a:gd name="T55" fmla="*/ 17 h 89"/>
                <a:gd name="T56" fmla="*/ 26 w 110"/>
                <a:gd name="T57" fmla="*/ 26 h 89"/>
                <a:gd name="T58" fmla="*/ 14 w 110"/>
                <a:gd name="T59" fmla="*/ 25 h 89"/>
                <a:gd name="T60" fmla="*/ 1 w 110"/>
                <a:gd name="T61" fmla="*/ 27 h 89"/>
                <a:gd name="T62" fmla="*/ 0 w 110"/>
                <a:gd name="T63" fmla="*/ 28 h 89"/>
                <a:gd name="T64" fmla="*/ 9 w 110"/>
                <a:gd name="T65" fmla="*/ 60 h 89"/>
                <a:gd name="T66" fmla="*/ 10 w 110"/>
                <a:gd name="T67" fmla="*/ 60 h 89"/>
                <a:gd name="T68" fmla="*/ 21 w 110"/>
                <a:gd name="T69" fmla="*/ 55 h 89"/>
                <a:gd name="T70" fmla="*/ 32 w 110"/>
                <a:gd name="T71" fmla="*/ 48 h 89"/>
                <a:gd name="T72" fmla="*/ 35 w 110"/>
                <a:gd name="T73" fmla="*/ 57 h 89"/>
                <a:gd name="T74" fmla="*/ 54 w 110"/>
                <a:gd name="T75" fmla="*/ 52 h 89"/>
                <a:gd name="T76" fmla="*/ 27 w 110"/>
                <a:gd name="T77" fmla="*/ 76 h 89"/>
                <a:gd name="T78" fmla="*/ 26 w 110"/>
                <a:gd name="T79" fmla="*/ 87 h 89"/>
                <a:gd name="T80" fmla="*/ 29 w 110"/>
                <a:gd name="T81" fmla="*/ 87 h 89"/>
                <a:gd name="T82" fmla="*/ 46 w 110"/>
                <a:gd name="T83" fmla="*/ 79 h 89"/>
                <a:gd name="T84" fmla="*/ 44 w 110"/>
                <a:gd name="T85" fmla="*/ 86 h 89"/>
                <a:gd name="T86" fmla="*/ 44 w 110"/>
                <a:gd name="T87" fmla="*/ 89 h 89"/>
                <a:gd name="T88" fmla="*/ 49 w 110"/>
                <a:gd name="T89" fmla="*/ 88 h 89"/>
                <a:gd name="T90" fmla="*/ 61 w 110"/>
                <a:gd name="T91" fmla="*/ 79 h 89"/>
                <a:gd name="T92" fmla="*/ 62 w 110"/>
                <a:gd name="T93" fmla="*/ 89 h 89"/>
                <a:gd name="T94" fmla="*/ 68 w 110"/>
                <a:gd name="T95" fmla="*/ 88 h 89"/>
                <a:gd name="T96" fmla="*/ 64 w 110"/>
                <a:gd name="T97" fmla="*/ 86 h 89"/>
                <a:gd name="T98" fmla="*/ 81 w 110"/>
                <a:gd name="T99" fmla="*/ 79 h 89"/>
                <a:gd name="T100" fmla="*/ 83 w 110"/>
                <a:gd name="T101" fmla="*/ 88 h 89"/>
                <a:gd name="T102" fmla="*/ 84 w 110"/>
                <a:gd name="T103" fmla="*/ 78 h 89"/>
                <a:gd name="T104" fmla="*/ 56 w 110"/>
                <a:gd name="T105" fmla="*/ 76 h 89"/>
                <a:gd name="T106" fmla="*/ 63 w 110"/>
                <a:gd name="T107" fmla="*/ 55 h 89"/>
                <a:gd name="T108" fmla="*/ 71 w 110"/>
                <a:gd name="T109" fmla="*/ 71 h 89"/>
                <a:gd name="T110" fmla="*/ 105 w 110"/>
                <a:gd name="T111" fmla="*/ 71 h 89"/>
                <a:gd name="T112" fmla="*/ 110 w 110"/>
                <a:gd name="T113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" h="89">
                  <a:moveTo>
                    <a:pt x="105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0" y="68"/>
                    <a:pt x="69" y="67"/>
                    <a:pt x="69" y="6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3"/>
                    <a:pt x="74" y="63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6" y="64"/>
                    <a:pt x="107" y="65"/>
                    <a:pt x="107" y="66"/>
                  </a:cubicBezTo>
                  <a:cubicBezTo>
                    <a:pt x="107" y="67"/>
                    <a:pt x="106" y="68"/>
                    <a:pt x="105" y="68"/>
                  </a:cubicBezTo>
                  <a:moveTo>
                    <a:pt x="67" y="49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4" y="49"/>
                    <a:pt x="71" y="51"/>
                    <a:pt x="68" y="52"/>
                  </a:cubicBezTo>
                  <a:cubicBezTo>
                    <a:pt x="65" y="53"/>
                    <a:pt x="61" y="52"/>
                    <a:pt x="58" y="51"/>
                  </a:cubicBezTo>
                  <a:lnTo>
                    <a:pt x="67" y="49"/>
                  </a:lnTo>
                  <a:close/>
                  <a:moveTo>
                    <a:pt x="32" y="3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36" y="54"/>
                    <a:pt x="36" y="54"/>
                    <a:pt x="36" y="54"/>
                  </a:cubicBezTo>
                  <a:lnTo>
                    <a:pt x="32" y="36"/>
                  </a:lnTo>
                  <a:close/>
                  <a:moveTo>
                    <a:pt x="31" y="45"/>
                  </a:moveTo>
                  <a:cubicBezTo>
                    <a:pt x="22" y="48"/>
                    <a:pt x="22" y="48"/>
                    <a:pt x="22" y="4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9" y="37"/>
                    <a:pt x="29" y="37"/>
                    <a:pt x="29" y="37"/>
                  </a:cubicBezTo>
                  <a:lnTo>
                    <a:pt x="31" y="45"/>
                  </a:lnTo>
                  <a:close/>
                  <a:moveTo>
                    <a:pt x="17" y="55"/>
                  </a:moveTo>
                  <a:cubicBezTo>
                    <a:pt x="11" y="57"/>
                    <a:pt x="11" y="57"/>
                    <a:pt x="11" y="57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7"/>
                    <a:pt x="11" y="27"/>
                    <a:pt x="12" y="28"/>
                  </a:cubicBezTo>
                  <a:cubicBezTo>
                    <a:pt x="13" y="28"/>
                    <a:pt x="14" y="29"/>
                    <a:pt x="14" y="3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3"/>
                    <a:pt x="19" y="54"/>
                    <a:pt x="17" y="55"/>
                  </a:cubicBezTo>
                  <a:moveTo>
                    <a:pt x="105" y="61"/>
                  </a:moveTo>
                  <a:cubicBezTo>
                    <a:pt x="75" y="61"/>
                    <a:pt x="75" y="61"/>
                    <a:pt x="75" y="61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6" y="51"/>
                    <a:pt x="78" y="49"/>
                    <a:pt x="80" y="46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9" y="41"/>
                    <a:pt x="99" y="40"/>
                    <a:pt x="99" y="39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1"/>
                    <a:pt x="89" y="1"/>
                  </a:cubicBezTo>
                  <a:cubicBezTo>
                    <a:pt x="89" y="1"/>
                    <a:pt x="88" y="0"/>
                    <a:pt x="88" y="1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7"/>
                    <a:pt x="15" y="26"/>
                    <a:pt x="14" y="25"/>
                  </a:cubicBezTo>
                  <a:cubicBezTo>
                    <a:pt x="12" y="25"/>
                    <a:pt x="10" y="24"/>
                    <a:pt x="9" y="25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9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7"/>
                    <a:pt x="21" y="56"/>
                    <a:pt x="21" y="55"/>
                  </a:cubicBezTo>
                  <a:cubicBezTo>
                    <a:pt x="22" y="54"/>
                    <a:pt x="22" y="52"/>
                    <a:pt x="22" y="51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7"/>
                    <a:pt x="35" y="57"/>
                    <a:pt x="35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6" y="77"/>
                    <a:pt x="26" y="78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7" y="88"/>
                    <a:pt x="27" y="88"/>
                  </a:cubicBezTo>
                  <a:cubicBezTo>
                    <a:pt x="28" y="88"/>
                    <a:pt x="29" y="87"/>
                    <a:pt x="29" y="87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3" y="86"/>
                    <a:pt x="43" y="87"/>
                    <a:pt x="43" y="88"/>
                  </a:cubicBezTo>
                  <a:cubicBezTo>
                    <a:pt x="43" y="89"/>
                    <a:pt x="43" y="89"/>
                    <a:pt x="44" y="89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9" y="89"/>
                    <a:pt x="49" y="89"/>
                    <a:pt x="49" y="88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9"/>
                    <a:pt x="62" y="89"/>
                    <a:pt x="62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7" y="89"/>
                    <a:pt x="68" y="89"/>
                    <a:pt x="68" y="88"/>
                  </a:cubicBezTo>
                  <a:cubicBezTo>
                    <a:pt x="68" y="87"/>
                    <a:pt x="67" y="86"/>
                    <a:pt x="66" y="86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81" y="87"/>
                    <a:pt x="82" y="88"/>
                    <a:pt x="83" y="88"/>
                  </a:cubicBezTo>
                  <a:cubicBezTo>
                    <a:pt x="83" y="88"/>
                    <a:pt x="84" y="87"/>
                    <a:pt x="84" y="8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77"/>
                    <a:pt x="83" y="76"/>
                    <a:pt x="8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4"/>
                    <a:pt x="61" y="55"/>
                    <a:pt x="63" y="55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9"/>
                    <a:pt x="69" y="71"/>
                    <a:pt x="71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6" y="71"/>
                    <a:pt x="106" y="71"/>
                  </a:cubicBezTo>
                  <a:cubicBezTo>
                    <a:pt x="108" y="70"/>
                    <a:pt x="110" y="68"/>
                    <a:pt x="110" y="66"/>
                  </a:cubicBezTo>
                  <a:cubicBezTo>
                    <a:pt x="110" y="63"/>
                    <a:pt x="108" y="61"/>
                    <a:pt x="105" y="6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88">
            <a:extLst>
              <a:ext uri="{FF2B5EF4-FFF2-40B4-BE49-F238E27FC236}">
                <a16:creationId xmlns:a16="http://schemas.microsoft.com/office/drawing/2014/main" id="{7C9564C1-0C3B-4953-BD75-77BA462940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4574" y="307976"/>
            <a:ext cx="758825" cy="758825"/>
            <a:chOff x="3744" y="352"/>
            <a:chExt cx="478" cy="478"/>
          </a:xfrm>
        </p:grpSpPr>
        <p:sp>
          <p:nvSpPr>
            <p:cNvPr id="96" name="AutoShape 87">
              <a:extLst>
                <a:ext uri="{FF2B5EF4-FFF2-40B4-BE49-F238E27FC236}">
                  <a16:creationId xmlns:a16="http://schemas.microsoft.com/office/drawing/2014/main" id="{93E3BCD0-0667-4272-9332-CB615313AD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44" y="35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9">
              <a:extLst>
                <a:ext uri="{FF2B5EF4-FFF2-40B4-BE49-F238E27FC236}">
                  <a16:creationId xmlns:a16="http://schemas.microsoft.com/office/drawing/2014/main" id="{74FC20C5-7139-4FC0-9CC0-6442BCC402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" y="35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0">
              <a:extLst>
                <a:ext uri="{FF2B5EF4-FFF2-40B4-BE49-F238E27FC236}">
                  <a16:creationId xmlns:a16="http://schemas.microsoft.com/office/drawing/2014/main" id="{61341F65-9D1B-41E7-8E3F-7CDC2BD7F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9" y="433"/>
              <a:ext cx="270" cy="279"/>
            </a:xfrm>
            <a:custGeom>
              <a:avLst/>
              <a:gdLst>
                <a:gd name="T0" fmla="*/ 4 w 110"/>
                <a:gd name="T1" fmla="*/ 111 h 114"/>
                <a:gd name="T2" fmla="*/ 3 w 110"/>
                <a:gd name="T3" fmla="*/ 57 h 114"/>
                <a:gd name="T4" fmla="*/ 107 w 110"/>
                <a:gd name="T5" fmla="*/ 110 h 114"/>
                <a:gd name="T6" fmla="*/ 4 w 110"/>
                <a:gd name="T7" fmla="*/ 45 h 114"/>
                <a:gd name="T8" fmla="*/ 47 w 110"/>
                <a:gd name="T9" fmla="*/ 49 h 114"/>
                <a:gd name="T10" fmla="*/ 55 w 110"/>
                <a:gd name="T11" fmla="*/ 50 h 114"/>
                <a:gd name="T12" fmla="*/ 55 w 110"/>
                <a:gd name="T13" fmla="*/ 47 h 114"/>
                <a:gd name="T14" fmla="*/ 46 w 110"/>
                <a:gd name="T15" fmla="*/ 45 h 114"/>
                <a:gd name="T16" fmla="*/ 107 w 110"/>
                <a:gd name="T17" fmla="*/ 46 h 114"/>
                <a:gd name="T18" fmla="*/ 3 w 110"/>
                <a:gd name="T19" fmla="*/ 55 h 114"/>
                <a:gd name="T20" fmla="*/ 4 w 110"/>
                <a:gd name="T21" fmla="*/ 45 h 114"/>
                <a:gd name="T22" fmla="*/ 41 w 110"/>
                <a:gd name="T23" fmla="*/ 35 h 114"/>
                <a:gd name="T24" fmla="*/ 41 w 110"/>
                <a:gd name="T25" fmla="*/ 34 h 114"/>
                <a:gd name="T26" fmla="*/ 67 w 110"/>
                <a:gd name="T27" fmla="*/ 3 h 114"/>
                <a:gd name="T28" fmla="*/ 68 w 110"/>
                <a:gd name="T29" fmla="*/ 3 h 114"/>
                <a:gd name="T30" fmla="*/ 69 w 110"/>
                <a:gd name="T31" fmla="*/ 5 h 114"/>
                <a:gd name="T32" fmla="*/ 66 w 110"/>
                <a:gd name="T33" fmla="*/ 4 h 114"/>
                <a:gd name="T34" fmla="*/ 67 w 110"/>
                <a:gd name="T35" fmla="*/ 42 h 114"/>
                <a:gd name="T36" fmla="*/ 63 w 110"/>
                <a:gd name="T37" fmla="*/ 23 h 114"/>
                <a:gd name="T38" fmla="*/ 62 w 110"/>
                <a:gd name="T39" fmla="*/ 20 h 114"/>
                <a:gd name="T40" fmla="*/ 62 w 110"/>
                <a:gd name="T41" fmla="*/ 20 h 114"/>
                <a:gd name="T42" fmla="*/ 68 w 110"/>
                <a:gd name="T43" fmla="*/ 9 h 114"/>
                <a:gd name="T44" fmla="*/ 70 w 110"/>
                <a:gd name="T45" fmla="*/ 0 h 114"/>
                <a:gd name="T46" fmla="*/ 64 w 110"/>
                <a:gd name="T47" fmla="*/ 2 h 114"/>
                <a:gd name="T48" fmla="*/ 59 w 110"/>
                <a:gd name="T49" fmla="*/ 19 h 114"/>
                <a:gd name="T50" fmla="*/ 61 w 110"/>
                <a:gd name="T51" fmla="*/ 25 h 114"/>
                <a:gd name="T52" fmla="*/ 61 w 110"/>
                <a:gd name="T53" fmla="*/ 25 h 114"/>
                <a:gd name="T54" fmla="*/ 63 w 110"/>
                <a:gd name="T55" fmla="*/ 42 h 114"/>
                <a:gd name="T56" fmla="*/ 41 w 110"/>
                <a:gd name="T57" fmla="*/ 39 h 114"/>
                <a:gd name="T58" fmla="*/ 43 w 110"/>
                <a:gd name="T59" fmla="*/ 39 h 114"/>
                <a:gd name="T60" fmla="*/ 45 w 110"/>
                <a:gd name="T61" fmla="*/ 37 h 114"/>
                <a:gd name="T62" fmla="*/ 41 w 110"/>
                <a:gd name="T63" fmla="*/ 27 h 114"/>
                <a:gd name="T64" fmla="*/ 39 w 110"/>
                <a:gd name="T65" fmla="*/ 40 h 114"/>
                <a:gd name="T66" fmla="*/ 4 w 110"/>
                <a:gd name="T67" fmla="*/ 42 h 114"/>
                <a:gd name="T68" fmla="*/ 0 w 110"/>
                <a:gd name="T69" fmla="*/ 110 h 114"/>
                <a:gd name="T70" fmla="*/ 106 w 110"/>
                <a:gd name="T71" fmla="*/ 114 h 114"/>
                <a:gd name="T72" fmla="*/ 110 w 110"/>
                <a:gd name="T73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0" h="114">
                  <a:moveTo>
                    <a:pt x="106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3" y="111"/>
                    <a:pt x="3" y="110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7" y="110"/>
                    <a:pt x="107" y="110"/>
                    <a:pt x="107" y="110"/>
                  </a:cubicBezTo>
                  <a:cubicBezTo>
                    <a:pt x="107" y="111"/>
                    <a:pt x="106" y="111"/>
                    <a:pt x="106" y="111"/>
                  </a:cubicBezTo>
                  <a:moveTo>
                    <a:pt x="4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3" y="46"/>
                    <a:pt x="45" y="48"/>
                    <a:pt x="47" y="49"/>
                  </a:cubicBezTo>
                  <a:cubicBezTo>
                    <a:pt x="49" y="50"/>
                    <a:pt x="51" y="50"/>
                    <a:pt x="53" y="50"/>
                  </a:cubicBezTo>
                  <a:cubicBezTo>
                    <a:pt x="54" y="50"/>
                    <a:pt x="55" y="50"/>
                    <a:pt x="55" y="50"/>
                  </a:cubicBezTo>
                  <a:cubicBezTo>
                    <a:pt x="56" y="50"/>
                    <a:pt x="57" y="49"/>
                    <a:pt x="56" y="48"/>
                  </a:cubicBezTo>
                  <a:cubicBezTo>
                    <a:pt x="56" y="48"/>
                    <a:pt x="56" y="47"/>
                    <a:pt x="55" y="47"/>
                  </a:cubicBezTo>
                  <a:cubicBezTo>
                    <a:pt x="52" y="47"/>
                    <a:pt x="50" y="47"/>
                    <a:pt x="48" y="46"/>
                  </a:cubicBezTo>
                  <a:cubicBezTo>
                    <a:pt x="47" y="46"/>
                    <a:pt x="47" y="45"/>
                    <a:pt x="4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7" y="45"/>
                    <a:pt x="107" y="46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5"/>
                    <a:pt x="4" y="45"/>
                    <a:pt x="4" y="45"/>
                  </a:cubicBezTo>
                  <a:moveTo>
                    <a:pt x="41" y="34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moveTo>
                    <a:pt x="66" y="4"/>
                  </a:move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9" y="3"/>
                    <a:pt x="69" y="3"/>
                    <a:pt x="69" y="4"/>
                  </a:cubicBezTo>
                  <a:cubicBezTo>
                    <a:pt x="69" y="4"/>
                    <a:pt x="69" y="5"/>
                    <a:pt x="69" y="5"/>
                  </a:cubicBezTo>
                  <a:cubicBezTo>
                    <a:pt x="69" y="6"/>
                    <a:pt x="68" y="6"/>
                    <a:pt x="67" y="6"/>
                  </a:cubicBezTo>
                  <a:cubicBezTo>
                    <a:pt x="66" y="5"/>
                    <a:pt x="66" y="4"/>
                    <a:pt x="66" y="4"/>
                  </a:cubicBezTo>
                  <a:moveTo>
                    <a:pt x="106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1"/>
                  </a:cubicBezTo>
                  <a:cubicBezTo>
                    <a:pt x="70" y="35"/>
                    <a:pt x="68" y="28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1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9"/>
                    <a:pt x="68" y="9"/>
                    <a:pt x="68" y="9"/>
                  </a:cubicBezTo>
                  <a:cubicBezTo>
                    <a:pt x="69" y="9"/>
                    <a:pt x="71" y="8"/>
                    <a:pt x="72" y="6"/>
                  </a:cubicBezTo>
                  <a:cubicBezTo>
                    <a:pt x="73" y="4"/>
                    <a:pt x="72" y="1"/>
                    <a:pt x="70" y="0"/>
                  </a:cubicBezTo>
                  <a:cubicBezTo>
                    <a:pt x="69" y="0"/>
                    <a:pt x="67" y="0"/>
                    <a:pt x="66" y="0"/>
                  </a:cubicBezTo>
                  <a:cubicBezTo>
                    <a:pt x="65" y="1"/>
                    <a:pt x="64" y="1"/>
                    <a:pt x="64" y="2"/>
                  </a:cubicBezTo>
                  <a:cubicBezTo>
                    <a:pt x="63" y="4"/>
                    <a:pt x="63" y="6"/>
                    <a:pt x="65" y="7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0"/>
                    <a:pt x="58" y="22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6" y="29"/>
                    <a:pt x="67" y="35"/>
                    <a:pt x="64" y="40"/>
                  </a:cubicBezTo>
                  <a:cubicBezTo>
                    <a:pt x="64" y="41"/>
                    <a:pt x="64" y="41"/>
                    <a:pt x="6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1"/>
                    <a:pt x="42" y="40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5" y="38"/>
                    <a:pt x="45" y="37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1" y="27"/>
                    <a:pt x="41" y="27"/>
                  </a:cubicBezTo>
                  <a:cubicBezTo>
                    <a:pt x="40" y="27"/>
                    <a:pt x="40" y="28"/>
                    <a:pt x="39" y="28"/>
                  </a:cubicBezTo>
                  <a:cubicBezTo>
                    <a:pt x="38" y="32"/>
                    <a:pt x="37" y="36"/>
                    <a:pt x="39" y="40"/>
                  </a:cubicBezTo>
                  <a:cubicBezTo>
                    <a:pt x="39" y="41"/>
                    <a:pt x="39" y="41"/>
                    <a:pt x="4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4"/>
                    <a:pt x="0" y="46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8" y="114"/>
                    <a:pt x="110" y="112"/>
                    <a:pt x="110" y="110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4"/>
                    <a:pt x="108" y="42"/>
                    <a:pt x="106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1">
              <a:extLst>
                <a:ext uri="{FF2B5EF4-FFF2-40B4-BE49-F238E27FC236}">
                  <a16:creationId xmlns:a16="http://schemas.microsoft.com/office/drawing/2014/main" id="{6559F157-4851-4DC3-91EB-A343C5708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2" y="546"/>
              <a:ext cx="17" cy="17"/>
            </a:xfrm>
            <a:custGeom>
              <a:avLst/>
              <a:gdLst>
                <a:gd name="T0" fmla="*/ 4 w 7"/>
                <a:gd name="T1" fmla="*/ 3 h 7"/>
                <a:gd name="T2" fmla="*/ 4 w 7"/>
                <a:gd name="T3" fmla="*/ 4 h 7"/>
                <a:gd name="T4" fmla="*/ 4 w 7"/>
                <a:gd name="T5" fmla="*/ 4 h 7"/>
                <a:gd name="T6" fmla="*/ 3 w 7"/>
                <a:gd name="T7" fmla="*/ 4 h 7"/>
                <a:gd name="T8" fmla="*/ 4 w 7"/>
                <a:gd name="T9" fmla="*/ 3 h 7"/>
                <a:gd name="T10" fmla="*/ 4 w 7"/>
                <a:gd name="T11" fmla="*/ 7 h 7"/>
                <a:gd name="T12" fmla="*/ 7 w 7"/>
                <a:gd name="T13" fmla="*/ 4 h 7"/>
                <a:gd name="T14" fmla="*/ 4 w 7"/>
                <a:gd name="T15" fmla="*/ 0 h 7"/>
                <a:gd name="T16" fmla="*/ 0 w 7"/>
                <a:gd name="T17" fmla="*/ 4 h 7"/>
                <a:gd name="T18" fmla="*/ 4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moveTo>
                    <a:pt x="4" y="7"/>
                  </a:move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92">
              <a:extLst>
                <a:ext uri="{FF2B5EF4-FFF2-40B4-BE49-F238E27FC236}">
                  <a16:creationId xmlns:a16="http://schemas.microsoft.com/office/drawing/2014/main" id="{7CB0EF1E-445D-4EE3-83AD-1E7437D3D2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" y="546"/>
              <a:ext cx="17" cy="17"/>
            </a:xfrm>
            <a:custGeom>
              <a:avLst/>
              <a:gdLst>
                <a:gd name="T0" fmla="*/ 3 w 7"/>
                <a:gd name="T1" fmla="*/ 3 h 7"/>
                <a:gd name="T2" fmla="*/ 4 w 7"/>
                <a:gd name="T3" fmla="*/ 4 h 7"/>
                <a:gd name="T4" fmla="*/ 3 w 7"/>
                <a:gd name="T5" fmla="*/ 4 h 7"/>
                <a:gd name="T6" fmla="*/ 3 w 7"/>
                <a:gd name="T7" fmla="*/ 4 h 7"/>
                <a:gd name="T8" fmla="*/ 3 w 7"/>
                <a:gd name="T9" fmla="*/ 3 h 7"/>
                <a:gd name="T10" fmla="*/ 3 w 7"/>
                <a:gd name="T11" fmla="*/ 7 h 7"/>
                <a:gd name="T12" fmla="*/ 7 w 7"/>
                <a:gd name="T13" fmla="*/ 4 h 7"/>
                <a:gd name="T14" fmla="*/ 3 w 7"/>
                <a:gd name="T15" fmla="*/ 0 h 7"/>
                <a:gd name="T16" fmla="*/ 0 w 7"/>
                <a:gd name="T17" fmla="*/ 4 h 7"/>
                <a:gd name="T18" fmla="*/ 3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3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moveTo>
                    <a:pt x="3" y="7"/>
                  </a:moveTo>
                  <a:cubicBezTo>
                    <a:pt x="5" y="7"/>
                    <a:pt x="7" y="6"/>
                    <a:pt x="7" y="4"/>
                  </a:cubicBezTo>
                  <a:cubicBezTo>
                    <a:pt x="7" y="2"/>
                    <a:pt x="5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3">
              <a:extLst>
                <a:ext uri="{FF2B5EF4-FFF2-40B4-BE49-F238E27FC236}">
                  <a16:creationId xmlns:a16="http://schemas.microsoft.com/office/drawing/2014/main" id="{C1896800-886A-4C31-933D-B0DAE181E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8" y="546"/>
              <a:ext cx="17" cy="17"/>
            </a:xfrm>
            <a:custGeom>
              <a:avLst/>
              <a:gdLst>
                <a:gd name="T0" fmla="*/ 4 w 7"/>
                <a:gd name="T1" fmla="*/ 3 h 7"/>
                <a:gd name="T2" fmla="*/ 4 w 7"/>
                <a:gd name="T3" fmla="*/ 4 h 7"/>
                <a:gd name="T4" fmla="*/ 4 w 7"/>
                <a:gd name="T5" fmla="*/ 4 h 7"/>
                <a:gd name="T6" fmla="*/ 3 w 7"/>
                <a:gd name="T7" fmla="*/ 4 h 7"/>
                <a:gd name="T8" fmla="*/ 4 w 7"/>
                <a:gd name="T9" fmla="*/ 3 h 7"/>
                <a:gd name="T10" fmla="*/ 4 w 7"/>
                <a:gd name="T11" fmla="*/ 7 h 7"/>
                <a:gd name="T12" fmla="*/ 7 w 7"/>
                <a:gd name="T13" fmla="*/ 4 h 7"/>
                <a:gd name="T14" fmla="*/ 4 w 7"/>
                <a:gd name="T15" fmla="*/ 0 h 7"/>
                <a:gd name="T16" fmla="*/ 0 w 7"/>
                <a:gd name="T17" fmla="*/ 4 h 7"/>
                <a:gd name="T18" fmla="*/ 4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4" y="3"/>
                    <a:pt x="4" y="3"/>
                  </a:cubicBezTo>
                  <a:moveTo>
                    <a:pt x="4" y="7"/>
                  </a:move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4">
              <a:extLst>
                <a:ext uri="{FF2B5EF4-FFF2-40B4-BE49-F238E27FC236}">
                  <a16:creationId xmlns:a16="http://schemas.microsoft.com/office/drawing/2014/main" id="{E0A1A739-C849-4D5B-8C38-C525D8E1B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6" y="609"/>
              <a:ext cx="216" cy="47"/>
            </a:xfrm>
            <a:custGeom>
              <a:avLst/>
              <a:gdLst>
                <a:gd name="T0" fmla="*/ 85 w 88"/>
                <a:gd name="T1" fmla="*/ 16 h 19"/>
                <a:gd name="T2" fmla="*/ 3 w 88"/>
                <a:gd name="T3" fmla="*/ 16 h 19"/>
                <a:gd name="T4" fmla="*/ 3 w 88"/>
                <a:gd name="T5" fmla="*/ 3 h 19"/>
                <a:gd name="T6" fmla="*/ 85 w 88"/>
                <a:gd name="T7" fmla="*/ 3 h 19"/>
                <a:gd name="T8" fmla="*/ 85 w 88"/>
                <a:gd name="T9" fmla="*/ 16 h 19"/>
                <a:gd name="T10" fmla="*/ 86 w 88"/>
                <a:gd name="T11" fmla="*/ 0 h 19"/>
                <a:gd name="T12" fmla="*/ 2 w 88"/>
                <a:gd name="T13" fmla="*/ 0 h 19"/>
                <a:gd name="T14" fmla="*/ 0 w 88"/>
                <a:gd name="T15" fmla="*/ 1 h 19"/>
                <a:gd name="T16" fmla="*/ 0 w 88"/>
                <a:gd name="T17" fmla="*/ 18 h 19"/>
                <a:gd name="T18" fmla="*/ 2 w 88"/>
                <a:gd name="T19" fmla="*/ 19 h 19"/>
                <a:gd name="T20" fmla="*/ 86 w 88"/>
                <a:gd name="T21" fmla="*/ 19 h 19"/>
                <a:gd name="T22" fmla="*/ 88 w 88"/>
                <a:gd name="T23" fmla="*/ 18 h 19"/>
                <a:gd name="T24" fmla="*/ 88 w 88"/>
                <a:gd name="T25" fmla="*/ 1 h 19"/>
                <a:gd name="T26" fmla="*/ 86 w 88"/>
                <a:gd name="T2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9">
                  <a:moveTo>
                    <a:pt x="85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85" y="3"/>
                    <a:pt x="85" y="3"/>
                    <a:pt x="85" y="3"/>
                  </a:cubicBezTo>
                  <a:lnTo>
                    <a:pt x="85" y="16"/>
                  </a:lnTo>
                  <a:close/>
                  <a:moveTo>
                    <a:pt x="8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87" y="19"/>
                    <a:pt x="88" y="19"/>
                    <a:pt x="88" y="18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5">
              <a:extLst>
                <a:ext uri="{FF2B5EF4-FFF2-40B4-BE49-F238E27FC236}">
                  <a16:creationId xmlns:a16="http://schemas.microsoft.com/office/drawing/2014/main" id="{46343943-2E36-4E28-B44A-519DD368A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3" y="624"/>
              <a:ext cx="20" cy="22"/>
            </a:xfrm>
            <a:custGeom>
              <a:avLst/>
              <a:gdLst>
                <a:gd name="T0" fmla="*/ 2 w 20"/>
                <a:gd name="T1" fmla="*/ 17 h 22"/>
                <a:gd name="T2" fmla="*/ 7 w 20"/>
                <a:gd name="T3" fmla="*/ 15 h 22"/>
                <a:gd name="T4" fmla="*/ 7 w 20"/>
                <a:gd name="T5" fmla="*/ 22 h 22"/>
                <a:gd name="T6" fmla="*/ 12 w 20"/>
                <a:gd name="T7" fmla="*/ 22 h 22"/>
                <a:gd name="T8" fmla="*/ 12 w 20"/>
                <a:gd name="T9" fmla="*/ 15 h 22"/>
                <a:gd name="T10" fmla="*/ 17 w 20"/>
                <a:gd name="T11" fmla="*/ 17 h 22"/>
                <a:gd name="T12" fmla="*/ 20 w 20"/>
                <a:gd name="T13" fmla="*/ 15 h 22"/>
                <a:gd name="T14" fmla="*/ 12 w 20"/>
                <a:gd name="T15" fmla="*/ 10 h 22"/>
                <a:gd name="T16" fmla="*/ 20 w 20"/>
                <a:gd name="T17" fmla="*/ 7 h 22"/>
                <a:gd name="T18" fmla="*/ 17 w 20"/>
                <a:gd name="T19" fmla="*/ 3 h 22"/>
                <a:gd name="T20" fmla="*/ 12 w 20"/>
                <a:gd name="T21" fmla="*/ 7 h 22"/>
                <a:gd name="T22" fmla="*/ 12 w 20"/>
                <a:gd name="T23" fmla="*/ 0 h 22"/>
                <a:gd name="T24" fmla="*/ 7 w 20"/>
                <a:gd name="T25" fmla="*/ 0 h 22"/>
                <a:gd name="T26" fmla="*/ 7 w 20"/>
                <a:gd name="T27" fmla="*/ 7 h 22"/>
                <a:gd name="T28" fmla="*/ 2 w 20"/>
                <a:gd name="T29" fmla="*/ 3 h 22"/>
                <a:gd name="T30" fmla="*/ 0 w 20"/>
                <a:gd name="T31" fmla="*/ 7 h 22"/>
                <a:gd name="T32" fmla="*/ 7 w 20"/>
                <a:gd name="T33" fmla="*/ 10 h 22"/>
                <a:gd name="T34" fmla="*/ 0 w 20"/>
                <a:gd name="T35" fmla="*/ 15 h 22"/>
                <a:gd name="T36" fmla="*/ 2 w 20"/>
                <a:gd name="T3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2">
                  <a:moveTo>
                    <a:pt x="2" y="17"/>
                  </a:moveTo>
                  <a:lnTo>
                    <a:pt x="7" y="15"/>
                  </a:lnTo>
                  <a:lnTo>
                    <a:pt x="7" y="22"/>
                  </a:lnTo>
                  <a:lnTo>
                    <a:pt x="12" y="22"/>
                  </a:lnTo>
                  <a:lnTo>
                    <a:pt x="12" y="15"/>
                  </a:lnTo>
                  <a:lnTo>
                    <a:pt x="17" y="17"/>
                  </a:lnTo>
                  <a:lnTo>
                    <a:pt x="20" y="15"/>
                  </a:lnTo>
                  <a:lnTo>
                    <a:pt x="12" y="10"/>
                  </a:lnTo>
                  <a:lnTo>
                    <a:pt x="20" y="7"/>
                  </a:lnTo>
                  <a:lnTo>
                    <a:pt x="17" y="3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7" y="1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6">
              <a:extLst>
                <a:ext uri="{FF2B5EF4-FFF2-40B4-BE49-F238E27FC236}">
                  <a16:creationId xmlns:a16="http://schemas.microsoft.com/office/drawing/2014/main" id="{7203E51F-95ED-43A1-84F9-74B29C74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" y="624"/>
              <a:ext cx="20" cy="22"/>
            </a:xfrm>
            <a:custGeom>
              <a:avLst/>
              <a:gdLst>
                <a:gd name="T0" fmla="*/ 3 w 20"/>
                <a:gd name="T1" fmla="*/ 17 h 22"/>
                <a:gd name="T2" fmla="*/ 8 w 20"/>
                <a:gd name="T3" fmla="*/ 15 h 22"/>
                <a:gd name="T4" fmla="*/ 8 w 20"/>
                <a:gd name="T5" fmla="*/ 22 h 22"/>
                <a:gd name="T6" fmla="*/ 13 w 20"/>
                <a:gd name="T7" fmla="*/ 22 h 22"/>
                <a:gd name="T8" fmla="*/ 13 w 20"/>
                <a:gd name="T9" fmla="*/ 15 h 22"/>
                <a:gd name="T10" fmla="*/ 17 w 20"/>
                <a:gd name="T11" fmla="*/ 17 h 22"/>
                <a:gd name="T12" fmla="*/ 20 w 20"/>
                <a:gd name="T13" fmla="*/ 15 h 22"/>
                <a:gd name="T14" fmla="*/ 13 w 20"/>
                <a:gd name="T15" fmla="*/ 10 h 22"/>
                <a:gd name="T16" fmla="*/ 20 w 20"/>
                <a:gd name="T17" fmla="*/ 7 h 22"/>
                <a:gd name="T18" fmla="*/ 17 w 20"/>
                <a:gd name="T19" fmla="*/ 3 h 22"/>
                <a:gd name="T20" fmla="*/ 13 w 20"/>
                <a:gd name="T21" fmla="*/ 7 h 22"/>
                <a:gd name="T22" fmla="*/ 13 w 20"/>
                <a:gd name="T23" fmla="*/ 0 h 22"/>
                <a:gd name="T24" fmla="*/ 8 w 20"/>
                <a:gd name="T25" fmla="*/ 0 h 22"/>
                <a:gd name="T26" fmla="*/ 8 w 20"/>
                <a:gd name="T27" fmla="*/ 7 h 22"/>
                <a:gd name="T28" fmla="*/ 3 w 20"/>
                <a:gd name="T29" fmla="*/ 3 h 22"/>
                <a:gd name="T30" fmla="*/ 0 w 20"/>
                <a:gd name="T31" fmla="*/ 7 h 22"/>
                <a:gd name="T32" fmla="*/ 8 w 20"/>
                <a:gd name="T33" fmla="*/ 10 h 22"/>
                <a:gd name="T34" fmla="*/ 0 w 20"/>
                <a:gd name="T35" fmla="*/ 15 h 22"/>
                <a:gd name="T36" fmla="*/ 3 w 20"/>
                <a:gd name="T3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2">
                  <a:moveTo>
                    <a:pt x="3" y="17"/>
                  </a:moveTo>
                  <a:lnTo>
                    <a:pt x="8" y="15"/>
                  </a:lnTo>
                  <a:lnTo>
                    <a:pt x="8" y="22"/>
                  </a:lnTo>
                  <a:lnTo>
                    <a:pt x="13" y="22"/>
                  </a:lnTo>
                  <a:lnTo>
                    <a:pt x="13" y="15"/>
                  </a:lnTo>
                  <a:lnTo>
                    <a:pt x="17" y="17"/>
                  </a:lnTo>
                  <a:lnTo>
                    <a:pt x="20" y="15"/>
                  </a:lnTo>
                  <a:lnTo>
                    <a:pt x="13" y="10"/>
                  </a:lnTo>
                  <a:lnTo>
                    <a:pt x="20" y="7"/>
                  </a:lnTo>
                  <a:lnTo>
                    <a:pt x="17" y="3"/>
                  </a:lnTo>
                  <a:lnTo>
                    <a:pt x="13" y="7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7"/>
                  </a:lnTo>
                  <a:lnTo>
                    <a:pt x="3" y="3"/>
                  </a:lnTo>
                  <a:lnTo>
                    <a:pt x="0" y="7"/>
                  </a:lnTo>
                  <a:lnTo>
                    <a:pt x="8" y="10"/>
                  </a:lnTo>
                  <a:lnTo>
                    <a:pt x="0" y="15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7">
              <a:extLst>
                <a:ext uri="{FF2B5EF4-FFF2-40B4-BE49-F238E27FC236}">
                  <a16:creationId xmlns:a16="http://schemas.microsoft.com/office/drawing/2014/main" id="{2C0401DA-050D-462D-BF31-365A2921A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" y="624"/>
              <a:ext cx="19" cy="22"/>
            </a:xfrm>
            <a:custGeom>
              <a:avLst/>
              <a:gdLst>
                <a:gd name="T0" fmla="*/ 2 w 19"/>
                <a:gd name="T1" fmla="*/ 17 h 22"/>
                <a:gd name="T2" fmla="*/ 7 w 19"/>
                <a:gd name="T3" fmla="*/ 15 h 22"/>
                <a:gd name="T4" fmla="*/ 7 w 19"/>
                <a:gd name="T5" fmla="*/ 22 h 22"/>
                <a:gd name="T6" fmla="*/ 12 w 19"/>
                <a:gd name="T7" fmla="*/ 22 h 22"/>
                <a:gd name="T8" fmla="*/ 12 w 19"/>
                <a:gd name="T9" fmla="*/ 15 h 22"/>
                <a:gd name="T10" fmla="*/ 17 w 19"/>
                <a:gd name="T11" fmla="*/ 17 h 22"/>
                <a:gd name="T12" fmla="*/ 19 w 19"/>
                <a:gd name="T13" fmla="*/ 15 h 22"/>
                <a:gd name="T14" fmla="*/ 12 w 19"/>
                <a:gd name="T15" fmla="*/ 10 h 22"/>
                <a:gd name="T16" fmla="*/ 19 w 19"/>
                <a:gd name="T17" fmla="*/ 7 h 22"/>
                <a:gd name="T18" fmla="*/ 17 w 19"/>
                <a:gd name="T19" fmla="*/ 3 h 22"/>
                <a:gd name="T20" fmla="*/ 12 w 19"/>
                <a:gd name="T21" fmla="*/ 7 h 22"/>
                <a:gd name="T22" fmla="*/ 12 w 19"/>
                <a:gd name="T23" fmla="*/ 0 h 22"/>
                <a:gd name="T24" fmla="*/ 7 w 19"/>
                <a:gd name="T25" fmla="*/ 0 h 22"/>
                <a:gd name="T26" fmla="*/ 7 w 19"/>
                <a:gd name="T27" fmla="*/ 7 h 22"/>
                <a:gd name="T28" fmla="*/ 2 w 19"/>
                <a:gd name="T29" fmla="*/ 3 h 22"/>
                <a:gd name="T30" fmla="*/ 0 w 19"/>
                <a:gd name="T31" fmla="*/ 7 h 22"/>
                <a:gd name="T32" fmla="*/ 7 w 19"/>
                <a:gd name="T33" fmla="*/ 10 h 22"/>
                <a:gd name="T34" fmla="*/ 0 w 19"/>
                <a:gd name="T35" fmla="*/ 15 h 22"/>
                <a:gd name="T36" fmla="*/ 2 w 19"/>
                <a:gd name="T3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2">
                  <a:moveTo>
                    <a:pt x="2" y="17"/>
                  </a:moveTo>
                  <a:lnTo>
                    <a:pt x="7" y="15"/>
                  </a:lnTo>
                  <a:lnTo>
                    <a:pt x="7" y="22"/>
                  </a:lnTo>
                  <a:lnTo>
                    <a:pt x="12" y="22"/>
                  </a:lnTo>
                  <a:lnTo>
                    <a:pt x="12" y="15"/>
                  </a:lnTo>
                  <a:lnTo>
                    <a:pt x="17" y="17"/>
                  </a:lnTo>
                  <a:lnTo>
                    <a:pt x="19" y="15"/>
                  </a:lnTo>
                  <a:lnTo>
                    <a:pt x="12" y="10"/>
                  </a:lnTo>
                  <a:lnTo>
                    <a:pt x="19" y="7"/>
                  </a:lnTo>
                  <a:lnTo>
                    <a:pt x="17" y="3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7" y="1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8">
              <a:extLst>
                <a:ext uri="{FF2B5EF4-FFF2-40B4-BE49-F238E27FC236}">
                  <a16:creationId xmlns:a16="http://schemas.microsoft.com/office/drawing/2014/main" id="{9B85DDF7-9B61-4DD0-8985-DB3C99535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624"/>
              <a:ext cx="20" cy="22"/>
            </a:xfrm>
            <a:custGeom>
              <a:avLst/>
              <a:gdLst>
                <a:gd name="T0" fmla="*/ 2 w 20"/>
                <a:gd name="T1" fmla="*/ 17 h 22"/>
                <a:gd name="T2" fmla="*/ 7 w 20"/>
                <a:gd name="T3" fmla="*/ 15 h 22"/>
                <a:gd name="T4" fmla="*/ 7 w 20"/>
                <a:gd name="T5" fmla="*/ 22 h 22"/>
                <a:gd name="T6" fmla="*/ 12 w 20"/>
                <a:gd name="T7" fmla="*/ 22 h 22"/>
                <a:gd name="T8" fmla="*/ 12 w 20"/>
                <a:gd name="T9" fmla="*/ 15 h 22"/>
                <a:gd name="T10" fmla="*/ 17 w 20"/>
                <a:gd name="T11" fmla="*/ 17 h 22"/>
                <a:gd name="T12" fmla="*/ 20 w 20"/>
                <a:gd name="T13" fmla="*/ 15 h 22"/>
                <a:gd name="T14" fmla="*/ 12 w 20"/>
                <a:gd name="T15" fmla="*/ 10 h 22"/>
                <a:gd name="T16" fmla="*/ 20 w 20"/>
                <a:gd name="T17" fmla="*/ 7 h 22"/>
                <a:gd name="T18" fmla="*/ 17 w 20"/>
                <a:gd name="T19" fmla="*/ 3 h 22"/>
                <a:gd name="T20" fmla="*/ 12 w 20"/>
                <a:gd name="T21" fmla="*/ 7 h 22"/>
                <a:gd name="T22" fmla="*/ 12 w 20"/>
                <a:gd name="T23" fmla="*/ 0 h 22"/>
                <a:gd name="T24" fmla="*/ 7 w 20"/>
                <a:gd name="T25" fmla="*/ 0 h 22"/>
                <a:gd name="T26" fmla="*/ 7 w 20"/>
                <a:gd name="T27" fmla="*/ 7 h 22"/>
                <a:gd name="T28" fmla="*/ 2 w 20"/>
                <a:gd name="T29" fmla="*/ 3 h 22"/>
                <a:gd name="T30" fmla="*/ 0 w 20"/>
                <a:gd name="T31" fmla="*/ 7 h 22"/>
                <a:gd name="T32" fmla="*/ 7 w 20"/>
                <a:gd name="T33" fmla="*/ 10 h 22"/>
                <a:gd name="T34" fmla="*/ 0 w 20"/>
                <a:gd name="T35" fmla="*/ 15 h 22"/>
                <a:gd name="T36" fmla="*/ 2 w 20"/>
                <a:gd name="T3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2">
                  <a:moveTo>
                    <a:pt x="2" y="17"/>
                  </a:moveTo>
                  <a:lnTo>
                    <a:pt x="7" y="15"/>
                  </a:lnTo>
                  <a:lnTo>
                    <a:pt x="7" y="22"/>
                  </a:lnTo>
                  <a:lnTo>
                    <a:pt x="12" y="22"/>
                  </a:lnTo>
                  <a:lnTo>
                    <a:pt x="12" y="15"/>
                  </a:lnTo>
                  <a:lnTo>
                    <a:pt x="17" y="17"/>
                  </a:lnTo>
                  <a:lnTo>
                    <a:pt x="20" y="15"/>
                  </a:lnTo>
                  <a:lnTo>
                    <a:pt x="12" y="10"/>
                  </a:lnTo>
                  <a:lnTo>
                    <a:pt x="20" y="7"/>
                  </a:lnTo>
                  <a:lnTo>
                    <a:pt x="17" y="3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7" y="10"/>
                  </a:lnTo>
                  <a:lnTo>
                    <a:pt x="0" y="15"/>
                  </a:lnTo>
                  <a:lnTo>
                    <a:pt x="2" y="1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101">
            <a:extLst>
              <a:ext uri="{FF2B5EF4-FFF2-40B4-BE49-F238E27FC236}">
                <a16:creationId xmlns:a16="http://schemas.microsoft.com/office/drawing/2014/main" id="{AAFD4C1A-EF6D-479F-886D-9DEBF02F53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3938" y="261938"/>
            <a:ext cx="850900" cy="850900"/>
            <a:chOff x="2966" y="334"/>
            <a:chExt cx="536" cy="536"/>
          </a:xfrm>
        </p:grpSpPr>
        <p:sp>
          <p:nvSpPr>
            <p:cNvPr id="108" name="AutoShape 100">
              <a:extLst>
                <a:ext uri="{FF2B5EF4-FFF2-40B4-BE49-F238E27FC236}">
                  <a16:creationId xmlns:a16="http://schemas.microsoft.com/office/drawing/2014/main" id="{8F10D0EB-2A9D-4FC7-8676-8BE0F70BD5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66" y="334"/>
              <a:ext cx="536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Oval 102">
              <a:extLst>
                <a:ext uri="{FF2B5EF4-FFF2-40B4-BE49-F238E27FC236}">
                  <a16:creationId xmlns:a16="http://schemas.microsoft.com/office/drawing/2014/main" id="{3A3F42FC-3DA9-4E7C-AD85-7B14A4CE8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6" y="334"/>
              <a:ext cx="539" cy="53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0EE5460F-0304-47DD-A5E4-5052481D8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4" y="352"/>
              <a:ext cx="502" cy="502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5A4B3201-474F-48BB-8CC1-A4255475BE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3" y="435"/>
              <a:ext cx="285" cy="295"/>
            </a:xfrm>
            <a:custGeom>
              <a:avLst/>
              <a:gdLst>
                <a:gd name="T0" fmla="*/ 4 w 110"/>
                <a:gd name="T1" fmla="*/ 111 h 114"/>
                <a:gd name="T2" fmla="*/ 3 w 110"/>
                <a:gd name="T3" fmla="*/ 57 h 114"/>
                <a:gd name="T4" fmla="*/ 107 w 110"/>
                <a:gd name="T5" fmla="*/ 110 h 114"/>
                <a:gd name="T6" fmla="*/ 4 w 110"/>
                <a:gd name="T7" fmla="*/ 45 h 114"/>
                <a:gd name="T8" fmla="*/ 47 w 110"/>
                <a:gd name="T9" fmla="*/ 49 h 114"/>
                <a:gd name="T10" fmla="*/ 55 w 110"/>
                <a:gd name="T11" fmla="*/ 50 h 114"/>
                <a:gd name="T12" fmla="*/ 55 w 110"/>
                <a:gd name="T13" fmla="*/ 47 h 114"/>
                <a:gd name="T14" fmla="*/ 46 w 110"/>
                <a:gd name="T15" fmla="*/ 45 h 114"/>
                <a:gd name="T16" fmla="*/ 107 w 110"/>
                <a:gd name="T17" fmla="*/ 46 h 114"/>
                <a:gd name="T18" fmla="*/ 3 w 110"/>
                <a:gd name="T19" fmla="*/ 55 h 114"/>
                <a:gd name="T20" fmla="*/ 4 w 110"/>
                <a:gd name="T21" fmla="*/ 45 h 114"/>
                <a:gd name="T22" fmla="*/ 41 w 110"/>
                <a:gd name="T23" fmla="*/ 35 h 114"/>
                <a:gd name="T24" fmla="*/ 41 w 110"/>
                <a:gd name="T25" fmla="*/ 34 h 114"/>
                <a:gd name="T26" fmla="*/ 67 w 110"/>
                <a:gd name="T27" fmla="*/ 3 h 114"/>
                <a:gd name="T28" fmla="*/ 68 w 110"/>
                <a:gd name="T29" fmla="*/ 3 h 114"/>
                <a:gd name="T30" fmla="*/ 69 w 110"/>
                <a:gd name="T31" fmla="*/ 5 h 114"/>
                <a:gd name="T32" fmla="*/ 66 w 110"/>
                <a:gd name="T33" fmla="*/ 4 h 114"/>
                <a:gd name="T34" fmla="*/ 67 w 110"/>
                <a:gd name="T35" fmla="*/ 42 h 114"/>
                <a:gd name="T36" fmla="*/ 63 w 110"/>
                <a:gd name="T37" fmla="*/ 23 h 114"/>
                <a:gd name="T38" fmla="*/ 62 w 110"/>
                <a:gd name="T39" fmla="*/ 20 h 114"/>
                <a:gd name="T40" fmla="*/ 62 w 110"/>
                <a:gd name="T41" fmla="*/ 20 h 114"/>
                <a:gd name="T42" fmla="*/ 68 w 110"/>
                <a:gd name="T43" fmla="*/ 9 h 114"/>
                <a:gd name="T44" fmla="*/ 70 w 110"/>
                <a:gd name="T45" fmla="*/ 0 h 114"/>
                <a:gd name="T46" fmla="*/ 64 w 110"/>
                <a:gd name="T47" fmla="*/ 2 h 114"/>
                <a:gd name="T48" fmla="*/ 59 w 110"/>
                <a:gd name="T49" fmla="*/ 19 h 114"/>
                <a:gd name="T50" fmla="*/ 61 w 110"/>
                <a:gd name="T51" fmla="*/ 25 h 114"/>
                <a:gd name="T52" fmla="*/ 61 w 110"/>
                <a:gd name="T53" fmla="*/ 25 h 114"/>
                <a:gd name="T54" fmla="*/ 63 w 110"/>
                <a:gd name="T55" fmla="*/ 42 h 114"/>
                <a:gd name="T56" fmla="*/ 41 w 110"/>
                <a:gd name="T57" fmla="*/ 39 h 114"/>
                <a:gd name="T58" fmla="*/ 43 w 110"/>
                <a:gd name="T59" fmla="*/ 39 h 114"/>
                <a:gd name="T60" fmla="*/ 45 w 110"/>
                <a:gd name="T61" fmla="*/ 37 h 114"/>
                <a:gd name="T62" fmla="*/ 41 w 110"/>
                <a:gd name="T63" fmla="*/ 27 h 114"/>
                <a:gd name="T64" fmla="*/ 39 w 110"/>
                <a:gd name="T65" fmla="*/ 40 h 114"/>
                <a:gd name="T66" fmla="*/ 4 w 110"/>
                <a:gd name="T67" fmla="*/ 42 h 114"/>
                <a:gd name="T68" fmla="*/ 0 w 110"/>
                <a:gd name="T69" fmla="*/ 110 h 114"/>
                <a:gd name="T70" fmla="*/ 106 w 110"/>
                <a:gd name="T71" fmla="*/ 114 h 114"/>
                <a:gd name="T72" fmla="*/ 110 w 110"/>
                <a:gd name="T73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0" h="114">
                  <a:moveTo>
                    <a:pt x="106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3" y="111"/>
                    <a:pt x="3" y="110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7" y="110"/>
                    <a:pt x="107" y="110"/>
                    <a:pt x="107" y="110"/>
                  </a:cubicBezTo>
                  <a:cubicBezTo>
                    <a:pt x="107" y="111"/>
                    <a:pt x="106" y="111"/>
                    <a:pt x="106" y="111"/>
                  </a:cubicBezTo>
                  <a:moveTo>
                    <a:pt x="4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3" y="46"/>
                    <a:pt x="45" y="48"/>
                    <a:pt x="47" y="49"/>
                  </a:cubicBezTo>
                  <a:cubicBezTo>
                    <a:pt x="49" y="50"/>
                    <a:pt x="51" y="50"/>
                    <a:pt x="53" y="50"/>
                  </a:cubicBezTo>
                  <a:cubicBezTo>
                    <a:pt x="54" y="50"/>
                    <a:pt x="55" y="50"/>
                    <a:pt x="55" y="50"/>
                  </a:cubicBezTo>
                  <a:cubicBezTo>
                    <a:pt x="56" y="50"/>
                    <a:pt x="57" y="49"/>
                    <a:pt x="56" y="48"/>
                  </a:cubicBezTo>
                  <a:cubicBezTo>
                    <a:pt x="56" y="48"/>
                    <a:pt x="56" y="47"/>
                    <a:pt x="55" y="47"/>
                  </a:cubicBezTo>
                  <a:cubicBezTo>
                    <a:pt x="52" y="47"/>
                    <a:pt x="50" y="47"/>
                    <a:pt x="48" y="46"/>
                  </a:cubicBezTo>
                  <a:cubicBezTo>
                    <a:pt x="47" y="46"/>
                    <a:pt x="47" y="45"/>
                    <a:pt x="4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7" y="45"/>
                    <a:pt x="107" y="46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5"/>
                    <a:pt x="4" y="45"/>
                    <a:pt x="4" y="45"/>
                  </a:cubicBezTo>
                  <a:moveTo>
                    <a:pt x="41" y="34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moveTo>
                    <a:pt x="66" y="4"/>
                  </a:move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9" y="3"/>
                    <a:pt x="69" y="3"/>
                    <a:pt x="69" y="4"/>
                  </a:cubicBezTo>
                  <a:cubicBezTo>
                    <a:pt x="69" y="4"/>
                    <a:pt x="69" y="5"/>
                    <a:pt x="69" y="5"/>
                  </a:cubicBezTo>
                  <a:cubicBezTo>
                    <a:pt x="69" y="6"/>
                    <a:pt x="68" y="6"/>
                    <a:pt x="67" y="6"/>
                  </a:cubicBezTo>
                  <a:cubicBezTo>
                    <a:pt x="66" y="5"/>
                    <a:pt x="66" y="4"/>
                    <a:pt x="66" y="4"/>
                  </a:cubicBezTo>
                  <a:moveTo>
                    <a:pt x="106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1"/>
                  </a:cubicBezTo>
                  <a:cubicBezTo>
                    <a:pt x="70" y="35"/>
                    <a:pt x="68" y="28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1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9"/>
                    <a:pt x="68" y="9"/>
                    <a:pt x="68" y="9"/>
                  </a:cubicBezTo>
                  <a:cubicBezTo>
                    <a:pt x="69" y="9"/>
                    <a:pt x="71" y="8"/>
                    <a:pt x="72" y="6"/>
                  </a:cubicBezTo>
                  <a:cubicBezTo>
                    <a:pt x="73" y="4"/>
                    <a:pt x="72" y="1"/>
                    <a:pt x="70" y="0"/>
                  </a:cubicBezTo>
                  <a:cubicBezTo>
                    <a:pt x="69" y="0"/>
                    <a:pt x="67" y="0"/>
                    <a:pt x="66" y="0"/>
                  </a:cubicBezTo>
                  <a:cubicBezTo>
                    <a:pt x="65" y="1"/>
                    <a:pt x="64" y="1"/>
                    <a:pt x="64" y="2"/>
                  </a:cubicBezTo>
                  <a:cubicBezTo>
                    <a:pt x="63" y="4"/>
                    <a:pt x="63" y="6"/>
                    <a:pt x="65" y="7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0"/>
                    <a:pt x="58" y="22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6" y="29"/>
                    <a:pt x="67" y="35"/>
                    <a:pt x="64" y="40"/>
                  </a:cubicBezTo>
                  <a:cubicBezTo>
                    <a:pt x="64" y="41"/>
                    <a:pt x="64" y="41"/>
                    <a:pt x="6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1"/>
                    <a:pt x="42" y="40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5" y="38"/>
                    <a:pt x="45" y="37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1" y="27"/>
                    <a:pt x="41" y="27"/>
                  </a:cubicBezTo>
                  <a:cubicBezTo>
                    <a:pt x="40" y="27"/>
                    <a:pt x="40" y="28"/>
                    <a:pt x="39" y="28"/>
                  </a:cubicBezTo>
                  <a:cubicBezTo>
                    <a:pt x="38" y="32"/>
                    <a:pt x="37" y="36"/>
                    <a:pt x="39" y="40"/>
                  </a:cubicBezTo>
                  <a:cubicBezTo>
                    <a:pt x="39" y="41"/>
                    <a:pt x="39" y="41"/>
                    <a:pt x="4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2" y="42"/>
                    <a:pt x="0" y="44"/>
                    <a:pt x="0" y="46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8" y="114"/>
                    <a:pt x="110" y="112"/>
                    <a:pt x="110" y="110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4"/>
                    <a:pt x="108" y="42"/>
                    <a:pt x="106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553D0CE4-CA2A-4804-82EE-36536720E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6" y="554"/>
              <a:ext cx="18" cy="18"/>
            </a:xfrm>
            <a:custGeom>
              <a:avLst/>
              <a:gdLst>
                <a:gd name="T0" fmla="*/ 4 w 7"/>
                <a:gd name="T1" fmla="*/ 3 h 7"/>
                <a:gd name="T2" fmla="*/ 4 w 7"/>
                <a:gd name="T3" fmla="*/ 4 h 7"/>
                <a:gd name="T4" fmla="*/ 4 w 7"/>
                <a:gd name="T5" fmla="*/ 4 h 7"/>
                <a:gd name="T6" fmla="*/ 3 w 7"/>
                <a:gd name="T7" fmla="*/ 4 h 7"/>
                <a:gd name="T8" fmla="*/ 4 w 7"/>
                <a:gd name="T9" fmla="*/ 3 h 7"/>
                <a:gd name="T10" fmla="*/ 4 w 7"/>
                <a:gd name="T11" fmla="*/ 7 h 7"/>
                <a:gd name="T12" fmla="*/ 7 w 7"/>
                <a:gd name="T13" fmla="*/ 4 h 7"/>
                <a:gd name="T14" fmla="*/ 4 w 7"/>
                <a:gd name="T15" fmla="*/ 0 h 7"/>
                <a:gd name="T16" fmla="*/ 0 w 7"/>
                <a:gd name="T17" fmla="*/ 4 h 7"/>
                <a:gd name="T18" fmla="*/ 4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moveTo>
                    <a:pt x="4" y="7"/>
                  </a:move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B540ACAE-BEF0-403B-A56C-197DF9BB2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2" y="554"/>
              <a:ext cx="18" cy="18"/>
            </a:xfrm>
            <a:custGeom>
              <a:avLst/>
              <a:gdLst>
                <a:gd name="T0" fmla="*/ 3 w 7"/>
                <a:gd name="T1" fmla="*/ 3 h 7"/>
                <a:gd name="T2" fmla="*/ 4 w 7"/>
                <a:gd name="T3" fmla="*/ 4 h 7"/>
                <a:gd name="T4" fmla="*/ 3 w 7"/>
                <a:gd name="T5" fmla="*/ 4 h 7"/>
                <a:gd name="T6" fmla="*/ 3 w 7"/>
                <a:gd name="T7" fmla="*/ 4 h 7"/>
                <a:gd name="T8" fmla="*/ 3 w 7"/>
                <a:gd name="T9" fmla="*/ 3 h 7"/>
                <a:gd name="T10" fmla="*/ 3 w 7"/>
                <a:gd name="T11" fmla="*/ 7 h 7"/>
                <a:gd name="T12" fmla="*/ 7 w 7"/>
                <a:gd name="T13" fmla="*/ 4 h 7"/>
                <a:gd name="T14" fmla="*/ 3 w 7"/>
                <a:gd name="T15" fmla="*/ 0 h 7"/>
                <a:gd name="T16" fmla="*/ 0 w 7"/>
                <a:gd name="T17" fmla="*/ 4 h 7"/>
                <a:gd name="T18" fmla="*/ 3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3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moveTo>
                    <a:pt x="3" y="7"/>
                  </a:moveTo>
                  <a:cubicBezTo>
                    <a:pt x="5" y="7"/>
                    <a:pt x="7" y="6"/>
                    <a:pt x="7" y="4"/>
                  </a:cubicBezTo>
                  <a:cubicBezTo>
                    <a:pt x="7" y="2"/>
                    <a:pt x="5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7">
              <a:extLst>
                <a:ext uri="{FF2B5EF4-FFF2-40B4-BE49-F238E27FC236}">
                  <a16:creationId xmlns:a16="http://schemas.microsoft.com/office/drawing/2014/main" id="{7878E703-D35E-493E-B082-811B1D3AAE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5" y="554"/>
              <a:ext cx="18" cy="18"/>
            </a:xfrm>
            <a:custGeom>
              <a:avLst/>
              <a:gdLst>
                <a:gd name="T0" fmla="*/ 4 w 7"/>
                <a:gd name="T1" fmla="*/ 3 h 7"/>
                <a:gd name="T2" fmla="*/ 4 w 7"/>
                <a:gd name="T3" fmla="*/ 4 h 7"/>
                <a:gd name="T4" fmla="*/ 4 w 7"/>
                <a:gd name="T5" fmla="*/ 4 h 7"/>
                <a:gd name="T6" fmla="*/ 3 w 7"/>
                <a:gd name="T7" fmla="*/ 4 h 7"/>
                <a:gd name="T8" fmla="*/ 4 w 7"/>
                <a:gd name="T9" fmla="*/ 3 h 7"/>
                <a:gd name="T10" fmla="*/ 4 w 7"/>
                <a:gd name="T11" fmla="*/ 7 h 7"/>
                <a:gd name="T12" fmla="*/ 7 w 7"/>
                <a:gd name="T13" fmla="*/ 4 h 7"/>
                <a:gd name="T14" fmla="*/ 4 w 7"/>
                <a:gd name="T15" fmla="*/ 0 h 7"/>
                <a:gd name="T16" fmla="*/ 0 w 7"/>
                <a:gd name="T17" fmla="*/ 4 h 7"/>
                <a:gd name="T18" fmla="*/ 4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3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4" y="3"/>
                    <a:pt x="4" y="3"/>
                  </a:cubicBezTo>
                  <a:moveTo>
                    <a:pt x="4" y="7"/>
                  </a:move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61892308-8B29-481D-B778-4E4BCB560C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1" y="621"/>
              <a:ext cx="228" cy="50"/>
            </a:xfrm>
            <a:custGeom>
              <a:avLst/>
              <a:gdLst>
                <a:gd name="T0" fmla="*/ 85 w 88"/>
                <a:gd name="T1" fmla="*/ 16 h 19"/>
                <a:gd name="T2" fmla="*/ 3 w 88"/>
                <a:gd name="T3" fmla="*/ 16 h 19"/>
                <a:gd name="T4" fmla="*/ 3 w 88"/>
                <a:gd name="T5" fmla="*/ 3 h 19"/>
                <a:gd name="T6" fmla="*/ 85 w 88"/>
                <a:gd name="T7" fmla="*/ 3 h 19"/>
                <a:gd name="T8" fmla="*/ 85 w 88"/>
                <a:gd name="T9" fmla="*/ 16 h 19"/>
                <a:gd name="T10" fmla="*/ 86 w 88"/>
                <a:gd name="T11" fmla="*/ 0 h 19"/>
                <a:gd name="T12" fmla="*/ 2 w 88"/>
                <a:gd name="T13" fmla="*/ 0 h 19"/>
                <a:gd name="T14" fmla="*/ 0 w 88"/>
                <a:gd name="T15" fmla="*/ 1 h 19"/>
                <a:gd name="T16" fmla="*/ 0 w 88"/>
                <a:gd name="T17" fmla="*/ 18 h 19"/>
                <a:gd name="T18" fmla="*/ 2 w 88"/>
                <a:gd name="T19" fmla="*/ 19 h 19"/>
                <a:gd name="T20" fmla="*/ 86 w 88"/>
                <a:gd name="T21" fmla="*/ 19 h 19"/>
                <a:gd name="T22" fmla="*/ 88 w 88"/>
                <a:gd name="T23" fmla="*/ 18 h 19"/>
                <a:gd name="T24" fmla="*/ 88 w 88"/>
                <a:gd name="T25" fmla="*/ 1 h 19"/>
                <a:gd name="T26" fmla="*/ 86 w 88"/>
                <a:gd name="T2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9">
                  <a:moveTo>
                    <a:pt x="85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85" y="3"/>
                    <a:pt x="85" y="3"/>
                    <a:pt x="85" y="3"/>
                  </a:cubicBezTo>
                  <a:lnTo>
                    <a:pt x="85" y="16"/>
                  </a:lnTo>
                  <a:close/>
                  <a:moveTo>
                    <a:pt x="8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87" y="19"/>
                    <a:pt x="88" y="19"/>
                    <a:pt x="88" y="18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0"/>
                    <a:pt x="87" y="0"/>
                    <a:pt x="8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9">
              <a:extLst>
                <a:ext uri="{FF2B5EF4-FFF2-40B4-BE49-F238E27FC236}">
                  <a16:creationId xmlns:a16="http://schemas.microsoft.com/office/drawing/2014/main" id="{5F01D45B-1324-4428-BF7C-2BB46D0A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" y="637"/>
              <a:ext cx="21" cy="23"/>
            </a:xfrm>
            <a:custGeom>
              <a:avLst/>
              <a:gdLst>
                <a:gd name="T0" fmla="*/ 3 w 21"/>
                <a:gd name="T1" fmla="*/ 18 h 23"/>
                <a:gd name="T2" fmla="*/ 8 w 21"/>
                <a:gd name="T3" fmla="*/ 15 h 23"/>
                <a:gd name="T4" fmla="*/ 8 w 21"/>
                <a:gd name="T5" fmla="*/ 23 h 23"/>
                <a:gd name="T6" fmla="*/ 13 w 21"/>
                <a:gd name="T7" fmla="*/ 23 h 23"/>
                <a:gd name="T8" fmla="*/ 13 w 21"/>
                <a:gd name="T9" fmla="*/ 15 h 23"/>
                <a:gd name="T10" fmla="*/ 19 w 21"/>
                <a:gd name="T11" fmla="*/ 18 h 23"/>
                <a:gd name="T12" fmla="*/ 21 w 21"/>
                <a:gd name="T13" fmla="*/ 15 h 23"/>
                <a:gd name="T14" fmla="*/ 13 w 21"/>
                <a:gd name="T15" fmla="*/ 10 h 23"/>
                <a:gd name="T16" fmla="*/ 21 w 21"/>
                <a:gd name="T17" fmla="*/ 8 h 23"/>
                <a:gd name="T18" fmla="*/ 19 w 21"/>
                <a:gd name="T19" fmla="*/ 2 h 23"/>
                <a:gd name="T20" fmla="*/ 13 w 21"/>
                <a:gd name="T21" fmla="*/ 8 h 23"/>
                <a:gd name="T22" fmla="*/ 13 w 21"/>
                <a:gd name="T23" fmla="*/ 0 h 23"/>
                <a:gd name="T24" fmla="*/ 8 w 21"/>
                <a:gd name="T25" fmla="*/ 0 h 23"/>
                <a:gd name="T26" fmla="*/ 8 w 21"/>
                <a:gd name="T27" fmla="*/ 8 h 23"/>
                <a:gd name="T28" fmla="*/ 3 w 21"/>
                <a:gd name="T29" fmla="*/ 2 h 23"/>
                <a:gd name="T30" fmla="*/ 0 w 21"/>
                <a:gd name="T31" fmla="*/ 8 h 23"/>
                <a:gd name="T32" fmla="*/ 8 w 21"/>
                <a:gd name="T33" fmla="*/ 10 h 23"/>
                <a:gd name="T34" fmla="*/ 0 w 21"/>
                <a:gd name="T35" fmla="*/ 15 h 23"/>
                <a:gd name="T36" fmla="*/ 3 w 21"/>
                <a:gd name="T3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3">
                  <a:moveTo>
                    <a:pt x="3" y="18"/>
                  </a:moveTo>
                  <a:lnTo>
                    <a:pt x="8" y="15"/>
                  </a:lnTo>
                  <a:lnTo>
                    <a:pt x="8" y="23"/>
                  </a:lnTo>
                  <a:lnTo>
                    <a:pt x="13" y="23"/>
                  </a:lnTo>
                  <a:lnTo>
                    <a:pt x="13" y="15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13" y="10"/>
                  </a:lnTo>
                  <a:lnTo>
                    <a:pt x="21" y="8"/>
                  </a:lnTo>
                  <a:lnTo>
                    <a:pt x="19" y="2"/>
                  </a:lnTo>
                  <a:lnTo>
                    <a:pt x="13" y="8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3" y="2"/>
                  </a:lnTo>
                  <a:lnTo>
                    <a:pt x="0" y="8"/>
                  </a:lnTo>
                  <a:lnTo>
                    <a:pt x="8" y="10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10">
              <a:extLst>
                <a:ext uri="{FF2B5EF4-FFF2-40B4-BE49-F238E27FC236}">
                  <a16:creationId xmlns:a16="http://schemas.microsoft.com/office/drawing/2014/main" id="{A96C1F6C-4B83-468B-A617-204FF270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7" y="637"/>
              <a:ext cx="20" cy="23"/>
            </a:xfrm>
            <a:custGeom>
              <a:avLst/>
              <a:gdLst>
                <a:gd name="T0" fmla="*/ 2 w 20"/>
                <a:gd name="T1" fmla="*/ 18 h 23"/>
                <a:gd name="T2" fmla="*/ 7 w 20"/>
                <a:gd name="T3" fmla="*/ 15 h 23"/>
                <a:gd name="T4" fmla="*/ 7 w 20"/>
                <a:gd name="T5" fmla="*/ 23 h 23"/>
                <a:gd name="T6" fmla="*/ 13 w 20"/>
                <a:gd name="T7" fmla="*/ 23 h 23"/>
                <a:gd name="T8" fmla="*/ 13 w 20"/>
                <a:gd name="T9" fmla="*/ 15 h 23"/>
                <a:gd name="T10" fmla="*/ 18 w 20"/>
                <a:gd name="T11" fmla="*/ 18 h 23"/>
                <a:gd name="T12" fmla="*/ 20 w 20"/>
                <a:gd name="T13" fmla="*/ 15 h 23"/>
                <a:gd name="T14" fmla="*/ 13 w 20"/>
                <a:gd name="T15" fmla="*/ 10 h 23"/>
                <a:gd name="T16" fmla="*/ 20 w 20"/>
                <a:gd name="T17" fmla="*/ 8 h 23"/>
                <a:gd name="T18" fmla="*/ 18 w 20"/>
                <a:gd name="T19" fmla="*/ 2 h 23"/>
                <a:gd name="T20" fmla="*/ 13 w 20"/>
                <a:gd name="T21" fmla="*/ 8 h 23"/>
                <a:gd name="T22" fmla="*/ 13 w 20"/>
                <a:gd name="T23" fmla="*/ 0 h 23"/>
                <a:gd name="T24" fmla="*/ 7 w 20"/>
                <a:gd name="T25" fmla="*/ 0 h 23"/>
                <a:gd name="T26" fmla="*/ 7 w 20"/>
                <a:gd name="T27" fmla="*/ 8 h 23"/>
                <a:gd name="T28" fmla="*/ 2 w 20"/>
                <a:gd name="T29" fmla="*/ 2 h 23"/>
                <a:gd name="T30" fmla="*/ 0 w 20"/>
                <a:gd name="T31" fmla="*/ 8 h 23"/>
                <a:gd name="T32" fmla="*/ 7 w 20"/>
                <a:gd name="T33" fmla="*/ 10 h 23"/>
                <a:gd name="T34" fmla="*/ 0 w 20"/>
                <a:gd name="T35" fmla="*/ 15 h 23"/>
                <a:gd name="T36" fmla="*/ 2 w 20"/>
                <a:gd name="T3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3">
                  <a:moveTo>
                    <a:pt x="2" y="18"/>
                  </a:moveTo>
                  <a:lnTo>
                    <a:pt x="7" y="15"/>
                  </a:lnTo>
                  <a:lnTo>
                    <a:pt x="7" y="23"/>
                  </a:lnTo>
                  <a:lnTo>
                    <a:pt x="13" y="23"/>
                  </a:lnTo>
                  <a:lnTo>
                    <a:pt x="13" y="15"/>
                  </a:lnTo>
                  <a:lnTo>
                    <a:pt x="18" y="18"/>
                  </a:lnTo>
                  <a:lnTo>
                    <a:pt x="20" y="15"/>
                  </a:lnTo>
                  <a:lnTo>
                    <a:pt x="13" y="10"/>
                  </a:lnTo>
                  <a:lnTo>
                    <a:pt x="20" y="8"/>
                  </a:lnTo>
                  <a:lnTo>
                    <a:pt x="18" y="2"/>
                  </a:lnTo>
                  <a:lnTo>
                    <a:pt x="13" y="8"/>
                  </a:lnTo>
                  <a:lnTo>
                    <a:pt x="13" y="0"/>
                  </a:lnTo>
                  <a:lnTo>
                    <a:pt x="7" y="0"/>
                  </a:lnTo>
                  <a:lnTo>
                    <a:pt x="7" y="8"/>
                  </a:lnTo>
                  <a:lnTo>
                    <a:pt x="2" y="2"/>
                  </a:lnTo>
                  <a:lnTo>
                    <a:pt x="0" y="8"/>
                  </a:lnTo>
                  <a:lnTo>
                    <a:pt x="7" y="10"/>
                  </a:lnTo>
                  <a:lnTo>
                    <a:pt x="0" y="15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8CC9B5CF-329D-413C-9BB9-85B24C2FB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" y="637"/>
              <a:ext cx="21" cy="23"/>
            </a:xfrm>
            <a:custGeom>
              <a:avLst/>
              <a:gdLst>
                <a:gd name="T0" fmla="*/ 3 w 21"/>
                <a:gd name="T1" fmla="*/ 18 h 23"/>
                <a:gd name="T2" fmla="*/ 8 w 21"/>
                <a:gd name="T3" fmla="*/ 15 h 23"/>
                <a:gd name="T4" fmla="*/ 8 w 21"/>
                <a:gd name="T5" fmla="*/ 23 h 23"/>
                <a:gd name="T6" fmla="*/ 13 w 21"/>
                <a:gd name="T7" fmla="*/ 23 h 23"/>
                <a:gd name="T8" fmla="*/ 13 w 21"/>
                <a:gd name="T9" fmla="*/ 15 h 23"/>
                <a:gd name="T10" fmla="*/ 18 w 21"/>
                <a:gd name="T11" fmla="*/ 18 h 23"/>
                <a:gd name="T12" fmla="*/ 21 w 21"/>
                <a:gd name="T13" fmla="*/ 15 h 23"/>
                <a:gd name="T14" fmla="*/ 13 w 21"/>
                <a:gd name="T15" fmla="*/ 10 h 23"/>
                <a:gd name="T16" fmla="*/ 21 w 21"/>
                <a:gd name="T17" fmla="*/ 8 h 23"/>
                <a:gd name="T18" fmla="*/ 18 w 21"/>
                <a:gd name="T19" fmla="*/ 2 h 23"/>
                <a:gd name="T20" fmla="*/ 13 w 21"/>
                <a:gd name="T21" fmla="*/ 8 h 23"/>
                <a:gd name="T22" fmla="*/ 13 w 21"/>
                <a:gd name="T23" fmla="*/ 0 h 23"/>
                <a:gd name="T24" fmla="*/ 8 w 21"/>
                <a:gd name="T25" fmla="*/ 0 h 23"/>
                <a:gd name="T26" fmla="*/ 8 w 21"/>
                <a:gd name="T27" fmla="*/ 8 h 23"/>
                <a:gd name="T28" fmla="*/ 3 w 21"/>
                <a:gd name="T29" fmla="*/ 2 h 23"/>
                <a:gd name="T30" fmla="*/ 0 w 21"/>
                <a:gd name="T31" fmla="*/ 8 h 23"/>
                <a:gd name="T32" fmla="*/ 8 w 21"/>
                <a:gd name="T33" fmla="*/ 10 h 23"/>
                <a:gd name="T34" fmla="*/ 0 w 21"/>
                <a:gd name="T35" fmla="*/ 15 h 23"/>
                <a:gd name="T36" fmla="*/ 3 w 21"/>
                <a:gd name="T3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3">
                  <a:moveTo>
                    <a:pt x="3" y="18"/>
                  </a:moveTo>
                  <a:lnTo>
                    <a:pt x="8" y="15"/>
                  </a:lnTo>
                  <a:lnTo>
                    <a:pt x="8" y="23"/>
                  </a:lnTo>
                  <a:lnTo>
                    <a:pt x="13" y="23"/>
                  </a:lnTo>
                  <a:lnTo>
                    <a:pt x="13" y="15"/>
                  </a:lnTo>
                  <a:lnTo>
                    <a:pt x="18" y="18"/>
                  </a:lnTo>
                  <a:lnTo>
                    <a:pt x="21" y="15"/>
                  </a:lnTo>
                  <a:lnTo>
                    <a:pt x="13" y="10"/>
                  </a:lnTo>
                  <a:lnTo>
                    <a:pt x="21" y="8"/>
                  </a:lnTo>
                  <a:lnTo>
                    <a:pt x="18" y="2"/>
                  </a:lnTo>
                  <a:lnTo>
                    <a:pt x="13" y="8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3" y="2"/>
                  </a:lnTo>
                  <a:lnTo>
                    <a:pt x="0" y="8"/>
                  </a:lnTo>
                  <a:lnTo>
                    <a:pt x="8" y="10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A8455318-9A43-4A4A-AFF0-D4F238D9C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" y="637"/>
              <a:ext cx="21" cy="23"/>
            </a:xfrm>
            <a:custGeom>
              <a:avLst/>
              <a:gdLst>
                <a:gd name="T0" fmla="*/ 3 w 21"/>
                <a:gd name="T1" fmla="*/ 18 h 23"/>
                <a:gd name="T2" fmla="*/ 8 w 21"/>
                <a:gd name="T3" fmla="*/ 15 h 23"/>
                <a:gd name="T4" fmla="*/ 8 w 21"/>
                <a:gd name="T5" fmla="*/ 23 h 23"/>
                <a:gd name="T6" fmla="*/ 13 w 21"/>
                <a:gd name="T7" fmla="*/ 23 h 23"/>
                <a:gd name="T8" fmla="*/ 13 w 21"/>
                <a:gd name="T9" fmla="*/ 15 h 23"/>
                <a:gd name="T10" fmla="*/ 18 w 21"/>
                <a:gd name="T11" fmla="*/ 18 h 23"/>
                <a:gd name="T12" fmla="*/ 21 w 21"/>
                <a:gd name="T13" fmla="*/ 15 h 23"/>
                <a:gd name="T14" fmla="*/ 13 w 21"/>
                <a:gd name="T15" fmla="*/ 10 h 23"/>
                <a:gd name="T16" fmla="*/ 21 w 21"/>
                <a:gd name="T17" fmla="*/ 8 h 23"/>
                <a:gd name="T18" fmla="*/ 18 w 21"/>
                <a:gd name="T19" fmla="*/ 2 h 23"/>
                <a:gd name="T20" fmla="*/ 13 w 21"/>
                <a:gd name="T21" fmla="*/ 8 h 23"/>
                <a:gd name="T22" fmla="*/ 13 w 21"/>
                <a:gd name="T23" fmla="*/ 0 h 23"/>
                <a:gd name="T24" fmla="*/ 8 w 21"/>
                <a:gd name="T25" fmla="*/ 0 h 23"/>
                <a:gd name="T26" fmla="*/ 8 w 21"/>
                <a:gd name="T27" fmla="*/ 8 h 23"/>
                <a:gd name="T28" fmla="*/ 3 w 21"/>
                <a:gd name="T29" fmla="*/ 2 h 23"/>
                <a:gd name="T30" fmla="*/ 0 w 21"/>
                <a:gd name="T31" fmla="*/ 8 h 23"/>
                <a:gd name="T32" fmla="*/ 8 w 21"/>
                <a:gd name="T33" fmla="*/ 10 h 23"/>
                <a:gd name="T34" fmla="*/ 0 w 21"/>
                <a:gd name="T35" fmla="*/ 15 h 23"/>
                <a:gd name="T36" fmla="*/ 3 w 21"/>
                <a:gd name="T3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3">
                  <a:moveTo>
                    <a:pt x="3" y="18"/>
                  </a:moveTo>
                  <a:lnTo>
                    <a:pt x="8" y="15"/>
                  </a:lnTo>
                  <a:lnTo>
                    <a:pt x="8" y="23"/>
                  </a:lnTo>
                  <a:lnTo>
                    <a:pt x="13" y="23"/>
                  </a:lnTo>
                  <a:lnTo>
                    <a:pt x="13" y="15"/>
                  </a:lnTo>
                  <a:lnTo>
                    <a:pt x="18" y="18"/>
                  </a:lnTo>
                  <a:lnTo>
                    <a:pt x="21" y="15"/>
                  </a:lnTo>
                  <a:lnTo>
                    <a:pt x="13" y="10"/>
                  </a:lnTo>
                  <a:lnTo>
                    <a:pt x="21" y="8"/>
                  </a:lnTo>
                  <a:lnTo>
                    <a:pt x="18" y="2"/>
                  </a:lnTo>
                  <a:lnTo>
                    <a:pt x="13" y="8"/>
                  </a:lnTo>
                  <a:lnTo>
                    <a:pt x="13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3" y="2"/>
                  </a:lnTo>
                  <a:lnTo>
                    <a:pt x="0" y="8"/>
                  </a:lnTo>
                  <a:lnTo>
                    <a:pt x="8" y="10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Group 115">
            <a:extLst>
              <a:ext uri="{FF2B5EF4-FFF2-40B4-BE49-F238E27FC236}">
                <a16:creationId xmlns:a16="http://schemas.microsoft.com/office/drawing/2014/main" id="{2D40F45C-C494-4592-9AD7-80E6BD0349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3433" y="307976"/>
            <a:ext cx="758825" cy="758825"/>
            <a:chOff x="5058" y="307"/>
            <a:chExt cx="478" cy="478"/>
          </a:xfrm>
        </p:grpSpPr>
        <p:sp>
          <p:nvSpPr>
            <p:cNvPr id="125" name="AutoShape 114">
              <a:extLst>
                <a:ext uri="{FF2B5EF4-FFF2-40B4-BE49-F238E27FC236}">
                  <a16:creationId xmlns:a16="http://schemas.microsoft.com/office/drawing/2014/main" id="{B679195F-EDB3-46DB-BD76-3AB2F2C3E6E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8" y="30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6">
              <a:extLst>
                <a:ext uri="{FF2B5EF4-FFF2-40B4-BE49-F238E27FC236}">
                  <a16:creationId xmlns:a16="http://schemas.microsoft.com/office/drawing/2014/main" id="{EEB828F6-0951-41C4-ABBF-A42A0DE6F5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0" y="30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7">
              <a:extLst>
                <a:ext uri="{FF2B5EF4-FFF2-40B4-BE49-F238E27FC236}">
                  <a16:creationId xmlns:a16="http://schemas.microsoft.com/office/drawing/2014/main" id="{1AE755FA-2CB1-4DCA-BF22-4F32054C3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5" y="464"/>
              <a:ext cx="226" cy="167"/>
            </a:xfrm>
            <a:custGeom>
              <a:avLst/>
              <a:gdLst>
                <a:gd name="T0" fmla="*/ 19 w 92"/>
                <a:gd name="T1" fmla="*/ 49 h 68"/>
                <a:gd name="T2" fmla="*/ 45 w 92"/>
                <a:gd name="T3" fmla="*/ 56 h 68"/>
                <a:gd name="T4" fmla="*/ 47 w 92"/>
                <a:gd name="T5" fmla="*/ 56 h 68"/>
                <a:gd name="T6" fmla="*/ 73 w 92"/>
                <a:gd name="T7" fmla="*/ 49 h 68"/>
                <a:gd name="T8" fmla="*/ 4 w 92"/>
                <a:gd name="T9" fmla="*/ 34 h 68"/>
                <a:gd name="T10" fmla="*/ 17 w 92"/>
                <a:gd name="T11" fmla="*/ 23 h 68"/>
                <a:gd name="T12" fmla="*/ 36 w 92"/>
                <a:gd name="T13" fmla="*/ 17 h 68"/>
                <a:gd name="T14" fmla="*/ 39 w 92"/>
                <a:gd name="T15" fmla="*/ 23 h 68"/>
                <a:gd name="T16" fmla="*/ 34 w 92"/>
                <a:gd name="T17" fmla="*/ 30 h 68"/>
                <a:gd name="T18" fmla="*/ 27 w 92"/>
                <a:gd name="T19" fmla="*/ 27 h 68"/>
                <a:gd name="T20" fmla="*/ 26 w 92"/>
                <a:gd name="T21" fmla="*/ 33 h 68"/>
                <a:gd name="T22" fmla="*/ 22 w 92"/>
                <a:gd name="T23" fmla="*/ 34 h 68"/>
                <a:gd name="T24" fmla="*/ 26 w 92"/>
                <a:gd name="T25" fmla="*/ 35 h 68"/>
                <a:gd name="T26" fmla="*/ 35 w 92"/>
                <a:gd name="T27" fmla="*/ 52 h 68"/>
                <a:gd name="T28" fmla="*/ 17 w 92"/>
                <a:gd name="T29" fmla="*/ 45 h 68"/>
                <a:gd name="T30" fmla="*/ 46 w 92"/>
                <a:gd name="T31" fmla="*/ 3 h 68"/>
                <a:gd name="T32" fmla="*/ 47 w 92"/>
                <a:gd name="T33" fmla="*/ 13 h 68"/>
                <a:gd name="T34" fmla="*/ 46 w 92"/>
                <a:gd name="T35" fmla="*/ 10 h 68"/>
                <a:gd name="T36" fmla="*/ 45 w 92"/>
                <a:gd name="T37" fmla="*/ 13 h 68"/>
                <a:gd name="T38" fmla="*/ 46 w 92"/>
                <a:gd name="T39" fmla="*/ 3 h 68"/>
                <a:gd name="T40" fmla="*/ 28 w 92"/>
                <a:gd name="T41" fmla="*/ 33 h 68"/>
                <a:gd name="T42" fmla="*/ 34 w 92"/>
                <a:gd name="T43" fmla="*/ 33 h 68"/>
                <a:gd name="T44" fmla="*/ 42 w 92"/>
                <a:gd name="T45" fmla="*/ 23 h 68"/>
                <a:gd name="T46" fmla="*/ 44 w 92"/>
                <a:gd name="T47" fmla="*/ 17 h 68"/>
                <a:gd name="T48" fmla="*/ 45 w 92"/>
                <a:gd name="T49" fmla="*/ 20 h 68"/>
                <a:gd name="T50" fmla="*/ 47 w 92"/>
                <a:gd name="T51" fmla="*/ 20 h 68"/>
                <a:gd name="T52" fmla="*/ 57 w 92"/>
                <a:gd name="T53" fmla="*/ 20 h 68"/>
                <a:gd name="T54" fmla="*/ 64 w 92"/>
                <a:gd name="T55" fmla="*/ 33 h 68"/>
                <a:gd name="T56" fmla="*/ 58 w 92"/>
                <a:gd name="T57" fmla="*/ 34 h 68"/>
                <a:gd name="T58" fmla="*/ 64 w 92"/>
                <a:gd name="T59" fmla="*/ 35 h 68"/>
                <a:gd name="T60" fmla="*/ 47 w 92"/>
                <a:gd name="T61" fmla="*/ 52 h 68"/>
                <a:gd name="T62" fmla="*/ 46 w 92"/>
                <a:gd name="T63" fmla="*/ 46 h 68"/>
                <a:gd name="T64" fmla="*/ 45 w 92"/>
                <a:gd name="T65" fmla="*/ 52 h 68"/>
                <a:gd name="T66" fmla="*/ 28 w 92"/>
                <a:gd name="T67" fmla="*/ 35 h 68"/>
                <a:gd name="T68" fmla="*/ 34 w 92"/>
                <a:gd name="T69" fmla="*/ 34 h 68"/>
                <a:gd name="T70" fmla="*/ 88 w 92"/>
                <a:gd name="T71" fmla="*/ 34 h 68"/>
                <a:gd name="T72" fmla="*/ 75 w 92"/>
                <a:gd name="T73" fmla="*/ 45 h 68"/>
                <a:gd name="T74" fmla="*/ 66 w 92"/>
                <a:gd name="T75" fmla="*/ 35 h 68"/>
                <a:gd name="T76" fmla="*/ 70 w 92"/>
                <a:gd name="T77" fmla="*/ 34 h 68"/>
                <a:gd name="T78" fmla="*/ 66 w 92"/>
                <a:gd name="T79" fmla="*/ 33 h 68"/>
                <a:gd name="T80" fmla="*/ 59 w 92"/>
                <a:gd name="T81" fmla="*/ 18 h 68"/>
                <a:gd name="T82" fmla="*/ 75 w 92"/>
                <a:gd name="T83" fmla="*/ 23 h 68"/>
                <a:gd name="T84" fmla="*/ 88 w 92"/>
                <a:gd name="T85" fmla="*/ 34 h 68"/>
                <a:gd name="T86" fmla="*/ 91 w 92"/>
                <a:gd name="T87" fmla="*/ 33 h 68"/>
                <a:gd name="T88" fmla="*/ 46 w 92"/>
                <a:gd name="T89" fmla="*/ 0 h 68"/>
                <a:gd name="T90" fmla="*/ 1 w 92"/>
                <a:gd name="T91" fmla="*/ 33 h 68"/>
                <a:gd name="T92" fmla="*/ 15 w 92"/>
                <a:gd name="T93" fmla="*/ 47 h 68"/>
                <a:gd name="T94" fmla="*/ 77 w 92"/>
                <a:gd name="T95" fmla="*/ 4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" h="68">
                  <a:moveTo>
                    <a:pt x="46" y="65"/>
                  </a:moveTo>
                  <a:cubicBezTo>
                    <a:pt x="35" y="65"/>
                    <a:pt x="25" y="59"/>
                    <a:pt x="19" y="49"/>
                  </a:cubicBezTo>
                  <a:cubicBezTo>
                    <a:pt x="27" y="53"/>
                    <a:pt x="36" y="55"/>
                    <a:pt x="45" y="5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7"/>
                    <a:pt x="45" y="58"/>
                    <a:pt x="46" y="58"/>
                  </a:cubicBezTo>
                  <a:cubicBezTo>
                    <a:pt x="47" y="58"/>
                    <a:pt x="47" y="57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56" y="55"/>
                    <a:pt x="65" y="53"/>
                    <a:pt x="73" y="49"/>
                  </a:cubicBezTo>
                  <a:cubicBezTo>
                    <a:pt x="67" y="59"/>
                    <a:pt x="57" y="65"/>
                    <a:pt x="46" y="65"/>
                  </a:cubicBezTo>
                  <a:moveTo>
                    <a:pt x="4" y="34"/>
                  </a:moveTo>
                  <a:cubicBezTo>
                    <a:pt x="7" y="30"/>
                    <a:pt x="12" y="26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23" y="20"/>
                    <a:pt x="29" y="18"/>
                    <a:pt x="36" y="16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6" y="18"/>
                    <a:pt x="36" y="19"/>
                  </a:cubicBezTo>
                  <a:cubicBezTo>
                    <a:pt x="38" y="19"/>
                    <a:pt x="39" y="21"/>
                    <a:pt x="39" y="23"/>
                  </a:cubicBezTo>
                  <a:cubicBezTo>
                    <a:pt x="39" y="25"/>
                    <a:pt x="39" y="26"/>
                    <a:pt x="38" y="28"/>
                  </a:cubicBezTo>
                  <a:cubicBezTo>
                    <a:pt x="37" y="29"/>
                    <a:pt x="36" y="30"/>
                    <a:pt x="34" y="30"/>
                  </a:cubicBezTo>
                  <a:cubicBezTo>
                    <a:pt x="32" y="30"/>
                    <a:pt x="30" y="29"/>
                    <a:pt x="29" y="28"/>
                  </a:cubicBezTo>
                  <a:cubicBezTo>
                    <a:pt x="28" y="27"/>
                    <a:pt x="28" y="27"/>
                    <a:pt x="27" y="27"/>
                  </a:cubicBezTo>
                  <a:cubicBezTo>
                    <a:pt x="27" y="27"/>
                    <a:pt x="26" y="28"/>
                    <a:pt x="26" y="28"/>
                  </a:cubicBezTo>
                  <a:cubicBezTo>
                    <a:pt x="26" y="30"/>
                    <a:pt x="26" y="31"/>
                    <a:pt x="2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3" y="33"/>
                    <a:pt x="22" y="33"/>
                    <a:pt x="22" y="34"/>
                  </a:cubicBezTo>
                  <a:cubicBezTo>
                    <a:pt x="22" y="35"/>
                    <a:pt x="23" y="35"/>
                    <a:pt x="24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3"/>
                    <a:pt x="30" y="48"/>
                    <a:pt x="35" y="52"/>
                  </a:cubicBezTo>
                  <a:cubicBezTo>
                    <a:pt x="29" y="50"/>
                    <a:pt x="22" y="48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2" y="42"/>
                    <a:pt x="7" y="38"/>
                    <a:pt x="4" y="34"/>
                  </a:cubicBezTo>
                  <a:moveTo>
                    <a:pt x="46" y="3"/>
                  </a:moveTo>
                  <a:cubicBezTo>
                    <a:pt x="57" y="3"/>
                    <a:pt x="67" y="9"/>
                    <a:pt x="73" y="19"/>
                  </a:cubicBezTo>
                  <a:cubicBezTo>
                    <a:pt x="65" y="15"/>
                    <a:pt x="56" y="13"/>
                    <a:pt x="47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1"/>
                    <a:pt x="47" y="10"/>
                    <a:pt x="46" y="10"/>
                  </a:cubicBezTo>
                  <a:cubicBezTo>
                    <a:pt x="45" y="10"/>
                    <a:pt x="45" y="11"/>
                    <a:pt x="45" y="12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36" y="13"/>
                    <a:pt x="27" y="15"/>
                    <a:pt x="19" y="19"/>
                  </a:cubicBezTo>
                  <a:cubicBezTo>
                    <a:pt x="25" y="9"/>
                    <a:pt x="35" y="3"/>
                    <a:pt x="46" y="3"/>
                  </a:cubicBezTo>
                  <a:moveTo>
                    <a:pt x="32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2"/>
                    <a:pt x="29" y="32"/>
                    <a:pt x="29" y="31"/>
                  </a:cubicBezTo>
                  <a:cubicBezTo>
                    <a:pt x="30" y="32"/>
                    <a:pt x="32" y="33"/>
                    <a:pt x="34" y="33"/>
                  </a:cubicBezTo>
                  <a:cubicBezTo>
                    <a:pt x="37" y="32"/>
                    <a:pt x="39" y="31"/>
                    <a:pt x="40" y="29"/>
                  </a:cubicBezTo>
                  <a:cubicBezTo>
                    <a:pt x="42" y="27"/>
                    <a:pt x="42" y="25"/>
                    <a:pt x="42" y="23"/>
                  </a:cubicBezTo>
                  <a:cubicBezTo>
                    <a:pt x="42" y="21"/>
                    <a:pt x="41" y="19"/>
                    <a:pt x="40" y="18"/>
                  </a:cubicBezTo>
                  <a:cubicBezTo>
                    <a:pt x="41" y="17"/>
                    <a:pt x="43" y="17"/>
                    <a:pt x="44" y="17"/>
                  </a:cubicBezTo>
                  <a:cubicBezTo>
                    <a:pt x="44" y="16"/>
                    <a:pt x="44" y="17"/>
                    <a:pt x="45" y="16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1"/>
                    <a:pt x="45" y="22"/>
                    <a:pt x="46" y="22"/>
                  </a:cubicBezTo>
                  <a:cubicBezTo>
                    <a:pt x="47" y="22"/>
                    <a:pt x="47" y="21"/>
                    <a:pt x="47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1" y="17"/>
                    <a:pt x="54" y="18"/>
                    <a:pt x="57" y="20"/>
                  </a:cubicBezTo>
                  <a:cubicBezTo>
                    <a:pt x="61" y="23"/>
                    <a:pt x="63" y="27"/>
                    <a:pt x="63" y="32"/>
                  </a:cubicBezTo>
                  <a:cubicBezTo>
                    <a:pt x="63" y="32"/>
                    <a:pt x="63" y="32"/>
                    <a:pt x="64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59" y="33"/>
                    <a:pt x="58" y="33"/>
                    <a:pt x="58" y="34"/>
                  </a:cubicBezTo>
                  <a:cubicBezTo>
                    <a:pt x="58" y="35"/>
                    <a:pt x="59" y="35"/>
                    <a:pt x="60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3" y="44"/>
                    <a:pt x="56" y="51"/>
                    <a:pt x="48" y="51"/>
                  </a:cubicBezTo>
                  <a:cubicBezTo>
                    <a:pt x="48" y="52"/>
                    <a:pt x="48" y="52"/>
                    <a:pt x="47" y="5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7"/>
                    <a:pt x="47" y="46"/>
                    <a:pt x="46" y="46"/>
                  </a:cubicBezTo>
                  <a:cubicBezTo>
                    <a:pt x="45" y="46"/>
                    <a:pt x="45" y="47"/>
                    <a:pt x="45" y="48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6" y="51"/>
                    <a:pt x="29" y="44"/>
                    <a:pt x="29" y="36"/>
                  </a:cubicBezTo>
                  <a:cubicBezTo>
                    <a:pt x="28" y="36"/>
                    <a:pt x="28" y="36"/>
                    <a:pt x="28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3" y="35"/>
                    <a:pt x="34" y="35"/>
                    <a:pt x="34" y="34"/>
                  </a:cubicBezTo>
                  <a:cubicBezTo>
                    <a:pt x="34" y="33"/>
                    <a:pt x="33" y="33"/>
                    <a:pt x="32" y="33"/>
                  </a:cubicBezTo>
                  <a:moveTo>
                    <a:pt x="88" y="34"/>
                  </a:moveTo>
                  <a:cubicBezTo>
                    <a:pt x="85" y="38"/>
                    <a:pt x="80" y="42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0" y="48"/>
                    <a:pt x="63" y="50"/>
                    <a:pt x="56" y="52"/>
                  </a:cubicBezTo>
                  <a:cubicBezTo>
                    <a:pt x="62" y="48"/>
                    <a:pt x="66" y="42"/>
                    <a:pt x="66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9" y="35"/>
                    <a:pt x="70" y="35"/>
                    <a:pt x="70" y="34"/>
                  </a:cubicBezTo>
                  <a:cubicBezTo>
                    <a:pt x="70" y="33"/>
                    <a:pt x="69" y="33"/>
                    <a:pt x="68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6"/>
                    <a:pt x="63" y="22"/>
                    <a:pt x="59" y="18"/>
                  </a:cubicBezTo>
                  <a:cubicBezTo>
                    <a:pt x="58" y="17"/>
                    <a:pt x="57" y="17"/>
                    <a:pt x="56" y="16"/>
                  </a:cubicBezTo>
                  <a:cubicBezTo>
                    <a:pt x="63" y="18"/>
                    <a:pt x="70" y="20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80" y="26"/>
                    <a:pt x="85" y="30"/>
                    <a:pt x="88" y="34"/>
                  </a:cubicBezTo>
                  <a:moveTo>
                    <a:pt x="91" y="35"/>
                  </a:moveTo>
                  <a:cubicBezTo>
                    <a:pt x="92" y="34"/>
                    <a:pt x="92" y="34"/>
                    <a:pt x="91" y="33"/>
                  </a:cubicBezTo>
                  <a:cubicBezTo>
                    <a:pt x="87" y="28"/>
                    <a:pt x="83" y="24"/>
                    <a:pt x="77" y="21"/>
                  </a:cubicBezTo>
                  <a:cubicBezTo>
                    <a:pt x="72" y="8"/>
                    <a:pt x="60" y="0"/>
                    <a:pt x="46" y="0"/>
                  </a:cubicBezTo>
                  <a:cubicBezTo>
                    <a:pt x="32" y="0"/>
                    <a:pt x="20" y="8"/>
                    <a:pt x="15" y="21"/>
                  </a:cubicBezTo>
                  <a:cubicBezTo>
                    <a:pt x="9" y="24"/>
                    <a:pt x="5" y="28"/>
                    <a:pt x="1" y="33"/>
                  </a:cubicBezTo>
                  <a:cubicBezTo>
                    <a:pt x="0" y="34"/>
                    <a:pt x="0" y="34"/>
                    <a:pt x="1" y="35"/>
                  </a:cubicBezTo>
                  <a:cubicBezTo>
                    <a:pt x="5" y="40"/>
                    <a:pt x="9" y="44"/>
                    <a:pt x="15" y="47"/>
                  </a:cubicBezTo>
                  <a:cubicBezTo>
                    <a:pt x="20" y="60"/>
                    <a:pt x="32" y="68"/>
                    <a:pt x="46" y="68"/>
                  </a:cubicBezTo>
                  <a:cubicBezTo>
                    <a:pt x="60" y="68"/>
                    <a:pt x="72" y="60"/>
                    <a:pt x="77" y="47"/>
                  </a:cubicBezTo>
                  <a:cubicBezTo>
                    <a:pt x="83" y="44"/>
                    <a:pt x="87" y="40"/>
                    <a:pt x="91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8">
              <a:extLst>
                <a:ext uri="{FF2B5EF4-FFF2-40B4-BE49-F238E27FC236}">
                  <a16:creationId xmlns:a16="http://schemas.microsoft.com/office/drawing/2014/main" id="{3B046403-7D6F-4802-8B34-F31EC2EC0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" y="466"/>
              <a:ext cx="45" cy="47"/>
            </a:xfrm>
            <a:custGeom>
              <a:avLst/>
              <a:gdLst>
                <a:gd name="T0" fmla="*/ 1 w 18"/>
                <a:gd name="T1" fmla="*/ 19 h 19"/>
                <a:gd name="T2" fmla="*/ 3 w 18"/>
                <a:gd name="T3" fmla="*/ 17 h 19"/>
                <a:gd name="T4" fmla="*/ 3 w 18"/>
                <a:gd name="T5" fmla="*/ 3 h 19"/>
                <a:gd name="T6" fmla="*/ 16 w 18"/>
                <a:gd name="T7" fmla="*/ 3 h 19"/>
                <a:gd name="T8" fmla="*/ 18 w 18"/>
                <a:gd name="T9" fmla="*/ 2 h 19"/>
                <a:gd name="T10" fmla="*/ 16 w 18"/>
                <a:gd name="T11" fmla="*/ 0 h 19"/>
                <a:gd name="T12" fmla="*/ 1 w 18"/>
                <a:gd name="T13" fmla="*/ 0 h 19"/>
                <a:gd name="T14" fmla="*/ 0 w 18"/>
                <a:gd name="T15" fmla="*/ 2 h 19"/>
                <a:gd name="T16" fmla="*/ 0 w 18"/>
                <a:gd name="T17" fmla="*/ 17 h 19"/>
                <a:gd name="T18" fmla="*/ 1 w 18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" y="19"/>
                  </a:moveTo>
                  <a:cubicBezTo>
                    <a:pt x="2" y="19"/>
                    <a:pt x="3" y="18"/>
                    <a:pt x="3" y="17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3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9"/>
                    <a:pt x="1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9">
              <a:extLst>
                <a:ext uri="{FF2B5EF4-FFF2-40B4-BE49-F238E27FC236}">
                  <a16:creationId xmlns:a16="http://schemas.microsoft.com/office/drawing/2014/main" id="{46916892-8E59-4C7B-B82A-9F6C7080E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" y="466"/>
              <a:ext cx="44" cy="47"/>
            </a:xfrm>
            <a:custGeom>
              <a:avLst/>
              <a:gdLst>
                <a:gd name="T0" fmla="*/ 17 w 18"/>
                <a:gd name="T1" fmla="*/ 0 h 19"/>
                <a:gd name="T2" fmla="*/ 2 w 18"/>
                <a:gd name="T3" fmla="*/ 0 h 19"/>
                <a:gd name="T4" fmla="*/ 0 w 18"/>
                <a:gd name="T5" fmla="*/ 2 h 19"/>
                <a:gd name="T6" fmla="*/ 2 w 18"/>
                <a:gd name="T7" fmla="*/ 3 h 19"/>
                <a:gd name="T8" fmla="*/ 15 w 18"/>
                <a:gd name="T9" fmla="*/ 3 h 19"/>
                <a:gd name="T10" fmla="*/ 15 w 18"/>
                <a:gd name="T11" fmla="*/ 17 h 19"/>
                <a:gd name="T12" fmla="*/ 17 w 18"/>
                <a:gd name="T13" fmla="*/ 19 h 19"/>
                <a:gd name="T14" fmla="*/ 18 w 18"/>
                <a:gd name="T15" fmla="*/ 17 h 19"/>
                <a:gd name="T16" fmla="*/ 18 w 18"/>
                <a:gd name="T17" fmla="*/ 2 h 19"/>
                <a:gd name="T18" fmla="*/ 17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8"/>
                    <a:pt x="16" y="19"/>
                    <a:pt x="17" y="19"/>
                  </a:cubicBezTo>
                  <a:cubicBezTo>
                    <a:pt x="18" y="19"/>
                    <a:pt x="18" y="18"/>
                    <a:pt x="18" y="17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0"/>
                    <a:pt x="1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20">
              <a:extLst>
                <a:ext uri="{FF2B5EF4-FFF2-40B4-BE49-F238E27FC236}">
                  <a16:creationId xmlns:a16="http://schemas.microsoft.com/office/drawing/2014/main" id="{CCB34316-FED7-4B24-85CD-CB854F1DB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" y="582"/>
              <a:ext cx="45" cy="46"/>
            </a:xfrm>
            <a:custGeom>
              <a:avLst/>
              <a:gdLst>
                <a:gd name="T0" fmla="*/ 16 w 18"/>
                <a:gd name="T1" fmla="*/ 16 h 19"/>
                <a:gd name="T2" fmla="*/ 3 w 18"/>
                <a:gd name="T3" fmla="*/ 16 h 19"/>
                <a:gd name="T4" fmla="*/ 3 w 18"/>
                <a:gd name="T5" fmla="*/ 2 h 19"/>
                <a:gd name="T6" fmla="*/ 1 w 18"/>
                <a:gd name="T7" fmla="*/ 0 h 19"/>
                <a:gd name="T8" fmla="*/ 0 w 18"/>
                <a:gd name="T9" fmla="*/ 2 h 19"/>
                <a:gd name="T10" fmla="*/ 0 w 18"/>
                <a:gd name="T11" fmla="*/ 17 h 19"/>
                <a:gd name="T12" fmla="*/ 1 w 18"/>
                <a:gd name="T13" fmla="*/ 19 h 19"/>
                <a:gd name="T14" fmla="*/ 16 w 18"/>
                <a:gd name="T15" fmla="*/ 19 h 19"/>
                <a:gd name="T16" fmla="*/ 18 w 18"/>
                <a:gd name="T17" fmla="*/ 17 h 19"/>
                <a:gd name="T18" fmla="*/ 16 w 18"/>
                <a:gd name="T19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6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9"/>
                    <a:pt x="1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7" y="19"/>
                    <a:pt x="18" y="18"/>
                    <a:pt x="18" y="17"/>
                  </a:cubicBezTo>
                  <a:cubicBezTo>
                    <a:pt x="18" y="16"/>
                    <a:pt x="17" y="16"/>
                    <a:pt x="16" y="1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1">
              <a:extLst>
                <a:ext uri="{FF2B5EF4-FFF2-40B4-BE49-F238E27FC236}">
                  <a16:creationId xmlns:a16="http://schemas.microsoft.com/office/drawing/2014/main" id="{C36264AC-769A-43CB-B4B6-4EFF00904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" y="582"/>
              <a:ext cx="44" cy="46"/>
            </a:xfrm>
            <a:custGeom>
              <a:avLst/>
              <a:gdLst>
                <a:gd name="T0" fmla="*/ 17 w 18"/>
                <a:gd name="T1" fmla="*/ 0 h 19"/>
                <a:gd name="T2" fmla="*/ 15 w 18"/>
                <a:gd name="T3" fmla="*/ 2 h 19"/>
                <a:gd name="T4" fmla="*/ 15 w 18"/>
                <a:gd name="T5" fmla="*/ 16 h 19"/>
                <a:gd name="T6" fmla="*/ 2 w 18"/>
                <a:gd name="T7" fmla="*/ 16 h 19"/>
                <a:gd name="T8" fmla="*/ 0 w 18"/>
                <a:gd name="T9" fmla="*/ 17 h 19"/>
                <a:gd name="T10" fmla="*/ 2 w 18"/>
                <a:gd name="T11" fmla="*/ 19 h 19"/>
                <a:gd name="T12" fmla="*/ 17 w 18"/>
                <a:gd name="T13" fmla="*/ 19 h 19"/>
                <a:gd name="T14" fmla="*/ 18 w 18"/>
                <a:gd name="T15" fmla="*/ 17 h 19"/>
                <a:gd name="T16" fmla="*/ 18 w 18"/>
                <a:gd name="T17" fmla="*/ 2 h 19"/>
                <a:gd name="T18" fmla="*/ 17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6"/>
                    <a:pt x="0" y="17"/>
                  </a:cubicBezTo>
                  <a:cubicBezTo>
                    <a:pt x="0" y="18"/>
                    <a:pt x="1" y="19"/>
                    <a:pt x="2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19"/>
                    <a:pt x="18" y="18"/>
                    <a:pt x="18" y="17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0"/>
                    <a:pt x="1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2" name="Group 124">
            <a:extLst>
              <a:ext uri="{FF2B5EF4-FFF2-40B4-BE49-F238E27FC236}">
                <a16:creationId xmlns:a16="http://schemas.microsoft.com/office/drawing/2014/main" id="{97D9587D-775C-40DB-A787-CCEDD6AF22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3667" y="266701"/>
            <a:ext cx="841375" cy="841375"/>
            <a:chOff x="4346" y="239"/>
            <a:chExt cx="530" cy="530"/>
          </a:xfrm>
        </p:grpSpPr>
        <p:sp>
          <p:nvSpPr>
            <p:cNvPr id="133" name="AutoShape 123">
              <a:extLst>
                <a:ext uri="{FF2B5EF4-FFF2-40B4-BE49-F238E27FC236}">
                  <a16:creationId xmlns:a16="http://schemas.microsoft.com/office/drawing/2014/main" id="{19A1A471-CFCD-4EF0-9482-4A6060FA2F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6" y="23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25">
              <a:extLst>
                <a:ext uri="{FF2B5EF4-FFF2-40B4-BE49-F238E27FC236}">
                  <a16:creationId xmlns:a16="http://schemas.microsoft.com/office/drawing/2014/main" id="{6435991C-505C-44EC-8E5E-6497389A7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" y="239"/>
              <a:ext cx="532" cy="532"/>
            </a:xfrm>
            <a:custGeom>
              <a:avLst/>
              <a:gdLst>
                <a:gd name="T0" fmla="*/ 208 w 208"/>
                <a:gd name="T1" fmla="*/ 105 h 208"/>
                <a:gd name="T2" fmla="*/ 103 w 208"/>
                <a:gd name="T3" fmla="*/ 208 h 208"/>
                <a:gd name="T4" fmla="*/ 0 w 208"/>
                <a:gd name="T5" fmla="*/ 103 h 208"/>
                <a:gd name="T6" fmla="*/ 105 w 208"/>
                <a:gd name="T7" fmla="*/ 0 h 208"/>
                <a:gd name="T8" fmla="*/ 208 w 208"/>
                <a:gd name="T9" fmla="*/ 10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08">
                  <a:moveTo>
                    <a:pt x="208" y="105"/>
                  </a:moveTo>
                  <a:cubicBezTo>
                    <a:pt x="207" y="162"/>
                    <a:pt x="161" y="208"/>
                    <a:pt x="103" y="208"/>
                  </a:cubicBezTo>
                  <a:cubicBezTo>
                    <a:pt x="46" y="207"/>
                    <a:pt x="0" y="161"/>
                    <a:pt x="0" y="103"/>
                  </a:cubicBezTo>
                  <a:cubicBezTo>
                    <a:pt x="1" y="46"/>
                    <a:pt x="47" y="0"/>
                    <a:pt x="105" y="0"/>
                  </a:cubicBezTo>
                  <a:cubicBezTo>
                    <a:pt x="162" y="1"/>
                    <a:pt x="208" y="47"/>
                    <a:pt x="208" y="10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6">
              <a:extLst>
                <a:ext uri="{FF2B5EF4-FFF2-40B4-BE49-F238E27FC236}">
                  <a16:creationId xmlns:a16="http://schemas.microsoft.com/office/drawing/2014/main" id="{7F05F0AF-3B05-4109-A1BC-09D6E4B9F0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" y="25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97 w 194"/>
                <a:gd name="T3" fmla="*/ 5 h 194"/>
                <a:gd name="T4" fmla="*/ 97 w 194"/>
                <a:gd name="T5" fmla="*/ 5 h 194"/>
                <a:gd name="T6" fmla="*/ 189 w 194"/>
                <a:gd name="T7" fmla="*/ 97 h 194"/>
                <a:gd name="T8" fmla="*/ 97 w 194"/>
                <a:gd name="T9" fmla="*/ 189 h 194"/>
                <a:gd name="T10" fmla="*/ 97 w 194"/>
                <a:gd name="T11" fmla="*/ 189 h 194"/>
                <a:gd name="T12" fmla="*/ 5 w 194"/>
                <a:gd name="T13" fmla="*/ 97 h 194"/>
                <a:gd name="T14" fmla="*/ 97 w 194"/>
                <a:gd name="T15" fmla="*/ 5 h 194"/>
                <a:gd name="T16" fmla="*/ 97 w 194"/>
                <a:gd name="T17" fmla="*/ 0 h 194"/>
                <a:gd name="T18" fmla="*/ 0 w 194"/>
                <a:gd name="T19" fmla="*/ 96 h 194"/>
                <a:gd name="T20" fmla="*/ 96 w 194"/>
                <a:gd name="T21" fmla="*/ 194 h 194"/>
                <a:gd name="T22" fmla="*/ 97 w 194"/>
                <a:gd name="T23" fmla="*/ 194 h 194"/>
                <a:gd name="T24" fmla="*/ 194 w 194"/>
                <a:gd name="T25" fmla="*/ 98 h 194"/>
                <a:gd name="T26" fmla="*/ 98 w 194"/>
                <a:gd name="T27" fmla="*/ 0 h 194"/>
                <a:gd name="T28" fmla="*/ 97 w 194"/>
                <a:gd name="T2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148" y="5"/>
                    <a:pt x="189" y="47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46" y="189"/>
                    <a:pt x="5" y="147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1" y="43"/>
                    <a:pt x="0" y="96"/>
                  </a:cubicBezTo>
                  <a:cubicBezTo>
                    <a:pt x="0" y="150"/>
                    <a:pt x="43" y="193"/>
                    <a:pt x="96" y="194"/>
                  </a:cubicBezTo>
                  <a:cubicBezTo>
                    <a:pt x="97" y="194"/>
                    <a:pt x="97" y="194"/>
                    <a:pt x="97" y="194"/>
                  </a:cubicBezTo>
                  <a:cubicBezTo>
                    <a:pt x="150" y="194"/>
                    <a:pt x="193" y="151"/>
                    <a:pt x="194" y="98"/>
                  </a:cubicBezTo>
                  <a:cubicBezTo>
                    <a:pt x="194" y="44"/>
                    <a:pt x="151" y="1"/>
                    <a:pt x="98" y="0"/>
                  </a:cubicBezTo>
                  <a:cubicBezTo>
                    <a:pt x="97" y="0"/>
                    <a:pt x="97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7">
              <a:extLst>
                <a:ext uri="{FF2B5EF4-FFF2-40B4-BE49-F238E27FC236}">
                  <a16:creationId xmlns:a16="http://schemas.microsoft.com/office/drawing/2014/main" id="{0E7A6A9A-D15C-4E6F-BD10-0BFEECC44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4" y="418"/>
              <a:ext cx="236" cy="174"/>
            </a:xfrm>
            <a:custGeom>
              <a:avLst/>
              <a:gdLst>
                <a:gd name="T0" fmla="*/ 19 w 92"/>
                <a:gd name="T1" fmla="*/ 49 h 68"/>
                <a:gd name="T2" fmla="*/ 45 w 92"/>
                <a:gd name="T3" fmla="*/ 56 h 68"/>
                <a:gd name="T4" fmla="*/ 47 w 92"/>
                <a:gd name="T5" fmla="*/ 56 h 68"/>
                <a:gd name="T6" fmla="*/ 73 w 92"/>
                <a:gd name="T7" fmla="*/ 49 h 68"/>
                <a:gd name="T8" fmla="*/ 4 w 92"/>
                <a:gd name="T9" fmla="*/ 34 h 68"/>
                <a:gd name="T10" fmla="*/ 17 w 92"/>
                <a:gd name="T11" fmla="*/ 23 h 68"/>
                <a:gd name="T12" fmla="*/ 36 w 92"/>
                <a:gd name="T13" fmla="*/ 17 h 68"/>
                <a:gd name="T14" fmla="*/ 39 w 92"/>
                <a:gd name="T15" fmla="*/ 23 h 68"/>
                <a:gd name="T16" fmla="*/ 34 w 92"/>
                <a:gd name="T17" fmla="*/ 30 h 68"/>
                <a:gd name="T18" fmla="*/ 27 w 92"/>
                <a:gd name="T19" fmla="*/ 27 h 68"/>
                <a:gd name="T20" fmla="*/ 26 w 92"/>
                <a:gd name="T21" fmla="*/ 33 h 68"/>
                <a:gd name="T22" fmla="*/ 22 w 92"/>
                <a:gd name="T23" fmla="*/ 34 h 68"/>
                <a:gd name="T24" fmla="*/ 26 w 92"/>
                <a:gd name="T25" fmla="*/ 35 h 68"/>
                <a:gd name="T26" fmla="*/ 35 w 92"/>
                <a:gd name="T27" fmla="*/ 52 h 68"/>
                <a:gd name="T28" fmla="*/ 17 w 92"/>
                <a:gd name="T29" fmla="*/ 45 h 68"/>
                <a:gd name="T30" fmla="*/ 46 w 92"/>
                <a:gd name="T31" fmla="*/ 3 h 68"/>
                <a:gd name="T32" fmla="*/ 47 w 92"/>
                <a:gd name="T33" fmla="*/ 13 h 68"/>
                <a:gd name="T34" fmla="*/ 46 w 92"/>
                <a:gd name="T35" fmla="*/ 10 h 68"/>
                <a:gd name="T36" fmla="*/ 45 w 92"/>
                <a:gd name="T37" fmla="*/ 13 h 68"/>
                <a:gd name="T38" fmla="*/ 46 w 92"/>
                <a:gd name="T39" fmla="*/ 3 h 68"/>
                <a:gd name="T40" fmla="*/ 28 w 92"/>
                <a:gd name="T41" fmla="*/ 33 h 68"/>
                <a:gd name="T42" fmla="*/ 34 w 92"/>
                <a:gd name="T43" fmla="*/ 33 h 68"/>
                <a:gd name="T44" fmla="*/ 42 w 92"/>
                <a:gd name="T45" fmla="*/ 23 h 68"/>
                <a:gd name="T46" fmla="*/ 44 w 92"/>
                <a:gd name="T47" fmla="*/ 17 h 68"/>
                <a:gd name="T48" fmla="*/ 45 w 92"/>
                <a:gd name="T49" fmla="*/ 20 h 68"/>
                <a:gd name="T50" fmla="*/ 47 w 92"/>
                <a:gd name="T51" fmla="*/ 20 h 68"/>
                <a:gd name="T52" fmla="*/ 57 w 92"/>
                <a:gd name="T53" fmla="*/ 20 h 68"/>
                <a:gd name="T54" fmla="*/ 64 w 92"/>
                <a:gd name="T55" fmla="*/ 33 h 68"/>
                <a:gd name="T56" fmla="*/ 58 w 92"/>
                <a:gd name="T57" fmla="*/ 34 h 68"/>
                <a:gd name="T58" fmla="*/ 64 w 92"/>
                <a:gd name="T59" fmla="*/ 35 h 68"/>
                <a:gd name="T60" fmla="*/ 47 w 92"/>
                <a:gd name="T61" fmla="*/ 52 h 68"/>
                <a:gd name="T62" fmla="*/ 46 w 92"/>
                <a:gd name="T63" fmla="*/ 46 h 68"/>
                <a:gd name="T64" fmla="*/ 45 w 92"/>
                <a:gd name="T65" fmla="*/ 52 h 68"/>
                <a:gd name="T66" fmla="*/ 28 w 92"/>
                <a:gd name="T67" fmla="*/ 35 h 68"/>
                <a:gd name="T68" fmla="*/ 34 w 92"/>
                <a:gd name="T69" fmla="*/ 34 h 68"/>
                <a:gd name="T70" fmla="*/ 88 w 92"/>
                <a:gd name="T71" fmla="*/ 34 h 68"/>
                <a:gd name="T72" fmla="*/ 75 w 92"/>
                <a:gd name="T73" fmla="*/ 45 h 68"/>
                <a:gd name="T74" fmla="*/ 66 w 92"/>
                <a:gd name="T75" fmla="*/ 35 h 68"/>
                <a:gd name="T76" fmla="*/ 70 w 92"/>
                <a:gd name="T77" fmla="*/ 34 h 68"/>
                <a:gd name="T78" fmla="*/ 66 w 92"/>
                <a:gd name="T79" fmla="*/ 33 h 68"/>
                <a:gd name="T80" fmla="*/ 59 w 92"/>
                <a:gd name="T81" fmla="*/ 18 h 68"/>
                <a:gd name="T82" fmla="*/ 75 w 92"/>
                <a:gd name="T83" fmla="*/ 23 h 68"/>
                <a:gd name="T84" fmla="*/ 88 w 92"/>
                <a:gd name="T85" fmla="*/ 34 h 68"/>
                <a:gd name="T86" fmla="*/ 91 w 92"/>
                <a:gd name="T87" fmla="*/ 33 h 68"/>
                <a:gd name="T88" fmla="*/ 46 w 92"/>
                <a:gd name="T89" fmla="*/ 0 h 68"/>
                <a:gd name="T90" fmla="*/ 1 w 92"/>
                <a:gd name="T91" fmla="*/ 33 h 68"/>
                <a:gd name="T92" fmla="*/ 15 w 92"/>
                <a:gd name="T93" fmla="*/ 47 h 68"/>
                <a:gd name="T94" fmla="*/ 77 w 92"/>
                <a:gd name="T95" fmla="*/ 4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" h="68">
                  <a:moveTo>
                    <a:pt x="46" y="65"/>
                  </a:moveTo>
                  <a:cubicBezTo>
                    <a:pt x="35" y="65"/>
                    <a:pt x="25" y="59"/>
                    <a:pt x="19" y="49"/>
                  </a:cubicBezTo>
                  <a:cubicBezTo>
                    <a:pt x="27" y="53"/>
                    <a:pt x="36" y="55"/>
                    <a:pt x="45" y="5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7"/>
                    <a:pt x="45" y="58"/>
                    <a:pt x="46" y="58"/>
                  </a:cubicBezTo>
                  <a:cubicBezTo>
                    <a:pt x="47" y="58"/>
                    <a:pt x="47" y="57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56" y="55"/>
                    <a:pt x="65" y="53"/>
                    <a:pt x="73" y="49"/>
                  </a:cubicBezTo>
                  <a:cubicBezTo>
                    <a:pt x="67" y="59"/>
                    <a:pt x="57" y="65"/>
                    <a:pt x="46" y="65"/>
                  </a:cubicBezTo>
                  <a:moveTo>
                    <a:pt x="4" y="34"/>
                  </a:moveTo>
                  <a:cubicBezTo>
                    <a:pt x="7" y="30"/>
                    <a:pt x="12" y="26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23" y="20"/>
                    <a:pt x="29" y="18"/>
                    <a:pt x="36" y="16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6" y="18"/>
                    <a:pt x="36" y="19"/>
                  </a:cubicBezTo>
                  <a:cubicBezTo>
                    <a:pt x="38" y="19"/>
                    <a:pt x="39" y="21"/>
                    <a:pt x="39" y="23"/>
                  </a:cubicBezTo>
                  <a:cubicBezTo>
                    <a:pt x="39" y="25"/>
                    <a:pt x="39" y="26"/>
                    <a:pt x="38" y="28"/>
                  </a:cubicBezTo>
                  <a:cubicBezTo>
                    <a:pt x="37" y="29"/>
                    <a:pt x="36" y="30"/>
                    <a:pt x="34" y="30"/>
                  </a:cubicBezTo>
                  <a:cubicBezTo>
                    <a:pt x="32" y="30"/>
                    <a:pt x="30" y="29"/>
                    <a:pt x="29" y="28"/>
                  </a:cubicBezTo>
                  <a:cubicBezTo>
                    <a:pt x="28" y="27"/>
                    <a:pt x="28" y="27"/>
                    <a:pt x="27" y="27"/>
                  </a:cubicBezTo>
                  <a:cubicBezTo>
                    <a:pt x="27" y="27"/>
                    <a:pt x="26" y="28"/>
                    <a:pt x="26" y="28"/>
                  </a:cubicBezTo>
                  <a:cubicBezTo>
                    <a:pt x="26" y="30"/>
                    <a:pt x="26" y="31"/>
                    <a:pt x="2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3" y="33"/>
                    <a:pt x="22" y="33"/>
                    <a:pt x="22" y="34"/>
                  </a:cubicBezTo>
                  <a:cubicBezTo>
                    <a:pt x="22" y="35"/>
                    <a:pt x="23" y="35"/>
                    <a:pt x="24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3"/>
                    <a:pt x="30" y="48"/>
                    <a:pt x="35" y="52"/>
                  </a:cubicBezTo>
                  <a:cubicBezTo>
                    <a:pt x="29" y="50"/>
                    <a:pt x="22" y="48"/>
                    <a:pt x="17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2" y="42"/>
                    <a:pt x="7" y="38"/>
                    <a:pt x="4" y="34"/>
                  </a:cubicBezTo>
                  <a:moveTo>
                    <a:pt x="46" y="3"/>
                  </a:moveTo>
                  <a:cubicBezTo>
                    <a:pt x="57" y="3"/>
                    <a:pt x="67" y="9"/>
                    <a:pt x="73" y="19"/>
                  </a:cubicBezTo>
                  <a:cubicBezTo>
                    <a:pt x="65" y="15"/>
                    <a:pt x="56" y="13"/>
                    <a:pt x="47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1"/>
                    <a:pt x="47" y="10"/>
                    <a:pt x="46" y="10"/>
                  </a:cubicBezTo>
                  <a:cubicBezTo>
                    <a:pt x="45" y="10"/>
                    <a:pt x="45" y="11"/>
                    <a:pt x="45" y="12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36" y="13"/>
                    <a:pt x="27" y="15"/>
                    <a:pt x="19" y="19"/>
                  </a:cubicBezTo>
                  <a:cubicBezTo>
                    <a:pt x="25" y="9"/>
                    <a:pt x="35" y="3"/>
                    <a:pt x="46" y="3"/>
                  </a:cubicBezTo>
                  <a:moveTo>
                    <a:pt x="32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2"/>
                    <a:pt x="29" y="32"/>
                    <a:pt x="29" y="31"/>
                  </a:cubicBezTo>
                  <a:cubicBezTo>
                    <a:pt x="30" y="32"/>
                    <a:pt x="32" y="33"/>
                    <a:pt x="34" y="33"/>
                  </a:cubicBezTo>
                  <a:cubicBezTo>
                    <a:pt x="37" y="32"/>
                    <a:pt x="39" y="31"/>
                    <a:pt x="40" y="29"/>
                  </a:cubicBezTo>
                  <a:cubicBezTo>
                    <a:pt x="42" y="27"/>
                    <a:pt x="42" y="25"/>
                    <a:pt x="42" y="23"/>
                  </a:cubicBezTo>
                  <a:cubicBezTo>
                    <a:pt x="42" y="21"/>
                    <a:pt x="41" y="19"/>
                    <a:pt x="40" y="18"/>
                  </a:cubicBezTo>
                  <a:cubicBezTo>
                    <a:pt x="41" y="17"/>
                    <a:pt x="43" y="17"/>
                    <a:pt x="44" y="17"/>
                  </a:cubicBezTo>
                  <a:cubicBezTo>
                    <a:pt x="44" y="16"/>
                    <a:pt x="44" y="17"/>
                    <a:pt x="45" y="16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1"/>
                    <a:pt x="45" y="22"/>
                    <a:pt x="46" y="22"/>
                  </a:cubicBezTo>
                  <a:cubicBezTo>
                    <a:pt x="47" y="22"/>
                    <a:pt x="47" y="21"/>
                    <a:pt x="47" y="2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1" y="17"/>
                    <a:pt x="54" y="18"/>
                    <a:pt x="57" y="20"/>
                  </a:cubicBezTo>
                  <a:cubicBezTo>
                    <a:pt x="61" y="23"/>
                    <a:pt x="63" y="27"/>
                    <a:pt x="63" y="32"/>
                  </a:cubicBezTo>
                  <a:cubicBezTo>
                    <a:pt x="63" y="32"/>
                    <a:pt x="63" y="32"/>
                    <a:pt x="64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59" y="33"/>
                    <a:pt x="58" y="33"/>
                    <a:pt x="58" y="34"/>
                  </a:cubicBezTo>
                  <a:cubicBezTo>
                    <a:pt x="58" y="35"/>
                    <a:pt x="59" y="35"/>
                    <a:pt x="60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3" y="44"/>
                    <a:pt x="56" y="51"/>
                    <a:pt x="48" y="51"/>
                  </a:cubicBezTo>
                  <a:cubicBezTo>
                    <a:pt x="48" y="52"/>
                    <a:pt x="48" y="52"/>
                    <a:pt x="47" y="5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7"/>
                    <a:pt x="47" y="46"/>
                    <a:pt x="46" y="46"/>
                  </a:cubicBezTo>
                  <a:cubicBezTo>
                    <a:pt x="45" y="46"/>
                    <a:pt x="45" y="47"/>
                    <a:pt x="45" y="48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6" y="51"/>
                    <a:pt x="29" y="44"/>
                    <a:pt x="29" y="36"/>
                  </a:cubicBezTo>
                  <a:cubicBezTo>
                    <a:pt x="28" y="36"/>
                    <a:pt x="28" y="36"/>
                    <a:pt x="28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3" y="35"/>
                    <a:pt x="34" y="35"/>
                    <a:pt x="34" y="34"/>
                  </a:cubicBezTo>
                  <a:cubicBezTo>
                    <a:pt x="34" y="33"/>
                    <a:pt x="33" y="33"/>
                    <a:pt x="32" y="33"/>
                  </a:cubicBezTo>
                  <a:moveTo>
                    <a:pt x="88" y="34"/>
                  </a:moveTo>
                  <a:cubicBezTo>
                    <a:pt x="85" y="38"/>
                    <a:pt x="80" y="42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0" y="48"/>
                    <a:pt x="63" y="50"/>
                    <a:pt x="56" y="52"/>
                  </a:cubicBezTo>
                  <a:cubicBezTo>
                    <a:pt x="62" y="48"/>
                    <a:pt x="66" y="42"/>
                    <a:pt x="66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9" y="35"/>
                    <a:pt x="70" y="35"/>
                    <a:pt x="70" y="34"/>
                  </a:cubicBezTo>
                  <a:cubicBezTo>
                    <a:pt x="70" y="33"/>
                    <a:pt x="69" y="33"/>
                    <a:pt x="68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6"/>
                    <a:pt x="63" y="22"/>
                    <a:pt x="59" y="18"/>
                  </a:cubicBezTo>
                  <a:cubicBezTo>
                    <a:pt x="58" y="17"/>
                    <a:pt x="57" y="17"/>
                    <a:pt x="56" y="16"/>
                  </a:cubicBezTo>
                  <a:cubicBezTo>
                    <a:pt x="63" y="18"/>
                    <a:pt x="70" y="20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80" y="26"/>
                    <a:pt x="85" y="30"/>
                    <a:pt x="88" y="34"/>
                  </a:cubicBezTo>
                  <a:moveTo>
                    <a:pt x="91" y="35"/>
                  </a:moveTo>
                  <a:cubicBezTo>
                    <a:pt x="92" y="34"/>
                    <a:pt x="92" y="34"/>
                    <a:pt x="91" y="33"/>
                  </a:cubicBezTo>
                  <a:cubicBezTo>
                    <a:pt x="87" y="28"/>
                    <a:pt x="83" y="24"/>
                    <a:pt x="77" y="21"/>
                  </a:cubicBezTo>
                  <a:cubicBezTo>
                    <a:pt x="72" y="8"/>
                    <a:pt x="60" y="0"/>
                    <a:pt x="46" y="0"/>
                  </a:cubicBezTo>
                  <a:cubicBezTo>
                    <a:pt x="32" y="0"/>
                    <a:pt x="20" y="8"/>
                    <a:pt x="15" y="21"/>
                  </a:cubicBezTo>
                  <a:cubicBezTo>
                    <a:pt x="9" y="24"/>
                    <a:pt x="5" y="28"/>
                    <a:pt x="1" y="33"/>
                  </a:cubicBezTo>
                  <a:cubicBezTo>
                    <a:pt x="0" y="34"/>
                    <a:pt x="0" y="34"/>
                    <a:pt x="1" y="35"/>
                  </a:cubicBezTo>
                  <a:cubicBezTo>
                    <a:pt x="5" y="40"/>
                    <a:pt x="9" y="44"/>
                    <a:pt x="15" y="47"/>
                  </a:cubicBezTo>
                  <a:cubicBezTo>
                    <a:pt x="20" y="60"/>
                    <a:pt x="32" y="68"/>
                    <a:pt x="46" y="68"/>
                  </a:cubicBezTo>
                  <a:cubicBezTo>
                    <a:pt x="60" y="68"/>
                    <a:pt x="72" y="60"/>
                    <a:pt x="77" y="47"/>
                  </a:cubicBezTo>
                  <a:cubicBezTo>
                    <a:pt x="83" y="44"/>
                    <a:pt x="87" y="40"/>
                    <a:pt x="91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8">
              <a:extLst>
                <a:ext uri="{FF2B5EF4-FFF2-40B4-BE49-F238E27FC236}">
                  <a16:creationId xmlns:a16="http://schemas.microsoft.com/office/drawing/2014/main" id="{292FD626-D7B3-41EB-B2D8-94D35E06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" y="421"/>
              <a:ext cx="46" cy="48"/>
            </a:xfrm>
            <a:custGeom>
              <a:avLst/>
              <a:gdLst>
                <a:gd name="T0" fmla="*/ 1 w 18"/>
                <a:gd name="T1" fmla="*/ 19 h 19"/>
                <a:gd name="T2" fmla="*/ 3 w 18"/>
                <a:gd name="T3" fmla="*/ 17 h 19"/>
                <a:gd name="T4" fmla="*/ 3 w 18"/>
                <a:gd name="T5" fmla="*/ 3 h 19"/>
                <a:gd name="T6" fmla="*/ 16 w 18"/>
                <a:gd name="T7" fmla="*/ 3 h 19"/>
                <a:gd name="T8" fmla="*/ 18 w 18"/>
                <a:gd name="T9" fmla="*/ 2 h 19"/>
                <a:gd name="T10" fmla="*/ 16 w 18"/>
                <a:gd name="T11" fmla="*/ 0 h 19"/>
                <a:gd name="T12" fmla="*/ 1 w 18"/>
                <a:gd name="T13" fmla="*/ 0 h 19"/>
                <a:gd name="T14" fmla="*/ 0 w 18"/>
                <a:gd name="T15" fmla="*/ 2 h 19"/>
                <a:gd name="T16" fmla="*/ 0 w 18"/>
                <a:gd name="T17" fmla="*/ 17 h 19"/>
                <a:gd name="T18" fmla="*/ 1 w 18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" y="19"/>
                  </a:moveTo>
                  <a:cubicBezTo>
                    <a:pt x="2" y="19"/>
                    <a:pt x="3" y="18"/>
                    <a:pt x="3" y="17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3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9"/>
                    <a:pt x="1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9">
              <a:extLst>
                <a:ext uri="{FF2B5EF4-FFF2-40B4-BE49-F238E27FC236}">
                  <a16:creationId xmlns:a16="http://schemas.microsoft.com/office/drawing/2014/main" id="{930D8DE1-5077-4FD4-8E8E-06D6F12B7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" y="421"/>
              <a:ext cx="46" cy="48"/>
            </a:xfrm>
            <a:custGeom>
              <a:avLst/>
              <a:gdLst>
                <a:gd name="T0" fmla="*/ 17 w 18"/>
                <a:gd name="T1" fmla="*/ 0 h 19"/>
                <a:gd name="T2" fmla="*/ 2 w 18"/>
                <a:gd name="T3" fmla="*/ 0 h 19"/>
                <a:gd name="T4" fmla="*/ 0 w 18"/>
                <a:gd name="T5" fmla="*/ 2 h 19"/>
                <a:gd name="T6" fmla="*/ 2 w 18"/>
                <a:gd name="T7" fmla="*/ 3 h 19"/>
                <a:gd name="T8" fmla="*/ 15 w 18"/>
                <a:gd name="T9" fmla="*/ 3 h 19"/>
                <a:gd name="T10" fmla="*/ 15 w 18"/>
                <a:gd name="T11" fmla="*/ 17 h 19"/>
                <a:gd name="T12" fmla="*/ 17 w 18"/>
                <a:gd name="T13" fmla="*/ 19 h 19"/>
                <a:gd name="T14" fmla="*/ 18 w 18"/>
                <a:gd name="T15" fmla="*/ 17 h 19"/>
                <a:gd name="T16" fmla="*/ 18 w 18"/>
                <a:gd name="T17" fmla="*/ 2 h 19"/>
                <a:gd name="T18" fmla="*/ 17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8"/>
                    <a:pt x="16" y="19"/>
                    <a:pt x="17" y="19"/>
                  </a:cubicBezTo>
                  <a:cubicBezTo>
                    <a:pt x="18" y="19"/>
                    <a:pt x="18" y="18"/>
                    <a:pt x="18" y="17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0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30">
              <a:extLst>
                <a:ext uri="{FF2B5EF4-FFF2-40B4-BE49-F238E27FC236}">
                  <a16:creationId xmlns:a16="http://schemas.microsoft.com/office/drawing/2014/main" id="{059736F5-1430-4131-A34A-6A533489A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" y="541"/>
              <a:ext cx="46" cy="49"/>
            </a:xfrm>
            <a:custGeom>
              <a:avLst/>
              <a:gdLst>
                <a:gd name="T0" fmla="*/ 16 w 18"/>
                <a:gd name="T1" fmla="*/ 16 h 19"/>
                <a:gd name="T2" fmla="*/ 3 w 18"/>
                <a:gd name="T3" fmla="*/ 16 h 19"/>
                <a:gd name="T4" fmla="*/ 3 w 18"/>
                <a:gd name="T5" fmla="*/ 2 h 19"/>
                <a:gd name="T6" fmla="*/ 1 w 18"/>
                <a:gd name="T7" fmla="*/ 0 h 19"/>
                <a:gd name="T8" fmla="*/ 0 w 18"/>
                <a:gd name="T9" fmla="*/ 2 h 19"/>
                <a:gd name="T10" fmla="*/ 0 w 18"/>
                <a:gd name="T11" fmla="*/ 17 h 19"/>
                <a:gd name="T12" fmla="*/ 1 w 18"/>
                <a:gd name="T13" fmla="*/ 19 h 19"/>
                <a:gd name="T14" fmla="*/ 16 w 18"/>
                <a:gd name="T15" fmla="*/ 19 h 19"/>
                <a:gd name="T16" fmla="*/ 18 w 18"/>
                <a:gd name="T17" fmla="*/ 17 h 19"/>
                <a:gd name="T18" fmla="*/ 16 w 18"/>
                <a:gd name="T19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6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9"/>
                    <a:pt x="1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7" y="19"/>
                    <a:pt x="18" y="18"/>
                    <a:pt x="18" y="17"/>
                  </a:cubicBezTo>
                  <a:cubicBezTo>
                    <a:pt x="18" y="16"/>
                    <a:pt x="17" y="16"/>
                    <a:pt x="16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31">
              <a:extLst>
                <a:ext uri="{FF2B5EF4-FFF2-40B4-BE49-F238E27FC236}">
                  <a16:creationId xmlns:a16="http://schemas.microsoft.com/office/drawing/2014/main" id="{3F339F2D-56ED-41E8-8693-6475B482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" y="541"/>
              <a:ext cx="46" cy="49"/>
            </a:xfrm>
            <a:custGeom>
              <a:avLst/>
              <a:gdLst>
                <a:gd name="T0" fmla="*/ 17 w 18"/>
                <a:gd name="T1" fmla="*/ 0 h 19"/>
                <a:gd name="T2" fmla="*/ 15 w 18"/>
                <a:gd name="T3" fmla="*/ 2 h 19"/>
                <a:gd name="T4" fmla="*/ 15 w 18"/>
                <a:gd name="T5" fmla="*/ 16 h 19"/>
                <a:gd name="T6" fmla="*/ 2 w 18"/>
                <a:gd name="T7" fmla="*/ 16 h 19"/>
                <a:gd name="T8" fmla="*/ 0 w 18"/>
                <a:gd name="T9" fmla="*/ 17 h 19"/>
                <a:gd name="T10" fmla="*/ 2 w 18"/>
                <a:gd name="T11" fmla="*/ 19 h 19"/>
                <a:gd name="T12" fmla="*/ 17 w 18"/>
                <a:gd name="T13" fmla="*/ 19 h 19"/>
                <a:gd name="T14" fmla="*/ 18 w 18"/>
                <a:gd name="T15" fmla="*/ 17 h 19"/>
                <a:gd name="T16" fmla="*/ 18 w 18"/>
                <a:gd name="T17" fmla="*/ 2 h 19"/>
                <a:gd name="T18" fmla="*/ 17 w 18"/>
                <a:gd name="T1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9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6"/>
                    <a:pt x="0" y="17"/>
                  </a:cubicBezTo>
                  <a:cubicBezTo>
                    <a:pt x="0" y="18"/>
                    <a:pt x="1" y="19"/>
                    <a:pt x="2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19"/>
                    <a:pt x="18" y="18"/>
                    <a:pt x="18" y="17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0"/>
                    <a:pt x="1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34">
            <a:extLst>
              <a:ext uri="{FF2B5EF4-FFF2-40B4-BE49-F238E27FC236}">
                <a16:creationId xmlns:a16="http://schemas.microsoft.com/office/drawing/2014/main" id="{1A7BE2A3-0923-4EC9-B1D6-16DE0D0128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6363" y="1597937"/>
            <a:ext cx="758825" cy="758825"/>
            <a:chOff x="1091" y="1136"/>
            <a:chExt cx="478" cy="478"/>
          </a:xfrm>
        </p:grpSpPr>
        <p:sp>
          <p:nvSpPr>
            <p:cNvPr id="146" name="AutoShape 133">
              <a:extLst>
                <a:ext uri="{FF2B5EF4-FFF2-40B4-BE49-F238E27FC236}">
                  <a16:creationId xmlns:a16="http://schemas.microsoft.com/office/drawing/2014/main" id="{3B0B01D0-AB58-4570-9A12-86C5E68D64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91" y="113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5">
              <a:extLst>
                <a:ext uri="{FF2B5EF4-FFF2-40B4-BE49-F238E27FC236}">
                  <a16:creationId xmlns:a16="http://schemas.microsoft.com/office/drawing/2014/main" id="{C500F35A-4B9C-431C-8C75-553B0E388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" y="113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6">
              <a:extLst>
                <a:ext uri="{FF2B5EF4-FFF2-40B4-BE49-F238E27FC236}">
                  <a16:creationId xmlns:a16="http://schemas.microsoft.com/office/drawing/2014/main" id="{A7D8C3A5-27DE-49C9-96DB-4D4AAE896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276"/>
              <a:ext cx="22" cy="7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7">
              <a:extLst>
                <a:ext uri="{FF2B5EF4-FFF2-40B4-BE49-F238E27FC236}">
                  <a16:creationId xmlns:a16="http://schemas.microsoft.com/office/drawing/2014/main" id="{2D36EEF6-F0C7-40C1-A5CE-43D00ECFC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" y="1276"/>
              <a:ext cx="7" cy="7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1 h 3"/>
                <a:gd name="T4" fmla="*/ 2 w 3"/>
                <a:gd name="T5" fmla="*/ 1 h 3"/>
                <a:gd name="T6" fmla="*/ 2 w 3"/>
                <a:gd name="T7" fmla="*/ 1 h 3"/>
                <a:gd name="T8" fmla="*/ 1 w 3"/>
                <a:gd name="T9" fmla="*/ 1 h 3"/>
                <a:gd name="T10" fmla="*/ 1 w 3"/>
                <a:gd name="T11" fmla="*/ 1 h 3"/>
                <a:gd name="T12" fmla="*/ 1 w 3"/>
                <a:gd name="T13" fmla="*/ 1 h 3"/>
                <a:gd name="T14" fmla="*/ 0 w 3"/>
                <a:gd name="T15" fmla="*/ 2 h 3"/>
                <a:gd name="T16" fmla="*/ 1 w 3"/>
                <a:gd name="T17" fmla="*/ 3 h 3"/>
                <a:gd name="T18" fmla="*/ 2 w 3"/>
                <a:gd name="T19" fmla="*/ 3 h 3"/>
                <a:gd name="T20" fmla="*/ 3 w 3"/>
                <a:gd name="T21" fmla="*/ 3 h 3"/>
                <a:gd name="T22" fmla="*/ 3 w 3"/>
                <a:gd name="T23" fmla="*/ 2 h 3"/>
                <a:gd name="T24" fmla="*/ 3 w 3"/>
                <a:gd name="T25" fmla="*/ 1 h 3"/>
                <a:gd name="T26" fmla="*/ 3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8">
              <a:extLst>
                <a:ext uri="{FF2B5EF4-FFF2-40B4-BE49-F238E27FC236}">
                  <a16:creationId xmlns:a16="http://schemas.microsoft.com/office/drawing/2014/main" id="{4E0E0367-B29D-49AF-8DFD-97E869EE1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" y="1325"/>
              <a:ext cx="22" cy="7"/>
            </a:xfrm>
            <a:custGeom>
              <a:avLst/>
              <a:gdLst>
                <a:gd name="T0" fmla="*/ 7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7 w 9"/>
                <a:gd name="T9" fmla="*/ 3 h 3"/>
                <a:gd name="T10" fmla="*/ 9 w 9"/>
                <a:gd name="T11" fmla="*/ 1 h 3"/>
                <a:gd name="T12" fmla="*/ 7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9">
              <a:extLst>
                <a:ext uri="{FF2B5EF4-FFF2-40B4-BE49-F238E27FC236}">
                  <a16:creationId xmlns:a16="http://schemas.microsoft.com/office/drawing/2014/main" id="{694FE28D-7155-47F7-8B38-32E5FC80B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325"/>
              <a:ext cx="22" cy="7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40">
              <a:extLst>
                <a:ext uri="{FF2B5EF4-FFF2-40B4-BE49-F238E27FC236}">
                  <a16:creationId xmlns:a16="http://schemas.microsoft.com/office/drawing/2014/main" id="{A30EBFE3-C873-4E50-A606-1941B398F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" y="1325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1 w 3"/>
                <a:gd name="T13" fmla="*/ 0 h 3"/>
                <a:gd name="T14" fmla="*/ 0 w 3"/>
                <a:gd name="T15" fmla="*/ 1 h 3"/>
                <a:gd name="T16" fmla="*/ 1 w 3"/>
                <a:gd name="T17" fmla="*/ 2 h 3"/>
                <a:gd name="T18" fmla="*/ 2 w 3"/>
                <a:gd name="T19" fmla="*/ 3 h 3"/>
                <a:gd name="T20" fmla="*/ 2 w 3"/>
                <a:gd name="T21" fmla="*/ 3 h 3"/>
                <a:gd name="T22" fmla="*/ 3 w 3"/>
                <a:gd name="T23" fmla="*/ 2 h 3"/>
                <a:gd name="T24" fmla="*/ 3 w 3"/>
                <a:gd name="T25" fmla="*/ 2 h 3"/>
                <a:gd name="T26" fmla="*/ 3 w 3"/>
                <a:gd name="T27" fmla="*/ 1 h 3"/>
                <a:gd name="T28" fmla="*/ 3 w 3"/>
                <a:gd name="T29" fmla="*/ 0 h 3"/>
                <a:gd name="T30" fmla="*/ 3 w 3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41">
              <a:extLst>
                <a:ext uri="{FF2B5EF4-FFF2-40B4-BE49-F238E27FC236}">
                  <a16:creationId xmlns:a16="http://schemas.microsoft.com/office/drawing/2014/main" id="{6461949A-7D6B-4EDE-A3E0-560DF5317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" y="1420"/>
              <a:ext cx="22" cy="8"/>
            </a:xfrm>
            <a:custGeom>
              <a:avLst/>
              <a:gdLst>
                <a:gd name="T0" fmla="*/ 7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7 w 9"/>
                <a:gd name="T9" fmla="*/ 3 h 3"/>
                <a:gd name="T10" fmla="*/ 9 w 9"/>
                <a:gd name="T11" fmla="*/ 2 h 3"/>
                <a:gd name="T12" fmla="*/ 7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42">
              <a:extLst>
                <a:ext uri="{FF2B5EF4-FFF2-40B4-BE49-F238E27FC236}">
                  <a16:creationId xmlns:a16="http://schemas.microsoft.com/office/drawing/2014/main" id="{CC6E508C-751A-43BC-AB19-09D261E3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20"/>
              <a:ext cx="22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3">
              <a:extLst>
                <a:ext uri="{FF2B5EF4-FFF2-40B4-BE49-F238E27FC236}">
                  <a16:creationId xmlns:a16="http://schemas.microsoft.com/office/drawing/2014/main" id="{0CEB8A8A-2DF2-4626-89A1-291782DD7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" y="1420"/>
              <a:ext cx="7" cy="8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3 w 3"/>
                <a:gd name="T5" fmla="*/ 1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1 w 3"/>
                <a:gd name="T13" fmla="*/ 1 h 3"/>
                <a:gd name="T14" fmla="*/ 1 w 3"/>
                <a:gd name="T15" fmla="*/ 1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2 h 3"/>
                <a:gd name="T22" fmla="*/ 0 w 3"/>
                <a:gd name="T23" fmla="*/ 2 h 3"/>
                <a:gd name="T24" fmla="*/ 1 w 3"/>
                <a:gd name="T25" fmla="*/ 3 h 3"/>
                <a:gd name="T26" fmla="*/ 1 w 3"/>
                <a:gd name="T27" fmla="*/ 3 h 3"/>
                <a:gd name="T28" fmla="*/ 2 w 3"/>
                <a:gd name="T29" fmla="*/ 3 h 3"/>
                <a:gd name="T30" fmla="*/ 2 w 3"/>
                <a:gd name="T31" fmla="*/ 3 h 3"/>
                <a:gd name="T32" fmla="*/ 3 w 3"/>
                <a:gd name="T33" fmla="*/ 3 h 3"/>
                <a:gd name="T34" fmla="*/ 3 w 3"/>
                <a:gd name="T35" fmla="*/ 2 h 3"/>
                <a:gd name="T36" fmla="*/ 3 w 3"/>
                <a:gd name="T37" fmla="*/ 2 h 3"/>
                <a:gd name="T38" fmla="*/ 3 w 3"/>
                <a:gd name="T39" fmla="*/ 1 h 3"/>
                <a:gd name="T40" fmla="*/ 3 w 3"/>
                <a:gd name="T4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44">
              <a:extLst>
                <a:ext uri="{FF2B5EF4-FFF2-40B4-BE49-F238E27FC236}">
                  <a16:creationId xmlns:a16="http://schemas.microsoft.com/office/drawing/2014/main" id="{D5D68D52-AAFD-48EB-9835-5BB5B6BDD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" y="1374"/>
              <a:ext cx="22" cy="5"/>
            </a:xfrm>
            <a:custGeom>
              <a:avLst/>
              <a:gdLst>
                <a:gd name="T0" fmla="*/ 7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7 w 9"/>
                <a:gd name="T9" fmla="*/ 2 h 2"/>
                <a:gd name="T10" fmla="*/ 9 w 9"/>
                <a:gd name="T11" fmla="*/ 1 h 2"/>
                <a:gd name="T12" fmla="*/ 7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5">
              <a:extLst>
                <a:ext uri="{FF2B5EF4-FFF2-40B4-BE49-F238E27FC236}">
                  <a16:creationId xmlns:a16="http://schemas.microsoft.com/office/drawing/2014/main" id="{8D77822A-EACE-4C09-A184-A9D1C4E8D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" y="1374"/>
              <a:ext cx="22" cy="5"/>
            </a:xfrm>
            <a:custGeom>
              <a:avLst/>
              <a:gdLst>
                <a:gd name="T0" fmla="*/ 7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7 w 9"/>
                <a:gd name="T9" fmla="*/ 2 h 2"/>
                <a:gd name="T10" fmla="*/ 9 w 9"/>
                <a:gd name="T11" fmla="*/ 1 h 2"/>
                <a:gd name="T12" fmla="*/ 7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46">
              <a:extLst>
                <a:ext uri="{FF2B5EF4-FFF2-40B4-BE49-F238E27FC236}">
                  <a16:creationId xmlns:a16="http://schemas.microsoft.com/office/drawing/2014/main" id="{1A7AE38E-14A1-43E3-A682-E3DE2DDB8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374"/>
              <a:ext cx="22" cy="5"/>
            </a:xfrm>
            <a:custGeom>
              <a:avLst/>
              <a:gdLst>
                <a:gd name="T0" fmla="*/ 8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7">
              <a:extLst>
                <a:ext uri="{FF2B5EF4-FFF2-40B4-BE49-F238E27FC236}">
                  <a16:creationId xmlns:a16="http://schemas.microsoft.com/office/drawing/2014/main" id="{6F403055-A78B-4077-A509-F7F25E1F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" y="1371"/>
              <a:ext cx="7" cy="8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2 w 3"/>
                <a:gd name="T13" fmla="*/ 3 h 3"/>
                <a:gd name="T14" fmla="*/ 2 w 3"/>
                <a:gd name="T15" fmla="*/ 3 h 3"/>
                <a:gd name="T16" fmla="*/ 3 w 3"/>
                <a:gd name="T17" fmla="*/ 3 h 3"/>
                <a:gd name="T18" fmla="*/ 3 w 3"/>
                <a:gd name="T19" fmla="*/ 2 h 3"/>
                <a:gd name="T20" fmla="*/ 3 w 3"/>
                <a:gd name="T21" fmla="*/ 1 h 3"/>
                <a:gd name="T22" fmla="*/ 2 w 3"/>
                <a:gd name="T2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2" y="0"/>
                    <a:pt x="2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8">
              <a:extLst>
                <a:ext uri="{FF2B5EF4-FFF2-40B4-BE49-F238E27FC236}">
                  <a16:creationId xmlns:a16="http://schemas.microsoft.com/office/drawing/2014/main" id="{30737F18-46DB-4099-A835-15D1E67A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" y="1371"/>
              <a:ext cx="7" cy="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1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1 w 3"/>
                <a:gd name="T17" fmla="*/ 3 h 3"/>
                <a:gd name="T18" fmla="*/ 2 w 3"/>
                <a:gd name="T19" fmla="*/ 3 h 3"/>
                <a:gd name="T20" fmla="*/ 3 w 3"/>
                <a:gd name="T21" fmla="*/ 3 h 3"/>
                <a:gd name="T22" fmla="*/ 3 w 3"/>
                <a:gd name="T23" fmla="*/ 2 h 3"/>
                <a:gd name="T24" fmla="*/ 3 w 3"/>
                <a:gd name="T25" fmla="*/ 1 h 3"/>
                <a:gd name="T26" fmla="*/ 1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0"/>
                    <a:pt x="1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49">
              <a:extLst>
                <a:ext uri="{FF2B5EF4-FFF2-40B4-BE49-F238E27FC236}">
                  <a16:creationId xmlns:a16="http://schemas.microsoft.com/office/drawing/2014/main" id="{298F993E-D495-465B-975F-FB29DEC18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1469"/>
              <a:ext cx="22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50">
              <a:extLst>
                <a:ext uri="{FF2B5EF4-FFF2-40B4-BE49-F238E27FC236}">
                  <a16:creationId xmlns:a16="http://schemas.microsoft.com/office/drawing/2014/main" id="{B089F0CE-49FA-4AAC-81E8-A9BCF39FB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" y="1469"/>
              <a:ext cx="7" cy="8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1 w 3"/>
                <a:gd name="T7" fmla="*/ 0 h 3"/>
                <a:gd name="T8" fmla="*/ 0 w 3"/>
                <a:gd name="T9" fmla="*/ 1 h 3"/>
                <a:gd name="T10" fmla="*/ 1 w 3"/>
                <a:gd name="T11" fmla="*/ 2 h 3"/>
                <a:gd name="T12" fmla="*/ 1 w 3"/>
                <a:gd name="T13" fmla="*/ 2 h 3"/>
                <a:gd name="T14" fmla="*/ 2 w 3"/>
                <a:gd name="T15" fmla="*/ 3 h 3"/>
                <a:gd name="T16" fmla="*/ 2 w 3"/>
                <a:gd name="T17" fmla="*/ 2 h 3"/>
                <a:gd name="T18" fmla="*/ 3 w 3"/>
                <a:gd name="T19" fmla="*/ 2 h 3"/>
                <a:gd name="T20" fmla="*/ 3 w 3"/>
                <a:gd name="T21" fmla="*/ 1 h 3"/>
                <a:gd name="T22" fmla="*/ 3 w 3"/>
                <a:gd name="T23" fmla="*/ 0 h 3"/>
                <a:gd name="T24" fmla="*/ 3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51">
              <a:extLst>
                <a:ext uri="{FF2B5EF4-FFF2-40B4-BE49-F238E27FC236}">
                  <a16:creationId xmlns:a16="http://schemas.microsoft.com/office/drawing/2014/main" id="{A35A40FC-C849-4292-8189-43A4F2F95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1276"/>
              <a:ext cx="23" cy="7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52">
              <a:extLst>
                <a:ext uri="{FF2B5EF4-FFF2-40B4-BE49-F238E27FC236}">
                  <a16:creationId xmlns:a16="http://schemas.microsoft.com/office/drawing/2014/main" id="{8B50274F-C118-4E99-933A-B70DF4DA3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1276"/>
              <a:ext cx="8" cy="7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1 w 3"/>
                <a:gd name="T9" fmla="*/ 1 h 3"/>
                <a:gd name="T10" fmla="*/ 0 w 3"/>
                <a:gd name="T11" fmla="*/ 1 h 3"/>
                <a:gd name="T12" fmla="*/ 0 w 3"/>
                <a:gd name="T13" fmla="*/ 1 h 3"/>
                <a:gd name="T14" fmla="*/ 0 w 3"/>
                <a:gd name="T15" fmla="*/ 2 h 3"/>
                <a:gd name="T16" fmla="*/ 0 w 3"/>
                <a:gd name="T17" fmla="*/ 3 h 3"/>
                <a:gd name="T18" fmla="*/ 1 w 3"/>
                <a:gd name="T19" fmla="*/ 3 h 3"/>
                <a:gd name="T20" fmla="*/ 2 w 3"/>
                <a:gd name="T21" fmla="*/ 3 h 3"/>
                <a:gd name="T22" fmla="*/ 3 w 3"/>
                <a:gd name="T23" fmla="*/ 2 h 3"/>
                <a:gd name="T24" fmla="*/ 2 w 3"/>
                <a:gd name="T25" fmla="*/ 1 h 3"/>
                <a:gd name="T26" fmla="*/ 2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53">
              <a:extLst>
                <a:ext uri="{FF2B5EF4-FFF2-40B4-BE49-F238E27FC236}">
                  <a16:creationId xmlns:a16="http://schemas.microsoft.com/office/drawing/2014/main" id="{AC4FAF8B-B5C5-44F8-BF57-DE60126C9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1325"/>
              <a:ext cx="22" cy="7"/>
            </a:xfrm>
            <a:custGeom>
              <a:avLst/>
              <a:gdLst>
                <a:gd name="T0" fmla="*/ 8 w 9"/>
                <a:gd name="T1" fmla="*/ 0 h 3"/>
                <a:gd name="T2" fmla="*/ 2 w 9"/>
                <a:gd name="T3" fmla="*/ 0 h 3"/>
                <a:gd name="T4" fmla="*/ 0 w 9"/>
                <a:gd name="T5" fmla="*/ 1 h 3"/>
                <a:gd name="T6" fmla="*/ 2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4">
              <a:extLst>
                <a:ext uri="{FF2B5EF4-FFF2-40B4-BE49-F238E27FC236}">
                  <a16:creationId xmlns:a16="http://schemas.microsoft.com/office/drawing/2014/main" id="{98F03309-B540-4989-99F4-5804BDF03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1325"/>
              <a:ext cx="23" cy="7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55">
              <a:extLst>
                <a:ext uri="{FF2B5EF4-FFF2-40B4-BE49-F238E27FC236}">
                  <a16:creationId xmlns:a16="http://schemas.microsoft.com/office/drawing/2014/main" id="{CCBFFF32-1F3D-43F0-B5E3-0817DF0A2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1325"/>
              <a:ext cx="8" cy="7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0 w 3"/>
                <a:gd name="T9" fmla="*/ 1 h 3"/>
                <a:gd name="T10" fmla="*/ 0 w 3"/>
                <a:gd name="T11" fmla="*/ 2 h 3"/>
                <a:gd name="T12" fmla="*/ 0 w 3"/>
                <a:gd name="T13" fmla="*/ 2 h 3"/>
                <a:gd name="T14" fmla="*/ 1 w 3"/>
                <a:gd name="T15" fmla="*/ 3 h 3"/>
                <a:gd name="T16" fmla="*/ 2 w 3"/>
                <a:gd name="T17" fmla="*/ 2 h 3"/>
                <a:gd name="T18" fmla="*/ 2 w 3"/>
                <a:gd name="T19" fmla="*/ 2 h 3"/>
                <a:gd name="T20" fmla="*/ 3 w 3"/>
                <a:gd name="T21" fmla="*/ 1 h 3"/>
                <a:gd name="T22" fmla="*/ 2 w 3"/>
                <a:gd name="T23" fmla="*/ 0 h 3"/>
                <a:gd name="T24" fmla="*/ 1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56">
              <a:extLst>
                <a:ext uri="{FF2B5EF4-FFF2-40B4-BE49-F238E27FC236}">
                  <a16:creationId xmlns:a16="http://schemas.microsoft.com/office/drawing/2014/main" id="{86522ADF-AD9E-4E4E-A015-744810F64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1420"/>
              <a:ext cx="22" cy="8"/>
            </a:xfrm>
            <a:custGeom>
              <a:avLst/>
              <a:gdLst>
                <a:gd name="T0" fmla="*/ 8 w 9"/>
                <a:gd name="T1" fmla="*/ 0 h 3"/>
                <a:gd name="T2" fmla="*/ 2 w 9"/>
                <a:gd name="T3" fmla="*/ 0 h 3"/>
                <a:gd name="T4" fmla="*/ 0 w 9"/>
                <a:gd name="T5" fmla="*/ 2 h 3"/>
                <a:gd name="T6" fmla="*/ 2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7">
              <a:extLst>
                <a:ext uri="{FF2B5EF4-FFF2-40B4-BE49-F238E27FC236}">
                  <a16:creationId xmlns:a16="http://schemas.microsoft.com/office/drawing/2014/main" id="{6A8E72C6-2AA7-428C-9438-B528E234C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1420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8">
              <a:extLst>
                <a:ext uri="{FF2B5EF4-FFF2-40B4-BE49-F238E27FC236}">
                  <a16:creationId xmlns:a16="http://schemas.microsoft.com/office/drawing/2014/main" id="{12A5012D-EE44-4E43-9516-73B68B651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1420"/>
              <a:ext cx="8" cy="8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2 w 3"/>
                <a:gd name="T5" fmla="*/ 1 h 3"/>
                <a:gd name="T6" fmla="*/ 2 w 3"/>
                <a:gd name="T7" fmla="*/ 0 h 3"/>
                <a:gd name="T8" fmla="*/ 2 w 3"/>
                <a:gd name="T9" fmla="*/ 0 h 3"/>
                <a:gd name="T10" fmla="*/ 1 w 3"/>
                <a:gd name="T11" fmla="*/ 0 h 3"/>
                <a:gd name="T12" fmla="*/ 0 w 3"/>
                <a:gd name="T13" fmla="*/ 1 h 3"/>
                <a:gd name="T14" fmla="*/ 0 w 3"/>
                <a:gd name="T15" fmla="*/ 1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2 h 3"/>
                <a:gd name="T22" fmla="*/ 0 w 3"/>
                <a:gd name="T23" fmla="*/ 2 h 3"/>
                <a:gd name="T24" fmla="*/ 0 w 3"/>
                <a:gd name="T25" fmla="*/ 3 h 3"/>
                <a:gd name="T26" fmla="*/ 1 w 3"/>
                <a:gd name="T27" fmla="*/ 3 h 3"/>
                <a:gd name="T28" fmla="*/ 1 w 3"/>
                <a:gd name="T29" fmla="*/ 3 h 3"/>
                <a:gd name="T30" fmla="*/ 2 w 3"/>
                <a:gd name="T31" fmla="*/ 3 h 3"/>
                <a:gd name="T32" fmla="*/ 2 w 3"/>
                <a:gd name="T33" fmla="*/ 3 h 3"/>
                <a:gd name="T34" fmla="*/ 2 w 3"/>
                <a:gd name="T35" fmla="*/ 2 h 3"/>
                <a:gd name="T36" fmla="*/ 3 w 3"/>
                <a:gd name="T37" fmla="*/ 2 h 3"/>
                <a:gd name="T38" fmla="*/ 3 w 3"/>
                <a:gd name="T39" fmla="*/ 1 h 3"/>
                <a:gd name="T40" fmla="*/ 2 w 3"/>
                <a:gd name="T4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9">
              <a:extLst>
                <a:ext uri="{FF2B5EF4-FFF2-40B4-BE49-F238E27FC236}">
                  <a16:creationId xmlns:a16="http://schemas.microsoft.com/office/drawing/2014/main" id="{8B6D6C9B-4C1F-4DAD-ADA7-99C1BF755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1374"/>
              <a:ext cx="22" cy="5"/>
            </a:xfrm>
            <a:custGeom>
              <a:avLst/>
              <a:gdLst>
                <a:gd name="T0" fmla="*/ 8 w 9"/>
                <a:gd name="T1" fmla="*/ 0 h 2"/>
                <a:gd name="T2" fmla="*/ 2 w 9"/>
                <a:gd name="T3" fmla="*/ 0 h 2"/>
                <a:gd name="T4" fmla="*/ 0 w 9"/>
                <a:gd name="T5" fmla="*/ 1 h 2"/>
                <a:gd name="T6" fmla="*/ 2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60">
              <a:extLst>
                <a:ext uri="{FF2B5EF4-FFF2-40B4-BE49-F238E27FC236}">
                  <a16:creationId xmlns:a16="http://schemas.microsoft.com/office/drawing/2014/main" id="{F354A2F3-2C4E-4394-80F9-65BFC57C6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1374"/>
              <a:ext cx="22" cy="5"/>
            </a:xfrm>
            <a:custGeom>
              <a:avLst/>
              <a:gdLst>
                <a:gd name="T0" fmla="*/ 8 w 9"/>
                <a:gd name="T1" fmla="*/ 0 h 2"/>
                <a:gd name="T2" fmla="*/ 2 w 9"/>
                <a:gd name="T3" fmla="*/ 0 h 2"/>
                <a:gd name="T4" fmla="*/ 0 w 9"/>
                <a:gd name="T5" fmla="*/ 1 h 2"/>
                <a:gd name="T6" fmla="*/ 2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61">
              <a:extLst>
                <a:ext uri="{FF2B5EF4-FFF2-40B4-BE49-F238E27FC236}">
                  <a16:creationId xmlns:a16="http://schemas.microsoft.com/office/drawing/2014/main" id="{825A7130-00AD-49C2-9FB5-E15535351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1374"/>
              <a:ext cx="23" cy="5"/>
            </a:xfrm>
            <a:custGeom>
              <a:avLst/>
              <a:gdLst>
                <a:gd name="T0" fmla="*/ 8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62">
              <a:extLst>
                <a:ext uri="{FF2B5EF4-FFF2-40B4-BE49-F238E27FC236}">
                  <a16:creationId xmlns:a16="http://schemas.microsoft.com/office/drawing/2014/main" id="{84A98284-0A67-4BCB-AAAF-110FC90F3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1371"/>
              <a:ext cx="8" cy="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1 h 3"/>
                <a:gd name="T6" fmla="*/ 0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3 h 3"/>
                <a:gd name="T18" fmla="*/ 0 w 3"/>
                <a:gd name="T19" fmla="*/ 3 h 3"/>
                <a:gd name="T20" fmla="*/ 1 w 3"/>
                <a:gd name="T21" fmla="*/ 3 h 3"/>
                <a:gd name="T22" fmla="*/ 1 w 3"/>
                <a:gd name="T23" fmla="*/ 3 h 3"/>
                <a:gd name="T24" fmla="*/ 2 w 3"/>
                <a:gd name="T25" fmla="*/ 3 h 3"/>
                <a:gd name="T26" fmla="*/ 2 w 3"/>
                <a:gd name="T27" fmla="*/ 3 h 3"/>
                <a:gd name="T28" fmla="*/ 2 w 3"/>
                <a:gd name="T29" fmla="*/ 3 h 3"/>
                <a:gd name="T30" fmla="*/ 3 w 3"/>
                <a:gd name="T31" fmla="*/ 2 h 3"/>
                <a:gd name="T32" fmla="*/ 2 w 3"/>
                <a:gd name="T33" fmla="*/ 1 h 3"/>
                <a:gd name="T34" fmla="*/ 1 w 3"/>
                <a:gd name="T3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63">
              <a:extLst>
                <a:ext uri="{FF2B5EF4-FFF2-40B4-BE49-F238E27FC236}">
                  <a16:creationId xmlns:a16="http://schemas.microsoft.com/office/drawing/2014/main" id="{61C0FDA0-17AD-4EC5-ACF8-4D22EF715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1371"/>
              <a:ext cx="8" cy="8"/>
            </a:xfrm>
            <a:custGeom>
              <a:avLst/>
              <a:gdLst>
                <a:gd name="T0" fmla="*/ 0 w 3"/>
                <a:gd name="T1" fmla="*/ 1 h 3"/>
                <a:gd name="T2" fmla="*/ 0 w 3"/>
                <a:gd name="T3" fmla="*/ 1 h 3"/>
                <a:gd name="T4" fmla="*/ 0 w 3"/>
                <a:gd name="T5" fmla="*/ 1 h 3"/>
                <a:gd name="T6" fmla="*/ 0 w 3"/>
                <a:gd name="T7" fmla="*/ 2 h 3"/>
                <a:gd name="T8" fmla="*/ 0 w 3"/>
                <a:gd name="T9" fmla="*/ 2 h 3"/>
                <a:gd name="T10" fmla="*/ 0 w 3"/>
                <a:gd name="T11" fmla="*/ 3 h 3"/>
                <a:gd name="T12" fmla="*/ 0 w 3"/>
                <a:gd name="T13" fmla="*/ 3 h 3"/>
                <a:gd name="T14" fmla="*/ 1 w 3"/>
                <a:gd name="T15" fmla="*/ 3 h 3"/>
                <a:gd name="T16" fmla="*/ 1 w 3"/>
                <a:gd name="T17" fmla="*/ 3 h 3"/>
                <a:gd name="T18" fmla="*/ 2 w 3"/>
                <a:gd name="T19" fmla="*/ 3 h 3"/>
                <a:gd name="T20" fmla="*/ 2 w 3"/>
                <a:gd name="T21" fmla="*/ 3 h 3"/>
                <a:gd name="T22" fmla="*/ 3 w 3"/>
                <a:gd name="T23" fmla="*/ 3 h 3"/>
                <a:gd name="T24" fmla="*/ 3 w 3"/>
                <a:gd name="T25" fmla="*/ 2 h 3"/>
                <a:gd name="T26" fmla="*/ 2 w 3"/>
                <a:gd name="T27" fmla="*/ 1 h 3"/>
                <a:gd name="T28" fmla="*/ 0 w 3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64">
              <a:extLst>
                <a:ext uri="{FF2B5EF4-FFF2-40B4-BE49-F238E27FC236}">
                  <a16:creationId xmlns:a16="http://schemas.microsoft.com/office/drawing/2014/main" id="{CDA64E84-4641-40D8-991D-55E83F357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146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65">
              <a:extLst>
                <a:ext uri="{FF2B5EF4-FFF2-40B4-BE49-F238E27FC236}">
                  <a16:creationId xmlns:a16="http://schemas.microsoft.com/office/drawing/2014/main" id="{9AC32DA5-A76E-4687-B3C1-7560AE5EC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1469"/>
              <a:ext cx="8" cy="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  <a:gd name="T4" fmla="*/ 1 w 3"/>
                <a:gd name="T5" fmla="*/ 0 h 3"/>
                <a:gd name="T6" fmla="*/ 1 w 3"/>
                <a:gd name="T7" fmla="*/ 0 h 3"/>
                <a:gd name="T8" fmla="*/ 1 w 3"/>
                <a:gd name="T9" fmla="*/ 0 h 3"/>
                <a:gd name="T10" fmla="*/ 0 w 3"/>
                <a:gd name="T11" fmla="*/ 0 h 3"/>
                <a:gd name="T12" fmla="*/ 0 w 3"/>
                <a:gd name="T13" fmla="*/ 0 h 3"/>
                <a:gd name="T14" fmla="*/ 0 w 3"/>
                <a:gd name="T15" fmla="*/ 1 h 3"/>
                <a:gd name="T16" fmla="*/ 0 w 3"/>
                <a:gd name="T17" fmla="*/ 2 h 3"/>
                <a:gd name="T18" fmla="*/ 1 w 3"/>
                <a:gd name="T19" fmla="*/ 3 h 3"/>
                <a:gd name="T20" fmla="*/ 2 w 3"/>
                <a:gd name="T21" fmla="*/ 2 h 3"/>
                <a:gd name="T22" fmla="*/ 3 w 3"/>
                <a:gd name="T23" fmla="*/ 1 h 3"/>
                <a:gd name="T24" fmla="*/ 2 w 3"/>
                <a:gd name="T25" fmla="*/ 0 h 3"/>
                <a:gd name="T26" fmla="*/ 2 w 3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66">
              <a:extLst>
                <a:ext uri="{FF2B5EF4-FFF2-40B4-BE49-F238E27FC236}">
                  <a16:creationId xmlns:a16="http://schemas.microsoft.com/office/drawing/2014/main" id="{C7348261-A5AA-44BE-838B-C8FFB924E6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0" y="1300"/>
              <a:ext cx="103" cy="130"/>
            </a:xfrm>
            <a:custGeom>
              <a:avLst/>
              <a:gdLst>
                <a:gd name="T0" fmla="*/ 3 w 42"/>
                <a:gd name="T1" fmla="*/ 22 h 53"/>
                <a:gd name="T2" fmla="*/ 8 w 42"/>
                <a:gd name="T3" fmla="*/ 17 h 53"/>
                <a:gd name="T4" fmla="*/ 11 w 42"/>
                <a:gd name="T5" fmla="*/ 17 h 53"/>
                <a:gd name="T6" fmla="*/ 31 w 42"/>
                <a:gd name="T7" fmla="*/ 17 h 53"/>
                <a:gd name="T8" fmla="*/ 34 w 42"/>
                <a:gd name="T9" fmla="*/ 17 h 53"/>
                <a:gd name="T10" fmla="*/ 39 w 42"/>
                <a:gd name="T11" fmla="*/ 22 h 53"/>
                <a:gd name="T12" fmla="*/ 39 w 42"/>
                <a:gd name="T13" fmla="*/ 45 h 53"/>
                <a:gd name="T14" fmla="*/ 34 w 42"/>
                <a:gd name="T15" fmla="*/ 50 h 53"/>
                <a:gd name="T16" fmla="*/ 8 w 42"/>
                <a:gd name="T17" fmla="*/ 50 h 53"/>
                <a:gd name="T18" fmla="*/ 3 w 42"/>
                <a:gd name="T19" fmla="*/ 45 h 53"/>
                <a:gd name="T20" fmla="*/ 3 w 42"/>
                <a:gd name="T21" fmla="*/ 22 h 53"/>
                <a:gd name="T22" fmla="*/ 29 w 42"/>
                <a:gd name="T23" fmla="*/ 14 h 53"/>
                <a:gd name="T24" fmla="*/ 13 w 42"/>
                <a:gd name="T25" fmla="*/ 14 h 53"/>
                <a:gd name="T26" fmla="*/ 21 w 42"/>
                <a:gd name="T27" fmla="*/ 7 h 53"/>
                <a:gd name="T28" fmla="*/ 29 w 42"/>
                <a:gd name="T29" fmla="*/ 14 h 53"/>
                <a:gd name="T30" fmla="*/ 21 w 42"/>
                <a:gd name="T31" fmla="*/ 3 h 53"/>
                <a:gd name="T32" fmla="*/ 33 w 42"/>
                <a:gd name="T33" fmla="*/ 14 h 53"/>
                <a:gd name="T34" fmla="*/ 32 w 42"/>
                <a:gd name="T35" fmla="*/ 14 h 53"/>
                <a:gd name="T36" fmla="*/ 21 w 42"/>
                <a:gd name="T37" fmla="*/ 4 h 53"/>
                <a:gd name="T38" fmla="*/ 10 w 42"/>
                <a:gd name="T39" fmla="*/ 14 h 53"/>
                <a:gd name="T40" fmla="*/ 9 w 42"/>
                <a:gd name="T41" fmla="*/ 14 h 53"/>
                <a:gd name="T42" fmla="*/ 21 w 42"/>
                <a:gd name="T43" fmla="*/ 3 h 53"/>
                <a:gd name="T44" fmla="*/ 8 w 42"/>
                <a:gd name="T45" fmla="*/ 53 h 53"/>
                <a:gd name="T46" fmla="*/ 34 w 42"/>
                <a:gd name="T47" fmla="*/ 53 h 53"/>
                <a:gd name="T48" fmla="*/ 42 w 42"/>
                <a:gd name="T49" fmla="*/ 45 h 53"/>
                <a:gd name="T50" fmla="*/ 42 w 42"/>
                <a:gd name="T51" fmla="*/ 22 h 53"/>
                <a:gd name="T52" fmla="*/ 36 w 42"/>
                <a:gd name="T53" fmla="*/ 14 h 53"/>
                <a:gd name="T54" fmla="*/ 21 w 42"/>
                <a:gd name="T55" fmla="*/ 0 h 53"/>
                <a:gd name="T56" fmla="*/ 6 w 42"/>
                <a:gd name="T57" fmla="*/ 14 h 53"/>
                <a:gd name="T58" fmla="*/ 0 w 42"/>
                <a:gd name="T59" fmla="*/ 22 h 53"/>
                <a:gd name="T60" fmla="*/ 0 w 42"/>
                <a:gd name="T61" fmla="*/ 45 h 53"/>
                <a:gd name="T62" fmla="*/ 8 w 42"/>
                <a:gd name="T6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53">
                  <a:moveTo>
                    <a:pt x="3" y="22"/>
                  </a:moveTo>
                  <a:cubicBezTo>
                    <a:pt x="3" y="19"/>
                    <a:pt x="6" y="17"/>
                    <a:pt x="8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8"/>
                    <a:pt x="36" y="50"/>
                    <a:pt x="34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6" y="50"/>
                    <a:pt x="3" y="48"/>
                    <a:pt x="3" y="45"/>
                  </a:cubicBezTo>
                  <a:lnTo>
                    <a:pt x="3" y="22"/>
                  </a:lnTo>
                  <a:close/>
                  <a:moveTo>
                    <a:pt x="29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1"/>
                    <a:pt x="15" y="7"/>
                    <a:pt x="21" y="7"/>
                  </a:cubicBezTo>
                  <a:cubicBezTo>
                    <a:pt x="27" y="7"/>
                    <a:pt x="29" y="11"/>
                    <a:pt x="29" y="14"/>
                  </a:cubicBezTo>
                  <a:moveTo>
                    <a:pt x="21" y="3"/>
                  </a:moveTo>
                  <a:cubicBezTo>
                    <a:pt x="30" y="3"/>
                    <a:pt x="33" y="9"/>
                    <a:pt x="33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0"/>
                    <a:pt x="29" y="4"/>
                    <a:pt x="21" y="4"/>
                  </a:cubicBezTo>
                  <a:cubicBezTo>
                    <a:pt x="13" y="4"/>
                    <a:pt x="10" y="10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9"/>
                    <a:pt x="12" y="3"/>
                    <a:pt x="21" y="3"/>
                  </a:cubicBezTo>
                  <a:moveTo>
                    <a:pt x="8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8" y="53"/>
                    <a:pt x="42" y="50"/>
                    <a:pt x="42" y="45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18"/>
                    <a:pt x="39" y="15"/>
                    <a:pt x="36" y="14"/>
                  </a:cubicBezTo>
                  <a:cubicBezTo>
                    <a:pt x="36" y="9"/>
                    <a:pt x="32" y="0"/>
                    <a:pt x="21" y="0"/>
                  </a:cubicBezTo>
                  <a:cubicBezTo>
                    <a:pt x="10" y="0"/>
                    <a:pt x="6" y="9"/>
                    <a:pt x="6" y="14"/>
                  </a:cubicBezTo>
                  <a:cubicBezTo>
                    <a:pt x="3" y="15"/>
                    <a:pt x="0" y="18"/>
                    <a:pt x="0" y="2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0"/>
                    <a:pt x="4" y="53"/>
                    <a:pt x="8" y="5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67">
              <a:extLst>
                <a:ext uri="{FF2B5EF4-FFF2-40B4-BE49-F238E27FC236}">
                  <a16:creationId xmlns:a16="http://schemas.microsoft.com/office/drawing/2014/main" id="{F6203AE9-7549-4CB9-B8E6-48377378A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9" y="1354"/>
              <a:ext cx="24" cy="57"/>
            </a:xfrm>
            <a:custGeom>
              <a:avLst/>
              <a:gdLst>
                <a:gd name="T0" fmla="*/ 4 w 10"/>
                <a:gd name="T1" fmla="*/ 3 h 23"/>
                <a:gd name="T2" fmla="*/ 6 w 10"/>
                <a:gd name="T3" fmla="*/ 5 h 23"/>
                <a:gd name="T4" fmla="*/ 4 w 10"/>
                <a:gd name="T5" fmla="*/ 7 h 23"/>
                <a:gd name="T6" fmla="*/ 2 w 10"/>
                <a:gd name="T7" fmla="*/ 5 h 23"/>
                <a:gd name="T8" fmla="*/ 4 w 10"/>
                <a:gd name="T9" fmla="*/ 3 h 23"/>
                <a:gd name="T10" fmla="*/ 3 w 10"/>
                <a:gd name="T11" fmla="*/ 9 h 23"/>
                <a:gd name="T12" fmla="*/ 3 w 10"/>
                <a:gd name="T13" fmla="*/ 22 h 23"/>
                <a:gd name="T14" fmla="*/ 4 w 10"/>
                <a:gd name="T15" fmla="*/ 23 h 23"/>
                <a:gd name="T16" fmla="*/ 9 w 10"/>
                <a:gd name="T17" fmla="*/ 23 h 23"/>
                <a:gd name="T18" fmla="*/ 10 w 10"/>
                <a:gd name="T19" fmla="*/ 22 h 23"/>
                <a:gd name="T20" fmla="*/ 9 w 10"/>
                <a:gd name="T21" fmla="*/ 20 h 23"/>
                <a:gd name="T22" fmla="*/ 6 w 10"/>
                <a:gd name="T23" fmla="*/ 20 h 23"/>
                <a:gd name="T24" fmla="*/ 6 w 10"/>
                <a:gd name="T25" fmla="*/ 19 h 23"/>
                <a:gd name="T26" fmla="*/ 7 w 10"/>
                <a:gd name="T27" fmla="*/ 19 h 23"/>
                <a:gd name="T28" fmla="*/ 9 w 10"/>
                <a:gd name="T29" fmla="*/ 17 h 23"/>
                <a:gd name="T30" fmla="*/ 7 w 10"/>
                <a:gd name="T31" fmla="*/ 16 h 23"/>
                <a:gd name="T32" fmla="*/ 6 w 10"/>
                <a:gd name="T33" fmla="*/ 16 h 23"/>
                <a:gd name="T34" fmla="*/ 6 w 10"/>
                <a:gd name="T35" fmla="*/ 9 h 23"/>
                <a:gd name="T36" fmla="*/ 9 w 10"/>
                <a:gd name="T37" fmla="*/ 5 h 23"/>
                <a:gd name="T38" fmla="*/ 4 w 10"/>
                <a:gd name="T39" fmla="*/ 0 h 23"/>
                <a:gd name="T40" fmla="*/ 0 w 10"/>
                <a:gd name="T41" fmla="*/ 5 h 23"/>
                <a:gd name="T42" fmla="*/ 3 w 10"/>
                <a:gd name="T4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3">
                  <a:moveTo>
                    <a:pt x="4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4" y="7"/>
                  </a:cubicBezTo>
                  <a:cubicBezTo>
                    <a:pt x="3" y="7"/>
                    <a:pt x="2" y="6"/>
                    <a:pt x="2" y="5"/>
                  </a:cubicBezTo>
                  <a:cubicBezTo>
                    <a:pt x="2" y="4"/>
                    <a:pt x="3" y="3"/>
                    <a:pt x="4" y="3"/>
                  </a:cubicBezTo>
                  <a:moveTo>
                    <a:pt x="3" y="9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4" y="23"/>
                    <a:pt x="4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2"/>
                  </a:cubicBezTo>
                  <a:cubicBezTo>
                    <a:pt x="10" y="21"/>
                    <a:pt x="10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9" y="18"/>
                    <a:pt x="9" y="17"/>
                  </a:cubicBezTo>
                  <a:cubicBezTo>
                    <a:pt x="9" y="16"/>
                    <a:pt x="8" y="16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9" y="7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1" y="9"/>
                    <a:pt x="3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68">
              <a:extLst>
                <a:ext uri="{FF2B5EF4-FFF2-40B4-BE49-F238E27FC236}">
                  <a16:creationId xmlns:a16="http://schemas.microsoft.com/office/drawing/2014/main" id="{AC4FBA67-9B7B-4B13-9E75-E7A03A12FF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3" y="1246"/>
              <a:ext cx="157" cy="260"/>
            </a:xfrm>
            <a:custGeom>
              <a:avLst/>
              <a:gdLst>
                <a:gd name="T0" fmla="*/ 55 w 64"/>
                <a:gd name="T1" fmla="*/ 103 h 106"/>
                <a:gd name="T2" fmla="*/ 9 w 64"/>
                <a:gd name="T3" fmla="*/ 103 h 106"/>
                <a:gd name="T4" fmla="*/ 3 w 64"/>
                <a:gd name="T5" fmla="*/ 97 h 106"/>
                <a:gd name="T6" fmla="*/ 3 w 64"/>
                <a:gd name="T7" fmla="*/ 94 h 106"/>
                <a:gd name="T8" fmla="*/ 61 w 64"/>
                <a:gd name="T9" fmla="*/ 94 h 106"/>
                <a:gd name="T10" fmla="*/ 61 w 64"/>
                <a:gd name="T11" fmla="*/ 97 h 106"/>
                <a:gd name="T12" fmla="*/ 55 w 64"/>
                <a:gd name="T13" fmla="*/ 103 h 106"/>
                <a:gd name="T14" fmla="*/ 9 w 64"/>
                <a:gd name="T15" fmla="*/ 3 h 106"/>
                <a:gd name="T16" fmla="*/ 55 w 64"/>
                <a:gd name="T17" fmla="*/ 3 h 106"/>
                <a:gd name="T18" fmla="*/ 61 w 64"/>
                <a:gd name="T19" fmla="*/ 9 h 106"/>
                <a:gd name="T20" fmla="*/ 61 w 64"/>
                <a:gd name="T21" fmla="*/ 92 h 106"/>
                <a:gd name="T22" fmla="*/ 3 w 64"/>
                <a:gd name="T23" fmla="*/ 92 h 106"/>
                <a:gd name="T24" fmla="*/ 3 w 64"/>
                <a:gd name="T25" fmla="*/ 9 h 106"/>
                <a:gd name="T26" fmla="*/ 9 w 64"/>
                <a:gd name="T27" fmla="*/ 3 h 106"/>
                <a:gd name="T28" fmla="*/ 55 w 64"/>
                <a:gd name="T29" fmla="*/ 0 h 106"/>
                <a:gd name="T30" fmla="*/ 9 w 64"/>
                <a:gd name="T31" fmla="*/ 0 h 106"/>
                <a:gd name="T32" fmla="*/ 0 w 64"/>
                <a:gd name="T33" fmla="*/ 9 h 106"/>
                <a:gd name="T34" fmla="*/ 0 w 64"/>
                <a:gd name="T35" fmla="*/ 97 h 106"/>
                <a:gd name="T36" fmla="*/ 9 w 64"/>
                <a:gd name="T37" fmla="*/ 106 h 106"/>
                <a:gd name="T38" fmla="*/ 55 w 64"/>
                <a:gd name="T39" fmla="*/ 106 h 106"/>
                <a:gd name="T40" fmla="*/ 64 w 64"/>
                <a:gd name="T41" fmla="*/ 97 h 106"/>
                <a:gd name="T42" fmla="*/ 64 w 64"/>
                <a:gd name="T43" fmla="*/ 9 h 106"/>
                <a:gd name="T44" fmla="*/ 55 w 64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106">
                  <a:moveTo>
                    <a:pt x="55" y="103"/>
                  </a:moveTo>
                  <a:cubicBezTo>
                    <a:pt x="9" y="103"/>
                    <a:pt x="9" y="103"/>
                    <a:pt x="9" y="103"/>
                  </a:cubicBezTo>
                  <a:cubicBezTo>
                    <a:pt x="6" y="103"/>
                    <a:pt x="3" y="100"/>
                    <a:pt x="3" y="97"/>
                  </a:cubicBezTo>
                  <a:cubicBezTo>
                    <a:pt x="3" y="94"/>
                    <a:pt x="3" y="94"/>
                    <a:pt x="3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1" y="100"/>
                    <a:pt x="58" y="103"/>
                    <a:pt x="55" y="103"/>
                  </a:cubicBezTo>
                  <a:moveTo>
                    <a:pt x="9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8" y="3"/>
                    <a:pt x="61" y="6"/>
                    <a:pt x="61" y="9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moveTo>
                    <a:pt x="55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2"/>
                    <a:pt x="4" y="106"/>
                    <a:pt x="9" y="106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60" y="106"/>
                    <a:pt x="64" y="102"/>
                    <a:pt x="64" y="97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69">
              <a:extLst>
                <a:ext uri="{FF2B5EF4-FFF2-40B4-BE49-F238E27FC236}">
                  <a16:creationId xmlns:a16="http://schemas.microsoft.com/office/drawing/2014/main" id="{DB6776BA-D211-4073-80E8-8DE6CC20D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" y="1263"/>
              <a:ext cx="12" cy="15"/>
            </a:xfrm>
            <a:custGeom>
              <a:avLst/>
              <a:gdLst>
                <a:gd name="T0" fmla="*/ 1 w 5"/>
                <a:gd name="T1" fmla="*/ 3 h 6"/>
                <a:gd name="T2" fmla="*/ 2 w 5"/>
                <a:gd name="T3" fmla="*/ 5 h 6"/>
                <a:gd name="T4" fmla="*/ 4 w 5"/>
                <a:gd name="T5" fmla="*/ 6 h 6"/>
                <a:gd name="T6" fmla="*/ 5 w 5"/>
                <a:gd name="T7" fmla="*/ 5 h 6"/>
                <a:gd name="T8" fmla="*/ 1 w 5"/>
                <a:gd name="T9" fmla="*/ 0 h 6"/>
                <a:gd name="T10" fmla="*/ 0 w 5"/>
                <a:gd name="T11" fmla="*/ 2 h 6"/>
                <a:gd name="T12" fmla="*/ 1 w 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1" y="3"/>
                  </a:move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2"/>
                    <a:pt x="3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70">
              <a:extLst>
                <a:ext uri="{FF2B5EF4-FFF2-40B4-BE49-F238E27FC236}">
                  <a16:creationId xmlns:a16="http://schemas.microsoft.com/office/drawing/2014/main" id="{80E97756-8F6C-4B89-90EA-A4ED06489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" y="1263"/>
              <a:ext cx="39" cy="8"/>
            </a:xfrm>
            <a:custGeom>
              <a:avLst/>
              <a:gdLst>
                <a:gd name="T0" fmla="*/ 2 w 16"/>
                <a:gd name="T1" fmla="*/ 3 h 3"/>
                <a:gd name="T2" fmla="*/ 14 w 16"/>
                <a:gd name="T3" fmla="*/ 3 h 3"/>
                <a:gd name="T4" fmla="*/ 16 w 16"/>
                <a:gd name="T5" fmla="*/ 2 h 3"/>
                <a:gd name="T6" fmla="*/ 14 w 16"/>
                <a:gd name="T7" fmla="*/ 0 h 3"/>
                <a:gd name="T8" fmla="*/ 2 w 16"/>
                <a:gd name="T9" fmla="*/ 0 h 3"/>
                <a:gd name="T10" fmla="*/ 0 w 16"/>
                <a:gd name="T11" fmla="*/ 2 h 3"/>
                <a:gd name="T12" fmla="*/ 2 w 1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">
                  <a:moveTo>
                    <a:pt x="2" y="3"/>
                  </a:move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173">
            <a:extLst>
              <a:ext uri="{FF2B5EF4-FFF2-40B4-BE49-F238E27FC236}">
                <a16:creationId xmlns:a16="http://schemas.microsoft.com/office/drawing/2014/main" id="{98F32AFD-FEC1-41FF-993E-6277892179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3701" y="1556662"/>
            <a:ext cx="841375" cy="841375"/>
            <a:chOff x="373" y="1167"/>
            <a:chExt cx="530" cy="530"/>
          </a:xfrm>
        </p:grpSpPr>
        <p:sp>
          <p:nvSpPr>
            <p:cNvPr id="184" name="AutoShape 172">
              <a:extLst>
                <a:ext uri="{FF2B5EF4-FFF2-40B4-BE49-F238E27FC236}">
                  <a16:creationId xmlns:a16="http://schemas.microsoft.com/office/drawing/2014/main" id="{C00154B4-7EC7-4624-8839-2697833F05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3" y="11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74">
              <a:extLst>
                <a:ext uri="{FF2B5EF4-FFF2-40B4-BE49-F238E27FC236}">
                  <a16:creationId xmlns:a16="http://schemas.microsoft.com/office/drawing/2014/main" id="{9DDCA75B-A262-403E-9931-CAE013041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" y="1167"/>
              <a:ext cx="532" cy="532"/>
            </a:xfrm>
            <a:custGeom>
              <a:avLst/>
              <a:gdLst>
                <a:gd name="T0" fmla="*/ 208 w 208"/>
                <a:gd name="T1" fmla="*/ 105 h 208"/>
                <a:gd name="T2" fmla="*/ 103 w 208"/>
                <a:gd name="T3" fmla="*/ 208 h 208"/>
                <a:gd name="T4" fmla="*/ 0 w 208"/>
                <a:gd name="T5" fmla="*/ 103 h 208"/>
                <a:gd name="T6" fmla="*/ 105 w 208"/>
                <a:gd name="T7" fmla="*/ 0 h 208"/>
                <a:gd name="T8" fmla="*/ 208 w 208"/>
                <a:gd name="T9" fmla="*/ 10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208">
                  <a:moveTo>
                    <a:pt x="208" y="105"/>
                  </a:moveTo>
                  <a:cubicBezTo>
                    <a:pt x="207" y="162"/>
                    <a:pt x="161" y="208"/>
                    <a:pt x="103" y="208"/>
                  </a:cubicBezTo>
                  <a:cubicBezTo>
                    <a:pt x="46" y="207"/>
                    <a:pt x="0" y="161"/>
                    <a:pt x="0" y="103"/>
                  </a:cubicBezTo>
                  <a:cubicBezTo>
                    <a:pt x="1" y="46"/>
                    <a:pt x="47" y="0"/>
                    <a:pt x="105" y="0"/>
                  </a:cubicBezTo>
                  <a:cubicBezTo>
                    <a:pt x="162" y="1"/>
                    <a:pt x="208" y="47"/>
                    <a:pt x="208" y="10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75">
              <a:extLst>
                <a:ext uri="{FF2B5EF4-FFF2-40B4-BE49-F238E27FC236}">
                  <a16:creationId xmlns:a16="http://schemas.microsoft.com/office/drawing/2014/main" id="{E7FE94BA-7786-43CE-B698-AADEED0C02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" y="11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97 w 194"/>
                <a:gd name="T3" fmla="*/ 5 h 194"/>
                <a:gd name="T4" fmla="*/ 97 w 194"/>
                <a:gd name="T5" fmla="*/ 5 h 194"/>
                <a:gd name="T6" fmla="*/ 189 w 194"/>
                <a:gd name="T7" fmla="*/ 97 h 194"/>
                <a:gd name="T8" fmla="*/ 97 w 194"/>
                <a:gd name="T9" fmla="*/ 189 h 194"/>
                <a:gd name="T10" fmla="*/ 97 w 194"/>
                <a:gd name="T11" fmla="*/ 189 h 194"/>
                <a:gd name="T12" fmla="*/ 5 w 194"/>
                <a:gd name="T13" fmla="*/ 97 h 194"/>
                <a:gd name="T14" fmla="*/ 97 w 194"/>
                <a:gd name="T15" fmla="*/ 5 h 194"/>
                <a:gd name="T16" fmla="*/ 97 w 194"/>
                <a:gd name="T17" fmla="*/ 0 h 194"/>
                <a:gd name="T18" fmla="*/ 0 w 194"/>
                <a:gd name="T19" fmla="*/ 96 h 194"/>
                <a:gd name="T20" fmla="*/ 96 w 194"/>
                <a:gd name="T21" fmla="*/ 194 h 194"/>
                <a:gd name="T22" fmla="*/ 97 w 194"/>
                <a:gd name="T23" fmla="*/ 194 h 194"/>
                <a:gd name="T24" fmla="*/ 194 w 194"/>
                <a:gd name="T25" fmla="*/ 98 h 194"/>
                <a:gd name="T26" fmla="*/ 98 w 194"/>
                <a:gd name="T27" fmla="*/ 0 h 194"/>
                <a:gd name="T28" fmla="*/ 97 w 194"/>
                <a:gd name="T2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148" y="5"/>
                    <a:pt x="189" y="47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46" y="189"/>
                    <a:pt x="5" y="147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1" y="43"/>
                    <a:pt x="0" y="96"/>
                  </a:cubicBezTo>
                  <a:cubicBezTo>
                    <a:pt x="0" y="150"/>
                    <a:pt x="43" y="193"/>
                    <a:pt x="96" y="194"/>
                  </a:cubicBezTo>
                  <a:cubicBezTo>
                    <a:pt x="97" y="194"/>
                    <a:pt x="97" y="194"/>
                    <a:pt x="97" y="194"/>
                  </a:cubicBezTo>
                  <a:cubicBezTo>
                    <a:pt x="150" y="194"/>
                    <a:pt x="193" y="151"/>
                    <a:pt x="194" y="98"/>
                  </a:cubicBezTo>
                  <a:cubicBezTo>
                    <a:pt x="194" y="44"/>
                    <a:pt x="151" y="1"/>
                    <a:pt x="98" y="0"/>
                  </a:cubicBezTo>
                  <a:cubicBezTo>
                    <a:pt x="97" y="0"/>
                    <a:pt x="97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76">
              <a:extLst>
                <a:ext uri="{FF2B5EF4-FFF2-40B4-BE49-F238E27FC236}">
                  <a16:creationId xmlns:a16="http://schemas.microsoft.com/office/drawing/2014/main" id="{F07D72D5-8CB9-4FF1-A104-689CC9D2A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328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77">
              <a:extLst>
                <a:ext uri="{FF2B5EF4-FFF2-40B4-BE49-F238E27FC236}">
                  <a16:creationId xmlns:a16="http://schemas.microsoft.com/office/drawing/2014/main" id="{4BC012BB-3FC3-4824-A4ED-C2FC2114E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1328"/>
              <a:ext cx="8" cy="8"/>
            </a:xfrm>
            <a:custGeom>
              <a:avLst/>
              <a:gdLst>
                <a:gd name="T0" fmla="*/ 3 w 3"/>
                <a:gd name="T1" fmla="*/ 1 h 3"/>
                <a:gd name="T2" fmla="*/ 2 w 3"/>
                <a:gd name="T3" fmla="*/ 1 h 3"/>
                <a:gd name="T4" fmla="*/ 2 w 3"/>
                <a:gd name="T5" fmla="*/ 1 h 3"/>
                <a:gd name="T6" fmla="*/ 2 w 3"/>
                <a:gd name="T7" fmla="*/ 1 h 3"/>
                <a:gd name="T8" fmla="*/ 1 w 3"/>
                <a:gd name="T9" fmla="*/ 1 h 3"/>
                <a:gd name="T10" fmla="*/ 1 w 3"/>
                <a:gd name="T11" fmla="*/ 1 h 3"/>
                <a:gd name="T12" fmla="*/ 1 w 3"/>
                <a:gd name="T13" fmla="*/ 1 h 3"/>
                <a:gd name="T14" fmla="*/ 0 w 3"/>
                <a:gd name="T15" fmla="*/ 2 h 3"/>
                <a:gd name="T16" fmla="*/ 1 w 3"/>
                <a:gd name="T17" fmla="*/ 3 h 3"/>
                <a:gd name="T18" fmla="*/ 2 w 3"/>
                <a:gd name="T19" fmla="*/ 3 h 3"/>
                <a:gd name="T20" fmla="*/ 3 w 3"/>
                <a:gd name="T21" fmla="*/ 3 h 3"/>
                <a:gd name="T22" fmla="*/ 3 w 3"/>
                <a:gd name="T23" fmla="*/ 2 h 3"/>
                <a:gd name="T24" fmla="*/ 3 w 3"/>
                <a:gd name="T25" fmla="*/ 1 h 3"/>
                <a:gd name="T26" fmla="*/ 3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78">
              <a:extLst>
                <a:ext uri="{FF2B5EF4-FFF2-40B4-BE49-F238E27FC236}">
                  <a16:creationId xmlns:a16="http://schemas.microsoft.com/office/drawing/2014/main" id="{1AAE89A7-992E-49CB-87B0-CF6BB9F64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" y="1379"/>
              <a:ext cx="23" cy="8"/>
            </a:xfrm>
            <a:custGeom>
              <a:avLst/>
              <a:gdLst>
                <a:gd name="T0" fmla="*/ 7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7 w 9"/>
                <a:gd name="T9" fmla="*/ 3 h 3"/>
                <a:gd name="T10" fmla="*/ 9 w 9"/>
                <a:gd name="T11" fmla="*/ 1 h 3"/>
                <a:gd name="T12" fmla="*/ 7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79">
              <a:extLst>
                <a:ext uri="{FF2B5EF4-FFF2-40B4-BE49-F238E27FC236}">
                  <a16:creationId xmlns:a16="http://schemas.microsoft.com/office/drawing/2014/main" id="{22046B3C-2B18-4DFF-A021-CCCDACB8D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3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80">
              <a:extLst>
                <a:ext uri="{FF2B5EF4-FFF2-40B4-BE49-F238E27FC236}">
                  <a16:creationId xmlns:a16="http://schemas.microsoft.com/office/drawing/2014/main" id="{D03608EC-EBBB-4BBD-92BD-1DA4012BE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1379"/>
              <a:ext cx="8" cy="8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1 w 3"/>
                <a:gd name="T13" fmla="*/ 0 h 3"/>
                <a:gd name="T14" fmla="*/ 0 w 3"/>
                <a:gd name="T15" fmla="*/ 1 h 3"/>
                <a:gd name="T16" fmla="*/ 1 w 3"/>
                <a:gd name="T17" fmla="*/ 2 h 3"/>
                <a:gd name="T18" fmla="*/ 2 w 3"/>
                <a:gd name="T19" fmla="*/ 3 h 3"/>
                <a:gd name="T20" fmla="*/ 2 w 3"/>
                <a:gd name="T21" fmla="*/ 3 h 3"/>
                <a:gd name="T22" fmla="*/ 3 w 3"/>
                <a:gd name="T23" fmla="*/ 2 h 3"/>
                <a:gd name="T24" fmla="*/ 3 w 3"/>
                <a:gd name="T25" fmla="*/ 2 h 3"/>
                <a:gd name="T26" fmla="*/ 3 w 3"/>
                <a:gd name="T27" fmla="*/ 1 h 3"/>
                <a:gd name="T28" fmla="*/ 3 w 3"/>
                <a:gd name="T29" fmla="*/ 0 h 3"/>
                <a:gd name="T30" fmla="*/ 3 w 3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81">
              <a:extLst>
                <a:ext uri="{FF2B5EF4-FFF2-40B4-BE49-F238E27FC236}">
                  <a16:creationId xmlns:a16="http://schemas.microsoft.com/office/drawing/2014/main" id="{FACA6890-2C2F-44A5-9A97-6BC1CE5E5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" y="1479"/>
              <a:ext cx="23" cy="8"/>
            </a:xfrm>
            <a:custGeom>
              <a:avLst/>
              <a:gdLst>
                <a:gd name="T0" fmla="*/ 7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7 w 9"/>
                <a:gd name="T9" fmla="*/ 3 h 3"/>
                <a:gd name="T10" fmla="*/ 9 w 9"/>
                <a:gd name="T11" fmla="*/ 2 h 3"/>
                <a:gd name="T12" fmla="*/ 7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9" y="2"/>
                    <a:pt x="9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82">
              <a:extLst>
                <a:ext uri="{FF2B5EF4-FFF2-40B4-BE49-F238E27FC236}">
                  <a16:creationId xmlns:a16="http://schemas.microsoft.com/office/drawing/2014/main" id="{FBD6B9E2-A8F7-4D46-9B9F-9CA63232D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4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83">
              <a:extLst>
                <a:ext uri="{FF2B5EF4-FFF2-40B4-BE49-F238E27FC236}">
                  <a16:creationId xmlns:a16="http://schemas.microsoft.com/office/drawing/2014/main" id="{54358136-512E-4D0E-A9AA-32C64E008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1479"/>
              <a:ext cx="8" cy="8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3 w 3"/>
                <a:gd name="T5" fmla="*/ 1 h 3"/>
                <a:gd name="T6" fmla="*/ 2 w 3"/>
                <a:gd name="T7" fmla="*/ 0 h 3"/>
                <a:gd name="T8" fmla="*/ 1 w 3"/>
                <a:gd name="T9" fmla="*/ 0 h 3"/>
                <a:gd name="T10" fmla="*/ 1 w 3"/>
                <a:gd name="T11" fmla="*/ 0 h 3"/>
                <a:gd name="T12" fmla="*/ 1 w 3"/>
                <a:gd name="T13" fmla="*/ 1 h 3"/>
                <a:gd name="T14" fmla="*/ 1 w 3"/>
                <a:gd name="T15" fmla="*/ 1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2 h 3"/>
                <a:gd name="T22" fmla="*/ 0 w 3"/>
                <a:gd name="T23" fmla="*/ 2 h 3"/>
                <a:gd name="T24" fmla="*/ 1 w 3"/>
                <a:gd name="T25" fmla="*/ 3 h 3"/>
                <a:gd name="T26" fmla="*/ 1 w 3"/>
                <a:gd name="T27" fmla="*/ 3 h 3"/>
                <a:gd name="T28" fmla="*/ 2 w 3"/>
                <a:gd name="T29" fmla="*/ 3 h 3"/>
                <a:gd name="T30" fmla="*/ 2 w 3"/>
                <a:gd name="T31" fmla="*/ 3 h 3"/>
                <a:gd name="T32" fmla="*/ 3 w 3"/>
                <a:gd name="T33" fmla="*/ 3 h 3"/>
                <a:gd name="T34" fmla="*/ 3 w 3"/>
                <a:gd name="T35" fmla="*/ 2 h 3"/>
                <a:gd name="T36" fmla="*/ 3 w 3"/>
                <a:gd name="T37" fmla="*/ 2 h 3"/>
                <a:gd name="T38" fmla="*/ 3 w 3"/>
                <a:gd name="T39" fmla="*/ 1 h 3"/>
                <a:gd name="T40" fmla="*/ 3 w 3"/>
                <a:gd name="T4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84">
              <a:extLst>
                <a:ext uri="{FF2B5EF4-FFF2-40B4-BE49-F238E27FC236}">
                  <a16:creationId xmlns:a16="http://schemas.microsoft.com/office/drawing/2014/main" id="{EDF2407A-3480-457A-8D52-13BD727DA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" y="1431"/>
              <a:ext cx="23" cy="5"/>
            </a:xfrm>
            <a:custGeom>
              <a:avLst/>
              <a:gdLst>
                <a:gd name="T0" fmla="*/ 7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7 w 9"/>
                <a:gd name="T9" fmla="*/ 2 h 2"/>
                <a:gd name="T10" fmla="*/ 9 w 9"/>
                <a:gd name="T11" fmla="*/ 1 h 2"/>
                <a:gd name="T12" fmla="*/ 7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85">
              <a:extLst>
                <a:ext uri="{FF2B5EF4-FFF2-40B4-BE49-F238E27FC236}">
                  <a16:creationId xmlns:a16="http://schemas.microsoft.com/office/drawing/2014/main" id="{7E14074C-5020-4D8B-8A45-FF0018AB9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" y="1431"/>
              <a:ext cx="23" cy="5"/>
            </a:xfrm>
            <a:custGeom>
              <a:avLst/>
              <a:gdLst>
                <a:gd name="T0" fmla="*/ 7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7 w 9"/>
                <a:gd name="T9" fmla="*/ 2 h 2"/>
                <a:gd name="T10" fmla="*/ 9 w 9"/>
                <a:gd name="T11" fmla="*/ 1 h 2"/>
                <a:gd name="T12" fmla="*/ 7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86">
              <a:extLst>
                <a:ext uri="{FF2B5EF4-FFF2-40B4-BE49-F238E27FC236}">
                  <a16:creationId xmlns:a16="http://schemas.microsoft.com/office/drawing/2014/main" id="{4E409775-3845-4219-AE00-21CDCBA0F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431"/>
              <a:ext cx="23" cy="5"/>
            </a:xfrm>
            <a:custGeom>
              <a:avLst/>
              <a:gdLst>
                <a:gd name="T0" fmla="*/ 8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87">
              <a:extLst>
                <a:ext uri="{FF2B5EF4-FFF2-40B4-BE49-F238E27FC236}">
                  <a16:creationId xmlns:a16="http://schemas.microsoft.com/office/drawing/2014/main" id="{5913B686-A98F-4EB8-B240-06D8B1A0C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1428"/>
              <a:ext cx="8" cy="8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2 w 3"/>
                <a:gd name="T13" fmla="*/ 3 h 3"/>
                <a:gd name="T14" fmla="*/ 2 w 3"/>
                <a:gd name="T15" fmla="*/ 3 h 3"/>
                <a:gd name="T16" fmla="*/ 3 w 3"/>
                <a:gd name="T17" fmla="*/ 3 h 3"/>
                <a:gd name="T18" fmla="*/ 3 w 3"/>
                <a:gd name="T19" fmla="*/ 2 h 3"/>
                <a:gd name="T20" fmla="*/ 3 w 3"/>
                <a:gd name="T21" fmla="*/ 1 h 3"/>
                <a:gd name="T22" fmla="*/ 2 w 3"/>
                <a:gd name="T2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2" y="0"/>
                    <a:pt x="2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88">
              <a:extLst>
                <a:ext uri="{FF2B5EF4-FFF2-40B4-BE49-F238E27FC236}">
                  <a16:creationId xmlns:a16="http://schemas.microsoft.com/office/drawing/2014/main" id="{3E484585-B8A1-4E8E-AB50-10C680361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1428"/>
              <a:ext cx="7" cy="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1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1 w 3"/>
                <a:gd name="T17" fmla="*/ 3 h 3"/>
                <a:gd name="T18" fmla="*/ 2 w 3"/>
                <a:gd name="T19" fmla="*/ 3 h 3"/>
                <a:gd name="T20" fmla="*/ 3 w 3"/>
                <a:gd name="T21" fmla="*/ 3 h 3"/>
                <a:gd name="T22" fmla="*/ 3 w 3"/>
                <a:gd name="T23" fmla="*/ 2 h 3"/>
                <a:gd name="T24" fmla="*/ 3 w 3"/>
                <a:gd name="T25" fmla="*/ 1 h 3"/>
                <a:gd name="T26" fmla="*/ 1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0"/>
                    <a:pt x="1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89">
              <a:extLst>
                <a:ext uri="{FF2B5EF4-FFF2-40B4-BE49-F238E27FC236}">
                  <a16:creationId xmlns:a16="http://schemas.microsoft.com/office/drawing/2014/main" id="{35DA56D8-41EA-4739-8026-9B882AD05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1530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2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90">
              <a:extLst>
                <a:ext uri="{FF2B5EF4-FFF2-40B4-BE49-F238E27FC236}">
                  <a16:creationId xmlns:a16="http://schemas.microsoft.com/office/drawing/2014/main" id="{C0428E47-0797-4E75-88D7-C7FF32A03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1530"/>
              <a:ext cx="8" cy="8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1 w 3"/>
                <a:gd name="T7" fmla="*/ 0 h 3"/>
                <a:gd name="T8" fmla="*/ 0 w 3"/>
                <a:gd name="T9" fmla="*/ 1 h 3"/>
                <a:gd name="T10" fmla="*/ 1 w 3"/>
                <a:gd name="T11" fmla="*/ 2 h 3"/>
                <a:gd name="T12" fmla="*/ 1 w 3"/>
                <a:gd name="T13" fmla="*/ 2 h 3"/>
                <a:gd name="T14" fmla="*/ 2 w 3"/>
                <a:gd name="T15" fmla="*/ 3 h 3"/>
                <a:gd name="T16" fmla="*/ 2 w 3"/>
                <a:gd name="T17" fmla="*/ 2 h 3"/>
                <a:gd name="T18" fmla="*/ 3 w 3"/>
                <a:gd name="T19" fmla="*/ 2 h 3"/>
                <a:gd name="T20" fmla="*/ 3 w 3"/>
                <a:gd name="T21" fmla="*/ 1 h 3"/>
                <a:gd name="T22" fmla="*/ 3 w 3"/>
                <a:gd name="T23" fmla="*/ 0 h 3"/>
                <a:gd name="T24" fmla="*/ 3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91">
              <a:extLst>
                <a:ext uri="{FF2B5EF4-FFF2-40B4-BE49-F238E27FC236}">
                  <a16:creationId xmlns:a16="http://schemas.microsoft.com/office/drawing/2014/main" id="{4595C028-258B-4C3B-B316-6D5E420B6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1328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92">
              <a:extLst>
                <a:ext uri="{FF2B5EF4-FFF2-40B4-BE49-F238E27FC236}">
                  <a16:creationId xmlns:a16="http://schemas.microsoft.com/office/drawing/2014/main" id="{0400CD4C-4FBB-4D0A-9565-40EE409CC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" y="1328"/>
              <a:ext cx="7" cy="8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1 w 3"/>
                <a:gd name="T5" fmla="*/ 1 h 3"/>
                <a:gd name="T6" fmla="*/ 1 w 3"/>
                <a:gd name="T7" fmla="*/ 1 h 3"/>
                <a:gd name="T8" fmla="*/ 1 w 3"/>
                <a:gd name="T9" fmla="*/ 1 h 3"/>
                <a:gd name="T10" fmla="*/ 0 w 3"/>
                <a:gd name="T11" fmla="*/ 1 h 3"/>
                <a:gd name="T12" fmla="*/ 0 w 3"/>
                <a:gd name="T13" fmla="*/ 1 h 3"/>
                <a:gd name="T14" fmla="*/ 0 w 3"/>
                <a:gd name="T15" fmla="*/ 2 h 3"/>
                <a:gd name="T16" fmla="*/ 0 w 3"/>
                <a:gd name="T17" fmla="*/ 3 h 3"/>
                <a:gd name="T18" fmla="*/ 1 w 3"/>
                <a:gd name="T19" fmla="*/ 3 h 3"/>
                <a:gd name="T20" fmla="*/ 2 w 3"/>
                <a:gd name="T21" fmla="*/ 3 h 3"/>
                <a:gd name="T22" fmla="*/ 3 w 3"/>
                <a:gd name="T23" fmla="*/ 2 h 3"/>
                <a:gd name="T24" fmla="*/ 2 w 3"/>
                <a:gd name="T25" fmla="*/ 1 h 3"/>
                <a:gd name="T26" fmla="*/ 2 w 3"/>
                <a:gd name="T2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93">
              <a:extLst>
                <a:ext uri="{FF2B5EF4-FFF2-40B4-BE49-F238E27FC236}">
                  <a16:creationId xmlns:a16="http://schemas.microsoft.com/office/drawing/2014/main" id="{14D65B4E-5895-46ED-99D9-D13D053A5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" y="13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2 w 9"/>
                <a:gd name="T3" fmla="*/ 0 h 3"/>
                <a:gd name="T4" fmla="*/ 0 w 9"/>
                <a:gd name="T5" fmla="*/ 1 h 3"/>
                <a:gd name="T6" fmla="*/ 2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94">
              <a:extLst>
                <a:ext uri="{FF2B5EF4-FFF2-40B4-BE49-F238E27FC236}">
                  <a16:creationId xmlns:a16="http://schemas.microsoft.com/office/drawing/2014/main" id="{BF30D280-E06D-4CB9-9788-A1AE29C0F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13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95">
              <a:extLst>
                <a:ext uri="{FF2B5EF4-FFF2-40B4-BE49-F238E27FC236}">
                  <a16:creationId xmlns:a16="http://schemas.microsoft.com/office/drawing/2014/main" id="{8877505C-0DAE-44EC-9BDA-A8CFDE06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" y="1379"/>
              <a:ext cx="7" cy="8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0 w 3"/>
                <a:gd name="T9" fmla="*/ 1 h 3"/>
                <a:gd name="T10" fmla="*/ 0 w 3"/>
                <a:gd name="T11" fmla="*/ 2 h 3"/>
                <a:gd name="T12" fmla="*/ 0 w 3"/>
                <a:gd name="T13" fmla="*/ 2 h 3"/>
                <a:gd name="T14" fmla="*/ 1 w 3"/>
                <a:gd name="T15" fmla="*/ 3 h 3"/>
                <a:gd name="T16" fmla="*/ 2 w 3"/>
                <a:gd name="T17" fmla="*/ 2 h 3"/>
                <a:gd name="T18" fmla="*/ 2 w 3"/>
                <a:gd name="T19" fmla="*/ 2 h 3"/>
                <a:gd name="T20" fmla="*/ 3 w 3"/>
                <a:gd name="T21" fmla="*/ 1 h 3"/>
                <a:gd name="T22" fmla="*/ 2 w 3"/>
                <a:gd name="T23" fmla="*/ 0 h 3"/>
                <a:gd name="T24" fmla="*/ 1 w 3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96">
              <a:extLst>
                <a:ext uri="{FF2B5EF4-FFF2-40B4-BE49-F238E27FC236}">
                  <a16:creationId xmlns:a16="http://schemas.microsoft.com/office/drawing/2014/main" id="{AC9B6AB9-07FC-4A1C-A416-B12E99953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" y="14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2 w 9"/>
                <a:gd name="T3" fmla="*/ 0 h 3"/>
                <a:gd name="T4" fmla="*/ 0 w 9"/>
                <a:gd name="T5" fmla="*/ 2 h 3"/>
                <a:gd name="T6" fmla="*/ 2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97">
              <a:extLst>
                <a:ext uri="{FF2B5EF4-FFF2-40B4-BE49-F238E27FC236}">
                  <a16:creationId xmlns:a16="http://schemas.microsoft.com/office/drawing/2014/main" id="{1E11F4B7-DA06-4E01-822A-EA29B2A64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1479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2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2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98">
              <a:extLst>
                <a:ext uri="{FF2B5EF4-FFF2-40B4-BE49-F238E27FC236}">
                  <a16:creationId xmlns:a16="http://schemas.microsoft.com/office/drawing/2014/main" id="{494857A7-9CB0-403B-B8F2-E0A55F6AE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" y="1479"/>
              <a:ext cx="7" cy="8"/>
            </a:xfrm>
            <a:custGeom>
              <a:avLst/>
              <a:gdLst>
                <a:gd name="T0" fmla="*/ 2 w 3"/>
                <a:gd name="T1" fmla="*/ 1 h 3"/>
                <a:gd name="T2" fmla="*/ 2 w 3"/>
                <a:gd name="T3" fmla="*/ 1 h 3"/>
                <a:gd name="T4" fmla="*/ 2 w 3"/>
                <a:gd name="T5" fmla="*/ 1 h 3"/>
                <a:gd name="T6" fmla="*/ 2 w 3"/>
                <a:gd name="T7" fmla="*/ 0 h 3"/>
                <a:gd name="T8" fmla="*/ 2 w 3"/>
                <a:gd name="T9" fmla="*/ 0 h 3"/>
                <a:gd name="T10" fmla="*/ 1 w 3"/>
                <a:gd name="T11" fmla="*/ 0 h 3"/>
                <a:gd name="T12" fmla="*/ 0 w 3"/>
                <a:gd name="T13" fmla="*/ 1 h 3"/>
                <a:gd name="T14" fmla="*/ 0 w 3"/>
                <a:gd name="T15" fmla="*/ 1 h 3"/>
                <a:gd name="T16" fmla="*/ 0 w 3"/>
                <a:gd name="T17" fmla="*/ 1 h 3"/>
                <a:gd name="T18" fmla="*/ 0 w 3"/>
                <a:gd name="T19" fmla="*/ 1 h 3"/>
                <a:gd name="T20" fmla="*/ 0 w 3"/>
                <a:gd name="T21" fmla="*/ 2 h 3"/>
                <a:gd name="T22" fmla="*/ 0 w 3"/>
                <a:gd name="T23" fmla="*/ 2 h 3"/>
                <a:gd name="T24" fmla="*/ 0 w 3"/>
                <a:gd name="T25" fmla="*/ 3 h 3"/>
                <a:gd name="T26" fmla="*/ 1 w 3"/>
                <a:gd name="T27" fmla="*/ 3 h 3"/>
                <a:gd name="T28" fmla="*/ 1 w 3"/>
                <a:gd name="T29" fmla="*/ 3 h 3"/>
                <a:gd name="T30" fmla="*/ 2 w 3"/>
                <a:gd name="T31" fmla="*/ 3 h 3"/>
                <a:gd name="T32" fmla="*/ 2 w 3"/>
                <a:gd name="T33" fmla="*/ 3 h 3"/>
                <a:gd name="T34" fmla="*/ 2 w 3"/>
                <a:gd name="T35" fmla="*/ 2 h 3"/>
                <a:gd name="T36" fmla="*/ 3 w 3"/>
                <a:gd name="T37" fmla="*/ 2 h 3"/>
                <a:gd name="T38" fmla="*/ 3 w 3"/>
                <a:gd name="T39" fmla="*/ 1 h 3"/>
                <a:gd name="T40" fmla="*/ 2 w 3"/>
                <a:gd name="T4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99">
              <a:extLst>
                <a:ext uri="{FF2B5EF4-FFF2-40B4-BE49-F238E27FC236}">
                  <a16:creationId xmlns:a16="http://schemas.microsoft.com/office/drawing/2014/main" id="{E4171285-C1BD-45C7-849B-054A35281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" y="1431"/>
              <a:ext cx="23" cy="5"/>
            </a:xfrm>
            <a:custGeom>
              <a:avLst/>
              <a:gdLst>
                <a:gd name="T0" fmla="*/ 8 w 9"/>
                <a:gd name="T1" fmla="*/ 0 h 2"/>
                <a:gd name="T2" fmla="*/ 2 w 9"/>
                <a:gd name="T3" fmla="*/ 0 h 2"/>
                <a:gd name="T4" fmla="*/ 0 w 9"/>
                <a:gd name="T5" fmla="*/ 1 h 2"/>
                <a:gd name="T6" fmla="*/ 2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200">
              <a:extLst>
                <a:ext uri="{FF2B5EF4-FFF2-40B4-BE49-F238E27FC236}">
                  <a16:creationId xmlns:a16="http://schemas.microsoft.com/office/drawing/2014/main" id="{EFD12132-6686-4E06-926F-A5628AC3F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" y="1431"/>
              <a:ext cx="23" cy="5"/>
            </a:xfrm>
            <a:custGeom>
              <a:avLst/>
              <a:gdLst>
                <a:gd name="T0" fmla="*/ 8 w 9"/>
                <a:gd name="T1" fmla="*/ 0 h 2"/>
                <a:gd name="T2" fmla="*/ 2 w 9"/>
                <a:gd name="T3" fmla="*/ 0 h 2"/>
                <a:gd name="T4" fmla="*/ 0 w 9"/>
                <a:gd name="T5" fmla="*/ 1 h 2"/>
                <a:gd name="T6" fmla="*/ 2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201">
              <a:extLst>
                <a:ext uri="{FF2B5EF4-FFF2-40B4-BE49-F238E27FC236}">
                  <a16:creationId xmlns:a16="http://schemas.microsoft.com/office/drawing/2014/main" id="{6D6D9095-BFF9-4151-8FAD-8A5D679AC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1431"/>
              <a:ext cx="23" cy="5"/>
            </a:xfrm>
            <a:custGeom>
              <a:avLst/>
              <a:gdLst>
                <a:gd name="T0" fmla="*/ 8 w 9"/>
                <a:gd name="T1" fmla="*/ 0 h 2"/>
                <a:gd name="T2" fmla="*/ 1 w 9"/>
                <a:gd name="T3" fmla="*/ 0 h 2"/>
                <a:gd name="T4" fmla="*/ 0 w 9"/>
                <a:gd name="T5" fmla="*/ 1 h 2"/>
                <a:gd name="T6" fmla="*/ 1 w 9"/>
                <a:gd name="T7" fmla="*/ 2 h 2"/>
                <a:gd name="T8" fmla="*/ 8 w 9"/>
                <a:gd name="T9" fmla="*/ 2 h 2"/>
                <a:gd name="T10" fmla="*/ 9 w 9"/>
                <a:gd name="T11" fmla="*/ 1 h 2"/>
                <a:gd name="T12" fmla="*/ 8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02">
              <a:extLst>
                <a:ext uri="{FF2B5EF4-FFF2-40B4-BE49-F238E27FC236}">
                  <a16:creationId xmlns:a16="http://schemas.microsoft.com/office/drawing/2014/main" id="{07E25D75-CF8A-4202-B57A-8305F40E0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" y="1428"/>
              <a:ext cx="7" cy="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1 h 3"/>
                <a:gd name="T6" fmla="*/ 0 w 3"/>
                <a:gd name="T7" fmla="*/ 1 h 3"/>
                <a:gd name="T8" fmla="*/ 0 w 3"/>
                <a:gd name="T9" fmla="*/ 1 h 3"/>
                <a:gd name="T10" fmla="*/ 0 w 3"/>
                <a:gd name="T11" fmla="*/ 1 h 3"/>
                <a:gd name="T12" fmla="*/ 0 w 3"/>
                <a:gd name="T13" fmla="*/ 2 h 3"/>
                <a:gd name="T14" fmla="*/ 0 w 3"/>
                <a:gd name="T15" fmla="*/ 2 h 3"/>
                <a:gd name="T16" fmla="*/ 0 w 3"/>
                <a:gd name="T17" fmla="*/ 3 h 3"/>
                <a:gd name="T18" fmla="*/ 0 w 3"/>
                <a:gd name="T19" fmla="*/ 3 h 3"/>
                <a:gd name="T20" fmla="*/ 1 w 3"/>
                <a:gd name="T21" fmla="*/ 3 h 3"/>
                <a:gd name="T22" fmla="*/ 1 w 3"/>
                <a:gd name="T23" fmla="*/ 3 h 3"/>
                <a:gd name="T24" fmla="*/ 2 w 3"/>
                <a:gd name="T25" fmla="*/ 3 h 3"/>
                <a:gd name="T26" fmla="*/ 2 w 3"/>
                <a:gd name="T27" fmla="*/ 3 h 3"/>
                <a:gd name="T28" fmla="*/ 2 w 3"/>
                <a:gd name="T29" fmla="*/ 3 h 3"/>
                <a:gd name="T30" fmla="*/ 3 w 3"/>
                <a:gd name="T31" fmla="*/ 2 h 3"/>
                <a:gd name="T32" fmla="*/ 2 w 3"/>
                <a:gd name="T33" fmla="*/ 1 h 3"/>
                <a:gd name="T34" fmla="*/ 1 w 3"/>
                <a:gd name="T3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03">
              <a:extLst>
                <a:ext uri="{FF2B5EF4-FFF2-40B4-BE49-F238E27FC236}">
                  <a16:creationId xmlns:a16="http://schemas.microsoft.com/office/drawing/2014/main" id="{2352A10B-1115-4D3A-B957-190548259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" y="1428"/>
              <a:ext cx="8" cy="8"/>
            </a:xfrm>
            <a:custGeom>
              <a:avLst/>
              <a:gdLst>
                <a:gd name="T0" fmla="*/ 0 w 3"/>
                <a:gd name="T1" fmla="*/ 1 h 3"/>
                <a:gd name="T2" fmla="*/ 0 w 3"/>
                <a:gd name="T3" fmla="*/ 1 h 3"/>
                <a:gd name="T4" fmla="*/ 0 w 3"/>
                <a:gd name="T5" fmla="*/ 1 h 3"/>
                <a:gd name="T6" fmla="*/ 0 w 3"/>
                <a:gd name="T7" fmla="*/ 2 h 3"/>
                <a:gd name="T8" fmla="*/ 0 w 3"/>
                <a:gd name="T9" fmla="*/ 2 h 3"/>
                <a:gd name="T10" fmla="*/ 0 w 3"/>
                <a:gd name="T11" fmla="*/ 3 h 3"/>
                <a:gd name="T12" fmla="*/ 0 w 3"/>
                <a:gd name="T13" fmla="*/ 3 h 3"/>
                <a:gd name="T14" fmla="*/ 1 w 3"/>
                <a:gd name="T15" fmla="*/ 3 h 3"/>
                <a:gd name="T16" fmla="*/ 1 w 3"/>
                <a:gd name="T17" fmla="*/ 3 h 3"/>
                <a:gd name="T18" fmla="*/ 2 w 3"/>
                <a:gd name="T19" fmla="*/ 3 h 3"/>
                <a:gd name="T20" fmla="*/ 2 w 3"/>
                <a:gd name="T21" fmla="*/ 3 h 3"/>
                <a:gd name="T22" fmla="*/ 3 w 3"/>
                <a:gd name="T23" fmla="*/ 3 h 3"/>
                <a:gd name="T24" fmla="*/ 3 w 3"/>
                <a:gd name="T25" fmla="*/ 2 h 3"/>
                <a:gd name="T26" fmla="*/ 2 w 3"/>
                <a:gd name="T27" fmla="*/ 1 h 3"/>
                <a:gd name="T28" fmla="*/ 0 w 3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04">
              <a:extLst>
                <a:ext uri="{FF2B5EF4-FFF2-40B4-BE49-F238E27FC236}">
                  <a16:creationId xmlns:a16="http://schemas.microsoft.com/office/drawing/2014/main" id="{BBB1F427-AC1E-4D83-840E-B3112F5E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1530"/>
              <a:ext cx="23" cy="8"/>
            </a:xfrm>
            <a:custGeom>
              <a:avLst/>
              <a:gdLst>
                <a:gd name="T0" fmla="*/ 8 w 9"/>
                <a:gd name="T1" fmla="*/ 0 h 3"/>
                <a:gd name="T2" fmla="*/ 1 w 9"/>
                <a:gd name="T3" fmla="*/ 0 h 3"/>
                <a:gd name="T4" fmla="*/ 0 w 9"/>
                <a:gd name="T5" fmla="*/ 1 h 3"/>
                <a:gd name="T6" fmla="*/ 1 w 9"/>
                <a:gd name="T7" fmla="*/ 3 h 3"/>
                <a:gd name="T8" fmla="*/ 8 w 9"/>
                <a:gd name="T9" fmla="*/ 3 h 3"/>
                <a:gd name="T10" fmla="*/ 9 w 9"/>
                <a:gd name="T11" fmla="*/ 1 h 3"/>
                <a:gd name="T12" fmla="*/ 8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205">
              <a:extLst>
                <a:ext uri="{FF2B5EF4-FFF2-40B4-BE49-F238E27FC236}">
                  <a16:creationId xmlns:a16="http://schemas.microsoft.com/office/drawing/2014/main" id="{37776C19-D479-4F77-A8EC-D18CAF046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" y="1530"/>
              <a:ext cx="7" cy="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  <a:gd name="T4" fmla="*/ 1 w 3"/>
                <a:gd name="T5" fmla="*/ 0 h 3"/>
                <a:gd name="T6" fmla="*/ 1 w 3"/>
                <a:gd name="T7" fmla="*/ 0 h 3"/>
                <a:gd name="T8" fmla="*/ 1 w 3"/>
                <a:gd name="T9" fmla="*/ 0 h 3"/>
                <a:gd name="T10" fmla="*/ 0 w 3"/>
                <a:gd name="T11" fmla="*/ 0 h 3"/>
                <a:gd name="T12" fmla="*/ 0 w 3"/>
                <a:gd name="T13" fmla="*/ 0 h 3"/>
                <a:gd name="T14" fmla="*/ 0 w 3"/>
                <a:gd name="T15" fmla="*/ 1 h 3"/>
                <a:gd name="T16" fmla="*/ 0 w 3"/>
                <a:gd name="T17" fmla="*/ 2 h 3"/>
                <a:gd name="T18" fmla="*/ 1 w 3"/>
                <a:gd name="T19" fmla="*/ 3 h 3"/>
                <a:gd name="T20" fmla="*/ 2 w 3"/>
                <a:gd name="T21" fmla="*/ 2 h 3"/>
                <a:gd name="T22" fmla="*/ 3 w 3"/>
                <a:gd name="T23" fmla="*/ 1 h 3"/>
                <a:gd name="T24" fmla="*/ 2 w 3"/>
                <a:gd name="T25" fmla="*/ 0 h 3"/>
                <a:gd name="T26" fmla="*/ 2 w 3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206">
              <a:extLst>
                <a:ext uri="{FF2B5EF4-FFF2-40B4-BE49-F238E27FC236}">
                  <a16:creationId xmlns:a16="http://schemas.microsoft.com/office/drawing/2014/main" id="{E6C63111-8C26-4BC5-8073-E950688A0C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" y="1354"/>
              <a:ext cx="108" cy="136"/>
            </a:xfrm>
            <a:custGeom>
              <a:avLst/>
              <a:gdLst>
                <a:gd name="T0" fmla="*/ 3 w 42"/>
                <a:gd name="T1" fmla="*/ 22 h 53"/>
                <a:gd name="T2" fmla="*/ 8 w 42"/>
                <a:gd name="T3" fmla="*/ 17 h 53"/>
                <a:gd name="T4" fmla="*/ 11 w 42"/>
                <a:gd name="T5" fmla="*/ 17 h 53"/>
                <a:gd name="T6" fmla="*/ 31 w 42"/>
                <a:gd name="T7" fmla="*/ 17 h 53"/>
                <a:gd name="T8" fmla="*/ 34 w 42"/>
                <a:gd name="T9" fmla="*/ 17 h 53"/>
                <a:gd name="T10" fmla="*/ 39 w 42"/>
                <a:gd name="T11" fmla="*/ 22 h 53"/>
                <a:gd name="T12" fmla="*/ 39 w 42"/>
                <a:gd name="T13" fmla="*/ 45 h 53"/>
                <a:gd name="T14" fmla="*/ 34 w 42"/>
                <a:gd name="T15" fmla="*/ 50 h 53"/>
                <a:gd name="T16" fmla="*/ 8 w 42"/>
                <a:gd name="T17" fmla="*/ 50 h 53"/>
                <a:gd name="T18" fmla="*/ 3 w 42"/>
                <a:gd name="T19" fmla="*/ 45 h 53"/>
                <a:gd name="T20" fmla="*/ 3 w 42"/>
                <a:gd name="T21" fmla="*/ 22 h 53"/>
                <a:gd name="T22" fmla="*/ 29 w 42"/>
                <a:gd name="T23" fmla="*/ 14 h 53"/>
                <a:gd name="T24" fmla="*/ 13 w 42"/>
                <a:gd name="T25" fmla="*/ 14 h 53"/>
                <a:gd name="T26" fmla="*/ 21 w 42"/>
                <a:gd name="T27" fmla="*/ 7 h 53"/>
                <a:gd name="T28" fmla="*/ 29 w 42"/>
                <a:gd name="T29" fmla="*/ 14 h 53"/>
                <a:gd name="T30" fmla="*/ 21 w 42"/>
                <a:gd name="T31" fmla="*/ 3 h 53"/>
                <a:gd name="T32" fmla="*/ 33 w 42"/>
                <a:gd name="T33" fmla="*/ 14 h 53"/>
                <a:gd name="T34" fmla="*/ 32 w 42"/>
                <a:gd name="T35" fmla="*/ 14 h 53"/>
                <a:gd name="T36" fmla="*/ 21 w 42"/>
                <a:gd name="T37" fmla="*/ 4 h 53"/>
                <a:gd name="T38" fmla="*/ 10 w 42"/>
                <a:gd name="T39" fmla="*/ 14 h 53"/>
                <a:gd name="T40" fmla="*/ 9 w 42"/>
                <a:gd name="T41" fmla="*/ 14 h 53"/>
                <a:gd name="T42" fmla="*/ 21 w 42"/>
                <a:gd name="T43" fmla="*/ 3 h 53"/>
                <a:gd name="T44" fmla="*/ 8 w 42"/>
                <a:gd name="T45" fmla="*/ 53 h 53"/>
                <a:gd name="T46" fmla="*/ 34 w 42"/>
                <a:gd name="T47" fmla="*/ 53 h 53"/>
                <a:gd name="T48" fmla="*/ 42 w 42"/>
                <a:gd name="T49" fmla="*/ 45 h 53"/>
                <a:gd name="T50" fmla="*/ 42 w 42"/>
                <a:gd name="T51" fmla="*/ 22 h 53"/>
                <a:gd name="T52" fmla="*/ 36 w 42"/>
                <a:gd name="T53" fmla="*/ 14 h 53"/>
                <a:gd name="T54" fmla="*/ 21 w 42"/>
                <a:gd name="T55" fmla="*/ 0 h 53"/>
                <a:gd name="T56" fmla="*/ 6 w 42"/>
                <a:gd name="T57" fmla="*/ 14 h 53"/>
                <a:gd name="T58" fmla="*/ 0 w 42"/>
                <a:gd name="T59" fmla="*/ 22 h 53"/>
                <a:gd name="T60" fmla="*/ 0 w 42"/>
                <a:gd name="T61" fmla="*/ 45 h 53"/>
                <a:gd name="T62" fmla="*/ 8 w 42"/>
                <a:gd name="T6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53">
                  <a:moveTo>
                    <a:pt x="3" y="22"/>
                  </a:moveTo>
                  <a:cubicBezTo>
                    <a:pt x="3" y="19"/>
                    <a:pt x="6" y="17"/>
                    <a:pt x="8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8"/>
                    <a:pt x="36" y="50"/>
                    <a:pt x="34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6" y="50"/>
                    <a:pt x="3" y="48"/>
                    <a:pt x="3" y="45"/>
                  </a:cubicBezTo>
                  <a:lnTo>
                    <a:pt x="3" y="22"/>
                  </a:lnTo>
                  <a:close/>
                  <a:moveTo>
                    <a:pt x="29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1"/>
                    <a:pt x="15" y="7"/>
                    <a:pt x="21" y="7"/>
                  </a:cubicBezTo>
                  <a:cubicBezTo>
                    <a:pt x="27" y="7"/>
                    <a:pt x="29" y="11"/>
                    <a:pt x="29" y="14"/>
                  </a:cubicBezTo>
                  <a:moveTo>
                    <a:pt x="21" y="3"/>
                  </a:moveTo>
                  <a:cubicBezTo>
                    <a:pt x="30" y="3"/>
                    <a:pt x="33" y="9"/>
                    <a:pt x="33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0"/>
                    <a:pt x="29" y="4"/>
                    <a:pt x="21" y="4"/>
                  </a:cubicBezTo>
                  <a:cubicBezTo>
                    <a:pt x="13" y="4"/>
                    <a:pt x="10" y="10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9"/>
                    <a:pt x="12" y="3"/>
                    <a:pt x="21" y="3"/>
                  </a:cubicBezTo>
                  <a:moveTo>
                    <a:pt x="8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8" y="53"/>
                    <a:pt x="42" y="50"/>
                    <a:pt x="42" y="45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18"/>
                    <a:pt x="39" y="15"/>
                    <a:pt x="36" y="14"/>
                  </a:cubicBezTo>
                  <a:cubicBezTo>
                    <a:pt x="36" y="9"/>
                    <a:pt x="32" y="0"/>
                    <a:pt x="21" y="0"/>
                  </a:cubicBezTo>
                  <a:cubicBezTo>
                    <a:pt x="10" y="0"/>
                    <a:pt x="6" y="9"/>
                    <a:pt x="6" y="14"/>
                  </a:cubicBezTo>
                  <a:cubicBezTo>
                    <a:pt x="3" y="15"/>
                    <a:pt x="0" y="18"/>
                    <a:pt x="0" y="2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0"/>
                    <a:pt x="4" y="53"/>
                    <a:pt x="8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207">
              <a:extLst>
                <a:ext uri="{FF2B5EF4-FFF2-40B4-BE49-F238E27FC236}">
                  <a16:creationId xmlns:a16="http://schemas.microsoft.com/office/drawing/2014/main" id="{B76DC759-566B-4D1A-BFFF-235C456B0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" y="1410"/>
              <a:ext cx="26" cy="59"/>
            </a:xfrm>
            <a:custGeom>
              <a:avLst/>
              <a:gdLst>
                <a:gd name="T0" fmla="*/ 4 w 10"/>
                <a:gd name="T1" fmla="*/ 3 h 23"/>
                <a:gd name="T2" fmla="*/ 6 w 10"/>
                <a:gd name="T3" fmla="*/ 5 h 23"/>
                <a:gd name="T4" fmla="*/ 4 w 10"/>
                <a:gd name="T5" fmla="*/ 7 h 23"/>
                <a:gd name="T6" fmla="*/ 2 w 10"/>
                <a:gd name="T7" fmla="*/ 5 h 23"/>
                <a:gd name="T8" fmla="*/ 4 w 10"/>
                <a:gd name="T9" fmla="*/ 3 h 23"/>
                <a:gd name="T10" fmla="*/ 3 w 10"/>
                <a:gd name="T11" fmla="*/ 9 h 23"/>
                <a:gd name="T12" fmla="*/ 3 w 10"/>
                <a:gd name="T13" fmla="*/ 22 h 23"/>
                <a:gd name="T14" fmla="*/ 4 w 10"/>
                <a:gd name="T15" fmla="*/ 23 h 23"/>
                <a:gd name="T16" fmla="*/ 9 w 10"/>
                <a:gd name="T17" fmla="*/ 23 h 23"/>
                <a:gd name="T18" fmla="*/ 10 w 10"/>
                <a:gd name="T19" fmla="*/ 22 h 23"/>
                <a:gd name="T20" fmla="*/ 9 w 10"/>
                <a:gd name="T21" fmla="*/ 20 h 23"/>
                <a:gd name="T22" fmla="*/ 6 w 10"/>
                <a:gd name="T23" fmla="*/ 20 h 23"/>
                <a:gd name="T24" fmla="*/ 6 w 10"/>
                <a:gd name="T25" fmla="*/ 19 h 23"/>
                <a:gd name="T26" fmla="*/ 7 w 10"/>
                <a:gd name="T27" fmla="*/ 19 h 23"/>
                <a:gd name="T28" fmla="*/ 9 w 10"/>
                <a:gd name="T29" fmla="*/ 17 h 23"/>
                <a:gd name="T30" fmla="*/ 7 w 10"/>
                <a:gd name="T31" fmla="*/ 16 h 23"/>
                <a:gd name="T32" fmla="*/ 6 w 10"/>
                <a:gd name="T33" fmla="*/ 16 h 23"/>
                <a:gd name="T34" fmla="*/ 6 w 10"/>
                <a:gd name="T35" fmla="*/ 9 h 23"/>
                <a:gd name="T36" fmla="*/ 9 w 10"/>
                <a:gd name="T37" fmla="*/ 5 h 23"/>
                <a:gd name="T38" fmla="*/ 4 w 10"/>
                <a:gd name="T39" fmla="*/ 0 h 23"/>
                <a:gd name="T40" fmla="*/ 0 w 10"/>
                <a:gd name="T41" fmla="*/ 5 h 23"/>
                <a:gd name="T42" fmla="*/ 3 w 10"/>
                <a:gd name="T4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3">
                  <a:moveTo>
                    <a:pt x="4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4" y="7"/>
                  </a:cubicBezTo>
                  <a:cubicBezTo>
                    <a:pt x="3" y="7"/>
                    <a:pt x="2" y="6"/>
                    <a:pt x="2" y="5"/>
                  </a:cubicBezTo>
                  <a:cubicBezTo>
                    <a:pt x="2" y="4"/>
                    <a:pt x="3" y="3"/>
                    <a:pt x="4" y="3"/>
                  </a:cubicBezTo>
                  <a:moveTo>
                    <a:pt x="3" y="9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4" y="23"/>
                    <a:pt x="4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2"/>
                  </a:cubicBezTo>
                  <a:cubicBezTo>
                    <a:pt x="10" y="21"/>
                    <a:pt x="10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9" y="18"/>
                    <a:pt x="9" y="17"/>
                  </a:cubicBezTo>
                  <a:cubicBezTo>
                    <a:pt x="9" y="16"/>
                    <a:pt x="8" y="16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9" y="7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1" y="9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208">
              <a:extLst>
                <a:ext uri="{FF2B5EF4-FFF2-40B4-BE49-F238E27FC236}">
                  <a16:creationId xmlns:a16="http://schemas.microsoft.com/office/drawing/2014/main" id="{421F7235-D53C-4A20-8AAC-038C62FAE8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" y="1297"/>
              <a:ext cx="164" cy="272"/>
            </a:xfrm>
            <a:custGeom>
              <a:avLst/>
              <a:gdLst>
                <a:gd name="T0" fmla="*/ 55 w 64"/>
                <a:gd name="T1" fmla="*/ 103 h 106"/>
                <a:gd name="T2" fmla="*/ 9 w 64"/>
                <a:gd name="T3" fmla="*/ 103 h 106"/>
                <a:gd name="T4" fmla="*/ 3 w 64"/>
                <a:gd name="T5" fmla="*/ 97 h 106"/>
                <a:gd name="T6" fmla="*/ 3 w 64"/>
                <a:gd name="T7" fmla="*/ 94 h 106"/>
                <a:gd name="T8" fmla="*/ 61 w 64"/>
                <a:gd name="T9" fmla="*/ 94 h 106"/>
                <a:gd name="T10" fmla="*/ 61 w 64"/>
                <a:gd name="T11" fmla="*/ 97 h 106"/>
                <a:gd name="T12" fmla="*/ 55 w 64"/>
                <a:gd name="T13" fmla="*/ 103 h 106"/>
                <a:gd name="T14" fmla="*/ 9 w 64"/>
                <a:gd name="T15" fmla="*/ 3 h 106"/>
                <a:gd name="T16" fmla="*/ 55 w 64"/>
                <a:gd name="T17" fmla="*/ 3 h 106"/>
                <a:gd name="T18" fmla="*/ 61 w 64"/>
                <a:gd name="T19" fmla="*/ 9 h 106"/>
                <a:gd name="T20" fmla="*/ 61 w 64"/>
                <a:gd name="T21" fmla="*/ 92 h 106"/>
                <a:gd name="T22" fmla="*/ 3 w 64"/>
                <a:gd name="T23" fmla="*/ 92 h 106"/>
                <a:gd name="T24" fmla="*/ 3 w 64"/>
                <a:gd name="T25" fmla="*/ 9 h 106"/>
                <a:gd name="T26" fmla="*/ 9 w 64"/>
                <a:gd name="T27" fmla="*/ 3 h 106"/>
                <a:gd name="T28" fmla="*/ 55 w 64"/>
                <a:gd name="T29" fmla="*/ 0 h 106"/>
                <a:gd name="T30" fmla="*/ 9 w 64"/>
                <a:gd name="T31" fmla="*/ 0 h 106"/>
                <a:gd name="T32" fmla="*/ 0 w 64"/>
                <a:gd name="T33" fmla="*/ 9 h 106"/>
                <a:gd name="T34" fmla="*/ 0 w 64"/>
                <a:gd name="T35" fmla="*/ 97 h 106"/>
                <a:gd name="T36" fmla="*/ 9 w 64"/>
                <a:gd name="T37" fmla="*/ 106 h 106"/>
                <a:gd name="T38" fmla="*/ 55 w 64"/>
                <a:gd name="T39" fmla="*/ 106 h 106"/>
                <a:gd name="T40" fmla="*/ 64 w 64"/>
                <a:gd name="T41" fmla="*/ 97 h 106"/>
                <a:gd name="T42" fmla="*/ 64 w 64"/>
                <a:gd name="T43" fmla="*/ 9 h 106"/>
                <a:gd name="T44" fmla="*/ 55 w 64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106">
                  <a:moveTo>
                    <a:pt x="55" y="103"/>
                  </a:moveTo>
                  <a:cubicBezTo>
                    <a:pt x="9" y="103"/>
                    <a:pt x="9" y="103"/>
                    <a:pt x="9" y="103"/>
                  </a:cubicBezTo>
                  <a:cubicBezTo>
                    <a:pt x="6" y="103"/>
                    <a:pt x="3" y="100"/>
                    <a:pt x="3" y="97"/>
                  </a:cubicBezTo>
                  <a:cubicBezTo>
                    <a:pt x="3" y="94"/>
                    <a:pt x="3" y="94"/>
                    <a:pt x="3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1" y="100"/>
                    <a:pt x="58" y="103"/>
                    <a:pt x="55" y="103"/>
                  </a:cubicBezTo>
                  <a:moveTo>
                    <a:pt x="9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8" y="3"/>
                    <a:pt x="61" y="6"/>
                    <a:pt x="61" y="9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moveTo>
                    <a:pt x="55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2"/>
                    <a:pt x="4" y="106"/>
                    <a:pt x="9" y="106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60" y="106"/>
                    <a:pt x="64" y="102"/>
                    <a:pt x="64" y="97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209">
              <a:extLst>
                <a:ext uri="{FF2B5EF4-FFF2-40B4-BE49-F238E27FC236}">
                  <a16:creationId xmlns:a16="http://schemas.microsoft.com/office/drawing/2014/main" id="{4E0B70A1-B9E9-4C09-9FFB-EB2303209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" y="1315"/>
              <a:ext cx="13" cy="16"/>
            </a:xfrm>
            <a:custGeom>
              <a:avLst/>
              <a:gdLst>
                <a:gd name="T0" fmla="*/ 1 w 5"/>
                <a:gd name="T1" fmla="*/ 3 h 6"/>
                <a:gd name="T2" fmla="*/ 2 w 5"/>
                <a:gd name="T3" fmla="*/ 5 h 6"/>
                <a:gd name="T4" fmla="*/ 4 w 5"/>
                <a:gd name="T5" fmla="*/ 6 h 6"/>
                <a:gd name="T6" fmla="*/ 5 w 5"/>
                <a:gd name="T7" fmla="*/ 5 h 6"/>
                <a:gd name="T8" fmla="*/ 1 w 5"/>
                <a:gd name="T9" fmla="*/ 0 h 6"/>
                <a:gd name="T10" fmla="*/ 0 w 5"/>
                <a:gd name="T11" fmla="*/ 2 h 6"/>
                <a:gd name="T12" fmla="*/ 1 w 5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1" y="3"/>
                  </a:move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2"/>
                    <a:pt x="3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210">
              <a:extLst>
                <a:ext uri="{FF2B5EF4-FFF2-40B4-BE49-F238E27FC236}">
                  <a16:creationId xmlns:a16="http://schemas.microsoft.com/office/drawing/2014/main" id="{D760C898-D930-4B04-872C-6AC9062B2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" y="1315"/>
              <a:ext cx="41" cy="8"/>
            </a:xfrm>
            <a:custGeom>
              <a:avLst/>
              <a:gdLst>
                <a:gd name="T0" fmla="*/ 2 w 16"/>
                <a:gd name="T1" fmla="*/ 3 h 3"/>
                <a:gd name="T2" fmla="*/ 14 w 16"/>
                <a:gd name="T3" fmla="*/ 3 h 3"/>
                <a:gd name="T4" fmla="*/ 16 w 16"/>
                <a:gd name="T5" fmla="*/ 2 h 3"/>
                <a:gd name="T6" fmla="*/ 14 w 16"/>
                <a:gd name="T7" fmla="*/ 0 h 3"/>
                <a:gd name="T8" fmla="*/ 2 w 16"/>
                <a:gd name="T9" fmla="*/ 0 h 3"/>
                <a:gd name="T10" fmla="*/ 0 w 16"/>
                <a:gd name="T11" fmla="*/ 2 h 3"/>
                <a:gd name="T12" fmla="*/ 2 w 1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">
                  <a:moveTo>
                    <a:pt x="2" y="3"/>
                  </a:move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6" name="Group 213">
            <a:extLst>
              <a:ext uri="{FF2B5EF4-FFF2-40B4-BE49-F238E27FC236}">
                <a16:creationId xmlns:a16="http://schemas.microsoft.com/office/drawing/2014/main" id="{9E78FF78-4E04-4F19-8A98-2DA03FAE7E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693" y="1597937"/>
            <a:ext cx="758825" cy="758825"/>
            <a:chOff x="2415" y="1058"/>
            <a:chExt cx="478" cy="478"/>
          </a:xfrm>
        </p:grpSpPr>
        <p:sp>
          <p:nvSpPr>
            <p:cNvPr id="227" name="AutoShape 212">
              <a:extLst>
                <a:ext uri="{FF2B5EF4-FFF2-40B4-BE49-F238E27FC236}">
                  <a16:creationId xmlns:a16="http://schemas.microsoft.com/office/drawing/2014/main" id="{42EA809F-CD3D-46B6-8D6C-1EB5EAC6CD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15" y="10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14">
              <a:extLst>
                <a:ext uri="{FF2B5EF4-FFF2-40B4-BE49-F238E27FC236}">
                  <a16:creationId xmlns:a16="http://schemas.microsoft.com/office/drawing/2014/main" id="{F2077E8F-6365-43B6-88E7-9AE5C2A764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7" y="1060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15">
              <a:extLst>
                <a:ext uri="{FF2B5EF4-FFF2-40B4-BE49-F238E27FC236}">
                  <a16:creationId xmlns:a16="http://schemas.microsoft.com/office/drawing/2014/main" id="{BC0E3B72-89DE-4105-8A19-0921DE205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0" y="1151"/>
              <a:ext cx="253" cy="294"/>
            </a:xfrm>
            <a:custGeom>
              <a:avLst/>
              <a:gdLst>
                <a:gd name="T0" fmla="*/ 42 w 103"/>
                <a:gd name="T1" fmla="*/ 86 h 120"/>
                <a:gd name="T2" fmla="*/ 33 w 103"/>
                <a:gd name="T3" fmla="*/ 82 h 120"/>
                <a:gd name="T4" fmla="*/ 102 w 103"/>
                <a:gd name="T5" fmla="*/ 103 h 120"/>
                <a:gd name="T6" fmla="*/ 85 w 103"/>
                <a:gd name="T7" fmla="*/ 82 h 120"/>
                <a:gd name="T8" fmla="*/ 84 w 103"/>
                <a:gd name="T9" fmla="*/ 80 h 120"/>
                <a:gd name="T10" fmla="*/ 87 w 103"/>
                <a:gd name="T11" fmla="*/ 50 h 120"/>
                <a:gd name="T12" fmla="*/ 65 w 103"/>
                <a:gd name="T13" fmla="*/ 28 h 120"/>
                <a:gd name="T14" fmla="*/ 64 w 103"/>
                <a:gd name="T15" fmla="*/ 9 h 120"/>
                <a:gd name="T16" fmla="*/ 20 w 103"/>
                <a:gd name="T17" fmla="*/ 0 h 120"/>
                <a:gd name="T18" fmla="*/ 11 w 103"/>
                <a:gd name="T19" fmla="*/ 32 h 120"/>
                <a:gd name="T20" fmla="*/ 0 w 103"/>
                <a:gd name="T21" fmla="*/ 42 h 120"/>
                <a:gd name="T22" fmla="*/ 0 w 103"/>
                <a:gd name="T23" fmla="*/ 58 h 120"/>
                <a:gd name="T24" fmla="*/ 0 w 103"/>
                <a:gd name="T25" fmla="*/ 74 h 120"/>
                <a:gd name="T26" fmla="*/ 2 w 103"/>
                <a:gd name="T27" fmla="*/ 88 h 120"/>
                <a:gd name="T28" fmla="*/ 15 w 103"/>
                <a:gd name="T29" fmla="*/ 96 h 120"/>
                <a:gd name="T30" fmla="*/ 26 w 103"/>
                <a:gd name="T31" fmla="*/ 97 h 120"/>
                <a:gd name="T32" fmla="*/ 45 w 103"/>
                <a:gd name="T33" fmla="*/ 109 h 120"/>
                <a:gd name="T34" fmla="*/ 45 w 103"/>
                <a:gd name="T35" fmla="*/ 112 h 120"/>
                <a:gd name="T36" fmla="*/ 51 w 103"/>
                <a:gd name="T37" fmla="*/ 120 h 120"/>
                <a:gd name="T38" fmla="*/ 53 w 103"/>
                <a:gd name="T39" fmla="*/ 117 h 120"/>
                <a:gd name="T40" fmla="*/ 86 w 103"/>
                <a:gd name="T41" fmla="*/ 87 h 120"/>
                <a:gd name="T42" fmla="*/ 101 w 103"/>
                <a:gd name="T43" fmla="*/ 106 h 120"/>
                <a:gd name="T44" fmla="*/ 9 w 103"/>
                <a:gd name="T45" fmla="*/ 36 h 120"/>
                <a:gd name="T46" fmla="*/ 11 w 103"/>
                <a:gd name="T47" fmla="*/ 47 h 120"/>
                <a:gd name="T48" fmla="*/ 4 w 103"/>
                <a:gd name="T49" fmla="*/ 42 h 120"/>
                <a:gd name="T50" fmla="*/ 9 w 103"/>
                <a:gd name="T51" fmla="*/ 52 h 120"/>
                <a:gd name="T52" fmla="*/ 9 w 103"/>
                <a:gd name="T53" fmla="*/ 63 h 120"/>
                <a:gd name="T54" fmla="*/ 9 w 103"/>
                <a:gd name="T55" fmla="*/ 52 h 120"/>
                <a:gd name="T56" fmla="*/ 6 w 103"/>
                <a:gd name="T57" fmla="*/ 88 h 120"/>
                <a:gd name="T58" fmla="*/ 15 w 103"/>
                <a:gd name="T59" fmla="*/ 88 h 120"/>
                <a:gd name="T60" fmla="*/ 9 w 103"/>
                <a:gd name="T61" fmla="*/ 79 h 120"/>
                <a:gd name="T62" fmla="*/ 9 w 103"/>
                <a:gd name="T63" fmla="*/ 68 h 120"/>
                <a:gd name="T64" fmla="*/ 9 w 103"/>
                <a:gd name="T65" fmla="*/ 79 h 120"/>
                <a:gd name="T66" fmla="*/ 20 w 103"/>
                <a:gd name="T67" fmla="*/ 59 h 120"/>
                <a:gd name="T68" fmla="*/ 15 w 103"/>
                <a:gd name="T69" fmla="*/ 9 h 120"/>
                <a:gd name="T70" fmla="*/ 55 w 103"/>
                <a:gd name="T71" fmla="*/ 4 h 120"/>
                <a:gd name="T72" fmla="*/ 60 w 103"/>
                <a:gd name="T73" fmla="*/ 31 h 120"/>
                <a:gd name="T74" fmla="*/ 40 w 103"/>
                <a:gd name="T75" fmla="*/ 37 h 120"/>
                <a:gd name="T76" fmla="*/ 60 w 103"/>
                <a:gd name="T77" fmla="*/ 50 h 120"/>
                <a:gd name="T78" fmla="*/ 19 w 103"/>
                <a:gd name="T79" fmla="*/ 72 h 120"/>
                <a:gd name="T80" fmla="*/ 20 w 103"/>
                <a:gd name="T81" fmla="*/ 93 h 120"/>
                <a:gd name="T82" fmla="*/ 20 w 103"/>
                <a:gd name="T83" fmla="*/ 88 h 120"/>
                <a:gd name="T84" fmla="*/ 19 w 103"/>
                <a:gd name="T85" fmla="*/ 77 h 120"/>
                <a:gd name="T86" fmla="*/ 60 w 103"/>
                <a:gd name="T87" fmla="*/ 88 h 120"/>
                <a:gd name="T88" fmla="*/ 20 w 103"/>
                <a:gd name="T89" fmla="*/ 93 h 120"/>
                <a:gd name="T90" fmla="*/ 81 w 103"/>
                <a:gd name="T91" fmla="*/ 85 h 120"/>
                <a:gd name="T92" fmla="*/ 45 w 103"/>
                <a:gd name="T93" fmla="*/ 105 h 120"/>
                <a:gd name="T94" fmla="*/ 32 w 103"/>
                <a:gd name="T95" fmla="*/ 97 h 120"/>
                <a:gd name="T96" fmla="*/ 64 w 103"/>
                <a:gd name="T97" fmla="*/ 88 h 120"/>
                <a:gd name="T98" fmla="*/ 64 w 103"/>
                <a:gd name="T99" fmla="*/ 48 h 120"/>
                <a:gd name="T100" fmla="*/ 62 w 103"/>
                <a:gd name="T101" fmla="*/ 46 h 120"/>
                <a:gd name="T102" fmla="*/ 59 w 103"/>
                <a:gd name="T103" fmla="*/ 46 h 120"/>
                <a:gd name="T104" fmla="*/ 44 w 103"/>
                <a:gd name="T105" fmla="*/ 39 h 120"/>
                <a:gd name="T106" fmla="*/ 68 w 103"/>
                <a:gd name="T107" fmla="*/ 32 h 120"/>
                <a:gd name="T108" fmla="*/ 82 w 103"/>
                <a:gd name="T109" fmla="*/ 50 h 120"/>
                <a:gd name="T110" fmla="*/ 80 w 103"/>
                <a:gd name="T111" fmla="*/ 8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" h="120">
                  <a:moveTo>
                    <a:pt x="33" y="86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33" y="82"/>
                    <a:pt x="33" y="82"/>
                    <a:pt x="33" y="82"/>
                  </a:cubicBezTo>
                  <a:lnTo>
                    <a:pt x="33" y="86"/>
                  </a:lnTo>
                  <a:close/>
                  <a:moveTo>
                    <a:pt x="102" y="103"/>
                  </a:moveTo>
                  <a:cubicBezTo>
                    <a:pt x="89" y="83"/>
                    <a:pt x="89" y="83"/>
                    <a:pt x="89" y="83"/>
                  </a:cubicBezTo>
                  <a:cubicBezTo>
                    <a:pt x="88" y="82"/>
                    <a:pt x="86" y="81"/>
                    <a:pt x="85" y="82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82" y="77"/>
                    <a:pt x="83" y="71"/>
                    <a:pt x="85" y="64"/>
                  </a:cubicBezTo>
                  <a:cubicBezTo>
                    <a:pt x="86" y="59"/>
                    <a:pt x="87" y="54"/>
                    <a:pt x="87" y="50"/>
                  </a:cubicBezTo>
                  <a:cubicBezTo>
                    <a:pt x="87" y="43"/>
                    <a:pt x="77" y="32"/>
                    <a:pt x="71" y="28"/>
                  </a:cubicBezTo>
                  <a:cubicBezTo>
                    <a:pt x="68" y="27"/>
                    <a:pt x="66" y="27"/>
                    <a:pt x="65" y="28"/>
                  </a:cubicBezTo>
                  <a:cubicBezTo>
                    <a:pt x="65" y="28"/>
                    <a:pt x="65" y="28"/>
                    <a:pt x="64" y="28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5" y="0"/>
                    <a:pt x="11" y="4"/>
                    <a:pt x="11" y="9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9" y="32"/>
                    <a:pt x="9" y="32"/>
                  </a:cubicBezTo>
                  <a:cubicBezTo>
                    <a:pt x="4" y="32"/>
                    <a:pt x="0" y="36"/>
                    <a:pt x="0" y="42"/>
                  </a:cubicBezTo>
                  <a:cubicBezTo>
                    <a:pt x="0" y="45"/>
                    <a:pt x="1" y="48"/>
                    <a:pt x="3" y="50"/>
                  </a:cubicBezTo>
                  <a:cubicBezTo>
                    <a:pt x="1" y="52"/>
                    <a:pt x="0" y="55"/>
                    <a:pt x="0" y="58"/>
                  </a:cubicBezTo>
                  <a:cubicBezTo>
                    <a:pt x="0" y="61"/>
                    <a:pt x="1" y="64"/>
                    <a:pt x="3" y="66"/>
                  </a:cubicBezTo>
                  <a:cubicBezTo>
                    <a:pt x="1" y="68"/>
                    <a:pt x="0" y="70"/>
                    <a:pt x="0" y="74"/>
                  </a:cubicBezTo>
                  <a:cubicBezTo>
                    <a:pt x="0" y="77"/>
                    <a:pt x="1" y="81"/>
                    <a:pt x="4" y="82"/>
                  </a:cubicBezTo>
                  <a:cubicBezTo>
                    <a:pt x="3" y="84"/>
                    <a:pt x="2" y="86"/>
                    <a:pt x="2" y="88"/>
                  </a:cubicBezTo>
                  <a:cubicBezTo>
                    <a:pt x="2" y="93"/>
                    <a:pt x="5" y="97"/>
                    <a:pt x="10" y="97"/>
                  </a:cubicBezTo>
                  <a:cubicBezTo>
                    <a:pt x="11" y="97"/>
                    <a:pt x="13" y="97"/>
                    <a:pt x="15" y="96"/>
                  </a:cubicBezTo>
                  <a:cubicBezTo>
                    <a:pt x="16" y="97"/>
                    <a:pt x="18" y="97"/>
                    <a:pt x="20" y="97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8" y="99"/>
                    <a:pt x="29" y="101"/>
                    <a:pt x="32" y="104"/>
                  </a:cubicBezTo>
                  <a:cubicBezTo>
                    <a:pt x="36" y="108"/>
                    <a:pt x="41" y="109"/>
                    <a:pt x="45" y="109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4" y="110"/>
                    <a:pt x="44" y="111"/>
                    <a:pt x="45" y="112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50" y="120"/>
                    <a:pt x="50" y="120"/>
                    <a:pt x="51" y="120"/>
                  </a:cubicBezTo>
                  <a:cubicBezTo>
                    <a:pt x="51" y="120"/>
                    <a:pt x="52" y="120"/>
                    <a:pt x="52" y="120"/>
                  </a:cubicBezTo>
                  <a:cubicBezTo>
                    <a:pt x="53" y="119"/>
                    <a:pt x="54" y="118"/>
                    <a:pt x="53" y="117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86" y="87"/>
                    <a:pt x="86" y="87"/>
                    <a:pt x="86" y="87"/>
                  </a:cubicBezTo>
                  <a:cubicBezTo>
                    <a:pt x="98" y="106"/>
                    <a:pt x="98" y="106"/>
                    <a:pt x="98" y="106"/>
                  </a:cubicBezTo>
                  <a:cubicBezTo>
                    <a:pt x="99" y="107"/>
                    <a:pt x="100" y="107"/>
                    <a:pt x="101" y="106"/>
                  </a:cubicBezTo>
                  <a:cubicBezTo>
                    <a:pt x="102" y="105"/>
                    <a:pt x="103" y="104"/>
                    <a:pt x="102" y="103"/>
                  </a:cubicBezTo>
                  <a:moveTo>
                    <a:pt x="9" y="36"/>
                  </a:moveTo>
                  <a:cubicBezTo>
                    <a:pt x="9" y="36"/>
                    <a:pt x="10" y="36"/>
                    <a:pt x="11" y="3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0" y="47"/>
                    <a:pt x="9" y="48"/>
                    <a:pt x="9" y="48"/>
                  </a:cubicBezTo>
                  <a:cubicBezTo>
                    <a:pt x="6" y="48"/>
                    <a:pt x="4" y="45"/>
                    <a:pt x="4" y="42"/>
                  </a:cubicBezTo>
                  <a:cubicBezTo>
                    <a:pt x="4" y="39"/>
                    <a:pt x="6" y="36"/>
                    <a:pt x="9" y="36"/>
                  </a:cubicBezTo>
                  <a:moveTo>
                    <a:pt x="9" y="52"/>
                  </a:moveTo>
                  <a:cubicBezTo>
                    <a:pt x="11" y="52"/>
                    <a:pt x="15" y="56"/>
                    <a:pt x="15" y="59"/>
                  </a:cubicBezTo>
                  <a:cubicBezTo>
                    <a:pt x="15" y="62"/>
                    <a:pt x="11" y="63"/>
                    <a:pt x="9" y="63"/>
                  </a:cubicBezTo>
                  <a:cubicBezTo>
                    <a:pt x="6" y="63"/>
                    <a:pt x="4" y="61"/>
                    <a:pt x="4" y="58"/>
                  </a:cubicBezTo>
                  <a:cubicBezTo>
                    <a:pt x="4" y="55"/>
                    <a:pt x="6" y="52"/>
                    <a:pt x="9" y="52"/>
                  </a:cubicBezTo>
                  <a:moveTo>
                    <a:pt x="10" y="93"/>
                  </a:moveTo>
                  <a:cubicBezTo>
                    <a:pt x="8" y="93"/>
                    <a:pt x="6" y="91"/>
                    <a:pt x="6" y="88"/>
                  </a:cubicBezTo>
                  <a:cubicBezTo>
                    <a:pt x="6" y="86"/>
                    <a:pt x="8" y="84"/>
                    <a:pt x="10" y="84"/>
                  </a:cubicBezTo>
                  <a:cubicBezTo>
                    <a:pt x="12" y="84"/>
                    <a:pt x="15" y="86"/>
                    <a:pt x="15" y="88"/>
                  </a:cubicBezTo>
                  <a:cubicBezTo>
                    <a:pt x="15" y="91"/>
                    <a:pt x="12" y="93"/>
                    <a:pt x="10" y="93"/>
                  </a:cubicBezTo>
                  <a:moveTo>
                    <a:pt x="9" y="79"/>
                  </a:moveTo>
                  <a:cubicBezTo>
                    <a:pt x="6" y="79"/>
                    <a:pt x="4" y="77"/>
                    <a:pt x="4" y="74"/>
                  </a:cubicBezTo>
                  <a:cubicBezTo>
                    <a:pt x="4" y="70"/>
                    <a:pt x="6" y="68"/>
                    <a:pt x="9" y="68"/>
                  </a:cubicBezTo>
                  <a:cubicBezTo>
                    <a:pt x="11" y="68"/>
                    <a:pt x="15" y="72"/>
                    <a:pt x="15" y="75"/>
                  </a:cubicBezTo>
                  <a:cubicBezTo>
                    <a:pt x="15" y="78"/>
                    <a:pt x="11" y="79"/>
                    <a:pt x="9" y="79"/>
                  </a:cubicBezTo>
                  <a:moveTo>
                    <a:pt x="15" y="66"/>
                  </a:moveTo>
                  <a:cubicBezTo>
                    <a:pt x="18" y="65"/>
                    <a:pt x="20" y="62"/>
                    <a:pt x="20" y="59"/>
                  </a:cubicBezTo>
                  <a:cubicBezTo>
                    <a:pt x="20" y="56"/>
                    <a:pt x="18" y="53"/>
                    <a:pt x="15" y="5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6"/>
                    <a:pt x="17" y="4"/>
                    <a:pt x="20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8" y="4"/>
                    <a:pt x="60" y="6"/>
                    <a:pt x="60" y="9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55" y="33"/>
                    <a:pt x="50" y="34"/>
                    <a:pt x="44" y="34"/>
                  </a:cubicBezTo>
                  <a:cubicBezTo>
                    <a:pt x="42" y="34"/>
                    <a:pt x="41" y="35"/>
                    <a:pt x="40" y="37"/>
                  </a:cubicBezTo>
                  <a:cubicBezTo>
                    <a:pt x="39" y="39"/>
                    <a:pt x="40" y="42"/>
                    <a:pt x="42" y="45"/>
                  </a:cubicBezTo>
                  <a:cubicBezTo>
                    <a:pt x="46" y="49"/>
                    <a:pt x="52" y="52"/>
                    <a:pt x="60" y="50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0"/>
                    <a:pt x="17" y="68"/>
                    <a:pt x="15" y="66"/>
                  </a:cubicBezTo>
                  <a:close/>
                  <a:moveTo>
                    <a:pt x="20" y="93"/>
                  </a:moveTo>
                  <a:cubicBezTo>
                    <a:pt x="19" y="93"/>
                    <a:pt x="19" y="93"/>
                    <a:pt x="18" y="93"/>
                  </a:cubicBezTo>
                  <a:cubicBezTo>
                    <a:pt x="19" y="91"/>
                    <a:pt x="20" y="90"/>
                    <a:pt x="20" y="88"/>
                  </a:cubicBezTo>
                  <a:cubicBezTo>
                    <a:pt x="20" y="86"/>
                    <a:pt x="18" y="83"/>
                    <a:pt x="16" y="82"/>
                  </a:cubicBezTo>
                  <a:cubicBezTo>
                    <a:pt x="18" y="80"/>
                    <a:pt x="19" y="79"/>
                    <a:pt x="19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91"/>
                    <a:pt x="58" y="93"/>
                    <a:pt x="55" y="93"/>
                  </a:cubicBezTo>
                  <a:lnTo>
                    <a:pt x="20" y="93"/>
                  </a:lnTo>
                  <a:close/>
                  <a:moveTo>
                    <a:pt x="80" y="83"/>
                  </a:moveTo>
                  <a:cubicBezTo>
                    <a:pt x="81" y="85"/>
                    <a:pt x="81" y="85"/>
                    <a:pt x="81" y="8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49" y="105"/>
                    <a:pt x="47" y="105"/>
                    <a:pt x="45" y="105"/>
                  </a:cubicBezTo>
                  <a:cubicBezTo>
                    <a:pt x="42" y="105"/>
                    <a:pt x="38" y="104"/>
                    <a:pt x="35" y="100"/>
                  </a:cubicBezTo>
                  <a:cubicBezTo>
                    <a:pt x="34" y="99"/>
                    <a:pt x="33" y="98"/>
                    <a:pt x="32" y="97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60" y="97"/>
                    <a:pt x="64" y="93"/>
                    <a:pt x="64" y="8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47"/>
                    <a:pt x="63" y="46"/>
                    <a:pt x="62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6"/>
                    <a:pt x="60" y="46"/>
                    <a:pt x="59" y="46"/>
                  </a:cubicBezTo>
                  <a:cubicBezTo>
                    <a:pt x="52" y="48"/>
                    <a:pt x="47" y="44"/>
                    <a:pt x="46" y="42"/>
                  </a:cubicBezTo>
                  <a:cubicBezTo>
                    <a:pt x="44" y="40"/>
                    <a:pt x="44" y="39"/>
                    <a:pt x="44" y="39"/>
                  </a:cubicBezTo>
                  <a:cubicBezTo>
                    <a:pt x="44" y="39"/>
                    <a:pt x="44" y="38"/>
                    <a:pt x="44" y="38"/>
                  </a:cubicBezTo>
                  <a:cubicBezTo>
                    <a:pt x="49" y="38"/>
                    <a:pt x="59" y="37"/>
                    <a:pt x="68" y="32"/>
                  </a:cubicBezTo>
                  <a:cubicBezTo>
                    <a:pt x="68" y="32"/>
                    <a:pt x="69" y="32"/>
                    <a:pt x="72" y="34"/>
                  </a:cubicBezTo>
                  <a:cubicBezTo>
                    <a:pt x="77" y="39"/>
                    <a:pt x="82" y="46"/>
                    <a:pt x="82" y="50"/>
                  </a:cubicBezTo>
                  <a:cubicBezTo>
                    <a:pt x="82" y="54"/>
                    <a:pt x="81" y="59"/>
                    <a:pt x="80" y="63"/>
                  </a:cubicBezTo>
                  <a:cubicBezTo>
                    <a:pt x="79" y="71"/>
                    <a:pt x="77" y="78"/>
                    <a:pt x="80" y="8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218">
            <a:extLst>
              <a:ext uri="{FF2B5EF4-FFF2-40B4-BE49-F238E27FC236}">
                <a16:creationId xmlns:a16="http://schemas.microsoft.com/office/drawing/2014/main" id="{2F396925-D4BB-4987-B571-C9F7347286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3692" y="1556662"/>
            <a:ext cx="841375" cy="841375"/>
            <a:chOff x="1566" y="1089"/>
            <a:chExt cx="530" cy="530"/>
          </a:xfrm>
        </p:grpSpPr>
        <p:sp>
          <p:nvSpPr>
            <p:cNvPr id="231" name="AutoShape 217">
              <a:extLst>
                <a:ext uri="{FF2B5EF4-FFF2-40B4-BE49-F238E27FC236}">
                  <a16:creationId xmlns:a16="http://schemas.microsoft.com/office/drawing/2014/main" id="{7ABC60E8-65FC-45C4-A7B1-A119506934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66" y="108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Oval 219">
              <a:extLst>
                <a:ext uri="{FF2B5EF4-FFF2-40B4-BE49-F238E27FC236}">
                  <a16:creationId xmlns:a16="http://schemas.microsoft.com/office/drawing/2014/main" id="{174BDCFA-C63A-48B8-9D85-860C8039F1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9" y="1092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20">
              <a:extLst>
                <a:ext uri="{FF2B5EF4-FFF2-40B4-BE49-F238E27FC236}">
                  <a16:creationId xmlns:a16="http://schemas.microsoft.com/office/drawing/2014/main" id="{EDEFBC1A-07EE-4502-A542-5AD1EE821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5" y="1108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21">
              <a:extLst>
                <a:ext uri="{FF2B5EF4-FFF2-40B4-BE49-F238E27FC236}">
                  <a16:creationId xmlns:a16="http://schemas.microsoft.com/office/drawing/2014/main" id="{E02E7966-0218-4AD8-9EAC-DDD79F418B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1203"/>
              <a:ext cx="261" cy="305"/>
            </a:xfrm>
            <a:custGeom>
              <a:avLst/>
              <a:gdLst>
                <a:gd name="T0" fmla="*/ 40 w 96"/>
                <a:gd name="T1" fmla="*/ 80 h 112"/>
                <a:gd name="T2" fmla="*/ 31 w 96"/>
                <a:gd name="T3" fmla="*/ 76 h 112"/>
                <a:gd name="T4" fmla="*/ 95 w 96"/>
                <a:gd name="T5" fmla="*/ 96 h 112"/>
                <a:gd name="T6" fmla="*/ 80 w 96"/>
                <a:gd name="T7" fmla="*/ 76 h 112"/>
                <a:gd name="T8" fmla="*/ 79 w 96"/>
                <a:gd name="T9" fmla="*/ 75 h 112"/>
                <a:gd name="T10" fmla="*/ 81 w 96"/>
                <a:gd name="T11" fmla="*/ 46 h 112"/>
                <a:gd name="T12" fmla="*/ 61 w 96"/>
                <a:gd name="T13" fmla="*/ 26 h 112"/>
                <a:gd name="T14" fmla="*/ 60 w 96"/>
                <a:gd name="T15" fmla="*/ 8 h 112"/>
                <a:gd name="T16" fmla="*/ 19 w 96"/>
                <a:gd name="T17" fmla="*/ 0 h 112"/>
                <a:gd name="T18" fmla="*/ 11 w 96"/>
                <a:gd name="T19" fmla="*/ 30 h 112"/>
                <a:gd name="T20" fmla="*/ 0 w 96"/>
                <a:gd name="T21" fmla="*/ 39 h 112"/>
                <a:gd name="T22" fmla="*/ 0 w 96"/>
                <a:gd name="T23" fmla="*/ 54 h 112"/>
                <a:gd name="T24" fmla="*/ 0 w 96"/>
                <a:gd name="T25" fmla="*/ 69 h 112"/>
                <a:gd name="T26" fmla="*/ 2 w 96"/>
                <a:gd name="T27" fmla="*/ 82 h 112"/>
                <a:gd name="T28" fmla="*/ 14 w 96"/>
                <a:gd name="T29" fmla="*/ 90 h 112"/>
                <a:gd name="T30" fmla="*/ 25 w 96"/>
                <a:gd name="T31" fmla="*/ 91 h 112"/>
                <a:gd name="T32" fmla="*/ 42 w 96"/>
                <a:gd name="T33" fmla="*/ 102 h 112"/>
                <a:gd name="T34" fmla="*/ 42 w 96"/>
                <a:gd name="T35" fmla="*/ 105 h 112"/>
                <a:gd name="T36" fmla="*/ 48 w 96"/>
                <a:gd name="T37" fmla="*/ 112 h 112"/>
                <a:gd name="T38" fmla="*/ 50 w 96"/>
                <a:gd name="T39" fmla="*/ 109 h 112"/>
                <a:gd name="T40" fmla="*/ 81 w 96"/>
                <a:gd name="T41" fmla="*/ 81 h 112"/>
                <a:gd name="T42" fmla="*/ 95 w 96"/>
                <a:gd name="T43" fmla="*/ 99 h 112"/>
                <a:gd name="T44" fmla="*/ 8 w 96"/>
                <a:gd name="T45" fmla="*/ 34 h 112"/>
                <a:gd name="T46" fmla="*/ 11 w 96"/>
                <a:gd name="T47" fmla="*/ 44 h 112"/>
                <a:gd name="T48" fmla="*/ 4 w 96"/>
                <a:gd name="T49" fmla="*/ 39 h 112"/>
                <a:gd name="T50" fmla="*/ 8 w 96"/>
                <a:gd name="T51" fmla="*/ 49 h 112"/>
                <a:gd name="T52" fmla="*/ 8 w 96"/>
                <a:gd name="T53" fmla="*/ 59 h 112"/>
                <a:gd name="T54" fmla="*/ 8 w 96"/>
                <a:gd name="T55" fmla="*/ 49 h 112"/>
                <a:gd name="T56" fmla="*/ 6 w 96"/>
                <a:gd name="T57" fmla="*/ 82 h 112"/>
                <a:gd name="T58" fmla="*/ 15 w 96"/>
                <a:gd name="T59" fmla="*/ 82 h 112"/>
                <a:gd name="T60" fmla="*/ 8 w 96"/>
                <a:gd name="T61" fmla="*/ 74 h 112"/>
                <a:gd name="T62" fmla="*/ 8 w 96"/>
                <a:gd name="T63" fmla="*/ 63 h 112"/>
                <a:gd name="T64" fmla="*/ 8 w 96"/>
                <a:gd name="T65" fmla="*/ 74 h 112"/>
                <a:gd name="T66" fmla="*/ 19 w 96"/>
                <a:gd name="T67" fmla="*/ 55 h 112"/>
                <a:gd name="T68" fmla="*/ 15 w 96"/>
                <a:gd name="T69" fmla="*/ 8 h 112"/>
                <a:gd name="T70" fmla="*/ 52 w 96"/>
                <a:gd name="T71" fmla="*/ 4 h 112"/>
                <a:gd name="T72" fmla="*/ 56 w 96"/>
                <a:gd name="T73" fmla="*/ 29 h 112"/>
                <a:gd name="T74" fmla="*/ 38 w 96"/>
                <a:gd name="T75" fmla="*/ 34 h 112"/>
                <a:gd name="T76" fmla="*/ 56 w 96"/>
                <a:gd name="T77" fmla="*/ 47 h 112"/>
                <a:gd name="T78" fmla="*/ 19 w 96"/>
                <a:gd name="T79" fmla="*/ 68 h 112"/>
                <a:gd name="T80" fmla="*/ 19 w 96"/>
                <a:gd name="T81" fmla="*/ 87 h 112"/>
                <a:gd name="T82" fmla="*/ 19 w 96"/>
                <a:gd name="T83" fmla="*/ 82 h 112"/>
                <a:gd name="T84" fmla="*/ 19 w 96"/>
                <a:gd name="T85" fmla="*/ 72 h 112"/>
                <a:gd name="T86" fmla="*/ 56 w 96"/>
                <a:gd name="T87" fmla="*/ 82 h 112"/>
                <a:gd name="T88" fmla="*/ 19 w 96"/>
                <a:gd name="T89" fmla="*/ 87 h 112"/>
                <a:gd name="T90" fmla="*/ 76 w 96"/>
                <a:gd name="T91" fmla="*/ 79 h 112"/>
                <a:gd name="T92" fmla="*/ 43 w 96"/>
                <a:gd name="T93" fmla="*/ 98 h 112"/>
                <a:gd name="T94" fmla="*/ 30 w 96"/>
                <a:gd name="T95" fmla="*/ 91 h 112"/>
                <a:gd name="T96" fmla="*/ 60 w 96"/>
                <a:gd name="T97" fmla="*/ 82 h 112"/>
                <a:gd name="T98" fmla="*/ 60 w 96"/>
                <a:gd name="T99" fmla="*/ 45 h 112"/>
                <a:gd name="T100" fmla="*/ 58 w 96"/>
                <a:gd name="T101" fmla="*/ 42 h 112"/>
                <a:gd name="T102" fmla="*/ 56 w 96"/>
                <a:gd name="T103" fmla="*/ 43 h 112"/>
                <a:gd name="T104" fmla="*/ 42 w 96"/>
                <a:gd name="T105" fmla="*/ 36 h 112"/>
                <a:gd name="T106" fmla="*/ 64 w 96"/>
                <a:gd name="T107" fmla="*/ 29 h 112"/>
                <a:gd name="T108" fmla="*/ 77 w 96"/>
                <a:gd name="T109" fmla="*/ 46 h 112"/>
                <a:gd name="T110" fmla="*/ 75 w 96"/>
                <a:gd name="T111" fmla="*/ 7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12">
                  <a:moveTo>
                    <a:pt x="31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1" y="76"/>
                    <a:pt x="31" y="76"/>
                    <a:pt x="31" y="76"/>
                  </a:cubicBezTo>
                  <a:lnTo>
                    <a:pt x="31" y="80"/>
                  </a:lnTo>
                  <a:close/>
                  <a:moveTo>
                    <a:pt x="95" y="96"/>
                  </a:moveTo>
                  <a:cubicBezTo>
                    <a:pt x="83" y="77"/>
                    <a:pt x="83" y="77"/>
                    <a:pt x="83" y="77"/>
                  </a:cubicBezTo>
                  <a:cubicBezTo>
                    <a:pt x="82" y="76"/>
                    <a:pt x="81" y="76"/>
                    <a:pt x="80" y="76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7" y="72"/>
                    <a:pt x="78" y="66"/>
                    <a:pt x="79" y="60"/>
                  </a:cubicBezTo>
                  <a:cubicBezTo>
                    <a:pt x="80" y="55"/>
                    <a:pt x="81" y="51"/>
                    <a:pt x="81" y="46"/>
                  </a:cubicBezTo>
                  <a:cubicBezTo>
                    <a:pt x="81" y="41"/>
                    <a:pt x="73" y="29"/>
                    <a:pt x="67" y="26"/>
                  </a:cubicBezTo>
                  <a:cubicBezTo>
                    <a:pt x="64" y="25"/>
                    <a:pt x="62" y="25"/>
                    <a:pt x="61" y="26"/>
                  </a:cubicBezTo>
                  <a:cubicBezTo>
                    <a:pt x="61" y="26"/>
                    <a:pt x="61" y="26"/>
                    <a:pt x="60" y="26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4"/>
                    <a:pt x="57" y="0"/>
                    <a:pt x="5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4" y="0"/>
                    <a:pt x="11" y="4"/>
                    <a:pt x="11" y="8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0" y="30"/>
                    <a:pt x="9" y="30"/>
                    <a:pt x="8" y="30"/>
                  </a:cubicBezTo>
                  <a:cubicBezTo>
                    <a:pt x="4" y="30"/>
                    <a:pt x="0" y="34"/>
                    <a:pt x="0" y="39"/>
                  </a:cubicBezTo>
                  <a:cubicBezTo>
                    <a:pt x="0" y="42"/>
                    <a:pt x="1" y="45"/>
                    <a:pt x="3" y="46"/>
                  </a:cubicBezTo>
                  <a:cubicBezTo>
                    <a:pt x="1" y="48"/>
                    <a:pt x="0" y="51"/>
                    <a:pt x="0" y="54"/>
                  </a:cubicBezTo>
                  <a:cubicBezTo>
                    <a:pt x="0" y="57"/>
                    <a:pt x="1" y="60"/>
                    <a:pt x="3" y="61"/>
                  </a:cubicBezTo>
                  <a:cubicBezTo>
                    <a:pt x="1" y="63"/>
                    <a:pt x="0" y="66"/>
                    <a:pt x="0" y="69"/>
                  </a:cubicBezTo>
                  <a:cubicBezTo>
                    <a:pt x="0" y="72"/>
                    <a:pt x="2" y="75"/>
                    <a:pt x="4" y="77"/>
                  </a:cubicBezTo>
                  <a:cubicBezTo>
                    <a:pt x="3" y="78"/>
                    <a:pt x="2" y="80"/>
                    <a:pt x="2" y="82"/>
                  </a:cubicBezTo>
                  <a:cubicBezTo>
                    <a:pt x="2" y="87"/>
                    <a:pt x="5" y="91"/>
                    <a:pt x="9" y="91"/>
                  </a:cubicBezTo>
                  <a:cubicBezTo>
                    <a:pt x="11" y="91"/>
                    <a:pt x="13" y="90"/>
                    <a:pt x="14" y="90"/>
                  </a:cubicBezTo>
                  <a:cubicBezTo>
                    <a:pt x="16" y="90"/>
                    <a:pt x="17" y="91"/>
                    <a:pt x="19" y="91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26" y="93"/>
                    <a:pt x="28" y="95"/>
                    <a:pt x="30" y="97"/>
                  </a:cubicBezTo>
                  <a:cubicBezTo>
                    <a:pt x="34" y="101"/>
                    <a:pt x="39" y="102"/>
                    <a:pt x="42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103"/>
                    <a:pt x="42" y="104"/>
                    <a:pt x="42" y="105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7" y="112"/>
                    <a:pt x="47" y="112"/>
                    <a:pt x="48" y="112"/>
                  </a:cubicBezTo>
                  <a:cubicBezTo>
                    <a:pt x="48" y="112"/>
                    <a:pt x="49" y="112"/>
                    <a:pt x="49" y="112"/>
                  </a:cubicBezTo>
                  <a:cubicBezTo>
                    <a:pt x="50" y="111"/>
                    <a:pt x="50" y="110"/>
                    <a:pt x="50" y="109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92" y="98"/>
                    <a:pt x="92" y="98"/>
                    <a:pt x="92" y="98"/>
                  </a:cubicBezTo>
                  <a:cubicBezTo>
                    <a:pt x="93" y="99"/>
                    <a:pt x="94" y="100"/>
                    <a:pt x="95" y="99"/>
                  </a:cubicBezTo>
                  <a:cubicBezTo>
                    <a:pt x="96" y="98"/>
                    <a:pt x="96" y="97"/>
                    <a:pt x="95" y="96"/>
                  </a:cubicBezTo>
                  <a:moveTo>
                    <a:pt x="8" y="34"/>
                  </a:moveTo>
                  <a:cubicBezTo>
                    <a:pt x="9" y="34"/>
                    <a:pt x="10" y="34"/>
                    <a:pt x="11" y="3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0" y="44"/>
                    <a:pt x="9" y="44"/>
                    <a:pt x="8" y="44"/>
                  </a:cubicBezTo>
                  <a:cubicBezTo>
                    <a:pt x="6" y="44"/>
                    <a:pt x="4" y="42"/>
                    <a:pt x="4" y="39"/>
                  </a:cubicBezTo>
                  <a:cubicBezTo>
                    <a:pt x="4" y="36"/>
                    <a:pt x="6" y="34"/>
                    <a:pt x="8" y="34"/>
                  </a:cubicBezTo>
                  <a:moveTo>
                    <a:pt x="8" y="49"/>
                  </a:moveTo>
                  <a:cubicBezTo>
                    <a:pt x="11" y="49"/>
                    <a:pt x="15" y="52"/>
                    <a:pt x="15" y="55"/>
                  </a:cubicBezTo>
                  <a:cubicBezTo>
                    <a:pt x="15" y="58"/>
                    <a:pt x="11" y="59"/>
                    <a:pt x="8" y="59"/>
                  </a:cubicBezTo>
                  <a:cubicBezTo>
                    <a:pt x="6" y="59"/>
                    <a:pt x="4" y="57"/>
                    <a:pt x="4" y="54"/>
                  </a:cubicBezTo>
                  <a:cubicBezTo>
                    <a:pt x="4" y="51"/>
                    <a:pt x="6" y="49"/>
                    <a:pt x="8" y="49"/>
                  </a:cubicBezTo>
                  <a:moveTo>
                    <a:pt x="9" y="87"/>
                  </a:moveTo>
                  <a:cubicBezTo>
                    <a:pt x="8" y="87"/>
                    <a:pt x="6" y="85"/>
                    <a:pt x="6" y="82"/>
                  </a:cubicBezTo>
                  <a:cubicBezTo>
                    <a:pt x="6" y="80"/>
                    <a:pt x="8" y="78"/>
                    <a:pt x="9" y="78"/>
                  </a:cubicBezTo>
                  <a:cubicBezTo>
                    <a:pt x="11" y="78"/>
                    <a:pt x="15" y="80"/>
                    <a:pt x="15" y="82"/>
                  </a:cubicBezTo>
                  <a:cubicBezTo>
                    <a:pt x="15" y="85"/>
                    <a:pt x="11" y="87"/>
                    <a:pt x="9" y="87"/>
                  </a:cubicBezTo>
                  <a:moveTo>
                    <a:pt x="8" y="74"/>
                  </a:moveTo>
                  <a:cubicBezTo>
                    <a:pt x="6" y="74"/>
                    <a:pt x="4" y="72"/>
                    <a:pt x="4" y="69"/>
                  </a:cubicBezTo>
                  <a:cubicBezTo>
                    <a:pt x="4" y="66"/>
                    <a:pt x="6" y="63"/>
                    <a:pt x="8" y="63"/>
                  </a:cubicBezTo>
                  <a:cubicBezTo>
                    <a:pt x="11" y="63"/>
                    <a:pt x="15" y="67"/>
                    <a:pt x="15" y="70"/>
                  </a:cubicBezTo>
                  <a:cubicBezTo>
                    <a:pt x="15" y="72"/>
                    <a:pt x="11" y="74"/>
                    <a:pt x="8" y="74"/>
                  </a:cubicBezTo>
                  <a:moveTo>
                    <a:pt x="15" y="62"/>
                  </a:moveTo>
                  <a:cubicBezTo>
                    <a:pt x="17" y="60"/>
                    <a:pt x="19" y="58"/>
                    <a:pt x="19" y="55"/>
                  </a:cubicBezTo>
                  <a:cubicBezTo>
                    <a:pt x="19" y="52"/>
                    <a:pt x="17" y="49"/>
                    <a:pt x="15" y="4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6"/>
                    <a:pt x="17" y="4"/>
                    <a:pt x="19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4" y="4"/>
                    <a:pt x="56" y="6"/>
                    <a:pt x="56" y="8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2" y="30"/>
                    <a:pt x="47" y="31"/>
                    <a:pt x="42" y="32"/>
                  </a:cubicBezTo>
                  <a:cubicBezTo>
                    <a:pt x="40" y="32"/>
                    <a:pt x="38" y="33"/>
                    <a:pt x="38" y="34"/>
                  </a:cubicBezTo>
                  <a:cubicBezTo>
                    <a:pt x="37" y="36"/>
                    <a:pt x="38" y="39"/>
                    <a:pt x="40" y="42"/>
                  </a:cubicBezTo>
                  <a:cubicBezTo>
                    <a:pt x="43" y="45"/>
                    <a:pt x="49" y="49"/>
                    <a:pt x="56" y="47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8" y="65"/>
                    <a:pt x="17" y="63"/>
                    <a:pt x="15" y="62"/>
                  </a:cubicBezTo>
                  <a:close/>
                  <a:moveTo>
                    <a:pt x="19" y="87"/>
                  </a:moveTo>
                  <a:cubicBezTo>
                    <a:pt x="18" y="87"/>
                    <a:pt x="18" y="87"/>
                    <a:pt x="18" y="87"/>
                  </a:cubicBezTo>
                  <a:cubicBezTo>
                    <a:pt x="18" y="85"/>
                    <a:pt x="19" y="84"/>
                    <a:pt x="19" y="82"/>
                  </a:cubicBezTo>
                  <a:cubicBezTo>
                    <a:pt x="19" y="80"/>
                    <a:pt x="17" y="78"/>
                    <a:pt x="15" y="76"/>
                  </a:cubicBezTo>
                  <a:cubicBezTo>
                    <a:pt x="17" y="75"/>
                    <a:pt x="18" y="74"/>
                    <a:pt x="19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5"/>
                    <a:pt x="54" y="87"/>
                    <a:pt x="52" y="87"/>
                  </a:cubicBezTo>
                  <a:lnTo>
                    <a:pt x="19" y="87"/>
                  </a:lnTo>
                  <a:close/>
                  <a:moveTo>
                    <a:pt x="75" y="77"/>
                  </a:moveTo>
                  <a:cubicBezTo>
                    <a:pt x="76" y="79"/>
                    <a:pt x="76" y="79"/>
                    <a:pt x="76" y="7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6" y="98"/>
                    <a:pt x="44" y="98"/>
                    <a:pt x="43" y="98"/>
                  </a:cubicBezTo>
                  <a:cubicBezTo>
                    <a:pt x="39" y="98"/>
                    <a:pt x="36" y="97"/>
                    <a:pt x="33" y="94"/>
                  </a:cubicBezTo>
                  <a:cubicBezTo>
                    <a:pt x="32" y="93"/>
                    <a:pt x="31" y="92"/>
                    <a:pt x="30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7" y="91"/>
                    <a:pt x="60" y="87"/>
                    <a:pt x="60" y="82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3"/>
                    <a:pt x="60" y="42"/>
                    <a:pt x="58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3"/>
                    <a:pt x="56" y="43"/>
                  </a:cubicBezTo>
                  <a:cubicBezTo>
                    <a:pt x="49" y="45"/>
                    <a:pt x="45" y="41"/>
                    <a:pt x="43" y="39"/>
                  </a:cubicBezTo>
                  <a:cubicBezTo>
                    <a:pt x="42" y="38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6" y="36"/>
                    <a:pt x="56" y="35"/>
                    <a:pt x="64" y="29"/>
                  </a:cubicBezTo>
                  <a:cubicBezTo>
                    <a:pt x="64" y="29"/>
                    <a:pt x="65" y="30"/>
                    <a:pt x="68" y="32"/>
                  </a:cubicBezTo>
                  <a:cubicBezTo>
                    <a:pt x="72" y="36"/>
                    <a:pt x="77" y="43"/>
                    <a:pt x="77" y="46"/>
                  </a:cubicBezTo>
                  <a:cubicBezTo>
                    <a:pt x="77" y="50"/>
                    <a:pt x="76" y="55"/>
                    <a:pt x="75" y="59"/>
                  </a:cubicBezTo>
                  <a:cubicBezTo>
                    <a:pt x="74" y="66"/>
                    <a:pt x="72" y="73"/>
                    <a:pt x="75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9" name="Group 224">
            <a:extLst>
              <a:ext uri="{FF2B5EF4-FFF2-40B4-BE49-F238E27FC236}">
                <a16:creationId xmlns:a16="http://schemas.microsoft.com/office/drawing/2014/main" id="{A9072FD6-12CC-48B3-A347-F8F03259AF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5013" y="1597937"/>
            <a:ext cx="758825" cy="758825"/>
            <a:chOff x="3663" y="1114"/>
            <a:chExt cx="478" cy="478"/>
          </a:xfrm>
        </p:grpSpPr>
        <p:sp>
          <p:nvSpPr>
            <p:cNvPr id="240" name="AutoShape 223">
              <a:extLst>
                <a:ext uri="{FF2B5EF4-FFF2-40B4-BE49-F238E27FC236}">
                  <a16:creationId xmlns:a16="http://schemas.microsoft.com/office/drawing/2014/main" id="{08073BDE-C2B3-46A8-89FF-6A70ED4551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3" y="111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25">
              <a:extLst>
                <a:ext uri="{FF2B5EF4-FFF2-40B4-BE49-F238E27FC236}">
                  <a16:creationId xmlns:a16="http://schemas.microsoft.com/office/drawing/2014/main" id="{B4699C91-4405-4D0C-822E-066DDBF3C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5" y="1116"/>
              <a:ext cx="476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26">
              <a:extLst>
                <a:ext uri="{FF2B5EF4-FFF2-40B4-BE49-F238E27FC236}">
                  <a16:creationId xmlns:a16="http://schemas.microsoft.com/office/drawing/2014/main" id="{A58D1B0D-BA71-45D0-930A-CA3AB4059A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1214"/>
              <a:ext cx="282" cy="280"/>
            </a:xfrm>
            <a:custGeom>
              <a:avLst/>
              <a:gdLst>
                <a:gd name="T0" fmla="*/ 35 w 115"/>
                <a:gd name="T1" fmla="*/ 106 h 114"/>
                <a:gd name="T2" fmla="*/ 35 w 115"/>
                <a:gd name="T3" fmla="*/ 101 h 114"/>
                <a:gd name="T4" fmla="*/ 24 w 115"/>
                <a:gd name="T5" fmla="*/ 103 h 114"/>
                <a:gd name="T6" fmla="*/ 31 w 115"/>
                <a:gd name="T7" fmla="*/ 8 h 114"/>
                <a:gd name="T8" fmla="*/ 31 w 115"/>
                <a:gd name="T9" fmla="*/ 13 h 114"/>
                <a:gd name="T10" fmla="*/ 31 w 115"/>
                <a:gd name="T11" fmla="*/ 8 h 114"/>
                <a:gd name="T12" fmla="*/ 97 w 115"/>
                <a:gd name="T13" fmla="*/ 28 h 114"/>
                <a:gd name="T14" fmla="*/ 55 w 115"/>
                <a:gd name="T15" fmla="*/ 21 h 114"/>
                <a:gd name="T16" fmla="*/ 46 w 115"/>
                <a:gd name="T17" fmla="*/ 19 h 114"/>
                <a:gd name="T18" fmla="*/ 46 w 115"/>
                <a:gd name="T19" fmla="*/ 24 h 114"/>
                <a:gd name="T20" fmla="*/ 57 w 115"/>
                <a:gd name="T21" fmla="*/ 60 h 114"/>
                <a:gd name="T22" fmla="*/ 59 w 115"/>
                <a:gd name="T23" fmla="*/ 72 h 114"/>
                <a:gd name="T24" fmla="*/ 65 w 115"/>
                <a:gd name="T25" fmla="*/ 64 h 114"/>
                <a:gd name="T26" fmla="*/ 79 w 115"/>
                <a:gd name="T27" fmla="*/ 66 h 114"/>
                <a:gd name="T28" fmla="*/ 92 w 115"/>
                <a:gd name="T29" fmla="*/ 66 h 114"/>
                <a:gd name="T30" fmla="*/ 61 w 115"/>
                <a:gd name="T31" fmla="*/ 59 h 114"/>
                <a:gd name="T32" fmla="*/ 92 w 115"/>
                <a:gd name="T33" fmla="*/ 55 h 114"/>
                <a:gd name="T34" fmla="*/ 99 w 115"/>
                <a:gd name="T35" fmla="*/ 31 h 114"/>
                <a:gd name="T36" fmla="*/ 86 w 115"/>
                <a:gd name="T37" fmla="*/ 64 h 114"/>
                <a:gd name="T38" fmla="*/ 86 w 115"/>
                <a:gd name="T39" fmla="*/ 68 h 114"/>
                <a:gd name="T40" fmla="*/ 86 w 115"/>
                <a:gd name="T41" fmla="*/ 64 h 114"/>
                <a:gd name="T42" fmla="*/ 59 w 115"/>
                <a:gd name="T43" fmla="*/ 68 h 114"/>
                <a:gd name="T44" fmla="*/ 59 w 115"/>
                <a:gd name="T45" fmla="*/ 64 h 114"/>
                <a:gd name="T46" fmla="*/ 91 w 115"/>
                <a:gd name="T47" fmla="*/ 50 h 114"/>
                <a:gd name="T48" fmla="*/ 57 w 115"/>
                <a:gd name="T49" fmla="*/ 33 h 114"/>
                <a:gd name="T50" fmla="*/ 91 w 115"/>
                <a:gd name="T51" fmla="*/ 50 h 114"/>
                <a:gd name="T52" fmla="*/ 58 w 115"/>
                <a:gd name="T53" fmla="*/ 1 h 114"/>
                <a:gd name="T54" fmla="*/ 8 w 115"/>
                <a:gd name="T55" fmla="*/ 0 h 114"/>
                <a:gd name="T56" fmla="*/ 0 w 115"/>
                <a:gd name="T57" fmla="*/ 106 h 114"/>
                <a:gd name="T58" fmla="*/ 53 w 115"/>
                <a:gd name="T59" fmla="*/ 114 h 114"/>
                <a:gd name="T60" fmla="*/ 62 w 115"/>
                <a:gd name="T61" fmla="*/ 88 h 114"/>
                <a:gd name="T62" fmla="*/ 115 w 115"/>
                <a:gd name="T63" fmla="*/ 44 h 114"/>
                <a:gd name="T64" fmla="*/ 4 w 115"/>
                <a:gd name="T65" fmla="*/ 8 h 114"/>
                <a:gd name="T66" fmla="*/ 51 w 115"/>
                <a:gd name="T67" fmla="*/ 4 h 114"/>
                <a:gd name="T68" fmla="*/ 4 w 115"/>
                <a:gd name="T69" fmla="*/ 17 h 114"/>
                <a:gd name="T70" fmla="*/ 57 w 115"/>
                <a:gd name="T71" fmla="*/ 106 h 114"/>
                <a:gd name="T72" fmla="*/ 8 w 115"/>
                <a:gd name="T73" fmla="*/ 110 h 114"/>
                <a:gd name="T74" fmla="*/ 4 w 115"/>
                <a:gd name="T75" fmla="*/ 97 h 114"/>
                <a:gd name="T76" fmla="*/ 57 w 115"/>
                <a:gd name="T77" fmla="*/ 106 h 114"/>
                <a:gd name="T78" fmla="*/ 4 w 115"/>
                <a:gd name="T79" fmla="*/ 92 h 114"/>
                <a:gd name="T80" fmla="*/ 32 w 115"/>
                <a:gd name="T81" fmla="*/ 22 h 114"/>
                <a:gd name="T82" fmla="*/ 38 w 115"/>
                <a:gd name="T83" fmla="*/ 73 h 114"/>
                <a:gd name="T84" fmla="*/ 26 w 115"/>
                <a:gd name="T85" fmla="*/ 87 h 114"/>
                <a:gd name="T86" fmla="*/ 57 w 115"/>
                <a:gd name="T87" fmla="*/ 88 h 114"/>
                <a:gd name="T88" fmla="*/ 70 w 115"/>
                <a:gd name="T89" fmla="*/ 84 h 114"/>
                <a:gd name="T90" fmla="*/ 42 w 115"/>
                <a:gd name="T91" fmla="*/ 75 h 114"/>
                <a:gd name="T92" fmla="*/ 31 w 115"/>
                <a:gd name="T93" fmla="*/ 44 h 114"/>
                <a:gd name="T94" fmla="*/ 110 w 115"/>
                <a:gd name="T95" fmla="*/ 4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5" h="114">
                  <a:moveTo>
                    <a:pt x="26" y="106"/>
                  </a:moveTo>
                  <a:cubicBezTo>
                    <a:pt x="35" y="106"/>
                    <a:pt x="35" y="106"/>
                    <a:pt x="35" y="106"/>
                  </a:cubicBezTo>
                  <a:cubicBezTo>
                    <a:pt x="36" y="106"/>
                    <a:pt x="37" y="105"/>
                    <a:pt x="37" y="103"/>
                  </a:cubicBezTo>
                  <a:cubicBezTo>
                    <a:pt x="37" y="102"/>
                    <a:pt x="36" y="101"/>
                    <a:pt x="35" y="101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5" y="101"/>
                    <a:pt x="24" y="102"/>
                    <a:pt x="24" y="103"/>
                  </a:cubicBezTo>
                  <a:cubicBezTo>
                    <a:pt x="24" y="105"/>
                    <a:pt x="25" y="106"/>
                    <a:pt x="26" y="106"/>
                  </a:cubicBezTo>
                  <a:moveTo>
                    <a:pt x="31" y="8"/>
                  </a:moveTo>
                  <a:cubicBezTo>
                    <a:pt x="29" y="8"/>
                    <a:pt x="28" y="9"/>
                    <a:pt x="28" y="11"/>
                  </a:cubicBezTo>
                  <a:cubicBezTo>
                    <a:pt x="28" y="12"/>
                    <a:pt x="29" y="13"/>
                    <a:pt x="31" y="13"/>
                  </a:cubicBezTo>
                  <a:cubicBezTo>
                    <a:pt x="32" y="13"/>
                    <a:pt x="33" y="12"/>
                    <a:pt x="33" y="11"/>
                  </a:cubicBezTo>
                  <a:cubicBezTo>
                    <a:pt x="33" y="9"/>
                    <a:pt x="32" y="8"/>
                    <a:pt x="31" y="8"/>
                  </a:cubicBezTo>
                  <a:moveTo>
                    <a:pt x="99" y="29"/>
                  </a:moveTo>
                  <a:cubicBezTo>
                    <a:pt x="98" y="29"/>
                    <a:pt x="98" y="28"/>
                    <a:pt x="97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20"/>
                    <a:pt x="54" y="19"/>
                    <a:pt x="53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5" y="19"/>
                    <a:pt x="44" y="20"/>
                    <a:pt x="44" y="22"/>
                  </a:cubicBezTo>
                  <a:cubicBezTo>
                    <a:pt x="44" y="23"/>
                    <a:pt x="45" y="24"/>
                    <a:pt x="46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4" y="61"/>
                    <a:pt x="53" y="63"/>
                    <a:pt x="53" y="66"/>
                  </a:cubicBezTo>
                  <a:cubicBezTo>
                    <a:pt x="53" y="69"/>
                    <a:pt x="56" y="72"/>
                    <a:pt x="59" y="72"/>
                  </a:cubicBezTo>
                  <a:cubicBezTo>
                    <a:pt x="63" y="72"/>
                    <a:pt x="66" y="69"/>
                    <a:pt x="66" y="66"/>
                  </a:cubicBezTo>
                  <a:cubicBezTo>
                    <a:pt x="66" y="65"/>
                    <a:pt x="66" y="64"/>
                    <a:pt x="65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79" y="64"/>
                    <a:pt x="79" y="65"/>
                    <a:pt x="79" y="66"/>
                  </a:cubicBezTo>
                  <a:cubicBezTo>
                    <a:pt x="79" y="69"/>
                    <a:pt x="82" y="72"/>
                    <a:pt x="86" y="72"/>
                  </a:cubicBezTo>
                  <a:cubicBezTo>
                    <a:pt x="89" y="72"/>
                    <a:pt x="92" y="69"/>
                    <a:pt x="92" y="66"/>
                  </a:cubicBezTo>
                  <a:cubicBezTo>
                    <a:pt x="92" y="62"/>
                    <a:pt x="89" y="59"/>
                    <a:pt x="86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4" y="54"/>
                    <a:pt x="95" y="53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0"/>
                    <a:pt x="99" y="30"/>
                    <a:pt x="99" y="29"/>
                  </a:cubicBezTo>
                  <a:moveTo>
                    <a:pt x="86" y="64"/>
                  </a:moveTo>
                  <a:cubicBezTo>
                    <a:pt x="87" y="64"/>
                    <a:pt x="88" y="65"/>
                    <a:pt x="88" y="66"/>
                  </a:cubicBezTo>
                  <a:cubicBezTo>
                    <a:pt x="88" y="67"/>
                    <a:pt x="87" y="68"/>
                    <a:pt x="86" y="68"/>
                  </a:cubicBezTo>
                  <a:cubicBezTo>
                    <a:pt x="85" y="68"/>
                    <a:pt x="84" y="67"/>
                    <a:pt x="84" y="66"/>
                  </a:cubicBezTo>
                  <a:cubicBezTo>
                    <a:pt x="84" y="65"/>
                    <a:pt x="85" y="64"/>
                    <a:pt x="86" y="64"/>
                  </a:cubicBezTo>
                  <a:moveTo>
                    <a:pt x="62" y="66"/>
                  </a:moveTo>
                  <a:cubicBezTo>
                    <a:pt x="62" y="67"/>
                    <a:pt x="60" y="68"/>
                    <a:pt x="59" y="68"/>
                  </a:cubicBezTo>
                  <a:cubicBezTo>
                    <a:pt x="58" y="68"/>
                    <a:pt x="57" y="67"/>
                    <a:pt x="57" y="66"/>
                  </a:cubicBezTo>
                  <a:cubicBezTo>
                    <a:pt x="57" y="65"/>
                    <a:pt x="58" y="64"/>
                    <a:pt x="59" y="64"/>
                  </a:cubicBezTo>
                  <a:cubicBezTo>
                    <a:pt x="60" y="64"/>
                    <a:pt x="62" y="65"/>
                    <a:pt x="62" y="66"/>
                  </a:cubicBezTo>
                  <a:moveTo>
                    <a:pt x="91" y="50"/>
                  </a:moveTo>
                  <a:cubicBezTo>
                    <a:pt x="60" y="50"/>
                    <a:pt x="60" y="50"/>
                    <a:pt x="60" y="5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94" y="33"/>
                    <a:pt x="94" y="33"/>
                    <a:pt x="94" y="33"/>
                  </a:cubicBezTo>
                  <a:lnTo>
                    <a:pt x="91" y="50"/>
                  </a:lnTo>
                  <a:close/>
                  <a:moveTo>
                    <a:pt x="70" y="0"/>
                  </a:moveTo>
                  <a:cubicBezTo>
                    <a:pt x="66" y="0"/>
                    <a:pt x="62" y="0"/>
                    <a:pt x="58" y="1"/>
                  </a:cubicBezTo>
                  <a:cubicBezTo>
                    <a:pt x="56" y="0"/>
                    <a:pt x="55" y="0"/>
                    <a:pt x="5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10"/>
                    <a:pt x="4" y="114"/>
                    <a:pt x="8" y="114"/>
                  </a:cubicBezTo>
                  <a:cubicBezTo>
                    <a:pt x="53" y="114"/>
                    <a:pt x="53" y="114"/>
                    <a:pt x="53" y="114"/>
                  </a:cubicBezTo>
                  <a:cubicBezTo>
                    <a:pt x="58" y="114"/>
                    <a:pt x="62" y="110"/>
                    <a:pt x="62" y="106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95" y="88"/>
                    <a:pt x="115" y="68"/>
                    <a:pt x="115" y="44"/>
                  </a:cubicBezTo>
                  <a:cubicBezTo>
                    <a:pt x="115" y="19"/>
                    <a:pt x="95" y="0"/>
                    <a:pt x="70" y="0"/>
                  </a:cubicBezTo>
                  <a:moveTo>
                    <a:pt x="4" y="8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5" y="7"/>
                    <a:pt x="39" y="12"/>
                    <a:pt x="35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8"/>
                  </a:lnTo>
                  <a:close/>
                  <a:moveTo>
                    <a:pt x="57" y="106"/>
                  </a:moveTo>
                  <a:cubicBezTo>
                    <a:pt x="57" y="108"/>
                    <a:pt x="55" y="110"/>
                    <a:pt x="53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6" y="110"/>
                    <a:pt x="4" y="108"/>
                    <a:pt x="4" y="106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57" y="97"/>
                    <a:pt x="57" y="97"/>
                    <a:pt x="57" y="97"/>
                  </a:cubicBezTo>
                  <a:lnTo>
                    <a:pt x="57" y="106"/>
                  </a:lnTo>
                  <a:close/>
                  <a:moveTo>
                    <a:pt x="57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28" y="28"/>
                    <a:pt x="26" y="36"/>
                    <a:pt x="26" y="44"/>
                  </a:cubicBezTo>
                  <a:cubicBezTo>
                    <a:pt x="26" y="55"/>
                    <a:pt x="30" y="65"/>
                    <a:pt x="38" y="73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6" y="85"/>
                    <a:pt x="26" y="86"/>
                    <a:pt x="26" y="87"/>
                  </a:cubicBezTo>
                  <a:cubicBezTo>
                    <a:pt x="27" y="87"/>
                    <a:pt x="27" y="88"/>
                    <a:pt x="28" y="88"/>
                  </a:cubicBezTo>
                  <a:cubicBezTo>
                    <a:pt x="57" y="88"/>
                    <a:pt x="57" y="88"/>
                    <a:pt x="57" y="88"/>
                  </a:cubicBezTo>
                  <a:lnTo>
                    <a:pt x="57" y="92"/>
                  </a:lnTo>
                  <a:close/>
                  <a:moveTo>
                    <a:pt x="70" y="84"/>
                  </a:moveTo>
                  <a:cubicBezTo>
                    <a:pt x="34" y="84"/>
                    <a:pt x="34" y="84"/>
                    <a:pt x="34" y="84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3" y="74"/>
                    <a:pt x="43" y="73"/>
                    <a:pt x="42" y="72"/>
                  </a:cubicBezTo>
                  <a:cubicBezTo>
                    <a:pt x="35" y="64"/>
                    <a:pt x="31" y="54"/>
                    <a:pt x="31" y="44"/>
                  </a:cubicBezTo>
                  <a:cubicBezTo>
                    <a:pt x="31" y="22"/>
                    <a:pt x="48" y="4"/>
                    <a:pt x="70" y="4"/>
                  </a:cubicBezTo>
                  <a:cubicBezTo>
                    <a:pt x="92" y="4"/>
                    <a:pt x="110" y="22"/>
                    <a:pt x="110" y="44"/>
                  </a:cubicBezTo>
                  <a:cubicBezTo>
                    <a:pt x="110" y="66"/>
                    <a:pt x="92" y="84"/>
                    <a:pt x="70" y="8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3" name="Group 229">
            <a:extLst>
              <a:ext uri="{FF2B5EF4-FFF2-40B4-BE49-F238E27FC236}">
                <a16:creationId xmlns:a16="http://schemas.microsoft.com/office/drawing/2014/main" id="{76FE1106-9797-4627-A53A-0CB87246F7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3463" y="1556662"/>
            <a:ext cx="841375" cy="841375"/>
            <a:chOff x="3005" y="1030"/>
            <a:chExt cx="530" cy="530"/>
          </a:xfrm>
        </p:grpSpPr>
        <p:sp>
          <p:nvSpPr>
            <p:cNvPr id="244" name="AutoShape 228">
              <a:extLst>
                <a:ext uri="{FF2B5EF4-FFF2-40B4-BE49-F238E27FC236}">
                  <a16:creationId xmlns:a16="http://schemas.microsoft.com/office/drawing/2014/main" id="{F0FF3855-B8A2-4E6C-8231-C3EAA607E2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5" y="103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230">
              <a:extLst>
                <a:ext uri="{FF2B5EF4-FFF2-40B4-BE49-F238E27FC236}">
                  <a16:creationId xmlns:a16="http://schemas.microsoft.com/office/drawing/2014/main" id="{F7401A45-FB18-44D5-81B8-75D4A115D3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" y="1033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31">
              <a:extLst>
                <a:ext uri="{FF2B5EF4-FFF2-40B4-BE49-F238E27FC236}">
                  <a16:creationId xmlns:a16="http://schemas.microsoft.com/office/drawing/2014/main" id="{73C66A96-79DF-4C7A-B507-14405D31D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1049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32">
              <a:extLst>
                <a:ext uri="{FF2B5EF4-FFF2-40B4-BE49-F238E27FC236}">
                  <a16:creationId xmlns:a16="http://schemas.microsoft.com/office/drawing/2014/main" id="{2E4CA49D-8D29-4331-8A68-CDF7B7023E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" y="1150"/>
              <a:ext cx="291" cy="293"/>
            </a:xfrm>
            <a:custGeom>
              <a:avLst/>
              <a:gdLst>
                <a:gd name="T0" fmla="*/ 33 w 107"/>
                <a:gd name="T1" fmla="*/ 99 h 108"/>
                <a:gd name="T2" fmla="*/ 33 w 107"/>
                <a:gd name="T3" fmla="*/ 95 h 108"/>
                <a:gd name="T4" fmla="*/ 22 w 107"/>
                <a:gd name="T5" fmla="*/ 97 h 108"/>
                <a:gd name="T6" fmla="*/ 28 w 107"/>
                <a:gd name="T7" fmla="*/ 9 h 108"/>
                <a:gd name="T8" fmla="*/ 28 w 107"/>
                <a:gd name="T9" fmla="*/ 13 h 108"/>
                <a:gd name="T10" fmla="*/ 28 w 107"/>
                <a:gd name="T11" fmla="*/ 9 h 108"/>
                <a:gd name="T12" fmla="*/ 90 w 107"/>
                <a:gd name="T13" fmla="*/ 27 h 108"/>
                <a:gd name="T14" fmla="*/ 51 w 107"/>
                <a:gd name="T15" fmla="*/ 21 h 108"/>
                <a:gd name="T16" fmla="*/ 43 w 107"/>
                <a:gd name="T17" fmla="*/ 19 h 108"/>
                <a:gd name="T18" fmla="*/ 43 w 107"/>
                <a:gd name="T19" fmla="*/ 23 h 108"/>
                <a:gd name="T20" fmla="*/ 53 w 107"/>
                <a:gd name="T21" fmla="*/ 57 h 108"/>
                <a:gd name="T22" fmla="*/ 55 w 107"/>
                <a:gd name="T23" fmla="*/ 68 h 108"/>
                <a:gd name="T24" fmla="*/ 61 w 107"/>
                <a:gd name="T25" fmla="*/ 60 h 108"/>
                <a:gd name="T26" fmla="*/ 74 w 107"/>
                <a:gd name="T27" fmla="*/ 62 h 108"/>
                <a:gd name="T28" fmla="*/ 86 w 107"/>
                <a:gd name="T29" fmla="*/ 62 h 108"/>
                <a:gd name="T30" fmla="*/ 57 w 107"/>
                <a:gd name="T31" fmla="*/ 56 h 108"/>
                <a:gd name="T32" fmla="*/ 86 w 107"/>
                <a:gd name="T33" fmla="*/ 52 h 108"/>
                <a:gd name="T34" fmla="*/ 92 w 107"/>
                <a:gd name="T35" fmla="*/ 30 h 108"/>
                <a:gd name="T36" fmla="*/ 80 w 107"/>
                <a:gd name="T37" fmla="*/ 60 h 108"/>
                <a:gd name="T38" fmla="*/ 80 w 107"/>
                <a:gd name="T39" fmla="*/ 64 h 108"/>
                <a:gd name="T40" fmla="*/ 80 w 107"/>
                <a:gd name="T41" fmla="*/ 60 h 108"/>
                <a:gd name="T42" fmla="*/ 55 w 107"/>
                <a:gd name="T43" fmla="*/ 64 h 108"/>
                <a:gd name="T44" fmla="*/ 55 w 107"/>
                <a:gd name="T45" fmla="*/ 60 h 108"/>
                <a:gd name="T46" fmla="*/ 85 w 107"/>
                <a:gd name="T47" fmla="*/ 48 h 108"/>
                <a:gd name="T48" fmla="*/ 53 w 107"/>
                <a:gd name="T49" fmla="*/ 31 h 108"/>
                <a:gd name="T50" fmla="*/ 85 w 107"/>
                <a:gd name="T51" fmla="*/ 48 h 108"/>
                <a:gd name="T52" fmla="*/ 54 w 107"/>
                <a:gd name="T53" fmla="*/ 2 h 108"/>
                <a:gd name="T54" fmla="*/ 8 w 107"/>
                <a:gd name="T55" fmla="*/ 0 h 108"/>
                <a:gd name="T56" fmla="*/ 0 w 107"/>
                <a:gd name="T57" fmla="*/ 99 h 108"/>
                <a:gd name="T58" fmla="*/ 49 w 107"/>
                <a:gd name="T59" fmla="*/ 108 h 108"/>
                <a:gd name="T60" fmla="*/ 57 w 107"/>
                <a:gd name="T61" fmla="*/ 83 h 108"/>
                <a:gd name="T62" fmla="*/ 107 w 107"/>
                <a:gd name="T63" fmla="*/ 42 h 108"/>
                <a:gd name="T64" fmla="*/ 4 w 107"/>
                <a:gd name="T65" fmla="*/ 9 h 108"/>
                <a:gd name="T66" fmla="*/ 48 w 107"/>
                <a:gd name="T67" fmla="*/ 4 h 108"/>
                <a:gd name="T68" fmla="*/ 4 w 107"/>
                <a:gd name="T69" fmla="*/ 17 h 108"/>
                <a:gd name="T70" fmla="*/ 53 w 107"/>
                <a:gd name="T71" fmla="*/ 99 h 108"/>
                <a:gd name="T72" fmla="*/ 8 w 107"/>
                <a:gd name="T73" fmla="*/ 104 h 108"/>
                <a:gd name="T74" fmla="*/ 4 w 107"/>
                <a:gd name="T75" fmla="*/ 91 h 108"/>
                <a:gd name="T76" fmla="*/ 53 w 107"/>
                <a:gd name="T77" fmla="*/ 99 h 108"/>
                <a:gd name="T78" fmla="*/ 4 w 107"/>
                <a:gd name="T79" fmla="*/ 87 h 108"/>
                <a:gd name="T80" fmla="*/ 30 w 107"/>
                <a:gd name="T81" fmla="*/ 21 h 108"/>
                <a:gd name="T82" fmla="*/ 35 w 107"/>
                <a:gd name="T83" fmla="*/ 69 h 108"/>
                <a:gd name="T84" fmla="*/ 24 w 107"/>
                <a:gd name="T85" fmla="*/ 82 h 108"/>
                <a:gd name="T86" fmla="*/ 53 w 107"/>
                <a:gd name="T87" fmla="*/ 83 h 108"/>
                <a:gd name="T88" fmla="*/ 66 w 107"/>
                <a:gd name="T89" fmla="*/ 79 h 108"/>
                <a:gd name="T90" fmla="*/ 39 w 107"/>
                <a:gd name="T91" fmla="*/ 71 h 108"/>
                <a:gd name="T92" fmla="*/ 28 w 107"/>
                <a:gd name="T93" fmla="*/ 42 h 108"/>
                <a:gd name="T94" fmla="*/ 103 w 107"/>
                <a:gd name="T95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08">
                  <a:moveTo>
                    <a:pt x="24" y="99"/>
                  </a:moveTo>
                  <a:cubicBezTo>
                    <a:pt x="33" y="99"/>
                    <a:pt x="33" y="99"/>
                    <a:pt x="33" y="99"/>
                  </a:cubicBezTo>
                  <a:cubicBezTo>
                    <a:pt x="34" y="99"/>
                    <a:pt x="35" y="98"/>
                    <a:pt x="35" y="97"/>
                  </a:cubicBezTo>
                  <a:cubicBezTo>
                    <a:pt x="35" y="96"/>
                    <a:pt x="34" y="95"/>
                    <a:pt x="33" y="95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23" y="95"/>
                    <a:pt x="22" y="96"/>
                    <a:pt x="22" y="97"/>
                  </a:cubicBezTo>
                  <a:cubicBezTo>
                    <a:pt x="22" y="98"/>
                    <a:pt x="23" y="99"/>
                    <a:pt x="24" y="99"/>
                  </a:cubicBezTo>
                  <a:moveTo>
                    <a:pt x="28" y="9"/>
                  </a:moveTo>
                  <a:cubicBezTo>
                    <a:pt x="27" y="9"/>
                    <a:pt x="26" y="10"/>
                    <a:pt x="26" y="11"/>
                  </a:cubicBezTo>
                  <a:cubicBezTo>
                    <a:pt x="26" y="12"/>
                    <a:pt x="27" y="13"/>
                    <a:pt x="28" y="13"/>
                  </a:cubicBezTo>
                  <a:cubicBezTo>
                    <a:pt x="30" y="13"/>
                    <a:pt x="31" y="12"/>
                    <a:pt x="31" y="11"/>
                  </a:cubicBezTo>
                  <a:cubicBezTo>
                    <a:pt x="31" y="10"/>
                    <a:pt x="30" y="9"/>
                    <a:pt x="28" y="9"/>
                  </a:cubicBezTo>
                  <a:moveTo>
                    <a:pt x="92" y="28"/>
                  </a:moveTo>
                  <a:cubicBezTo>
                    <a:pt x="92" y="27"/>
                    <a:pt x="91" y="27"/>
                    <a:pt x="90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0" y="19"/>
                    <a:pt x="49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2" y="19"/>
                    <a:pt x="41" y="20"/>
                    <a:pt x="41" y="21"/>
                  </a:cubicBezTo>
                  <a:cubicBezTo>
                    <a:pt x="41" y="22"/>
                    <a:pt x="42" y="23"/>
                    <a:pt x="43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1" y="57"/>
                    <a:pt x="49" y="60"/>
                    <a:pt x="49" y="62"/>
                  </a:cubicBezTo>
                  <a:cubicBezTo>
                    <a:pt x="49" y="66"/>
                    <a:pt x="52" y="68"/>
                    <a:pt x="55" y="68"/>
                  </a:cubicBezTo>
                  <a:cubicBezTo>
                    <a:pt x="59" y="68"/>
                    <a:pt x="62" y="66"/>
                    <a:pt x="62" y="62"/>
                  </a:cubicBezTo>
                  <a:cubicBezTo>
                    <a:pt x="62" y="62"/>
                    <a:pt x="61" y="61"/>
                    <a:pt x="61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1"/>
                    <a:pt x="74" y="62"/>
                    <a:pt x="74" y="62"/>
                  </a:cubicBezTo>
                  <a:cubicBezTo>
                    <a:pt x="74" y="66"/>
                    <a:pt x="77" y="68"/>
                    <a:pt x="80" y="68"/>
                  </a:cubicBezTo>
                  <a:cubicBezTo>
                    <a:pt x="84" y="68"/>
                    <a:pt x="86" y="66"/>
                    <a:pt x="86" y="62"/>
                  </a:cubicBezTo>
                  <a:cubicBezTo>
                    <a:pt x="86" y="59"/>
                    <a:pt x="84" y="56"/>
                    <a:pt x="80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7" y="52"/>
                    <a:pt x="88" y="51"/>
                    <a:pt x="88" y="5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29"/>
                    <a:pt x="92" y="28"/>
                    <a:pt x="92" y="28"/>
                  </a:cubicBezTo>
                  <a:moveTo>
                    <a:pt x="80" y="60"/>
                  </a:moveTo>
                  <a:cubicBezTo>
                    <a:pt x="81" y="60"/>
                    <a:pt x="82" y="61"/>
                    <a:pt x="82" y="62"/>
                  </a:cubicBezTo>
                  <a:cubicBezTo>
                    <a:pt x="82" y="63"/>
                    <a:pt x="81" y="64"/>
                    <a:pt x="80" y="64"/>
                  </a:cubicBezTo>
                  <a:cubicBezTo>
                    <a:pt x="79" y="64"/>
                    <a:pt x="78" y="63"/>
                    <a:pt x="78" y="62"/>
                  </a:cubicBezTo>
                  <a:cubicBezTo>
                    <a:pt x="78" y="61"/>
                    <a:pt x="79" y="60"/>
                    <a:pt x="80" y="60"/>
                  </a:cubicBezTo>
                  <a:moveTo>
                    <a:pt x="57" y="62"/>
                  </a:moveTo>
                  <a:cubicBezTo>
                    <a:pt x="57" y="63"/>
                    <a:pt x="56" y="64"/>
                    <a:pt x="55" y="64"/>
                  </a:cubicBezTo>
                  <a:cubicBezTo>
                    <a:pt x="54" y="64"/>
                    <a:pt x="53" y="63"/>
                    <a:pt x="53" y="62"/>
                  </a:cubicBezTo>
                  <a:cubicBezTo>
                    <a:pt x="53" y="61"/>
                    <a:pt x="54" y="60"/>
                    <a:pt x="55" y="60"/>
                  </a:cubicBezTo>
                  <a:cubicBezTo>
                    <a:pt x="56" y="60"/>
                    <a:pt x="57" y="61"/>
                    <a:pt x="57" y="62"/>
                  </a:cubicBezTo>
                  <a:moveTo>
                    <a:pt x="85" y="48"/>
                  </a:moveTo>
                  <a:cubicBezTo>
                    <a:pt x="56" y="48"/>
                    <a:pt x="56" y="48"/>
                    <a:pt x="56" y="48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88" y="31"/>
                    <a:pt x="88" y="31"/>
                    <a:pt x="88" y="31"/>
                  </a:cubicBezTo>
                  <a:lnTo>
                    <a:pt x="85" y="48"/>
                  </a:lnTo>
                  <a:close/>
                  <a:moveTo>
                    <a:pt x="66" y="0"/>
                  </a:moveTo>
                  <a:cubicBezTo>
                    <a:pt x="62" y="0"/>
                    <a:pt x="58" y="1"/>
                    <a:pt x="54" y="2"/>
                  </a:cubicBezTo>
                  <a:cubicBezTo>
                    <a:pt x="53" y="1"/>
                    <a:pt x="51" y="0"/>
                    <a:pt x="4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4"/>
                    <a:pt x="3" y="108"/>
                    <a:pt x="8" y="108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54" y="108"/>
                    <a:pt x="57" y="104"/>
                    <a:pt x="57" y="99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88" y="83"/>
                    <a:pt x="107" y="64"/>
                    <a:pt x="107" y="42"/>
                  </a:cubicBezTo>
                  <a:cubicBezTo>
                    <a:pt x="107" y="19"/>
                    <a:pt x="88" y="0"/>
                    <a:pt x="66" y="0"/>
                  </a:cubicBezTo>
                  <a:moveTo>
                    <a:pt x="4" y="9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2" y="7"/>
                    <a:pt x="37" y="12"/>
                    <a:pt x="33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9"/>
                  </a:lnTo>
                  <a:close/>
                  <a:moveTo>
                    <a:pt x="53" y="99"/>
                  </a:moveTo>
                  <a:cubicBezTo>
                    <a:pt x="53" y="102"/>
                    <a:pt x="51" y="104"/>
                    <a:pt x="49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4" y="102"/>
                    <a:pt x="4" y="99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53" y="91"/>
                    <a:pt x="53" y="91"/>
                    <a:pt x="53" y="91"/>
                  </a:cubicBezTo>
                  <a:lnTo>
                    <a:pt x="53" y="99"/>
                  </a:lnTo>
                  <a:close/>
                  <a:moveTo>
                    <a:pt x="53" y="87"/>
                  </a:moveTo>
                  <a:cubicBezTo>
                    <a:pt x="4" y="87"/>
                    <a:pt x="4" y="87"/>
                    <a:pt x="4" y="87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27"/>
                    <a:pt x="24" y="34"/>
                    <a:pt x="24" y="42"/>
                  </a:cubicBezTo>
                  <a:cubicBezTo>
                    <a:pt x="24" y="52"/>
                    <a:pt x="28" y="62"/>
                    <a:pt x="35" y="6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80"/>
                    <a:pt x="24" y="81"/>
                    <a:pt x="24" y="82"/>
                  </a:cubicBezTo>
                  <a:cubicBezTo>
                    <a:pt x="25" y="82"/>
                    <a:pt x="26" y="83"/>
                    <a:pt x="26" y="83"/>
                  </a:cubicBezTo>
                  <a:cubicBezTo>
                    <a:pt x="53" y="83"/>
                    <a:pt x="53" y="83"/>
                    <a:pt x="53" y="83"/>
                  </a:cubicBezTo>
                  <a:lnTo>
                    <a:pt x="53" y="87"/>
                  </a:lnTo>
                  <a:close/>
                  <a:moveTo>
                    <a:pt x="66" y="79"/>
                  </a:moveTo>
                  <a:cubicBezTo>
                    <a:pt x="31" y="79"/>
                    <a:pt x="31" y="79"/>
                    <a:pt x="31" y="79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40" y="70"/>
                    <a:pt x="40" y="69"/>
                    <a:pt x="39" y="68"/>
                  </a:cubicBezTo>
                  <a:cubicBezTo>
                    <a:pt x="32" y="61"/>
                    <a:pt x="28" y="52"/>
                    <a:pt x="28" y="42"/>
                  </a:cubicBezTo>
                  <a:cubicBezTo>
                    <a:pt x="28" y="21"/>
                    <a:pt x="45" y="4"/>
                    <a:pt x="66" y="4"/>
                  </a:cubicBezTo>
                  <a:cubicBezTo>
                    <a:pt x="86" y="4"/>
                    <a:pt x="103" y="21"/>
                    <a:pt x="103" y="42"/>
                  </a:cubicBezTo>
                  <a:cubicBezTo>
                    <a:pt x="103" y="62"/>
                    <a:pt x="86" y="79"/>
                    <a:pt x="66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235">
            <a:extLst>
              <a:ext uri="{FF2B5EF4-FFF2-40B4-BE49-F238E27FC236}">
                <a16:creationId xmlns:a16="http://schemas.microsoft.com/office/drawing/2014/main" id="{98E47DDE-1A22-4598-94C4-2607CFF5F6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3433" y="1597937"/>
            <a:ext cx="758825" cy="758825"/>
            <a:chOff x="5278" y="1205"/>
            <a:chExt cx="478" cy="478"/>
          </a:xfrm>
        </p:grpSpPr>
        <p:sp>
          <p:nvSpPr>
            <p:cNvPr id="253" name="AutoShape 234">
              <a:extLst>
                <a:ext uri="{FF2B5EF4-FFF2-40B4-BE49-F238E27FC236}">
                  <a16:creationId xmlns:a16="http://schemas.microsoft.com/office/drawing/2014/main" id="{0D60D0A1-1FF4-436A-B066-470FC713CA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8" y="120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36">
              <a:extLst>
                <a:ext uri="{FF2B5EF4-FFF2-40B4-BE49-F238E27FC236}">
                  <a16:creationId xmlns:a16="http://schemas.microsoft.com/office/drawing/2014/main" id="{69838A21-1809-48BB-AF6B-6195E762A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0" y="120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37">
              <a:extLst>
                <a:ext uri="{FF2B5EF4-FFF2-40B4-BE49-F238E27FC236}">
                  <a16:creationId xmlns:a16="http://schemas.microsoft.com/office/drawing/2014/main" id="{DEA951B6-EB58-4509-B0AE-1A25D010C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8" y="1288"/>
              <a:ext cx="260" cy="314"/>
            </a:xfrm>
            <a:custGeom>
              <a:avLst/>
              <a:gdLst>
                <a:gd name="T0" fmla="*/ 245 w 260"/>
                <a:gd name="T1" fmla="*/ 138 h 314"/>
                <a:gd name="T2" fmla="*/ 196 w 260"/>
                <a:gd name="T3" fmla="*/ 89 h 314"/>
                <a:gd name="T4" fmla="*/ 216 w 260"/>
                <a:gd name="T5" fmla="*/ 49 h 314"/>
                <a:gd name="T6" fmla="*/ 199 w 260"/>
                <a:gd name="T7" fmla="*/ 13 h 314"/>
                <a:gd name="T8" fmla="*/ 162 w 260"/>
                <a:gd name="T9" fmla="*/ 3 h 314"/>
                <a:gd name="T10" fmla="*/ 130 w 260"/>
                <a:gd name="T11" fmla="*/ 25 h 314"/>
                <a:gd name="T12" fmla="*/ 128 w 260"/>
                <a:gd name="T13" fmla="*/ 69 h 314"/>
                <a:gd name="T14" fmla="*/ 74 w 260"/>
                <a:gd name="T15" fmla="*/ 101 h 314"/>
                <a:gd name="T16" fmla="*/ 86 w 260"/>
                <a:gd name="T17" fmla="*/ 44 h 314"/>
                <a:gd name="T18" fmla="*/ 84 w 260"/>
                <a:gd name="T19" fmla="*/ 13 h 314"/>
                <a:gd name="T20" fmla="*/ 49 w 260"/>
                <a:gd name="T21" fmla="*/ 5 h 314"/>
                <a:gd name="T22" fmla="*/ 35 w 260"/>
                <a:gd name="T23" fmla="*/ 37 h 314"/>
                <a:gd name="T24" fmla="*/ 57 w 260"/>
                <a:gd name="T25" fmla="*/ 57 h 314"/>
                <a:gd name="T26" fmla="*/ 22 w 260"/>
                <a:gd name="T27" fmla="*/ 113 h 314"/>
                <a:gd name="T28" fmla="*/ 3 w 260"/>
                <a:gd name="T29" fmla="*/ 152 h 314"/>
                <a:gd name="T30" fmla="*/ 5 w 260"/>
                <a:gd name="T31" fmla="*/ 187 h 314"/>
                <a:gd name="T32" fmla="*/ 37 w 260"/>
                <a:gd name="T33" fmla="*/ 219 h 314"/>
                <a:gd name="T34" fmla="*/ 76 w 260"/>
                <a:gd name="T35" fmla="*/ 223 h 314"/>
                <a:gd name="T36" fmla="*/ 96 w 260"/>
                <a:gd name="T37" fmla="*/ 277 h 314"/>
                <a:gd name="T38" fmla="*/ 116 w 260"/>
                <a:gd name="T39" fmla="*/ 309 h 314"/>
                <a:gd name="T40" fmla="*/ 150 w 260"/>
                <a:gd name="T41" fmla="*/ 304 h 314"/>
                <a:gd name="T42" fmla="*/ 157 w 260"/>
                <a:gd name="T43" fmla="*/ 268 h 314"/>
                <a:gd name="T44" fmla="*/ 128 w 260"/>
                <a:gd name="T45" fmla="*/ 245 h 314"/>
                <a:gd name="T46" fmla="*/ 113 w 260"/>
                <a:gd name="T47" fmla="*/ 196 h 314"/>
                <a:gd name="T48" fmla="*/ 206 w 260"/>
                <a:gd name="T49" fmla="*/ 172 h 314"/>
                <a:gd name="T50" fmla="*/ 231 w 260"/>
                <a:gd name="T51" fmla="*/ 189 h 314"/>
                <a:gd name="T52" fmla="*/ 258 w 260"/>
                <a:gd name="T53" fmla="*/ 169 h 314"/>
                <a:gd name="T54" fmla="*/ 118 w 260"/>
                <a:gd name="T55" fmla="*/ 260 h 314"/>
                <a:gd name="T56" fmla="*/ 140 w 260"/>
                <a:gd name="T57" fmla="*/ 263 h 314"/>
                <a:gd name="T58" fmla="*/ 147 w 260"/>
                <a:gd name="T59" fmla="*/ 282 h 314"/>
                <a:gd name="T60" fmla="*/ 140 w 260"/>
                <a:gd name="T61" fmla="*/ 297 h 314"/>
                <a:gd name="T62" fmla="*/ 120 w 260"/>
                <a:gd name="T63" fmla="*/ 299 h 314"/>
                <a:gd name="T64" fmla="*/ 106 w 260"/>
                <a:gd name="T65" fmla="*/ 280 h 314"/>
                <a:gd name="T66" fmla="*/ 47 w 260"/>
                <a:gd name="T67" fmla="*/ 37 h 314"/>
                <a:gd name="T68" fmla="*/ 49 w 260"/>
                <a:gd name="T69" fmla="*/ 17 h 314"/>
                <a:gd name="T70" fmla="*/ 66 w 260"/>
                <a:gd name="T71" fmla="*/ 13 h 314"/>
                <a:gd name="T72" fmla="*/ 79 w 260"/>
                <a:gd name="T73" fmla="*/ 27 h 314"/>
                <a:gd name="T74" fmla="*/ 69 w 260"/>
                <a:gd name="T75" fmla="*/ 44 h 314"/>
                <a:gd name="T76" fmla="*/ 54 w 260"/>
                <a:gd name="T77" fmla="*/ 44 h 314"/>
                <a:gd name="T78" fmla="*/ 86 w 260"/>
                <a:gd name="T79" fmla="*/ 201 h 314"/>
                <a:gd name="T80" fmla="*/ 52 w 260"/>
                <a:gd name="T81" fmla="*/ 206 h 314"/>
                <a:gd name="T82" fmla="*/ 22 w 260"/>
                <a:gd name="T83" fmla="*/ 184 h 314"/>
                <a:gd name="T84" fmla="*/ 17 w 260"/>
                <a:gd name="T85" fmla="*/ 150 h 314"/>
                <a:gd name="T86" fmla="*/ 42 w 260"/>
                <a:gd name="T87" fmla="*/ 120 h 314"/>
                <a:gd name="T88" fmla="*/ 71 w 260"/>
                <a:gd name="T89" fmla="*/ 116 h 314"/>
                <a:gd name="T90" fmla="*/ 101 w 260"/>
                <a:gd name="T91" fmla="*/ 140 h 314"/>
                <a:gd name="T92" fmla="*/ 135 w 260"/>
                <a:gd name="T93" fmla="*/ 44 h 314"/>
                <a:gd name="T94" fmla="*/ 155 w 260"/>
                <a:gd name="T95" fmla="*/ 15 h 314"/>
                <a:gd name="T96" fmla="*/ 189 w 260"/>
                <a:gd name="T97" fmla="*/ 17 h 314"/>
                <a:gd name="T98" fmla="*/ 206 w 260"/>
                <a:gd name="T99" fmla="*/ 49 h 314"/>
                <a:gd name="T100" fmla="*/ 189 w 260"/>
                <a:gd name="T101" fmla="*/ 81 h 314"/>
                <a:gd name="T102" fmla="*/ 160 w 260"/>
                <a:gd name="T103" fmla="*/ 86 h 314"/>
                <a:gd name="T104" fmla="*/ 135 w 260"/>
                <a:gd name="T105" fmla="*/ 59 h 314"/>
                <a:gd name="T106" fmla="*/ 206 w 260"/>
                <a:gd name="T107" fmla="*/ 152 h 314"/>
                <a:gd name="T108" fmla="*/ 111 w 260"/>
                <a:gd name="T109" fmla="*/ 123 h 314"/>
                <a:gd name="T110" fmla="*/ 177 w 260"/>
                <a:gd name="T111" fmla="*/ 98 h 314"/>
                <a:gd name="T112" fmla="*/ 248 w 260"/>
                <a:gd name="T113" fmla="*/ 167 h 314"/>
                <a:gd name="T114" fmla="*/ 233 w 260"/>
                <a:gd name="T115" fmla="*/ 179 h 314"/>
                <a:gd name="T116" fmla="*/ 216 w 260"/>
                <a:gd name="T117" fmla="*/ 167 h 314"/>
                <a:gd name="T118" fmla="*/ 221 w 260"/>
                <a:gd name="T119" fmla="*/ 150 h 314"/>
                <a:gd name="T120" fmla="*/ 243 w 260"/>
                <a:gd name="T121" fmla="*/ 15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314">
                  <a:moveTo>
                    <a:pt x="260" y="162"/>
                  </a:moveTo>
                  <a:lnTo>
                    <a:pt x="258" y="155"/>
                  </a:lnTo>
                  <a:lnTo>
                    <a:pt x="255" y="147"/>
                  </a:lnTo>
                  <a:lnTo>
                    <a:pt x="253" y="143"/>
                  </a:lnTo>
                  <a:lnTo>
                    <a:pt x="248" y="140"/>
                  </a:lnTo>
                  <a:lnTo>
                    <a:pt x="245" y="138"/>
                  </a:lnTo>
                  <a:lnTo>
                    <a:pt x="241" y="135"/>
                  </a:lnTo>
                  <a:lnTo>
                    <a:pt x="236" y="133"/>
                  </a:lnTo>
                  <a:lnTo>
                    <a:pt x="231" y="133"/>
                  </a:lnTo>
                  <a:lnTo>
                    <a:pt x="228" y="133"/>
                  </a:lnTo>
                  <a:lnTo>
                    <a:pt x="223" y="135"/>
                  </a:lnTo>
                  <a:lnTo>
                    <a:pt x="196" y="89"/>
                  </a:lnTo>
                  <a:lnTo>
                    <a:pt x="204" y="81"/>
                  </a:lnTo>
                  <a:lnTo>
                    <a:pt x="209" y="76"/>
                  </a:lnTo>
                  <a:lnTo>
                    <a:pt x="214" y="69"/>
                  </a:lnTo>
                  <a:lnTo>
                    <a:pt x="214" y="64"/>
                  </a:lnTo>
                  <a:lnTo>
                    <a:pt x="216" y="54"/>
                  </a:lnTo>
                  <a:lnTo>
                    <a:pt x="216" y="49"/>
                  </a:lnTo>
                  <a:lnTo>
                    <a:pt x="216" y="42"/>
                  </a:lnTo>
                  <a:lnTo>
                    <a:pt x="216" y="37"/>
                  </a:lnTo>
                  <a:lnTo>
                    <a:pt x="214" y="32"/>
                  </a:lnTo>
                  <a:lnTo>
                    <a:pt x="209" y="22"/>
                  </a:lnTo>
                  <a:lnTo>
                    <a:pt x="204" y="17"/>
                  </a:lnTo>
                  <a:lnTo>
                    <a:pt x="199" y="13"/>
                  </a:lnTo>
                  <a:lnTo>
                    <a:pt x="196" y="10"/>
                  </a:lnTo>
                  <a:lnTo>
                    <a:pt x="187" y="5"/>
                  </a:lnTo>
                  <a:lnTo>
                    <a:pt x="182" y="3"/>
                  </a:lnTo>
                  <a:lnTo>
                    <a:pt x="174" y="3"/>
                  </a:lnTo>
                  <a:lnTo>
                    <a:pt x="169" y="0"/>
                  </a:lnTo>
                  <a:lnTo>
                    <a:pt x="162" y="3"/>
                  </a:lnTo>
                  <a:lnTo>
                    <a:pt x="157" y="3"/>
                  </a:lnTo>
                  <a:lnTo>
                    <a:pt x="152" y="5"/>
                  </a:lnTo>
                  <a:lnTo>
                    <a:pt x="142" y="10"/>
                  </a:lnTo>
                  <a:lnTo>
                    <a:pt x="138" y="15"/>
                  </a:lnTo>
                  <a:lnTo>
                    <a:pt x="133" y="20"/>
                  </a:lnTo>
                  <a:lnTo>
                    <a:pt x="130" y="25"/>
                  </a:lnTo>
                  <a:lnTo>
                    <a:pt x="128" y="32"/>
                  </a:lnTo>
                  <a:lnTo>
                    <a:pt x="125" y="37"/>
                  </a:lnTo>
                  <a:lnTo>
                    <a:pt x="123" y="44"/>
                  </a:lnTo>
                  <a:lnTo>
                    <a:pt x="123" y="52"/>
                  </a:lnTo>
                  <a:lnTo>
                    <a:pt x="125" y="62"/>
                  </a:lnTo>
                  <a:lnTo>
                    <a:pt x="128" y="69"/>
                  </a:lnTo>
                  <a:lnTo>
                    <a:pt x="130" y="76"/>
                  </a:lnTo>
                  <a:lnTo>
                    <a:pt x="133" y="79"/>
                  </a:lnTo>
                  <a:lnTo>
                    <a:pt x="98" y="113"/>
                  </a:lnTo>
                  <a:lnTo>
                    <a:pt x="93" y="108"/>
                  </a:lnTo>
                  <a:lnTo>
                    <a:pt x="84" y="103"/>
                  </a:lnTo>
                  <a:lnTo>
                    <a:pt x="74" y="101"/>
                  </a:lnTo>
                  <a:lnTo>
                    <a:pt x="66" y="98"/>
                  </a:lnTo>
                  <a:lnTo>
                    <a:pt x="66" y="57"/>
                  </a:lnTo>
                  <a:lnTo>
                    <a:pt x="71" y="57"/>
                  </a:lnTo>
                  <a:lnTo>
                    <a:pt x="76" y="54"/>
                  </a:lnTo>
                  <a:lnTo>
                    <a:pt x="81" y="49"/>
                  </a:lnTo>
                  <a:lnTo>
                    <a:pt x="86" y="44"/>
                  </a:lnTo>
                  <a:lnTo>
                    <a:pt x="89" y="40"/>
                  </a:lnTo>
                  <a:lnTo>
                    <a:pt x="89" y="32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6" y="17"/>
                  </a:lnTo>
                  <a:lnTo>
                    <a:pt x="84" y="13"/>
                  </a:lnTo>
                  <a:lnTo>
                    <a:pt x="79" y="8"/>
                  </a:lnTo>
                  <a:lnTo>
                    <a:pt x="71" y="3"/>
                  </a:lnTo>
                  <a:lnTo>
                    <a:pt x="66" y="3"/>
                  </a:lnTo>
                  <a:lnTo>
                    <a:pt x="62" y="0"/>
                  </a:lnTo>
                  <a:lnTo>
                    <a:pt x="54" y="3"/>
                  </a:lnTo>
                  <a:lnTo>
                    <a:pt x="49" y="5"/>
                  </a:lnTo>
                  <a:lnTo>
                    <a:pt x="42" y="10"/>
                  </a:lnTo>
                  <a:lnTo>
                    <a:pt x="40" y="15"/>
                  </a:lnTo>
                  <a:lnTo>
                    <a:pt x="37" y="20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5" y="37"/>
                  </a:lnTo>
                  <a:lnTo>
                    <a:pt x="37" y="42"/>
                  </a:lnTo>
                  <a:lnTo>
                    <a:pt x="42" y="49"/>
                  </a:lnTo>
                  <a:lnTo>
                    <a:pt x="44" y="52"/>
                  </a:lnTo>
                  <a:lnTo>
                    <a:pt x="49" y="54"/>
                  </a:lnTo>
                  <a:lnTo>
                    <a:pt x="54" y="57"/>
                  </a:lnTo>
                  <a:lnTo>
                    <a:pt x="57" y="57"/>
                  </a:lnTo>
                  <a:lnTo>
                    <a:pt x="57" y="98"/>
                  </a:lnTo>
                  <a:lnTo>
                    <a:pt x="47" y="101"/>
                  </a:lnTo>
                  <a:lnTo>
                    <a:pt x="42" y="103"/>
                  </a:lnTo>
                  <a:lnTo>
                    <a:pt x="37" y="106"/>
                  </a:lnTo>
                  <a:lnTo>
                    <a:pt x="30" y="108"/>
                  </a:lnTo>
                  <a:lnTo>
                    <a:pt x="22" y="113"/>
                  </a:lnTo>
                  <a:lnTo>
                    <a:pt x="17" y="120"/>
                  </a:lnTo>
                  <a:lnTo>
                    <a:pt x="13" y="125"/>
                  </a:lnTo>
                  <a:lnTo>
                    <a:pt x="8" y="133"/>
                  </a:lnTo>
                  <a:lnTo>
                    <a:pt x="5" y="140"/>
                  </a:lnTo>
                  <a:lnTo>
                    <a:pt x="3" y="145"/>
                  </a:lnTo>
                  <a:lnTo>
                    <a:pt x="3" y="152"/>
                  </a:lnTo>
                  <a:lnTo>
                    <a:pt x="0" y="160"/>
                  </a:lnTo>
                  <a:lnTo>
                    <a:pt x="0" y="162"/>
                  </a:lnTo>
                  <a:lnTo>
                    <a:pt x="3" y="169"/>
                  </a:lnTo>
                  <a:lnTo>
                    <a:pt x="3" y="172"/>
                  </a:lnTo>
                  <a:lnTo>
                    <a:pt x="5" y="182"/>
                  </a:lnTo>
                  <a:lnTo>
                    <a:pt x="5" y="187"/>
                  </a:lnTo>
                  <a:lnTo>
                    <a:pt x="8" y="192"/>
                  </a:lnTo>
                  <a:lnTo>
                    <a:pt x="13" y="199"/>
                  </a:lnTo>
                  <a:lnTo>
                    <a:pt x="17" y="204"/>
                  </a:lnTo>
                  <a:lnTo>
                    <a:pt x="22" y="209"/>
                  </a:lnTo>
                  <a:lnTo>
                    <a:pt x="27" y="214"/>
                  </a:lnTo>
                  <a:lnTo>
                    <a:pt x="37" y="219"/>
                  </a:lnTo>
                  <a:lnTo>
                    <a:pt x="42" y="221"/>
                  </a:lnTo>
                  <a:lnTo>
                    <a:pt x="49" y="223"/>
                  </a:lnTo>
                  <a:lnTo>
                    <a:pt x="57" y="226"/>
                  </a:lnTo>
                  <a:lnTo>
                    <a:pt x="62" y="226"/>
                  </a:lnTo>
                  <a:lnTo>
                    <a:pt x="69" y="226"/>
                  </a:lnTo>
                  <a:lnTo>
                    <a:pt x="76" y="223"/>
                  </a:lnTo>
                  <a:lnTo>
                    <a:pt x="86" y="221"/>
                  </a:lnTo>
                  <a:lnTo>
                    <a:pt x="106" y="255"/>
                  </a:lnTo>
                  <a:lnTo>
                    <a:pt x="101" y="263"/>
                  </a:lnTo>
                  <a:lnTo>
                    <a:pt x="98" y="268"/>
                  </a:lnTo>
                  <a:lnTo>
                    <a:pt x="96" y="272"/>
                  </a:lnTo>
                  <a:lnTo>
                    <a:pt x="96" y="277"/>
                  </a:lnTo>
                  <a:lnTo>
                    <a:pt x="96" y="285"/>
                  </a:lnTo>
                  <a:lnTo>
                    <a:pt x="96" y="290"/>
                  </a:lnTo>
                  <a:lnTo>
                    <a:pt x="98" y="295"/>
                  </a:lnTo>
                  <a:lnTo>
                    <a:pt x="103" y="302"/>
                  </a:lnTo>
                  <a:lnTo>
                    <a:pt x="108" y="307"/>
                  </a:lnTo>
                  <a:lnTo>
                    <a:pt x="116" y="309"/>
                  </a:lnTo>
                  <a:lnTo>
                    <a:pt x="120" y="312"/>
                  </a:lnTo>
                  <a:lnTo>
                    <a:pt x="125" y="314"/>
                  </a:lnTo>
                  <a:lnTo>
                    <a:pt x="135" y="312"/>
                  </a:lnTo>
                  <a:lnTo>
                    <a:pt x="140" y="309"/>
                  </a:lnTo>
                  <a:lnTo>
                    <a:pt x="145" y="307"/>
                  </a:lnTo>
                  <a:lnTo>
                    <a:pt x="150" y="304"/>
                  </a:lnTo>
                  <a:lnTo>
                    <a:pt x="155" y="297"/>
                  </a:lnTo>
                  <a:lnTo>
                    <a:pt x="157" y="292"/>
                  </a:lnTo>
                  <a:lnTo>
                    <a:pt x="160" y="285"/>
                  </a:lnTo>
                  <a:lnTo>
                    <a:pt x="160" y="282"/>
                  </a:lnTo>
                  <a:lnTo>
                    <a:pt x="160" y="275"/>
                  </a:lnTo>
                  <a:lnTo>
                    <a:pt x="157" y="268"/>
                  </a:lnTo>
                  <a:lnTo>
                    <a:pt x="155" y="265"/>
                  </a:lnTo>
                  <a:lnTo>
                    <a:pt x="152" y="258"/>
                  </a:lnTo>
                  <a:lnTo>
                    <a:pt x="147" y="253"/>
                  </a:lnTo>
                  <a:lnTo>
                    <a:pt x="140" y="250"/>
                  </a:lnTo>
                  <a:lnTo>
                    <a:pt x="135" y="248"/>
                  </a:lnTo>
                  <a:lnTo>
                    <a:pt x="128" y="245"/>
                  </a:lnTo>
                  <a:lnTo>
                    <a:pt x="123" y="248"/>
                  </a:lnTo>
                  <a:lnTo>
                    <a:pt x="118" y="248"/>
                  </a:lnTo>
                  <a:lnTo>
                    <a:pt x="98" y="211"/>
                  </a:lnTo>
                  <a:lnTo>
                    <a:pt x="106" y="206"/>
                  </a:lnTo>
                  <a:lnTo>
                    <a:pt x="108" y="201"/>
                  </a:lnTo>
                  <a:lnTo>
                    <a:pt x="113" y="196"/>
                  </a:lnTo>
                  <a:lnTo>
                    <a:pt x="116" y="189"/>
                  </a:lnTo>
                  <a:lnTo>
                    <a:pt x="120" y="182"/>
                  </a:lnTo>
                  <a:lnTo>
                    <a:pt x="120" y="179"/>
                  </a:lnTo>
                  <a:lnTo>
                    <a:pt x="123" y="167"/>
                  </a:lnTo>
                  <a:lnTo>
                    <a:pt x="206" y="167"/>
                  </a:lnTo>
                  <a:lnTo>
                    <a:pt x="206" y="172"/>
                  </a:lnTo>
                  <a:lnTo>
                    <a:pt x="209" y="177"/>
                  </a:lnTo>
                  <a:lnTo>
                    <a:pt x="211" y="182"/>
                  </a:lnTo>
                  <a:lnTo>
                    <a:pt x="216" y="184"/>
                  </a:lnTo>
                  <a:lnTo>
                    <a:pt x="221" y="187"/>
                  </a:lnTo>
                  <a:lnTo>
                    <a:pt x="226" y="189"/>
                  </a:lnTo>
                  <a:lnTo>
                    <a:pt x="231" y="189"/>
                  </a:lnTo>
                  <a:lnTo>
                    <a:pt x="238" y="189"/>
                  </a:lnTo>
                  <a:lnTo>
                    <a:pt x="245" y="187"/>
                  </a:lnTo>
                  <a:lnTo>
                    <a:pt x="250" y="184"/>
                  </a:lnTo>
                  <a:lnTo>
                    <a:pt x="253" y="179"/>
                  </a:lnTo>
                  <a:lnTo>
                    <a:pt x="258" y="172"/>
                  </a:lnTo>
                  <a:lnTo>
                    <a:pt x="258" y="169"/>
                  </a:lnTo>
                  <a:lnTo>
                    <a:pt x="260" y="162"/>
                  </a:lnTo>
                  <a:close/>
                  <a:moveTo>
                    <a:pt x="108" y="272"/>
                  </a:moveTo>
                  <a:lnTo>
                    <a:pt x="108" y="270"/>
                  </a:lnTo>
                  <a:lnTo>
                    <a:pt x="111" y="265"/>
                  </a:lnTo>
                  <a:lnTo>
                    <a:pt x="113" y="263"/>
                  </a:lnTo>
                  <a:lnTo>
                    <a:pt x="118" y="260"/>
                  </a:lnTo>
                  <a:lnTo>
                    <a:pt x="120" y="260"/>
                  </a:lnTo>
                  <a:lnTo>
                    <a:pt x="128" y="258"/>
                  </a:lnTo>
                  <a:lnTo>
                    <a:pt x="133" y="258"/>
                  </a:lnTo>
                  <a:lnTo>
                    <a:pt x="135" y="260"/>
                  </a:lnTo>
                  <a:lnTo>
                    <a:pt x="140" y="263"/>
                  </a:lnTo>
                  <a:lnTo>
                    <a:pt x="140" y="263"/>
                  </a:lnTo>
                  <a:lnTo>
                    <a:pt x="142" y="265"/>
                  </a:lnTo>
                  <a:lnTo>
                    <a:pt x="145" y="268"/>
                  </a:lnTo>
                  <a:lnTo>
                    <a:pt x="147" y="272"/>
                  </a:lnTo>
                  <a:lnTo>
                    <a:pt x="147" y="277"/>
                  </a:lnTo>
                  <a:lnTo>
                    <a:pt x="147" y="280"/>
                  </a:lnTo>
                  <a:lnTo>
                    <a:pt x="147" y="282"/>
                  </a:lnTo>
                  <a:lnTo>
                    <a:pt x="147" y="282"/>
                  </a:lnTo>
                  <a:lnTo>
                    <a:pt x="147" y="287"/>
                  </a:lnTo>
                  <a:lnTo>
                    <a:pt x="147" y="287"/>
                  </a:lnTo>
                  <a:lnTo>
                    <a:pt x="145" y="292"/>
                  </a:lnTo>
                  <a:lnTo>
                    <a:pt x="142" y="295"/>
                  </a:lnTo>
                  <a:lnTo>
                    <a:pt x="140" y="297"/>
                  </a:lnTo>
                  <a:lnTo>
                    <a:pt x="138" y="299"/>
                  </a:lnTo>
                  <a:lnTo>
                    <a:pt x="133" y="299"/>
                  </a:lnTo>
                  <a:lnTo>
                    <a:pt x="128" y="302"/>
                  </a:lnTo>
                  <a:lnTo>
                    <a:pt x="128" y="302"/>
                  </a:lnTo>
                  <a:lnTo>
                    <a:pt x="125" y="302"/>
                  </a:lnTo>
                  <a:lnTo>
                    <a:pt x="120" y="299"/>
                  </a:lnTo>
                  <a:lnTo>
                    <a:pt x="118" y="299"/>
                  </a:lnTo>
                  <a:lnTo>
                    <a:pt x="113" y="297"/>
                  </a:lnTo>
                  <a:lnTo>
                    <a:pt x="111" y="295"/>
                  </a:lnTo>
                  <a:lnTo>
                    <a:pt x="108" y="290"/>
                  </a:lnTo>
                  <a:lnTo>
                    <a:pt x="108" y="287"/>
                  </a:lnTo>
                  <a:lnTo>
                    <a:pt x="106" y="280"/>
                  </a:lnTo>
                  <a:lnTo>
                    <a:pt x="108" y="272"/>
                  </a:lnTo>
                  <a:close/>
                  <a:moveTo>
                    <a:pt x="54" y="44"/>
                  </a:moveTo>
                  <a:lnTo>
                    <a:pt x="52" y="42"/>
                  </a:lnTo>
                  <a:lnTo>
                    <a:pt x="49" y="42"/>
                  </a:lnTo>
                  <a:lnTo>
                    <a:pt x="49" y="40"/>
                  </a:lnTo>
                  <a:lnTo>
                    <a:pt x="47" y="37"/>
                  </a:lnTo>
                  <a:lnTo>
                    <a:pt x="47" y="32"/>
                  </a:lnTo>
                  <a:lnTo>
                    <a:pt x="44" y="30"/>
                  </a:lnTo>
                  <a:lnTo>
                    <a:pt x="47" y="27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17"/>
                  </a:lnTo>
                  <a:lnTo>
                    <a:pt x="52" y="15"/>
                  </a:lnTo>
                  <a:lnTo>
                    <a:pt x="57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4" y="13"/>
                  </a:lnTo>
                  <a:lnTo>
                    <a:pt x="66" y="13"/>
                  </a:lnTo>
                  <a:lnTo>
                    <a:pt x="71" y="15"/>
                  </a:lnTo>
                  <a:lnTo>
                    <a:pt x="74" y="17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9" y="35"/>
                  </a:lnTo>
                  <a:lnTo>
                    <a:pt x="76" y="37"/>
                  </a:lnTo>
                  <a:lnTo>
                    <a:pt x="74" y="40"/>
                  </a:lnTo>
                  <a:lnTo>
                    <a:pt x="71" y="42"/>
                  </a:lnTo>
                  <a:lnTo>
                    <a:pt x="69" y="44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57" y="47"/>
                  </a:lnTo>
                  <a:lnTo>
                    <a:pt x="54" y="44"/>
                  </a:lnTo>
                  <a:close/>
                  <a:moveTo>
                    <a:pt x="106" y="172"/>
                  </a:moveTo>
                  <a:lnTo>
                    <a:pt x="103" y="179"/>
                  </a:lnTo>
                  <a:lnTo>
                    <a:pt x="101" y="184"/>
                  </a:lnTo>
                  <a:lnTo>
                    <a:pt x="96" y="192"/>
                  </a:lnTo>
                  <a:lnTo>
                    <a:pt x="93" y="196"/>
                  </a:lnTo>
                  <a:lnTo>
                    <a:pt x="86" y="201"/>
                  </a:lnTo>
                  <a:lnTo>
                    <a:pt x="79" y="204"/>
                  </a:lnTo>
                  <a:lnTo>
                    <a:pt x="74" y="206"/>
                  </a:lnTo>
                  <a:lnTo>
                    <a:pt x="66" y="209"/>
                  </a:lnTo>
                  <a:lnTo>
                    <a:pt x="62" y="209"/>
                  </a:lnTo>
                  <a:lnTo>
                    <a:pt x="57" y="209"/>
                  </a:lnTo>
                  <a:lnTo>
                    <a:pt x="52" y="206"/>
                  </a:lnTo>
                  <a:lnTo>
                    <a:pt x="44" y="204"/>
                  </a:lnTo>
                  <a:lnTo>
                    <a:pt x="40" y="201"/>
                  </a:lnTo>
                  <a:lnTo>
                    <a:pt x="35" y="199"/>
                  </a:lnTo>
                  <a:lnTo>
                    <a:pt x="30" y="194"/>
                  </a:lnTo>
                  <a:lnTo>
                    <a:pt x="25" y="189"/>
                  </a:lnTo>
                  <a:lnTo>
                    <a:pt x="22" y="184"/>
                  </a:lnTo>
                  <a:lnTo>
                    <a:pt x="20" y="177"/>
                  </a:lnTo>
                  <a:lnTo>
                    <a:pt x="17" y="172"/>
                  </a:lnTo>
                  <a:lnTo>
                    <a:pt x="17" y="167"/>
                  </a:lnTo>
                  <a:lnTo>
                    <a:pt x="17" y="162"/>
                  </a:lnTo>
                  <a:lnTo>
                    <a:pt x="17" y="155"/>
                  </a:lnTo>
                  <a:lnTo>
                    <a:pt x="17" y="150"/>
                  </a:lnTo>
                  <a:lnTo>
                    <a:pt x="20" y="145"/>
                  </a:lnTo>
                  <a:lnTo>
                    <a:pt x="22" y="138"/>
                  </a:lnTo>
                  <a:lnTo>
                    <a:pt x="27" y="133"/>
                  </a:lnTo>
                  <a:lnTo>
                    <a:pt x="32" y="128"/>
                  </a:lnTo>
                  <a:lnTo>
                    <a:pt x="37" y="123"/>
                  </a:lnTo>
                  <a:lnTo>
                    <a:pt x="42" y="120"/>
                  </a:lnTo>
                  <a:lnTo>
                    <a:pt x="47" y="118"/>
                  </a:lnTo>
                  <a:lnTo>
                    <a:pt x="52" y="116"/>
                  </a:lnTo>
                  <a:lnTo>
                    <a:pt x="57" y="116"/>
                  </a:lnTo>
                  <a:lnTo>
                    <a:pt x="62" y="116"/>
                  </a:lnTo>
                  <a:lnTo>
                    <a:pt x="66" y="116"/>
                  </a:lnTo>
                  <a:lnTo>
                    <a:pt x="71" y="116"/>
                  </a:lnTo>
                  <a:lnTo>
                    <a:pt x="76" y="118"/>
                  </a:lnTo>
                  <a:lnTo>
                    <a:pt x="84" y="120"/>
                  </a:lnTo>
                  <a:lnTo>
                    <a:pt x="86" y="123"/>
                  </a:lnTo>
                  <a:lnTo>
                    <a:pt x="93" y="128"/>
                  </a:lnTo>
                  <a:lnTo>
                    <a:pt x="96" y="133"/>
                  </a:lnTo>
                  <a:lnTo>
                    <a:pt x="101" y="140"/>
                  </a:lnTo>
                  <a:lnTo>
                    <a:pt x="103" y="145"/>
                  </a:lnTo>
                  <a:lnTo>
                    <a:pt x="106" y="152"/>
                  </a:lnTo>
                  <a:lnTo>
                    <a:pt x="108" y="160"/>
                  </a:lnTo>
                  <a:lnTo>
                    <a:pt x="108" y="162"/>
                  </a:lnTo>
                  <a:lnTo>
                    <a:pt x="106" y="172"/>
                  </a:lnTo>
                  <a:close/>
                  <a:moveTo>
                    <a:pt x="135" y="44"/>
                  </a:moveTo>
                  <a:lnTo>
                    <a:pt x="135" y="40"/>
                  </a:lnTo>
                  <a:lnTo>
                    <a:pt x="138" y="35"/>
                  </a:lnTo>
                  <a:lnTo>
                    <a:pt x="140" y="27"/>
                  </a:lnTo>
                  <a:lnTo>
                    <a:pt x="145" y="25"/>
                  </a:lnTo>
                  <a:lnTo>
                    <a:pt x="150" y="20"/>
                  </a:lnTo>
                  <a:lnTo>
                    <a:pt x="155" y="15"/>
                  </a:lnTo>
                  <a:lnTo>
                    <a:pt x="162" y="13"/>
                  </a:lnTo>
                  <a:lnTo>
                    <a:pt x="167" y="13"/>
                  </a:lnTo>
                  <a:lnTo>
                    <a:pt x="169" y="13"/>
                  </a:lnTo>
                  <a:lnTo>
                    <a:pt x="174" y="13"/>
                  </a:lnTo>
                  <a:lnTo>
                    <a:pt x="182" y="15"/>
                  </a:lnTo>
                  <a:lnTo>
                    <a:pt x="189" y="17"/>
                  </a:lnTo>
                  <a:lnTo>
                    <a:pt x="194" y="22"/>
                  </a:lnTo>
                  <a:lnTo>
                    <a:pt x="196" y="25"/>
                  </a:lnTo>
                  <a:lnTo>
                    <a:pt x="201" y="30"/>
                  </a:lnTo>
                  <a:lnTo>
                    <a:pt x="204" y="37"/>
                  </a:lnTo>
                  <a:lnTo>
                    <a:pt x="206" y="44"/>
                  </a:lnTo>
                  <a:lnTo>
                    <a:pt x="206" y="49"/>
                  </a:lnTo>
                  <a:lnTo>
                    <a:pt x="206" y="57"/>
                  </a:lnTo>
                  <a:lnTo>
                    <a:pt x="204" y="62"/>
                  </a:lnTo>
                  <a:lnTo>
                    <a:pt x="201" y="67"/>
                  </a:lnTo>
                  <a:lnTo>
                    <a:pt x="199" y="71"/>
                  </a:lnTo>
                  <a:lnTo>
                    <a:pt x="196" y="76"/>
                  </a:lnTo>
                  <a:lnTo>
                    <a:pt x="189" y="81"/>
                  </a:lnTo>
                  <a:lnTo>
                    <a:pt x="184" y="84"/>
                  </a:lnTo>
                  <a:lnTo>
                    <a:pt x="177" y="86"/>
                  </a:lnTo>
                  <a:lnTo>
                    <a:pt x="172" y="86"/>
                  </a:lnTo>
                  <a:lnTo>
                    <a:pt x="169" y="86"/>
                  </a:lnTo>
                  <a:lnTo>
                    <a:pt x="165" y="86"/>
                  </a:lnTo>
                  <a:lnTo>
                    <a:pt x="160" y="86"/>
                  </a:lnTo>
                  <a:lnTo>
                    <a:pt x="152" y="84"/>
                  </a:lnTo>
                  <a:lnTo>
                    <a:pt x="147" y="79"/>
                  </a:lnTo>
                  <a:lnTo>
                    <a:pt x="145" y="76"/>
                  </a:lnTo>
                  <a:lnTo>
                    <a:pt x="140" y="71"/>
                  </a:lnTo>
                  <a:lnTo>
                    <a:pt x="138" y="67"/>
                  </a:lnTo>
                  <a:lnTo>
                    <a:pt x="135" y="59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4"/>
                  </a:lnTo>
                  <a:close/>
                  <a:moveTo>
                    <a:pt x="211" y="145"/>
                  </a:moveTo>
                  <a:lnTo>
                    <a:pt x="209" y="147"/>
                  </a:lnTo>
                  <a:lnTo>
                    <a:pt x="206" y="152"/>
                  </a:lnTo>
                  <a:lnTo>
                    <a:pt x="206" y="157"/>
                  </a:lnTo>
                  <a:lnTo>
                    <a:pt x="123" y="157"/>
                  </a:lnTo>
                  <a:lnTo>
                    <a:pt x="120" y="145"/>
                  </a:lnTo>
                  <a:lnTo>
                    <a:pt x="118" y="135"/>
                  </a:lnTo>
                  <a:lnTo>
                    <a:pt x="113" y="125"/>
                  </a:lnTo>
                  <a:lnTo>
                    <a:pt x="111" y="123"/>
                  </a:lnTo>
                  <a:lnTo>
                    <a:pt x="142" y="89"/>
                  </a:lnTo>
                  <a:lnTo>
                    <a:pt x="147" y="93"/>
                  </a:lnTo>
                  <a:lnTo>
                    <a:pt x="157" y="96"/>
                  </a:lnTo>
                  <a:lnTo>
                    <a:pt x="162" y="98"/>
                  </a:lnTo>
                  <a:lnTo>
                    <a:pt x="169" y="98"/>
                  </a:lnTo>
                  <a:lnTo>
                    <a:pt x="177" y="98"/>
                  </a:lnTo>
                  <a:lnTo>
                    <a:pt x="182" y="96"/>
                  </a:lnTo>
                  <a:lnTo>
                    <a:pt x="189" y="93"/>
                  </a:lnTo>
                  <a:lnTo>
                    <a:pt x="214" y="140"/>
                  </a:lnTo>
                  <a:lnTo>
                    <a:pt x="211" y="145"/>
                  </a:lnTo>
                  <a:close/>
                  <a:moveTo>
                    <a:pt x="248" y="165"/>
                  </a:moveTo>
                  <a:lnTo>
                    <a:pt x="248" y="167"/>
                  </a:lnTo>
                  <a:lnTo>
                    <a:pt x="245" y="172"/>
                  </a:lnTo>
                  <a:lnTo>
                    <a:pt x="243" y="174"/>
                  </a:lnTo>
                  <a:lnTo>
                    <a:pt x="241" y="177"/>
                  </a:lnTo>
                  <a:lnTo>
                    <a:pt x="236" y="179"/>
                  </a:lnTo>
                  <a:lnTo>
                    <a:pt x="233" y="179"/>
                  </a:lnTo>
                  <a:lnTo>
                    <a:pt x="233" y="179"/>
                  </a:lnTo>
                  <a:lnTo>
                    <a:pt x="228" y="179"/>
                  </a:lnTo>
                  <a:lnTo>
                    <a:pt x="226" y="177"/>
                  </a:lnTo>
                  <a:lnTo>
                    <a:pt x="223" y="177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6" y="167"/>
                  </a:lnTo>
                  <a:lnTo>
                    <a:pt x="216" y="165"/>
                  </a:lnTo>
                  <a:lnTo>
                    <a:pt x="216" y="162"/>
                  </a:lnTo>
                  <a:lnTo>
                    <a:pt x="216" y="160"/>
                  </a:lnTo>
                  <a:lnTo>
                    <a:pt x="216" y="155"/>
                  </a:lnTo>
                  <a:lnTo>
                    <a:pt x="218" y="152"/>
                  </a:lnTo>
                  <a:lnTo>
                    <a:pt x="221" y="150"/>
                  </a:lnTo>
                  <a:lnTo>
                    <a:pt x="226" y="147"/>
                  </a:lnTo>
                  <a:lnTo>
                    <a:pt x="228" y="145"/>
                  </a:lnTo>
                  <a:lnTo>
                    <a:pt x="231" y="145"/>
                  </a:lnTo>
                  <a:lnTo>
                    <a:pt x="236" y="145"/>
                  </a:lnTo>
                  <a:lnTo>
                    <a:pt x="241" y="147"/>
                  </a:lnTo>
                  <a:lnTo>
                    <a:pt x="243" y="150"/>
                  </a:lnTo>
                  <a:lnTo>
                    <a:pt x="245" y="150"/>
                  </a:lnTo>
                  <a:lnTo>
                    <a:pt x="248" y="155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48" y="16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6" name="Group 240">
            <a:extLst>
              <a:ext uri="{FF2B5EF4-FFF2-40B4-BE49-F238E27FC236}">
                <a16:creationId xmlns:a16="http://schemas.microsoft.com/office/drawing/2014/main" id="{A4755E13-41C8-491C-A9E6-34A4251ECA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3667" y="1556662"/>
            <a:ext cx="841375" cy="841375"/>
            <a:chOff x="4342" y="1068"/>
            <a:chExt cx="530" cy="530"/>
          </a:xfrm>
        </p:grpSpPr>
        <p:sp>
          <p:nvSpPr>
            <p:cNvPr id="257" name="AutoShape 239">
              <a:extLst>
                <a:ext uri="{FF2B5EF4-FFF2-40B4-BE49-F238E27FC236}">
                  <a16:creationId xmlns:a16="http://schemas.microsoft.com/office/drawing/2014/main" id="{8C505385-143E-4472-BC8B-1DF94AA20D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2" y="106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241">
              <a:extLst>
                <a:ext uri="{FF2B5EF4-FFF2-40B4-BE49-F238E27FC236}">
                  <a16:creationId xmlns:a16="http://schemas.microsoft.com/office/drawing/2014/main" id="{32430C09-3368-40C1-8931-17768A7C05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2" y="106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42">
              <a:extLst>
                <a:ext uri="{FF2B5EF4-FFF2-40B4-BE49-F238E27FC236}">
                  <a16:creationId xmlns:a16="http://schemas.microsoft.com/office/drawing/2014/main" id="{3A873791-2593-4223-B0B8-A3A3619CD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0" y="108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43">
              <a:extLst>
                <a:ext uri="{FF2B5EF4-FFF2-40B4-BE49-F238E27FC236}">
                  <a16:creationId xmlns:a16="http://schemas.microsoft.com/office/drawing/2014/main" id="{96BFC6ED-850E-48C6-A0F6-DE52EB5508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2" y="1170"/>
              <a:ext cx="272" cy="328"/>
            </a:xfrm>
            <a:custGeom>
              <a:avLst/>
              <a:gdLst>
                <a:gd name="T0" fmla="*/ 257 w 272"/>
                <a:gd name="T1" fmla="*/ 144 h 328"/>
                <a:gd name="T2" fmla="*/ 205 w 272"/>
                <a:gd name="T3" fmla="*/ 92 h 328"/>
                <a:gd name="T4" fmla="*/ 226 w 272"/>
                <a:gd name="T5" fmla="*/ 52 h 328"/>
                <a:gd name="T6" fmla="*/ 208 w 272"/>
                <a:gd name="T7" fmla="*/ 13 h 328"/>
                <a:gd name="T8" fmla="*/ 169 w 272"/>
                <a:gd name="T9" fmla="*/ 3 h 328"/>
                <a:gd name="T10" fmla="*/ 136 w 272"/>
                <a:gd name="T11" fmla="*/ 26 h 328"/>
                <a:gd name="T12" fmla="*/ 134 w 272"/>
                <a:gd name="T13" fmla="*/ 72 h 328"/>
                <a:gd name="T14" fmla="*/ 77 w 272"/>
                <a:gd name="T15" fmla="*/ 105 h 328"/>
                <a:gd name="T16" fmla="*/ 90 w 272"/>
                <a:gd name="T17" fmla="*/ 46 h 328"/>
                <a:gd name="T18" fmla="*/ 88 w 272"/>
                <a:gd name="T19" fmla="*/ 13 h 328"/>
                <a:gd name="T20" fmla="*/ 52 w 272"/>
                <a:gd name="T21" fmla="*/ 5 h 328"/>
                <a:gd name="T22" fmla="*/ 36 w 272"/>
                <a:gd name="T23" fmla="*/ 39 h 328"/>
                <a:gd name="T24" fmla="*/ 59 w 272"/>
                <a:gd name="T25" fmla="*/ 59 h 328"/>
                <a:gd name="T26" fmla="*/ 24 w 272"/>
                <a:gd name="T27" fmla="*/ 118 h 328"/>
                <a:gd name="T28" fmla="*/ 3 w 272"/>
                <a:gd name="T29" fmla="*/ 159 h 328"/>
                <a:gd name="T30" fmla="*/ 6 w 272"/>
                <a:gd name="T31" fmla="*/ 195 h 328"/>
                <a:gd name="T32" fmla="*/ 39 w 272"/>
                <a:gd name="T33" fmla="*/ 228 h 328"/>
                <a:gd name="T34" fmla="*/ 80 w 272"/>
                <a:gd name="T35" fmla="*/ 233 h 328"/>
                <a:gd name="T36" fmla="*/ 100 w 272"/>
                <a:gd name="T37" fmla="*/ 290 h 328"/>
                <a:gd name="T38" fmla="*/ 121 w 272"/>
                <a:gd name="T39" fmla="*/ 323 h 328"/>
                <a:gd name="T40" fmla="*/ 157 w 272"/>
                <a:gd name="T41" fmla="*/ 318 h 328"/>
                <a:gd name="T42" fmla="*/ 164 w 272"/>
                <a:gd name="T43" fmla="*/ 279 h 328"/>
                <a:gd name="T44" fmla="*/ 134 w 272"/>
                <a:gd name="T45" fmla="*/ 256 h 328"/>
                <a:gd name="T46" fmla="*/ 118 w 272"/>
                <a:gd name="T47" fmla="*/ 205 h 328"/>
                <a:gd name="T48" fmla="*/ 216 w 272"/>
                <a:gd name="T49" fmla="*/ 180 h 328"/>
                <a:gd name="T50" fmla="*/ 241 w 272"/>
                <a:gd name="T51" fmla="*/ 197 h 328"/>
                <a:gd name="T52" fmla="*/ 269 w 272"/>
                <a:gd name="T53" fmla="*/ 177 h 328"/>
                <a:gd name="T54" fmla="*/ 123 w 272"/>
                <a:gd name="T55" fmla="*/ 272 h 328"/>
                <a:gd name="T56" fmla="*/ 146 w 272"/>
                <a:gd name="T57" fmla="*/ 274 h 328"/>
                <a:gd name="T58" fmla="*/ 154 w 272"/>
                <a:gd name="T59" fmla="*/ 295 h 328"/>
                <a:gd name="T60" fmla="*/ 146 w 272"/>
                <a:gd name="T61" fmla="*/ 310 h 328"/>
                <a:gd name="T62" fmla="*/ 126 w 272"/>
                <a:gd name="T63" fmla="*/ 313 h 328"/>
                <a:gd name="T64" fmla="*/ 111 w 272"/>
                <a:gd name="T65" fmla="*/ 292 h 328"/>
                <a:gd name="T66" fmla="*/ 49 w 272"/>
                <a:gd name="T67" fmla="*/ 39 h 328"/>
                <a:gd name="T68" fmla="*/ 52 w 272"/>
                <a:gd name="T69" fmla="*/ 18 h 328"/>
                <a:gd name="T70" fmla="*/ 70 w 272"/>
                <a:gd name="T71" fmla="*/ 13 h 328"/>
                <a:gd name="T72" fmla="*/ 82 w 272"/>
                <a:gd name="T73" fmla="*/ 28 h 328"/>
                <a:gd name="T74" fmla="*/ 72 w 272"/>
                <a:gd name="T75" fmla="*/ 46 h 328"/>
                <a:gd name="T76" fmla="*/ 57 w 272"/>
                <a:gd name="T77" fmla="*/ 46 h 328"/>
                <a:gd name="T78" fmla="*/ 90 w 272"/>
                <a:gd name="T79" fmla="*/ 210 h 328"/>
                <a:gd name="T80" fmla="*/ 54 w 272"/>
                <a:gd name="T81" fmla="*/ 215 h 328"/>
                <a:gd name="T82" fmla="*/ 24 w 272"/>
                <a:gd name="T83" fmla="*/ 192 h 328"/>
                <a:gd name="T84" fmla="*/ 18 w 272"/>
                <a:gd name="T85" fmla="*/ 156 h 328"/>
                <a:gd name="T86" fmla="*/ 44 w 272"/>
                <a:gd name="T87" fmla="*/ 126 h 328"/>
                <a:gd name="T88" fmla="*/ 75 w 272"/>
                <a:gd name="T89" fmla="*/ 121 h 328"/>
                <a:gd name="T90" fmla="*/ 105 w 272"/>
                <a:gd name="T91" fmla="*/ 146 h 328"/>
                <a:gd name="T92" fmla="*/ 141 w 272"/>
                <a:gd name="T93" fmla="*/ 46 h 328"/>
                <a:gd name="T94" fmla="*/ 162 w 272"/>
                <a:gd name="T95" fmla="*/ 16 h 328"/>
                <a:gd name="T96" fmla="*/ 198 w 272"/>
                <a:gd name="T97" fmla="*/ 18 h 328"/>
                <a:gd name="T98" fmla="*/ 216 w 272"/>
                <a:gd name="T99" fmla="*/ 52 h 328"/>
                <a:gd name="T100" fmla="*/ 198 w 272"/>
                <a:gd name="T101" fmla="*/ 85 h 328"/>
                <a:gd name="T102" fmla="*/ 167 w 272"/>
                <a:gd name="T103" fmla="*/ 90 h 328"/>
                <a:gd name="T104" fmla="*/ 141 w 272"/>
                <a:gd name="T105" fmla="*/ 62 h 328"/>
                <a:gd name="T106" fmla="*/ 216 w 272"/>
                <a:gd name="T107" fmla="*/ 159 h 328"/>
                <a:gd name="T108" fmla="*/ 116 w 272"/>
                <a:gd name="T109" fmla="*/ 128 h 328"/>
                <a:gd name="T110" fmla="*/ 185 w 272"/>
                <a:gd name="T111" fmla="*/ 103 h 328"/>
                <a:gd name="T112" fmla="*/ 259 w 272"/>
                <a:gd name="T113" fmla="*/ 174 h 328"/>
                <a:gd name="T114" fmla="*/ 244 w 272"/>
                <a:gd name="T115" fmla="*/ 187 h 328"/>
                <a:gd name="T116" fmla="*/ 226 w 272"/>
                <a:gd name="T117" fmla="*/ 174 h 328"/>
                <a:gd name="T118" fmla="*/ 231 w 272"/>
                <a:gd name="T119" fmla="*/ 156 h 328"/>
                <a:gd name="T120" fmla="*/ 254 w 272"/>
                <a:gd name="T121" fmla="*/ 15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" h="328">
                  <a:moveTo>
                    <a:pt x="272" y="169"/>
                  </a:moveTo>
                  <a:lnTo>
                    <a:pt x="269" y="162"/>
                  </a:lnTo>
                  <a:lnTo>
                    <a:pt x="267" y="154"/>
                  </a:lnTo>
                  <a:lnTo>
                    <a:pt x="264" y="149"/>
                  </a:lnTo>
                  <a:lnTo>
                    <a:pt x="259" y="146"/>
                  </a:lnTo>
                  <a:lnTo>
                    <a:pt x="257" y="144"/>
                  </a:lnTo>
                  <a:lnTo>
                    <a:pt x="251" y="141"/>
                  </a:lnTo>
                  <a:lnTo>
                    <a:pt x="246" y="139"/>
                  </a:lnTo>
                  <a:lnTo>
                    <a:pt x="241" y="139"/>
                  </a:lnTo>
                  <a:lnTo>
                    <a:pt x="239" y="139"/>
                  </a:lnTo>
                  <a:lnTo>
                    <a:pt x="233" y="141"/>
                  </a:lnTo>
                  <a:lnTo>
                    <a:pt x="205" y="92"/>
                  </a:lnTo>
                  <a:lnTo>
                    <a:pt x="213" y="85"/>
                  </a:lnTo>
                  <a:lnTo>
                    <a:pt x="218" y="80"/>
                  </a:lnTo>
                  <a:lnTo>
                    <a:pt x="223" y="72"/>
                  </a:lnTo>
                  <a:lnTo>
                    <a:pt x="223" y="67"/>
                  </a:lnTo>
                  <a:lnTo>
                    <a:pt x="226" y="57"/>
                  </a:lnTo>
                  <a:lnTo>
                    <a:pt x="226" y="52"/>
                  </a:lnTo>
                  <a:lnTo>
                    <a:pt x="226" y="44"/>
                  </a:lnTo>
                  <a:lnTo>
                    <a:pt x="226" y="39"/>
                  </a:lnTo>
                  <a:lnTo>
                    <a:pt x="223" y="34"/>
                  </a:lnTo>
                  <a:lnTo>
                    <a:pt x="218" y="23"/>
                  </a:lnTo>
                  <a:lnTo>
                    <a:pt x="213" y="18"/>
                  </a:lnTo>
                  <a:lnTo>
                    <a:pt x="208" y="13"/>
                  </a:lnTo>
                  <a:lnTo>
                    <a:pt x="205" y="11"/>
                  </a:lnTo>
                  <a:lnTo>
                    <a:pt x="195" y="5"/>
                  </a:lnTo>
                  <a:lnTo>
                    <a:pt x="190" y="3"/>
                  </a:lnTo>
                  <a:lnTo>
                    <a:pt x="182" y="3"/>
                  </a:lnTo>
                  <a:lnTo>
                    <a:pt x="177" y="0"/>
                  </a:lnTo>
                  <a:lnTo>
                    <a:pt x="169" y="3"/>
                  </a:lnTo>
                  <a:lnTo>
                    <a:pt x="164" y="3"/>
                  </a:lnTo>
                  <a:lnTo>
                    <a:pt x="159" y="5"/>
                  </a:lnTo>
                  <a:lnTo>
                    <a:pt x="149" y="11"/>
                  </a:lnTo>
                  <a:lnTo>
                    <a:pt x="144" y="16"/>
                  </a:lnTo>
                  <a:lnTo>
                    <a:pt x="139" y="21"/>
                  </a:lnTo>
                  <a:lnTo>
                    <a:pt x="136" y="26"/>
                  </a:lnTo>
                  <a:lnTo>
                    <a:pt x="134" y="34"/>
                  </a:lnTo>
                  <a:lnTo>
                    <a:pt x="131" y="39"/>
                  </a:lnTo>
                  <a:lnTo>
                    <a:pt x="128" y="46"/>
                  </a:lnTo>
                  <a:lnTo>
                    <a:pt x="128" y="54"/>
                  </a:lnTo>
                  <a:lnTo>
                    <a:pt x="131" y="64"/>
                  </a:lnTo>
                  <a:lnTo>
                    <a:pt x="134" y="72"/>
                  </a:lnTo>
                  <a:lnTo>
                    <a:pt x="136" y="80"/>
                  </a:lnTo>
                  <a:lnTo>
                    <a:pt x="139" y="82"/>
                  </a:lnTo>
                  <a:lnTo>
                    <a:pt x="103" y="118"/>
                  </a:lnTo>
                  <a:lnTo>
                    <a:pt x="98" y="113"/>
                  </a:lnTo>
                  <a:lnTo>
                    <a:pt x="88" y="108"/>
                  </a:lnTo>
                  <a:lnTo>
                    <a:pt x="77" y="105"/>
                  </a:lnTo>
                  <a:lnTo>
                    <a:pt x="70" y="103"/>
                  </a:lnTo>
                  <a:lnTo>
                    <a:pt x="70" y="59"/>
                  </a:lnTo>
                  <a:lnTo>
                    <a:pt x="75" y="59"/>
                  </a:lnTo>
                  <a:lnTo>
                    <a:pt x="80" y="57"/>
                  </a:lnTo>
                  <a:lnTo>
                    <a:pt x="85" y="52"/>
                  </a:lnTo>
                  <a:lnTo>
                    <a:pt x="90" y="46"/>
                  </a:lnTo>
                  <a:lnTo>
                    <a:pt x="93" y="41"/>
                  </a:lnTo>
                  <a:lnTo>
                    <a:pt x="93" y="34"/>
                  </a:lnTo>
                  <a:lnTo>
                    <a:pt x="93" y="28"/>
                  </a:lnTo>
                  <a:lnTo>
                    <a:pt x="93" y="26"/>
                  </a:lnTo>
                  <a:lnTo>
                    <a:pt x="90" y="18"/>
                  </a:lnTo>
                  <a:lnTo>
                    <a:pt x="88" y="13"/>
                  </a:lnTo>
                  <a:lnTo>
                    <a:pt x="82" y="8"/>
                  </a:lnTo>
                  <a:lnTo>
                    <a:pt x="75" y="3"/>
                  </a:lnTo>
                  <a:lnTo>
                    <a:pt x="70" y="3"/>
                  </a:lnTo>
                  <a:lnTo>
                    <a:pt x="64" y="0"/>
                  </a:lnTo>
                  <a:lnTo>
                    <a:pt x="57" y="3"/>
                  </a:lnTo>
                  <a:lnTo>
                    <a:pt x="52" y="5"/>
                  </a:lnTo>
                  <a:lnTo>
                    <a:pt x="44" y="11"/>
                  </a:lnTo>
                  <a:lnTo>
                    <a:pt x="41" y="16"/>
                  </a:lnTo>
                  <a:lnTo>
                    <a:pt x="39" y="21"/>
                  </a:lnTo>
                  <a:lnTo>
                    <a:pt x="36" y="26"/>
                  </a:lnTo>
                  <a:lnTo>
                    <a:pt x="36" y="31"/>
                  </a:lnTo>
                  <a:lnTo>
                    <a:pt x="36" y="39"/>
                  </a:lnTo>
                  <a:lnTo>
                    <a:pt x="39" y="44"/>
                  </a:lnTo>
                  <a:lnTo>
                    <a:pt x="44" y="52"/>
                  </a:lnTo>
                  <a:lnTo>
                    <a:pt x="47" y="54"/>
                  </a:lnTo>
                  <a:lnTo>
                    <a:pt x="52" y="57"/>
                  </a:lnTo>
                  <a:lnTo>
                    <a:pt x="57" y="59"/>
                  </a:lnTo>
                  <a:lnTo>
                    <a:pt x="59" y="59"/>
                  </a:lnTo>
                  <a:lnTo>
                    <a:pt x="59" y="103"/>
                  </a:lnTo>
                  <a:lnTo>
                    <a:pt x="49" y="105"/>
                  </a:lnTo>
                  <a:lnTo>
                    <a:pt x="44" y="108"/>
                  </a:lnTo>
                  <a:lnTo>
                    <a:pt x="39" y="110"/>
                  </a:lnTo>
                  <a:lnTo>
                    <a:pt x="31" y="113"/>
                  </a:lnTo>
                  <a:lnTo>
                    <a:pt x="24" y="118"/>
                  </a:lnTo>
                  <a:lnTo>
                    <a:pt x="18" y="126"/>
                  </a:lnTo>
                  <a:lnTo>
                    <a:pt x="13" y="131"/>
                  </a:lnTo>
                  <a:lnTo>
                    <a:pt x="8" y="139"/>
                  </a:lnTo>
                  <a:lnTo>
                    <a:pt x="6" y="146"/>
                  </a:lnTo>
                  <a:lnTo>
                    <a:pt x="3" y="151"/>
                  </a:lnTo>
                  <a:lnTo>
                    <a:pt x="3" y="159"/>
                  </a:lnTo>
                  <a:lnTo>
                    <a:pt x="0" y="167"/>
                  </a:lnTo>
                  <a:lnTo>
                    <a:pt x="0" y="169"/>
                  </a:lnTo>
                  <a:lnTo>
                    <a:pt x="3" y="177"/>
                  </a:lnTo>
                  <a:lnTo>
                    <a:pt x="3" y="180"/>
                  </a:lnTo>
                  <a:lnTo>
                    <a:pt x="6" y="190"/>
                  </a:lnTo>
                  <a:lnTo>
                    <a:pt x="6" y="195"/>
                  </a:lnTo>
                  <a:lnTo>
                    <a:pt x="8" y="200"/>
                  </a:lnTo>
                  <a:lnTo>
                    <a:pt x="13" y="208"/>
                  </a:lnTo>
                  <a:lnTo>
                    <a:pt x="18" y="213"/>
                  </a:lnTo>
                  <a:lnTo>
                    <a:pt x="24" y="218"/>
                  </a:lnTo>
                  <a:lnTo>
                    <a:pt x="29" y="223"/>
                  </a:lnTo>
                  <a:lnTo>
                    <a:pt x="39" y="228"/>
                  </a:lnTo>
                  <a:lnTo>
                    <a:pt x="44" y="231"/>
                  </a:lnTo>
                  <a:lnTo>
                    <a:pt x="52" y="233"/>
                  </a:lnTo>
                  <a:lnTo>
                    <a:pt x="59" y="236"/>
                  </a:lnTo>
                  <a:lnTo>
                    <a:pt x="64" y="236"/>
                  </a:lnTo>
                  <a:lnTo>
                    <a:pt x="72" y="236"/>
                  </a:lnTo>
                  <a:lnTo>
                    <a:pt x="80" y="233"/>
                  </a:lnTo>
                  <a:lnTo>
                    <a:pt x="90" y="231"/>
                  </a:lnTo>
                  <a:lnTo>
                    <a:pt x="111" y="267"/>
                  </a:lnTo>
                  <a:lnTo>
                    <a:pt x="105" y="274"/>
                  </a:lnTo>
                  <a:lnTo>
                    <a:pt x="103" y="279"/>
                  </a:lnTo>
                  <a:lnTo>
                    <a:pt x="100" y="285"/>
                  </a:lnTo>
                  <a:lnTo>
                    <a:pt x="100" y="290"/>
                  </a:lnTo>
                  <a:lnTo>
                    <a:pt x="100" y="297"/>
                  </a:lnTo>
                  <a:lnTo>
                    <a:pt x="100" y="302"/>
                  </a:lnTo>
                  <a:lnTo>
                    <a:pt x="103" y="308"/>
                  </a:lnTo>
                  <a:lnTo>
                    <a:pt x="108" y="315"/>
                  </a:lnTo>
                  <a:lnTo>
                    <a:pt x="113" y="320"/>
                  </a:lnTo>
                  <a:lnTo>
                    <a:pt x="121" y="323"/>
                  </a:lnTo>
                  <a:lnTo>
                    <a:pt x="126" y="325"/>
                  </a:lnTo>
                  <a:lnTo>
                    <a:pt x="131" y="328"/>
                  </a:lnTo>
                  <a:lnTo>
                    <a:pt x="141" y="325"/>
                  </a:lnTo>
                  <a:lnTo>
                    <a:pt x="146" y="323"/>
                  </a:lnTo>
                  <a:lnTo>
                    <a:pt x="152" y="320"/>
                  </a:lnTo>
                  <a:lnTo>
                    <a:pt x="157" y="318"/>
                  </a:lnTo>
                  <a:lnTo>
                    <a:pt x="162" y="310"/>
                  </a:lnTo>
                  <a:lnTo>
                    <a:pt x="164" y="305"/>
                  </a:lnTo>
                  <a:lnTo>
                    <a:pt x="167" y="297"/>
                  </a:lnTo>
                  <a:lnTo>
                    <a:pt x="167" y="295"/>
                  </a:lnTo>
                  <a:lnTo>
                    <a:pt x="167" y="287"/>
                  </a:lnTo>
                  <a:lnTo>
                    <a:pt x="164" y="279"/>
                  </a:lnTo>
                  <a:lnTo>
                    <a:pt x="162" y="277"/>
                  </a:lnTo>
                  <a:lnTo>
                    <a:pt x="159" y="269"/>
                  </a:lnTo>
                  <a:lnTo>
                    <a:pt x="154" y="264"/>
                  </a:lnTo>
                  <a:lnTo>
                    <a:pt x="146" y="261"/>
                  </a:lnTo>
                  <a:lnTo>
                    <a:pt x="141" y="259"/>
                  </a:lnTo>
                  <a:lnTo>
                    <a:pt x="134" y="256"/>
                  </a:lnTo>
                  <a:lnTo>
                    <a:pt x="128" y="259"/>
                  </a:lnTo>
                  <a:lnTo>
                    <a:pt x="123" y="259"/>
                  </a:lnTo>
                  <a:lnTo>
                    <a:pt x="103" y="221"/>
                  </a:lnTo>
                  <a:lnTo>
                    <a:pt x="111" y="215"/>
                  </a:lnTo>
                  <a:lnTo>
                    <a:pt x="113" y="210"/>
                  </a:lnTo>
                  <a:lnTo>
                    <a:pt x="118" y="205"/>
                  </a:lnTo>
                  <a:lnTo>
                    <a:pt x="121" y="197"/>
                  </a:lnTo>
                  <a:lnTo>
                    <a:pt x="126" y="190"/>
                  </a:lnTo>
                  <a:lnTo>
                    <a:pt x="126" y="187"/>
                  </a:lnTo>
                  <a:lnTo>
                    <a:pt x="128" y="174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18" y="185"/>
                  </a:lnTo>
                  <a:lnTo>
                    <a:pt x="221" y="190"/>
                  </a:lnTo>
                  <a:lnTo>
                    <a:pt x="226" y="192"/>
                  </a:lnTo>
                  <a:lnTo>
                    <a:pt x="231" y="195"/>
                  </a:lnTo>
                  <a:lnTo>
                    <a:pt x="236" y="197"/>
                  </a:lnTo>
                  <a:lnTo>
                    <a:pt x="241" y="197"/>
                  </a:lnTo>
                  <a:lnTo>
                    <a:pt x="249" y="197"/>
                  </a:lnTo>
                  <a:lnTo>
                    <a:pt x="257" y="195"/>
                  </a:lnTo>
                  <a:lnTo>
                    <a:pt x="262" y="192"/>
                  </a:lnTo>
                  <a:lnTo>
                    <a:pt x="264" y="187"/>
                  </a:lnTo>
                  <a:lnTo>
                    <a:pt x="269" y="180"/>
                  </a:lnTo>
                  <a:lnTo>
                    <a:pt x="269" y="177"/>
                  </a:lnTo>
                  <a:lnTo>
                    <a:pt x="272" y="169"/>
                  </a:lnTo>
                  <a:close/>
                  <a:moveTo>
                    <a:pt x="113" y="285"/>
                  </a:moveTo>
                  <a:lnTo>
                    <a:pt x="113" y="282"/>
                  </a:lnTo>
                  <a:lnTo>
                    <a:pt x="116" y="277"/>
                  </a:lnTo>
                  <a:lnTo>
                    <a:pt x="118" y="274"/>
                  </a:lnTo>
                  <a:lnTo>
                    <a:pt x="123" y="272"/>
                  </a:lnTo>
                  <a:lnTo>
                    <a:pt x="126" y="272"/>
                  </a:lnTo>
                  <a:lnTo>
                    <a:pt x="134" y="269"/>
                  </a:lnTo>
                  <a:lnTo>
                    <a:pt x="139" y="269"/>
                  </a:lnTo>
                  <a:lnTo>
                    <a:pt x="141" y="272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9" y="277"/>
                  </a:lnTo>
                  <a:lnTo>
                    <a:pt x="152" y="279"/>
                  </a:lnTo>
                  <a:lnTo>
                    <a:pt x="154" y="285"/>
                  </a:lnTo>
                  <a:lnTo>
                    <a:pt x="154" y="290"/>
                  </a:lnTo>
                  <a:lnTo>
                    <a:pt x="154" y="292"/>
                  </a:lnTo>
                  <a:lnTo>
                    <a:pt x="154" y="295"/>
                  </a:lnTo>
                  <a:lnTo>
                    <a:pt x="154" y="295"/>
                  </a:lnTo>
                  <a:lnTo>
                    <a:pt x="154" y="300"/>
                  </a:lnTo>
                  <a:lnTo>
                    <a:pt x="154" y="300"/>
                  </a:lnTo>
                  <a:lnTo>
                    <a:pt x="152" y="305"/>
                  </a:lnTo>
                  <a:lnTo>
                    <a:pt x="149" y="308"/>
                  </a:lnTo>
                  <a:lnTo>
                    <a:pt x="146" y="310"/>
                  </a:lnTo>
                  <a:lnTo>
                    <a:pt x="144" y="313"/>
                  </a:lnTo>
                  <a:lnTo>
                    <a:pt x="139" y="313"/>
                  </a:lnTo>
                  <a:lnTo>
                    <a:pt x="134" y="315"/>
                  </a:lnTo>
                  <a:lnTo>
                    <a:pt x="134" y="315"/>
                  </a:lnTo>
                  <a:lnTo>
                    <a:pt x="131" y="315"/>
                  </a:lnTo>
                  <a:lnTo>
                    <a:pt x="126" y="313"/>
                  </a:lnTo>
                  <a:lnTo>
                    <a:pt x="123" y="313"/>
                  </a:lnTo>
                  <a:lnTo>
                    <a:pt x="118" y="310"/>
                  </a:lnTo>
                  <a:lnTo>
                    <a:pt x="116" y="308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292"/>
                  </a:lnTo>
                  <a:lnTo>
                    <a:pt x="113" y="285"/>
                  </a:lnTo>
                  <a:close/>
                  <a:moveTo>
                    <a:pt x="57" y="46"/>
                  </a:moveTo>
                  <a:lnTo>
                    <a:pt x="54" y="44"/>
                  </a:lnTo>
                  <a:lnTo>
                    <a:pt x="52" y="44"/>
                  </a:lnTo>
                  <a:lnTo>
                    <a:pt x="52" y="41"/>
                  </a:lnTo>
                  <a:lnTo>
                    <a:pt x="49" y="39"/>
                  </a:lnTo>
                  <a:lnTo>
                    <a:pt x="49" y="34"/>
                  </a:lnTo>
                  <a:lnTo>
                    <a:pt x="47" y="31"/>
                  </a:lnTo>
                  <a:lnTo>
                    <a:pt x="49" y="28"/>
                  </a:lnTo>
                  <a:lnTo>
                    <a:pt x="49" y="23"/>
                  </a:lnTo>
                  <a:lnTo>
                    <a:pt x="52" y="21"/>
                  </a:lnTo>
                  <a:lnTo>
                    <a:pt x="52" y="18"/>
                  </a:lnTo>
                  <a:lnTo>
                    <a:pt x="54" y="16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4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5" y="16"/>
                  </a:lnTo>
                  <a:lnTo>
                    <a:pt x="77" y="18"/>
                  </a:lnTo>
                  <a:lnTo>
                    <a:pt x="80" y="21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34"/>
                  </a:lnTo>
                  <a:lnTo>
                    <a:pt x="82" y="36"/>
                  </a:lnTo>
                  <a:lnTo>
                    <a:pt x="80" y="39"/>
                  </a:lnTo>
                  <a:lnTo>
                    <a:pt x="77" y="41"/>
                  </a:lnTo>
                  <a:lnTo>
                    <a:pt x="75" y="44"/>
                  </a:lnTo>
                  <a:lnTo>
                    <a:pt x="72" y="46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59" y="49"/>
                  </a:lnTo>
                  <a:lnTo>
                    <a:pt x="57" y="46"/>
                  </a:lnTo>
                  <a:close/>
                  <a:moveTo>
                    <a:pt x="111" y="180"/>
                  </a:moveTo>
                  <a:lnTo>
                    <a:pt x="108" y="187"/>
                  </a:lnTo>
                  <a:lnTo>
                    <a:pt x="105" y="192"/>
                  </a:lnTo>
                  <a:lnTo>
                    <a:pt x="100" y="200"/>
                  </a:lnTo>
                  <a:lnTo>
                    <a:pt x="98" y="205"/>
                  </a:lnTo>
                  <a:lnTo>
                    <a:pt x="90" y="210"/>
                  </a:lnTo>
                  <a:lnTo>
                    <a:pt x="82" y="213"/>
                  </a:lnTo>
                  <a:lnTo>
                    <a:pt x="77" y="215"/>
                  </a:lnTo>
                  <a:lnTo>
                    <a:pt x="70" y="218"/>
                  </a:lnTo>
                  <a:lnTo>
                    <a:pt x="64" y="218"/>
                  </a:lnTo>
                  <a:lnTo>
                    <a:pt x="59" y="218"/>
                  </a:lnTo>
                  <a:lnTo>
                    <a:pt x="54" y="215"/>
                  </a:lnTo>
                  <a:lnTo>
                    <a:pt x="47" y="213"/>
                  </a:lnTo>
                  <a:lnTo>
                    <a:pt x="41" y="210"/>
                  </a:lnTo>
                  <a:lnTo>
                    <a:pt x="36" y="208"/>
                  </a:lnTo>
                  <a:lnTo>
                    <a:pt x="31" y="203"/>
                  </a:lnTo>
                  <a:lnTo>
                    <a:pt x="26" y="197"/>
                  </a:lnTo>
                  <a:lnTo>
                    <a:pt x="24" y="192"/>
                  </a:lnTo>
                  <a:lnTo>
                    <a:pt x="21" y="185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9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1" y="151"/>
                  </a:lnTo>
                  <a:lnTo>
                    <a:pt x="24" y="144"/>
                  </a:lnTo>
                  <a:lnTo>
                    <a:pt x="29" y="139"/>
                  </a:lnTo>
                  <a:lnTo>
                    <a:pt x="34" y="133"/>
                  </a:lnTo>
                  <a:lnTo>
                    <a:pt x="39" y="128"/>
                  </a:lnTo>
                  <a:lnTo>
                    <a:pt x="44" y="126"/>
                  </a:lnTo>
                  <a:lnTo>
                    <a:pt x="49" y="123"/>
                  </a:lnTo>
                  <a:lnTo>
                    <a:pt x="54" y="121"/>
                  </a:lnTo>
                  <a:lnTo>
                    <a:pt x="59" y="121"/>
                  </a:lnTo>
                  <a:lnTo>
                    <a:pt x="64" y="121"/>
                  </a:lnTo>
                  <a:lnTo>
                    <a:pt x="70" y="121"/>
                  </a:lnTo>
                  <a:lnTo>
                    <a:pt x="75" y="121"/>
                  </a:lnTo>
                  <a:lnTo>
                    <a:pt x="80" y="123"/>
                  </a:lnTo>
                  <a:lnTo>
                    <a:pt x="88" y="126"/>
                  </a:lnTo>
                  <a:lnTo>
                    <a:pt x="90" y="128"/>
                  </a:lnTo>
                  <a:lnTo>
                    <a:pt x="98" y="133"/>
                  </a:lnTo>
                  <a:lnTo>
                    <a:pt x="100" y="139"/>
                  </a:lnTo>
                  <a:lnTo>
                    <a:pt x="105" y="146"/>
                  </a:lnTo>
                  <a:lnTo>
                    <a:pt x="108" y="151"/>
                  </a:lnTo>
                  <a:lnTo>
                    <a:pt x="111" y="159"/>
                  </a:lnTo>
                  <a:lnTo>
                    <a:pt x="113" y="167"/>
                  </a:lnTo>
                  <a:lnTo>
                    <a:pt x="113" y="169"/>
                  </a:lnTo>
                  <a:lnTo>
                    <a:pt x="111" y="180"/>
                  </a:lnTo>
                  <a:close/>
                  <a:moveTo>
                    <a:pt x="141" y="46"/>
                  </a:moveTo>
                  <a:lnTo>
                    <a:pt x="141" y="41"/>
                  </a:lnTo>
                  <a:lnTo>
                    <a:pt x="144" y="36"/>
                  </a:lnTo>
                  <a:lnTo>
                    <a:pt x="146" y="28"/>
                  </a:lnTo>
                  <a:lnTo>
                    <a:pt x="152" y="26"/>
                  </a:lnTo>
                  <a:lnTo>
                    <a:pt x="157" y="21"/>
                  </a:lnTo>
                  <a:lnTo>
                    <a:pt x="162" y="16"/>
                  </a:lnTo>
                  <a:lnTo>
                    <a:pt x="169" y="13"/>
                  </a:lnTo>
                  <a:lnTo>
                    <a:pt x="175" y="13"/>
                  </a:lnTo>
                  <a:lnTo>
                    <a:pt x="177" y="13"/>
                  </a:lnTo>
                  <a:lnTo>
                    <a:pt x="182" y="13"/>
                  </a:lnTo>
                  <a:lnTo>
                    <a:pt x="190" y="16"/>
                  </a:lnTo>
                  <a:lnTo>
                    <a:pt x="198" y="18"/>
                  </a:lnTo>
                  <a:lnTo>
                    <a:pt x="203" y="23"/>
                  </a:lnTo>
                  <a:lnTo>
                    <a:pt x="205" y="26"/>
                  </a:lnTo>
                  <a:lnTo>
                    <a:pt x="210" y="31"/>
                  </a:lnTo>
                  <a:lnTo>
                    <a:pt x="213" y="39"/>
                  </a:lnTo>
                  <a:lnTo>
                    <a:pt x="216" y="46"/>
                  </a:lnTo>
                  <a:lnTo>
                    <a:pt x="216" y="52"/>
                  </a:lnTo>
                  <a:lnTo>
                    <a:pt x="216" y="59"/>
                  </a:lnTo>
                  <a:lnTo>
                    <a:pt x="213" y="64"/>
                  </a:lnTo>
                  <a:lnTo>
                    <a:pt x="210" y="69"/>
                  </a:lnTo>
                  <a:lnTo>
                    <a:pt x="208" y="75"/>
                  </a:lnTo>
                  <a:lnTo>
                    <a:pt x="205" y="80"/>
                  </a:lnTo>
                  <a:lnTo>
                    <a:pt x="198" y="85"/>
                  </a:lnTo>
                  <a:lnTo>
                    <a:pt x="193" y="87"/>
                  </a:lnTo>
                  <a:lnTo>
                    <a:pt x="185" y="90"/>
                  </a:lnTo>
                  <a:lnTo>
                    <a:pt x="180" y="90"/>
                  </a:lnTo>
                  <a:lnTo>
                    <a:pt x="177" y="90"/>
                  </a:lnTo>
                  <a:lnTo>
                    <a:pt x="172" y="90"/>
                  </a:lnTo>
                  <a:lnTo>
                    <a:pt x="167" y="90"/>
                  </a:lnTo>
                  <a:lnTo>
                    <a:pt x="159" y="87"/>
                  </a:lnTo>
                  <a:lnTo>
                    <a:pt x="154" y="82"/>
                  </a:lnTo>
                  <a:lnTo>
                    <a:pt x="152" y="80"/>
                  </a:lnTo>
                  <a:lnTo>
                    <a:pt x="146" y="75"/>
                  </a:lnTo>
                  <a:lnTo>
                    <a:pt x="144" y="69"/>
                  </a:lnTo>
                  <a:lnTo>
                    <a:pt x="141" y="62"/>
                  </a:lnTo>
                  <a:lnTo>
                    <a:pt x="141" y="59"/>
                  </a:lnTo>
                  <a:lnTo>
                    <a:pt x="141" y="52"/>
                  </a:lnTo>
                  <a:lnTo>
                    <a:pt x="141" y="46"/>
                  </a:lnTo>
                  <a:close/>
                  <a:moveTo>
                    <a:pt x="221" y="151"/>
                  </a:moveTo>
                  <a:lnTo>
                    <a:pt x="218" y="154"/>
                  </a:lnTo>
                  <a:lnTo>
                    <a:pt x="216" y="159"/>
                  </a:lnTo>
                  <a:lnTo>
                    <a:pt x="216" y="164"/>
                  </a:lnTo>
                  <a:lnTo>
                    <a:pt x="128" y="164"/>
                  </a:lnTo>
                  <a:lnTo>
                    <a:pt x="126" y="151"/>
                  </a:lnTo>
                  <a:lnTo>
                    <a:pt x="123" y="141"/>
                  </a:lnTo>
                  <a:lnTo>
                    <a:pt x="118" y="131"/>
                  </a:lnTo>
                  <a:lnTo>
                    <a:pt x="116" y="128"/>
                  </a:lnTo>
                  <a:lnTo>
                    <a:pt x="149" y="92"/>
                  </a:lnTo>
                  <a:lnTo>
                    <a:pt x="154" y="98"/>
                  </a:lnTo>
                  <a:lnTo>
                    <a:pt x="164" y="100"/>
                  </a:lnTo>
                  <a:lnTo>
                    <a:pt x="169" y="103"/>
                  </a:lnTo>
                  <a:lnTo>
                    <a:pt x="177" y="103"/>
                  </a:lnTo>
                  <a:lnTo>
                    <a:pt x="185" y="103"/>
                  </a:lnTo>
                  <a:lnTo>
                    <a:pt x="190" y="100"/>
                  </a:lnTo>
                  <a:lnTo>
                    <a:pt x="198" y="98"/>
                  </a:lnTo>
                  <a:lnTo>
                    <a:pt x="223" y="146"/>
                  </a:lnTo>
                  <a:lnTo>
                    <a:pt x="221" y="151"/>
                  </a:lnTo>
                  <a:close/>
                  <a:moveTo>
                    <a:pt x="259" y="172"/>
                  </a:moveTo>
                  <a:lnTo>
                    <a:pt x="259" y="174"/>
                  </a:lnTo>
                  <a:lnTo>
                    <a:pt x="257" y="180"/>
                  </a:lnTo>
                  <a:lnTo>
                    <a:pt x="254" y="182"/>
                  </a:lnTo>
                  <a:lnTo>
                    <a:pt x="251" y="185"/>
                  </a:lnTo>
                  <a:lnTo>
                    <a:pt x="246" y="187"/>
                  </a:lnTo>
                  <a:lnTo>
                    <a:pt x="244" y="187"/>
                  </a:lnTo>
                  <a:lnTo>
                    <a:pt x="244" y="187"/>
                  </a:lnTo>
                  <a:lnTo>
                    <a:pt x="239" y="187"/>
                  </a:lnTo>
                  <a:lnTo>
                    <a:pt x="236" y="185"/>
                  </a:lnTo>
                  <a:lnTo>
                    <a:pt x="233" y="185"/>
                  </a:lnTo>
                  <a:lnTo>
                    <a:pt x="228" y="180"/>
                  </a:lnTo>
                  <a:lnTo>
                    <a:pt x="228" y="180"/>
                  </a:lnTo>
                  <a:lnTo>
                    <a:pt x="226" y="174"/>
                  </a:lnTo>
                  <a:lnTo>
                    <a:pt x="226" y="172"/>
                  </a:lnTo>
                  <a:lnTo>
                    <a:pt x="226" y="169"/>
                  </a:lnTo>
                  <a:lnTo>
                    <a:pt x="226" y="167"/>
                  </a:lnTo>
                  <a:lnTo>
                    <a:pt x="226" y="162"/>
                  </a:lnTo>
                  <a:lnTo>
                    <a:pt x="228" y="159"/>
                  </a:lnTo>
                  <a:lnTo>
                    <a:pt x="231" y="156"/>
                  </a:lnTo>
                  <a:lnTo>
                    <a:pt x="236" y="154"/>
                  </a:lnTo>
                  <a:lnTo>
                    <a:pt x="239" y="151"/>
                  </a:lnTo>
                  <a:lnTo>
                    <a:pt x="241" y="151"/>
                  </a:lnTo>
                  <a:lnTo>
                    <a:pt x="246" y="151"/>
                  </a:lnTo>
                  <a:lnTo>
                    <a:pt x="251" y="154"/>
                  </a:lnTo>
                  <a:lnTo>
                    <a:pt x="254" y="156"/>
                  </a:lnTo>
                  <a:lnTo>
                    <a:pt x="257" y="156"/>
                  </a:lnTo>
                  <a:lnTo>
                    <a:pt x="259" y="162"/>
                  </a:lnTo>
                  <a:lnTo>
                    <a:pt x="259" y="167"/>
                  </a:lnTo>
                  <a:lnTo>
                    <a:pt x="259" y="169"/>
                  </a:lnTo>
                  <a:lnTo>
                    <a:pt x="259" y="1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46">
            <a:extLst>
              <a:ext uri="{FF2B5EF4-FFF2-40B4-BE49-F238E27FC236}">
                <a16:creationId xmlns:a16="http://schemas.microsoft.com/office/drawing/2014/main" id="{058966F0-4A5E-4071-B0AC-490848178E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6363" y="2860599"/>
            <a:ext cx="758825" cy="758825"/>
            <a:chOff x="906" y="1966"/>
            <a:chExt cx="478" cy="478"/>
          </a:xfrm>
        </p:grpSpPr>
        <p:sp>
          <p:nvSpPr>
            <p:cNvPr id="266" name="AutoShape 245">
              <a:extLst>
                <a:ext uri="{FF2B5EF4-FFF2-40B4-BE49-F238E27FC236}">
                  <a16:creationId xmlns:a16="http://schemas.microsoft.com/office/drawing/2014/main" id="{27974B6E-B139-4889-B7D0-AB3CA7C3B6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6" y="196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47">
              <a:extLst>
                <a:ext uri="{FF2B5EF4-FFF2-40B4-BE49-F238E27FC236}">
                  <a16:creationId xmlns:a16="http://schemas.microsoft.com/office/drawing/2014/main" id="{B9630361-9974-41F0-9661-339322D91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" y="196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48">
              <a:extLst>
                <a:ext uri="{FF2B5EF4-FFF2-40B4-BE49-F238E27FC236}">
                  <a16:creationId xmlns:a16="http://schemas.microsoft.com/office/drawing/2014/main" id="{AB94367E-CA0F-4D00-B866-DD30E3E8E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" y="2059"/>
              <a:ext cx="284" cy="294"/>
            </a:xfrm>
            <a:custGeom>
              <a:avLst/>
              <a:gdLst>
                <a:gd name="T0" fmla="*/ 277 w 284"/>
                <a:gd name="T1" fmla="*/ 133 h 294"/>
                <a:gd name="T2" fmla="*/ 260 w 284"/>
                <a:gd name="T3" fmla="*/ 86 h 294"/>
                <a:gd name="T4" fmla="*/ 196 w 284"/>
                <a:gd name="T5" fmla="*/ 32 h 294"/>
                <a:gd name="T6" fmla="*/ 137 w 284"/>
                <a:gd name="T7" fmla="*/ 0 h 294"/>
                <a:gd name="T8" fmla="*/ 66 w 284"/>
                <a:gd name="T9" fmla="*/ 15 h 294"/>
                <a:gd name="T10" fmla="*/ 44 w 284"/>
                <a:gd name="T11" fmla="*/ 57 h 294"/>
                <a:gd name="T12" fmla="*/ 0 w 284"/>
                <a:gd name="T13" fmla="*/ 120 h 294"/>
                <a:gd name="T14" fmla="*/ 2 w 284"/>
                <a:gd name="T15" fmla="*/ 196 h 294"/>
                <a:gd name="T16" fmla="*/ 44 w 284"/>
                <a:gd name="T17" fmla="*/ 260 h 294"/>
                <a:gd name="T18" fmla="*/ 81 w 284"/>
                <a:gd name="T19" fmla="*/ 285 h 294"/>
                <a:gd name="T20" fmla="*/ 132 w 284"/>
                <a:gd name="T21" fmla="*/ 292 h 294"/>
                <a:gd name="T22" fmla="*/ 206 w 284"/>
                <a:gd name="T23" fmla="*/ 262 h 294"/>
                <a:gd name="T24" fmla="*/ 267 w 284"/>
                <a:gd name="T25" fmla="*/ 216 h 294"/>
                <a:gd name="T26" fmla="*/ 61 w 284"/>
                <a:gd name="T27" fmla="*/ 34 h 294"/>
                <a:gd name="T28" fmla="*/ 81 w 284"/>
                <a:gd name="T29" fmla="*/ 32 h 294"/>
                <a:gd name="T30" fmla="*/ 69 w 284"/>
                <a:gd name="T31" fmla="*/ 49 h 294"/>
                <a:gd name="T32" fmla="*/ 78 w 284"/>
                <a:gd name="T33" fmla="*/ 272 h 294"/>
                <a:gd name="T34" fmla="*/ 61 w 284"/>
                <a:gd name="T35" fmla="*/ 262 h 294"/>
                <a:gd name="T36" fmla="*/ 78 w 284"/>
                <a:gd name="T37" fmla="*/ 255 h 294"/>
                <a:gd name="T38" fmla="*/ 64 w 284"/>
                <a:gd name="T39" fmla="*/ 186 h 294"/>
                <a:gd name="T40" fmla="*/ 64 w 284"/>
                <a:gd name="T41" fmla="*/ 164 h 294"/>
                <a:gd name="T42" fmla="*/ 76 w 284"/>
                <a:gd name="T43" fmla="*/ 184 h 294"/>
                <a:gd name="T44" fmla="*/ 218 w 284"/>
                <a:gd name="T45" fmla="*/ 238 h 294"/>
                <a:gd name="T46" fmla="*/ 123 w 284"/>
                <a:gd name="T47" fmla="*/ 213 h 294"/>
                <a:gd name="T48" fmla="*/ 154 w 284"/>
                <a:gd name="T49" fmla="*/ 248 h 294"/>
                <a:gd name="T50" fmla="*/ 142 w 284"/>
                <a:gd name="T51" fmla="*/ 277 h 294"/>
                <a:gd name="T52" fmla="*/ 93 w 284"/>
                <a:gd name="T53" fmla="*/ 240 h 294"/>
                <a:gd name="T54" fmla="*/ 91 w 284"/>
                <a:gd name="T55" fmla="*/ 179 h 294"/>
                <a:gd name="T56" fmla="*/ 61 w 284"/>
                <a:gd name="T57" fmla="*/ 155 h 294"/>
                <a:gd name="T58" fmla="*/ 54 w 284"/>
                <a:gd name="T59" fmla="*/ 194 h 294"/>
                <a:gd name="T60" fmla="*/ 54 w 284"/>
                <a:gd name="T61" fmla="*/ 248 h 294"/>
                <a:gd name="T62" fmla="*/ 17 w 284"/>
                <a:gd name="T63" fmla="*/ 194 h 294"/>
                <a:gd name="T64" fmla="*/ 78 w 284"/>
                <a:gd name="T65" fmla="*/ 113 h 294"/>
                <a:gd name="T66" fmla="*/ 76 w 284"/>
                <a:gd name="T67" fmla="*/ 96 h 294"/>
                <a:gd name="T68" fmla="*/ 15 w 284"/>
                <a:gd name="T69" fmla="*/ 125 h 294"/>
                <a:gd name="T70" fmla="*/ 56 w 284"/>
                <a:gd name="T71" fmla="*/ 71 h 294"/>
                <a:gd name="T72" fmla="*/ 128 w 284"/>
                <a:gd name="T73" fmla="*/ 88 h 294"/>
                <a:gd name="T74" fmla="*/ 167 w 284"/>
                <a:gd name="T75" fmla="*/ 88 h 294"/>
                <a:gd name="T76" fmla="*/ 142 w 284"/>
                <a:gd name="T77" fmla="*/ 57 h 294"/>
                <a:gd name="T78" fmla="*/ 93 w 284"/>
                <a:gd name="T79" fmla="*/ 30 h 294"/>
                <a:gd name="T80" fmla="*/ 152 w 284"/>
                <a:gd name="T81" fmla="*/ 22 h 294"/>
                <a:gd name="T82" fmla="*/ 194 w 284"/>
                <a:gd name="T83" fmla="*/ 108 h 294"/>
                <a:gd name="T84" fmla="*/ 211 w 284"/>
                <a:gd name="T85" fmla="*/ 128 h 294"/>
                <a:gd name="T86" fmla="*/ 216 w 284"/>
                <a:gd name="T87" fmla="*/ 57 h 294"/>
                <a:gd name="T88" fmla="*/ 243 w 284"/>
                <a:gd name="T89" fmla="*/ 120 h 294"/>
                <a:gd name="T90" fmla="*/ 191 w 284"/>
                <a:gd name="T91" fmla="*/ 174 h 294"/>
                <a:gd name="T92" fmla="*/ 174 w 284"/>
                <a:gd name="T93" fmla="*/ 213 h 294"/>
                <a:gd name="T94" fmla="*/ 213 w 284"/>
                <a:gd name="T95" fmla="*/ 199 h 294"/>
                <a:gd name="T96" fmla="*/ 257 w 284"/>
                <a:gd name="T97" fmla="*/ 191 h 294"/>
                <a:gd name="T98" fmla="*/ 154 w 284"/>
                <a:gd name="T99" fmla="*/ 69 h 294"/>
                <a:gd name="T100" fmla="*/ 150 w 284"/>
                <a:gd name="T101" fmla="*/ 88 h 294"/>
                <a:gd name="T102" fmla="*/ 201 w 284"/>
                <a:gd name="T103" fmla="*/ 201 h 294"/>
                <a:gd name="T104" fmla="*/ 179 w 284"/>
                <a:gd name="T105" fmla="*/ 201 h 294"/>
                <a:gd name="T106" fmla="*/ 199 w 284"/>
                <a:gd name="T107" fmla="*/ 189 h 294"/>
                <a:gd name="T108" fmla="*/ 262 w 284"/>
                <a:gd name="T109" fmla="*/ 162 h 294"/>
                <a:gd name="T110" fmla="*/ 257 w 284"/>
                <a:gd name="T111" fmla="*/ 14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294">
                  <a:moveTo>
                    <a:pt x="280" y="164"/>
                  </a:moveTo>
                  <a:lnTo>
                    <a:pt x="282" y="159"/>
                  </a:lnTo>
                  <a:lnTo>
                    <a:pt x="284" y="155"/>
                  </a:lnTo>
                  <a:lnTo>
                    <a:pt x="284" y="152"/>
                  </a:lnTo>
                  <a:lnTo>
                    <a:pt x="284" y="147"/>
                  </a:lnTo>
                  <a:lnTo>
                    <a:pt x="282" y="142"/>
                  </a:lnTo>
                  <a:lnTo>
                    <a:pt x="280" y="137"/>
                  </a:lnTo>
                  <a:lnTo>
                    <a:pt x="277" y="135"/>
                  </a:lnTo>
                  <a:lnTo>
                    <a:pt x="277" y="133"/>
                  </a:lnTo>
                  <a:lnTo>
                    <a:pt x="272" y="130"/>
                  </a:lnTo>
                  <a:lnTo>
                    <a:pt x="267" y="128"/>
                  </a:lnTo>
                  <a:lnTo>
                    <a:pt x="265" y="128"/>
                  </a:lnTo>
                  <a:lnTo>
                    <a:pt x="262" y="128"/>
                  </a:lnTo>
                  <a:lnTo>
                    <a:pt x="257" y="128"/>
                  </a:lnTo>
                  <a:lnTo>
                    <a:pt x="260" y="118"/>
                  </a:lnTo>
                  <a:lnTo>
                    <a:pt x="260" y="106"/>
                  </a:lnTo>
                  <a:lnTo>
                    <a:pt x="260" y="98"/>
                  </a:lnTo>
                  <a:lnTo>
                    <a:pt x="260" y="86"/>
                  </a:lnTo>
                  <a:lnTo>
                    <a:pt x="255" y="76"/>
                  </a:lnTo>
                  <a:lnTo>
                    <a:pt x="250" y="69"/>
                  </a:lnTo>
                  <a:lnTo>
                    <a:pt x="245" y="61"/>
                  </a:lnTo>
                  <a:lnTo>
                    <a:pt x="240" y="54"/>
                  </a:lnTo>
                  <a:lnTo>
                    <a:pt x="233" y="49"/>
                  </a:lnTo>
                  <a:lnTo>
                    <a:pt x="226" y="44"/>
                  </a:lnTo>
                  <a:lnTo>
                    <a:pt x="218" y="39"/>
                  </a:lnTo>
                  <a:lnTo>
                    <a:pt x="208" y="37"/>
                  </a:lnTo>
                  <a:lnTo>
                    <a:pt x="196" y="32"/>
                  </a:lnTo>
                  <a:lnTo>
                    <a:pt x="189" y="30"/>
                  </a:lnTo>
                  <a:lnTo>
                    <a:pt x="186" y="30"/>
                  </a:lnTo>
                  <a:lnTo>
                    <a:pt x="179" y="22"/>
                  </a:lnTo>
                  <a:lnTo>
                    <a:pt x="174" y="17"/>
                  </a:lnTo>
                  <a:lnTo>
                    <a:pt x="167" y="10"/>
                  </a:lnTo>
                  <a:lnTo>
                    <a:pt x="159" y="7"/>
                  </a:lnTo>
                  <a:lnTo>
                    <a:pt x="152" y="5"/>
                  </a:lnTo>
                  <a:lnTo>
                    <a:pt x="145" y="3"/>
                  </a:lnTo>
                  <a:lnTo>
                    <a:pt x="137" y="0"/>
                  </a:lnTo>
                  <a:lnTo>
                    <a:pt x="132" y="0"/>
                  </a:lnTo>
                  <a:lnTo>
                    <a:pt x="120" y="0"/>
                  </a:lnTo>
                  <a:lnTo>
                    <a:pt x="110" y="3"/>
                  </a:lnTo>
                  <a:lnTo>
                    <a:pt x="98" y="7"/>
                  </a:lnTo>
                  <a:lnTo>
                    <a:pt x="91" y="12"/>
                  </a:lnTo>
                  <a:lnTo>
                    <a:pt x="83" y="17"/>
                  </a:lnTo>
                  <a:lnTo>
                    <a:pt x="78" y="15"/>
                  </a:lnTo>
                  <a:lnTo>
                    <a:pt x="74" y="15"/>
                  </a:lnTo>
                  <a:lnTo>
                    <a:pt x="66" y="15"/>
                  </a:lnTo>
                  <a:lnTo>
                    <a:pt x="61" y="17"/>
                  </a:lnTo>
                  <a:lnTo>
                    <a:pt x="56" y="22"/>
                  </a:lnTo>
                  <a:lnTo>
                    <a:pt x="52" y="27"/>
                  </a:lnTo>
                  <a:lnTo>
                    <a:pt x="49" y="34"/>
                  </a:lnTo>
                  <a:lnTo>
                    <a:pt x="49" y="37"/>
                  </a:lnTo>
                  <a:lnTo>
                    <a:pt x="49" y="42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44" y="57"/>
                  </a:lnTo>
                  <a:lnTo>
                    <a:pt x="37" y="61"/>
                  </a:lnTo>
                  <a:lnTo>
                    <a:pt x="29" y="64"/>
                  </a:lnTo>
                  <a:lnTo>
                    <a:pt x="22" y="69"/>
                  </a:lnTo>
                  <a:lnTo>
                    <a:pt x="17" y="74"/>
                  </a:lnTo>
                  <a:lnTo>
                    <a:pt x="15" y="79"/>
                  </a:lnTo>
                  <a:lnTo>
                    <a:pt x="10" y="86"/>
                  </a:lnTo>
                  <a:lnTo>
                    <a:pt x="5" y="96"/>
                  </a:lnTo>
                  <a:lnTo>
                    <a:pt x="2" y="108"/>
                  </a:lnTo>
                  <a:lnTo>
                    <a:pt x="0" y="120"/>
                  </a:lnTo>
                  <a:lnTo>
                    <a:pt x="0" y="125"/>
                  </a:lnTo>
                  <a:lnTo>
                    <a:pt x="0" y="135"/>
                  </a:lnTo>
                  <a:lnTo>
                    <a:pt x="2" y="147"/>
                  </a:lnTo>
                  <a:lnTo>
                    <a:pt x="5" y="159"/>
                  </a:lnTo>
                  <a:lnTo>
                    <a:pt x="7" y="167"/>
                  </a:lnTo>
                  <a:lnTo>
                    <a:pt x="2" y="179"/>
                  </a:lnTo>
                  <a:lnTo>
                    <a:pt x="2" y="184"/>
                  </a:lnTo>
                  <a:lnTo>
                    <a:pt x="2" y="194"/>
                  </a:lnTo>
                  <a:lnTo>
                    <a:pt x="2" y="196"/>
                  </a:lnTo>
                  <a:lnTo>
                    <a:pt x="2" y="204"/>
                  </a:lnTo>
                  <a:lnTo>
                    <a:pt x="2" y="211"/>
                  </a:lnTo>
                  <a:lnTo>
                    <a:pt x="5" y="221"/>
                  </a:lnTo>
                  <a:lnTo>
                    <a:pt x="10" y="231"/>
                  </a:lnTo>
                  <a:lnTo>
                    <a:pt x="15" y="235"/>
                  </a:lnTo>
                  <a:lnTo>
                    <a:pt x="22" y="245"/>
                  </a:lnTo>
                  <a:lnTo>
                    <a:pt x="32" y="253"/>
                  </a:lnTo>
                  <a:lnTo>
                    <a:pt x="42" y="260"/>
                  </a:lnTo>
                  <a:lnTo>
                    <a:pt x="44" y="260"/>
                  </a:lnTo>
                  <a:lnTo>
                    <a:pt x="49" y="262"/>
                  </a:lnTo>
                  <a:lnTo>
                    <a:pt x="49" y="270"/>
                  </a:lnTo>
                  <a:lnTo>
                    <a:pt x="54" y="277"/>
                  </a:lnTo>
                  <a:lnTo>
                    <a:pt x="59" y="282"/>
                  </a:lnTo>
                  <a:lnTo>
                    <a:pt x="64" y="285"/>
                  </a:lnTo>
                  <a:lnTo>
                    <a:pt x="69" y="287"/>
                  </a:lnTo>
                  <a:lnTo>
                    <a:pt x="71" y="287"/>
                  </a:lnTo>
                  <a:lnTo>
                    <a:pt x="76" y="285"/>
                  </a:lnTo>
                  <a:lnTo>
                    <a:pt x="81" y="285"/>
                  </a:lnTo>
                  <a:lnTo>
                    <a:pt x="86" y="282"/>
                  </a:lnTo>
                  <a:lnTo>
                    <a:pt x="88" y="277"/>
                  </a:lnTo>
                  <a:lnTo>
                    <a:pt x="91" y="272"/>
                  </a:lnTo>
                  <a:lnTo>
                    <a:pt x="93" y="270"/>
                  </a:lnTo>
                  <a:lnTo>
                    <a:pt x="103" y="280"/>
                  </a:lnTo>
                  <a:lnTo>
                    <a:pt x="110" y="285"/>
                  </a:lnTo>
                  <a:lnTo>
                    <a:pt x="118" y="287"/>
                  </a:lnTo>
                  <a:lnTo>
                    <a:pt x="125" y="292"/>
                  </a:lnTo>
                  <a:lnTo>
                    <a:pt x="132" y="292"/>
                  </a:lnTo>
                  <a:lnTo>
                    <a:pt x="140" y="294"/>
                  </a:lnTo>
                  <a:lnTo>
                    <a:pt x="145" y="294"/>
                  </a:lnTo>
                  <a:lnTo>
                    <a:pt x="157" y="292"/>
                  </a:lnTo>
                  <a:lnTo>
                    <a:pt x="164" y="292"/>
                  </a:lnTo>
                  <a:lnTo>
                    <a:pt x="172" y="287"/>
                  </a:lnTo>
                  <a:lnTo>
                    <a:pt x="179" y="285"/>
                  </a:lnTo>
                  <a:lnTo>
                    <a:pt x="186" y="280"/>
                  </a:lnTo>
                  <a:lnTo>
                    <a:pt x="199" y="272"/>
                  </a:lnTo>
                  <a:lnTo>
                    <a:pt x="206" y="262"/>
                  </a:lnTo>
                  <a:lnTo>
                    <a:pt x="213" y="255"/>
                  </a:lnTo>
                  <a:lnTo>
                    <a:pt x="223" y="253"/>
                  </a:lnTo>
                  <a:lnTo>
                    <a:pt x="230" y="250"/>
                  </a:lnTo>
                  <a:lnTo>
                    <a:pt x="240" y="245"/>
                  </a:lnTo>
                  <a:lnTo>
                    <a:pt x="248" y="243"/>
                  </a:lnTo>
                  <a:lnTo>
                    <a:pt x="253" y="238"/>
                  </a:lnTo>
                  <a:lnTo>
                    <a:pt x="260" y="231"/>
                  </a:lnTo>
                  <a:lnTo>
                    <a:pt x="262" y="223"/>
                  </a:lnTo>
                  <a:lnTo>
                    <a:pt x="267" y="216"/>
                  </a:lnTo>
                  <a:lnTo>
                    <a:pt x="270" y="206"/>
                  </a:lnTo>
                  <a:lnTo>
                    <a:pt x="272" y="201"/>
                  </a:lnTo>
                  <a:lnTo>
                    <a:pt x="272" y="196"/>
                  </a:lnTo>
                  <a:lnTo>
                    <a:pt x="275" y="189"/>
                  </a:lnTo>
                  <a:lnTo>
                    <a:pt x="275" y="184"/>
                  </a:lnTo>
                  <a:lnTo>
                    <a:pt x="275" y="169"/>
                  </a:lnTo>
                  <a:lnTo>
                    <a:pt x="277" y="169"/>
                  </a:lnTo>
                  <a:lnTo>
                    <a:pt x="280" y="164"/>
                  </a:lnTo>
                  <a:close/>
                  <a:moveTo>
                    <a:pt x="61" y="34"/>
                  </a:moveTo>
                  <a:lnTo>
                    <a:pt x="61" y="32"/>
                  </a:lnTo>
                  <a:lnTo>
                    <a:pt x="64" y="30"/>
                  </a:lnTo>
                  <a:lnTo>
                    <a:pt x="66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6" y="27"/>
                  </a:lnTo>
                  <a:lnTo>
                    <a:pt x="78" y="30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3" y="37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1" y="44"/>
                  </a:lnTo>
                  <a:lnTo>
                    <a:pt x="78" y="47"/>
                  </a:lnTo>
                  <a:lnTo>
                    <a:pt x="76" y="49"/>
                  </a:lnTo>
                  <a:lnTo>
                    <a:pt x="74" y="49"/>
                  </a:lnTo>
                  <a:lnTo>
                    <a:pt x="71" y="49"/>
                  </a:lnTo>
                  <a:lnTo>
                    <a:pt x="69" y="49"/>
                  </a:lnTo>
                  <a:lnTo>
                    <a:pt x="66" y="47"/>
                  </a:lnTo>
                  <a:lnTo>
                    <a:pt x="64" y="44"/>
                  </a:lnTo>
                  <a:lnTo>
                    <a:pt x="61" y="42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61" y="34"/>
                  </a:lnTo>
                  <a:close/>
                  <a:moveTo>
                    <a:pt x="83" y="265"/>
                  </a:moveTo>
                  <a:lnTo>
                    <a:pt x="81" y="270"/>
                  </a:lnTo>
                  <a:lnTo>
                    <a:pt x="78" y="272"/>
                  </a:lnTo>
                  <a:lnTo>
                    <a:pt x="76" y="272"/>
                  </a:lnTo>
                  <a:lnTo>
                    <a:pt x="74" y="275"/>
                  </a:lnTo>
                  <a:lnTo>
                    <a:pt x="71" y="275"/>
                  </a:lnTo>
                  <a:lnTo>
                    <a:pt x="69" y="275"/>
                  </a:lnTo>
                  <a:lnTo>
                    <a:pt x="66" y="272"/>
                  </a:lnTo>
                  <a:lnTo>
                    <a:pt x="64" y="270"/>
                  </a:lnTo>
                  <a:lnTo>
                    <a:pt x="61" y="267"/>
                  </a:lnTo>
                  <a:lnTo>
                    <a:pt x="61" y="265"/>
                  </a:lnTo>
                  <a:lnTo>
                    <a:pt x="61" y="262"/>
                  </a:lnTo>
                  <a:lnTo>
                    <a:pt x="61" y="260"/>
                  </a:lnTo>
                  <a:lnTo>
                    <a:pt x="61" y="258"/>
                  </a:lnTo>
                  <a:lnTo>
                    <a:pt x="64" y="255"/>
                  </a:lnTo>
                  <a:lnTo>
                    <a:pt x="69" y="253"/>
                  </a:lnTo>
                  <a:lnTo>
                    <a:pt x="71" y="253"/>
                  </a:lnTo>
                  <a:lnTo>
                    <a:pt x="71" y="253"/>
                  </a:lnTo>
                  <a:lnTo>
                    <a:pt x="74" y="253"/>
                  </a:lnTo>
                  <a:lnTo>
                    <a:pt x="76" y="253"/>
                  </a:lnTo>
                  <a:lnTo>
                    <a:pt x="78" y="255"/>
                  </a:lnTo>
                  <a:lnTo>
                    <a:pt x="81" y="258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3" y="265"/>
                  </a:lnTo>
                  <a:close/>
                  <a:moveTo>
                    <a:pt x="76" y="184"/>
                  </a:moveTo>
                  <a:lnTo>
                    <a:pt x="71" y="186"/>
                  </a:lnTo>
                  <a:lnTo>
                    <a:pt x="69" y="186"/>
                  </a:lnTo>
                  <a:lnTo>
                    <a:pt x="66" y="186"/>
                  </a:lnTo>
                  <a:lnTo>
                    <a:pt x="64" y="186"/>
                  </a:lnTo>
                  <a:lnTo>
                    <a:pt x="61" y="186"/>
                  </a:lnTo>
                  <a:lnTo>
                    <a:pt x="59" y="182"/>
                  </a:lnTo>
                  <a:lnTo>
                    <a:pt x="56" y="179"/>
                  </a:lnTo>
                  <a:lnTo>
                    <a:pt x="56" y="177"/>
                  </a:lnTo>
                  <a:lnTo>
                    <a:pt x="56" y="174"/>
                  </a:lnTo>
                  <a:lnTo>
                    <a:pt x="56" y="172"/>
                  </a:lnTo>
                  <a:lnTo>
                    <a:pt x="59" y="169"/>
                  </a:lnTo>
                  <a:lnTo>
                    <a:pt x="61" y="167"/>
                  </a:lnTo>
                  <a:lnTo>
                    <a:pt x="64" y="164"/>
                  </a:lnTo>
                  <a:lnTo>
                    <a:pt x="69" y="164"/>
                  </a:lnTo>
                  <a:lnTo>
                    <a:pt x="71" y="164"/>
                  </a:lnTo>
                  <a:lnTo>
                    <a:pt x="76" y="167"/>
                  </a:lnTo>
                  <a:lnTo>
                    <a:pt x="76" y="169"/>
                  </a:lnTo>
                  <a:lnTo>
                    <a:pt x="78" y="172"/>
                  </a:lnTo>
                  <a:lnTo>
                    <a:pt x="78" y="174"/>
                  </a:lnTo>
                  <a:lnTo>
                    <a:pt x="78" y="177"/>
                  </a:lnTo>
                  <a:lnTo>
                    <a:pt x="78" y="179"/>
                  </a:lnTo>
                  <a:lnTo>
                    <a:pt x="76" y="184"/>
                  </a:lnTo>
                  <a:close/>
                  <a:moveTo>
                    <a:pt x="257" y="191"/>
                  </a:moveTo>
                  <a:lnTo>
                    <a:pt x="257" y="196"/>
                  </a:lnTo>
                  <a:lnTo>
                    <a:pt x="255" y="206"/>
                  </a:lnTo>
                  <a:lnTo>
                    <a:pt x="250" y="213"/>
                  </a:lnTo>
                  <a:lnTo>
                    <a:pt x="245" y="221"/>
                  </a:lnTo>
                  <a:lnTo>
                    <a:pt x="243" y="223"/>
                  </a:lnTo>
                  <a:lnTo>
                    <a:pt x="235" y="231"/>
                  </a:lnTo>
                  <a:lnTo>
                    <a:pt x="226" y="235"/>
                  </a:lnTo>
                  <a:lnTo>
                    <a:pt x="218" y="238"/>
                  </a:lnTo>
                  <a:lnTo>
                    <a:pt x="208" y="238"/>
                  </a:lnTo>
                  <a:lnTo>
                    <a:pt x="201" y="240"/>
                  </a:lnTo>
                  <a:lnTo>
                    <a:pt x="189" y="238"/>
                  </a:lnTo>
                  <a:lnTo>
                    <a:pt x="179" y="238"/>
                  </a:lnTo>
                  <a:lnTo>
                    <a:pt x="164" y="233"/>
                  </a:lnTo>
                  <a:lnTo>
                    <a:pt x="152" y="228"/>
                  </a:lnTo>
                  <a:lnTo>
                    <a:pt x="137" y="223"/>
                  </a:lnTo>
                  <a:lnTo>
                    <a:pt x="125" y="216"/>
                  </a:lnTo>
                  <a:lnTo>
                    <a:pt x="123" y="213"/>
                  </a:lnTo>
                  <a:lnTo>
                    <a:pt x="120" y="216"/>
                  </a:lnTo>
                  <a:lnTo>
                    <a:pt x="115" y="218"/>
                  </a:lnTo>
                  <a:lnTo>
                    <a:pt x="115" y="223"/>
                  </a:lnTo>
                  <a:lnTo>
                    <a:pt x="115" y="226"/>
                  </a:lnTo>
                  <a:lnTo>
                    <a:pt x="115" y="228"/>
                  </a:lnTo>
                  <a:lnTo>
                    <a:pt x="118" y="231"/>
                  </a:lnTo>
                  <a:lnTo>
                    <a:pt x="135" y="238"/>
                  </a:lnTo>
                  <a:lnTo>
                    <a:pt x="147" y="245"/>
                  </a:lnTo>
                  <a:lnTo>
                    <a:pt x="154" y="248"/>
                  </a:lnTo>
                  <a:lnTo>
                    <a:pt x="169" y="253"/>
                  </a:lnTo>
                  <a:lnTo>
                    <a:pt x="172" y="253"/>
                  </a:lnTo>
                  <a:lnTo>
                    <a:pt x="191" y="255"/>
                  </a:lnTo>
                  <a:lnTo>
                    <a:pt x="179" y="265"/>
                  </a:lnTo>
                  <a:lnTo>
                    <a:pt x="172" y="270"/>
                  </a:lnTo>
                  <a:lnTo>
                    <a:pt x="164" y="272"/>
                  </a:lnTo>
                  <a:lnTo>
                    <a:pt x="154" y="277"/>
                  </a:lnTo>
                  <a:lnTo>
                    <a:pt x="147" y="277"/>
                  </a:lnTo>
                  <a:lnTo>
                    <a:pt x="142" y="277"/>
                  </a:lnTo>
                  <a:lnTo>
                    <a:pt x="142" y="277"/>
                  </a:lnTo>
                  <a:lnTo>
                    <a:pt x="135" y="277"/>
                  </a:lnTo>
                  <a:lnTo>
                    <a:pt x="128" y="275"/>
                  </a:lnTo>
                  <a:lnTo>
                    <a:pt x="120" y="272"/>
                  </a:lnTo>
                  <a:lnTo>
                    <a:pt x="115" y="267"/>
                  </a:lnTo>
                  <a:lnTo>
                    <a:pt x="108" y="262"/>
                  </a:lnTo>
                  <a:lnTo>
                    <a:pt x="101" y="255"/>
                  </a:lnTo>
                  <a:lnTo>
                    <a:pt x="96" y="248"/>
                  </a:lnTo>
                  <a:lnTo>
                    <a:pt x="93" y="240"/>
                  </a:lnTo>
                  <a:lnTo>
                    <a:pt x="88" y="231"/>
                  </a:lnTo>
                  <a:lnTo>
                    <a:pt x="86" y="223"/>
                  </a:lnTo>
                  <a:lnTo>
                    <a:pt x="83" y="213"/>
                  </a:lnTo>
                  <a:lnTo>
                    <a:pt x="78" y="196"/>
                  </a:lnTo>
                  <a:lnTo>
                    <a:pt x="81" y="194"/>
                  </a:lnTo>
                  <a:lnTo>
                    <a:pt x="83" y="191"/>
                  </a:lnTo>
                  <a:lnTo>
                    <a:pt x="88" y="186"/>
                  </a:lnTo>
                  <a:lnTo>
                    <a:pt x="88" y="182"/>
                  </a:lnTo>
                  <a:lnTo>
                    <a:pt x="91" y="179"/>
                  </a:lnTo>
                  <a:lnTo>
                    <a:pt x="91" y="174"/>
                  </a:lnTo>
                  <a:lnTo>
                    <a:pt x="88" y="172"/>
                  </a:lnTo>
                  <a:lnTo>
                    <a:pt x="88" y="167"/>
                  </a:lnTo>
                  <a:lnTo>
                    <a:pt x="86" y="162"/>
                  </a:lnTo>
                  <a:lnTo>
                    <a:pt x="81" y="157"/>
                  </a:lnTo>
                  <a:lnTo>
                    <a:pt x="76" y="155"/>
                  </a:lnTo>
                  <a:lnTo>
                    <a:pt x="71" y="152"/>
                  </a:lnTo>
                  <a:lnTo>
                    <a:pt x="66" y="152"/>
                  </a:lnTo>
                  <a:lnTo>
                    <a:pt x="61" y="155"/>
                  </a:lnTo>
                  <a:lnTo>
                    <a:pt x="56" y="157"/>
                  </a:lnTo>
                  <a:lnTo>
                    <a:pt x="52" y="159"/>
                  </a:lnTo>
                  <a:lnTo>
                    <a:pt x="47" y="167"/>
                  </a:lnTo>
                  <a:lnTo>
                    <a:pt x="44" y="174"/>
                  </a:lnTo>
                  <a:lnTo>
                    <a:pt x="44" y="177"/>
                  </a:lnTo>
                  <a:lnTo>
                    <a:pt x="47" y="182"/>
                  </a:lnTo>
                  <a:lnTo>
                    <a:pt x="47" y="184"/>
                  </a:lnTo>
                  <a:lnTo>
                    <a:pt x="49" y="189"/>
                  </a:lnTo>
                  <a:lnTo>
                    <a:pt x="54" y="194"/>
                  </a:lnTo>
                  <a:lnTo>
                    <a:pt x="56" y="196"/>
                  </a:lnTo>
                  <a:lnTo>
                    <a:pt x="61" y="199"/>
                  </a:lnTo>
                  <a:lnTo>
                    <a:pt x="66" y="213"/>
                  </a:lnTo>
                  <a:lnTo>
                    <a:pt x="69" y="223"/>
                  </a:lnTo>
                  <a:lnTo>
                    <a:pt x="71" y="233"/>
                  </a:lnTo>
                  <a:lnTo>
                    <a:pt x="74" y="240"/>
                  </a:lnTo>
                  <a:lnTo>
                    <a:pt x="66" y="240"/>
                  </a:lnTo>
                  <a:lnTo>
                    <a:pt x="59" y="243"/>
                  </a:lnTo>
                  <a:lnTo>
                    <a:pt x="54" y="248"/>
                  </a:lnTo>
                  <a:lnTo>
                    <a:pt x="44" y="243"/>
                  </a:lnTo>
                  <a:lnTo>
                    <a:pt x="37" y="235"/>
                  </a:lnTo>
                  <a:lnTo>
                    <a:pt x="32" y="233"/>
                  </a:lnTo>
                  <a:lnTo>
                    <a:pt x="29" y="231"/>
                  </a:lnTo>
                  <a:lnTo>
                    <a:pt x="22" y="218"/>
                  </a:lnTo>
                  <a:lnTo>
                    <a:pt x="20" y="211"/>
                  </a:lnTo>
                  <a:lnTo>
                    <a:pt x="17" y="206"/>
                  </a:lnTo>
                  <a:lnTo>
                    <a:pt x="17" y="199"/>
                  </a:lnTo>
                  <a:lnTo>
                    <a:pt x="17" y="194"/>
                  </a:lnTo>
                  <a:lnTo>
                    <a:pt x="17" y="189"/>
                  </a:lnTo>
                  <a:lnTo>
                    <a:pt x="20" y="182"/>
                  </a:lnTo>
                  <a:lnTo>
                    <a:pt x="22" y="174"/>
                  </a:lnTo>
                  <a:lnTo>
                    <a:pt x="27" y="164"/>
                  </a:lnTo>
                  <a:lnTo>
                    <a:pt x="34" y="155"/>
                  </a:lnTo>
                  <a:lnTo>
                    <a:pt x="42" y="145"/>
                  </a:lnTo>
                  <a:lnTo>
                    <a:pt x="56" y="130"/>
                  </a:lnTo>
                  <a:lnTo>
                    <a:pt x="64" y="123"/>
                  </a:lnTo>
                  <a:lnTo>
                    <a:pt x="78" y="113"/>
                  </a:lnTo>
                  <a:lnTo>
                    <a:pt x="86" y="108"/>
                  </a:lnTo>
                  <a:lnTo>
                    <a:pt x="88" y="106"/>
                  </a:lnTo>
                  <a:lnTo>
                    <a:pt x="88" y="103"/>
                  </a:lnTo>
                  <a:lnTo>
                    <a:pt x="88" y="101"/>
                  </a:lnTo>
                  <a:lnTo>
                    <a:pt x="86" y="98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1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61" y="106"/>
                  </a:lnTo>
                  <a:lnTo>
                    <a:pt x="49" y="113"/>
                  </a:lnTo>
                  <a:lnTo>
                    <a:pt x="39" y="123"/>
                  </a:lnTo>
                  <a:lnTo>
                    <a:pt x="32" y="130"/>
                  </a:lnTo>
                  <a:lnTo>
                    <a:pt x="25" y="140"/>
                  </a:lnTo>
                  <a:lnTo>
                    <a:pt x="17" y="147"/>
                  </a:lnTo>
                  <a:lnTo>
                    <a:pt x="17" y="133"/>
                  </a:lnTo>
                  <a:lnTo>
                    <a:pt x="15" y="125"/>
                  </a:lnTo>
                  <a:lnTo>
                    <a:pt x="15" y="120"/>
                  </a:lnTo>
                  <a:lnTo>
                    <a:pt x="17" y="110"/>
                  </a:lnTo>
                  <a:lnTo>
                    <a:pt x="20" y="101"/>
                  </a:lnTo>
                  <a:lnTo>
                    <a:pt x="25" y="93"/>
                  </a:lnTo>
                  <a:lnTo>
                    <a:pt x="27" y="88"/>
                  </a:lnTo>
                  <a:lnTo>
                    <a:pt x="34" y="81"/>
                  </a:lnTo>
                  <a:lnTo>
                    <a:pt x="39" y="79"/>
                  </a:lnTo>
                  <a:lnTo>
                    <a:pt x="47" y="74"/>
                  </a:lnTo>
                  <a:lnTo>
                    <a:pt x="56" y="71"/>
                  </a:lnTo>
                  <a:lnTo>
                    <a:pt x="69" y="69"/>
                  </a:lnTo>
                  <a:lnTo>
                    <a:pt x="76" y="69"/>
                  </a:lnTo>
                  <a:lnTo>
                    <a:pt x="86" y="69"/>
                  </a:lnTo>
                  <a:lnTo>
                    <a:pt x="98" y="71"/>
                  </a:lnTo>
                  <a:lnTo>
                    <a:pt x="103" y="71"/>
                  </a:lnTo>
                  <a:lnTo>
                    <a:pt x="113" y="74"/>
                  </a:lnTo>
                  <a:lnTo>
                    <a:pt x="125" y="79"/>
                  </a:lnTo>
                  <a:lnTo>
                    <a:pt x="125" y="83"/>
                  </a:lnTo>
                  <a:lnTo>
                    <a:pt x="128" y="88"/>
                  </a:lnTo>
                  <a:lnTo>
                    <a:pt x="132" y="93"/>
                  </a:lnTo>
                  <a:lnTo>
                    <a:pt x="137" y="98"/>
                  </a:lnTo>
                  <a:lnTo>
                    <a:pt x="140" y="101"/>
                  </a:lnTo>
                  <a:lnTo>
                    <a:pt x="145" y="101"/>
                  </a:lnTo>
                  <a:lnTo>
                    <a:pt x="147" y="101"/>
                  </a:lnTo>
                  <a:lnTo>
                    <a:pt x="152" y="101"/>
                  </a:lnTo>
                  <a:lnTo>
                    <a:pt x="157" y="98"/>
                  </a:lnTo>
                  <a:lnTo>
                    <a:pt x="164" y="96"/>
                  </a:lnTo>
                  <a:lnTo>
                    <a:pt x="167" y="88"/>
                  </a:lnTo>
                  <a:lnTo>
                    <a:pt x="169" y="83"/>
                  </a:lnTo>
                  <a:lnTo>
                    <a:pt x="169" y="79"/>
                  </a:lnTo>
                  <a:lnTo>
                    <a:pt x="169" y="71"/>
                  </a:lnTo>
                  <a:lnTo>
                    <a:pt x="167" y="66"/>
                  </a:lnTo>
                  <a:lnTo>
                    <a:pt x="162" y="59"/>
                  </a:lnTo>
                  <a:lnTo>
                    <a:pt x="157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42" y="57"/>
                  </a:lnTo>
                  <a:lnTo>
                    <a:pt x="137" y="57"/>
                  </a:lnTo>
                  <a:lnTo>
                    <a:pt x="132" y="61"/>
                  </a:lnTo>
                  <a:lnTo>
                    <a:pt x="115" y="57"/>
                  </a:lnTo>
                  <a:lnTo>
                    <a:pt x="108" y="54"/>
                  </a:lnTo>
                  <a:lnTo>
                    <a:pt x="98" y="54"/>
                  </a:lnTo>
                  <a:lnTo>
                    <a:pt x="88" y="52"/>
                  </a:lnTo>
                  <a:lnTo>
                    <a:pt x="93" y="44"/>
                  </a:lnTo>
                  <a:lnTo>
                    <a:pt x="93" y="39"/>
                  </a:lnTo>
                  <a:lnTo>
                    <a:pt x="93" y="30"/>
                  </a:lnTo>
                  <a:lnTo>
                    <a:pt x="98" y="27"/>
                  </a:lnTo>
                  <a:lnTo>
                    <a:pt x="105" y="25"/>
                  </a:lnTo>
                  <a:lnTo>
                    <a:pt x="110" y="20"/>
                  </a:lnTo>
                  <a:lnTo>
                    <a:pt x="118" y="20"/>
                  </a:lnTo>
                  <a:lnTo>
                    <a:pt x="123" y="17"/>
                  </a:lnTo>
                  <a:lnTo>
                    <a:pt x="132" y="17"/>
                  </a:lnTo>
                  <a:lnTo>
                    <a:pt x="140" y="17"/>
                  </a:lnTo>
                  <a:lnTo>
                    <a:pt x="145" y="20"/>
                  </a:lnTo>
                  <a:lnTo>
                    <a:pt x="152" y="22"/>
                  </a:lnTo>
                  <a:lnTo>
                    <a:pt x="157" y="25"/>
                  </a:lnTo>
                  <a:lnTo>
                    <a:pt x="162" y="30"/>
                  </a:lnTo>
                  <a:lnTo>
                    <a:pt x="169" y="37"/>
                  </a:lnTo>
                  <a:lnTo>
                    <a:pt x="177" y="47"/>
                  </a:lnTo>
                  <a:lnTo>
                    <a:pt x="181" y="57"/>
                  </a:lnTo>
                  <a:lnTo>
                    <a:pt x="186" y="66"/>
                  </a:lnTo>
                  <a:lnTo>
                    <a:pt x="191" y="83"/>
                  </a:lnTo>
                  <a:lnTo>
                    <a:pt x="194" y="96"/>
                  </a:lnTo>
                  <a:lnTo>
                    <a:pt x="194" y="108"/>
                  </a:lnTo>
                  <a:lnTo>
                    <a:pt x="194" y="120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9" y="133"/>
                  </a:lnTo>
                  <a:lnTo>
                    <a:pt x="201" y="133"/>
                  </a:lnTo>
                  <a:lnTo>
                    <a:pt x="204" y="133"/>
                  </a:lnTo>
                  <a:lnTo>
                    <a:pt x="206" y="133"/>
                  </a:lnTo>
                  <a:lnTo>
                    <a:pt x="208" y="130"/>
                  </a:lnTo>
                  <a:lnTo>
                    <a:pt x="211" y="128"/>
                  </a:lnTo>
                  <a:lnTo>
                    <a:pt x="211" y="125"/>
                  </a:lnTo>
                  <a:lnTo>
                    <a:pt x="211" y="108"/>
                  </a:lnTo>
                  <a:lnTo>
                    <a:pt x="208" y="93"/>
                  </a:lnTo>
                  <a:lnTo>
                    <a:pt x="206" y="79"/>
                  </a:lnTo>
                  <a:lnTo>
                    <a:pt x="204" y="71"/>
                  </a:lnTo>
                  <a:lnTo>
                    <a:pt x="201" y="57"/>
                  </a:lnTo>
                  <a:lnTo>
                    <a:pt x="196" y="49"/>
                  </a:lnTo>
                  <a:lnTo>
                    <a:pt x="208" y="54"/>
                  </a:lnTo>
                  <a:lnTo>
                    <a:pt x="216" y="57"/>
                  </a:lnTo>
                  <a:lnTo>
                    <a:pt x="223" y="64"/>
                  </a:lnTo>
                  <a:lnTo>
                    <a:pt x="230" y="69"/>
                  </a:lnTo>
                  <a:lnTo>
                    <a:pt x="235" y="76"/>
                  </a:lnTo>
                  <a:lnTo>
                    <a:pt x="240" y="83"/>
                  </a:lnTo>
                  <a:lnTo>
                    <a:pt x="243" y="91"/>
                  </a:lnTo>
                  <a:lnTo>
                    <a:pt x="245" y="96"/>
                  </a:lnTo>
                  <a:lnTo>
                    <a:pt x="245" y="103"/>
                  </a:lnTo>
                  <a:lnTo>
                    <a:pt x="245" y="108"/>
                  </a:lnTo>
                  <a:lnTo>
                    <a:pt x="243" y="120"/>
                  </a:lnTo>
                  <a:lnTo>
                    <a:pt x="240" y="128"/>
                  </a:lnTo>
                  <a:lnTo>
                    <a:pt x="235" y="140"/>
                  </a:lnTo>
                  <a:lnTo>
                    <a:pt x="230" y="147"/>
                  </a:lnTo>
                  <a:lnTo>
                    <a:pt x="223" y="155"/>
                  </a:lnTo>
                  <a:lnTo>
                    <a:pt x="218" y="162"/>
                  </a:lnTo>
                  <a:lnTo>
                    <a:pt x="208" y="172"/>
                  </a:lnTo>
                  <a:lnTo>
                    <a:pt x="201" y="179"/>
                  </a:lnTo>
                  <a:lnTo>
                    <a:pt x="196" y="177"/>
                  </a:lnTo>
                  <a:lnTo>
                    <a:pt x="191" y="174"/>
                  </a:lnTo>
                  <a:lnTo>
                    <a:pt x="184" y="177"/>
                  </a:lnTo>
                  <a:lnTo>
                    <a:pt x="177" y="179"/>
                  </a:lnTo>
                  <a:lnTo>
                    <a:pt x="172" y="184"/>
                  </a:lnTo>
                  <a:lnTo>
                    <a:pt x="169" y="189"/>
                  </a:lnTo>
                  <a:lnTo>
                    <a:pt x="169" y="194"/>
                  </a:lnTo>
                  <a:lnTo>
                    <a:pt x="167" y="196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4" y="213"/>
                  </a:lnTo>
                  <a:lnTo>
                    <a:pt x="179" y="218"/>
                  </a:lnTo>
                  <a:lnTo>
                    <a:pt x="186" y="221"/>
                  </a:lnTo>
                  <a:lnTo>
                    <a:pt x="189" y="221"/>
                  </a:lnTo>
                  <a:lnTo>
                    <a:pt x="196" y="221"/>
                  </a:lnTo>
                  <a:lnTo>
                    <a:pt x="201" y="218"/>
                  </a:lnTo>
                  <a:lnTo>
                    <a:pt x="206" y="213"/>
                  </a:lnTo>
                  <a:lnTo>
                    <a:pt x="211" y="206"/>
                  </a:lnTo>
                  <a:lnTo>
                    <a:pt x="213" y="201"/>
                  </a:lnTo>
                  <a:lnTo>
                    <a:pt x="213" y="199"/>
                  </a:lnTo>
                  <a:lnTo>
                    <a:pt x="211" y="191"/>
                  </a:lnTo>
                  <a:lnTo>
                    <a:pt x="221" y="184"/>
                  </a:lnTo>
                  <a:lnTo>
                    <a:pt x="230" y="174"/>
                  </a:lnTo>
                  <a:lnTo>
                    <a:pt x="240" y="159"/>
                  </a:lnTo>
                  <a:lnTo>
                    <a:pt x="248" y="167"/>
                  </a:lnTo>
                  <a:lnTo>
                    <a:pt x="253" y="172"/>
                  </a:lnTo>
                  <a:lnTo>
                    <a:pt x="257" y="174"/>
                  </a:lnTo>
                  <a:lnTo>
                    <a:pt x="257" y="182"/>
                  </a:lnTo>
                  <a:lnTo>
                    <a:pt x="257" y="191"/>
                  </a:lnTo>
                  <a:close/>
                  <a:moveTo>
                    <a:pt x="137" y="79"/>
                  </a:moveTo>
                  <a:lnTo>
                    <a:pt x="137" y="74"/>
                  </a:lnTo>
                  <a:lnTo>
                    <a:pt x="137" y="71"/>
                  </a:lnTo>
                  <a:lnTo>
                    <a:pt x="140" y="69"/>
                  </a:lnTo>
                  <a:lnTo>
                    <a:pt x="142" y="69"/>
                  </a:lnTo>
                  <a:lnTo>
                    <a:pt x="145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54" y="69"/>
                  </a:lnTo>
                  <a:lnTo>
                    <a:pt x="157" y="71"/>
                  </a:lnTo>
                  <a:lnTo>
                    <a:pt x="157" y="74"/>
                  </a:lnTo>
                  <a:lnTo>
                    <a:pt x="159" y="76"/>
                  </a:lnTo>
                  <a:lnTo>
                    <a:pt x="159" y="79"/>
                  </a:lnTo>
                  <a:lnTo>
                    <a:pt x="159" y="81"/>
                  </a:lnTo>
                  <a:lnTo>
                    <a:pt x="157" y="83"/>
                  </a:lnTo>
                  <a:lnTo>
                    <a:pt x="157" y="86"/>
                  </a:lnTo>
                  <a:lnTo>
                    <a:pt x="154" y="88"/>
                  </a:lnTo>
                  <a:lnTo>
                    <a:pt x="150" y="88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2" y="88"/>
                  </a:lnTo>
                  <a:lnTo>
                    <a:pt x="140" y="86"/>
                  </a:lnTo>
                  <a:lnTo>
                    <a:pt x="137" y="83"/>
                  </a:lnTo>
                  <a:lnTo>
                    <a:pt x="137" y="81"/>
                  </a:lnTo>
                  <a:lnTo>
                    <a:pt x="137" y="79"/>
                  </a:lnTo>
                  <a:close/>
                  <a:moveTo>
                    <a:pt x="201" y="199"/>
                  </a:moveTo>
                  <a:lnTo>
                    <a:pt x="201" y="201"/>
                  </a:lnTo>
                  <a:lnTo>
                    <a:pt x="201" y="204"/>
                  </a:lnTo>
                  <a:lnTo>
                    <a:pt x="199" y="206"/>
                  </a:lnTo>
                  <a:lnTo>
                    <a:pt x="196" y="209"/>
                  </a:lnTo>
                  <a:lnTo>
                    <a:pt x="191" y="209"/>
                  </a:lnTo>
                  <a:lnTo>
                    <a:pt x="189" y="209"/>
                  </a:lnTo>
                  <a:lnTo>
                    <a:pt x="186" y="209"/>
                  </a:lnTo>
                  <a:lnTo>
                    <a:pt x="184" y="209"/>
                  </a:lnTo>
                  <a:lnTo>
                    <a:pt x="181" y="206"/>
                  </a:lnTo>
                  <a:lnTo>
                    <a:pt x="179" y="201"/>
                  </a:lnTo>
                  <a:lnTo>
                    <a:pt x="179" y="196"/>
                  </a:lnTo>
                  <a:lnTo>
                    <a:pt x="179" y="194"/>
                  </a:lnTo>
                  <a:lnTo>
                    <a:pt x="181" y="189"/>
                  </a:lnTo>
                  <a:lnTo>
                    <a:pt x="184" y="189"/>
                  </a:lnTo>
                  <a:lnTo>
                    <a:pt x="189" y="186"/>
                  </a:lnTo>
                  <a:lnTo>
                    <a:pt x="191" y="186"/>
                  </a:lnTo>
                  <a:lnTo>
                    <a:pt x="194" y="186"/>
                  </a:lnTo>
                  <a:lnTo>
                    <a:pt x="196" y="189"/>
                  </a:lnTo>
                  <a:lnTo>
                    <a:pt x="199" y="189"/>
                  </a:lnTo>
                  <a:lnTo>
                    <a:pt x="201" y="194"/>
                  </a:lnTo>
                  <a:lnTo>
                    <a:pt x="201" y="196"/>
                  </a:lnTo>
                  <a:lnTo>
                    <a:pt x="201" y="199"/>
                  </a:lnTo>
                  <a:close/>
                  <a:moveTo>
                    <a:pt x="272" y="155"/>
                  </a:moveTo>
                  <a:lnTo>
                    <a:pt x="272" y="157"/>
                  </a:lnTo>
                  <a:lnTo>
                    <a:pt x="270" y="159"/>
                  </a:lnTo>
                  <a:lnTo>
                    <a:pt x="267" y="162"/>
                  </a:lnTo>
                  <a:lnTo>
                    <a:pt x="262" y="162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55" y="159"/>
                  </a:lnTo>
                  <a:lnTo>
                    <a:pt x="253" y="157"/>
                  </a:lnTo>
                  <a:lnTo>
                    <a:pt x="253" y="152"/>
                  </a:lnTo>
                  <a:lnTo>
                    <a:pt x="250" y="150"/>
                  </a:lnTo>
                  <a:lnTo>
                    <a:pt x="253" y="147"/>
                  </a:lnTo>
                  <a:lnTo>
                    <a:pt x="253" y="145"/>
                  </a:lnTo>
                  <a:lnTo>
                    <a:pt x="255" y="142"/>
                  </a:lnTo>
                  <a:lnTo>
                    <a:pt x="257" y="140"/>
                  </a:lnTo>
                  <a:lnTo>
                    <a:pt x="262" y="140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70" y="142"/>
                  </a:lnTo>
                  <a:lnTo>
                    <a:pt x="272" y="145"/>
                  </a:lnTo>
                  <a:lnTo>
                    <a:pt x="272" y="147"/>
                  </a:lnTo>
                  <a:lnTo>
                    <a:pt x="275" y="152"/>
                  </a:lnTo>
                  <a:lnTo>
                    <a:pt x="272" y="15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49">
              <a:extLst>
                <a:ext uri="{FF2B5EF4-FFF2-40B4-BE49-F238E27FC236}">
                  <a16:creationId xmlns:a16="http://schemas.microsoft.com/office/drawing/2014/main" id="{871D3DAF-76B4-44DF-8A39-F68514FE21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5" y="2174"/>
              <a:ext cx="68" cy="69"/>
            </a:xfrm>
            <a:custGeom>
              <a:avLst/>
              <a:gdLst>
                <a:gd name="T0" fmla="*/ 68 w 68"/>
                <a:gd name="T1" fmla="*/ 32 h 69"/>
                <a:gd name="T2" fmla="*/ 63 w 68"/>
                <a:gd name="T3" fmla="*/ 18 h 69"/>
                <a:gd name="T4" fmla="*/ 56 w 68"/>
                <a:gd name="T5" fmla="*/ 8 h 69"/>
                <a:gd name="T6" fmla="*/ 46 w 68"/>
                <a:gd name="T7" fmla="*/ 3 h 69"/>
                <a:gd name="T8" fmla="*/ 34 w 68"/>
                <a:gd name="T9" fmla="*/ 0 h 69"/>
                <a:gd name="T10" fmla="*/ 27 w 68"/>
                <a:gd name="T11" fmla="*/ 3 h 69"/>
                <a:gd name="T12" fmla="*/ 17 w 68"/>
                <a:gd name="T13" fmla="*/ 5 h 69"/>
                <a:gd name="T14" fmla="*/ 7 w 68"/>
                <a:gd name="T15" fmla="*/ 15 h 69"/>
                <a:gd name="T16" fmla="*/ 2 w 68"/>
                <a:gd name="T17" fmla="*/ 27 h 69"/>
                <a:gd name="T18" fmla="*/ 0 w 68"/>
                <a:gd name="T19" fmla="*/ 42 h 69"/>
                <a:gd name="T20" fmla="*/ 4 w 68"/>
                <a:gd name="T21" fmla="*/ 54 h 69"/>
                <a:gd name="T22" fmla="*/ 9 w 68"/>
                <a:gd name="T23" fmla="*/ 59 h 69"/>
                <a:gd name="T24" fmla="*/ 22 w 68"/>
                <a:gd name="T25" fmla="*/ 69 h 69"/>
                <a:gd name="T26" fmla="*/ 34 w 68"/>
                <a:gd name="T27" fmla="*/ 69 h 69"/>
                <a:gd name="T28" fmla="*/ 46 w 68"/>
                <a:gd name="T29" fmla="*/ 69 h 69"/>
                <a:gd name="T30" fmla="*/ 56 w 68"/>
                <a:gd name="T31" fmla="*/ 62 h 69"/>
                <a:gd name="T32" fmla="*/ 66 w 68"/>
                <a:gd name="T33" fmla="*/ 47 h 69"/>
                <a:gd name="T34" fmla="*/ 68 w 68"/>
                <a:gd name="T35" fmla="*/ 37 h 69"/>
                <a:gd name="T36" fmla="*/ 51 w 68"/>
                <a:gd name="T37" fmla="*/ 42 h 69"/>
                <a:gd name="T38" fmla="*/ 49 w 68"/>
                <a:gd name="T39" fmla="*/ 47 h 69"/>
                <a:gd name="T40" fmla="*/ 44 w 68"/>
                <a:gd name="T41" fmla="*/ 52 h 69"/>
                <a:gd name="T42" fmla="*/ 36 w 68"/>
                <a:gd name="T43" fmla="*/ 54 h 69"/>
                <a:gd name="T44" fmla="*/ 31 w 68"/>
                <a:gd name="T45" fmla="*/ 54 h 69"/>
                <a:gd name="T46" fmla="*/ 24 w 68"/>
                <a:gd name="T47" fmla="*/ 49 h 69"/>
                <a:gd name="T48" fmla="*/ 19 w 68"/>
                <a:gd name="T49" fmla="*/ 44 h 69"/>
                <a:gd name="T50" fmla="*/ 17 w 68"/>
                <a:gd name="T51" fmla="*/ 40 h 69"/>
                <a:gd name="T52" fmla="*/ 17 w 68"/>
                <a:gd name="T53" fmla="*/ 35 h 69"/>
                <a:gd name="T54" fmla="*/ 17 w 68"/>
                <a:gd name="T55" fmla="*/ 30 h 69"/>
                <a:gd name="T56" fmla="*/ 22 w 68"/>
                <a:gd name="T57" fmla="*/ 25 h 69"/>
                <a:gd name="T58" fmla="*/ 27 w 68"/>
                <a:gd name="T59" fmla="*/ 20 h 69"/>
                <a:gd name="T60" fmla="*/ 34 w 68"/>
                <a:gd name="T61" fmla="*/ 18 h 69"/>
                <a:gd name="T62" fmla="*/ 36 w 68"/>
                <a:gd name="T63" fmla="*/ 18 h 69"/>
                <a:gd name="T64" fmla="*/ 41 w 68"/>
                <a:gd name="T65" fmla="*/ 20 h 69"/>
                <a:gd name="T66" fmla="*/ 46 w 68"/>
                <a:gd name="T67" fmla="*/ 22 h 69"/>
                <a:gd name="T68" fmla="*/ 51 w 68"/>
                <a:gd name="T69" fmla="*/ 30 h 69"/>
                <a:gd name="T70" fmla="*/ 51 w 68"/>
                <a:gd name="T71" fmla="*/ 3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" h="69">
                  <a:moveTo>
                    <a:pt x="68" y="37"/>
                  </a:moveTo>
                  <a:lnTo>
                    <a:pt x="68" y="32"/>
                  </a:lnTo>
                  <a:lnTo>
                    <a:pt x="66" y="22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6" y="3"/>
                  </a:lnTo>
                  <a:lnTo>
                    <a:pt x="41" y="3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7" y="3"/>
                  </a:lnTo>
                  <a:lnTo>
                    <a:pt x="22" y="3"/>
                  </a:lnTo>
                  <a:lnTo>
                    <a:pt x="17" y="5"/>
                  </a:lnTo>
                  <a:lnTo>
                    <a:pt x="12" y="10"/>
                  </a:lnTo>
                  <a:lnTo>
                    <a:pt x="7" y="15"/>
                  </a:lnTo>
                  <a:lnTo>
                    <a:pt x="4" y="20"/>
                  </a:lnTo>
                  <a:lnTo>
                    <a:pt x="2" y="27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4" y="54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17" y="64"/>
                  </a:lnTo>
                  <a:lnTo>
                    <a:pt x="22" y="69"/>
                  </a:lnTo>
                  <a:lnTo>
                    <a:pt x="29" y="69"/>
                  </a:lnTo>
                  <a:lnTo>
                    <a:pt x="34" y="69"/>
                  </a:lnTo>
                  <a:lnTo>
                    <a:pt x="41" y="69"/>
                  </a:lnTo>
                  <a:lnTo>
                    <a:pt x="46" y="69"/>
                  </a:lnTo>
                  <a:lnTo>
                    <a:pt x="51" y="64"/>
                  </a:lnTo>
                  <a:lnTo>
                    <a:pt x="56" y="62"/>
                  </a:lnTo>
                  <a:lnTo>
                    <a:pt x="61" y="57"/>
                  </a:lnTo>
                  <a:lnTo>
                    <a:pt x="66" y="47"/>
                  </a:lnTo>
                  <a:lnTo>
                    <a:pt x="68" y="42"/>
                  </a:lnTo>
                  <a:lnTo>
                    <a:pt x="68" y="37"/>
                  </a:lnTo>
                  <a:close/>
                  <a:moveTo>
                    <a:pt x="51" y="37"/>
                  </a:moveTo>
                  <a:lnTo>
                    <a:pt x="51" y="42"/>
                  </a:lnTo>
                  <a:lnTo>
                    <a:pt x="49" y="44"/>
                  </a:lnTo>
                  <a:lnTo>
                    <a:pt x="49" y="47"/>
                  </a:lnTo>
                  <a:lnTo>
                    <a:pt x="46" y="49"/>
                  </a:lnTo>
                  <a:lnTo>
                    <a:pt x="44" y="52"/>
                  </a:lnTo>
                  <a:lnTo>
                    <a:pt x="41" y="52"/>
                  </a:lnTo>
                  <a:lnTo>
                    <a:pt x="36" y="54"/>
                  </a:lnTo>
                  <a:lnTo>
                    <a:pt x="34" y="54"/>
                  </a:lnTo>
                  <a:lnTo>
                    <a:pt x="31" y="54"/>
                  </a:lnTo>
                  <a:lnTo>
                    <a:pt x="27" y="52"/>
                  </a:lnTo>
                  <a:lnTo>
                    <a:pt x="24" y="49"/>
                  </a:lnTo>
                  <a:lnTo>
                    <a:pt x="22" y="47"/>
                  </a:lnTo>
                  <a:lnTo>
                    <a:pt x="19" y="44"/>
                  </a:lnTo>
                  <a:lnTo>
                    <a:pt x="17" y="42"/>
                  </a:lnTo>
                  <a:lnTo>
                    <a:pt x="17" y="40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0"/>
                  </a:lnTo>
                  <a:lnTo>
                    <a:pt x="19" y="27"/>
                  </a:lnTo>
                  <a:lnTo>
                    <a:pt x="22" y="25"/>
                  </a:lnTo>
                  <a:lnTo>
                    <a:pt x="24" y="22"/>
                  </a:lnTo>
                  <a:lnTo>
                    <a:pt x="27" y="20"/>
                  </a:lnTo>
                  <a:lnTo>
                    <a:pt x="29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9" y="18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9" y="25"/>
                  </a:lnTo>
                  <a:lnTo>
                    <a:pt x="51" y="30"/>
                  </a:lnTo>
                  <a:lnTo>
                    <a:pt x="51" y="32"/>
                  </a:lnTo>
                  <a:lnTo>
                    <a:pt x="51" y="37"/>
                  </a:lnTo>
                  <a:lnTo>
                    <a:pt x="51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0" name="Group 252">
            <a:extLst>
              <a:ext uri="{FF2B5EF4-FFF2-40B4-BE49-F238E27FC236}">
                <a16:creationId xmlns:a16="http://schemas.microsoft.com/office/drawing/2014/main" id="{8ABF7B06-A6DB-44CF-AF4C-62BF8F3A62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3701" y="2819324"/>
            <a:ext cx="841375" cy="841375"/>
            <a:chOff x="316" y="1863"/>
            <a:chExt cx="530" cy="530"/>
          </a:xfrm>
        </p:grpSpPr>
        <p:sp>
          <p:nvSpPr>
            <p:cNvPr id="271" name="AutoShape 251">
              <a:extLst>
                <a:ext uri="{FF2B5EF4-FFF2-40B4-BE49-F238E27FC236}">
                  <a16:creationId xmlns:a16="http://schemas.microsoft.com/office/drawing/2014/main" id="{1B3AEF31-24D1-4F68-924F-8E2A52B10D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6" y="186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253">
              <a:extLst>
                <a:ext uri="{FF2B5EF4-FFF2-40B4-BE49-F238E27FC236}">
                  <a16:creationId xmlns:a16="http://schemas.microsoft.com/office/drawing/2014/main" id="{F120EC88-0479-45F7-9E03-B35046199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" y="186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54">
              <a:extLst>
                <a:ext uri="{FF2B5EF4-FFF2-40B4-BE49-F238E27FC236}">
                  <a16:creationId xmlns:a16="http://schemas.microsoft.com/office/drawing/2014/main" id="{614F87A0-99A2-404E-8641-22BAC42E9B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" y="188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55">
              <a:extLst>
                <a:ext uri="{FF2B5EF4-FFF2-40B4-BE49-F238E27FC236}">
                  <a16:creationId xmlns:a16="http://schemas.microsoft.com/office/drawing/2014/main" id="{D827CDCA-B2E9-4CB7-B417-7AE98BE0A6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" y="1976"/>
              <a:ext cx="297" cy="307"/>
            </a:xfrm>
            <a:custGeom>
              <a:avLst/>
              <a:gdLst>
                <a:gd name="T0" fmla="*/ 289 w 297"/>
                <a:gd name="T1" fmla="*/ 138 h 307"/>
                <a:gd name="T2" fmla="*/ 271 w 297"/>
                <a:gd name="T3" fmla="*/ 89 h 307"/>
                <a:gd name="T4" fmla="*/ 205 w 297"/>
                <a:gd name="T5" fmla="*/ 33 h 307"/>
                <a:gd name="T6" fmla="*/ 143 w 297"/>
                <a:gd name="T7" fmla="*/ 0 h 307"/>
                <a:gd name="T8" fmla="*/ 69 w 297"/>
                <a:gd name="T9" fmla="*/ 15 h 307"/>
                <a:gd name="T10" fmla="*/ 46 w 297"/>
                <a:gd name="T11" fmla="*/ 58 h 307"/>
                <a:gd name="T12" fmla="*/ 0 w 297"/>
                <a:gd name="T13" fmla="*/ 125 h 307"/>
                <a:gd name="T14" fmla="*/ 2 w 297"/>
                <a:gd name="T15" fmla="*/ 204 h 307"/>
                <a:gd name="T16" fmla="*/ 46 w 297"/>
                <a:gd name="T17" fmla="*/ 271 h 307"/>
                <a:gd name="T18" fmla="*/ 84 w 297"/>
                <a:gd name="T19" fmla="*/ 297 h 307"/>
                <a:gd name="T20" fmla="*/ 138 w 297"/>
                <a:gd name="T21" fmla="*/ 304 h 307"/>
                <a:gd name="T22" fmla="*/ 215 w 297"/>
                <a:gd name="T23" fmla="*/ 274 h 307"/>
                <a:gd name="T24" fmla="*/ 279 w 297"/>
                <a:gd name="T25" fmla="*/ 225 h 307"/>
                <a:gd name="T26" fmla="*/ 64 w 297"/>
                <a:gd name="T27" fmla="*/ 35 h 307"/>
                <a:gd name="T28" fmla="*/ 84 w 297"/>
                <a:gd name="T29" fmla="*/ 33 h 307"/>
                <a:gd name="T30" fmla="*/ 71 w 297"/>
                <a:gd name="T31" fmla="*/ 51 h 307"/>
                <a:gd name="T32" fmla="*/ 82 w 297"/>
                <a:gd name="T33" fmla="*/ 284 h 307"/>
                <a:gd name="T34" fmla="*/ 64 w 297"/>
                <a:gd name="T35" fmla="*/ 274 h 307"/>
                <a:gd name="T36" fmla="*/ 82 w 297"/>
                <a:gd name="T37" fmla="*/ 266 h 307"/>
                <a:gd name="T38" fmla="*/ 66 w 297"/>
                <a:gd name="T39" fmla="*/ 194 h 307"/>
                <a:gd name="T40" fmla="*/ 66 w 297"/>
                <a:gd name="T41" fmla="*/ 171 h 307"/>
                <a:gd name="T42" fmla="*/ 79 w 297"/>
                <a:gd name="T43" fmla="*/ 192 h 307"/>
                <a:gd name="T44" fmla="*/ 228 w 297"/>
                <a:gd name="T45" fmla="*/ 248 h 307"/>
                <a:gd name="T46" fmla="*/ 128 w 297"/>
                <a:gd name="T47" fmla="*/ 222 h 307"/>
                <a:gd name="T48" fmla="*/ 161 w 297"/>
                <a:gd name="T49" fmla="*/ 258 h 307"/>
                <a:gd name="T50" fmla="*/ 148 w 297"/>
                <a:gd name="T51" fmla="*/ 289 h 307"/>
                <a:gd name="T52" fmla="*/ 97 w 297"/>
                <a:gd name="T53" fmla="*/ 250 h 307"/>
                <a:gd name="T54" fmla="*/ 94 w 297"/>
                <a:gd name="T55" fmla="*/ 186 h 307"/>
                <a:gd name="T56" fmla="*/ 64 w 297"/>
                <a:gd name="T57" fmla="*/ 161 h 307"/>
                <a:gd name="T58" fmla="*/ 56 w 297"/>
                <a:gd name="T59" fmla="*/ 202 h 307"/>
                <a:gd name="T60" fmla="*/ 56 w 297"/>
                <a:gd name="T61" fmla="*/ 258 h 307"/>
                <a:gd name="T62" fmla="*/ 18 w 297"/>
                <a:gd name="T63" fmla="*/ 202 h 307"/>
                <a:gd name="T64" fmla="*/ 82 w 297"/>
                <a:gd name="T65" fmla="*/ 117 h 307"/>
                <a:gd name="T66" fmla="*/ 79 w 297"/>
                <a:gd name="T67" fmla="*/ 99 h 307"/>
                <a:gd name="T68" fmla="*/ 15 w 297"/>
                <a:gd name="T69" fmla="*/ 130 h 307"/>
                <a:gd name="T70" fmla="*/ 59 w 297"/>
                <a:gd name="T71" fmla="*/ 74 h 307"/>
                <a:gd name="T72" fmla="*/ 133 w 297"/>
                <a:gd name="T73" fmla="*/ 92 h 307"/>
                <a:gd name="T74" fmla="*/ 174 w 297"/>
                <a:gd name="T75" fmla="*/ 92 h 307"/>
                <a:gd name="T76" fmla="*/ 148 w 297"/>
                <a:gd name="T77" fmla="*/ 58 h 307"/>
                <a:gd name="T78" fmla="*/ 97 w 297"/>
                <a:gd name="T79" fmla="*/ 30 h 307"/>
                <a:gd name="T80" fmla="*/ 158 w 297"/>
                <a:gd name="T81" fmla="*/ 23 h 307"/>
                <a:gd name="T82" fmla="*/ 202 w 297"/>
                <a:gd name="T83" fmla="*/ 112 h 307"/>
                <a:gd name="T84" fmla="*/ 220 w 297"/>
                <a:gd name="T85" fmla="*/ 133 h 307"/>
                <a:gd name="T86" fmla="*/ 225 w 297"/>
                <a:gd name="T87" fmla="*/ 58 h 307"/>
                <a:gd name="T88" fmla="*/ 253 w 297"/>
                <a:gd name="T89" fmla="*/ 125 h 307"/>
                <a:gd name="T90" fmla="*/ 199 w 297"/>
                <a:gd name="T91" fmla="*/ 181 h 307"/>
                <a:gd name="T92" fmla="*/ 181 w 297"/>
                <a:gd name="T93" fmla="*/ 222 h 307"/>
                <a:gd name="T94" fmla="*/ 222 w 297"/>
                <a:gd name="T95" fmla="*/ 207 h 307"/>
                <a:gd name="T96" fmla="*/ 269 w 297"/>
                <a:gd name="T97" fmla="*/ 199 h 307"/>
                <a:gd name="T98" fmla="*/ 161 w 297"/>
                <a:gd name="T99" fmla="*/ 71 h 307"/>
                <a:gd name="T100" fmla="*/ 156 w 297"/>
                <a:gd name="T101" fmla="*/ 92 h 307"/>
                <a:gd name="T102" fmla="*/ 210 w 297"/>
                <a:gd name="T103" fmla="*/ 210 h 307"/>
                <a:gd name="T104" fmla="*/ 187 w 297"/>
                <a:gd name="T105" fmla="*/ 210 h 307"/>
                <a:gd name="T106" fmla="*/ 207 w 297"/>
                <a:gd name="T107" fmla="*/ 197 h 307"/>
                <a:gd name="T108" fmla="*/ 274 w 297"/>
                <a:gd name="T109" fmla="*/ 169 h 307"/>
                <a:gd name="T110" fmla="*/ 269 w 297"/>
                <a:gd name="T111" fmla="*/ 14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7" h="307">
                  <a:moveTo>
                    <a:pt x="292" y="171"/>
                  </a:moveTo>
                  <a:lnTo>
                    <a:pt x="294" y="166"/>
                  </a:lnTo>
                  <a:lnTo>
                    <a:pt x="297" y="161"/>
                  </a:lnTo>
                  <a:lnTo>
                    <a:pt x="297" y="158"/>
                  </a:lnTo>
                  <a:lnTo>
                    <a:pt x="297" y="153"/>
                  </a:lnTo>
                  <a:lnTo>
                    <a:pt x="294" y="148"/>
                  </a:lnTo>
                  <a:lnTo>
                    <a:pt x="292" y="143"/>
                  </a:lnTo>
                  <a:lnTo>
                    <a:pt x="289" y="140"/>
                  </a:lnTo>
                  <a:lnTo>
                    <a:pt x="289" y="138"/>
                  </a:lnTo>
                  <a:lnTo>
                    <a:pt x="284" y="135"/>
                  </a:lnTo>
                  <a:lnTo>
                    <a:pt x="279" y="133"/>
                  </a:lnTo>
                  <a:lnTo>
                    <a:pt x="276" y="133"/>
                  </a:lnTo>
                  <a:lnTo>
                    <a:pt x="274" y="133"/>
                  </a:lnTo>
                  <a:lnTo>
                    <a:pt x="269" y="133"/>
                  </a:lnTo>
                  <a:lnTo>
                    <a:pt x="271" y="122"/>
                  </a:lnTo>
                  <a:lnTo>
                    <a:pt x="271" y="110"/>
                  </a:lnTo>
                  <a:lnTo>
                    <a:pt x="271" y="102"/>
                  </a:lnTo>
                  <a:lnTo>
                    <a:pt x="271" y="89"/>
                  </a:lnTo>
                  <a:lnTo>
                    <a:pt x="266" y="79"/>
                  </a:lnTo>
                  <a:lnTo>
                    <a:pt x="261" y="71"/>
                  </a:lnTo>
                  <a:lnTo>
                    <a:pt x="256" y="64"/>
                  </a:lnTo>
                  <a:lnTo>
                    <a:pt x="251" y="56"/>
                  </a:lnTo>
                  <a:lnTo>
                    <a:pt x="243" y="51"/>
                  </a:lnTo>
                  <a:lnTo>
                    <a:pt x="235" y="46"/>
                  </a:lnTo>
                  <a:lnTo>
                    <a:pt x="228" y="41"/>
                  </a:lnTo>
                  <a:lnTo>
                    <a:pt x="217" y="38"/>
                  </a:lnTo>
                  <a:lnTo>
                    <a:pt x="205" y="33"/>
                  </a:lnTo>
                  <a:lnTo>
                    <a:pt x="197" y="30"/>
                  </a:lnTo>
                  <a:lnTo>
                    <a:pt x="194" y="30"/>
                  </a:lnTo>
                  <a:lnTo>
                    <a:pt x="187" y="23"/>
                  </a:lnTo>
                  <a:lnTo>
                    <a:pt x="181" y="17"/>
                  </a:lnTo>
                  <a:lnTo>
                    <a:pt x="174" y="10"/>
                  </a:lnTo>
                  <a:lnTo>
                    <a:pt x="166" y="7"/>
                  </a:lnTo>
                  <a:lnTo>
                    <a:pt x="158" y="5"/>
                  </a:lnTo>
                  <a:lnTo>
                    <a:pt x="151" y="2"/>
                  </a:lnTo>
                  <a:lnTo>
                    <a:pt x="143" y="0"/>
                  </a:lnTo>
                  <a:lnTo>
                    <a:pt x="138" y="0"/>
                  </a:lnTo>
                  <a:lnTo>
                    <a:pt x="125" y="0"/>
                  </a:lnTo>
                  <a:lnTo>
                    <a:pt x="115" y="2"/>
                  </a:lnTo>
                  <a:lnTo>
                    <a:pt x="102" y="7"/>
                  </a:lnTo>
                  <a:lnTo>
                    <a:pt x="94" y="12"/>
                  </a:lnTo>
                  <a:lnTo>
                    <a:pt x="87" y="17"/>
                  </a:lnTo>
                  <a:lnTo>
                    <a:pt x="82" y="15"/>
                  </a:lnTo>
                  <a:lnTo>
                    <a:pt x="76" y="15"/>
                  </a:lnTo>
                  <a:lnTo>
                    <a:pt x="69" y="15"/>
                  </a:lnTo>
                  <a:lnTo>
                    <a:pt x="64" y="17"/>
                  </a:lnTo>
                  <a:lnTo>
                    <a:pt x="59" y="23"/>
                  </a:lnTo>
                  <a:lnTo>
                    <a:pt x="53" y="28"/>
                  </a:lnTo>
                  <a:lnTo>
                    <a:pt x="51" y="35"/>
                  </a:lnTo>
                  <a:lnTo>
                    <a:pt x="51" y="38"/>
                  </a:lnTo>
                  <a:lnTo>
                    <a:pt x="51" y="43"/>
                  </a:lnTo>
                  <a:lnTo>
                    <a:pt x="56" y="53"/>
                  </a:lnTo>
                  <a:lnTo>
                    <a:pt x="56" y="56"/>
                  </a:lnTo>
                  <a:lnTo>
                    <a:pt x="46" y="58"/>
                  </a:lnTo>
                  <a:lnTo>
                    <a:pt x="38" y="64"/>
                  </a:lnTo>
                  <a:lnTo>
                    <a:pt x="30" y="66"/>
                  </a:lnTo>
                  <a:lnTo>
                    <a:pt x="23" y="71"/>
                  </a:lnTo>
                  <a:lnTo>
                    <a:pt x="18" y="76"/>
                  </a:lnTo>
                  <a:lnTo>
                    <a:pt x="15" y="81"/>
                  </a:lnTo>
                  <a:lnTo>
                    <a:pt x="10" y="89"/>
                  </a:lnTo>
                  <a:lnTo>
                    <a:pt x="5" y="99"/>
                  </a:lnTo>
                  <a:lnTo>
                    <a:pt x="2" y="112"/>
                  </a:lnTo>
                  <a:lnTo>
                    <a:pt x="0" y="125"/>
                  </a:lnTo>
                  <a:lnTo>
                    <a:pt x="0" y="130"/>
                  </a:lnTo>
                  <a:lnTo>
                    <a:pt x="0" y="140"/>
                  </a:lnTo>
                  <a:lnTo>
                    <a:pt x="2" y="153"/>
                  </a:lnTo>
                  <a:lnTo>
                    <a:pt x="5" y="166"/>
                  </a:lnTo>
                  <a:lnTo>
                    <a:pt x="7" y="174"/>
                  </a:lnTo>
                  <a:lnTo>
                    <a:pt x="2" y="186"/>
                  </a:lnTo>
                  <a:lnTo>
                    <a:pt x="2" y="192"/>
                  </a:lnTo>
                  <a:lnTo>
                    <a:pt x="2" y="202"/>
                  </a:lnTo>
                  <a:lnTo>
                    <a:pt x="2" y="204"/>
                  </a:lnTo>
                  <a:lnTo>
                    <a:pt x="2" y="212"/>
                  </a:lnTo>
                  <a:lnTo>
                    <a:pt x="2" y="220"/>
                  </a:lnTo>
                  <a:lnTo>
                    <a:pt x="5" y="230"/>
                  </a:lnTo>
                  <a:lnTo>
                    <a:pt x="10" y="240"/>
                  </a:lnTo>
                  <a:lnTo>
                    <a:pt x="15" y="245"/>
                  </a:lnTo>
                  <a:lnTo>
                    <a:pt x="23" y="256"/>
                  </a:lnTo>
                  <a:lnTo>
                    <a:pt x="33" y="263"/>
                  </a:lnTo>
                  <a:lnTo>
                    <a:pt x="43" y="271"/>
                  </a:lnTo>
                  <a:lnTo>
                    <a:pt x="46" y="271"/>
                  </a:lnTo>
                  <a:lnTo>
                    <a:pt x="51" y="274"/>
                  </a:lnTo>
                  <a:lnTo>
                    <a:pt x="51" y="281"/>
                  </a:lnTo>
                  <a:lnTo>
                    <a:pt x="56" y="289"/>
                  </a:lnTo>
                  <a:lnTo>
                    <a:pt x="61" y="294"/>
                  </a:lnTo>
                  <a:lnTo>
                    <a:pt x="66" y="297"/>
                  </a:lnTo>
                  <a:lnTo>
                    <a:pt x="71" y="299"/>
                  </a:lnTo>
                  <a:lnTo>
                    <a:pt x="74" y="299"/>
                  </a:lnTo>
                  <a:lnTo>
                    <a:pt x="79" y="297"/>
                  </a:lnTo>
                  <a:lnTo>
                    <a:pt x="84" y="297"/>
                  </a:lnTo>
                  <a:lnTo>
                    <a:pt x="89" y="294"/>
                  </a:lnTo>
                  <a:lnTo>
                    <a:pt x="92" y="289"/>
                  </a:lnTo>
                  <a:lnTo>
                    <a:pt x="94" y="284"/>
                  </a:lnTo>
                  <a:lnTo>
                    <a:pt x="97" y="281"/>
                  </a:lnTo>
                  <a:lnTo>
                    <a:pt x="107" y="291"/>
                  </a:lnTo>
                  <a:lnTo>
                    <a:pt x="115" y="297"/>
                  </a:lnTo>
                  <a:lnTo>
                    <a:pt x="123" y="299"/>
                  </a:lnTo>
                  <a:lnTo>
                    <a:pt x="130" y="304"/>
                  </a:lnTo>
                  <a:lnTo>
                    <a:pt x="138" y="304"/>
                  </a:lnTo>
                  <a:lnTo>
                    <a:pt x="146" y="307"/>
                  </a:lnTo>
                  <a:lnTo>
                    <a:pt x="151" y="307"/>
                  </a:lnTo>
                  <a:lnTo>
                    <a:pt x="164" y="304"/>
                  </a:lnTo>
                  <a:lnTo>
                    <a:pt x="171" y="304"/>
                  </a:lnTo>
                  <a:lnTo>
                    <a:pt x="179" y="299"/>
                  </a:lnTo>
                  <a:lnTo>
                    <a:pt x="187" y="297"/>
                  </a:lnTo>
                  <a:lnTo>
                    <a:pt x="194" y="291"/>
                  </a:lnTo>
                  <a:lnTo>
                    <a:pt x="207" y="284"/>
                  </a:lnTo>
                  <a:lnTo>
                    <a:pt x="215" y="274"/>
                  </a:lnTo>
                  <a:lnTo>
                    <a:pt x="222" y="266"/>
                  </a:lnTo>
                  <a:lnTo>
                    <a:pt x="233" y="263"/>
                  </a:lnTo>
                  <a:lnTo>
                    <a:pt x="240" y="261"/>
                  </a:lnTo>
                  <a:lnTo>
                    <a:pt x="251" y="256"/>
                  </a:lnTo>
                  <a:lnTo>
                    <a:pt x="258" y="253"/>
                  </a:lnTo>
                  <a:lnTo>
                    <a:pt x="263" y="248"/>
                  </a:lnTo>
                  <a:lnTo>
                    <a:pt x="271" y="240"/>
                  </a:lnTo>
                  <a:lnTo>
                    <a:pt x="274" y="233"/>
                  </a:lnTo>
                  <a:lnTo>
                    <a:pt x="279" y="225"/>
                  </a:lnTo>
                  <a:lnTo>
                    <a:pt x="281" y="215"/>
                  </a:lnTo>
                  <a:lnTo>
                    <a:pt x="284" y="210"/>
                  </a:lnTo>
                  <a:lnTo>
                    <a:pt x="284" y="204"/>
                  </a:lnTo>
                  <a:lnTo>
                    <a:pt x="286" y="197"/>
                  </a:lnTo>
                  <a:lnTo>
                    <a:pt x="286" y="192"/>
                  </a:lnTo>
                  <a:lnTo>
                    <a:pt x="286" y="176"/>
                  </a:lnTo>
                  <a:lnTo>
                    <a:pt x="289" y="176"/>
                  </a:lnTo>
                  <a:lnTo>
                    <a:pt x="292" y="171"/>
                  </a:lnTo>
                  <a:close/>
                  <a:moveTo>
                    <a:pt x="64" y="35"/>
                  </a:moveTo>
                  <a:lnTo>
                    <a:pt x="64" y="33"/>
                  </a:lnTo>
                  <a:lnTo>
                    <a:pt x="66" y="30"/>
                  </a:lnTo>
                  <a:lnTo>
                    <a:pt x="69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9" y="28"/>
                  </a:lnTo>
                  <a:lnTo>
                    <a:pt x="82" y="30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7" y="38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4" y="46"/>
                  </a:lnTo>
                  <a:lnTo>
                    <a:pt x="82" y="48"/>
                  </a:lnTo>
                  <a:lnTo>
                    <a:pt x="79" y="51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1" y="51"/>
                  </a:lnTo>
                  <a:lnTo>
                    <a:pt x="69" y="48"/>
                  </a:lnTo>
                  <a:lnTo>
                    <a:pt x="66" y="46"/>
                  </a:lnTo>
                  <a:lnTo>
                    <a:pt x="64" y="43"/>
                  </a:lnTo>
                  <a:lnTo>
                    <a:pt x="64" y="41"/>
                  </a:lnTo>
                  <a:lnTo>
                    <a:pt x="64" y="38"/>
                  </a:lnTo>
                  <a:lnTo>
                    <a:pt x="64" y="35"/>
                  </a:lnTo>
                  <a:close/>
                  <a:moveTo>
                    <a:pt x="87" y="276"/>
                  </a:moveTo>
                  <a:lnTo>
                    <a:pt x="84" y="281"/>
                  </a:lnTo>
                  <a:lnTo>
                    <a:pt x="82" y="284"/>
                  </a:lnTo>
                  <a:lnTo>
                    <a:pt x="79" y="284"/>
                  </a:lnTo>
                  <a:lnTo>
                    <a:pt x="76" y="286"/>
                  </a:lnTo>
                  <a:lnTo>
                    <a:pt x="74" y="286"/>
                  </a:lnTo>
                  <a:lnTo>
                    <a:pt x="71" y="286"/>
                  </a:lnTo>
                  <a:lnTo>
                    <a:pt x="69" y="284"/>
                  </a:lnTo>
                  <a:lnTo>
                    <a:pt x="66" y="281"/>
                  </a:lnTo>
                  <a:lnTo>
                    <a:pt x="64" y="279"/>
                  </a:lnTo>
                  <a:lnTo>
                    <a:pt x="64" y="276"/>
                  </a:lnTo>
                  <a:lnTo>
                    <a:pt x="64" y="274"/>
                  </a:lnTo>
                  <a:lnTo>
                    <a:pt x="64" y="271"/>
                  </a:lnTo>
                  <a:lnTo>
                    <a:pt x="64" y="268"/>
                  </a:lnTo>
                  <a:lnTo>
                    <a:pt x="66" y="266"/>
                  </a:lnTo>
                  <a:lnTo>
                    <a:pt x="71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6" y="263"/>
                  </a:lnTo>
                  <a:lnTo>
                    <a:pt x="79" y="263"/>
                  </a:lnTo>
                  <a:lnTo>
                    <a:pt x="82" y="266"/>
                  </a:lnTo>
                  <a:lnTo>
                    <a:pt x="84" y="268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6"/>
                  </a:lnTo>
                  <a:close/>
                  <a:moveTo>
                    <a:pt x="79" y="192"/>
                  </a:moveTo>
                  <a:lnTo>
                    <a:pt x="74" y="194"/>
                  </a:lnTo>
                  <a:lnTo>
                    <a:pt x="71" y="194"/>
                  </a:lnTo>
                  <a:lnTo>
                    <a:pt x="69" y="194"/>
                  </a:lnTo>
                  <a:lnTo>
                    <a:pt x="66" y="194"/>
                  </a:lnTo>
                  <a:lnTo>
                    <a:pt x="64" y="194"/>
                  </a:lnTo>
                  <a:lnTo>
                    <a:pt x="61" y="189"/>
                  </a:lnTo>
                  <a:lnTo>
                    <a:pt x="59" y="186"/>
                  </a:lnTo>
                  <a:lnTo>
                    <a:pt x="59" y="184"/>
                  </a:lnTo>
                  <a:lnTo>
                    <a:pt x="59" y="181"/>
                  </a:lnTo>
                  <a:lnTo>
                    <a:pt x="59" y="179"/>
                  </a:lnTo>
                  <a:lnTo>
                    <a:pt x="61" y="176"/>
                  </a:lnTo>
                  <a:lnTo>
                    <a:pt x="64" y="174"/>
                  </a:lnTo>
                  <a:lnTo>
                    <a:pt x="66" y="171"/>
                  </a:lnTo>
                  <a:lnTo>
                    <a:pt x="71" y="171"/>
                  </a:lnTo>
                  <a:lnTo>
                    <a:pt x="74" y="171"/>
                  </a:lnTo>
                  <a:lnTo>
                    <a:pt x="79" y="174"/>
                  </a:lnTo>
                  <a:lnTo>
                    <a:pt x="79" y="176"/>
                  </a:lnTo>
                  <a:lnTo>
                    <a:pt x="82" y="179"/>
                  </a:lnTo>
                  <a:lnTo>
                    <a:pt x="82" y="181"/>
                  </a:lnTo>
                  <a:lnTo>
                    <a:pt x="82" y="184"/>
                  </a:lnTo>
                  <a:lnTo>
                    <a:pt x="82" y="186"/>
                  </a:lnTo>
                  <a:lnTo>
                    <a:pt x="79" y="192"/>
                  </a:lnTo>
                  <a:close/>
                  <a:moveTo>
                    <a:pt x="269" y="199"/>
                  </a:moveTo>
                  <a:lnTo>
                    <a:pt x="269" y="204"/>
                  </a:lnTo>
                  <a:lnTo>
                    <a:pt x="266" y="215"/>
                  </a:lnTo>
                  <a:lnTo>
                    <a:pt x="261" y="222"/>
                  </a:lnTo>
                  <a:lnTo>
                    <a:pt x="256" y="230"/>
                  </a:lnTo>
                  <a:lnTo>
                    <a:pt x="253" y="233"/>
                  </a:lnTo>
                  <a:lnTo>
                    <a:pt x="245" y="240"/>
                  </a:lnTo>
                  <a:lnTo>
                    <a:pt x="235" y="245"/>
                  </a:lnTo>
                  <a:lnTo>
                    <a:pt x="228" y="248"/>
                  </a:lnTo>
                  <a:lnTo>
                    <a:pt x="217" y="248"/>
                  </a:lnTo>
                  <a:lnTo>
                    <a:pt x="210" y="250"/>
                  </a:lnTo>
                  <a:lnTo>
                    <a:pt x="197" y="248"/>
                  </a:lnTo>
                  <a:lnTo>
                    <a:pt x="187" y="248"/>
                  </a:lnTo>
                  <a:lnTo>
                    <a:pt x="171" y="243"/>
                  </a:lnTo>
                  <a:lnTo>
                    <a:pt x="158" y="238"/>
                  </a:lnTo>
                  <a:lnTo>
                    <a:pt x="143" y="233"/>
                  </a:lnTo>
                  <a:lnTo>
                    <a:pt x="130" y="225"/>
                  </a:lnTo>
                  <a:lnTo>
                    <a:pt x="128" y="222"/>
                  </a:lnTo>
                  <a:lnTo>
                    <a:pt x="125" y="225"/>
                  </a:lnTo>
                  <a:lnTo>
                    <a:pt x="120" y="227"/>
                  </a:lnTo>
                  <a:lnTo>
                    <a:pt x="120" y="233"/>
                  </a:lnTo>
                  <a:lnTo>
                    <a:pt x="120" y="235"/>
                  </a:lnTo>
                  <a:lnTo>
                    <a:pt x="120" y="238"/>
                  </a:lnTo>
                  <a:lnTo>
                    <a:pt x="123" y="240"/>
                  </a:lnTo>
                  <a:lnTo>
                    <a:pt x="140" y="248"/>
                  </a:lnTo>
                  <a:lnTo>
                    <a:pt x="153" y="256"/>
                  </a:lnTo>
                  <a:lnTo>
                    <a:pt x="161" y="258"/>
                  </a:lnTo>
                  <a:lnTo>
                    <a:pt x="176" y="263"/>
                  </a:lnTo>
                  <a:lnTo>
                    <a:pt x="179" y="263"/>
                  </a:lnTo>
                  <a:lnTo>
                    <a:pt x="199" y="266"/>
                  </a:lnTo>
                  <a:lnTo>
                    <a:pt x="187" y="276"/>
                  </a:lnTo>
                  <a:lnTo>
                    <a:pt x="179" y="281"/>
                  </a:lnTo>
                  <a:lnTo>
                    <a:pt x="171" y="284"/>
                  </a:lnTo>
                  <a:lnTo>
                    <a:pt x="161" y="289"/>
                  </a:lnTo>
                  <a:lnTo>
                    <a:pt x="153" y="289"/>
                  </a:lnTo>
                  <a:lnTo>
                    <a:pt x="148" y="289"/>
                  </a:lnTo>
                  <a:lnTo>
                    <a:pt x="148" y="289"/>
                  </a:lnTo>
                  <a:lnTo>
                    <a:pt x="140" y="289"/>
                  </a:lnTo>
                  <a:lnTo>
                    <a:pt x="133" y="286"/>
                  </a:lnTo>
                  <a:lnTo>
                    <a:pt x="125" y="284"/>
                  </a:lnTo>
                  <a:lnTo>
                    <a:pt x="120" y="279"/>
                  </a:lnTo>
                  <a:lnTo>
                    <a:pt x="112" y="274"/>
                  </a:lnTo>
                  <a:lnTo>
                    <a:pt x="105" y="266"/>
                  </a:lnTo>
                  <a:lnTo>
                    <a:pt x="100" y="258"/>
                  </a:lnTo>
                  <a:lnTo>
                    <a:pt x="97" y="250"/>
                  </a:lnTo>
                  <a:lnTo>
                    <a:pt x="92" y="240"/>
                  </a:lnTo>
                  <a:lnTo>
                    <a:pt x="89" y="233"/>
                  </a:lnTo>
                  <a:lnTo>
                    <a:pt x="87" y="222"/>
                  </a:lnTo>
                  <a:lnTo>
                    <a:pt x="82" y="204"/>
                  </a:lnTo>
                  <a:lnTo>
                    <a:pt x="84" y="202"/>
                  </a:lnTo>
                  <a:lnTo>
                    <a:pt x="87" y="199"/>
                  </a:lnTo>
                  <a:lnTo>
                    <a:pt x="92" y="194"/>
                  </a:lnTo>
                  <a:lnTo>
                    <a:pt x="92" y="189"/>
                  </a:lnTo>
                  <a:lnTo>
                    <a:pt x="94" y="186"/>
                  </a:lnTo>
                  <a:lnTo>
                    <a:pt x="94" y="181"/>
                  </a:lnTo>
                  <a:lnTo>
                    <a:pt x="92" y="179"/>
                  </a:lnTo>
                  <a:lnTo>
                    <a:pt x="92" y="174"/>
                  </a:lnTo>
                  <a:lnTo>
                    <a:pt x="89" y="169"/>
                  </a:lnTo>
                  <a:lnTo>
                    <a:pt x="84" y="163"/>
                  </a:lnTo>
                  <a:lnTo>
                    <a:pt x="79" y="161"/>
                  </a:lnTo>
                  <a:lnTo>
                    <a:pt x="74" y="158"/>
                  </a:lnTo>
                  <a:lnTo>
                    <a:pt x="69" y="158"/>
                  </a:lnTo>
                  <a:lnTo>
                    <a:pt x="64" y="161"/>
                  </a:lnTo>
                  <a:lnTo>
                    <a:pt x="59" y="163"/>
                  </a:lnTo>
                  <a:lnTo>
                    <a:pt x="53" y="166"/>
                  </a:lnTo>
                  <a:lnTo>
                    <a:pt x="48" y="174"/>
                  </a:lnTo>
                  <a:lnTo>
                    <a:pt x="46" y="181"/>
                  </a:lnTo>
                  <a:lnTo>
                    <a:pt x="46" y="184"/>
                  </a:lnTo>
                  <a:lnTo>
                    <a:pt x="48" y="189"/>
                  </a:lnTo>
                  <a:lnTo>
                    <a:pt x="48" y="192"/>
                  </a:lnTo>
                  <a:lnTo>
                    <a:pt x="51" y="197"/>
                  </a:lnTo>
                  <a:lnTo>
                    <a:pt x="56" y="202"/>
                  </a:lnTo>
                  <a:lnTo>
                    <a:pt x="59" y="204"/>
                  </a:lnTo>
                  <a:lnTo>
                    <a:pt x="64" y="207"/>
                  </a:lnTo>
                  <a:lnTo>
                    <a:pt x="69" y="222"/>
                  </a:lnTo>
                  <a:lnTo>
                    <a:pt x="71" y="233"/>
                  </a:lnTo>
                  <a:lnTo>
                    <a:pt x="74" y="243"/>
                  </a:lnTo>
                  <a:lnTo>
                    <a:pt x="76" y="250"/>
                  </a:lnTo>
                  <a:lnTo>
                    <a:pt x="69" y="250"/>
                  </a:lnTo>
                  <a:lnTo>
                    <a:pt x="61" y="253"/>
                  </a:lnTo>
                  <a:lnTo>
                    <a:pt x="56" y="258"/>
                  </a:lnTo>
                  <a:lnTo>
                    <a:pt x="46" y="253"/>
                  </a:lnTo>
                  <a:lnTo>
                    <a:pt x="38" y="245"/>
                  </a:lnTo>
                  <a:lnTo>
                    <a:pt x="33" y="243"/>
                  </a:lnTo>
                  <a:lnTo>
                    <a:pt x="30" y="240"/>
                  </a:lnTo>
                  <a:lnTo>
                    <a:pt x="23" y="227"/>
                  </a:lnTo>
                  <a:lnTo>
                    <a:pt x="20" y="220"/>
                  </a:lnTo>
                  <a:lnTo>
                    <a:pt x="18" y="215"/>
                  </a:lnTo>
                  <a:lnTo>
                    <a:pt x="18" y="207"/>
                  </a:lnTo>
                  <a:lnTo>
                    <a:pt x="18" y="202"/>
                  </a:lnTo>
                  <a:lnTo>
                    <a:pt x="18" y="197"/>
                  </a:lnTo>
                  <a:lnTo>
                    <a:pt x="20" y="189"/>
                  </a:lnTo>
                  <a:lnTo>
                    <a:pt x="23" y="181"/>
                  </a:lnTo>
                  <a:lnTo>
                    <a:pt x="28" y="171"/>
                  </a:lnTo>
                  <a:lnTo>
                    <a:pt x="36" y="161"/>
                  </a:lnTo>
                  <a:lnTo>
                    <a:pt x="43" y="151"/>
                  </a:lnTo>
                  <a:lnTo>
                    <a:pt x="59" y="135"/>
                  </a:lnTo>
                  <a:lnTo>
                    <a:pt x="66" y="128"/>
                  </a:lnTo>
                  <a:lnTo>
                    <a:pt x="82" y="117"/>
                  </a:lnTo>
                  <a:lnTo>
                    <a:pt x="89" y="112"/>
                  </a:lnTo>
                  <a:lnTo>
                    <a:pt x="92" y="110"/>
                  </a:lnTo>
                  <a:lnTo>
                    <a:pt x="92" y="107"/>
                  </a:lnTo>
                  <a:lnTo>
                    <a:pt x="92" y="105"/>
                  </a:lnTo>
                  <a:lnTo>
                    <a:pt x="89" y="102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4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64" y="110"/>
                  </a:lnTo>
                  <a:lnTo>
                    <a:pt x="51" y="117"/>
                  </a:lnTo>
                  <a:lnTo>
                    <a:pt x="41" y="128"/>
                  </a:lnTo>
                  <a:lnTo>
                    <a:pt x="33" y="135"/>
                  </a:lnTo>
                  <a:lnTo>
                    <a:pt x="25" y="145"/>
                  </a:lnTo>
                  <a:lnTo>
                    <a:pt x="18" y="153"/>
                  </a:lnTo>
                  <a:lnTo>
                    <a:pt x="18" y="138"/>
                  </a:lnTo>
                  <a:lnTo>
                    <a:pt x="15" y="130"/>
                  </a:lnTo>
                  <a:lnTo>
                    <a:pt x="15" y="125"/>
                  </a:lnTo>
                  <a:lnTo>
                    <a:pt x="18" y="115"/>
                  </a:lnTo>
                  <a:lnTo>
                    <a:pt x="20" y="105"/>
                  </a:lnTo>
                  <a:lnTo>
                    <a:pt x="25" y="97"/>
                  </a:lnTo>
                  <a:lnTo>
                    <a:pt x="28" y="92"/>
                  </a:lnTo>
                  <a:lnTo>
                    <a:pt x="36" y="84"/>
                  </a:lnTo>
                  <a:lnTo>
                    <a:pt x="41" y="81"/>
                  </a:lnTo>
                  <a:lnTo>
                    <a:pt x="48" y="76"/>
                  </a:lnTo>
                  <a:lnTo>
                    <a:pt x="59" y="74"/>
                  </a:lnTo>
                  <a:lnTo>
                    <a:pt x="71" y="71"/>
                  </a:lnTo>
                  <a:lnTo>
                    <a:pt x="79" y="71"/>
                  </a:lnTo>
                  <a:lnTo>
                    <a:pt x="89" y="71"/>
                  </a:lnTo>
                  <a:lnTo>
                    <a:pt x="102" y="74"/>
                  </a:lnTo>
                  <a:lnTo>
                    <a:pt x="107" y="74"/>
                  </a:lnTo>
                  <a:lnTo>
                    <a:pt x="117" y="76"/>
                  </a:lnTo>
                  <a:lnTo>
                    <a:pt x="130" y="81"/>
                  </a:lnTo>
                  <a:lnTo>
                    <a:pt x="130" y="87"/>
                  </a:lnTo>
                  <a:lnTo>
                    <a:pt x="133" y="92"/>
                  </a:lnTo>
                  <a:lnTo>
                    <a:pt x="138" y="97"/>
                  </a:lnTo>
                  <a:lnTo>
                    <a:pt x="143" y="102"/>
                  </a:lnTo>
                  <a:lnTo>
                    <a:pt x="146" y="105"/>
                  </a:lnTo>
                  <a:lnTo>
                    <a:pt x="151" y="105"/>
                  </a:lnTo>
                  <a:lnTo>
                    <a:pt x="153" y="105"/>
                  </a:lnTo>
                  <a:lnTo>
                    <a:pt x="158" y="105"/>
                  </a:lnTo>
                  <a:lnTo>
                    <a:pt x="164" y="102"/>
                  </a:lnTo>
                  <a:lnTo>
                    <a:pt x="171" y="99"/>
                  </a:lnTo>
                  <a:lnTo>
                    <a:pt x="174" y="92"/>
                  </a:lnTo>
                  <a:lnTo>
                    <a:pt x="176" y="87"/>
                  </a:lnTo>
                  <a:lnTo>
                    <a:pt x="176" y="81"/>
                  </a:lnTo>
                  <a:lnTo>
                    <a:pt x="176" y="74"/>
                  </a:lnTo>
                  <a:lnTo>
                    <a:pt x="174" y="69"/>
                  </a:lnTo>
                  <a:lnTo>
                    <a:pt x="169" y="61"/>
                  </a:lnTo>
                  <a:lnTo>
                    <a:pt x="164" y="58"/>
                  </a:lnTo>
                  <a:lnTo>
                    <a:pt x="156" y="58"/>
                  </a:lnTo>
                  <a:lnTo>
                    <a:pt x="156" y="58"/>
                  </a:lnTo>
                  <a:lnTo>
                    <a:pt x="148" y="58"/>
                  </a:lnTo>
                  <a:lnTo>
                    <a:pt x="143" y="58"/>
                  </a:lnTo>
                  <a:lnTo>
                    <a:pt x="138" y="64"/>
                  </a:lnTo>
                  <a:lnTo>
                    <a:pt x="120" y="58"/>
                  </a:lnTo>
                  <a:lnTo>
                    <a:pt x="112" y="56"/>
                  </a:lnTo>
                  <a:lnTo>
                    <a:pt x="102" y="56"/>
                  </a:lnTo>
                  <a:lnTo>
                    <a:pt x="92" y="53"/>
                  </a:lnTo>
                  <a:lnTo>
                    <a:pt x="97" y="46"/>
                  </a:lnTo>
                  <a:lnTo>
                    <a:pt x="97" y="41"/>
                  </a:lnTo>
                  <a:lnTo>
                    <a:pt x="97" y="30"/>
                  </a:lnTo>
                  <a:lnTo>
                    <a:pt x="102" y="28"/>
                  </a:lnTo>
                  <a:lnTo>
                    <a:pt x="110" y="25"/>
                  </a:lnTo>
                  <a:lnTo>
                    <a:pt x="115" y="20"/>
                  </a:lnTo>
                  <a:lnTo>
                    <a:pt x="123" y="20"/>
                  </a:lnTo>
                  <a:lnTo>
                    <a:pt x="128" y="17"/>
                  </a:lnTo>
                  <a:lnTo>
                    <a:pt x="138" y="17"/>
                  </a:lnTo>
                  <a:lnTo>
                    <a:pt x="146" y="17"/>
                  </a:lnTo>
                  <a:lnTo>
                    <a:pt x="151" y="20"/>
                  </a:lnTo>
                  <a:lnTo>
                    <a:pt x="158" y="23"/>
                  </a:lnTo>
                  <a:lnTo>
                    <a:pt x="164" y="25"/>
                  </a:lnTo>
                  <a:lnTo>
                    <a:pt x="169" y="30"/>
                  </a:lnTo>
                  <a:lnTo>
                    <a:pt x="176" y="38"/>
                  </a:lnTo>
                  <a:lnTo>
                    <a:pt x="184" y="48"/>
                  </a:lnTo>
                  <a:lnTo>
                    <a:pt x="189" y="58"/>
                  </a:lnTo>
                  <a:lnTo>
                    <a:pt x="194" y="69"/>
                  </a:lnTo>
                  <a:lnTo>
                    <a:pt x="199" y="87"/>
                  </a:lnTo>
                  <a:lnTo>
                    <a:pt x="202" y="99"/>
                  </a:lnTo>
                  <a:lnTo>
                    <a:pt x="202" y="112"/>
                  </a:lnTo>
                  <a:lnTo>
                    <a:pt x="202" y="125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7" y="138"/>
                  </a:lnTo>
                  <a:lnTo>
                    <a:pt x="210" y="138"/>
                  </a:lnTo>
                  <a:lnTo>
                    <a:pt x="212" y="138"/>
                  </a:lnTo>
                  <a:lnTo>
                    <a:pt x="215" y="138"/>
                  </a:lnTo>
                  <a:lnTo>
                    <a:pt x="217" y="135"/>
                  </a:lnTo>
                  <a:lnTo>
                    <a:pt x="220" y="133"/>
                  </a:lnTo>
                  <a:lnTo>
                    <a:pt x="220" y="130"/>
                  </a:lnTo>
                  <a:lnTo>
                    <a:pt x="220" y="112"/>
                  </a:lnTo>
                  <a:lnTo>
                    <a:pt x="217" y="97"/>
                  </a:lnTo>
                  <a:lnTo>
                    <a:pt x="215" y="81"/>
                  </a:lnTo>
                  <a:lnTo>
                    <a:pt x="212" y="74"/>
                  </a:lnTo>
                  <a:lnTo>
                    <a:pt x="210" y="58"/>
                  </a:lnTo>
                  <a:lnTo>
                    <a:pt x="205" y="51"/>
                  </a:lnTo>
                  <a:lnTo>
                    <a:pt x="217" y="56"/>
                  </a:lnTo>
                  <a:lnTo>
                    <a:pt x="225" y="58"/>
                  </a:lnTo>
                  <a:lnTo>
                    <a:pt x="233" y="66"/>
                  </a:lnTo>
                  <a:lnTo>
                    <a:pt x="240" y="71"/>
                  </a:lnTo>
                  <a:lnTo>
                    <a:pt x="245" y="79"/>
                  </a:lnTo>
                  <a:lnTo>
                    <a:pt x="251" y="87"/>
                  </a:lnTo>
                  <a:lnTo>
                    <a:pt x="253" y="94"/>
                  </a:lnTo>
                  <a:lnTo>
                    <a:pt x="256" y="99"/>
                  </a:lnTo>
                  <a:lnTo>
                    <a:pt x="256" y="107"/>
                  </a:lnTo>
                  <a:lnTo>
                    <a:pt x="256" y="112"/>
                  </a:lnTo>
                  <a:lnTo>
                    <a:pt x="253" y="125"/>
                  </a:lnTo>
                  <a:lnTo>
                    <a:pt x="251" y="133"/>
                  </a:lnTo>
                  <a:lnTo>
                    <a:pt x="245" y="145"/>
                  </a:lnTo>
                  <a:lnTo>
                    <a:pt x="240" y="153"/>
                  </a:lnTo>
                  <a:lnTo>
                    <a:pt x="233" y="161"/>
                  </a:lnTo>
                  <a:lnTo>
                    <a:pt x="228" y="169"/>
                  </a:lnTo>
                  <a:lnTo>
                    <a:pt x="217" y="179"/>
                  </a:lnTo>
                  <a:lnTo>
                    <a:pt x="210" y="186"/>
                  </a:lnTo>
                  <a:lnTo>
                    <a:pt x="205" y="184"/>
                  </a:lnTo>
                  <a:lnTo>
                    <a:pt x="199" y="181"/>
                  </a:lnTo>
                  <a:lnTo>
                    <a:pt x="192" y="184"/>
                  </a:lnTo>
                  <a:lnTo>
                    <a:pt x="184" y="186"/>
                  </a:lnTo>
                  <a:lnTo>
                    <a:pt x="179" y="192"/>
                  </a:lnTo>
                  <a:lnTo>
                    <a:pt x="176" y="197"/>
                  </a:lnTo>
                  <a:lnTo>
                    <a:pt x="176" y="202"/>
                  </a:lnTo>
                  <a:lnTo>
                    <a:pt x="174" y="204"/>
                  </a:lnTo>
                  <a:lnTo>
                    <a:pt x="176" y="212"/>
                  </a:lnTo>
                  <a:lnTo>
                    <a:pt x="176" y="215"/>
                  </a:lnTo>
                  <a:lnTo>
                    <a:pt x="181" y="222"/>
                  </a:lnTo>
                  <a:lnTo>
                    <a:pt x="187" y="227"/>
                  </a:lnTo>
                  <a:lnTo>
                    <a:pt x="194" y="230"/>
                  </a:lnTo>
                  <a:lnTo>
                    <a:pt x="197" y="230"/>
                  </a:lnTo>
                  <a:lnTo>
                    <a:pt x="205" y="230"/>
                  </a:lnTo>
                  <a:lnTo>
                    <a:pt x="210" y="227"/>
                  </a:lnTo>
                  <a:lnTo>
                    <a:pt x="215" y="222"/>
                  </a:lnTo>
                  <a:lnTo>
                    <a:pt x="220" y="215"/>
                  </a:lnTo>
                  <a:lnTo>
                    <a:pt x="222" y="210"/>
                  </a:lnTo>
                  <a:lnTo>
                    <a:pt x="222" y="207"/>
                  </a:lnTo>
                  <a:lnTo>
                    <a:pt x="220" y="199"/>
                  </a:lnTo>
                  <a:lnTo>
                    <a:pt x="230" y="192"/>
                  </a:lnTo>
                  <a:lnTo>
                    <a:pt x="240" y="181"/>
                  </a:lnTo>
                  <a:lnTo>
                    <a:pt x="251" y="166"/>
                  </a:lnTo>
                  <a:lnTo>
                    <a:pt x="258" y="174"/>
                  </a:lnTo>
                  <a:lnTo>
                    <a:pt x="263" y="179"/>
                  </a:lnTo>
                  <a:lnTo>
                    <a:pt x="269" y="181"/>
                  </a:lnTo>
                  <a:lnTo>
                    <a:pt x="269" y="189"/>
                  </a:lnTo>
                  <a:lnTo>
                    <a:pt x="269" y="199"/>
                  </a:lnTo>
                  <a:close/>
                  <a:moveTo>
                    <a:pt x="143" y="81"/>
                  </a:moveTo>
                  <a:lnTo>
                    <a:pt x="143" y="76"/>
                  </a:lnTo>
                  <a:lnTo>
                    <a:pt x="143" y="74"/>
                  </a:lnTo>
                  <a:lnTo>
                    <a:pt x="146" y="71"/>
                  </a:lnTo>
                  <a:lnTo>
                    <a:pt x="148" y="71"/>
                  </a:lnTo>
                  <a:lnTo>
                    <a:pt x="151" y="69"/>
                  </a:lnTo>
                  <a:lnTo>
                    <a:pt x="153" y="69"/>
                  </a:lnTo>
                  <a:lnTo>
                    <a:pt x="158" y="69"/>
                  </a:lnTo>
                  <a:lnTo>
                    <a:pt x="161" y="71"/>
                  </a:lnTo>
                  <a:lnTo>
                    <a:pt x="164" y="74"/>
                  </a:lnTo>
                  <a:lnTo>
                    <a:pt x="164" y="76"/>
                  </a:lnTo>
                  <a:lnTo>
                    <a:pt x="166" y="79"/>
                  </a:lnTo>
                  <a:lnTo>
                    <a:pt x="166" y="81"/>
                  </a:lnTo>
                  <a:lnTo>
                    <a:pt x="166" y="84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1" y="92"/>
                  </a:lnTo>
                  <a:lnTo>
                    <a:pt x="156" y="92"/>
                  </a:lnTo>
                  <a:lnTo>
                    <a:pt x="153" y="92"/>
                  </a:lnTo>
                  <a:lnTo>
                    <a:pt x="151" y="92"/>
                  </a:lnTo>
                  <a:lnTo>
                    <a:pt x="148" y="92"/>
                  </a:lnTo>
                  <a:lnTo>
                    <a:pt x="146" y="89"/>
                  </a:lnTo>
                  <a:lnTo>
                    <a:pt x="143" y="87"/>
                  </a:lnTo>
                  <a:lnTo>
                    <a:pt x="143" y="84"/>
                  </a:lnTo>
                  <a:lnTo>
                    <a:pt x="143" y="81"/>
                  </a:lnTo>
                  <a:close/>
                  <a:moveTo>
                    <a:pt x="210" y="207"/>
                  </a:moveTo>
                  <a:lnTo>
                    <a:pt x="210" y="210"/>
                  </a:lnTo>
                  <a:lnTo>
                    <a:pt x="210" y="212"/>
                  </a:lnTo>
                  <a:lnTo>
                    <a:pt x="207" y="215"/>
                  </a:lnTo>
                  <a:lnTo>
                    <a:pt x="205" y="217"/>
                  </a:lnTo>
                  <a:lnTo>
                    <a:pt x="199" y="217"/>
                  </a:lnTo>
                  <a:lnTo>
                    <a:pt x="197" y="217"/>
                  </a:lnTo>
                  <a:lnTo>
                    <a:pt x="194" y="217"/>
                  </a:lnTo>
                  <a:lnTo>
                    <a:pt x="192" y="217"/>
                  </a:lnTo>
                  <a:lnTo>
                    <a:pt x="189" y="215"/>
                  </a:lnTo>
                  <a:lnTo>
                    <a:pt x="187" y="210"/>
                  </a:lnTo>
                  <a:lnTo>
                    <a:pt x="187" y="204"/>
                  </a:lnTo>
                  <a:lnTo>
                    <a:pt x="187" y="202"/>
                  </a:lnTo>
                  <a:lnTo>
                    <a:pt x="189" y="197"/>
                  </a:lnTo>
                  <a:lnTo>
                    <a:pt x="192" y="197"/>
                  </a:lnTo>
                  <a:lnTo>
                    <a:pt x="197" y="194"/>
                  </a:lnTo>
                  <a:lnTo>
                    <a:pt x="199" y="194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7" y="197"/>
                  </a:lnTo>
                  <a:lnTo>
                    <a:pt x="210" y="202"/>
                  </a:lnTo>
                  <a:lnTo>
                    <a:pt x="210" y="204"/>
                  </a:lnTo>
                  <a:lnTo>
                    <a:pt x="210" y="207"/>
                  </a:lnTo>
                  <a:close/>
                  <a:moveTo>
                    <a:pt x="284" y="161"/>
                  </a:moveTo>
                  <a:lnTo>
                    <a:pt x="284" y="163"/>
                  </a:lnTo>
                  <a:lnTo>
                    <a:pt x="281" y="166"/>
                  </a:lnTo>
                  <a:lnTo>
                    <a:pt x="279" y="169"/>
                  </a:lnTo>
                  <a:lnTo>
                    <a:pt x="274" y="169"/>
                  </a:lnTo>
                  <a:lnTo>
                    <a:pt x="274" y="169"/>
                  </a:lnTo>
                  <a:lnTo>
                    <a:pt x="271" y="169"/>
                  </a:lnTo>
                  <a:lnTo>
                    <a:pt x="266" y="166"/>
                  </a:lnTo>
                  <a:lnTo>
                    <a:pt x="263" y="163"/>
                  </a:lnTo>
                  <a:lnTo>
                    <a:pt x="263" y="158"/>
                  </a:lnTo>
                  <a:lnTo>
                    <a:pt x="261" y="156"/>
                  </a:lnTo>
                  <a:lnTo>
                    <a:pt x="263" y="153"/>
                  </a:lnTo>
                  <a:lnTo>
                    <a:pt x="263" y="151"/>
                  </a:lnTo>
                  <a:lnTo>
                    <a:pt x="266" y="148"/>
                  </a:lnTo>
                  <a:lnTo>
                    <a:pt x="269" y="145"/>
                  </a:lnTo>
                  <a:lnTo>
                    <a:pt x="274" y="145"/>
                  </a:lnTo>
                  <a:lnTo>
                    <a:pt x="276" y="145"/>
                  </a:lnTo>
                  <a:lnTo>
                    <a:pt x="279" y="145"/>
                  </a:lnTo>
                  <a:lnTo>
                    <a:pt x="281" y="148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6" y="158"/>
                  </a:lnTo>
                  <a:lnTo>
                    <a:pt x="284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56">
              <a:extLst>
                <a:ext uri="{FF2B5EF4-FFF2-40B4-BE49-F238E27FC236}">
                  <a16:creationId xmlns:a16="http://schemas.microsoft.com/office/drawing/2014/main" id="{2FC19089-88F9-45DF-A9D9-3F8E368E9C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" y="2096"/>
              <a:ext cx="71" cy="72"/>
            </a:xfrm>
            <a:custGeom>
              <a:avLst/>
              <a:gdLst>
                <a:gd name="T0" fmla="*/ 71 w 71"/>
                <a:gd name="T1" fmla="*/ 33 h 72"/>
                <a:gd name="T2" fmla="*/ 66 w 71"/>
                <a:gd name="T3" fmla="*/ 18 h 72"/>
                <a:gd name="T4" fmla="*/ 59 w 71"/>
                <a:gd name="T5" fmla="*/ 8 h 72"/>
                <a:gd name="T6" fmla="*/ 48 w 71"/>
                <a:gd name="T7" fmla="*/ 2 h 72"/>
                <a:gd name="T8" fmla="*/ 35 w 71"/>
                <a:gd name="T9" fmla="*/ 0 h 72"/>
                <a:gd name="T10" fmla="*/ 28 w 71"/>
                <a:gd name="T11" fmla="*/ 2 h 72"/>
                <a:gd name="T12" fmla="*/ 18 w 71"/>
                <a:gd name="T13" fmla="*/ 5 h 72"/>
                <a:gd name="T14" fmla="*/ 7 w 71"/>
                <a:gd name="T15" fmla="*/ 15 h 72"/>
                <a:gd name="T16" fmla="*/ 2 w 71"/>
                <a:gd name="T17" fmla="*/ 28 h 72"/>
                <a:gd name="T18" fmla="*/ 0 w 71"/>
                <a:gd name="T19" fmla="*/ 43 h 72"/>
                <a:gd name="T20" fmla="*/ 5 w 71"/>
                <a:gd name="T21" fmla="*/ 56 h 72"/>
                <a:gd name="T22" fmla="*/ 10 w 71"/>
                <a:gd name="T23" fmla="*/ 61 h 72"/>
                <a:gd name="T24" fmla="*/ 23 w 71"/>
                <a:gd name="T25" fmla="*/ 72 h 72"/>
                <a:gd name="T26" fmla="*/ 35 w 71"/>
                <a:gd name="T27" fmla="*/ 72 h 72"/>
                <a:gd name="T28" fmla="*/ 48 w 71"/>
                <a:gd name="T29" fmla="*/ 72 h 72"/>
                <a:gd name="T30" fmla="*/ 59 w 71"/>
                <a:gd name="T31" fmla="*/ 64 h 72"/>
                <a:gd name="T32" fmla="*/ 69 w 71"/>
                <a:gd name="T33" fmla="*/ 49 h 72"/>
                <a:gd name="T34" fmla="*/ 71 w 71"/>
                <a:gd name="T35" fmla="*/ 38 h 72"/>
                <a:gd name="T36" fmla="*/ 53 w 71"/>
                <a:gd name="T37" fmla="*/ 43 h 72"/>
                <a:gd name="T38" fmla="*/ 51 w 71"/>
                <a:gd name="T39" fmla="*/ 49 h 72"/>
                <a:gd name="T40" fmla="*/ 46 w 71"/>
                <a:gd name="T41" fmla="*/ 54 h 72"/>
                <a:gd name="T42" fmla="*/ 38 w 71"/>
                <a:gd name="T43" fmla="*/ 56 h 72"/>
                <a:gd name="T44" fmla="*/ 33 w 71"/>
                <a:gd name="T45" fmla="*/ 56 h 72"/>
                <a:gd name="T46" fmla="*/ 25 w 71"/>
                <a:gd name="T47" fmla="*/ 51 h 72"/>
                <a:gd name="T48" fmla="*/ 20 w 71"/>
                <a:gd name="T49" fmla="*/ 46 h 72"/>
                <a:gd name="T50" fmla="*/ 18 w 71"/>
                <a:gd name="T51" fmla="*/ 41 h 72"/>
                <a:gd name="T52" fmla="*/ 18 w 71"/>
                <a:gd name="T53" fmla="*/ 36 h 72"/>
                <a:gd name="T54" fmla="*/ 18 w 71"/>
                <a:gd name="T55" fmla="*/ 31 h 72"/>
                <a:gd name="T56" fmla="*/ 23 w 71"/>
                <a:gd name="T57" fmla="*/ 25 h 72"/>
                <a:gd name="T58" fmla="*/ 28 w 71"/>
                <a:gd name="T59" fmla="*/ 20 h 72"/>
                <a:gd name="T60" fmla="*/ 35 w 71"/>
                <a:gd name="T61" fmla="*/ 18 h 72"/>
                <a:gd name="T62" fmla="*/ 38 w 71"/>
                <a:gd name="T63" fmla="*/ 18 h 72"/>
                <a:gd name="T64" fmla="*/ 43 w 71"/>
                <a:gd name="T65" fmla="*/ 20 h 72"/>
                <a:gd name="T66" fmla="*/ 48 w 71"/>
                <a:gd name="T67" fmla="*/ 23 h 72"/>
                <a:gd name="T68" fmla="*/ 53 w 71"/>
                <a:gd name="T69" fmla="*/ 31 h 72"/>
                <a:gd name="T70" fmla="*/ 53 w 71"/>
                <a:gd name="T71" fmla="*/ 3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1" h="72">
                  <a:moveTo>
                    <a:pt x="71" y="38"/>
                  </a:moveTo>
                  <a:lnTo>
                    <a:pt x="71" y="33"/>
                  </a:lnTo>
                  <a:lnTo>
                    <a:pt x="69" y="23"/>
                  </a:lnTo>
                  <a:lnTo>
                    <a:pt x="66" y="18"/>
                  </a:lnTo>
                  <a:lnTo>
                    <a:pt x="64" y="13"/>
                  </a:lnTo>
                  <a:lnTo>
                    <a:pt x="59" y="8"/>
                  </a:lnTo>
                  <a:lnTo>
                    <a:pt x="56" y="5"/>
                  </a:lnTo>
                  <a:lnTo>
                    <a:pt x="48" y="2"/>
                  </a:lnTo>
                  <a:lnTo>
                    <a:pt x="43" y="2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8" y="2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2" y="10"/>
                  </a:lnTo>
                  <a:lnTo>
                    <a:pt x="7" y="15"/>
                  </a:lnTo>
                  <a:lnTo>
                    <a:pt x="5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  <a:lnTo>
                    <a:pt x="5" y="56"/>
                  </a:lnTo>
                  <a:lnTo>
                    <a:pt x="10" y="59"/>
                  </a:lnTo>
                  <a:lnTo>
                    <a:pt x="10" y="61"/>
                  </a:lnTo>
                  <a:lnTo>
                    <a:pt x="18" y="66"/>
                  </a:lnTo>
                  <a:lnTo>
                    <a:pt x="23" y="72"/>
                  </a:lnTo>
                  <a:lnTo>
                    <a:pt x="30" y="72"/>
                  </a:lnTo>
                  <a:lnTo>
                    <a:pt x="35" y="72"/>
                  </a:lnTo>
                  <a:lnTo>
                    <a:pt x="43" y="72"/>
                  </a:lnTo>
                  <a:lnTo>
                    <a:pt x="48" y="72"/>
                  </a:lnTo>
                  <a:lnTo>
                    <a:pt x="53" y="66"/>
                  </a:lnTo>
                  <a:lnTo>
                    <a:pt x="59" y="64"/>
                  </a:lnTo>
                  <a:lnTo>
                    <a:pt x="64" y="59"/>
                  </a:lnTo>
                  <a:lnTo>
                    <a:pt x="69" y="49"/>
                  </a:lnTo>
                  <a:lnTo>
                    <a:pt x="71" y="43"/>
                  </a:lnTo>
                  <a:lnTo>
                    <a:pt x="71" y="38"/>
                  </a:lnTo>
                  <a:close/>
                  <a:moveTo>
                    <a:pt x="53" y="38"/>
                  </a:moveTo>
                  <a:lnTo>
                    <a:pt x="53" y="43"/>
                  </a:lnTo>
                  <a:lnTo>
                    <a:pt x="51" y="46"/>
                  </a:lnTo>
                  <a:lnTo>
                    <a:pt x="51" y="49"/>
                  </a:lnTo>
                  <a:lnTo>
                    <a:pt x="48" y="51"/>
                  </a:lnTo>
                  <a:lnTo>
                    <a:pt x="46" y="54"/>
                  </a:lnTo>
                  <a:lnTo>
                    <a:pt x="43" y="54"/>
                  </a:lnTo>
                  <a:lnTo>
                    <a:pt x="38" y="56"/>
                  </a:lnTo>
                  <a:lnTo>
                    <a:pt x="35" y="56"/>
                  </a:lnTo>
                  <a:lnTo>
                    <a:pt x="33" y="56"/>
                  </a:lnTo>
                  <a:lnTo>
                    <a:pt x="28" y="54"/>
                  </a:lnTo>
                  <a:lnTo>
                    <a:pt x="25" y="51"/>
                  </a:lnTo>
                  <a:lnTo>
                    <a:pt x="23" y="49"/>
                  </a:lnTo>
                  <a:lnTo>
                    <a:pt x="20" y="46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18" y="3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1"/>
                  </a:lnTo>
                  <a:lnTo>
                    <a:pt x="20" y="28"/>
                  </a:lnTo>
                  <a:lnTo>
                    <a:pt x="23" y="25"/>
                  </a:lnTo>
                  <a:lnTo>
                    <a:pt x="25" y="23"/>
                  </a:lnTo>
                  <a:lnTo>
                    <a:pt x="28" y="20"/>
                  </a:lnTo>
                  <a:lnTo>
                    <a:pt x="30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8" y="18"/>
                  </a:lnTo>
                  <a:lnTo>
                    <a:pt x="41" y="18"/>
                  </a:lnTo>
                  <a:lnTo>
                    <a:pt x="43" y="20"/>
                  </a:lnTo>
                  <a:lnTo>
                    <a:pt x="46" y="20"/>
                  </a:lnTo>
                  <a:lnTo>
                    <a:pt x="48" y="23"/>
                  </a:lnTo>
                  <a:lnTo>
                    <a:pt x="51" y="25"/>
                  </a:lnTo>
                  <a:lnTo>
                    <a:pt x="53" y="31"/>
                  </a:lnTo>
                  <a:lnTo>
                    <a:pt x="53" y="33"/>
                  </a:lnTo>
                  <a:lnTo>
                    <a:pt x="53" y="38"/>
                  </a:lnTo>
                  <a:lnTo>
                    <a:pt x="53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0" name="Group 259">
            <a:extLst>
              <a:ext uri="{FF2B5EF4-FFF2-40B4-BE49-F238E27FC236}">
                <a16:creationId xmlns:a16="http://schemas.microsoft.com/office/drawing/2014/main" id="{84564135-AC6F-4D9A-A68B-95B4F44DD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693" y="2860599"/>
            <a:ext cx="758825" cy="758825"/>
            <a:chOff x="2458" y="2055"/>
            <a:chExt cx="478" cy="478"/>
          </a:xfrm>
        </p:grpSpPr>
        <p:sp>
          <p:nvSpPr>
            <p:cNvPr id="281" name="AutoShape 258">
              <a:extLst>
                <a:ext uri="{FF2B5EF4-FFF2-40B4-BE49-F238E27FC236}">
                  <a16:creationId xmlns:a16="http://schemas.microsoft.com/office/drawing/2014/main" id="{BF9382E5-D907-4725-9763-0AAE66ADFD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58" y="205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60">
              <a:extLst>
                <a:ext uri="{FF2B5EF4-FFF2-40B4-BE49-F238E27FC236}">
                  <a16:creationId xmlns:a16="http://schemas.microsoft.com/office/drawing/2014/main" id="{37DEA4FD-1D9A-42E5-83B7-A36BF4912F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" y="205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61">
              <a:extLst>
                <a:ext uri="{FF2B5EF4-FFF2-40B4-BE49-F238E27FC236}">
                  <a16:creationId xmlns:a16="http://schemas.microsoft.com/office/drawing/2014/main" id="{B1DCDC1F-423A-42F0-B1C3-666C2310D6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4" y="2146"/>
              <a:ext cx="289" cy="279"/>
            </a:xfrm>
            <a:custGeom>
              <a:avLst/>
              <a:gdLst>
                <a:gd name="T0" fmla="*/ 97 w 118"/>
                <a:gd name="T1" fmla="*/ 98 h 114"/>
                <a:gd name="T2" fmla="*/ 104 w 118"/>
                <a:gd name="T3" fmla="*/ 99 h 114"/>
                <a:gd name="T4" fmla="*/ 111 w 118"/>
                <a:gd name="T5" fmla="*/ 73 h 114"/>
                <a:gd name="T6" fmla="*/ 75 w 118"/>
                <a:gd name="T7" fmla="*/ 13 h 114"/>
                <a:gd name="T8" fmla="*/ 60 w 118"/>
                <a:gd name="T9" fmla="*/ 0 h 114"/>
                <a:gd name="T10" fmla="*/ 45 w 118"/>
                <a:gd name="T11" fmla="*/ 13 h 114"/>
                <a:gd name="T12" fmla="*/ 20 w 118"/>
                <a:gd name="T13" fmla="*/ 29 h 114"/>
                <a:gd name="T14" fmla="*/ 8 w 118"/>
                <a:gd name="T15" fmla="*/ 55 h 114"/>
                <a:gd name="T16" fmla="*/ 8 w 118"/>
                <a:gd name="T17" fmla="*/ 63 h 114"/>
                <a:gd name="T18" fmla="*/ 26 w 118"/>
                <a:gd name="T19" fmla="*/ 94 h 114"/>
                <a:gd name="T20" fmla="*/ 33 w 118"/>
                <a:gd name="T21" fmla="*/ 92 h 114"/>
                <a:gd name="T22" fmla="*/ 47 w 118"/>
                <a:gd name="T23" fmla="*/ 101 h 114"/>
                <a:gd name="T24" fmla="*/ 59 w 118"/>
                <a:gd name="T25" fmla="*/ 95 h 114"/>
                <a:gd name="T26" fmla="*/ 88 w 118"/>
                <a:gd name="T27" fmla="*/ 99 h 114"/>
                <a:gd name="T28" fmla="*/ 55 w 118"/>
                <a:gd name="T29" fmla="*/ 87 h 114"/>
                <a:gd name="T30" fmla="*/ 90 w 118"/>
                <a:gd name="T31" fmla="*/ 85 h 114"/>
                <a:gd name="T32" fmla="*/ 90 w 118"/>
                <a:gd name="T33" fmla="*/ 91 h 114"/>
                <a:gd name="T34" fmla="*/ 60 w 118"/>
                <a:gd name="T35" fmla="*/ 90 h 114"/>
                <a:gd name="T36" fmla="*/ 60 w 118"/>
                <a:gd name="T37" fmla="*/ 83 h 114"/>
                <a:gd name="T38" fmla="*/ 63 w 118"/>
                <a:gd name="T39" fmla="*/ 80 h 114"/>
                <a:gd name="T40" fmla="*/ 74 w 118"/>
                <a:gd name="T41" fmla="*/ 64 h 114"/>
                <a:gd name="T42" fmla="*/ 85 w 118"/>
                <a:gd name="T43" fmla="*/ 60 h 114"/>
                <a:gd name="T44" fmla="*/ 96 w 118"/>
                <a:gd name="T45" fmla="*/ 74 h 114"/>
                <a:gd name="T46" fmla="*/ 74 w 118"/>
                <a:gd name="T47" fmla="*/ 41 h 114"/>
                <a:gd name="T48" fmla="*/ 65 w 118"/>
                <a:gd name="T49" fmla="*/ 50 h 114"/>
                <a:gd name="T50" fmla="*/ 96 w 118"/>
                <a:gd name="T51" fmla="*/ 85 h 114"/>
                <a:gd name="T52" fmla="*/ 70 w 118"/>
                <a:gd name="T53" fmla="*/ 24 h 114"/>
                <a:gd name="T54" fmla="*/ 74 w 118"/>
                <a:gd name="T55" fmla="*/ 19 h 114"/>
                <a:gd name="T56" fmla="*/ 106 w 118"/>
                <a:gd name="T57" fmla="*/ 71 h 114"/>
                <a:gd name="T58" fmla="*/ 102 w 118"/>
                <a:gd name="T59" fmla="*/ 72 h 114"/>
                <a:gd name="T60" fmla="*/ 87 w 118"/>
                <a:gd name="T61" fmla="*/ 55 h 114"/>
                <a:gd name="T62" fmla="*/ 75 w 118"/>
                <a:gd name="T63" fmla="*/ 36 h 114"/>
                <a:gd name="T64" fmla="*/ 70 w 118"/>
                <a:gd name="T65" fmla="*/ 25 h 114"/>
                <a:gd name="T66" fmla="*/ 60 w 118"/>
                <a:gd name="T67" fmla="*/ 5 h 114"/>
                <a:gd name="T68" fmla="*/ 51 w 118"/>
                <a:gd name="T69" fmla="*/ 14 h 114"/>
                <a:gd name="T70" fmla="*/ 46 w 118"/>
                <a:gd name="T71" fmla="*/ 19 h 114"/>
                <a:gd name="T72" fmla="*/ 64 w 118"/>
                <a:gd name="T73" fmla="*/ 27 h 114"/>
                <a:gd name="T74" fmla="*/ 69 w 118"/>
                <a:gd name="T75" fmla="*/ 36 h 114"/>
                <a:gd name="T76" fmla="*/ 62 w 118"/>
                <a:gd name="T77" fmla="*/ 42 h 114"/>
                <a:gd name="T78" fmla="*/ 29 w 118"/>
                <a:gd name="T79" fmla="*/ 40 h 114"/>
                <a:gd name="T80" fmla="*/ 25 w 118"/>
                <a:gd name="T81" fmla="*/ 34 h 114"/>
                <a:gd name="T82" fmla="*/ 24 w 118"/>
                <a:gd name="T83" fmla="*/ 51 h 114"/>
                <a:gd name="T84" fmla="*/ 28 w 118"/>
                <a:gd name="T85" fmla="*/ 46 h 114"/>
                <a:gd name="T86" fmla="*/ 60 w 118"/>
                <a:gd name="T87" fmla="*/ 48 h 114"/>
                <a:gd name="T88" fmla="*/ 68 w 118"/>
                <a:gd name="T89" fmla="*/ 63 h 114"/>
                <a:gd name="T90" fmla="*/ 59 w 118"/>
                <a:gd name="T91" fmla="*/ 77 h 114"/>
                <a:gd name="T92" fmla="*/ 39 w 118"/>
                <a:gd name="T93" fmla="*/ 76 h 114"/>
                <a:gd name="T94" fmla="*/ 33 w 118"/>
                <a:gd name="T95" fmla="*/ 70 h 114"/>
                <a:gd name="T96" fmla="*/ 29 w 118"/>
                <a:gd name="T97" fmla="*/ 74 h 114"/>
                <a:gd name="T98" fmla="*/ 34 w 118"/>
                <a:gd name="T99" fmla="*/ 81 h 114"/>
                <a:gd name="T100" fmla="*/ 31 w 118"/>
                <a:gd name="T101" fmla="*/ 87 h 114"/>
                <a:gd name="T102" fmla="*/ 19 w 118"/>
                <a:gd name="T103" fmla="*/ 85 h 114"/>
                <a:gd name="T104" fmla="*/ 14 w 118"/>
                <a:gd name="T105" fmla="*/ 56 h 114"/>
                <a:gd name="T106" fmla="*/ 19 w 118"/>
                <a:gd name="T107" fmla="*/ 55 h 114"/>
                <a:gd name="T108" fmla="*/ 5 w 118"/>
                <a:gd name="T109" fmla="*/ 42 h 114"/>
                <a:gd name="T110" fmla="*/ 14 w 118"/>
                <a:gd name="T111" fmla="*/ 5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8" h="114">
                  <a:moveTo>
                    <a:pt x="8" y="63"/>
                  </a:moveTo>
                  <a:cubicBezTo>
                    <a:pt x="8" y="91"/>
                    <a:pt x="31" y="114"/>
                    <a:pt x="60" y="114"/>
                  </a:cubicBezTo>
                  <a:cubicBezTo>
                    <a:pt x="74" y="114"/>
                    <a:pt x="87" y="109"/>
                    <a:pt x="97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100" y="99"/>
                    <a:pt x="102" y="99"/>
                    <a:pt x="104" y="99"/>
                  </a:cubicBezTo>
                  <a:cubicBezTo>
                    <a:pt x="112" y="99"/>
                    <a:pt x="118" y="93"/>
                    <a:pt x="118" y="85"/>
                  </a:cubicBezTo>
                  <a:cubicBezTo>
                    <a:pt x="118" y="80"/>
                    <a:pt x="116" y="76"/>
                    <a:pt x="111" y="73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1" y="69"/>
                    <a:pt x="112" y="66"/>
                    <a:pt x="112" y="63"/>
                  </a:cubicBezTo>
                  <a:cubicBezTo>
                    <a:pt x="112" y="40"/>
                    <a:pt x="96" y="20"/>
                    <a:pt x="75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3" y="5"/>
                    <a:pt x="67" y="0"/>
                    <a:pt x="60" y="0"/>
                  </a:cubicBezTo>
                  <a:cubicBezTo>
                    <a:pt x="53" y="0"/>
                    <a:pt x="47" y="5"/>
                    <a:pt x="46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36" y="16"/>
                    <a:pt x="28" y="22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8" y="28"/>
                    <a:pt x="16" y="28"/>
                    <a:pt x="14" y="28"/>
                  </a:cubicBezTo>
                  <a:cubicBezTo>
                    <a:pt x="6" y="28"/>
                    <a:pt x="0" y="34"/>
                    <a:pt x="0" y="42"/>
                  </a:cubicBezTo>
                  <a:cubicBezTo>
                    <a:pt x="0" y="47"/>
                    <a:pt x="3" y="52"/>
                    <a:pt x="8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8" y="58"/>
                    <a:pt x="8" y="61"/>
                    <a:pt x="8" y="63"/>
                  </a:cubicBezTo>
                  <a:close/>
                  <a:moveTo>
                    <a:pt x="88" y="99"/>
                  </a:moveTo>
                  <a:cubicBezTo>
                    <a:pt x="80" y="106"/>
                    <a:pt x="70" y="109"/>
                    <a:pt x="60" y="109"/>
                  </a:cubicBezTo>
                  <a:cubicBezTo>
                    <a:pt x="47" y="109"/>
                    <a:pt x="35" y="103"/>
                    <a:pt x="26" y="9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9" y="92"/>
                    <a:pt x="31" y="92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36" y="98"/>
                    <a:pt x="41" y="101"/>
                    <a:pt x="47" y="101"/>
                  </a:cubicBezTo>
                  <a:cubicBezTo>
                    <a:pt x="51" y="101"/>
                    <a:pt x="55" y="99"/>
                    <a:pt x="58" y="96"/>
                  </a:cubicBezTo>
                  <a:cubicBezTo>
                    <a:pt x="58" y="95"/>
                    <a:pt x="58" y="95"/>
                    <a:pt x="58" y="95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68" y="98"/>
                    <a:pt x="77" y="99"/>
                    <a:pt x="87" y="97"/>
                  </a:cubicBezTo>
                  <a:cubicBezTo>
                    <a:pt x="92" y="96"/>
                    <a:pt x="92" y="96"/>
                    <a:pt x="92" y="96"/>
                  </a:cubicBezTo>
                  <a:lnTo>
                    <a:pt x="88" y="99"/>
                  </a:lnTo>
                  <a:close/>
                  <a:moveTo>
                    <a:pt x="38" y="87"/>
                  </a:moveTo>
                  <a:cubicBezTo>
                    <a:pt x="38" y="82"/>
                    <a:pt x="42" y="79"/>
                    <a:pt x="47" y="79"/>
                  </a:cubicBezTo>
                  <a:cubicBezTo>
                    <a:pt x="52" y="79"/>
                    <a:pt x="55" y="82"/>
                    <a:pt x="55" y="87"/>
                  </a:cubicBezTo>
                  <a:cubicBezTo>
                    <a:pt x="55" y="92"/>
                    <a:pt x="52" y="96"/>
                    <a:pt x="47" y="96"/>
                  </a:cubicBezTo>
                  <a:cubicBezTo>
                    <a:pt x="42" y="96"/>
                    <a:pt x="38" y="92"/>
                    <a:pt x="38" y="87"/>
                  </a:cubicBezTo>
                  <a:close/>
                  <a:moveTo>
                    <a:pt x="90" y="85"/>
                  </a:moveTo>
                  <a:cubicBezTo>
                    <a:pt x="90" y="87"/>
                    <a:pt x="90" y="88"/>
                    <a:pt x="91" y="90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85" y="92"/>
                    <a:pt x="81" y="93"/>
                    <a:pt x="77" y="93"/>
                  </a:cubicBezTo>
                  <a:cubicBezTo>
                    <a:pt x="71" y="93"/>
                    <a:pt x="66" y="92"/>
                    <a:pt x="61" y="91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8"/>
                    <a:pt x="61" y="87"/>
                  </a:cubicBezTo>
                  <a:cubicBezTo>
                    <a:pt x="61" y="86"/>
                    <a:pt x="61" y="85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2" y="81"/>
                    <a:pt x="62" y="81"/>
                    <a:pt x="63" y="80"/>
                  </a:cubicBezTo>
                  <a:cubicBezTo>
                    <a:pt x="67" y="76"/>
                    <a:pt x="71" y="71"/>
                    <a:pt x="73" y="65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7" y="64"/>
                    <a:pt x="81" y="63"/>
                    <a:pt x="83" y="61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9" y="64"/>
                    <a:pt x="92" y="68"/>
                    <a:pt x="96" y="73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2" y="77"/>
                    <a:pt x="90" y="81"/>
                    <a:pt x="90" y="85"/>
                  </a:cubicBezTo>
                  <a:close/>
                  <a:moveTo>
                    <a:pt x="65" y="50"/>
                  </a:moveTo>
                  <a:cubicBezTo>
                    <a:pt x="65" y="45"/>
                    <a:pt x="69" y="41"/>
                    <a:pt x="74" y="41"/>
                  </a:cubicBezTo>
                  <a:cubicBezTo>
                    <a:pt x="78" y="41"/>
                    <a:pt x="82" y="45"/>
                    <a:pt x="82" y="50"/>
                  </a:cubicBezTo>
                  <a:cubicBezTo>
                    <a:pt x="82" y="55"/>
                    <a:pt x="78" y="59"/>
                    <a:pt x="74" y="59"/>
                  </a:cubicBezTo>
                  <a:cubicBezTo>
                    <a:pt x="69" y="59"/>
                    <a:pt x="65" y="55"/>
                    <a:pt x="65" y="50"/>
                  </a:cubicBezTo>
                  <a:close/>
                  <a:moveTo>
                    <a:pt x="113" y="85"/>
                  </a:moveTo>
                  <a:cubicBezTo>
                    <a:pt x="113" y="90"/>
                    <a:pt x="109" y="94"/>
                    <a:pt x="104" y="94"/>
                  </a:cubicBezTo>
                  <a:cubicBezTo>
                    <a:pt x="99" y="94"/>
                    <a:pt x="96" y="90"/>
                    <a:pt x="96" y="85"/>
                  </a:cubicBezTo>
                  <a:cubicBezTo>
                    <a:pt x="96" y="81"/>
                    <a:pt x="99" y="77"/>
                    <a:pt x="104" y="77"/>
                  </a:cubicBezTo>
                  <a:cubicBezTo>
                    <a:pt x="109" y="77"/>
                    <a:pt x="113" y="81"/>
                    <a:pt x="113" y="85"/>
                  </a:cubicBezTo>
                  <a:close/>
                  <a:moveTo>
                    <a:pt x="70" y="24"/>
                  </a:moveTo>
                  <a:cubicBezTo>
                    <a:pt x="71" y="23"/>
                    <a:pt x="72" y="21"/>
                    <a:pt x="73" y="20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93" y="25"/>
                    <a:pt x="106" y="43"/>
                    <a:pt x="106" y="63"/>
                  </a:cubicBezTo>
                  <a:cubicBezTo>
                    <a:pt x="106" y="65"/>
                    <a:pt x="106" y="68"/>
                    <a:pt x="106" y="70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71"/>
                    <a:pt x="103" y="71"/>
                    <a:pt x="102" y="71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97" y="65"/>
                    <a:pt x="92" y="60"/>
                    <a:pt x="87" y="56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3"/>
                    <a:pt x="88" y="52"/>
                    <a:pt x="88" y="50"/>
                  </a:cubicBezTo>
                  <a:cubicBezTo>
                    <a:pt x="88" y="43"/>
                    <a:pt x="82" y="37"/>
                    <a:pt x="75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3" y="32"/>
                    <a:pt x="72" y="29"/>
                    <a:pt x="70" y="25"/>
                  </a:cubicBezTo>
                  <a:cubicBezTo>
                    <a:pt x="69" y="24"/>
                    <a:pt x="69" y="24"/>
                    <a:pt x="69" y="24"/>
                  </a:cubicBezTo>
                  <a:lnTo>
                    <a:pt x="70" y="24"/>
                  </a:lnTo>
                  <a:close/>
                  <a:moveTo>
                    <a:pt x="60" y="5"/>
                  </a:moveTo>
                  <a:cubicBezTo>
                    <a:pt x="65" y="5"/>
                    <a:pt x="69" y="9"/>
                    <a:pt x="69" y="14"/>
                  </a:cubicBezTo>
                  <a:cubicBezTo>
                    <a:pt x="69" y="19"/>
                    <a:pt x="65" y="23"/>
                    <a:pt x="60" y="23"/>
                  </a:cubicBezTo>
                  <a:cubicBezTo>
                    <a:pt x="55" y="23"/>
                    <a:pt x="51" y="19"/>
                    <a:pt x="51" y="14"/>
                  </a:cubicBezTo>
                  <a:cubicBezTo>
                    <a:pt x="51" y="9"/>
                    <a:pt x="55" y="5"/>
                    <a:pt x="60" y="5"/>
                  </a:cubicBezTo>
                  <a:close/>
                  <a:moveTo>
                    <a:pt x="25" y="32"/>
                  </a:moveTo>
                  <a:cubicBezTo>
                    <a:pt x="31" y="26"/>
                    <a:pt x="38" y="21"/>
                    <a:pt x="46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50" y="26"/>
                    <a:pt x="57" y="29"/>
                    <a:pt x="64" y="27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7" y="31"/>
                    <a:pt x="68" y="33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6" y="38"/>
                    <a:pt x="64" y="40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48" y="39"/>
                    <a:pt x="37" y="39"/>
                    <a:pt x="29" y="40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7" y="37"/>
                    <a:pt x="26" y="35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lnTo>
                    <a:pt x="25" y="32"/>
                  </a:lnTo>
                  <a:close/>
                  <a:moveTo>
                    <a:pt x="24" y="51"/>
                  </a:moveTo>
                  <a:cubicBezTo>
                    <a:pt x="25" y="50"/>
                    <a:pt x="26" y="48"/>
                    <a:pt x="27" y="47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35" y="44"/>
                    <a:pt x="46" y="43"/>
                    <a:pt x="59" y="47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59" y="49"/>
                    <a:pt x="59" y="49"/>
                    <a:pt x="59" y="50"/>
                  </a:cubicBezTo>
                  <a:cubicBezTo>
                    <a:pt x="59" y="55"/>
                    <a:pt x="62" y="60"/>
                    <a:pt x="67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6" y="69"/>
                    <a:pt x="63" y="73"/>
                    <a:pt x="59" y="76"/>
                  </a:cubicBezTo>
                  <a:cubicBezTo>
                    <a:pt x="59" y="76"/>
                    <a:pt x="59" y="77"/>
                    <a:pt x="59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2" y="73"/>
                    <a:pt x="44" y="72"/>
                    <a:pt x="39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6" y="74"/>
                    <a:pt x="34" y="72"/>
                    <a:pt x="33" y="70"/>
                  </a:cubicBezTo>
                  <a:cubicBezTo>
                    <a:pt x="28" y="64"/>
                    <a:pt x="26" y="57"/>
                    <a:pt x="24" y="52"/>
                  </a:cubicBezTo>
                  <a:cubicBezTo>
                    <a:pt x="24" y="51"/>
                    <a:pt x="24" y="51"/>
                    <a:pt x="24" y="51"/>
                  </a:cubicBezTo>
                  <a:close/>
                  <a:moveTo>
                    <a:pt x="29" y="74"/>
                  </a:moveTo>
                  <a:cubicBezTo>
                    <a:pt x="30" y="75"/>
                    <a:pt x="32" y="77"/>
                    <a:pt x="34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3" y="82"/>
                    <a:pt x="33" y="84"/>
                    <a:pt x="33" y="86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8" y="87"/>
                    <a:pt x="24" y="86"/>
                    <a:pt x="20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6" y="78"/>
                    <a:pt x="14" y="70"/>
                    <a:pt x="14" y="63"/>
                  </a:cubicBezTo>
                  <a:cubicBezTo>
                    <a:pt x="14" y="61"/>
                    <a:pt x="14" y="59"/>
                    <a:pt x="14" y="57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7" y="55"/>
                    <a:pt x="18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2" y="62"/>
                    <a:pt x="25" y="68"/>
                    <a:pt x="29" y="74"/>
                  </a:cubicBezTo>
                  <a:close/>
                  <a:moveTo>
                    <a:pt x="5" y="42"/>
                  </a:moveTo>
                  <a:cubicBezTo>
                    <a:pt x="5" y="37"/>
                    <a:pt x="9" y="33"/>
                    <a:pt x="14" y="33"/>
                  </a:cubicBezTo>
                  <a:cubicBezTo>
                    <a:pt x="19" y="33"/>
                    <a:pt x="22" y="37"/>
                    <a:pt x="22" y="42"/>
                  </a:cubicBezTo>
                  <a:cubicBezTo>
                    <a:pt x="22" y="47"/>
                    <a:pt x="19" y="51"/>
                    <a:pt x="14" y="51"/>
                  </a:cubicBezTo>
                  <a:cubicBezTo>
                    <a:pt x="9" y="51"/>
                    <a:pt x="5" y="47"/>
                    <a:pt x="5" y="4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64">
            <a:extLst>
              <a:ext uri="{FF2B5EF4-FFF2-40B4-BE49-F238E27FC236}">
                <a16:creationId xmlns:a16="http://schemas.microsoft.com/office/drawing/2014/main" id="{81EF24D0-91F6-4180-8FF4-C9454E59EA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3692" y="2819324"/>
            <a:ext cx="841375" cy="841375"/>
            <a:chOff x="1583" y="1804"/>
            <a:chExt cx="530" cy="530"/>
          </a:xfrm>
        </p:grpSpPr>
        <p:sp>
          <p:nvSpPr>
            <p:cNvPr id="285" name="AutoShape 263">
              <a:extLst>
                <a:ext uri="{FF2B5EF4-FFF2-40B4-BE49-F238E27FC236}">
                  <a16:creationId xmlns:a16="http://schemas.microsoft.com/office/drawing/2014/main" id="{C3F7F57F-D09F-46B2-B414-7E4B8CC6BF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83" y="180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Oval 265">
              <a:extLst>
                <a:ext uri="{FF2B5EF4-FFF2-40B4-BE49-F238E27FC236}">
                  <a16:creationId xmlns:a16="http://schemas.microsoft.com/office/drawing/2014/main" id="{3DF136D6-49DB-45AC-B94E-566925B49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3" y="180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66">
              <a:extLst>
                <a:ext uri="{FF2B5EF4-FFF2-40B4-BE49-F238E27FC236}">
                  <a16:creationId xmlns:a16="http://schemas.microsoft.com/office/drawing/2014/main" id="{1E33F875-6267-4D80-963A-0C3165DC0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1" y="182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67">
              <a:extLst>
                <a:ext uri="{FF2B5EF4-FFF2-40B4-BE49-F238E27FC236}">
                  <a16:creationId xmlns:a16="http://schemas.microsoft.com/office/drawing/2014/main" id="{00B05FCD-800D-415A-8CCD-99979D524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8" y="1914"/>
              <a:ext cx="302" cy="292"/>
            </a:xfrm>
            <a:custGeom>
              <a:avLst/>
              <a:gdLst>
                <a:gd name="T0" fmla="*/ 97 w 118"/>
                <a:gd name="T1" fmla="*/ 98 h 114"/>
                <a:gd name="T2" fmla="*/ 104 w 118"/>
                <a:gd name="T3" fmla="*/ 99 h 114"/>
                <a:gd name="T4" fmla="*/ 111 w 118"/>
                <a:gd name="T5" fmla="*/ 73 h 114"/>
                <a:gd name="T6" fmla="*/ 75 w 118"/>
                <a:gd name="T7" fmla="*/ 13 h 114"/>
                <a:gd name="T8" fmla="*/ 60 w 118"/>
                <a:gd name="T9" fmla="*/ 0 h 114"/>
                <a:gd name="T10" fmla="*/ 45 w 118"/>
                <a:gd name="T11" fmla="*/ 13 h 114"/>
                <a:gd name="T12" fmla="*/ 20 w 118"/>
                <a:gd name="T13" fmla="*/ 29 h 114"/>
                <a:gd name="T14" fmla="*/ 8 w 118"/>
                <a:gd name="T15" fmla="*/ 55 h 114"/>
                <a:gd name="T16" fmla="*/ 8 w 118"/>
                <a:gd name="T17" fmla="*/ 63 h 114"/>
                <a:gd name="T18" fmla="*/ 26 w 118"/>
                <a:gd name="T19" fmla="*/ 94 h 114"/>
                <a:gd name="T20" fmla="*/ 33 w 118"/>
                <a:gd name="T21" fmla="*/ 92 h 114"/>
                <a:gd name="T22" fmla="*/ 47 w 118"/>
                <a:gd name="T23" fmla="*/ 101 h 114"/>
                <a:gd name="T24" fmla="*/ 59 w 118"/>
                <a:gd name="T25" fmla="*/ 95 h 114"/>
                <a:gd name="T26" fmla="*/ 88 w 118"/>
                <a:gd name="T27" fmla="*/ 99 h 114"/>
                <a:gd name="T28" fmla="*/ 55 w 118"/>
                <a:gd name="T29" fmla="*/ 87 h 114"/>
                <a:gd name="T30" fmla="*/ 90 w 118"/>
                <a:gd name="T31" fmla="*/ 85 h 114"/>
                <a:gd name="T32" fmla="*/ 90 w 118"/>
                <a:gd name="T33" fmla="*/ 91 h 114"/>
                <a:gd name="T34" fmla="*/ 60 w 118"/>
                <a:gd name="T35" fmla="*/ 90 h 114"/>
                <a:gd name="T36" fmla="*/ 60 w 118"/>
                <a:gd name="T37" fmla="*/ 83 h 114"/>
                <a:gd name="T38" fmla="*/ 63 w 118"/>
                <a:gd name="T39" fmla="*/ 80 h 114"/>
                <a:gd name="T40" fmla="*/ 74 w 118"/>
                <a:gd name="T41" fmla="*/ 64 h 114"/>
                <a:gd name="T42" fmla="*/ 85 w 118"/>
                <a:gd name="T43" fmla="*/ 60 h 114"/>
                <a:gd name="T44" fmla="*/ 96 w 118"/>
                <a:gd name="T45" fmla="*/ 74 h 114"/>
                <a:gd name="T46" fmla="*/ 74 w 118"/>
                <a:gd name="T47" fmla="*/ 41 h 114"/>
                <a:gd name="T48" fmla="*/ 65 w 118"/>
                <a:gd name="T49" fmla="*/ 50 h 114"/>
                <a:gd name="T50" fmla="*/ 96 w 118"/>
                <a:gd name="T51" fmla="*/ 85 h 114"/>
                <a:gd name="T52" fmla="*/ 70 w 118"/>
                <a:gd name="T53" fmla="*/ 24 h 114"/>
                <a:gd name="T54" fmla="*/ 74 w 118"/>
                <a:gd name="T55" fmla="*/ 19 h 114"/>
                <a:gd name="T56" fmla="*/ 106 w 118"/>
                <a:gd name="T57" fmla="*/ 71 h 114"/>
                <a:gd name="T58" fmla="*/ 102 w 118"/>
                <a:gd name="T59" fmla="*/ 72 h 114"/>
                <a:gd name="T60" fmla="*/ 87 w 118"/>
                <a:gd name="T61" fmla="*/ 55 h 114"/>
                <a:gd name="T62" fmla="*/ 75 w 118"/>
                <a:gd name="T63" fmla="*/ 36 h 114"/>
                <a:gd name="T64" fmla="*/ 70 w 118"/>
                <a:gd name="T65" fmla="*/ 25 h 114"/>
                <a:gd name="T66" fmla="*/ 60 w 118"/>
                <a:gd name="T67" fmla="*/ 5 h 114"/>
                <a:gd name="T68" fmla="*/ 51 w 118"/>
                <a:gd name="T69" fmla="*/ 14 h 114"/>
                <a:gd name="T70" fmla="*/ 46 w 118"/>
                <a:gd name="T71" fmla="*/ 19 h 114"/>
                <a:gd name="T72" fmla="*/ 64 w 118"/>
                <a:gd name="T73" fmla="*/ 27 h 114"/>
                <a:gd name="T74" fmla="*/ 69 w 118"/>
                <a:gd name="T75" fmla="*/ 36 h 114"/>
                <a:gd name="T76" fmla="*/ 62 w 118"/>
                <a:gd name="T77" fmla="*/ 42 h 114"/>
                <a:gd name="T78" fmla="*/ 29 w 118"/>
                <a:gd name="T79" fmla="*/ 40 h 114"/>
                <a:gd name="T80" fmla="*/ 25 w 118"/>
                <a:gd name="T81" fmla="*/ 34 h 114"/>
                <a:gd name="T82" fmla="*/ 24 w 118"/>
                <a:gd name="T83" fmla="*/ 51 h 114"/>
                <a:gd name="T84" fmla="*/ 28 w 118"/>
                <a:gd name="T85" fmla="*/ 46 h 114"/>
                <a:gd name="T86" fmla="*/ 60 w 118"/>
                <a:gd name="T87" fmla="*/ 48 h 114"/>
                <a:gd name="T88" fmla="*/ 68 w 118"/>
                <a:gd name="T89" fmla="*/ 63 h 114"/>
                <a:gd name="T90" fmla="*/ 59 w 118"/>
                <a:gd name="T91" fmla="*/ 77 h 114"/>
                <a:gd name="T92" fmla="*/ 39 w 118"/>
                <a:gd name="T93" fmla="*/ 76 h 114"/>
                <a:gd name="T94" fmla="*/ 33 w 118"/>
                <a:gd name="T95" fmla="*/ 70 h 114"/>
                <a:gd name="T96" fmla="*/ 29 w 118"/>
                <a:gd name="T97" fmla="*/ 74 h 114"/>
                <a:gd name="T98" fmla="*/ 34 w 118"/>
                <a:gd name="T99" fmla="*/ 81 h 114"/>
                <a:gd name="T100" fmla="*/ 31 w 118"/>
                <a:gd name="T101" fmla="*/ 87 h 114"/>
                <a:gd name="T102" fmla="*/ 19 w 118"/>
                <a:gd name="T103" fmla="*/ 85 h 114"/>
                <a:gd name="T104" fmla="*/ 14 w 118"/>
                <a:gd name="T105" fmla="*/ 56 h 114"/>
                <a:gd name="T106" fmla="*/ 19 w 118"/>
                <a:gd name="T107" fmla="*/ 55 h 114"/>
                <a:gd name="T108" fmla="*/ 5 w 118"/>
                <a:gd name="T109" fmla="*/ 42 h 114"/>
                <a:gd name="T110" fmla="*/ 14 w 118"/>
                <a:gd name="T111" fmla="*/ 5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8" h="114">
                  <a:moveTo>
                    <a:pt x="8" y="63"/>
                  </a:moveTo>
                  <a:cubicBezTo>
                    <a:pt x="8" y="91"/>
                    <a:pt x="31" y="114"/>
                    <a:pt x="60" y="114"/>
                  </a:cubicBezTo>
                  <a:cubicBezTo>
                    <a:pt x="74" y="114"/>
                    <a:pt x="87" y="109"/>
                    <a:pt x="97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100" y="99"/>
                    <a:pt x="102" y="99"/>
                    <a:pt x="104" y="99"/>
                  </a:cubicBezTo>
                  <a:cubicBezTo>
                    <a:pt x="112" y="99"/>
                    <a:pt x="118" y="93"/>
                    <a:pt x="118" y="85"/>
                  </a:cubicBezTo>
                  <a:cubicBezTo>
                    <a:pt x="118" y="80"/>
                    <a:pt x="116" y="76"/>
                    <a:pt x="111" y="73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1" y="69"/>
                    <a:pt x="112" y="66"/>
                    <a:pt x="112" y="63"/>
                  </a:cubicBezTo>
                  <a:cubicBezTo>
                    <a:pt x="112" y="40"/>
                    <a:pt x="96" y="20"/>
                    <a:pt x="75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3" y="5"/>
                    <a:pt x="67" y="0"/>
                    <a:pt x="60" y="0"/>
                  </a:cubicBezTo>
                  <a:cubicBezTo>
                    <a:pt x="53" y="0"/>
                    <a:pt x="47" y="5"/>
                    <a:pt x="46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36" y="16"/>
                    <a:pt x="28" y="22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8" y="28"/>
                    <a:pt x="16" y="28"/>
                    <a:pt x="14" y="28"/>
                  </a:cubicBezTo>
                  <a:cubicBezTo>
                    <a:pt x="6" y="28"/>
                    <a:pt x="0" y="34"/>
                    <a:pt x="0" y="42"/>
                  </a:cubicBezTo>
                  <a:cubicBezTo>
                    <a:pt x="0" y="47"/>
                    <a:pt x="3" y="52"/>
                    <a:pt x="8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8" y="58"/>
                    <a:pt x="8" y="61"/>
                    <a:pt x="8" y="63"/>
                  </a:cubicBezTo>
                  <a:close/>
                  <a:moveTo>
                    <a:pt x="88" y="99"/>
                  </a:moveTo>
                  <a:cubicBezTo>
                    <a:pt x="80" y="106"/>
                    <a:pt x="70" y="109"/>
                    <a:pt x="60" y="109"/>
                  </a:cubicBezTo>
                  <a:cubicBezTo>
                    <a:pt x="47" y="109"/>
                    <a:pt x="35" y="103"/>
                    <a:pt x="26" y="9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9" y="92"/>
                    <a:pt x="31" y="92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36" y="98"/>
                    <a:pt x="41" y="101"/>
                    <a:pt x="47" y="101"/>
                  </a:cubicBezTo>
                  <a:cubicBezTo>
                    <a:pt x="51" y="101"/>
                    <a:pt x="55" y="99"/>
                    <a:pt x="58" y="96"/>
                  </a:cubicBezTo>
                  <a:cubicBezTo>
                    <a:pt x="58" y="95"/>
                    <a:pt x="58" y="95"/>
                    <a:pt x="58" y="95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68" y="98"/>
                    <a:pt x="77" y="99"/>
                    <a:pt x="87" y="97"/>
                  </a:cubicBezTo>
                  <a:cubicBezTo>
                    <a:pt x="92" y="96"/>
                    <a:pt x="92" y="96"/>
                    <a:pt x="92" y="96"/>
                  </a:cubicBezTo>
                  <a:lnTo>
                    <a:pt x="88" y="99"/>
                  </a:lnTo>
                  <a:close/>
                  <a:moveTo>
                    <a:pt x="38" y="87"/>
                  </a:moveTo>
                  <a:cubicBezTo>
                    <a:pt x="38" y="82"/>
                    <a:pt x="42" y="79"/>
                    <a:pt x="47" y="79"/>
                  </a:cubicBezTo>
                  <a:cubicBezTo>
                    <a:pt x="52" y="79"/>
                    <a:pt x="55" y="82"/>
                    <a:pt x="55" y="87"/>
                  </a:cubicBezTo>
                  <a:cubicBezTo>
                    <a:pt x="55" y="92"/>
                    <a:pt x="52" y="96"/>
                    <a:pt x="47" y="96"/>
                  </a:cubicBezTo>
                  <a:cubicBezTo>
                    <a:pt x="42" y="96"/>
                    <a:pt x="38" y="92"/>
                    <a:pt x="38" y="87"/>
                  </a:cubicBezTo>
                  <a:close/>
                  <a:moveTo>
                    <a:pt x="90" y="85"/>
                  </a:moveTo>
                  <a:cubicBezTo>
                    <a:pt x="90" y="87"/>
                    <a:pt x="90" y="88"/>
                    <a:pt x="91" y="90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85" y="92"/>
                    <a:pt x="81" y="93"/>
                    <a:pt x="77" y="93"/>
                  </a:cubicBezTo>
                  <a:cubicBezTo>
                    <a:pt x="71" y="93"/>
                    <a:pt x="66" y="92"/>
                    <a:pt x="61" y="91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8"/>
                    <a:pt x="61" y="87"/>
                  </a:cubicBezTo>
                  <a:cubicBezTo>
                    <a:pt x="61" y="86"/>
                    <a:pt x="61" y="85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2" y="81"/>
                    <a:pt x="62" y="81"/>
                    <a:pt x="63" y="80"/>
                  </a:cubicBezTo>
                  <a:cubicBezTo>
                    <a:pt x="67" y="76"/>
                    <a:pt x="71" y="71"/>
                    <a:pt x="73" y="65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7" y="64"/>
                    <a:pt x="81" y="63"/>
                    <a:pt x="83" y="61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9" y="64"/>
                    <a:pt x="92" y="68"/>
                    <a:pt x="96" y="73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2" y="77"/>
                    <a:pt x="90" y="81"/>
                    <a:pt x="90" y="85"/>
                  </a:cubicBezTo>
                  <a:close/>
                  <a:moveTo>
                    <a:pt x="65" y="50"/>
                  </a:moveTo>
                  <a:cubicBezTo>
                    <a:pt x="65" y="45"/>
                    <a:pt x="69" y="41"/>
                    <a:pt x="74" y="41"/>
                  </a:cubicBezTo>
                  <a:cubicBezTo>
                    <a:pt x="78" y="41"/>
                    <a:pt x="82" y="45"/>
                    <a:pt x="82" y="50"/>
                  </a:cubicBezTo>
                  <a:cubicBezTo>
                    <a:pt x="82" y="55"/>
                    <a:pt x="78" y="59"/>
                    <a:pt x="74" y="59"/>
                  </a:cubicBezTo>
                  <a:cubicBezTo>
                    <a:pt x="69" y="59"/>
                    <a:pt x="65" y="55"/>
                    <a:pt x="65" y="50"/>
                  </a:cubicBezTo>
                  <a:close/>
                  <a:moveTo>
                    <a:pt x="113" y="85"/>
                  </a:moveTo>
                  <a:cubicBezTo>
                    <a:pt x="113" y="90"/>
                    <a:pt x="109" y="94"/>
                    <a:pt x="104" y="94"/>
                  </a:cubicBezTo>
                  <a:cubicBezTo>
                    <a:pt x="99" y="94"/>
                    <a:pt x="96" y="90"/>
                    <a:pt x="96" y="85"/>
                  </a:cubicBezTo>
                  <a:cubicBezTo>
                    <a:pt x="96" y="81"/>
                    <a:pt x="99" y="77"/>
                    <a:pt x="104" y="77"/>
                  </a:cubicBezTo>
                  <a:cubicBezTo>
                    <a:pt x="109" y="77"/>
                    <a:pt x="113" y="81"/>
                    <a:pt x="113" y="85"/>
                  </a:cubicBezTo>
                  <a:close/>
                  <a:moveTo>
                    <a:pt x="70" y="24"/>
                  </a:moveTo>
                  <a:cubicBezTo>
                    <a:pt x="71" y="23"/>
                    <a:pt x="72" y="21"/>
                    <a:pt x="73" y="20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93" y="25"/>
                    <a:pt x="106" y="43"/>
                    <a:pt x="106" y="63"/>
                  </a:cubicBezTo>
                  <a:cubicBezTo>
                    <a:pt x="106" y="65"/>
                    <a:pt x="106" y="68"/>
                    <a:pt x="106" y="70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71"/>
                    <a:pt x="103" y="71"/>
                    <a:pt x="102" y="71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97" y="65"/>
                    <a:pt x="92" y="60"/>
                    <a:pt x="87" y="56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3"/>
                    <a:pt x="88" y="52"/>
                    <a:pt x="88" y="50"/>
                  </a:cubicBezTo>
                  <a:cubicBezTo>
                    <a:pt x="88" y="43"/>
                    <a:pt x="82" y="37"/>
                    <a:pt x="75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3" y="32"/>
                    <a:pt x="72" y="29"/>
                    <a:pt x="70" y="25"/>
                  </a:cubicBezTo>
                  <a:cubicBezTo>
                    <a:pt x="69" y="24"/>
                    <a:pt x="69" y="24"/>
                    <a:pt x="69" y="24"/>
                  </a:cubicBezTo>
                  <a:lnTo>
                    <a:pt x="70" y="24"/>
                  </a:lnTo>
                  <a:close/>
                  <a:moveTo>
                    <a:pt x="60" y="5"/>
                  </a:moveTo>
                  <a:cubicBezTo>
                    <a:pt x="65" y="5"/>
                    <a:pt x="69" y="9"/>
                    <a:pt x="69" y="14"/>
                  </a:cubicBezTo>
                  <a:cubicBezTo>
                    <a:pt x="69" y="19"/>
                    <a:pt x="65" y="23"/>
                    <a:pt x="60" y="23"/>
                  </a:cubicBezTo>
                  <a:cubicBezTo>
                    <a:pt x="55" y="23"/>
                    <a:pt x="51" y="19"/>
                    <a:pt x="51" y="14"/>
                  </a:cubicBezTo>
                  <a:cubicBezTo>
                    <a:pt x="51" y="9"/>
                    <a:pt x="55" y="5"/>
                    <a:pt x="60" y="5"/>
                  </a:cubicBezTo>
                  <a:close/>
                  <a:moveTo>
                    <a:pt x="25" y="32"/>
                  </a:moveTo>
                  <a:cubicBezTo>
                    <a:pt x="31" y="26"/>
                    <a:pt x="38" y="21"/>
                    <a:pt x="46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50" y="26"/>
                    <a:pt x="57" y="29"/>
                    <a:pt x="64" y="27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7" y="31"/>
                    <a:pt x="68" y="33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6" y="38"/>
                    <a:pt x="64" y="40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48" y="39"/>
                    <a:pt x="37" y="39"/>
                    <a:pt x="29" y="40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7" y="37"/>
                    <a:pt x="26" y="35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lnTo>
                    <a:pt x="25" y="32"/>
                  </a:lnTo>
                  <a:close/>
                  <a:moveTo>
                    <a:pt x="24" y="51"/>
                  </a:moveTo>
                  <a:cubicBezTo>
                    <a:pt x="25" y="50"/>
                    <a:pt x="26" y="48"/>
                    <a:pt x="27" y="47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35" y="44"/>
                    <a:pt x="46" y="43"/>
                    <a:pt x="59" y="47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59" y="49"/>
                    <a:pt x="59" y="49"/>
                    <a:pt x="59" y="50"/>
                  </a:cubicBezTo>
                  <a:cubicBezTo>
                    <a:pt x="59" y="55"/>
                    <a:pt x="62" y="60"/>
                    <a:pt x="67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6" y="69"/>
                    <a:pt x="63" y="73"/>
                    <a:pt x="59" y="76"/>
                  </a:cubicBezTo>
                  <a:cubicBezTo>
                    <a:pt x="59" y="76"/>
                    <a:pt x="59" y="77"/>
                    <a:pt x="59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2" y="73"/>
                    <a:pt x="44" y="72"/>
                    <a:pt x="39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6" y="74"/>
                    <a:pt x="34" y="72"/>
                    <a:pt x="33" y="70"/>
                  </a:cubicBezTo>
                  <a:cubicBezTo>
                    <a:pt x="28" y="64"/>
                    <a:pt x="26" y="57"/>
                    <a:pt x="24" y="52"/>
                  </a:cubicBezTo>
                  <a:cubicBezTo>
                    <a:pt x="24" y="51"/>
                    <a:pt x="24" y="51"/>
                    <a:pt x="24" y="51"/>
                  </a:cubicBezTo>
                  <a:close/>
                  <a:moveTo>
                    <a:pt x="29" y="74"/>
                  </a:moveTo>
                  <a:cubicBezTo>
                    <a:pt x="30" y="75"/>
                    <a:pt x="32" y="77"/>
                    <a:pt x="34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3" y="82"/>
                    <a:pt x="33" y="84"/>
                    <a:pt x="33" y="86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8" y="87"/>
                    <a:pt x="24" y="86"/>
                    <a:pt x="20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6" y="78"/>
                    <a:pt x="14" y="70"/>
                    <a:pt x="14" y="63"/>
                  </a:cubicBezTo>
                  <a:cubicBezTo>
                    <a:pt x="14" y="61"/>
                    <a:pt x="14" y="59"/>
                    <a:pt x="14" y="57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7" y="55"/>
                    <a:pt x="18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2" y="62"/>
                    <a:pt x="25" y="68"/>
                    <a:pt x="29" y="74"/>
                  </a:cubicBezTo>
                  <a:close/>
                  <a:moveTo>
                    <a:pt x="5" y="42"/>
                  </a:moveTo>
                  <a:cubicBezTo>
                    <a:pt x="5" y="37"/>
                    <a:pt x="9" y="33"/>
                    <a:pt x="14" y="33"/>
                  </a:cubicBezTo>
                  <a:cubicBezTo>
                    <a:pt x="19" y="33"/>
                    <a:pt x="22" y="37"/>
                    <a:pt x="22" y="42"/>
                  </a:cubicBezTo>
                  <a:cubicBezTo>
                    <a:pt x="22" y="47"/>
                    <a:pt x="19" y="51"/>
                    <a:pt x="14" y="51"/>
                  </a:cubicBezTo>
                  <a:cubicBezTo>
                    <a:pt x="9" y="51"/>
                    <a:pt x="5" y="47"/>
                    <a:pt x="5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3" name="Group 270">
            <a:extLst>
              <a:ext uri="{FF2B5EF4-FFF2-40B4-BE49-F238E27FC236}">
                <a16:creationId xmlns:a16="http://schemas.microsoft.com/office/drawing/2014/main" id="{4546AB8C-02BB-4F55-87AA-3E9296F267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5013" y="2860599"/>
            <a:ext cx="758825" cy="758825"/>
            <a:chOff x="3489" y="1880"/>
            <a:chExt cx="478" cy="478"/>
          </a:xfrm>
        </p:grpSpPr>
        <p:sp>
          <p:nvSpPr>
            <p:cNvPr id="294" name="AutoShape 269">
              <a:extLst>
                <a:ext uri="{FF2B5EF4-FFF2-40B4-BE49-F238E27FC236}">
                  <a16:creationId xmlns:a16="http://schemas.microsoft.com/office/drawing/2014/main" id="{2681B5ED-61B4-4991-957B-54AD325D62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89" y="188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71">
              <a:extLst>
                <a:ext uri="{FF2B5EF4-FFF2-40B4-BE49-F238E27FC236}">
                  <a16:creationId xmlns:a16="http://schemas.microsoft.com/office/drawing/2014/main" id="{EC8485AE-BEEE-4320-8660-6AF896B86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1" y="188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72">
              <a:extLst>
                <a:ext uri="{FF2B5EF4-FFF2-40B4-BE49-F238E27FC236}">
                  <a16:creationId xmlns:a16="http://schemas.microsoft.com/office/drawing/2014/main" id="{6C35DE84-F89D-4CE5-B4FB-FE1E76E0F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5" y="1973"/>
              <a:ext cx="309" cy="275"/>
            </a:xfrm>
            <a:custGeom>
              <a:avLst/>
              <a:gdLst>
                <a:gd name="T0" fmla="*/ 306 w 309"/>
                <a:gd name="T1" fmla="*/ 174 h 275"/>
                <a:gd name="T2" fmla="*/ 292 w 309"/>
                <a:gd name="T3" fmla="*/ 142 h 275"/>
                <a:gd name="T4" fmla="*/ 265 w 309"/>
                <a:gd name="T5" fmla="*/ 120 h 275"/>
                <a:gd name="T6" fmla="*/ 247 w 309"/>
                <a:gd name="T7" fmla="*/ 44 h 275"/>
                <a:gd name="T8" fmla="*/ 257 w 309"/>
                <a:gd name="T9" fmla="*/ 37 h 275"/>
                <a:gd name="T10" fmla="*/ 250 w 309"/>
                <a:gd name="T11" fmla="*/ 30 h 275"/>
                <a:gd name="T12" fmla="*/ 166 w 309"/>
                <a:gd name="T13" fmla="*/ 37 h 275"/>
                <a:gd name="T14" fmla="*/ 174 w 309"/>
                <a:gd name="T15" fmla="*/ 44 h 275"/>
                <a:gd name="T16" fmla="*/ 164 w 309"/>
                <a:gd name="T17" fmla="*/ 118 h 275"/>
                <a:gd name="T18" fmla="*/ 140 w 309"/>
                <a:gd name="T19" fmla="*/ 113 h 275"/>
                <a:gd name="T20" fmla="*/ 137 w 309"/>
                <a:gd name="T21" fmla="*/ 15 h 275"/>
                <a:gd name="T22" fmla="*/ 147 w 309"/>
                <a:gd name="T23" fmla="*/ 7 h 275"/>
                <a:gd name="T24" fmla="*/ 140 w 309"/>
                <a:gd name="T25" fmla="*/ 0 h 275"/>
                <a:gd name="T26" fmla="*/ 59 w 309"/>
                <a:gd name="T27" fmla="*/ 5 h 275"/>
                <a:gd name="T28" fmla="*/ 64 w 309"/>
                <a:gd name="T29" fmla="*/ 15 h 275"/>
                <a:gd name="T30" fmla="*/ 68 w 309"/>
                <a:gd name="T31" fmla="*/ 110 h 275"/>
                <a:gd name="T32" fmla="*/ 56 w 309"/>
                <a:gd name="T33" fmla="*/ 140 h 275"/>
                <a:gd name="T34" fmla="*/ 0 w 309"/>
                <a:gd name="T35" fmla="*/ 245 h 275"/>
                <a:gd name="T36" fmla="*/ 5 w 309"/>
                <a:gd name="T37" fmla="*/ 260 h 275"/>
                <a:gd name="T38" fmla="*/ 22 w 309"/>
                <a:gd name="T39" fmla="*/ 272 h 275"/>
                <a:gd name="T40" fmla="*/ 269 w 309"/>
                <a:gd name="T41" fmla="*/ 267 h 275"/>
                <a:gd name="T42" fmla="*/ 292 w 309"/>
                <a:gd name="T43" fmla="*/ 248 h 275"/>
                <a:gd name="T44" fmla="*/ 306 w 309"/>
                <a:gd name="T45" fmla="*/ 218 h 275"/>
                <a:gd name="T46" fmla="*/ 191 w 309"/>
                <a:gd name="T47" fmla="*/ 44 h 275"/>
                <a:gd name="T48" fmla="*/ 191 w 309"/>
                <a:gd name="T49" fmla="*/ 110 h 275"/>
                <a:gd name="T50" fmla="*/ 144 w 309"/>
                <a:gd name="T51" fmla="*/ 152 h 275"/>
                <a:gd name="T52" fmla="*/ 130 w 309"/>
                <a:gd name="T53" fmla="*/ 179 h 275"/>
                <a:gd name="T54" fmla="*/ 76 w 309"/>
                <a:gd name="T55" fmla="*/ 133 h 275"/>
                <a:gd name="T56" fmla="*/ 83 w 309"/>
                <a:gd name="T57" fmla="*/ 96 h 275"/>
                <a:gd name="T58" fmla="*/ 125 w 309"/>
                <a:gd name="T59" fmla="*/ 110 h 275"/>
                <a:gd name="T60" fmla="*/ 135 w 309"/>
                <a:gd name="T61" fmla="*/ 140 h 275"/>
                <a:gd name="T62" fmla="*/ 117 w 309"/>
                <a:gd name="T63" fmla="*/ 177 h 275"/>
                <a:gd name="T64" fmla="*/ 76 w 309"/>
                <a:gd name="T65" fmla="*/ 133 h 275"/>
                <a:gd name="T66" fmla="*/ 14 w 309"/>
                <a:gd name="T67" fmla="*/ 253 h 275"/>
                <a:gd name="T68" fmla="*/ 14 w 309"/>
                <a:gd name="T69" fmla="*/ 235 h 275"/>
                <a:gd name="T70" fmla="*/ 115 w 309"/>
                <a:gd name="T71" fmla="*/ 206 h 275"/>
                <a:gd name="T72" fmla="*/ 125 w 309"/>
                <a:gd name="T73" fmla="*/ 235 h 275"/>
                <a:gd name="T74" fmla="*/ 142 w 309"/>
                <a:gd name="T75" fmla="*/ 260 h 275"/>
                <a:gd name="T76" fmla="*/ 191 w 309"/>
                <a:gd name="T77" fmla="*/ 255 h 275"/>
                <a:gd name="T78" fmla="*/ 176 w 309"/>
                <a:gd name="T79" fmla="*/ 260 h 275"/>
                <a:gd name="T80" fmla="*/ 157 w 309"/>
                <a:gd name="T81" fmla="*/ 255 h 275"/>
                <a:gd name="T82" fmla="*/ 132 w 309"/>
                <a:gd name="T83" fmla="*/ 221 h 275"/>
                <a:gd name="T84" fmla="*/ 174 w 309"/>
                <a:gd name="T85" fmla="*/ 204 h 275"/>
                <a:gd name="T86" fmla="*/ 193 w 309"/>
                <a:gd name="T87" fmla="*/ 250 h 275"/>
                <a:gd name="T88" fmla="*/ 287 w 309"/>
                <a:gd name="T89" fmla="*/ 231 h 275"/>
                <a:gd name="T90" fmla="*/ 267 w 309"/>
                <a:gd name="T91" fmla="*/ 253 h 275"/>
                <a:gd name="T92" fmla="*/ 247 w 309"/>
                <a:gd name="T93" fmla="*/ 260 h 275"/>
                <a:gd name="T94" fmla="*/ 203 w 309"/>
                <a:gd name="T95" fmla="*/ 245 h 275"/>
                <a:gd name="T96" fmla="*/ 198 w 309"/>
                <a:gd name="T97" fmla="*/ 226 h 275"/>
                <a:gd name="T98" fmla="*/ 174 w 309"/>
                <a:gd name="T99" fmla="*/ 128 h 275"/>
                <a:gd name="T100" fmla="*/ 252 w 309"/>
                <a:gd name="T101" fmla="*/ 128 h 275"/>
                <a:gd name="T102" fmla="*/ 277 w 309"/>
                <a:gd name="T103" fmla="*/ 147 h 275"/>
                <a:gd name="T104" fmla="*/ 294 w 309"/>
                <a:gd name="T105" fmla="*/ 184 h 275"/>
                <a:gd name="T106" fmla="*/ 294 w 309"/>
                <a:gd name="T107" fmla="*/ 20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9" h="275">
                  <a:moveTo>
                    <a:pt x="309" y="199"/>
                  </a:moveTo>
                  <a:lnTo>
                    <a:pt x="309" y="189"/>
                  </a:lnTo>
                  <a:lnTo>
                    <a:pt x="306" y="174"/>
                  </a:lnTo>
                  <a:lnTo>
                    <a:pt x="301" y="164"/>
                  </a:lnTo>
                  <a:lnTo>
                    <a:pt x="296" y="152"/>
                  </a:lnTo>
                  <a:lnTo>
                    <a:pt x="292" y="142"/>
                  </a:lnTo>
                  <a:lnTo>
                    <a:pt x="284" y="135"/>
                  </a:lnTo>
                  <a:lnTo>
                    <a:pt x="274" y="125"/>
                  </a:lnTo>
                  <a:lnTo>
                    <a:pt x="265" y="120"/>
                  </a:lnTo>
                  <a:lnTo>
                    <a:pt x="252" y="113"/>
                  </a:lnTo>
                  <a:lnTo>
                    <a:pt x="247" y="110"/>
                  </a:lnTo>
                  <a:lnTo>
                    <a:pt x="247" y="44"/>
                  </a:lnTo>
                  <a:lnTo>
                    <a:pt x="255" y="42"/>
                  </a:lnTo>
                  <a:lnTo>
                    <a:pt x="257" y="39"/>
                  </a:lnTo>
                  <a:lnTo>
                    <a:pt x="257" y="37"/>
                  </a:lnTo>
                  <a:lnTo>
                    <a:pt x="255" y="32"/>
                  </a:lnTo>
                  <a:lnTo>
                    <a:pt x="252" y="30"/>
                  </a:lnTo>
                  <a:lnTo>
                    <a:pt x="250" y="30"/>
                  </a:lnTo>
                  <a:lnTo>
                    <a:pt x="169" y="30"/>
                  </a:lnTo>
                  <a:lnTo>
                    <a:pt x="166" y="34"/>
                  </a:lnTo>
                  <a:lnTo>
                    <a:pt x="166" y="37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4" y="44"/>
                  </a:lnTo>
                  <a:lnTo>
                    <a:pt x="176" y="44"/>
                  </a:lnTo>
                  <a:lnTo>
                    <a:pt x="176" y="110"/>
                  </a:lnTo>
                  <a:lnTo>
                    <a:pt x="164" y="118"/>
                  </a:lnTo>
                  <a:lnTo>
                    <a:pt x="154" y="123"/>
                  </a:lnTo>
                  <a:lnTo>
                    <a:pt x="144" y="130"/>
                  </a:lnTo>
                  <a:lnTo>
                    <a:pt x="140" y="113"/>
                  </a:lnTo>
                  <a:lnTo>
                    <a:pt x="137" y="103"/>
                  </a:lnTo>
                  <a:lnTo>
                    <a:pt x="137" y="96"/>
                  </a:lnTo>
                  <a:lnTo>
                    <a:pt x="137" y="15"/>
                  </a:lnTo>
                  <a:lnTo>
                    <a:pt x="144" y="12"/>
                  </a:lnTo>
                  <a:lnTo>
                    <a:pt x="147" y="10"/>
                  </a:lnTo>
                  <a:lnTo>
                    <a:pt x="147" y="7"/>
                  </a:lnTo>
                  <a:lnTo>
                    <a:pt x="147" y="5"/>
                  </a:lnTo>
                  <a:lnTo>
                    <a:pt x="144" y="3"/>
                  </a:lnTo>
                  <a:lnTo>
                    <a:pt x="140" y="0"/>
                  </a:lnTo>
                  <a:lnTo>
                    <a:pt x="66" y="0"/>
                  </a:lnTo>
                  <a:lnTo>
                    <a:pt x="61" y="3"/>
                  </a:lnTo>
                  <a:lnTo>
                    <a:pt x="59" y="5"/>
                  </a:lnTo>
                  <a:lnTo>
                    <a:pt x="59" y="7"/>
                  </a:lnTo>
                  <a:lnTo>
                    <a:pt x="61" y="12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10"/>
                  </a:lnTo>
                  <a:lnTo>
                    <a:pt x="66" y="120"/>
                  </a:lnTo>
                  <a:lnTo>
                    <a:pt x="61" y="130"/>
                  </a:lnTo>
                  <a:lnTo>
                    <a:pt x="56" y="140"/>
                  </a:lnTo>
                  <a:lnTo>
                    <a:pt x="2" y="231"/>
                  </a:lnTo>
                  <a:lnTo>
                    <a:pt x="0" y="238"/>
                  </a:lnTo>
                  <a:lnTo>
                    <a:pt x="0" y="245"/>
                  </a:lnTo>
                  <a:lnTo>
                    <a:pt x="0" y="250"/>
                  </a:lnTo>
                  <a:lnTo>
                    <a:pt x="2" y="255"/>
                  </a:lnTo>
                  <a:lnTo>
                    <a:pt x="5" y="260"/>
                  </a:lnTo>
                  <a:lnTo>
                    <a:pt x="7" y="265"/>
                  </a:lnTo>
                  <a:lnTo>
                    <a:pt x="14" y="270"/>
                  </a:lnTo>
                  <a:lnTo>
                    <a:pt x="22" y="272"/>
                  </a:lnTo>
                  <a:lnTo>
                    <a:pt x="32" y="275"/>
                  </a:lnTo>
                  <a:lnTo>
                    <a:pt x="260" y="272"/>
                  </a:lnTo>
                  <a:lnTo>
                    <a:pt x="269" y="267"/>
                  </a:lnTo>
                  <a:lnTo>
                    <a:pt x="277" y="262"/>
                  </a:lnTo>
                  <a:lnTo>
                    <a:pt x="284" y="258"/>
                  </a:lnTo>
                  <a:lnTo>
                    <a:pt x="292" y="248"/>
                  </a:lnTo>
                  <a:lnTo>
                    <a:pt x="296" y="240"/>
                  </a:lnTo>
                  <a:lnTo>
                    <a:pt x="301" y="231"/>
                  </a:lnTo>
                  <a:lnTo>
                    <a:pt x="306" y="218"/>
                  </a:lnTo>
                  <a:lnTo>
                    <a:pt x="309" y="206"/>
                  </a:lnTo>
                  <a:lnTo>
                    <a:pt x="309" y="199"/>
                  </a:lnTo>
                  <a:close/>
                  <a:moveTo>
                    <a:pt x="191" y="44"/>
                  </a:moveTo>
                  <a:lnTo>
                    <a:pt x="233" y="44"/>
                  </a:lnTo>
                  <a:lnTo>
                    <a:pt x="233" y="110"/>
                  </a:lnTo>
                  <a:lnTo>
                    <a:pt x="191" y="110"/>
                  </a:lnTo>
                  <a:lnTo>
                    <a:pt x="191" y="44"/>
                  </a:lnTo>
                  <a:close/>
                  <a:moveTo>
                    <a:pt x="142" y="155"/>
                  </a:moveTo>
                  <a:lnTo>
                    <a:pt x="144" y="152"/>
                  </a:lnTo>
                  <a:lnTo>
                    <a:pt x="169" y="194"/>
                  </a:lnTo>
                  <a:lnTo>
                    <a:pt x="127" y="194"/>
                  </a:lnTo>
                  <a:lnTo>
                    <a:pt x="130" y="179"/>
                  </a:lnTo>
                  <a:lnTo>
                    <a:pt x="135" y="167"/>
                  </a:lnTo>
                  <a:lnTo>
                    <a:pt x="142" y="155"/>
                  </a:lnTo>
                  <a:close/>
                  <a:moveTo>
                    <a:pt x="76" y="133"/>
                  </a:moveTo>
                  <a:lnTo>
                    <a:pt x="81" y="120"/>
                  </a:lnTo>
                  <a:lnTo>
                    <a:pt x="83" y="108"/>
                  </a:lnTo>
                  <a:lnTo>
                    <a:pt x="83" y="96"/>
                  </a:lnTo>
                  <a:lnTo>
                    <a:pt x="83" y="15"/>
                  </a:lnTo>
                  <a:lnTo>
                    <a:pt x="122" y="15"/>
                  </a:lnTo>
                  <a:lnTo>
                    <a:pt x="125" y="110"/>
                  </a:lnTo>
                  <a:lnTo>
                    <a:pt x="125" y="120"/>
                  </a:lnTo>
                  <a:lnTo>
                    <a:pt x="130" y="133"/>
                  </a:lnTo>
                  <a:lnTo>
                    <a:pt x="135" y="140"/>
                  </a:lnTo>
                  <a:lnTo>
                    <a:pt x="127" y="150"/>
                  </a:lnTo>
                  <a:lnTo>
                    <a:pt x="120" y="164"/>
                  </a:lnTo>
                  <a:lnTo>
                    <a:pt x="117" y="177"/>
                  </a:lnTo>
                  <a:lnTo>
                    <a:pt x="115" y="191"/>
                  </a:lnTo>
                  <a:lnTo>
                    <a:pt x="41" y="191"/>
                  </a:lnTo>
                  <a:lnTo>
                    <a:pt x="76" y="133"/>
                  </a:lnTo>
                  <a:close/>
                  <a:moveTo>
                    <a:pt x="24" y="260"/>
                  </a:moveTo>
                  <a:lnTo>
                    <a:pt x="19" y="255"/>
                  </a:lnTo>
                  <a:lnTo>
                    <a:pt x="14" y="253"/>
                  </a:lnTo>
                  <a:lnTo>
                    <a:pt x="14" y="248"/>
                  </a:lnTo>
                  <a:lnTo>
                    <a:pt x="14" y="245"/>
                  </a:lnTo>
                  <a:lnTo>
                    <a:pt x="14" y="235"/>
                  </a:lnTo>
                  <a:lnTo>
                    <a:pt x="17" y="233"/>
                  </a:lnTo>
                  <a:lnTo>
                    <a:pt x="32" y="206"/>
                  </a:lnTo>
                  <a:lnTo>
                    <a:pt x="115" y="206"/>
                  </a:lnTo>
                  <a:lnTo>
                    <a:pt x="117" y="218"/>
                  </a:lnTo>
                  <a:lnTo>
                    <a:pt x="120" y="228"/>
                  </a:lnTo>
                  <a:lnTo>
                    <a:pt x="125" y="235"/>
                  </a:lnTo>
                  <a:lnTo>
                    <a:pt x="130" y="248"/>
                  </a:lnTo>
                  <a:lnTo>
                    <a:pt x="137" y="255"/>
                  </a:lnTo>
                  <a:lnTo>
                    <a:pt x="142" y="260"/>
                  </a:lnTo>
                  <a:lnTo>
                    <a:pt x="24" y="260"/>
                  </a:lnTo>
                  <a:close/>
                  <a:moveTo>
                    <a:pt x="193" y="250"/>
                  </a:moveTo>
                  <a:lnTo>
                    <a:pt x="191" y="255"/>
                  </a:lnTo>
                  <a:lnTo>
                    <a:pt x="186" y="258"/>
                  </a:lnTo>
                  <a:lnTo>
                    <a:pt x="181" y="260"/>
                  </a:lnTo>
                  <a:lnTo>
                    <a:pt x="176" y="260"/>
                  </a:lnTo>
                  <a:lnTo>
                    <a:pt x="171" y="260"/>
                  </a:lnTo>
                  <a:lnTo>
                    <a:pt x="166" y="258"/>
                  </a:lnTo>
                  <a:lnTo>
                    <a:pt x="157" y="255"/>
                  </a:lnTo>
                  <a:lnTo>
                    <a:pt x="149" y="248"/>
                  </a:lnTo>
                  <a:lnTo>
                    <a:pt x="140" y="235"/>
                  </a:lnTo>
                  <a:lnTo>
                    <a:pt x="132" y="221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74" y="204"/>
                  </a:lnTo>
                  <a:lnTo>
                    <a:pt x="193" y="238"/>
                  </a:lnTo>
                  <a:lnTo>
                    <a:pt x="196" y="245"/>
                  </a:lnTo>
                  <a:lnTo>
                    <a:pt x="193" y="250"/>
                  </a:lnTo>
                  <a:close/>
                  <a:moveTo>
                    <a:pt x="294" y="209"/>
                  </a:moveTo>
                  <a:lnTo>
                    <a:pt x="292" y="218"/>
                  </a:lnTo>
                  <a:lnTo>
                    <a:pt x="287" y="231"/>
                  </a:lnTo>
                  <a:lnTo>
                    <a:pt x="279" y="240"/>
                  </a:lnTo>
                  <a:lnTo>
                    <a:pt x="274" y="248"/>
                  </a:lnTo>
                  <a:lnTo>
                    <a:pt x="267" y="253"/>
                  </a:lnTo>
                  <a:lnTo>
                    <a:pt x="260" y="258"/>
                  </a:lnTo>
                  <a:lnTo>
                    <a:pt x="250" y="260"/>
                  </a:lnTo>
                  <a:lnTo>
                    <a:pt x="247" y="260"/>
                  </a:lnTo>
                  <a:lnTo>
                    <a:pt x="198" y="260"/>
                  </a:lnTo>
                  <a:lnTo>
                    <a:pt x="203" y="250"/>
                  </a:lnTo>
                  <a:lnTo>
                    <a:pt x="203" y="245"/>
                  </a:lnTo>
                  <a:lnTo>
                    <a:pt x="203" y="238"/>
                  </a:lnTo>
                  <a:lnTo>
                    <a:pt x="201" y="231"/>
                  </a:lnTo>
                  <a:lnTo>
                    <a:pt x="198" y="226"/>
                  </a:lnTo>
                  <a:lnTo>
                    <a:pt x="149" y="145"/>
                  </a:lnTo>
                  <a:lnTo>
                    <a:pt x="162" y="135"/>
                  </a:lnTo>
                  <a:lnTo>
                    <a:pt x="174" y="128"/>
                  </a:lnTo>
                  <a:lnTo>
                    <a:pt x="184" y="123"/>
                  </a:lnTo>
                  <a:lnTo>
                    <a:pt x="240" y="123"/>
                  </a:lnTo>
                  <a:lnTo>
                    <a:pt x="252" y="128"/>
                  </a:lnTo>
                  <a:lnTo>
                    <a:pt x="260" y="133"/>
                  </a:lnTo>
                  <a:lnTo>
                    <a:pt x="267" y="140"/>
                  </a:lnTo>
                  <a:lnTo>
                    <a:pt x="277" y="147"/>
                  </a:lnTo>
                  <a:lnTo>
                    <a:pt x="284" y="157"/>
                  </a:lnTo>
                  <a:lnTo>
                    <a:pt x="289" y="169"/>
                  </a:lnTo>
                  <a:lnTo>
                    <a:pt x="294" y="184"/>
                  </a:lnTo>
                  <a:lnTo>
                    <a:pt x="294" y="191"/>
                  </a:lnTo>
                  <a:lnTo>
                    <a:pt x="294" y="199"/>
                  </a:lnTo>
                  <a:lnTo>
                    <a:pt x="294" y="20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7" name="Group 275">
            <a:extLst>
              <a:ext uri="{FF2B5EF4-FFF2-40B4-BE49-F238E27FC236}">
                <a16:creationId xmlns:a16="http://schemas.microsoft.com/office/drawing/2014/main" id="{BF3B69DF-0285-43E8-8CDF-2844A7AC35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1876" y="2819324"/>
            <a:ext cx="842962" cy="841375"/>
            <a:chOff x="3055" y="1798"/>
            <a:chExt cx="531" cy="530"/>
          </a:xfrm>
        </p:grpSpPr>
        <p:sp>
          <p:nvSpPr>
            <p:cNvPr id="298" name="AutoShape 274">
              <a:extLst>
                <a:ext uri="{FF2B5EF4-FFF2-40B4-BE49-F238E27FC236}">
                  <a16:creationId xmlns:a16="http://schemas.microsoft.com/office/drawing/2014/main" id="{86EDE0E5-974D-468D-A76B-BC01B508B0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55" y="179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276">
              <a:extLst>
                <a:ext uri="{FF2B5EF4-FFF2-40B4-BE49-F238E27FC236}">
                  <a16:creationId xmlns:a16="http://schemas.microsoft.com/office/drawing/2014/main" id="{088CB47F-F40F-425C-8CE3-2066BB828B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5" y="179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77">
              <a:extLst>
                <a:ext uri="{FF2B5EF4-FFF2-40B4-BE49-F238E27FC236}">
                  <a16:creationId xmlns:a16="http://schemas.microsoft.com/office/drawing/2014/main" id="{70DEA96B-0F88-449E-8D22-82DAE06CF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3" y="181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78">
              <a:extLst>
                <a:ext uri="{FF2B5EF4-FFF2-40B4-BE49-F238E27FC236}">
                  <a16:creationId xmlns:a16="http://schemas.microsoft.com/office/drawing/2014/main" id="{5B8EEC2C-6E2A-4DBD-96F5-0E0129EFD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0" y="1911"/>
              <a:ext cx="323" cy="286"/>
            </a:xfrm>
            <a:custGeom>
              <a:avLst/>
              <a:gdLst>
                <a:gd name="T0" fmla="*/ 321 w 323"/>
                <a:gd name="T1" fmla="*/ 181 h 286"/>
                <a:gd name="T2" fmla="*/ 305 w 323"/>
                <a:gd name="T3" fmla="*/ 148 h 286"/>
                <a:gd name="T4" fmla="*/ 277 w 323"/>
                <a:gd name="T5" fmla="*/ 125 h 286"/>
                <a:gd name="T6" fmla="*/ 259 w 323"/>
                <a:gd name="T7" fmla="*/ 46 h 286"/>
                <a:gd name="T8" fmla="*/ 269 w 323"/>
                <a:gd name="T9" fmla="*/ 38 h 286"/>
                <a:gd name="T10" fmla="*/ 262 w 323"/>
                <a:gd name="T11" fmla="*/ 30 h 286"/>
                <a:gd name="T12" fmla="*/ 175 w 323"/>
                <a:gd name="T13" fmla="*/ 38 h 286"/>
                <a:gd name="T14" fmla="*/ 182 w 323"/>
                <a:gd name="T15" fmla="*/ 46 h 286"/>
                <a:gd name="T16" fmla="*/ 172 w 323"/>
                <a:gd name="T17" fmla="*/ 122 h 286"/>
                <a:gd name="T18" fmla="*/ 146 w 323"/>
                <a:gd name="T19" fmla="*/ 117 h 286"/>
                <a:gd name="T20" fmla="*/ 144 w 323"/>
                <a:gd name="T21" fmla="*/ 15 h 286"/>
                <a:gd name="T22" fmla="*/ 154 w 323"/>
                <a:gd name="T23" fmla="*/ 7 h 286"/>
                <a:gd name="T24" fmla="*/ 146 w 323"/>
                <a:gd name="T25" fmla="*/ 0 h 286"/>
                <a:gd name="T26" fmla="*/ 62 w 323"/>
                <a:gd name="T27" fmla="*/ 5 h 286"/>
                <a:gd name="T28" fmla="*/ 67 w 323"/>
                <a:gd name="T29" fmla="*/ 15 h 286"/>
                <a:gd name="T30" fmla="*/ 72 w 323"/>
                <a:gd name="T31" fmla="*/ 115 h 286"/>
                <a:gd name="T32" fmla="*/ 59 w 323"/>
                <a:gd name="T33" fmla="*/ 145 h 286"/>
                <a:gd name="T34" fmla="*/ 0 w 323"/>
                <a:gd name="T35" fmla="*/ 256 h 286"/>
                <a:gd name="T36" fmla="*/ 5 w 323"/>
                <a:gd name="T37" fmla="*/ 271 h 286"/>
                <a:gd name="T38" fmla="*/ 23 w 323"/>
                <a:gd name="T39" fmla="*/ 284 h 286"/>
                <a:gd name="T40" fmla="*/ 282 w 323"/>
                <a:gd name="T41" fmla="*/ 279 h 286"/>
                <a:gd name="T42" fmla="*/ 305 w 323"/>
                <a:gd name="T43" fmla="*/ 258 h 286"/>
                <a:gd name="T44" fmla="*/ 321 w 323"/>
                <a:gd name="T45" fmla="*/ 227 h 286"/>
                <a:gd name="T46" fmla="*/ 200 w 323"/>
                <a:gd name="T47" fmla="*/ 46 h 286"/>
                <a:gd name="T48" fmla="*/ 200 w 323"/>
                <a:gd name="T49" fmla="*/ 115 h 286"/>
                <a:gd name="T50" fmla="*/ 151 w 323"/>
                <a:gd name="T51" fmla="*/ 158 h 286"/>
                <a:gd name="T52" fmla="*/ 136 w 323"/>
                <a:gd name="T53" fmla="*/ 186 h 286"/>
                <a:gd name="T54" fmla="*/ 80 w 323"/>
                <a:gd name="T55" fmla="*/ 138 h 286"/>
                <a:gd name="T56" fmla="*/ 87 w 323"/>
                <a:gd name="T57" fmla="*/ 99 h 286"/>
                <a:gd name="T58" fmla="*/ 131 w 323"/>
                <a:gd name="T59" fmla="*/ 115 h 286"/>
                <a:gd name="T60" fmla="*/ 141 w 323"/>
                <a:gd name="T61" fmla="*/ 145 h 286"/>
                <a:gd name="T62" fmla="*/ 123 w 323"/>
                <a:gd name="T63" fmla="*/ 184 h 286"/>
                <a:gd name="T64" fmla="*/ 80 w 323"/>
                <a:gd name="T65" fmla="*/ 138 h 286"/>
                <a:gd name="T66" fmla="*/ 15 w 323"/>
                <a:gd name="T67" fmla="*/ 263 h 286"/>
                <a:gd name="T68" fmla="*/ 15 w 323"/>
                <a:gd name="T69" fmla="*/ 245 h 286"/>
                <a:gd name="T70" fmla="*/ 121 w 323"/>
                <a:gd name="T71" fmla="*/ 215 h 286"/>
                <a:gd name="T72" fmla="*/ 131 w 323"/>
                <a:gd name="T73" fmla="*/ 245 h 286"/>
                <a:gd name="T74" fmla="*/ 149 w 323"/>
                <a:gd name="T75" fmla="*/ 271 h 286"/>
                <a:gd name="T76" fmla="*/ 200 w 323"/>
                <a:gd name="T77" fmla="*/ 266 h 286"/>
                <a:gd name="T78" fmla="*/ 185 w 323"/>
                <a:gd name="T79" fmla="*/ 271 h 286"/>
                <a:gd name="T80" fmla="*/ 164 w 323"/>
                <a:gd name="T81" fmla="*/ 266 h 286"/>
                <a:gd name="T82" fmla="*/ 139 w 323"/>
                <a:gd name="T83" fmla="*/ 230 h 286"/>
                <a:gd name="T84" fmla="*/ 182 w 323"/>
                <a:gd name="T85" fmla="*/ 212 h 286"/>
                <a:gd name="T86" fmla="*/ 203 w 323"/>
                <a:gd name="T87" fmla="*/ 261 h 286"/>
                <a:gd name="T88" fmla="*/ 300 w 323"/>
                <a:gd name="T89" fmla="*/ 240 h 286"/>
                <a:gd name="T90" fmla="*/ 280 w 323"/>
                <a:gd name="T91" fmla="*/ 263 h 286"/>
                <a:gd name="T92" fmla="*/ 259 w 323"/>
                <a:gd name="T93" fmla="*/ 271 h 286"/>
                <a:gd name="T94" fmla="*/ 213 w 323"/>
                <a:gd name="T95" fmla="*/ 256 h 286"/>
                <a:gd name="T96" fmla="*/ 208 w 323"/>
                <a:gd name="T97" fmla="*/ 235 h 286"/>
                <a:gd name="T98" fmla="*/ 182 w 323"/>
                <a:gd name="T99" fmla="*/ 133 h 286"/>
                <a:gd name="T100" fmla="*/ 264 w 323"/>
                <a:gd name="T101" fmla="*/ 133 h 286"/>
                <a:gd name="T102" fmla="*/ 290 w 323"/>
                <a:gd name="T103" fmla="*/ 153 h 286"/>
                <a:gd name="T104" fmla="*/ 308 w 323"/>
                <a:gd name="T105" fmla="*/ 192 h 286"/>
                <a:gd name="T106" fmla="*/ 308 w 323"/>
                <a:gd name="T107" fmla="*/ 217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3" h="286">
                  <a:moveTo>
                    <a:pt x="323" y="207"/>
                  </a:moveTo>
                  <a:lnTo>
                    <a:pt x="323" y="197"/>
                  </a:lnTo>
                  <a:lnTo>
                    <a:pt x="321" y="181"/>
                  </a:lnTo>
                  <a:lnTo>
                    <a:pt x="316" y="171"/>
                  </a:lnTo>
                  <a:lnTo>
                    <a:pt x="311" y="158"/>
                  </a:lnTo>
                  <a:lnTo>
                    <a:pt x="305" y="148"/>
                  </a:lnTo>
                  <a:lnTo>
                    <a:pt x="298" y="140"/>
                  </a:lnTo>
                  <a:lnTo>
                    <a:pt x="287" y="130"/>
                  </a:lnTo>
                  <a:lnTo>
                    <a:pt x="277" y="125"/>
                  </a:lnTo>
                  <a:lnTo>
                    <a:pt x="264" y="117"/>
                  </a:lnTo>
                  <a:lnTo>
                    <a:pt x="259" y="115"/>
                  </a:lnTo>
                  <a:lnTo>
                    <a:pt x="259" y="46"/>
                  </a:lnTo>
                  <a:lnTo>
                    <a:pt x="267" y="43"/>
                  </a:lnTo>
                  <a:lnTo>
                    <a:pt x="269" y="41"/>
                  </a:lnTo>
                  <a:lnTo>
                    <a:pt x="269" y="38"/>
                  </a:lnTo>
                  <a:lnTo>
                    <a:pt x="267" y="33"/>
                  </a:lnTo>
                  <a:lnTo>
                    <a:pt x="264" y="30"/>
                  </a:lnTo>
                  <a:lnTo>
                    <a:pt x="262" y="30"/>
                  </a:lnTo>
                  <a:lnTo>
                    <a:pt x="177" y="30"/>
                  </a:lnTo>
                  <a:lnTo>
                    <a:pt x="175" y="35"/>
                  </a:lnTo>
                  <a:lnTo>
                    <a:pt x="175" y="38"/>
                  </a:lnTo>
                  <a:lnTo>
                    <a:pt x="177" y="43"/>
                  </a:lnTo>
                  <a:lnTo>
                    <a:pt x="180" y="43"/>
                  </a:lnTo>
                  <a:lnTo>
                    <a:pt x="182" y="46"/>
                  </a:lnTo>
                  <a:lnTo>
                    <a:pt x="185" y="46"/>
                  </a:lnTo>
                  <a:lnTo>
                    <a:pt x="185" y="115"/>
                  </a:lnTo>
                  <a:lnTo>
                    <a:pt x="172" y="122"/>
                  </a:lnTo>
                  <a:lnTo>
                    <a:pt x="162" y="128"/>
                  </a:lnTo>
                  <a:lnTo>
                    <a:pt x="151" y="135"/>
                  </a:lnTo>
                  <a:lnTo>
                    <a:pt x="146" y="117"/>
                  </a:lnTo>
                  <a:lnTo>
                    <a:pt x="144" y="107"/>
                  </a:lnTo>
                  <a:lnTo>
                    <a:pt x="144" y="99"/>
                  </a:lnTo>
                  <a:lnTo>
                    <a:pt x="144" y="15"/>
                  </a:lnTo>
                  <a:lnTo>
                    <a:pt x="151" y="12"/>
                  </a:lnTo>
                  <a:lnTo>
                    <a:pt x="154" y="10"/>
                  </a:lnTo>
                  <a:lnTo>
                    <a:pt x="154" y="7"/>
                  </a:lnTo>
                  <a:lnTo>
                    <a:pt x="154" y="5"/>
                  </a:lnTo>
                  <a:lnTo>
                    <a:pt x="151" y="2"/>
                  </a:lnTo>
                  <a:lnTo>
                    <a:pt x="146" y="0"/>
                  </a:lnTo>
                  <a:lnTo>
                    <a:pt x="69" y="0"/>
                  </a:lnTo>
                  <a:lnTo>
                    <a:pt x="64" y="2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4" y="12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2" y="15"/>
                  </a:lnTo>
                  <a:lnTo>
                    <a:pt x="72" y="115"/>
                  </a:lnTo>
                  <a:lnTo>
                    <a:pt x="69" y="125"/>
                  </a:lnTo>
                  <a:lnTo>
                    <a:pt x="64" y="135"/>
                  </a:lnTo>
                  <a:lnTo>
                    <a:pt x="59" y="145"/>
                  </a:lnTo>
                  <a:lnTo>
                    <a:pt x="3" y="240"/>
                  </a:lnTo>
                  <a:lnTo>
                    <a:pt x="0" y="248"/>
                  </a:lnTo>
                  <a:lnTo>
                    <a:pt x="0" y="256"/>
                  </a:lnTo>
                  <a:lnTo>
                    <a:pt x="0" y="261"/>
                  </a:lnTo>
                  <a:lnTo>
                    <a:pt x="3" y="266"/>
                  </a:lnTo>
                  <a:lnTo>
                    <a:pt x="5" y="271"/>
                  </a:lnTo>
                  <a:lnTo>
                    <a:pt x="8" y="276"/>
                  </a:lnTo>
                  <a:lnTo>
                    <a:pt x="15" y="281"/>
                  </a:lnTo>
                  <a:lnTo>
                    <a:pt x="23" y="284"/>
                  </a:lnTo>
                  <a:lnTo>
                    <a:pt x="33" y="286"/>
                  </a:lnTo>
                  <a:lnTo>
                    <a:pt x="272" y="284"/>
                  </a:lnTo>
                  <a:lnTo>
                    <a:pt x="282" y="279"/>
                  </a:lnTo>
                  <a:lnTo>
                    <a:pt x="290" y="274"/>
                  </a:lnTo>
                  <a:lnTo>
                    <a:pt x="298" y="268"/>
                  </a:lnTo>
                  <a:lnTo>
                    <a:pt x="305" y="258"/>
                  </a:lnTo>
                  <a:lnTo>
                    <a:pt x="311" y="250"/>
                  </a:lnTo>
                  <a:lnTo>
                    <a:pt x="316" y="240"/>
                  </a:lnTo>
                  <a:lnTo>
                    <a:pt x="321" y="227"/>
                  </a:lnTo>
                  <a:lnTo>
                    <a:pt x="323" y="215"/>
                  </a:lnTo>
                  <a:lnTo>
                    <a:pt x="323" y="207"/>
                  </a:lnTo>
                  <a:close/>
                  <a:moveTo>
                    <a:pt x="200" y="46"/>
                  </a:moveTo>
                  <a:lnTo>
                    <a:pt x="244" y="46"/>
                  </a:lnTo>
                  <a:lnTo>
                    <a:pt x="244" y="115"/>
                  </a:lnTo>
                  <a:lnTo>
                    <a:pt x="200" y="115"/>
                  </a:lnTo>
                  <a:lnTo>
                    <a:pt x="200" y="46"/>
                  </a:lnTo>
                  <a:close/>
                  <a:moveTo>
                    <a:pt x="149" y="161"/>
                  </a:moveTo>
                  <a:lnTo>
                    <a:pt x="151" y="158"/>
                  </a:lnTo>
                  <a:lnTo>
                    <a:pt x="177" y="202"/>
                  </a:lnTo>
                  <a:lnTo>
                    <a:pt x="133" y="202"/>
                  </a:lnTo>
                  <a:lnTo>
                    <a:pt x="136" y="186"/>
                  </a:lnTo>
                  <a:lnTo>
                    <a:pt x="141" y="174"/>
                  </a:lnTo>
                  <a:lnTo>
                    <a:pt x="149" y="161"/>
                  </a:lnTo>
                  <a:close/>
                  <a:moveTo>
                    <a:pt x="80" y="138"/>
                  </a:moveTo>
                  <a:lnTo>
                    <a:pt x="85" y="125"/>
                  </a:lnTo>
                  <a:lnTo>
                    <a:pt x="87" y="112"/>
                  </a:lnTo>
                  <a:lnTo>
                    <a:pt x="87" y="99"/>
                  </a:lnTo>
                  <a:lnTo>
                    <a:pt x="87" y="15"/>
                  </a:lnTo>
                  <a:lnTo>
                    <a:pt x="128" y="15"/>
                  </a:lnTo>
                  <a:lnTo>
                    <a:pt x="131" y="115"/>
                  </a:lnTo>
                  <a:lnTo>
                    <a:pt x="131" y="125"/>
                  </a:lnTo>
                  <a:lnTo>
                    <a:pt x="136" y="138"/>
                  </a:lnTo>
                  <a:lnTo>
                    <a:pt x="141" y="145"/>
                  </a:lnTo>
                  <a:lnTo>
                    <a:pt x="133" y="156"/>
                  </a:lnTo>
                  <a:lnTo>
                    <a:pt x="126" y="171"/>
                  </a:lnTo>
                  <a:lnTo>
                    <a:pt x="123" y="184"/>
                  </a:lnTo>
                  <a:lnTo>
                    <a:pt x="121" y="199"/>
                  </a:lnTo>
                  <a:lnTo>
                    <a:pt x="44" y="199"/>
                  </a:lnTo>
                  <a:lnTo>
                    <a:pt x="80" y="138"/>
                  </a:lnTo>
                  <a:close/>
                  <a:moveTo>
                    <a:pt x="26" y="271"/>
                  </a:moveTo>
                  <a:lnTo>
                    <a:pt x="21" y="266"/>
                  </a:lnTo>
                  <a:lnTo>
                    <a:pt x="15" y="263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45"/>
                  </a:lnTo>
                  <a:lnTo>
                    <a:pt x="18" y="243"/>
                  </a:lnTo>
                  <a:lnTo>
                    <a:pt x="33" y="215"/>
                  </a:lnTo>
                  <a:lnTo>
                    <a:pt x="121" y="215"/>
                  </a:lnTo>
                  <a:lnTo>
                    <a:pt x="123" y="227"/>
                  </a:lnTo>
                  <a:lnTo>
                    <a:pt x="126" y="238"/>
                  </a:lnTo>
                  <a:lnTo>
                    <a:pt x="131" y="245"/>
                  </a:lnTo>
                  <a:lnTo>
                    <a:pt x="136" y="258"/>
                  </a:lnTo>
                  <a:lnTo>
                    <a:pt x="144" y="266"/>
                  </a:lnTo>
                  <a:lnTo>
                    <a:pt x="149" y="271"/>
                  </a:lnTo>
                  <a:lnTo>
                    <a:pt x="26" y="271"/>
                  </a:lnTo>
                  <a:close/>
                  <a:moveTo>
                    <a:pt x="203" y="261"/>
                  </a:moveTo>
                  <a:lnTo>
                    <a:pt x="200" y="266"/>
                  </a:lnTo>
                  <a:lnTo>
                    <a:pt x="195" y="268"/>
                  </a:lnTo>
                  <a:lnTo>
                    <a:pt x="190" y="271"/>
                  </a:lnTo>
                  <a:lnTo>
                    <a:pt x="185" y="271"/>
                  </a:lnTo>
                  <a:lnTo>
                    <a:pt x="180" y="271"/>
                  </a:lnTo>
                  <a:lnTo>
                    <a:pt x="175" y="268"/>
                  </a:lnTo>
                  <a:lnTo>
                    <a:pt x="164" y="266"/>
                  </a:lnTo>
                  <a:lnTo>
                    <a:pt x="157" y="258"/>
                  </a:lnTo>
                  <a:lnTo>
                    <a:pt x="146" y="245"/>
                  </a:lnTo>
                  <a:lnTo>
                    <a:pt x="139" y="230"/>
                  </a:lnTo>
                  <a:lnTo>
                    <a:pt x="133" y="215"/>
                  </a:lnTo>
                  <a:lnTo>
                    <a:pt x="133" y="212"/>
                  </a:lnTo>
                  <a:lnTo>
                    <a:pt x="182" y="212"/>
                  </a:lnTo>
                  <a:lnTo>
                    <a:pt x="203" y="248"/>
                  </a:lnTo>
                  <a:lnTo>
                    <a:pt x="205" y="256"/>
                  </a:lnTo>
                  <a:lnTo>
                    <a:pt x="203" y="261"/>
                  </a:lnTo>
                  <a:close/>
                  <a:moveTo>
                    <a:pt x="308" y="217"/>
                  </a:moveTo>
                  <a:lnTo>
                    <a:pt x="305" y="227"/>
                  </a:lnTo>
                  <a:lnTo>
                    <a:pt x="300" y="240"/>
                  </a:lnTo>
                  <a:lnTo>
                    <a:pt x="293" y="250"/>
                  </a:lnTo>
                  <a:lnTo>
                    <a:pt x="287" y="258"/>
                  </a:lnTo>
                  <a:lnTo>
                    <a:pt x="280" y="263"/>
                  </a:lnTo>
                  <a:lnTo>
                    <a:pt x="272" y="268"/>
                  </a:lnTo>
                  <a:lnTo>
                    <a:pt x="262" y="271"/>
                  </a:lnTo>
                  <a:lnTo>
                    <a:pt x="259" y="271"/>
                  </a:lnTo>
                  <a:lnTo>
                    <a:pt x="208" y="271"/>
                  </a:lnTo>
                  <a:lnTo>
                    <a:pt x="213" y="261"/>
                  </a:lnTo>
                  <a:lnTo>
                    <a:pt x="213" y="256"/>
                  </a:lnTo>
                  <a:lnTo>
                    <a:pt x="213" y="248"/>
                  </a:lnTo>
                  <a:lnTo>
                    <a:pt x="210" y="240"/>
                  </a:lnTo>
                  <a:lnTo>
                    <a:pt x="208" y="235"/>
                  </a:lnTo>
                  <a:lnTo>
                    <a:pt x="157" y="151"/>
                  </a:lnTo>
                  <a:lnTo>
                    <a:pt x="169" y="140"/>
                  </a:lnTo>
                  <a:lnTo>
                    <a:pt x="182" y="133"/>
                  </a:lnTo>
                  <a:lnTo>
                    <a:pt x="192" y="128"/>
                  </a:lnTo>
                  <a:lnTo>
                    <a:pt x="251" y="128"/>
                  </a:lnTo>
                  <a:lnTo>
                    <a:pt x="264" y="133"/>
                  </a:lnTo>
                  <a:lnTo>
                    <a:pt x="272" y="138"/>
                  </a:lnTo>
                  <a:lnTo>
                    <a:pt x="280" y="145"/>
                  </a:lnTo>
                  <a:lnTo>
                    <a:pt x="290" y="153"/>
                  </a:lnTo>
                  <a:lnTo>
                    <a:pt x="298" y="163"/>
                  </a:lnTo>
                  <a:lnTo>
                    <a:pt x="303" y="176"/>
                  </a:lnTo>
                  <a:lnTo>
                    <a:pt x="308" y="192"/>
                  </a:lnTo>
                  <a:lnTo>
                    <a:pt x="308" y="199"/>
                  </a:lnTo>
                  <a:lnTo>
                    <a:pt x="308" y="207"/>
                  </a:lnTo>
                  <a:lnTo>
                    <a:pt x="308" y="2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6" name="Group 281">
            <a:extLst>
              <a:ext uri="{FF2B5EF4-FFF2-40B4-BE49-F238E27FC236}">
                <a16:creationId xmlns:a16="http://schemas.microsoft.com/office/drawing/2014/main" id="{2844A66E-63A5-49CA-80C8-72649F3FC1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3433" y="2860599"/>
            <a:ext cx="758825" cy="758825"/>
            <a:chOff x="5115" y="2001"/>
            <a:chExt cx="478" cy="478"/>
          </a:xfrm>
        </p:grpSpPr>
        <p:sp>
          <p:nvSpPr>
            <p:cNvPr id="307" name="AutoShape 280">
              <a:extLst>
                <a:ext uri="{FF2B5EF4-FFF2-40B4-BE49-F238E27FC236}">
                  <a16:creationId xmlns:a16="http://schemas.microsoft.com/office/drawing/2014/main" id="{6E6C74B9-3BD7-42FC-A926-0BDE1DD16C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15" y="20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82">
              <a:extLst>
                <a:ext uri="{FF2B5EF4-FFF2-40B4-BE49-F238E27FC236}">
                  <a16:creationId xmlns:a16="http://schemas.microsoft.com/office/drawing/2014/main" id="{0A999E2B-DAAB-4DB0-963F-EF6B69F509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7" y="200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283">
              <a:extLst>
                <a:ext uri="{FF2B5EF4-FFF2-40B4-BE49-F238E27FC236}">
                  <a16:creationId xmlns:a16="http://schemas.microsoft.com/office/drawing/2014/main" id="{293360FE-F564-4ABF-BE0B-EE9FA34CB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5" y="2236"/>
              <a:ext cx="30" cy="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84">
              <a:extLst>
                <a:ext uri="{FF2B5EF4-FFF2-40B4-BE49-F238E27FC236}">
                  <a16:creationId xmlns:a16="http://schemas.microsoft.com/office/drawing/2014/main" id="{6B36A58C-C6FA-4140-BDE7-782C84423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9" y="2305"/>
              <a:ext cx="172" cy="51"/>
            </a:xfrm>
            <a:custGeom>
              <a:avLst/>
              <a:gdLst>
                <a:gd name="T0" fmla="*/ 9 w 70"/>
                <a:gd name="T1" fmla="*/ 0 h 21"/>
                <a:gd name="T2" fmla="*/ 2 w 70"/>
                <a:gd name="T3" fmla="*/ 11 h 21"/>
                <a:gd name="T4" fmla="*/ 1 w 70"/>
                <a:gd name="T5" fmla="*/ 11 h 21"/>
                <a:gd name="T6" fmla="*/ 1 w 70"/>
                <a:gd name="T7" fmla="*/ 18 h 21"/>
                <a:gd name="T8" fmla="*/ 8 w 70"/>
                <a:gd name="T9" fmla="*/ 21 h 21"/>
                <a:gd name="T10" fmla="*/ 62 w 70"/>
                <a:gd name="T11" fmla="*/ 21 h 21"/>
                <a:gd name="T12" fmla="*/ 69 w 70"/>
                <a:gd name="T13" fmla="*/ 18 h 21"/>
                <a:gd name="T14" fmla="*/ 69 w 70"/>
                <a:gd name="T15" fmla="*/ 11 h 21"/>
                <a:gd name="T16" fmla="*/ 61 w 70"/>
                <a:gd name="T17" fmla="*/ 0 h 21"/>
                <a:gd name="T18" fmla="*/ 51 w 70"/>
                <a:gd name="T19" fmla="*/ 0 h 21"/>
                <a:gd name="T20" fmla="*/ 60 w 70"/>
                <a:gd name="T21" fmla="*/ 14 h 21"/>
                <a:gd name="T22" fmla="*/ 10 w 70"/>
                <a:gd name="T23" fmla="*/ 14 h 21"/>
                <a:gd name="T24" fmla="*/ 19 w 70"/>
                <a:gd name="T25" fmla="*/ 0 h 21"/>
                <a:gd name="T26" fmla="*/ 9 w 70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21">
                  <a:moveTo>
                    <a:pt x="9" y="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6"/>
                    <a:pt x="1" y="18"/>
                  </a:cubicBezTo>
                  <a:cubicBezTo>
                    <a:pt x="3" y="20"/>
                    <a:pt x="5" y="21"/>
                    <a:pt x="8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7" y="20"/>
                    <a:pt x="69" y="18"/>
                  </a:cubicBezTo>
                  <a:cubicBezTo>
                    <a:pt x="70" y="16"/>
                    <a:pt x="70" y="14"/>
                    <a:pt x="69" y="1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Oval 285">
              <a:extLst>
                <a:ext uri="{FF2B5EF4-FFF2-40B4-BE49-F238E27FC236}">
                  <a16:creationId xmlns:a16="http://schemas.microsoft.com/office/drawing/2014/main" id="{29BBA5B7-BE0C-4EBE-8025-A7F7355BDE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1" y="2280"/>
              <a:ext cx="29" cy="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86">
              <a:extLst>
                <a:ext uri="{FF2B5EF4-FFF2-40B4-BE49-F238E27FC236}">
                  <a16:creationId xmlns:a16="http://schemas.microsoft.com/office/drawing/2014/main" id="{26598054-0595-40C5-A628-7520616C8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" y="2099"/>
              <a:ext cx="245" cy="284"/>
            </a:xfrm>
            <a:custGeom>
              <a:avLst/>
              <a:gdLst>
                <a:gd name="T0" fmla="*/ 2 w 100"/>
                <a:gd name="T1" fmla="*/ 111 h 116"/>
                <a:gd name="T2" fmla="*/ 14 w 100"/>
                <a:gd name="T3" fmla="*/ 116 h 116"/>
                <a:gd name="T4" fmla="*/ 86 w 100"/>
                <a:gd name="T5" fmla="*/ 116 h 116"/>
                <a:gd name="T6" fmla="*/ 98 w 100"/>
                <a:gd name="T7" fmla="*/ 111 h 116"/>
                <a:gd name="T8" fmla="*/ 98 w 100"/>
                <a:gd name="T9" fmla="*/ 97 h 116"/>
                <a:gd name="T10" fmla="*/ 72 w 100"/>
                <a:gd name="T11" fmla="*/ 56 h 116"/>
                <a:gd name="T12" fmla="*/ 72 w 100"/>
                <a:gd name="T13" fmla="*/ 21 h 116"/>
                <a:gd name="T14" fmla="*/ 79 w 100"/>
                <a:gd name="T15" fmla="*/ 21 h 116"/>
                <a:gd name="T16" fmla="*/ 89 w 100"/>
                <a:gd name="T17" fmla="*/ 10 h 116"/>
                <a:gd name="T18" fmla="*/ 79 w 100"/>
                <a:gd name="T19" fmla="*/ 0 h 116"/>
                <a:gd name="T20" fmla="*/ 21 w 100"/>
                <a:gd name="T21" fmla="*/ 0 h 116"/>
                <a:gd name="T22" fmla="*/ 11 w 100"/>
                <a:gd name="T23" fmla="*/ 10 h 116"/>
                <a:gd name="T24" fmla="*/ 21 w 100"/>
                <a:gd name="T25" fmla="*/ 21 h 116"/>
                <a:gd name="T26" fmla="*/ 28 w 100"/>
                <a:gd name="T27" fmla="*/ 21 h 116"/>
                <a:gd name="T28" fmla="*/ 28 w 100"/>
                <a:gd name="T29" fmla="*/ 56 h 116"/>
                <a:gd name="T30" fmla="*/ 2 w 100"/>
                <a:gd name="T31" fmla="*/ 97 h 116"/>
                <a:gd name="T32" fmla="*/ 2 w 100"/>
                <a:gd name="T33" fmla="*/ 111 h 116"/>
                <a:gd name="T34" fmla="*/ 21 w 100"/>
                <a:gd name="T35" fmla="*/ 16 h 116"/>
                <a:gd name="T36" fmla="*/ 17 w 100"/>
                <a:gd name="T37" fmla="*/ 10 h 116"/>
                <a:gd name="T38" fmla="*/ 21 w 100"/>
                <a:gd name="T39" fmla="*/ 5 h 116"/>
                <a:gd name="T40" fmla="*/ 79 w 100"/>
                <a:gd name="T41" fmla="*/ 5 h 116"/>
                <a:gd name="T42" fmla="*/ 83 w 100"/>
                <a:gd name="T43" fmla="*/ 10 h 116"/>
                <a:gd name="T44" fmla="*/ 79 w 100"/>
                <a:gd name="T45" fmla="*/ 16 h 116"/>
                <a:gd name="T46" fmla="*/ 21 w 100"/>
                <a:gd name="T47" fmla="*/ 16 h 116"/>
                <a:gd name="T48" fmla="*/ 7 w 100"/>
                <a:gd name="T49" fmla="*/ 100 h 116"/>
                <a:gd name="T50" fmla="*/ 34 w 100"/>
                <a:gd name="T51" fmla="*/ 58 h 116"/>
                <a:gd name="T52" fmla="*/ 34 w 100"/>
                <a:gd name="T53" fmla="*/ 21 h 116"/>
                <a:gd name="T54" fmla="*/ 66 w 100"/>
                <a:gd name="T55" fmla="*/ 21 h 116"/>
                <a:gd name="T56" fmla="*/ 66 w 100"/>
                <a:gd name="T57" fmla="*/ 58 h 116"/>
                <a:gd name="T58" fmla="*/ 93 w 100"/>
                <a:gd name="T59" fmla="*/ 100 h 116"/>
                <a:gd name="T60" fmla="*/ 93 w 100"/>
                <a:gd name="T61" fmla="*/ 108 h 116"/>
                <a:gd name="T62" fmla="*/ 86 w 100"/>
                <a:gd name="T63" fmla="*/ 111 h 116"/>
                <a:gd name="T64" fmla="*/ 14 w 100"/>
                <a:gd name="T65" fmla="*/ 111 h 116"/>
                <a:gd name="T66" fmla="*/ 7 w 100"/>
                <a:gd name="T67" fmla="*/ 108 h 116"/>
                <a:gd name="T68" fmla="*/ 7 w 100"/>
                <a:gd name="T69" fmla="*/ 10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0" h="116">
                  <a:moveTo>
                    <a:pt x="2" y="111"/>
                  </a:moveTo>
                  <a:cubicBezTo>
                    <a:pt x="4" y="114"/>
                    <a:pt x="9" y="116"/>
                    <a:pt x="14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91" y="116"/>
                    <a:pt x="96" y="114"/>
                    <a:pt x="98" y="111"/>
                  </a:cubicBezTo>
                  <a:cubicBezTo>
                    <a:pt x="100" y="107"/>
                    <a:pt x="100" y="102"/>
                    <a:pt x="98" y="97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84" y="21"/>
                    <a:pt x="89" y="16"/>
                    <a:pt x="89" y="10"/>
                  </a:cubicBezTo>
                  <a:cubicBezTo>
                    <a:pt x="89" y="4"/>
                    <a:pt x="84" y="0"/>
                    <a:pt x="79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1" y="4"/>
                    <a:pt x="11" y="10"/>
                  </a:cubicBezTo>
                  <a:cubicBezTo>
                    <a:pt x="11" y="16"/>
                    <a:pt x="16" y="21"/>
                    <a:pt x="21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2"/>
                    <a:pt x="0" y="107"/>
                    <a:pt x="2" y="111"/>
                  </a:cubicBezTo>
                  <a:close/>
                  <a:moveTo>
                    <a:pt x="21" y="16"/>
                  </a:moveTo>
                  <a:cubicBezTo>
                    <a:pt x="18" y="16"/>
                    <a:pt x="17" y="13"/>
                    <a:pt x="17" y="10"/>
                  </a:cubicBezTo>
                  <a:cubicBezTo>
                    <a:pt x="17" y="7"/>
                    <a:pt x="18" y="5"/>
                    <a:pt x="21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82" y="5"/>
                    <a:pt x="83" y="7"/>
                    <a:pt x="83" y="10"/>
                  </a:cubicBezTo>
                  <a:cubicBezTo>
                    <a:pt x="83" y="13"/>
                    <a:pt x="82" y="16"/>
                    <a:pt x="79" y="16"/>
                  </a:cubicBezTo>
                  <a:lnTo>
                    <a:pt x="21" y="16"/>
                  </a:lnTo>
                  <a:close/>
                  <a:moveTo>
                    <a:pt x="7" y="100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5" y="103"/>
                    <a:pt x="95" y="106"/>
                    <a:pt x="93" y="108"/>
                  </a:cubicBezTo>
                  <a:cubicBezTo>
                    <a:pt x="92" y="110"/>
                    <a:pt x="90" y="111"/>
                    <a:pt x="86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0" y="111"/>
                    <a:pt x="8" y="110"/>
                    <a:pt x="7" y="108"/>
                  </a:cubicBezTo>
                  <a:cubicBezTo>
                    <a:pt x="5" y="106"/>
                    <a:pt x="5" y="103"/>
                    <a:pt x="7" y="10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3" name="Group 289">
            <a:extLst>
              <a:ext uri="{FF2B5EF4-FFF2-40B4-BE49-F238E27FC236}">
                <a16:creationId xmlns:a16="http://schemas.microsoft.com/office/drawing/2014/main" id="{0579613C-6022-4A71-A7B7-83D90127CD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2080" y="2819324"/>
            <a:ext cx="842962" cy="841375"/>
            <a:chOff x="4347" y="1844"/>
            <a:chExt cx="531" cy="530"/>
          </a:xfrm>
        </p:grpSpPr>
        <p:sp>
          <p:nvSpPr>
            <p:cNvPr id="314" name="AutoShape 288">
              <a:extLst>
                <a:ext uri="{FF2B5EF4-FFF2-40B4-BE49-F238E27FC236}">
                  <a16:creationId xmlns:a16="http://schemas.microsoft.com/office/drawing/2014/main" id="{D7BF3A3E-6BC6-4B74-9E5B-D5DBF9EBB3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7" y="1844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Oval 290">
              <a:extLst>
                <a:ext uri="{FF2B5EF4-FFF2-40B4-BE49-F238E27FC236}">
                  <a16:creationId xmlns:a16="http://schemas.microsoft.com/office/drawing/2014/main" id="{7E53A7BB-DD7C-49C4-A3C9-71E4DBD7B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7" y="184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91">
              <a:extLst>
                <a:ext uri="{FF2B5EF4-FFF2-40B4-BE49-F238E27FC236}">
                  <a16:creationId xmlns:a16="http://schemas.microsoft.com/office/drawing/2014/main" id="{BB5ADAC7-40B6-4502-BC71-B0F646E81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5" y="1862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292">
              <a:extLst>
                <a:ext uri="{FF2B5EF4-FFF2-40B4-BE49-F238E27FC236}">
                  <a16:creationId xmlns:a16="http://schemas.microsoft.com/office/drawing/2014/main" id="{5972F645-6F5A-4C05-886C-427CA42B5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2105"/>
              <a:ext cx="31" cy="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93">
              <a:extLst>
                <a:ext uri="{FF2B5EF4-FFF2-40B4-BE49-F238E27FC236}">
                  <a16:creationId xmlns:a16="http://schemas.microsoft.com/office/drawing/2014/main" id="{7B3776F4-635A-40CB-BF64-30003872F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" y="2177"/>
              <a:ext cx="179" cy="54"/>
            </a:xfrm>
            <a:custGeom>
              <a:avLst/>
              <a:gdLst>
                <a:gd name="T0" fmla="*/ 9 w 70"/>
                <a:gd name="T1" fmla="*/ 0 h 21"/>
                <a:gd name="T2" fmla="*/ 2 w 70"/>
                <a:gd name="T3" fmla="*/ 11 h 21"/>
                <a:gd name="T4" fmla="*/ 1 w 70"/>
                <a:gd name="T5" fmla="*/ 11 h 21"/>
                <a:gd name="T6" fmla="*/ 1 w 70"/>
                <a:gd name="T7" fmla="*/ 18 h 21"/>
                <a:gd name="T8" fmla="*/ 8 w 70"/>
                <a:gd name="T9" fmla="*/ 21 h 21"/>
                <a:gd name="T10" fmla="*/ 62 w 70"/>
                <a:gd name="T11" fmla="*/ 21 h 21"/>
                <a:gd name="T12" fmla="*/ 69 w 70"/>
                <a:gd name="T13" fmla="*/ 18 h 21"/>
                <a:gd name="T14" fmla="*/ 69 w 70"/>
                <a:gd name="T15" fmla="*/ 11 h 21"/>
                <a:gd name="T16" fmla="*/ 61 w 70"/>
                <a:gd name="T17" fmla="*/ 0 h 21"/>
                <a:gd name="T18" fmla="*/ 51 w 70"/>
                <a:gd name="T19" fmla="*/ 0 h 21"/>
                <a:gd name="T20" fmla="*/ 60 w 70"/>
                <a:gd name="T21" fmla="*/ 14 h 21"/>
                <a:gd name="T22" fmla="*/ 10 w 70"/>
                <a:gd name="T23" fmla="*/ 14 h 21"/>
                <a:gd name="T24" fmla="*/ 19 w 70"/>
                <a:gd name="T25" fmla="*/ 0 h 21"/>
                <a:gd name="T26" fmla="*/ 9 w 70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21">
                  <a:moveTo>
                    <a:pt x="9" y="0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4"/>
                    <a:pt x="0" y="16"/>
                    <a:pt x="1" y="18"/>
                  </a:cubicBezTo>
                  <a:cubicBezTo>
                    <a:pt x="3" y="20"/>
                    <a:pt x="5" y="21"/>
                    <a:pt x="8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7" y="20"/>
                    <a:pt x="69" y="18"/>
                  </a:cubicBezTo>
                  <a:cubicBezTo>
                    <a:pt x="70" y="16"/>
                    <a:pt x="70" y="14"/>
                    <a:pt x="69" y="1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Oval 294">
              <a:extLst>
                <a:ext uri="{FF2B5EF4-FFF2-40B4-BE49-F238E27FC236}">
                  <a16:creationId xmlns:a16="http://schemas.microsoft.com/office/drawing/2014/main" id="{16B3EECF-0D69-4C1C-860A-2D8244E1A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8" y="2151"/>
              <a:ext cx="31" cy="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95">
              <a:extLst>
                <a:ext uri="{FF2B5EF4-FFF2-40B4-BE49-F238E27FC236}">
                  <a16:creationId xmlns:a16="http://schemas.microsoft.com/office/drawing/2014/main" id="{FB24DF7D-DA59-478B-A113-CE464188E9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5" y="1962"/>
              <a:ext cx="257" cy="297"/>
            </a:xfrm>
            <a:custGeom>
              <a:avLst/>
              <a:gdLst>
                <a:gd name="T0" fmla="*/ 2 w 100"/>
                <a:gd name="T1" fmla="*/ 111 h 116"/>
                <a:gd name="T2" fmla="*/ 14 w 100"/>
                <a:gd name="T3" fmla="*/ 116 h 116"/>
                <a:gd name="T4" fmla="*/ 86 w 100"/>
                <a:gd name="T5" fmla="*/ 116 h 116"/>
                <a:gd name="T6" fmla="*/ 98 w 100"/>
                <a:gd name="T7" fmla="*/ 111 h 116"/>
                <a:gd name="T8" fmla="*/ 98 w 100"/>
                <a:gd name="T9" fmla="*/ 97 h 116"/>
                <a:gd name="T10" fmla="*/ 72 w 100"/>
                <a:gd name="T11" fmla="*/ 56 h 116"/>
                <a:gd name="T12" fmla="*/ 72 w 100"/>
                <a:gd name="T13" fmla="*/ 21 h 116"/>
                <a:gd name="T14" fmla="*/ 79 w 100"/>
                <a:gd name="T15" fmla="*/ 21 h 116"/>
                <a:gd name="T16" fmla="*/ 89 w 100"/>
                <a:gd name="T17" fmla="*/ 10 h 116"/>
                <a:gd name="T18" fmla="*/ 79 w 100"/>
                <a:gd name="T19" fmla="*/ 0 h 116"/>
                <a:gd name="T20" fmla="*/ 21 w 100"/>
                <a:gd name="T21" fmla="*/ 0 h 116"/>
                <a:gd name="T22" fmla="*/ 11 w 100"/>
                <a:gd name="T23" fmla="*/ 10 h 116"/>
                <a:gd name="T24" fmla="*/ 21 w 100"/>
                <a:gd name="T25" fmla="*/ 21 h 116"/>
                <a:gd name="T26" fmla="*/ 28 w 100"/>
                <a:gd name="T27" fmla="*/ 21 h 116"/>
                <a:gd name="T28" fmla="*/ 28 w 100"/>
                <a:gd name="T29" fmla="*/ 56 h 116"/>
                <a:gd name="T30" fmla="*/ 2 w 100"/>
                <a:gd name="T31" fmla="*/ 97 h 116"/>
                <a:gd name="T32" fmla="*/ 2 w 100"/>
                <a:gd name="T33" fmla="*/ 111 h 116"/>
                <a:gd name="T34" fmla="*/ 21 w 100"/>
                <a:gd name="T35" fmla="*/ 16 h 116"/>
                <a:gd name="T36" fmla="*/ 17 w 100"/>
                <a:gd name="T37" fmla="*/ 10 h 116"/>
                <a:gd name="T38" fmla="*/ 21 w 100"/>
                <a:gd name="T39" fmla="*/ 5 h 116"/>
                <a:gd name="T40" fmla="*/ 79 w 100"/>
                <a:gd name="T41" fmla="*/ 5 h 116"/>
                <a:gd name="T42" fmla="*/ 83 w 100"/>
                <a:gd name="T43" fmla="*/ 10 h 116"/>
                <a:gd name="T44" fmla="*/ 79 w 100"/>
                <a:gd name="T45" fmla="*/ 16 h 116"/>
                <a:gd name="T46" fmla="*/ 21 w 100"/>
                <a:gd name="T47" fmla="*/ 16 h 116"/>
                <a:gd name="T48" fmla="*/ 7 w 100"/>
                <a:gd name="T49" fmla="*/ 100 h 116"/>
                <a:gd name="T50" fmla="*/ 34 w 100"/>
                <a:gd name="T51" fmla="*/ 58 h 116"/>
                <a:gd name="T52" fmla="*/ 34 w 100"/>
                <a:gd name="T53" fmla="*/ 21 h 116"/>
                <a:gd name="T54" fmla="*/ 66 w 100"/>
                <a:gd name="T55" fmla="*/ 21 h 116"/>
                <a:gd name="T56" fmla="*/ 66 w 100"/>
                <a:gd name="T57" fmla="*/ 58 h 116"/>
                <a:gd name="T58" fmla="*/ 93 w 100"/>
                <a:gd name="T59" fmla="*/ 100 h 116"/>
                <a:gd name="T60" fmla="*/ 93 w 100"/>
                <a:gd name="T61" fmla="*/ 108 h 116"/>
                <a:gd name="T62" fmla="*/ 86 w 100"/>
                <a:gd name="T63" fmla="*/ 111 h 116"/>
                <a:gd name="T64" fmla="*/ 14 w 100"/>
                <a:gd name="T65" fmla="*/ 111 h 116"/>
                <a:gd name="T66" fmla="*/ 7 w 100"/>
                <a:gd name="T67" fmla="*/ 108 h 116"/>
                <a:gd name="T68" fmla="*/ 7 w 100"/>
                <a:gd name="T69" fmla="*/ 10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0" h="116">
                  <a:moveTo>
                    <a:pt x="2" y="111"/>
                  </a:moveTo>
                  <a:cubicBezTo>
                    <a:pt x="4" y="114"/>
                    <a:pt x="9" y="116"/>
                    <a:pt x="14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91" y="116"/>
                    <a:pt x="96" y="114"/>
                    <a:pt x="98" y="111"/>
                  </a:cubicBezTo>
                  <a:cubicBezTo>
                    <a:pt x="100" y="107"/>
                    <a:pt x="100" y="102"/>
                    <a:pt x="98" y="97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84" y="21"/>
                    <a:pt x="89" y="16"/>
                    <a:pt x="89" y="10"/>
                  </a:cubicBezTo>
                  <a:cubicBezTo>
                    <a:pt x="89" y="4"/>
                    <a:pt x="84" y="0"/>
                    <a:pt x="79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1" y="4"/>
                    <a:pt x="11" y="10"/>
                  </a:cubicBezTo>
                  <a:cubicBezTo>
                    <a:pt x="11" y="16"/>
                    <a:pt x="16" y="21"/>
                    <a:pt x="21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2"/>
                    <a:pt x="0" y="107"/>
                    <a:pt x="2" y="111"/>
                  </a:cubicBezTo>
                  <a:close/>
                  <a:moveTo>
                    <a:pt x="21" y="16"/>
                  </a:moveTo>
                  <a:cubicBezTo>
                    <a:pt x="18" y="16"/>
                    <a:pt x="17" y="13"/>
                    <a:pt x="17" y="10"/>
                  </a:cubicBezTo>
                  <a:cubicBezTo>
                    <a:pt x="17" y="7"/>
                    <a:pt x="18" y="5"/>
                    <a:pt x="21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82" y="5"/>
                    <a:pt x="83" y="7"/>
                    <a:pt x="83" y="10"/>
                  </a:cubicBezTo>
                  <a:cubicBezTo>
                    <a:pt x="83" y="13"/>
                    <a:pt x="82" y="16"/>
                    <a:pt x="79" y="16"/>
                  </a:cubicBezTo>
                  <a:lnTo>
                    <a:pt x="21" y="16"/>
                  </a:lnTo>
                  <a:close/>
                  <a:moveTo>
                    <a:pt x="7" y="100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5" y="103"/>
                    <a:pt x="95" y="106"/>
                    <a:pt x="93" y="108"/>
                  </a:cubicBezTo>
                  <a:cubicBezTo>
                    <a:pt x="92" y="110"/>
                    <a:pt x="90" y="111"/>
                    <a:pt x="86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0" y="111"/>
                    <a:pt x="8" y="110"/>
                    <a:pt x="7" y="108"/>
                  </a:cubicBezTo>
                  <a:cubicBezTo>
                    <a:pt x="5" y="106"/>
                    <a:pt x="5" y="103"/>
                    <a:pt x="7" y="1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5" name="Group 298">
            <a:extLst>
              <a:ext uri="{FF2B5EF4-FFF2-40B4-BE49-F238E27FC236}">
                <a16:creationId xmlns:a16="http://schemas.microsoft.com/office/drawing/2014/main" id="{3323DCC8-8694-4C7E-B651-1D39A65764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6363" y="4147041"/>
            <a:ext cx="758825" cy="758825"/>
            <a:chOff x="974" y="2746"/>
            <a:chExt cx="478" cy="478"/>
          </a:xfrm>
        </p:grpSpPr>
        <p:sp>
          <p:nvSpPr>
            <p:cNvPr id="326" name="AutoShape 297">
              <a:extLst>
                <a:ext uri="{FF2B5EF4-FFF2-40B4-BE49-F238E27FC236}">
                  <a16:creationId xmlns:a16="http://schemas.microsoft.com/office/drawing/2014/main" id="{028A7B2A-76AB-4AA9-AFE4-6B2535BD6CD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4" y="274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99">
              <a:extLst>
                <a:ext uri="{FF2B5EF4-FFF2-40B4-BE49-F238E27FC236}">
                  <a16:creationId xmlns:a16="http://schemas.microsoft.com/office/drawing/2014/main" id="{9A24790D-A809-486C-AE17-CFB6E77D1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6" y="274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00">
              <a:extLst>
                <a:ext uri="{FF2B5EF4-FFF2-40B4-BE49-F238E27FC236}">
                  <a16:creationId xmlns:a16="http://schemas.microsoft.com/office/drawing/2014/main" id="{D7A927FB-A840-42F6-9F7D-DD4995B06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" y="3001"/>
              <a:ext cx="155" cy="142"/>
            </a:xfrm>
            <a:custGeom>
              <a:avLst/>
              <a:gdLst>
                <a:gd name="T0" fmla="*/ 7 w 63"/>
                <a:gd name="T1" fmla="*/ 49 h 58"/>
                <a:gd name="T2" fmla="*/ 63 w 63"/>
                <a:gd name="T3" fmla="*/ 49 h 58"/>
                <a:gd name="T4" fmla="*/ 62 w 63"/>
                <a:gd name="T5" fmla="*/ 43 h 58"/>
                <a:gd name="T6" fmla="*/ 7 w 63"/>
                <a:gd name="T7" fmla="*/ 43 h 58"/>
                <a:gd name="T8" fmla="*/ 8 w 63"/>
                <a:gd name="T9" fmla="*/ 42 h 58"/>
                <a:gd name="T10" fmla="*/ 9 w 63"/>
                <a:gd name="T11" fmla="*/ 34 h 58"/>
                <a:gd name="T12" fmla="*/ 10 w 63"/>
                <a:gd name="T13" fmla="*/ 33 h 58"/>
                <a:gd name="T14" fmla="*/ 11 w 63"/>
                <a:gd name="T15" fmla="*/ 33 h 58"/>
                <a:gd name="T16" fmla="*/ 12 w 63"/>
                <a:gd name="T17" fmla="*/ 33 h 58"/>
                <a:gd name="T18" fmla="*/ 59 w 63"/>
                <a:gd name="T19" fmla="*/ 33 h 58"/>
                <a:gd name="T20" fmla="*/ 55 w 63"/>
                <a:gd name="T21" fmla="*/ 27 h 58"/>
                <a:gd name="T22" fmla="*/ 12 w 63"/>
                <a:gd name="T23" fmla="*/ 27 h 58"/>
                <a:gd name="T24" fmla="*/ 13 w 63"/>
                <a:gd name="T25" fmla="*/ 26 h 58"/>
                <a:gd name="T26" fmla="*/ 17 w 63"/>
                <a:gd name="T27" fmla="*/ 18 h 58"/>
                <a:gd name="T28" fmla="*/ 17 w 63"/>
                <a:gd name="T29" fmla="*/ 18 h 58"/>
                <a:gd name="T30" fmla="*/ 48 w 63"/>
                <a:gd name="T31" fmla="*/ 18 h 58"/>
                <a:gd name="T32" fmla="*/ 42 w 63"/>
                <a:gd name="T33" fmla="*/ 12 h 58"/>
                <a:gd name="T34" fmla="*/ 22 w 63"/>
                <a:gd name="T35" fmla="*/ 12 h 58"/>
                <a:gd name="T36" fmla="*/ 24 w 63"/>
                <a:gd name="T37" fmla="*/ 9 h 58"/>
                <a:gd name="T38" fmla="*/ 31 w 63"/>
                <a:gd name="T39" fmla="*/ 4 h 58"/>
                <a:gd name="T40" fmla="*/ 26 w 63"/>
                <a:gd name="T41" fmla="*/ 0 h 58"/>
                <a:gd name="T42" fmla="*/ 14 w 63"/>
                <a:gd name="T43" fmla="*/ 12 h 58"/>
                <a:gd name="T44" fmla="*/ 13 w 63"/>
                <a:gd name="T45" fmla="*/ 13 h 58"/>
                <a:gd name="T46" fmla="*/ 1 w 63"/>
                <a:gd name="T47" fmla="*/ 55 h 58"/>
                <a:gd name="T48" fmla="*/ 4 w 63"/>
                <a:gd name="T49" fmla="*/ 58 h 58"/>
                <a:gd name="T50" fmla="*/ 7 w 63"/>
                <a:gd name="T51" fmla="*/ 54 h 58"/>
                <a:gd name="T52" fmla="*/ 7 w 63"/>
                <a:gd name="T53" fmla="*/ 54 h 58"/>
                <a:gd name="T54" fmla="*/ 7 w 63"/>
                <a:gd name="T55" fmla="*/ 50 h 58"/>
                <a:gd name="T56" fmla="*/ 7 w 63"/>
                <a:gd name="T57" fmla="*/ 4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" h="58">
                  <a:moveTo>
                    <a:pt x="7" y="49"/>
                  </a:moveTo>
                  <a:cubicBezTo>
                    <a:pt x="63" y="49"/>
                    <a:pt x="63" y="49"/>
                    <a:pt x="63" y="49"/>
                  </a:cubicBezTo>
                  <a:cubicBezTo>
                    <a:pt x="63" y="47"/>
                    <a:pt x="62" y="45"/>
                    <a:pt x="62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39"/>
                    <a:pt x="9" y="37"/>
                    <a:pt x="9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2" y="33"/>
                    <a:pt x="12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1"/>
                    <a:pt x="57" y="29"/>
                    <a:pt x="55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3"/>
                    <a:pt x="16" y="20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6" y="15"/>
                    <a:pt x="44" y="13"/>
                    <a:pt x="4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7" y="8"/>
                    <a:pt x="29" y="6"/>
                    <a:pt x="31" y="4"/>
                  </a:cubicBezTo>
                  <a:cubicBezTo>
                    <a:pt x="30" y="3"/>
                    <a:pt x="28" y="2"/>
                    <a:pt x="26" y="0"/>
                  </a:cubicBezTo>
                  <a:cubicBezTo>
                    <a:pt x="22" y="4"/>
                    <a:pt x="18" y="8"/>
                    <a:pt x="14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0" y="32"/>
                    <a:pt x="1" y="53"/>
                    <a:pt x="1" y="55"/>
                  </a:cubicBezTo>
                  <a:cubicBezTo>
                    <a:pt x="1" y="56"/>
                    <a:pt x="2" y="58"/>
                    <a:pt x="4" y="58"/>
                  </a:cubicBezTo>
                  <a:cubicBezTo>
                    <a:pt x="6" y="58"/>
                    <a:pt x="7" y="56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2"/>
                    <a:pt x="7" y="50"/>
                  </a:cubicBezTo>
                  <a:lnTo>
                    <a:pt x="7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01">
              <a:extLst>
                <a:ext uri="{FF2B5EF4-FFF2-40B4-BE49-F238E27FC236}">
                  <a16:creationId xmlns:a16="http://schemas.microsoft.com/office/drawing/2014/main" id="{0F70D91B-27F8-4BA0-8CB0-F35A3BCB8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2829"/>
              <a:ext cx="152" cy="145"/>
            </a:xfrm>
            <a:custGeom>
              <a:avLst/>
              <a:gdLst>
                <a:gd name="T0" fmla="*/ 59 w 62"/>
                <a:gd name="T1" fmla="*/ 0 h 59"/>
                <a:gd name="T2" fmla="*/ 56 w 62"/>
                <a:gd name="T3" fmla="*/ 3 h 59"/>
                <a:gd name="T4" fmla="*/ 56 w 62"/>
                <a:gd name="T5" fmla="*/ 9 h 59"/>
                <a:gd name="T6" fmla="*/ 56 w 62"/>
                <a:gd name="T7" fmla="*/ 10 h 59"/>
                <a:gd name="T8" fmla="*/ 55 w 62"/>
                <a:gd name="T9" fmla="*/ 10 h 59"/>
                <a:gd name="T10" fmla="*/ 0 w 62"/>
                <a:gd name="T11" fmla="*/ 10 h 59"/>
                <a:gd name="T12" fmla="*/ 1 w 62"/>
                <a:gd name="T13" fmla="*/ 16 h 59"/>
                <a:gd name="T14" fmla="*/ 56 w 62"/>
                <a:gd name="T15" fmla="*/ 16 h 59"/>
                <a:gd name="T16" fmla="*/ 56 w 62"/>
                <a:gd name="T17" fmla="*/ 17 h 59"/>
                <a:gd name="T18" fmla="*/ 54 w 62"/>
                <a:gd name="T19" fmla="*/ 25 h 59"/>
                <a:gd name="T20" fmla="*/ 54 w 62"/>
                <a:gd name="T21" fmla="*/ 26 h 59"/>
                <a:gd name="T22" fmla="*/ 5 w 62"/>
                <a:gd name="T23" fmla="*/ 26 h 59"/>
                <a:gd name="T24" fmla="*/ 8 w 62"/>
                <a:gd name="T25" fmla="*/ 32 h 59"/>
                <a:gd name="T26" fmla="*/ 53 w 62"/>
                <a:gd name="T27" fmla="*/ 32 h 59"/>
                <a:gd name="T28" fmla="*/ 52 w 62"/>
                <a:gd name="T29" fmla="*/ 33 h 59"/>
                <a:gd name="T30" fmla="*/ 48 w 62"/>
                <a:gd name="T31" fmla="*/ 41 h 59"/>
                <a:gd name="T32" fmla="*/ 48 w 62"/>
                <a:gd name="T33" fmla="*/ 42 h 59"/>
                <a:gd name="T34" fmla="*/ 16 w 62"/>
                <a:gd name="T35" fmla="*/ 42 h 59"/>
                <a:gd name="T36" fmla="*/ 23 w 62"/>
                <a:gd name="T37" fmla="*/ 48 h 59"/>
                <a:gd name="T38" fmla="*/ 44 w 62"/>
                <a:gd name="T39" fmla="*/ 48 h 59"/>
                <a:gd name="T40" fmla="*/ 42 w 62"/>
                <a:gd name="T41" fmla="*/ 50 h 59"/>
                <a:gd name="T42" fmla="*/ 35 w 62"/>
                <a:gd name="T43" fmla="*/ 55 h 59"/>
                <a:gd name="T44" fmla="*/ 40 w 62"/>
                <a:gd name="T45" fmla="*/ 59 h 59"/>
                <a:gd name="T46" fmla="*/ 62 w 62"/>
                <a:gd name="T47" fmla="*/ 3 h 59"/>
                <a:gd name="T48" fmla="*/ 59 w 62"/>
                <a:gd name="T4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59">
                  <a:moveTo>
                    <a:pt x="59" y="0"/>
                  </a:moveTo>
                  <a:cubicBezTo>
                    <a:pt x="58" y="0"/>
                    <a:pt x="56" y="2"/>
                    <a:pt x="56" y="3"/>
                  </a:cubicBezTo>
                  <a:cubicBezTo>
                    <a:pt x="56" y="5"/>
                    <a:pt x="56" y="7"/>
                    <a:pt x="56" y="9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5" y="20"/>
                    <a:pt x="55" y="22"/>
                    <a:pt x="54" y="25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8"/>
                    <a:pt x="7" y="30"/>
                    <a:pt x="8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6"/>
                    <a:pt x="50" y="39"/>
                    <a:pt x="48" y="4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8" y="44"/>
                    <a:pt x="21" y="46"/>
                    <a:pt x="23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0" y="52"/>
                    <a:pt x="38" y="54"/>
                    <a:pt x="35" y="55"/>
                  </a:cubicBezTo>
                  <a:cubicBezTo>
                    <a:pt x="37" y="57"/>
                    <a:pt x="39" y="58"/>
                    <a:pt x="40" y="59"/>
                  </a:cubicBezTo>
                  <a:cubicBezTo>
                    <a:pt x="62" y="42"/>
                    <a:pt x="62" y="16"/>
                    <a:pt x="62" y="3"/>
                  </a:cubicBezTo>
                  <a:cubicBezTo>
                    <a:pt x="62" y="2"/>
                    <a:pt x="61" y="0"/>
                    <a:pt x="59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02">
              <a:extLst>
                <a:ext uri="{FF2B5EF4-FFF2-40B4-BE49-F238E27FC236}">
                  <a16:creationId xmlns:a16="http://schemas.microsoft.com/office/drawing/2014/main" id="{BBA6BFE6-F6FD-4232-B016-6EB28BF3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" y="2829"/>
              <a:ext cx="191" cy="314"/>
            </a:xfrm>
            <a:custGeom>
              <a:avLst/>
              <a:gdLst>
                <a:gd name="T0" fmla="*/ 72 w 78"/>
                <a:gd name="T1" fmla="*/ 125 h 128"/>
                <a:gd name="T2" fmla="*/ 75 w 78"/>
                <a:gd name="T3" fmla="*/ 128 h 128"/>
                <a:gd name="T4" fmla="*/ 76 w 78"/>
                <a:gd name="T5" fmla="*/ 128 h 128"/>
                <a:gd name="T6" fmla="*/ 78 w 78"/>
                <a:gd name="T7" fmla="*/ 124 h 128"/>
                <a:gd name="T8" fmla="*/ 39 w 78"/>
                <a:gd name="T9" fmla="*/ 60 h 128"/>
                <a:gd name="T10" fmla="*/ 6 w 78"/>
                <a:gd name="T11" fmla="*/ 3 h 128"/>
                <a:gd name="T12" fmla="*/ 3 w 78"/>
                <a:gd name="T13" fmla="*/ 0 h 128"/>
                <a:gd name="T14" fmla="*/ 0 w 78"/>
                <a:gd name="T15" fmla="*/ 3 h 128"/>
                <a:gd name="T16" fmla="*/ 36 w 78"/>
                <a:gd name="T17" fmla="*/ 65 h 128"/>
                <a:gd name="T18" fmla="*/ 72 w 78"/>
                <a:gd name="T19" fmla="*/ 12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128">
                  <a:moveTo>
                    <a:pt x="72" y="125"/>
                  </a:moveTo>
                  <a:cubicBezTo>
                    <a:pt x="73" y="126"/>
                    <a:pt x="74" y="128"/>
                    <a:pt x="75" y="128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7" y="127"/>
                    <a:pt x="78" y="126"/>
                    <a:pt x="78" y="124"/>
                  </a:cubicBezTo>
                  <a:cubicBezTo>
                    <a:pt x="77" y="107"/>
                    <a:pt x="71" y="81"/>
                    <a:pt x="39" y="60"/>
                  </a:cubicBezTo>
                  <a:cubicBezTo>
                    <a:pt x="6" y="38"/>
                    <a:pt x="6" y="5"/>
                    <a:pt x="6" y="3"/>
                  </a:cubicBezTo>
                  <a:cubicBezTo>
                    <a:pt x="6" y="2"/>
                    <a:pt x="4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41"/>
                    <a:pt x="36" y="65"/>
                  </a:cubicBezTo>
                  <a:cubicBezTo>
                    <a:pt x="65" y="85"/>
                    <a:pt x="71" y="107"/>
                    <a:pt x="72" y="125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1" name="Group 305">
            <a:extLst>
              <a:ext uri="{FF2B5EF4-FFF2-40B4-BE49-F238E27FC236}">
                <a16:creationId xmlns:a16="http://schemas.microsoft.com/office/drawing/2014/main" id="{008D8CB7-B53E-4F3D-86B8-308C6502A0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3701" y="4105766"/>
            <a:ext cx="841375" cy="841375"/>
            <a:chOff x="272" y="2644"/>
            <a:chExt cx="530" cy="530"/>
          </a:xfrm>
        </p:grpSpPr>
        <p:sp>
          <p:nvSpPr>
            <p:cNvPr id="332" name="AutoShape 304">
              <a:extLst>
                <a:ext uri="{FF2B5EF4-FFF2-40B4-BE49-F238E27FC236}">
                  <a16:creationId xmlns:a16="http://schemas.microsoft.com/office/drawing/2014/main" id="{AA85DE69-CD08-4254-B63B-9D51085D25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2" y="264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306">
              <a:extLst>
                <a:ext uri="{FF2B5EF4-FFF2-40B4-BE49-F238E27FC236}">
                  <a16:creationId xmlns:a16="http://schemas.microsoft.com/office/drawing/2014/main" id="{4737C439-BF9F-4EE8-8037-4BAD448FF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" y="264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307">
              <a:extLst>
                <a:ext uri="{FF2B5EF4-FFF2-40B4-BE49-F238E27FC236}">
                  <a16:creationId xmlns:a16="http://schemas.microsoft.com/office/drawing/2014/main" id="{C6AC0FA8-8091-4511-83BD-357C82F796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" y="266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308">
              <a:extLst>
                <a:ext uri="{FF2B5EF4-FFF2-40B4-BE49-F238E27FC236}">
                  <a16:creationId xmlns:a16="http://schemas.microsoft.com/office/drawing/2014/main" id="{658187F6-0DDF-4164-8001-EDFD57958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" y="2926"/>
              <a:ext cx="161" cy="148"/>
            </a:xfrm>
            <a:custGeom>
              <a:avLst/>
              <a:gdLst>
                <a:gd name="T0" fmla="*/ 7 w 63"/>
                <a:gd name="T1" fmla="*/ 49 h 58"/>
                <a:gd name="T2" fmla="*/ 63 w 63"/>
                <a:gd name="T3" fmla="*/ 49 h 58"/>
                <a:gd name="T4" fmla="*/ 62 w 63"/>
                <a:gd name="T5" fmla="*/ 43 h 58"/>
                <a:gd name="T6" fmla="*/ 7 w 63"/>
                <a:gd name="T7" fmla="*/ 43 h 58"/>
                <a:gd name="T8" fmla="*/ 8 w 63"/>
                <a:gd name="T9" fmla="*/ 42 h 58"/>
                <a:gd name="T10" fmla="*/ 9 w 63"/>
                <a:gd name="T11" fmla="*/ 34 h 58"/>
                <a:gd name="T12" fmla="*/ 10 w 63"/>
                <a:gd name="T13" fmla="*/ 33 h 58"/>
                <a:gd name="T14" fmla="*/ 11 w 63"/>
                <a:gd name="T15" fmla="*/ 33 h 58"/>
                <a:gd name="T16" fmla="*/ 12 w 63"/>
                <a:gd name="T17" fmla="*/ 33 h 58"/>
                <a:gd name="T18" fmla="*/ 59 w 63"/>
                <a:gd name="T19" fmla="*/ 33 h 58"/>
                <a:gd name="T20" fmla="*/ 55 w 63"/>
                <a:gd name="T21" fmla="*/ 27 h 58"/>
                <a:gd name="T22" fmla="*/ 12 w 63"/>
                <a:gd name="T23" fmla="*/ 27 h 58"/>
                <a:gd name="T24" fmla="*/ 13 w 63"/>
                <a:gd name="T25" fmla="*/ 26 h 58"/>
                <a:gd name="T26" fmla="*/ 17 w 63"/>
                <a:gd name="T27" fmla="*/ 18 h 58"/>
                <a:gd name="T28" fmla="*/ 17 w 63"/>
                <a:gd name="T29" fmla="*/ 18 h 58"/>
                <a:gd name="T30" fmla="*/ 48 w 63"/>
                <a:gd name="T31" fmla="*/ 18 h 58"/>
                <a:gd name="T32" fmla="*/ 42 w 63"/>
                <a:gd name="T33" fmla="*/ 12 h 58"/>
                <a:gd name="T34" fmla="*/ 22 w 63"/>
                <a:gd name="T35" fmla="*/ 12 h 58"/>
                <a:gd name="T36" fmla="*/ 24 w 63"/>
                <a:gd name="T37" fmla="*/ 9 h 58"/>
                <a:gd name="T38" fmla="*/ 31 w 63"/>
                <a:gd name="T39" fmla="*/ 4 h 58"/>
                <a:gd name="T40" fmla="*/ 26 w 63"/>
                <a:gd name="T41" fmla="*/ 0 h 58"/>
                <a:gd name="T42" fmla="*/ 14 w 63"/>
                <a:gd name="T43" fmla="*/ 12 h 58"/>
                <a:gd name="T44" fmla="*/ 13 w 63"/>
                <a:gd name="T45" fmla="*/ 13 h 58"/>
                <a:gd name="T46" fmla="*/ 1 w 63"/>
                <a:gd name="T47" fmla="*/ 55 h 58"/>
                <a:gd name="T48" fmla="*/ 4 w 63"/>
                <a:gd name="T49" fmla="*/ 58 h 58"/>
                <a:gd name="T50" fmla="*/ 7 w 63"/>
                <a:gd name="T51" fmla="*/ 54 h 58"/>
                <a:gd name="T52" fmla="*/ 7 w 63"/>
                <a:gd name="T53" fmla="*/ 54 h 58"/>
                <a:gd name="T54" fmla="*/ 7 w 63"/>
                <a:gd name="T55" fmla="*/ 50 h 58"/>
                <a:gd name="T56" fmla="*/ 7 w 63"/>
                <a:gd name="T57" fmla="*/ 4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" h="58">
                  <a:moveTo>
                    <a:pt x="7" y="49"/>
                  </a:moveTo>
                  <a:cubicBezTo>
                    <a:pt x="63" y="49"/>
                    <a:pt x="63" y="49"/>
                    <a:pt x="63" y="49"/>
                  </a:cubicBezTo>
                  <a:cubicBezTo>
                    <a:pt x="63" y="47"/>
                    <a:pt x="62" y="45"/>
                    <a:pt x="62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39"/>
                    <a:pt x="9" y="37"/>
                    <a:pt x="9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2" y="33"/>
                    <a:pt x="12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1"/>
                    <a:pt x="57" y="29"/>
                    <a:pt x="55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3"/>
                    <a:pt x="16" y="20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6" y="15"/>
                    <a:pt x="44" y="13"/>
                    <a:pt x="4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7" y="8"/>
                    <a:pt x="29" y="6"/>
                    <a:pt x="31" y="4"/>
                  </a:cubicBezTo>
                  <a:cubicBezTo>
                    <a:pt x="30" y="3"/>
                    <a:pt x="28" y="2"/>
                    <a:pt x="26" y="0"/>
                  </a:cubicBezTo>
                  <a:cubicBezTo>
                    <a:pt x="22" y="4"/>
                    <a:pt x="18" y="8"/>
                    <a:pt x="14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0" y="32"/>
                    <a:pt x="1" y="53"/>
                    <a:pt x="1" y="55"/>
                  </a:cubicBezTo>
                  <a:cubicBezTo>
                    <a:pt x="1" y="56"/>
                    <a:pt x="2" y="58"/>
                    <a:pt x="4" y="58"/>
                  </a:cubicBezTo>
                  <a:cubicBezTo>
                    <a:pt x="6" y="58"/>
                    <a:pt x="7" y="56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2"/>
                    <a:pt x="7" y="50"/>
                  </a:cubicBezTo>
                  <a:lnTo>
                    <a:pt x="7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309">
              <a:extLst>
                <a:ext uri="{FF2B5EF4-FFF2-40B4-BE49-F238E27FC236}">
                  <a16:creationId xmlns:a16="http://schemas.microsoft.com/office/drawing/2014/main" id="{1055DFBB-2FA2-4A67-AB3A-EB0BE1806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" y="2746"/>
              <a:ext cx="159" cy="151"/>
            </a:xfrm>
            <a:custGeom>
              <a:avLst/>
              <a:gdLst>
                <a:gd name="T0" fmla="*/ 59 w 62"/>
                <a:gd name="T1" fmla="*/ 0 h 59"/>
                <a:gd name="T2" fmla="*/ 56 w 62"/>
                <a:gd name="T3" fmla="*/ 3 h 59"/>
                <a:gd name="T4" fmla="*/ 56 w 62"/>
                <a:gd name="T5" fmla="*/ 9 h 59"/>
                <a:gd name="T6" fmla="*/ 56 w 62"/>
                <a:gd name="T7" fmla="*/ 10 h 59"/>
                <a:gd name="T8" fmla="*/ 55 w 62"/>
                <a:gd name="T9" fmla="*/ 10 h 59"/>
                <a:gd name="T10" fmla="*/ 0 w 62"/>
                <a:gd name="T11" fmla="*/ 10 h 59"/>
                <a:gd name="T12" fmla="*/ 1 w 62"/>
                <a:gd name="T13" fmla="*/ 16 h 59"/>
                <a:gd name="T14" fmla="*/ 56 w 62"/>
                <a:gd name="T15" fmla="*/ 16 h 59"/>
                <a:gd name="T16" fmla="*/ 56 w 62"/>
                <a:gd name="T17" fmla="*/ 17 h 59"/>
                <a:gd name="T18" fmla="*/ 54 w 62"/>
                <a:gd name="T19" fmla="*/ 25 h 59"/>
                <a:gd name="T20" fmla="*/ 54 w 62"/>
                <a:gd name="T21" fmla="*/ 26 h 59"/>
                <a:gd name="T22" fmla="*/ 5 w 62"/>
                <a:gd name="T23" fmla="*/ 26 h 59"/>
                <a:gd name="T24" fmla="*/ 8 w 62"/>
                <a:gd name="T25" fmla="*/ 32 h 59"/>
                <a:gd name="T26" fmla="*/ 53 w 62"/>
                <a:gd name="T27" fmla="*/ 32 h 59"/>
                <a:gd name="T28" fmla="*/ 52 w 62"/>
                <a:gd name="T29" fmla="*/ 33 h 59"/>
                <a:gd name="T30" fmla="*/ 48 w 62"/>
                <a:gd name="T31" fmla="*/ 41 h 59"/>
                <a:gd name="T32" fmla="*/ 48 w 62"/>
                <a:gd name="T33" fmla="*/ 42 h 59"/>
                <a:gd name="T34" fmla="*/ 16 w 62"/>
                <a:gd name="T35" fmla="*/ 42 h 59"/>
                <a:gd name="T36" fmla="*/ 23 w 62"/>
                <a:gd name="T37" fmla="*/ 48 h 59"/>
                <a:gd name="T38" fmla="*/ 44 w 62"/>
                <a:gd name="T39" fmla="*/ 48 h 59"/>
                <a:gd name="T40" fmla="*/ 42 w 62"/>
                <a:gd name="T41" fmla="*/ 50 h 59"/>
                <a:gd name="T42" fmla="*/ 35 w 62"/>
                <a:gd name="T43" fmla="*/ 55 h 59"/>
                <a:gd name="T44" fmla="*/ 40 w 62"/>
                <a:gd name="T45" fmla="*/ 59 h 59"/>
                <a:gd name="T46" fmla="*/ 62 w 62"/>
                <a:gd name="T47" fmla="*/ 3 h 59"/>
                <a:gd name="T48" fmla="*/ 59 w 62"/>
                <a:gd name="T4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59">
                  <a:moveTo>
                    <a:pt x="59" y="0"/>
                  </a:moveTo>
                  <a:cubicBezTo>
                    <a:pt x="58" y="0"/>
                    <a:pt x="56" y="2"/>
                    <a:pt x="56" y="3"/>
                  </a:cubicBezTo>
                  <a:cubicBezTo>
                    <a:pt x="56" y="5"/>
                    <a:pt x="56" y="7"/>
                    <a:pt x="56" y="9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5" y="20"/>
                    <a:pt x="55" y="22"/>
                    <a:pt x="54" y="25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8"/>
                    <a:pt x="7" y="30"/>
                    <a:pt x="8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6"/>
                    <a:pt x="50" y="39"/>
                    <a:pt x="48" y="4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8" y="44"/>
                    <a:pt x="21" y="46"/>
                    <a:pt x="23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0" y="52"/>
                    <a:pt x="38" y="54"/>
                    <a:pt x="35" y="55"/>
                  </a:cubicBezTo>
                  <a:cubicBezTo>
                    <a:pt x="37" y="57"/>
                    <a:pt x="39" y="58"/>
                    <a:pt x="40" y="59"/>
                  </a:cubicBezTo>
                  <a:cubicBezTo>
                    <a:pt x="62" y="42"/>
                    <a:pt x="62" y="16"/>
                    <a:pt x="62" y="3"/>
                  </a:cubicBezTo>
                  <a:cubicBezTo>
                    <a:pt x="62" y="2"/>
                    <a:pt x="61" y="0"/>
                    <a:pt x="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310">
              <a:extLst>
                <a:ext uri="{FF2B5EF4-FFF2-40B4-BE49-F238E27FC236}">
                  <a16:creationId xmlns:a16="http://schemas.microsoft.com/office/drawing/2014/main" id="{597C6015-0015-42A4-8781-1A0FDEB80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" y="2746"/>
              <a:ext cx="200" cy="328"/>
            </a:xfrm>
            <a:custGeom>
              <a:avLst/>
              <a:gdLst>
                <a:gd name="T0" fmla="*/ 72 w 78"/>
                <a:gd name="T1" fmla="*/ 125 h 128"/>
                <a:gd name="T2" fmla="*/ 75 w 78"/>
                <a:gd name="T3" fmla="*/ 128 h 128"/>
                <a:gd name="T4" fmla="*/ 76 w 78"/>
                <a:gd name="T5" fmla="*/ 128 h 128"/>
                <a:gd name="T6" fmla="*/ 78 w 78"/>
                <a:gd name="T7" fmla="*/ 124 h 128"/>
                <a:gd name="T8" fmla="*/ 39 w 78"/>
                <a:gd name="T9" fmla="*/ 60 h 128"/>
                <a:gd name="T10" fmla="*/ 6 w 78"/>
                <a:gd name="T11" fmla="*/ 3 h 128"/>
                <a:gd name="T12" fmla="*/ 3 w 78"/>
                <a:gd name="T13" fmla="*/ 0 h 128"/>
                <a:gd name="T14" fmla="*/ 0 w 78"/>
                <a:gd name="T15" fmla="*/ 3 h 128"/>
                <a:gd name="T16" fmla="*/ 36 w 78"/>
                <a:gd name="T17" fmla="*/ 65 h 128"/>
                <a:gd name="T18" fmla="*/ 72 w 78"/>
                <a:gd name="T19" fmla="*/ 12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128">
                  <a:moveTo>
                    <a:pt x="72" y="125"/>
                  </a:moveTo>
                  <a:cubicBezTo>
                    <a:pt x="73" y="126"/>
                    <a:pt x="74" y="128"/>
                    <a:pt x="75" y="128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7" y="127"/>
                    <a:pt x="78" y="126"/>
                    <a:pt x="78" y="124"/>
                  </a:cubicBezTo>
                  <a:cubicBezTo>
                    <a:pt x="77" y="107"/>
                    <a:pt x="71" y="81"/>
                    <a:pt x="39" y="60"/>
                  </a:cubicBezTo>
                  <a:cubicBezTo>
                    <a:pt x="6" y="38"/>
                    <a:pt x="6" y="5"/>
                    <a:pt x="6" y="3"/>
                  </a:cubicBezTo>
                  <a:cubicBezTo>
                    <a:pt x="6" y="2"/>
                    <a:pt x="4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41"/>
                    <a:pt x="36" y="65"/>
                  </a:cubicBezTo>
                  <a:cubicBezTo>
                    <a:pt x="65" y="85"/>
                    <a:pt x="71" y="107"/>
                    <a:pt x="72" y="1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6" name="Group 313">
            <a:extLst>
              <a:ext uri="{FF2B5EF4-FFF2-40B4-BE49-F238E27FC236}">
                <a16:creationId xmlns:a16="http://schemas.microsoft.com/office/drawing/2014/main" id="{B34CC4AD-288D-4ED9-BEE7-3A0C76A657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693" y="4147041"/>
            <a:ext cx="760413" cy="758825"/>
            <a:chOff x="2392" y="2633"/>
            <a:chExt cx="479" cy="478"/>
          </a:xfrm>
        </p:grpSpPr>
        <p:sp>
          <p:nvSpPr>
            <p:cNvPr id="347" name="AutoShape 312">
              <a:extLst>
                <a:ext uri="{FF2B5EF4-FFF2-40B4-BE49-F238E27FC236}">
                  <a16:creationId xmlns:a16="http://schemas.microsoft.com/office/drawing/2014/main" id="{2F5B4309-2242-4AD3-BA0B-3C54462773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92" y="263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314">
              <a:extLst>
                <a:ext uri="{FF2B5EF4-FFF2-40B4-BE49-F238E27FC236}">
                  <a16:creationId xmlns:a16="http://schemas.microsoft.com/office/drawing/2014/main" id="{5B56A5DA-EF4C-4517-8B6C-C27DB0C5F9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4" y="2635"/>
              <a:ext cx="477" cy="476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90 h 194"/>
                <a:gd name="T16" fmla="*/ 4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90"/>
                    <a:pt x="97" y="190"/>
                  </a:cubicBezTo>
                  <a:cubicBezTo>
                    <a:pt x="46" y="190"/>
                    <a:pt x="4" y="148"/>
                    <a:pt x="4" y="97"/>
                  </a:cubicBezTo>
                  <a:cubicBezTo>
                    <a:pt x="4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315">
              <a:extLst>
                <a:ext uri="{FF2B5EF4-FFF2-40B4-BE49-F238E27FC236}">
                  <a16:creationId xmlns:a16="http://schemas.microsoft.com/office/drawing/2014/main" id="{E4B8AE56-4F0B-459B-BAD0-436188887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4" y="2697"/>
              <a:ext cx="138" cy="353"/>
            </a:xfrm>
            <a:custGeom>
              <a:avLst/>
              <a:gdLst>
                <a:gd name="T0" fmla="*/ 0 w 56"/>
                <a:gd name="T1" fmla="*/ 144 h 144"/>
                <a:gd name="T2" fmla="*/ 23 w 56"/>
                <a:gd name="T3" fmla="*/ 120 h 144"/>
                <a:gd name="T4" fmla="*/ 0 w 56"/>
                <a:gd name="T5" fmla="*/ 96 h 144"/>
                <a:gd name="T6" fmla="*/ 23 w 56"/>
                <a:gd name="T7" fmla="*/ 72 h 144"/>
                <a:gd name="T8" fmla="*/ 0 w 56"/>
                <a:gd name="T9" fmla="*/ 48 h 144"/>
                <a:gd name="T10" fmla="*/ 23 w 56"/>
                <a:gd name="T11" fmla="*/ 24 h 144"/>
                <a:gd name="T12" fmla="*/ 0 w 56"/>
                <a:gd name="T13" fmla="*/ 0 h 144"/>
                <a:gd name="T14" fmla="*/ 4 w 56"/>
                <a:gd name="T15" fmla="*/ 0 h 144"/>
                <a:gd name="T16" fmla="*/ 28 w 56"/>
                <a:gd name="T17" fmla="*/ 21 h 144"/>
                <a:gd name="T18" fmla="*/ 52 w 56"/>
                <a:gd name="T19" fmla="*/ 0 h 144"/>
                <a:gd name="T20" fmla="*/ 56 w 56"/>
                <a:gd name="T21" fmla="*/ 0 h 144"/>
                <a:gd name="T22" fmla="*/ 33 w 56"/>
                <a:gd name="T23" fmla="*/ 24 h 144"/>
                <a:gd name="T24" fmla="*/ 56 w 56"/>
                <a:gd name="T25" fmla="*/ 48 h 144"/>
                <a:gd name="T26" fmla="*/ 33 w 56"/>
                <a:gd name="T27" fmla="*/ 72 h 144"/>
                <a:gd name="T28" fmla="*/ 56 w 56"/>
                <a:gd name="T29" fmla="*/ 96 h 144"/>
                <a:gd name="T30" fmla="*/ 33 w 56"/>
                <a:gd name="T31" fmla="*/ 120 h 144"/>
                <a:gd name="T32" fmla="*/ 56 w 56"/>
                <a:gd name="T33" fmla="*/ 144 h 144"/>
                <a:gd name="T34" fmla="*/ 52 w 56"/>
                <a:gd name="T35" fmla="*/ 144 h 144"/>
                <a:gd name="T36" fmla="*/ 28 w 56"/>
                <a:gd name="T37" fmla="*/ 123 h 144"/>
                <a:gd name="T38" fmla="*/ 4 w 56"/>
                <a:gd name="T39" fmla="*/ 144 h 144"/>
                <a:gd name="T40" fmla="*/ 0 w 56"/>
                <a:gd name="T41" fmla="*/ 144 h 144"/>
                <a:gd name="T42" fmla="*/ 27 w 56"/>
                <a:gd name="T43" fmla="*/ 60 h 144"/>
                <a:gd name="T44" fmla="*/ 29 w 56"/>
                <a:gd name="T45" fmla="*/ 56 h 144"/>
                <a:gd name="T46" fmla="*/ 27 w 56"/>
                <a:gd name="T47" fmla="*/ 54 h 144"/>
                <a:gd name="T48" fmla="*/ 19 w 56"/>
                <a:gd name="T49" fmla="*/ 48 h 144"/>
                <a:gd name="T50" fmla="*/ 27 w 56"/>
                <a:gd name="T51" fmla="*/ 41 h 144"/>
                <a:gd name="T52" fmla="*/ 29 w 56"/>
                <a:gd name="T53" fmla="*/ 40 h 144"/>
                <a:gd name="T54" fmla="*/ 27 w 56"/>
                <a:gd name="T55" fmla="*/ 36 h 144"/>
                <a:gd name="T56" fmla="*/ 25 w 56"/>
                <a:gd name="T57" fmla="*/ 37 h 144"/>
                <a:gd name="T58" fmla="*/ 15 w 56"/>
                <a:gd name="T59" fmla="*/ 48 h 144"/>
                <a:gd name="T60" fmla="*/ 25 w 56"/>
                <a:gd name="T61" fmla="*/ 59 h 144"/>
                <a:gd name="T62" fmla="*/ 27 w 56"/>
                <a:gd name="T63" fmla="*/ 60 h 144"/>
                <a:gd name="T64" fmla="*/ 27 w 56"/>
                <a:gd name="T65" fmla="*/ 104 h 144"/>
                <a:gd name="T66" fmla="*/ 29 w 56"/>
                <a:gd name="T67" fmla="*/ 108 h 144"/>
                <a:gd name="T68" fmla="*/ 31 w 56"/>
                <a:gd name="T69" fmla="*/ 107 h 144"/>
                <a:gd name="T70" fmla="*/ 41 w 56"/>
                <a:gd name="T71" fmla="*/ 96 h 144"/>
                <a:gd name="T72" fmla="*/ 31 w 56"/>
                <a:gd name="T73" fmla="*/ 85 h 144"/>
                <a:gd name="T74" fmla="*/ 29 w 56"/>
                <a:gd name="T75" fmla="*/ 84 h 144"/>
                <a:gd name="T76" fmla="*/ 27 w 56"/>
                <a:gd name="T77" fmla="*/ 88 h 144"/>
                <a:gd name="T78" fmla="*/ 29 w 56"/>
                <a:gd name="T79" fmla="*/ 90 h 144"/>
                <a:gd name="T80" fmla="*/ 37 w 56"/>
                <a:gd name="T81" fmla="*/ 96 h 144"/>
                <a:gd name="T82" fmla="*/ 29 w 56"/>
                <a:gd name="T83" fmla="*/ 103 h 144"/>
                <a:gd name="T84" fmla="*/ 27 w 56"/>
                <a:gd name="T85" fmla="*/ 104 h 144"/>
                <a:gd name="T86" fmla="*/ 28 w 56"/>
                <a:gd name="T87" fmla="*/ 118 h 144"/>
                <a:gd name="T88" fmla="*/ 52 w 56"/>
                <a:gd name="T89" fmla="*/ 96 h 144"/>
                <a:gd name="T90" fmla="*/ 28 w 56"/>
                <a:gd name="T91" fmla="*/ 75 h 144"/>
                <a:gd name="T92" fmla="*/ 4 w 56"/>
                <a:gd name="T93" fmla="*/ 96 h 144"/>
                <a:gd name="T94" fmla="*/ 28 w 56"/>
                <a:gd name="T95" fmla="*/ 118 h 144"/>
                <a:gd name="T96" fmla="*/ 28 w 56"/>
                <a:gd name="T97" fmla="*/ 26 h 144"/>
                <a:gd name="T98" fmla="*/ 4 w 56"/>
                <a:gd name="T99" fmla="*/ 48 h 144"/>
                <a:gd name="T100" fmla="*/ 28 w 56"/>
                <a:gd name="T101" fmla="*/ 69 h 144"/>
                <a:gd name="T102" fmla="*/ 52 w 56"/>
                <a:gd name="T103" fmla="*/ 48 h 144"/>
                <a:gd name="T104" fmla="*/ 28 w 56"/>
                <a:gd name="T105" fmla="*/ 2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" h="144">
                  <a:moveTo>
                    <a:pt x="0" y="144"/>
                  </a:moveTo>
                  <a:cubicBezTo>
                    <a:pt x="0" y="134"/>
                    <a:pt x="11" y="127"/>
                    <a:pt x="23" y="120"/>
                  </a:cubicBezTo>
                  <a:cubicBezTo>
                    <a:pt x="11" y="114"/>
                    <a:pt x="0" y="107"/>
                    <a:pt x="0" y="96"/>
                  </a:cubicBezTo>
                  <a:cubicBezTo>
                    <a:pt x="0" y="86"/>
                    <a:pt x="11" y="79"/>
                    <a:pt x="23" y="72"/>
                  </a:cubicBezTo>
                  <a:cubicBezTo>
                    <a:pt x="11" y="65"/>
                    <a:pt x="0" y="58"/>
                    <a:pt x="0" y="48"/>
                  </a:cubicBezTo>
                  <a:cubicBezTo>
                    <a:pt x="0" y="37"/>
                    <a:pt x="11" y="30"/>
                    <a:pt x="23" y="24"/>
                  </a:cubicBezTo>
                  <a:cubicBezTo>
                    <a:pt x="11" y="17"/>
                    <a:pt x="0" y="1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16" y="15"/>
                    <a:pt x="28" y="21"/>
                  </a:cubicBezTo>
                  <a:cubicBezTo>
                    <a:pt x="40" y="15"/>
                    <a:pt x="52" y="8"/>
                    <a:pt x="5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0"/>
                    <a:pt x="45" y="17"/>
                    <a:pt x="33" y="24"/>
                  </a:cubicBezTo>
                  <a:cubicBezTo>
                    <a:pt x="45" y="30"/>
                    <a:pt x="56" y="37"/>
                    <a:pt x="56" y="48"/>
                  </a:cubicBezTo>
                  <a:cubicBezTo>
                    <a:pt x="56" y="58"/>
                    <a:pt x="45" y="65"/>
                    <a:pt x="33" y="72"/>
                  </a:cubicBezTo>
                  <a:cubicBezTo>
                    <a:pt x="45" y="79"/>
                    <a:pt x="56" y="86"/>
                    <a:pt x="56" y="96"/>
                  </a:cubicBezTo>
                  <a:cubicBezTo>
                    <a:pt x="56" y="107"/>
                    <a:pt x="45" y="114"/>
                    <a:pt x="33" y="120"/>
                  </a:cubicBezTo>
                  <a:cubicBezTo>
                    <a:pt x="45" y="127"/>
                    <a:pt x="56" y="134"/>
                    <a:pt x="56" y="144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52" y="136"/>
                    <a:pt x="40" y="129"/>
                    <a:pt x="28" y="123"/>
                  </a:cubicBezTo>
                  <a:cubicBezTo>
                    <a:pt x="16" y="130"/>
                    <a:pt x="4" y="136"/>
                    <a:pt x="4" y="144"/>
                  </a:cubicBezTo>
                  <a:lnTo>
                    <a:pt x="0" y="144"/>
                  </a:lnTo>
                  <a:close/>
                  <a:moveTo>
                    <a:pt x="27" y="60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8" y="55"/>
                    <a:pt x="28" y="55"/>
                    <a:pt x="27" y="54"/>
                  </a:cubicBezTo>
                  <a:cubicBezTo>
                    <a:pt x="23" y="52"/>
                    <a:pt x="19" y="50"/>
                    <a:pt x="19" y="48"/>
                  </a:cubicBezTo>
                  <a:cubicBezTo>
                    <a:pt x="19" y="45"/>
                    <a:pt x="23" y="43"/>
                    <a:pt x="27" y="41"/>
                  </a:cubicBezTo>
                  <a:cubicBezTo>
                    <a:pt x="28" y="41"/>
                    <a:pt x="28" y="41"/>
                    <a:pt x="29" y="40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6" y="37"/>
                    <a:pt x="25" y="37"/>
                  </a:cubicBezTo>
                  <a:cubicBezTo>
                    <a:pt x="20" y="40"/>
                    <a:pt x="15" y="42"/>
                    <a:pt x="15" y="48"/>
                  </a:cubicBezTo>
                  <a:cubicBezTo>
                    <a:pt x="15" y="53"/>
                    <a:pt x="20" y="56"/>
                    <a:pt x="25" y="59"/>
                  </a:cubicBezTo>
                  <a:cubicBezTo>
                    <a:pt x="26" y="59"/>
                    <a:pt x="27" y="59"/>
                    <a:pt x="27" y="60"/>
                  </a:cubicBezTo>
                  <a:moveTo>
                    <a:pt x="27" y="104"/>
                  </a:moveTo>
                  <a:cubicBezTo>
                    <a:pt x="29" y="108"/>
                    <a:pt x="29" y="108"/>
                    <a:pt x="29" y="108"/>
                  </a:cubicBezTo>
                  <a:cubicBezTo>
                    <a:pt x="30" y="108"/>
                    <a:pt x="30" y="107"/>
                    <a:pt x="31" y="107"/>
                  </a:cubicBezTo>
                  <a:cubicBezTo>
                    <a:pt x="36" y="104"/>
                    <a:pt x="41" y="102"/>
                    <a:pt x="41" y="96"/>
                  </a:cubicBezTo>
                  <a:cubicBezTo>
                    <a:pt x="41" y="91"/>
                    <a:pt x="36" y="88"/>
                    <a:pt x="31" y="85"/>
                  </a:cubicBezTo>
                  <a:cubicBezTo>
                    <a:pt x="30" y="85"/>
                    <a:pt x="30" y="85"/>
                    <a:pt x="29" y="84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28" y="89"/>
                    <a:pt x="28" y="89"/>
                    <a:pt x="29" y="90"/>
                  </a:cubicBezTo>
                  <a:cubicBezTo>
                    <a:pt x="33" y="92"/>
                    <a:pt x="37" y="94"/>
                    <a:pt x="37" y="96"/>
                  </a:cubicBezTo>
                  <a:cubicBezTo>
                    <a:pt x="37" y="99"/>
                    <a:pt x="33" y="101"/>
                    <a:pt x="29" y="103"/>
                  </a:cubicBezTo>
                  <a:cubicBezTo>
                    <a:pt x="28" y="103"/>
                    <a:pt x="28" y="103"/>
                    <a:pt x="27" y="104"/>
                  </a:cubicBezTo>
                  <a:moveTo>
                    <a:pt x="28" y="118"/>
                  </a:moveTo>
                  <a:cubicBezTo>
                    <a:pt x="40" y="111"/>
                    <a:pt x="52" y="105"/>
                    <a:pt x="52" y="96"/>
                  </a:cubicBezTo>
                  <a:cubicBezTo>
                    <a:pt x="52" y="88"/>
                    <a:pt x="40" y="81"/>
                    <a:pt x="28" y="75"/>
                  </a:cubicBezTo>
                  <a:cubicBezTo>
                    <a:pt x="16" y="81"/>
                    <a:pt x="4" y="88"/>
                    <a:pt x="4" y="96"/>
                  </a:cubicBezTo>
                  <a:cubicBezTo>
                    <a:pt x="4" y="105"/>
                    <a:pt x="16" y="111"/>
                    <a:pt x="28" y="118"/>
                  </a:cubicBezTo>
                  <a:moveTo>
                    <a:pt x="28" y="26"/>
                  </a:moveTo>
                  <a:cubicBezTo>
                    <a:pt x="16" y="33"/>
                    <a:pt x="4" y="39"/>
                    <a:pt x="4" y="48"/>
                  </a:cubicBezTo>
                  <a:cubicBezTo>
                    <a:pt x="4" y="56"/>
                    <a:pt x="16" y="63"/>
                    <a:pt x="28" y="69"/>
                  </a:cubicBezTo>
                  <a:cubicBezTo>
                    <a:pt x="40" y="63"/>
                    <a:pt x="52" y="56"/>
                    <a:pt x="52" y="48"/>
                  </a:cubicBezTo>
                  <a:cubicBezTo>
                    <a:pt x="52" y="39"/>
                    <a:pt x="40" y="33"/>
                    <a:pt x="28" y="2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0" name="Group 318">
            <a:extLst>
              <a:ext uri="{FF2B5EF4-FFF2-40B4-BE49-F238E27FC236}">
                <a16:creationId xmlns:a16="http://schemas.microsoft.com/office/drawing/2014/main" id="{000C016D-7A08-4D41-8FF8-F68238AB1C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3692" y="4105766"/>
            <a:ext cx="841375" cy="841375"/>
            <a:chOff x="1643" y="2598"/>
            <a:chExt cx="530" cy="530"/>
          </a:xfrm>
        </p:grpSpPr>
        <p:sp>
          <p:nvSpPr>
            <p:cNvPr id="351" name="AutoShape 317">
              <a:extLst>
                <a:ext uri="{FF2B5EF4-FFF2-40B4-BE49-F238E27FC236}">
                  <a16:creationId xmlns:a16="http://schemas.microsoft.com/office/drawing/2014/main" id="{F26F9BD7-3000-43DC-A383-C19B5E6FB2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3" y="259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Oval 319">
              <a:extLst>
                <a:ext uri="{FF2B5EF4-FFF2-40B4-BE49-F238E27FC236}">
                  <a16:creationId xmlns:a16="http://schemas.microsoft.com/office/drawing/2014/main" id="{C5CEF6CA-80A2-4CBF-BD3B-066D7ACEF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6" y="260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320">
              <a:extLst>
                <a:ext uri="{FF2B5EF4-FFF2-40B4-BE49-F238E27FC236}">
                  <a16:creationId xmlns:a16="http://schemas.microsoft.com/office/drawing/2014/main" id="{8A9BC1CC-90BE-4AED-A49B-3C34D7506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2" y="2617"/>
              <a:ext cx="495" cy="495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8 h 182"/>
                <a:gd name="T16" fmla="*/ 4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9"/>
                    <a:pt x="139" y="178"/>
                    <a:pt x="91" y="178"/>
                  </a:cubicBezTo>
                  <a:cubicBezTo>
                    <a:pt x="43" y="178"/>
                    <a:pt x="4" y="139"/>
                    <a:pt x="4" y="91"/>
                  </a:cubicBezTo>
                  <a:cubicBezTo>
                    <a:pt x="4" y="43"/>
                    <a:pt x="43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321">
              <a:extLst>
                <a:ext uri="{FF2B5EF4-FFF2-40B4-BE49-F238E27FC236}">
                  <a16:creationId xmlns:a16="http://schemas.microsoft.com/office/drawing/2014/main" id="{4DC8B112-A526-42D4-A03E-81F596429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" y="2680"/>
              <a:ext cx="141" cy="369"/>
            </a:xfrm>
            <a:custGeom>
              <a:avLst/>
              <a:gdLst>
                <a:gd name="T0" fmla="*/ 0 w 52"/>
                <a:gd name="T1" fmla="*/ 136 h 136"/>
                <a:gd name="T2" fmla="*/ 22 w 52"/>
                <a:gd name="T3" fmla="*/ 113 h 136"/>
                <a:gd name="T4" fmla="*/ 0 w 52"/>
                <a:gd name="T5" fmla="*/ 91 h 136"/>
                <a:gd name="T6" fmla="*/ 22 w 52"/>
                <a:gd name="T7" fmla="*/ 68 h 136"/>
                <a:gd name="T8" fmla="*/ 0 w 52"/>
                <a:gd name="T9" fmla="*/ 45 h 136"/>
                <a:gd name="T10" fmla="*/ 22 w 52"/>
                <a:gd name="T11" fmla="*/ 23 h 136"/>
                <a:gd name="T12" fmla="*/ 0 w 52"/>
                <a:gd name="T13" fmla="*/ 0 h 136"/>
                <a:gd name="T14" fmla="*/ 4 w 52"/>
                <a:gd name="T15" fmla="*/ 0 h 136"/>
                <a:gd name="T16" fmla="*/ 26 w 52"/>
                <a:gd name="T17" fmla="*/ 20 h 136"/>
                <a:gd name="T18" fmla="*/ 48 w 52"/>
                <a:gd name="T19" fmla="*/ 0 h 136"/>
                <a:gd name="T20" fmla="*/ 52 w 52"/>
                <a:gd name="T21" fmla="*/ 0 h 136"/>
                <a:gd name="T22" fmla="*/ 30 w 52"/>
                <a:gd name="T23" fmla="*/ 23 h 136"/>
                <a:gd name="T24" fmla="*/ 52 w 52"/>
                <a:gd name="T25" fmla="*/ 45 h 136"/>
                <a:gd name="T26" fmla="*/ 30 w 52"/>
                <a:gd name="T27" fmla="*/ 68 h 136"/>
                <a:gd name="T28" fmla="*/ 52 w 52"/>
                <a:gd name="T29" fmla="*/ 91 h 136"/>
                <a:gd name="T30" fmla="*/ 31 w 52"/>
                <a:gd name="T31" fmla="*/ 113 h 136"/>
                <a:gd name="T32" fmla="*/ 52 w 52"/>
                <a:gd name="T33" fmla="*/ 136 h 136"/>
                <a:gd name="T34" fmla="*/ 48 w 52"/>
                <a:gd name="T35" fmla="*/ 136 h 136"/>
                <a:gd name="T36" fmla="*/ 26 w 52"/>
                <a:gd name="T37" fmla="*/ 116 h 136"/>
                <a:gd name="T38" fmla="*/ 4 w 52"/>
                <a:gd name="T39" fmla="*/ 136 h 136"/>
                <a:gd name="T40" fmla="*/ 0 w 52"/>
                <a:gd name="T41" fmla="*/ 136 h 136"/>
                <a:gd name="T42" fmla="*/ 25 w 52"/>
                <a:gd name="T43" fmla="*/ 56 h 136"/>
                <a:gd name="T44" fmla="*/ 27 w 52"/>
                <a:gd name="T45" fmla="*/ 53 h 136"/>
                <a:gd name="T46" fmla="*/ 25 w 52"/>
                <a:gd name="T47" fmla="*/ 52 h 136"/>
                <a:gd name="T48" fmla="*/ 18 w 52"/>
                <a:gd name="T49" fmla="*/ 45 h 136"/>
                <a:gd name="T50" fmla="*/ 25 w 52"/>
                <a:gd name="T51" fmla="*/ 39 h 136"/>
                <a:gd name="T52" fmla="*/ 27 w 52"/>
                <a:gd name="T53" fmla="*/ 38 h 136"/>
                <a:gd name="T54" fmla="*/ 25 w 52"/>
                <a:gd name="T55" fmla="*/ 35 h 136"/>
                <a:gd name="T56" fmla="*/ 23 w 52"/>
                <a:gd name="T57" fmla="*/ 36 h 136"/>
                <a:gd name="T58" fmla="*/ 14 w 52"/>
                <a:gd name="T59" fmla="*/ 45 h 136"/>
                <a:gd name="T60" fmla="*/ 23 w 52"/>
                <a:gd name="T61" fmla="*/ 55 h 136"/>
                <a:gd name="T62" fmla="*/ 25 w 52"/>
                <a:gd name="T63" fmla="*/ 56 h 136"/>
                <a:gd name="T64" fmla="*/ 25 w 52"/>
                <a:gd name="T65" fmla="*/ 98 h 136"/>
                <a:gd name="T66" fmla="*/ 27 w 52"/>
                <a:gd name="T67" fmla="*/ 101 h 136"/>
                <a:gd name="T68" fmla="*/ 29 w 52"/>
                <a:gd name="T69" fmla="*/ 100 h 136"/>
                <a:gd name="T70" fmla="*/ 38 w 52"/>
                <a:gd name="T71" fmla="*/ 91 h 136"/>
                <a:gd name="T72" fmla="*/ 29 w 52"/>
                <a:gd name="T73" fmla="*/ 81 h 136"/>
                <a:gd name="T74" fmla="*/ 27 w 52"/>
                <a:gd name="T75" fmla="*/ 80 h 136"/>
                <a:gd name="T76" fmla="*/ 25 w 52"/>
                <a:gd name="T77" fmla="*/ 83 h 136"/>
                <a:gd name="T78" fmla="*/ 27 w 52"/>
                <a:gd name="T79" fmla="*/ 84 h 136"/>
                <a:gd name="T80" fmla="*/ 34 w 52"/>
                <a:gd name="T81" fmla="*/ 91 h 136"/>
                <a:gd name="T82" fmla="*/ 27 w 52"/>
                <a:gd name="T83" fmla="*/ 97 h 136"/>
                <a:gd name="T84" fmla="*/ 25 w 52"/>
                <a:gd name="T85" fmla="*/ 98 h 136"/>
                <a:gd name="T86" fmla="*/ 26 w 52"/>
                <a:gd name="T87" fmla="*/ 111 h 136"/>
                <a:gd name="T88" fmla="*/ 48 w 52"/>
                <a:gd name="T89" fmla="*/ 91 h 136"/>
                <a:gd name="T90" fmla="*/ 26 w 52"/>
                <a:gd name="T91" fmla="*/ 70 h 136"/>
                <a:gd name="T92" fmla="*/ 4 w 52"/>
                <a:gd name="T93" fmla="*/ 91 h 136"/>
                <a:gd name="T94" fmla="*/ 26 w 52"/>
                <a:gd name="T95" fmla="*/ 111 h 136"/>
                <a:gd name="T96" fmla="*/ 26 w 52"/>
                <a:gd name="T97" fmla="*/ 25 h 136"/>
                <a:gd name="T98" fmla="*/ 4 w 52"/>
                <a:gd name="T99" fmla="*/ 45 h 136"/>
                <a:gd name="T100" fmla="*/ 26 w 52"/>
                <a:gd name="T101" fmla="*/ 66 h 136"/>
                <a:gd name="T102" fmla="*/ 48 w 52"/>
                <a:gd name="T103" fmla="*/ 45 h 136"/>
                <a:gd name="T104" fmla="*/ 26 w 52"/>
                <a:gd name="T105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" h="136">
                  <a:moveTo>
                    <a:pt x="0" y="136"/>
                  </a:moveTo>
                  <a:cubicBezTo>
                    <a:pt x="0" y="126"/>
                    <a:pt x="10" y="120"/>
                    <a:pt x="22" y="113"/>
                  </a:cubicBezTo>
                  <a:cubicBezTo>
                    <a:pt x="10" y="107"/>
                    <a:pt x="0" y="100"/>
                    <a:pt x="0" y="91"/>
                  </a:cubicBezTo>
                  <a:cubicBezTo>
                    <a:pt x="0" y="81"/>
                    <a:pt x="10" y="74"/>
                    <a:pt x="22" y="68"/>
                  </a:cubicBezTo>
                  <a:cubicBezTo>
                    <a:pt x="10" y="62"/>
                    <a:pt x="0" y="55"/>
                    <a:pt x="0" y="45"/>
                  </a:cubicBezTo>
                  <a:cubicBezTo>
                    <a:pt x="0" y="36"/>
                    <a:pt x="10" y="29"/>
                    <a:pt x="22" y="23"/>
                  </a:cubicBezTo>
                  <a:cubicBezTo>
                    <a:pt x="10" y="17"/>
                    <a:pt x="0" y="1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15" y="14"/>
                    <a:pt x="26" y="20"/>
                  </a:cubicBezTo>
                  <a:cubicBezTo>
                    <a:pt x="37" y="14"/>
                    <a:pt x="48" y="8"/>
                    <a:pt x="4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0"/>
                    <a:pt x="42" y="17"/>
                    <a:pt x="30" y="23"/>
                  </a:cubicBezTo>
                  <a:cubicBezTo>
                    <a:pt x="42" y="29"/>
                    <a:pt x="52" y="36"/>
                    <a:pt x="52" y="45"/>
                  </a:cubicBezTo>
                  <a:cubicBezTo>
                    <a:pt x="52" y="55"/>
                    <a:pt x="42" y="62"/>
                    <a:pt x="30" y="68"/>
                  </a:cubicBezTo>
                  <a:cubicBezTo>
                    <a:pt x="42" y="74"/>
                    <a:pt x="52" y="81"/>
                    <a:pt x="52" y="91"/>
                  </a:cubicBezTo>
                  <a:cubicBezTo>
                    <a:pt x="52" y="100"/>
                    <a:pt x="42" y="107"/>
                    <a:pt x="31" y="113"/>
                  </a:cubicBezTo>
                  <a:cubicBezTo>
                    <a:pt x="42" y="119"/>
                    <a:pt x="52" y="126"/>
                    <a:pt x="52" y="136"/>
                  </a:cubicBezTo>
                  <a:cubicBezTo>
                    <a:pt x="48" y="136"/>
                    <a:pt x="48" y="136"/>
                    <a:pt x="48" y="136"/>
                  </a:cubicBezTo>
                  <a:cubicBezTo>
                    <a:pt x="48" y="128"/>
                    <a:pt x="37" y="122"/>
                    <a:pt x="26" y="116"/>
                  </a:cubicBezTo>
                  <a:cubicBezTo>
                    <a:pt x="15" y="122"/>
                    <a:pt x="4" y="128"/>
                    <a:pt x="4" y="136"/>
                  </a:cubicBezTo>
                  <a:lnTo>
                    <a:pt x="0" y="136"/>
                  </a:lnTo>
                  <a:close/>
                  <a:moveTo>
                    <a:pt x="25" y="56"/>
                  </a:moveTo>
                  <a:cubicBezTo>
                    <a:pt x="27" y="53"/>
                    <a:pt x="27" y="53"/>
                    <a:pt x="27" y="53"/>
                  </a:cubicBezTo>
                  <a:cubicBezTo>
                    <a:pt x="26" y="52"/>
                    <a:pt x="26" y="52"/>
                    <a:pt x="25" y="52"/>
                  </a:cubicBezTo>
                  <a:cubicBezTo>
                    <a:pt x="21" y="50"/>
                    <a:pt x="18" y="48"/>
                    <a:pt x="18" y="45"/>
                  </a:cubicBezTo>
                  <a:cubicBezTo>
                    <a:pt x="18" y="43"/>
                    <a:pt x="21" y="41"/>
                    <a:pt x="25" y="39"/>
                  </a:cubicBezTo>
                  <a:cubicBezTo>
                    <a:pt x="26" y="39"/>
                    <a:pt x="26" y="39"/>
                    <a:pt x="27" y="38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4" y="35"/>
                    <a:pt x="23" y="36"/>
                  </a:cubicBezTo>
                  <a:cubicBezTo>
                    <a:pt x="18" y="38"/>
                    <a:pt x="14" y="40"/>
                    <a:pt x="14" y="45"/>
                  </a:cubicBezTo>
                  <a:cubicBezTo>
                    <a:pt x="14" y="50"/>
                    <a:pt x="18" y="53"/>
                    <a:pt x="23" y="55"/>
                  </a:cubicBezTo>
                  <a:cubicBezTo>
                    <a:pt x="24" y="56"/>
                    <a:pt x="25" y="56"/>
                    <a:pt x="25" y="56"/>
                  </a:cubicBezTo>
                  <a:moveTo>
                    <a:pt x="25" y="98"/>
                  </a:moveTo>
                  <a:cubicBezTo>
                    <a:pt x="27" y="101"/>
                    <a:pt x="27" y="101"/>
                    <a:pt x="27" y="101"/>
                  </a:cubicBezTo>
                  <a:cubicBezTo>
                    <a:pt x="27" y="101"/>
                    <a:pt x="28" y="101"/>
                    <a:pt x="29" y="100"/>
                  </a:cubicBezTo>
                  <a:cubicBezTo>
                    <a:pt x="34" y="98"/>
                    <a:pt x="38" y="96"/>
                    <a:pt x="38" y="91"/>
                  </a:cubicBezTo>
                  <a:cubicBezTo>
                    <a:pt x="38" y="86"/>
                    <a:pt x="34" y="83"/>
                    <a:pt x="29" y="81"/>
                  </a:cubicBezTo>
                  <a:cubicBezTo>
                    <a:pt x="28" y="80"/>
                    <a:pt x="27" y="80"/>
                    <a:pt x="27" y="80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6" y="84"/>
                    <a:pt x="26" y="84"/>
                    <a:pt x="27" y="84"/>
                  </a:cubicBezTo>
                  <a:cubicBezTo>
                    <a:pt x="31" y="86"/>
                    <a:pt x="34" y="88"/>
                    <a:pt x="34" y="91"/>
                  </a:cubicBezTo>
                  <a:cubicBezTo>
                    <a:pt x="34" y="93"/>
                    <a:pt x="31" y="95"/>
                    <a:pt x="27" y="97"/>
                  </a:cubicBezTo>
                  <a:cubicBezTo>
                    <a:pt x="26" y="97"/>
                    <a:pt x="26" y="97"/>
                    <a:pt x="25" y="98"/>
                  </a:cubicBezTo>
                  <a:moveTo>
                    <a:pt x="26" y="111"/>
                  </a:moveTo>
                  <a:cubicBezTo>
                    <a:pt x="37" y="105"/>
                    <a:pt x="48" y="98"/>
                    <a:pt x="48" y="91"/>
                  </a:cubicBezTo>
                  <a:cubicBezTo>
                    <a:pt x="48" y="83"/>
                    <a:pt x="37" y="76"/>
                    <a:pt x="26" y="70"/>
                  </a:cubicBezTo>
                  <a:cubicBezTo>
                    <a:pt x="15" y="76"/>
                    <a:pt x="4" y="83"/>
                    <a:pt x="4" y="91"/>
                  </a:cubicBezTo>
                  <a:cubicBezTo>
                    <a:pt x="4" y="98"/>
                    <a:pt x="15" y="105"/>
                    <a:pt x="26" y="111"/>
                  </a:cubicBezTo>
                  <a:moveTo>
                    <a:pt x="26" y="25"/>
                  </a:moveTo>
                  <a:cubicBezTo>
                    <a:pt x="15" y="31"/>
                    <a:pt x="4" y="38"/>
                    <a:pt x="4" y="45"/>
                  </a:cubicBezTo>
                  <a:cubicBezTo>
                    <a:pt x="4" y="53"/>
                    <a:pt x="15" y="60"/>
                    <a:pt x="26" y="66"/>
                  </a:cubicBezTo>
                  <a:cubicBezTo>
                    <a:pt x="37" y="60"/>
                    <a:pt x="48" y="53"/>
                    <a:pt x="48" y="45"/>
                  </a:cubicBezTo>
                  <a:cubicBezTo>
                    <a:pt x="48" y="38"/>
                    <a:pt x="37" y="31"/>
                    <a:pt x="26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9" name="Group 324">
            <a:extLst>
              <a:ext uri="{FF2B5EF4-FFF2-40B4-BE49-F238E27FC236}">
                <a16:creationId xmlns:a16="http://schemas.microsoft.com/office/drawing/2014/main" id="{5D626350-73AD-41D4-84A0-259A80DC59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5013" y="4147041"/>
            <a:ext cx="758825" cy="758825"/>
            <a:chOff x="3783" y="2808"/>
            <a:chExt cx="478" cy="478"/>
          </a:xfrm>
        </p:grpSpPr>
        <p:sp>
          <p:nvSpPr>
            <p:cNvPr id="360" name="AutoShape 323">
              <a:extLst>
                <a:ext uri="{FF2B5EF4-FFF2-40B4-BE49-F238E27FC236}">
                  <a16:creationId xmlns:a16="http://schemas.microsoft.com/office/drawing/2014/main" id="{A606D6E7-A364-48B8-A2EA-1EBAE3DCF6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83" y="280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5">
              <a:extLst>
                <a:ext uri="{FF2B5EF4-FFF2-40B4-BE49-F238E27FC236}">
                  <a16:creationId xmlns:a16="http://schemas.microsoft.com/office/drawing/2014/main" id="{C9515C9F-805F-4238-A3DF-AB5B9FC53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5" y="281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26">
              <a:extLst>
                <a:ext uri="{FF2B5EF4-FFF2-40B4-BE49-F238E27FC236}">
                  <a16:creationId xmlns:a16="http://schemas.microsoft.com/office/drawing/2014/main" id="{0BD99C3F-F089-4B44-805A-30477879D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1" y="2901"/>
              <a:ext cx="324" cy="294"/>
            </a:xfrm>
            <a:custGeom>
              <a:avLst/>
              <a:gdLst>
                <a:gd name="T0" fmla="*/ 125 w 132"/>
                <a:gd name="T1" fmla="*/ 2 h 120"/>
                <a:gd name="T2" fmla="*/ 122 w 132"/>
                <a:gd name="T3" fmla="*/ 1 h 120"/>
                <a:gd name="T4" fmla="*/ 121 w 132"/>
                <a:gd name="T5" fmla="*/ 2 h 120"/>
                <a:gd name="T6" fmla="*/ 121 w 132"/>
                <a:gd name="T7" fmla="*/ 4 h 120"/>
                <a:gd name="T8" fmla="*/ 112 w 132"/>
                <a:gd name="T9" fmla="*/ 49 h 120"/>
                <a:gd name="T10" fmla="*/ 67 w 132"/>
                <a:gd name="T11" fmla="*/ 58 h 120"/>
                <a:gd name="T12" fmla="*/ 49 w 132"/>
                <a:gd name="T13" fmla="*/ 54 h 120"/>
                <a:gd name="T14" fmla="*/ 17 w 132"/>
                <a:gd name="T15" fmla="*/ 68 h 120"/>
                <a:gd name="T16" fmla="*/ 7 w 132"/>
                <a:gd name="T17" fmla="*/ 118 h 120"/>
                <a:gd name="T18" fmla="*/ 10 w 132"/>
                <a:gd name="T19" fmla="*/ 119 h 120"/>
                <a:gd name="T20" fmla="*/ 11 w 132"/>
                <a:gd name="T21" fmla="*/ 118 h 120"/>
                <a:gd name="T22" fmla="*/ 11 w 132"/>
                <a:gd name="T23" fmla="*/ 116 h 120"/>
                <a:gd name="T24" fmla="*/ 20 w 132"/>
                <a:gd name="T25" fmla="*/ 71 h 120"/>
                <a:gd name="T26" fmla="*/ 65 w 132"/>
                <a:gd name="T27" fmla="*/ 62 h 120"/>
                <a:gd name="T28" fmla="*/ 115 w 132"/>
                <a:gd name="T29" fmla="*/ 52 h 120"/>
                <a:gd name="T30" fmla="*/ 125 w 132"/>
                <a:gd name="T31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120">
                  <a:moveTo>
                    <a:pt x="125" y="2"/>
                  </a:moveTo>
                  <a:cubicBezTo>
                    <a:pt x="125" y="1"/>
                    <a:pt x="123" y="0"/>
                    <a:pt x="122" y="1"/>
                  </a:cubicBezTo>
                  <a:cubicBezTo>
                    <a:pt x="121" y="1"/>
                    <a:pt x="121" y="2"/>
                    <a:pt x="121" y="2"/>
                  </a:cubicBezTo>
                  <a:cubicBezTo>
                    <a:pt x="121" y="3"/>
                    <a:pt x="121" y="3"/>
                    <a:pt x="121" y="4"/>
                  </a:cubicBezTo>
                  <a:cubicBezTo>
                    <a:pt x="127" y="19"/>
                    <a:pt x="124" y="37"/>
                    <a:pt x="112" y="49"/>
                  </a:cubicBezTo>
                  <a:cubicBezTo>
                    <a:pt x="100" y="61"/>
                    <a:pt x="82" y="64"/>
                    <a:pt x="67" y="58"/>
                  </a:cubicBezTo>
                  <a:cubicBezTo>
                    <a:pt x="61" y="56"/>
                    <a:pt x="55" y="54"/>
                    <a:pt x="49" y="54"/>
                  </a:cubicBezTo>
                  <a:cubicBezTo>
                    <a:pt x="37" y="54"/>
                    <a:pt x="26" y="59"/>
                    <a:pt x="17" y="68"/>
                  </a:cubicBezTo>
                  <a:cubicBezTo>
                    <a:pt x="4" y="81"/>
                    <a:pt x="0" y="101"/>
                    <a:pt x="7" y="118"/>
                  </a:cubicBezTo>
                  <a:cubicBezTo>
                    <a:pt x="7" y="119"/>
                    <a:pt x="9" y="120"/>
                    <a:pt x="10" y="119"/>
                  </a:cubicBezTo>
                  <a:cubicBezTo>
                    <a:pt x="10" y="119"/>
                    <a:pt x="11" y="119"/>
                    <a:pt x="11" y="118"/>
                  </a:cubicBezTo>
                  <a:cubicBezTo>
                    <a:pt x="11" y="117"/>
                    <a:pt x="11" y="117"/>
                    <a:pt x="11" y="116"/>
                  </a:cubicBezTo>
                  <a:cubicBezTo>
                    <a:pt x="5" y="101"/>
                    <a:pt x="8" y="83"/>
                    <a:pt x="20" y="71"/>
                  </a:cubicBezTo>
                  <a:cubicBezTo>
                    <a:pt x="32" y="59"/>
                    <a:pt x="50" y="56"/>
                    <a:pt x="65" y="62"/>
                  </a:cubicBezTo>
                  <a:cubicBezTo>
                    <a:pt x="82" y="69"/>
                    <a:pt x="102" y="65"/>
                    <a:pt x="115" y="52"/>
                  </a:cubicBezTo>
                  <a:cubicBezTo>
                    <a:pt x="128" y="39"/>
                    <a:pt x="132" y="19"/>
                    <a:pt x="125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27">
              <a:extLst>
                <a:ext uri="{FF2B5EF4-FFF2-40B4-BE49-F238E27FC236}">
                  <a16:creationId xmlns:a16="http://schemas.microsoft.com/office/drawing/2014/main" id="{5B419E29-E31A-48E3-B74D-DADCF001D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" y="2894"/>
              <a:ext cx="147" cy="140"/>
            </a:xfrm>
            <a:custGeom>
              <a:avLst/>
              <a:gdLst>
                <a:gd name="T0" fmla="*/ 2 w 60"/>
                <a:gd name="T1" fmla="*/ 50 h 57"/>
                <a:gd name="T2" fmla="*/ 4 w 60"/>
                <a:gd name="T3" fmla="*/ 52 h 57"/>
                <a:gd name="T4" fmla="*/ 4 w 60"/>
                <a:gd name="T5" fmla="*/ 53 h 57"/>
                <a:gd name="T6" fmla="*/ 4 w 60"/>
                <a:gd name="T7" fmla="*/ 52 h 57"/>
                <a:gd name="T8" fmla="*/ 6 w 60"/>
                <a:gd name="T9" fmla="*/ 50 h 57"/>
                <a:gd name="T10" fmla="*/ 6 w 60"/>
                <a:gd name="T11" fmla="*/ 41 h 57"/>
                <a:gd name="T12" fmla="*/ 7 w 60"/>
                <a:gd name="T13" fmla="*/ 40 h 57"/>
                <a:gd name="T14" fmla="*/ 23 w 60"/>
                <a:gd name="T15" fmla="*/ 56 h 57"/>
                <a:gd name="T16" fmla="*/ 27 w 60"/>
                <a:gd name="T17" fmla="*/ 56 h 57"/>
                <a:gd name="T18" fmla="*/ 27 w 60"/>
                <a:gd name="T19" fmla="*/ 53 h 57"/>
                <a:gd name="T20" fmla="*/ 8 w 60"/>
                <a:gd name="T21" fmla="*/ 34 h 57"/>
                <a:gd name="T22" fmla="*/ 8 w 60"/>
                <a:gd name="T23" fmla="*/ 34 h 57"/>
                <a:gd name="T24" fmla="*/ 10 w 60"/>
                <a:gd name="T25" fmla="*/ 28 h 57"/>
                <a:gd name="T26" fmla="*/ 11 w 60"/>
                <a:gd name="T27" fmla="*/ 27 h 57"/>
                <a:gd name="T28" fmla="*/ 35 w 60"/>
                <a:gd name="T29" fmla="*/ 52 h 57"/>
                <a:gd name="T30" fmla="*/ 39 w 60"/>
                <a:gd name="T31" fmla="*/ 52 h 57"/>
                <a:gd name="T32" fmla="*/ 39 w 60"/>
                <a:gd name="T33" fmla="*/ 49 h 57"/>
                <a:gd name="T34" fmla="*/ 13 w 60"/>
                <a:gd name="T35" fmla="*/ 23 h 57"/>
                <a:gd name="T36" fmla="*/ 13 w 60"/>
                <a:gd name="T37" fmla="*/ 23 h 57"/>
                <a:gd name="T38" fmla="*/ 17 w 60"/>
                <a:gd name="T39" fmla="*/ 18 h 57"/>
                <a:gd name="T40" fmla="*/ 17 w 60"/>
                <a:gd name="T41" fmla="*/ 18 h 57"/>
                <a:gd name="T42" fmla="*/ 45 w 60"/>
                <a:gd name="T43" fmla="*/ 46 h 57"/>
                <a:gd name="T44" fmla="*/ 49 w 60"/>
                <a:gd name="T45" fmla="*/ 46 h 57"/>
                <a:gd name="T46" fmla="*/ 49 w 60"/>
                <a:gd name="T47" fmla="*/ 44 h 57"/>
                <a:gd name="T48" fmla="*/ 49 w 60"/>
                <a:gd name="T49" fmla="*/ 43 h 57"/>
                <a:gd name="T50" fmla="*/ 21 w 60"/>
                <a:gd name="T51" fmla="*/ 15 h 57"/>
                <a:gd name="T52" fmla="*/ 21 w 60"/>
                <a:gd name="T53" fmla="*/ 14 h 57"/>
                <a:gd name="T54" fmla="*/ 26 w 60"/>
                <a:gd name="T55" fmla="*/ 11 h 57"/>
                <a:gd name="T56" fmla="*/ 26 w 60"/>
                <a:gd name="T57" fmla="*/ 11 h 57"/>
                <a:gd name="T58" fmla="*/ 52 w 60"/>
                <a:gd name="T59" fmla="*/ 36 h 57"/>
                <a:gd name="T60" fmla="*/ 55 w 60"/>
                <a:gd name="T61" fmla="*/ 36 h 57"/>
                <a:gd name="T62" fmla="*/ 55 w 60"/>
                <a:gd name="T63" fmla="*/ 34 h 57"/>
                <a:gd name="T64" fmla="*/ 55 w 60"/>
                <a:gd name="T65" fmla="*/ 33 h 57"/>
                <a:gd name="T66" fmla="*/ 31 w 60"/>
                <a:gd name="T67" fmla="*/ 8 h 57"/>
                <a:gd name="T68" fmla="*/ 32 w 60"/>
                <a:gd name="T69" fmla="*/ 8 h 57"/>
                <a:gd name="T70" fmla="*/ 37 w 60"/>
                <a:gd name="T71" fmla="*/ 6 h 57"/>
                <a:gd name="T72" fmla="*/ 38 w 60"/>
                <a:gd name="T73" fmla="*/ 6 h 57"/>
                <a:gd name="T74" fmla="*/ 56 w 60"/>
                <a:gd name="T75" fmla="*/ 24 h 57"/>
                <a:gd name="T76" fmla="*/ 59 w 60"/>
                <a:gd name="T77" fmla="*/ 24 h 57"/>
                <a:gd name="T78" fmla="*/ 60 w 60"/>
                <a:gd name="T79" fmla="*/ 22 h 57"/>
                <a:gd name="T80" fmla="*/ 59 w 60"/>
                <a:gd name="T81" fmla="*/ 21 h 57"/>
                <a:gd name="T82" fmla="*/ 43 w 60"/>
                <a:gd name="T83" fmla="*/ 5 h 57"/>
                <a:gd name="T84" fmla="*/ 45 w 60"/>
                <a:gd name="T85" fmla="*/ 5 h 57"/>
                <a:gd name="T86" fmla="*/ 54 w 60"/>
                <a:gd name="T87" fmla="*/ 5 h 57"/>
                <a:gd name="T88" fmla="*/ 57 w 60"/>
                <a:gd name="T89" fmla="*/ 4 h 57"/>
                <a:gd name="T90" fmla="*/ 55 w 60"/>
                <a:gd name="T91" fmla="*/ 1 h 57"/>
                <a:gd name="T92" fmla="*/ 39 w 60"/>
                <a:gd name="T93" fmla="*/ 1 h 57"/>
                <a:gd name="T94" fmla="*/ 39 w 60"/>
                <a:gd name="T95" fmla="*/ 1 h 57"/>
                <a:gd name="T96" fmla="*/ 39 w 60"/>
                <a:gd name="T97" fmla="*/ 1 h 57"/>
                <a:gd name="T98" fmla="*/ 37 w 60"/>
                <a:gd name="T99" fmla="*/ 1 h 57"/>
                <a:gd name="T100" fmla="*/ 37 w 60"/>
                <a:gd name="T101" fmla="*/ 2 h 57"/>
                <a:gd name="T102" fmla="*/ 26 w 60"/>
                <a:gd name="T103" fmla="*/ 5 h 57"/>
                <a:gd name="T104" fmla="*/ 26 w 60"/>
                <a:gd name="T105" fmla="*/ 5 h 57"/>
                <a:gd name="T106" fmla="*/ 25 w 60"/>
                <a:gd name="T107" fmla="*/ 6 h 57"/>
                <a:gd name="T108" fmla="*/ 25 w 60"/>
                <a:gd name="T109" fmla="*/ 6 h 57"/>
                <a:gd name="T110" fmla="*/ 16 w 60"/>
                <a:gd name="T111" fmla="*/ 13 h 57"/>
                <a:gd name="T112" fmla="*/ 15 w 60"/>
                <a:gd name="T113" fmla="*/ 13 h 57"/>
                <a:gd name="T114" fmla="*/ 15 w 60"/>
                <a:gd name="T115" fmla="*/ 14 h 57"/>
                <a:gd name="T116" fmla="*/ 2 w 60"/>
                <a:gd name="T11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" h="57">
                  <a:moveTo>
                    <a:pt x="2" y="50"/>
                  </a:moveTo>
                  <a:cubicBezTo>
                    <a:pt x="2" y="51"/>
                    <a:pt x="3" y="52"/>
                    <a:pt x="4" y="5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5" y="52"/>
                    <a:pt x="6" y="51"/>
                    <a:pt x="6" y="50"/>
                  </a:cubicBezTo>
                  <a:cubicBezTo>
                    <a:pt x="6" y="47"/>
                    <a:pt x="6" y="44"/>
                    <a:pt x="6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7"/>
                    <a:pt x="26" y="57"/>
                    <a:pt x="27" y="56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2"/>
                    <a:pt x="9" y="30"/>
                    <a:pt x="10" y="2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6" y="53"/>
                    <a:pt x="38" y="53"/>
                    <a:pt x="39" y="52"/>
                  </a:cubicBezTo>
                  <a:cubicBezTo>
                    <a:pt x="40" y="51"/>
                    <a:pt x="39" y="50"/>
                    <a:pt x="39" y="49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1"/>
                    <a:pt x="16" y="20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6" y="47"/>
                    <a:pt x="48" y="47"/>
                    <a:pt x="49" y="46"/>
                  </a:cubicBezTo>
                  <a:cubicBezTo>
                    <a:pt x="49" y="46"/>
                    <a:pt x="49" y="45"/>
                    <a:pt x="49" y="44"/>
                  </a:cubicBezTo>
                  <a:cubicBezTo>
                    <a:pt x="49" y="44"/>
                    <a:pt x="49" y="43"/>
                    <a:pt x="49" y="4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3" y="13"/>
                    <a:pt x="24" y="12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7"/>
                    <a:pt x="54" y="37"/>
                    <a:pt x="55" y="36"/>
                  </a:cubicBezTo>
                  <a:cubicBezTo>
                    <a:pt x="55" y="36"/>
                    <a:pt x="55" y="35"/>
                    <a:pt x="55" y="34"/>
                  </a:cubicBezTo>
                  <a:cubicBezTo>
                    <a:pt x="55" y="34"/>
                    <a:pt x="55" y="33"/>
                    <a:pt x="55" y="33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7"/>
                    <a:pt x="36" y="7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5"/>
                    <a:pt x="58" y="25"/>
                    <a:pt x="59" y="24"/>
                  </a:cubicBezTo>
                  <a:cubicBezTo>
                    <a:pt x="59" y="23"/>
                    <a:pt x="60" y="23"/>
                    <a:pt x="60" y="22"/>
                  </a:cubicBezTo>
                  <a:cubicBezTo>
                    <a:pt x="60" y="22"/>
                    <a:pt x="59" y="21"/>
                    <a:pt x="59" y="21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8" y="5"/>
                    <a:pt x="51" y="5"/>
                    <a:pt x="54" y="5"/>
                  </a:cubicBezTo>
                  <a:cubicBezTo>
                    <a:pt x="55" y="6"/>
                    <a:pt x="57" y="5"/>
                    <a:pt x="57" y="4"/>
                  </a:cubicBezTo>
                  <a:cubicBezTo>
                    <a:pt x="57" y="2"/>
                    <a:pt x="56" y="1"/>
                    <a:pt x="55" y="1"/>
                  </a:cubicBezTo>
                  <a:cubicBezTo>
                    <a:pt x="50" y="0"/>
                    <a:pt x="44" y="0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7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3" y="2"/>
                    <a:pt x="30" y="4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2" y="8"/>
                    <a:pt x="19" y="10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4"/>
                    <a:pt x="15" y="14"/>
                  </a:cubicBezTo>
                  <a:cubicBezTo>
                    <a:pt x="5" y="23"/>
                    <a:pt x="0" y="37"/>
                    <a:pt x="2" y="5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328">
              <a:extLst>
                <a:ext uri="{FF2B5EF4-FFF2-40B4-BE49-F238E27FC236}">
                  <a16:creationId xmlns:a16="http://schemas.microsoft.com/office/drawing/2014/main" id="{09DDFE8F-B729-4A79-AE04-87F6B547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3063"/>
              <a:ext cx="142" cy="140"/>
            </a:xfrm>
            <a:custGeom>
              <a:avLst/>
              <a:gdLst>
                <a:gd name="T0" fmla="*/ 51 w 58"/>
                <a:gd name="T1" fmla="*/ 34 h 57"/>
                <a:gd name="T2" fmla="*/ 51 w 58"/>
                <a:gd name="T3" fmla="*/ 34 h 57"/>
                <a:gd name="T4" fmla="*/ 57 w 58"/>
                <a:gd name="T5" fmla="*/ 7 h 57"/>
                <a:gd name="T6" fmla="*/ 55 w 58"/>
                <a:gd name="T7" fmla="*/ 5 h 57"/>
                <a:gd name="T8" fmla="*/ 53 w 58"/>
                <a:gd name="T9" fmla="*/ 8 h 57"/>
                <a:gd name="T10" fmla="*/ 53 w 58"/>
                <a:gd name="T11" fmla="*/ 16 h 57"/>
                <a:gd name="T12" fmla="*/ 53 w 58"/>
                <a:gd name="T13" fmla="*/ 17 h 57"/>
                <a:gd name="T14" fmla="*/ 36 w 58"/>
                <a:gd name="T15" fmla="*/ 1 h 57"/>
                <a:gd name="T16" fmla="*/ 33 w 58"/>
                <a:gd name="T17" fmla="*/ 1 h 57"/>
                <a:gd name="T18" fmla="*/ 32 w 58"/>
                <a:gd name="T19" fmla="*/ 2 h 57"/>
                <a:gd name="T20" fmla="*/ 33 w 58"/>
                <a:gd name="T21" fmla="*/ 4 h 57"/>
                <a:gd name="T22" fmla="*/ 51 w 58"/>
                <a:gd name="T23" fmla="*/ 22 h 57"/>
                <a:gd name="T24" fmla="*/ 51 w 58"/>
                <a:gd name="T25" fmla="*/ 23 h 57"/>
                <a:gd name="T26" fmla="*/ 49 w 58"/>
                <a:gd name="T27" fmla="*/ 28 h 57"/>
                <a:gd name="T28" fmla="*/ 49 w 58"/>
                <a:gd name="T29" fmla="*/ 29 h 57"/>
                <a:gd name="T30" fmla="*/ 24 w 58"/>
                <a:gd name="T31" fmla="*/ 5 h 57"/>
                <a:gd name="T32" fmla="*/ 22 w 58"/>
                <a:gd name="T33" fmla="*/ 4 h 57"/>
                <a:gd name="T34" fmla="*/ 21 w 58"/>
                <a:gd name="T35" fmla="*/ 5 h 57"/>
                <a:gd name="T36" fmla="*/ 21 w 58"/>
                <a:gd name="T37" fmla="*/ 8 h 57"/>
                <a:gd name="T38" fmla="*/ 46 w 58"/>
                <a:gd name="T39" fmla="*/ 33 h 57"/>
                <a:gd name="T40" fmla="*/ 46 w 58"/>
                <a:gd name="T41" fmla="*/ 34 h 57"/>
                <a:gd name="T42" fmla="*/ 42 w 58"/>
                <a:gd name="T43" fmla="*/ 38 h 57"/>
                <a:gd name="T44" fmla="*/ 42 w 58"/>
                <a:gd name="T45" fmla="*/ 39 h 57"/>
                <a:gd name="T46" fmla="*/ 14 w 58"/>
                <a:gd name="T47" fmla="*/ 11 h 57"/>
                <a:gd name="T48" fmla="*/ 12 w 58"/>
                <a:gd name="T49" fmla="*/ 10 h 57"/>
                <a:gd name="T50" fmla="*/ 11 w 58"/>
                <a:gd name="T51" fmla="*/ 11 h 57"/>
                <a:gd name="T52" fmla="*/ 11 w 58"/>
                <a:gd name="T53" fmla="*/ 14 h 57"/>
                <a:gd name="T54" fmla="*/ 39 w 58"/>
                <a:gd name="T55" fmla="*/ 42 h 57"/>
                <a:gd name="T56" fmla="*/ 38 w 58"/>
                <a:gd name="T57" fmla="*/ 43 h 57"/>
                <a:gd name="T58" fmla="*/ 34 w 58"/>
                <a:gd name="T59" fmla="*/ 46 h 57"/>
                <a:gd name="T60" fmla="*/ 33 w 58"/>
                <a:gd name="T61" fmla="*/ 46 h 57"/>
                <a:gd name="T62" fmla="*/ 33 w 58"/>
                <a:gd name="T63" fmla="*/ 46 h 57"/>
                <a:gd name="T64" fmla="*/ 8 w 58"/>
                <a:gd name="T65" fmla="*/ 21 h 57"/>
                <a:gd name="T66" fmla="*/ 6 w 58"/>
                <a:gd name="T67" fmla="*/ 20 h 57"/>
                <a:gd name="T68" fmla="*/ 6 w 58"/>
                <a:gd name="T69" fmla="*/ 20 h 57"/>
                <a:gd name="T70" fmla="*/ 4 w 58"/>
                <a:gd name="T71" fmla="*/ 21 h 57"/>
                <a:gd name="T72" fmla="*/ 4 w 58"/>
                <a:gd name="T73" fmla="*/ 24 h 57"/>
                <a:gd name="T74" fmla="*/ 29 w 58"/>
                <a:gd name="T75" fmla="*/ 48 h 57"/>
                <a:gd name="T76" fmla="*/ 28 w 58"/>
                <a:gd name="T77" fmla="*/ 49 h 57"/>
                <a:gd name="T78" fmla="*/ 22 w 58"/>
                <a:gd name="T79" fmla="*/ 51 h 57"/>
                <a:gd name="T80" fmla="*/ 22 w 58"/>
                <a:gd name="T81" fmla="*/ 51 h 57"/>
                <a:gd name="T82" fmla="*/ 21 w 58"/>
                <a:gd name="T83" fmla="*/ 51 h 57"/>
                <a:gd name="T84" fmla="*/ 4 w 58"/>
                <a:gd name="T85" fmla="*/ 33 h 57"/>
                <a:gd name="T86" fmla="*/ 2 w 58"/>
                <a:gd name="T87" fmla="*/ 32 h 57"/>
                <a:gd name="T88" fmla="*/ 0 w 58"/>
                <a:gd name="T89" fmla="*/ 33 h 57"/>
                <a:gd name="T90" fmla="*/ 0 w 58"/>
                <a:gd name="T91" fmla="*/ 35 h 57"/>
                <a:gd name="T92" fmla="*/ 0 w 58"/>
                <a:gd name="T93" fmla="*/ 36 h 57"/>
                <a:gd name="T94" fmla="*/ 16 w 58"/>
                <a:gd name="T95" fmla="*/ 52 h 57"/>
                <a:gd name="T96" fmla="*/ 14 w 58"/>
                <a:gd name="T97" fmla="*/ 52 h 57"/>
                <a:gd name="T98" fmla="*/ 6 w 58"/>
                <a:gd name="T99" fmla="*/ 52 h 57"/>
                <a:gd name="T100" fmla="*/ 6 w 58"/>
                <a:gd name="T101" fmla="*/ 52 h 57"/>
                <a:gd name="T102" fmla="*/ 4 w 58"/>
                <a:gd name="T103" fmla="*/ 52 h 57"/>
                <a:gd name="T104" fmla="*/ 3 w 58"/>
                <a:gd name="T105" fmla="*/ 54 h 57"/>
                <a:gd name="T106" fmla="*/ 5 w 58"/>
                <a:gd name="T107" fmla="*/ 56 h 57"/>
                <a:gd name="T108" fmla="*/ 12 w 58"/>
                <a:gd name="T109" fmla="*/ 57 h 57"/>
                <a:gd name="T110" fmla="*/ 33 w 58"/>
                <a:gd name="T111" fmla="*/ 51 h 57"/>
                <a:gd name="T112" fmla="*/ 34 w 58"/>
                <a:gd name="T113" fmla="*/ 51 h 57"/>
                <a:gd name="T114" fmla="*/ 43 w 58"/>
                <a:gd name="T115" fmla="*/ 44 h 57"/>
                <a:gd name="T116" fmla="*/ 44 w 58"/>
                <a:gd name="T117" fmla="*/ 44 h 57"/>
                <a:gd name="T118" fmla="*/ 44 w 58"/>
                <a:gd name="T119" fmla="*/ 43 h 57"/>
                <a:gd name="T120" fmla="*/ 44 w 58"/>
                <a:gd name="T121" fmla="*/ 43 h 57"/>
                <a:gd name="T122" fmla="*/ 51 w 58"/>
                <a:gd name="T123" fmla="*/ 34 h 57"/>
                <a:gd name="T124" fmla="*/ 51 w 58"/>
                <a:gd name="T125" fmla="*/ 3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" h="57">
                  <a:moveTo>
                    <a:pt x="51" y="34"/>
                  </a:moveTo>
                  <a:cubicBezTo>
                    <a:pt x="51" y="34"/>
                    <a:pt x="51" y="34"/>
                    <a:pt x="51" y="34"/>
                  </a:cubicBezTo>
                  <a:cubicBezTo>
                    <a:pt x="56" y="26"/>
                    <a:pt x="58" y="17"/>
                    <a:pt x="57" y="7"/>
                  </a:cubicBezTo>
                  <a:cubicBezTo>
                    <a:pt x="57" y="6"/>
                    <a:pt x="56" y="5"/>
                    <a:pt x="55" y="5"/>
                  </a:cubicBezTo>
                  <a:cubicBezTo>
                    <a:pt x="54" y="5"/>
                    <a:pt x="53" y="6"/>
                    <a:pt x="53" y="8"/>
                  </a:cubicBezTo>
                  <a:cubicBezTo>
                    <a:pt x="53" y="10"/>
                    <a:pt x="53" y="13"/>
                    <a:pt x="53" y="16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1"/>
                  </a:cubicBezTo>
                  <a:cubicBezTo>
                    <a:pt x="32" y="1"/>
                    <a:pt x="32" y="2"/>
                    <a:pt x="32" y="2"/>
                  </a:cubicBezTo>
                  <a:cubicBezTo>
                    <a:pt x="32" y="3"/>
                    <a:pt x="32" y="3"/>
                    <a:pt x="33" y="4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5"/>
                    <a:pt x="50" y="27"/>
                    <a:pt x="49" y="28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1" y="4"/>
                    <a:pt x="21" y="5"/>
                  </a:cubicBezTo>
                  <a:cubicBezTo>
                    <a:pt x="20" y="6"/>
                    <a:pt x="20" y="7"/>
                    <a:pt x="21" y="8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5"/>
                    <a:pt x="44" y="37"/>
                    <a:pt x="42" y="38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0"/>
                    <a:pt x="13" y="10"/>
                    <a:pt x="12" y="10"/>
                  </a:cubicBezTo>
                  <a:cubicBezTo>
                    <a:pt x="12" y="10"/>
                    <a:pt x="11" y="10"/>
                    <a:pt x="11" y="11"/>
                  </a:cubicBezTo>
                  <a:cubicBezTo>
                    <a:pt x="10" y="12"/>
                    <a:pt x="10" y="13"/>
                    <a:pt x="11" y="1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4"/>
                    <a:pt x="35" y="45"/>
                    <a:pt x="34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0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21"/>
                  </a:cubicBezTo>
                  <a:cubicBezTo>
                    <a:pt x="4" y="22"/>
                    <a:pt x="4" y="23"/>
                    <a:pt x="4" y="24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6" y="50"/>
                    <a:pt x="24" y="50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2"/>
                    <a:pt x="2" y="32"/>
                  </a:cubicBezTo>
                  <a:cubicBezTo>
                    <a:pt x="1" y="32"/>
                    <a:pt x="1" y="33"/>
                    <a:pt x="0" y="33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0" y="35"/>
                    <a:pt x="0" y="36"/>
                    <a:pt x="0" y="36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1" y="52"/>
                    <a:pt x="9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2"/>
                    <a:pt x="4" y="52"/>
                  </a:cubicBezTo>
                  <a:cubicBezTo>
                    <a:pt x="4" y="53"/>
                    <a:pt x="4" y="53"/>
                    <a:pt x="3" y="54"/>
                  </a:cubicBezTo>
                  <a:cubicBezTo>
                    <a:pt x="3" y="55"/>
                    <a:pt x="4" y="56"/>
                    <a:pt x="5" y="56"/>
                  </a:cubicBezTo>
                  <a:cubicBezTo>
                    <a:pt x="8" y="57"/>
                    <a:pt x="10" y="57"/>
                    <a:pt x="12" y="57"/>
                  </a:cubicBezTo>
                  <a:cubicBezTo>
                    <a:pt x="19" y="57"/>
                    <a:pt x="27" y="55"/>
                    <a:pt x="33" y="51"/>
                  </a:cubicBezTo>
                  <a:cubicBezTo>
                    <a:pt x="33" y="51"/>
                    <a:pt x="33" y="51"/>
                    <a:pt x="34" y="51"/>
                  </a:cubicBezTo>
                  <a:cubicBezTo>
                    <a:pt x="37" y="49"/>
                    <a:pt x="40" y="47"/>
                    <a:pt x="43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7" y="41"/>
                    <a:pt x="49" y="38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5" name="Group 331">
            <a:extLst>
              <a:ext uri="{FF2B5EF4-FFF2-40B4-BE49-F238E27FC236}">
                <a16:creationId xmlns:a16="http://schemas.microsoft.com/office/drawing/2014/main" id="{A8BFE031-2BCA-45ED-AE6F-3DCA8B3260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1876" y="4105766"/>
            <a:ext cx="841375" cy="841375"/>
            <a:chOff x="3127" y="2662"/>
            <a:chExt cx="530" cy="530"/>
          </a:xfrm>
        </p:grpSpPr>
        <p:sp>
          <p:nvSpPr>
            <p:cNvPr id="366" name="AutoShape 330">
              <a:extLst>
                <a:ext uri="{FF2B5EF4-FFF2-40B4-BE49-F238E27FC236}">
                  <a16:creationId xmlns:a16="http://schemas.microsoft.com/office/drawing/2014/main" id="{3C202EA3-7C86-421D-933B-CB2C5D2C24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27" y="266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Oval 332">
              <a:extLst>
                <a:ext uri="{FF2B5EF4-FFF2-40B4-BE49-F238E27FC236}">
                  <a16:creationId xmlns:a16="http://schemas.microsoft.com/office/drawing/2014/main" id="{E71CB7B7-2B7A-4C91-B9AC-3610985AF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7" y="266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33">
              <a:extLst>
                <a:ext uri="{FF2B5EF4-FFF2-40B4-BE49-F238E27FC236}">
                  <a16:creationId xmlns:a16="http://schemas.microsoft.com/office/drawing/2014/main" id="{22574076-453C-4793-9085-A060654084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5" y="268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34">
              <a:extLst>
                <a:ext uri="{FF2B5EF4-FFF2-40B4-BE49-F238E27FC236}">
                  <a16:creationId xmlns:a16="http://schemas.microsoft.com/office/drawing/2014/main" id="{4ECB5458-EB12-427E-BD85-950E1690E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" y="2775"/>
              <a:ext cx="338" cy="307"/>
            </a:xfrm>
            <a:custGeom>
              <a:avLst/>
              <a:gdLst>
                <a:gd name="T0" fmla="*/ 125 w 132"/>
                <a:gd name="T1" fmla="*/ 2 h 120"/>
                <a:gd name="T2" fmla="*/ 122 w 132"/>
                <a:gd name="T3" fmla="*/ 1 h 120"/>
                <a:gd name="T4" fmla="*/ 121 w 132"/>
                <a:gd name="T5" fmla="*/ 2 h 120"/>
                <a:gd name="T6" fmla="*/ 121 w 132"/>
                <a:gd name="T7" fmla="*/ 4 h 120"/>
                <a:gd name="T8" fmla="*/ 112 w 132"/>
                <a:gd name="T9" fmla="*/ 49 h 120"/>
                <a:gd name="T10" fmla="*/ 67 w 132"/>
                <a:gd name="T11" fmla="*/ 58 h 120"/>
                <a:gd name="T12" fmla="*/ 49 w 132"/>
                <a:gd name="T13" fmla="*/ 54 h 120"/>
                <a:gd name="T14" fmla="*/ 17 w 132"/>
                <a:gd name="T15" fmla="*/ 68 h 120"/>
                <a:gd name="T16" fmla="*/ 7 w 132"/>
                <a:gd name="T17" fmla="*/ 118 h 120"/>
                <a:gd name="T18" fmla="*/ 10 w 132"/>
                <a:gd name="T19" fmla="*/ 119 h 120"/>
                <a:gd name="T20" fmla="*/ 11 w 132"/>
                <a:gd name="T21" fmla="*/ 118 h 120"/>
                <a:gd name="T22" fmla="*/ 11 w 132"/>
                <a:gd name="T23" fmla="*/ 116 h 120"/>
                <a:gd name="T24" fmla="*/ 20 w 132"/>
                <a:gd name="T25" fmla="*/ 71 h 120"/>
                <a:gd name="T26" fmla="*/ 65 w 132"/>
                <a:gd name="T27" fmla="*/ 62 h 120"/>
                <a:gd name="T28" fmla="*/ 115 w 132"/>
                <a:gd name="T29" fmla="*/ 52 h 120"/>
                <a:gd name="T30" fmla="*/ 125 w 132"/>
                <a:gd name="T31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120">
                  <a:moveTo>
                    <a:pt x="125" y="2"/>
                  </a:moveTo>
                  <a:cubicBezTo>
                    <a:pt x="125" y="1"/>
                    <a:pt x="123" y="0"/>
                    <a:pt x="122" y="1"/>
                  </a:cubicBezTo>
                  <a:cubicBezTo>
                    <a:pt x="121" y="1"/>
                    <a:pt x="121" y="2"/>
                    <a:pt x="121" y="2"/>
                  </a:cubicBezTo>
                  <a:cubicBezTo>
                    <a:pt x="121" y="3"/>
                    <a:pt x="121" y="3"/>
                    <a:pt x="121" y="4"/>
                  </a:cubicBezTo>
                  <a:cubicBezTo>
                    <a:pt x="127" y="19"/>
                    <a:pt x="124" y="37"/>
                    <a:pt x="112" y="49"/>
                  </a:cubicBezTo>
                  <a:cubicBezTo>
                    <a:pt x="100" y="61"/>
                    <a:pt x="82" y="64"/>
                    <a:pt x="67" y="58"/>
                  </a:cubicBezTo>
                  <a:cubicBezTo>
                    <a:pt x="61" y="56"/>
                    <a:pt x="55" y="54"/>
                    <a:pt x="49" y="54"/>
                  </a:cubicBezTo>
                  <a:cubicBezTo>
                    <a:pt x="37" y="54"/>
                    <a:pt x="26" y="59"/>
                    <a:pt x="17" y="68"/>
                  </a:cubicBezTo>
                  <a:cubicBezTo>
                    <a:pt x="4" y="81"/>
                    <a:pt x="0" y="101"/>
                    <a:pt x="7" y="118"/>
                  </a:cubicBezTo>
                  <a:cubicBezTo>
                    <a:pt x="7" y="119"/>
                    <a:pt x="9" y="120"/>
                    <a:pt x="10" y="119"/>
                  </a:cubicBezTo>
                  <a:cubicBezTo>
                    <a:pt x="10" y="119"/>
                    <a:pt x="11" y="119"/>
                    <a:pt x="11" y="118"/>
                  </a:cubicBezTo>
                  <a:cubicBezTo>
                    <a:pt x="11" y="117"/>
                    <a:pt x="11" y="117"/>
                    <a:pt x="11" y="116"/>
                  </a:cubicBezTo>
                  <a:cubicBezTo>
                    <a:pt x="5" y="101"/>
                    <a:pt x="8" y="83"/>
                    <a:pt x="20" y="71"/>
                  </a:cubicBezTo>
                  <a:cubicBezTo>
                    <a:pt x="32" y="59"/>
                    <a:pt x="50" y="56"/>
                    <a:pt x="65" y="62"/>
                  </a:cubicBezTo>
                  <a:cubicBezTo>
                    <a:pt x="82" y="69"/>
                    <a:pt x="102" y="65"/>
                    <a:pt x="115" y="52"/>
                  </a:cubicBezTo>
                  <a:cubicBezTo>
                    <a:pt x="128" y="39"/>
                    <a:pt x="132" y="19"/>
                    <a:pt x="125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5">
              <a:extLst>
                <a:ext uri="{FF2B5EF4-FFF2-40B4-BE49-F238E27FC236}">
                  <a16:creationId xmlns:a16="http://schemas.microsoft.com/office/drawing/2014/main" id="{64A0CBB7-2931-482D-8207-A65B160D6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5" y="2767"/>
              <a:ext cx="154" cy="146"/>
            </a:xfrm>
            <a:custGeom>
              <a:avLst/>
              <a:gdLst>
                <a:gd name="T0" fmla="*/ 2 w 60"/>
                <a:gd name="T1" fmla="*/ 50 h 57"/>
                <a:gd name="T2" fmla="*/ 4 w 60"/>
                <a:gd name="T3" fmla="*/ 52 h 57"/>
                <a:gd name="T4" fmla="*/ 4 w 60"/>
                <a:gd name="T5" fmla="*/ 53 h 57"/>
                <a:gd name="T6" fmla="*/ 4 w 60"/>
                <a:gd name="T7" fmla="*/ 52 h 57"/>
                <a:gd name="T8" fmla="*/ 6 w 60"/>
                <a:gd name="T9" fmla="*/ 50 h 57"/>
                <a:gd name="T10" fmla="*/ 6 w 60"/>
                <a:gd name="T11" fmla="*/ 41 h 57"/>
                <a:gd name="T12" fmla="*/ 7 w 60"/>
                <a:gd name="T13" fmla="*/ 40 h 57"/>
                <a:gd name="T14" fmla="*/ 23 w 60"/>
                <a:gd name="T15" fmla="*/ 56 h 57"/>
                <a:gd name="T16" fmla="*/ 27 w 60"/>
                <a:gd name="T17" fmla="*/ 56 h 57"/>
                <a:gd name="T18" fmla="*/ 27 w 60"/>
                <a:gd name="T19" fmla="*/ 53 h 57"/>
                <a:gd name="T20" fmla="*/ 8 w 60"/>
                <a:gd name="T21" fmla="*/ 34 h 57"/>
                <a:gd name="T22" fmla="*/ 8 w 60"/>
                <a:gd name="T23" fmla="*/ 34 h 57"/>
                <a:gd name="T24" fmla="*/ 10 w 60"/>
                <a:gd name="T25" fmla="*/ 28 h 57"/>
                <a:gd name="T26" fmla="*/ 11 w 60"/>
                <a:gd name="T27" fmla="*/ 27 h 57"/>
                <a:gd name="T28" fmla="*/ 35 w 60"/>
                <a:gd name="T29" fmla="*/ 52 h 57"/>
                <a:gd name="T30" fmla="*/ 39 w 60"/>
                <a:gd name="T31" fmla="*/ 52 h 57"/>
                <a:gd name="T32" fmla="*/ 39 w 60"/>
                <a:gd name="T33" fmla="*/ 49 h 57"/>
                <a:gd name="T34" fmla="*/ 13 w 60"/>
                <a:gd name="T35" fmla="*/ 23 h 57"/>
                <a:gd name="T36" fmla="*/ 13 w 60"/>
                <a:gd name="T37" fmla="*/ 23 h 57"/>
                <a:gd name="T38" fmla="*/ 17 w 60"/>
                <a:gd name="T39" fmla="*/ 18 h 57"/>
                <a:gd name="T40" fmla="*/ 17 w 60"/>
                <a:gd name="T41" fmla="*/ 18 h 57"/>
                <a:gd name="T42" fmla="*/ 45 w 60"/>
                <a:gd name="T43" fmla="*/ 46 h 57"/>
                <a:gd name="T44" fmla="*/ 49 w 60"/>
                <a:gd name="T45" fmla="*/ 46 h 57"/>
                <a:gd name="T46" fmla="*/ 49 w 60"/>
                <a:gd name="T47" fmla="*/ 44 h 57"/>
                <a:gd name="T48" fmla="*/ 49 w 60"/>
                <a:gd name="T49" fmla="*/ 43 h 57"/>
                <a:gd name="T50" fmla="*/ 21 w 60"/>
                <a:gd name="T51" fmla="*/ 15 h 57"/>
                <a:gd name="T52" fmla="*/ 21 w 60"/>
                <a:gd name="T53" fmla="*/ 14 h 57"/>
                <a:gd name="T54" fmla="*/ 26 w 60"/>
                <a:gd name="T55" fmla="*/ 11 h 57"/>
                <a:gd name="T56" fmla="*/ 26 w 60"/>
                <a:gd name="T57" fmla="*/ 11 h 57"/>
                <a:gd name="T58" fmla="*/ 52 w 60"/>
                <a:gd name="T59" fmla="*/ 36 h 57"/>
                <a:gd name="T60" fmla="*/ 55 w 60"/>
                <a:gd name="T61" fmla="*/ 36 h 57"/>
                <a:gd name="T62" fmla="*/ 55 w 60"/>
                <a:gd name="T63" fmla="*/ 34 h 57"/>
                <a:gd name="T64" fmla="*/ 55 w 60"/>
                <a:gd name="T65" fmla="*/ 33 h 57"/>
                <a:gd name="T66" fmla="*/ 31 w 60"/>
                <a:gd name="T67" fmla="*/ 8 h 57"/>
                <a:gd name="T68" fmla="*/ 32 w 60"/>
                <a:gd name="T69" fmla="*/ 8 h 57"/>
                <a:gd name="T70" fmla="*/ 37 w 60"/>
                <a:gd name="T71" fmla="*/ 6 h 57"/>
                <a:gd name="T72" fmla="*/ 38 w 60"/>
                <a:gd name="T73" fmla="*/ 6 h 57"/>
                <a:gd name="T74" fmla="*/ 56 w 60"/>
                <a:gd name="T75" fmla="*/ 24 h 57"/>
                <a:gd name="T76" fmla="*/ 59 w 60"/>
                <a:gd name="T77" fmla="*/ 24 h 57"/>
                <a:gd name="T78" fmla="*/ 60 w 60"/>
                <a:gd name="T79" fmla="*/ 22 h 57"/>
                <a:gd name="T80" fmla="*/ 59 w 60"/>
                <a:gd name="T81" fmla="*/ 21 h 57"/>
                <a:gd name="T82" fmla="*/ 43 w 60"/>
                <a:gd name="T83" fmla="*/ 5 h 57"/>
                <a:gd name="T84" fmla="*/ 45 w 60"/>
                <a:gd name="T85" fmla="*/ 5 h 57"/>
                <a:gd name="T86" fmla="*/ 54 w 60"/>
                <a:gd name="T87" fmla="*/ 5 h 57"/>
                <a:gd name="T88" fmla="*/ 57 w 60"/>
                <a:gd name="T89" fmla="*/ 4 h 57"/>
                <a:gd name="T90" fmla="*/ 55 w 60"/>
                <a:gd name="T91" fmla="*/ 1 h 57"/>
                <a:gd name="T92" fmla="*/ 39 w 60"/>
                <a:gd name="T93" fmla="*/ 1 h 57"/>
                <a:gd name="T94" fmla="*/ 39 w 60"/>
                <a:gd name="T95" fmla="*/ 1 h 57"/>
                <a:gd name="T96" fmla="*/ 39 w 60"/>
                <a:gd name="T97" fmla="*/ 1 h 57"/>
                <a:gd name="T98" fmla="*/ 37 w 60"/>
                <a:gd name="T99" fmla="*/ 1 h 57"/>
                <a:gd name="T100" fmla="*/ 37 w 60"/>
                <a:gd name="T101" fmla="*/ 2 h 57"/>
                <a:gd name="T102" fmla="*/ 26 w 60"/>
                <a:gd name="T103" fmla="*/ 5 h 57"/>
                <a:gd name="T104" fmla="*/ 26 w 60"/>
                <a:gd name="T105" fmla="*/ 5 h 57"/>
                <a:gd name="T106" fmla="*/ 25 w 60"/>
                <a:gd name="T107" fmla="*/ 6 h 57"/>
                <a:gd name="T108" fmla="*/ 25 w 60"/>
                <a:gd name="T109" fmla="*/ 6 h 57"/>
                <a:gd name="T110" fmla="*/ 16 w 60"/>
                <a:gd name="T111" fmla="*/ 13 h 57"/>
                <a:gd name="T112" fmla="*/ 15 w 60"/>
                <a:gd name="T113" fmla="*/ 13 h 57"/>
                <a:gd name="T114" fmla="*/ 15 w 60"/>
                <a:gd name="T115" fmla="*/ 14 h 57"/>
                <a:gd name="T116" fmla="*/ 2 w 60"/>
                <a:gd name="T117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" h="57">
                  <a:moveTo>
                    <a:pt x="2" y="50"/>
                  </a:moveTo>
                  <a:cubicBezTo>
                    <a:pt x="2" y="51"/>
                    <a:pt x="3" y="52"/>
                    <a:pt x="4" y="52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5" y="52"/>
                    <a:pt x="6" y="51"/>
                    <a:pt x="6" y="50"/>
                  </a:cubicBezTo>
                  <a:cubicBezTo>
                    <a:pt x="6" y="47"/>
                    <a:pt x="6" y="44"/>
                    <a:pt x="6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7"/>
                    <a:pt x="26" y="57"/>
                    <a:pt x="27" y="56"/>
                  </a:cubicBezTo>
                  <a:cubicBezTo>
                    <a:pt x="27" y="55"/>
                    <a:pt x="27" y="54"/>
                    <a:pt x="27" y="5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9" y="32"/>
                    <a:pt x="9" y="30"/>
                    <a:pt x="10" y="2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6" y="53"/>
                    <a:pt x="38" y="53"/>
                    <a:pt x="39" y="52"/>
                  </a:cubicBezTo>
                  <a:cubicBezTo>
                    <a:pt x="40" y="51"/>
                    <a:pt x="39" y="50"/>
                    <a:pt x="39" y="49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1"/>
                    <a:pt x="16" y="20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6" y="47"/>
                    <a:pt x="48" y="47"/>
                    <a:pt x="49" y="46"/>
                  </a:cubicBezTo>
                  <a:cubicBezTo>
                    <a:pt x="49" y="46"/>
                    <a:pt x="49" y="45"/>
                    <a:pt x="49" y="44"/>
                  </a:cubicBezTo>
                  <a:cubicBezTo>
                    <a:pt x="49" y="44"/>
                    <a:pt x="49" y="43"/>
                    <a:pt x="49" y="4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3" y="13"/>
                    <a:pt x="24" y="12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7"/>
                    <a:pt x="54" y="37"/>
                    <a:pt x="55" y="36"/>
                  </a:cubicBezTo>
                  <a:cubicBezTo>
                    <a:pt x="55" y="36"/>
                    <a:pt x="55" y="35"/>
                    <a:pt x="55" y="34"/>
                  </a:cubicBezTo>
                  <a:cubicBezTo>
                    <a:pt x="55" y="34"/>
                    <a:pt x="55" y="33"/>
                    <a:pt x="55" y="33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7"/>
                    <a:pt x="36" y="7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5"/>
                    <a:pt x="58" y="25"/>
                    <a:pt x="59" y="24"/>
                  </a:cubicBezTo>
                  <a:cubicBezTo>
                    <a:pt x="59" y="23"/>
                    <a:pt x="60" y="23"/>
                    <a:pt x="60" y="22"/>
                  </a:cubicBezTo>
                  <a:cubicBezTo>
                    <a:pt x="60" y="22"/>
                    <a:pt x="59" y="21"/>
                    <a:pt x="59" y="21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8" y="5"/>
                    <a:pt x="51" y="5"/>
                    <a:pt x="54" y="5"/>
                  </a:cubicBezTo>
                  <a:cubicBezTo>
                    <a:pt x="55" y="6"/>
                    <a:pt x="57" y="5"/>
                    <a:pt x="57" y="4"/>
                  </a:cubicBezTo>
                  <a:cubicBezTo>
                    <a:pt x="57" y="2"/>
                    <a:pt x="56" y="1"/>
                    <a:pt x="55" y="1"/>
                  </a:cubicBezTo>
                  <a:cubicBezTo>
                    <a:pt x="50" y="0"/>
                    <a:pt x="44" y="0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7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3" y="2"/>
                    <a:pt x="30" y="4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2" y="8"/>
                    <a:pt x="19" y="10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4"/>
                    <a:pt x="15" y="14"/>
                  </a:cubicBezTo>
                  <a:cubicBezTo>
                    <a:pt x="5" y="23"/>
                    <a:pt x="0" y="37"/>
                    <a:pt x="2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6">
              <a:extLst>
                <a:ext uri="{FF2B5EF4-FFF2-40B4-BE49-F238E27FC236}">
                  <a16:creationId xmlns:a16="http://schemas.microsoft.com/office/drawing/2014/main" id="{4AC6E56F-BC44-4506-8448-A498622E9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" y="2944"/>
              <a:ext cx="149" cy="145"/>
            </a:xfrm>
            <a:custGeom>
              <a:avLst/>
              <a:gdLst>
                <a:gd name="T0" fmla="*/ 51 w 58"/>
                <a:gd name="T1" fmla="*/ 34 h 57"/>
                <a:gd name="T2" fmla="*/ 51 w 58"/>
                <a:gd name="T3" fmla="*/ 34 h 57"/>
                <a:gd name="T4" fmla="*/ 57 w 58"/>
                <a:gd name="T5" fmla="*/ 7 h 57"/>
                <a:gd name="T6" fmla="*/ 55 w 58"/>
                <a:gd name="T7" fmla="*/ 5 h 57"/>
                <a:gd name="T8" fmla="*/ 53 w 58"/>
                <a:gd name="T9" fmla="*/ 8 h 57"/>
                <a:gd name="T10" fmla="*/ 53 w 58"/>
                <a:gd name="T11" fmla="*/ 16 h 57"/>
                <a:gd name="T12" fmla="*/ 53 w 58"/>
                <a:gd name="T13" fmla="*/ 17 h 57"/>
                <a:gd name="T14" fmla="*/ 36 w 58"/>
                <a:gd name="T15" fmla="*/ 1 h 57"/>
                <a:gd name="T16" fmla="*/ 33 w 58"/>
                <a:gd name="T17" fmla="*/ 1 h 57"/>
                <a:gd name="T18" fmla="*/ 32 w 58"/>
                <a:gd name="T19" fmla="*/ 2 h 57"/>
                <a:gd name="T20" fmla="*/ 33 w 58"/>
                <a:gd name="T21" fmla="*/ 4 h 57"/>
                <a:gd name="T22" fmla="*/ 51 w 58"/>
                <a:gd name="T23" fmla="*/ 22 h 57"/>
                <a:gd name="T24" fmla="*/ 51 w 58"/>
                <a:gd name="T25" fmla="*/ 23 h 57"/>
                <a:gd name="T26" fmla="*/ 49 w 58"/>
                <a:gd name="T27" fmla="*/ 28 h 57"/>
                <a:gd name="T28" fmla="*/ 49 w 58"/>
                <a:gd name="T29" fmla="*/ 29 h 57"/>
                <a:gd name="T30" fmla="*/ 24 w 58"/>
                <a:gd name="T31" fmla="*/ 5 h 57"/>
                <a:gd name="T32" fmla="*/ 22 w 58"/>
                <a:gd name="T33" fmla="*/ 4 h 57"/>
                <a:gd name="T34" fmla="*/ 21 w 58"/>
                <a:gd name="T35" fmla="*/ 5 h 57"/>
                <a:gd name="T36" fmla="*/ 21 w 58"/>
                <a:gd name="T37" fmla="*/ 8 h 57"/>
                <a:gd name="T38" fmla="*/ 46 w 58"/>
                <a:gd name="T39" fmla="*/ 33 h 57"/>
                <a:gd name="T40" fmla="*/ 46 w 58"/>
                <a:gd name="T41" fmla="*/ 34 h 57"/>
                <a:gd name="T42" fmla="*/ 42 w 58"/>
                <a:gd name="T43" fmla="*/ 38 h 57"/>
                <a:gd name="T44" fmla="*/ 42 w 58"/>
                <a:gd name="T45" fmla="*/ 39 h 57"/>
                <a:gd name="T46" fmla="*/ 14 w 58"/>
                <a:gd name="T47" fmla="*/ 11 h 57"/>
                <a:gd name="T48" fmla="*/ 12 w 58"/>
                <a:gd name="T49" fmla="*/ 10 h 57"/>
                <a:gd name="T50" fmla="*/ 11 w 58"/>
                <a:gd name="T51" fmla="*/ 11 h 57"/>
                <a:gd name="T52" fmla="*/ 11 w 58"/>
                <a:gd name="T53" fmla="*/ 14 h 57"/>
                <a:gd name="T54" fmla="*/ 39 w 58"/>
                <a:gd name="T55" fmla="*/ 42 h 57"/>
                <a:gd name="T56" fmla="*/ 38 w 58"/>
                <a:gd name="T57" fmla="*/ 43 h 57"/>
                <a:gd name="T58" fmla="*/ 34 w 58"/>
                <a:gd name="T59" fmla="*/ 46 h 57"/>
                <a:gd name="T60" fmla="*/ 33 w 58"/>
                <a:gd name="T61" fmla="*/ 46 h 57"/>
                <a:gd name="T62" fmla="*/ 33 w 58"/>
                <a:gd name="T63" fmla="*/ 46 h 57"/>
                <a:gd name="T64" fmla="*/ 8 w 58"/>
                <a:gd name="T65" fmla="*/ 21 h 57"/>
                <a:gd name="T66" fmla="*/ 6 w 58"/>
                <a:gd name="T67" fmla="*/ 20 h 57"/>
                <a:gd name="T68" fmla="*/ 6 w 58"/>
                <a:gd name="T69" fmla="*/ 20 h 57"/>
                <a:gd name="T70" fmla="*/ 4 w 58"/>
                <a:gd name="T71" fmla="*/ 21 h 57"/>
                <a:gd name="T72" fmla="*/ 4 w 58"/>
                <a:gd name="T73" fmla="*/ 24 h 57"/>
                <a:gd name="T74" fmla="*/ 29 w 58"/>
                <a:gd name="T75" fmla="*/ 48 h 57"/>
                <a:gd name="T76" fmla="*/ 28 w 58"/>
                <a:gd name="T77" fmla="*/ 49 h 57"/>
                <a:gd name="T78" fmla="*/ 22 w 58"/>
                <a:gd name="T79" fmla="*/ 51 h 57"/>
                <a:gd name="T80" fmla="*/ 22 w 58"/>
                <a:gd name="T81" fmla="*/ 51 h 57"/>
                <a:gd name="T82" fmla="*/ 21 w 58"/>
                <a:gd name="T83" fmla="*/ 51 h 57"/>
                <a:gd name="T84" fmla="*/ 4 w 58"/>
                <a:gd name="T85" fmla="*/ 33 h 57"/>
                <a:gd name="T86" fmla="*/ 2 w 58"/>
                <a:gd name="T87" fmla="*/ 32 h 57"/>
                <a:gd name="T88" fmla="*/ 0 w 58"/>
                <a:gd name="T89" fmla="*/ 33 h 57"/>
                <a:gd name="T90" fmla="*/ 0 w 58"/>
                <a:gd name="T91" fmla="*/ 35 h 57"/>
                <a:gd name="T92" fmla="*/ 0 w 58"/>
                <a:gd name="T93" fmla="*/ 36 h 57"/>
                <a:gd name="T94" fmla="*/ 16 w 58"/>
                <a:gd name="T95" fmla="*/ 52 h 57"/>
                <a:gd name="T96" fmla="*/ 14 w 58"/>
                <a:gd name="T97" fmla="*/ 52 h 57"/>
                <a:gd name="T98" fmla="*/ 6 w 58"/>
                <a:gd name="T99" fmla="*/ 52 h 57"/>
                <a:gd name="T100" fmla="*/ 6 w 58"/>
                <a:gd name="T101" fmla="*/ 52 h 57"/>
                <a:gd name="T102" fmla="*/ 4 w 58"/>
                <a:gd name="T103" fmla="*/ 52 h 57"/>
                <a:gd name="T104" fmla="*/ 3 w 58"/>
                <a:gd name="T105" fmla="*/ 54 h 57"/>
                <a:gd name="T106" fmla="*/ 5 w 58"/>
                <a:gd name="T107" fmla="*/ 56 h 57"/>
                <a:gd name="T108" fmla="*/ 12 w 58"/>
                <a:gd name="T109" fmla="*/ 57 h 57"/>
                <a:gd name="T110" fmla="*/ 33 w 58"/>
                <a:gd name="T111" fmla="*/ 51 h 57"/>
                <a:gd name="T112" fmla="*/ 34 w 58"/>
                <a:gd name="T113" fmla="*/ 51 h 57"/>
                <a:gd name="T114" fmla="*/ 43 w 58"/>
                <a:gd name="T115" fmla="*/ 44 h 57"/>
                <a:gd name="T116" fmla="*/ 44 w 58"/>
                <a:gd name="T117" fmla="*/ 44 h 57"/>
                <a:gd name="T118" fmla="*/ 44 w 58"/>
                <a:gd name="T119" fmla="*/ 43 h 57"/>
                <a:gd name="T120" fmla="*/ 44 w 58"/>
                <a:gd name="T121" fmla="*/ 43 h 57"/>
                <a:gd name="T122" fmla="*/ 51 w 58"/>
                <a:gd name="T123" fmla="*/ 34 h 57"/>
                <a:gd name="T124" fmla="*/ 51 w 58"/>
                <a:gd name="T125" fmla="*/ 3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" h="57">
                  <a:moveTo>
                    <a:pt x="51" y="34"/>
                  </a:moveTo>
                  <a:cubicBezTo>
                    <a:pt x="51" y="34"/>
                    <a:pt x="51" y="34"/>
                    <a:pt x="51" y="34"/>
                  </a:cubicBezTo>
                  <a:cubicBezTo>
                    <a:pt x="56" y="26"/>
                    <a:pt x="58" y="17"/>
                    <a:pt x="57" y="7"/>
                  </a:cubicBezTo>
                  <a:cubicBezTo>
                    <a:pt x="57" y="6"/>
                    <a:pt x="56" y="5"/>
                    <a:pt x="55" y="5"/>
                  </a:cubicBezTo>
                  <a:cubicBezTo>
                    <a:pt x="54" y="5"/>
                    <a:pt x="53" y="6"/>
                    <a:pt x="53" y="8"/>
                  </a:cubicBezTo>
                  <a:cubicBezTo>
                    <a:pt x="53" y="10"/>
                    <a:pt x="53" y="13"/>
                    <a:pt x="53" y="16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1"/>
                  </a:cubicBezTo>
                  <a:cubicBezTo>
                    <a:pt x="32" y="1"/>
                    <a:pt x="32" y="2"/>
                    <a:pt x="32" y="2"/>
                  </a:cubicBezTo>
                  <a:cubicBezTo>
                    <a:pt x="32" y="3"/>
                    <a:pt x="32" y="3"/>
                    <a:pt x="33" y="4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5"/>
                    <a:pt x="50" y="27"/>
                    <a:pt x="49" y="28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1" y="4"/>
                    <a:pt x="21" y="5"/>
                  </a:cubicBezTo>
                  <a:cubicBezTo>
                    <a:pt x="20" y="6"/>
                    <a:pt x="20" y="7"/>
                    <a:pt x="21" y="8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5"/>
                    <a:pt x="44" y="37"/>
                    <a:pt x="42" y="38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0"/>
                    <a:pt x="13" y="10"/>
                    <a:pt x="12" y="10"/>
                  </a:cubicBezTo>
                  <a:cubicBezTo>
                    <a:pt x="12" y="10"/>
                    <a:pt x="11" y="10"/>
                    <a:pt x="11" y="11"/>
                  </a:cubicBezTo>
                  <a:cubicBezTo>
                    <a:pt x="10" y="12"/>
                    <a:pt x="10" y="13"/>
                    <a:pt x="11" y="1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4"/>
                    <a:pt x="35" y="45"/>
                    <a:pt x="34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0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21"/>
                  </a:cubicBezTo>
                  <a:cubicBezTo>
                    <a:pt x="4" y="22"/>
                    <a:pt x="4" y="23"/>
                    <a:pt x="4" y="24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6" y="50"/>
                    <a:pt x="24" y="50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2"/>
                    <a:pt x="2" y="32"/>
                  </a:cubicBezTo>
                  <a:cubicBezTo>
                    <a:pt x="1" y="32"/>
                    <a:pt x="1" y="33"/>
                    <a:pt x="0" y="33"/>
                  </a:cubicBezTo>
                  <a:cubicBezTo>
                    <a:pt x="0" y="33"/>
                    <a:pt x="0" y="34"/>
                    <a:pt x="0" y="35"/>
                  </a:cubicBezTo>
                  <a:cubicBezTo>
                    <a:pt x="0" y="35"/>
                    <a:pt x="0" y="36"/>
                    <a:pt x="0" y="36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1" y="52"/>
                    <a:pt x="9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2"/>
                    <a:pt x="4" y="52"/>
                  </a:cubicBezTo>
                  <a:cubicBezTo>
                    <a:pt x="4" y="53"/>
                    <a:pt x="4" y="53"/>
                    <a:pt x="3" y="54"/>
                  </a:cubicBezTo>
                  <a:cubicBezTo>
                    <a:pt x="3" y="55"/>
                    <a:pt x="4" y="56"/>
                    <a:pt x="5" y="56"/>
                  </a:cubicBezTo>
                  <a:cubicBezTo>
                    <a:pt x="8" y="57"/>
                    <a:pt x="10" y="57"/>
                    <a:pt x="12" y="57"/>
                  </a:cubicBezTo>
                  <a:cubicBezTo>
                    <a:pt x="19" y="57"/>
                    <a:pt x="27" y="55"/>
                    <a:pt x="33" y="51"/>
                  </a:cubicBezTo>
                  <a:cubicBezTo>
                    <a:pt x="33" y="51"/>
                    <a:pt x="33" y="51"/>
                    <a:pt x="34" y="51"/>
                  </a:cubicBezTo>
                  <a:cubicBezTo>
                    <a:pt x="37" y="49"/>
                    <a:pt x="40" y="47"/>
                    <a:pt x="43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7" y="41"/>
                    <a:pt x="49" y="38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6" name="Group 339">
            <a:extLst>
              <a:ext uri="{FF2B5EF4-FFF2-40B4-BE49-F238E27FC236}">
                <a16:creationId xmlns:a16="http://schemas.microsoft.com/office/drawing/2014/main" id="{18C5AE5D-0B47-4BCB-94B1-55E02964AE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3433" y="4147041"/>
            <a:ext cx="758825" cy="758825"/>
            <a:chOff x="5084" y="2717"/>
            <a:chExt cx="478" cy="478"/>
          </a:xfrm>
        </p:grpSpPr>
        <p:sp>
          <p:nvSpPr>
            <p:cNvPr id="377" name="AutoShape 338">
              <a:extLst>
                <a:ext uri="{FF2B5EF4-FFF2-40B4-BE49-F238E27FC236}">
                  <a16:creationId xmlns:a16="http://schemas.microsoft.com/office/drawing/2014/main" id="{1C3CC623-4AF6-4595-85EA-36C0157D17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4" y="271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40">
              <a:extLst>
                <a:ext uri="{FF2B5EF4-FFF2-40B4-BE49-F238E27FC236}">
                  <a16:creationId xmlns:a16="http://schemas.microsoft.com/office/drawing/2014/main" id="{5F35D175-52DB-4A0A-9FE3-AA6888B33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6" y="271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41">
              <a:extLst>
                <a:ext uri="{FF2B5EF4-FFF2-40B4-BE49-F238E27FC236}">
                  <a16:creationId xmlns:a16="http://schemas.microsoft.com/office/drawing/2014/main" id="{BD58AF83-C3FA-4317-936F-8E40DCFAF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2" y="2837"/>
              <a:ext cx="304" cy="240"/>
            </a:xfrm>
            <a:custGeom>
              <a:avLst/>
              <a:gdLst>
                <a:gd name="T0" fmla="*/ 78 w 124"/>
                <a:gd name="T1" fmla="*/ 90 h 98"/>
                <a:gd name="T2" fmla="*/ 76 w 124"/>
                <a:gd name="T3" fmla="*/ 51 h 98"/>
                <a:gd name="T4" fmla="*/ 74 w 124"/>
                <a:gd name="T5" fmla="*/ 90 h 98"/>
                <a:gd name="T6" fmla="*/ 64 w 124"/>
                <a:gd name="T7" fmla="*/ 84 h 98"/>
                <a:gd name="T8" fmla="*/ 75 w 124"/>
                <a:gd name="T9" fmla="*/ 97 h 98"/>
                <a:gd name="T10" fmla="*/ 77 w 124"/>
                <a:gd name="T11" fmla="*/ 98 h 98"/>
                <a:gd name="T12" fmla="*/ 88 w 124"/>
                <a:gd name="T13" fmla="*/ 87 h 98"/>
                <a:gd name="T14" fmla="*/ 85 w 124"/>
                <a:gd name="T15" fmla="*/ 83 h 98"/>
                <a:gd name="T16" fmla="*/ 49 w 124"/>
                <a:gd name="T17" fmla="*/ 51 h 98"/>
                <a:gd name="T18" fmla="*/ 37 w 124"/>
                <a:gd name="T19" fmla="*/ 62 h 98"/>
                <a:gd name="T20" fmla="*/ 40 w 124"/>
                <a:gd name="T21" fmla="*/ 65 h 98"/>
                <a:gd name="T22" fmla="*/ 46 w 124"/>
                <a:gd name="T23" fmla="*/ 96 h 98"/>
                <a:gd name="T24" fmla="*/ 51 w 124"/>
                <a:gd name="T25" fmla="*/ 96 h 98"/>
                <a:gd name="T26" fmla="*/ 57 w 124"/>
                <a:gd name="T27" fmla="*/ 65 h 98"/>
                <a:gd name="T28" fmla="*/ 61 w 124"/>
                <a:gd name="T29" fmla="*/ 65 h 98"/>
                <a:gd name="T30" fmla="*/ 51 w 124"/>
                <a:gd name="T31" fmla="*/ 52 h 98"/>
                <a:gd name="T32" fmla="*/ 110 w 124"/>
                <a:gd name="T33" fmla="*/ 34 h 98"/>
                <a:gd name="T34" fmla="*/ 55 w 124"/>
                <a:gd name="T35" fmla="*/ 7 h 98"/>
                <a:gd name="T36" fmla="*/ 34 w 124"/>
                <a:gd name="T37" fmla="*/ 19 h 98"/>
                <a:gd name="T38" fmla="*/ 5 w 124"/>
                <a:gd name="T39" fmla="*/ 41 h 98"/>
                <a:gd name="T40" fmla="*/ 5 w 124"/>
                <a:gd name="T41" fmla="*/ 67 h 98"/>
                <a:gd name="T42" fmla="*/ 29 w 124"/>
                <a:gd name="T43" fmla="*/ 73 h 98"/>
                <a:gd name="T44" fmla="*/ 29 w 124"/>
                <a:gd name="T45" fmla="*/ 69 h 98"/>
                <a:gd name="T46" fmla="*/ 4 w 124"/>
                <a:gd name="T47" fmla="*/ 53 h 98"/>
                <a:gd name="T48" fmla="*/ 14 w 124"/>
                <a:gd name="T49" fmla="*/ 43 h 98"/>
                <a:gd name="T50" fmla="*/ 17 w 124"/>
                <a:gd name="T51" fmla="*/ 44 h 98"/>
                <a:gd name="T52" fmla="*/ 19 w 124"/>
                <a:gd name="T53" fmla="*/ 39 h 98"/>
                <a:gd name="T54" fmla="*/ 19 w 124"/>
                <a:gd name="T55" fmla="*/ 36 h 98"/>
                <a:gd name="T56" fmla="*/ 43 w 124"/>
                <a:gd name="T57" fmla="*/ 26 h 98"/>
                <a:gd name="T58" fmla="*/ 45 w 124"/>
                <a:gd name="T59" fmla="*/ 27 h 98"/>
                <a:gd name="T60" fmla="*/ 47 w 124"/>
                <a:gd name="T61" fmla="*/ 25 h 98"/>
                <a:gd name="T62" fmla="*/ 105 w 124"/>
                <a:gd name="T63" fmla="*/ 34 h 98"/>
                <a:gd name="T64" fmla="*/ 106 w 124"/>
                <a:gd name="T65" fmla="*/ 44 h 98"/>
                <a:gd name="T66" fmla="*/ 109 w 124"/>
                <a:gd name="T67" fmla="*/ 42 h 98"/>
                <a:gd name="T68" fmla="*/ 120 w 124"/>
                <a:gd name="T69" fmla="*/ 54 h 98"/>
                <a:gd name="T70" fmla="*/ 93 w 124"/>
                <a:gd name="T71" fmla="*/ 69 h 98"/>
                <a:gd name="T72" fmla="*/ 93 w 124"/>
                <a:gd name="T73" fmla="*/ 73 h 98"/>
                <a:gd name="T74" fmla="*/ 124 w 124"/>
                <a:gd name="T75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98">
                  <a:moveTo>
                    <a:pt x="85" y="83"/>
                  </a:moveTo>
                  <a:cubicBezTo>
                    <a:pt x="78" y="90"/>
                    <a:pt x="78" y="90"/>
                    <a:pt x="78" y="90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2"/>
                    <a:pt x="77" y="51"/>
                    <a:pt x="76" y="51"/>
                  </a:cubicBezTo>
                  <a:cubicBezTo>
                    <a:pt x="75" y="51"/>
                    <a:pt x="74" y="52"/>
                    <a:pt x="74" y="54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7" y="83"/>
                    <a:pt x="65" y="83"/>
                    <a:pt x="64" y="84"/>
                  </a:cubicBezTo>
                  <a:cubicBezTo>
                    <a:pt x="64" y="85"/>
                    <a:pt x="64" y="86"/>
                    <a:pt x="65" y="87"/>
                  </a:cubicBezTo>
                  <a:cubicBezTo>
                    <a:pt x="75" y="97"/>
                    <a:pt x="75" y="97"/>
                    <a:pt x="75" y="97"/>
                  </a:cubicBezTo>
                  <a:cubicBezTo>
                    <a:pt x="75" y="97"/>
                    <a:pt x="76" y="98"/>
                    <a:pt x="76" y="98"/>
                  </a:cubicBezTo>
                  <a:cubicBezTo>
                    <a:pt x="76" y="98"/>
                    <a:pt x="76" y="98"/>
                    <a:pt x="77" y="98"/>
                  </a:cubicBezTo>
                  <a:cubicBezTo>
                    <a:pt x="77" y="97"/>
                    <a:pt x="78" y="97"/>
                    <a:pt x="78" y="97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9" y="86"/>
                    <a:pt x="89" y="84"/>
                    <a:pt x="88" y="83"/>
                  </a:cubicBezTo>
                  <a:cubicBezTo>
                    <a:pt x="87" y="83"/>
                    <a:pt x="85" y="83"/>
                    <a:pt x="85" y="83"/>
                  </a:cubicBezTo>
                  <a:moveTo>
                    <a:pt x="51" y="52"/>
                  </a:moveTo>
                  <a:cubicBezTo>
                    <a:pt x="50" y="51"/>
                    <a:pt x="50" y="51"/>
                    <a:pt x="49" y="51"/>
                  </a:cubicBezTo>
                  <a:cubicBezTo>
                    <a:pt x="48" y="51"/>
                    <a:pt x="48" y="51"/>
                    <a:pt x="47" y="5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6" y="63"/>
                    <a:pt x="36" y="64"/>
                    <a:pt x="37" y="65"/>
                  </a:cubicBezTo>
                  <a:cubicBezTo>
                    <a:pt x="38" y="66"/>
                    <a:pt x="40" y="66"/>
                    <a:pt x="40" y="65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6" y="97"/>
                    <a:pt x="47" y="98"/>
                    <a:pt x="48" y="98"/>
                  </a:cubicBezTo>
                  <a:cubicBezTo>
                    <a:pt x="50" y="98"/>
                    <a:pt x="51" y="97"/>
                    <a:pt x="51" y="9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6"/>
                    <a:pt x="58" y="66"/>
                    <a:pt x="59" y="66"/>
                  </a:cubicBezTo>
                  <a:cubicBezTo>
                    <a:pt x="60" y="66"/>
                    <a:pt x="60" y="66"/>
                    <a:pt x="61" y="65"/>
                  </a:cubicBezTo>
                  <a:cubicBezTo>
                    <a:pt x="62" y="64"/>
                    <a:pt x="62" y="63"/>
                    <a:pt x="61" y="62"/>
                  </a:cubicBezTo>
                  <a:lnTo>
                    <a:pt x="51" y="52"/>
                  </a:lnTo>
                  <a:close/>
                  <a:moveTo>
                    <a:pt x="110" y="35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15"/>
                    <a:pt x="94" y="0"/>
                    <a:pt x="75" y="0"/>
                  </a:cubicBezTo>
                  <a:cubicBezTo>
                    <a:pt x="68" y="0"/>
                    <a:pt x="61" y="2"/>
                    <a:pt x="55" y="7"/>
                  </a:cubicBezTo>
                  <a:cubicBezTo>
                    <a:pt x="50" y="10"/>
                    <a:pt x="46" y="16"/>
                    <a:pt x="44" y="21"/>
                  </a:cubicBezTo>
                  <a:cubicBezTo>
                    <a:pt x="41" y="20"/>
                    <a:pt x="38" y="19"/>
                    <a:pt x="34" y="19"/>
                  </a:cubicBezTo>
                  <a:cubicBezTo>
                    <a:pt x="25" y="19"/>
                    <a:pt x="17" y="26"/>
                    <a:pt x="15" y="35"/>
                  </a:cubicBezTo>
                  <a:cubicBezTo>
                    <a:pt x="11" y="36"/>
                    <a:pt x="7" y="38"/>
                    <a:pt x="5" y="41"/>
                  </a:cubicBezTo>
                  <a:cubicBezTo>
                    <a:pt x="1" y="44"/>
                    <a:pt x="0" y="49"/>
                    <a:pt x="0" y="53"/>
                  </a:cubicBezTo>
                  <a:cubicBezTo>
                    <a:pt x="0" y="59"/>
                    <a:pt x="2" y="64"/>
                    <a:pt x="5" y="67"/>
                  </a:cubicBezTo>
                  <a:cubicBezTo>
                    <a:pt x="9" y="71"/>
                    <a:pt x="14" y="73"/>
                    <a:pt x="1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2"/>
                    <a:pt x="31" y="71"/>
                  </a:cubicBezTo>
                  <a:cubicBezTo>
                    <a:pt x="31" y="70"/>
                    <a:pt x="30" y="69"/>
                    <a:pt x="2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1" y="69"/>
                    <a:pt x="4" y="62"/>
                    <a:pt x="4" y="53"/>
                  </a:cubicBezTo>
                  <a:cubicBezTo>
                    <a:pt x="4" y="47"/>
                    <a:pt x="8" y="42"/>
                    <a:pt x="14" y="40"/>
                  </a:cubicBezTo>
                  <a:cubicBezTo>
                    <a:pt x="14" y="41"/>
                    <a:pt x="14" y="42"/>
                    <a:pt x="14" y="43"/>
                  </a:cubicBezTo>
                  <a:cubicBezTo>
                    <a:pt x="14" y="44"/>
                    <a:pt x="15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9" y="43"/>
                    <a:pt x="19" y="42"/>
                  </a:cubicBezTo>
                  <a:cubicBezTo>
                    <a:pt x="19" y="41"/>
                    <a:pt x="19" y="40"/>
                    <a:pt x="19" y="39"/>
                  </a:cubicBezTo>
                  <a:cubicBezTo>
                    <a:pt x="19" y="39"/>
                    <a:pt x="19" y="38"/>
                    <a:pt x="19" y="38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20" y="29"/>
                    <a:pt x="27" y="24"/>
                    <a:pt x="34" y="24"/>
                  </a:cubicBezTo>
                  <a:cubicBezTo>
                    <a:pt x="37" y="24"/>
                    <a:pt x="40" y="25"/>
                    <a:pt x="43" y="26"/>
                  </a:cubicBezTo>
                  <a:cubicBezTo>
                    <a:pt x="43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6" y="27"/>
                    <a:pt x="46" y="27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51" y="13"/>
                    <a:pt x="63" y="4"/>
                    <a:pt x="75" y="4"/>
                  </a:cubicBezTo>
                  <a:cubicBezTo>
                    <a:pt x="92" y="4"/>
                    <a:pt x="105" y="18"/>
                    <a:pt x="105" y="34"/>
                  </a:cubicBezTo>
                  <a:cubicBezTo>
                    <a:pt x="105" y="36"/>
                    <a:pt x="105" y="39"/>
                    <a:pt x="104" y="41"/>
                  </a:cubicBezTo>
                  <a:cubicBezTo>
                    <a:pt x="104" y="42"/>
                    <a:pt x="105" y="43"/>
                    <a:pt x="106" y="44"/>
                  </a:cubicBezTo>
                  <a:cubicBezTo>
                    <a:pt x="106" y="44"/>
                    <a:pt x="107" y="44"/>
                    <a:pt x="107" y="44"/>
                  </a:cubicBezTo>
                  <a:cubicBezTo>
                    <a:pt x="108" y="44"/>
                    <a:pt x="109" y="43"/>
                    <a:pt x="109" y="42"/>
                  </a:cubicBezTo>
                  <a:cubicBezTo>
                    <a:pt x="109" y="41"/>
                    <a:pt x="109" y="40"/>
                    <a:pt x="109" y="39"/>
                  </a:cubicBezTo>
                  <a:cubicBezTo>
                    <a:pt x="115" y="41"/>
                    <a:pt x="120" y="47"/>
                    <a:pt x="120" y="54"/>
                  </a:cubicBezTo>
                  <a:cubicBezTo>
                    <a:pt x="120" y="62"/>
                    <a:pt x="113" y="69"/>
                    <a:pt x="105" y="69"/>
                  </a:cubicBezTo>
                  <a:cubicBezTo>
                    <a:pt x="93" y="69"/>
                    <a:pt x="93" y="69"/>
                    <a:pt x="93" y="69"/>
                  </a:cubicBezTo>
                  <a:cubicBezTo>
                    <a:pt x="92" y="69"/>
                    <a:pt x="91" y="70"/>
                    <a:pt x="91" y="71"/>
                  </a:cubicBezTo>
                  <a:cubicBezTo>
                    <a:pt x="91" y="72"/>
                    <a:pt x="92" y="73"/>
                    <a:pt x="93" y="73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15" y="73"/>
                    <a:pt x="124" y="64"/>
                    <a:pt x="124" y="54"/>
                  </a:cubicBezTo>
                  <a:cubicBezTo>
                    <a:pt x="124" y="45"/>
                    <a:pt x="118" y="37"/>
                    <a:pt x="110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44">
            <a:extLst>
              <a:ext uri="{FF2B5EF4-FFF2-40B4-BE49-F238E27FC236}">
                <a16:creationId xmlns:a16="http://schemas.microsoft.com/office/drawing/2014/main" id="{687E8CB3-385F-45E7-B3B1-34D1F4A5AC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2080" y="4105766"/>
            <a:ext cx="842962" cy="841375"/>
            <a:chOff x="4377" y="2570"/>
            <a:chExt cx="531" cy="530"/>
          </a:xfrm>
        </p:grpSpPr>
        <p:sp>
          <p:nvSpPr>
            <p:cNvPr id="381" name="AutoShape 343">
              <a:extLst>
                <a:ext uri="{FF2B5EF4-FFF2-40B4-BE49-F238E27FC236}">
                  <a16:creationId xmlns:a16="http://schemas.microsoft.com/office/drawing/2014/main" id="{DC3EBA85-2D7D-4203-9FF9-05D0CF8178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7" y="257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Oval 345">
              <a:extLst>
                <a:ext uri="{FF2B5EF4-FFF2-40B4-BE49-F238E27FC236}">
                  <a16:creationId xmlns:a16="http://schemas.microsoft.com/office/drawing/2014/main" id="{046BF01C-A02A-461D-B98B-830B5C488E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" y="2570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346">
              <a:extLst>
                <a:ext uri="{FF2B5EF4-FFF2-40B4-BE49-F238E27FC236}">
                  <a16:creationId xmlns:a16="http://schemas.microsoft.com/office/drawing/2014/main" id="{9D76040D-6A3F-48A8-A177-B32AE98588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5" y="2588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347">
              <a:extLst>
                <a:ext uri="{FF2B5EF4-FFF2-40B4-BE49-F238E27FC236}">
                  <a16:creationId xmlns:a16="http://schemas.microsoft.com/office/drawing/2014/main" id="{188DEE0C-FD38-424F-A58B-4746693E43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5" y="2711"/>
              <a:ext cx="318" cy="251"/>
            </a:xfrm>
            <a:custGeom>
              <a:avLst/>
              <a:gdLst>
                <a:gd name="T0" fmla="*/ 78 w 124"/>
                <a:gd name="T1" fmla="*/ 90 h 98"/>
                <a:gd name="T2" fmla="*/ 76 w 124"/>
                <a:gd name="T3" fmla="*/ 51 h 98"/>
                <a:gd name="T4" fmla="*/ 74 w 124"/>
                <a:gd name="T5" fmla="*/ 90 h 98"/>
                <a:gd name="T6" fmla="*/ 64 w 124"/>
                <a:gd name="T7" fmla="*/ 84 h 98"/>
                <a:gd name="T8" fmla="*/ 75 w 124"/>
                <a:gd name="T9" fmla="*/ 97 h 98"/>
                <a:gd name="T10" fmla="*/ 77 w 124"/>
                <a:gd name="T11" fmla="*/ 98 h 98"/>
                <a:gd name="T12" fmla="*/ 88 w 124"/>
                <a:gd name="T13" fmla="*/ 87 h 98"/>
                <a:gd name="T14" fmla="*/ 85 w 124"/>
                <a:gd name="T15" fmla="*/ 83 h 98"/>
                <a:gd name="T16" fmla="*/ 49 w 124"/>
                <a:gd name="T17" fmla="*/ 51 h 98"/>
                <a:gd name="T18" fmla="*/ 37 w 124"/>
                <a:gd name="T19" fmla="*/ 62 h 98"/>
                <a:gd name="T20" fmla="*/ 40 w 124"/>
                <a:gd name="T21" fmla="*/ 65 h 98"/>
                <a:gd name="T22" fmla="*/ 46 w 124"/>
                <a:gd name="T23" fmla="*/ 96 h 98"/>
                <a:gd name="T24" fmla="*/ 51 w 124"/>
                <a:gd name="T25" fmla="*/ 96 h 98"/>
                <a:gd name="T26" fmla="*/ 57 w 124"/>
                <a:gd name="T27" fmla="*/ 65 h 98"/>
                <a:gd name="T28" fmla="*/ 61 w 124"/>
                <a:gd name="T29" fmla="*/ 65 h 98"/>
                <a:gd name="T30" fmla="*/ 51 w 124"/>
                <a:gd name="T31" fmla="*/ 52 h 98"/>
                <a:gd name="T32" fmla="*/ 110 w 124"/>
                <a:gd name="T33" fmla="*/ 34 h 98"/>
                <a:gd name="T34" fmla="*/ 55 w 124"/>
                <a:gd name="T35" fmla="*/ 7 h 98"/>
                <a:gd name="T36" fmla="*/ 34 w 124"/>
                <a:gd name="T37" fmla="*/ 19 h 98"/>
                <a:gd name="T38" fmla="*/ 5 w 124"/>
                <a:gd name="T39" fmla="*/ 41 h 98"/>
                <a:gd name="T40" fmla="*/ 5 w 124"/>
                <a:gd name="T41" fmla="*/ 67 h 98"/>
                <a:gd name="T42" fmla="*/ 29 w 124"/>
                <a:gd name="T43" fmla="*/ 73 h 98"/>
                <a:gd name="T44" fmla="*/ 29 w 124"/>
                <a:gd name="T45" fmla="*/ 69 h 98"/>
                <a:gd name="T46" fmla="*/ 4 w 124"/>
                <a:gd name="T47" fmla="*/ 53 h 98"/>
                <a:gd name="T48" fmla="*/ 14 w 124"/>
                <a:gd name="T49" fmla="*/ 43 h 98"/>
                <a:gd name="T50" fmla="*/ 17 w 124"/>
                <a:gd name="T51" fmla="*/ 44 h 98"/>
                <a:gd name="T52" fmla="*/ 19 w 124"/>
                <a:gd name="T53" fmla="*/ 39 h 98"/>
                <a:gd name="T54" fmla="*/ 19 w 124"/>
                <a:gd name="T55" fmla="*/ 36 h 98"/>
                <a:gd name="T56" fmla="*/ 43 w 124"/>
                <a:gd name="T57" fmla="*/ 26 h 98"/>
                <a:gd name="T58" fmla="*/ 45 w 124"/>
                <a:gd name="T59" fmla="*/ 27 h 98"/>
                <a:gd name="T60" fmla="*/ 47 w 124"/>
                <a:gd name="T61" fmla="*/ 25 h 98"/>
                <a:gd name="T62" fmla="*/ 105 w 124"/>
                <a:gd name="T63" fmla="*/ 34 h 98"/>
                <a:gd name="T64" fmla="*/ 106 w 124"/>
                <a:gd name="T65" fmla="*/ 44 h 98"/>
                <a:gd name="T66" fmla="*/ 109 w 124"/>
                <a:gd name="T67" fmla="*/ 42 h 98"/>
                <a:gd name="T68" fmla="*/ 120 w 124"/>
                <a:gd name="T69" fmla="*/ 54 h 98"/>
                <a:gd name="T70" fmla="*/ 93 w 124"/>
                <a:gd name="T71" fmla="*/ 69 h 98"/>
                <a:gd name="T72" fmla="*/ 93 w 124"/>
                <a:gd name="T73" fmla="*/ 73 h 98"/>
                <a:gd name="T74" fmla="*/ 124 w 124"/>
                <a:gd name="T75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98">
                  <a:moveTo>
                    <a:pt x="85" y="83"/>
                  </a:moveTo>
                  <a:cubicBezTo>
                    <a:pt x="78" y="90"/>
                    <a:pt x="78" y="90"/>
                    <a:pt x="78" y="90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2"/>
                    <a:pt x="77" y="51"/>
                    <a:pt x="76" y="51"/>
                  </a:cubicBezTo>
                  <a:cubicBezTo>
                    <a:pt x="75" y="51"/>
                    <a:pt x="74" y="52"/>
                    <a:pt x="74" y="54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7" y="83"/>
                    <a:pt x="65" y="83"/>
                    <a:pt x="64" y="84"/>
                  </a:cubicBezTo>
                  <a:cubicBezTo>
                    <a:pt x="64" y="85"/>
                    <a:pt x="64" y="86"/>
                    <a:pt x="65" y="87"/>
                  </a:cubicBezTo>
                  <a:cubicBezTo>
                    <a:pt x="75" y="97"/>
                    <a:pt x="75" y="97"/>
                    <a:pt x="75" y="97"/>
                  </a:cubicBezTo>
                  <a:cubicBezTo>
                    <a:pt x="75" y="97"/>
                    <a:pt x="76" y="98"/>
                    <a:pt x="76" y="98"/>
                  </a:cubicBezTo>
                  <a:cubicBezTo>
                    <a:pt x="76" y="98"/>
                    <a:pt x="76" y="98"/>
                    <a:pt x="77" y="98"/>
                  </a:cubicBezTo>
                  <a:cubicBezTo>
                    <a:pt x="77" y="97"/>
                    <a:pt x="78" y="97"/>
                    <a:pt x="78" y="97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9" y="86"/>
                    <a:pt x="89" y="84"/>
                    <a:pt x="88" y="83"/>
                  </a:cubicBezTo>
                  <a:cubicBezTo>
                    <a:pt x="87" y="83"/>
                    <a:pt x="85" y="83"/>
                    <a:pt x="85" y="83"/>
                  </a:cubicBezTo>
                  <a:moveTo>
                    <a:pt x="51" y="52"/>
                  </a:moveTo>
                  <a:cubicBezTo>
                    <a:pt x="50" y="51"/>
                    <a:pt x="50" y="51"/>
                    <a:pt x="49" y="51"/>
                  </a:cubicBezTo>
                  <a:cubicBezTo>
                    <a:pt x="48" y="51"/>
                    <a:pt x="48" y="51"/>
                    <a:pt x="47" y="5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6" y="63"/>
                    <a:pt x="36" y="64"/>
                    <a:pt x="37" y="65"/>
                  </a:cubicBezTo>
                  <a:cubicBezTo>
                    <a:pt x="38" y="66"/>
                    <a:pt x="40" y="66"/>
                    <a:pt x="40" y="65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6" y="97"/>
                    <a:pt x="47" y="98"/>
                    <a:pt x="48" y="98"/>
                  </a:cubicBezTo>
                  <a:cubicBezTo>
                    <a:pt x="50" y="98"/>
                    <a:pt x="51" y="97"/>
                    <a:pt x="51" y="9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6"/>
                    <a:pt x="58" y="66"/>
                    <a:pt x="59" y="66"/>
                  </a:cubicBezTo>
                  <a:cubicBezTo>
                    <a:pt x="60" y="66"/>
                    <a:pt x="60" y="66"/>
                    <a:pt x="61" y="65"/>
                  </a:cubicBezTo>
                  <a:cubicBezTo>
                    <a:pt x="62" y="64"/>
                    <a:pt x="62" y="63"/>
                    <a:pt x="61" y="62"/>
                  </a:cubicBezTo>
                  <a:lnTo>
                    <a:pt x="51" y="52"/>
                  </a:lnTo>
                  <a:close/>
                  <a:moveTo>
                    <a:pt x="110" y="35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15"/>
                    <a:pt x="94" y="0"/>
                    <a:pt x="75" y="0"/>
                  </a:cubicBezTo>
                  <a:cubicBezTo>
                    <a:pt x="68" y="0"/>
                    <a:pt x="61" y="2"/>
                    <a:pt x="55" y="7"/>
                  </a:cubicBezTo>
                  <a:cubicBezTo>
                    <a:pt x="50" y="10"/>
                    <a:pt x="46" y="16"/>
                    <a:pt x="44" y="21"/>
                  </a:cubicBezTo>
                  <a:cubicBezTo>
                    <a:pt x="41" y="20"/>
                    <a:pt x="38" y="19"/>
                    <a:pt x="34" y="19"/>
                  </a:cubicBezTo>
                  <a:cubicBezTo>
                    <a:pt x="25" y="19"/>
                    <a:pt x="17" y="26"/>
                    <a:pt x="15" y="35"/>
                  </a:cubicBezTo>
                  <a:cubicBezTo>
                    <a:pt x="11" y="36"/>
                    <a:pt x="7" y="38"/>
                    <a:pt x="5" y="41"/>
                  </a:cubicBezTo>
                  <a:cubicBezTo>
                    <a:pt x="1" y="44"/>
                    <a:pt x="0" y="49"/>
                    <a:pt x="0" y="53"/>
                  </a:cubicBezTo>
                  <a:cubicBezTo>
                    <a:pt x="0" y="59"/>
                    <a:pt x="2" y="64"/>
                    <a:pt x="5" y="67"/>
                  </a:cubicBezTo>
                  <a:cubicBezTo>
                    <a:pt x="9" y="71"/>
                    <a:pt x="14" y="73"/>
                    <a:pt x="1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30" y="73"/>
                    <a:pt x="31" y="72"/>
                    <a:pt x="31" y="71"/>
                  </a:cubicBezTo>
                  <a:cubicBezTo>
                    <a:pt x="31" y="70"/>
                    <a:pt x="30" y="69"/>
                    <a:pt x="2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1" y="69"/>
                    <a:pt x="4" y="62"/>
                    <a:pt x="4" y="53"/>
                  </a:cubicBezTo>
                  <a:cubicBezTo>
                    <a:pt x="4" y="47"/>
                    <a:pt x="8" y="42"/>
                    <a:pt x="14" y="40"/>
                  </a:cubicBezTo>
                  <a:cubicBezTo>
                    <a:pt x="14" y="41"/>
                    <a:pt x="14" y="42"/>
                    <a:pt x="14" y="43"/>
                  </a:cubicBezTo>
                  <a:cubicBezTo>
                    <a:pt x="14" y="44"/>
                    <a:pt x="15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4"/>
                    <a:pt x="19" y="43"/>
                    <a:pt x="19" y="42"/>
                  </a:cubicBezTo>
                  <a:cubicBezTo>
                    <a:pt x="19" y="41"/>
                    <a:pt x="19" y="40"/>
                    <a:pt x="19" y="39"/>
                  </a:cubicBezTo>
                  <a:cubicBezTo>
                    <a:pt x="19" y="39"/>
                    <a:pt x="19" y="38"/>
                    <a:pt x="19" y="38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20" y="29"/>
                    <a:pt x="27" y="24"/>
                    <a:pt x="34" y="24"/>
                  </a:cubicBezTo>
                  <a:cubicBezTo>
                    <a:pt x="37" y="24"/>
                    <a:pt x="40" y="25"/>
                    <a:pt x="43" y="26"/>
                  </a:cubicBezTo>
                  <a:cubicBezTo>
                    <a:pt x="43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6" y="27"/>
                    <a:pt x="46" y="27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51" y="13"/>
                    <a:pt x="63" y="4"/>
                    <a:pt x="75" y="4"/>
                  </a:cubicBezTo>
                  <a:cubicBezTo>
                    <a:pt x="92" y="4"/>
                    <a:pt x="105" y="18"/>
                    <a:pt x="105" y="34"/>
                  </a:cubicBezTo>
                  <a:cubicBezTo>
                    <a:pt x="105" y="36"/>
                    <a:pt x="105" y="39"/>
                    <a:pt x="104" y="41"/>
                  </a:cubicBezTo>
                  <a:cubicBezTo>
                    <a:pt x="104" y="42"/>
                    <a:pt x="105" y="43"/>
                    <a:pt x="106" y="44"/>
                  </a:cubicBezTo>
                  <a:cubicBezTo>
                    <a:pt x="106" y="44"/>
                    <a:pt x="107" y="44"/>
                    <a:pt x="107" y="44"/>
                  </a:cubicBezTo>
                  <a:cubicBezTo>
                    <a:pt x="108" y="44"/>
                    <a:pt x="109" y="43"/>
                    <a:pt x="109" y="42"/>
                  </a:cubicBezTo>
                  <a:cubicBezTo>
                    <a:pt x="109" y="41"/>
                    <a:pt x="109" y="40"/>
                    <a:pt x="109" y="39"/>
                  </a:cubicBezTo>
                  <a:cubicBezTo>
                    <a:pt x="115" y="41"/>
                    <a:pt x="120" y="47"/>
                    <a:pt x="120" y="54"/>
                  </a:cubicBezTo>
                  <a:cubicBezTo>
                    <a:pt x="120" y="62"/>
                    <a:pt x="113" y="69"/>
                    <a:pt x="105" y="69"/>
                  </a:cubicBezTo>
                  <a:cubicBezTo>
                    <a:pt x="93" y="69"/>
                    <a:pt x="93" y="69"/>
                    <a:pt x="93" y="69"/>
                  </a:cubicBezTo>
                  <a:cubicBezTo>
                    <a:pt x="92" y="69"/>
                    <a:pt x="91" y="70"/>
                    <a:pt x="91" y="71"/>
                  </a:cubicBezTo>
                  <a:cubicBezTo>
                    <a:pt x="91" y="72"/>
                    <a:pt x="92" y="73"/>
                    <a:pt x="93" y="73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15" y="73"/>
                    <a:pt x="124" y="64"/>
                    <a:pt x="124" y="54"/>
                  </a:cubicBezTo>
                  <a:cubicBezTo>
                    <a:pt x="124" y="45"/>
                    <a:pt x="118" y="37"/>
                    <a:pt x="110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9" name="Group 350">
            <a:extLst>
              <a:ext uri="{FF2B5EF4-FFF2-40B4-BE49-F238E27FC236}">
                <a16:creationId xmlns:a16="http://schemas.microsoft.com/office/drawing/2014/main" id="{FEFEECF6-B62B-491C-B2F7-3DEF40EC18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3701" y="5440027"/>
            <a:ext cx="841248" cy="841248"/>
            <a:chOff x="266" y="3457"/>
            <a:chExt cx="478" cy="478"/>
          </a:xfrm>
        </p:grpSpPr>
        <p:sp>
          <p:nvSpPr>
            <p:cNvPr id="390" name="AutoShape 349">
              <a:extLst>
                <a:ext uri="{FF2B5EF4-FFF2-40B4-BE49-F238E27FC236}">
                  <a16:creationId xmlns:a16="http://schemas.microsoft.com/office/drawing/2014/main" id="{CA18B860-5644-45F6-85CB-C8ECB3A8BE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6" y="345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Oval 351">
              <a:extLst>
                <a:ext uri="{FF2B5EF4-FFF2-40B4-BE49-F238E27FC236}">
                  <a16:creationId xmlns:a16="http://schemas.microsoft.com/office/drawing/2014/main" id="{45152271-BF27-4680-B6F5-FAD6468F4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" y="3457"/>
              <a:ext cx="480" cy="48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352">
              <a:extLst>
                <a:ext uri="{FF2B5EF4-FFF2-40B4-BE49-F238E27FC236}">
                  <a16:creationId xmlns:a16="http://schemas.microsoft.com/office/drawing/2014/main" id="{53C8DE9D-3690-41F5-91C8-A0828F877E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" y="3473"/>
              <a:ext cx="448" cy="44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53">
              <a:extLst>
                <a:ext uri="{FF2B5EF4-FFF2-40B4-BE49-F238E27FC236}">
                  <a16:creationId xmlns:a16="http://schemas.microsoft.com/office/drawing/2014/main" id="{810EC855-0601-47B2-A2BE-2B5D8F7CA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" y="3586"/>
              <a:ext cx="296" cy="222"/>
            </a:xfrm>
            <a:custGeom>
              <a:avLst/>
              <a:gdLst>
                <a:gd name="T0" fmla="*/ 84 w 128"/>
                <a:gd name="T1" fmla="*/ 68 h 96"/>
                <a:gd name="T2" fmla="*/ 83 w 128"/>
                <a:gd name="T3" fmla="*/ 45 h 96"/>
                <a:gd name="T4" fmla="*/ 71 w 128"/>
                <a:gd name="T5" fmla="*/ 47 h 96"/>
                <a:gd name="T6" fmla="*/ 58 w 128"/>
                <a:gd name="T7" fmla="*/ 68 h 96"/>
                <a:gd name="T8" fmla="*/ 63 w 128"/>
                <a:gd name="T9" fmla="*/ 60 h 96"/>
                <a:gd name="T10" fmla="*/ 64 w 128"/>
                <a:gd name="T11" fmla="*/ 57 h 96"/>
                <a:gd name="T12" fmla="*/ 51 w 128"/>
                <a:gd name="T13" fmla="*/ 44 h 96"/>
                <a:gd name="T14" fmla="*/ 40 w 128"/>
                <a:gd name="T15" fmla="*/ 59 h 96"/>
                <a:gd name="T16" fmla="*/ 46 w 128"/>
                <a:gd name="T17" fmla="*/ 60 h 96"/>
                <a:gd name="T18" fmla="*/ 27 w 128"/>
                <a:gd name="T19" fmla="*/ 68 h 96"/>
                <a:gd name="T20" fmla="*/ 27 w 128"/>
                <a:gd name="T21" fmla="*/ 20 h 96"/>
                <a:gd name="T22" fmla="*/ 39 w 128"/>
                <a:gd name="T23" fmla="*/ 22 h 96"/>
                <a:gd name="T24" fmla="*/ 68 w 128"/>
                <a:gd name="T25" fmla="*/ 4 h 96"/>
                <a:gd name="T26" fmla="*/ 100 w 128"/>
                <a:gd name="T27" fmla="*/ 33 h 96"/>
                <a:gd name="T28" fmla="*/ 107 w 128"/>
                <a:gd name="T29" fmla="*/ 32 h 96"/>
                <a:gd name="T30" fmla="*/ 107 w 128"/>
                <a:gd name="T31" fmla="*/ 68 h 96"/>
                <a:gd name="T32" fmla="*/ 78 w 128"/>
                <a:gd name="T33" fmla="*/ 92 h 96"/>
                <a:gd name="T34" fmla="*/ 73 w 128"/>
                <a:gd name="T35" fmla="*/ 82 h 96"/>
                <a:gd name="T36" fmla="*/ 74 w 128"/>
                <a:gd name="T37" fmla="*/ 48 h 96"/>
                <a:gd name="T38" fmla="*/ 81 w 128"/>
                <a:gd name="T39" fmla="*/ 81 h 96"/>
                <a:gd name="T40" fmla="*/ 85 w 128"/>
                <a:gd name="T41" fmla="*/ 82 h 96"/>
                <a:gd name="T42" fmla="*/ 55 w 128"/>
                <a:gd name="T43" fmla="*/ 58 h 96"/>
                <a:gd name="T44" fmla="*/ 49 w 128"/>
                <a:gd name="T45" fmla="*/ 91 h 96"/>
                <a:gd name="T46" fmla="*/ 47 w 128"/>
                <a:gd name="T47" fmla="*/ 57 h 96"/>
                <a:gd name="T48" fmla="*/ 52 w 128"/>
                <a:gd name="T49" fmla="*/ 47 h 96"/>
                <a:gd name="T50" fmla="*/ 57 w 128"/>
                <a:gd name="T51" fmla="*/ 57 h 96"/>
                <a:gd name="T52" fmla="*/ 102 w 128"/>
                <a:gd name="T53" fmla="*/ 30 h 96"/>
                <a:gd name="T54" fmla="*/ 37 w 128"/>
                <a:gd name="T55" fmla="*/ 19 h 96"/>
                <a:gd name="T56" fmla="*/ 0 w 128"/>
                <a:gd name="T57" fmla="*/ 44 h 96"/>
                <a:gd name="T58" fmla="*/ 46 w 128"/>
                <a:gd name="T59" fmla="*/ 71 h 96"/>
                <a:gd name="T60" fmla="*/ 47 w 128"/>
                <a:gd name="T61" fmla="*/ 94 h 96"/>
                <a:gd name="T62" fmla="*/ 58 w 128"/>
                <a:gd name="T63" fmla="*/ 92 h 96"/>
                <a:gd name="T64" fmla="*/ 71 w 128"/>
                <a:gd name="T65" fmla="*/ 71 h 96"/>
                <a:gd name="T66" fmla="*/ 67 w 128"/>
                <a:gd name="T67" fmla="*/ 79 h 96"/>
                <a:gd name="T68" fmla="*/ 66 w 128"/>
                <a:gd name="T69" fmla="*/ 82 h 96"/>
                <a:gd name="T70" fmla="*/ 78 w 128"/>
                <a:gd name="T71" fmla="*/ 96 h 96"/>
                <a:gd name="T72" fmla="*/ 90 w 128"/>
                <a:gd name="T73" fmla="*/ 82 h 96"/>
                <a:gd name="T74" fmla="*/ 88 w 128"/>
                <a:gd name="T75" fmla="*/ 79 h 96"/>
                <a:gd name="T76" fmla="*/ 84 w 128"/>
                <a:gd name="T77" fmla="*/ 71 h 96"/>
                <a:gd name="T78" fmla="*/ 128 w 128"/>
                <a:gd name="T79" fmla="*/ 50 h 96"/>
                <a:gd name="T80" fmla="*/ 49 w 128"/>
                <a:gd name="T81" fmla="*/ 18 h 96"/>
                <a:gd name="T82" fmla="*/ 68 w 128"/>
                <a:gd name="T83" fmla="*/ 13 h 96"/>
                <a:gd name="T84" fmla="*/ 75 w 128"/>
                <a:gd name="T85" fmla="*/ 11 h 96"/>
                <a:gd name="T86" fmla="*/ 49 w 128"/>
                <a:gd name="T87" fmla="*/ 18 h 96"/>
                <a:gd name="T88" fmla="*/ 14 w 128"/>
                <a:gd name="T89" fmla="*/ 43 h 96"/>
                <a:gd name="T90" fmla="*/ 29 w 128"/>
                <a:gd name="T91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96">
                  <a:moveTo>
                    <a:pt x="107" y="68"/>
                  </a:moveTo>
                  <a:cubicBezTo>
                    <a:pt x="84" y="68"/>
                    <a:pt x="84" y="68"/>
                    <a:pt x="84" y="6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6"/>
                    <a:pt x="83" y="45"/>
                    <a:pt x="8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1" y="46"/>
                    <a:pt x="71" y="47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4" y="60"/>
                    <a:pt x="64" y="59"/>
                  </a:cubicBezTo>
                  <a:cubicBezTo>
                    <a:pt x="64" y="58"/>
                    <a:pt x="64" y="58"/>
                    <a:pt x="64" y="57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3"/>
                    <a:pt x="52" y="43"/>
                    <a:pt x="51" y="4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60"/>
                    <a:pt x="41" y="60"/>
                    <a:pt x="42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14" y="68"/>
                    <a:pt x="3" y="57"/>
                    <a:pt x="3" y="44"/>
                  </a:cubicBezTo>
                  <a:cubicBezTo>
                    <a:pt x="3" y="30"/>
                    <a:pt x="14" y="20"/>
                    <a:pt x="27" y="20"/>
                  </a:cubicBezTo>
                  <a:cubicBezTo>
                    <a:pt x="31" y="20"/>
                    <a:pt x="34" y="20"/>
                    <a:pt x="37" y="22"/>
                  </a:cubicBezTo>
                  <a:cubicBezTo>
                    <a:pt x="38" y="22"/>
                    <a:pt x="38" y="22"/>
                    <a:pt x="39" y="22"/>
                  </a:cubicBezTo>
                  <a:cubicBezTo>
                    <a:pt x="39" y="22"/>
                    <a:pt x="39" y="22"/>
                    <a:pt x="40" y="21"/>
                  </a:cubicBezTo>
                  <a:cubicBezTo>
                    <a:pt x="45" y="10"/>
                    <a:pt x="56" y="4"/>
                    <a:pt x="68" y="4"/>
                  </a:cubicBezTo>
                  <a:cubicBezTo>
                    <a:pt x="84" y="4"/>
                    <a:pt x="97" y="16"/>
                    <a:pt x="99" y="32"/>
                  </a:cubicBezTo>
                  <a:cubicBezTo>
                    <a:pt x="99" y="32"/>
                    <a:pt x="99" y="33"/>
                    <a:pt x="100" y="33"/>
                  </a:cubicBezTo>
                  <a:cubicBezTo>
                    <a:pt x="100" y="33"/>
                    <a:pt x="101" y="33"/>
                    <a:pt x="101" y="33"/>
                  </a:cubicBezTo>
                  <a:cubicBezTo>
                    <a:pt x="103" y="32"/>
                    <a:pt x="105" y="32"/>
                    <a:pt x="107" y="32"/>
                  </a:cubicBezTo>
                  <a:cubicBezTo>
                    <a:pt x="117" y="32"/>
                    <a:pt x="125" y="40"/>
                    <a:pt x="125" y="50"/>
                  </a:cubicBezTo>
                  <a:cubicBezTo>
                    <a:pt x="125" y="60"/>
                    <a:pt x="117" y="68"/>
                    <a:pt x="107" y="68"/>
                  </a:cubicBezTo>
                  <a:moveTo>
                    <a:pt x="85" y="82"/>
                  </a:moveTo>
                  <a:cubicBezTo>
                    <a:pt x="78" y="92"/>
                    <a:pt x="78" y="92"/>
                    <a:pt x="78" y="9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4" y="82"/>
                    <a:pt x="74" y="81"/>
                    <a:pt x="74" y="81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81" y="81"/>
                    <a:pt x="82" y="82"/>
                    <a:pt x="83" y="82"/>
                  </a:cubicBezTo>
                  <a:lnTo>
                    <a:pt x="85" y="82"/>
                  </a:lnTo>
                  <a:close/>
                  <a:moveTo>
                    <a:pt x="57" y="57"/>
                  </a:moveTo>
                  <a:cubicBezTo>
                    <a:pt x="56" y="57"/>
                    <a:pt x="55" y="57"/>
                    <a:pt x="55" y="58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7"/>
                    <a:pt x="48" y="57"/>
                    <a:pt x="47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9" y="57"/>
                    <a:pt x="59" y="57"/>
                    <a:pt x="59" y="57"/>
                  </a:cubicBezTo>
                  <a:lnTo>
                    <a:pt x="57" y="57"/>
                  </a:lnTo>
                  <a:close/>
                  <a:moveTo>
                    <a:pt x="107" y="29"/>
                  </a:moveTo>
                  <a:cubicBezTo>
                    <a:pt x="106" y="29"/>
                    <a:pt x="104" y="29"/>
                    <a:pt x="102" y="30"/>
                  </a:cubicBezTo>
                  <a:cubicBezTo>
                    <a:pt x="99" y="13"/>
                    <a:pt x="85" y="0"/>
                    <a:pt x="68" y="0"/>
                  </a:cubicBezTo>
                  <a:cubicBezTo>
                    <a:pt x="55" y="0"/>
                    <a:pt x="44" y="7"/>
                    <a:pt x="37" y="19"/>
                  </a:cubicBezTo>
                  <a:cubicBezTo>
                    <a:pt x="34" y="17"/>
                    <a:pt x="31" y="16"/>
                    <a:pt x="27" y="16"/>
                  </a:cubicBezTo>
                  <a:cubicBezTo>
                    <a:pt x="12" y="16"/>
                    <a:pt x="0" y="29"/>
                    <a:pt x="0" y="44"/>
                  </a:cubicBezTo>
                  <a:cubicBezTo>
                    <a:pt x="0" y="59"/>
                    <a:pt x="12" y="71"/>
                    <a:pt x="27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6" y="93"/>
                    <a:pt x="46" y="94"/>
                    <a:pt x="4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8" y="94"/>
                    <a:pt x="58" y="93"/>
                    <a:pt x="58" y="92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6" y="79"/>
                    <a:pt x="66" y="80"/>
                  </a:cubicBezTo>
                  <a:cubicBezTo>
                    <a:pt x="65" y="81"/>
                    <a:pt x="66" y="81"/>
                    <a:pt x="66" y="82"/>
                  </a:cubicBezTo>
                  <a:cubicBezTo>
                    <a:pt x="76" y="95"/>
                    <a:pt x="76" y="95"/>
                    <a:pt x="76" y="95"/>
                  </a:cubicBezTo>
                  <a:cubicBezTo>
                    <a:pt x="77" y="95"/>
                    <a:pt x="77" y="96"/>
                    <a:pt x="78" y="96"/>
                  </a:cubicBezTo>
                  <a:cubicBezTo>
                    <a:pt x="78" y="96"/>
                    <a:pt x="79" y="95"/>
                    <a:pt x="79" y="95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90" y="81"/>
                    <a:pt x="90" y="81"/>
                    <a:pt x="90" y="80"/>
                  </a:cubicBezTo>
                  <a:cubicBezTo>
                    <a:pt x="89" y="79"/>
                    <a:pt x="89" y="79"/>
                    <a:pt x="88" y="79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19" y="71"/>
                    <a:pt x="128" y="61"/>
                    <a:pt x="128" y="50"/>
                  </a:cubicBezTo>
                  <a:cubicBezTo>
                    <a:pt x="128" y="38"/>
                    <a:pt x="119" y="29"/>
                    <a:pt x="107" y="29"/>
                  </a:cubicBezTo>
                  <a:moveTo>
                    <a:pt x="49" y="18"/>
                  </a:moveTo>
                  <a:cubicBezTo>
                    <a:pt x="51" y="20"/>
                    <a:pt x="51" y="20"/>
                    <a:pt x="51" y="20"/>
                  </a:cubicBezTo>
                  <a:cubicBezTo>
                    <a:pt x="55" y="16"/>
                    <a:pt x="61" y="13"/>
                    <a:pt x="68" y="13"/>
                  </a:cubicBezTo>
                  <a:cubicBezTo>
                    <a:pt x="70" y="13"/>
                    <a:pt x="72" y="13"/>
                    <a:pt x="74" y="14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3" y="10"/>
                    <a:pt x="70" y="10"/>
                    <a:pt x="68" y="10"/>
                  </a:cubicBezTo>
                  <a:cubicBezTo>
                    <a:pt x="60" y="10"/>
                    <a:pt x="54" y="13"/>
                    <a:pt x="49" y="18"/>
                  </a:cubicBezTo>
                  <a:moveTo>
                    <a:pt x="10" y="43"/>
                  </a:moveTo>
                  <a:cubicBezTo>
                    <a:pt x="14" y="43"/>
                    <a:pt x="14" y="43"/>
                    <a:pt x="14" y="43"/>
                  </a:cubicBezTo>
                  <a:cubicBezTo>
                    <a:pt x="14" y="35"/>
                    <a:pt x="20" y="28"/>
                    <a:pt x="29" y="28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19" y="25"/>
                    <a:pt x="10" y="33"/>
                    <a:pt x="10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4" name="Group 356">
            <a:extLst>
              <a:ext uri="{FF2B5EF4-FFF2-40B4-BE49-F238E27FC236}">
                <a16:creationId xmlns:a16="http://schemas.microsoft.com/office/drawing/2014/main" id="{B6386C4A-6678-4C08-BD3D-25772DC752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6363" y="5481175"/>
            <a:ext cx="760386" cy="758952"/>
            <a:chOff x="945" y="3608"/>
            <a:chExt cx="530" cy="529"/>
          </a:xfrm>
        </p:grpSpPr>
        <p:sp>
          <p:nvSpPr>
            <p:cNvPr id="395" name="AutoShape 355">
              <a:extLst>
                <a:ext uri="{FF2B5EF4-FFF2-40B4-BE49-F238E27FC236}">
                  <a16:creationId xmlns:a16="http://schemas.microsoft.com/office/drawing/2014/main" id="{714619F4-265B-427E-A982-DE91E67D7D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5" y="3608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357">
              <a:extLst>
                <a:ext uri="{FF2B5EF4-FFF2-40B4-BE49-F238E27FC236}">
                  <a16:creationId xmlns:a16="http://schemas.microsoft.com/office/drawing/2014/main" id="{DA79D0E6-7623-4983-B733-7A8CBCEB0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" y="3611"/>
              <a:ext cx="527" cy="52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358">
              <a:extLst>
                <a:ext uri="{FF2B5EF4-FFF2-40B4-BE49-F238E27FC236}">
                  <a16:creationId xmlns:a16="http://schemas.microsoft.com/office/drawing/2014/main" id="{2CE5D03C-82F0-492B-8AF2-2575332E39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7" y="3744"/>
              <a:ext cx="348" cy="260"/>
            </a:xfrm>
            <a:custGeom>
              <a:avLst/>
              <a:gdLst>
                <a:gd name="T0" fmla="*/ 84 w 128"/>
                <a:gd name="T1" fmla="*/ 68 h 96"/>
                <a:gd name="T2" fmla="*/ 83 w 128"/>
                <a:gd name="T3" fmla="*/ 45 h 96"/>
                <a:gd name="T4" fmla="*/ 71 w 128"/>
                <a:gd name="T5" fmla="*/ 47 h 96"/>
                <a:gd name="T6" fmla="*/ 58 w 128"/>
                <a:gd name="T7" fmla="*/ 68 h 96"/>
                <a:gd name="T8" fmla="*/ 63 w 128"/>
                <a:gd name="T9" fmla="*/ 60 h 96"/>
                <a:gd name="T10" fmla="*/ 64 w 128"/>
                <a:gd name="T11" fmla="*/ 57 h 96"/>
                <a:gd name="T12" fmla="*/ 51 w 128"/>
                <a:gd name="T13" fmla="*/ 44 h 96"/>
                <a:gd name="T14" fmla="*/ 40 w 128"/>
                <a:gd name="T15" fmla="*/ 59 h 96"/>
                <a:gd name="T16" fmla="*/ 46 w 128"/>
                <a:gd name="T17" fmla="*/ 60 h 96"/>
                <a:gd name="T18" fmla="*/ 27 w 128"/>
                <a:gd name="T19" fmla="*/ 68 h 96"/>
                <a:gd name="T20" fmla="*/ 27 w 128"/>
                <a:gd name="T21" fmla="*/ 20 h 96"/>
                <a:gd name="T22" fmla="*/ 39 w 128"/>
                <a:gd name="T23" fmla="*/ 22 h 96"/>
                <a:gd name="T24" fmla="*/ 68 w 128"/>
                <a:gd name="T25" fmla="*/ 4 h 96"/>
                <a:gd name="T26" fmla="*/ 100 w 128"/>
                <a:gd name="T27" fmla="*/ 33 h 96"/>
                <a:gd name="T28" fmla="*/ 107 w 128"/>
                <a:gd name="T29" fmla="*/ 32 h 96"/>
                <a:gd name="T30" fmla="*/ 107 w 128"/>
                <a:gd name="T31" fmla="*/ 68 h 96"/>
                <a:gd name="T32" fmla="*/ 78 w 128"/>
                <a:gd name="T33" fmla="*/ 92 h 96"/>
                <a:gd name="T34" fmla="*/ 73 w 128"/>
                <a:gd name="T35" fmla="*/ 82 h 96"/>
                <a:gd name="T36" fmla="*/ 74 w 128"/>
                <a:gd name="T37" fmla="*/ 48 h 96"/>
                <a:gd name="T38" fmla="*/ 81 w 128"/>
                <a:gd name="T39" fmla="*/ 81 h 96"/>
                <a:gd name="T40" fmla="*/ 85 w 128"/>
                <a:gd name="T41" fmla="*/ 82 h 96"/>
                <a:gd name="T42" fmla="*/ 55 w 128"/>
                <a:gd name="T43" fmla="*/ 58 h 96"/>
                <a:gd name="T44" fmla="*/ 49 w 128"/>
                <a:gd name="T45" fmla="*/ 91 h 96"/>
                <a:gd name="T46" fmla="*/ 47 w 128"/>
                <a:gd name="T47" fmla="*/ 57 h 96"/>
                <a:gd name="T48" fmla="*/ 52 w 128"/>
                <a:gd name="T49" fmla="*/ 47 h 96"/>
                <a:gd name="T50" fmla="*/ 57 w 128"/>
                <a:gd name="T51" fmla="*/ 57 h 96"/>
                <a:gd name="T52" fmla="*/ 102 w 128"/>
                <a:gd name="T53" fmla="*/ 30 h 96"/>
                <a:gd name="T54" fmla="*/ 37 w 128"/>
                <a:gd name="T55" fmla="*/ 19 h 96"/>
                <a:gd name="T56" fmla="*/ 0 w 128"/>
                <a:gd name="T57" fmla="*/ 44 h 96"/>
                <a:gd name="T58" fmla="*/ 46 w 128"/>
                <a:gd name="T59" fmla="*/ 71 h 96"/>
                <a:gd name="T60" fmla="*/ 47 w 128"/>
                <a:gd name="T61" fmla="*/ 94 h 96"/>
                <a:gd name="T62" fmla="*/ 58 w 128"/>
                <a:gd name="T63" fmla="*/ 92 h 96"/>
                <a:gd name="T64" fmla="*/ 71 w 128"/>
                <a:gd name="T65" fmla="*/ 71 h 96"/>
                <a:gd name="T66" fmla="*/ 67 w 128"/>
                <a:gd name="T67" fmla="*/ 79 h 96"/>
                <a:gd name="T68" fmla="*/ 66 w 128"/>
                <a:gd name="T69" fmla="*/ 82 h 96"/>
                <a:gd name="T70" fmla="*/ 78 w 128"/>
                <a:gd name="T71" fmla="*/ 96 h 96"/>
                <a:gd name="T72" fmla="*/ 90 w 128"/>
                <a:gd name="T73" fmla="*/ 82 h 96"/>
                <a:gd name="T74" fmla="*/ 88 w 128"/>
                <a:gd name="T75" fmla="*/ 79 h 96"/>
                <a:gd name="T76" fmla="*/ 84 w 128"/>
                <a:gd name="T77" fmla="*/ 71 h 96"/>
                <a:gd name="T78" fmla="*/ 128 w 128"/>
                <a:gd name="T79" fmla="*/ 50 h 96"/>
                <a:gd name="T80" fmla="*/ 49 w 128"/>
                <a:gd name="T81" fmla="*/ 18 h 96"/>
                <a:gd name="T82" fmla="*/ 68 w 128"/>
                <a:gd name="T83" fmla="*/ 13 h 96"/>
                <a:gd name="T84" fmla="*/ 75 w 128"/>
                <a:gd name="T85" fmla="*/ 11 h 96"/>
                <a:gd name="T86" fmla="*/ 49 w 128"/>
                <a:gd name="T87" fmla="*/ 18 h 96"/>
                <a:gd name="T88" fmla="*/ 14 w 128"/>
                <a:gd name="T89" fmla="*/ 43 h 96"/>
                <a:gd name="T90" fmla="*/ 29 w 128"/>
                <a:gd name="T91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96">
                  <a:moveTo>
                    <a:pt x="107" y="68"/>
                  </a:moveTo>
                  <a:cubicBezTo>
                    <a:pt x="84" y="68"/>
                    <a:pt x="84" y="68"/>
                    <a:pt x="84" y="6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6"/>
                    <a:pt x="83" y="45"/>
                    <a:pt x="8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1" y="46"/>
                    <a:pt x="71" y="47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4" y="60"/>
                    <a:pt x="64" y="59"/>
                  </a:cubicBezTo>
                  <a:cubicBezTo>
                    <a:pt x="64" y="58"/>
                    <a:pt x="64" y="58"/>
                    <a:pt x="64" y="57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3"/>
                    <a:pt x="52" y="43"/>
                    <a:pt x="51" y="44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60"/>
                    <a:pt x="41" y="60"/>
                    <a:pt x="42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14" y="68"/>
                    <a:pt x="3" y="57"/>
                    <a:pt x="3" y="44"/>
                  </a:cubicBezTo>
                  <a:cubicBezTo>
                    <a:pt x="3" y="30"/>
                    <a:pt x="14" y="20"/>
                    <a:pt x="27" y="20"/>
                  </a:cubicBezTo>
                  <a:cubicBezTo>
                    <a:pt x="31" y="20"/>
                    <a:pt x="34" y="20"/>
                    <a:pt x="37" y="22"/>
                  </a:cubicBezTo>
                  <a:cubicBezTo>
                    <a:pt x="38" y="22"/>
                    <a:pt x="38" y="22"/>
                    <a:pt x="39" y="22"/>
                  </a:cubicBezTo>
                  <a:cubicBezTo>
                    <a:pt x="39" y="22"/>
                    <a:pt x="39" y="22"/>
                    <a:pt x="40" y="21"/>
                  </a:cubicBezTo>
                  <a:cubicBezTo>
                    <a:pt x="45" y="10"/>
                    <a:pt x="56" y="4"/>
                    <a:pt x="68" y="4"/>
                  </a:cubicBezTo>
                  <a:cubicBezTo>
                    <a:pt x="84" y="4"/>
                    <a:pt x="97" y="16"/>
                    <a:pt x="99" y="32"/>
                  </a:cubicBezTo>
                  <a:cubicBezTo>
                    <a:pt x="99" y="32"/>
                    <a:pt x="99" y="33"/>
                    <a:pt x="100" y="33"/>
                  </a:cubicBezTo>
                  <a:cubicBezTo>
                    <a:pt x="100" y="33"/>
                    <a:pt x="101" y="33"/>
                    <a:pt x="101" y="33"/>
                  </a:cubicBezTo>
                  <a:cubicBezTo>
                    <a:pt x="103" y="32"/>
                    <a:pt x="105" y="32"/>
                    <a:pt x="107" y="32"/>
                  </a:cubicBezTo>
                  <a:cubicBezTo>
                    <a:pt x="117" y="32"/>
                    <a:pt x="125" y="40"/>
                    <a:pt x="125" y="50"/>
                  </a:cubicBezTo>
                  <a:cubicBezTo>
                    <a:pt x="125" y="60"/>
                    <a:pt x="117" y="68"/>
                    <a:pt x="107" y="68"/>
                  </a:cubicBezTo>
                  <a:moveTo>
                    <a:pt x="85" y="82"/>
                  </a:moveTo>
                  <a:cubicBezTo>
                    <a:pt x="78" y="92"/>
                    <a:pt x="78" y="92"/>
                    <a:pt x="78" y="9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74" y="82"/>
                    <a:pt x="74" y="81"/>
                    <a:pt x="74" y="81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81" y="81"/>
                    <a:pt x="82" y="82"/>
                    <a:pt x="83" y="82"/>
                  </a:cubicBezTo>
                  <a:lnTo>
                    <a:pt x="85" y="82"/>
                  </a:lnTo>
                  <a:close/>
                  <a:moveTo>
                    <a:pt x="57" y="57"/>
                  </a:moveTo>
                  <a:cubicBezTo>
                    <a:pt x="56" y="57"/>
                    <a:pt x="55" y="57"/>
                    <a:pt x="55" y="58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7"/>
                    <a:pt x="48" y="57"/>
                    <a:pt x="47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9" y="57"/>
                    <a:pt x="59" y="57"/>
                    <a:pt x="59" y="57"/>
                  </a:cubicBezTo>
                  <a:lnTo>
                    <a:pt x="57" y="57"/>
                  </a:lnTo>
                  <a:close/>
                  <a:moveTo>
                    <a:pt x="107" y="29"/>
                  </a:moveTo>
                  <a:cubicBezTo>
                    <a:pt x="106" y="29"/>
                    <a:pt x="104" y="29"/>
                    <a:pt x="102" y="30"/>
                  </a:cubicBezTo>
                  <a:cubicBezTo>
                    <a:pt x="99" y="13"/>
                    <a:pt x="85" y="0"/>
                    <a:pt x="68" y="0"/>
                  </a:cubicBezTo>
                  <a:cubicBezTo>
                    <a:pt x="55" y="0"/>
                    <a:pt x="44" y="7"/>
                    <a:pt x="37" y="19"/>
                  </a:cubicBezTo>
                  <a:cubicBezTo>
                    <a:pt x="34" y="17"/>
                    <a:pt x="31" y="16"/>
                    <a:pt x="27" y="16"/>
                  </a:cubicBezTo>
                  <a:cubicBezTo>
                    <a:pt x="12" y="16"/>
                    <a:pt x="0" y="29"/>
                    <a:pt x="0" y="44"/>
                  </a:cubicBezTo>
                  <a:cubicBezTo>
                    <a:pt x="0" y="59"/>
                    <a:pt x="12" y="71"/>
                    <a:pt x="27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6" y="93"/>
                    <a:pt x="46" y="94"/>
                    <a:pt x="47" y="94"/>
                  </a:cubicBezTo>
                  <a:cubicBezTo>
                    <a:pt x="57" y="94"/>
                    <a:pt x="57" y="94"/>
                    <a:pt x="57" y="94"/>
                  </a:cubicBezTo>
                  <a:cubicBezTo>
                    <a:pt x="58" y="94"/>
                    <a:pt x="58" y="93"/>
                    <a:pt x="58" y="92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6" y="79"/>
                    <a:pt x="66" y="80"/>
                  </a:cubicBezTo>
                  <a:cubicBezTo>
                    <a:pt x="65" y="81"/>
                    <a:pt x="66" y="81"/>
                    <a:pt x="66" y="82"/>
                  </a:cubicBezTo>
                  <a:cubicBezTo>
                    <a:pt x="76" y="95"/>
                    <a:pt x="76" y="95"/>
                    <a:pt x="76" y="95"/>
                  </a:cubicBezTo>
                  <a:cubicBezTo>
                    <a:pt x="77" y="95"/>
                    <a:pt x="77" y="96"/>
                    <a:pt x="78" y="96"/>
                  </a:cubicBezTo>
                  <a:cubicBezTo>
                    <a:pt x="78" y="96"/>
                    <a:pt x="79" y="95"/>
                    <a:pt x="79" y="95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90" y="81"/>
                    <a:pt x="90" y="81"/>
                    <a:pt x="90" y="80"/>
                  </a:cubicBezTo>
                  <a:cubicBezTo>
                    <a:pt x="89" y="79"/>
                    <a:pt x="89" y="79"/>
                    <a:pt x="88" y="79"/>
                  </a:cubicBezTo>
                  <a:cubicBezTo>
                    <a:pt x="84" y="79"/>
                    <a:pt x="84" y="79"/>
                    <a:pt x="84" y="79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19" y="71"/>
                    <a:pt x="128" y="61"/>
                    <a:pt x="128" y="50"/>
                  </a:cubicBezTo>
                  <a:cubicBezTo>
                    <a:pt x="128" y="38"/>
                    <a:pt x="119" y="29"/>
                    <a:pt x="107" y="29"/>
                  </a:cubicBezTo>
                  <a:moveTo>
                    <a:pt x="49" y="18"/>
                  </a:moveTo>
                  <a:cubicBezTo>
                    <a:pt x="51" y="20"/>
                    <a:pt x="51" y="20"/>
                    <a:pt x="51" y="20"/>
                  </a:cubicBezTo>
                  <a:cubicBezTo>
                    <a:pt x="55" y="16"/>
                    <a:pt x="61" y="13"/>
                    <a:pt x="68" y="13"/>
                  </a:cubicBezTo>
                  <a:cubicBezTo>
                    <a:pt x="70" y="13"/>
                    <a:pt x="72" y="13"/>
                    <a:pt x="74" y="14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3" y="10"/>
                    <a:pt x="70" y="10"/>
                    <a:pt x="68" y="10"/>
                  </a:cubicBezTo>
                  <a:cubicBezTo>
                    <a:pt x="60" y="10"/>
                    <a:pt x="54" y="13"/>
                    <a:pt x="49" y="18"/>
                  </a:cubicBezTo>
                  <a:moveTo>
                    <a:pt x="10" y="43"/>
                  </a:moveTo>
                  <a:cubicBezTo>
                    <a:pt x="14" y="43"/>
                    <a:pt x="14" y="43"/>
                    <a:pt x="14" y="43"/>
                  </a:cubicBezTo>
                  <a:cubicBezTo>
                    <a:pt x="14" y="35"/>
                    <a:pt x="20" y="28"/>
                    <a:pt x="29" y="28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19" y="25"/>
                    <a:pt x="10" y="33"/>
                    <a:pt x="10" y="4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2" name="Group 361">
            <a:extLst>
              <a:ext uri="{FF2B5EF4-FFF2-40B4-BE49-F238E27FC236}">
                <a16:creationId xmlns:a16="http://schemas.microsoft.com/office/drawing/2014/main" id="{554C7066-E3B7-49DA-AE75-089A830CED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693" y="5481239"/>
            <a:ext cx="758825" cy="758825"/>
            <a:chOff x="2342" y="3676"/>
            <a:chExt cx="478" cy="478"/>
          </a:xfrm>
        </p:grpSpPr>
        <p:sp>
          <p:nvSpPr>
            <p:cNvPr id="403" name="AutoShape 360">
              <a:extLst>
                <a:ext uri="{FF2B5EF4-FFF2-40B4-BE49-F238E27FC236}">
                  <a16:creationId xmlns:a16="http://schemas.microsoft.com/office/drawing/2014/main" id="{4F5DF128-8E1F-4236-8756-C0960BBEAE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2" y="367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Freeform 362">
              <a:extLst>
                <a:ext uri="{FF2B5EF4-FFF2-40B4-BE49-F238E27FC236}">
                  <a16:creationId xmlns:a16="http://schemas.microsoft.com/office/drawing/2014/main" id="{EEE821DB-DB94-414B-BBB9-D695C0D496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4" y="367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Freeform 363">
              <a:extLst>
                <a:ext uri="{FF2B5EF4-FFF2-40B4-BE49-F238E27FC236}">
                  <a16:creationId xmlns:a16="http://schemas.microsoft.com/office/drawing/2014/main" id="{846B4671-A51F-467A-87B1-BDBA1B5C8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3796"/>
              <a:ext cx="299" cy="240"/>
            </a:xfrm>
            <a:custGeom>
              <a:avLst/>
              <a:gdLst>
                <a:gd name="T0" fmla="*/ 296 w 299"/>
                <a:gd name="T1" fmla="*/ 137 h 240"/>
                <a:gd name="T2" fmla="*/ 277 w 299"/>
                <a:gd name="T3" fmla="*/ 118 h 240"/>
                <a:gd name="T4" fmla="*/ 257 w 299"/>
                <a:gd name="T5" fmla="*/ 91 h 240"/>
                <a:gd name="T6" fmla="*/ 233 w 299"/>
                <a:gd name="T7" fmla="*/ 54 h 240"/>
                <a:gd name="T8" fmla="*/ 188 w 299"/>
                <a:gd name="T9" fmla="*/ 32 h 240"/>
                <a:gd name="T10" fmla="*/ 159 w 299"/>
                <a:gd name="T11" fmla="*/ 10 h 240"/>
                <a:gd name="T12" fmla="*/ 122 w 299"/>
                <a:gd name="T13" fmla="*/ 0 h 240"/>
                <a:gd name="T14" fmla="*/ 83 w 299"/>
                <a:gd name="T15" fmla="*/ 27 h 240"/>
                <a:gd name="T16" fmla="*/ 76 w 299"/>
                <a:gd name="T17" fmla="*/ 56 h 240"/>
                <a:gd name="T18" fmla="*/ 36 w 299"/>
                <a:gd name="T19" fmla="*/ 66 h 240"/>
                <a:gd name="T20" fmla="*/ 0 w 299"/>
                <a:gd name="T21" fmla="*/ 118 h 240"/>
                <a:gd name="T22" fmla="*/ 2 w 299"/>
                <a:gd name="T23" fmla="*/ 157 h 240"/>
                <a:gd name="T24" fmla="*/ 39 w 299"/>
                <a:gd name="T25" fmla="*/ 199 h 240"/>
                <a:gd name="T26" fmla="*/ 230 w 299"/>
                <a:gd name="T27" fmla="*/ 206 h 240"/>
                <a:gd name="T28" fmla="*/ 277 w 299"/>
                <a:gd name="T29" fmla="*/ 235 h 240"/>
                <a:gd name="T30" fmla="*/ 279 w 299"/>
                <a:gd name="T31" fmla="*/ 213 h 240"/>
                <a:gd name="T32" fmla="*/ 228 w 299"/>
                <a:gd name="T33" fmla="*/ 169 h 240"/>
                <a:gd name="T34" fmla="*/ 274 w 299"/>
                <a:gd name="T35" fmla="*/ 223 h 240"/>
                <a:gd name="T36" fmla="*/ 264 w 299"/>
                <a:gd name="T37" fmla="*/ 231 h 240"/>
                <a:gd name="T38" fmla="*/ 206 w 299"/>
                <a:gd name="T39" fmla="*/ 174 h 240"/>
                <a:gd name="T40" fmla="*/ 181 w 299"/>
                <a:gd name="T41" fmla="*/ 184 h 240"/>
                <a:gd name="T42" fmla="*/ 139 w 299"/>
                <a:gd name="T43" fmla="*/ 172 h 240"/>
                <a:gd name="T44" fmla="*/ 117 w 299"/>
                <a:gd name="T45" fmla="*/ 130 h 240"/>
                <a:gd name="T46" fmla="*/ 132 w 299"/>
                <a:gd name="T47" fmla="*/ 86 h 240"/>
                <a:gd name="T48" fmla="*/ 164 w 299"/>
                <a:gd name="T49" fmla="*/ 69 h 240"/>
                <a:gd name="T50" fmla="*/ 213 w 299"/>
                <a:gd name="T51" fmla="*/ 88 h 240"/>
                <a:gd name="T52" fmla="*/ 228 w 299"/>
                <a:gd name="T53" fmla="*/ 125 h 240"/>
                <a:gd name="T54" fmla="*/ 220 w 299"/>
                <a:gd name="T55" fmla="*/ 164 h 240"/>
                <a:gd name="T56" fmla="*/ 230 w 299"/>
                <a:gd name="T57" fmla="*/ 155 h 240"/>
                <a:gd name="T58" fmla="*/ 237 w 299"/>
                <a:gd name="T59" fmla="*/ 120 h 240"/>
                <a:gd name="T60" fmla="*/ 215 w 299"/>
                <a:gd name="T61" fmla="*/ 76 h 240"/>
                <a:gd name="T62" fmla="*/ 169 w 299"/>
                <a:gd name="T63" fmla="*/ 61 h 240"/>
                <a:gd name="T64" fmla="*/ 132 w 299"/>
                <a:gd name="T65" fmla="*/ 76 h 240"/>
                <a:gd name="T66" fmla="*/ 110 w 299"/>
                <a:gd name="T67" fmla="*/ 110 h 240"/>
                <a:gd name="T68" fmla="*/ 112 w 299"/>
                <a:gd name="T69" fmla="*/ 152 h 240"/>
                <a:gd name="T70" fmla="*/ 137 w 299"/>
                <a:gd name="T71" fmla="*/ 182 h 240"/>
                <a:gd name="T72" fmla="*/ 176 w 299"/>
                <a:gd name="T73" fmla="*/ 191 h 240"/>
                <a:gd name="T74" fmla="*/ 68 w 299"/>
                <a:gd name="T75" fmla="*/ 199 h 240"/>
                <a:gd name="T76" fmla="*/ 27 w 299"/>
                <a:gd name="T77" fmla="*/ 179 h 240"/>
                <a:gd name="T78" fmla="*/ 7 w 299"/>
                <a:gd name="T79" fmla="*/ 135 h 240"/>
                <a:gd name="T80" fmla="*/ 22 w 299"/>
                <a:gd name="T81" fmla="*/ 91 h 240"/>
                <a:gd name="T82" fmla="*/ 59 w 299"/>
                <a:gd name="T83" fmla="*/ 66 h 240"/>
                <a:gd name="T84" fmla="*/ 83 w 299"/>
                <a:gd name="T85" fmla="*/ 64 h 240"/>
                <a:gd name="T86" fmla="*/ 88 w 299"/>
                <a:gd name="T87" fmla="*/ 37 h 240"/>
                <a:gd name="T88" fmla="*/ 125 w 299"/>
                <a:gd name="T89" fmla="*/ 10 h 240"/>
                <a:gd name="T90" fmla="*/ 161 w 299"/>
                <a:gd name="T91" fmla="*/ 25 h 240"/>
                <a:gd name="T92" fmla="*/ 125 w 299"/>
                <a:gd name="T93" fmla="*/ 52 h 240"/>
                <a:gd name="T94" fmla="*/ 130 w 299"/>
                <a:gd name="T95" fmla="*/ 59 h 240"/>
                <a:gd name="T96" fmla="*/ 164 w 299"/>
                <a:gd name="T97" fmla="*/ 42 h 240"/>
                <a:gd name="T98" fmla="*/ 203 w 299"/>
                <a:gd name="T99" fmla="*/ 47 h 240"/>
                <a:gd name="T100" fmla="*/ 240 w 299"/>
                <a:gd name="T101" fmla="*/ 79 h 240"/>
                <a:gd name="T102" fmla="*/ 252 w 299"/>
                <a:gd name="T103" fmla="*/ 130 h 240"/>
                <a:gd name="T104" fmla="*/ 247 w 299"/>
                <a:gd name="T105" fmla="*/ 155 h 240"/>
                <a:gd name="T106" fmla="*/ 257 w 299"/>
                <a:gd name="T107" fmla="*/ 142 h 240"/>
                <a:gd name="T108" fmla="*/ 284 w 299"/>
                <a:gd name="T109" fmla="*/ 135 h 240"/>
                <a:gd name="T110" fmla="*/ 291 w 299"/>
                <a:gd name="T111" fmla="*/ 167 h 240"/>
                <a:gd name="T112" fmla="*/ 274 w 299"/>
                <a:gd name="T113" fmla="*/ 191 h 240"/>
                <a:gd name="T114" fmla="*/ 282 w 299"/>
                <a:gd name="T115" fmla="*/ 196 h 240"/>
                <a:gd name="T116" fmla="*/ 299 w 299"/>
                <a:gd name="T117" fmla="*/ 16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9" h="240">
                  <a:moveTo>
                    <a:pt x="299" y="162"/>
                  </a:moveTo>
                  <a:lnTo>
                    <a:pt x="299" y="157"/>
                  </a:lnTo>
                  <a:lnTo>
                    <a:pt x="299" y="155"/>
                  </a:lnTo>
                  <a:lnTo>
                    <a:pt x="299" y="150"/>
                  </a:lnTo>
                  <a:lnTo>
                    <a:pt x="299" y="145"/>
                  </a:lnTo>
                  <a:lnTo>
                    <a:pt x="296" y="137"/>
                  </a:lnTo>
                  <a:lnTo>
                    <a:pt x="294" y="135"/>
                  </a:lnTo>
                  <a:lnTo>
                    <a:pt x="291" y="130"/>
                  </a:lnTo>
                  <a:lnTo>
                    <a:pt x="289" y="128"/>
                  </a:lnTo>
                  <a:lnTo>
                    <a:pt x="284" y="123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4" y="115"/>
                  </a:lnTo>
                  <a:lnTo>
                    <a:pt x="269" y="113"/>
                  </a:lnTo>
                  <a:lnTo>
                    <a:pt x="267" y="113"/>
                  </a:lnTo>
                  <a:lnTo>
                    <a:pt x="260" y="110"/>
                  </a:lnTo>
                  <a:lnTo>
                    <a:pt x="257" y="96"/>
                  </a:lnTo>
                  <a:lnTo>
                    <a:pt x="257" y="91"/>
                  </a:lnTo>
                  <a:lnTo>
                    <a:pt x="255" y="86"/>
                  </a:lnTo>
                  <a:lnTo>
                    <a:pt x="250" y="74"/>
                  </a:lnTo>
                  <a:lnTo>
                    <a:pt x="245" y="66"/>
                  </a:lnTo>
                  <a:lnTo>
                    <a:pt x="235" y="56"/>
                  </a:lnTo>
                  <a:lnTo>
                    <a:pt x="235" y="54"/>
                  </a:lnTo>
                  <a:lnTo>
                    <a:pt x="233" y="54"/>
                  </a:lnTo>
                  <a:lnTo>
                    <a:pt x="230" y="52"/>
                  </a:lnTo>
                  <a:lnTo>
                    <a:pt x="225" y="47"/>
                  </a:lnTo>
                  <a:lnTo>
                    <a:pt x="213" y="39"/>
                  </a:lnTo>
                  <a:lnTo>
                    <a:pt x="201" y="37"/>
                  </a:lnTo>
                  <a:lnTo>
                    <a:pt x="198" y="34"/>
                  </a:lnTo>
                  <a:lnTo>
                    <a:pt x="188" y="32"/>
                  </a:lnTo>
                  <a:lnTo>
                    <a:pt x="181" y="32"/>
                  </a:lnTo>
                  <a:lnTo>
                    <a:pt x="176" y="32"/>
                  </a:lnTo>
                  <a:lnTo>
                    <a:pt x="174" y="27"/>
                  </a:lnTo>
                  <a:lnTo>
                    <a:pt x="169" y="22"/>
                  </a:lnTo>
                  <a:lnTo>
                    <a:pt x="164" y="15"/>
                  </a:lnTo>
                  <a:lnTo>
                    <a:pt x="159" y="10"/>
                  </a:lnTo>
                  <a:lnTo>
                    <a:pt x="157" y="10"/>
                  </a:lnTo>
                  <a:lnTo>
                    <a:pt x="147" y="5"/>
                  </a:lnTo>
                  <a:lnTo>
                    <a:pt x="142" y="3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2" y="0"/>
                  </a:lnTo>
                  <a:lnTo>
                    <a:pt x="115" y="3"/>
                  </a:lnTo>
                  <a:lnTo>
                    <a:pt x="110" y="5"/>
                  </a:lnTo>
                  <a:lnTo>
                    <a:pt x="100" y="10"/>
                  </a:lnTo>
                  <a:lnTo>
                    <a:pt x="93" y="15"/>
                  </a:lnTo>
                  <a:lnTo>
                    <a:pt x="85" y="22"/>
                  </a:lnTo>
                  <a:lnTo>
                    <a:pt x="83" y="27"/>
                  </a:lnTo>
                  <a:lnTo>
                    <a:pt x="78" y="34"/>
                  </a:lnTo>
                  <a:lnTo>
                    <a:pt x="78" y="37"/>
                  </a:lnTo>
                  <a:lnTo>
                    <a:pt x="78" y="39"/>
                  </a:lnTo>
                  <a:lnTo>
                    <a:pt x="76" y="47"/>
                  </a:lnTo>
                  <a:lnTo>
                    <a:pt x="76" y="52"/>
                  </a:lnTo>
                  <a:lnTo>
                    <a:pt x="76" y="56"/>
                  </a:lnTo>
                  <a:lnTo>
                    <a:pt x="68" y="56"/>
                  </a:lnTo>
                  <a:lnTo>
                    <a:pt x="61" y="56"/>
                  </a:lnTo>
                  <a:lnTo>
                    <a:pt x="51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36" y="66"/>
                  </a:lnTo>
                  <a:lnTo>
                    <a:pt x="29" y="71"/>
                  </a:lnTo>
                  <a:lnTo>
                    <a:pt x="19" y="79"/>
                  </a:lnTo>
                  <a:lnTo>
                    <a:pt x="14" y="83"/>
                  </a:lnTo>
                  <a:lnTo>
                    <a:pt x="7" y="96"/>
                  </a:lnTo>
                  <a:lnTo>
                    <a:pt x="2" y="108"/>
                  </a:lnTo>
                  <a:lnTo>
                    <a:pt x="0" y="118"/>
                  </a:lnTo>
                  <a:lnTo>
                    <a:pt x="0" y="125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0" y="147"/>
                  </a:lnTo>
                  <a:lnTo>
                    <a:pt x="2" y="155"/>
                  </a:lnTo>
                  <a:lnTo>
                    <a:pt x="2" y="157"/>
                  </a:lnTo>
                  <a:lnTo>
                    <a:pt x="7" y="167"/>
                  </a:lnTo>
                  <a:lnTo>
                    <a:pt x="17" y="179"/>
                  </a:lnTo>
                  <a:lnTo>
                    <a:pt x="22" y="186"/>
                  </a:lnTo>
                  <a:lnTo>
                    <a:pt x="27" y="189"/>
                  </a:lnTo>
                  <a:lnTo>
                    <a:pt x="32" y="194"/>
                  </a:lnTo>
                  <a:lnTo>
                    <a:pt x="39" y="199"/>
                  </a:lnTo>
                  <a:lnTo>
                    <a:pt x="49" y="204"/>
                  </a:lnTo>
                  <a:lnTo>
                    <a:pt x="59" y="206"/>
                  </a:lnTo>
                  <a:lnTo>
                    <a:pt x="66" y="206"/>
                  </a:lnTo>
                  <a:lnTo>
                    <a:pt x="73" y="206"/>
                  </a:lnTo>
                  <a:lnTo>
                    <a:pt x="228" y="206"/>
                  </a:lnTo>
                  <a:lnTo>
                    <a:pt x="230" y="206"/>
                  </a:lnTo>
                  <a:lnTo>
                    <a:pt x="260" y="238"/>
                  </a:lnTo>
                  <a:lnTo>
                    <a:pt x="262" y="238"/>
                  </a:lnTo>
                  <a:lnTo>
                    <a:pt x="267" y="240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7" y="235"/>
                  </a:lnTo>
                  <a:lnTo>
                    <a:pt x="282" y="231"/>
                  </a:lnTo>
                  <a:lnTo>
                    <a:pt x="282" y="228"/>
                  </a:lnTo>
                  <a:lnTo>
                    <a:pt x="284" y="223"/>
                  </a:lnTo>
                  <a:lnTo>
                    <a:pt x="284" y="221"/>
                  </a:lnTo>
                  <a:lnTo>
                    <a:pt x="282" y="216"/>
                  </a:lnTo>
                  <a:lnTo>
                    <a:pt x="279" y="213"/>
                  </a:lnTo>
                  <a:lnTo>
                    <a:pt x="279" y="211"/>
                  </a:lnTo>
                  <a:lnTo>
                    <a:pt x="235" y="167"/>
                  </a:lnTo>
                  <a:lnTo>
                    <a:pt x="233" y="167"/>
                  </a:lnTo>
                  <a:lnTo>
                    <a:pt x="230" y="167"/>
                  </a:lnTo>
                  <a:lnTo>
                    <a:pt x="228" y="167"/>
                  </a:lnTo>
                  <a:lnTo>
                    <a:pt x="228" y="169"/>
                  </a:lnTo>
                  <a:lnTo>
                    <a:pt x="228" y="172"/>
                  </a:lnTo>
                  <a:lnTo>
                    <a:pt x="228" y="172"/>
                  </a:lnTo>
                  <a:lnTo>
                    <a:pt x="230" y="174"/>
                  </a:lnTo>
                  <a:lnTo>
                    <a:pt x="274" y="218"/>
                  </a:lnTo>
                  <a:lnTo>
                    <a:pt x="274" y="221"/>
                  </a:lnTo>
                  <a:lnTo>
                    <a:pt x="274" y="223"/>
                  </a:lnTo>
                  <a:lnTo>
                    <a:pt x="274" y="226"/>
                  </a:lnTo>
                  <a:lnTo>
                    <a:pt x="274" y="226"/>
                  </a:lnTo>
                  <a:lnTo>
                    <a:pt x="272" y="228"/>
                  </a:lnTo>
                  <a:lnTo>
                    <a:pt x="269" y="231"/>
                  </a:lnTo>
                  <a:lnTo>
                    <a:pt x="267" y="231"/>
                  </a:lnTo>
                  <a:lnTo>
                    <a:pt x="264" y="231"/>
                  </a:lnTo>
                  <a:lnTo>
                    <a:pt x="264" y="231"/>
                  </a:lnTo>
                  <a:lnTo>
                    <a:pt x="262" y="228"/>
                  </a:lnTo>
                  <a:lnTo>
                    <a:pt x="262" y="228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6" y="174"/>
                  </a:lnTo>
                  <a:lnTo>
                    <a:pt x="206" y="174"/>
                  </a:lnTo>
                  <a:lnTo>
                    <a:pt x="203" y="174"/>
                  </a:lnTo>
                  <a:lnTo>
                    <a:pt x="196" y="179"/>
                  </a:lnTo>
                  <a:lnTo>
                    <a:pt x="193" y="179"/>
                  </a:lnTo>
                  <a:lnTo>
                    <a:pt x="186" y="182"/>
                  </a:lnTo>
                  <a:lnTo>
                    <a:pt x="181" y="184"/>
                  </a:lnTo>
                  <a:lnTo>
                    <a:pt x="171" y="184"/>
                  </a:lnTo>
                  <a:lnTo>
                    <a:pt x="164" y="184"/>
                  </a:lnTo>
                  <a:lnTo>
                    <a:pt x="159" y="182"/>
                  </a:lnTo>
                  <a:lnTo>
                    <a:pt x="149" y="179"/>
                  </a:lnTo>
                  <a:lnTo>
                    <a:pt x="144" y="177"/>
                  </a:lnTo>
                  <a:lnTo>
                    <a:pt x="139" y="172"/>
                  </a:lnTo>
                  <a:lnTo>
                    <a:pt x="135" y="167"/>
                  </a:lnTo>
                  <a:lnTo>
                    <a:pt x="130" y="162"/>
                  </a:lnTo>
                  <a:lnTo>
                    <a:pt x="125" y="155"/>
                  </a:lnTo>
                  <a:lnTo>
                    <a:pt x="120" y="145"/>
                  </a:lnTo>
                  <a:lnTo>
                    <a:pt x="117" y="137"/>
                  </a:lnTo>
                  <a:lnTo>
                    <a:pt x="117" y="130"/>
                  </a:lnTo>
                  <a:lnTo>
                    <a:pt x="117" y="123"/>
                  </a:lnTo>
                  <a:lnTo>
                    <a:pt x="117" y="115"/>
                  </a:lnTo>
                  <a:lnTo>
                    <a:pt x="120" y="108"/>
                  </a:lnTo>
                  <a:lnTo>
                    <a:pt x="125" y="98"/>
                  </a:lnTo>
                  <a:lnTo>
                    <a:pt x="130" y="91"/>
                  </a:lnTo>
                  <a:lnTo>
                    <a:pt x="132" y="86"/>
                  </a:lnTo>
                  <a:lnTo>
                    <a:pt x="139" y="81"/>
                  </a:lnTo>
                  <a:lnTo>
                    <a:pt x="142" y="79"/>
                  </a:lnTo>
                  <a:lnTo>
                    <a:pt x="144" y="76"/>
                  </a:lnTo>
                  <a:lnTo>
                    <a:pt x="149" y="74"/>
                  </a:lnTo>
                  <a:lnTo>
                    <a:pt x="157" y="71"/>
                  </a:lnTo>
                  <a:lnTo>
                    <a:pt x="164" y="69"/>
                  </a:lnTo>
                  <a:lnTo>
                    <a:pt x="176" y="69"/>
                  </a:lnTo>
                  <a:lnTo>
                    <a:pt x="184" y="71"/>
                  </a:lnTo>
                  <a:lnTo>
                    <a:pt x="191" y="71"/>
                  </a:lnTo>
                  <a:lnTo>
                    <a:pt x="201" y="76"/>
                  </a:lnTo>
                  <a:lnTo>
                    <a:pt x="208" y="81"/>
                  </a:lnTo>
                  <a:lnTo>
                    <a:pt x="213" y="88"/>
                  </a:lnTo>
                  <a:lnTo>
                    <a:pt x="218" y="91"/>
                  </a:lnTo>
                  <a:lnTo>
                    <a:pt x="223" y="103"/>
                  </a:lnTo>
                  <a:lnTo>
                    <a:pt x="228" y="110"/>
                  </a:lnTo>
                  <a:lnTo>
                    <a:pt x="228" y="115"/>
                  </a:lnTo>
                  <a:lnTo>
                    <a:pt x="228" y="120"/>
                  </a:lnTo>
                  <a:lnTo>
                    <a:pt x="228" y="125"/>
                  </a:lnTo>
                  <a:lnTo>
                    <a:pt x="228" y="130"/>
                  </a:lnTo>
                  <a:lnTo>
                    <a:pt x="228" y="140"/>
                  </a:lnTo>
                  <a:lnTo>
                    <a:pt x="223" y="152"/>
                  </a:lnTo>
                  <a:lnTo>
                    <a:pt x="218" y="159"/>
                  </a:lnTo>
                  <a:lnTo>
                    <a:pt x="218" y="162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3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8" y="162"/>
                  </a:lnTo>
                  <a:lnTo>
                    <a:pt x="230" y="155"/>
                  </a:lnTo>
                  <a:lnTo>
                    <a:pt x="235" y="147"/>
                  </a:lnTo>
                  <a:lnTo>
                    <a:pt x="235" y="140"/>
                  </a:lnTo>
                  <a:lnTo>
                    <a:pt x="237" y="130"/>
                  </a:lnTo>
                  <a:lnTo>
                    <a:pt x="237" y="128"/>
                  </a:lnTo>
                  <a:lnTo>
                    <a:pt x="237" y="125"/>
                  </a:lnTo>
                  <a:lnTo>
                    <a:pt x="237" y="120"/>
                  </a:lnTo>
                  <a:lnTo>
                    <a:pt x="235" y="110"/>
                  </a:lnTo>
                  <a:lnTo>
                    <a:pt x="233" y="101"/>
                  </a:lnTo>
                  <a:lnTo>
                    <a:pt x="228" y="93"/>
                  </a:lnTo>
                  <a:lnTo>
                    <a:pt x="225" y="86"/>
                  </a:lnTo>
                  <a:lnTo>
                    <a:pt x="220" y="81"/>
                  </a:lnTo>
                  <a:lnTo>
                    <a:pt x="215" y="76"/>
                  </a:lnTo>
                  <a:lnTo>
                    <a:pt x="208" y="71"/>
                  </a:lnTo>
                  <a:lnTo>
                    <a:pt x="201" y="66"/>
                  </a:lnTo>
                  <a:lnTo>
                    <a:pt x="196" y="64"/>
                  </a:lnTo>
                  <a:lnTo>
                    <a:pt x="186" y="61"/>
                  </a:lnTo>
                  <a:lnTo>
                    <a:pt x="176" y="59"/>
                  </a:lnTo>
                  <a:lnTo>
                    <a:pt x="169" y="61"/>
                  </a:lnTo>
                  <a:lnTo>
                    <a:pt x="159" y="61"/>
                  </a:lnTo>
                  <a:lnTo>
                    <a:pt x="152" y="64"/>
                  </a:lnTo>
                  <a:lnTo>
                    <a:pt x="144" y="66"/>
                  </a:lnTo>
                  <a:lnTo>
                    <a:pt x="137" y="71"/>
                  </a:lnTo>
                  <a:lnTo>
                    <a:pt x="135" y="74"/>
                  </a:lnTo>
                  <a:lnTo>
                    <a:pt x="132" y="76"/>
                  </a:lnTo>
                  <a:lnTo>
                    <a:pt x="127" y="79"/>
                  </a:lnTo>
                  <a:lnTo>
                    <a:pt x="122" y="83"/>
                  </a:lnTo>
                  <a:lnTo>
                    <a:pt x="117" y="93"/>
                  </a:lnTo>
                  <a:lnTo>
                    <a:pt x="115" y="98"/>
                  </a:lnTo>
                  <a:lnTo>
                    <a:pt x="112" y="103"/>
                  </a:lnTo>
                  <a:lnTo>
                    <a:pt x="110" y="110"/>
                  </a:lnTo>
                  <a:lnTo>
                    <a:pt x="110" y="115"/>
                  </a:lnTo>
                  <a:lnTo>
                    <a:pt x="108" y="123"/>
                  </a:lnTo>
                  <a:lnTo>
                    <a:pt x="108" y="130"/>
                  </a:lnTo>
                  <a:lnTo>
                    <a:pt x="110" y="137"/>
                  </a:lnTo>
                  <a:lnTo>
                    <a:pt x="110" y="142"/>
                  </a:lnTo>
                  <a:lnTo>
                    <a:pt x="112" y="152"/>
                  </a:lnTo>
                  <a:lnTo>
                    <a:pt x="115" y="155"/>
                  </a:lnTo>
                  <a:lnTo>
                    <a:pt x="120" y="162"/>
                  </a:lnTo>
                  <a:lnTo>
                    <a:pt x="122" y="169"/>
                  </a:lnTo>
                  <a:lnTo>
                    <a:pt x="127" y="174"/>
                  </a:lnTo>
                  <a:lnTo>
                    <a:pt x="132" y="177"/>
                  </a:lnTo>
                  <a:lnTo>
                    <a:pt x="137" y="182"/>
                  </a:lnTo>
                  <a:lnTo>
                    <a:pt x="142" y="184"/>
                  </a:lnTo>
                  <a:lnTo>
                    <a:pt x="149" y="186"/>
                  </a:lnTo>
                  <a:lnTo>
                    <a:pt x="152" y="189"/>
                  </a:lnTo>
                  <a:lnTo>
                    <a:pt x="161" y="191"/>
                  </a:lnTo>
                  <a:lnTo>
                    <a:pt x="169" y="191"/>
                  </a:lnTo>
                  <a:lnTo>
                    <a:pt x="176" y="191"/>
                  </a:lnTo>
                  <a:lnTo>
                    <a:pt x="186" y="191"/>
                  </a:lnTo>
                  <a:lnTo>
                    <a:pt x="193" y="189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20" y="196"/>
                  </a:lnTo>
                  <a:lnTo>
                    <a:pt x="68" y="199"/>
                  </a:lnTo>
                  <a:lnTo>
                    <a:pt x="66" y="196"/>
                  </a:lnTo>
                  <a:lnTo>
                    <a:pt x="59" y="196"/>
                  </a:lnTo>
                  <a:lnTo>
                    <a:pt x="51" y="194"/>
                  </a:lnTo>
                  <a:lnTo>
                    <a:pt x="44" y="191"/>
                  </a:lnTo>
                  <a:lnTo>
                    <a:pt x="36" y="186"/>
                  </a:lnTo>
                  <a:lnTo>
                    <a:pt x="27" y="179"/>
                  </a:lnTo>
                  <a:lnTo>
                    <a:pt x="19" y="172"/>
                  </a:lnTo>
                  <a:lnTo>
                    <a:pt x="19" y="169"/>
                  </a:lnTo>
                  <a:lnTo>
                    <a:pt x="14" y="159"/>
                  </a:lnTo>
                  <a:lnTo>
                    <a:pt x="12" y="157"/>
                  </a:lnTo>
                  <a:lnTo>
                    <a:pt x="9" y="145"/>
                  </a:lnTo>
                  <a:lnTo>
                    <a:pt x="7" y="135"/>
                  </a:lnTo>
                  <a:lnTo>
                    <a:pt x="7" y="132"/>
                  </a:lnTo>
                  <a:lnTo>
                    <a:pt x="7" y="123"/>
                  </a:lnTo>
                  <a:lnTo>
                    <a:pt x="9" y="113"/>
                  </a:lnTo>
                  <a:lnTo>
                    <a:pt x="12" y="106"/>
                  </a:lnTo>
                  <a:lnTo>
                    <a:pt x="17" y="98"/>
                  </a:lnTo>
                  <a:lnTo>
                    <a:pt x="22" y="91"/>
                  </a:lnTo>
                  <a:lnTo>
                    <a:pt x="29" y="83"/>
                  </a:lnTo>
                  <a:lnTo>
                    <a:pt x="36" y="76"/>
                  </a:lnTo>
                  <a:lnTo>
                    <a:pt x="41" y="74"/>
                  </a:lnTo>
                  <a:lnTo>
                    <a:pt x="46" y="71"/>
                  </a:lnTo>
                  <a:lnTo>
                    <a:pt x="56" y="69"/>
                  </a:lnTo>
                  <a:lnTo>
                    <a:pt x="59" y="66"/>
                  </a:lnTo>
                  <a:lnTo>
                    <a:pt x="68" y="66"/>
                  </a:lnTo>
                  <a:lnTo>
                    <a:pt x="76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1"/>
                  </a:lnTo>
                  <a:lnTo>
                    <a:pt x="83" y="54"/>
                  </a:lnTo>
                  <a:lnTo>
                    <a:pt x="83" y="49"/>
                  </a:lnTo>
                  <a:lnTo>
                    <a:pt x="85" y="42"/>
                  </a:lnTo>
                  <a:lnTo>
                    <a:pt x="88" y="37"/>
                  </a:lnTo>
                  <a:lnTo>
                    <a:pt x="93" y="30"/>
                  </a:lnTo>
                  <a:lnTo>
                    <a:pt x="95" y="25"/>
                  </a:lnTo>
                  <a:lnTo>
                    <a:pt x="100" y="20"/>
                  </a:lnTo>
                  <a:lnTo>
                    <a:pt x="110" y="12"/>
                  </a:lnTo>
                  <a:lnTo>
                    <a:pt x="120" y="10"/>
                  </a:lnTo>
                  <a:lnTo>
                    <a:pt x="125" y="10"/>
                  </a:lnTo>
                  <a:lnTo>
                    <a:pt x="132" y="10"/>
                  </a:lnTo>
                  <a:lnTo>
                    <a:pt x="137" y="10"/>
                  </a:lnTo>
                  <a:lnTo>
                    <a:pt x="144" y="12"/>
                  </a:lnTo>
                  <a:lnTo>
                    <a:pt x="152" y="17"/>
                  </a:lnTo>
                  <a:lnTo>
                    <a:pt x="157" y="20"/>
                  </a:lnTo>
                  <a:lnTo>
                    <a:pt x="161" y="25"/>
                  </a:lnTo>
                  <a:lnTo>
                    <a:pt x="166" y="32"/>
                  </a:lnTo>
                  <a:lnTo>
                    <a:pt x="154" y="37"/>
                  </a:lnTo>
                  <a:lnTo>
                    <a:pt x="149" y="37"/>
                  </a:lnTo>
                  <a:lnTo>
                    <a:pt x="139" y="42"/>
                  </a:lnTo>
                  <a:lnTo>
                    <a:pt x="130" y="47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6"/>
                  </a:lnTo>
                  <a:lnTo>
                    <a:pt x="125" y="56"/>
                  </a:lnTo>
                  <a:lnTo>
                    <a:pt x="127" y="59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2" y="56"/>
                  </a:lnTo>
                  <a:lnTo>
                    <a:pt x="139" y="52"/>
                  </a:lnTo>
                  <a:lnTo>
                    <a:pt x="147" y="47"/>
                  </a:lnTo>
                  <a:lnTo>
                    <a:pt x="152" y="47"/>
                  </a:lnTo>
                  <a:lnTo>
                    <a:pt x="164" y="42"/>
                  </a:lnTo>
                  <a:lnTo>
                    <a:pt x="171" y="42"/>
                  </a:lnTo>
                  <a:lnTo>
                    <a:pt x="176" y="42"/>
                  </a:lnTo>
                  <a:lnTo>
                    <a:pt x="188" y="42"/>
                  </a:lnTo>
                  <a:lnTo>
                    <a:pt x="198" y="44"/>
                  </a:lnTo>
                  <a:lnTo>
                    <a:pt x="201" y="44"/>
                  </a:lnTo>
                  <a:lnTo>
                    <a:pt x="203" y="47"/>
                  </a:lnTo>
                  <a:lnTo>
                    <a:pt x="208" y="49"/>
                  </a:lnTo>
                  <a:lnTo>
                    <a:pt x="218" y="54"/>
                  </a:lnTo>
                  <a:lnTo>
                    <a:pt x="223" y="56"/>
                  </a:lnTo>
                  <a:lnTo>
                    <a:pt x="230" y="64"/>
                  </a:lnTo>
                  <a:lnTo>
                    <a:pt x="235" y="71"/>
                  </a:lnTo>
                  <a:lnTo>
                    <a:pt x="240" y="79"/>
                  </a:lnTo>
                  <a:lnTo>
                    <a:pt x="247" y="88"/>
                  </a:lnTo>
                  <a:lnTo>
                    <a:pt x="250" y="101"/>
                  </a:lnTo>
                  <a:lnTo>
                    <a:pt x="252" y="108"/>
                  </a:lnTo>
                  <a:lnTo>
                    <a:pt x="252" y="118"/>
                  </a:lnTo>
                  <a:lnTo>
                    <a:pt x="252" y="120"/>
                  </a:lnTo>
                  <a:lnTo>
                    <a:pt x="252" y="130"/>
                  </a:lnTo>
                  <a:lnTo>
                    <a:pt x="250" y="137"/>
                  </a:lnTo>
                  <a:lnTo>
                    <a:pt x="247" y="142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7" y="155"/>
                  </a:lnTo>
                  <a:lnTo>
                    <a:pt x="247" y="155"/>
                  </a:lnTo>
                  <a:lnTo>
                    <a:pt x="250" y="157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2"/>
                  </a:lnTo>
                  <a:lnTo>
                    <a:pt x="257" y="147"/>
                  </a:lnTo>
                  <a:lnTo>
                    <a:pt x="257" y="142"/>
                  </a:lnTo>
                  <a:lnTo>
                    <a:pt x="260" y="135"/>
                  </a:lnTo>
                  <a:lnTo>
                    <a:pt x="262" y="120"/>
                  </a:lnTo>
                  <a:lnTo>
                    <a:pt x="269" y="123"/>
                  </a:lnTo>
                  <a:lnTo>
                    <a:pt x="274" y="125"/>
                  </a:lnTo>
                  <a:lnTo>
                    <a:pt x="279" y="130"/>
                  </a:lnTo>
                  <a:lnTo>
                    <a:pt x="284" y="135"/>
                  </a:lnTo>
                  <a:lnTo>
                    <a:pt x="287" y="140"/>
                  </a:lnTo>
                  <a:lnTo>
                    <a:pt x="289" y="142"/>
                  </a:lnTo>
                  <a:lnTo>
                    <a:pt x="289" y="147"/>
                  </a:lnTo>
                  <a:lnTo>
                    <a:pt x="291" y="152"/>
                  </a:lnTo>
                  <a:lnTo>
                    <a:pt x="291" y="159"/>
                  </a:lnTo>
                  <a:lnTo>
                    <a:pt x="291" y="167"/>
                  </a:lnTo>
                  <a:lnTo>
                    <a:pt x="289" y="174"/>
                  </a:lnTo>
                  <a:lnTo>
                    <a:pt x="287" y="179"/>
                  </a:lnTo>
                  <a:lnTo>
                    <a:pt x="284" y="182"/>
                  </a:lnTo>
                  <a:lnTo>
                    <a:pt x="279" y="186"/>
                  </a:lnTo>
                  <a:lnTo>
                    <a:pt x="277" y="189"/>
                  </a:lnTo>
                  <a:lnTo>
                    <a:pt x="274" y="191"/>
                  </a:lnTo>
                  <a:lnTo>
                    <a:pt x="274" y="194"/>
                  </a:lnTo>
                  <a:lnTo>
                    <a:pt x="277" y="196"/>
                  </a:lnTo>
                  <a:lnTo>
                    <a:pt x="277" y="196"/>
                  </a:lnTo>
                  <a:lnTo>
                    <a:pt x="279" y="196"/>
                  </a:lnTo>
                  <a:lnTo>
                    <a:pt x="282" y="196"/>
                  </a:lnTo>
                  <a:lnTo>
                    <a:pt x="282" y="196"/>
                  </a:lnTo>
                  <a:lnTo>
                    <a:pt x="284" y="194"/>
                  </a:lnTo>
                  <a:lnTo>
                    <a:pt x="289" y="189"/>
                  </a:lnTo>
                  <a:lnTo>
                    <a:pt x="294" y="182"/>
                  </a:lnTo>
                  <a:lnTo>
                    <a:pt x="296" y="177"/>
                  </a:lnTo>
                  <a:lnTo>
                    <a:pt x="299" y="172"/>
                  </a:lnTo>
                  <a:lnTo>
                    <a:pt x="299" y="16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364">
              <a:extLst>
                <a:ext uri="{FF2B5EF4-FFF2-40B4-BE49-F238E27FC236}">
                  <a16:creationId xmlns:a16="http://schemas.microsoft.com/office/drawing/2014/main" id="{23013188-CD56-4232-885D-7459A6CAA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3796"/>
              <a:ext cx="299" cy="240"/>
            </a:xfrm>
            <a:custGeom>
              <a:avLst/>
              <a:gdLst>
                <a:gd name="T0" fmla="*/ 296 w 299"/>
                <a:gd name="T1" fmla="*/ 137 h 240"/>
                <a:gd name="T2" fmla="*/ 277 w 299"/>
                <a:gd name="T3" fmla="*/ 118 h 240"/>
                <a:gd name="T4" fmla="*/ 257 w 299"/>
                <a:gd name="T5" fmla="*/ 91 h 240"/>
                <a:gd name="T6" fmla="*/ 233 w 299"/>
                <a:gd name="T7" fmla="*/ 54 h 240"/>
                <a:gd name="T8" fmla="*/ 188 w 299"/>
                <a:gd name="T9" fmla="*/ 32 h 240"/>
                <a:gd name="T10" fmla="*/ 159 w 299"/>
                <a:gd name="T11" fmla="*/ 10 h 240"/>
                <a:gd name="T12" fmla="*/ 122 w 299"/>
                <a:gd name="T13" fmla="*/ 0 h 240"/>
                <a:gd name="T14" fmla="*/ 83 w 299"/>
                <a:gd name="T15" fmla="*/ 27 h 240"/>
                <a:gd name="T16" fmla="*/ 76 w 299"/>
                <a:gd name="T17" fmla="*/ 56 h 240"/>
                <a:gd name="T18" fmla="*/ 36 w 299"/>
                <a:gd name="T19" fmla="*/ 66 h 240"/>
                <a:gd name="T20" fmla="*/ 0 w 299"/>
                <a:gd name="T21" fmla="*/ 118 h 240"/>
                <a:gd name="T22" fmla="*/ 2 w 299"/>
                <a:gd name="T23" fmla="*/ 157 h 240"/>
                <a:gd name="T24" fmla="*/ 39 w 299"/>
                <a:gd name="T25" fmla="*/ 199 h 240"/>
                <a:gd name="T26" fmla="*/ 230 w 299"/>
                <a:gd name="T27" fmla="*/ 206 h 240"/>
                <a:gd name="T28" fmla="*/ 277 w 299"/>
                <a:gd name="T29" fmla="*/ 235 h 240"/>
                <a:gd name="T30" fmla="*/ 279 w 299"/>
                <a:gd name="T31" fmla="*/ 213 h 240"/>
                <a:gd name="T32" fmla="*/ 228 w 299"/>
                <a:gd name="T33" fmla="*/ 169 h 240"/>
                <a:gd name="T34" fmla="*/ 274 w 299"/>
                <a:gd name="T35" fmla="*/ 223 h 240"/>
                <a:gd name="T36" fmla="*/ 264 w 299"/>
                <a:gd name="T37" fmla="*/ 231 h 240"/>
                <a:gd name="T38" fmla="*/ 206 w 299"/>
                <a:gd name="T39" fmla="*/ 174 h 240"/>
                <a:gd name="T40" fmla="*/ 181 w 299"/>
                <a:gd name="T41" fmla="*/ 184 h 240"/>
                <a:gd name="T42" fmla="*/ 139 w 299"/>
                <a:gd name="T43" fmla="*/ 172 h 240"/>
                <a:gd name="T44" fmla="*/ 117 w 299"/>
                <a:gd name="T45" fmla="*/ 130 h 240"/>
                <a:gd name="T46" fmla="*/ 132 w 299"/>
                <a:gd name="T47" fmla="*/ 86 h 240"/>
                <a:gd name="T48" fmla="*/ 164 w 299"/>
                <a:gd name="T49" fmla="*/ 69 h 240"/>
                <a:gd name="T50" fmla="*/ 213 w 299"/>
                <a:gd name="T51" fmla="*/ 88 h 240"/>
                <a:gd name="T52" fmla="*/ 228 w 299"/>
                <a:gd name="T53" fmla="*/ 125 h 240"/>
                <a:gd name="T54" fmla="*/ 220 w 299"/>
                <a:gd name="T55" fmla="*/ 164 h 240"/>
                <a:gd name="T56" fmla="*/ 230 w 299"/>
                <a:gd name="T57" fmla="*/ 155 h 240"/>
                <a:gd name="T58" fmla="*/ 237 w 299"/>
                <a:gd name="T59" fmla="*/ 120 h 240"/>
                <a:gd name="T60" fmla="*/ 215 w 299"/>
                <a:gd name="T61" fmla="*/ 76 h 240"/>
                <a:gd name="T62" fmla="*/ 169 w 299"/>
                <a:gd name="T63" fmla="*/ 61 h 240"/>
                <a:gd name="T64" fmla="*/ 132 w 299"/>
                <a:gd name="T65" fmla="*/ 76 h 240"/>
                <a:gd name="T66" fmla="*/ 110 w 299"/>
                <a:gd name="T67" fmla="*/ 110 h 240"/>
                <a:gd name="T68" fmla="*/ 112 w 299"/>
                <a:gd name="T69" fmla="*/ 152 h 240"/>
                <a:gd name="T70" fmla="*/ 137 w 299"/>
                <a:gd name="T71" fmla="*/ 182 h 240"/>
                <a:gd name="T72" fmla="*/ 176 w 299"/>
                <a:gd name="T73" fmla="*/ 191 h 240"/>
                <a:gd name="T74" fmla="*/ 68 w 299"/>
                <a:gd name="T75" fmla="*/ 199 h 240"/>
                <a:gd name="T76" fmla="*/ 27 w 299"/>
                <a:gd name="T77" fmla="*/ 179 h 240"/>
                <a:gd name="T78" fmla="*/ 7 w 299"/>
                <a:gd name="T79" fmla="*/ 135 h 240"/>
                <a:gd name="T80" fmla="*/ 22 w 299"/>
                <a:gd name="T81" fmla="*/ 91 h 240"/>
                <a:gd name="T82" fmla="*/ 59 w 299"/>
                <a:gd name="T83" fmla="*/ 66 h 240"/>
                <a:gd name="T84" fmla="*/ 83 w 299"/>
                <a:gd name="T85" fmla="*/ 64 h 240"/>
                <a:gd name="T86" fmla="*/ 88 w 299"/>
                <a:gd name="T87" fmla="*/ 37 h 240"/>
                <a:gd name="T88" fmla="*/ 125 w 299"/>
                <a:gd name="T89" fmla="*/ 10 h 240"/>
                <a:gd name="T90" fmla="*/ 161 w 299"/>
                <a:gd name="T91" fmla="*/ 25 h 240"/>
                <a:gd name="T92" fmla="*/ 125 w 299"/>
                <a:gd name="T93" fmla="*/ 52 h 240"/>
                <a:gd name="T94" fmla="*/ 130 w 299"/>
                <a:gd name="T95" fmla="*/ 59 h 240"/>
                <a:gd name="T96" fmla="*/ 164 w 299"/>
                <a:gd name="T97" fmla="*/ 42 h 240"/>
                <a:gd name="T98" fmla="*/ 203 w 299"/>
                <a:gd name="T99" fmla="*/ 47 h 240"/>
                <a:gd name="T100" fmla="*/ 240 w 299"/>
                <a:gd name="T101" fmla="*/ 79 h 240"/>
                <a:gd name="T102" fmla="*/ 252 w 299"/>
                <a:gd name="T103" fmla="*/ 130 h 240"/>
                <a:gd name="T104" fmla="*/ 247 w 299"/>
                <a:gd name="T105" fmla="*/ 155 h 240"/>
                <a:gd name="T106" fmla="*/ 257 w 299"/>
                <a:gd name="T107" fmla="*/ 142 h 240"/>
                <a:gd name="T108" fmla="*/ 284 w 299"/>
                <a:gd name="T109" fmla="*/ 135 h 240"/>
                <a:gd name="T110" fmla="*/ 291 w 299"/>
                <a:gd name="T111" fmla="*/ 167 h 240"/>
                <a:gd name="T112" fmla="*/ 274 w 299"/>
                <a:gd name="T113" fmla="*/ 191 h 240"/>
                <a:gd name="T114" fmla="*/ 282 w 299"/>
                <a:gd name="T115" fmla="*/ 196 h 240"/>
                <a:gd name="T116" fmla="*/ 299 w 299"/>
                <a:gd name="T117" fmla="*/ 16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9" h="240">
                  <a:moveTo>
                    <a:pt x="299" y="162"/>
                  </a:moveTo>
                  <a:lnTo>
                    <a:pt x="299" y="157"/>
                  </a:lnTo>
                  <a:lnTo>
                    <a:pt x="299" y="155"/>
                  </a:lnTo>
                  <a:lnTo>
                    <a:pt x="299" y="150"/>
                  </a:lnTo>
                  <a:lnTo>
                    <a:pt x="299" y="145"/>
                  </a:lnTo>
                  <a:lnTo>
                    <a:pt x="296" y="137"/>
                  </a:lnTo>
                  <a:lnTo>
                    <a:pt x="294" y="135"/>
                  </a:lnTo>
                  <a:lnTo>
                    <a:pt x="291" y="130"/>
                  </a:lnTo>
                  <a:lnTo>
                    <a:pt x="289" y="128"/>
                  </a:lnTo>
                  <a:lnTo>
                    <a:pt x="284" y="123"/>
                  </a:lnTo>
                  <a:lnTo>
                    <a:pt x="279" y="118"/>
                  </a:lnTo>
                  <a:lnTo>
                    <a:pt x="277" y="118"/>
                  </a:lnTo>
                  <a:lnTo>
                    <a:pt x="274" y="115"/>
                  </a:lnTo>
                  <a:lnTo>
                    <a:pt x="269" y="113"/>
                  </a:lnTo>
                  <a:lnTo>
                    <a:pt x="267" y="113"/>
                  </a:lnTo>
                  <a:lnTo>
                    <a:pt x="260" y="110"/>
                  </a:lnTo>
                  <a:lnTo>
                    <a:pt x="257" y="96"/>
                  </a:lnTo>
                  <a:lnTo>
                    <a:pt x="257" y="91"/>
                  </a:lnTo>
                  <a:lnTo>
                    <a:pt x="255" y="86"/>
                  </a:lnTo>
                  <a:lnTo>
                    <a:pt x="250" y="74"/>
                  </a:lnTo>
                  <a:lnTo>
                    <a:pt x="245" y="66"/>
                  </a:lnTo>
                  <a:lnTo>
                    <a:pt x="235" y="56"/>
                  </a:lnTo>
                  <a:lnTo>
                    <a:pt x="235" y="54"/>
                  </a:lnTo>
                  <a:lnTo>
                    <a:pt x="233" y="54"/>
                  </a:lnTo>
                  <a:lnTo>
                    <a:pt x="230" y="52"/>
                  </a:lnTo>
                  <a:lnTo>
                    <a:pt x="225" y="47"/>
                  </a:lnTo>
                  <a:lnTo>
                    <a:pt x="213" y="39"/>
                  </a:lnTo>
                  <a:lnTo>
                    <a:pt x="201" y="37"/>
                  </a:lnTo>
                  <a:lnTo>
                    <a:pt x="198" y="34"/>
                  </a:lnTo>
                  <a:lnTo>
                    <a:pt x="188" y="32"/>
                  </a:lnTo>
                  <a:lnTo>
                    <a:pt x="181" y="32"/>
                  </a:lnTo>
                  <a:lnTo>
                    <a:pt x="176" y="32"/>
                  </a:lnTo>
                  <a:lnTo>
                    <a:pt x="174" y="27"/>
                  </a:lnTo>
                  <a:lnTo>
                    <a:pt x="169" y="22"/>
                  </a:lnTo>
                  <a:lnTo>
                    <a:pt x="164" y="15"/>
                  </a:lnTo>
                  <a:lnTo>
                    <a:pt x="159" y="10"/>
                  </a:lnTo>
                  <a:lnTo>
                    <a:pt x="157" y="10"/>
                  </a:lnTo>
                  <a:lnTo>
                    <a:pt x="147" y="5"/>
                  </a:lnTo>
                  <a:lnTo>
                    <a:pt x="142" y="3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2" y="0"/>
                  </a:lnTo>
                  <a:lnTo>
                    <a:pt x="115" y="3"/>
                  </a:lnTo>
                  <a:lnTo>
                    <a:pt x="110" y="5"/>
                  </a:lnTo>
                  <a:lnTo>
                    <a:pt x="100" y="10"/>
                  </a:lnTo>
                  <a:lnTo>
                    <a:pt x="93" y="15"/>
                  </a:lnTo>
                  <a:lnTo>
                    <a:pt x="85" y="22"/>
                  </a:lnTo>
                  <a:lnTo>
                    <a:pt x="83" y="27"/>
                  </a:lnTo>
                  <a:lnTo>
                    <a:pt x="78" y="34"/>
                  </a:lnTo>
                  <a:lnTo>
                    <a:pt x="78" y="37"/>
                  </a:lnTo>
                  <a:lnTo>
                    <a:pt x="78" y="39"/>
                  </a:lnTo>
                  <a:lnTo>
                    <a:pt x="76" y="47"/>
                  </a:lnTo>
                  <a:lnTo>
                    <a:pt x="76" y="52"/>
                  </a:lnTo>
                  <a:lnTo>
                    <a:pt x="76" y="56"/>
                  </a:lnTo>
                  <a:lnTo>
                    <a:pt x="68" y="56"/>
                  </a:lnTo>
                  <a:lnTo>
                    <a:pt x="61" y="56"/>
                  </a:lnTo>
                  <a:lnTo>
                    <a:pt x="51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36" y="66"/>
                  </a:lnTo>
                  <a:lnTo>
                    <a:pt x="29" y="71"/>
                  </a:lnTo>
                  <a:lnTo>
                    <a:pt x="19" y="79"/>
                  </a:lnTo>
                  <a:lnTo>
                    <a:pt x="14" y="83"/>
                  </a:lnTo>
                  <a:lnTo>
                    <a:pt x="7" y="96"/>
                  </a:lnTo>
                  <a:lnTo>
                    <a:pt x="2" y="108"/>
                  </a:lnTo>
                  <a:lnTo>
                    <a:pt x="0" y="118"/>
                  </a:lnTo>
                  <a:lnTo>
                    <a:pt x="0" y="125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0" y="147"/>
                  </a:lnTo>
                  <a:lnTo>
                    <a:pt x="2" y="155"/>
                  </a:lnTo>
                  <a:lnTo>
                    <a:pt x="2" y="157"/>
                  </a:lnTo>
                  <a:lnTo>
                    <a:pt x="7" y="167"/>
                  </a:lnTo>
                  <a:lnTo>
                    <a:pt x="17" y="179"/>
                  </a:lnTo>
                  <a:lnTo>
                    <a:pt x="22" y="186"/>
                  </a:lnTo>
                  <a:lnTo>
                    <a:pt x="27" y="189"/>
                  </a:lnTo>
                  <a:lnTo>
                    <a:pt x="32" y="194"/>
                  </a:lnTo>
                  <a:lnTo>
                    <a:pt x="39" y="199"/>
                  </a:lnTo>
                  <a:lnTo>
                    <a:pt x="49" y="204"/>
                  </a:lnTo>
                  <a:lnTo>
                    <a:pt x="59" y="206"/>
                  </a:lnTo>
                  <a:lnTo>
                    <a:pt x="66" y="206"/>
                  </a:lnTo>
                  <a:lnTo>
                    <a:pt x="73" y="206"/>
                  </a:lnTo>
                  <a:lnTo>
                    <a:pt x="228" y="206"/>
                  </a:lnTo>
                  <a:lnTo>
                    <a:pt x="230" y="206"/>
                  </a:lnTo>
                  <a:lnTo>
                    <a:pt x="260" y="238"/>
                  </a:lnTo>
                  <a:lnTo>
                    <a:pt x="262" y="238"/>
                  </a:lnTo>
                  <a:lnTo>
                    <a:pt x="267" y="240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7" y="235"/>
                  </a:lnTo>
                  <a:lnTo>
                    <a:pt x="282" y="231"/>
                  </a:lnTo>
                  <a:lnTo>
                    <a:pt x="282" y="228"/>
                  </a:lnTo>
                  <a:lnTo>
                    <a:pt x="284" y="223"/>
                  </a:lnTo>
                  <a:lnTo>
                    <a:pt x="284" y="221"/>
                  </a:lnTo>
                  <a:lnTo>
                    <a:pt x="282" y="216"/>
                  </a:lnTo>
                  <a:lnTo>
                    <a:pt x="279" y="213"/>
                  </a:lnTo>
                  <a:lnTo>
                    <a:pt x="279" y="211"/>
                  </a:lnTo>
                  <a:lnTo>
                    <a:pt x="235" y="167"/>
                  </a:lnTo>
                  <a:lnTo>
                    <a:pt x="233" y="167"/>
                  </a:lnTo>
                  <a:lnTo>
                    <a:pt x="230" y="167"/>
                  </a:lnTo>
                  <a:lnTo>
                    <a:pt x="228" y="167"/>
                  </a:lnTo>
                  <a:lnTo>
                    <a:pt x="228" y="169"/>
                  </a:lnTo>
                  <a:lnTo>
                    <a:pt x="228" y="172"/>
                  </a:lnTo>
                  <a:lnTo>
                    <a:pt x="228" y="172"/>
                  </a:lnTo>
                  <a:lnTo>
                    <a:pt x="230" y="174"/>
                  </a:lnTo>
                  <a:lnTo>
                    <a:pt x="274" y="218"/>
                  </a:lnTo>
                  <a:lnTo>
                    <a:pt x="274" y="221"/>
                  </a:lnTo>
                  <a:lnTo>
                    <a:pt x="274" y="223"/>
                  </a:lnTo>
                  <a:lnTo>
                    <a:pt x="274" y="226"/>
                  </a:lnTo>
                  <a:lnTo>
                    <a:pt x="274" y="226"/>
                  </a:lnTo>
                  <a:lnTo>
                    <a:pt x="272" y="228"/>
                  </a:lnTo>
                  <a:lnTo>
                    <a:pt x="269" y="231"/>
                  </a:lnTo>
                  <a:lnTo>
                    <a:pt x="267" y="231"/>
                  </a:lnTo>
                  <a:lnTo>
                    <a:pt x="264" y="231"/>
                  </a:lnTo>
                  <a:lnTo>
                    <a:pt x="264" y="231"/>
                  </a:lnTo>
                  <a:lnTo>
                    <a:pt x="262" y="228"/>
                  </a:lnTo>
                  <a:lnTo>
                    <a:pt x="262" y="228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6" y="174"/>
                  </a:lnTo>
                  <a:lnTo>
                    <a:pt x="206" y="174"/>
                  </a:lnTo>
                  <a:lnTo>
                    <a:pt x="203" y="174"/>
                  </a:lnTo>
                  <a:lnTo>
                    <a:pt x="196" y="179"/>
                  </a:lnTo>
                  <a:lnTo>
                    <a:pt x="193" y="179"/>
                  </a:lnTo>
                  <a:lnTo>
                    <a:pt x="186" y="182"/>
                  </a:lnTo>
                  <a:lnTo>
                    <a:pt x="181" y="184"/>
                  </a:lnTo>
                  <a:lnTo>
                    <a:pt x="171" y="184"/>
                  </a:lnTo>
                  <a:lnTo>
                    <a:pt x="164" y="184"/>
                  </a:lnTo>
                  <a:lnTo>
                    <a:pt x="159" y="182"/>
                  </a:lnTo>
                  <a:lnTo>
                    <a:pt x="149" y="179"/>
                  </a:lnTo>
                  <a:lnTo>
                    <a:pt x="144" y="177"/>
                  </a:lnTo>
                  <a:lnTo>
                    <a:pt x="139" y="172"/>
                  </a:lnTo>
                  <a:lnTo>
                    <a:pt x="135" y="167"/>
                  </a:lnTo>
                  <a:lnTo>
                    <a:pt x="130" y="162"/>
                  </a:lnTo>
                  <a:lnTo>
                    <a:pt x="125" y="155"/>
                  </a:lnTo>
                  <a:lnTo>
                    <a:pt x="120" y="145"/>
                  </a:lnTo>
                  <a:lnTo>
                    <a:pt x="117" y="137"/>
                  </a:lnTo>
                  <a:lnTo>
                    <a:pt x="117" y="130"/>
                  </a:lnTo>
                  <a:lnTo>
                    <a:pt x="117" y="123"/>
                  </a:lnTo>
                  <a:lnTo>
                    <a:pt x="117" y="115"/>
                  </a:lnTo>
                  <a:lnTo>
                    <a:pt x="120" y="108"/>
                  </a:lnTo>
                  <a:lnTo>
                    <a:pt x="125" y="98"/>
                  </a:lnTo>
                  <a:lnTo>
                    <a:pt x="130" y="91"/>
                  </a:lnTo>
                  <a:lnTo>
                    <a:pt x="132" y="86"/>
                  </a:lnTo>
                  <a:lnTo>
                    <a:pt x="139" y="81"/>
                  </a:lnTo>
                  <a:lnTo>
                    <a:pt x="142" y="79"/>
                  </a:lnTo>
                  <a:lnTo>
                    <a:pt x="144" y="76"/>
                  </a:lnTo>
                  <a:lnTo>
                    <a:pt x="149" y="74"/>
                  </a:lnTo>
                  <a:lnTo>
                    <a:pt x="157" y="71"/>
                  </a:lnTo>
                  <a:lnTo>
                    <a:pt x="164" y="69"/>
                  </a:lnTo>
                  <a:lnTo>
                    <a:pt x="176" y="69"/>
                  </a:lnTo>
                  <a:lnTo>
                    <a:pt x="184" y="71"/>
                  </a:lnTo>
                  <a:lnTo>
                    <a:pt x="191" y="71"/>
                  </a:lnTo>
                  <a:lnTo>
                    <a:pt x="201" y="76"/>
                  </a:lnTo>
                  <a:lnTo>
                    <a:pt x="208" y="81"/>
                  </a:lnTo>
                  <a:lnTo>
                    <a:pt x="213" y="88"/>
                  </a:lnTo>
                  <a:lnTo>
                    <a:pt x="218" y="91"/>
                  </a:lnTo>
                  <a:lnTo>
                    <a:pt x="223" y="103"/>
                  </a:lnTo>
                  <a:lnTo>
                    <a:pt x="228" y="110"/>
                  </a:lnTo>
                  <a:lnTo>
                    <a:pt x="228" y="115"/>
                  </a:lnTo>
                  <a:lnTo>
                    <a:pt x="228" y="120"/>
                  </a:lnTo>
                  <a:lnTo>
                    <a:pt x="228" y="125"/>
                  </a:lnTo>
                  <a:lnTo>
                    <a:pt x="228" y="130"/>
                  </a:lnTo>
                  <a:lnTo>
                    <a:pt x="228" y="140"/>
                  </a:lnTo>
                  <a:lnTo>
                    <a:pt x="223" y="152"/>
                  </a:lnTo>
                  <a:lnTo>
                    <a:pt x="218" y="159"/>
                  </a:lnTo>
                  <a:lnTo>
                    <a:pt x="218" y="162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3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8" y="162"/>
                  </a:lnTo>
                  <a:lnTo>
                    <a:pt x="230" y="155"/>
                  </a:lnTo>
                  <a:lnTo>
                    <a:pt x="235" y="147"/>
                  </a:lnTo>
                  <a:lnTo>
                    <a:pt x="235" y="140"/>
                  </a:lnTo>
                  <a:lnTo>
                    <a:pt x="237" y="130"/>
                  </a:lnTo>
                  <a:lnTo>
                    <a:pt x="237" y="128"/>
                  </a:lnTo>
                  <a:lnTo>
                    <a:pt x="237" y="125"/>
                  </a:lnTo>
                  <a:lnTo>
                    <a:pt x="237" y="120"/>
                  </a:lnTo>
                  <a:lnTo>
                    <a:pt x="235" y="110"/>
                  </a:lnTo>
                  <a:lnTo>
                    <a:pt x="233" y="101"/>
                  </a:lnTo>
                  <a:lnTo>
                    <a:pt x="228" y="93"/>
                  </a:lnTo>
                  <a:lnTo>
                    <a:pt x="225" y="86"/>
                  </a:lnTo>
                  <a:lnTo>
                    <a:pt x="220" y="81"/>
                  </a:lnTo>
                  <a:lnTo>
                    <a:pt x="215" y="76"/>
                  </a:lnTo>
                  <a:lnTo>
                    <a:pt x="208" y="71"/>
                  </a:lnTo>
                  <a:lnTo>
                    <a:pt x="201" y="66"/>
                  </a:lnTo>
                  <a:lnTo>
                    <a:pt x="196" y="64"/>
                  </a:lnTo>
                  <a:lnTo>
                    <a:pt x="186" y="61"/>
                  </a:lnTo>
                  <a:lnTo>
                    <a:pt x="176" y="59"/>
                  </a:lnTo>
                  <a:lnTo>
                    <a:pt x="169" y="61"/>
                  </a:lnTo>
                  <a:lnTo>
                    <a:pt x="159" y="61"/>
                  </a:lnTo>
                  <a:lnTo>
                    <a:pt x="152" y="64"/>
                  </a:lnTo>
                  <a:lnTo>
                    <a:pt x="144" y="66"/>
                  </a:lnTo>
                  <a:lnTo>
                    <a:pt x="137" y="71"/>
                  </a:lnTo>
                  <a:lnTo>
                    <a:pt x="135" y="74"/>
                  </a:lnTo>
                  <a:lnTo>
                    <a:pt x="132" y="76"/>
                  </a:lnTo>
                  <a:lnTo>
                    <a:pt x="127" y="79"/>
                  </a:lnTo>
                  <a:lnTo>
                    <a:pt x="122" y="83"/>
                  </a:lnTo>
                  <a:lnTo>
                    <a:pt x="117" y="93"/>
                  </a:lnTo>
                  <a:lnTo>
                    <a:pt x="115" y="98"/>
                  </a:lnTo>
                  <a:lnTo>
                    <a:pt x="112" y="103"/>
                  </a:lnTo>
                  <a:lnTo>
                    <a:pt x="110" y="110"/>
                  </a:lnTo>
                  <a:lnTo>
                    <a:pt x="110" y="115"/>
                  </a:lnTo>
                  <a:lnTo>
                    <a:pt x="108" y="123"/>
                  </a:lnTo>
                  <a:lnTo>
                    <a:pt x="108" y="130"/>
                  </a:lnTo>
                  <a:lnTo>
                    <a:pt x="110" y="137"/>
                  </a:lnTo>
                  <a:lnTo>
                    <a:pt x="110" y="142"/>
                  </a:lnTo>
                  <a:lnTo>
                    <a:pt x="112" y="152"/>
                  </a:lnTo>
                  <a:lnTo>
                    <a:pt x="115" y="155"/>
                  </a:lnTo>
                  <a:lnTo>
                    <a:pt x="120" y="162"/>
                  </a:lnTo>
                  <a:lnTo>
                    <a:pt x="122" y="169"/>
                  </a:lnTo>
                  <a:lnTo>
                    <a:pt x="127" y="174"/>
                  </a:lnTo>
                  <a:lnTo>
                    <a:pt x="132" y="177"/>
                  </a:lnTo>
                  <a:lnTo>
                    <a:pt x="137" y="182"/>
                  </a:lnTo>
                  <a:lnTo>
                    <a:pt x="142" y="184"/>
                  </a:lnTo>
                  <a:lnTo>
                    <a:pt x="149" y="186"/>
                  </a:lnTo>
                  <a:lnTo>
                    <a:pt x="152" y="189"/>
                  </a:lnTo>
                  <a:lnTo>
                    <a:pt x="161" y="191"/>
                  </a:lnTo>
                  <a:lnTo>
                    <a:pt x="169" y="191"/>
                  </a:lnTo>
                  <a:lnTo>
                    <a:pt x="176" y="191"/>
                  </a:lnTo>
                  <a:lnTo>
                    <a:pt x="186" y="191"/>
                  </a:lnTo>
                  <a:lnTo>
                    <a:pt x="193" y="189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20" y="196"/>
                  </a:lnTo>
                  <a:lnTo>
                    <a:pt x="68" y="199"/>
                  </a:lnTo>
                  <a:lnTo>
                    <a:pt x="66" y="196"/>
                  </a:lnTo>
                  <a:lnTo>
                    <a:pt x="59" y="196"/>
                  </a:lnTo>
                  <a:lnTo>
                    <a:pt x="51" y="194"/>
                  </a:lnTo>
                  <a:lnTo>
                    <a:pt x="44" y="191"/>
                  </a:lnTo>
                  <a:lnTo>
                    <a:pt x="36" y="186"/>
                  </a:lnTo>
                  <a:lnTo>
                    <a:pt x="27" y="179"/>
                  </a:lnTo>
                  <a:lnTo>
                    <a:pt x="19" y="172"/>
                  </a:lnTo>
                  <a:lnTo>
                    <a:pt x="19" y="169"/>
                  </a:lnTo>
                  <a:lnTo>
                    <a:pt x="14" y="159"/>
                  </a:lnTo>
                  <a:lnTo>
                    <a:pt x="12" y="157"/>
                  </a:lnTo>
                  <a:lnTo>
                    <a:pt x="9" y="145"/>
                  </a:lnTo>
                  <a:lnTo>
                    <a:pt x="7" y="135"/>
                  </a:lnTo>
                  <a:lnTo>
                    <a:pt x="7" y="132"/>
                  </a:lnTo>
                  <a:lnTo>
                    <a:pt x="7" y="123"/>
                  </a:lnTo>
                  <a:lnTo>
                    <a:pt x="9" y="113"/>
                  </a:lnTo>
                  <a:lnTo>
                    <a:pt x="12" y="106"/>
                  </a:lnTo>
                  <a:lnTo>
                    <a:pt x="17" y="98"/>
                  </a:lnTo>
                  <a:lnTo>
                    <a:pt x="22" y="91"/>
                  </a:lnTo>
                  <a:lnTo>
                    <a:pt x="29" y="83"/>
                  </a:lnTo>
                  <a:lnTo>
                    <a:pt x="36" y="76"/>
                  </a:lnTo>
                  <a:lnTo>
                    <a:pt x="41" y="74"/>
                  </a:lnTo>
                  <a:lnTo>
                    <a:pt x="46" y="71"/>
                  </a:lnTo>
                  <a:lnTo>
                    <a:pt x="56" y="69"/>
                  </a:lnTo>
                  <a:lnTo>
                    <a:pt x="59" y="66"/>
                  </a:lnTo>
                  <a:lnTo>
                    <a:pt x="68" y="66"/>
                  </a:lnTo>
                  <a:lnTo>
                    <a:pt x="76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1"/>
                  </a:lnTo>
                  <a:lnTo>
                    <a:pt x="83" y="54"/>
                  </a:lnTo>
                  <a:lnTo>
                    <a:pt x="83" y="49"/>
                  </a:lnTo>
                  <a:lnTo>
                    <a:pt x="85" y="42"/>
                  </a:lnTo>
                  <a:lnTo>
                    <a:pt x="88" y="37"/>
                  </a:lnTo>
                  <a:lnTo>
                    <a:pt x="93" y="30"/>
                  </a:lnTo>
                  <a:lnTo>
                    <a:pt x="95" y="25"/>
                  </a:lnTo>
                  <a:lnTo>
                    <a:pt x="100" y="20"/>
                  </a:lnTo>
                  <a:lnTo>
                    <a:pt x="110" y="12"/>
                  </a:lnTo>
                  <a:lnTo>
                    <a:pt x="120" y="10"/>
                  </a:lnTo>
                  <a:lnTo>
                    <a:pt x="125" y="10"/>
                  </a:lnTo>
                  <a:lnTo>
                    <a:pt x="132" y="10"/>
                  </a:lnTo>
                  <a:lnTo>
                    <a:pt x="137" y="10"/>
                  </a:lnTo>
                  <a:lnTo>
                    <a:pt x="144" y="12"/>
                  </a:lnTo>
                  <a:lnTo>
                    <a:pt x="152" y="17"/>
                  </a:lnTo>
                  <a:lnTo>
                    <a:pt x="157" y="20"/>
                  </a:lnTo>
                  <a:lnTo>
                    <a:pt x="161" y="25"/>
                  </a:lnTo>
                  <a:lnTo>
                    <a:pt x="166" y="32"/>
                  </a:lnTo>
                  <a:lnTo>
                    <a:pt x="154" y="37"/>
                  </a:lnTo>
                  <a:lnTo>
                    <a:pt x="149" y="37"/>
                  </a:lnTo>
                  <a:lnTo>
                    <a:pt x="139" y="42"/>
                  </a:lnTo>
                  <a:lnTo>
                    <a:pt x="130" y="47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6"/>
                  </a:lnTo>
                  <a:lnTo>
                    <a:pt x="125" y="56"/>
                  </a:lnTo>
                  <a:lnTo>
                    <a:pt x="127" y="59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2" y="56"/>
                  </a:lnTo>
                  <a:lnTo>
                    <a:pt x="139" y="52"/>
                  </a:lnTo>
                  <a:lnTo>
                    <a:pt x="147" y="47"/>
                  </a:lnTo>
                  <a:lnTo>
                    <a:pt x="152" y="47"/>
                  </a:lnTo>
                  <a:lnTo>
                    <a:pt x="164" y="42"/>
                  </a:lnTo>
                  <a:lnTo>
                    <a:pt x="171" y="42"/>
                  </a:lnTo>
                  <a:lnTo>
                    <a:pt x="176" y="42"/>
                  </a:lnTo>
                  <a:lnTo>
                    <a:pt x="188" y="42"/>
                  </a:lnTo>
                  <a:lnTo>
                    <a:pt x="198" y="44"/>
                  </a:lnTo>
                  <a:lnTo>
                    <a:pt x="201" y="44"/>
                  </a:lnTo>
                  <a:lnTo>
                    <a:pt x="203" y="47"/>
                  </a:lnTo>
                  <a:lnTo>
                    <a:pt x="208" y="49"/>
                  </a:lnTo>
                  <a:lnTo>
                    <a:pt x="218" y="54"/>
                  </a:lnTo>
                  <a:lnTo>
                    <a:pt x="223" y="56"/>
                  </a:lnTo>
                  <a:lnTo>
                    <a:pt x="230" y="64"/>
                  </a:lnTo>
                  <a:lnTo>
                    <a:pt x="235" y="71"/>
                  </a:lnTo>
                  <a:lnTo>
                    <a:pt x="240" y="79"/>
                  </a:lnTo>
                  <a:lnTo>
                    <a:pt x="247" y="88"/>
                  </a:lnTo>
                  <a:lnTo>
                    <a:pt x="250" y="101"/>
                  </a:lnTo>
                  <a:lnTo>
                    <a:pt x="252" y="108"/>
                  </a:lnTo>
                  <a:lnTo>
                    <a:pt x="252" y="118"/>
                  </a:lnTo>
                  <a:lnTo>
                    <a:pt x="252" y="120"/>
                  </a:lnTo>
                  <a:lnTo>
                    <a:pt x="252" y="130"/>
                  </a:lnTo>
                  <a:lnTo>
                    <a:pt x="250" y="137"/>
                  </a:lnTo>
                  <a:lnTo>
                    <a:pt x="247" y="142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7" y="155"/>
                  </a:lnTo>
                  <a:lnTo>
                    <a:pt x="247" y="155"/>
                  </a:lnTo>
                  <a:lnTo>
                    <a:pt x="250" y="157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2"/>
                  </a:lnTo>
                  <a:lnTo>
                    <a:pt x="257" y="147"/>
                  </a:lnTo>
                  <a:lnTo>
                    <a:pt x="257" y="142"/>
                  </a:lnTo>
                  <a:lnTo>
                    <a:pt x="260" y="135"/>
                  </a:lnTo>
                  <a:lnTo>
                    <a:pt x="262" y="120"/>
                  </a:lnTo>
                  <a:lnTo>
                    <a:pt x="269" y="123"/>
                  </a:lnTo>
                  <a:lnTo>
                    <a:pt x="274" y="125"/>
                  </a:lnTo>
                  <a:lnTo>
                    <a:pt x="279" y="130"/>
                  </a:lnTo>
                  <a:lnTo>
                    <a:pt x="284" y="135"/>
                  </a:lnTo>
                  <a:lnTo>
                    <a:pt x="287" y="140"/>
                  </a:lnTo>
                  <a:lnTo>
                    <a:pt x="289" y="142"/>
                  </a:lnTo>
                  <a:lnTo>
                    <a:pt x="289" y="147"/>
                  </a:lnTo>
                  <a:lnTo>
                    <a:pt x="291" y="152"/>
                  </a:lnTo>
                  <a:lnTo>
                    <a:pt x="291" y="159"/>
                  </a:lnTo>
                  <a:lnTo>
                    <a:pt x="291" y="167"/>
                  </a:lnTo>
                  <a:lnTo>
                    <a:pt x="289" y="174"/>
                  </a:lnTo>
                  <a:lnTo>
                    <a:pt x="287" y="179"/>
                  </a:lnTo>
                  <a:lnTo>
                    <a:pt x="284" y="182"/>
                  </a:lnTo>
                  <a:lnTo>
                    <a:pt x="279" y="186"/>
                  </a:lnTo>
                  <a:lnTo>
                    <a:pt x="277" y="189"/>
                  </a:lnTo>
                  <a:lnTo>
                    <a:pt x="274" y="191"/>
                  </a:lnTo>
                  <a:lnTo>
                    <a:pt x="274" y="194"/>
                  </a:lnTo>
                  <a:lnTo>
                    <a:pt x="277" y="196"/>
                  </a:lnTo>
                  <a:lnTo>
                    <a:pt x="277" y="196"/>
                  </a:lnTo>
                  <a:lnTo>
                    <a:pt x="279" y="196"/>
                  </a:lnTo>
                  <a:lnTo>
                    <a:pt x="282" y="196"/>
                  </a:lnTo>
                  <a:lnTo>
                    <a:pt x="282" y="196"/>
                  </a:lnTo>
                  <a:lnTo>
                    <a:pt x="284" y="194"/>
                  </a:lnTo>
                  <a:lnTo>
                    <a:pt x="289" y="189"/>
                  </a:lnTo>
                  <a:lnTo>
                    <a:pt x="294" y="182"/>
                  </a:lnTo>
                  <a:lnTo>
                    <a:pt x="296" y="177"/>
                  </a:lnTo>
                  <a:lnTo>
                    <a:pt x="299" y="172"/>
                  </a:lnTo>
                  <a:lnTo>
                    <a:pt x="299" y="16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7" name="Group 367">
            <a:extLst>
              <a:ext uri="{FF2B5EF4-FFF2-40B4-BE49-F238E27FC236}">
                <a16:creationId xmlns:a16="http://schemas.microsoft.com/office/drawing/2014/main" id="{3AFE6AD9-9ABD-4225-A778-40EC397CCD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3692" y="5439964"/>
            <a:ext cx="841375" cy="841375"/>
            <a:chOff x="1640" y="3427"/>
            <a:chExt cx="530" cy="530"/>
          </a:xfrm>
        </p:grpSpPr>
        <p:sp>
          <p:nvSpPr>
            <p:cNvPr id="408" name="AutoShape 366">
              <a:extLst>
                <a:ext uri="{FF2B5EF4-FFF2-40B4-BE49-F238E27FC236}">
                  <a16:creationId xmlns:a16="http://schemas.microsoft.com/office/drawing/2014/main" id="{82EEB645-63B4-4DBE-9FAD-0CFD278A57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0" y="342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Oval 368">
              <a:extLst>
                <a:ext uri="{FF2B5EF4-FFF2-40B4-BE49-F238E27FC236}">
                  <a16:creationId xmlns:a16="http://schemas.microsoft.com/office/drawing/2014/main" id="{813BC4DE-8E40-4796-89C9-B01B71107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0" y="342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369">
              <a:extLst>
                <a:ext uri="{FF2B5EF4-FFF2-40B4-BE49-F238E27FC236}">
                  <a16:creationId xmlns:a16="http://schemas.microsoft.com/office/drawing/2014/main" id="{2AC7813B-C1DA-4907-95E9-E162DF406C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" y="344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Freeform 370">
              <a:extLst>
                <a:ext uri="{FF2B5EF4-FFF2-40B4-BE49-F238E27FC236}">
                  <a16:creationId xmlns:a16="http://schemas.microsoft.com/office/drawing/2014/main" id="{578D3AE3-D7E1-430C-BE04-9EE3DB83D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" y="3568"/>
              <a:ext cx="312" cy="251"/>
            </a:xfrm>
            <a:custGeom>
              <a:avLst/>
              <a:gdLst>
                <a:gd name="T0" fmla="*/ 310 w 312"/>
                <a:gd name="T1" fmla="*/ 143 h 251"/>
                <a:gd name="T2" fmla="*/ 289 w 312"/>
                <a:gd name="T3" fmla="*/ 123 h 251"/>
                <a:gd name="T4" fmla="*/ 269 w 312"/>
                <a:gd name="T5" fmla="*/ 94 h 251"/>
                <a:gd name="T6" fmla="*/ 243 w 312"/>
                <a:gd name="T7" fmla="*/ 56 h 251"/>
                <a:gd name="T8" fmla="*/ 197 w 312"/>
                <a:gd name="T9" fmla="*/ 33 h 251"/>
                <a:gd name="T10" fmla="*/ 166 w 312"/>
                <a:gd name="T11" fmla="*/ 10 h 251"/>
                <a:gd name="T12" fmla="*/ 128 w 312"/>
                <a:gd name="T13" fmla="*/ 0 h 251"/>
                <a:gd name="T14" fmla="*/ 87 w 312"/>
                <a:gd name="T15" fmla="*/ 28 h 251"/>
                <a:gd name="T16" fmla="*/ 79 w 312"/>
                <a:gd name="T17" fmla="*/ 59 h 251"/>
                <a:gd name="T18" fmla="*/ 38 w 312"/>
                <a:gd name="T19" fmla="*/ 69 h 251"/>
                <a:gd name="T20" fmla="*/ 0 w 312"/>
                <a:gd name="T21" fmla="*/ 123 h 251"/>
                <a:gd name="T22" fmla="*/ 3 w 312"/>
                <a:gd name="T23" fmla="*/ 164 h 251"/>
                <a:gd name="T24" fmla="*/ 41 w 312"/>
                <a:gd name="T25" fmla="*/ 207 h 251"/>
                <a:gd name="T26" fmla="*/ 241 w 312"/>
                <a:gd name="T27" fmla="*/ 215 h 251"/>
                <a:gd name="T28" fmla="*/ 289 w 312"/>
                <a:gd name="T29" fmla="*/ 246 h 251"/>
                <a:gd name="T30" fmla="*/ 292 w 312"/>
                <a:gd name="T31" fmla="*/ 222 h 251"/>
                <a:gd name="T32" fmla="*/ 238 w 312"/>
                <a:gd name="T33" fmla="*/ 176 h 251"/>
                <a:gd name="T34" fmla="*/ 287 w 312"/>
                <a:gd name="T35" fmla="*/ 233 h 251"/>
                <a:gd name="T36" fmla="*/ 277 w 312"/>
                <a:gd name="T37" fmla="*/ 240 h 251"/>
                <a:gd name="T38" fmla="*/ 215 w 312"/>
                <a:gd name="T39" fmla="*/ 182 h 251"/>
                <a:gd name="T40" fmla="*/ 189 w 312"/>
                <a:gd name="T41" fmla="*/ 192 h 251"/>
                <a:gd name="T42" fmla="*/ 146 w 312"/>
                <a:gd name="T43" fmla="*/ 179 h 251"/>
                <a:gd name="T44" fmla="*/ 123 w 312"/>
                <a:gd name="T45" fmla="*/ 135 h 251"/>
                <a:gd name="T46" fmla="*/ 138 w 312"/>
                <a:gd name="T47" fmla="*/ 89 h 251"/>
                <a:gd name="T48" fmla="*/ 172 w 312"/>
                <a:gd name="T49" fmla="*/ 71 h 251"/>
                <a:gd name="T50" fmla="*/ 223 w 312"/>
                <a:gd name="T51" fmla="*/ 92 h 251"/>
                <a:gd name="T52" fmla="*/ 238 w 312"/>
                <a:gd name="T53" fmla="*/ 130 h 251"/>
                <a:gd name="T54" fmla="*/ 230 w 312"/>
                <a:gd name="T55" fmla="*/ 171 h 251"/>
                <a:gd name="T56" fmla="*/ 241 w 312"/>
                <a:gd name="T57" fmla="*/ 161 h 251"/>
                <a:gd name="T58" fmla="*/ 248 w 312"/>
                <a:gd name="T59" fmla="*/ 125 h 251"/>
                <a:gd name="T60" fmla="*/ 225 w 312"/>
                <a:gd name="T61" fmla="*/ 79 h 251"/>
                <a:gd name="T62" fmla="*/ 177 w 312"/>
                <a:gd name="T63" fmla="*/ 64 h 251"/>
                <a:gd name="T64" fmla="*/ 138 w 312"/>
                <a:gd name="T65" fmla="*/ 79 h 251"/>
                <a:gd name="T66" fmla="*/ 115 w 312"/>
                <a:gd name="T67" fmla="*/ 115 h 251"/>
                <a:gd name="T68" fmla="*/ 118 w 312"/>
                <a:gd name="T69" fmla="*/ 158 h 251"/>
                <a:gd name="T70" fmla="*/ 143 w 312"/>
                <a:gd name="T71" fmla="*/ 189 h 251"/>
                <a:gd name="T72" fmla="*/ 184 w 312"/>
                <a:gd name="T73" fmla="*/ 199 h 251"/>
                <a:gd name="T74" fmla="*/ 72 w 312"/>
                <a:gd name="T75" fmla="*/ 207 h 251"/>
                <a:gd name="T76" fmla="*/ 28 w 312"/>
                <a:gd name="T77" fmla="*/ 187 h 251"/>
                <a:gd name="T78" fmla="*/ 8 w 312"/>
                <a:gd name="T79" fmla="*/ 141 h 251"/>
                <a:gd name="T80" fmla="*/ 23 w 312"/>
                <a:gd name="T81" fmla="*/ 94 h 251"/>
                <a:gd name="T82" fmla="*/ 61 w 312"/>
                <a:gd name="T83" fmla="*/ 69 h 251"/>
                <a:gd name="T84" fmla="*/ 87 w 312"/>
                <a:gd name="T85" fmla="*/ 66 h 251"/>
                <a:gd name="T86" fmla="*/ 92 w 312"/>
                <a:gd name="T87" fmla="*/ 38 h 251"/>
                <a:gd name="T88" fmla="*/ 131 w 312"/>
                <a:gd name="T89" fmla="*/ 10 h 251"/>
                <a:gd name="T90" fmla="*/ 169 w 312"/>
                <a:gd name="T91" fmla="*/ 25 h 251"/>
                <a:gd name="T92" fmla="*/ 131 w 312"/>
                <a:gd name="T93" fmla="*/ 53 h 251"/>
                <a:gd name="T94" fmla="*/ 136 w 312"/>
                <a:gd name="T95" fmla="*/ 61 h 251"/>
                <a:gd name="T96" fmla="*/ 172 w 312"/>
                <a:gd name="T97" fmla="*/ 43 h 251"/>
                <a:gd name="T98" fmla="*/ 213 w 312"/>
                <a:gd name="T99" fmla="*/ 48 h 251"/>
                <a:gd name="T100" fmla="*/ 251 w 312"/>
                <a:gd name="T101" fmla="*/ 82 h 251"/>
                <a:gd name="T102" fmla="*/ 264 w 312"/>
                <a:gd name="T103" fmla="*/ 135 h 251"/>
                <a:gd name="T104" fmla="*/ 259 w 312"/>
                <a:gd name="T105" fmla="*/ 161 h 251"/>
                <a:gd name="T106" fmla="*/ 269 w 312"/>
                <a:gd name="T107" fmla="*/ 148 h 251"/>
                <a:gd name="T108" fmla="*/ 297 w 312"/>
                <a:gd name="T109" fmla="*/ 141 h 251"/>
                <a:gd name="T110" fmla="*/ 305 w 312"/>
                <a:gd name="T111" fmla="*/ 174 h 251"/>
                <a:gd name="T112" fmla="*/ 287 w 312"/>
                <a:gd name="T113" fmla="*/ 199 h 251"/>
                <a:gd name="T114" fmla="*/ 294 w 312"/>
                <a:gd name="T115" fmla="*/ 205 h 251"/>
                <a:gd name="T116" fmla="*/ 312 w 312"/>
                <a:gd name="T117" fmla="*/ 169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2" h="251">
                  <a:moveTo>
                    <a:pt x="312" y="169"/>
                  </a:moveTo>
                  <a:lnTo>
                    <a:pt x="312" y="164"/>
                  </a:lnTo>
                  <a:lnTo>
                    <a:pt x="312" y="161"/>
                  </a:lnTo>
                  <a:lnTo>
                    <a:pt x="312" y="156"/>
                  </a:lnTo>
                  <a:lnTo>
                    <a:pt x="312" y="151"/>
                  </a:lnTo>
                  <a:lnTo>
                    <a:pt x="310" y="143"/>
                  </a:lnTo>
                  <a:lnTo>
                    <a:pt x="307" y="141"/>
                  </a:lnTo>
                  <a:lnTo>
                    <a:pt x="305" y="135"/>
                  </a:lnTo>
                  <a:lnTo>
                    <a:pt x="302" y="133"/>
                  </a:lnTo>
                  <a:lnTo>
                    <a:pt x="297" y="128"/>
                  </a:lnTo>
                  <a:lnTo>
                    <a:pt x="292" y="123"/>
                  </a:lnTo>
                  <a:lnTo>
                    <a:pt x="289" y="123"/>
                  </a:lnTo>
                  <a:lnTo>
                    <a:pt x="287" y="120"/>
                  </a:lnTo>
                  <a:lnTo>
                    <a:pt x="282" y="117"/>
                  </a:lnTo>
                  <a:lnTo>
                    <a:pt x="279" y="117"/>
                  </a:lnTo>
                  <a:lnTo>
                    <a:pt x="271" y="115"/>
                  </a:lnTo>
                  <a:lnTo>
                    <a:pt x="269" y="100"/>
                  </a:lnTo>
                  <a:lnTo>
                    <a:pt x="269" y="94"/>
                  </a:lnTo>
                  <a:lnTo>
                    <a:pt x="266" y="89"/>
                  </a:lnTo>
                  <a:lnTo>
                    <a:pt x="261" y="77"/>
                  </a:lnTo>
                  <a:lnTo>
                    <a:pt x="256" y="69"/>
                  </a:lnTo>
                  <a:lnTo>
                    <a:pt x="246" y="59"/>
                  </a:lnTo>
                  <a:lnTo>
                    <a:pt x="246" y="56"/>
                  </a:lnTo>
                  <a:lnTo>
                    <a:pt x="243" y="56"/>
                  </a:lnTo>
                  <a:lnTo>
                    <a:pt x="241" y="53"/>
                  </a:lnTo>
                  <a:lnTo>
                    <a:pt x="236" y="48"/>
                  </a:lnTo>
                  <a:lnTo>
                    <a:pt x="223" y="41"/>
                  </a:lnTo>
                  <a:lnTo>
                    <a:pt x="210" y="38"/>
                  </a:lnTo>
                  <a:lnTo>
                    <a:pt x="207" y="36"/>
                  </a:lnTo>
                  <a:lnTo>
                    <a:pt x="197" y="33"/>
                  </a:lnTo>
                  <a:lnTo>
                    <a:pt x="189" y="33"/>
                  </a:lnTo>
                  <a:lnTo>
                    <a:pt x="184" y="33"/>
                  </a:lnTo>
                  <a:lnTo>
                    <a:pt x="182" y="28"/>
                  </a:lnTo>
                  <a:lnTo>
                    <a:pt x="177" y="23"/>
                  </a:lnTo>
                  <a:lnTo>
                    <a:pt x="172" y="15"/>
                  </a:lnTo>
                  <a:lnTo>
                    <a:pt x="166" y="10"/>
                  </a:lnTo>
                  <a:lnTo>
                    <a:pt x="164" y="10"/>
                  </a:lnTo>
                  <a:lnTo>
                    <a:pt x="154" y="5"/>
                  </a:lnTo>
                  <a:lnTo>
                    <a:pt x="148" y="2"/>
                  </a:lnTo>
                  <a:lnTo>
                    <a:pt x="141" y="2"/>
                  </a:lnTo>
                  <a:lnTo>
                    <a:pt x="138" y="0"/>
                  </a:lnTo>
                  <a:lnTo>
                    <a:pt x="128" y="0"/>
                  </a:lnTo>
                  <a:lnTo>
                    <a:pt x="120" y="2"/>
                  </a:lnTo>
                  <a:lnTo>
                    <a:pt x="115" y="5"/>
                  </a:lnTo>
                  <a:lnTo>
                    <a:pt x="105" y="10"/>
                  </a:lnTo>
                  <a:lnTo>
                    <a:pt x="97" y="15"/>
                  </a:lnTo>
                  <a:lnTo>
                    <a:pt x="90" y="23"/>
                  </a:lnTo>
                  <a:lnTo>
                    <a:pt x="87" y="28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41"/>
                  </a:lnTo>
                  <a:lnTo>
                    <a:pt x="79" y="48"/>
                  </a:lnTo>
                  <a:lnTo>
                    <a:pt x="79" y="53"/>
                  </a:lnTo>
                  <a:lnTo>
                    <a:pt x="79" y="59"/>
                  </a:lnTo>
                  <a:lnTo>
                    <a:pt x="72" y="59"/>
                  </a:lnTo>
                  <a:lnTo>
                    <a:pt x="64" y="59"/>
                  </a:lnTo>
                  <a:lnTo>
                    <a:pt x="54" y="61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38" y="69"/>
                  </a:lnTo>
                  <a:lnTo>
                    <a:pt x="31" y="74"/>
                  </a:lnTo>
                  <a:lnTo>
                    <a:pt x="20" y="82"/>
                  </a:lnTo>
                  <a:lnTo>
                    <a:pt x="15" y="87"/>
                  </a:lnTo>
                  <a:lnTo>
                    <a:pt x="8" y="100"/>
                  </a:lnTo>
                  <a:lnTo>
                    <a:pt x="3" y="112"/>
                  </a:lnTo>
                  <a:lnTo>
                    <a:pt x="0" y="123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0" y="141"/>
                  </a:lnTo>
                  <a:lnTo>
                    <a:pt x="0" y="153"/>
                  </a:lnTo>
                  <a:lnTo>
                    <a:pt x="3" y="161"/>
                  </a:lnTo>
                  <a:lnTo>
                    <a:pt x="3" y="164"/>
                  </a:lnTo>
                  <a:lnTo>
                    <a:pt x="8" y="174"/>
                  </a:lnTo>
                  <a:lnTo>
                    <a:pt x="18" y="187"/>
                  </a:lnTo>
                  <a:lnTo>
                    <a:pt x="23" y="194"/>
                  </a:lnTo>
                  <a:lnTo>
                    <a:pt x="28" y="197"/>
                  </a:lnTo>
                  <a:lnTo>
                    <a:pt x="33" y="202"/>
                  </a:lnTo>
                  <a:lnTo>
                    <a:pt x="41" y="207"/>
                  </a:lnTo>
                  <a:lnTo>
                    <a:pt x="51" y="212"/>
                  </a:lnTo>
                  <a:lnTo>
                    <a:pt x="61" y="215"/>
                  </a:lnTo>
                  <a:lnTo>
                    <a:pt x="69" y="215"/>
                  </a:lnTo>
                  <a:lnTo>
                    <a:pt x="77" y="215"/>
                  </a:lnTo>
                  <a:lnTo>
                    <a:pt x="238" y="215"/>
                  </a:lnTo>
                  <a:lnTo>
                    <a:pt x="241" y="215"/>
                  </a:lnTo>
                  <a:lnTo>
                    <a:pt x="271" y="248"/>
                  </a:lnTo>
                  <a:lnTo>
                    <a:pt x="274" y="248"/>
                  </a:lnTo>
                  <a:lnTo>
                    <a:pt x="279" y="251"/>
                  </a:lnTo>
                  <a:lnTo>
                    <a:pt x="284" y="248"/>
                  </a:lnTo>
                  <a:lnTo>
                    <a:pt x="284" y="248"/>
                  </a:lnTo>
                  <a:lnTo>
                    <a:pt x="289" y="246"/>
                  </a:lnTo>
                  <a:lnTo>
                    <a:pt x="294" y="240"/>
                  </a:lnTo>
                  <a:lnTo>
                    <a:pt x="294" y="238"/>
                  </a:lnTo>
                  <a:lnTo>
                    <a:pt x="297" y="233"/>
                  </a:lnTo>
                  <a:lnTo>
                    <a:pt x="297" y="230"/>
                  </a:lnTo>
                  <a:lnTo>
                    <a:pt x="294" y="225"/>
                  </a:lnTo>
                  <a:lnTo>
                    <a:pt x="292" y="222"/>
                  </a:lnTo>
                  <a:lnTo>
                    <a:pt x="292" y="220"/>
                  </a:lnTo>
                  <a:lnTo>
                    <a:pt x="246" y="174"/>
                  </a:lnTo>
                  <a:lnTo>
                    <a:pt x="243" y="174"/>
                  </a:lnTo>
                  <a:lnTo>
                    <a:pt x="241" y="174"/>
                  </a:lnTo>
                  <a:lnTo>
                    <a:pt x="238" y="174"/>
                  </a:lnTo>
                  <a:lnTo>
                    <a:pt x="238" y="176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1" y="182"/>
                  </a:lnTo>
                  <a:lnTo>
                    <a:pt x="287" y="228"/>
                  </a:lnTo>
                  <a:lnTo>
                    <a:pt x="287" y="230"/>
                  </a:lnTo>
                  <a:lnTo>
                    <a:pt x="287" y="233"/>
                  </a:lnTo>
                  <a:lnTo>
                    <a:pt x="287" y="235"/>
                  </a:lnTo>
                  <a:lnTo>
                    <a:pt x="287" y="235"/>
                  </a:lnTo>
                  <a:lnTo>
                    <a:pt x="284" y="238"/>
                  </a:lnTo>
                  <a:lnTo>
                    <a:pt x="282" y="240"/>
                  </a:lnTo>
                  <a:lnTo>
                    <a:pt x="279" y="240"/>
                  </a:lnTo>
                  <a:lnTo>
                    <a:pt x="277" y="240"/>
                  </a:lnTo>
                  <a:lnTo>
                    <a:pt x="277" y="240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3" y="182"/>
                  </a:lnTo>
                  <a:lnTo>
                    <a:pt x="205" y="187"/>
                  </a:lnTo>
                  <a:lnTo>
                    <a:pt x="202" y="187"/>
                  </a:lnTo>
                  <a:lnTo>
                    <a:pt x="195" y="189"/>
                  </a:lnTo>
                  <a:lnTo>
                    <a:pt x="189" y="192"/>
                  </a:lnTo>
                  <a:lnTo>
                    <a:pt x="179" y="192"/>
                  </a:lnTo>
                  <a:lnTo>
                    <a:pt x="172" y="192"/>
                  </a:lnTo>
                  <a:lnTo>
                    <a:pt x="166" y="189"/>
                  </a:lnTo>
                  <a:lnTo>
                    <a:pt x="156" y="187"/>
                  </a:lnTo>
                  <a:lnTo>
                    <a:pt x="151" y="184"/>
                  </a:lnTo>
                  <a:lnTo>
                    <a:pt x="146" y="179"/>
                  </a:lnTo>
                  <a:lnTo>
                    <a:pt x="141" y="174"/>
                  </a:lnTo>
                  <a:lnTo>
                    <a:pt x="136" y="169"/>
                  </a:lnTo>
                  <a:lnTo>
                    <a:pt x="131" y="161"/>
                  </a:lnTo>
                  <a:lnTo>
                    <a:pt x="125" y="151"/>
                  </a:lnTo>
                  <a:lnTo>
                    <a:pt x="123" y="143"/>
                  </a:lnTo>
                  <a:lnTo>
                    <a:pt x="123" y="135"/>
                  </a:lnTo>
                  <a:lnTo>
                    <a:pt x="123" y="128"/>
                  </a:lnTo>
                  <a:lnTo>
                    <a:pt x="123" y="120"/>
                  </a:lnTo>
                  <a:lnTo>
                    <a:pt x="125" y="112"/>
                  </a:lnTo>
                  <a:lnTo>
                    <a:pt x="131" y="102"/>
                  </a:lnTo>
                  <a:lnTo>
                    <a:pt x="136" y="94"/>
                  </a:lnTo>
                  <a:lnTo>
                    <a:pt x="138" y="89"/>
                  </a:lnTo>
                  <a:lnTo>
                    <a:pt x="146" y="84"/>
                  </a:lnTo>
                  <a:lnTo>
                    <a:pt x="148" y="82"/>
                  </a:lnTo>
                  <a:lnTo>
                    <a:pt x="151" y="79"/>
                  </a:lnTo>
                  <a:lnTo>
                    <a:pt x="156" y="77"/>
                  </a:lnTo>
                  <a:lnTo>
                    <a:pt x="164" y="74"/>
                  </a:lnTo>
                  <a:lnTo>
                    <a:pt x="172" y="71"/>
                  </a:lnTo>
                  <a:lnTo>
                    <a:pt x="184" y="71"/>
                  </a:lnTo>
                  <a:lnTo>
                    <a:pt x="192" y="74"/>
                  </a:lnTo>
                  <a:lnTo>
                    <a:pt x="200" y="74"/>
                  </a:lnTo>
                  <a:lnTo>
                    <a:pt x="210" y="79"/>
                  </a:lnTo>
                  <a:lnTo>
                    <a:pt x="218" y="84"/>
                  </a:lnTo>
                  <a:lnTo>
                    <a:pt x="223" y="92"/>
                  </a:lnTo>
                  <a:lnTo>
                    <a:pt x="228" y="94"/>
                  </a:lnTo>
                  <a:lnTo>
                    <a:pt x="233" y="107"/>
                  </a:lnTo>
                  <a:lnTo>
                    <a:pt x="238" y="115"/>
                  </a:lnTo>
                  <a:lnTo>
                    <a:pt x="238" y="120"/>
                  </a:lnTo>
                  <a:lnTo>
                    <a:pt x="238" y="125"/>
                  </a:lnTo>
                  <a:lnTo>
                    <a:pt x="238" y="130"/>
                  </a:lnTo>
                  <a:lnTo>
                    <a:pt x="238" y="135"/>
                  </a:lnTo>
                  <a:lnTo>
                    <a:pt x="238" y="146"/>
                  </a:lnTo>
                  <a:lnTo>
                    <a:pt x="233" y="158"/>
                  </a:lnTo>
                  <a:lnTo>
                    <a:pt x="228" y="166"/>
                  </a:lnTo>
                  <a:lnTo>
                    <a:pt x="228" y="169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33" y="171"/>
                  </a:lnTo>
                  <a:lnTo>
                    <a:pt x="236" y="171"/>
                  </a:lnTo>
                  <a:lnTo>
                    <a:pt x="236" y="171"/>
                  </a:lnTo>
                  <a:lnTo>
                    <a:pt x="238" y="169"/>
                  </a:lnTo>
                  <a:lnTo>
                    <a:pt x="241" y="161"/>
                  </a:lnTo>
                  <a:lnTo>
                    <a:pt x="246" y="153"/>
                  </a:lnTo>
                  <a:lnTo>
                    <a:pt x="246" y="146"/>
                  </a:lnTo>
                  <a:lnTo>
                    <a:pt x="248" y="135"/>
                  </a:lnTo>
                  <a:lnTo>
                    <a:pt x="248" y="133"/>
                  </a:lnTo>
                  <a:lnTo>
                    <a:pt x="248" y="130"/>
                  </a:lnTo>
                  <a:lnTo>
                    <a:pt x="248" y="125"/>
                  </a:lnTo>
                  <a:lnTo>
                    <a:pt x="246" y="115"/>
                  </a:lnTo>
                  <a:lnTo>
                    <a:pt x="243" y="105"/>
                  </a:lnTo>
                  <a:lnTo>
                    <a:pt x="238" y="97"/>
                  </a:lnTo>
                  <a:lnTo>
                    <a:pt x="236" y="89"/>
                  </a:lnTo>
                  <a:lnTo>
                    <a:pt x="230" y="84"/>
                  </a:lnTo>
                  <a:lnTo>
                    <a:pt x="225" y="79"/>
                  </a:lnTo>
                  <a:lnTo>
                    <a:pt x="218" y="74"/>
                  </a:lnTo>
                  <a:lnTo>
                    <a:pt x="210" y="69"/>
                  </a:lnTo>
                  <a:lnTo>
                    <a:pt x="205" y="66"/>
                  </a:lnTo>
                  <a:lnTo>
                    <a:pt x="195" y="64"/>
                  </a:lnTo>
                  <a:lnTo>
                    <a:pt x="184" y="61"/>
                  </a:lnTo>
                  <a:lnTo>
                    <a:pt x="177" y="64"/>
                  </a:lnTo>
                  <a:lnTo>
                    <a:pt x="166" y="64"/>
                  </a:lnTo>
                  <a:lnTo>
                    <a:pt x="159" y="66"/>
                  </a:lnTo>
                  <a:lnTo>
                    <a:pt x="151" y="69"/>
                  </a:lnTo>
                  <a:lnTo>
                    <a:pt x="143" y="74"/>
                  </a:lnTo>
                  <a:lnTo>
                    <a:pt x="141" y="77"/>
                  </a:lnTo>
                  <a:lnTo>
                    <a:pt x="138" y="79"/>
                  </a:lnTo>
                  <a:lnTo>
                    <a:pt x="133" y="82"/>
                  </a:lnTo>
                  <a:lnTo>
                    <a:pt x="128" y="87"/>
                  </a:lnTo>
                  <a:lnTo>
                    <a:pt x="123" y="97"/>
                  </a:lnTo>
                  <a:lnTo>
                    <a:pt x="120" y="102"/>
                  </a:lnTo>
                  <a:lnTo>
                    <a:pt x="118" y="107"/>
                  </a:lnTo>
                  <a:lnTo>
                    <a:pt x="115" y="115"/>
                  </a:lnTo>
                  <a:lnTo>
                    <a:pt x="115" y="120"/>
                  </a:lnTo>
                  <a:lnTo>
                    <a:pt x="113" y="128"/>
                  </a:lnTo>
                  <a:lnTo>
                    <a:pt x="113" y="135"/>
                  </a:lnTo>
                  <a:lnTo>
                    <a:pt x="115" y="143"/>
                  </a:lnTo>
                  <a:lnTo>
                    <a:pt x="115" y="148"/>
                  </a:lnTo>
                  <a:lnTo>
                    <a:pt x="118" y="158"/>
                  </a:lnTo>
                  <a:lnTo>
                    <a:pt x="120" y="161"/>
                  </a:lnTo>
                  <a:lnTo>
                    <a:pt x="125" y="169"/>
                  </a:lnTo>
                  <a:lnTo>
                    <a:pt x="128" y="176"/>
                  </a:lnTo>
                  <a:lnTo>
                    <a:pt x="133" y="182"/>
                  </a:lnTo>
                  <a:lnTo>
                    <a:pt x="138" y="184"/>
                  </a:lnTo>
                  <a:lnTo>
                    <a:pt x="143" y="189"/>
                  </a:lnTo>
                  <a:lnTo>
                    <a:pt x="148" y="192"/>
                  </a:lnTo>
                  <a:lnTo>
                    <a:pt x="156" y="194"/>
                  </a:lnTo>
                  <a:lnTo>
                    <a:pt x="159" y="197"/>
                  </a:lnTo>
                  <a:lnTo>
                    <a:pt x="169" y="199"/>
                  </a:lnTo>
                  <a:lnTo>
                    <a:pt x="177" y="199"/>
                  </a:lnTo>
                  <a:lnTo>
                    <a:pt x="184" y="199"/>
                  </a:lnTo>
                  <a:lnTo>
                    <a:pt x="195" y="199"/>
                  </a:lnTo>
                  <a:lnTo>
                    <a:pt x="202" y="197"/>
                  </a:lnTo>
                  <a:lnTo>
                    <a:pt x="207" y="197"/>
                  </a:lnTo>
                  <a:lnTo>
                    <a:pt x="215" y="192"/>
                  </a:lnTo>
                  <a:lnTo>
                    <a:pt x="230" y="205"/>
                  </a:lnTo>
                  <a:lnTo>
                    <a:pt x="72" y="207"/>
                  </a:lnTo>
                  <a:lnTo>
                    <a:pt x="69" y="205"/>
                  </a:lnTo>
                  <a:lnTo>
                    <a:pt x="61" y="205"/>
                  </a:lnTo>
                  <a:lnTo>
                    <a:pt x="54" y="202"/>
                  </a:lnTo>
                  <a:lnTo>
                    <a:pt x="46" y="199"/>
                  </a:lnTo>
                  <a:lnTo>
                    <a:pt x="38" y="194"/>
                  </a:lnTo>
                  <a:lnTo>
                    <a:pt x="28" y="187"/>
                  </a:lnTo>
                  <a:lnTo>
                    <a:pt x="20" y="179"/>
                  </a:lnTo>
                  <a:lnTo>
                    <a:pt x="20" y="176"/>
                  </a:lnTo>
                  <a:lnTo>
                    <a:pt x="15" y="166"/>
                  </a:lnTo>
                  <a:lnTo>
                    <a:pt x="13" y="164"/>
                  </a:lnTo>
                  <a:lnTo>
                    <a:pt x="10" y="151"/>
                  </a:lnTo>
                  <a:lnTo>
                    <a:pt x="8" y="141"/>
                  </a:lnTo>
                  <a:lnTo>
                    <a:pt x="8" y="138"/>
                  </a:lnTo>
                  <a:lnTo>
                    <a:pt x="8" y="128"/>
                  </a:lnTo>
                  <a:lnTo>
                    <a:pt x="10" y="117"/>
                  </a:lnTo>
                  <a:lnTo>
                    <a:pt x="13" y="110"/>
                  </a:lnTo>
                  <a:lnTo>
                    <a:pt x="18" y="102"/>
                  </a:lnTo>
                  <a:lnTo>
                    <a:pt x="23" y="94"/>
                  </a:lnTo>
                  <a:lnTo>
                    <a:pt x="31" y="87"/>
                  </a:lnTo>
                  <a:lnTo>
                    <a:pt x="38" y="79"/>
                  </a:lnTo>
                  <a:lnTo>
                    <a:pt x="44" y="77"/>
                  </a:lnTo>
                  <a:lnTo>
                    <a:pt x="49" y="74"/>
                  </a:lnTo>
                  <a:lnTo>
                    <a:pt x="59" y="71"/>
                  </a:lnTo>
                  <a:lnTo>
                    <a:pt x="61" y="69"/>
                  </a:lnTo>
                  <a:lnTo>
                    <a:pt x="72" y="69"/>
                  </a:lnTo>
                  <a:lnTo>
                    <a:pt x="79" y="69"/>
                  </a:lnTo>
                  <a:lnTo>
                    <a:pt x="82" y="69"/>
                  </a:lnTo>
                  <a:lnTo>
                    <a:pt x="84" y="69"/>
                  </a:lnTo>
                  <a:lnTo>
                    <a:pt x="84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7" y="56"/>
                  </a:lnTo>
                  <a:lnTo>
                    <a:pt x="87" y="51"/>
                  </a:lnTo>
                  <a:lnTo>
                    <a:pt x="90" y="43"/>
                  </a:lnTo>
                  <a:lnTo>
                    <a:pt x="92" y="38"/>
                  </a:lnTo>
                  <a:lnTo>
                    <a:pt x="97" y="30"/>
                  </a:lnTo>
                  <a:lnTo>
                    <a:pt x="100" y="25"/>
                  </a:lnTo>
                  <a:lnTo>
                    <a:pt x="105" y="20"/>
                  </a:lnTo>
                  <a:lnTo>
                    <a:pt x="115" y="13"/>
                  </a:lnTo>
                  <a:lnTo>
                    <a:pt x="125" y="10"/>
                  </a:lnTo>
                  <a:lnTo>
                    <a:pt x="131" y="10"/>
                  </a:lnTo>
                  <a:lnTo>
                    <a:pt x="138" y="10"/>
                  </a:lnTo>
                  <a:lnTo>
                    <a:pt x="143" y="10"/>
                  </a:lnTo>
                  <a:lnTo>
                    <a:pt x="151" y="13"/>
                  </a:lnTo>
                  <a:lnTo>
                    <a:pt x="159" y="18"/>
                  </a:lnTo>
                  <a:lnTo>
                    <a:pt x="164" y="20"/>
                  </a:lnTo>
                  <a:lnTo>
                    <a:pt x="169" y="25"/>
                  </a:lnTo>
                  <a:lnTo>
                    <a:pt x="174" y="33"/>
                  </a:lnTo>
                  <a:lnTo>
                    <a:pt x="161" y="38"/>
                  </a:lnTo>
                  <a:lnTo>
                    <a:pt x="156" y="38"/>
                  </a:lnTo>
                  <a:lnTo>
                    <a:pt x="146" y="43"/>
                  </a:lnTo>
                  <a:lnTo>
                    <a:pt x="136" y="48"/>
                  </a:lnTo>
                  <a:lnTo>
                    <a:pt x="131" y="53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3" y="61"/>
                  </a:lnTo>
                  <a:lnTo>
                    <a:pt x="136" y="61"/>
                  </a:lnTo>
                  <a:lnTo>
                    <a:pt x="136" y="61"/>
                  </a:lnTo>
                  <a:lnTo>
                    <a:pt x="138" y="59"/>
                  </a:lnTo>
                  <a:lnTo>
                    <a:pt x="146" y="53"/>
                  </a:lnTo>
                  <a:lnTo>
                    <a:pt x="154" y="48"/>
                  </a:lnTo>
                  <a:lnTo>
                    <a:pt x="159" y="48"/>
                  </a:lnTo>
                  <a:lnTo>
                    <a:pt x="172" y="43"/>
                  </a:lnTo>
                  <a:lnTo>
                    <a:pt x="179" y="43"/>
                  </a:lnTo>
                  <a:lnTo>
                    <a:pt x="184" y="43"/>
                  </a:lnTo>
                  <a:lnTo>
                    <a:pt x="197" y="43"/>
                  </a:lnTo>
                  <a:lnTo>
                    <a:pt x="207" y="46"/>
                  </a:lnTo>
                  <a:lnTo>
                    <a:pt x="210" y="46"/>
                  </a:lnTo>
                  <a:lnTo>
                    <a:pt x="213" y="48"/>
                  </a:lnTo>
                  <a:lnTo>
                    <a:pt x="218" y="51"/>
                  </a:lnTo>
                  <a:lnTo>
                    <a:pt x="228" y="56"/>
                  </a:lnTo>
                  <a:lnTo>
                    <a:pt x="233" y="59"/>
                  </a:lnTo>
                  <a:lnTo>
                    <a:pt x="241" y="66"/>
                  </a:lnTo>
                  <a:lnTo>
                    <a:pt x="246" y="74"/>
                  </a:lnTo>
                  <a:lnTo>
                    <a:pt x="251" y="82"/>
                  </a:lnTo>
                  <a:lnTo>
                    <a:pt x="259" y="92"/>
                  </a:lnTo>
                  <a:lnTo>
                    <a:pt x="261" y="105"/>
                  </a:lnTo>
                  <a:lnTo>
                    <a:pt x="264" y="112"/>
                  </a:lnTo>
                  <a:lnTo>
                    <a:pt x="264" y="123"/>
                  </a:lnTo>
                  <a:lnTo>
                    <a:pt x="264" y="125"/>
                  </a:lnTo>
                  <a:lnTo>
                    <a:pt x="264" y="135"/>
                  </a:lnTo>
                  <a:lnTo>
                    <a:pt x="261" y="143"/>
                  </a:lnTo>
                  <a:lnTo>
                    <a:pt x="259" y="14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9" y="161"/>
                  </a:lnTo>
                  <a:lnTo>
                    <a:pt x="259" y="161"/>
                  </a:lnTo>
                  <a:lnTo>
                    <a:pt x="261" y="164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4" y="158"/>
                  </a:lnTo>
                  <a:lnTo>
                    <a:pt x="269" y="153"/>
                  </a:lnTo>
                  <a:lnTo>
                    <a:pt x="269" y="148"/>
                  </a:lnTo>
                  <a:lnTo>
                    <a:pt x="271" y="141"/>
                  </a:lnTo>
                  <a:lnTo>
                    <a:pt x="274" y="125"/>
                  </a:lnTo>
                  <a:lnTo>
                    <a:pt x="282" y="128"/>
                  </a:lnTo>
                  <a:lnTo>
                    <a:pt x="287" y="130"/>
                  </a:lnTo>
                  <a:lnTo>
                    <a:pt x="292" y="135"/>
                  </a:lnTo>
                  <a:lnTo>
                    <a:pt x="297" y="141"/>
                  </a:lnTo>
                  <a:lnTo>
                    <a:pt x="300" y="146"/>
                  </a:lnTo>
                  <a:lnTo>
                    <a:pt x="302" y="148"/>
                  </a:lnTo>
                  <a:lnTo>
                    <a:pt x="302" y="153"/>
                  </a:lnTo>
                  <a:lnTo>
                    <a:pt x="305" y="158"/>
                  </a:lnTo>
                  <a:lnTo>
                    <a:pt x="305" y="166"/>
                  </a:lnTo>
                  <a:lnTo>
                    <a:pt x="305" y="174"/>
                  </a:lnTo>
                  <a:lnTo>
                    <a:pt x="302" y="182"/>
                  </a:lnTo>
                  <a:lnTo>
                    <a:pt x="300" y="187"/>
                  </a:lnTo>
                  <a:lnTo>
                    <a:pt x="297" y="189"/>
                  </a:lnTo>
                  <a:lnTo>
                    <a:pt x="292" y="194"/>
                  </a:lnTo>
                  <a:lnTo>
                    <a:pt x="289" y="197"/>
                  </a:lnTo>
                  <a:lnTo>
                    <a:pt x="287" y="199"/>
                  </a:lnTo>
                  <a:lnTo>
                    <a:pt x="287" y="202"/>
                  </a:lnTo>
                  <a:lnTo>
                    <a:pt x="289" y="205"/>
                  </a:lnTo>
                  <a:lnTo>
                    <a:pt x="289" y="205"/>
                  </a:lnTo>
                  <a:lnTo>
                    <a:pt x="292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7" y="202"/>
                  </a:lnTo>
                  <a:lnTo>
                    <a:pt x="302" y="197"/>
                  </a:lnTo>
                  <a:lnTo>
                    <a:pt x="307" y="189"/>
                  </a:lnTo>
                  <a:lnTo>
                    <a:pt x="310" y="184"/>
                  </a:lnTo>
                  <a:lnTo>
                    <a:pt x="312" y="179"/>
                  </a:lnTo>
                  <a:lnTo>
                    <a:pt x="312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6" name="Group 373">
            <a:extLst>
              <a:ext uri="{FF2B5EF4-FFF2-40B4-BE49-F238E27FC236}">
                <a16:creationId xmlns:a16="http://schemas.microsoft.com/office/drawing/2014/main" id="{8B65AF01-857A-4031-A5BE-85C34F80AC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1876" y="5440027"/>
            <a:ext cx="841375" cy="841375"/>
            <a:chOff x="2974" y="3443"/>
            <a:chExt cx="530" cy="530"/>
          </a:xfrm>
        </p:grpSpPr>
        <p:sp>
          <p:nvSpPr>
            <p:cNvPr id="417" name="AutoShape 372">
              <a:extLst>
                <a:ext uri="{FF2B5EF4-FFF2-40B4-BE49-F238E27FC236}">
                  <a16:creationId xmlns:a16="http://schemas.microsoft.com/office/drawing/2014/main" id="{3835B9FA-AFCA-4BF1-AA1D-6AF6E91650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74" y="344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374">
              <a:extLst>
                <a:ext uri="{FF2B5EF4-FFF2-40B4-BE49-F238E27FC236}">
                  <a16:creationId xmlns:a16="http://schemas.microsoft.com/office/drawing/2014/main" id="{E4DCAD0E-AAB5-4D96-A195-093B7BE17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4" y="344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375">
              <a:extLst>
                <a:ext uri="{FF2B5EF4-FFF2-40B4-BE49-F238E27FC236}">
                  <a16:creationId xmlns:a16="http://schemas.microsoft.com/office/drawing/2014/main" id="{21553030-C4FB-4FA9-A39E-BC952E252F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2" y="346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376">
              <a:extLst>
                <a:ext uri="{FF2B5EF4-FFF2-40B4-BE49-F238E27FC236}">
                  <a16:creationId xmlns:a16="http://schemas.microsoft.com/office/drawing/2014/main" id="{78101822-24F4-49D8-A129-DF956D7C1B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7" y="3563"/>
              <a:ext cx="307" cy="292"/>
            </a:xfrm>
            <a:custGeom>
              <a:avLst/>
              <a:gdLst>
                <a:gd name="T0" fmla="*/ 58 w 120"/>
                <a:gd name="T1" fmla="*/ 85 h 114"/>
                <a:gd name="T2" fmla="*/ 62 w 120"/>
                <a:gd name="T3" fmla="*/ 85 h 114"/>
                <a:gd name="T4" fmla="*/ 60 w 120"/>
                <a:gd name="T5" fmla="*/ 79 h 114"/>
                <a:gd name="T6" fmla="*/ 58 w 120"/>
                <a:gd name="T7" fmla="*/ 91 h 114"/>
                <a:gd name="T8" fmla="*/ 60 w 120"/>
                <a:gd name="T9" fmla="*/ 101 h 114"/>
                <a:gd name="T10" fmla="*/ 62 w 120"/>
                <a:gd name="T11" fmla="*/ 91 h 114"/>
                <a:gd name="T12" fmla="*/ 60 w 120"/>
                <a:gd name="T13" fmla="*/ 79 h 114"/>
                <a:gd name="T14" fmla="*/ 90 w 120"/>
                <a:gd name="T15" fmla="*/ 74 h 114"/>
                <a:gd name="T16" fmla="*/ 82 w 120"/>
                <a:gd name="T17" fmla="*/ 53 h 114"/>
                <a:gd name="T18" fmla="*/ 38 w 120"/>
                <a:gd name="T19" fmla="*/ 53 h 114"/>
                <a:gd name="T20" fmla="*/ 30 w 120"/>
                <a:gd name="T21" fmla="*/ 74 h 114"/>
                <a:gd name="T22" fmla="*/ 4 w 120"/>
                <a:gd name="T23" fmla="*/ 61 h 114"/>
                <a:gd name="T24" fmla="*/ 19 w 120"/>
                <a:gd name="T25" fmla="*/ 48 h 114"/>
                <a:gd name="T26" fmla="*/ 22 w 120"/>
                <a:gd name="T27" fmla="*/ 46 h 114"/>
                <a:gd name="T28" fmla="*/ 38 w 120"/>
                <a:gd name="T29" fmla="*/ 24 h 114"/>
                <a:gd name="T30" fmla="*/ 50 w 120"/>
                <a:gd name="T31" fmla="*/ 28 h 114"/>
                <a:gd name="T32" fmla="*/ 77 w 120"/>
                <a:gd name="T33" fmla="*/ 5 h 114"/>
                <a:gd name="T34" fmla="*/ 103 w 120"/>
                <a:gd name="T35" fmla="*/ 34 h 114"/>
                <a:gd name="T36" fmla="*/ 116 w 120"/>
                <a:gd name="T37" fmla="*/ 55 h 114"/>
                <a:gd name="T38" fmla="*/ 69 w 120"/>
                <a:gd name="T39" fmla="*/ 53 h 114"/>
                <a:gd name="T40" fmla="*/ 51 w 120"/>
                <a:gd name="T41" fmla="*/ 66 h 114"/>
                <a:gd name="T42" fmla="*/ 60 w 120"/>
                <a:gd name="T43" fmla="*/ 44 h 114"/>
                <a:gd name="T44" fmla="*/ 60 w 120"/>
                <a:gd name="T45" fmla="*/ 40 h 114"/>
                <a:gd name="T46" fmla="*/ 47 w 120"/>
                <a:gd name="T47" fmla="*/ 66 h 114"/>
                <a:gd name="T48" fmla="*/ 43 w 120"/>
                <a:gd name="T49" fmla="*/ 53 h 114"/>
                <a:gd name="T50" fmla="*/ 77 w 120"/>
                <a:gd name="T51" fmla="*/ 53 h 114"/>
                <a:gd name="T52" fmla="*/ 73 w 120"/>
                <a:gd name="T53" fmla="*/ 66 h 114"/>
                <a:gd name="T54" fmla="*/ 60 w 120"/>
                <a:gd name="T55" fmla="*/ 40 h 114"/>
                <a:gd name="T56" fmla="*/ 82 w 120"/>
                <a:gd name="T57" fmla="*/ 109 h 114"/>
                <a:gd name="T58" fmla="*/ 34 w 120"/>
                <a:gd name="T59" fmla="*/ 105 h 114"/>
                <a:gd name="T60" fmla="*/ 38 w 120"/>
                <a:gd name="T61" fmla="*/ 70 h 114"/>
                <a:gd name="T62" fmla="*/ 86 w 120"/>
                <a:gd name="T63" fmla="*/ 74 h 114"/>
                <a:gd name="T64" fmla="*/ 107 w 120"/>
                <a:gd name="T65" fmla="*/ 33 h 114"/>
                <a:gd name="T66" fmla="*/ 77 w 120"/>
                <a:gd name="T67" fmla="*/ 0 h 114"/>
                <a:gd name="T68" fmla="*/ 38 w 120"/>
                <a:gd name="T69" fmla="*/ 20 h 114"/>
                <a:gd name="T70" fmla="*/ 17 w 120"/>
                <a:gd name="T71" fmla="*/ 44 h 114"/>
                <a:gd name="T72" fmla="*/ 0 w 120"/>
                <a:gd name="T73" fmla="*/ 61 h 114"/>
                <a:gd name="T74" fmla="*/ 30 w 120"/>
                <a:gd name="T75" fmla="*/ 79 h 114"/>
                <a:gd name="T76" fmla="*/ 38 w 120"/>
                <a:gd name="T77" fmla="*/ 114 h 114"/>
                <a:gd name="T78" fmla="*/ 90 w 120"/>
                <a:gd name="T79" fmla="*/ 105 h 114"/>
                <a:gd name="T80" fmla="*/ 97 w 120"/>
                <a:gd name="T81" fmla="*/ 79 h 114"/>
                <a:gd name="T82" fmla="*/ 107 w 120"/>
                <a:gd name="T83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14">
                  <a:moveTo>
                    <a:pt x="60" y="88"/>
                  </a:moveTo>
                  <a:cubicBezTo>
                    <a:pt x="59" y="88"/>
                    <a:pt x="58" y="87"/>
                    <a:pt x="58" y="85"/>
                  </a:cubicBezTo>
                  <a:cubicBezTo>
                    <a:pt x="58" y="84"/>
                    <a:pt x="59" y="83"/>
                    <a:pt x="60" y="83"/>
                  </a:cubicBezTo>
                  <a:cubicBezTo>
                    <a:pt x="61" y="83"/>
                    <a:pt x="62" y="84"/>
                    <a:pt x="62" y="85"/>
                  </a:cubicBezTo>
                  <a:cubicBezTo>
                    <a:pt x="62" y="87"/>
                    <a:pt x="61" y="88"/>
                    <a:pt x="60" y="88"/>
                  </a:cubicBezTo>
                  <a:moveTo>
                    <a:pt x="60" y="79"/>
                  </a:moveTo>
                  <a:cubicBezTo>
                    <a:pt x="56" y="79"/>
                    <a:pt x="54" y="82"/>
                    <a:pt x="54" y="85"/>
                  </a:cubicBezTo>
                  <a:cubicBezTo>
                    <a:pt x="54" y="88"/>
                    <a:pt x="55" y="91"/>
                    <a:pt x="58" y="91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8" y="100"/>
                    <a:pt x="59" y="101"/>
                    <a:pt x="60" y="101"/>
                  </a:cubicBezTo>
                  <a:cubicBezTo>
                    <a:pt x="61" y="101"/>
                    <a:pt x="62" y="100"/>
                    <a:pt x="62" y="98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5" y="91"/>
                    <a:pt x="66" y="88"/>
                    <a:pt x="66" y="85"/>
                  </a:cubicBezTo>
                  <a:cubicBezTo>
                    <a:pt x="66" y="82"/>
                    <a:pt x="64" y="79"/>
                    <a:pt x="60" y="79"/>
                  </a:cubicBezTo>
                  <a:moveTo>
                    <a:pt x="97" y="74"/>
                  </a:moveTo>
                  <a:cubicBezTo>
                    <a:pt x="90" y="74"/>
                    <a:pt x="90" y="74"/>
                    <a:pt x="90" y="74"/>
                  </a:cubicBezTo>
                  <a:cubicBezTo>
                    <a:pt x="90" y="70"/>
                    <a:pt x="86" y="66"/>
                    <a:pt x="82" y="66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41"/>
                    <a:pt x="72" y="31"/>
                    <a:pt x="60" y="31"/>
                  </a:cubicBezTo>
                  <a:cubicBezTo>
                    <a:pt x="48" y="31"/>
                    <a:pt x="38" y="41"/>
                    <a:pt x="38" y="53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4" y="66"/>
                    <a:pt x="30" y="70"/>
                    <a:pt x="30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0" y="74"/>
                    <a:pt x="4" y="69"/>
                    <a:pt x="4" y="61"/>
                  </a:cubicBezTo>
                  <a:cubicBezTo>
                    <a:pt x="4" y="54"/>
                    <a:pt x="10" y="48"/>
                    <a:pt x="17" y="48"/>
                  </a:cubicBezTo>
                  <a:cubicBezTo>
                    <a:pt x="18" y="48"/>
                    <a:pt x="18" y="48"/>
                    <a:pt x="19" y="48"/>
                  </a:cubicBezTo>
                  <a:cubicBezTo>
                    <a:pt x="20" y="49"/>
                    <a:pt x="21" y="48"/>
                    <a:pt x="21" y="48"/>
                  </a:cubicBezTo>
                  <a:cubicBezTo>
                    <a:pt x="22" y="47"/>
                    <a:pt x="22" y="47"/>
                    <a:pt x="22" y="46"/>
                  </a:cubicBezTo>
                  <a:cubicBezTo>
                    <a:pt x="21" y="45"/>
                    <a:pt x="21" y="43"/>
                    <a:pt x="21" y="42"/>
                  </a:cubicBezTo>
                  <a:cubicBezTo>
                    <a:pt x="21" y="32"/>
                    <a:pt x="29" y="24"/>
                    <a:pt x="38" y="24"/>
                  </a:cubicBezTo>
                  <a:cubicBezTo>
                    <a:pt x="42" y="24"/>
                    <a:pt x="46" y="25"/>
                    <a:pt x="48" y="28"/>
                  </a:cubicBezTo>
                  <a:cubicBezTo>
                    <a:pt x="49" y="28"/>
                    <a:pt x="50" y="28"/>
                    <a:pt x="50" y="28"/>
                  </a:cubicBezTo>
                  <a:cubicBezTo>
                    <a:pt x="51" y="28"/>
                    <a:pt x="52" y="27"/>
                    <a:pt x="52" y="26"/>
                  </a:cubicBezTo>
                  <a:cubicBezTo>
                    <a:pt x="54" y="14"/>
                    <a:pt x="65" y="5"/>
                    <a:pt x="77" y="5"/>
                  </a:cubicBezTo>
                  <a:cubicBezTo>
                    <a:pt x="92" y="5"/>
                    <a:pt x="103" y="16"/>
                    <a:pt x="103" y="31"/>
                  </a:cubicBezTo>
                  <a:cubicBezTo>
                    <a:pt x="103" y="32"/>
                    <a:pt x="103" y="33"/>
                    <a:pt x="103" y="34"/>
                  </a:cubicBezTo>
                  <a:cubicBezTo>
                    <a:pt x="103" y="35"/>
                    <a:pt x="103" y="36"/>
                    <a:pt x="104" y="37"/>
                  </a:cubicBezTo>
                  <a:cubicBezTo>
                    <a:pt x="111" y="40"/>
                    <a:pt x="116" y="47"/>
                    <a:pt x="116" y="55"/>
                  </a:cubicBezTo>
                  <a:cubicBezTo>
                    <a:pt x="116" y="66"/>
                    <a:pt x="107" y="74"/>
                    <a:pt x="97" y="74"/>
                  </a:cubicBezTo>
                  <a:moveTo>
                    <a:pt x="69" y="53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1" y="48"/>
                    <a:pt x="55" y="44"/>
                    <a:pt x="60" y="44"/>
                  </a:cubicBezTo>
                  <a:cubicBezTo>
                    <a:pt x="65" y="44"/>
                    <a:pt x="69" y="48"/>
                    <a:pt x="69" y="53"/>
                  </a:cubicBezTo>
                  <a:moveTo>
                    <a:pt x="60" y="40"/>
                  </a:moveTo>
                  <a:cubicBezTo>
                    <a:pt x="53" y="40"/>
                    <a:pt x="47" y="45"/>
                    <a:pt x="47" y="53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43"/>
                    <a:pt x="50" y="35"/>
                    <a:pt x="60" y="35"/>
                  </a:cubicBezTo>
                  <a:cubicBezTo>
                    <a:pt x="70" y="35"/>
                    <a:pt x="77" y="43"/>
                    <a:pt x="77" y="53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45"/>
                    <a:pt x="67" y="40"/>
                    <a:pt x="60" y="40"/>
                  </a:cubicBezTo>
                  <a:moveTo>
                    <a:pt x="86" y="105"/>
                  </a:moveTo>
                  <a:cubicBezTo>
                    <a:pt x="86" y="107"/>
                    <a:pt x="84" y="109"/>
                    <a:pt x="82" y="109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6" y="109"/>
                    <a:pt x="34" y="107"/>
                    <a:pt x="34" y="105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2"/>
                    <a:pt x="36" y="70"/>
                    <a:pt x="38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4" y="70"/>
                    <a:pt x="86" y="72"/>
                    <a:pt x="86" y="74"/>
                  </a:cubicBezTo>
                  <a:lnTo>
                    <a:pt x="86" y="105"/>
                  </a:lnTo>
                  <a:close/>
                  <a:moveTo>
                    <a:pt x="107" y="33"/>
                  </a:moveTo>
                  <a:cubicBezTo>
                    <a:pt x="107" y="33"/>
                    <a:pt x="107" y="32"/>
                    <a:pt x="107" y="31"/>
                  </a:cubicBezTo>
                  <a:cubicBezTo>
                    <a:pt x="107" y="14"/>
                    <a:pt x="94" y="0"/>
                    <a:pt x="77" y="0"/>
                  </a:cubicBezTo>
                  <a:cubicBezTo>
                    <a:pt x="64" y="0"/>
                    <a:pt x="52" y="10"/>
                    <a:pt x="48" y="22"/>
                  </a:cubicBezTo>
                  <a:cubicBezTo>
                    <a:pt x="45" y="21"/>
                    <a:pt x="42" y="20"/>
                    <a:pt x="38" y="20"/>
                  </a:cubicBezTo>
                  <a:cubicBezTo>
                    <a:pt x="26" y="20"/>
                    <a:pt x="17" y="30"/>
                    <a:pt x="17" y="42"/>
                  </a:cubicBezTo>
                  <a:cubicBezTo>
                    <a:pt x="17" y="42"/>
                    <a:pt x="17" y="43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7" y="44"/>
                    <a:pt x="0" y="52"/>
                    <a:pt x="0" y="61"/>
                  </a:cubicBezTo>
                  <a:cubicBezTo>
                    <a:pt x="0" y="71"/>
                    <a:pt x="7" y="79"/>
                    <a:pt x="17" y="79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10"/>
                    <a:pt x="34" y="114"/>
                    <a:pt x="38" y="114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6" y="114"/>
                    <a:pt x="90" y="110"/>
                    <a:pt x="90" y="105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110" y="79"/>
                    <a:pt x="120" y="68"/>
                    <a:pt x="120" y="55"/>
                  </a:cubicBezTo>
                  <a:cubicBezTo>
                    <a:pt x="120" y="45"/>
                    <a:pt x="115" y="37"/>
                    <a:pt x="107" y="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1" name="Group 379">
            <a:extLst>
              <a:ext uri="{FF2B5EF4-FFF2-40B4-BE49-F238E27FC236}">
                <a16:creationId xmlns:a16="http://schemas.microsoft.com/office/drawing/2014/main" id="{31D5D5DB-D5BD-4E82-9EF8-405935BA17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3426" y="5481302"/>
            <a:ext cx="760412" cy="758825"/>
            <a:chOff x="3663" y="3576"/>
            <a:chExt cx="479" cy="478"/>
          </a:xfrm>
        </p:grpSpPr>
        <p:sp>
          <p:nvSpPr>
            <p:cNvPr id="422" name="AutoShape 378">
              <a:extLst>
                <a:ext uri="{FF2B5EF4-FFF2-40B4-BE49-F238E27FC236}">
                  <a16:creationId xmlns:a16="http://schemas.microsoft.com/office/drawing/2014/main" id="{32470A88-00EB-4C15-AC70-A77C67C035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3" y="357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380">
              <a:extLst>
                <a:ext uri="{FF2B5EF4-FFF2-40B4-BE49-F238E27FC236}">
                  <a16:creationId xmlns:a16="http://schemas.microsoft.com/office/drawing/2014/main" id="{2C6DAADF-2242-4C15-AC3F-8A140FF02F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5" y="357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Freeform 381">
              <a:extLst>
                <a:ext uri="{FF2B5EF4-FFF2-40B4-BE49-F238E27FC236}">
                  <a16:creationId xmlns:a16="http://schemas.microsoft.com/office/drawing/2014/main" id="{339966E7-DA62-475B-A7A4-42009082E0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6" y="3676"/>
              <a:ext cx="295" cy="280"/>
            </a:xfrm>
            <a:custGeom>
              <a:avLst/>
              <a:gdLst>
                <a:gd name="T0" fmla="*/ 58 w 120"/>
                <a:gd name="T1" fmla="*/ 85 h 114"/>
                <a:gd name="T2" fmla="*/ 62 w 120"/>
                <a:gd name="T3" fmla="*/ 85 h 114"/>
                <a:gd name="T4" fmla="*/ 60 w 120"/>
                <a:gd name="T5" fmla="*/ 79 h 114"/>
                <a:gd name="T6" fmla="*/ 58 w 120"/>
                <a:gd name="T7" fmla="*/ 91 h 114"/>
                <a:gd name="T8" fmla="*/ 60 w 120"/>
                <a:gd name="T9" fmla="*/ 101 h 114"/>
                <a:gd name="T10" fmla="*/ 62 w 120"/>
                <a:gd name="T11" fmla="*/ 91 h 114"/>
                <a:gd name="T12" fmla="*/ 60 w 120"/>
                <a:gd name="T13" fmla="*/ 79 h 114"/>
                <a:gd name="T14" fmla="*/ 90 w 120"/>
                <a:gd name="T15" fmla="*/ 74 h 114"/>
                <a:gd name="T16" fmla="*/ 82 w 120"/>
                <a:gd name="T17" fmla="*/ 53 h 114"/>
                <a:gd name="T18" fmla="*/ 38 w 120"/>
                <a:gd name="T19" fmla="*/ 53 h 114"/>
                <a:gd name="T20" fmla="*/ 30 w 120"/>
                <a:gd name="T21" fmla="*/ 74 h 114"/>
                <a:gd name="T22" fmla="*/ 4 w 120"/>
                <a:gd name="T23" fmla="*/ 61 h 114"/>
                <a:gd name="T24" fmla="*/ 19 w 120"/>
                <a:gd name="T25" fmla="*/ 48 h 114"/>
                <a:gd name="T26" fmla="*/ 22 w 120"/>
                <a:gd name="T27" fmla="*/ 46 h 114"/>
                <a:gd name="T28" fmla="*/ 38 w 120"/>
                <a:gd name="T29" fmla="*/ 24 h 114"/>
                <a:gd name="T30" fmla="*/ 50 w 120"/>
                <a:gd name="T31" fmla="*/ 28 h 114"/>
                <a:gd name="T32" fmla="*/ 77 w 120"/>
                <a:gd name="T33" fmla="*/ 5 h 114"/>
                <a:gd name="T34" fmla="*/ 103 w 120"/>
                <a:gd name="T35" fmla="*/ 34 h 114"/>
                <a:gd name="T36" fmla="*/ 116 w 120"/>
                <a:gd name="T37" fmla="*/ 55 h 114"/>
                <a:gd name="T38" fmla="*/ 69 w 120"/>
                <a:gd name="T39" fmla="*/ 53 h 114"/>
                <a:gd name="T40" fmla="*/ 51 w 120"/>
                <a:gd name="T41" fmla="*/ 66 h 114"/>
                <a:gd name="T42" fmla="*/ 60 w 120"/>
                <a:gd name="T43" fmla="*/ 44 h 114"/>
                <a:gd name="T44" fmla="*/ 60 w 120"/>
                <a:gd name="T45" fmla="*/ 40 h 114"/>
                <a:gd name="T46" fmla="*/ 47 w 120"/>
                <a:gd name="T47" fmla="*/ 66 h 114"/>
                <a:gd name="T48" fmla="*/ 43 w 120"/>
                <a:gd name="T49" fmla="*/ 53 h 114"/>
                <a:gd name="T50" fmla="*/ 77 w 120"/>
                <a:gd name="T51" fmla="*/ 53 h 114"/>
                <a:gd name="T52" fmla="*/ 73 w 120"/>
                <a:gd name="T53" fmla="*/ 66 h 114"/>
                <a:gd name="T54" fmla="*/ 60 w 120"/>
                <a:gd name="T55" fmla="*/ 40 h 114"/>
                <a:gd name="T56" fmla="*/ 82 w 120"/>
                <a:gd name="T57" fmla="*/ 109 h 114"/>
                <a:gd name="T58" fmla="*/ 34 w 120"/>
                <a:gd name="T59" fmla="*/ 105 h 114"/>
                <a:gd name="T60" fmla="*/ 38 w 120"/>
                <a:gd name="T61" fmla="*/ 70 h 114"/>
                <a:gd name="T62" fmla="*/ 86 w 120"/>
                <a:gd name="T63" fmla="*/ 74 h 114"/>
                <a:gd name="T64" fmla="*/ 107 w 120"/>
                <a:gd name="T65" fmla="*/ 33 h 114"/>
                <a:gd name="T66" fmla="*/ 77 w 120"/>
                <a:gd name="T67" fmla="*/ 0 h 114"/>
                <a:gd name="T68" fmla="*/ 38 w 120"/>
                <a:gd name="T69" fmla="*/ 20 h 114"/>
                <a:gd name="T70" fmla="*/ 17 w 120"/>
                <a:gd name="T71" fmla="*/ 44 h 114"/>
                <a:gd name="T72" fmla="*/ 0 w 120"/>
                <a:gd name="T73" fmla="*/ 61 h 114"/>
                <a:gd name="T74" fmla="*/ 30 w 120"/>
                <a:gd name="T75" fmla="*/ 79 h 114"/>
                <a:gd name="T76" fmla="*/ 38 w 120"/>
                <a:gd name="T77" fmla="*/ 114 h 114"/>
                <a:gd name="T78" fmla="*/ 90 w 120"/>
                <a:gd name="T79" fmla="*/ 105 h 114"/>
                <a:gd name="T80" fmla="*/ 97 w 120"/>
                <a:gd name="T81" fmla="*/ 79 h 114"/>
                <a:gd name="T82" fmla="*/ 107 w 120"/>
                <a:gd name="T83" fmla="*/ 3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14">
                  <a:moveTo>
                    <a:pt x="60" y="88"/>
                  </a:moveTo>
                  <a:cubicBezTo>
                    <a:pt x="59" y="88"/>
                    <a:pt x="58" y="87"/>
                    <a:pt x="58" y="85"/>
                  </a:cubicBezTo>
                  <a:cubicBezTo>
                    <a:pt x="58" y="84"/>
                    <a:pt x="59" y="83"/>
                    <a:pt x="60" y="83"/>
                  </a:cubicBezTo>
                  <a:cubicBezTo>
                    <a:pt x="61" y="83"/>
                    <a:pt x="62" y="84"/>
                    <a:pt x="62" y="85"/>
                  </a:cubicBezTo>
                  <a:cubicBezTo>
                    <a:pt x="62" y="87"/>
                    <a:pt x="61" y="88"/>
                    <a:pt x="60" y="88"/>
                  </a:cubicBezTo>
                  <a:moveTo>
                    <a:pt x="60" y="79"/>
                  </a:moveTo>
                  <a:cubicBezTo>
                    <a:pt x="56" y="79"/>
                    <a:pt x="54" y="82"/>
                    <a:pt x="54" y="85"/>
                  </a:cubicBezTo>
                  <a:cubicBezTo>
                    <a:pt x="54" y="88"/>
                    <a:pt x="55" y="91"/>
                    <a:pt x="58" y="91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8" y="100"/>
                    <a:pt x="59" y="101"/>
                    <a:pt x="60" y="101"/>
                  </a:cubicBezTo>
                  <a:cubicBezTo>
                    <a:pt x="61" y="101"/>
                    <a:pt x="62" y="100"/>
                    <a:pt x="62" y="98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5" y="91"/>
                    <a:pt x="66" y="88"/>
                    <a:pt x="66" y="85"/>
                  </a:cubicBezTo>
                  <a:cubicBezTo>
                    <a:pt x="66" y="82"/>
                    <a:pt x="64" y="79"/>
                    <a:pt x="60" y="79"/>
                  </a:cubicBezTo>
                  <a:moveTo>
                    <a:pt x="97" y="74"/>
                  </a:moveTo>
                  <a:cubicBezTo>
                    <a:pt x="90" y="74"/>
                    <a:pt x="90" y="74"/>
                    <a:pt x="90" y="74"/>
                  </a:cubicBezTo>
                  <a:cubicBezTo>
                    <a:pt x="90" y="70"/>
                    <a:pt x="86" y="66"/>
                    <a:pt x="82" y="66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41"/>
                    <a:pt x="72" y="31"/>
                    <a:pt x="60" y="31"/>
                  </a:cubicBezTo>
                  <a:cubicBezTo>
                    <a:pt x="48" y="31"/>
                    <a:pt x="38" y="41"/>
                    <a:pt x="38" y="53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4" y="66"/>
                    <a:pt x="30" y="70"/>
                    <a:pt x="30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0" y="74"/>
                    <a:pt x="4" y="69"/>
                    <a:pt x="4" y="61"/>
                  </a:cubicBezTo>
                  <a:cubicBezTo>
                    <a:pt x="4" y="54"/>
                    <a:pt x="10" y="48"/>
                    <a:pt x="17" y="48"/>
                  </a:cubicBezTo>
                  <a:cubicBezTo>
                    <a:pt x="18" y="48"/>
                    <a:pt x="18" y="48"/>
                    <a:pt x="19" y="48"/>
                  </a:cubicBezTo>
                  <a:cubicBezTo>
                    <a:pt x="20" y="49"/>
                    <a:pt x="21" y="48"/>
                    <a:pt x="21" y="48"/>
                  </a:cubicBezTo>
                  <a:cubicBezTo>
                    <a:pt x="22" y="47"/>
                    <a:pt x="22" y="47"/>
                    <a:pt x="22" y="46"/>
                  </a:cubicBezTo>
                  <a:cubicBezTo>
                    <a:pt x="21" y="45"/>
                    <a:pt x="21" y="43"/>
                    <a:pt x="21" y="42"/>
                  </a:cubicBezTo>
                  <a:cubicBezTo>
                    <a:pt x="21" y="32"/>
                    <a:pt x="29" y="24"/>
                    <a:pt x="38" y="24"/>
                  </a:cubicBezTo>
                  <a:cubicBezTo>
                    <a:pt x="42" y="24"/>
                    <a:pt x="46" y="25"/>
                    <a:pt x="48" y="28"/>
                  </a:cubicBezTo>
                  <a:cubicBezTo>
                    <a:pt x="49" y="28"/>
                    <a:pt x="50" y="28"/>
                    <a:pt x="50" y="28"/>
                  </a:cubicBezTo>
                  <a:cubicBezTo>
                    <a:pt x="51" y="28"/>
                    <a:pt x="52" y="27"/>
                    <a:pt x="52" y="26"/>
                  </a:cubicBezTo>
                  <a:cubicBezTo>
                    <a:pt x="54" y="14"/>
                    <a:pt x="65" y="5"/>
                    <a:pt x="77" y="5"/>
                  </a:cubicBezTo>
                  <a:cubicBezTo>
                    <a:pt x="92" y="5"/>
                    <a:pt x="103" y="16"/>
                    <a:pt x="103" y="31"/>
                  </a:cubicBezTo>
                  <a:cubicBezTo>
                    <a:pt x="103" y="32"/>
                    <a:pt x="103" y="33"/>
                    <a:pt x="103" y="34"/>
                  </a:cubicBezTo>
                  <a:cubicBezTo>
                    <a:pt x="103" y="35"/>
                    <a:pt x="103" y="36"/>
                    <a:pt x="104" y="37"/>
                  </a:cubicBezTo>
                  <a:cubicBezTo>
                    <a:pt x="111" y="40"/>
                    <a:pt x="116" y="47"/>
                    <a:pt x="116" y="55"/>
                  </a:cubicBezTo>
                  <a:cubicBezTo>
                    <a:pt x="116" y="66"/>
                    <a:pt x="107" y="74"/>
                    <a:pt x="97" y="74"/>
                  </a:cubicBezTo>
                  <a:moveTo>
                    <a:pt x="69" y="53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1" y="48"/>
                    <a:pt x="55" y="44"/>
                    <a:pt x="60" y="44"/>
                  </a:cubicBezTo>
                  <a:cubicBezTo>
                    <a:pt x="65" y="44"/>
                    <a:pt x="69" y="48"/>
                    <a:pt x="69" y="53"/>
                  </a:cubicBezTo>
                  <a:moveTo>
                    <a:pt x="60" y="40"/>
                  </a:moveTo>
                  <a:cubicBezTo>
                    <a:pt x="53" y="40"/>
                    <a:pt x="47" y="45"/>
                    <a:pt x="47" y="53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43"/>
                    <a:pt x="50" y="35"/>
                    <a:pt x="60" y="35"/>
                  </a:cubicBezTo>
                  <a:cubicBezTo>
                    <a:pt x="70" y="35"/>
                    <a:pt x="77" y="43"/>
                    <a:pt x="77" y="53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45"/>
                    <a:pt x="67" y="40"/>
                    <a:pt x="60" y="40"/>
                  </a:cubicBezTo>
                  <a:moveTo>
                    <a:pt x="86" y="105"/>
                  </a:moveTo>
                  <a:cubicBezTo>
                    <a:pt x="86" y="107"/>
                    <a:pt x="84" y="109"/>
                    <a:pt x="82" y="109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6" y="109"/>
                    <a:pt x="34" y="107"/>
                    <a:pt x="34" y="105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2"/>
                    <a:pt x="36" y="70"/>
                    <a:pt x="38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4" y="70"/>
                    <a:pt x="86" y="72"/>
                    <a:pt x="86" y="74"/>
                  </a:cubicBezTo>
                  <a:lnTo>
                    <a:pt x="86" y="105"/>
                  </a:lnTo>
                  <a:close/>
                  <a:moveTo>
                    <a:pt x="107" y="33"/>
                  </a:moveTo>
                  <a:cubicBezTo>
                    <a:pt x="107" y="33"/>
                    <a:pt x="107" y="32"/>
                    <a:pt x="107" y="31"/>
                  </a:cubicBezTo>
                  <a:cubicBezTo>
                    <a:pt x="107" y="14"/>
                    <a:pt x="94" y="0"/>
                    <a:pt x="77" y="0"/>
                  </a:cubicBezTo>
                  <a:cubicBezTo>
                    <a:pt x="64" y="0"/>
                    <a:pt x="52" y="10"/>
                    <a:pt x="48" y="22"/>
                  </a:cubicBezTo>
                  <a:cubicBezTo>
                    <a:pt x="45" y="21"/>
                    <a:pt x="42" y="20"/>
                    <a:pt x="38" y="20"/>
                  </a:cubicBezTo>
                  <a:cubicBezTo>
                    <a:pt x="26" y="20"/>
                    <a:pt x="17" y="30"/>
                    <a:pt x="17" y="42"/>
                  </a:cubicBezTo>
                  <a:cubicBezTo>
                    <a:pt x="17" y="42"/>
                    <a:pt x="17" y="43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7" y="44"/>
                    <a:pt x="0" y="52"/>
                    <a:pt x="0" y="61"/>
                  </a:cubicBezTo>
                  <a:cubicBezTo>
                    <a:pt x="0" y="71"/>
                    <a:pt x="7" y="79"/>
                    <a:pt x="17" y="79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10"/>
                    <a:pt x="34" y="114"/>
                    <a:pt x="38" y="114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6" y="114"/>
                    <a:pt x="90" y="110"/>
                    <a:pt x="90" y="105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110" y="79"/>
                    <a:pt x="120" y="68"/>
                    <a:pt x="120" y="55"/>
                  </a:cubicBezTo>
                  <a:cubicBezTo>
                    <a:pt x="120" y="45"/>
                    <a:pt x="115" y="37"/>
                    <a:pt x="107" y="3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9" name="Group 384">
            <a:extLst>
              <a:ext uri="{FF2B5EF4-FFF2-40B4-BE49-F238E27FC236}">
                <a16:creationId xmlns:a16="http://schemas.microsoft.com/office/drawing/2014/main" id="{70350C12-9524-49B6-B7C8-284F09CE66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1474" y="5485479"/>
            <a:ext cx="758825" cy="758825"/>
            <a:chOff x="5150" y="3662"/>
            <a:chExt cx="478" cy="478"/>
          </a:xfrm>
        </p:grpSpPr>
        <p:sp>
          <p:nvSpPr>
            <p:cNvPr id="430" name="AutoShape 383">
              <a:extLst>
                <a:ext uri="{FF2B5EF4-FFF2-40B4-BE49-F238E27FC236}">
                  <a16:creationId xmlns:a16="http://schemas.microsoft.com/office/drawing/2014/main" id="{71A1388F-A5C8-449C-87F2-AA408106AC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50" y="366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386">
              <a:extLst>
                <a:ext uri="{FF2B5EF4-FFF2-40B4-BE49-F238E27FC236}">
                  <a16:creationId xmlns:a16="http://schemas.microsoft.com/office/drawing/2014/main" id="{7636F082-5A77-4F75-B98E-9CCE86DD0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" y="3762"/>
              <a:ext cx="314" cy="280"/>
            </a:xfrm>
            <a:custGeom>
              <a:avLst/>
              <a:gdLst>
                <a:gd name="T0" fmla="*/ 64 w 128"/>
                <a:gd name="T1" fmla="*/ 62 h 114"/>
                <a:gd name="T2" fmla="*/ 64 w 128"/>
                <a:gd name="T3" fmla="*/ 57 h 114"/>
                <a:gd name="T4" fmla="*/ 82 w 128"/>
                <a:gd name="T5" fmla="*/ 75 h 114"/>
                <a:gd name="T6" fmla="*/ 59 w 128"/>
                <a:gd name="T7" fmla="*/ 75 h 114"/>
                <a:gd name="T8" fmla="*/ 64 w 128"/>
                <a:gd name="T9" fmla="*/ 71 h 114"/>
                <a:gd name="T10" fmla="*/ 103 w 128"/>
                <a:gd name="T11" fmla="*/ 75 h 114"/>
                <a:gd name="T12" fmla="*/ 92 w 128"/>
                <a:gd name="T13" fmla="*/ 67 h 114"/>
                <a:gd name="T14" fmla="*/ 95 w 128"/>
                <a:gd name="T15" fmla="*/ 51 h 114"/>
                <a:gd name="T16" fmla="*/ 78 w 128"/>
                <a:gd name="T17" fmla="*/ 50 h 114"/>
                <a:gd name="T18" fmla="*/ 69 w 128"/>
                <a:gd name="T19" fmla="*/ 37 h 114"/>
                <a:gd name="T20" fmla="*/ 57 w 128"/>
                <a:gd name="T21" fmla="*/ 39 h 114"/>
                <a:gd name="T22" fmla="*/ 43 w 128"/>
                <a:gd name="T23" fmla="*/ 45 h 114"/>
                <a:gd name="T24" fmla="*/ 33 w 128"/>
                <a:gd name="T25" fmla="*/ 54 h 114"/>
                <a:gd name="T26" fmla="*/ 27 w 128"/>
                <a:gd name="T27" fmla="*/ 69 h 114"/>
                <a:gd name="T28" fmla="*/ 25 w 128"/>
                <a:gd name="T29" fmla="*/ 77 h 114"/>
                <a:gd name="T30" fmla="*/ 18 w 128"/>
                <a:gd name="T31" fmla="*/ 50 h 114"/>
                <a:gd name="T32" fmla="*/ 23 w 128"/>
                <a:gd name="T33" fmla="*/ 48 h 114"/>
                <a:gd name="T34" fmla="*/ 52 w 128"/>
                <a:gd name="T35" fmla="*/ 29 h 114"/>
                <a:gd name="T36" fmla="*/ 82 w 128"/>
                <a:gd name="T37" fmla="*/ 5 h 114"/>
                <a:gd name="T38" fmla="*/ 111 w 128"/>
                <a:gd name="T39" fmla="*/ 38 h 114"/>
                <a:gd name="T40" fmla="*/ 98 w 128"/>
                <a:gd name="T41" fmla="*/ 78 h 114"/>
                <a:gd name="T42" fmla="*/ 85 w 128"/>
                <a:gd name="T43" fmla="*/ 88 h 114"/>
                <a:gd name="T44" fmla="*/ 87 w 128"/>
                <a:gd name="T45" fmla="*/ 101 h 114"/>
                <a:gd name="T46" fmla="*/ 69 w 128"/>
                <a:gd name="T47" fmla="*/ 99 h 114"/>
                <a:gd name="T48" fmla="*/ 64 w 128"/>
                <a:gd name="T49" fmla="*/ 109 h 114"/>
                <a:gd name="T50" fmla="*/ 59 w 128"/>
                <a:gd name="T51" fmla="*/ 99 h 114"/>
                <a:gd name="T52" fmla="*/ 41 w 128"/>
                <a:gd name="T53" fmla="*/ 101 h 114"/>
                <a:gd name="T54" fmla="*/ 43 w 128"/>
                <a:gd name="T55" fmla="*/ 88 h 114"/>
                <a:gd name="T56" fmla="*/ 30 w 128"/>
                <a:gd name="T57" fmla="*/ 78 h 114"/>
                <a:gd name="T58" fmla="*/ 38 w 128"/>
                <a:gd name="T59" fmla="*/ 72 h 114"/>
                <a:gd name="T60" fmla="*/ 43 w 128"/>
                <a:gd name="T61" fmla="*/ 59 h 114"/>
                <a:gd name="T62" fmla="*/ 48 w 128"/>
                <a:gd name="T63" fmla="*/ 54 h 114"/>
                <a:gd name="T64" fmla="*/ 60 w 128"/>
                <a:gd name="T65" fmla="*/ 49 h 114"/>
                <a:gd name="T66" fmla="*/ 66 w 128"/>
                <a:gd name="T67" fmla="*/ 41 h 114"/>
                <a:gd name="T68" fmla="*/ 77 w 128"/>
                <a:gd name="T69" fmla="*/ 54 h 114"/>
                <a:gd name="T70" fmla="*/ 90 w 128"/>
                <a:gd name="T71" fmla="*/ 53 h 114"/>
                <a:gd name="T72" fmla="*/ 88 w 128"/>
                <a:gd name="T73" fmla="*/ 70 h 114"/>
                <a:gd name="T74" fmla="*/ 98 w 128"/>
                <a:gd name="T75" fmla="*/ 75 h 114"/>
                <a:gd name="T76" fmla="*/ 115 w 128"/>
                <a:gd name="T77" fmla="*/ 32 h 114"/>
                <a:gd name="T78" fmla="*/ 41 w 128"/>
                <a:gd name="T79" fmla="*/ 21 h 114"/>
                <a:gd name="T80" fmla="*/ 18 w 128"/>
                <a:gd name="T81" fmla="*/ 46 h 114"/>
                <a:gd name="T82" fmla="*/ 27 w 128"/>
                <a:gd name="T83" fmla="*/ 82 h 114"/>
                <a:gd name="T84" fmla="*/ 33 w 128"/>
                <a:gd name="T85" fmla="*/ 96 h 114"/>
                <a:gd name="T86" fmla="*/ 43 w 128"/>
                <a:gd name="T87" fmla="*/ 106 h 114"/>
                <a:gd name="T88" fmla="*/ 57 w 128"/>
                <a:gd name="T89" fmla="*/ 112 h 114"/>
                <a:gd name="T90" fmla="*/ 64 w 128"/>
                <a:gd name="T91" fmla="*/ 114 h 114"/>
                <a:gd name="T92" fmla="*/ 72 w 128"/>
                <a:gd name="T93" fmla="*/ 103 h 114"/>
                <a:gd name="T94" fmla="*/ 88 w 128"/>
                <a:gd name="T95" fmla="*/ 106 h 114"/>
                <a:gd name="T96" fmla="*/ 90 w 128"/>
                <a:gd name="T97" fmla="*/ 89 h 114"/>
                <a:gd name="T98" fmla="*/ 103 w 128"/>
                <a:gd name="T99" fmla="*/ 8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14">
                  <a:moveTo>
                    <a:pt x="64" y="89"/>
                  </a:moveTo>
                  <a:cubicBezTo>
                    <a:pt x="56" y="89"/>
                    <a:pt x="50" y="83"/>
                    <a:pt x="50" y="75"/>
                  </a:cubicBezTo>
                  <a:cubicBezTo>
                    <a:pt x="50" y="68"/>
                    <a:pt x="56" y="62"/>
                    <a:pt x="64" y="62"/>
                  </a:cubicBezTo>
                  <a:cubicBezTo>
                    <a:pt x="72" y="62"/>
                    <a:pt x="78" y="68"/>
                    <a:pt x="78" y="75"/>
                  </a:cubicBezTo>
                  <a:cubicBezTo>
                    <a:pt x="78" y="83"/>
                    <a:pt x="72" y="89"/>
                    <a:pt x="64" y="89"/>
                  </a:cubicBezTo>
                  <a:moveTo>
                    <a:pt x="64" y="57"/>
                  </a:moveTo>
                  <a:cubicBezTo>
                    <a:pt x="54" y="57"/>
                    <a:pt x="46" y="65"/>
                    <a:pt x="46" y="75"/>
                  </a:cubicBezTo>
                  <a:cubicBezTo>
                    <a:pt x="46" y="85"/>
                    <a:pt x="54" y="93"/>
                    <a:pt x="64" y="93"/>
                  </a:cubicBezTo>
                  <a:cubicBezTo>
                    <a:pt x="74" y="93"/>
                    <a:pt x="82" y="85"/>
                    <a:pt x="82" y="75"/>
                  </a:cubicBezTo>
                  <a:cubicBezTo>
                    <a:pt x="82" y="65"/>
                    <a:pt x="74" y="57"/>
                    <a:pt x="64" y="57"/>
                  </a:cubicBezTo>
                  <a:moveTo>
                    <a:pt x="64" y="71"/>
                  </a:moveTo>
                  <a:cubicBezTo>
                    <a:pt x="61" y="71"/>
                    <a:pt x="59" y="73"/>
                    <a:pt x="59" y="75"/>
                  </a:cubicBezTo>
                  <a:cubicBezTo>
                    <a:pt x="59" y="78"/>
                    <a:pt x="61" y="80"/>
                    <a:pt x="64" y="80"/>
                  </a:cubicBezTo>
                  <a:cubicBezTo>
                    <a:pt x="67" y="80"/>
                    <a:pt x="69" y="78"/>
                    <a:pt x="69" y="75"/>
                  </a:cubicBezTo>
                  <a:cubicBezTo>
                    <a:pt x="69" y="73"/>
                    <a:pt x="67" y="71"/>
                    <a:pt x="64" y="71"/>
                  </a:cubicBezTo>
                  <a:moveTo>
                    <a:pt x="103" y="77"/>
                  </a:move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6"/>
                    <a:pt x="103" y="75"/>
                  </a:cubicBezTo>
                  <a:cubicBezTo>
                    <a:pt x="103" y="74"/>
                    <a:pt x="103" y="72"/>
                    <a:pt x="103" y="70"/>
                  </a:cubicBezTo>
                  <a:cubicBezTo>
                    <a:pt x="103" y="69"/>
                    <a:pt x="102" y="69"/>
                    <a:pt x="101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5"/>
                    <a:pt x="91" y="63"/>
                    <a:pt x="90" y="61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2"/>
                    <a:pt x="95" y="51"/>
                  </a:cubicBezTo>
                  <a:cubicBezTo>
                    <a:pt x="93" y="49"/>
                    <a:pt x="91" y="47"/>
                    <a:pt x="88" y="45"/>
                  </a:cubicBezTo>
                  <a:cubicBezTo>
                    <a:pt x="87" y="44"/>
                    <a:pt x="86" y="44"/>
                    <a:pt x="85" y="45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6" y="49"/>
                    <a:pt x="74" y="48"/>
                    <a:pt x="72" y="47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0" y="37"/>
                    <a:pt x="69" y="37"/>
                  </a:cubicBezTo>
                  <a:cubicBezTo>
                    <a:pt x="67" y="37"/>
                    <a:pt x="66" y="37"/>
                    <a:pt x="64" y="37"/>
                  </a:cubicBezTo>
                  <a:cubicBezTo>
                    <a:pt x="62" y="37"/>
                    <a:pt x="61" y="37"/>
                    <a:pt x="59" y="37"/>
                  </a:cubicBezTo>
                  <a:cubicBezTo>
                    <a:pt x="58" y="37"/>
                    <a:pt x="57" y="38"/>
                    <a:pt x="57" y="39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4" y="48"/>
                    <a:pt x="52" y="49"/>
                    <a:pt x="50" y="5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2" y="44"/>
                    <a:pt x="41" y="44"/>
                    <a:pt x="40" y="45"/>
                  </a:cubicBezTo>
                  <a:cubicBezTo>
                    <a:pt x="37" y="47"/>
                    <a:pt x="35" y="49"/>
                    <a:pt x="33" y="51"/>
                  </a:cubicBezTo>
                  <a:cubicBezTo>
                    <a:pt x="33" y="52"/>
                    <a:pt x="33" y="53"/>
                    <a:pt x="33" y="54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3"/>
                    <a:pt x="36" y="65"/>
                    <a:pt x="36" y="67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5" y="69"/>
                    <a:pt x="25" y="70"/>
                  </a:cubicBezTo>
                  <a:cubicBezTo>
                    <a:pt x="25" y="72"/>
                    <a:pt x="25" y="74"/>
                    <a:pt x="25" y="75"/>
                  </a:cubicBezTo>
                  <a:cubicBezTo>
                    <a:pt x="25" y="76"/>
                    <a:pt x="25" y="77"/>
                    <a:pt x="25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0" y="77"/>
                    <a:pt x="4" y="71"/>
                    <a:pt x="4" y="64"/>
                  </a:cubicBezTo>
                  <a:cubicBezTo>
                    <a:pt x="4" y="56"/>
                    <a:pt x="10" y="50"/>
                    <a:pt x="18" y="50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1" y="51"/>
                    <a:pt x="22" y="50"/>
                    <a:pt x="23" y="50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3" y="46"/>
                    <a:pt x="23" y="45"/>
                    <a:pt x="23" y="43"/>
                  </a:cubicBezTo>
                  <a:cubicBezTo>
                    <a:pt x="23" y="33"/>
                    <a:pt x="31" y="25"/>
                    <a:pt x="41" y="25"/>
                  </a:cubicBezTo>
                  <a:cubicBezTo>
                    <a:pt x="45" y="25"/>
                    <a:pt x="49" y="26"/>
                    <a:pt x="52" y="29"/>
                  </a:cubicBezTo>
                  <a:cubicBezTo>
                    <a:pt x="52" y="29"/>
                    <a:pt x="53" y="29"/>
                    <a:pt x="54" y="29"/>
                  </a:cubicBezTo>
                  <a:cubicBezTo>
                    <a:pt x="55" y="29"/>
                    <a:pt x="55" y="28"/>
                    <a:pt x="55" y="27"/>
                  </a:cubicBezTo>
                  <a:cubicBezTo>
                    <a:pt x="58" y="14"/>
                    <a:pt x="69" y="5"/>
                    <a:pt x="82" y="5"/>
                  </a:cubicBezTo>
                  <a:cubicBezTo>
                    <a:pt x="98" y="5"/>
                    <a:pt x="110" y="17"/>
                    <a:pt x="110" y="32"/>
                  </a:cubicBezTo>
                  <a:cubicBezTo>
                    <a:pt x="110" y="33"/>
                    <a:pt x="110" y="34"/>
                    <a:pt x="110" y="36"/>
                  </a:cubicBezTo>
                  <a:cubicBezTo>
                    <a:pt x="110" y="37"/>
                    <a:pt x="110" y="38"/>
                    <a:pt x="111" y="38"/>
                  </a:cubicBezTo>
                  <a:cubicBezTo>
                    <a:pt x="119" y="41"/>
                    <a:pt x="124" y="48"/>
                    <a:pt x="124" y="57"/>
                  </a:cubicBezTo>
                  <a:cubicBezTo>
                    <a:pt x="124" y="68"/>
                    <a:pt x="115" y="77"/>
                    <a:pt x="103" y="77"/>
                  </a:cubicBezTo>
                  <a:moveTo>
                    <a:pt x="98" y="78"/>
                  </a:moveTo>
                  <a:cubicBezTo>
                    <a:pt x="90" y="79"/>
                    <a:pt x="90" y="79"/>
                    <a:pt x="90" y="79"/>
                  </a:cubicBezTo>
                  <a:cubicBezTo>
                    <a:pt x="89" y="79"/>
                    <a:pt x="89" y="80"/>
                    <a:pt x="88" y="80"/>
                  </a:cubicBezTo>
                  <a:cubicBezTo>
                    <a:pt x="88" y="83"/>
                    <a:pt x="86" y="86"/>
                    <a:pt x="85" y="88"/>
                  </a:cubicBezTo>
                  <a:cubicBezTo>
                    <a:pt x="84" y="89"/>
                    <a:pt x="85" y="90"/>
                    <a:pt x="85" y="91"/>
                  </a:cubicBezTo>
                  <a:cubicBezTo>
                    <a:pt x="90" y="97"/>
                    <a:pt x="90" y="97"/>
                    <a:pt x="90" y="97"/>
                  </a:cubicBezTo>
                  <a:cubicBezTo>
                    <a:pt x="89" y="99"/>
                    <a:pt x="88" y="100"/>
                    <a:pt x="87" y="101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9" y="95"/>
                    <a:pt x="78" y="95"/>
                    <a:pt x="77" y="96"/>
                  </a:cubicBezTo>
                  <a:cubicBezTo>
                    <a:pt x="75" y="97"/>
                    <a:pt x="72" y="99"/>
                    <a:pt x="69" y="99"/>
                  </a:cubicBezTo>
                  <a:cubicBezTo>
                    <a:pt x="68" y="99"/>
                    <a:pt x="68" y="100"/>
                    <a:pt x="68" y="10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66" y="109"/>
                    <a:pt x="65" y="109"/>
                    <a:pt x="64" y="109"/>
                  </a:cubicBezTo>
                  <a:cubicBezTo>
                    <a:pt x="63" y="109"/>
                    <a:pt x="62" y="109"/>
                    <a:pt x="62" y="109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0"/>
                    <a:pt x="60" y="99"/>
                    <a:pt x="59" y="99"/>
                  </a:cubicBezTo>
                  <a:cubicBezTo>
                    <a:pt x="56" y="99"/>
                    <a:pt x="53" y="97"/>
                    <a:pt x="51" y="96"/>
                  </a:cubicBezTo>
                  <a:cubicBezTo>
                    <a:pt x="50" y="95"/>
                    <a:pt x="49" y="95"/>
                    <a:pt x="48" y="96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0" y="100"/>
                    <a:pt x="39" y="99"/>
                    <a:pt x="38" y="97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0"/>
                    <a:pt x="44" y="89"/>
                    <a:pt x="43" y="88"/>
                  </a:cubicBezTo>
                  <a:cubicBezTo>
                    <a:pt x="41" y="86"/>
                    <a:pt x="40" y="83"/>
                    <a:pt x="40" y="80"/>
                  </a:cubicBezTo>
                  <a:cubicBezTo>
                    <a:pt x="39" y="80"/>
                    <a:pt x="39" y="79"/>
                    <a:pt x="38" y="79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7"/>
                    <a:pt x="30" y="76"/>
                    <a:pt x="30" y="75"/>
                  </a:cubicBezTo>
                  <a:cubicBezTo>
                    <a:pt x="30" y="74"/>
                    <a:pt x="30" y="74"/>
                    <a:pt x="30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9" y="71"/>
                    <a:pt x="39" y="71"/>
                    <a:pt x="40" y="70"/>
                  </a:cubicBezTo>
                  <a:cubicBezTo>
                    <a:pt x="40" y="67"/>
                    <a:pt x="41" y="64"/>
                    <a:pt x="43" y="62"/>
                  </a:cubicBezTo>
                  <a:cubicBezTo>
                    <a:pt x="44" y="61"/>
                    <a:pt x="43" y="60"/>
                    <a:pt x="43" y="59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2"/>
                    <a:pt x="40" y="51"/>
                    <a:pt x="41" y="49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5"/>
                    <a:pt x="50" y="55"/>
                    <a:pt x="51" y="54"/>
                  </a:cubicBezTo>
                  <a:cubicBezTo>
                    <a:pt x="53" y="53"/>
                    <a:pt x="56" y="52"/>
                    <a:pt x="59" y="51"/>
                  </a:cubicBezTo>
                  <a:cubicBezTo>
                    <a:pt x="60" y="51"/>
                    <a:pt x="60" y="50"/>
                    <a:pt x="60" y="49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4" y="41"/>
                  </a:cubicBezTo>
                  <a:cubicBezTo>
                    <a:pt x="65" y="41"/>
                    <a:pt x="66" y="41"/>
                    <a:pt x="66" y="41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50"/>
                    <a:pt x="68" y="51"/>
                    <a:pt x="69" y="51"/>
                  </a:cubicBezTo>
                  <a:cubicBezTo>
                    <a:pt x="72" y="52"/>
                    <a:pt x="75" y="53"/>
                    <a:pt x="77" y="54"/>
                  </a:cubicBezTo>
                  <a:cubicBezTo>
                    <a:pt x="78" y="55"/>
                    <a:pt x="79" y="55"/>
                    <a:pt x="80" y="54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51"/>
                    <a:pt x="89" y="52"/>
                    <a:pt x="90" y="53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60"/>
                    <a:pt x="84" y="61"/>
                    <a:pt x="85" y="62"/>
                  </a:cubicBezTo>
                  <a:cubicBezTo>
                    <a:pt x="86" y="64"/>
                    <a:pt x="88" y="67"/>
                    <a:pt x="88" y="70"/>
                  </a:cubicBezTo>
                  <a:cubicBezTo>
                    <a:pt x="88" y="71"/>
                    <a:pt x="89" y="71"/>
                    <a:pt x="90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4"/>
                    <a:pt x="98" y="74"/>
                    <a:pt x="98" y="75"/>
                  </a:cubicBezTo>
                  <a:cubicBezTo>
                    <a:pt x="98" y="76"/>
                    <a:pt x="98" y="77"/>
                    <a:pt x="98" y="78"/>
                  </a:cubicBezTo>
                  <a:moveTo>
                    <a:pt x="114" y="35"/>
                  </a:moveTo>
                  <a:cubicBezTo>
                    <a:pt x="115" y="34"/>
                    <a:pt x="115" y="33"/>
                    <a:pt x="115" y="32"/>
                  </a:cubicBezTo>
                  <a:cubicBezTo>
                    <a:pt x="115" y="14"/>
                    <a:pt x="100" y="0"/>
                    <a:pt x="82" y="0"/>
                  </a:cubicBezTo>
                  <a:cubicBezTo>
                    <a:pt x="68" y="0"/>
                    <a:pt x="55" y="10"/>
                    <a:pt x="52" y="23"/>
                  </a:cubicBezTo>
                  <a:cubicBezTo>
                    <a:pt x="48" y="22"/>
                    <a:pt x="45" y="21"/>
                    <a:pt x="41" y="21"/>
                  </a:cubicBezTo>
                  <a:cubicBezTo>
                    <a:pt x="28" y="21"/>
                    <a:pt x="18" y="31"/>
                    <a:pt x="18" y="43"/>
                  </a:cubicBezTo>
                  <a:cubicBezTo>
                    <a:pt x="18" y="44"/>
                    <a:pt x="18" y="45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8" y="46"/>
                    <a:pt x="0" y="54"/>
                    <a:pt x="0" y="64"/>
                  </a:cubicBezTo>
                  <a:cubicBezTo>
                    <a:pt x="0" y="74"/>
                    <a:pt x="8" y="82"/>
                    <a:pt x="18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5"/>
                    <a:pt x="37" y="87"/>
                    <a:pt x="38" y="89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7"/>
                    <a:pt x="33" y="98"/>
                    <a:pt x="33" y="99"/>
                  </a:cubicBezTo>
                  <a:cubicBezTo>
                    <a:pt x="35" y="101"/>
                    <a:pt x="37" y="104"/>
                    <a:pt x="40" y="106"/>
                  </a:cubicBezTo>
                  <a:cubicBezTo>
                    <a:pt x="41" y="106"/>
                    <a:pt x="42" y="106"/>
                    <a:pt x="43" y="106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2" y="102"/>
                    <a:pt x="54" y="103"/>
                    <a:pt x="56" y="103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3"/>
                    <a:pt x="58" y="113"/>
                    <a:pt x="59" y="113"/>
                  </a:cubicBezTo>
                  <a:cubicBezTo>
                    <a:pt x="61" y="114"/>
                    <a:pt x="62" y="114"/>
                    <a:pt x="64" y="114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6" y="114"/>
                    <a:pt x="67" y="114"/>
                    <a:pt x="69" y="113"/>
                  </a:cubicBezTo>
                  <a:cubicBezTo>
                    <a:pt x="70" y="113"/>
                    <a:pt x="71" y="113"/>
                    <a:pt x="71" y="112"/>
                  </a:cubicBezTo>
                  <a:cubicBezTo>
                    <a:pt x="72" y="103"/>
                    <a:pt x="72" y="103"/>
                    <a:pt x="72" y="103"/>
                  </a:cubicBezTo>
                  <a:cubicBezTo>
                    <a:pt x="74" y="103"/>
                    <a:pt x="76" y="102"/>
                    <a:pt x="78" y="101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6"/>
                    <a:pt x="87" y="106"/>
                    <a:pt x="88" y="106"/>
                  </a:cubicBezTo>
                  <a:cubicBezTo>
                    <a:pt x="91" y="104"/>
                    <a:pt x="93" y="101"/>
                    <a:pt x="95" y="99"/>
                  </a:cubicBezTo>
                  <a:cubicBezTo>
                    <a:pt x="95" y="98"/>
                    <a:pt x="95" y="97"/>
                    <a:pt x="95" y="96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1" y="87"/>
                    <a:pt x="92" y="85"/>
                    <a:pt x="92" y="83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17" y="82"/>
                    <a:pt x="128" y="71"/>
                    <a:pt x="128" y="57"/>
                  </a:cubicBezTo>
                  <a:cubicBezTo>
                    <a:pt x="128" y="47"/>
                    <a:pt x="123" y="39"/>
                    <a:pt x="114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3" name="Group 389">
            <a:extLst>
              <a:ext uri="{FF2B5EF4-FFF2-40B4-BE49-F238E27FC236}">
                <a16:creationId xmlns:a16="http://schemas.microsoft.com/office/drawing/2014/main" id="{75311710-9255-48C5-8571-964B5293B1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3667" y="5440027"/>
            <a:ext cx="841375" cy="841375"/>
            <a:chOff x="4370" y="3450"/>
            <a:chExt cx="530" cy="530"/>
          </a:xfrm>
        </p:grpSpPr>
        <p:sp>
          <p:nvSpPr>
            <p:cNvPr id="434" name="AutoShape 388">
              <a:extLst>
                <a:ext uri="{FF2B5EF4-FFF2-40B4-BE49-F238E27FC236}">
                  <a16:creationId xmlns:a16="http://schemas.microsoft.com/office/drawing/2014/main" id="{CA768A38-7C5C-4CB4-A0C7-7930475D7A1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0" y="345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Oval 390">
              <a:extLst>
                <a:ext uri="{FF2B5EF4-FFF2-40B4-BE49-F238E27FC236}">
                  <a16:creationId xmlns:a16="http://schemas.microsoft.com/office/drawing/2014/main" id="{7F4BC9E4-B6BD-45D0-BB58-570DB0EA4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0" y="345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391">
              <a:extLst>
                <a:ext uri="{FF2B5EF4-FFF2-40B4-BE49-F238E27FC236}">
                  <a16:creationId xmlns:a16="http://schemas.microsoft.com/office/drawing/2014/main" id="{92D86B76-D792-4035-A8C1-6A58BB2DE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8" y="346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Freeform 392">
              <a:extLst>
                <a:ext uri="{FF2B5EF4-FFF2-40B4-BE49-F238E27FC236}">
                  <a16:creationId xmlns:a16="http://schemas.microsoft.com/office/drawing/2014/main" id="{D67C3C65-5F60-4250-B163-DECFF343C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2" y="3570"/>
              <a:ext cx="328" cy="292"/>
            </a:xfrm>
            <a:custGeom>
              <a:avLst/>
              <a:gdLst>
                <a:gd name="T0" fmla="*/ 64 w 128"/>
                <a:gd name="T1" fmla="*/ 62 h 114"/>
                <a:gd name="T2" fmla="*/ 64 w 128"/>
                <a:gd name="T3" fmla="*/ 57 h 114"/>
                <a:gd name="T4" fmla="*/ 82 w 128"/>
                <a:gd name="T5" fmla="*/ 75 h 114"/>
                <a:gd name="T6" fmla="*/ 59 w 128"/>
                <a:gd name="T7" fmla="*/ 75 h 114"/>
                <a:gd name="T8" fmla="*/ 64 w 128"/>
                <a:gd name="T9" fmla="*/ 71 h 114"/>
                <a:gd name="T10" fmla="*/ 103 w 128"/>
                <a:gd name="T11" fmla="*/ 75 h 114"/>
                <a:gd name="T12" fmla="*/ 92 w 128"/>
                <a:gd name="T13" fmla="*/ 67 h 114"/>
                <a:gd name="T14" fmla="*/ 95 w 128"/>
                <a:gd name="T15" fmla="*/ 51 h 114"/>
                <a:gd name="T16" fmla="*/ 78 w 128"/>
                <a:gd name="T17" fmla="*/ 50 h 114"/>
                <a:gd name="T18" fmla="*/ 69 w 128"/>
                <a:gd name="T19" fmla="*/ 37 h 114"/>
                <a:gd name="T20" fmla="*/ 57 w 128"/>
                <a:gd name="T21" fmla="*/ 39 h 114"/>
                <a:gd name="T22" fmla="*/ 43 w 128"/>
                <a:gd name="T23" fmla="*/ 45 h 114"/>
                <a:gd name="T24" fmla="*/ 33 w 128"/>
                <a:gd name="T25" fmla="*/ 54 h 114"/>
                <a:gd name="T26" fmla="*/ 27 w 128"/>
                <a:gd name="T27" fmla="*/ 69 h 114"/>
                <a:gd name="T28" fmla="*/ 25 w 128"/>
                <a:gd name="T29" fmla="*/ 77 h 114"/>
                <a:gd name="T30" fmla="*/ 18 w 128"/>
                <a:gd name="T31" fmla="*/ 50 h 114"/>
                <a:gd name="T32" fmla="*/ 23 w 128"/>
                <a:gd name="T33" fmla="*/ 48 h 114"/>
                <a:gd name="T34" fmla="*/ 52 w 128"/>
                <a:gd name="T35" fmla="*/ 29 h 114"/>
                <a:gd name="T36" fmla="*/ 82 w 128"/>
                <a:gd name="T37" fmla="*/ 5 h 114"/>
                <a:gd name="T38" fmla="*/ 111 w 128"/>
                <a:gd name="T39" fmla="*/ 38 h 114"/>
                <a:gd name="T40" fmla="*/ 98 w 128"/>
                <a:gd name="T41" fmla="*/ 78 h 114"/>
                <a:gd name="T42" fmla="*/ 85 w 128"/>
                <a:gd name="T43" fmla="*/ 88 h 114"/>
                <a:gd name="T44" fmla="*/ 87 w 128"/>
                <a:gd name="T45" fmla="*/ 101 h 114"/>
                <a:gd name="T46" fmla="*/ 69 w 128"/>
                <a:gd name="T47" fmla="*/ 99 h 114"/>
                <a:gd name="T48" fmla="*/ 64 w 128"/>
                <a:gd name="T49" fmla="*/ 109 h 114"/>
                <a:gd name="T50" fmla="*/ 59 w 128"/>
                <a:gd name="T51" fmla="*/ 99 h 114"/>
                <a:gd name="T52" fmla="*/ 41 w 128"/>
                <a:gd name="T53" fmla="*/ 101 h 114"/>
                <a:gd name="T54" fmla="*/ 43 w 128"/>
                <a:gd name="T55" fmla="*/ 88 h 114"/>
                <a:gd name="T56" fmla="*/ 30 w 128"/>
                <a:gd name="T57" fmla="*/ 78 h 114"/>
                <a:gd name="T58" fmla="*/ 38 w 128"/>
                <a:gd name="T59" fmla="*/ 72 h 114"/>
                <a:gd name="T60" fmla="*/ 43 w 128"/>
                <a:gd name="T61" fmla="*/ 59 h 114"/>
                <a:gd name="T62" fmla="*/ 48 w 128"/>
                <a:gd name="T63" fmla="*/ 54 h 114"/>
                <a:gd name="T64" fmla="*/ 60 w 128"/>
                <a:gd name="T65" fmla="*/ 49 h 114"/>
                <a:gd name="T66" fmla="*/ 66 w 128"/>
                <a:gd name="T67" fmla="*/ 41 h 114"/>
                <a:gd name="T68" fmla="*/ 77 w 128"/>
                <a:gd name="T69" fmla="*/ 54 h 114"/>
                <a:gd name="T70" fmla="*/ 90 w 128"/>
                <a:gd name="T71" fmla="*/ 53 h 114"/>
                <a:gd name="T72" fmla="*/ 88 w 128"/>
                <a:gd name="T73" fmla="*/ 70 h 114"/>
                <a:gd name="T74" fmla="*/ 98 w 128"/>
                <a:gd name="T75" fmla="*/ 75 h 114"/>
                <a:gd name="T76" fmla="*/ 115 w 128"/>
                <a:gd name="T77" fmla="*/ 32 h 114"/>
                <a:gd name="T78" fmla="*/ 41 w 128"/>
                <a:gd name="T79" fmla="*/ 21 h 114"/>
                <a:gd name="T80" fmla="*/ 18 w 128"/>
                <a:gd name="T81" fmla="*/ 46 h 114"/>
                <a:gd name="T82" fmla="*/ 27 w 128"/>
                <a:gd name="T83" fmla="*/ 82 h 114"/>
                <a:gd name="T84" fmla="*/ 33 w 128"/>
                <a:gd name="T85" fmla="*/ 96 h 114"/>
                <a:gd name="T86" fmla="*/ 43 w 128"/>
                <a:gd name="T87" fmla="*/ 106 h 114"/>
                <a:gd name="T88" fmla="*/ 57 w 128"/>
                <a:gd name="T89" fmla="*/ 112 h 114"/>
                <a:gd name="T90" fmla="*/ 64 w 128"/>
                <a:gd name="T91" fmla="*/ 114 h 114"/>
                <a:gd name="T92" fmla="*/ 72 w 128"/>
                <a:gd name="T93" fmla="*/ 103 h 114"/>
                <a:gd name="T94" fmla="*/ 88 w 128"/>
                <a:gd name="T95" fmla="*/ 106 h 114"/>
                <a:gd name="T96" fmla="*/ 90 w 128"/>
                <a:gd name="T97" fmla="*/ 89 h 114"/>
                <a:gd name="T98" fmla="*/ 103 w 128"/>
                <a:gd name="T99" fmla="*/ 8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14">
                  <a:moveTo>
                    <a:pt x="64" y="89"/>
                  </a:moveTo>
                  <a:cubicBezTo>
                    <a:pt x="56" y="89"/>
                    <a:pt x="50" y="83"/>
                    <a:pt x="50" y="75"/>
                  </a:cubicBezTo>
                  <a:cubicBezTo>
                    <a:pt x="50" y="68"/>
                    <a:pt x="56" y="62"/>
                    <a:pt x="64" y="62"/>
                  </a:cubicBezTo>
                  <a:cubicBezTo>
                    <a:pt x="72" y="62"/>
                    <a:pt x="78" y="68"/>
                    <a:pt x="78" y="75"/>
                  </a:cubicBezTo>
                  <a:cubicBezTo>
                    <a:pt x="78" y="83"/>
                    <a:pt x="72" y="89"/>
                    <a:pt x="64" y="89"/>
                  </a:cubicBezTo>
                  <a:moveTo>
                    <a:pt x="64" y="57"/>
                  </a:moveTo>
                  <a:cubicBezTo>
                    <a:pt x="54" y="57"/>
                    <a:pt x="46" y="65"/>
                    <a:pt x="46" y="75"/>
                  </a:cubicBezTo>
                  <a:cubicBezTo>
                    <a:pt x="46" y="85"/>
                    <a:pt x="54" y="93"/>
                    <a:pt x="64" y="93"/>
                  </a:cubicBezTo>
                  <a:cubicBezTo>
                    <a:pt x="74" y="93"/>
                    <a:pt x="82" y="85"/>
                    <a:pt x="82" y="75"/>
                  </a:cubicBezTo>
                  <a:cubicBezTo>
                    <a:pt x="82" y="65"/>
                    <a:pt x="74" y="57"/>
                    <a:pt x="64" y="57"/>
                  </a:cubicBezTo>
                  <a:moveTo>
                    <a:pt x="64" y="71"/>
                  </a:moveTo>
                  <a:cubicBezTo>
                    <a:pt x="61" y="71"/>
                    <a:pt x="59" y="73"/>
                    <a:pt x="59" y="75"/>
                  </a:cubicBezTo>
                  <a:cubicBezTo>
                    <a:pt x="59" y="78"/>
                    <a:pt x="61" y="80"/>
                    <a:pt x="64" y="80"/>
                  </a:cubicBezTo>
                  <a:cubicBezTo>
                    <a:pt x="67" y="80"/>
                    <a:pt x="69" y="78"/>
                    <a:pt x="69" y="75"/>
                  </a:cubicBezTo>
                  <a:cubicBezTo>
                    <a:pt x="69" y="73"/>
                    <a:pt x="67" y="71"/>
                    <a:pt x="64" y="71"/>
                  </a:cubicBezTo>
                  <a:moveTo>
                    <a:pt x="103" y="77"/>
                  </a:move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6"/>
                    <a:pt x="103" y="75"/>
                  </a:cubicBezTo>
                  <a:cubicBezTo>
                    <a:pt x="103" y="74"/>
                    <a:pt x="103" y="72"/>
                    <a:pt x="103" y="70"/>
                  </a:cubicBezTo>
                  <a:cubicBezTo>
                    <a:pt x="103" y="69"/>
                    <a:pt x="102" y="69"/>
                    <a:pt x="101" y="69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5"/>
                    <a:pt x="91" y="63"/>
                    <a:pt x="90" y="61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2"/>
                    <a:pt x="95" y="51"/>
                  </a:cubicBezTo>
                  <a:cubicBezTo>
                    <a:pt x="93" y="49"/>
                    <a:pt x="91" y="47"/>
                    <a:pt x="88" y="45"/>
                  </a:cubicBezTo>
                  <a:cubicBezTo>
                    <a:pt x="87" y="44"/>
                    <a:pt x="86" y="44"/>
                    <a:pt x="85" y="45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6" y="49"/>
                    <a:pt x="74" y="48"/>
                    <a:pt x="72" y="47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0" y="37"/>
                    <a:pt x="69" y="37"/>
                  </a:cubicBezTo>
                  <a:cubicBezTo>
                    <a:pt x="67" y="37"/>
                    <a:pt x="66" y="37"/>
                    <a:pt x="64" y="37"/>
                  </a:cubicBezTo>
                  <a:cubicBezTo>
                    <a:pt x="62" y="37"/>
                    <a:pt x="61" y="37"/>
                    <a:pt x="59" y="37"/>
                  </a:cubicBezTo>
                  <a:cubicBezTo>
                    <a:pt x="58" y="37"/>
                    <a:pt x="57" y="38"/>
                    <a:pt x="57" y="39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4" y="48"/>
                    <a:pt x="52" y="49"/>
                    <a:pt x="50" y="5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2" y="44"/>
                    <a:pt x="41" y="44"/>
                    <a:pt x="40" y="45"/>
                  </a:cubicBezTo>
                  <a:cubicBezTo>
                    <a:pt x="37" y="47"/>
                    <a:pt x="35" y="49"/>
                    <a:pt x="33" y="51"/>
                  </a:cubicBezTo>
                  <a:cubicBezTo>
                    <a:pt x="33" y="52"/>
                    <a:pt x="33" y="53"/>
                    <a:pt x="33" y="54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7" y="63"/>
                    <a:pt x="36" y="65"/>
                    <a:pt x="36" y="67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5" y="69"/>
                    <a:pt x="25" y="70"/>
                  </a:cubicBezTo>
                  <a:cubicBezTo>
                    <a:pt x="25" y="72"/>
                    <a:pt x="25" y="74"/>
                    <a:pt x="25" y="75"/>
                  </a:cubicBezTo>
                  <a:cubicBezTo>
                    <a:pt x="25" y="76"/>
                    <a:pt x="25" y="77"/>
                    <a:pt x="25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0" y="77"/>
                    <a:pt x="4" y="71"/>
                    <a:pt x="4" y="64"/>
                  </a:cubicBezTo>
                  <a:cubicBezTo>
                    <a:pt x="4" y="56"/>
                    <a:pt x="10" y="50"/>
                    <a:pt x="18" y="50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1" y="51"/>
                    <a:pt x="22" y="50"/>
                    <a:pt x="23" y="50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3" y="46"/>
                    <a:pt x="23" y="45"/>
                    <a:pt x="23" y="43"/>
                  </a:cubicBezTo>
                  <a:cubicBezTo>
                    <a:pt x="23" y="33"/>
                    <a:pt x="31" y="25"/>
                    <a:pt x="41" y="25"/>
                  </a:cubicBezTo>
                  <a:cubicBezTo>
                    <a:pt x="45" y="25"/>
                    <a:pt x="49" y="26"/>
                    <a:pt x="52" y="29"/>
                  </a:cubicBezTo>
                  <a:cubicBezTo>
                    <a:pt x="52" y="29"/>
                    <a:pt x="53" y="29"/>
                    <a:pt x="54" y="29"/>
                  </a:cubicBezTo>
                  <a:cubicBezTo>
                    <a:pt x="55" y="29"/>
                    <a:pt x="55" y="28"/>
                    <a:pt x="55" y="27"/>
                  </a:cubicBezTo>
                  <a:cubicBezTo>
                    <a:pt x="58" y="14"/>
                    <a:pt x="69" y="5"/>
                    <a:pt x="82" y="5"/>
                  </a:cubicBezTo>
                  <a:cubicBezTo>
                    <a:pt x="98" y="5"/>
                    <a:pt x="110" y="17"/>
                    <a:pt x="110" y="32"/>
                  </a:cubicBezTo>
                  <a:cubicBezTo>
                    <a:pt x="110" y="33"/>
                    <a:pt x="110" y="34"/>
                    <a:pt x="110" y="36"/>
                  </a:cubicBezTo>
                  <a:cubicBezTo>
                    <a:pt x="110" y="37"/>
                    <a:pt x="110" y="38"/>
                    <a:pt x="111" y="38"/>
                  </a:cubicBezTo>
                  <a:cubicBezTo>
                    <a:pt x="119" y="41"/>
                    <a:pt x="124" y="48"/>
                    <a:pt x="124" y="57"/>
                  </a:cubicBezTo>
                  <a:cubicBezTo>
                    <a:pt x="124" y="68"/>
                    <a:pt x="115" y="77"/>
                    <a:pt x="103" y="77"/>
                  </a:cubicBezTo>
                  <a:moveTo>
                    <a:pt x="98" y="78"/>
                  </a:moveTo>
                  <a:cubicBezTo>
                    <a:pt x="90" y="79"/>
                    <a:pt x="90" y="79"/>
                    <a:pt x="90" y="79"/>
                  </a:cubicBezTo>
                  <a:cubicBezTo>
                    <a:pt x="89" y="79"/>
                    <a:pt x="89" y="80"/>
                    <a:pt x="88" y="80"/>
                  </a:cubicBezTo>
                  <a:cubicBezTo>
                    <a:pt x="88" y="83"/>
                    <a:pt x="86" y="86"/>
                    <a:pt x="85" y="88"/>
                  </a:cubicBezTo>
                  <a:cubicBezTo>
                    <a:pt x="84" y="89"/>
                    <a:pt x="85" y="90"/>
                    <a:pt x="85" y="91"/>
                  </a:cubicBezTo>
                  <a:cubicBezTo>
                    <a:pt x="90" y="97"/>
                    <a:pt x="90" y="97"/>
                    <a:pt x="90" y="97"/>
                  </a:cubicBezTo>
                  <a:cubicBezTo>
                    <a:pt x="89" y="99"/>
                    <a:pt x="88" y="100"/>
                    <a:pt x="87" y="101"/>
                  </a:cubicBezTo>
                  <a:cubicBezTo>
                    <a:pt x="80" y="96"/>
                    <a:pt x="80" y="96"/>
                    <a:pt x="80" y="96"/>
                  </a:cubicBezTo>
                  <a:cubicBezTo>
                    <a:pt x="79" y="95"/>
                    <a:pt x="78" y="95"/>
                    <a:pt x="77" y="96"/>
                  </a:cubicBezTo>
                  <a:cubicBezTo>
                    <a:pt x="75" y="97"/>
                    <a:pt x="72" y="99"/>
                    <a:pt x="69" y="99"/>
                  </a:cubicBezTo>
                  <a:cubicBezTo>
                    <a:pt x="68" y="99"/>
                    <a:pt x="68" y="100"/>
                    <a:pt x="68" y="10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66" y="109"/>
                    <a:pt x="65" y="109"/>
                    <a:pt x="64" y="109"/>
                  </a:cubicBezTo>
                  <a:cubicBezTo>
                    <a:pt x="63" y="109"/>
                    <a:pt x="62" y="109"/>
                    <a:pt x="62" y="109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0"/>
                    <a:pt x="60" y="99"/>
                    <a:pt x="59" y="99"/>
                  </a:cubicBezTo>
                  <a:cubicBezTo>
                    <a:pt x="56" y="99"/>
                    <a:pt x="53" y="97"/>
                    <a:pt x="51" y="96"/>
                  </a:cubicBezTo>
                  <a:cubicBezTo>
                    <a:pt x="50" y="95"/>
                    <a:pt x="49" y="95"/>
                    <a:pt x="48" y="96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0" y="100"/>
                    <a:pt x="39" y="99"/>
                    <a:pt x="38" y="97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0"/>
                    <a:pt x="44" y="89"/>
                    <a:pt x="43" y="88"/>
                  </a:cubicBezTo>
                  <a:cubicBezTo>
                    <a:pt x="41" y="86"/>
                    <a:pt x="40" y="83"/>
                    <a:pt x="40" y="80"/>
                  </a:cubicBezTo>
                  <a:cubicBezTo>
                    <a:pt x="39" y="80"/>
                    <a:pt x="39" y="79"/>
                    <a:pt x="38" y="79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7"/>
                    <a:pt x="30" y="76"/>
                    <a:pt x="30" y="75"/>
                  </a:cubicBezTo>
                  <a:cubicBezTo>
                    <a:pt x="30" y="74"/>
                    <a:pt x="30" y="74"/>
                    <a:pt x="30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9" y="71"/>
                    <a:pt x="39" y="71"/>
                    <a:pt x="40" y="70"/>
                  </a:cubicBezTo>
                  <a:cubicBezTo>
                    <a:pt x="40" y="67"/>
                    <a:pt x="41" y="64"/>
                    <a:pt x="43" y="62"/>
                  </a:cubicBezTo>
                  <a:cubicBezTo>
                    <a:pt x="44" y="61"/>
                    <a:pt x="43" y="60"/>
                    <a:pt x="43" y="59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2"/>
                    <a:pt x="40" y="51"/>
                    <a:pt x="41" y="49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5"/>
                    <a:pt x="50" y="55"/>
                    <a:pt x="51" y="54"/>
                  </a:cubicBezTo>
                  <a:cubicBezTo>
                    <a:pt x="53" y="53"/>
                    <a:pt x="56" y="52"/>
                    <a:pt x="59" y="51"/>
                  </a:cubicBezTo>
                  <a:cubicBezTo>
                    <a:pt x="60" y="51"/>
                    <a:pt x="60" y="50"/>
                    <a:pt x="60" y="49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4" y="41"/>
                  </a:cubicBezTo>
                  <a:cubicBezTo>
                    <a:pt x="65" y="41"/>
                    <a:pt x="66" y="41"/>
                    <a:pt x="66" y="41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50"/>
                    <a:pt x="68" y="51"/>
                    <a:pt x="69" y="51"/>
                  </a:cubicBezTo>
                  <a:cubicBezTo>
                    <a:pt x="72" y="52"/>
                    <a:pt x="75" y="53"/>
                    <a:pt x="77" y="54"/>
                  </a:cubicBezTo>
                  <a:cubicBezTo>
                    <a:pt x="78" y="55"/>
                    <a:pt x="79" y="55"/>
                    <a:pt x="80" y="54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51"/>
                    <a:pt x="89" y="52"/>
                    <a:pt x="90" y="53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60"/>
                    <a:pt x="84" y="61"/>
                    <a:pt x="85" y="62"/>
                  </a:cubicBezTo>
                  <a:cubicBezTo>
                    <a:pt x="86" y="64"/>
                    <a:pt x="88" y="67"/>
                    <a:pt x="88" y="70"/>
                  </a:cubicBezTo>
                  <a:cubicBezTo>
                    <a:pt x="88" y="71"/>
                    <a:pt x="89" y="71"/>
                    <a:pt x="90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4"/>
                    <a:pt x="98" y="74"/>
                    <a:pt x="98" y="75"/>
                  </a:cubicBezTo>
                  <a:cubicBezTo>
                    <a:pt x="98" y="76"/>
                    <a:pt x="98" y="77"/>
                    <a:pt x="98" y="78"/>
                  </a:cubicBezTo>
                  <a:moveTo>
                    <a:pt x="114" y="35"/>
                  </a:moveTo>
                  <a:cubicBezTo>
                    <a:pt x="115" y="34"/>
                    <a:pt x="115" y="33"/>
                    <a:pt x="115" y="32"/>
                  </a:cubicBezTo>
                  <a:cubicBezTo>
                    <a:pt x="115" y="14"/>
                    <a:pt x="100" y="0"/>
                    <a:pt x="82" y="0"/>
                  </a:cubicBezTo>
                  <a:cubicBezTo>
                    <a:pt x="68" y="0"/>
                    <a:pt x="55" y="10"/>
                    <a:pt x="52" y="23"/>
                  </a:cubicBezTo>
                  <a:cubicBezTo>
                    <a:pt x="48" y="22"/>
                    <a:pt x="45" y="21"/>
                    <a:pt x="41" y="21"/>
                  </a:cubicBezTo>
                  <a:cubicBezTo>
                    <a:pt x="28" y="21"/>
                    <a:pt x="18" y="31"/>
                    <a:pt x="18" y="43"/>
                  </a:cubicBezTo>
                  <a:cubicBezTo>
                    <a:pt x="18" y="44"/>
                    <a:pt x="18" y="45"/>
                    <a:pt x="18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8" y="46"/>
                    <a:pt x="0" y="54"/>
                    <a:pt x="0" y="64"/>
                  </a:cubicBezTo>
                  <a:cubicBezTo>
                    <a:pt x="0" y="74"/>
                    <a:pt x="8" y="82"/>
                    <a:pt x="18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5"/>
                    <a:pt x="37" y="87"/>
                    <a:pt x="38" y="89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7"/>
                    <a:pt x="33" y="98"/>
                    <a:pt x="33" y="99"/>
                  </a:cubicBezTo>
                  <a:cubicBezTo>
                    <a:pt x="35" y="101"/>
                    <a:pt x="37" y="104"/>
                    <a:pt x="40" y="106"/>
                  </a:cubicBezTo>
                  <a:cubicBezTo>
                    <a:pt x="41" y="106"/>
                    <a:pt x="42" y="106"/>
                    <a:pt x="43" y="106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2" y="102"/>
                    <a:pt x="54" y="103"/>
                    <a:pt x="56" y="103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3"/>
                    <a:pt x="58" y="113"/>
                    <a:pt x="59" y="113"/>
                  </a:cubicBezTo>
                  <a:cubicBezTo>
                    <a:pt x="61" y="114"/>
                    <a:pt x="62" y="114"/>
                    <a:pt x="64" y="114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6" y="114"/>
                    <a:pt x="67" y="114"/>
                    <a:pt x="69" y="113"/>
                  </a:cubicBezTo>
                  <a:cubicBezTo>
                    <a:pt x="70" y="113"/>
                    <a:pt x="71" y="113"/>
                    <a:pt x="71" y="112"/>
                  </a:cubicBezTo>
                  <a:cubicBezTo>
                    <a:pt x="72" y="103"/>
                    <a:pt x="72" y="103"/>
                    <a:pt x="72" y="103"/>
                  </a:cubicBezTo>
                  <a:cubicBezTo>
                    <a:pt x="74" y="103"/>
                    <a:pt x="76" y="102"/>
                    <a:pt x="78" y="101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6" y="106"/>
                    <a:pt x="87" y="106"/>
                    <a:pt x="88" y="106"/>
                  </a:cubicBezTo>
                  <a:cubicBezTo>
                    <a:pt x="91" y="104"/>
                    <a:pt x="93" y="101"/>
                    <a:pt x="95" y="99"/>
                  </a:cubicBezTo>
                  <a:cubicBezTo>
                    <a:pt x="95" y="98"/>
                    <a:pt x="95" y="97"/>
                    <a:pt x="95" y="96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1" y="87"/>
                    <a:pt x="92" y="85"/>
                    <a:pt x="92" y="83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17" y="82"/>
                    <a:pt x="128" y="71"/>
                    <a:pt x="128" y="57"/>
                  </a:cubicBezTo>
                  <a:cubicBezTo>
                    <a:pt x="128" y="47"/>
                    <a:pt x="123" y="39"/>
                    <a:pt x="114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26911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1F4FD7-AAEF-4A70-BE67-13227B564F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417705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ouch I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puter to Compu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to Compu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sktop to Laptop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oud to Lapto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bile Hot Spo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bile to Mobi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tract Administratio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nline Docu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wnload Docu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pprove Docume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dit Docu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arch Docu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rite Docu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ail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cument Dat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e Tea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larm Clo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op Watc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AEA577F5-08B1-4361-8C99-7616FAD3A3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19226" y="292895"/>
            <a:ext cx="758825" cy="760412"/>
            <a:chOff x="967" y="339"/>
            <a:chExt cx="478" cy="479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1F385269-D887-4530-8257-EEE9033539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7" y="339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11F21D9-136F-416F-82ED-330337AF34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" y="341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D873CD5-D90F-4F61-A775-D9A7D9D86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" y="427"/>
              <a:ext cx="294" cy="305"/>
            </a:xfrm>
            <a:custGeom>
              <a:avLst/>
              <a:gdLst>
                <a:gd name="T0" fmla="*/ 120 w 120"/>
                <a:gd name="T1" fmla="*/ 68 h 124"/>
                <a:gd name="T2" fmla="*/ 114 w 120"/>
                <a:gd name="T3" fmla="*/ 68 h 124"/>
                <a:gd name="T4" fmla="*/ 114 w 120"/>
                <a:gd name="T5" fmla="*/ 77 h 124"/>
                <a:gd name="T6" fmla="*/ 117 w 120"/>
                <a:gd name="T7" fmla="*/ 80 h 124"/>
                <a:gd name="T8" fmla="*/ 120 w 120"/>
                <a:gd name="T9" fmla="*/ 71 h 124"/>
                <a:gd name="T10" fmla="*/ 82 w 120"/>
                <a:gd name="T11" fmla="*/ 76 h 124"/>
                <a:gd name="T12" fmla="*/ 71 w 120"/>
                <a:gd name="T13" fmla="*/ 119 h 124"/>
                <a:gd name="T14" fmla="*/ 73 w 120"/>
                <a:gd name="T15" fmla="*/ 123 h 124"/>
                <a:gd name="T16" fmla="*/ 84 w 120"/>
                <a:gd name="T17" fmla="*/ 79 h 124"/>
                <a:gd name="T18" fmla="*/ 63 w 120"/>
                <a:gd name="T19" fmla="*/ 63 h 124"/>
                <a:gd name="T20" fmla="*/ 57 w 120"/>
                <a:gd name="T21" fmla="*/ 63 h 124"/>
                <a:gd name="T22" fmla="*/ 56 w 120"/>
                <a:gd name="T23" fmla="*/ 99 h 124"/>
                <a:gd name="T24" fmla="*/ 48 w 120"/>
                <a:gd name="T25" fmla="*/ 123 h 124"/>
                <a:gd name="T26" fmla="*/ 52 w 120"/>
                <a:gd name="T27" fmla="*/ 123 h 124"/>
                <a:gd name="T28" fmla="*/ 63 w 120"/>
                <a:gd name="T29" fmla="*/ 66 h 124"/>
                <a:gd name="T30" fmla="*/ 60 w 120"/>
                <a:gd name="T31" fmla="*/ 35 h 124"/>
                <a:gd name="T32" fmla="*/ 36 w 120"/>
                <a:gd name="T33" fmla="*/ 60 h 124"/>
                <a:gd name="T34" fmla="*/ 27 w 120"/>
                <a:gd name="T35" fmla="*/ 112 h 124"/>
                <a:gd name="T36" fmla="*/ 29 w 120"/>
                <a:gd name="T37" fmla="*/ 117 h 124"/>
                <a:gd name="T38" fmla="*/ 40 w 120"/>
                <a:gd name="T39" fmla="*/ 92 h 124"/>
                <a:gd name="T40" fmla="*/ 44 w 120"/>
                <a:gd name="T41" fmla="*/ 52 h 124"/>
                <a:gd name="T42" fmla="*/ 79 w 120"/>
                <a:gd name="T43" fmla="*/ 60 h 124"/>
                <a:gd name="T44" fmla="*/ 84 w 120"/>
                <a:gd name="T45" fmla="*/ 60 h 124"/>
                <a:gd name="T46" fmla="*/ 87 w 120"/>
                <a:gd name="T47" fmla="*/ 26 h 124"/>
                <a:gd name="T48" fmla="*/ 18 w 120"/>
                <a:gd name="T49" fmla="*/ 60 h 124"/>
                <a:gd name="T50" fmla="*/ 13 w 120"/>
                <a:gd name="T51" fmla="*/ 102 h 124"/>
                <a:gd name="T52" fmla="*/ 18 w 120"/>
                <a:gd name="T53" fmla="*/ 105 h 124"/>
                <a:gd name="T54" fmla="*/ 23 w 120"/>
                <a:gd name="T55" fmla="*/ 60 h 124"/>
                <a:gd name="T56" fmla="*/ 97 w 120"/>
                <a:gd name="T57" fmla="*/ 52 h 124"/>
                <a:gd name="T58" fmla="*/ 93 w 120"/>
                <a:gd name="T59" fmla="*/ 109 h 124"/>
                <a:gd name="T60" fmla="*/ 96 w 120"/>
                <a:gd name="T61" fmla="*/ 113 h 124"/>
                <a:gd name="T62" fmla="*/ 104 w 120"/>
                <a:gd name="T63" fmla="*/ 82 h 124"/>
                <a:gd name="T64" fmla="*/ 87 w 120"/>
                <a:gd name="T65" fmla="*/ 26 h 124"/>
                <a:gd name="T66" fmla="*/ 118 w 120"/>
                <a:gd name="T67" fmla="*/ 48 h 124"/>
                <a:gd name="T68" fmla="*/ 60 w 120"/>
                <a:gd name="T69" fmla="*/ 0 h 124"/>
                <a:gd name="T70" fmla="*/ 1 w 120"/>
                <a:gd name="T71" fmla="*/ 67 h 124"/>
                <a:gd name="T72" fmla="*/ 2 w 120"/>
                <a:gd name="T73" fmla="*/ 88 h 124"/>
                <a:gd name="T74" fmla="*/ 6 w 120"/>
                <a:gd name="T75" fmla="*/ 87 h 124"/>
                <a:gd name="T76" fmla="*/ 7 w 120"/>
                <a:gd name="T77" fmla="*/ 60 h 124"/>
                <a:gd name="T78" fmla="*/ 113 w 120"/>
                <a:gd name="T79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0" h="124">
                  <a:moveTo>
                    <a:pt x="120" y="71"/>
                  </a:moveTo>
                  <a:cubicBezTo>
                    <a:pt x="120" y="70"/>
                    <a:pt x="120" y="69"/>
                    <a:pt x="120" y="68"/>
                  </a:cubicBezTo>
                  <a:cubicBezTo>
                    <a:pt x="120" y="67"/>
                    <a:pt x="119" y="66"/>
                    <a:pt x="117" y="66"/>
                  </a:cubicBezTo>
                  <a:cubicBezTo>
                    <a:pt x="115" y="66"/>
                    <a:pt x="114" y="67"/>
                    <a:pt x="114" y="68"/>
                  </a:cubicBezTo>
                  <a:cubicBezTo>
                    <a:pt x="114" y="69"/>
                    <a:pt x="114" y="71"/>
                    <a:pt x="114" y="72"/>
                  </a:cubicBezTo>
                  <a:cubicBezTo>
                    <a:pt x="114" y="73"/>
                    <a:pt x="114" y="75"/>
                    <a:pt x="114" y="77"/>
                  </a:cubicBezTo>
                  <a:cubicBezTo>
                    <a:pt x="114" y="79"/>
                    <a:pt x="115" y="80"/>
                    <a:pt x="117" y="80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18" y="80"/>
                    <a:pt x="120" y="79"/>
                    <a:pt x="120" y="78"/>
                  </a:cubicBezTo>
                  <a:cubicBezTo>
                    <a:pt x="120" y="75"/>
                    <a:pt x="120" y="73"/>
                    <a:pt x="120" y="71"/>
                  </a:cubicBezTo>
                  <a:moveTo>
                    <a:pt x="82" y="76"/>
                  </a:moveTo>
                  <a:cubicBezTo>
                    <a:pt x="82" y="76"/>
                    <a:pt x="82" y="76"/>
                    <a:pt x="82" y="76"/>
                  </a:cubicBezTo>
                  <a:cubicBezTo>
                    <a:pt x="80" y="76"/>
                    <a:pt x="79" y="77"/>
                    <a:pt x="79" y="79"/>
                  </a:cubicBezTo>
                  <a:cubicBezTo>
                    <a:pt x="79" y="98"/>
                    <a:pt x="75" y="113"/>
                    <a:pt x="71" y="119"/>
                  </a:cubicBezTo>
                  <a:cubicBezTo>
                    <a:pt x="70" y="120"/>
                    <a:pt x="70" y="122"/>
                    <a:pt x="72" y="123"/>
                  </a:cubicBezTo>
                  <a:cubicBezTo>
                    <a:pt x="72" y="123"/>
                    <a:pt x="73" y="123"/>
                    <a:pt x="73" y="123"/>
                  </a:cubicBezTo>
                  <a:cubicBezTo>
                    <a:pt x="74" y="123"/>
                    <a:pt x="75" y="123"/>
                    <a:pt x="76" y="122"/>
                  </a:cubicBezTo>
                  <a:cubicBezTo>
                    <a:pt x="80" y="115"/>
                    <a:pt x="85" y="99"/>
                    <a:pt x="84" y="79"/>
                  </a:cubicBezTo>
                  <a:cubicBezTo>
                    <a:pt x="84" y="77"/>
                    <a:pt x="83" y="76"/>
                    <a:pt x="82" y="76"/>
                  </a:cubicBezTo>
                  <a:moveTo>
                    <a:pt x="63" y="63"/>
                  </a:moveTo>
                  <a:cubicBezTo>
                    <a:pt x="63" y="62"/>
                    <a:pt x="62" y="60"/>
                    <a:pt x="60" y="60"/>
                  </a:cubicBezTo>
                  <a:cubicBezTo>
                    <a:pt x="59" y="60"/>
                    <a:pt x="57" y="62"/>
                    <a:pt x="57" y="63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82"/>
                    <a:pt x="57" y="91"/>
                    <a:pt x="56" y="99"/>
                  </a:cubicBezTo>
                  <a:cubicBezTo>
                    <a:pt x="54" y="108"/>
                    <a:pt x="51" y="115"/>
                    <a:pt x="48" y="119"/>
                  </a:cubicBezTo>
                  <a:cubicBezTo>
                    <a:pt x="47" y="120"/>
                    <a:pt x="47" y="122"/>
                    <a:pt x="48" y="123"/>
                  </a:cubicBezTo>
                  <a:cubicBezTo>
                    <a:pt x="49" y="124"/>
                    <a:pt x="49" y="124"/>
                    <a:pt x="50" y="124"/>
                  </a:cubicBezTo>
                  <a:cubicBezTo>
                    <a:pt x="51" y="124"/>
                    <a:pt x="52" y="123"/>
                    <a:pt x="52" y="123"/>
                  </a:cubicBezTo>
                  <a:cubicBezTo>
                    <a:pt x="56" y="118"/>
                    <a:pt x="59" y="110"/>
                    <a:pt x="61" y="100"/>
                  </a:cubicBezTo>
                  <a:cubicBezTo>
                    <a:pt x="63" y="92"/>
                    <a:pt x="63" y="82"/>
                    <a:pt x="63" y="66"/>
                  </a:cubicBezTo>
                  <a:lnTo>
                    <a:pt x="63" y="63"/>
                  </a:lnTo>
                  <a:close/>
                  <a:moveTo>
                    <a:pt x="60" y="35"/>
                  </a:moveTo>
                  <a:cubicBezTo>
                    <a:pt x="51" y="35"/>
                    <a:pt x="42" y="41"/>
                    <a:pt x="38" y="50"/>
                  </a:cubicBezTo>
                  <a:cubicBezTo>
                    <a:pt x="37" y="53"/>
                    <a:pt x="37" y="56"/>
                    <a:pt x="36" y="60"/>
                  </a:cubicBezTo>
                  <a:cubicBezTo>
                    <a:pt x="36" y="73"/>
                    <a:pt x="36" y="83"/>
                    <a:pt x="35" y="91"/>
                  </a:cubicBezTo>
                  <a:cubicBezTo>
                    <a:pt x="33" y="101"/>
                    <a:pt x="31" y="108"/>
                    <a:pt x="27" y="112"/>
                  </a:cubicBezTo>
                  <a:cubicBezTo>
                    <a:pt x="26" y="113"/>
                    <a:pt x="26" y="115"/>
                    <a:pt x="28" y="116"/>
                  </a:cubicBezTo>
                  <a:cubicBezTo>
                    <a:pt x="28" y="116"/>
                    <a:pt x="29" y="117"/>
                    <a:pt x="29" y="117"/>
                  </a:cubicBezTo>
                  <a:cubicBezTo>
                    <a:pt x="30" y="117"/>
                    <a:pt x="31" y="116"/>
                    <a:pt x="32" y="116"/>
                  </a:cubicBezTo>
                  <a:cubicBezTo>
                    <a:pt x="36" y="110"/>
                    <a:pt x="39" y="103"/>
                    <a:pt x="40" y="92"/>
                  </a:cubicBezTo>
                  <a:cubicBezTo>
                    <a:pt x="41" y="84"/>
                    <a:pt x="42" y="73"/>
                    <a:pt x="42" y="60"/>
                  </a:cubicBezTo>
                  <a:cubicBezTo>
                    <a:pt x="42" y="57"/>
                    <a:pt x="43" y="54"/>
                    <a:pt x="44" y="52"/>
                  </a:cubicBezTo>
                  <a:cubicBezTo>
                    <a:pt x="46" y="45"/>
                    <a:pt x="53" y="41"/>
                    <a:pt x="60" y="41"/>
                  </a:cubicBezTo>
                  <a:cubicBezTo>
                    <a:pt x="71" y="41"/>
                    <a:pt x="79" y="49"/>
                    <a:pt x="79" y="60"/>
                  </a:cubicBezTo>
                  <a:cubicBezTo>
                    <a:pt x="79" y="61"/>
                    <a:pt x="80" y="62"/>
                    <a:pt x="82" y="62"/>
                  </a:cubicBezTo>
                  <a:cubicBezTo>
                    <a:pt x="83" y="62"/>
                    <a:pt x="84" y="61"/>
                    <a:pt x="84" y="60"/>
                  </a:cubicBezTo>
                  <a:cubicBezTo>
                    <a:pt x="84" y="46"/>
                    <a:pt x="74" y="35"/>
                    <a:pt x="60" y="35"/>
                  </a:cubicBezTo>
                  <a:moveTo>
                    <a:pt x="87" y="26"/>
                  </a:moveTo>
                  <a:cubicBezTo>
                    <a:pt x="80" y="20"/>
                    <a:pt x="70" y="17"/>
                    <a:pt x="60" y="17"/>
                  </a:cubicBezTo>
                  <a:cubicBezTo>
                    <a:pt x="37" y="17"/>
                    <a:pt x="18" y="36"/>
                    <a:pt x="18" y="60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90"/>
                    <a:pt x="17" y="97"/>
                    <a:pt x="13" y="102"/>
                  </a:cubicBezTo>
                  <a:cubicBezTo>
                    <a:pt x="12" y="103"/>
                    <a:pt x="13" y="105"/>
                    <a:pt x="14" y="106"/>
                  </a:cubicBezTo>
                  <a:cubicBezTo>
                    <a:pt x="15" y="106"/>
                    <a:pt x="17" y="106"/>
                    <a:pt x="18" y="105"/>
                  </a:cubicBezTo>
                  <a:cubicBezTo>
                    <a:pt x="23" y="98"/>
                    <a:pt x="23" y="89"/>
                    <a:pt x="23" y="81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3" y="39"/>
                    <a:pt x="40" y="22"/>
                    <a:pt x="60" y="22"/>
                  </a:cubicBezTo>
                  <a:cubicBezTo>
                    <a:pt x="78" y="22"/>
                    <a:pt x="93" y="35"/>
                    <a:pt x="97" y="52"/>
                  </a:cubicBezTo>
                  <a:cubicBezTo>
                    <a:pt x="99" y="61"/>
                    <a:pt x="98" y="76"/>
                    <a:pt x="98" y="82"/>
                  </a:cubicBezTo>
                  <a:cubicBezTo>
                    <a:pt x="97" y="91"/>
                    <a:pt x="96" y="102"/>
                    <a:pt x="93" y="109"/>
                  </a:cubicBezTo>
                  <a:cubicBezTo>
                    <a:pt x="93" y="110"/>
                    <a:pt x="93" y="112"/>
                    <a:pt x="95" y="113"/>
                  </a:cubicBezTo>
                  <a:cubicBezTo>
                    <a:pt x="95" y="113"/>
                    <a:pt x="96" y="113"/>
                    <a:pt x="96" y="113"/>
                  </a:cubicBezTo>
                  <a:cubicBezTo>
                    <a:pt x="97" y="113"/>
                    <a:pt x="98" y="112"/>
                    <a:pt x="98" y="111"/>
                  </a:cubicBezTo>
                  <a:cubicBezTo>
                    <a:pt x="102" y="103"/>
                    <a:pt x="103" y="91"/>
                    <a:pt x="104" y="82"/>
                  </a:cubicBezTo>
                  <a:cubicBezTo>
                    <a:pt x="104" y="76"/>
                    <a:pt x="104" y="60"/>
                    <a:pt x="102" y="51"/>
                  </a:cubicBezTo>
                  <a:cubicBezTo>
                    <a:pt x="100" y="41"/>
                    <a:pt x="95" y="33"/>
                    <a:pt x="87" y="26"/>
                  </a:cubicBezTo>
                  <a:moveTo>
                    <a:pt x="116" y="51"/>
                  </a:moveTo>
                  <a:cubicBezTo>
                    <a:pt x="118" y="51"/>
                    <a:pt x="119" y="49"/>
                    <a:pt x="118" y="48"/>
                  </a:cubicBezTo>
                  <a:cubicBezTo>
                    <a:pt x="116" y="34"/>
                    <a:pt x="109" y="22"/>
                    <a:pt x="98" y="14"/>
                  </a:cubicBezTo>
                  <a:cubicBezTo>
                    <a:pt x="87" y="5"/>
                    <a:pt x="74" y="0"/>
                    <a:pt x="60" y="0"/>
                  </a:cubicBezTo>
                  <a:cubicBezTo>
                    <a:pt x="28" y="0"/>
                    <a:pt x="1" y="27"/>
                    <a:pt x="1" y="60"/>
                  </a:cubicBezTo>
                  <a:cubicBezTo>
                    <a:pt x="1" y="62"/>
                    <a:pt x="1" y="64"/>
                    <a:pt x="1" y="67"/>
                  </a:cubicBezTo>
                  <a:cubicBezTo>
                    <a:pt x="1" y="74"/>
                    <a:pt x="2" y="81"/>
                    <a:pt x="0" y="85"/>
                  </a:cubicBezTo>
                  <a:cubicBezTo>
                    <a:pt x="0" y="86"/>
                    <a:pt x="0" y="88"/>
                    <a:pt x="2" y="88"/>
                  </a:cubicBezTo>
                  <a:cubicBezTo>
                    <a:pt x="2" y="88"/>
                    <a:pt x="3" y="89"/>
                    <a:pt x="3" y="89"/>
                  </a:cubicBezTo>
                  <a:cubicBezTo>
                    <a:pt x="4" y="89"/>
                    <a:pt x="5" y="88"/>
                    <a:pt x="6" y="87"/>
                  </a:cubicBezTo>
                  <a:cubicBezTo>
                    <a:pt x="7" y="82"/>
                    <a:pt x="7" y="75"/>
                    <a:pt x="7" y="67"/>
                  </a:cubicBezTo>
                  <a:cubicBezTo>
                    <a:pt x="7" y="64"/>
                    <a:pt x="7" y="62"/>
                    <a:pt x="7" y="60"/>
                  </a:cubicBezTo>
                  <a:cubicBezTo>
                    <a:pt x="7" y="30"/>
                    <a:pt x="31" y="6"/>
                    <a:pt x="60" y="6"/>
                  </a:cubicBezTo>
                  <a:cubicBezTo>
                    <a:pt x="86" y="6"/>
                    <a:pt x="108" y="24"/>
                    <a:pt x="113" y="49"/>
                  </a:cubicBezTo>
                  <a:cubicBezTo>
                    <a:pt x="113" y="50"/>
                    <a:pt x="115" y="51"/>
                    <a:pt x="116" y="5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" name="Group 9">
            <a:extLst>
              <a:ext uri="{FF2B5EF4-FFF2-40B4-BE49-F238E27FC236}">
                <a16:creationId xmlns:a16="http://schemas.microsoft.com/office/drawing/2014/main" id="{55955530-6E9D-4ACE-8B42-5608C65208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252414"/>
            <a:ext cx="841375" cy="841375"/>
            <a:chOff x="176" y="189"/>
            <a:chExt cx="530" cy="530"/>
          </a:xfrm>
        </p:grpSpPr>
        <p:sp>
          <p:nvSpPr>
            <p:cNvPr id="12" name="AutoShape 8">
              <a:extLst>
                <a:ext uri="{FF2B5EF4-FFF2-40B4-BE49-F238E27FC236}">
                  <a16:creationId xmlns:a16="http://schemas.microsoft.com/office/drawing/2014/main" id="{B4683840-04C3-4A13-9A5B-73852EE3D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6" y="18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92EED23B-F88A-4705-B071-4A091B1BE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" y="18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0D2D8FD-4455-4AD0-B04F-91E25B0871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" y="20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3C77FB39-FEB4-4E40-AD41-A08D10D4DF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" y="296"/>
              <a:ext cx="307" cy="318"/>
            </a:xfrm>
            <a:custGeom>
              <a:avLst/>
              <a:gdLst>
                <a:gd name="T0" fmla="*/ 120 w 120"/>
                <a:gd name="T1" fmla="*/ 68 h 124"/>
                <a:gd name="T2" fmla="*/ 114 w 120"/>
                <a:gd name="T3" fmla="*/ 68 h 124"/>
                <a:gd name="T4" fmla="*/ 114 w 120"/>
                <a:gd name="T5" fmla="*/ 77 h 124"/>
                <a:gd name="T6" fmla="*/ 117 w 120"/>
                <a:gd name="T7" fmla="*/ 80 h 124"/>
                <a:gd name="T8" fmla="*/ 120 w 120"/>
                <a:gd name="T9" fmla="*/ 71 h 124"/>
                <a:gd name="T10" fmla="*/ 82 w 120"/>
                <a:gd name="T11" fmla="*/ 76 h 124"/>
                <a:gd name="T12" fmla="*/ 71 w 120"/>
                <a:gd name="T13" fmla="*/ 119 h 124"/>
                <a:gd name="T14" fmla="*/ 73 w 120"/>
                <a:gd name="T15" fmla="*/ 123 h 124"/>
                <a:gd name="T16" fmla="*/ 84 w 120"/>
                <a:gd name="T17" fmla="*/ 79 h 124"/>
                <a:gd name="T18" fmla="*/ 63 w 120"/>
                <a:gd name="T19" fmla="*/ 63 h 124"/>
                <a:gd name="T20" fmla="*/ 57 w 120"/>
                <a:gd name="T21" fmla="*/ 63 h 124"/>
                <a:gd name="T22" fmla="*/ 56 w 120"/>
                <a:gd name="T23" fmla="*/ 99 h 124"/>
                <a:gd name="T24" fmla="*/ 48 w 120"/>
                <a:gd name="T25" fmla="*/ 123 h 124"/>
                <a:gd name="T26" fmla="*/ 52 w 120"/>
                <a:gd name="T27" fmla="*/ 123 h 124"/>
                <a:gd name="T28" fmla="*/ 63 w 120"/>
                <a:gd name="T29" fmla="*/ 66 h 124"/>
                <a:gd name="T30" fmla="*/ 60 w 120"/>
                <a:gd name="T31" fmla="*/ 35 h 124"/>
                <a:gd name="T32" fmla="*/ 36 w 120"/>
                <a:gd name="T33" fmla="*/ 60 h 124"/>
                <a:gd name="T34" fmla="*/ 27 w 120"/>
                <a:gd name="T35" fmla="*/ 112 h 124"/>
                <a:gd name="T36" fmla="*/ 29 w 120"/>
                <a:gd name="T37" fmla="*/ 117 h 124"/>
                <a:gd name="T38" fmla="*/ 40 w 120"/>
                <a:gd name="T39" fmla="*/ 92 h 124"/>
                <a:gd name="T40" fmla="*/ 44 w 120"/>
                <a:gd name="T41" fmla="*/ 52 h 124"/>
                <a:gd name="T42" fmla="*/ 79 w 120"/>
                <a:gd name="T43" fmla="*/ 60 h 124"/>
                <a:gd name="T44" fmla="*/ 84 w 120"/>
                <a:gd name="T45" fmla="*/ 60 h 124"/>
                <a:gd name="T46" fmla="*/ 87 w 120"/>
                <a:gd name="T47" fmla="*/ 26 h 124"/>
                <a:gd name="T48" fmla="*/ 18 w 120"/>
                <a:gd name="T49" fmla="*/ 60 h 124"/>
                <a:gd name="T50" fmla="*/ 13 w 120"/>
                <a:gd name="T51" fmla="*/ 102 h 124"/>
                <a:gd name="T52" fmla="*/ 18 w 120"/>
                <a:gd name="T53" fmla="*/ 105 h 124"/>
                <a:gd name="T54" fmla="*/ 23 w 120"/>
                <a:gd name="T55" fmla="*/ 60 h 124"/>
                <a:gd name="T56" fmla="*/ 97 w 120"/>
                <a:gd name="T57" fmla="*/ 52 h 124"/>
                <a:gd name="T58" fmla="*/ 93 w 120"/>
                <a:gd name="T59" fmla="*/ 109 h 124"/>
                <a:gd name="T60" fmla="*/ 96 w 120"/>
                <a:gd name="T61" fmla="*/ 113 h 124"/>
                <a:gd name="T62" fmla="*/ 104 w 120"/>
                <a:gd name="T63" fmla="*/ 82 h 124"/>
                <a:gd name="T64" fmla="*/ 87 w 120"/>
                <a:gd name="T65" fmla="*/ 26 h 124"/>
                <a:gd name="T66" fmla="*/ 118 w 120"/>
                <a:gd name="T67" fmla="*/ 48 h 124"/>
                <a:gd name="T68" fmla="*/ 60 w 120"/>
                <a:gd name="T69" fmla="*/ 0 h 124"/>
                <a:gd name="T70" fmla="*/ 1 w 120"/>
                <a:gd name="T71" fmla="*/ 67 h 124"/>
                <a:gd name="T72" fmla="*/ 2 w 120"/>
                <a:gd name="T73" fmla="*/ 88 h 124"/>
                <a:gd name="T74" fmla="*/ 6 w 120"/>
                <a:gd name="T75" fmla="*/ 87 h 124"/>
                <a:gd name="T76" fmla="*/ 7 w 120"/>
                <a:gd name="T77" fmla="*/ 60 h 124"/>
                <a:gd name="T78" fmla="*/ 113 w 120"/>
                <a:gd name="T79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0" h="124">
                  <a:moveTo>
                    <a:pt x="120" y="71"/>
                  </a:moveTo>
                  <a:cubicBezTo>
                    <a:pt x="120" y="70"/>
                    <a:pt x="120" y="69"/>
                    <a:pt x="120" y="68"/>
                  </a:cubicBezTo>
                  <a:cubicBezTo>
                    <a:pt x="120" y="67"/>
                    <a:pt x="119" y="66"/>
                    <a:pt x="117" y="66"/>
                  </a:cubicBezTo>
                  <a:cubicBezTo>
                    <a:pt x="115" y="66"/>
                    <a:pt x="114" y="67"/>
                    <a:pt x="114" y="68"/>
                  </a:cubicBezTo>
                  <a:cubicBezTo>
                    <a:pt x="114" y="69"/>
                    <a:pt x="114" y="71"/>
                    <a:pt x="114" y="72"/>
                  </a:cubicBezTo>
                  <a:cubicBezTo>
                    <a:pt x="114" y="73"/>
                    <a:pt x="114" y="75"/>
                    <a:pt x="114" y="77"/>
                  </a:cubicBezTo>
                  <a:cubicBezTo>
                    <a:pt x="114" y="79"/>
                    <a:pt x="115" y="80"/>
                    <a:pt x="117" y="80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18" y="80"/>
                    <a:pt x="120" y="79"/>
                    <a:pt x="120" y="78"/>
                  </a:cubicBezTo>
                  <a:cubicBezTo>
                    <a:pt x="120" y="75"/>
                    <a:pt x="120" y="73"/>
                    <a:pt x="120" y="71"/>
                  </a:cubicBezTo>
                  <a:moveTo>
                    <a:pt x="82" y="76"/>
                  </a:moveTo>
                  <a:cubicBezTo>
                    <a:pt x="82" y="76"/>
                    <a:pt x="82" y="76"/>
                    <a:pt x="82" y="76"/>
                  </a:cubicBezTo>
                  <a:cubicBezTo>
                    <a:pt x="80" y="76"/>
                    <a:pt x="79" y="77"/>
                    <a:pt x="79" y="79"/>
                  </a:cubicBezTo>
                  <a:cubicBezTo>
                    <a:pt x="79" y="98"/>
                    <a:pt x="75" y="113"/>
                    <a:pt x="71" y="119"/>
                  </a:cubicBezTo>
                  <a:cubicBezTo>
                    <a:pt x="70" y="120"/>
                    <a:pt x="70" y="122"/>
                    <a:pt x="72" y="123"/>
                  </a:cubicBezTo>
                  <a:cubicBezTo>
                    <a:pt x="72" y="123"/>
                    <a:pt x="73" y="123"/>
                    <a:pt x="73" y="123"/>
                  </a:cubicBezTo>
                  <a:cubicBezTo>
                    <a:pt x="74" y="123"/>
                    <a:pt x="75" y="123"/>
                    <a:pt x="76" y="122"/>
                  </a:cubicBezTo>
                  <a:cubicBezTo>
                    <a:pt x="80" y="115"/>
                    <a:pt x="85" y="99"/>
                    <a:pt x="84" y="79"/>
                  </a:cubicBezTo>
                  <a:cubicBezTo>
                    <a:pt x="84" y="77"/>
                    <a:pt x="83" y="76"/>
                    <a:pt x="82" y="76"/>
                  </a:cubicBezTo>
                  <a:moveTo>
                    <a:pt x="63" y="63"/>
                  </a:moveTo>
                  <a:cubicBezTo>
                    <a:pt x="63" y="62"/>
                    <a:pt x="62" y="60"/>
                    <a:pt x="60" y="60"/>
                  </a:cubicBezTo>
                  <a:cubicBezTo>
                    <a:pt x="59" y="60"/>
                    <a:pt x="57" y="62"/>
                    <a:pt x="57" y="63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82"/>
                    <a:pt x="57" y="91"/>
                    <a:pt x="56" y="99"/>
                  </a:cubicBezTo>
                  <a:cubicBezTo>
                    <a:pt x="54" y="108"/>
                    <a:pt x="51" y="115"/>
                    <a:pt x="48" y="119"/>
                  </a:cubicBezTo>
                  <a:cubicBezTo>
                    <a:pt x="47" y="120"/>
                    <a:pt x="47" y="122"/>
                    <a:pt x="48" y="123"/>
                  </a:cubicBezTo>
                  <a:cubicBezTo>
                    <a:pt x="49" y="124"/>
                    <a:pt x="49" y="124"/>
                    <a:pt x="50" y="124"/>
                  </a:cubicBezTo>
                  <a:cubicBezTo>
                    <a:pt x="51" y="124"/>
                    <a:pt x="52" y="123"/>
                    <a:pt x="52" y="123"/>
                  </a:cubicBezTo>
                  <a:cubicBezTo>
                    <a:pt x="56" y="118"/>
                    <a:pt x="59" y="110"/>
                    <a:pt x="61" y="100"/>
                  </a:cubicBezTo>
                  <a:cubicBezTo>
                    <a:pt x="63" y="92"/>
                    <a:pt x="63" y="82"/>
                    <a:pt x="63" y="66"/>
                  </a:cubicBezTo>
                  <a:lnTo>
                    <a:pt x="63" y="63"/>
                  </a:lnTo>
                  <a:close/>
                  <a:moveTo>
                    <a:pt x="60" y="35"/>
                  </a:moveTo>
                  <a:cubicBezTo>
                    <a:pt x="51" y="35"/>
                    <a:pt x="42" y="41"/>
                    <a:pt x="38" y="50"/>
                  </a:cubicBezTo>
                  <a:cubicBezTo>
                    <a:pt x="37" y="53"/>
                    <a:pt x="37" y="56"/>
                    <a:pt x="36" y="60"/>
                  </a:cubicBezTo>
                  <a:cubicBezTo>
                    <a:pt x="36" y="73"/>
                    <a:pt x="36" y="83"/>
                    <a:pt x="35" y="91"/>
                  </a:cubicBezTo>
                  <a:cubicBezTo>
                    <a:pt x="33" y="101"/>
                    <a:pt x="31" y="108"/>
                    <a:pt x="27" y="112"/>
                  </a:cubicBezTo>
                  <a:cubicBezTo>
                    <a:pt x="26" y="113"/>
                    <a:pt x="26" y="115"/>
                    <a:pt x="28" y="116"/>
                  </a:cubicBezTo>
                  <a:cubicBezTo>
                    <a:pt x="28" y="116"/>
                    <a:pt x="29" y="117"/>
                    <a:pt x="29" y="117"/>
                  </a:cubicBezTo>
                  <a:cubicBezTo>
                    <a:pt x="30" y="117"/>
                    <a:pt x="31" y="116"/>
                    <a:pt x="32" y="116"/>
                  </a:cubicBezTo>
                  <a:cubicBezTo>
                    <a:pt x="36" y="110"/>
                    <a:pt x="39" y="103"/>
                    <a:pt x="40" y="92"/>
                  </a:cubicBezTo>
                  <a:cubicBezTo>
                    <a:pt x="41" y="84"/>
                    <a:pt x="42" y="73"/>
                    <a:pt x="42" y="60"/>
                  </a:cubicBezTo>
                  <a:cubicBezTo>
                    <a:pt x="42" y="57"/>
                    <a:pt x="43" y="54"/>
                    <a:pt x="44" y="52"/>
                  </a:cubicBezTo>
                  <a:cubicBezTo>
                    <a:pt x="46" y="45"/>
                    <a:pt x="53" y="41"/>
                    <a:pt x="60" y="41"/>
                  </a:cubicBezTo>
                  <a:cubicBezTo>
                    <a:pt x="71" y="41"/>
                    <a:pt x="79" y="49"/>
                    <a:pt x="79" y="60"/>
                  </a:cubicBezTo>
                  <a:cubicBezTo>
                    <a:pt x="79" y="61"/>
                    <a:pt x="80" y="62"/>
                    <a:pt x="82" y="62"/>
                  </a:cubicBezTo>
                  <a:cubicBezTo>
                    <a:pt x="83" y="62"/>
                    <a:pt x="84" y="61"/>
                    <a:pt x="84" y="60"/>
                  </a:cubicBezTo>
                  <a:cubicBezTo>
                    <a:pt x="84" y="46"/>
                    <a:pt x="74" y="35"/>
                    <a:pt x="60" y="35"/>
                  </a:cubicBezTo>
                  <a:moveTo>
                    <a:pt x="87" y="26"/>
                  </a:moveTo>
                  <a:cubicBezTo>
                    <a:pt x="80" y="20"/>
                    <a:pt x="70" y="17"/>
                    <a:pt x="60" y="17"/>
                  </a:cubicBezTo>
                  <a:cubicBezTo>
                    <a:pt x="37" y="17"/>
                    <a:pt x="18" y="36"/>
                    <a:pt x="18" y="60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90"/>
                    <a:pt x="17" y="97"/>
                    <a:pt x="13" y="102"/>
                  </a:cubicBezTo>
                  <a:cubicBezTo>
                    <a:pt x="12" y="103"/>
                    <a:pt x="13" y="105"/>
                    <a:pt x="14" y="106"/>
                  </a:cubicBezTo>
                  <a:cubicBezTo>
                    <a:pt x="15" y="106"/>
                    <a:pt x="17" y="106"/>
                    <a:pt x="18" y="105"/>
                  </a:cubicBezTo>
                  <a:cubicBezTo>
                    <a:pt x="23" y="98"/>
                    <a:pt x="23" y="89"/>
                    <a:pt x="23" y="81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3" y="39"/>
                    <a:pt x="40" y="22"/>
                    <a:pt x="60" y="22"/>
                  </a:cubicBezTo>
                  <a:cubicBezTo>
                    <a:pt x="78" y="22"/>
                    <a:pt x="93" y="35"/>
                    <a:pt x="97" y="52"/>
                  </a:cubicBezTo>
                  <a:cubicBezTo>
                    <a:pt x="99" y="61"/>
                    <a:pt x="98" y="76"/>
                    <a:pt x="98" y="82"/>
                  </a:cubicBezTo>
                  <a:cubicBezTo>
                    <a:pt x="97" y="91"/>
                    <a:pt x="96" y="102"/>
                    <a:pt x="93" y="109"/>
                  </a:cubicBezTo>
                  <a:cubicBezTo>
                    <a:pt x="93" y="110"/>
                    <a:pt x="93" y="112"/>
                    <a:pt x="95" y="113"/>
                  </a:cubicBezTo>
                  <a:cubicBezTo>
                    <a:pt x="95" y="113"/>
                    <a:pt x="96" y="113"/>
                    <a:pt x="96" y="113"/>
                  </a:cubicBezTo>
                  <a:cubicBezTo>
                    <a:pt x="97" y="113"/>
                    <a:pt x="98" y="112"/>
                    <a:pt x="98" y="111"/>
                  </a:cubicBezTo>
                  <a:cubicBezTo>
                    <a:pt x="102" y="103"/>
                    <a:pt x="103" y="91"/>
                    <a:pt x="104" y="82"/>
                  </a:cubicBezTo>
                  <a:cubicBezTo>
                    <a:pt x="104" y="76"/>
                    <a:pt x="104" y="60"/>
                    <a:pt x="102" y="51"/>
                  </a:cubicBezTo>
                  <a:cubicBezTo>
                    <a:pt x="100" y="41"/>
                    <a:pt x="95" y="33"/>
                    <a:pt x="87" y="26"/>
                  </a:cubicBezTo>
                  <a:moveTo>
                    <a:pt x="116" y="51"/>
                  </a:moveTo>
                  <a:cubicBezTo>
                    <a:pt x="118" y="51"/>
                    <a:pt x="119" y="49"/>
                    <a:pt x="118" y="48"/>
                  </a:cubicBezTo>
                  <a:cubicBezTo>
                    <a:pt x="116" y="34"/>
                    <a:pt x="109" y="22"/>
                    <a:pt x="98" y="14"/>
                  </a:cubicBezTo>
                  <a:cubicBezTo>
                    <a:pt x="87" y="5"/>
                    <a:pt x="74" y="0"/>
                    <a:pt x="60" y="0"/>
                  </a:cubicBezTo>
                  <a:cubicBezTo>
                    <a:pt x="28" y="0"/>
                    <a:pt x="1" y="27"/>
                    <a:pt x="1" y="60"/>
                  </a:cubicBezTo>
                  <a:cubicBezTo>
                    <a:pt x="1" y="62"/>
                    <a:pt x="1" y="64"/>
                    <a:pt x="1" y="67"/>
                  </a:cubicBezTo>
                  <a:cubicBezTo>
                    <a:pt x="1" y="74"/>
                    <a:pt x="2" y="81"/>
                    <a:pt x="0" y="85"/>
                  </a:cubicBezTo>
                  <a:cubicBezTo>
                    <a:pt x="0" y="86"/>
                    <a:pt x="0" y="88"/>
                    <a:pt x="2" y="88"/>
                  </a:cubicBezTo>
                  <a:cubicBezTo>
                    <a:pt x="2" y="88"/>
                    <a:pt x="3" y="89"/>
                    <a:pt x="3" y="89"/>
                  </a:cubicBezTo>
                  <a:cubicBezTo>
                    <a:pt x="4" y="89"/>
                    <a:pt x="5" y="88"/>
                    <a:pt x="6" y="87"/>
                  </a:cubicBezTo>
                  <a:cubicBezTo>
                    <a:pt x="7" y="82"/>
                    <a:pt x="7" y="75"/>
                    <a:pt x="7" y="67"/>
                  </a:cubicBezTo>
                  <a:cubicBezTo>
                    <a:pt x="7" y="64"/>
                    <a:pt x="7" y="62"/>
                    <a:pt x="7" y="60"/>
                  </a:cubicBezTo>
                  <a:cubicBezTo>
                    <a:pt x="7" y="30"/>
                    <a:pt x="31" y="6"/>
                    <a:pt x="60" y="6"/>
                  </a:cubicBezTo>
                  <a:cubicBezTo>
                    <a:pt x="86" y="6"/>
                    <a:pt x="108" y="24"/>
                    <a:pt x="113" y="49"/>
                  </a:cubicBezTo>
                  <a:cubicBezTo>
                    <a:pt x="113" y="50"/>
                    <a:pt x="115" y="51"/>
                    <a:pt x="116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15">
            <a:extLst>
              <a:ext uri="{FF2B5EF4-FFF2-40B4-BE49-F238E27FC236}">
                <a16:creationId xmlns:a16="http://schemas.microsoft.com/office/drawing/2014/main" id="{30EC6E65-2A40-4E27-A205-3595E0BC7A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337" y="293689"/>
            <a:ext cx="758825" cy="758825"/>
            <a:chOff x="2262" y="328"/>
            <a:chExt cx="478" cy="478"/>
          </a:xfrm>
        </p:grpSpPr>
        <p:sp>
          <p:nvSpPr>
            <p:cNvPr id="21" name="AutoShape 14">
              <a:extLst>
                <a:ext uri="{FF2B5EF4-FFF2-40B4-BE49-F238E27FC236}">
                  <a16:creationId xmlns:a16="http://schemas.microsoft.com/office/drawing/2014/main" id="{32AE317D-42A9-4E13-AAEF-78A2F9C124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62" y="32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0E25E199-051B-4B37-A93F-AD2399B9D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4" y="33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34FDC51F-22EE-479D-BB2A-04CD4CF9DD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" y="428"/>
              <a:ext cx="319" cy="280"/>
            </a:xfrm>
            <a:custGeom>
              <a:avLst/>
              <a:gdLst>
                <a:gd name="T0" fmla="*/ 140 w 319"/>
                <a:gd name="T1" fmla="*/ 89 h 280"/>
                <a:gd name="T2" fmla="*/ 22 w 319"/>
                <a:gd name="T3" fmla="*/ 15 h 280"/>
                <a:gd name="T4" fmla="*/ 19 w 319"/>
                <a:gd name="T5" fmla="*/ 89 h 280"/>
                <a:gd name="T6" fmla="*/ 27 w 319"/>
                <a:gd name="T7" fmla="*/ 81 h 280"/>
                <a:gd name="T8" fmla="*/ 297 w 319"/>
                <a:gd name="T9" fmla="*/ 155 h 280"/>
                <a:gd name="T10" fmla="*/ 179 w 319"/>
                <a:gd name="T11" fmla="*/ 157 h 280"/>
                <a:gd name="T12" fmla="*/ 181 w 319"/>
                <a:gd name="T13" fmla="*/ 228 h 280"/>
                <a:gd name="T14" fmla="*/ 186 w 319"/>
                <a:gd name="T15" fmla="*/ 221 h 280"/>
                <a:gd name="T16" fmla="*/ 270 w 319"/>
                <a:gd name="T17" fmla="*/ 47 h 280"/>
                <a:gd name="T18" fmla="*/ 247 w 319"/>
                <a:gd name="T19" fmla="*/ 50 h 280"/>
                <a:gd name="T20" fmla="*/ 206 w 319"/>
                <a:gd name="T21" fmla="*/ 20 h 280"/>
                <a:gd name="T22" fmla="*/ 164 w 319"/>
                <a:gd name="T23" fmla="*/ 10 h 280"/>
                <a:gd name="T24" fmla="*/ 149 w 319"/>
                <a:gd name="T25" fmla="*/ 0 h 280"/>
                <a:gd name="T26" fmla="*/ 2 w 319"/>
                <a:gd name="T27" fmla="*/ 5 h 280"/>
                <a:gd name="T28" fmla="*/ 2 w 319"/>
                <a:gd name="T29" fmla="*/ 108 h 280"/>
                <a:gd name="T30" fmla="*/ 12 w 319"/>
                <a:gd name="T31" fmla="*/ 116 h 280"/>
                <a:gd name="T32" fmla="*/ 59 w 319"/>
                <a:gd name="T33" fmla="*/ 123 h 280"/>
                <a:gd name="T34" fmla="*/ 37 w 319"/>
                <a:gd name="T35" fmla="*/ 128 h 280"/>
                <a:gd name="T36" fmla="*/ 39 w 319"/>
                <a:gd name="T37" fmla="*/ 143 h 280"/>
                <a:gd name="T38" fmla="*/ 122 w 319"/>
                <a:gd name="T39" fmla="*/ 140 h 280"/>
                <a:gd name="T40" fmla="*/ 125 w 319"/>
                <a:gd name="T41" fmla="*/ 130 h 280"/>
                <a:gd name="T42" fmla="*/ 108 w 319"/>
                <a:gd name="T43" fmla="*/ 126 h 280"/>
                <a:gd name="T44" fmla="*/ 149 w 319"/>
                <a:gd name="T45" fmla="*/ 116 h 280"/>
                <a:gd name="T46" fmla="*/ 157 w 319"/>
                <a:gd name="T47" fmla="*/ 103 h 280"/>
                <a:gd name="T48" fmla="*/ 194 w 319"/>
                <a:gd name="T49" fmla="*/ 23 h 280"/>
                <a:gd name="T50" fmla="*/ 228 w 319"/>
                <a:gd name="T51" fmla="*/ 42 h 280"/>
                <a:gd name="T52" fmla="*/ 228 w 319"/>
                <a:gd name="T53" fmla="*/ 69 h 280"/>
                <a:gd name="T54" fmla="*/ 267 w 319"/>
                <a:gd name="T55" fmla="*/ 86 h 280"/>
                <a:gd name="T56" fmla="*/ 147 w 319"/>
                <a:gd name="T57" fmla="*/ 106 h 280"/>
                <a:gd name="T58" fmla="*/ 88 w 319"/>
                <a:gd name="T59" fmla="*/ 118 h 280"/>
                <a:gd name="T60" fmla="*/ 56 w 319"/>
                <a:gd name="T61" fmla="*/ 135 h 280"/>
                <a:gd name="T62" fmla="*/ 71 w 319"/>
                <a:gd name="T63" fmla="*/ 118 h 280"/>
                <a:gd name="T64" fmla="*/ 71 w 319"/>
                <a:gd name="T65" fmla="*/ 106 h 280"/>
                <a:gd name="T66" fmla="*/ 10 w 319"/>
                <a:gd name="T67" fmla="*/ 10 h 280"/>
                <a:gd name="T68" fmla="*/ 149 w 319"/>
                <a:gd name="T69" fmla="*/ 103 h 280"/>
                <a:gd name="T70" fmla="*/ 316 w 319"/>
                <a:gd name="T71" fmla="*/ 148 h 280"/>
                <a:gd name="T72" fmla="*/ 306 w 319"/>
                <a:gd name="T73" fmla="*/ 138 h 280"/>
                <a:gd name="T74" fmla="*/ 162 w 319"/>
                <a:gd name="T75" fmla="*/ 148 h 280"/>
                <a:gd name="T76" fmla="*/ 135 w 319"/>
                <a:gd name="T77" fmla="*/ 233 h 280"/>
                <a:gd name="T78" fmla="*/ 93 w 319"/>
                <a:gd name="T79" fmla="*/ 214 h 280"/>
                <a:gd name="T80" fmla="*/ 93 w 319"/>
                <a:gd name="T81" fmla="*/ 187 h 280"/>
                <a:gd name="T82" fmla="*/ 51 w 319"/>
                <a:gd name="T83" fmla="*/ 162 h 280"/>
                <a:gd name="T84" fmla="*/ 51 w 319"/>
                <a:gd name="T85" fmla="*/ 209 h 280"/>
                <a:gd name="T86" fmla="*/ 73 w 319"/>
                <a:gd name="T87" fmla="*/ 209 h 280"/>
                <a:gd name="T88" fmla="*/ 113 w 319"/>
                <a:gd name="T89" fmla="*/ 236 h 280"/>
                <a:gd name="T90" fmla="*/ 152 w 319"/>
                <a:gd name="T91" fmla="*/ 243 h 280"/>
                <a:gd name="T92" fmla="*/ 169 w 319"/>
                <a:gd name="T93" fmla="*/ 253 h 280"/>
                <a:gd name="T94" fmla="*/ 221 w 319"/>
                <a:gd name="T95" fmla="*/ 260 h 280"/>
                <a:gd name="T96" fmla="*/ 198 w 319"/>
                <a:gd name="T97" fmla="*/ 265 h 280"/>
                <a:gd name="T98" fmla="*/ 194 w 319"/>
                <a:gd name="T99" fmla="*/ 275 h 280"/>
                <a:gd name="T100" fmla="*/ 279 w 319"/>
                <a:gd name="T101" fmla="*/ 280 h 280"/>
                <a:gd name="T102" fmla="*/ 287 w 319"/>
                <a:gd name="T103" fmla="*/ 273 h 280"/>
                <a:gd name="T104" fmla="*/ 274 w 319"/>
                <a:gd name="T105" fmla="*/ 265 h 280"/>
                <a:gd name="T106" fmla="*/ 255 w 319"/>
                <a:gd name="T107" fmla="*/ 258 h 280"/>
                <a:gd name="T108" fmla="*/ 316 w 319"/>
                <a:gd name="T109" fmla="*/ 246 h 280"/>
                <a:gd name="T110" fmla="*/ 59 w 319"/>
                <a:gd name="T111" fmla="*/ 175 h 280"/>
                <a:gd name="T112" fmla="*/ 306 w 319"/>
                <a:gd name="T113" fmla="*/ 246 h 280"/>
                <a:gd name="T114" fmla="*/ 247 w 319"/>
                <a:gd name="T115" fmla="*/ 258 h 280"/>
                <a:gd name="T116" fmla="*/ 216 w 319"/>
                <a:gd name="T117" fmla="*/ 273 h 280"/>
                <a:gd name="T118" fmla="*/ 233 w 319"/>
                <a:gd name="T119" fmla="*/ 255 h 280"/>
                <a:gd name="T120" fmla="*/ 230 w 319"/>
                <a:gd name="T121" fmla="*/ 246 h 280"/>
                <a:gd name="T122" fmla="*/ 169 w 319"/>
                <a:gd name="T123" fmla="*/ 241 h 280"/>
                <a:gd name="T124" fmla="*/ 309 w 319"/>
                <a:gd name="T125" fmla="*/ 14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9" h="280">
                  <a:moveTo>
                    <a:pt x="19" y="89"/>
                  </a:moveTo>
                  <a:lnTo>
                    <a:pt x="22" y="91"/>
                  </a:lnTo>
                  <a:lnTo>
                    <a:pt x="22" y="91"/>
                  </a:lnTo>
                  <a:lnTo>
                    <a:pt x="137" y="91"/>
                  </a:lnTo>
                  <a:lnTo>
                    <a:pt x="140" y="89"/>
                  </a:lnTo>
                  <a:lnTo>
                    <a:pt x="140" y="86"/>
                  </a:lnTo>
                  <a:lnTo>
                    <a:pt x="140" y="18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22" y="15"/>
                  </a:lnTo>
                  <a:lnTo>
                    <a:pt x="19" y="15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7" y="20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7" y="25"/>
                  </a:moveTo>
                  <a:lnTo>
                    <a:pt x="132" y="25"/>
                  </a:lnTo>
                  <a:lnTo>
                    <a:pt x="132" y="81"/>
                  </a:lnTo>
                  <a:lnTo>
                    <a:pt x="27" y="81"/>
                  </a:lnTo>
                  <a:lnTo>
                    <a:pt x="27" y="25"/>
                  </a:lnTo>
                  <a:close/>
                  <a:moveTo>
                    <a:pt x="301" y="226"/>
                  </a:moveTo>
                  <a:lnTo>
                    <a:pt x="301" y="157"/>
                  </a:lnTo>
                  <a:lnTo>
                    <a:pt x="299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81" y="155"/>
                  </a:lnTo>
                  <a:lnTo>
                    <a:pt x="179" y="155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60"/>
                  </a:lnTo>
                  <a:lnTo>
                    <a:pt x="179" y="226"/>
                  </a:lnTo>
                  <a:lnTo>
                    <a:pt x="179" y="228"/>
                  </a:lnTo>
                  <a:lnTo>
                    <a:pt x="181" y="228"/>
                  </a:lnTo>
                  <a:lnTo>
                    <a:pt x="181" y="228"/>
                  </a:lnTo>
                  <a:lnTo>
                    <a:pt x="297" y="228"/>
                  </a:lnTo>
                  <a:lnTo>
                    <a:pt x="299" y="228"/>
                  </a:lnTo>
                  <a:lnTo>
                    <a:pt x="301" y="226"/>
                  </a:lnTo>
                  <a:close/>
                  <a:moveTo>
                    <a:pt x="292" y="221"/>
                  </a:moveTo>
                  <a:lnTo>
                    <a:pt x="186" y="221"/>
                  </a:lnTo>
                  <a:lnTo>
                    <a:pt x="186" y="162"/>
                  </a:lnTo>
                  <a:lnTo>
                    <a:pt x="292" y="162"/>
                  </a:lnTo>
                  <a:lnTo>
                    <a:pt x="292" y="221"/>
                  </a:lnTo>
                  <a:close/>
                  <a:moveTo>
                    <a:pt x="270" y="47"/>
                  </a:moveTo>
                  <a:lnTo>
                    <a:pt x="270" y="47"/>
                  </a:lnTo>
                  <a:lnTo>
                    <a:pt x="267" y="45"/>
                  </a:lnTo>
                  <a:lnTo>
                    <a:pt x="265" y="45"/>
                  </a:lnTo>
                  <a:lnTo>
                    <a:pt x="262" y="45"/>
                  </a:lnTo>
                  <a:lnTo>
                    <a:pt x="250" y="52"/>
                  </a:lnTo>
                  <a:lnTo>
                    <a:pt x="247" y="5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1" y="27"/>
                  </a:lnTo>
                  <a:lnTo>
                    <a:pt x="216" y="25"/>
                  </a:lnTo>
                  <a:lnTo>
                    <a:pt x="206" y="20"/>
                  </a:lnTo>
                  <a:lnTo>
                    <a:pt x="196" y="15"/>
                  </a:lnTo>
                  <a:lnTo>
                    <a:pt x="191" y="15"/>
                  </a:lnTo>
                  <a:lnTo>
                    <a:pt x="179" y="13"/>
                  </a:lnTo>
                  <a:lnTo>
                    <a:pt x="167" y="10"/>
                  </a:lnTo>
                  <a:lnTo>
                    <a:pt x="164" y="10"/>
                  </a:lnTo>
                  <a:lnTo>
                    <a:pt x="159" y="13"/>
                  </a:lnTo>
                  <a:lnTo>
                    <a:pt x="157" y="8"/>
                  </a:lnTo>
                  <a:lnTo>
                    <a:pt x="157" y="3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7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5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3"/>
                  </a:lnTo>
                  <a:lnTo>
                    <a:pt x="2" y="108"/>
                  </a:lnTo>
                  <a:lnTo>
                    <a:pt x="5" y="111"/>
                  </a:lnTo>
                  <a:lnTo>
                    <a:pt x="7" y="113"/>
                  </a:lnTo>
                  <a:lnTo>
                    <a:pt x="10" y="113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64" y="116"/>
                  </a:lnTo>
                  <a:lnTo>
                    <a:pt x="64" y="118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59" y="123"/>
                  </a:lnTo>
                  <a:lnTo>
                    <a:pt x="56" y="123"/>
                  </a:lnTo>
                  <a:lnTo>
                    <a:pt x="54" y="126"/>
                  </a:lnTo>
                  <a:lnTo>
                    <a:pt x="46" y="126"/>
                  </a:lnTo>
                  <a:lnTo>
                    <a:pt x="39" y="128"/>
                  </a:lnTo>
                  <a:lnTo>
                    <a:pt x="37" y="128"/>
                  </a:lnTo>
                  <a:lnTo>
                    <a:pt x="34" y="133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7" y="140"/>
                  </a:lnTo>
                  <a:lnTo>
                    <a:pt x="39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120" y="143"/>
                  </a:lnTo>
                  <a:lnTo>
                    <a:pt x="122" y="143"/>
                  </a:lnTo>
                  <a:lnTo>
                    <a:pt x="122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7" y="135"/>
                  </a:lnTo>
                  <a:lnTo>
                    <a:pt x="125" y="133"/>
                  </a:lnTo>
                  <a:lnTo>
                    <a:pt x="125" y="130"/>
                  </a:lnTo>
                  <a:lnTo>
                    <a:pt x="122" y="128"/>
                  </a:lnTo>
                  <a:lnTo>
                    <a:pt x="120" y="128"/>
                  </a:lnTo>
                  <a:lnTo>
                    <a:pt x="118" y="126"/>
                  </a:lnTo>
                  <a:lnTo>
                    <a:pt x="115" y="128"/>
                  </a:lnTo>
                  <a:lnTo>
                    <a:pt x="108" y="126"/>
                  </a:lnTo>
                  <a:lnTo>
                    <a:pt x="103" y="126"/>
                  </a:lnTo>
                  <a:lnTo>
                    <a:pt x="98" y="121"/>
                  </a:lnTo>
                  <a:lnTo>
                    <a:pt x="95" y="118"/>
                  </a:lnTo>
                  <a:lnTo>
                    <a:pt x="95" y="116"/>
                  </a:lnTo>
                  <a:lnTo>
                    <a:pt x="149" y="116"/>
                  </a:lnTo>
                  <a:lnTo>
                    <a:pt x="152" y="113"/>
                  </a:lnTo>
                  <a:lnTo>
                    <a:pt x="154" y="111"/>
                  </a:lnTo>
                  <a:lnTo>
                    <a:pt x="157" y="108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7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84" y="20"/>
                  </a:lnTo>
                  <a:lnTo>
                    <a:pt x="194" y="23"/>
                  </a:lnTo>
                  <a:lnTo>
                    <a:pt x="198" y="25"/>
                  </a:lnTo>
                  <a:lnTo>
                    <a:pt x="208" y="30"/>
                  </a:lnTo>
                  <a:lnTo>
                    <a:pt x="213" y="32"/>
                  </a:lnTo>
                  <a:lnTo>
                    <a:pt x="221" y="37"/>
                  </a:lnTo>
                  <a:lnTo>
                    <a:pt x="228" y="42"/>
                  </a:lnTo>
                  <a:lnTo>
                    <a:pt x="238" y="50"/>
                  </a:lnTo>
                  <a:lnTo>
                    <a:pt x="243" y="54"/>
                  </a:lnTo>
                  <a:lnTo>
                    <a:pt x="228" y="64"/>
                  </a:lnTo>
                  <a:lnTo>
                    <a:pt x="225" y="67"/>
                  </a:lnTo>
                  <a:lnTo>
                    <a:pt x="228" y="69"/>
                  </a:lnTo>
                  <a:lnTo>
                    <a:pt x="228" y="72"/>
                  </a:lnTo>
                  <a:lnTo>
                    <a:pt x="265" y="91"/>
                  </a:lnTo>
                  <a:lnTo>
                    <a:pt x="267" y="91"/>
                  </a:lnTo>
                  <a:lnTo>
                    <a:pt x="267" y="89"/>
                  </a:lnTo>
                  <a:lnTo>
                    <a:pt x="267" y="86"/>
                  </a:lnTo>
                  <a:lnTo>
                    <a:pt x="270" y="47"/>
                  </a:lnTo>
                  <a:lnTo>
                    <a:pt x="270" y="47"/>
                  </a:lnTo>
                  <a:close/>
                  <a:moveTo>
                    <a:pt x="149" y="103"/>
                  </a:moveTo>
                  <a:lnTo>
                    <a:pt x="149" y="106"/>
                  </a:lnTo>
                  <a:lnTo>
                    <a:pt x="147" y="106"/>
                  </a:lnTo>
                  <a:lnTo>
                    <a:pt x="91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1"/>
                  </a:lnTo>
                  <a:lnTo>
                    <a:pt x="88" y="118"/>
                  </a:lnTo>
                  <a:lnTo>
                    <a:pt x="88" y="123"/>
                  </a:lnTo>
                  <a:lnTo>
                    <a:pt x="91" y="126"/>
                  </a:lnTo>
                  <a:lnTo>
                    <a:pt x="93" y="128"/>
                  </a:lnTo>
                  <a:lnTo>
                    <a:pt x="100" y="135"/>
                  </a:lnTo>
                  <a:lnTo>
                    <a:pt x="56" y="135"/>
                  </a:lnTo>
                  <a:lnTo>
                    <a:pt x="64" y="130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71" y="121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71" y="113"/>
                  </a:lnTo>
                  <a:lnTo>
                    <a:pt x="73" y="111"/>
                  </a:lnTo>
                  <a:lnTo>
                    <a:pt x="71" y="108"/>
                  </a:lnTo>
                  <a:lnTo>
                    <a:pt x="71" y="106"/>
                  </a:lnTo>
                  <a:lnTo>
                    <a:pt x="69" y="106"/>
                  </a:lnTo>
                  <a:lnTo>
                    <a:pt x="66" y="106"/>
                  </a:lnTo>
                  <a:lnTo>
                    <a:pt x="10" y="106"/>
                  </a:lnTo>
                  <a:lnTo>
                    <a:pt x="10" y="103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7" y="8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9" y="103"/>
                  </a:lnTo>
                  <a:close/>
                  <a:moveTo>
                    <a:pt x="260" y="79"/>
                  </a:moveTo>
                  <a:lnTo>
                    <a:pt x="238" y="67"/>
                  </a:lnTo>
                  <a:lnTo>
                    <a:pt x="260" y="54"/>
                  </a:lnTo>
                  <a:lnTo>
                    <a:pt x="260" y="79"/>
                  </a:lnTo>
                  <a:close/>
                  <a:moveTo>
                    <a:pt x="316" y="148"/>
                  </a:moveTo>
                  <a:lnTo>
                    <a:pt x="316" y="143"/>
                  </a:lnTo>
                  <a:lnTo>
                    <a:pt x="314" y="140"/>
                  </a:lnTo>
                  <a:lnTo>
                    <a:pt x="311" y="140"/>
                  </a:lnTo>
                  <a:lnTo>
                    <a:pt x="309" y="138"/>
                  </a:lnTo>
                  <a:lnTo>
                    <a:pt x="306" y="138"/>
                  </a:lnTo>
                  <a:lnTo>
                    <a:pt x="169" y="138"/>
                  </a:lnTo>
                  <a:lnTo>
                    <a:pt x="167" y="138"/>
                  </a:lnTo>
                  <a:lnTo>
                    <a:pt x="164" y="140"/>
                  </a:lnTo>
                  <a:lnTo>
                    <a:pt x="162" y="145"/>
                  </a:lnTo>
                  <a:lnTo>
                    <a:pt x="162" y="148"/>
                  </a:lnTo>
                  <a:lnTo>
                    <a:pt x="162" y="150"/>
                  </a:lnTo>
                  <a:lnTo>
                    <a:pt x="162" y="233"/>
                  </a:lnTo>
                  <a:lnTo>
                    <a:pt x="152" y="233"/>
                  </a:lnTo>
                  <a:lnTo>
                    <a:pt x="145" y="233"/>
                  </a:lnTo>
                  <a:lnTo>
                    <a:pt x="135" y="233"/>
                  </a:lnTo>
                  <a:lnTo>
                    <a:pt x="125" y="231"/>
                  </a:lnTo>
                  <a:lnTo>
                    <a:pt x="120" y="228"/>
                  </a:lnTo>
                  <a:lnTo>
                    <a:pt x="110" y="226"/>
                  </a:lnTo>
                  <a:lnTo>
                    <a:pt x="103" y="221"/>
                  </a:lnTo>
                  <a:lnTo>
                    <a:pt x="93" y="214"/>
                  </a:lnTo>
                  <a:lnTo>
                    <a:pt x="88" y="211"/>
                  </a:lnTo>
                  <a:lnTo>
                    <a:pt x="81" y="204"/>
                  </a:lnTo>
                  <a:lnTo>
                    <a:pt x="76" y="199"/>
                  </a:lnTo>
                  <a:lnTo>
                    <a:pt x="91" y="189"/>
                  </a:lnTo>
                  <a:lnTo>
                    <a:pt x="93" y="187"/>
                  </a:lnTo>
                  <a:lnTo>
                    <a:pt x="93" y="187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54" y="162"/>
                  </a:lnTo>
                  <a:lnTo>
                    <a:pt x="51" y="162"/>
                  </a:lnTo>
                  <a:lnTo>
                    <a:pt x="51" y="165"/>
                  </a:lnTo>
                  <a:lnTo>
                    <a:pt x="51" y="167"/>
                  </a:lnTo>
                  <a:lnTo>
                    <a:pt x="49" y="206"/>
                  </a:lnTo>
                  <a:lnTo>
                    <a:pt x="51" y="209"/>
                  </a:lnTo>
                  <a:lnTo>
                    <a:pt x="51" y="209"/>
                  </a:lnTo>
                  <a:lnTo>
                    <a:pt x="54" y="211"/>
                  </a:lnTo>
                  <a:lnTo>
                    <a:pt x="56" y="209"/>
                  </a:lnTo>
                  <a:lnTo>
                    <a:pt x="69" y="202"/>
                  </a:lnTo>
                  <a:lnTo>
                    <a:pt x="71" y="204"/>
                  </a:lnTo>
                  <a:lnTo>
                    <a:pt x="73" y="209"/>
                  </a:lnTo>
                  <a:lnTo>
                    <a:pt x="78" y="214"/>
                  </a:lnTo>
                  <a:lnTo>
                    <a:pt x="88" y="221"/>
                  </a:lnTo>
                  <a:lnTo>
                    <a:pt x="95" y="226"/>
                  </a:lnTo>
                  <a:lnTo>
                    <a:pt x="100" y="231"/>
                  </a:lnTo>
                  <a:lnTo>
                    <a:pt x="113" y="236"/>
                  </a:lnTo>
                  <a:lnTo>
                    <a:pt x="122" y="238"/>
                  </a:lnTo>
                  <a:lnTo>
                    <a:pt x="127" y="241"/>
                  </a:lnTo>
                  <a:lnTo>
                    <a:pt x="135" y="241"/>
                  </a:lnTo>
                  <a:lnTo>
                    <a:pt x="145" y="243"/>
                  </a:lnTo>
                  <a:lnTo>
                    <a:pt x="152" y="243"/>
                  </a:lnTo>
                  <a:lnTo>
                    <a:pt x="154" y="243"/>
                  </a:lnTo>
                  <a:lnTo>
                    <a:pt x="162" y="243"/>
                  </a:lnTo>
                  <a:lnTo>
                    <a:pt x="162" y="246"/>
                  </a:lnTo>
                  <a:lnTo>
                    <a:pt x="164" y="251"/>
                  </a:lnTo>
                  <a:lnTo>
                    <a:pt x="169" y="253"/>
                  </a:lnTo>
                  <a:lnTo>
                    <a:pt x="171" y="253"/>
                  </a:lnTo>
                  <a:lnTo>
                    <a:pt x="171" y="253"/>
                  </a:lnTo>
                  <a:lnTo>
                    <a:pt x="223" y="253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18" y="260"/>
                  </a:lnTo>
                  <a:lnTo>
                    <a:pt x="218" y="263"/>
                  </a:lnTo>
                  <a:lnTo>
                    <a:pt x="216" y="263"/>
                  </a:lnTo>
                  <a:lnTo>
                    <a:pt x="208" y="265"/>
                  </a:lnTo>
                  <a:lnTo>
                    <a:pt x="198" y="265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4" y="273"/>
                  </a:lnTo>
                  <a:lnTo>
                    <a:pt x="194" y="275"/>
                  </a:lnTo>
                  <a:lnTo>
                    <a:pt x="194" y="275"/>
                  </a:lnTo>
                  <a:lnTo>
                    <a:pt x="196" y="278"/>
                  </a:lnTo>
                  <a:lnTo>
                    <a:pt x="198" y="280"/>
                  </a:lnTo>
                  <a:lnTo>
                    <a:pt x="201" y="280"/>
                  </a:lnTo>
                  <a:lnTo>
                    <a:pt x="201" y="280"/>
                  </a:lnTo>
                  <a:lnTo>
                    <a:pt x="279" y="280"/>
                  </a:lnTo>
                  <a:lnTo>
                    <a:pt x="282" y="280"/>
                  </a:lnTo>
                  <a:lnTo>
                    <a:pt x="284" y="278"/>
                  </a:lnTo>
                  <a:lnTo>
                    <a:pt x="284" y="278"/>
                  </a:lnTo>
                  <a:lnTo>
                    <a:pt x="287" y="275"/>
                  </a:lnTo>
                  <a:lnTo>
                    <a:pt x="287" y="273"/>
                  </a:lnTo>
                  <a:lnTo>
                    <a:pt x="284" y="270"/>
                  </a:lnTo>
                  <a:lnTo>
                    <a:pt x="284" y="268"/>
                  </a:lnTo>
                  <a:lnTo>
                    <a:pt x="279" y="265"/>
                  </a:lnTo>
                  <a:lnTo>
                    <a:pt x="277" y="265"/>
                  </a:lnTo>
                  <a:lnTo>
                    <a:pt x="274" y="265"/>
                  </a:lnTo>
                  <a:lnTo>
                    <a:pt x="270" y="265"/>
                  </a:lnTo>
                  <a:lnTo>
                    <a:pt x="262" y="263"/>
                  </a:lnTo>
                  <a:lnTo>
                    <a:pt x="257" y="260"/>
                  </a:lnTo>
                  <a:lnTo>
                    <a:pt x="257" y="260"/>
                  </a:lnTo>
                  <a:lnTo>
                    <a:pt x="255" y="258"/>
                  </a:lnTo>
                  <a:lnTo>
                    <a:pt x="255" y="253"/>
                  </a:lnTo>
                  <a:lnTo>
                    <a:pt x="309" y="253"/>
                  </a:lnTo>
                  <a:lnTo>
                    <a:pt x="314" y="251"/>
                  </a:lnTo>
                  <a:lnTo>
                    <a:pt x="316" y="248"/>
                  </a:lnTo>
                  <a:lnTo>
                    <a:pt x="316" y="246"/>
                  </a:lnTo>
                  <a:lnTo>
                    <a:pt x="316" y="243"/>
                  </a:lnTo>
                  <a:lnTo>
                    <a:pt x="319" y="241"/>
                  </a:lnTo>
                  <a:lnTo>
                    <a:pt x="316" y="148"/>
                  </a:lnTo>
                  <a:close/>
                  <a:moveTo>
                    <a:pt x="59" y="199"/>
                  </a:moveTo>
                  <a:lnTo>
                    <a:pt x="59" y="175"/>
                  </a:lnTo>
                  <a:lnTo>
                    <a:pt x="78" y="187"/>
                  </a:lnTo>
                  <a:lnTo>
                    <a:pt x="59" y="199"/>
                  </a:lnTo>
                  <a:close/>
                  <a:moveTo>
                    <a:pt x="309" y="241"/>
                  </a:moveTo>
                  <a:lnTo>
                    <a:pt x="309" y="243"/>
                  </a:lnTo>
                  <a:lnTo>
                    <a:pt x="306" y="246"/>
                  </a:lnTo>
                  <a:lnTo>
                    <a:pt x="250" y="246"/>
                  </a:lnTo>
                  <a:lnTo>
                    <a:pt x="247" y="246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7" y="258"/>
                  </a:lnTo>
                  <a:lnTo>
                    <a:pt x="250" y="263"/>
                  </a:lnTo>
                  <a:lnTo>
                    <a:pt x="252" y="265"/>
                  </a:lnTo>
                  <a:lnTo>
                    <a:pt x="252" y="268"/>
                  </a:lnTo>
                  <a:lnTo>
                    <a:pt x="260" y="273"/>
                  </a:lnTo>
                  <a:lnTo>
                    <a:pt x="216" y="273"/>
                  </a:lnTo>
                  <a:lnTo>
                    <a:pt x="225" y="268"/>
                  </a:lnTo>
                  <a:lnTo>
                    <a:pt x="228" y="265"/>
                  </a:lnTo>
                  <a:lnTo>
                    <a:pt x="230" y="263"/>
                  </a:lnTo>
                  <a:lnTo>
                    <a:pt x="230" y="258"/>
                  </a:lnTo>
                  <a:lnTo>
                    <a:pt x="233" y="255"/>
                  </a:lnTo>
                  <a:lnTo>
                    <a:pt x="233" y="253"/>
                  </a:lnTo>
                  <a:lnTo>
                    <a:pt x="233" y="251"/>
                  </a:lnTo>
                  <a:lnTo>
                    <a:pt x="233" y="248"/>
                  </a:lnTo>
                  <a:lnTo>
                    <a:pt x="233" y="248"/>
                  </a:lnTo>
                  <a:lnTo>
                    <a:pt x="230" y="246"/>
                  </a:lnTo>
                  <a:lnTo>
                    <a:pt x="228" y="246"/>
                  </a:lnTo>
                  <a:lnTo>
                    <a:pt x="225" y="246"/>
                  </a:lnTo>
                  <a:lnTo>
                    <a:pt x="171" y="243"/>
                  </a:lnTo>
                  <a:lnTo>
                    <a:pt x="169" y="243"/>
                  </a:lnTo>
                  <a:lnTo>
                    <a:pt x="169" y="241"/>
                  </a:lnTo>
                  <a:lnTo>
                    <a:pt x="169" y="148"/>
                  </a:lnTo>
                  <a:lnTo>
                    <a:pt x="171" y="145"/>
                  </a:lnTo>
                  <a:lnTo>
                    <a:pt x="306" y="148"/>
                  </a:lnTo>
                  <a:lnTo>
                    <a:pt x="309" y="148"/>
                  </a:lnTo>
                  <a:lnTo>
                    <a:pt x="309" y="148"/>
                  </a:lnTo>
                  <a:lnTo>
                    <a:pt x="309" y="24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0">
            <a:extLst>
              <a:ext uri="{FF2B5EF4-FFF2-40B4-BE49-F238E27FC236}">
                <a16:creationId xmlns:a16="http://schemas.microsoft.com/office/drawing/2014/main" id="{19BDFA49-B7D6-4D57-A1B0-3D83997D92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787" y="253207"/>
            <a:ext cx="841375" cy="839788"/>
            <a:chOff x="1608" y="320"/>
            <a:chExt cx="530" cy="529"/>
          </a:xfrm>
        </p:grpSpPr>
        <p:sp>
          <p:nvSpPr>
            <p:cNvPr id="25" name="AutoShape 19">
              <a:extLst>
                <a:ext uri="{FF2B5EF4-FFF2-40B4-BE49-F238E27FC236}">
                  <a16:creationId xmlns:a16="http://schemas.microsoft.com/office/drawing/2014/main" id="{40BEBF56-4EF3-46AB-967E-D0DF7CB5F4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08" y="320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53CEC931-40EE-4442-87DD-13D308E28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" y="32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44BB9C3D-A142-412F-94FD-B60D9DE7D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6" y="338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155ABBC8-0FB1-4C7B-B070-42A4105DC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" y="440"/>
              <a:ext cx="333" cy="291"/>
            </a:xfrm>
            <a:custGeom>
              <a:avLst/>
              <a:gdLst>
                <a:gd name="T0" fmla="*/ 146 w 333"/>
                <a:gd name="T1" fmla="*/ 92 h 291"/>
                <a:gd name="T2" fmla="*/ 23 w 333"/>
                <a:gd name="T3" fmla="*/ 15 h 291"/>
                <a:gd name="T4" fmla="*/ 20 w 333"/>
                <a:gd name="T5" fmla="*/ 92 h 291"/>
                <a:gd name="T6" fmla="*/ 28 w 333"/>
                <a:gd name="T7" fmla="*/ 84 h 291"/>
                <a:gd name="T8" fmla="*/ 310 w 333"/>
                <a:gd name="T9" fmla="*/ 161 h 291"/>
                <a:gd name="T10" fmla="*/ 187 w 333"/>
                <a:gd name="T11" fmla="*/ 164 h 291"/>
                <a:gd name="T12" fmla="*/ 189 w 333"/>
                <a:gd name="T13" fmla="*/ 238 h 291"/>
                <a:gd name="T14" fmla="*/ 194 w 333"/>
                <a:gd name="T15" fmla="*/ 230 h 291"/>
                <a:gd name="T16" fmla="*/ 281 w 333"/>
                <a:gd name="T17" fmla="*/ 49 h 291"/>
                <a:gd name="T18" fmla="*/ 258 w 333"/>
                <a:gd name="T19" fmla="*/ 51 h 291"/>
                <a:gd name="T20" fmla="*/ 215 w 333"/>
                <a:gd name="T21" fmla="*/ 20 h 291"/>
                <a:gd name="T22" fmla="*/ 171 w 333"/>
                <a:gd name="T23" fmla="*/ 10 h 291"/>
                <a:gd name="T24" fmla="*/ 156 w 333"/>
                <a:gd name="T25" fmla="*/ 0 h 291"/>
                <a:gd name="T26" fmla="*/ 2 w 333"/>
                <a:gd name="T27" fmla="*/ 5 h 291"/>
                <a:gd name="T28" fmla="*/ 2 w 333"/>
                <a:gd name="T29" fmla="*/ 112 h 291"/>
                <a:gd name="T30" fmla="*/ 13 w 333"/>
                <a:gd name="T31" fmla="*/ 120 h 291"/>
                <a:gd name="T32" fmla="*/ 61 w 333"/>
                <a:gd name="T33" fmla="*/ 128 h 291"/>
                <a:gd name="T34" fmla="*/ 38 w 333"/>
                <a:gd name="T35" fmla="*/ 133 h 291"/>
                <a:gd name="T36" fmla="*/ 41 w 333"/>
                <a:gd name="T37" fmla="*/ 148 h 291"/>
                <a:gd name="T38" fmla="*/ 128 w 333"/>
                <a:gd name="T39" fmla="*/ 146 h 291"/>
                <a:gd name="T40" fmla="*/ 130 w 333"/>
                <a:gd name="T41" fmla="*/ 135 h 291"/>
                <a:gd name="T42" fmla="*/ 112 w 333"/>
                <a:gd name="T43" fmla="*/ 130 h 291"/>
                <a:gd name="T44" fmla="*/ 156 w 333"/>
                <a:gd name="T45" fmla="*/ 120 h 291"/>
                <a:gd name="T46" fmla="*/ 164 w 333"/>
                <a:gd name="T47" fmla="*/ 107 h 291"/>
                <a:gd name="T48" fmla="*/ 202 w 333"/>
                <a:gd name="T49" fmla="*/ 23 h 291"/>
                <a:gd name="T50" fmla="*/ 238 w 333"/>
                <a:gd name="T51" fmla="*/ 43 h 291"/>
                <a:gd name="T52" fmla="*/ 238 w 333"/>
                <a:gd name="T53" fmla="*/ 72 h 291"/>
                <a:gd name="T54" fmla="*/ 279 w 333"/>
                <a:gd name="T55" fmla="*/ 89 h 291"/>
                <a:gd name="T56" fmla="*/ 153 w 333"/>
                <a:gd name="T57" fmla="*/ 110 h 291"/>
                <a:gd name="T58" fmla="*/ 92 w 333"/>
                <a:gd name="T59" fmla="*/ 123 h 291"/>
                <a:gd name="T60" fmla="*/ 59 w 333"/>
                <a:gd name="T61" fmla="*/ 141 h 291"/>
                <a:gd name="T62" fmla="*/ 74 w 333"/>
                <a:gd name="T63" fmla="*/ 123 h 291"/>
                <a:gd name="T64" fmla="*/ 74 w 333"/>
                <a:gd name="T65" fmla="*/ 110 h 291"/>
                <a:gd name="T66" fmla="*/ 10 w 333"/>
                <a:gd name="T67" fmla="*/ 10 h 291"/>
                <a:gd name="T68" fmla="*/ 156 w 333"/>
                <a:gd name="T69" fmla="*/ 107 h 291"/>
                <a:gd name="T70" fmla="*/ 330 w 333"/>
                <a:gd name="T71" fmla="*/ 153 h 291"/>
                <a:gd name="T72" fmla="*/ 320 w 333"/>
                <a:gd name="T73" fmla="*/ 143 h 291"/>
                <a:gd name="T74" fmla="*/ 169 w 333"/>
                <a:gd name="T75" fmla="*/ 153 h 291"/>
                <a:gd name="T76" fmla="*/ 141 w 333"/>
                <a:gd name="T77" fmla="*/ 243 h 291"/>
                <a:gd name="T78" fmla="*/ 97 w 333"/>
                <a:gd name="T79" fmla="*/ 222 h 291"/>
                <a:gd name="T80" fmla="*/ 97 w 333"/>
                <a:gd name="T81" fmla="*/ 194 h 291"/>
                <a:gd name="T82" fmla="*/ 54 w 333"/>
                <a:gd name="T83" fmla="*/ 169 h 291"/>
                <a:gd name="T84" fmla="*/ 54 w 333"/>
                <a:gd name="T85" fmla="*/ 217 h 291"/>
                <a:gd name="T86" fmla="*/ 77 w 333"/>
                <a:gd name="T87" fmla="*/ 217 h 291"/>
                <a:gd name="T88" fmla="*/ 118 w 333"/>
                <a:gd name="T89" fmla="*/ 245 h 291"/>
                <a:gd name="T90" fmla="*/ 158 w 333"/>
                <a:gd name="T91" fmla="*/ 253 h 291"/>
                <a:gd name="T92" fmla="*/ 176 w 333"/>
                <a:gd name="T93" fmla="*/ 263 h 291"/>
                <a:gd name="T94" fmla="*/ 230 w 333"/>
                <a:gd name="T95" fmla="*/ 271 h 291"/>
                <a:gd name="T96" fmla="*/ 207 w 333"/>
                <a:gd name="T97" fmla="*/ 276 h 291"/>
                <a:gd name="T98" fmla="*/ 202 w 333"/>
                <a:gd name="T99" fmla="*/ 286 h 291"/>
                <a:gd name="T100" fmla="*/ 292 w 333"/>
                <a:gd name="T101" fmla="*/ 291 h 291"/>
                <a:gd name="T102" fmla="*/ 299 w 333"/>
                <a:gd name="T103" fmla="*/ 284 h 291"/>
                <a:gd name="T104" fmla="*/ 287 w 333"/>
                <a:gd name="T105" fmla="*/ 276 h 291"/>
                <a:gd name="T106" fmla="*/ 266 w 333"/>
                <a:gd name="T107" fmla="*/ 268 h 291"/>
                <a:gd name="T108" fmla="*/ 330 w 333"/>
                <a:gd name="T109" fmla="*/ 256 h 291"/>
                <a:gd name="T110" fmla="*/ 61 w 333"/>
                <a:gd name="T111" fmla="*/ 181 h 291"/>
                <a:gd name="T112" fmla="*/ 320 w 333"/>
                <a:gd name="T113" fmla="*/ 256 h 291"/>
                <a:gd name="T114" fmla="*/ 258 w 333"/>
                <a:gd name="T115" fmla="*/ 268 h 291"/>
                <a:gd name="T116" fmla="*/ 225 w 333"/>
                <a:gd name="T117" fmla="*/ 284 h 291"/>
                <a:gd name="T118" fmla="*/ 243 w 333"/>
                <a:gd name="T119" fmla="*/ 266 h 291"/>
                <a:gd name="T120" fmla="*/ 240 w 333"/>
                <a:gd name="T121" fmla="*/ 256 h 291"/>
                <a:gd name="T122" fmla="*/ 176 w 333"/>
                <a:gd name="T123" fmla="*/ 250 h 291"/>
                <a:gd name="T124" fmla="*/ 322 w 333"/>
                <a:gd name="T125" fmla="*/ 15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" h="291">
                  <a:moveTo>
                    <a:pt x="20" y="92"/>
                  </a:moveTo>
                  <a:lnTo>
                    <a:pt x="23" y="95"/>
                  </a:lnTo>
                  <a:lnTo>
                    <a:pt x="23" y="95"/>
                  </a:lnTo>
                  <a:lnTo>
                    <a:pt x="143" y="95"/>
                  </a:lnTo>
                  <a:lnTo>
                    <a:pt x="146" y="92"/>
                  </a:lnTo>
                  <a:lnTo>
                    <a:pt x="146" y="89"/>
                  </a:lnTo>
                  <a:lnTo>
                    <a:pt x="146" y="18"/>
                  </a:lnTo>
                  <a:lnTo>
                    <a:pt x="143" y="15"/>
                  </a:lnTo>
                  <a:lnTo>
                    <a:pt x="141" y="15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20" y="92"/>
                  </a:lnTo>
                  <a:lnTo>
                    <a:pt x="20" y="92"/>
                  </a:lnTo>
                  <a:close/>
                  <a:moveTo>
                    <a:pt x="28" y="26"/>
                  </a:moveTo>
                  <a:lnTo>
                    <a:pt x="138" y="26"/>
                  </a:lnTo>
                  <a:lnTo>
                    <a:pt x="138" y="84"/>
                  </a:lnTo>
                  <a:lnTo>
                    <a:pt x="28" y="84"/>
                  </a:lnTo>
                  <a:lnTo>
                    <a:pt x="28" y="26"/>
                  </a:lnTo>
                  <a:close/>
                  <a:moveTo>
                    <a:pt x="315" y="235"/>
                  </a:moveTo>
                  <a:lnTo>
                    <a:pt x="315" y="164"/>
                  </a:lnTo>
                  <a:lnTo>
                    <a:pt x="312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6"/>
                  </a:lnTo>
                  <a:lnTo>
                    <a:pt x="187" y="235"/>
                  </a:lnTo>
                  <a:lnTo>
                    <a:pt x="187" y="238"/>
                  </a:lnTo>
                  <a:lnTo>
                    <a:pt x="189" y="238"/>
                  </a:lnTo>
                  <a:lnTo>
                    <a:pt x="189" y="238"/>
                  </a:lnTo>
                  <a:lnTo>
                    <a:pt x="310" y="238"/>
                  </a:lnTo>
                  <a:lnTo>
                    <a:pt x="312" y="238"/>
                  </a:lnTo>
                  <a:lnTo>
                    <a:pt x="315" y="235"/>
                  </a:lnTo>
                  <a:close/>
                  <a:moveTo>
                    <a:pt x="304" y="230"/>
                  </a:moveTo>
                  <a:lnTo>
                    <a:pt x="194" y="230"/>
                  </a:lnTo>
                  <a:lnTo>
                    <a:pt x="194" y="169"/>
                  </a:lnTo>
                  <a:lnTo>
                    <a:pt x="304" y="169"/>
                  </a:lnTo>
                  <a:lnTo>
                    <a:pt x="304" y="230"/>
                  </a:lnTo>
                  <a:close/>
                  <a:moveTo>
                    <a:pt x="281" y="49"/>
                  </a:moveTo>
                  <a:lnTo>
                    <a:pt x="281" y="49"/>
                  </a:lnTo>
                  <a:lnTo>
                    <a:pt x="279" y="46"/>
                  </a:lnTo>
                  <a:lnTo>
                    <a:pt x="276" y="46"/>
                  </a:lnTo>
                  <a:lnTo>
                    <a:pt x="274" y="46"/>
                  </a:lnTo>
                  <a:lnTo>
                    <a:pt x="261" y="54"/>
                  </a:lnTo>
                  <a:lnTo>
                    <a:pt x="258" y="51"/>
                  </a:lnTo>
                  <a:lnTo>
                    <a:pt x="251" y="41"/>
                  </a:lnTo>
                  <a:lnTo>
                    <a:pt x="240" y="33"/>
                  </a:lnTo>
                  <a:lnTo>
                    <a:pt x="230" y="28"/>
                  </a:lnTo>
                  <a:lnTo>
                    <a:pt x="225" y="26"/>
                  </a:lnTo>
                  <a:lnTo>
                    <a:pt x="215" y="20"/>
                  </a:lnTo>
                  <a:lnTo>
                    <a:pt x="205" y="15"/>
                  </a:lnTo>
                  <a:lnTo>
                    <a:pt x="199" y="15"/>
                  </a:lnTo>
                  <a:lnTo>
                    <a:pt x="187" y="13"/>
                  </a:lnTo>
                  <a:lnTo>
                    <a:pt x="174" y="10"/>
                  </a:lnTo>
                  <a:lnTo>
                    <a:pt x="171" y="10"/>
                  </a:lnTo>
                  <a:lnTo>
                    <a:pt x="166" y="13"/>
                  </a:lnTo>
                  <a:lnTo>
                    <a:pt x="164" y="8"/>
                  </a:lnTo>
                  <a:lnTo>
                    <a:pt x="164" y="3"/>
                  </a:lnTo>
                  <a:lnTo>
                    <a:pt x="158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5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7"/>
                  </a:lnTo>
                  <a:lnTo>
                    <a:pt x="2" y="112"/>
                  </a:lnTo>
                  <a:lnTo>
                    <a:pt x="5" y="115"/>
                  </a:lnTo>
                  <a:lnTo>
                    <a:pt x="7" y="118"/>
                  </a:lnTo>
                  <a:lnTo>
                    <a:pt x="10" y="118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66" y="120"/>
                  </a:lnTo>
                  <a:lnTo>
                    <a:pt x="66" y="123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1" y="128"/>
                  </a:lnTo>
                  <a:lnTo>
                    <a:pt x="59" y="128"/>
                  </a:lnTo>
                  <a:lnTo>
                    <a:pt x="56" y="130"/>
                  </a:lnTo>
                  <a:lnTo>
                    <a:pt x="48" y="130"/>
                  </a:lnTo>
                  <a:lnTo>
                    <a:pt x="41" y="133"/>
                  </a:lnTo>
                  <a:lnTo>
                    <a:pt x="38" y="133"/>
                  </a:lnTo>
                  <a:lnTo>
                    <a:pt x="36" y="138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8" y="146"/>
                  </a:lnTo>
                  <a:lnTo>
                    <a:pt x="41" y="148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125" y="148"/>
                  </a:lnTo>
                  <a:lnTo>
                    <a:pt x="128" y="148"/>
                  </a:lnTo>
                  <a:lnTo>
                    <a:pt x="128" y="146"/>
                  </a:lnTo>
                  <a:lnTo>
                    <a:pt x="130" y="146"/>
                  </a:lnTo>
                  <a:lnTo>
                    <a:pt x="130" y="146"/>
                  </a:lnTo>
                  <a:lnTo>
                    <a:pt x="133" y="141"/>
                  </a:lnTo>
                  <a:lnTo>
                    <a:pt x="130" y="138"/>
                  </a:lnTo>
                  <a:lnTo>
                    <a:pt x="130" y="135"/>
                  </a:lnTo>
                  <a:lnTo>
                    <a:pt x="128" y="133"/>
                  </a:lnTo>
                  <a:lnTo>
                    <a:pt x="125" y="133"/>
                  </a:lnTo>
                  <a:lnTo>
                    <a:pt x="123" y="130"/>
                  </a:lnTo>
                  <a:lnTo>
                    <a:pt x="120" y="133"/>
                  </a:lnTo>
                  <a:lnTo>
                    <a:pt x="112" y="130"/>
                  </a:lnTo>
                  <a:lnTo>
                    <a:pt x="107" y="130"/>
                  </a:lnTo>
                  <a:lnTo>
                    <a:pt x="102" y="125"/>
                  </a:lnTo>
                  <a:lnTo>
                    <a:pt x="100" y="123"/>
                  </a:lnTo>
                  <a:lnTo>
                    <a:pt x="100" y="120"/>
                  </a:lnTo>
                  <a:lnTo>
                    <a:pt x="156" y="120"/>
                  </a:lnTo>
                  <a:lnTo>
                    <a:pt x="158" y="118"/>
                  </a:lnTo>
                  <a:lnTo>
                    <a:pt x="161" y="115"/>
                  </a:lnTo>
                  <a:lnTo>
                    <a:pt x="164" y="112"/>
                  </a:lnTo>
                  <a:lnTo>
                    <a:pt x="164" y="107"/>
                  </a:lnTo>
                  <a:lnTo>
                    <a:pt x="164" y="107"/>
                  </a:lnTo>
                  <a:lnTo>
                    <a:pt x="164" y="20"/>
                  </a:lnTo>
                  <a:lnTo>
                    <a:pt x="174" y="20"/>
                  </a:lnTo>
                  <a:lnTo>
                    <a:pt x="179" y="20"/>
                  </a:lnTo>
                  <a:lnTo>
                    <a:pt x="192" y="20"/>
                  </a:lnTo>
                  <a:lnTo>
                    <a:pt x="202" y="23"/>
                  </a:lnTo>
                  <a:lnTo>
                    <a:pt x="207" y="26"/>
                  </a:lnTo>
                  <a:lnTo>
                    <a:pt x="217" y="31"/>
                  </a:lnTo>
                  <a:lnTo>
                    <a:pt x="223" y="33"/>
                  </a:lnTo>
                  <a:lnTo>
                    <a:pt x="230" y="38"/>
                  </a:lnTo>
                  <a:lnTo>
                    <a:pt x="238" y="43"/>
                  </a:lnTo>
                  <a:lnTo>
                    <a:pt x="248" y="51"/>
                  </a:lnTo>
                  <a:lnTo>
                    <a:pt x="253" y="56"/>
                  </a:lnTo>
                  <a:lnTo>
                    <a:pt x="238" y="66"/>
                  </a:lnTo>
                  <a:lnTo>
                    <a:pt x="235" y="69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76" y="95"/>
                  </a:lnTo>
                  <a:lnTo>
                    <a:pt x="279" y="95"/>
                  </a:lnTo>
                  <a:lnTo>
                    <a:pt x="279" y="92"/>
                  </a:lnTo>
                  <a:lnTo>
                    <a:pt x="279" y="89"/>
                  </a:lnTo>
                  <a:lnTo>
                    <a:pt x="281" y="49"/>
                  </a:lnTo>
                  <a:lnTo>
                    <a:pt x="281" y="49"/>
                  </a:lnTo>
                  <a:close/>
                  <a:moveTo>
                    <a:pt x="156" y="107"/>
                  </a:moveTo>
                  <a:lnTo>
                    <a:pt x="156" y="110"/>
                  </a:lnTo>
                  <a:lnTo>
                    <a:pt x="153" y="110"/>
                  </a:lnTo>
                  <a:lnTo>
                    <a:pt x="94" y="110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89" y="115"/>
                  </a:lnTo>
                  <a:lnTo>
                    <a:pt x="92" y="123"/>
                  </a:lnTo>
                  <a:lnTo>
                    <a:pt x="92" y="128"/>
                  </a:lnTo>
                  <a:lnTo>
                    <a:pt x="94" y="130"/>
                  </a:lnTo>
                  <a:lnTo>
                    <a:pt x="97" y="133"/>
                  </a:lnTo>
                  <a:lnTo>
                    <a:pt x="105" y="141"/>
                  </a:lnTo>
                  <a:lnTo>
                    <a:pt x="59" y="141"/>
                  </a:lnTo>
                  <a:lnTo>
                    <a:pt x="66" y="135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4" y="120"/>
                  </a:lnTo>
                  <a:lnTo>
                    <a:pt x="74" y="118"/>
                  </a:lnTo>
                  <a:lnTo>
                    <a:pt x="77" y="115"/>
                  </a:lnTo>
                  <a:lnTo>
                    <a:pt x="74" y="112"/>
                  </a:lnTo>
                  <a:lnTo>
                    <a:pt x="74" y="110"/>
                  </a:lnTo>
                  <a:lnTo>
                    <a:pt x="71" y="110"/>
                  </a:lnTo>
                  <a:lnTo>
                    <a:pt x="69" y="110"/>
                  </a:lnTo>
                  <a:lnTo>
                    <a:pt x="10" y="110"/>
                  </a:lnTo>
                  <a:lnTo>
                    <a:pt x="10" y="107"/>
                  </a:lnTo>
                  <a:lnTo>
                    <a:pt x="10" y="10"/>
                  </a:lnTo>
                  <a:lnTo>
                    <a:pt x="13" y="8"/>
                  </a:lnTo>
                  <a:lnTo>
                    <a:pt x="153" y="8"/>
                  </a:lnTo>
                  <a:lnTo>
                    <a:pt x="156" y="10"/>
                  </a:lnTo>
                  <a:lnTo>
                    <a:pt x="156" y="10"/>
                  </a:lnTo>
                  <a:lnTo>
                    <a:pt x="156" y="107"/>
                  </a:lnTo>
                  <a:close/>
                  <a:moveTo>
                    <a:pt x="271" y="82"/>
                  </a:moveTo>
                  <a:lnTo>
                    <a:pt x="248" y="69"/>
                  </a:lnTo>
                  <a:lnTo>
                    <a:pt x="271" y="56"/>
                  </a:lnTo>
                  <a:lnTo>
                    <a:pt x="271" y="82"/>
                  </a:lnTo>
                  <a:close/>
                  <a:moveTo>
                    <a:pt x="330" y="153"/>
                  </a:moveTo>
                  <a:lnTo>
                    <a:pt x="330" y="148"/>
                  </a:lnTo>
                  <a:lnTo>
                    <a:pt x="327" y="146"/>
                  </a:lnTo>
                  <a:lnTo>
                    <a:pt x="325" y="146"/>
                  </a:lnTo>
                  <a:lnTo>
                    <a:pt x="322" y="143"/>
                  </a:lnTo>
                  <a:lnTo>
                    <a:pt x="320" y="143"/>
                  </a:lnTo>
                  <a:lnTo>
                    <a:pt x="176" y="143"/>
                  </a:lnTo>
                  <a:lnTo>
                    <a:pt x="174" y="143"/>
                  </a:lnTo>
                  <a:lnTo>
                    <a:pt x="171" y="146"/>
                  </a:lnTo>
                  <a:lnTo>
                    <a:pt x="169" y="151"/>
                  </a:lnTo>
                  <a:lnTo>
                    <a:pt x="169" y="153"/>
                  </a:lnTo>
                  <a:lnTo>
                    <a:pt x="169" y="156"/>
                  </a:lnTo>
                  <a:lnTo>
                    <a:pt x="169" y="243"/>
                  </a:lnTo>
                  <a:lnTo>
                    <a:pt x="158" y="243"/>
                  </a:lnTo>
                  <a:lnTo>
                    <a:pt x="151" y="243"/>
                  </a:lnTo>
                  <a:lnTo>
                    <a:pt x="141" y="243"/>
                  </a:lnTo>
                  <a:lnTo>
                    <a:pt x="130" y="240"/>
                  </a:lnTo>
                  <a:lnTo>
                    <a:pt x="125" y="238"/>
                  </a:lnTo>
                  <a:lnTo>
                    <a:pt x="115" y="235"/>
                  </a:lnTo>
                  <a:lnTo>
                    <a:pt x="107" y="230"/>
                  </a:lnTo>
                  <a:lnTo>
                    <a:pt x="97" y="222"/>
                  </a:lnTo>
                  <a:lnTo>
                    <a:pt x="92" y="220"/>
                  </a:lnTo>
                  <a:lnTo>
                    <a:pt x="84" y="212"/>
                  </a:lnTo>
                  <a:lnTo>
                    <a:pt x="79" y="207"/>
                  </a:lnTo>
                  <a:lnTo>
                    <a:pt x="94" y="197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4" y="192"/>
                  </a:lnTo>
                  <a:lnTo>
                    <a:pt x="94" y="192"/>
                  </a:lnTo>
                  <a:lnTo>
                    <a:pt x="56" y="169"/>
                  </a:lnTo>
                  <a:lnTo>
                    <a:pt x="54" y="169"/>
                  </a:lnTo>
                  <a:lnTo>
                    <a:pt x="54" y="171"/>
                  </a:lnTo>
                  <a:lnTo>
                    <a:pt x="54" y="174"/>
                  </a:lnTo>
                  <a:lnTo>
                    <a:pt x="51" y="215"/>
                  </a:lnTo>
                  <a:lnTo>
                    <a:pt x="54" y="217"/>
                  </a:lnTo>
                  <a:lnTo>
                    <a:pt x="54" y="217"/>
                  </a:lnTo>
                  <a:lnTo>
                    <a:pt x="56" y="220"/>
                  </a:lnTo>
                  <a:lnTo>
                    <a:pt x="59" y="217"/>
                  </a:lnTo>
                  <a:lnTo>
                    <a:pt x="71" y="210"/>
                  </a:lnTo>
                  <a:lnTo>
                    <a:pt x="74" y="212"/>
                  </a:lnTo>
                  <a:lnTo>
                    <a:pt x="77" y="217"/>
                  </a:lnTo>
                  <a:lnTo>
                    <a:pt x="82" y="222"/>
                  </a:lnTo>
                  <a:lnTo>
                    <a:pt x="92" y="230"/>
                  </a:lnTo>
                  <a:lnTo>
                    <a:pt x="100" y="235"/>
                  </a:lnTo>
                  <a:lnTo>
                    <a:pt x="105" y="240"/>
                  </a:lnTo>
                  <a:lnTo>
                    <a:pt x="118" y="245"/>
                  </a:lnTo>
                  <a:lnTo>
                    <a:pt x="128" y="248"/>
                  </a:lnTo>
                  <a:lnTo>
                    <a:pt x="133" y="250"/>
                  </a:lnTo>
                  <a:lnTo>
                    <a:pt x="141" y="250"/>
                  </a:lnTo>
                  <a:lnTo>
                    <a:pt x="151" y="253"/>
                  </a:lnTo>
                  <a:lnTo>
                    <a:pt x="158" y="253"/>
                  </a:lnTo>
                  <a:lnTo>
                    <a:pt x="161" y="253"/>
                  </a:lnTo>
                  <a:lnTo>
                    <a:pt x="169" y="253"/>
                  </a:lnTo>
                  <a:lnTo>
                    <a:pt x="169" y="256"/>
                  </a:lnTo>
                  <a:lnTo>
                    <a:pt x="171" y="261"/>
                  </a:lnTo>
                  <a:lnTo>
                    <a:pt x="176" y="263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233" y="263"/>
                  </a:lnTo>
                  <a:lnTo>
                    <a:pt x="230" y="268"/>
                  </a:lnTo>
                  <a:lnTo>
                    <a:pt x="230" y="271"/>
                  </a:lnTo>
                  <a:lnTo>
                    <a:pt x="228" y="271"/>
                  </a:lnTo>
                  <a:lnTo>
                    <a:pt x="228" y="273"/>
                  </a:lnTo>
                  <a:lnTo>
                    <a:pt x="225" y="273"/>
                  </a:lnTo>
                  <a:lnTo>
                    <a:pt x="217" y="276"/>
                  </a:lnTo>
                  <a:lnTo>
                    <a:pt x="207" y="276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2" y="284"/>
                  </a:lnTo>
                  <a:lnTo>
                    <a:pt x="202" y="286"/>
                  </a:lnTo>
                  <a:lnTo>
                    <a:pt x="202" y="286"/>
                  </a:lnTo>
                  <a:lnTo>
                    <a:pt x="205" y="289"/>
                  </a:lnTo>
                  <a:lnTo>
                    <a:pt x="207" y="291"/>
                  </a:lnTo>
                  <a:lnTo>
                    <a:pt x="210" y="291"/>
                  </a:lnTo>
                  <a:lnTo>
                    <a:pt x="210" y="291"/>
                  </a:lnTo>
                  <a:lnTo>
                    <a:pt x="292" y="291"/>
                  </a:lnTo>
                  <a:lnTo>
                    <a:pt x="294" y="291"/>
                  </a:lnTo>
                  <a:lnTo>
                    <a:pt x="297" y="289"/>
                  </a:lnTo>
                  <a:lnTo>
                    <a:pt x="297" y="289"/>
                  </a:lnTo>
                  <a:lnTo>
                    <a:pt x="299" y="286"/>
                  </a:lnTo>
                  <a:lnTo>
                    <a:pt x="299" y="284"/>
                  </a:lnTo>
                  <a:lnTo>
                    <a:pt x="297" y="281"/>
                  </a:lnTo>
                  <a:lnTo>
                    <a:pt x="297" y="279"/>
                  </a:lnTo>
                  <a:lnTo>
                    <a:pt x="292" y="276"/>
                  </a:lnTo>
                  <a:lnTo>
                    <a:pt x="289" y="276"/>
                  </a:lnTo>
                  <a:lnTo>
                    <a:pt x="287" y="276"/>
                  </a:lnTo>
                  <a:lnTo>
                    <a:pt x="281" y="276"/>
                  </a:lnTo>
                  <a:lnTo>
                    <a:pt x="274" y="273"/>
                  </a:lnTo>
                  <a:lnTo>
                    <a:pt x="269" y="271"/>
                  </a:lnTo>
                  <a:lnTo>
                    <a:pt x="269" y="271"/>
                  </a:lnTo>
                  <a:lnTo>
                    <a:pt x="266" y="268"/>
                  </a:lnTo>
                  <a:lnTo>
                    <a:pt x="266" y="263"/>
                  </a:lnTo>
                  <a:lnTo>
                    <a:pt x="322" y="263"/>
                  </a:lnTo>
                  <a:lnTo>
                    <a:pt x="327" y="261"/>
                  </a:lnTo>
                  <a:lnTo>
                    <a:pt x="330" y="258"/>
                  </a:lnTo>
                  <a:lnTo>
                    <a:pt x="330" y="256"/>
                  </a:lnTo>
                  <a:lnTo>
                    <a:pt x="330" y="253"/>
                  </a:lnTo>
                  <a:lnTo>
                    <a:pt x="333" y="250"/>
                  </a:lnTo>
                  <a:lnTo>
                    <a:pt x="330" y="153"/>
                  </a:lnTo>
                  <a:close/>
                  <a:moveTo>
                    <a:pt x="61" y="207"/>
                  </a:moveTo>
                  <a:lnTo>
                    <a:pt x="61" y="181"/>
                  </a:lnTo>
                  <a:lnTo>
                    <a:pt x="82" y="194"/>
                  </a:lnTo>
                  <a:lnTo>
                    <a:pt x="61" y="207"/>
                  </a:lnTo>
                  <a:close/>
                  <a:moveTo>
                    <a:pt x="322" y="250"/>
                  </a:moveTo>
                  <a:lnTo>
                    <a:pt x="322" y="253"/>
                  </a:lnTo>
                  <a:lnTo>
                    <a:pt x="320" y="256"/>
                  </a:lnTo>
                  <a:lnTo>
                    <a:pt x="261" y="256"/>
                  </a:lnTo>
                  <a:lnTo>
                    <a:pt x="258" y="256"/>
                  </a:lnTo>
                  <a:lnTo>
                    <a:pt x="258" y="258"/>
                  </a:lnTo>
                  <a:lnTo>
                    <a:pt x="258" y="258"/>
                  </a:lnTo>
                  <a:lnTo>
                    <a:pt x="258" y="268"/>
                  </a:lnTo>
                  <a:lnTo>
                    <a:pt x="261" y="273"/>
                  </a:lnTo>
                  <a:lnTo>
                    <a:pt x="263" y="276"/>
                  </a:lnTo>
                  <a:lnTo>
                    <a:pt x="263" y="279"/>
                  </a:lnTo>
                  <a:lnTo>
                    <a:pt x="271" y="284"/>
                  </a:lnTo>
                  <a:lnTo>
                    <a:pt x="225" y="284"/>
                  </a:lnTo>
                  <a:lnTo>
                    <a:pt x="235" y="279"/>
                  </a:lnTo>
                  <a:lnTo>
                    <a:pt x="238" y="276"/>
                  </a:lnTo>
                  <a:lnTo>
                    <a:pt x="240" y="273"/>
                  </a:lnTo>
                  <a:lnTo>
                    <a:pt x="240" y="268"/>
                  </a:lnTo>
                  <a:lnTo>
                    <a:pt x="243" y="266"/>
                  </a:lnTo>
                  <a:lnTo>
                    <a:pt x="243" y="263"/>
                  </a:lnTo>
                  <a:lnTo>
                    <a:pt x="243" y="261"/>
                  </a:lnTo>
                  <a:lnTo>
                    <a:pt x="243" y="258"/>
                  </a:lnTo>
                  <a:lnTo>
                    <a:pt x="243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5" y="256"/>
                  </a:lnTo>
                  <a:lnTo>
                    <a:pt x="179" y="253"/>
                  </a:lnTo>
                  <a:lnTo>
                    <a:pt x="176" y="253"/>
                  </a:lnTo>
                  <a:lnTo>
                    <a:pt x="176" y="250"/>
                  </a:lnTo>
                  <a:lnTo>
                    <a:pt x="176" y="153"/>
                  </a:lnTo>
                  <a:lnTo>
                    <a:pt x="179" y="151"/>
                  </a:lnTo>
                  <a:lnTo>
                    <a:pt x="320" y="153"/>
                  </a:lnTo>
                  <a:lnTo>
                    <a:pt x="322" y="153"/>
                  </a:lnTo>
                  <a:lnTo>
                    <a:pt x="322" y="153"/>
                  </a:lnTo>
                  <a:lnTo>
                    <a:pt x="322" y="2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6">
            <a:extLst>
              <a:ext uri="{FF2B5EF4-FFF2-40B4-BE49-F238E27FC236}">
                <a16:creationId xmlns:a16="http://schemas.microsoft.com/office/drawing/2014/main" id="{1FD16DB0-B020-4878-80C0-CB121A62019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5488" y="293689"/>
            <a:ext cx="760413" cy="758825"/>
            <a:chOff x="3696" y="387"/>
            <a:chExt cx="479" cy="478"/>
          </a:xfrm>
        </p:grpSpPr>
        <p:sp>
          <p:nvSpPr>
            <p:cNvPr id="34" name="AutoShape 25">
              <a:extLst>
                <a:ext uri="{FF2B5EF4-FFF2-40B4-BE49-F238E27FC236}">
                  <a16:creationId xmlns:a16="http://schemas.microsoft.com/office/drawing/2014/main" id="{D6881926-E3C0-494C-8602-68B3801B5A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6" y="38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CAFB055E-51B6-4AA8-B050-C8ABDA608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8" y="38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B74F7623-86C1-46CE-A884-193349FA13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" y="478"/>
              <a:ext cx="324" cy="299"/>
            </a:xfrm>
            <a:custGeom>
              <a:avLst/>
              <a:gdLst>
                <a:gd name="T0" fmla="*/ 184 w 324"/>
                <a:gd name="T1" fmla="*/ 174 h 299"/>
                <a:gd name="T2" fmla="*/ 304 w 324"/>
                <a:gd name="T3" fmla="*/ 247 h 299"/>
                <a:gd name="T4" fmla="*/ 307 w 324"/>
                <a:gd name="T5" fmla="*/ 174 h 299"/>
                <a:gd name="T6" fmla="*/ 299 w 324"/>
                <a:gd name="T7" fmla="*/ 237 h 299"/>
                <a:gd name="T8" fmla="*/ 184 w 324"/>
                <a:gd name="T9" fmla="*/ 127 h 299"/>
                <a:gd name="T10" fmla="*/ 199 w 324"/>
                <a:gd name="T11" fmla="*/ 95 h 299"/>
                <a:gd name="T12" fmla="*/ 186 w 324"/>
                <a:gd name="T13" fmla="*/ 66 h 299"/>
                <a:gd name="T14" fmla="*/ 164 w 324"/>
                <a:gd name="T15" fmla="*/ 44 h 299"/>
                <a:gd name="T16" fmla="*/ 199 w 324"/>
                <a:gd name="T17" fmla="*/ 41 h 299"/>
                <a:gd name="T18" fmla="*/ 240 w 324"/>
                <a:gd name="T19" fmla="*/ 63 h 299"/>
                <a:gd name="T20" fmla="*/ 233 w 324"/>
                <a:gd name="T21" fmla="*/ 88 h 299"/>
                <a:gd name="T22" fmla="*/ 275 w 324"/>
                <a:gd name="T23" fmla="*/ 66 h 299"/>
                <a:gd name="T24" fmla="*/ 250 w 324"/>
                <a:gd name="T25" fmla="*/ 63 h 299"/>
                <a:gd name="T26" fmla="*/ 196 w 324"/>
                <a:gd name="T27" fmla="*/ 32 h 299"/>
                <a:gd name="T28" fmla="*/ 154 w 324"/>
                <a:gd name="T29" fmla="*/ 22 h 299"/>
                <a:gd name="T30" fmla="*/ 120 w 324"/>
                <a:gd name="T31" fmla="*/ 2 h 299"/>
                <a:gd name="T32" fmla="*/ 83 w 324"/>
                <a:gd name="T33" fmla="*/ 5 h 299"/>
                <a:gd name="T34" fmla="*/ 51 w 324"/>
                <a:gd name="T35" fmla="*/ 29 h 299"/>
                <a:gd name="T36" fmla="*/ 27 w 324"/>
                <a:gd name="T37" fmla="*/ 44 h 299"/>
                <a:gd name="T38" fmla="*/ 0 w 324"/>
                <a:gd name="T39" fmla="*/ 76 h 299"/>
                <a:gd name="T40" fmla="*/ 2 w 324"/>
                <a:gd name="T41" fmla="*/ 105 h 299"/>
                <a:gd name="T42" fmla="*/ 19 w 324"/>
                <a:gd name="T43" fmla="*/ 127 h 299"/>
                <a:gd name="T44" fmla="*/ 267 w 324"/>
                <a:gd name="T45" fmla="*/ 73 h 299"/>
                <a:gd name="T46" fmla="*/ 36 w 324"/>
                <a:gd name="T47" fmla="*/ 125 h 299"/>
                <a:gd name="T48" fmla="*/ 14 w 324"/>
                <a:gd name="T49" fmla="*/ 110 h 299"/>
                <a:gd name="T50" fmla="*/ 7 w 324"/>
                <a:gd name="T51" fmla="*/ 83 h 299"/>
                <a:gd name="T52" fmla="*/ 32 w 324"/>
                <a:gd name="T53" fmla="*/ 51 h 299"/>
                <a:gd name="T54" fmla="*/ 54 w 324"/>
                <a:gd name="T55" fmla="*/ 46 h 299"/>
                <a:gd name="T56" fmla="*/ 73 w 324"/>
                <a:gd name="T57" fmla="*/ 19 h 299"/>
                <a:gd name="T58" fmla="*/ 108 w 324"/>
                <a:gd name="T59" fmla="*/ 9 h 299"/>
                <a:gd name="T60" fmla="*/ 142 w 324"/>
                <a:gd name="T61" fmla="*/ 24 h 299"/>
                <a:gd name="T62" fmla="*/ 159 w 324"/>
                <a:gd name="T63" fmla="*/ 63 h 299"/>
                <a:gd name="T64" fmla="*/ 186 w 324"/>
                <a:gd name="T65" fmla="*/ 81 h 299"/>
                <a:gd name="T66" fmla="*/ 189 w 324"/>
                <a:gd name="T67" fmla="*/ 105 h 299"/>
                <a:gd name="T68" fmla="*/ 172 w 324"/>
                <a:gd name="T69" fmla="*/ 125 h 299"/>
                <a:gd name="T70" fmla="*/ 324 w 324"/>
                <a:gd name="T71" fmla="*/ 164 h 299"/>
                <a:gd name="T72" fmla="*/ 176 w 324"/>
                <a:gd name="T73" fmla="*/ 157 h 299"/>
                <a:gd name="T74" fmla="*/ 167 w 324"/>
                <a:gd name="T75" fmla="*/ 166 h 299"/>
                <a:gd name="T76" fmla="*/ 135 w 324"/>
                <a:gd name="T77" fmla="*/ 250 h 299"/>
                <a:gd name="T78" fmla="*/ 90 w 324"/>
                <a:gd name="T79" fmla="*/ 225 h 299"/>
                <a:gd name="T80" fmla="*/ 61 w 324"/>
                <a:gd name="T81" fmla="*/ 181 h 299"/>
                <a:gd name="T82" fmla="*/ 54 w 324"/>
                <a:gd name="T83" fmla="*/ 225 h 299"/>
                <a:gd name="T84" fmla="*/ 83 w 324"/>
                <a:gd name="T85" fmla="*/ 230 h 299"/>
                <a:gd name="T86" fmla="*/ 122 w 324"/>
                <a:gd name="T87" fmla="*/ 255 h 299"/>
                <a:gd name="T88" fmla="*/ 169 w 324"/>
                <a:gd name="T89" fmla="*/ 264 h 299"/>
                <a:gd name="T90" fmla="*/ 228 w 324"/>
                <a:gd name="T91" fmla="*/ 277 h 299"/>
                <a:gd name="T92" fmla="*/ 206 w 324"/>
                <a:gd name="T93" fmla="*/ 284 h 299"/>
                <a:gd name="T94" fmla="*/ 201 w 324"/>
                <a:gd name="T95" fmla="*/ 294 h 299"/>
                <a:gd name="T96" fmla="*/ 287 w 324"/>
                <a:gd name="T97" fmla="*/ 299 h 299"/>
                <a:gd name="T98" fmla="*/ 289 w 324"/>
                <a:gd name="T99" fmla="*/ 284 h 299"/>
                <a:gd name="T100" fmla="*/ 267 w 324"/>
                <a:gd name="T101" fmla="*/ 279 h 299"/>
                <a:gd name="T102" fmla="*/ 319 w 324"/>
                <a:gd name="T103" fmla="*/ 269 h 299"/>
                <a:gd name="T104" fmla="*/ 63 w 324"/>
                <a:gd name="T105" fmla="*/ 215 h 299"/>
                <a:gd name="T106" fmla="*/ 314 w 324"/>
                <a:gd name="T107" fmla="*/ 262 h 299"/>
                <a:gd name="T108" fmla="*/ 253 w 324"/>
                <a:gd name="T109" fmla="*/ 269 h 299"/>
                <a:gd name="T110" fmla="*/ 267 w 324"/>
                <a:gd name="T111" fmla="*/ 291 h 299"/>
                <a:gd name="T112" fmla="*/ 238 w 324"/>
                <a:gd name="T113" fmla="*/ 272 h 299"/>
                <a:gd name="T114" fmla="*/ 231 w 324"/>
                <a:gd name="T115" fmla="*/ 262 h 299"/>
                <a:gd name="T116" fmla="*/ 179 w 324"/>
                <a:gd name="T117" fmla="*/ 16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4" h="299">
                  <a:moveTo>
                    <a:pt x="304" y="174"/>
                  </a:moveTo>
                  <a:lnTo>
                    <a:pt x="304" y="171"/>
                  </a:lnTo>
                  <a:lnTo>
                    <a:pt x="302" y="171"/>
                  </a:lnTo>
                  <a:lnTo>
                    <a:pt x="186" y="171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6"/>
                  </a:lnTo>
                  <a:lnTo>
                    <a:pt x="184" y="245"/>
                  </a:lnTo>
                  <a:lnTo>
                    <a:pt x="184" y="245"/>
                  </a:lnTo>
                  <a:lnTo>
                    <a:pt x="186" y="247"/>
                  </a:lnTo>
                  <a:lnTo>
                    <a:pt x="189" y="247"/>
                  </a:lnTo>
                  <a:lnTo>
                    <a:pt x="304" y="247"/>
                  </a:lnTo>
                  <a:lnTo>
                    <a:pt x="304" y="247"/>
                  </a:lnTo>
                  <a:lnTo>
                    <a:pt x="307" y="245"/>
                  </a:lnTo>
                  <a:lnTo>
                    <a:pt x="307" y="245"/>
                  </a:lnTo>
                  <a:lnTo>
                    <a:pt x="307" y="242"/>
                  </a:lnTo>
                  <a:lnTo>
                    <a:pt x="307" y="176"/>
                  </a:lnTo>
                  <a:lnTo>
                    <a:pt x="307" y="174"/>
                  </a:lnTo>
                  <a:lnTo>
                    <a:pt x="304" y="174"/>
                  </a:lnTo>
                  <a:close/>
                  <a:moveTo>
                    <a:pt x="299" y="237"/>
                  </a:moveTo>
                  <a:lnTo>
                    <a:pt x="191" y="237"/>
                  </a:lnTo>
                  <a:lnTo>
                    <a:pt x="191" y="181"/>
                  </a:lnTo>
                  <a:lnTo>
                    <a:pt x="299" y="181"/>
                  </a:lnTo>
                  <a:lnTo>
                    <a:pt x="299" y="237"/>
                  </a:lnTo>
                  <a:close/>
                  <a:moveTo>
                    <a:pt x="164" y="135"/>
                  </a:moveTo>
                  <a:lnTo>
                    <a:pt x="169" y="135"/>
                  </a:lnTo>
                  <a:lnTo>
                    <a:pt x="172" y="135"/>
                  </a:lnTo>
                  <a:lnTo>
                    <a:pt x="179" y="132"/>
                  </a:lnTo>
                  <a:lnTo>
                    <a:pt x="181" y="130"/>
                  </a:lnTo>
                  <a:lnTo>
                    <a:pt x="184" y="127"/>
                  </a:lnTo>
                  <a:lnTo>
                    <a:pt x="186" y="125"/>
                  </a:lnTo>
                  <a:lnTo>
                    <a:pt x="189" y="122"/>
                  </a:lnTo>
                  <a:lnTo>
                    <a:pt x="191" y="117"/>
                  </a:lnTo>
                  <a:lnTo>
                    <a:pt x="196" y="112"/>
                  </a:lnTo>
                  <a:lnTo>
                    <a:pt x="199" y="105"/>
                  </a:lnTo>
                  <a:lnTo>
                    <a:pt x="199" y="95"/>
                  </a:lnTo>
                  <a:lnTo>
                    <a:pt x="199" y="93"/>
                  </a:lnTo>
                  <a:lnTo>
                    <a:pt x="199" y="85"/>
                  </a:lnTo>
                  <a:lnTo>
                    <a:pt x="196" y="81"/>
                  </a:lnTo>
                  <a:lnTo>
                    <a:pt x="191" y="76"/>
                  </a:lnTo>
                  <a:lnTo>
                    <a:pt x="191" y="71"/>
                  </a:lnTo>
                  <a:lnTo>
                    <a:pt x="186" y="66"/>
                  </a:lnTo>
                  <a:lnTo>
                    <a:pt x="181" y="63"/>
                  </a:lnTo>
                  <a:lnTo>
                    <a:pt x="179" y="61"/>
                  </a:lnTo>
                  <a:lnTo>
                    <a:pt x="172" y="59"/>
                  </a:lnTo>
                  <a:lnTo>
                    <a:pt x="167" y="59"/>
                  </a:lnTo>
                  <a:lnTo>
                    <a:pt x="167" y="51"/>
                  </a:lnTo>
                  <a:lnTo>
                    <a:pt x="164" y="44"/>
                  </a:lnTo>
                  <a:lnTo>
                    <a:pt x="164" y="39"/>
                  </a:lnTo>
                  <a:lnTo>
                    <a:pt x="169" y="39"/>
                  </a:lnTo>
                  <a:lnTo>
                    <a:pt x="174" y="36"/>
                  </a:lnTo>
                  <a:lnTo>
                    <a:pt x="184" y="39"/>
                  </a:lnTo>
                  <a:lnTo>
                    <a:pt x="194" y="39"/>
                  </a:lnTo>
                  <a:lnTo>
                    <a:pt x="199" y="41"/>
                  </a:lnTo>
                  <a:lnTo>
                    <a:pt x="208" y="44"/>
                  </a:lnTo>
                  <a:lnTo>
                    <a:pt x="213" y="46"/>
                  </a:lnTo>
                  <a:lnTo>
                    <a:pt x="223" y="51"/>
                  </a:lnTo>
                  <a:lnTo>
                    <a:pt x="231" y="59"/>
                  </a:lnTo>
                  <a:lnTo>
                    <a:pt x="235" y="61"/>
                  </a:lnTo>
                  <a:lnTo>
                    <a:pt x="240" y="63"/>
                  </a:lnTo>
                  <a:lnTo>
                    <a:pt x="248" y="73"/>
                  </a:lnTo>
                  <a:lnTo>
                    <a:pt x="233" y="81"/>
                  </a:lnTo>
                  <a:lnTo>
                    <a:pt x="233" y="83"/>
                  </a:lnTo>
                  <a:lnTo>
                    <a:pt x="233" y="85"/>
                  </a:lnTo>
                  <a:lnTo>
                    <a:pt x="233" y="85"/>
                  </a:lnTo>
                  <a:lnTo>
                    <a:pt x="233" y="88"/>
                  </a:lnTo>
                  <a:lnTo>
                    <a:pt x="235" y="88"/>
                  </a:lnTo>
                  <a:lnTo>
                    <a:pt x="270" y="110"/>
                  </a:lnTo>
                  <a:lnTo>
                    <a:pt x="272" y="110"/>
                  </a:lnTo>
                  <a:lnTo>
                    <a:pt x="275" y="108"/>
                  </a:lnTo>
                  <a:lnTo>
                    <a:pt x="275" y="105"/>
                  </a:lnTo>
                  <a:lnTo>
                    <a:pt x="275" y="66"/>
                  </a:lnTo>
                  <a:lnTo>
                    <a:pt x="275" y="63"/>
                  </a:lnTo>
                  <a:lnTo>
                    <a:pt x="272" y="61"/>
                  </a:lnTo>
                  <a:lnTo>
                    <a:pt x="270" y="61"/>
                  </a:lnTo>
                  <a:lnTo>
                    <a:pt x="255" y="68"/>
                  </a:lnTo>
                  <a:lnTo>
                    <a:pt x="255" y="68"/>
                  </a:lnTo>
                  <a:lnTo>
                    <a:pt x="250" y="63"/>
                  </a:lnTo>
                  <a:lnTo>
                    <a:pt x="243" y="54"/>
                  </a:lnTo>
                  <a:lnTo>
                    <a:pt x="233" y="49"/>
                  </a:lnTo>
                  <a:lnTo>
                    <a:pt x="228" y="44"/>
                  </a:lnTo>
                  <a:lnTo>
                    <a:pt x="218" y="39"/>
                  </a:lnTo>
                  <a:lnTo>
                    <a:pt x="206" y="34"/>
                  </a:lnTo>
                  <a:lnTo>
                    <a:pt x="196" y="32"/>
                  </a:lnTo>
                  <a:lnTo>
                    <a:pt x="189" y="32"/>
                  </a:lnTo>
                  <a:lnTo>
                    <a:pt x="179" y="29"/>
                  </a:lnTo>
                  <a:lnTo>
                    <a:pt x="172" y="29"/>
                  </a:lnTo>
                  <a:lnTo>
                    <a:pt x="167" y="29"/>
                  </a:lnTo>
                  <a:lnTo>
                    <a:pt x="159" y="29"/>
                  </a:lnTo>
                  <a:lnTo>
                    <a:pt x="154" y="22"/>
                  </a:lnTo>
                  <a:lnTo>
                    <a:pt x="147" y="17"/>
                  </a:lnTo>
                  <a:lnTo>
                    <a:pt x="142" y="12"/>
                  </a:lnTo>
                  <a:lnTo>
                    <a:pt x="135" y="7"/>
                  </a:lnTo>
                  <a:lnTo>
                    <a:pt x="127" y="5"/>
                  </a:lnTo>
                  <a:lnTo>
                    <a:pt x="125" y="2"/>
                  </a:lnTo>
                  <a:lnTo>
                    <a:pt x="120" y="2"/>
                  </a:lnTo>
                  <a:lnTo>
                    <a:pt x="113" y="0"/>
                  </a:lnTo>
                  <a:lnTo>
                    <a:pt x="110" y="0"/>
                  </a:lnTo>
                  <a:lnTo>
                    <a:pt x="105" y="0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3" y="5"/>
                  </a:lnTo>
                  <a:lnTo>
                    <a:pt x="73" y="7"/>
                  </a:lnTo>
                  <a:lnTo>
                    <a:pt x="66" y="12"/>
                  </a:lnTo>
                  <a:lnTo>
                    <a:pt x="63" y="17"/>
                  </a:lnTo>
                  <a:lnTo>
                    <a:pt x="56" y="22"/>
                  </a:lnTo>
                  <a:lnTo>
                    <a:pt x="54" y="27"/>
                  </a:lnTo>
                  <a:lnTo>
                    <a:pt x="51" y="29"/>
                  </a:lnTo>
                  <a:lnTo>
                    <a:pt x="49" y="34"/>
                  </a:lnTo>
                  <a:lnTo>
                    <a:pt x="46" y="39"/>
                  </a:lnTo>
                  <a:lnTo>
                    <a:pt x="39" y="41"/>
                  </a:lnTo>
                  <a:lnTo>
                    <a:pt x="34" y="41"/>
                  </a:lnTo>
                  <a:lnTo>
                    <a:pt x="32" y="41"/>
                  </a:lnTo>
                  <a:lnTo>
                    <a:pt x="27" y="44"/>
                  </a:lnTo>
                  <a:lnTo>
                    <a:pt x="19" y="49"/>
                  </a:lnTo>
                  <a:lnTo>
                    <a:pt x="12" y="54"/>
                  </a:lnTo>
                  <a:lnTo>
                    <a:pt x="7" y="59"/>
                  </a:lnTo>
                  <a:lnTo>
                    <a:pt x="5" y="63"/>
                  </a:lnTo>
                  <a:lnTo>
                    <a:pt x="2" y="71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0" y="85"/>
                  </a:lnTo>
                  <a:lnTo>
                    <a:pt x="0" y="93"/>
                  </a:lnTo>
                  <a:lnTo>
                    <a:pt x="0" y="100"/>
                  </a:lnTo>
                  <a:lnTo>
                    <a:pt x="2" y="103"/>
                  </a:lnTo>
                  <a:lnTo>
                    <a:pt x="2" y="105"/>
                  </a:lnTo>
                  <a:lnTo>
                    <a:pt x="5" y="108"/>
                  </a:lnTo>
                  <a:lnTo>
                    <a:pt x="7" y="115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14" y="122"/>
                  </a:lnTo>
                  <a:lnTo>
                    <a:pt x="19" y="127"/>
                  </a:lnTo>
                  <a:lnTo>
                    <a:pt x="29" y="132"/>
                  </a:lnTo>
                  <a:lnTo>
                    <a:pt x="32" y="135"/>
                  </a:lnTo>
                  <a:lnTo>
                    <a:pt x="39" y="135"/>
                  </a:lnTo>
                  <a:lnTo>
                    <a:pt x="46" y="137"/>
                  </a:lnTo>
                  <a:lnTo>
                    <a:pt x="164" y="135"/>
                  </a:lnTo>
                  <a:close/>
                  <a:moveTo>
                    <a:pt x="267" y="73"/>
                  </a:moveTo>
                  <a:lnTo>
                    <a:pt x="267" y="98"/>
                  </a:lnTo>
                  <a:lnTo>
                    <a:pt x="245" y="85"/>
                  </a:lnTo>
                  <a:lnTo>
                    <a:pt x="267" y="73"/>
                  </a:lnTo>
                  <a:close/>
                  <a:moveTo>
                    <a:pt x="44" y="127"/>
                  </a:moveTo>
                  <a:lnTo>
                    <a:pt x="39" y="127"/>
                  </a:lnTo>
                  <a:lnTo>
                    <a:pt x="36" y="125"/>
                  </a:lnTo>
                  <a:lnTo>
                    <a:pt x="32" y="125"/>
                  </a:lnTo>
                  <a:lnTo>
                    <a:pt x="29" y="122"/>
                  </a:lnTo>
                  <a:lnTo>
                    <a:pt x="24" y="120"/>
                  </a:lnTo>
                  <a:lnTo>
                    <a:pt x="19" y="115"/>
                  </a:lnTo>
                  <a:lnTo>
                    <a:pt x="17" y="112"/>
                  </a:lnTo>
                  <a:lnTo>
                    <a:pt x="14" y="110"/>
                  </a:lnTo>
                  <a:lnTo>
                    <a:pt x="12" y="108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7" y="90"/>
                  </a:lnTo>
                  <a:lnTo>
                    <a:pt x="7" y="85"/>
                  </a:lnTo>
                  <a:lnTo>
                    <a:pt x="7" y="83"/>
                  </a:lnTo>
                  <a:lnTo>
                    <a:pt x="9" y="76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9" y="61"/>
                  </a:lnTo>
                  <a:lnTo>
                    <a:pt x="24" y="56"/>
                  </a:lnTo>
                  <a:lnTo>
                    <a:pt x="32" y="51"/>
                  </a:lnTo>
                  <a:lnTo>
                    <a:pt x="34" y="49"/>
                  </a:lnTo>
                  <a:lnTo>
                    <a:pt x="44" y="49"/>
                  </a:lnTo>
                  <a:lnTo>
                    <a:pt x="46" y="49"/>
                  </a:lnTo>
                  <a:lnTo>
                    <a:pt x="49" y="49"/>
                  </a:lnTo>
                  <a:lnTo>
                    <a:pt x="51" y="49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6" y="41"/>
                  </a:lnTo>
                  <a:lnTo>
                    <a:pt x="59" y="34"/>
                  </a:lnTo>
                  <a:lnTo>
                    <a:pt x="63" y="27"/>
                  </a:lnTo>
                  <a:lnTo>
                    <a:pt x="68" y="24"/>
                  </a:lnTo>
                  <a:lnTo>
                    <a:pt x="73" y="19"/>
                  </a:lnTo>
                  <a:lnTo>
                    <a:pt x="81" y="14"/>
                  </a:lnTo>
                  <a:lnTo>
                    <a:pt x="86" y="12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100" y="9"/>
                  </a:lnTo>
                  <a:lnTo>
                    <a:pt x="108" y="9"/>
                  </a:lnTo>
                  <a:lnTo>
                    <a:pt x="113" y="9"/>
                  </a:lnTo>
                  <a:lnTo>
                    <a:pt x="118" y="9"/>
                  </a:lnTo>
                  <a:lnTo>
                    <a:pt x="125" y="12"/>
                  </a:lnTo>
                  <a:lnTo>
                    <a:pt x="132" y="17"/>
                  </a:lnTo>
                  <a:lnTo>
                    <a:pt x="137" y="19"/>
                  </a:lnTo>
                  <a:lnTo>
                    <a:pt x="142" y="24"/>
                  </a:lnTo>
                  <a:lnTo>
                    <a:pt x="149" y="32"/>
                  </a:lnTo>
                  <a:lnTo>
                    <a:pt x="154" y="41"/>
                  </a:lnTo>
                  <a:lnTo>
                    <a:pt x="157" y="46"/>
                  </a:lnTo>
                  <a:lnTo>
                    <a:pt x="159" y="54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62" y="66"/>
                  </a:lnTo>
                  <a:lnTo>
                    <a:pt x="172" y="68"/>
                  </a:lnTo>
                  <a:lnTo>
                    <a:pt x="176" y="71"/>
                  </a:lnTo>
                  <a:lnTo>
                    <a:pt x="181" y="73"/>
                  </a:lnTo>
                  <a:lnTo>
                    <a:pt x="184" y="78"/>
                  </a:lnTo>
                  <a:lnTo>
                    <a:pt x="186" y="81"/>
                  </a:lnTo>
                  <a:lnTo>
                    <a:pt x="186" y="83"/>
                  </a:lnTo>
                  <a:lnTo>
                    <a:pt x="189" y="88"/>
                  </a:lnTo>
                  <a:lnTo>
                    <a:pt x="191" y="93"/>
                  </a:lnTo>
                  <a:lnTo>
                    <a:pt x="191" y="95"/>
                  </a:lnTo>
                  <a:lnTo>
                    <a:pt x="189" y="103"/>
                  </a:lnTo>
                  <a:lnTo>
                    <a:pt x="189" y="105"/>
                  </a:lnTo>
                  <a:lnTo>
                    <a:pt x="186" y="110"/>
                  </a:lnTo>
                  <a:lnTo>
                    <a:pt x="186" y="112"/>
                  </a:lnTo>
                  <a:lnTo>
                    <a:pt x="181" y="117"/>
                  </a:lnTo>
                  <a:lnTo>
                    <a:pt x="179" y="120"/>
                  </a:lnTo>
                  <a:lnTo>
                    <a:pt x="174" y="122"/>
                  </a:lnTo>
                  <a:lnTo>
                    <a:pt x="172" y="125"/>
                  </a:lnTo>
                  <a:lnTo>
                    <a:pt x="167" y="127"/>
                  </a:lnTo>
                  <a:lnTo>
                    <a:pt x="159" y="127"/>
                  </a:lnTo>
                  <a:lnTo>
                    <a:pt x="46" y="127"/>
                  </a:lnTo>
                  <a:lnTo>
                    <a:pt x="44" y="127"/>
                  </a:lnTo>
                  <a:close/>
                  <a:moveTo>
                    <a:pt x="324" y="166"/>
                  </a:moveTo>
                  <a:lnTo>
                    <a:pt x="324" y="164"/>
                  </a:lnTo>
                  <a:lnTo>
                    <a:pt x="321" y="159"/>
                  </a:lnTo>
                  <a:lnTo>
                    <a:pt x="319" y="157"/>
                  </a:lnTo>
                  <a:lnTo>
                    <a:pt x="317" y="157"/>
                  </a:lnTo>
                  <a:lnTo>
                    <a:pt x="314" y="157"/>
                  </a:lnTo>
                  <a:lnTo>
                    <a:pt x="314" y="157"/>
                  </a:lnTo>
                  <a:lnTo>
                    <a:pt x="176" y="157"/>
                  </a:lnTo>
                  <a:lnTo>
                    <a:pt x="174" y="157"/>
                  </a:lnTo>
                  <a:lnTo>
                    <a:pt x="169" y="159"/>
                  </a:lnTo>
                  <a:lnTo>
                    <a:pt x="169" y="161"/>
                  </a:lnTo>
                  <a:lnTo>
                    <a:pt x="167" y="164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252"/>
                  </a:lnTo>
                  <a:lnTo>
                    <a:pt x="157" y="252"/>
                  </a:lnTo>
                  <a:lnTo>
                    <a:pt x="152" y="252"/>
                  </a:lnTo>
                  <a:lnTo>
                    <a:pt x="147" y="252"/>
                  </a:lnTo>
                  <a:lnTo>
                    <a:pt x="135" y="250"/>
                  </a:lnTo>
                  <a:lnTo>
                    <a:pt x="130" y="247"/>
                  </a:lnTo>
                  <a:lnTo>
                    <a:pt x="120" y="245"/>
                  </a:lnTo>
                  <a:lnTo>
                    <a:pt x="113" y="240"/>
                  </a:lnTo>
                  <a:lnTo>
                    <a:pt x="103" y="235"/>
                  </a:lnTo>
                  <a:lnTo>
                    <a:pt x="93" y="230"/>
                  </a:lnTo>
                  <a:lnTo>
                    <a:pt x="90" y="225"/>
                  </a:lnTo>
                  <a:lnTo>
                    <a:pt x="81" y="215"/>
                  </a:lnTo>
                  <a:lnTo>
                    <a:pt x="95" y="208"/>
                  </a:lnTo>
                  <a:lnTo>
                    <a:pt x="98" y="203"/>
                  </a:lnTo>
                  <a:lnTo>
                    <a:pt x="95" y="201"/>
                  </a:lnTo>
                  <a:lnTo>
                    <a:pt x="95" y="201"/>
                  </a:lnTo>
                  <a:lnTo>
                    <a:pt x="61" y="181"/>
                  </a:lnTo>
                  <a:lnTo>
                    <a:pt x="59" y="181"/>
                  </a:lnTo>
                  <a:lnTo>
                    <a:pt x="56" y="181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4" y="223"/>
                  </a:lnTo>
                  <a:lnTo>
                    <a:pt x="54" y="225"/>
                  </a:lnTo>
                  <a:lnTo>
                    <a:pt x="56" y="228"/>
                  </a:lnTo>
                  <a:lnTo>
                    <a:pt x="59" y="228"/>
                  </a:lnTo>
                  <a:lnTo>
                    <a:pt x="61" y="228"/>
                  </a:lnTo>
                  <a:lnTo>
                    <a:pt x="73" y="220"/>
                  </a:lnTo>
                  <a:lnTo>
                    <a:pt x="76" y="223"/>
                  </a:lnTo>
                  <a:lnTo>
                    <a:pt x="83" y="230"/>
                  </a:lnTo>
                  <a:lnTo>
                    <a:pt x="93" y="237"/>
                  </a:lnTo>
                  <a:lnTo>
                    <a:pt x="98" y="242"/>
                  </a:lnTo>
                  <a:lnTo>
                    <a:pt x="108" y="247"/>
                  </a:lnTo>
                  <a:lnTo>
                    <a:pt x="113" y="250"/>
                  </a:lnTo>
                  <a:lnTo>
                    <a:pt x="118" y="252"/>
                  </a:lnTo>
                  <a:lnTo>
                    <a:pt x="122" y="255"/>
                  </a:lnTo>
                  <a:lnTo>
                    <a:pt x="127" y="257"/>
                  </a:lnTo>
                  <a:lnTo>
                    <a:pt x="140" y="260"/>
                  </a:lnTo>
                  <a:lnTo>
                    <a:pt x="149" y="260"/>
                  </a:lnTo>
                  <a:lnTo>
                    <a:pt x="157" y="260"/>
                  </a:lnTo>
                  <a:lnTo>
                    <a:pt x="167" y="260"/>
                  </a:lnTo>
                  <a:lnTo>
                    <a:pt x="169" y="264"/>
                  </a:lnTo>
                  <a:lnTo>
                    <a:pt x="169" y="267"/>
                  </a:lnTo>
                  <a:lnTo>
                    <a:pt x="172" y="269"/>
                  </a:lnTo>
                  <a:lnTo>
                    <a:pt x="176" y="272"/>
                  </a:lnTo>
                  <a:lnTo>
                    <a:pt x="179" y="272"/>
                  </a:lnTo>
                  <a:lnTo>
                    <a:pt x="231" y="272"/>
                  </a:lnTo>
                  <a:lnTo>
                    <a:pt x="228" y="277"/>
                  </a:lnTo>
                  <a:lnTo>
                    <a:pt x="226" y="277"/>
                  </a:lnTo>
                  <a:lnTo>
                    <a:pt x="226" y="279"/>
                  </a:lnTo>
                  <a:lnTo>
                    <a:pt x="221" y="282"/>
                  </a:lnTo>
                  <a:lnTo>
                    <a:pt x="216" y="282"/>
                  </a:lnTo>
                  <a:lnTo>
                    <a:pt x="211" y="282"/>
                  </a:lnTo>
                  <a:lnTo>
                    <a:pt x="206" y="284"/>
                  </a:lnTo>
                  <a:lnTo>
                    <a:pt x="204" y="284"/>
                  </a:lnTo>
                  <a:lnTo>
                    <a:pt x="201" y="284"/>
                  </a:lnTo>
                  <a:lnTo>
                    <a:pt x="201" y="287"/>
                  </a:lnTo>
                  <a:lnTo>
                    <a:pt x="199" y="289"/>
                  </a:lnTo>
                  <a:lnTo>
                    <a:pt x="201" y="294"/>
                  </a:lnTo>
                  <a:lnTo>
                    <a:pt x="201" y="294"/>
                  </a:lnTo>
                  <a:lnTo>
                    <a:pt x="204" y="296"/>
                  </a:lnTo>
                  <a:lnTo>
                    <a:pt x="204" y="299"/>
                  </a:lnTo>
                  <a:lnTo>
                    <a:pt x="206" y="299"/>
                  </a:lnTo>
                  <a:lnTo>
                    <a:pt x="208" y="299"/>
                  </a:lnTo>
                  <a:lnTo>
                    <a:pt x="208" y="299"/>
                  </a:lnTo>
                  <a:lnTo>
                    <a:pt x="287" y="299"/>
                  </a:lnTo>
                  <a:lnTo>
                    <a:pt x="289" y="296"/>
                  </a:lnTo>
                  <a:lnTo>
                    <a:pt x="292" y="294"/>
                  </a:lnTo>
                  <a:lnTo>
                    <a:pt x="292" y="291"/>
                  </a:lnTo>
                  <a:lnTo>
                    <a:pt x="292" y="287"/>
                  </a:lnTo>
                  <a:lnTo>
                    <a:pt x="292" y="287"/>
                  </a:lnTo>
                  <a:lnTo>
                    <a:pt x="289" y="284"/>
                  </a:lnTo>
                  <a:lnTo>
                    <a:pt x="287" y="284"/>
                  </a:lnTo>
                  <a:lnTo>
                    <a:pt x="285" y="282"/>
                  </a:lnTo>
                  <a:lnTo>
                    <a:pt x="282" y="284"/>
                  </a:lnTo>
                  <a:lnTo>
                    <a:pt x="275" y="282"/>
                  </a:lnTo>
                  <a:lnTo>
                    <a:pt x="272" y="282"/>
                  </a:lnTo>
                  <a:lnTo>
                    <a:pt x="267" y="279"/>
                  </a:lnTo>
                  <a:lnTo>
                    <a:pt x="262" y="277"/>
                  </a:lnTo>
                  <a:lnTo>
                    <a:pt x="262" y="277"/>
                  </a:lnTo>
                  <a:lnTo>
                    <a:pt x="262" y="274"/>
                  </a:lnTo>
                  <a:lnTo>
                    <a:pt x="262" y="272"/>
                  </a:lnTo>
                  <a:lnTo>
                    <a:pt x="317" y="269"/>
                  </a:lnTo>
                  <a:lnTo>
                    <a:pt x="319" y="269"/>
                  </a:lnTo>
                  <a:lnTo>
                    <a:pt x="321" y="267"/>
                  </a:lnTo>
                  <a:lnTo>
                    <a:pt x="324" y="264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4" y="166"/>
                  </a:lnTo>
                  <a:close/>
                  <a:moveTo>
                    <a:pt x="63" y="215"/>
                  </a:moveTo>
                  <a:lnTo>
                    <a:pt x="63" y="191"/>
                  </a:lnTo>
                  <a:lnTo>
                    <a:pt x="83" y="206"/>
                  </a:lnTo>
                  <a:lnTo>
                    <a:pt x="63" y="215"/>
                  </a:lnTo>
                  <a:close/>
                  <a:moveTo>
                    <a:pt x="317" y="260"/>
                  </a:moveTo>
                  <a:lnTo>
                    <a:pt x="314" y="262"/>
                  </a:lnTo>
                  <a:lnTo>
                    <a:pt x="314" y="262"/>
                  </a:lnTo>
                  <a:lnTo>
                    <a:pt x="255" y="262"/>
                  </a:lnTo>
                  <a:lnTo>
                    <a:pt x="253" y="264"/>
                  </a:lnTo>
                  <a:lnTo>
                    <a:pt x="253" y="267"/>
                  </a:lnTo>
                  <a:lnTo>
                    <a:pt x="253" y="267"/>
                  </a:lnTo>
                  <a:lnTo>
                    <a:pt x="253" y="269"/>
                  </a:lnTo>
                  <a:lnTo>
                    <a:pt x="253" y="269"/>
                  </a:lnTo>
                  <a:lnTo>
                    <a:pt x="253" y="272"/>
                  </a:lnTo>
                  <a:lnTo>
                    <a:pt x="255" y="277"/>
                  </a:lnTo>
                  <a:lnTo>
                    <a:pt x="255" y="279"/>
                  </a:lnTo>
                  <a:lnTo>
                    <a:pt x="258" y="284"/>
                  </a:lnTo>
                  <a:lnTo>
                    <a:pt x="260" y="287"/>
                  </a:lnTo>
                  <a:lnTo>
                    <a:pt x="267" y="291"/>
                  </a:lnTo>
                  <a:lnTo>
                    <a:pt x="223" y="291"/>
                  </a:lnTo>
                  <a:lnTo>
                    <a:pt x="233" y="284"/>
                  </a:lnTo>
                  <a:lnTo>
                    <a:pt x="235" y="282"/>
                  </a:lnTo>
                  <a:lnTo>
                    <a:pt x="238" y="277"/>
                  </a:lnTo>
                  <a:lnTo>
                    <a:pt x="238" y="274"/>
                  </a:lnTo>
                  <a:lnTo>
                    <a:pt x="238" y="272"/>
                  </a:lnTo>
                  <a:lnTo>
                    <a:pt x="238" y="269"/>
                  </a:lnTo>
                  <a:lnTo>
                    <a:pt x="238" y="267"/>
                  </a:lnTo>
                  <a:lnTo>
                    <a:pt x="238" y="264"/>
                  </a:lnTo>
                  <a:lnTo>
                    <a:pt x="238" y="264"/>
                  </a:lnTo>
                  <a:lnTo>
                    <a:pt x="235" y="262"/>
                  </a:lnTo>
                  <a:lnTo>
                    <a:pt x="231" y="262"/>
                  </a:lnTo>
                  <a:lnTo>
                    <a:pt x="176" y="262"/>
                  </a:lnTo>
                  <a:lnTo>
                    <a:pt x="174" y="262"/>
                  </a:lnTo>
                  <a:lnTo>
                    <a:pt x="174" y="260"/>
                  </a:lnTo>
                  <a:lnTo>
                    <a:pt x="174" y="166"/>
                  </a:lnTo>
                  <a:lnTo>
                    <a:pt x="176" y="164"/>
                  </a:lnTo>
                  <a:lnTo>
                    <a:pt x="179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7" y="166"/>
                  </a:lnTo>
                  <a:lnTo>
                    <a:pt x="317" y="26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oup 31">
            <a:extLst>
              <a:ext uri="{FF2B5EF4-FFF2-40B4-BE49-F238E27FC236}">
                <a16:creationId xmlns:a16="http://schemas.microsoft.com/office/drawing/2014/main" id="{2D893359-08DE-4B07-82C3-19B6E5A8C3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8700" y="252414"/>
            <a:ext cx="841375" cy="841375"/>
            <a:chOff x="3030" y="237"/>
            <a:chExt cx="530" cy="530"/>
          </a:xfrm>
        </p:grpSpPr>
        <p:sp>
          <p:nvSpPr>
            <p:cNvPr id="38" name="AutoShape 30">
              <a:extLst>
                <a:ext uri="{FF2B5EF4-FFF2-40B4-BE49-F238E27FC236}">
                  <a16:creationId xmlns:a16="http://schemas.microsoft.com/office/drawing/2014/main" id="{5E4638D3-966B-455E-8E76-806A812F77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0" y="23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2">
              <a:extLst>
                <a:ext uri="{FF2B5EF4-FFF2-40B4-BE49-F238E27FC236}">
                  <a16:creationId xmlns:a16="http://schemas.microsoft.com/office/drawing/2014/main" id="{82DE459A-4DC4-45E0-8128-6531DB86A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0" y="23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A7F9A2E0-6FA2-434F-9B21-5017544B5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" y="25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2C4D4DA8-E50D-4D5E-BFA6-93972E2C6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7" y="347"/>
              <a:ext cx="338" cy="312"/>
            </a:xfrm>
            <a:custGeom>
              <a:avLst/>
              <a:gdLst>
                <a:gd name="T0" fmla="*/ 192 w 338"/>
                <a:gd name="T1" fmla="*/ 182 h 312"/>
                <a:gd name="T2" fmla="*/ 318 w 338"/>
                <a:gd name="T3" fmla="*/ 259 h 312"/>
                <a:gd name="T4" fmla="*/ 320 w 338"/>
                <a:gd name="T5" fmla="*/ 182 h 312"/>
                <a:gd name="T6" fmla="*/ 313 w 338"/>
                <a:gd name="T7" fmla="*/ 248 h 312"/>
                <a:gd name="T8" fmla="*/ 192 w 338"/>
                <a:gd name="T9" fmla="*/ 133 h 312"/>
                <a:gd name="T10" fmla="*/ 208 w 338"/>
                <a:gd name="T11" fmla="*/ 100 h 312"/>
                <a:gd name="T12" fmla="*/ 195 w 338"/>
                <a:gd name="T13" fmla="*/ 69 h 312"/>
                <a:gd name="T14" fmla="*/ 172 w 338"/>
                <a:gd name="T15" fmla="*/ 46 h 312"/>
                <a:gd name="T16" fmla="*/ 208 w 338"/>
                <a:gd name="T17" fmla="*/ 44 h 312"/>
                <a:gd name="T18" fmla="*/ 251 w 338"/>
                <a:gd name="T19" fmla="*/ 67 h 312"/>
                <a:gd name="T20" fmla="*/ 243 w 338"/>
                <a:gd name="T21" fmla="*/ 92 h 312"/>
                <a:gd name="T22" fmla="*/ 287 w 338"/>
                <a:gd name="T23" fmla="*/ 69 h 312"/>
                <a:gd name="T24" fmla="*/ 261 w 338"/>
                <a:gd name="T25" fmla="*/ 67 h 312"/>
                <a:gd name="T26" fmla="*/ 205 w 338"/>
                <a:gd name="T27" fmla="*/ 33 h 312"/>
                <a:gd name="T28" fmla="*/ 161 w 338"/>
                <a:gd name="T29" fmla="*/ 23 h 312"/>
                <a:gd name="T30" fmla="*/ 126 w 338"/>
                <a:gd name="T31" fmla="*/ 3 h 312"/>
                <a:gd name="T32" fmla="*/ 87 w 338"/>
                <a:gd name="T33" fmla="*/ 5 h 312"/>
                <a:gd name="T34" fmla="*/ 54 w 338"/>
                <a:gd name="T35" fmla="*/ 31 h 312"/>
                <a:gd name="T36" fmla="*/ 28 w 338"/>
                <a:gd name="T37" fmla="*/ 46 h 312"/>
                <a:gd name="T38" fmla="*/ 0 w 338"/>
                <a:gd name="T39" fmla="*/ 79 h 312"/>
                <a:gd name="T40" fmla="*/ 3 w 338"/>
                <a:gd name="T41" fmla="*/ 110 h 312"/>
                <a:gd name="T42" fmla="*/ 21 w 338"/>
                <a:gd name="T43" fmla="*/ 133 h 312"/>
                <a:gd name="T44" fmla="*/ 279 w 338"/>
                <a:gd name="T45" fmla="*/ 77 h 312"/>
                <a:gd name="T46" fmla="*/ 39 w 338"/>
                <a:gd name="T47" fmla="*/ 131 h 312"/>
                <a:gd name="T48" fmla="*/ 16 w 338"/>
                <a:gd name="T49" fmla="*/ 115 h 312"/>
                <a:gd name="T50" fmla="*/ 8 w 338"/>
                <a:gd name="T51" fmla="*/ 87 h 312"/>
                <a:gd name="T52" fmla="*/ 33 w 338"/>
                <a:gd name="T53" fmla="*/ 54 h 312"/>
                <a:gd name="T54" fmla="*/ 57 w 338"/>
                <a:gd name="T55" fmla="*/ 49 h 312"/>
                <a:gd name="T56" fmla="*/ 77 w 338"/>
                <a:gd name="T57" fmla="*/ 20 h 312"/>
                <a:gd name="T58" fmla="*/ 113 w 338"/>
                <a:gd name="T59" fmla="*/ 10 h 312"/>
                <a:gd name="T60" fmla="*/ 149 w 338"/>
                <a:gd name="T61" fmla="*/ 26 h 312"/>
                <a:gd name="T62" fmla="*/ 167 w 338"/>
                <a:gd name="T63" fmla="*/ 67 h 312"/>
                <a:gd name="T64" fmla="*/ 195 w 338"/>
                <a:gd name="T65" fmla="*/ 84 h 312"/>
                <a:gd name="T66" fmla="*/ 197 w 338"/>
                <a:gd name="T67" fmla="*/ 110 h 312"/>
                <a:gd name="T68" fmla="*/ 179 w 338"/>
                <a:gd name="T69" fmla="*/ 131 h 312"/>
                <a:gd name="T70" fmla="*/ 338 w 338"/>
                <a:gd name="T71" fmla="*/ 172 h 312"/>
                <a:gd name="T72" fmla="*/ 185 w 338"/>
                <a:gd name="T73" fmla="*/ 164 h 312"/>
                <a:gd name="T74" fmla="*/ 174 w 338"/>
                <a:gd name="T75" fmla="*/ 174 h 312"/>
                <a:gd name="T76" fmla="*/ 141 w 338"/>
                <a:gd name="T77" fmla="*/ 261 h 312"/>
                <a:gd name="T78" fmla="*/ 95 w 338"/>
                <a:gd name="T79" fmla="*/ 236 h 312"/>
                <a:gd name="T80" fmla="*/ 64 w 338"/>
                <a:gd name="T81" fmla="*/ 189 h 312"/>
                <a:gd name="T82" fmla="*/ 57 w 338"/>
                <a:gd name="T83" fmla="*/ 236 h 312"/>
                <a:gd name="T84" fmla="*/ 87 w 338"/>
                <a:gd name="T85" fmla="*/ 241 h 312"/>
                <a:gd name="T86" fmla="*/ 128 w 338"/>
                <a:gd name="T87" fmla="*/ 266 h 312"/>
                <a:gd name="T88" fmla="*/ 177 w 338"/>
                <a:gd name="T89" fmla="*/ 277 h 312"/>
                <a:gd name="T90" fmla="*/ 238 w 338"/>
                <a:gd name="T91" fmla="*/ 289 h 312"/>
                <a:gd name="T92" fmla="*/ 215 w 338"/>
                <a:gd name="T93" fmla="*/ 297 h 312"/>
                <a:gd name="T94" fmla="*/ 210 w 338"/>
                <a:gd name="T95" fmla="*/ 307 h 312"/>
                <a:gd name="T96" fmla="*/ 300 w 338"/>
                <a:gd name="T97" fmla="*/ 312 h 312"/>
                <a:gd name="T98" fmla="*/ 302 w 338"/>
                <a:gd name="T99" fmla="*/ 297 h 312"/>
                <a:gd name="T100" fmla="*/ 279 w 338"/>
                <a:gd name="T101" fmla="*/ 292 h 312"/>
                <a:gd name="T102" fmla="*/ 333 w 338"/>
                <a:gd name="T103" fmla="*/ 282 h 312"/>
                <a:gd name="T104" fmla="*/ 67 w 338"/>
                <a:gd name="T105" fmla="*/ 225 h 312"/>
                <a:gd name="T106" fmla="*/ 328 w 338"/>
                <a:gd name="T107" fmla="*/ 274 h 312"/>
                <a:gd name="T108" fmla="*/ 264 w 338"/>
                <a:gd name="T109" fmla="*/ 282 h 312"/>
                <a:gd name="T110" fmla="*/ 279 w 338"/>
                <a:gd name="T111" fmla="*/ 305 h 312"/>
                <a:gd name="T112" fmla="*/ 249 w 338"/>
                <a:gd name="T113" fmla="*/ 284 h 312"/>
                <a:gd name="T114" fmla="*/ 241 w 338"/>
                <a:gd name="T115" fmla="*/ 274 h 312"/>
                <a:gd name="T116" fmla="*/ 187 w 338"/>
                <a:gd name="T117" fmla="*/ 17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12">
                  <a:moveTo>
                    <a:pt x="318" y="182"/>
                  </a:moveTo>
                  <a:lnTo>
                    <a:pt x="318" y="179"/>
                  </a:lnTo>
                  <a:lnTo>
                    <a:pt x="315" y="179"/>
                  </a:lnTo>
                  <a:lnTo>
                    <a:pt x="195" y="179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2" y="184"/>
                  </a:lnTo>
                  <a:lnTo>
                    <a:pt x="192" y="256"/>
                  </a:lnTo>
                  <a:lnTo>
                    <a:pt x="192" y="256"/>
                  </a:lnTo>
                  <a:lnTo>
                    <a:pt x="195" y="259"/>
                  </a:lnTo>
                  <a:lnTo>
                    <a:pt x="197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20" y="256"/>
                  </a:lnTo>
                  <a:lnTo>
                    <a:pt x="320" y="256"/>
                  </a:lnTo>
                  <a:lnTo>
                    <a:pt x="320" y="253"/>
                  </a:lnTo>
                  <a:lnTo>
                    <a:pt x="320" y="184"/>
                  </a:lnTo>
                  <a:lnTo>
                    <a:pt x="320" y="182"/>
                  </a:lnTo>
                  <a:lnTo>
                    <a:pt x="318" y="182"/>
                  </a:lnTo>
                  <a:close/>
                  <a:moveTo>
                    <a:pt x="313" y="248"/>
                  </a:moveTo>
                  <a:lnTo>
                    <a:pt x="200" y="248"/>
                  </a:lnTo>
                  <a:lnTo>
                    <a:pt x="200" y="189"/>
                  </a:lnTo>
                  <a:lnTo>
                    <a:pt x="313" y="189"/>
                  </a:lnTo>
                  <a:lnTo>
                    <a:pt x="313" y="248"/>
                  </a:lnTo>
                  <a:close/>
                  <a:moveTo>
                    <a:pt x="172" y="141"/>
                  </a:moveTo>
                  <a:lnTo>
                    <a:pt x="177" y="141"/>
                  </a:lnTo>
                  <a:lnTo>
                    <a:pt x="179" y="141"/>
                  </a:lnTo>
                  <a:lnTo>
                    <a:pt x="187" y="138"/>
                  </a:lnTo>
                  <a:lnTo>
                    <a:pt x="190" y="136"/>
                  </a:lnTo>
                  <a:lnTo>
                    <a:pt x="192" y="133"/>
                  </a:lnTo>
                  <a:lnTo>
                    <a:pt x="195" y="131"/>
                  </a:lnTo>
                  <a:lnTo>
                    <a:pt x="197" y="128"/>
                  </a:lnTo>
                  <a:lnTo>
                    <a:pt x="200" y="123"/>
                  </a:lnTo>
                  <a:lnTo>
                    <a:pt x="205" y="118"/>
                  </a:lnTo>
                  <a:lnTo>
                    <a:pt x="208" y="110"/>
                  </a:lnTo>
                  <a:lnTo>
                    <a:pt x="208" y="100"/>
                  </a:lnTo>
                  <a:lnTo>
                    <a:pt x="208" y="97"/>
                  </a:lnTo>
                  <a:lnTo>
                    <a:pt x="208" y="90"/>
                  </a:lnTo>
                  <a:lnTo>
                    <a:pt x="205" y="84"/>
                  </a:lnTo>
                  <a:lnTo>
                    <a:pt x="200" y="79"/>
                  </a:lnTo>
                  <a:lnTo>
                    <a:pt x="200" y="74"/>
                  </a:lnTo>
                  <a:lnTo>
                    <a:pt x="195" y="69"/>
                  </a:lnTo>
                  <a:lnTo>
                    <a:pt x="190" y="67"/>
                  </a:lnTo>
                  <a:lnTo>
                    <a:pt x="187" y="64"/>
                  </a:lnTo>
                  <a:lnTo>
                    <a:pt x="179" y="61"/>
                  </a:lnTo>
                  <a:lnTo>
                    <a:pt x="174" y="61"/>
                  </a:lnTo>
                  <a:lnTo>
                    <a:pt x="174" y="54"/>
                  </a:lnTo>
                  <a:lnTo>
                    <a:pt x="172" y="46"/>
                  </a:lnTo>
                  <a:lnTo>
                    <a:pt x="172" y="41"/>
                  </a:lnTo>
                  <a:lnTo>
                    <a:pt x="177" y="41"/>
                  </a:lnTo>
                  <a:lnTo>
                    <a:pt x="182" y="38"/>
                  </a:lnTo>
                  <a:lnTo>
                    <a:pt x="192" y="41"/>
                  </a:lnTo>
                  <a:lnTo>
                    <a:pt x="202" y="41"/>
                  </a:lnTo>
                  <a:lnTo>
                    <a:pt x="208" y="44"/>
                  </a:lnTo>
                  <a:lnTo>
                    <a:pt x="218" y="46"/>
                  </a:lnTo>
                  <a:lnTo>
                    <a:pt x="223" y="49"/>
                  </a:lnTo>
                  <a:lnTo>
                    <a:pt x="233" y="54"/>
                  </a:lnTo>
                  <a:lnTo>
                    <a:pt x="241" y="61"/>
                  </a:lnTo>
                  <a:lnTo>
                    <a:pt x="246" y="64"/>
                  </a:lnTo>
                  <a:lnTo>
                    <a:pt x="251" y="67"/>
                  </a:lnTo>
                  <a:lnTo>
                    <a:pt x="259" y="77"/>
                  </a:lnTo>
                  <a:lnTo>
                    <a:pt x="243" y="84"/>
                  </a:lnTo>
                  <a:lnTo>
                    <a:pt x="243" y="87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3" y="92"/>
                  </a:lnTo>
                  <a:lnTo>
                    <a:pt x="246" y="92"/>
                  </a:lnTo>
                  <a:lnTo>
                    <a:pt x="282" y="115"/>
                  </a:lnTo>
                  <a:lnTo>
                    <a:pt x="284" y="115"/>
                  </a:lnTo>
                  <a:lnTo>
                    <a:pt x="287" y="113"/>
                  </a:lnTo>
                  <a:lnTo>
                    <a:pt x="287" y="110"/>
                  </a:lnTo>
                  <a:lnTo>
                    <a:pt x="287" y="69"/>
                  </a:lnTo>
                  <a:lnTo>
                    <a:pt x="287" y="67"/>
                  </a:lnTo>
                  <a:lnTo>
                    <a:pt x="284" y="64"/>
                  </a:lnTo>
                  <a:lnTo>
                    <a:pt x="282" y="64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1" y="67"/>
                  </a:lnTo>
                  <a:lnTo>
                    <a:pt x="254" y="56"/>
                  </a:lnTo>
                  <a:lnTo>
                    <a:pt x="243" y="51"/>
                  </a:lnTo>
                  <a:lnTo>
                    <a:pt x="238" y="46"/>
                  </a:lnTo>
                  <a:lnTo>
                    <a:pt x="228" y="41"/>
                  </a:lnTo>
                  <a:lnTo>
                    <a:pt x="215" y="36"/>
                  </a:lnTo>
                  <a:lnTo>
                    <a:pt x="205" y="33"/>
                  </a:lnTo>
                  <a:lnTo>
                    <a:pt x="197" y="33"/>
                  </a:lnTo>
                  <a:lnTo>
                    <a:pt x="187" y="31"/>
                  </a:lnTo>
                  <a:lnTo>
                    <a:pt x="179" y="31"/>
                  </a:lnTo>
                  <a:lnTo>
                    <a:pt x="174" y="31"/>
                  </a:lnTo>
                  <a:lnTo>
                    <a:pt x="167" y="31"/>
                  </a:lnTo>
                  <a:lnTo>
                    <a:pt x="161" y="23"/>
                  </a:lnTo>
                  <a:lnTo>
                    <a:pt x="154" y="18"/>
                  </a:lnTo>
                  <a:lnTo>
                    <a:pt x="149" y="13"/>
                  </a:lnTo>
                  <a:lnTo>
                    <a:pt x="141" y="8"/>
                  </a:lnTo>
                  <a:lnTo>
                    <a:pt x="133" y="5"/>
                  </a:lnTo>
                  <a:lnTo>
                    <a:pt x="131" y="3"/>
                  </a:lnTo>
                  <a:lnTo>
                    <a:pt x="126" y="3"/>
                  </a:lnTo>
                  <a:lnTo>
                    <a:pt x="118" y="0"/>
                  </a:lnTo>
                  <a:lnTo>
                    <a:pt x="115" y="0"/>
                  </a:lnTo>
                  <a:lnTo>
                    <a:pt x="110" y="0"/>
                  </a:lnTo>
                  <a:lnTo>
                    <a:pt x="105" y="0"/>
                  </a:lnTo>
                  <a:lnTo>
                    <a:pt x="95" y="3"/>
                  </a:lnTo>
                  <a:lnTo>
                    <a:pt x="87" y="5"/>
                  </a:lnTo>
                  <a:lnTo>
                    <a:pt x="77" y="8"/>
                  </a:lnTo>
                  <a:lnTo>
                    <a:pt x="69" y="13"/>
                  </a:lnTo>
                  <a:lnTo>
                    <a:pt x="67" y="18"/>
                  </a:lnTo>
                  <a:lnTo>
                    <a:pt x="59" y="23"/>
                  </a:lnTo>
                  <a:lnTo>
                    <a:pt x="57" y="28"/>
                  </a:lnTo>
                  <a:lnTo>
                    <a:pt x="54" y="31"/>
                  </a:lnTo>
                  <a:lnTo>
                    <a:pt x="51" y="36"/>
                  </a:lnTo>
                  <a:lnTo>
                    <a:pt x="49" y="41"/>
                  </a:lnTo>
                  <a:lnTo>
                    <a:pt x="41" y="44"/>
                  </a:lnTo>
                  <a:lnTo>
                    <a:pt x="36" y="44"/>
                  </a:lnTo>
                  <a:lnTo>
                    <a:pt x="33" y="44"/>
                  </a:lnTo>
                  <a:lnTo>
                    <a:pt x="28" y="46"/>
                  </a:lnTo>
                  <a:lnTo>
                    <a:pt x="21" y="51"/>
                  </a:lnTo>
                  <a:lnTo>
                    <a:pt x="13" y="56"/>
                  </a:lnTo>
                  <a:lnTo>
                    <a:pt x="8" y="61"/>
                  </a:lnTo>
                  <a:lnTo>
                    <a:pt x="5" y="67"/>
                  </a:lnTo>
                  <a:lnTo>
                    <a:pt x="3" y="74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0" y="90"/>
                  </a:lnTo>
                  <a:lnTo>
                    <a:pt x="0" y="97"/>
                  </a:lnTo>
                  <a:lnTo>
                    <a:pt x="0" y="105"/>
                  </a:lnTo>
                  <a:lnTo>
                    <a:pt x="3" y="108"/>
                  </a:lnTo>
                  <a:lnTo>
                    <a:pt x="3" y="110"/>
                  </a:lnTo>
                  <a:lnTo>
                    <a:pt x="5" y="113"/>
                  </a:lnTo>
                  <a:lnTo>
                    <a:pt x="8" y="120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6" y="128"/>
                  </a:lnTo>
                  <a:lnTo>
                    <a:pt x="21" y="133"/>
                  </a:lnTo>
                  <a:lnTo>
                    <a:pt x="31" y="138"/>
                  </a:lnTo>
                  <a:lnTo>
                    <a:pt x="33" y="141"/>
                  </a:lnTo>
                  <a:lnTo>
                    <a:pt x="41" y="141"/>
                  </a:lnTo>
                  <a:lnTo>
                    <a:pt x="49" y="143"/>
                  </a:lnTo>
                  <a:lnTo>
                    <a:pt x="172" y="141"/>
                  </a:lnTo>
                  <a:close/>
                  <a:moveTo>
                    <a:pt x="279" y="77"/>
                  </a:moveTo>
                  <a:lnTo>
                    <a:pt x="279" y="102"/>
                  </a:lnTo>
                  <a:lnTo>
                    <a:pt x="256" y="90"/>
                  </a:lnTo>
                  <a:lnTo>
                    <a:pt x="279" y="77"/>
                  </a:lnTo>
                  <a:close/>
                  <a:moveTo>
                    <a:pt x="46" y="133"/>
                  </a:moveTo>
                  <a:lnTo>
                    <a:pt x="41" y="133"/>
                  </a:lnTo>
                  <a:lnTo>
                    <a:pt x="39" y="131"/>
                  </a:lnTo>
                  <a:lnTo>
                    <a:pt x="33" y="131"/>
                  </a:lnTo>
                  <a:lnTo>
                    <a:pt x="31" y="128"/>
                  </a:lnTo>
                  <a:lnTo>
                    <a:pt x="26" y="125"/>
                  </a:lnTo>
                  <a:lnTo>
                    <a:pt x="21" y="120"/>
                  </a:lnTo>
                  <a:lnTo>
                    <a:pt x="18" y="118"/>
                  </a:lnTo>
                  <a:lnTo>
                    <a:pt x="16" y="115"/>
                  </a:lnTo>
                  <a:lnTo>
                    <a:pt x="13" y="113"/>
                  </a:lnTo>
                  <a:lnTo>
                    <a:pt x="10" y="105"/>
                  </a:lnTo>
                  <a:lnTo>
                    <a:pt x="8" y="100"/>
                  </a:lnTo>
                  <a:lnTo>
                    <a:pt x="8" y="95"/>
                  </a:lnTo>
                  <a:lnTo>
                    <a:pt x="8" y="90"/>
                  </a:lnTo>
                  <a:lnTo>
                    <a:pt x="8" y="87"/>
                  </a:lnTo>
                  <a:lnTo>
                    <a:pt x="10" y="79"/>
                  </a:lnTo>
                  <a:lnTo>
                    <a:pt x="13" y="72"/>
                  </a:lnTo>
                  <a:lnTo>
                    <a:pt x="16" y="69"/>
                  </a:lnTo>
                  <a:lnTo>
                    <a:pt x="21" y="64"/>
                  </a:lnTo>
                  <a:lnTo>
                    <a:pt x="26" y="59"/>
                  </a:lnTo>
                  <a:lnTo>
                    <a:pt x="33" y="54"/>
                  </a:lnTo>
                  <a:lnTo>
                    <a:pt x="36" y="51"/>
                  </a:lnTo>
                  <a:lnTo>
                    <a:pt x="46" y="51"/>
                  </a:lnTo>
                  <a:lnTo>
                    <a:pt x="49" y="51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9" y="44"/>
                  </a:lnTo>
                  <a:lnTo>
                    <a:pt x="62" y="36"/>
                  </a:lnTo>
                  <a:lnTo>
                    <a:pt x="67" y="28"/>
                  </a:lnTo>
                  <a:lnTo>
                    <a:pt x="72" y="26"/>
                  </a:lnTo>
                  <a:lnTo>
                    <a:pt x="77" y="20"/>
                  </a:lnTo>
                  <a:lnTo>
                    <a:pt x="85" y="15"/>
                  </a:lnTo>
                  <a:lnTo>
                    <a:pt x="90" y="13"/>
                  </a:lnTo>
                  <a:lnTo>
                    <a:pt x="97" y="10"/>
                  </a:lnTo>
                  <a:lnTo>
                    <a:pt x="100" y="10"/>
                  </a:lnTo>
                  <a:lnTo>
                    <a:pt x="105" y="10"/>
                  </a:lnTo>
                  <a:lnTo>
                    <a:pt x="113" y="10"/>
                  </a:lnTo>
                  <a:lnTo>
                    <a:pt x="118" y="10"/>
                  </a:lnTo>
                  <a:lnTo>
                    <a:pt x="123" y="10"/>
                  </a:lnTo>
                  <a:lnTo>
                    <a:pt x="131" y="13"/>
                  </a:lnTo>
                  <a:lnTo>
                    <a:pt x="138" y="18"/>
                  </a:lnTo>
                  <a:lnTo>
                    <a:pt x="144" y="20"/>
                  </a:lnTo>
                  <a:lnTo>
                    <a:pt x="149" y="26"/>
                  </a:lnTo>
                  <a:lnTo>
                    <a:pt x="156" y="33"/>
                  </a:lnTo>
                  <a:lnTo>
                    <a:pt x="161" y="44"/>
                  </a:lnTo>
                  <a:lnTo>
                    <a:pt x="164" y="49"/>
                  </a:lnTo>
                  <a:lnTo>
                    <a:pt x="167" y="56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9" y="69"/>
                  </a:lnTo>
                  <a:lnTo>
                    <a:pt x="179" y="72"/>
                  </a:lnTo>
                  <a:lnTo>
                    <a:pt x="185" y="74"/>
                  </a:lnTo>
                  <a:lnTo>
                    <a:pt x="190" y="77"/>
                  </a:lnTo>
                  <a:lnTo>
                    <a:pt x="192" y="82"/>
                  </a:lnTo>
                  <a:lnTo>
                    <a:pt x="195" y="84"/>
                  </a:lnTo>
                  <a:lnTo>
                    <a:pt x="195" y="87"/>
                  </a:lnTo>
                  <a:lnTo>
                    <a:pt x="197" y="92"/>
                  </a:lnTo>
                  <a:lnTo>
                    <a:pt x="200" y="97"/>
                  </a:lnTo>
                  <a:lnTo>
                    <a:pt x="200" y="100"/>
                  </a:lnTo>
                  <a:lnTo>
                    <a:pt x="197" y="108"/>
                  </a:lnTo>
                  <a:lnTo>
                    <a:pt x="197" y="110"/>
                  </a:lnTo>
                  <a:lnTo>
                    <a:pt x="195" y="115"/>
                  </a:lnTo>
                  <a:lnTo>
                    <a:pt x="195" y="118"/>
                  </a:lnTo>
                  <a:lnTo>
                    <a:pt x="190" y="123"/>
                  </a:lnTo>
                  <a:lnTo>
                    <a:pt x="187" y="125"/>
                  </a:lnTo>
                  <a:lnTo>
                    <a:pt x="182" y="128"/>
                  </a:lnTo>
                  <a:lnTo>
                    <a:pt x="179" y="131"/>
                  </a:lnTo>
                  <a:lnTo>
                    <a:pt x="174" y="133"/>
                  </a:lnTo>
                  <a:lnTo>
                    <a:pt x="167" y="133"/>
                  </a:lnTo>
                  <a:lnTo>
                    <a:pt x="49" y="133"/>
                  </a:lnTo>
                  <a:lnTo>
                    <a:pt x="46" y="133"/>
                  </a:lnTo>
                  <a:close/>
                  <a:moveTo>
                    <a:pt x="338" y="174"/>
                  </a:moveTo>
                  <a:lnTo>
                    <a:pt x="338" y="172"/>
                  </a:lnTo>
                  <a:lnTo>
                    <a:pt x="336" y="166"/>
                  </a:lnTo>
                  <a:lnTo>
                    <a:pt x="333" y="164"/>
                  </a:lnTo>
                  <a:lnTo>
                    <a:pt x="330" y="164"/>
                  </a:lnTo>
                  <a:lnTo>
                    <a:pt x="328" y="164"/>
                  </a:lnTo>
                  <a:lnTo>
                    <a:pt x="328" y="164"/>
                  </a:lnTo>
                  <a:lnTo>
                    <a:pt x="185" y="164"/>
                  </a:lnTo>
                  <a:lnTo>
                    <a:pt x="182" y="164"/>
                  </a:lnTo>
                  <a:lnTo>
                    <a:pt x="177" y="166"/>
                  </a:lnTo>
                  <a:lnTo>
                    <a:pt x="177" y="169"/>
                  </a:lnTo>
                  <a:lnTo>
                    <a:pt x="174" y="172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4" y="264"/>
                  </a:lnTo>
                  <a:lnTo>
                    <a:pt x="164" y="264"/>
                  </a:lnTo>
                  <a:lnTo>
                    <a:pt x="159" y="264"/>
                  </a:lnTo>
                  <a:lnTo>
                    <a:pt x="154" y="264"/>
                  </a:lnTo>
                  <a:lnTo>
                    <a:pt x="141" y="261"/>
                  </a:lnTo>
                  <a:lnTo>
                    <a:pt x="136" y="259"/>
                  </a:lnTo>
                  <a:lnTo>
                    <a:pt x="126" y="256"/>
                  </a:lnTo>
                  <a:lnTo>
                    <a:pt x="118" y="251"/>
                  </a:lnTo>
                  <a:lnTo>
                    <a:pt x="108" y="246"/>
                  </a:lnTo>
                  <a:lnTo>
                    <a:pt x="97" y="241"/>
                  </a:lnTo>
                  <a:lnTo>
                    <a:pt x="95" y="236"/>
                  </a:lnTo>
                  <a:lnTo>
                    <a:pt x="85" y="225"/>
                  </a:lnTo>
                  <a:lnTo>
                    <a:pt x="100" y="218"/>
                  </a:lnTo>
                  <a:lnTo>
                    <a:pt x="103" y="213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64" y="189"/>
                  </a:lnTo>
                  <a:lnTo>
                    <a:pt x="62" y="189"/>
                  </a:lnTo>
                  <a:lnTo>
                    <a:pt x="59" y="189"/>
                  </a:lnTo>
                  <a:lnTo>
                    <a:pt x="59" y="192"/>
                  </a:lnTo>
                  <a:lnTo>
                    <a:pt x="57" y="192"/>
                  </a:lnTo>
                  <a:lnTo>
                    <a:pt x="57" y="233"/>
                  </a:lnTo>
                  <a:lnTo>
                    <a:pt x="57" y="236"/>
                  </a:lnTo>
                  <a:lnTo>
                    <a:pt x="59" y="238"/>
                  </a:lnTo>
                  <a:lnTo>
                    <a:pt x="62" y="238"/>
                  </a:lnTo>
                  <a:lnTo>
                    <a:pt x="64" y="238"/>
                  </a:lnTo>
                  <a:lnTo>
                    <a:pt x="77" y="230"/>
                  </a:lnTo>
                  <a:lnTo>
                    <a:pt x="80" y="233"/>
                  </a:lnTo>
                  <a:lnTo>
                    <a:pt x="87" y="241"/>
                  </a:lnTo>
                  <a:lnTo>
                    <a:pt x="97" y="248"/>
                  </a:lnTo>
                  <a:lnTo>
                    <a:pt x="103" y="253"/>
                  </a:lnTo>
                  <a:lnTo>
                    <a:pt x="113" y="259"/>
                  </a:lnTo>
                  <a:lnTo>
                    <a:pt x="118" y="261"/>
                  </a:lnTo>
                  <a:lnTo>
                    <a:pt x="123" y="264"/>
                  </a:lnTo>
                  <a:lnTo>
                    <a:pt x="128" y="266"/>
                  </a:lnTo>
                  <a:lnTo>
                    <a:pt x="133" y="269"/>
                  </a:lnTo>
                  <a:lnTo>
                    <a:pt x="146" y="271"/>
                  </a:lnTo>
                  <a:lnTo>
                    <a:pt x="156" y="271"/>
                  </a:lnTo>
                  <a:lnTo>
                    <a:pt x="164" y="271"/>
                  </a:lnTo>
                  <a:lnTo>
                    <a:pt x="174" y="271"/>
                  </a:lnTo>
                  <a:lnTo>
                    <a:pt x="177" y="277"/>
                  </a:lnTo>
                  <a:lnTo>
                    <a:pt x="177" y="279"/>
                  </a:lnTo>
                  <a:lnTo>
                    <a:pt x="179" y="282"/>
                  </a:lnTo>
                  <a:lnTo>
                    <a:pt x="185" y="284"/>
                  </a:lnTo>
                  <a:lnTo>
                    <a:pt x="187" y="284"/>
                  </a:lnTo>
                  <a:lnTo>
                    <a:pt x="241" y="284"/>
                  </a:lnTo>
                  <a:lnTo>
                    <a:pt x="238" y="289"/>
                  </a:lnTo>
                  <a:lnTo>
                    <a:pt x="236" y="289"/>
                  </a:lnTo>
                  <a:lnTo>
                    <a:pt x="236" y="292"/>
                  </a:lnTo>
                  <a:lnTo>
                    <a:pt x="231" y="294"/>
                  </a:lnTo>
                  <a:lnTo>
                    <a:pt x="226" y="294"/>
                  </a:lnTo>
                  <a:lnTo>
                    <a:pt x="220" y="294"/>
                  </a:lnTo>
                  <a:lnTo>
                    <a:pt x="215" y="297"/>
                  </a:lnTo>
                  <a:lnTo>
                    <a:pt x="213" y="297"/>
                  </a:lnTo>
                  <a:lnTo>
                    <a:pt x="210" y="297"/>
                  </a:lnTo>
                  <a:lnTo>
                    <a:pt x="210" y="300"/>
                  </a:lnTo>
                  <a:lnTo>
                    <a:pt x="208" y="302"/>
                  </a:lnTo>
                  <a:lnTo>
                    <a:pt x="210" y="307"/>
                  </a:lnTo>
                  <a:lnTo>
                    <a:pt x="210" y="307"/>
                  </a:lnTo>
                  <a:lnTo>
                    <a:pt x="213" y="310"/>
                  </a:lnTo>
                  <a:lnTo>
                    <a:pt x="213" y="312"/>
                  </a:lnTo>
                  <a:lnTo>
                    <a:pt x="215" y="312"/>
                  </a:lnTo>
                  <a:lnTo>
                    <a:pt x="218" y="312"/>
                  </a:lnTo>
                  <a:lnTo>
                    <a:pt x="218" y="312"/>
                  </a:lnTo>
                  <a:lnTo>
                    <a:pt x="300" y="312"/>
                  </a:lnTo>
                  <a:lnTo>
                    <a:pt x="302" y="310"/>
                  </a:lnTo>
                  <a:lnTo>
                    <a:pt x="305" y="307"/>
                  </a:lnTo>
                  <a:lnTo>
                    <a:pt x="305" y="305"/>
                  </a:lnTo>
                  <a:lnTo>
                    <a:pt x="305" y="300"/>
                  </a:lnTo>
                  <a:lnTo>
                    <a:pt x="305" y="300"/>
                  </a:lnTo>
                  <a:lnTo>
                    <a:pt x="302" y="297"/>
                  </a:lnTo>
                  <a:lnTo>
                    <a:pt x="300" y="297"/>
                  </a:lnTo>
                  <a:lnTo>
                    <a:pt x="297" y="294"/>
                  </a:lnTo>
                  <a:lnTo>
                    <a:pt x="295" y="297"/>
                  </a:lnTo>
                  <a:lnTo>
                    <a:pt x="287" y="294"/>
                  </a:lnTo>
                  <a:lnTo>
                    <a:pt x="284" y="294"/>
                  </a:lnTo>
                  <a:lnTo>
                    <a:pt x="279" y="292"/>
                  </a:lnTo>
                  <a:lnTo>
                    <a:pt x="274" y="289"/>
                  </a:lnTo>
                  <a:lnTo>
                    <a:pt x="274" y="289"/>
                  </a:lnTo>
                  <a:lnTo>
                    <a:pt x="274" y="287"/>
                  </a:lnTo>
                  <a:lnTo>
                    <a:pt x="274" y="284"/>
                  </a:lnTo>
                  <a:lnTo>
                    <a:pt x="330" y="282"/>
                  </a:lnTo>
                  <a:lnTo>
                    <a:pt x="333" y="282"/>
                  </a:lnTo>
                  <a:lnTo>
                    <a:pt x="336" y="279"/>
                  </a:lnTo>
                  <a:lnTo>
                    <a:pt x="338" y="277"/>
                  </a:lnTo>
                  <a:lnTo>
                    <a:pt x="338" y="274"/>
                  </a:lnTo>
                  <a:lnTo>
                    <a:pt x="338" y="271"/>
                  </a:lnTo>
                  <a:lnTo>
                    <a:pt x="338" y="174"/>
                  </a:lnTo>
                  <a:close/>
                  <a:moveTo>
                    <a:pt x="67" y="225"/>
                  </a:moveTo>
                  <a:lnTo>
                    <a:pt x="67" y="200"/>
                  </a:lnTo>
                  <a:lnTo>
                    <a:pt x="87" y="215"/>
                  </a:lnTo>
                  <a:lnTo>
                    <a:pt x="67" y="225"/>
                  </a:lnTo>
                  <a:close/>
                  <a:moveTo>
                    <a:pt x="330" y="271"/>
                  </a:moveTo>
                  <a:lnTo>
                    <a:pt x="328" y="274"/>
                  </a:lnTo>
                  <a:lnTo>
                    <a:pt x="328" y="274"/>
                  </a:lnTo>
                  <a:lnTo>
                    <a:pt x="266" y="274"/>
                  </a:lnTo>
                  <a:lnTo>
                    <a:pt x="264" y="277"/>
                  </a:lnTo>
                  <a:lnTo>
                    <a:pt x="264" y="279"/>
                  </a:lnTo>
                  <a:lnTo>
                    <a:pt x="264" y="279"/>
                  </a:lnTo>
                  <a:lnTo>
                    <a:pt x="264" y="282"/>
                  </a:lnTo>
                  <a:lnTo>
                    <a:pt x="264" y="282"/>
                  </a:lnTo>
                  <a:lnTo>
                    <a:pt x="264" y="284"/>
                  </a:lnTo>
                  <a:lnTo>
                    <a:pt x="266" y="289"/>
                  </a:lnTo>
                  <a:lnTo>
                    <a:pt x="266" y="292"/>
                  </a:lnTo>
                  <a:lnTo>
                    <a:pt x="269" y="297"/>
                  </a:lnTo>
                  <a:lnTo>
                    <a:pt x="272" y="300"/>
                  </a:lnTo>
                  <a:lnTo>
                    <a:pt x="279" y="305"/>
                  </a:lnTo>
                  <a:lnTo>
                    <a:pt x="233" y="305"/>
                  </a:lnTo>
                  <a:lnTo>
                    <a:pt x="243" y="297"/>
                  </a:lnTo>
                  <a:lnTo>
                    <a:pt x="246" y="294"/>
                  </a:lnTo>
                  <a:lnTo>
                    <a:pt x="249" y="289"/>
                  </a:lnTo>
                  <a:lnTo>
                    <a:pt x="249" y="287"/>
                  </a:lnTo>
                  <a:lnTo>
                    <a:pt x="249" y="284"/>
                  </a:lnTo>
                  <a:lnTo>
                    <a:pt x="249" y="282"/>
                  </a:lnTo>
                  <a:lnTo>
                    <a:pt x="249" y="279"/>
                  </a:lnTo>
                  <a:lnTo>
                    <a:pt x="249" y="277"/>
                  </a:lnTo>
                  <a:lnTo>
                    <a:pt x="249" y="277"/>
                  </a:lnTo>
                  <a:lnTo>
                    <a:pt x="246" y="274"/>
                  </a:lnTo>
                  <a:lnTo>
                    <a:pt x="241" y="274"/>
                  </a:lnTo>
                  <a:lnTo>
                    <a:pt x="185" y="274"/>
                  </a:lnTo>
                  <a:lnTo>
                    <a:pt x="182" y="274"/>
                  </a:lnTo>
                  <a:lnTo>
                    <a:pt x="182" y="271"/>
                  </a:lnTo>
                  <a:lnTo>
                    <a:pt x="182" y="174"/>
                  </a:lnTo>
                  <a:lnTo>
                    <a:pt x="185" y="172"/>
                  </a:lnTo>
                  <a:lnTo>
                    <a:pt x="187" y="172"/>
                  </a:lnTo>
                  <a:lnTo>
                    <a:pt x="328" y="172"/>
                  </a:lnTo>
                  <a:lnTo>
                    <a:pt x="328" y="172"/>
                  </a:lnTo>
                  <a:lnTo>
                    <a:pt x="330" y="174"/>
                  </a:lnTo>
                  <a:lnTo>
                    <a:pt x="330" y="2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37">
            <a:extLst>
              <a:ext uri="{FF2B5EF4-FFF2-40B4-BE49-F238E27FC236}">
                <a16:creationId xmlns:a16="http://schemas.microsoft.com/office/drawing/2014/main" id="{7C3713F4-5F68-4228-B595-649C168724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5487" y="293689"/>
            <a:ext cx="758825" cy="758825"/>
            <a:chOff x="5257" y="394"/>
            <a:chExt cx="478" cy="478"/>
          </a:xfrm>
        </p:grpSpPr>
        <p:sp>
          <p:nvSpPr>
            <p:cNvPr id="47" name="AutoShape 36">
              <a:extLst>
                <a:ext uri="{FF2B5EF4-FFF2-40B4-BE49-F238E27FC236}">
                  <a16:creationId xmlns:a16="http://schemas.microsoft.com/office/drawing/2014/main" id="{B6EE873F-267B-4CEC-B40F-3A22FCBA7E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57" y="39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F2B5A564-FE53-4372-8800-6A4C84DD8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9" y="39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FC194CFC-08F0-46B1-844A-61D942225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6" y="502"/>
              <a:ext cx="343" cy="265"/>
            </a:xfrm>
            <a:custGeom>
              <a:avLst/>
              <a:gdLst>
                <a:gd name="T0" fmla="*/ 301 w 343"/>
                <a:gd name="T1" fmla="*/ 198 h 265"/>
                <a:gd name="T2" fmla="*/ 296 w 343"/>
                <a:gd name="T3" fmla="*/ 154 h 265"/>
                <a:gd name="T4" fmla="*/ 218 w 343"/>
                <a:gd name="T5" fmla="*/ 159 h 265"/>
                <a:gd name="T6" fmla="*/ 291 w 343"/>
                <a:gd name="T7" fmla="*/ 164 h 265"/>
                <a:gd name="T8" fmla="*/ 169 w 343"/>
                <a:gd name="T9" fmla="*/ 240 h 265"/>
                <a:gd name="T10" fmla="*/ 164 w 343"/>
                <a:gd name="T11" fmla="*/ 235 h 265"/>
                <a:gd name="T12" fmla="*/ 115 w 343"/>
                <a:gd name="T13" fmla="*/ 228 h 265"/>
                <a:gd name="T14" fmla="*/ 85 w 343"/>
                <a:gd name="T15" fmla="*/ 208 h 265"/>
                <a:gd name="T16" fmla="*/ 54 w 343"/>
                <a:gd name="T17" fmla="*/ 164 h 265"/>
                <a:gd name="T18" fmla="*/ 49 w 343"/>
                <a:gd name="T19" fmla="*/ 211 h 265"/>
                <a:gd name="T20" fmla="*/ 73 w 343"/>
                <a:gd name="T21" fmla="*/ 211 h 265"/>
                <a:gd name="T22" fmla="*/ 100 w 343"/>
                <a:gd name="T23" fmla="*/ 230 h 265"/>
                <a:gd name="T24" fmla="*/ 144 w 343"/>
                <a:gd name="T25" fmla="*/ 245 h 265"/>
                <a:gd name="T26" fmla="*/ 58 w 343"/>
                <a:gd name="T27" fmla="*/ 176 h 265"/>
                <a:gd name="T28" fmla="*/ 137 w 343"/>
                <a:gd name="T29" fmla="*/ 93 h 265"/>
                <a:gd name="T30" fmla="*/ 139 w 343"/>
                <a:gd name="T31" fmla="*/ 17 h 265"/>
                <a:gd name="T32" fmla="*/ 17 w 343"/>
                <a:gd name="T33" fmla="*/ 19 h 265"/>
                <a:gd name="T34" fmla="*/ 132 w 343"/>
                <a:gd name="T35" fmla="*/ 24 h 265"/>
                <a:gd name="T36" fmla="*/ 267 w 343"/>
                <a:gd name="T37" fmla="*/ 44 h 265"/>
                <a:gd name="T38" fmla="*/ 240 w 343"/>
                <a:gd name="T39" fmla="*/ 42 h 265"/>
                <a:gd name="T40" fmla="*/ 201 w 343"/>
                <a:gd name="T41" fmla="*/ 17 h 265"/>
                <a:gd name="T42" fmla="*/ 159 w 343"/>
                <a:gd name="T43" fmla="*/ 12 h 265"/>
                <a:gd name="T44" fmla="*/ 147 w 343"/>
                <a:gd name="T45" fmla="*/ 0 h 265"/>
                <a:gd name="T46" fmla="*/ 0 w 343"/>
                <a:gd name="T47" fmla="*/ 10 h 265"/>
                <a:gd name="T48" fmla="*/ 7 w 343"/>
                <a:gd name="T49" fmla="*/ 115 h 265"/>
                <a:gd name="T50" fmla="*/ 61 w 343"/>
                <a:gd name="T51" fmla="*/ 122 h 265"/>
                <a:gd name="T52" fmla="*/ 49 w 343"/>
                <a:gd name="T53" fmla="*/ 127 h 265"/>
                <a:gd name="T54" fmla="*/ 34 w 343"/>
                <a:gd name="T55" fmla="*/ 135 h 265"/>
                <a:gd name="T56" fmla="*/ 39 w 343"/>
                <a:gd name="T57" fmla="*/ 144 h 265"/>
                <a:gd name="T58" fmla="*/ 125 w 343"/>
                <a:gd name="T59" fmla="*/ 137 h 265"/>
                <a:gd name="T60" fmla="*/ 120 w 343"/>
                <a:gd name="T61" fmla="*/ 127 h 265"/>
                <a:gd name="T62" fmla="*/ 98 w 343"/>
                <a:gd name="T63" fmla="*/ 125 h 265"/>
                <a:gd name="T64" fmla="*/ 152 w 343"/>
                <a:gd name="T65" fmla="*/ 115 h 265"/>
                <a:gd name="T66" fmla="*/ 159 w 343"/>
                <a:gd name="T67" fmla="*/ 105 h 265"/>
                <a:gd name="T68" fmla="*/ 174 w 343"/>
                <a:gd name="T69" fmla="*/ 22 h 265"/>
                <a:gd name="T70" fmla="*/ 213 w 343"/>
                <a:gd name="T71" fmla="*/ 32 h 265"/>
                <a:gd name="T72" fmla="*/ 242 w 343"/>
                <a:gd name="T73" fmla="*/ 56 h 265"/>
                <a:gd name="T74" fmla="*/ 228 w 343"/>
                <a:gd name="T75" fmla="*/ 71 h 265"/>
                <a:gd name="T76" fmla="*/ 269 w 343"/>
                <a:gd name="T77" fmla="*/ 49 h 265"/>
                <a:gd name="T78" fmla="*/ 90 w 343"/>
                <a:gd name="T79" fmla="*/ 108 h 265"/>
                <a:gd name="T80" fmla="*/ 88 w 343"/>
                <a:gd name="T81" fmla="*/ 122 h 265"/>
                <a:gd name="T82" fmla="*/ 63 w 343"/>
                <a:gd name="T83" fmla="*/ 130 h 265"/>
                <a:gd name="T84" fmla="*/ 71 w 343"/>
                <a:gd name="T85" fmla="*/ 115 h 265"/>
                <a:gd name="T86" fmla="*/ 68 w 343"/>
                <a:gd name="T87" fmla="*/ 108 h 265"/>
                <a:gd name="T88" fmla="*/ 9 w 343"/>
                <a:gd name="T89" fmla="*/ 12 h 265"/>
                <a:gd name="T90" fmla="*/ 149 w 343"/>
                <a:gd name="T91" fmla="*/ 12 h 265"/>
                <a:gd name="T92" fmla="*/ 262 w 343"/>
                <a:gd name="T93" fmla="*/ 56 h 265"/>
                <a:gd name="T94" fmla="*/ 318 w 343"/>
                <a:gd name="T95" fmla="*/ 213 h 265"/>
                <a:gd name="T96" fmla="*/ 201 w 343"/>
                <a:gd name="T97" fmla="*/ 137 h 265"/>
                <a:gd name="T98" fmla="*/ 176 w 343"/>
                <a:gd name="T99" fmla="*/ 238 h 265"/>
                <a:gd name="T100" fmla="*/ 179 w 343"/>
                <a:gd name="T101" fmla="*/ 265 h 265"/>
                <a:gd name="T102" fmla="*/ 343 w 343"/>
                <a:gd name="T103" fmla="*/ 260 h 265"/>
                <a:gd name="T104" fmla="*/ 206 w 343"/>
                <a:gd name="T105" fmla="*/ 211 h 265"/>
                <a:gd name="T106" fmla="*/ 286 w 343"/>
                <a:gd name="T107" fmla="*/ 245 h 265"/>
                <a:gd name="T108" fmla="*/ 289 w 343"/>
                <a:gd name="T109" fmla="*/ 238 h 265"/>
                <a:gd name="T110" fmla="*/ 313 w 343"/>
                <a:gd name="T111" fmla="*/ 21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3" h="265">
                  <a:moveTo>
                    <a:pt x="220" y="201"/>
                  </a:moveTo>
                  <a:lnTo>
                    <a:pt x="223" y="201"/>
                  </a:lnTo>
                  <a:lnTo>
                    <a:pt x="299" y="201"/>
                  </a:lnTo>
                  <a:lnTo>
                    <a:pt x="299" y="201"/>
                  </a:lnTo>
                  <a:lnTo>
                    <a:pt x="301" y="198"/>
                  </a:lnTo>
                  <a:lnTo>
                    <a:pt x="301" y="196"/>
                  </a:lnTo>
                  <a:lnTo>
                    <a:pt x="301" y="159"/>
                  </a:lnTo>
                  <a:lnTo>
                    <a:pt x="299" y="157"/>
                  </a:lnTo>
                  <a:lnTo>
                    <a:pt x="299" y="157"/>
                  </a:lnTo>
                  <a:lnTo>
                    <a:pt x="296" y="154"/>
                  </a:lnTo>
                  <a:lnTo>
                    <a:pt x="220" y="154"/>
                  </a:lnTo>
                  <a:lnTo>
                    <a:pt x="220" y="157"/>
                  </a:lnTo>
                  <a:lnTo>
                    <a:pt x="218" y="157"/>
                  </a:lnTo>
                  <a:lnTo>
                    <a:pt x="218" y="159"/>
                  </a:lnTo>
                  <a:lnTo>
                    <a:pt x="218" y="159"/>
                  </a:lnTo>
                  <a:lnTo>
                    <a:pt x="218" y="198"/>
                  </a:lnTo>
                  <a:lnTo>
                    <a:pt x="218" y="201"/>
                  </a:lnTo>
                  <a:lnTo>
                    <a:pt x="220" y="201"/>
                  </a:lnTo>
                  <a:close/>
                  <a:moveTo>
                    <a:pt x="225" y="164"/>
                  </a:moveTo>
                  <a:lnTo>
                    <a:pt x="291" y="164"/>
                  </a:lnTo>
                  <a:lnTo>
                    <a:pt x="291" y="194"/>
                  </a:lnTo>
                  <a:lnTo>
                    <a:pt x="225" y="194"/>
                  </a:lnTo>
                  <a:lnTo>
                    <a:pt x="225" y="164"/>
                  </a:lnTo>
                  <a:close/>
                  <a:moveTo>
                    <a:pt x="169" y="243"/>
                  </a:moveTo>
                  <a:lnTo>
                    <a:pt x="169" y="240"/>
                  </a:lnTo>
                  <a:lnTo>
                    <a:pt x="169" y="240"/>
                  </a:lnTo>
                  <a:lnTo>
                    <a:pt x="169" y="238"/>
                  </a:lnTo>
                  <a:lnTo>
                    <a:pt x="166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54" y="235"/>
                  </a:lnTo>
                  <a:lnTo>
                    <a:pt x="147" y="235"/>
                  </a:lnTo>
                  <a:lnTo>
                    <a:pt x="134" y="235"/>
                  </a:lnTo>
                  <a:lnTo>
                    <a:pt x="125" y="233"/>
                  </a:lnTo>
                  <a:lnTo>
                    <a:pt x="115" y="228"/>
                  </a:lnTo>
                  <a:lnTo>
                    <a:pt x="110" y="228"/>
                  </a:lnTo>
                  <a:lnTo>
                    <a:pt x="103" y="223"/>
                  </a:lnTo>
                  <a:lnTo>
                    <a:pt x="93" y="216"/>
                  </a:lnTo>
                  <a:lnTo>
                    <a:pt x="88" y="213"/>
                  </a:lnTo>
                  <a:lnTo>
                    <a:pt x="85" y="208"/>
                  </a:lnTo>
                  <a:lnTo>
                    <a:pt x="76" y="201"/>
                  </a:lnTo>
                  <a:lnTo>
                    <a:pt x="90" y="191"/>
                  </a:lnTo>
                  <a:lnTo>
                    <a:pt x="93" y="189"/>
                  </a:lnTo>
                  <a:lnTo>
                    <a:pt x="90" y="186"/>
                  </a:lnTo>
                  <a:lnTo>
                    <a:pt x="54" y="164"/>
                  </a:lnTo>
                  <a:lnTo>
                    <a:pt x="51" y="164"/>
                  </a:lnTo>
                  <a:lnTo>
                    <a:pt x="49" y="167"/>
                  </a:lnTo>
                  <a:lnTo>
                    <a:pt x="49" y="169"/>
                  </a:lnTo>
                  <a:lnTo>
                    <a:pt x="49" y="208"/>
                  </a:lnTo>
                  <a:lnTo>
                    <a:pt x="49" y="211"/>
                  </a:lnTo>
                  <a:lnTo>
                    <a:pt x="51" y="211"/>
                  </a:lnTo>
                  <a:lnTo>
                    <a:pt x="54" y="211"/>
                  </a:lnTo>
                  <a:lnTo>
                    <a:pt x="56" y="211"/>
                  </a:lnTo>
                  <a:lnTo>
                    <a:pt x="68" y="203"/>
                  </a:lnTo>
                  <a:lnTo>
                    <a:pt x="73" y="211"/>
                  </a:lnTo>
                  <a:lnTo>
                    <a:pt x="78" y="216"/>
                  </a:lnTo>
                  <a:lnTo>
                    <a:pt x="83" y="218"/>
                  </a:lnTo>
                  <a:lnTo>
                    <a:pt x="90" y="225"/>
                  </a:lnTo>
                  <a:lnTo>
                    <a:pt x="95" y="228"/>
                  </a:lnTo>
                  <a:lnTo>
                    <a:pt x="100" y="230"/>
                  </a:lnTo>
                  <a:lnTo>
                    <a:pt x="112" y="238"/>
                  </a:lnTo>
                  <a:lnTo>
                    <a:pt x="122" y="240"/>
                  </a:lnTo>
                  <a:lnTo>
                    <a:pt x="127" y="243"/>
                  </a:lnTo>
                  <a:lnTo>
                    <a:pt x="139" y="243"/>
                  </a:lnTo>
                  <a:lnTo>
                    <a:pt x="144" y="245"/>
                  </a:lnTo>
                  <a:lnTo>
                    <a:pt x="154" y="245"/>
                  </a:lnTo>
                  <a:lnTo>
                    <a:pt x="166" y="243"/>
                  </a:lnTo>
                  <a:lnTo>
                    <a:pt x="169" y="243"/>
                  </a:lnTo>
                  <a:close/>
                  <a:moveTo>
                    <a:pt x="58" y="201"/>
                  </a:moveTo>
                  <a:lnTo>
                    <a:pt x="58" y="176"/>
                  </a:lnTo>
                  <a:lnTo>
                    <a:pt x="78" y="189"/>
                  </a:lnTo>
                  <a:lnTo>
                    <a:pt x="58" y="201"/>
                  </a:lnTo>
                  <a:close/>
                  <a:moveTo>
                    <a:pt x="19" y="91"/>
                  </a:moveTo>
                  <a:lnTo>
                    <a:pt x="22" y="93"/>
                  </a:lnTo>
                  <a:lnTo>
                    <a:pt x="137" y="93"/>
                  </a:lnTo>
                  <a:lnTo>
                    <a:pt x="139" y="91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19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22" y="17"/>
                  </a:lnTo>
                  <a:lnTo>
                    <a:pt x="19" y="17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88"/>
                  </a:lnTo>
                  <a:lnTo>
                    <a:pt x="19" y="91"/>
                  </a:lnTo>
                  <a:lnTo>
                    <a:pt x="19" y="91"/>
                  </a:lnTo>
                  <a:close/>
                  <a:moveTo>
                    <a:pt x="27" y="24"/>
                  </a:moveTo>
                  <a:lnTo>
                    <a:pt x="132" y="24"/>
                  </a:lnTo>
                  <a:lnTo>
                    <a:pt x="132" y="83"/>
                  </a:lnTo>
                  <a:lnTo>
                    <a:pt x="27" y="83"/>
                  </a:lnTo>
                  <a:lnTo>
                    <a:pt x="27" y="24"/>
                  </a:lnTo>
                  <a:close/>
                  <a:moveTo>
                    <a:pt x="269" y="46"/>
                  </a:moveTo>
                  <a:lnTo>
                    <a:pt x="267" y="44"/>
                  </a:lnTo>
                  <a:lnTo>
                    <a:pt x="264" y="44"/>
                  </a:lnTo>
                  <a:lnTo>
                    <a:pt x="264" y="44"/>
                  </a:lnTo>
                  <a:lnTo>
                    <a:pt x="250" y="51"/>
                  </a:lnTo>
                  <a:lnTo>
                    <a:pt x="247" y="51"/>
                  </a:lnTo>
                  <a:lnTo>
                    <a:pt x="240" y="42"/>
                  </a:lnTo>
                  <a:lnTo>
                    <a:pt x="235" y="37"/>
                  </a:lnTo>
                  <a:lnTo>
                    <a:pt x="228" y="32"/>
                  </a:lnTo>
                  <a:lnTo>
                    <a:pt x="223" y="27"/>
                  </a:lnTo>
                  <a:lnTo>
                    <a:pt x="213" y="22"/>
                  </a:lnTo>
                  <a:lnTo>
                    <a:pt x="201" y="17"/>
                  </a:lnTo>
                  <a:lnTo>
                    <a:pt x="196" y="17"/>
                  </a:lnTo>
                  <a:lnTo>
                    <a:pt x="183" y="15"/>
                  </a:lnTo>
                  <a:lnTo>
                    <a:pt x="179" y="12"/>
                  </a:lnTo>
                  <a:lnTo>
                    <a:pt x="166" y="12"/>
                  </a:lnTo>
                  <a:lnTo>
                    <a:pt x="159" y="12"/>
                  </a:lnTo>
                  <a:lnTo>
                    <a:pt x="157" y="7"/>
                  </a:lnTo>
                  <a:lnTo>
                    <a:pt x="154" y="5"/>
                  </a:lnTo>
                  <a:lnTo>
                    <a:pt x="152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5" y="113"/>
                  </a:lnTo>
                  <a:lnTo>
                    <a:pt x="7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63" y="115"/>
                  </a:lnTo>
                  <a:lnTo>
                    <a:pt x="61" y="120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58" y="125"/>
                  </a:lnTo>
                  <a:lnTo>
                    <a:pt x="56" y="125"/>
                  </a:lnTo>
                  <a:lnTo>
                    <a:pt x="51" y="127"/>
                  </a:lnTo>
                  <a:lnTo>
                    <a:pt x="49" y="127"/>
                  </a:lnTo>
                  <a:lnTo>
                    <a:pt x="39" y="127"/>
                  </a:lnTo>
                  <a:lnTo>
                    <a:pt x="39" y="127"/>
                  </a:lnTo>
                  <a:lnTo>
                    <a:pt x="36" y="130"/>
                  </a:lnTo>
                  <a:lnTo>
                    <a:pt x="34" y="132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6" y="142"/>
                  </a:lnTo>
                  <a:lnTo>
                    <a:pt x="39" y="144"/>
                  </a:lnTo>
                  <a:lnTo>
                    <a:pt x="41" y="144"/>
                  </a:lnTo>
                  <a:lnTo>
                    <a:pt x="120" y="144"/>
                  </a:lnTo>
                  <a:lnTo>
                    <a:pt x="122" y="142"/>
                  </a:lnTo>
                  <a:lnTo>
                    <a:pt x="125" y="142"/>
                  </a:lnTo>
                  <a:lnTo>
                    <a:pt x="125" y="137"/>
                  </a:lnTo>
                  <a:lnTo>
                    <a:pt x="127" y="137"/>
                  </a:lnTo>
                  <a:lnTo>
                    <a:pt x="125" y="135"/>
                  </a:lnTo>
                  <a:lnTo>
                    <a:pt x="125" y="132"/>
                  </a:lnTo>
                  <a:lnTo>
                    <a:pt x="125" y="130"/>
                  </a:lnTo>
                  <a:lnTo>
                    <a:pt x="120" y="127"/>
                  </a:lnTo>
                  <a:lnTo>
                    <a:pt x="117" y="127"/>
                  </a:lnTo>
                  <a:lnTo>
                    <a:pt x="115" y="127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98" y="125"/>
                  </a:lnTo>
                  <a:lnTo>
                    <a:pt x="95" y="120"/>
                  </a:lnTo>
                  <a:lnTo>
                    <a:pt x="95" y="118"/>
                  </a:lnTo>
                  <a:lnTo>
                    <a:pt x="95" y="115"/>
                  </a:lnTo>
                  <a:lnTo>
                    <a:pt x="147" y="115"/>
                  </a:lnTo>
                  <a:lnTo>
                    <a:pt x="152" y="115"/>
                  </a:lnTo>
                  <a:lnTo>
                    <a:pt x="154" y="113"/>
                  </a:lnTo>
                  <a:lnTo>
                    <a:pt x="154" y="113"/>
                  </a:lnTo>
                  <a:lnTo>
                    <a:pt x="157" y="108"/>
                  </a:lnTo>
                  <a:lnTo>
                    <a:pt x="157" y="105"/>
                  </a:lnTo>
                  <a:lnTo>
                    <a:pt x="159" y="105"/>
                  </a:lnTo>
                  <a:lnTo>
                    <a:pt x="157" y="103"/>
                  </a:lnTo>
                  <a:lnTo>
                    <a:pt x="157" y="22"/>
                  </a:lnTo>
                  <a:lnTo>
                    <a:pt x="164" y="19"/>
                  </a:lnTo>
                  <a:lnTo>
                    <a:pt x="166" y="19"/>
                  </a:lnTo>
                  <a:lnTo>
                    <a:pt x="174" y="22"/>
                  </a:lnTo>
                  <a:lnTo>
                    <a:pt x="183" y="22"/>
                  </a:lnTo>
                  <a:lnTo>
                    <a:pt x="188" y="22"/>
                  </a:lnTo>
                  <a:lnTo>
                    <a:pt x="198" y="27"/>
                  </a:lnTo>
                  <a:lnTo>
                    <a:pt x="203" y="27"/>
                  </a:lnTo>
                  <a:lnTo>
                    <a:pt x="213" y="32"/>
                  </a:lnTo>
                  <a:lnTo>
                    <a:pt x="220" y="37"/>
                  </a:lnTo>
                  <a:lnTo>
                    <a:pt x="225" y="39"/>
                  </a:lnTo>
                  <a:lnTo>
                    <a:pt x="233" y="46"/>
                  </a:lnTo>
                  <a:lnTo>
                    <a:pt x="237" y="51"/>
                  </a:lnTo>
                  <a:lnTo>
                    <a:pt x="242" y="56"/>
                  </a:lnTo>
                  <a:lnTo>
                    <a:pt x="228" y="66"/>
                  </a:lnTo>
                  <a:lnTo>
                    <a:pt x="228" y="68"/>
                  </a:lnTo>
                  <a:lnTo>
                    <a:pt x="228" y="68"/>
                  </a:lnTo>
                  <a:lnTo>
                    <a:pt x="228" y="71"/>
                  </a:lnTo>
                  <a:lnTo>
                    <a:pt x="228" y="71"/>
                  </a:lnTo>
                  <a:lnTo>
                    <a:pt x="264" y="93"/>
                  </a:lnTo>
                  <a:lnTo>
                    <a:pt x="267" y="93"/>
                  </a:lnTo>
                  <a:lnTo>
                    <a:pt x="267" y="91"/>
                  </a:lnTo>
                  <a:lnTo>
                    <a:pt x="269" y="88"/>
                  </a:lnTo>
                  <a:lnTo>
                    <a:pt x="269" y="49"/>
                  </a:lnTo>
                  <a:lnTo>
                    <a:pt x="269" y="46"/>
                  </a:lnTo>
                  <a:close/>
                  <a:moveTo>
                    <a:pt x="149" y="105"/>
                  </a:moveTo>
                  <a:lnTo>
                    <a:pt x="147" y="108"/>
                  </a:lnTo>
                  <a:lnTo>
                    <a:pt x="147" y="108"/>
                  </a:lnTo>
                  <a:lnTo>
                    <a:pt x="90" y="108"/>
                  </a:lnTo>
                  <a:lnTo>
                    <a:pt x="88" y="108"/>
                  </a:lnTo>
                  <a:lnTo>
                    <a:pt x="85" y="110"/>
                  </a:lnTo>
                  <a:lnTo>
                    <a:pt x="85" y="113"/>
                  </a:lnTo>
                  <a:lnTo>
                    <a:pt x="88" y="122"/>
                  </a:lnTo>
                  <a:lnTo>
                    <a:pt x="88" y="122"/>
                  </a:lnTo>
                  <a:lnTo>
                    <a:pt x="90" y="127"/>
                  </a:lnTo>
                  <a:lnTo>
                    <a:pt x="95" y="130"/>
                  </a:lnTo>
                  <a:lnTo>
                    <a:pt x="100" y="135"/>
                  </a:lnTo>
                  <a:lnTo>
                    <a:pt x="56" y="135"/>
                  </a:lnTo>
                  <a:lnTo>
                    <a:pt x="63" y="130"/>
                  </a:lnTo>
                  <a:lnTo>
                    <a:pt x="68" y="127"/>
                  </a:lnTo>
                  <a:lnTo>
                    <a:pt x="68" y="125"/>
                  </a:lnTo>
                  <a:lnTo>
                    <a:pt x="71" y="120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3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8" y="108"/>
                  </a:lnTo>
                  <a:lnTo>
                    <a:pt x="63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147" y="10"/>
                  </a:lnTo>
                  <a:lnTo>
                    <a:pt x="149" y="10"/>
                  </a:lnTo>
                  <a:lnTo>
                    <a:pt x="149" y="12"/>
                  </a:lnTo>
                  <a:lnTo>
                    <a:pt x="149" y="103"/>
                  </a:lnTo>
                  <a:lnTo>
                    <a:pt x="149" y="105"/>
                  </a:lnTo>
                  <a:close/>
                  <a:moveTo>
                    <a:pt x="259" y="81"/>
                  </a:moveTo>
                  <a:lnTo>
                    <a:pt x="240" y="68"/>
                  </a:lnTo>
                  <a:lnTo>
                    <a:pt x="262" y="56"/>
                  </a:lnTo>
                  <a:lnTo>
                    <a:pt x="259" y="81"/>
                  </a:lnTo>
                  <a:close/>
                  <a:moveTo>
                    <a:pt x="343" y="240"/>
                  </a:moveTo>
                  <a:lnTo>
                    <a:pt x="343" y="238"/>
                  </a:lnTo>
                  <a:lnTo>
                    <a:pt x="340" y="238"/>
                  </a:lnTo>
                  <a:lnTo>
                    <a:pt x="318" y="213"/>
                  </a:lnTo>
                  <a:lnTo>
                    <a:pt x="318" y="140"/>
                  </a:lnTo>
                  <a:lnTo>
                    <a:pt x="318" y="140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201" y="137"/>
                  </a:lnTo>
                  <a:lnTo>
                    <a:pt x="198" y="140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213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6" y="262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81" y="265"/>
                  </a:lnTo>
                  <a:lnTo>
                    <a:pt x="340" y="265"/>
                  </a:lnTo>
                  <a:lnTo>
                    <a:pt x="340" y="262"/>
                  </a:lnTo>
                  <a:lnTo>
                    <a:pt x="343" y="262"/>
                  </a:lnTo>
                  <a:lnTo>
                    <a:pt x="343" y="260"/>
                  </a:lnTo>
                  <a:lnTo>
                    <a:pt x="343" y="240"/>
                  </a:lnTo>
                  <a:close/>
                  <a:moveTo>
                    <a:pt x="206" y="147"/>
                  </a:moveTo>
                  <a:lnTo>
                    <a:pt x="311" y="147"/>
                  </a:lnTo>
                  <a:lnTo>
                    <a:pt x="311" y="211"/>
                  </a:lnTo>
                  <a:lnTo>
                    <a:pt x="206" y="211"/>
                  </a:lnTo>
                  <a:lnTo>
                    <a:pt x="206" y="147"/>
                  </a:lnTo>
                  <a:close/>
                  <a:moveTo>
                    <a:pt x="333" y="255"/>
                  </a:moveTo>
                  <a:lnTo>
                    <a:pt x="183" y="255"/>
                  </a:lnTo>
                  <a:lnTo>
                    <a:pt x="183" y="245"/>
                  </a:lnTo>
                  <a:lnTo>
                    <a:pt x="286" y="245"/>
                  </a:lnTo>
                  <a:lnTo>
                    <a:pt x="289" y="245"/>
                  </a:lnTo>
                  <a:lnTo>
                    <a:pt x="289" y="243"/>
                  </a:lnTo>
                  <a:lnTo>
                    <a:pt x="291" y="240"/>
                  </a:lnTo>
                  <a:lnTo>
                    <a:pt x="289" y="238"/>
                  </a:lnTo>
                  <a:lnTo>
                    <a:pt x="289" y="238"/>
                  </a:lnTo>
                  <a:lnTo>
                    <a:pt x="286" y="238"/>
                  </a:lnTo>
                  <a:lnTo>
                    <a:pt x="286" y="238"/>
                  </a:lnTo>
                  <a:lnTo>
                    <a:pt x="188" y="238"/>
                  </a:lnTo>
                  <a:lnTo>
                    <a:pt x="203" y="218"/>
                  </a:lnTo>
                  <a:lnTo>
                    <a:pt x="313" y="218"/>
                  </a:lnTo>
                  <a:lnTo>
                    <a:pt x="333" y="243"/>
                  </a:lnTo>
                  <a:lnTo>
                    <a:pt x="333" y="25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2">
            <a:extLst>
              <a:ext uri="{FF2B5EF4-FFF2-40B4-BE49-F238E27FC236}">
                <a16:creationId xmlns:a16="http://schemas.microsoft.com/office/drawing/2014/main" id="{C984F25A-DA77-4BAB-8964-266FF8BE90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9985" y="252414"/>
            <a:ext cx="841375" cy="841375"/>
            <a:chOff x="4450" y="266"/>
            <a:chExt cx="530" cy="530"/>
          </a:xfrm>
        </p:grpSpPr>
        <p:sp>
          <p:nvSpPr>
            <p:cNvPr id="51" name="AutoShape 41">
              <a:extLst>
                <a:ext uri="{FF2B5EF4-FFF2-40B4-BE49-F238E27FC236}">
                  <a16:creationId xmlns:a16="http://schemas.microsoft.com/office/drawing/2014/main" id="{DCF41AD1-E084-4BB3-AAE0-508620510C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50" y="26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3">
              <a:extLst>
                <a:ext uri="{FF2B5EF4-FFF2-40B4-BE49-F238E27FC236}">
                  <a16:creationId xmlns:a16="http://schemas.microsoft.com/office/drawing/2014/main" id="{2DC05765-4943-4822-904F-FD335BCAB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0" y="26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CAF359DF-1600-4190-9FAF-BAA736631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8" y="28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8C7C03AC-F374-4D19-A137-4F27A3A5AA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7" y="394"/>
              <a:ext cx="358" cy="276"/>
            </a:xfrm>
            <a:custGeom>
              <a:avLst/>
              <a:gdLst>
                <a:gd name="T0" fmla="*/ 315 w 358"/>
                <a:gd name="T1" fmla="*/ 207 h 276"/>
                <a:gd name="T2" fmla="*/ 310 w 358"/>
                <a:gd name="T3" fmla="*/ 161 h 276"/>
                <a:gd name="T4" fmla="*/ 228 w 358"/>
                <a:gd name="T5" fmla="*/ 166 h 276"/>
                <a:gd name="T6" fmla="*/ 305 w 358"/>
                <a:gd name="T7" fmla="*/ 171 h 276"/>
                <a:gd name="T8" fmla="*/ 177 w 358"/>
                <a:gd name="T9" fmla="*/ 251 h 276"/>
                <a:gd name="T10" fmla="*/ 171 w 358"/>
                <a:gd name="T11" fmla="*/ 246 h 276"/>
                <a:gd name="T12" fmla="*/ 120 w 358"/>
                <a:gd name="T13" fmla="*/ 238 h 276"/>
                <a:gd name="T14" fmla="*/ 90 w 358"/>
                <a:gd name="T15" fmla="*/ 218 h 276"/>
                <a:gd name="T16" fmla="*/ 56 w 358"/>
                <a:gd name="T17" fmla="*/ 171 h 276"/>
                <a:gd name="T18" fmla="*/ 51 w 358"/>
                <a:gd name="T19" fmla="*/ 220 h 276"/>
                <a:gd name="T20" fmla="*/ 77 w 358"/>
                <a:gd name="T21" fmla="*/ 220 h 276"/>
                <a:gd name="T22" fmla="*/ 105 w 358"/>
                <a:gd name="T23" fmla="*/ 241 h 276"/>
                <a:gd name="T24" fmla="*/ 151 w 358"/>
                <a:gd name="T25" fmla="*/ 256 h 276"/>
                <a:gd name="T26" fmla="*/ 61 w 358"/>
                <a:gd name="T27" fmla="*/ 184 h 276"/>
                <a:gd name="T28" fmla="*/ 143 w 358"/>
                <a:gd name="T29" fmla="*/ 97 h 276"/>
                <a:gd name="T30" fmla="*/ 146 w 358"/>
                <a:gd name="T31" fmla="*/ 18 h 276"/>
                <a:gd name="T32" fmla="*/ 18 w 358"/>
                <a:gd name="T33" fmla="*/ 20 h 276"/>
                <a:gd name="T34" fmla="*/ 138 w 358"/>
                <a:gd name="T35" fmla="*/ 26 h 276"/>
                <a:gd name="T36" fmla="*/ 279 w 358"/>
                <a:gd name="T37" fmla="*/ 46 h 276"/>
                <a:gd name="T38" fmla="*/ 251 w 358"/>
                <a:gd name="T39" fmla="*/ 43 h 276"/>
                <a:gd name="T40" fmla="*/ 210 w 358"/>
                <a:gd name="T41" fmla="*/ 18 h 276"/>
                <a:gd name="T42" fmla="*/ 166 w 358"/>
                <a:gd name="T43" fmla="*/ 13 h 276"/>
                <a:gd name="T44" fmla="*/ 154 w 358"/>
                <a:gd name="T45" fmla="*/ 0 h 276"/>
                <a:gd name="T46" fmla="*/ 0 w 358"/>
                <a:gd name="T47" fmla="*/ 10 h 276"/>
                <a:gd name="T48" fmla="*/ 8 w 358"/>
                <a:gd name="T49" fmla="*/ 120 h 276"/>
                <a:gd name="T50" fmla="*/ 64 w 358"/>
                <a:gd name="T51" fmla="*/ 128 h 276"/>
                <a:gd name="T52" fmla="*/ 51 w 358"/>
                <a:gd name="T53" fmla="*/ 133 h 276"/>
                <a:gd name="T54" fmla="*/ 36 w 358"/>
                <a:gd name="T55" fmla="*/ 141 h 276"/>
                <a:gd name="T56" fmla="*/ 41 w 358"/>
                <a:gd name="T57" fmla="*/ 151 h 276"/>
                <a:gd name="T58" fmla="*/ 131 w 358"/>
                <a:gd name="T59" fmla="*/ 143 h 276"/>
                <a:gd name="T60" fmla="*/ 125 w 358"/>
                <a:gd name="T61" fmla="*/ 133 h 276"/>
                <a:gd name="T62" fmla="*/ 102 w 358"/>
                <a:gd name="T63" fmla="*/ 130 h 276"/>
                <a:gd name="T64" fmla="*/ 159 w 358"/>
                <a:gd name="T65" fmla="*/ 120 h 276"/>
                <a:gd name="T66" fmla="*/ 166 w 358"/>
                <a:gd name="T67" fmla="*/ 110 h 276"/>
                <a:gd name="T68" fmla="*/ 182 w 358"/>
                <a:gd name="T69" fmla="*/ 23 h 276"/>
                <a:gd name="T70" fmla="*/ 223 w 358"/>
                <a:gd name="T71" fmla="*/ 33 h 276"/>
                <a:gd name="T72" fmla="*/ 253 w 358"/>
                <a:gd name="T73" fmla="*/ 59 h 276"/>
                <a:gd name="T74" fmla="*/ 238 w 358"/>
                <a:gd name="T75" fmla="*/ 74 h 276"/>
                <a:gd name="T76" fmla="*/ 282 w 358"/>
                <a:gd name="T77" fmla="*/ 51 h 276"/>
                <a:gd name="T78" fmla="*/ 95 w 358"/>
                <a:gd name="T79" fmla="*/ 113 h 276"/>
                <a:gd name="T80" fmla="*/ 92 w 358"/>
                <a:gd name="T81" fmla="*/ 128 h 276"/>
                <a:gd name="T82" fmla="*/ 67 w 358"/>
                <a:gd name="T83" fmla="*/ 136 h 276"/>
                <a:gd name="T84" fmla="*/ 74 w 358"/>
                <a:gd name="T85" fmla="*/ 120 h 276"/>
                <a:gd name="T86" fmla="*/ 72 w 358"/>
                <a:gd name="T87" fmla="*/ 113 h 276"/>
                <a:gd name="T88" fmla="*/ 10 w 358"/>
                <a:gd name="T89" fmla="*/ 13 h 276"/>
                <a:gd name="T90" fmla="*/ 156 w 358"/>
                <a:gd name="T91" fmla="*/ 13 h 276"/>
                <a:gd name="T92" fmla="*/ 274 w 358"/>
                <a:gd name="T93" fmla="*/ 59 h 276"/>
                <a:gd name="T94" fmla="*/ 333 w 358"/>
                <a:gd name="T95" fmla="*/ 223 h 276"/>
                <a:gd name="T96" fmla="*/ 210 w 358"/>
                <a:gd name="T97" fmla="*/ 143 h 276"/>
                <a:gd name="T98" fmla="*/ 184 w 358"/>
                <a:gd name="T99" fmla="*/ 248 h 276"/>
                <a:gd name="T100" fmla="*/ 187 w 358"/>
                <a:gd name="T101" fmla="*/ 276 h 276"/>
                <a:gd name="T102" fmla="*/ 358 w 358"/>
                <a:gd name="T103" fmla="*/ 271 h 276"/>
                <a:gd name="T104" fmla="*/ 215 w 358"/>
                <a:gd name="T105" fmla="*/ 220 h 276"/>
                <a:gd name="T106" fmla="*/ 300 w 358"/>
                <a:gd name="T107" fmla="*/ 256 h 276"/>
                <a:gd name="T108" fmla="*/ 302 w 358"/>
                <a:gd name="T109" fmla="*/ 248 h 276"/>
                <a:gd name="T110" fmla="*/ 328 w 358"/>
                <a:gd name="T111" fmla="*/ 228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8" h="276">
                  <a:moveTo>
                    <a:pt x="230" y="210"/>
                  </a:moveTo>
                  <a:lnTo>
                    <a:pt x="233" y="210"/>
                  </a:lnTo>
                  <a:lnTo>
                    <a:pt x="312" y="210"/>
                  </a:lnTo>
                  <a:lnTo>
                    <a:pt x="312" y="210"/>
                  </a:lnTo>
                  <a:lnTo>
                    <a:pt x="315" y="207"/>
                  </a:lnTo>
                  <a:lnTo>
                    <a:pt x="315" y="205"/>
                  </a:lnTo>
                  <a:lnTo>
                    <a:pt x="315" y="166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0" y="161"/>
                  </a:lnTo>
                  <a:lnTo>
                    <a:pt x="230" y="161"/>
                  </a:lnTo>
                  <a:lnTo>
                    <a:pt x="230" y="164"/>
                  </a:lnTo>
                  <a:lnTo>
                    <a:pt x="228" y="164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207"/>
                  </a:lnTo>
                  <a:lnTo>
                    <a:pt x="228" y="210"/>
                  </a:lnTo>
                  <a:lnTo>
                    <a:pt x="230" y="210"/>
                  </a:lnTo>
                  <a:close/>
                  <a:moveTo>
                    <a:pt x="236" y="171"/>
                  </a:moveTo>
                  <a:lnTo>
                    <a:pt x="305" y="171"/>
                  </a:lnTo>
                  <a:lnTo>
                    <a:pt x="305" y="202"/>
                  </a:lnTo>
                  <a:lnTo>
                    <a:pt x="236" y="202"/>
                  </a:lnTo>
                  <a:lnTo>
                    <a:pt x="236" y="171"/>
                  </a:lnTo>
                  <a:close/>
                  <a:moveTo>
                    <a:pt x="177" y="253"/>
                  </a:moveTo>
                  <a:lnTo>
                    <a:pt x="177" y="251"/>
                  </a:lnTo>
                  <a:lnTo>
                    <a:pt x="177" y="251"/>
                  </a:lnTo>
                  <a:lnTo>
                    <a:pt x="177" y="248"/>
                  </a:lnTo>
                  <a:lnTo>
                    <a:pt x="174" y="246"/>
                  </a:lnTo>
                  <a:lnTo>
                    <a:pt x="171" y="246"/>
                  </a:lnTo>
                  <a:lnTo>
                    <a:pt x="171" y="246"/>
                  </a:lnTo>
                  <a:lnTo>
                    <a:pt x="161" y="246"/>
                  </a:lnTo>
                  <a:lnTo>
                    <a:pt x="154" y="246"/>
                  </a:lnTo>
                  <a:lnTo>
                    <a:pt x="141" y="246"/>
                  </a:lnTo>
                  <a:lnTo>
                    <a:pt x="131" y="243"/>
                  </a:lnTo>
                  <a:lnTo>
                    <a:pt x="120" y="238"/>
                  </a:lnTo>
                  <a:lnTo>
                    <a:pt x="115" y="238"/>
                  </a:lnTo>
                  <a:lnTo>
                    <a:pt x="107" y="233"/>
                  </a:lnTo>
                  <a:lnTo>
                    <a:pt x="97" y="225"/>
                  </a:lnTo>
                  <a:lnTo>
                    <a:pt x="92" y="223"/>
                  </a:lnTo>
                  <a:lnTo>
                    <a:pt x="90" y="218"/>
                  </a:lnTo>
                  <a:lnTo>
                    <a:pt x="79" y="210"/>
                  </a:lnTo>
                  <a:lnTo>
                    <a:pt x="95" y="200"/>
                  </a:lnTo>
                  <a:lnTo>
                    <a:pt x="97" y="197"/>
                  </a:lnTo>
                  <a:lnTo>
                    <a:pt x="95" y="195"/>
                  </a:lnTo>
                  <a:lnTo>
                    <a:pt x="56" y="171"/>
                  </a:lnTo>
                  <a:lnTo>
                    <a:pt x="54" y="171"/>
                  </a:lnTo>
                  <a:lnTo>
                    <a:pt x="51" y="174"/>
                  </a:lnTo>
                  <a:lnTo>
                    <a:pt x="51" y="177"/>
                  </a:lnTo>
                  <a:lnTo>
                    <a:pt x="51" y="218"/>
                  </a:lnTo>
                  <a:lnTo>
                    <a:pt x="51" y="220"/>
                  </a:lnTo>
                  <a:lnTo>
                    <a:pt x="54" y="220"/>
                  </a:lnTo>
                  <a:lnTo>
                    <a:pt x="56" y="220"/>
                  </a:lnTo>
                  <a:lnTo>
                    <a:pt x="59" y="220"/>
                  </a:lnTo>
                  <a:lnTo>
                    <a:pt x="72" y="212"/>
                  </a:lnTo>
                  <a:lnTo>
                    <a:pt x="77" y="220"/>
                  </a:lnTo>
                  <a:lnTo>
                    <a:pt x="82" y="225"/>
                  </a:lnTo>
                  <a:lnTo>
                    <a:pt x="87" y="228"/>
                  </a:lnTo>
                  <a:lnTo>
                    <a:pt x="95" y="235"/>
                  </a:lnTo>
                  <a:lnTo>
                    <a:pt x="100" y="238"/>
                  </a:lnTo>
                  <a:lnTo>
                    <a:pt x="105" y="241"/>
                  </a:lnTo>
                  <a:lnTo>
                    <a:pt x="118" y="248"/>
                  </a:lnTo>
                  <a:lnTo>
                    <a:pt x="128" y="251"/>
                  </a:lnTo>
                  <a:lnTo>
                    <a:pt x="133" y="253"/>
                  </a:lnTo>
                  <a:lnTo>
                    <a:pt x="146" y="253"/>
                  </a:lnTo>
                  <a:lnTo>
                    <a:pt x="151" y="256"/>
                  </a:lnTo>
                  <a:lnTo>
                    <a:pt x="161" y="256"/>
                  </a:lnTo>
                  <a:lnTo>
                    <a:pt x="174" y="253"/>
                  </a:lnTo>
                  <a:lnTo>
                    <a:pt x="177" y="253"/>
                  </a:lnTo>
                  <a:close/>
                  <a:moveTo>
                    <a:pt x="61" y="210"/>
                  </a:moveTo>
                  <a:lnTo>
                    <a:pt x="61" y="184"/>
                  </a:lnTo>
                  <a:lnTo>
                    <a:pt x="82" y="197"/>
                  </a:lnTo>
                  <a:lnTo>
                    <a:pt x="61" y="210"/>
                  </a:lnTo>
                  <a:close/>
                  <a:moveTo>
                    <a:pt x="20" y="95"/>
                  </a:moveTo>
                  <a:lnTo>
                    <a:pt x="23" y="97"/>
                  </a:lnTo>
                  <a:lnTo>
                    <a:pt x="143" y="97"/>
                  </a:lnTo>
                  <a:lnTo>
                    <a:pt x="146" y="95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3" y="18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92"/>
                  </a:lnTo>
                  <a:lnTo>
                    <a:pt x="20" y="95"/>
                  </a:lnTo>
                  <a:lnTo>
                    <a:pt x="20" y="95"/>
                  </a:lnTo>
                  <a:close/>
                  <a:moveTo>
                    <a:pt x="28" y="26"/>
                  </a:moveTo>
                  <a:lnTo>
                    <a:pt x="138" y="26"/>
                  </a:lnTo>
                  <a:lnTo>
                    <a:pt x="138" y="87"/>
                  </a:lnTo>
                  <a:lnTo>
                    <a:pt x="28" y="87"/>
                  </a:lnTo>
                  <a:lnTo>
                    <a:pt x="28" y="26"/>
                  </a:lnTo>
                  <a:close/>
                  <a:moveTo>
                    <a:pt x="282" y="49"/>
                  </a:moveTo>
                  <a:lnTo>
                    <a:pt x="279" y="46"/>
                  </a:lnTo>
                  <a:lnTo>
                    <a:pt x="276" y="46"/>
                  </a:lnTo>
                  <a:lnTo>
                    <a:pt x="276" y="46"/>
                  </a:lnTo>
                  <a:lnTo>
                    <a:pt x="261" y="54"/>
                  </a:lnTo>
                  <a:lnTo>
                    <a:pt x="259" y="54"/>
                  </a:lnTo>
                  <a:lnTo>
                    <a:pt x="251" y="43"/>
                  </a:lnTo>
                  <a:lnTo>
                    <a:pt x="246" y="38"/>
                  </a:lnTo>
                  <a:lnTo>
                    <a:pt x="238" y="33"/>
                  </a:lnTo>
                  <a:lnTo>
                    <a:pt x="233" y="28"/>
                  </a:lnTo>
                  <a:lnTo>
                    <a:pt x="223" y="23"/>
                  </a:lnTo>
                  <a:lnTo>
                    <a:pt x="210" y="18"/>
                  </a:lnTo>
                  <a:lnTo>
                    <a:pt x="205" y="18"/>
                  </a:lnTo>
                  <a:lnTo>
                    <a:pt x="192" y="15"/>
                  </a:lnTo>
                  <a:lnTo>
                    <a:pt x="187" y="13"/>
                  </a:lnTo>
                  <a:lnTo>
                    <a:pt x="174" y="13"/>
                  </a:lnTo>
                  <a:lnTo>
                    <a:pt x="166" y="13"/>
                  </a:lnTo>
                  <a:lnTo>
                    <a:pt x="164" y="8"/>
                  </a:lnTo>
                  <a:lnTo>
                    <a:pt x="161" y="5"/>
                  </a:lnTo>
                  <a:lnTo>
                    <a:pt x="159" y="2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5" y="2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13"/>
                  </a:lnTo>
                  <a:lnTo>
                    <a:pt x="2" y="115"/>
                  </a:lnTo>
                  <a:lnTo>
                    <a:pt x="5" y="118"/>
                  </a:lnTo>
                  <a:lnTo>
                    <a:pt x="8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67" y="120"/>
                  </a:lnTo>
                  <a:lnTo>
                    <a:pt x="64" y="125"/>
                  </a:lnTo>
                  <a:lnTo>
                    <a:pt x="64" y="128"/>
                  </a:lnTo>
                  <a:lnTo>
                    <a:pt x="64" y="128"/>
                  </a:lnTo>
                  <a:lnTo>
                    <a:pt x="61" y="130"/>
                  </a:lnTo>
                  <a:lnTo>
                    <a:pt x="59" y="130"/>
                  </a:lnTo>
                  <a:lnTo>
                    <a:pt x="54" y="133"/>
                  </a:lnTo>
                  <a:lnTo>
                    <a:pt x="51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38" y="136"/>
                  </a:lnTo>
                  <a:lnTo>
                    <a:pt x="36" y="138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8" y="148"/>
                  </a:lnTo>
                  <a:lnTo>
                    <a:pt x="41" y="151"/>
                  </a:lnTo>
                  <a:lnTo>
                    <a:pt x="43" y="151"/>
                  </a:lnTo>
                  <a:lnTo>
                    <a:pt x="125" y="151"/>
                  </a:lnTo>
                  <a:lnTo>
                    <a:pt x="128" y="148"/>
                  </a:lnTo>
                  <a:lnTo>
                    <a:pt x="131" y="148"/>
                  </a:lnTo>
                  <a:lnTo>
                    <a:pt x="131" y="143"/>
                  </a:lnTo>
                  <a:lnTo>
                    <a:pt x="133" y="143"/>
                  </a:lnTo>
                  <a:lnTo>
                    <a:pt x="131" y="141"/>
                  </a:lnTo>
                  <a:lnTo>
                    <a:pt x="131" y="138"/>
                  </a:lnTo>
                  <a:lnTo>
                    <a:pt x="131" y="136"/>
                  </a:lnTo>
                  <a:lnTo>
                    <a:pt x="125" y="133"/>
                  </a:lnTo>
                  <a:lnTo>
                    <a:pt x="123" y="133"/>
                  </a:lnTo>
                  <a:lnTo>
                    <a:pt x="120" y="133"/>
                  </a:lnTo>
                  <a:lnTo>
                    <a:pt x="113" y="133"/>
                  </a:lnTo>
                  <a:lnTo>
                    <a:pt x="110" y="133"/>
                  </a:lnTo>
                  <a:lnTo>
                    <a:pt x="102" y="130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100" y="120"/>
                  </a:lnTo>
                  <a:lnTo>
                    <a:pt x="154" y="120"/>
                  </a:lnTo>
                  <a:lnTo>
                    <a:pt x="159" y="120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64" y="113"/>
                  </a:lnTo>
                  <a:lnTo>
                    <a:pt x="164" y="110"/>
                  </a:lnTo>
                  <a:lnTo>
                    <a:pt x="166" y="110"/>
                  </a:lnTo>
                  <a:lnTo>
                    <a:pt x="164" y="107"/>
                  </a:lnTo>
                  <a:lnTo>
                    <a:pt x="164" y="23"/>
                  </a:lnTo>
                  <a:lnTo>
                    <a:pt x="171" y="20"/>
                  </a:lnTo>
                  <a:lnTo>
                    <a:pt x="174" y="20"/>
                  </a:lnTo>
                  <a:lnTo>
                    <a:pt x="182" y="23"/>
                  </a:lnTo>
                  <a:lnTo>
                    <a:pt x="192" y="23"/>
                  </a:lnTo>
                  <a:lnTo>
                    <a:pt x="197" y="23"/>
                  </a:lnTo>
                  <a:lnTo>
                    <a:pt x="207" y="28"/>
                  </a:lnTo>
                  <a:lnTo>
                    <a:pt x="212" y="28"/>
                  </a:lnTo>
                  <a:lnTo>
                    <a:pt x="223" y="33"/>
                  </a:lnTo>
                  <a:lnTo>
                    <a:pt x="230" y="38"/>
                  </a:lnTo>
                  <a:lnTo>
                    <a:pt x="236" y="41"/>
                  </a:lnTo>
                  <a:lnTo>
                    <a:pt x="243" y="49"/>
                  </a:lnTo>
                  <a:lnTo>
                    <a:pt x="248" y="54"/>
                  </a:lnTo>
                  <a:lnTo>
                    <a:pt x="253" y="59"/>
                  </a:lnTo>
                  <a:lnTo>
                    <a:pt x="238" y="69"/>
                  </a:lnTo>
                  <a:lnTo>
                    <a:pt x="238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76" y="97"/>
                  </a:lnTo>
                  <a:lnTo>
                    <a:pt x="279" y="97"/>
                  </a:lnTo>
                  <a:lnTo>
                    <a:pt x="279" y="95"/>
                  </a:lnTo>
                  <a:lnTo>
                    <a:pt x="282" y="92"/>
                  </a:lnTo>
                  <a:lnTo>
                    <a:pt x="282" y="51"/>
                  </a:lnTo>
                  <a:lnTo>
                    <a:pt x="282" y="49"/>
                  </a:lnTo>
                  <a:close/>
                  <a:moveTo>
                    <a:pt x="156" y="110"/>
                  </a:moveTo>
                  <a:lnTo>
                    <a:pt x="154" y="113"/>
                  </a:lnTo>
                  <a:lnTo>
                    <a:pt x="154" y="113"/>
                  </a:lnTo>
                  <a:lnTo>
                    <a:pt x="95" y="113"/>
                  </a:lnTo>
                  <a:lnTo>
                    <a:pt x="92" y="113"/>
                  </a:lnTo>
                  <a:lnTo>
                    <a:pt x="90" y="115"/>
                  </a:lnTo>
                  <a:lnTo>
                    <a:pt x="90" y="11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5" y="133"/>
                  </a:lnTo>
                  <a:lnTo>
                    <a:pt x="100" y="136"/>
                  </a:lnTo>
                  <a:lnTo>
                    <a:pt x="105" y="141"/>
                  </a:lnTo>
                  <a:lnTo>
                    <a:pt x="59" y="141"/>
                  </a:lnTo>
                  <a:lnTo>
                    <a:pt x="67" y="136"/>
                  </a:lnTo>
                  <a:lnTo>
                    <a:pt x="72" y="133"/>
                  </a:lnTo>
                  <a:lnTo>
                    <a:pt x="72" y="130"/>
                  </a:lnTo>
                  <a:lnTo>
                    <a:pt x="74" y="125"/>
                  </a:lnTo>
                  <a:lnTo>
                    <a:pt x="74" y="120"/>
                  </a:lnTo>
                  <a:lnTo>
                    <a:pt x="74" y="120"/>
                  </a:lnTo>
                  <a:lnTo>
                    <a:pt x="74" y="118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2" y="113"/>
                  </a:lnTo>
                  <a:lnTo>
                    <a:pt x="67" y="113"/>
                  </a:lnTo>
                  <a:lnTo>
                    <a:pt x="10" y="113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54" y="10"/>
                  </a:lnTo>
                  <a:lnTo>
                    <a:pt x="156" y="10"/>
                  </a:lnTo>
                  <a:lnTo>
                    <a:pt x="156" y="13"/>
                  </a:lnTo>
                  <a:lnTo>
                    <a:pt x="156" y="107"/>
                  </a:lnTo>
                  <a:lnTo>
                    <a:pt x="156" y="110"/>
                  </a:lnTo>
                  <a:close/>
                  <a:moveTo>
                    <a:pt x="271" y="84"/>
                  </a:moveTo>
                  <a:lnTo>
                    <a:pt x="251" y="72"/>
                  </a:lnTo>
                  <a:lnTo>
                    <a:pt x="274" y="59"/>
                  </a:lnTo>
                  <a:lnTo>
                    <a:pt x="271" y="84"/>
                  </a:lnTo>
                  <a:close/>
                  <a:moveTo>
                    <a:pt x="358" y="251"/>
                  </a:moveTo>
                  <a:lnTo>
                    <a:pt x="358" y="248"/>
                  </a:lnTo>
                  <a:lnTo>
                    <a:pt x="356" y="248"/>
                  </a:lnTo>
                  <a:lnTo>
                    <a:pt x="333" y="223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0" y="143"/>
                  </a:lnTo>
                  <a:lnTo>
                    <a:pt x="330" y="143"/>
                  </a:lnTo>
                  <a:lnTo>
                    <a:pt x="210" y="143"/>
                  </a:lnTo>
                  <a:lnTo>
                    <a:pt x="207" y="146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223"/>
                  </a:lnTo>
                  <a:lnTo>
                    <a:pt x="184" y="248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74"/>
                  </a:lnTo>
                  <a:lnTo>
                    <a:pt x="187" y="276"/>
                  </a:lnTo>
                  <a:lnTo>
                    <a:pt x="187" y="276"/>
                  </a:lnTo>
                  <a:lnTo>
                    <a:pt x="189" y="276"/>
                  </a:lnTo>
                  <a:lnTo>
                    <a:pt x="356" y="276"/>
                  </a:lnTo>
                  <a:lnTo>
                    <a:pt x="356" y="274"/>
                  </a:lnTo>
                  <a:lnTo>
                    <a:pt x="358" y="274"/>
                  </a:lnTo>
                  <a:lnTo>
                    <a:pt x="358" y="271"/>
                  </a:lnTo>
                  <a:lnTo>
                    <a:pt x="358" y="251"/>
                  </a:lnTo>
                  <a:close/>
                  <a:moveTo>
                    <a:pt x="215" y="154"/>
                  </a:moveTo>
                  <a:lnTo>
                    <a:pt x="325" y="154"/>
                  </a:lnTo>
                  <a:lnTo>
                    <a:pt x="325" y="220"/>
                  </a:lnTo>
                  <a:lnTo>
                    <a:pt x="215" y="220"/>
                  </a:lnTo>
                  <a:lnTo>
                    <a:pt x="215" y="154"/>
                  </a:lnTo>
                  <a:close/>
                  <a:moveTo>
                    <a:pt x="348" y="266"/>
                  </a:moveTo>
                  <a:lnTo>
                    <a:pt x="192" y="266"/>
                  </a:lnTo>
                  <a:lnTo>
                    <a:pt x="192" y="256"/>
                  </a:lnTo>
                  <a:lnTo>
                    <a:pt x="300" y="256"/>
                  </a:lnTo>
                  <a:lnTo>
                    <a:pt x="302" y="256"/>
                  </a:lnTo>
                  <a:lnTo>
                    <a:pt x="302" y="253"/>
                  </a:lnTo>
                  <a:lnTo>
                    <a:pt x="305" y="251"/>
                  </a:lnTo>
                  <a:lnTo>
                    <a:pt x="302" y="248"/>
                  </a:lnTo>
                  <a:lnTo>
                    <a:pt x="302" y="248"/>
                  </a:lnTo>
                  <a:lnTo>
                    <a:pt x="300" y="248"/>
                  </a:lnTo>
                  <a:lnTo>
                    <a:pt x="300" y="248"/>
                  </a:lnTo>
                  <a:lnTo>
                    <a:pt x="197" y="248"/>
                  </a:lnTo>
                  <a:lnTo>
                    <a:pt x="212" y="228"/>
                  </a:lnTo>
                  <a:lnTo>
                    <a:pt x="328" y="228"/>
                  </a:lnTo>
                  <a:lnTo>
                    <a:pt x="348" y="253"/>
                  </a:lnTo>
                  <a:lnTo>
                    <a:pt x="348" y="2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" name="Group 48">
            <a:extLst>
              <a:ext uri="{FF2B5EF4-FFF2-40B4-BE49-F238E27FC236}">
                <a16:creationId xmlns:a16="http://schemas.microsoft.com/office/drawing/2014/main" id="{45432258-D5FD-431A-971D-A437FA88F9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4787" y="1580796"/>
            <a:ext cx="758825" cy="758825"/>
            <a:chOff x="1084" y="1097"/>
            <a:chExt cx="478" cy="478"/>
          </a:xfrm>
        </p:grpSpPr>
        <p:sp>
          <p:nvSpPr>
            <p:cNvPr id="60" name="AutoShape 47">
              <a:extLst>
                <a:ext uri="{FF2B5EF4-FFF2-40B4-BE49-F238E27FC236}">
                  <a16:creationId xmlns:a16="http://schemas.microsoft.com/office/drawing/2014/main" id="{034480BE-30FA-4C25-8446-810639A0D7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84" y="109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764DBC87-E9C4-42F6-8255-FC6A40C43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6" y="109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F82F3DA8-1D01-41B6-B1B3-667A61FF9C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3" y="1197"/>
              <a:ext cx="343" cy="280"/>
            </a:xfrm>
            <a:custGeom>
              <a:avLst/>
              <a:gdLst>
                <a:gd name="T0" fmla="*/ 167 w 343"/>
                <a:gd name="T1" fmla="*/ 251 h 280"/>
                <a:gd name="T2" fmla="*/ 127 w 343"/>
                <a:gd name="T3" fmla="*/ 248 h 280"/>
                <a:gd name="T4" fmla="*/ 91 w 343"/>
                <a:gd name="T5" fmla="*/ 228 h 280"/>
                <a:gd name="T6" fmla="*/ 93 w 343"/>
                <a:gd name="T7" fmla="*/ 202 h 280"/>
                <a:gd name="T8" fmla="*/ 54 w 343"/>
                <a:gd name="T9" fmla="*/ 182 h 280"/>
                <a:gd name="T10" fmla="*/ 56 w 343"/>
                <a:gd name="T11" fmla="*/ 228 h 280"/>
                <a:gd name="T12" fmla="*/ 81 w 343"/>
                <a:gd name="T13" fmla="*/ 231 h 280"/>
                <a:gd name="T14" fmla="*/ 125 w 343"/>
                <a:gd name="T15" fmla="*/ 258 h 280"/>
                <a:gd name="T16" fmla="*/ 169 w 343"/>
                <a:gd name="T17" fmla="*/ 260 h 280"/>
                <a:gd name="T18" fmla="*/ 61 w 343"/>
                <a:gd name="T19" fmla="*/ 192 h 280"/>
                <a:gd name="T20" fmla="*/ 299 w 343"/>
                <a:gd name="T21" fmla="*/ 219 h 280"/>
                <a:gd name="T22" fmla="*/ 301 w 343"/>
                <a:gd name="T23" fmla="*/ 175 h 280"/>
                <a:gd name="T24" fmla="*/ 220 w 343"/>
                <a:gd name="T25" fmla="*/ 175 h 280"/>
                <a:gd name="T26" fmla="*/ 228 w 343"/>
                <a:gd name="T27" fmla="*/ 182 h 280"/>
                <a:gd name="T28" fmla="*/ 164 w 343"/>
                <a:gd name="T29" fmla="*/ 135 h 280"/>
                <a:gd name="T30" fmla="*/ 186 w 343"/>
                <a:gd name="T31" fmla="*/ 123 h 280"/>
                <a:gd name="T32" fmla="*/ 198 w 343"/>
                <a:gd name="T33" fmla="*/ 96 h 280"/>
                <a:gd name="T34" fmla="*/ 186 w 343"/>
                <a:gd name="T35" fmla="*/ 69 h 280"/>
                <a:gd name="T36" fmla="*/ 167 w 343"/>
                <a:gd name="T37" fmla="*/ 57 h 280"/>
                <a:gd name="T38" fmla="*/ 179 w 343"/>
                <a:gd name="T39" fmla="*/ 37 h 280"/>
                <a:gd name="T40" fmla="*/ 213 w 343"/>
                <a:gd name="T41" fmla="*/ 50 h 280"/>
                <a:gd name="T42" fmla="*/ 243 w 343"/>
                <a:gd name="T43" fmla="*/ 74 h 280"/>
                <a:gd name="T44" fmla="*/ 228 w 343"/>
                <a:gd name="T45" fmla="*/ 86 h 280"/>
                <a:gd name="T46" fmla="*/ 269 w 343"/>
                <a:gd name="T47" fmla="*/ 106 h 280"/>
                <a:gd name="T48" fmla="*/ 265 w 343"/>
                <a:gd name="T49" fmla="*/ 62 h 280"/>
                <a:gd name="T50" fmla="*/ 233 w 343"/>
                <a:gd name="T51" fmla="*/ 52 h 280"/>
                <a:gd name="T52" fmla="*/ 198 w 343"/>
                <a:gd name="T53" fmla="*/ 32 h 280"/>
                <a:gd name="T54" fmla="*/ 164 w 343"/>
                <a:gd name="T55" fmla="*/ 30 h 280"/>
                <a:gd name="T56" fmla="*/ 137 w 343"/>
                <a:gd name="T57" fmla="*/ 8 h 280"/>
                <a:gd name="T58" fmla="*/ 105 w 343"/>
                <a:gd name="T59" fmla="*/ 0 h 280"/>
                <a:gd name="T60" fmla="*/ 73 w 343"/>
                <a:gd name="T61" fmla="*/ 8 h 280"/>
                <a:gd name="T62" fmla="*/ 51 w 343"/>
                <a:gd name="T63" fmla="*/ 30 h 280"/>
                <a:gd name="T64" fmla="*/ 32 w 343"/>
                <a:gd name="T65" fmla="*/ 42 h 280"/>
                <a:gd name="T66" fmla="*/ 2 w 343"/>
                <a:gd name="T67" fmla="*/ 69 h 280"/>
                <a:gd name="T68" fmla="*/ 0 w 343"/>
                <a:gd name="T69" fmla="*/ 99 h 280"/>
                <a:gd name="T70" fmla="*/ 15 w 343"/>
                <a:gd name="T71" fmla="*/ 123 h 280"/>
                <a:gd name="T72" fmla="*/ 46 w 343"/>
                <a:gd name="T73" fmla="*/ 135 h 280"/>
                <a:gd name="T74" fmla="*/ 262 w 343"/>
                <a:gd name="T75" fmla="*/ 74 h 280"/>
                <a:gd name="T76" fmla="*/ 29 w 343"/>
                <a:gd name="T77" fmla="*/ 123 h 280"/>
                <a:gd name="T78" fmla="*/ 12 w 343"/>
                <a:gd name="T79" fmla="*/ 103 h 280"/>
                <a:gd name="T80" fmla="*/ 10 w 343"/>
                <a:gd name="T81" fmla="*/ 79 h 280"/>
                <a:gd name="T82" fmla="*/ 24 w 343"/>
                <a:gd name="T83" fmla="*/ 54 h 280"/>
                <a:gd name="T84" fmla="*/ 46 w 343"/>
                <a:gd name="T85" fmla="*/ 47 h 280"/>
                <a:gd name="T86" fmla="*/ 59 w 343"/>
                <a:gd name="T87" fmla="*/ 37 h 280"/>
                <a:gd name="T88" fmla="*/ 78 w 343"/>
                <a:gd name="T89" fmla="*/ 15 h 280"/>
                <a:gd name="T90" fmla="*/ 95 w 343"/>
                <a:gd name="T91" fmla="*/ 8 h 280"/>
                <a:gd name="T92" fmla="*/ 122 w 343"/>
                <a:gd name="T93" fmla="*/ 10 h 280"/>
                <a:gd name="T94" fmla="*/ 152 w 343"/>
                <a:gd name="T95" fmla="*/ 35 h 280"/>
                <a:gd name="T96" fmla="*/ 162 w 343"/>
                <a:gd name="T97" fmla="*/ 64 h 280"/>
                <a:gd name="T98" fmla="*/ 181 w 343"/>
                <a:gd name="T99" fmla="*/ 76 h 280"/>
                <a:gd name="T100" fmla="*/ 189 w 343"/>
                <a:gd name="T101" fmla="*/ 96 h 280"/>
                <a:gd name="T102" fmla="*/ 176 w 343"/>
                <a:gd name="T103" fmla="*/ 123 h 280"/>
                <a:gd name="T104" fmla="*/ 46 w 343"/>
                <a:gd name="T105" fmla="*/ 128 h 280"/>
                <a:gd name="T106" fmla="*/ 319 w 343"/>
                <a:gd name="T107" fmla="*/ 157 h 280"/>
                <a:gd name="T108" fmla="*/ 201 w 343"/>
                <a:gd name="T109" fmla="*/ 155 h 280"/>
                <a:gd name="T110" fmla="*/ 176 w 343"/>
                <a:gd name="T111" fmla="*/ 258 h 280"/>
                <a:gd name="T112" fmla="*/ 341 w 343"/>
                <a:gd name="T113" fmla="*/ 280 h 280"/>
                <a:gd name="T114" fmla="*/ 206 w 343"/>
                <a:gd name="T115" fmla="*/ 162 h 280"/>
                <a:gd name="T116" fmla="*/ 333 w 343"/>
                <a:gd name="T117" fmla="*/ 273 h 280"/>
                <a:gd name="T118" fmla="*/ 292 w 343"/>
                <a:gd name="T119" fmla="*/ 258 h 280"/>
                <a:gd name="T120" fmla="*/ 191 w 343"/>
                <a:gd name="T121" fmla="*/ 25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280">
                  <a:moveTo>
                    <a:pt x="171" y="255"/>
                  </a:moveTo>
                  <a:lnTo>
                    <a:pt x="171" y="253"/>
                  </a:lnTo>
                  <a:lnTo>
                    <a:pt x="169" y="253"/>
                  </a:lnTo>
                  <a:lnTo>
                    <a:pt x="167" y="253"/>
                  </a:lnTo>
                  <a:lnTo>
                    <a:pt x="167" y="251"/>
                  </a:lnTo>
                  <a:lnTo>
                    <a:pt x="159" y="253"/>
                  </a:lnTo>
                  <a:lnTo>
                    <a:pt x="152" y="253"/>
                  </a:lnTo>
                  <a:lnTo>
                    <a:pt x="147" y="253"/>
                  </a:lnTo>
                  <a:lnTo>
                    <a:pt x="142" y="253"/>
                  </a:lnTo>
                  <a:lnTo>
                    <a:pt x="127" y="248"/>
                  </a:lnTo>
                  <a:lnTo>
                    <a:pt x="122" y="248"/>
                  </a:lnTo>
                  <a:lnTo>
                    <a:pt x="113" y="243"/>
                  </a:lnTo>
                  <a:lnTo>
                    <a:pt x="105" y="238"/>
                  </a:lnTo>
                  <a:lnTo>
                    <a:pt x="95" y="233"/>
                  </a:lnTo>
                  <a:lnTo>
                    <a:pt x="91" y="228"/>
                  </a:lnTo>
                  <a:lnTo>
                    <a:pt x="78" y="216"/>
                  </a:lnTo>
                  <a:lnTo>
                    <a:pt x="93" y="206"/>
                  </a:lnTo>
                  <a:lnTo>
                    <a:pt x="95" y="206"/>
                  </a:lnTo>
                  <a:lnTo>
                    <a:pt x="93" y="204"/>
                  </a:lnTo>
                  <a:lnTo>
                    <a:pt x="93" y="202"/>
                  </a:lnTo>
                  <a:lnTo>
                    <a:pt x="59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1" y="184"/>
                  </a:lnTo>
                  <a:lnTo>
                    <a:pt x="51" y="224"/>
                  </a:lnTo>
                  <a:lnTo>
                    <a:pt x="54" y="226"/>
                  </a:lnTo>
                  <a:lnTo>
                    <a:pt x="54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9" y="228"/>
                  </a:lnTo>
                  <a:lnTo>
                    <a:pt x="71" y="221"/>
                  </a:lnTo>
                  <a:lnTo>
                    <a:pt x="73" y="224"/>
                  </a:lnTo>
                  <a:lnTo>
                    <a:pt x="81" y="231"/>
                  </a:lnTo>
                  <a:lnTo>
                    <a:pt x="91" y="238"/>
                  </a:lnTo>
                  <a:lnTo>
                    <a:pt x="93" y="243"/>
                  </a:lnTo>
                  <a:lnTo>
                    <a:pt x="103" y="248"/>
                  </a:lnTo>
                  <a:lnTo>
                    <a:pt x="115" y="253"/>
                  </a:lnTo>
                  <a:lnTo>
                    <a:pt x="125" y="258"/>
                  </a:lnTo>
                  <a:lnTo>
                    <a:pt x="130" y="258"/>
                  </a:lnTo>
                  <a:lnTo>
                    <a:pt x="137" y="260"/>
                  </a:lnTo>
                  <a:lnTo>
                    <a:pt x="147" y="260"/>
                  </a:lnTo>
                  <a:lnTo>
                    <a:pt x="157" y="260"/>
                  </a:lnTo>
                  <a:lnTo>
                    <a:pt x="169" y="260"/>
                  </a:lnTo>
                  <a:lnTo>
                    <a:pt x="169" y="258"/>
                  </a:lnTo>
                  <a:lnTo>
                    <a:pt x="171" y="258"/>
                  </a:lnTo>
                  <a:lnTo>
                    <a:pt x="171" y="255"/>
                  </a:lnTo>
                  <a:close/>
                  <a:moveTo>
                    <a:pt x="61" y="216"/>
                  </a:moveTo>
                  <a:lnTo>
                    <a:pt x="61" y="192"/>
                  </a:lnTo>
                  <a:lnTo>
                    <a:pt x="81" y="204"/>
                  </a:lnTo>
                  <a:lnTo>
                    <a:pt x="61" y="216"/>
                  </a:lnTo>
                  <a:close/>
                  <a:moveTo>
                    <a:pt x="220" y="216"/>
                  </a:moveTo>
                  <a:lnTo>
                    <a:pt x="223" y="219"/>
                  </a:lnTo>
                  <a:lnTo>
                    <a:pt x="299" y="219"/>
                  </a:lnTo>
                  <a:lnTo>
                    <a:pt x="299" y="216"/>
                  </a:lnTo>
                  <a:lnTo>
                    <a:pt x="301" y="216"/>
                  </a:lnTo>
                  <a:lnTo>
                    <a:pt x="301" y="214"/>
                  </a:lnTo>
                  <a:lnTo>
                    <a:pt x="301" y="175"/>
                  </a:lnTo>
                  <a:lnTo>
                    <a:pt x="301" y="175"/>
                  </a:lnTo>
                  <a:lnTo>
                    <a:pt x="299" y="172"/>
                  </a:lnTo>
                  <a:lnTo>
                    <a:pt x="296" y="172"/>
                  </a:lnTo>
                  <a:lnTo>
                    <a:pt x="223" y="172"/>
                  </a:lnTo>
                  <a:lnTo>
                    <a:pt x="220" y="172"/>
                  </a:lnTo>
                  <a:lnTo>
                    <a:pt x="220" y="175"/>
                  </a:lnTo>
                  <a:lnTo>
                    <a:pt x="218" y="175"/>
                  </a:lnTo>
                  <a:lnTo>
                    <a:pt x="218" y="214"/>
                  </a:lnTo>
                  <a:lnTo>
                    <a:pt x="220" y="216"/>
                  </a:lnTo>
                  <a:lnTo>
                    <a:pt x="220" y="216"/>
                  </a:lnTo>
                  <a:close/>
                  <a:moveTo>
                    <a:pt x="228" y="182"/>
                  </a:moveTo>
                  <a:lnTo>
                    <a:pt x="294" y="182"/>
                  </a:lnTo>
                  <a:lnTo>
                    <a:pt x="294" y="209"/>
                  </a:lnTo>
                  <a:lnTo>
                    <a:pt x="228" y="209"/>
                  </a:lnTo>
                  <a:lnTo>
                    <a:pt x="228" y="182"/>
                  </a:lnTo>
                  <a:close/>
                  <a:moveTo>
                    <a:pt x="164" y="135"/>
                  </a:moveTo>
                  <a:lnTo>
                    <a:pt x="171" y="133"/>
                  </a:lnTo>
                  <a:lnTo>
                    <a:pt x="176" y="130"/>
                  </a:lnTo>
                  <a:lnTo>
                    <a:pt x="181" y="128"/>
                  </a:lnTo>
                  <a:lnTo>
                    <a:pt x="184" y="126"/>
                  </a:lnTo>
                  <a:lnTo>
                    <a:pt x="186" y="123"/>
                  </a:lnTo>
                  <a:lnTo>
                    <a:pt x="191" y="118"/>
                  </a:lnTo>
                  <a:lnTo>
                    <a:pt x="193" y="116"/>
                  </a:lnTo>
                  <a:lnTo>
                    <a:pt x="196" y="106"/>
                  </a:lnTo>
                  <a:lnTo>
                    <a:pt x="196" y="103"/>
                  </a:lnTo>
                  <a:lnTo>
                    <a:pt x="198" y="96"/>
                  </a:lnTo>
                  <a:lnTo>
                    <a:pt x="198" y="94"/>
                  </a:lnTo>
                  <a:lnTo>
                    <a:pt x="196" y="86"/>
                  </a:lnTo>
                  <a:lnTo>
                    <a:pt x="193" y="79"/>
                  </a:lnTo>
                  <a:lnTo>
                    <a:pt x="191" y="74"/>
                  </a:lnTo>
                  <a:lnTo>
                    <a:pt x="186" y="69"/>
                  </a:lnTo>
                  <a:lnTo>
                    <a:pt x="181" y="64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1" y="59"/>
                  </a:lnTo>
                  <a:lnTo>
                    <a:pt x="167" y="57"/>
                  </a:lnTo>
                  <a:lnTo>
                    <a:pt x="167" y="52"/>
                  </a:lnTo>
                  <a:lnTo>
                    <a:pt x="164" y="47"/>
                  </a:lnTo>
                  <a:lnTo>
                    <a:pt x="162" y="37"/>
                  </a:lnTo>
                  <a:lnTo>
                    <a:pt x="169" y="37"/>
                  </a:lnTo>
                  <a:lnTo>
                    <a:pt x="179" y="37"/>
                  </a:lnTo>
                  <a:lnTo>
                    <a:pt x="184" y="40"/>
                  </a:lnTo>
                  <a:lnTo>
                    <a:pt x="196" y="42"/>
                  </a:lnTo>
                  <a:lnTo>
                    <a:pt x="201" y="42"/>
                  </a:lnTo>
                  <a:lnTo>
                    <a:pt x="208" y="47"/>
                  </a:lnTo>
                  <a:lnTo>
                    <a:pt x="213" y="50"/>
                  </a:lnTo>
                  <a:lnTo>
                    <a:pt x="218" y="52"/>
                  </a:lnTo>
                  <a:lnTo>
                    <a:pt x="228" y="57"/>
                  </a:lnTo>
                  <a:lnTo>
                    <a:pt x="230" y="59"/>
                  </a:lnTo>
                  <a:lnTo>
                    <a:pt x="238" y="67"/>
                  </a:lnTo>
                  <a:lnTo>
                    <a:pt x="243" y="74"/>
                  </a:lnTo>
                  <a:lnTo>
                    <a:pt x="228" y="81"/>
                  </a:lnTo>
                  <a:lnTo>
                    <a:pt x="228" y="84"/>
                  </a:lnTo>
                  <a:lnTo>
                    <a:pt x="228" y="84"/>
                  </a:lnTo>
                  <a:lnTo>
                    <a:pt x="228" y="86"/>
                  </a:lnTo>
                  <a:lnTo>
                    <a:pt x="228" y="86"/>
                  </a:lnTo>
                  <a:lnTo>
                    <a:pt x="230" y="89"/>
                  </a:lnTo>
                  <a:lnTo>
                    <a:pt x="265" y="111"/>
                  </a:lnTo>
                  <a:lnTo>
                    <a:pt x="267" y="108"/>
                  </a:lnTo>
                  <a:lnTo>
                    <a:pt x="269" y="106"/>
                  </a:lnTo>
                  <a:lnTo>
                    <a:pt x="269" y="106"/>
                  </a:lnTo>
                  <a:lnTo>
                    <a:pt x="269" y="64"/>
                  </a:lnTo>
                  <a:lnTo>
                    <a:pt x="269" y="64"/>
                  </a:lnTo>
                  <a:lnTo>
                    <a:pt x="267" y="62"/>
                  </a:lnTo>
                  <a:lnTo>
                    <a:pt x="267" y="62"/>
                  </a:lnTo>
                  <a:lnTo>
                    <a:pt x="265" y="62"/>
                  </a:lnTo>
                  <a:lnTo>
                    <a:pt x="265" y="62"/>
                  </a:lnTo>
                  <a:lnTo>
                    <a:pt x="250" y="69"/>
                  </a:lnTo>
                  <a:lnTo>
                    <a:pt x="245" y="62"/>
                  </a:lnTo>
                  <a:lnTo>
                    <a:pt x="243" y="59"/>
                  </a:lnTo>
                  <a:lnTo>
                    <a:pt x="233" y="52"/>
                  </a:lnTo>
                  <a:lnTo>
                    <a:pt x="223" y="45"/>
                  </a:lnTo>
                  <a:lnTo>
                    <a:pt x="218" y="42"/>
                  </a:lnTo>
                  <a:lnTo>
                    <a:pt x="208" y="37"/>
                  </a:lnTo>
                  <a:lnTo>
                    <a:pt x="203" y="35"/>
                  </a:lnTo>
                  <a:lnTo>
                    <a:pt x="198" y="32"/>
                  </a:lnTo>
                  <a:lnTo>
                    <a:pt x="191" y="32"/>
                  </a:lnTo>
                  <a:lnTo>
                    <a:pt x="186" y="30"/>
                  </a:lnTo>
                  <a:lnTo>
                    <a:pt x="174" y="30"/>
                  </a:lnTo>
                  <a:lnTo>
                    <a:pt x="169" y="30"/>
                  </a:lnTo>
                  <a:lnTo>
                    <a:pt x="164" y="30"/>
                  </a:lnTo>
                  <a:lnTo>
                    <a:pt x="157" y="30"/>
                  </a:lnTo>
                  <a:lnTo>
                    <a:pt x="152" y="23"/>
                  </a:lnTo>
                  <a:lnTo>
                    <a:pt x="149" y="20"/>
                  </a:lnTo>
                  <a:lnTo>
                    <a:pt x="144" y="13"/>
                  </a:lnTo>
                  <a:lnTo>
                    <a:pt x="137" y="8"/>
                  </a:lnTo>
                  <a:lnTo>
                    <a:pt x="127" y="3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95" y="0"/>
                  </a:lnTo>
                  <a:lnTo>
                    <a:pt x="91" y="0"/>
                  </a:lnTo>
                  <a:lnTo>
                    <a:pt x="83" y="3"/>
                  </a:lnTo>
                  <a:lnTo>
                    <a:pt x="78" y="5"/>
                  </a:lnTo>
                  <a:lnTo>
                    <a:pt x="73" y="8"/>
                  </a:lnTo>
                  <a:lnTo>
                    <a:pt x="71" y="10"/>
                  </a:lnTo>
                  <a:lnTo>
                    <a:pt x="66" y="13"/>
                  </a:lnTo>
                  <a:lnTo>
                    <a:pt x="61" y="18"/>
                  </a:lnTo>
                  <a:lnTo>
                    <a:pt x="56" y="23"/>
                  </a:lnTo>
                  <a:lnTo>
                    <a:pt x="51" y="30"/>
                  </a:lnTo>
                  <a:lnTo>
                    <a:pt x="49" y="35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37" y="40"/>
                  </a:lnTo>
                  <a:lnTo>
                    <a:pt x="32" y="42"/>
                  </a:lnTo>
                  <a:lnTo>
                    <a:pt x="24" y="45"/>
                  </a:lnTo>
                  <a:lnTo>
                    <a:pt x="17" y="52"/>
                  </a:lnTo>
                  <a:lnTo>
                    <a:pt x="12" y="57"/>
                  </a:lnTo>
                  <a:lnTo>
                    <a:pt x="7" y="64"/>
                  </a:lnTo>
                  <a:lnTo>
                    <a:pt x="2" y="69"/>
                  </a:lnTo>
                  <a:lnTo>
                    <a:pt x="2" y="76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99"/>
                  </a:lnTo>
                  <a:lnTo>
                    <a:pt x="5" y="106"/>
                  </a:lnTo>
                  <a:lnTo>
                    <a:pt x="7" y="116"/>
                  </a:lnTo>
                  <a:lnTo>
                    <a:pt x="12" y="121"/>
                  </a:lnTo>
                  <a:lnTo>
                    <a:pt x="15" y="121"/>
                  </a:lnTo>
                  <a:lnTo>
                    <a:pt x="15" y="123"/>
                  </a:lnTo>
                  <a:lnTo>
                    <a:pt x="22" y="128"/>
                  </a:lnTo>
                  <a:lnTo>
                    <a:pt x="29" y="133"/>
                  </a:lnTo>
                  <a:lnTo>
                    <a:pt x="34" y="133"/>
                  </a:lnTo>
                  <a:lnTo>
                    <a:pt x="41" y="135"/>
                  </a:lnTo>
                  <a:lnTo>
                    <a:pt x="46" y="135"/>
                  </a:lnTo>
                  <a:lnTo>
                    <a:pt x="164" y="135"/>
                  </a:lnTo>
                  <a:close/>
                  <a:moveTo>
                    <a:pt x="262" y="74"/>
                  </a:moveTo>
                  <a:lnTo>
                    <a:pt x="262" y="99"/>
                  </a:lnTo>
                  <a:lnTo>
                    <a:pt x="240" y="84"/>
                  </a:lnTo>
                  <a:lnTo>
                    <a:pt x="262" y="74"/>
                  </a:lnTo>
                  <a:close/>
                  <a:moveTo>
                    <a:pt x="44" y="128"/>
                  </a:moveTo>
                  <a:lnTo>
                    <a:pt x="39" y="126"/>
                  </a:lnTo>
                  <a:lnTo>
                    <a:pt x="37" y="126"/>
                  </a:lnTo>
                  <a:lnTo>
                    <a:pt x="32" y="123"/>
                  </a:lnTo>
                  <a:lnTo>
                    <a:pt x="29" y="123"/>
                  </a:lnTo>
                  <a:lnTo>
                    <a:pt x="27" y="121"/>
                  </a:lnTo>
                  <a:lnTo>
                    <a:pt x="22" y="118"/>
                  </a:lnTo>
                  <a:lnTo>
                    <a:pt x="17" y="113"/>
                  </a:lnTo>
                  <a:lnTo>
                    <a:pt x="12" y="106"/>
                  </a:lnTo>
                  <a:lnTo>
                    <a:pt x="12" y="103"/>
                  </a:lnTo>
                  <a:lnTo>
                    <a:pt x="10" y="96"/>
                  </a:lnTo>
                  <a:lnTo>
                    <a:pt x="7" y="89"/>
                  </a:lnTo>
                  <a:lnTo>
                    <a:pt x="7" y="86"/>
                  </a:lnTo>
                  <a:lnTo>
                    <a:pt x="10" y="84"/>
                  </a:lnTo>
                  <a:lnTo>
                    <a:pt x="10" y="79"/>
                  </a:lnTo>
                  <a:lnTo>
                    <a:pt x="12" y="72"/>
                  </a:lnTo>
                  <a:lnTo>
                    <a:pt x="12" y="69"/>
                  </a:lnTo>
                  <a:lnTo>
                    <a:pt x="17" y="62"/>
                  </a:lnTo>
                  <a:lnTo>
                    <a:pt x="22" y="57"/>
                  </a:lnTo>
                  <a:lnTo>
                    <a:pt x="24" y="54"/>
                  </a:lnTo>
                  <a:lnTo>
                    <a:pt x="29" y="52"/>
                  </a:lnTo>
                  <a:lnTo>
                    <a:pt x="32" y="52"/>
                  </a:lnTo>
                  <a:lnTo>
                    <a:pt x="37" y="50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51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9" y="37"/>
                  </a:lnTo>
                  <a:lnTo>
                    <a:pt x="61" y="30"/>
                  </a:lnTo>
                  <a:lnTo>
                    <a:pt x="68" y="23"/>
                  </a:lnTo>
                  <a:lnTo>
                    <a:pt x="71" y="20"/>
                  </a:lnTo>
                  <a:lnTo>
                    <a:pt x="73" y="18"/>
                  </a:lnTo>
                  <a:lnTo>
                    <a:pt x="78" y="15"/>
                  </a:lnTo>
                  <a:lnTo>
                    <a:pt x="81" y="13"/>
                  </a:lnTo>
                  <a:lnTo>
                    <a:pt x="86" y="13"/>
                  </a:lnTo>
                  <a:lnTo>
                    <a:pt x="88" y="10"/>
                  </a:lnTo>
                  <a:lnTo>
                    <a:pt x="93" y="10"/>
                  </a:lnTo>
                  <a:lnTo>
                    <a:pt x="95" y="8"/>
                  </a:lnTo>
                  <a:lnTo>
                    <a:pt x="100" y="8"/>
                  </a:lnTo>
                  <a:lnTo>
                    <a:pt x="108" y="8"/>
                  </a:lnTo>
                  <a:lnTo>
                    <a:pt x="113" y="8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32" y="15"/>
                  </a:lnTo>
                  <a:lnTo>
                    <a:pt x="140" y="20"/>
                  </a:lnTo>
                  <a:lnTo>
                    <a:pt x="144" y="25"/>
                  </a:lnTo>
                  <a:lnTo>
                    <a:pt x="147" y="30"/>
                  </a:lnTo>
                  <a:lnTo>
                    <a:pt x="152" y="35"/>
                  </a:lnTo>
                  <a:lnTo>
                    <a:pt x="157" y="45"/>
                  </a:lnTo>
                  <a:lnTo>
                    <a:pt x="157" y="52"/>
                  </a:lnTo>
                  <a:lnTo>
                    <a:pt x="159" y="62"/>
                  </a:lnTo>
                  <a:lnTo>
                    <a:pt x="159" y="64"/>
                  </a:lnTo>
                  <a:lnTo>
                    <a:pt x="162" y="64"/>
                  </a:lnTo>
                  <a:lnTo>
                    <a:pt x="164" y="67"/>
                  </a:lnTo>
                  <a:lnTo>
                    <a:pt x="167" y="67"/>
                  </a:lnTo>
                  <a:lnTo>
                    <a:pt x="174" y="69"/>
                  </a:lnTo>
                  <a:lnTo>
                    <a:pt x="176" y="72"/>
                  </a:lnTo>
                  <a:lnTo>
                    <a:pt x="181" y="76"/>
                  </a:lnTo>
                  <a:lnTo>
                    <a:pt x="184" y="79"/>
                  </a:lnTo>
                  <a:lnTo>
                    <a:pt x="186" y="84"/>
                  </a:lnTo>
                  <a:lnTo>
                    <a:pt x="189" y="89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103"/>
                  </a:lnTo>
                  <a:lnTo>
                    <a:pt x="186" y="108"/>
                  </a:lnTo>
                  <a:lnTo>
                    <a:pt x="184" y="113"/>
                  </a:lnTo>
                  <a:lnTo>
                    <a:pt x="181" y="118"/>
                  </a:lnTo>
                  <a:lnTo>
                    <a:pt x="176" y="123"/>
                  </a:lnTo>
                  <a:lnTo>
                    <a:pt x="174" y="123"/>
                  </a:lnTo>
                  <a:lnTo>
                    <a:pt x="167" y="126"/>
                  </a:lnTo>
                  <a:lnTo>
                    <a:pt x="164" y="128"/>
                  </a:lnTo>
                  <a:lnTo>
                    <a:pt x="159" y="128"/>
                  </a:lnTo>
                  <a:lnTo>
                    <a:pt x="46" y="128"/>
                  </a:lnTo>
                  <a:lnTo>
                    <a:pt x="44" y="128"/>
                  </a:lnTo>
                  <a:close/>
                  <a:moveTo>
                    <a:pt x="343" y="255"/>
                  </a:moveTo>
                  <a:lnTo>
                    <a:pt x="341" y="253"/>
                  </a:lnTo>
                  <a:lnTo>
                    <a:pt x="321" y="228"/>
                  </a:lnTo>
                  <a:lnTo>
                    <a:pt x="319" y="157"/>
                  </a:lnTo>
                  <a:lnTo>
                    <a:pt x="319" y="155"/>
                  </a:lnTo>
                  <a:lnTo>
                    <a:pt x="316" y="155"/>
                  </a:lnTo>
                  <a:lnTo>
                    <a:pt x="316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198" y="157"/>
                  </a:lnTo>
                  <a:lnTo>
                    <a:pt x="198" y="160"/>
                  </a:lnTo>
                  <a:lnTo>
                    <a:pt x="198" y="228"/>
                  </a:lnTo>
                  <a:lnTo>
                    <a:pt x="179" y="253"/>
                  </a:lnTo>
                  <a:lnTo>
                    <a:pt x="176" y="258"/>
                  </a:lnTo>
                  <a:lnTo>
                    <a:pt x="176" y="278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81" y="280"/>
                  </a:lnTo>
                  <a:lnTo>
                    <a:pt x="341" y="280"/>
                  </a:lnTo>
                  <a:lnTo>
                    <a:pt x="341" y="280"/>
                  </a:lnTo>
                  <a:lnTo>
                    <a:pt x="343" y="278"/>
                  </a:lnTo>
                  <a:lnTo>
                    <a:pt x="343" y="278"/>
                  </a:lnTo>
                  <a:lnTo>
                    <a:pt x="343" y="255"/>
                  </a:lnTo>
                  <a:close/>
                  <a:moveTo>
                    <a:pt x="206" y="162"/>
                  </a:moveTo>
                  <a:lnTo>
                    <a:pt x="311" y="162"/>
                  </a:lnTo>
                  <a:lnTo>
                    <a:pt x="311" y="226"/>
                  </a:lnTo>
                  <a:lnTo>
                    <a:pt x="206" y="226"/>
                  </a:lnTo>
                  <a:lnTo>
                    <a:pt x="206" y="162"/>
                  </a:lnTo>
                  <a:close/>
                  <a:moveTo>
                    <a:pt x="333" y="273"/>
                  </a:moveTo>
                  <a:lnTo>
                    <a:pt x="186" y="273"/>
                  </a:lnTo>
                  <a:lnTo>
                    <a:pt x="186" y="263"/>
                  </a:lnTo>
                  <a:lnTo>
                    <a:pt x="289" y="260"/>
                  </a:lnTo>
                  <a:lnTo>
                    <a:pt x="289" y="260"/>
                  </a:lnTo>
                  <a:lnTo>
                    <a:pt x="292" y="258"/>
                  </a:lnTo>
                  <a:lnTo>
                    <a:pt x="292" y="255"/>
                  </a:lnTo>
                  <a:lnTo>
                    <a:pt x="292" y="255"/>
                  </a:lnTo>
                  <a:lnTo>
                    <a:pt x="289" y="253"/>
                  </a:lnTo>
                  <a:lnTo>
                    <a:pt x="287" y="253"/>
                  </a:lnTo>
                  <a:lnTo>
                    <a:pt x="191" y="253"/>
                  </a:lnTo>
                  <a:lnTo>
                    <a:pt x="203" y="236"/>
                  </a:lnTo>
                  <a:lnTo>
                    <a:pt x="314" y="236"/>
                  </a:lnTo>
                  <a:lnTo>
                    <a:pt x="333" y="258"/>
                  </a:lnTo>
                  <a:lnTo>
                    <a:pt x="333" y="27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53">
            <a:extLst>
              <a:ext uri="{FF2B5EF4-FFF2-40B4-BE49-F238E27FC236}">
                <a16:creationId xmlns:a16="http://schemas.microsoft.com/office/drawing/2014/main" id="{13E50381-4985-4591-9E00-5A981CE640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1539521"/>
            <a:ext cx="841375" cy="841375"/>
            <a:chOff x="294" y="1033"/>
            <a:chExt cx="530" cy="530"/>
          </a:xfrm>
        </p:grpSpPr>
        <p:sp>
          <p:nvSpPr>
            <p:cNvPr id="64" name="AutoShape 52">
              <a:extLst>
                <a:ext uri="{FF2B5EF4-FFF2-40B4-BE49-F238E27FC236}">
                  <a16:creationId xmlns:a16="http://schemas.microsoft.com/office/drawing/2014/main" id="{4A2D38E4-25AD-4260-8C66-638B3B35D4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4" y="103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54">
              <a:extLst>
                <a:ext uri="{FF2B5EF4-FFF2-40B4-BE49-F238E27FC236}">
                  <a16:creationId xmlns:a16="http://schemas.microsoft.com/office/drawing/2014/main" id="{098689A8-C21C-4870-BE2D-46D6F4EAC3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" y="103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5">
              <a:extLst>
                <a:ext uri="{FF2B5EF4-FFF2-40B4-BE49-F238E27FC236}">
                  <a16:creationId xmlns:a16="http://schemas.microsoft.com/office/drawing/2014/main" id="{46E5437D-E70F-4E1D-A16D-F95C458F71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" y="105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6">
              <a:extLst>
                <a:ext uri="{FF2B5EF4-FFF2-40B4-BE49-F238E27FC236}">
                  <a16:creationId xmlns:a16="http://schemas.microsoft.com/office/drawing/2014/main" id="{E9B55EE4-7BAA-4884-9B2F-E78BB20A0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" y="1153"/>
              <a:ext cx="358" cy="292"/>
            </a:xfrm>
            <a:custGeom>
              <a:avLst/>
              <a:gdLst>
                <a:gd name="T0" fmla="*/ 174 w 358"/>
                <a:gd name="T1" fmla="*/ 261 h 292"/>
                <a:gd name="T2" fmla="*/ 133 w 358"/>
                <a:gd name="T3" fmla="*/ 259 h 292"/>
                <a:gd name="T4" fmla="*/ 94 w 358"/>
                <a:gd name="T5" fmla="*/ 238 h 292"/>
                <a:gd name="T6" fmla="*/ 97 w 358"/>
                <a:gd name="T7" fmla="*/ 210 h 292"/>
                <a:gd name="T8" fmla="*/ 56 w 358"/>
                <a:gd name="T9" fmla="*/ 190 h 292"/>
                <a:gd name="T10" fmla="*/ 59 w 358"/>
                <a:gd name="T11" fmla="*/ 238 h 292"/>
                <a:gd name="T12" fmla="*/ 84 w 358"/>
                <a:gd name="T13" fmla="*/ 241 h 292"/>
                <a:gd name="T14" fmla="*/ 130 w 358"/>
                <a:gd name="T15" fmla="*/ 269 h 292"/>
                <a:gd name="T16" fmla="*/ 176 w 358"/>
                <a:gd name="T17" fmla="*/ 272 h 292"/>
                <a:gd name="T18" fmla="*/ 64 w 358"/>
                <a:gd name="T19" fmla="*/ 200 h 292"/>
                <a:gd name="T20" fmla="*/ 312 w 358"/>
                <a:gd name="T21" fmla="*/ 228 h 292"/>
                <a:gd name="T22" fmla="*/ 315 w 358"/>
                <a:gd name="T23" fmla="*/ 182 h 292"/>
                <a:gd name="T24" fmla="*/ 230 w 358"/>
                <a:gd name="T25" fmla="*/ 182 h 292"/>
                <a:gd name="T26" fmla="*/ 238 w 358"/>
                <a:gd name="T27" fmla="*/ 190 h 292"/>
                <a:gd name="T28" fmla="*/ 171 w 358"/>
                <a:gd name="T29" fmla="*/ 141 h 292"/>
                <a:gd name="T30" fmla="*/ 194 w 358"/>
                <a:gd name="T31" fmla="*/ 128 h 292"/>
                <a:gd name="T32" fmla="*/ 207 w 358"/>
                <a:gd name="T33" fmla="*/ 100 h 292"/>
                <a:gd name="T34" fmla="*/ 194 w 358"/>
                <a:gd name="T35" fmla="*/ 72 h 292"/>
                <a:gd name="T36" fmla="*/ 174 w 358"/>
                <a:gd name="T37" fmla="*/ 59 h 292"/>
                <a:gd name="T38" fmla="*/ 187 w 358"/>
                <a:gd name="T39" fmla="*/ 39 h 292"/>
                <a:gd name="T40" fmla="*/ 222 w 358"/>
                <a:gd name="T41" fmla="*/ 51 h 292"/>
                <a:gd name="T42" fmla="*/ 253 w 358"/>
                <a:gd name="T43" fmla="*/ 77 h 292"/>
                <a:gd name="T44" fmla="*/ 238 w 358"/>
                <a:gd name="T45" fmla="*/ 90 h 292"/>
                <a:gd name="T46" fmla="*/ 281 w 358"/>
                <a:gd name="T47" fmla="*/ 110 h 292"/>
                <a:gd name="T48" fmla="*/ 276 w 358"/>
                <a:gd name="T49" fmla="*/ 64 h 292"/>
                <a:gd name="T50" fmla="*/ 243 w 358"/>
                <a:gd name="T51" fmla="*/ 54 h 292"/>
                <a:gd name="T52" fmla="*/ 207 w 358"/>
                <a:gd name="T53" fmla="*/ 34 h 292"/>
                <a:gd name="T54" fmla="*/ 171 w 358"/>
                <a:gd name="T55" fmla="*/ 31 h 292"/>
                <a:gd name="T56" fmla="*/ 143 w 358"/>
                <a:gd name="T57" fmla="*/ 8 h 292"/>
                <a:gd name="T58" fmla="*/ 110 w 358"/>
                <a:gd name="T59" fmla="*/ 0 h 292"/>
                <a:gd name="T60" fmla="*/ 77 w 358"/>
                <a:gd name="T61" fmla="*/ 8 h 292"/>
                <a:gd name="T62" fmla="*/ 53 w 358"/>
                <a:gd name="T63" fmla="*/ 31 h 292"/>
                <a:gd name="T64" fmla="*/ 33 w 358"/>
                <a:gd name="T65" fmla="*/ 44 h 292"/>
                <a:gd name="T66" fmla="*/ 2 w 358"/>
                <a:gd name="T67" fmla="*/ 72 h 292"/>
                <a:gd name="T68" fmla="*/ 0 w 358"/>
                <a:gd name="T69" fmla="*/ 103 h 292"/>
                <a:gd name="T70" fmla="*/ 15 w 358"/>
                <a:gd name="T71" fmla="*/ 128 h 292"/>
                <a:gd name="T72" fmla="*/ 48 w 358"/>
                <a:gd name="T73" fmla="*/ 141 h 292"/>
                <a:gd name="T74" fmla="*/ 274 w 358"/>
                <a:gd name="T75" fmla="*/ 77 h 292"/>
                <a:gd name="T76" fmla="*/ 30 w 358"/>
                <a:gd name="T77" fmla="*/ 128 h 292"/>
                <a:gd name="T78" fmla="*/ 12 w 358"/>
                <a:gd name="T79" fmla="*/ 108 h 292"/>
                <a:gd name="T80" fmla="*/ 10 w 358"/>
                <a:gd name="T81" fmla="*/ 82 h 292"/>
                <a:gd name="T82" fmla="*/ 25 w 358"/>
                <a:gd name="T83" fmla="*/ 57 h 292"/>
                <a:gd name="T84" fmla="*/ 48 w 358"/>
                <a:gd name="T85" fmla="*/ 49 h 292"/>
                <a:gd name="T86" fmla="*/ 61 w 358"/>
                <a:gd name="T87" fmla="*/ 39 h 292"/>
                <a:gd name="T88" fmla="*/ 82 w 358"/>
                <a:gd name="T89" fmla="*/ 16 h 292"/>
                <a:gd name="T90" fmla="*/ 100 w 358"/>
                <a:gd name="T91" fmla="*/ 8 h 292"/>
                <a:gd name="T92" fmla="*/ 128 w 358"/>
                <a:gd name="T93" fmla="*/ 10 h 292"/>
                <a:gd name="T94" fmla="*/ 158 w 358"/>
                <a:gd name="T95" fmla="*/ 36 h 292"/>
                <a:gd name="T96" fmla="*/ 169 w 358"/>
                <a:gd name="T97" fmla="*/ 67 h 292"/>
                <a:gd name="T98" fmla="*/ 189 w 358"/>
                <a:gd name="T99" fmla="*/ 80 h 292"/>
                <a:gd name="T100" fmla="*/ 197 w 358"/>
                <a:gd name="T101" fmla="*/ 100 h 292"/>
                <a:gd name="T102" fmla="*/ 184 w 358"/>
                <a:gd name="T103" fmla="*/ 128 h 292"/>
                <a:gd name="T104" fmla="*/ 48 w 358"/>
                <a:gd name="T105" fmla="*/ 133 h 292"/>
                <a:gd name="T106" fmla="*/ 333 w 358"/>
                <a:gd name="T107" fmla="*/ 164 h 292"/>
                <a:gd name="T108" fmla="*/ 210 w 358"/>
                <a:gd name="T109" fmla="*/ 162 h 292"/>
                <a:gd name="T110" fmla="*/ 184 w 358"/>
                <a:gd name="T111" fmla="*/ 269 h 292"/>
                <a:gd name="T112" fmla="*/ 356 w 358"/>
                <a:gd name="T113" fmla="*/ 292 h 292"/>
                <a:gd name="T114" fmla="*/ 215 w 358"/>
                <a:gd name="T115" fmla="*/ 169 h 292"/>
                <a:gd name="T116" fmla="*/ 348 w 358"/>
                <a:gd name="T117" fmla="*/ 284 h 292"/>
                <a:gd name="T118" fmla="*/ 304 w 358"/>
                <a:gd name="T119" fmla="*/ 269 h 292"/>
                <a:gd name="T120" fmla="*/ 199 w 358"/>
                <a:gd name="T121" fmla="*/ 264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292">
                  <a:moveTo>
                    <a:pt x="179" y="267"/>
                  </a:moveTo>
                  <a:lnTo>
                    <a:pt x="179" y="264"/>
                  </a:lnTo>
                  <a:lnTo>
                    <a:pt x="176" y="264"/>
                  </a:lnTo>
                  <a:lnTo>
                    <a:pt x="174" y="264"/>
                  </a:lnTo>
                  <a:lnTo>
                    <a:pt x="174" y="261"/>
                  </a:lnTo>
                  <a:lnTo>
                    <a:pt x="166" y="264"/>
                  </a:lnTo>
                  <a:lnTo>
                    <a:pt x="158" y="264"/>
                  </a:lnTo>
                  <a:lnTo>
                    <a:pt x="153" y="264"/>
                  </a:lnTo>
                  <a:lnTo>
                    <a:pt x="148" y="264"/>
                  </a:lnTo>
                  <a:lnTo>
                    <a:pt x="133" y="259"/>
                  </a:lnTo>
                  <a:lnTo>
                    <a:pt x="128" y="259"/>
                  </a:lnTo>
                  <a:lnTo>
                    <a:pt x="117" y="254"/>
                  </a:lnTo>
                  <a:lnTo>
                    <a:pt x="110" y="249"/>
                  </a:lnTo>
                  <a:lnTo>
                    <a:pt x="100" y="243"/>
                  </a:lnTo>
                  <a:lnTo>
                    <a:pt x="94" y="238"/>
                  </a:lnTo>
                  <a:lnTo>
                    <a:pt x="82" y="226"/>
                  </a:lnTo>
                  <a:lnTo>
                    <a:pt x="97" y="215"/>
                  </a:lnTo>
                  <a:lnTo>
                    <a:pt x="100" y="215"/>
                  </a:lnTo>
                  <a:lnTo>
                    <a:pt x="97" y="213"/>
                  </a:lnTo>
                  <a:lnTo>
                    <a:pt x="97" y="210"/>
                  </a:lnTo>
                  <a:lnTo>
                    <a:pt x="61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3" y="192"/>
                  </a:lnTo>
                  <a:lnTo>
                    <a:pt x="53" y="233"/>
                  </a:lnTo>
                  <a:lnTo>
                    <a:pt x="56" y="236"/>
                  </a:lnTo>
                  <a:lnTo>
                    <a:pt x="56" y="238"/>
                  </a:lnTo>
                  <a:lnTo>
                    <a:pt x="59" y="238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74" y="231"/>
                  </a:lnTo>
                  <a:lnTo>
                    <a:pt x="77" y="233"/>
                  </a:lnTo>
                  <a:lnTo>
                    <a:pt x="84" y="241"/>
                  </a:lnTo>
                  <a:lnTo>
                    <a:pt x="94" y="249"/>
                  </a:lnTo>
                  <a:lnTo>
                    <a:pt x="97" y="254"/>
                  </a:lnTo>
                  <a:lnTo>
                    <a:pt x="107" y="259"/>
                  </a:lnTo>
                  <a:lnTo>
                    <a:pt x="120" y="264"/>
                  </a:lnTo>
                  <a:lnTo>
                    <a:pt x="130" y="269"/>
                  </a:lnTo>
                  <a:lnTo>
                    <a:pt x="135" y="269"/>
                  </a:lnTo>
                  <a:lnTo>
                    <a:pt x="143" y="272"/>
                  </a:lnTo>
                  <a:lnTo>
                    <a:pt x="153" y="272"/>
                  </a:lnTo>
                  <a:lnTo>
                    <a:pt x="164" y="272"/>
                  </a:lnTo>
                  <a:lnTo>
                    <a:pt x="176" y="272"/>
                  </a:lnTo>
                  <a:lnTo>
                    <a:pt x="176" y="269"/>
                  </a:lnTo>
                  <a:lnTo>
                    <a:pt x="179" y="269"/>
                  </a:lnTo>
                  <a:lnTo>
                    <a:pt x="179" y="267"/>
                  </a:lnTo>
                  <a:close/>
                  <a:moveTo>
                    <a:pt x="64" y="226"/>
                  </a:moveTo>
                  <a:lnTo>
                    <a:pt x="64" y="200"/>
                  </a:lnTo>
                  <a:lnTo>
                    <a:pt x="84" y="213"/>
                  </a:lnTo>
                  <a:lnTo>
                    <a:pt x="64" y="226"/>
                  </a:lnTo>
                  <a:close/>
                  <a:moveTo>
                    <a:pt x="230" y="226"/>
                  </a:moveTo>
                  <a:lnTo>
                    <a:pt x="233" y="228"/>
                  </a:lnTo>
                  <a:lnTo>
                    <a:pt x="312" y="228"/>
                  </a:lnTo>
                  <a:lnTo>
                    <a:pt x="312" y="226"/>
                  </a:lnTo>
                  <a:lnTo>
                    <a:pt x="315" y="226"/>
                  </a:lnTo>
                  <a:lnTo>
                    <a:pt x="315" y="223"/>
                  </a:lnTo>
                  <a:lnTo>
                    <a:pt x="315" y="182"/>
                  </a:lnTo>
                  <a:lnTo>
                    <a:pt x="315" y="182"/>
                  </a:lnTo>
                  <a:lnTo>
                    <a:pt x="312" y="179"/>
                  </a:lnTo>
                  <a:lnTo>
                    <a:pt x="310" y="179"/>
                  </a:lnTo>
                  <a:lnTo>
                    <a:pt x="233" y="179"/>
                  </a:lnTo>
                  <a:lnTo>
                    <a:pt x="230" y="179"/>
                  </a:lnTo>
                  <a:lnTo>
                    <a:pt x="230" y="182"/>
                  </a:lnTo>
                  <a:lnTo>
                    <a:pt x="228" y="182"/>
                  </a:lnTo>
                  <a:lnTo>
                    <a:pt x="228" y="223"/>
                  </a:lnTo>
                  <a:lnTo>
                    <a:pt x="230" y="226"/>
                  </a:lnTo>
                  <a:lnTo>
                    <a:pt x="230" y="226"/>
                  </a:lnTo>
                  <a:close/>
                  <a:moveTo>
                    <a:pt x="238" y="190"/>
                  </a:moveTo>
                  <a:lnTo>
                    <a:pt x="307" y="190"/>
                  </a:lnTo>
                  <a:lnTo>
                    <a:pt x="307" y="218"/>
                  </a:lnTo>
                  <a:lnTo>
                    <a:pt x="238" y="218"/>
                  </a:lnTo>
                  <a:lnTo>
                    <a:pt x="238" y="190"/>
                  </a:lnTo>
                  <a:close/>
                  <a:moveTo>
                    <a:pt x="171" y="141"/>
                  </a:moveTo>
                  <a:lnTo>
                    <a:pt x="179" y="138"/>
                  </a:lnTo>
                  <a:lnTo>
                    <a:pt x="184" y="136"/>
                  </a:lnTo>
                  <a:lnTo>
                    <a:pt x="189" y="133"/>
                  </a:lnTo>
                  <a:lnTo>
                    <a:pt x="192" y="131"/>
                  </a:lnTo>
                  <a:lnTo>
                    <a:pt x="194" y="128"/>
                  </a:lnTo>
                  <a:lnTo>
                    <a:pt x="199" y="123"/>
                  </a:lnTo>
                  <a:lnTo>
                    <a:pt x="202" y="121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7" y="100"/>
                  </a:lnTo>
                  <a:lnTo>
                    <a:pt x="207" y="98"/>
                  </a:lnTo>
                  <a:lnTo>
                    <a:pt x="205" y="90"/>
                  </a:lnTo>
                  <a:lnTo>
                    <a:pt x="202" y="82"/>
                  </a:lnTo>
                  <a:lnTo>
                    <a:pt x="199" y="77"/>
                  </a:lnTo>
                  <a:lnTo>
                    <a:pt x="194" y="72"/>
                  </a:lnTo>
                  <a:lnTo>
                    <a:pt x="189" y="67"/>
                  </a:lnTo>
                  <a:lnTo>
                    <a:pt x="187" y="64"/>
                  </a:lnTo>
                  <a:lnTo>
                    <a:pt x="184" y="64"/>
                  </a:lnTo>
                  <a:lnTo>
                    <a:pt x="179" y="62"/>
                  </a:lnTo>
                  <a:lnTo>
                    <a:pt x="174" y="59"/>
                  </a:lnTo>
                  <a:lnTo>
                    <a:pt x="174" y="54"/>
                  </a:lnTo>
                  <a:lnTo>
                    <a:pt x="171" y="49"/>
                  </a:lnTo>
                  <a:lnTo>
                    <a:pt x="169" y="39"/>
                  </a:lnTo>
                  <a:lnTo>
                    <a:pt x="176" y="39"/>
                  </a:lnTo>
                  <a:lnTo>
                    <a:pt x="187" y="39"/>
                  </a:lnTo>
                  <a:lnTo>
                    <a:pt x="192" y="41"/>
                  </a:lnTo>
                  <a:lnTo>
                    <a:pt x="205" y="44"/>
                  </a:lnTo>
                  <a:lnTo>
                    <a:pt x="210" y="44"/>
                  </a:lnTo>
                  <a:lnTo>
                    <a:pt x="217" y="49"/>
                  </a:lnTo>
                  <a:lnTo>
                    <a:pt x="222" y="51"/>
                  </a:lnTo>
                  <a:lnTo>
                    <a:pt x="228" y="54"/>
                  </a:lnTo>
                  <a:lnTo>
                    <a:pt x="238" y="59"/>
                  </a:lnTo>
                  <a:lnTo>
                    <a:pt x="240" y="62"/>
                  </a:lnTo>
                  <a:lnTo>
                    <a:pt x="248" y="69"/>
                  </a:lnTo>
                  <a:lnTo>
                    <a:pt x="253" y="77"/>
                  </a:lnTo>
                  <a:lnTo>
                    <a:pt x="238" y="85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38" y="90"/>
                  </a:lnTo>
                  <a:lnTo>
                    <a:pt x="238" y="90"/>
                  </a:lnTo>
                  <a:lnTo>
                    <a:pt x="240" y="92"/>
                  </a:lnTo>
                  <a:lnTo>
                    <a:pt x="276" y="115"/>
                  </a:lnTo>
                  <a:lnTo>
                    <a:pt x="279" y="113"/>
                  </a:lnTo>
                  <a:lnTo>
                    <a:pt x="281" y="110"/>
                  </a:lnTo>
                  <a:lnTo>
                    <a:pt x="281" y="110"/>
                  </a:lnTo>
                  <a:lnTo>
                    <a:pt x="281" y="67"/>
                  </a:lnTo>
                  <a:lnTo>
                    <a:pt x="281" y="67"/>
                  </a:lnTo>
                  <a:lnTo>
                    <a:pt x="279" y="64"/>
                  </a:lnTo>
                  <a:lnTo>
                    <a:pt x="279" y="64"/>
                  </a:lnTo>
                  <a:lnTo>
                    <a:pt x="276" y="64"/>
                  </a:lnTo>
                  <a:lnTo>
                    <a:pt x="276" y="64"/>
                  </a:lnTo>
                  <a:lnTo>
                    <a:pt x="261" y="72"/>
                  </a:lnTo>
                  <a:lnTo>
                    <a:pt x="256" y="64"/>
                  </a:lnTo>
                  <a:lnTo>
                    <a:pt x="253" y="62"/>
                  </a:lnTo>
                  <a:lnTo>
                    <a:pt x="243" y="54"/>
                  </a:lnTo>
                  <a:lnTo>
                    <a:pt x="233" y="46"/>
                  </a:lnTo>
                  <a:lnTo>
                    <a:pt x="228" y="44"/>
                  </a:lnTo>
                  <a:lnTo>
                    <a:pt x="217" y="39"/>
                  </a:lnTo>
                  <a:lnTo>
                    <a:pt x="212" y="36"/>
                  </a:lnTo>
                  <a:lnTo>
                    <a:pt x="207" y="34"/>
                  </a:lnTo>
                  <a:lnTo>
                    <a:pt x="199" y="34"/>
                  </a:lnTo>
                  <a:lnTo>
                    <a:pt x="194" y="31"/>
                  </a:lnTo>
                  <a:lnTo>
                    <a:pt x="181" y="31"/>
                  </a:lnTo>
                  <a:lnTo>
                    <a:pt x="176" y="31"/>
                  </a:lnTo>
                  <a:lnTo>
                    <a:pt x="171" y="31"/>
                  </a:lnTo>
                  <a:lnTo>
                    <a:pt x="164" y="31"/>
                  </a:lnTo>
                  <a:lnTo>
                    <a:pt x="158" y="23"/>
                  </a:lnTo>
                  <a:lnTo>
                    <a:pt x="156" y="21"/>
                  </a:lnTo>
                  <a:lnTo>
                    <a:pt x="151" y="13"/>
                  </a:lnTo>
                  <a:lnTo>
                    <a:pt x="143" y="8"/>
                  </a:lnTo>
                  <a:lnTo>
                    <a:pt x="133" y="3"/>
                  </a:lnTo>
                  <a:lnTo>
                    <a:pt x="125" y="0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94" y="0"/>
                  </a:lnTo>
                  <a:lnTo>
                    <a:pt x="87" y="3"/>
                  </a:lnTo>
                  <a:lnTo>
                    <a:pt x="82" y="5"/>
                  </a:lnTo>
                  <a:lnTo>
                    <a:pt x="77" y="8"/>
                  </a:lnTo>
                  <a:lnTo>
                    <a:pt x="74" y="10"/>
                  </a:lnTo>
                  <a:lnTo>
                    <a:pt x="69" y="13"/>
                  </a:lnTo>
                  <a:lnTo>
                    <a:pt x="64" y="18"/>
                  </a:lnTo>
                  <a:lnTo>
                    <a:pt x="59" y="23"/>
                  </a:lnTo>
                  <a:lnTo>
                    <a:pt x="53" y="31"/>
                  </a:lnTo>
                  <a:lnTo>
                    <a:pt x="51" y="36"/>
                  </a:lnTo>
                  <a:lnTo>
                    <a:pt x="48" y="41"/>
                  </a:lnTo>
                  <a:lnTo>
                    <a:pt x="46" y="41"/>
                  </a:lnTo>
                  <a:lnTo>
                    <a:pt x="38" y="41"/>
                  </a:lnTo>
                  <a:lnTo>
                    <a:pt x="33" y="44"/>
                  </a:lnTo>
                  <a:lnTo>
                    <a:pt x="25" y="46"/>
                  </a:lnTo>
                  <a:lnTo>
                    <a:pt x="18" y="54"/>
                  </a:lnTo>
                  <a:lnTo>
                    <a:pt x="12" y="59"/>
                  </a:lnTo>
                  <a:lnTo>
                    <a:pt x="7" y="67"/>
                  </a:lnTo>
                  <a:lnTo>
                    <a:pt x="2" y="72"/>
                  </a:lnTo>
                  <a:lnTo>
                    <a:pt x="2" y="80"/>
                  </a:lnTo>
                  <a:lnTo>
                    <a:pt x="0" y="87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0" y="103"/>
                  </a:lnTo>
                  <a:lnTo>
                    <a:pt x="5" y="110"/>
                  </a:lnTo>
                  <a:lnTo>
                    <a:pt x="7" y="121"/>
                  </a:lnTo>
                  <a:lnTo>
                    <a:pt x="12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3" y="133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43" y="141"/>
                  </a:lnTo>
                  <a:lnTo>
                    <a:pt x="48" y="141"/>
                  </a:lnTo>
                  <a:lnTo>
                    <a:pt x="171" y="141"/>
                  </a:lnTo>
                  <a:close/>
                  <a:moveTo>
                    <a:pt x="274" y="77"/>
                  </a:moveTo>
                  <a:lnTo>
                    <a:pt x="274" y="103"/>
                  </a:lnTo>
                  <a:lnTo>
                    <a:pt x="251" y="87"/>
                  </a:lnTo>
                  <a:lnTo>
                    <a:pt x="274" y="77"/>
                  </a:lnTo>
                  <a:close/>
                  <a:moveTo>
                    <a:pt x="46" y="133"/>
                  </a:moveTo>
                  <a:lnTo>
                    <a:pt x="41" y="131"/>
                  </a:lnTo>
                  <a:lnTo>
                    <a:pt x="38" y="131"/>
                  </a:lnTo>
                  <a:lnTo>
                    <a:pt x="33" y="128"/>
                  </a:lnTo>
                  <a:lnTo>
                    <a:pt x="30" y="128"/>
                  </a:lnTo>
                  <a:lnTo>
                    <a:pt x="28" y="126"/>
                  </a:lnTo>
                  <a:lnTo>
                    <a:pt x="23" y="123"/>
                  </a:lnTo>
                  <a:lnTo>
                    <a:pt x="18" y="118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10" y="87"/>
                  </a:lnTo>
                  <a:lnTo>
                    <a:pt x="10" y="82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8" y="64"/>
                  </a:lnTo>
                  <a:lnTo>
                    <a:pt x="23" y="59"/>
                  </a:lnTo>
                  <a:lnTo>
                    <a:pt x="25" y="57"/>
                  </a:lnTo>
                  <a:lnTo>
                    <a:pt x="30" y="54"/>
                  </a:lnTo>
                  <a:lnTo>
                    <a:pt x="33" y="54"/>
                  </a:lnTo>
                  <a:lnTo>
                    <a:pt x="38" y="51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6"/>
                  </a:lnTo>
                  <a:lnTo>
                    <a:pt x="61" y="39"/>
                  </a:lnTo>
                  <a:lnTo>
                    <a:pt x="64" y="31"/>
                  </a:lnTo>
                  <a:lnTo>
                    <a:pt x="71" y="23"/>
                  </a:lnTo>
                  <a:lnTo>
                    <a:pt x="74" y="21"/>
                  </a:lnTo>
                  <a:lnTo>
                    <a:pt x="77" y="18"/>
                  </a:lnTo>
                  <a:lnTo>
                    <a:pt x="82" y="16"/>
                  </a:lnTo>
                  <a:lnTo>
                    <a:pt x="84" y="13"/>
                  </a:lnTo>
                  <a:lnTo>
                    <a:pt x="89" y="13"/>
                  </a:lnTo>
                  <a:lnTo>
                    <a:pt x="92" y="10"/>
                  </a:lnTo>
                  <a:lnTo>
                    <a:pt x="97" y="10"/>
                  </a:lnTo>
                  <a:lnTo>
                    <a:pt x="100" y="8"/>
                  </a:lnTo>
                  <a:lnTo>
                    <a:pt x="105" y="8"/>
                  </a:lnTo>
                  <a:lnTo>
                    <a:pt x="112" y="8"/>
                  </a:lnTo>
                  <a:lnTo>
                    <a:pt x="117" y="8"/>
                  </a:lnTo>
                  <a:lnTo>
                    <a:pt x="125" y="10"/>
                  </a:lnTo>
                  <a:lnTo>
                    <a:pt x="128" y="10"/>
                  </a:lnTo>
                  <a:lnTo>
                    <a:pt x="138" y="16"/>
                  </a:lnTo>
                  <a:lnTo>
                    <a:pt x="146" y="21"/>
                  </a:lnTo>
                  <a:lnTo>
                    <a:pt x="151" y="26"/>
                  </a:lnTo>
                  <a:lnTo>
                    <a:pt x="153" y="31"/>
                  </a:lnTo>
                  <a:lnTo>
                    <a:pt x="158" y="36"/>
                  </a:lnTo>
                  <a:lnTo>
                    <a:pt x="164" y="46"/>
                  </a:lnTo>
                  <a:lnTo>
                    <a:pt x="164" y="54"/>
                  </a:lnTo>
                  <a:lnTo>
                    <a:pt x="166" y="64"/>
                  </a:lnTo>
                  <a:lnTo>
                    <a:pt x="166" y="67"/>
                  </a:lnTo>
                  <a:lnTo>
                    <a:pt x="169" y="67"/>
                  </a:lnTo>
                  <a:lnTo>
                    <a:pt x="171" y="69"/>
                  </a:lnTo>
                  <a:lnTo>
                    <a:pt x="174" y="69"/>
                  </a:lnTo>
                  <a:lnTo>
                    <a:pt x="181" y="72"/>
                  </a:lnTo>
                  <a:lnTo>
                    <a:pt x="184" y="74"/>
                  </a:lnTo>
                  <a:lnTo>
                    <a:pt x="189" y="80"/>
                  </a:lnTo>
                  <a:lnTo>
                    <a:pt x="192" y="82"/>
                  </a:lnTo>
                  <a:lnTo>
                    <a:pt x="194" y="87"/>
                  </a:lnTo>
                  <a:lnTo>
                    <a:pt x="197" y="92"/>
                  </a:lnTo>
                  <a:lnTo>
                    <a:pt x="197" y="98"/>
                  </a:lnTo>
                  <a:lnTo>
                    <a:pt x="197" y="100"/>
                  </a:lnTo>
                  <a:lnTo>
                    <a:pt x="197" y="108"/>
                  </a:lnTo>
                  <a:lnTo>
                    <a:pt x="194" y="113"/>
                  </a:lnTo>
                  <a:lnTo>
                    <a:pt x="192" y="118"/>
                  </a:lnTo>
                  <a:lnTo>
                    <a:pt x="189" y="123"/>
                  </a:lnTo>
                  <a:lnTo>
                    <a:pt x="184" y="128"/>
                  </a:lnTo>
                  <a:lnTo>
                    <a:pt x="181" y="128"/>
                  </a:lnTo>
                  <a:lnTo>
                    <a:pt x="174" y="131"/>
                  </a:lnTo>
                  <a:lnTo>
                    <a:pt x="171" y="133"/>
                  </a:lnTo>
                  <a:lnTo>
                    <a:pt x="166" y="133"/>
                  </a:lnTo>
                  <a:lnTo>
                    <a:pt x="48" y="133"/>
                  </a:lnTo>
                  <a:lnTo>
                    <a:pt x="46" y="133"/>
                  </a:lnTo>
                  <a:close/>
                  <a:moveTo>
                    <a:pt x="358" y="267"/>
                  </a:moveTo>
                  <a:lnTo>
                    <a:pt x="356" y="264"/>
                  </a:lnTo>
                  <a:lnTo>
                    <a:pt x="335" y="238"/>
                  </a:lnTo>
                  <a:lnTo>
                    <a:pt x="333" y="164"/>
                  </a:lnTo>
                  <a:lnTo>
                    <a:pt x="333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210" y="162"/>
                  </a:lnTo>
                  <a:lnTo>
                    <a:pt x="210" y="162"/>
                  </a:lnTo>
                  <a:lnTo>
                    <a:pt x="207" y="164"/>
                  </a:lnTo>
                  <a:lnTo>
                    <a:pt x="207" y="167"/>
                  </a:lnTo>
                  <a:lnTo>
                    <a:pt x="207" y="238"/>
                  </a:lnTo>
                  <a:lnTo>
                    <a:pt x="187" y="264"/>
                  </a:lnTo>
                  <a:lnTo>
                    <a:pt x="184" y="269"/>
                  </a:lnTo>
                  <a:lnTo>
                    <a:pt x="184" y="290"/>
                  </a:lnTo>
                  <a:lnTo>
                    <a:pt x="187" y="292"/>
                  </a:lnTo>
                  <a:lnTo>
                    <a:pt x="187" y="292"/>
                  </a:lnTo>
                  <a:lnTo>
                    <a:pt x="189" y="292"/>
                  </a:lnTo>
                  <a:lnTo>
                    <a:pt x="356" y="292"/>
                  </a:lnTo>
                  <a:lnTo>
                    <a:pt x="356" y="292"/>
                  </a:lnTo>
                  <a:lnTo>
                    <a:pt x="358" y="290"/>
                  </a:lnTo>
                  <a:lnTo>
                    <a:pt x="358" y="290"/>
                  </a:lnTo>
                  <a:lnTo>
                    <a:pt x="358" y="267"/>
                  </a:lnTo>
                  <a:close/>
                  <a:moveTo>
                    <a:pt x="215" y="169"/>
                  </a:moveTo>
                  <a:lnTo>
                    <a:pt x="325" y="169"/>
                  </a:lnTo>
                  <a:lnTo>
                    <a:pt x="325" y="236"/>
                  </a:lnTo>
                  <a:lnTo>
                    <a:pt x="215" y="236"/>
                  </a:lnTo>
                  <a:lnTo>
                    <a:pt x="215" y="169"/>
                  </a:lnTo>
                  <a:close/>
                  <a:moveTo>
                    <a:pt x="348" y="284"/>
                  </a:moveTo>
                  <a:lnTo>
                    <a:pt x="194" y="284"/>
                  </a:lnTo>
                  <a:lnTo>
                    <a:pt x="194" y="274"/>
                  </a:lnTo>
                  <a:lnTo>
                    <a:pt x="302" y="272"/>
                  </a:lnTo>
                  <a:lnTo>
                    <a:pt x="302" y="272"/>
                  </a:lnTo>
                  <a:lnTo>
                    <a:pt x="304" y="269"/>
                  </a:lnTo>
                  <a:lnTo>
                    <a:pt x="304" y="267"/>
                  </a:lnTo>
                  <a:lnTo>
                    <a:pt x="304" y="267"/>
                  </a:lnTo>
                  <a:lnTo>
                    <a:pt x="302" y="264"/>
                  </a:lnTo>
                  <a:lnTo>
                    <a:pt x="299" y="264"/>
                  </a:lnTo>
                  <a:lnTo>
                    <a:pt x="199" y="264"/>
                  </a:lnTo>
                  <a:lnTo>
                    <a:pt x="212" y="246"/>
                  </a:lnTo>
                  <a:lnTo>
                    <a:pt x="327" y="246"/>
                  </a:lnTo>
                  <a:lnTo>
                    <a:pt x="348" y="269"/>
                  </a:lnTo>
                  <a:lnTo>
                    <a:pt x="348" y="2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59">
            <a:extLst>
              <a:ext uri="{FF2B5EF4-FFF2-40B4-BE49-F238E27FC236}">
                <a16:creationId xmlns:a16="http://schemas.microsoft.com/office/drawing/2014/main" id="{2D6917A8-FB65-4921-94A4-EEEA6A2CBC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337" y="1580796"/>
            <a:ext cx="760412" cy="758825"/>
            <a:chOff x="2341" y="1199"/>
            <a:chExt cx="479" cy="478"/>
          </a:xfrm>
        </p:grpSpPr>
        <p:sp>
          <p:nvSpPr>
            <p:cNvPr id="73" name="AutoShape 58">
              <a:extLst>
                <a:ext uri="{FF2B5EF4-FFF2-40B4-BE49-F238E27FC236}">
                  <a16:creationId xmlns:a16="http://schemas.microsoft.com/office/drawing/2014/main" id="{F892503B-E4BB-4136-ACAF-4DB53625C3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1" y="119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0">
              <a:extLst>
                <a:ext uri="{FF2B5EF4-FFF2-40B4-BE49-F238E27FC236}">
                  <a16:creationId xmlns:a16="http://schemas.microsoft.com/office/drawing/2014/main" id="{9EDBE51F-2216-46AD-A89F-1C7679CC9A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" y="120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1">
              <a:extLst>
                <a:ext uri="{FF2B5EF4-FFF2-40B4-BE49-F238E27FC236}">
                  <a16:creationId xmlns:a16="http://schemas.microsoft.com/office/drawing/2014/main" id="{ED519815-3FE6-4B34-8470-6077C72A4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8" y="1304"/>
              <a:ext cx="226" cy="270"/>
            </a:xfrm>
            <a:custGeom>
              <a:avLst/>
              <a:gdLst>
                <a:gd name="T0" fmla="*/ 73 w 92"/>
                <a:gd name="T1" fmla="*/ 12 h 110"/>
                <a:gd name="T2" fmla="*/ 88 w 92"/>
                <a:gd name="T3" fmla="*/ 55 h 110"/>
                <a:gd name="T4" fmla="*/ 73 w 92"/>
                <a:gd name="T5" fmla="*/ 98 h 110"/>
                <a:gd name="T6" fmla="*/ 76 w 92"/>
                <a:gd name="T7" fmla="*/ 97 h 110"/>
                <a:gd name="T8" fmla="*/ 76 w 92"/>
                <a:gd name="T9" fmla="*/ 13 h 110"/>
                <a:gd name="T10" fmla="*/ 63 w 92"/>
                <a:gd name="T11" fmla="*/ 21 h 110"/>
                <a:gd name="T12" fmla="*/ 75 w 92"/>
                <a:gd name="T13" fmla="*/ 55 h 110"/>
                <a:gd name="T14" fmla="*/ 63 w 92"/>
                <a:gd name="T15" fmla="*/ 89 h 110"/>
                <a:gd name="T16" fmla="*/ 66 w 92"/>
                <a:gd name="T17" fmla="*/ 89 h 110"/>
                <a:gd name="T18" fmla="*/ 66 w 92"/>
                <a:gd name="T19" fmla="*/ 21 h 110"/>
                <a:gd name="T20" fmla="*/ 44 w 92"/>
                <a:gd name="T21" fmla="*/ 40 h 110"/>
                <a:gd name="T22" fmla="*/ 44 w 92"/>
                <a:gd name="T23" fmla="*/ 70 h 110"/>
                <a:gd name="T24" fmla="*/ 46 w 92"/>
                <a:gd name="T25" fmla="*/ 73 h 110"/>
                <a:gd name="T26" fmla="*/ 54 w 92"/>
                <a:gd name="T27" fmla="*/ 55 h 110"/>
                <a:gd name="T28" fmla="*/ 44 w 92"/>
                <a:gd name="T29" fmla="*/ 37 h 110"/>
                <a:gd name="T30" fmla="*/ 21 w 92"/>
                <a:gd name="T31" fmla="*/ 55 h 110"/>
                <a:gd name="T32" fmla="*/ 38 w 92"/>
                <a:gd name="T33" fmla="*/ 55 h 110"/>
                <a:gd name="T34" fmla="*/ 29 w 92"/>
                <a:gd name="T35" fmla="*/ 42 h 110"/>
                <a:gd name="T36" fmla="*/ 29 w 92"/>
                <a:gd name="T37" fmla="*/ 68 h 110"/>
                <a:gd name="T38" fmla="*/ 29 w 92"/>
                <a:gd name="T39" fmla="*/ 42 h 110"/>
                <a:gd name="T40" fmla="*/ 27 w 92"/>
                <a:gd name="T41" fmla="*/ 11 h 110"/>
                <a:gd name="T42" fmla="*/ 31 w 92"/>
                <a:gd name="T43" fmla="*/ 11 h 110"/>
                <a:gd name="T44" fmla="*/ 25 w 92"/>
                <a:gd name="T45" fmla="*/ 101 h 110"/>
                <a:gd name="T46" fmla="*/ 36 w 92"/>
                <a:gd name="T47" fmla="*/ 99 h 110"/>
                <a:gd name="T48" fmla="*/ 25 w 92"/>
                <a:gd name="T49" fmla="*/ 97 h 110"/>
                <a:gd name="T50" fmla="*/ 25 w 92"/>
                <a:gd name="T51" fmla="*/ 101 h 110"/>
                <a:gd name="T52" fmla="*/ 54 w 92"/>
                <a:gd name="T53" fmla="*/ 78 h 110"/>
                <a:gd name="T54" fmla="*/ 4 w 92"/>
                <a:gd name="T55" fmla="*/ 89 h 110"/>
                <a:gd name="T56" fmla="*/ 54 w 92"/>
                <a:gd name="T57" fmla="*/ 21 h 110"/>
                <a:gd name="T58" fmla="*/ 55 w 92"/>
                <a:gd name="T59" fmla="*/ 33 h 110"/>
                <a:gd name="T60" fmla="*/ 55 w 92"/>
                <a:gd name="T61" fmla="*/ 77 h 110"/>
                <a:gd name="T62" fmla="*/ 50 w 92"/>
                <a:gd name="T63" fmla="*/ 106 h 110"/>
                <a:gd name="T64" fmla="*/ 4 w 92"/>
                <a:gd name="T65" fmla="*/ 101 h 110"/>
                <a:gd name="T66" fmla="*/ 54 w 92"/>
                <a:gd name="T67" fmla="*/ 93 h 110"/>
                <a:gd name="T68" fmla="*/ 4 w 92"/>
                <a:gd name="T69" fmla="*/ 9 h 110"/>
                <a:gd name="T70" fmla="*/ 50 w 92"/>
                <a:gd name="T71" fmla="*/ 4 h 110"/>
                <a:gd name="T72" fmla="*/ 54 w 92"/>
                <a:gd name="T73" fmla="*/ 17 h 110"/>
                <a:gd name="T74" fmla="*/ 4 w 92"/>
                <a:gd name="T75" fmla="*/ 9 h 110"/>
                <a:gd name="T76" fmla="*/ 67 w 92"/>
                <a:gd name="T77" fmla="*/ 55 h 110"/>
                <a:gd name="T78" fmla="*/ 59 w 92"/>
                <a:gd name="T79" fmla="*/ 9 h 110"/>
                <a:gd name="T80" fmla="*/ 8 w 92"/>
                <a:gd name="T81" fmla="*/ 0 h 110"/>
                <a:gd name="T82" fmla="*/ 0 w 92"/>
                <a:gd name="T83" fmla="*/ 101 h 110"/>
                <a:gd name="T84" fmla="*/ 50 w 92"/>
                <a:gd name="T85" fmla="*/ 110 h 110"/>
                <a:gd name="T86" fmla="*/ 59 w 92"/>
                <a:gd name="T87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" h="110">
                  <a:moveTo>
                    <a:pt x="76" y="13"/>
                  </a:moveTo>
                  <a:cubicBezTo>
                    <a:pt x="75" y="12"/>
                    <a:pt x="74" y="12"/>
                    <a:pt x="73" y="12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83" y="27"/>
                    <a:pt x="88" y="41"/>
                    <a:pt x="88" y="55"/>
                  </a:cubicBezTo>
                  <a:cubicBezTo>
                    <a:pt x="88" y="69"/>
                    <a:pt x="83" y="83"/>
                    <a:pt x="73" y="95"/>
                  </a:cubicBezTo>
                  <a:cubicBezTo>
                    <a:pt x="72" y="95"/>
                    <a:pt x="72" y="97"/>
                    <a:pt x="73" y="98"/>
                  </a:cubicBezTo>
                  <a:cubicBezTo>
                    <a:pt x="73" y="98"/>
                    <a:pt x="74" y="98"/>
                    <a:pt x="74" y="98"/>
                  </a:cubicBezTo>
                  <a:cubicBezTo>
                    <a:pt x="75" y="98"/>
                    <a:pt x="75" y="98"/>
                    <a:pt x="76" y="97"/>
                  </a:cubicBezTo>
                  <a:cubicBezTo>
                    <a:pt x="87" y="85"/>
                    <a:pt x="92" y="70"/>
                    <a:pt x="92" y="55"/>
                  </a:cubicBezTo>
                  <a:cubicBezTo>
                    <a:pt x="92" y="40"/>
                    <a:pt x="87" y="25"/>
                    <a:pt x="76" y="13"/>
                  </a:cubicBezTo>
                  <a:moveTo>
                    <a:pt x="66" y="21"/>
                  </a:moveTo>
                  <a:cubicBezTo>
                    <a:pt x="66" y="20"/>
                    <a:pt x="64" y="20"/>
                    <a:pt x="63" y="21"/>
                  </a:cubicBezTo>
                  <a:cubicBezTo>
                    <a:pt x="63" y="22"/>
                    <a:pt x="63" y="23"/>
                    <a:pt x="63" y="24"/>
                  </a:cubicBezTo>
                  <a:cubicBezTo>
                    <a:pt x="71" y="33"/>
                    <a:pt x="75" y="44"/>
                    <a:pt x="75" y="55"/>
                  </a:cubicBezTo>
                  <a:cubicBezTo>
                    <a:pt x="75" y="66"/>
                    <a:pt x="71" y="77"/>
                    <a:pt x="63" y="86"/>
                  </a:cubicBezTo>
                  <a:cubicBezTo>
                    <a:pt x="63" y="87"/>
                    <a:pt x="63" y="88"/>
                    <a:pt x="63" y="89"/>
                  </a:cubicBezTo>
                  <a:cubicBezTo>
                    <a:pt x="64" y="89"/>
                    <a:pt x="64" y="90"/>
                    <a:pt x="65" y="90"/>
                  </a:cubicBezTo>
                  <a:cubicBezTo>
                    <a:pt x="65" y="90"/>
                    <a:pt x="66" y="89"/>
                    <a:pt x="66" y="89"/>
                  </a:cubicBezTo>
                  <a:cubicBezTo>
                    <a:pt x="75" y="79"/>
                    <a:pt x="79" y="67"/>
                    <a:pt x="79" y="55"/>
                  </a:cubicBezTo>
                  <a:cubicBezTo>
                    <a:pt x="79" y="43"/>
                    <a:pt x="75" y="31"/>
                    <a:pt x="66" y="21"/>
                  </a:cubicBezTo>
                  <a:moveTo>
                    <a:pt x="44" y="37"/>
                  </a:moveTo>
                  <a:cubicBezTo>
                    <a:pt x="43" y="38"/>
                    <a:pt x="43" y="39"/>
                    <a:pt x="44" y="40"/>
                  </a:cubicBezTo>
                  <a:cubicBezTo>
                    <a:pt x="48" y="44"/>
                    <a:pt x="50" y="50"/>
                    <a:pt x="50" y="55"/>
                  </a:cubicBezTo>
                  <a:cubicBezTo>
                    <a:pt x="50" y="60"/>
                    <a:pt x="48" y="66"/>
                    <a:pt x="44" y="70"/>
                  </a:cubicBezTo>
                  <a:cubicBezTo>
                    <a:pt x="43" y="71"/>
                    <a:pt x="43" y="72"/>
                    <a:pt x="44" y="73"/>
                  </a:cubicBezTo>
                  <a:cubicBezTo>
                    <a:pt x="44" y="73"/>
                    <a:pt x="45" y="73"/>
                    <a:pt x="46" y="73"/>
                  </a:cubicBezTo>
                  <a:cubicBezTo>
                    <a:pt x="46" y="73"/>
                    <a:pt x="47" y="73"/>
                    <a:pt x="47" y="73"/>
                  </a:cubicBezTo>
                  <a:cubicBezTo>
                    <a:pt x="52" y="68"/>
                    <a:pt x="54" y="61"/>
                    <a:pt x="54" y="55"/>
                  </a:cubicBezTo>
                  <a:cubicBezTo>
                    <a:pt x="54" y="49"/>
                    <a:pt x="52" y="42"/>
                    <a:pt x="47" y="37"/>
                  </a:cubicBezTo>
                  <a:cubicBezTo>
                    <a:pt x="46" y="36"/>
                    <a:pt x="45" y="36"/>
                    <a:pt x="44" y="37"/>
                  </a:cubicBezTo>
                  <a:moveTo>
                    <a:pt x="29" y="63"/>
                  </a:moveTo>
                  <a:cubicBezTo>
                    <a:pt x="25" y="63"/>
                    <a:pt x="21" y="60"/>
                    <a:pt x="21" y="55"/>
                  </a:cubicBezTo>
                  <a:cubicBezTo>
                    <a:pt x="21" y="50"/>
                    <a:pt x="25" y="47"/>
                    <a:pt x="29" y="47"/>
                  </a:cubicBezTo>
                  <a:cubicBezTo>
                    <a:pt x="34" y="47"/>
                    <a:pt x="38" y="50"/>
                    <a:pt x="38" y="55"/>
                  </a:cubicBezTo>
                  <a:cubicBezTo>
                    <a:pt x="38" y="60"/>
                    <a:pt x="34" y="63"/>
                    <a:pt x="29" y="63"/>
                  </a:cubicBezTo>
                  <a:moveTo>
                    <a:pt x="29" y="42"/>
                  </a:moveTo>
                  <a:cubicBezTo>
                    <a:pt x="22" y="42"/>
                    <a:pt x="17" y="48"/>
                    <a:pt x="17" y="55"/>
                  </a:cubicBezTo>
                  <a:cubicBezTo>
                    <a:pt x="17" y="62"/>
                    <a:pt x="22" y="68"/>
                    <a:pt x="29" y="68"/>
                  </a:cubicBezTo>
                  <a:cubicBezTo>
                    <a:pt x="36" y="68"/>
                    <a:pt x="42" y="62"/>
                    <a:pt x="42" y="55"/>
                  </a:cubicBezTo>
                  <a:cubicBezTo>
                    <a:pt x="42" y="48"/>
                    <a:pt x="36" y="42"/>
                    <a:pt x="29" y="42"/>
                  </a:cubicBezTo>
                  <a:moveTo>
                    <a:pt x="29" y="9"/>
                  </a:moveTo>
                  <a:cubicBezTo>
                    <a:pt x="28" y="9"/>
                    <a:pt x="27" y="10"/>
                    <a:pt x="27" y="11"/>
                  </a:cubicBezTo>
                  <a:cubicBezTo>
                    <a:pt x="27" y="12"/>
                    <a:pt x="28" y="13"/>
                    <a:pt x="29" y="13"/>
                  </a:cubicBezTo>
                  <a:cubicBezTo>
                    <a:pt x="30" y="13"/>
                    <a:pt x="31" y="12"/>
                    <a:pt x="31" y="11"/>
                  </a:cubicBezTo>
                  <a:cubicBezTo>
                    <a:pt x="31" y="10"/>
                    <a:pt x="30" y="9"/>
                    <a:pt x="29" y="9"/>
                  </a:cubicBezTo>
                  <a:moveTo>
                    <a:pt x="25" y="101"/>
                  </a:moveTo>
                  <a:cubicBezTo>
                    <a:pt x="33" y="101"/>
                    <a:pt x="33" y="101"/>
                    <a:pt x="33" y="101"/>
                  </a:cubicBezTo>
                  <a:cubicBezTo>
                    <a:pt x="35" y="101"/>
                    <a:pt x="36" y="100"/>
                    <a:pt x="36" y="99"/>
                  </a:cubicBezTo>
                  <a:cubicBezTo>
                    <a:pt x="36" y="98"/>
                    <a:pt x="35" y="97"/>
                    <a:pt x="33" y="97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4" y="97"/>
                    <a:pt x="23" y="98"/>
                    <a:pt x="23" y="99"/>
                  </a:cubicBezTo>
                  <a:cubicBezTo>
                    <a:pt x="23" y="100"/>
                    <a:pt x="24" y="101"/>
                    <a:pt x="25" y="101"/>
                  </a:cubicBezTo>
                  <a:moveTo>
                    <a:pt x="55" y="77"/>
                  </a:moveTo>
                  <a:cubicBezTo>
                    <a:pt x="55" y="77"/>
                    <a:pt x="54" y="78"/>
                    <a:pt x="54" y="78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60" y="40"/>
                    <a:pt x="63" y="47"/>
                    <a:pt x="63" y="55"/>
                  </a:cubicBezTo>
                  <a:cubicBezTo>
                    <a:pt x="63" y="63"/>
                    <a:pt x="60" y="70"/>
                    <a:pt x="55" y="77"/>
                  </a:cubicBezTo>
                  <a:moveTo>
                    <a:pt x="54" y="101"/>
                  </a:moveTo>
                  <a:cubicBezTo>
                    <a:pt x="54" y="104"/>
                    <a:pt x="52" y="106"/>
                    <a:pt x="50" y="106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6" y="106"/>
                    <a:pt x="4" y="104"/>
                    <a:pt x="4" y="101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4" y="93"/>
                    <a:pt x="54" y="93"/>
                    <a:pt x="54" y="93"/>
                  </a:cubicBezTo>
                  <a:lnTo>
                    <a:pt x="54" y="101"/>
                  </a:lnTo>
                  <a:close/>
                  <a:moveTo>
                    <a:pt x="4" y="9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2" y="4"/>
                    <a:pt x="54" y="6"/>
                    <a:pt x="54" y="9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9"/>
                  </a:lnTo>
                  <a:close/>
                  <a:moveTo>
                    <a:pt x="59" y="79"/>
                  </a:moveTo>
                  <a:cubicBezTo>
                    <a:pt x="64" y="72"/>
                    <a:pt x="67" y="63"/>
                    <a:pt x="67" y="55"/>
                  </a:cubicBezTo>
                  <a:cubicBezTo>
                    <a:pt x="67" y="47"/>
                    <a:pt x="64" y="38"/>
                    <a:pt x="59" y="31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4"/>
                    <a:pt x="55" y="0"/>
                    <a:pt x="5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6"/>
                    <a:pt x="4" y="110"/>
                    <a:pt x="8" y="110"/>
                  </a:cubicBezTo>
                  <a:cubicBezTo>
                    <a:pt x="50" y="110"/>
                    <a:pt x="50" y="110"/>
                    <a:pt x="50" y="110"/>
                  </a:cubicBezTo>
                  <a:cubicBezTo>
                    <a:pt x="55" y="110"/>
                    <a:pt x="59" y="106"/>
                    <a:pt x="59" y="101"/>
                  </a:cubicBezTo>
                  <a:lnTo>
                    <a:pt x="59" y="7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64">
            <a:extLst>
              <a:ext uri="{FF2B5EF4-FFF2-40B4-BE49-F238E27FC236}">
                <a16:creationId xmlns:a16="http://schemas.microsoft.com/office/drawing/2014/main" id="{0C704F8C-E567-4D1D-B315-A5A344510B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787" y="1539521"/>
            <a:ext cx="841375" cy="841375"/>
            <a:chOff x="1666" y="1079"/>
            <a:chExt cx="530" cy="530"/>
          </a:xfrm>
        </p:grpSpPr>
        <p:sp>
          <p:nvSpPr>
            <p:cNvPr id="77" name="AutoShape 63">
              <a:extLst>
                <a:ext uri="{FF2B5EF4-FFF2-40B4-BE49-F238E27FC236}">
                  <a16:creationId xmlns:a16="http://schemas.microsoft.com/office/drawing/2014/main" id="{06159BC9-1022-43B3-B7F1-38F6D9D67D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66" y="107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5">
              <a:extLst>
                <a:ext uri="{FF2B5EF4-FFF2-40B4-BE49-F238E27FC236}">
                  <a16:creationId xmlns:a16="http://schemas.microsoft.com/office/drawing/2014/main" id="{E526AA03-FD0C-49A5-BBF2-D35911D25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6" y="107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6">
              <a:extLst>
                <a:ext uri="{FF2B5EF4-FFF2-40B4-BE49-F238E27FC236}">
                  <a16:creationId xmlns:a16="http://schemas.microsoft.com/office/drawing/2014/main" id="{6444D23E-B924-4875-8895-E5B1744ADD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4" y="109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7">
              <a:extLst>
                <a:ext uri="{FF2B5EF4-FFF2-40B4-BE49-F238E27FC236}">
                  <a16:creationId xmlns:a16="http://schemas.microsoft.com/office/drawing/2014/main" id="{1A7C5E6B-0BE2-47E3-9D10-920737A3AA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5" y="1204"/>
              <a:ext cx="235" cy="282"/>
            </a:xfrm>
            <a:custGeom>
              <a:avLst/>
              <a:gdLst>
                <a:gd name="T0" fmla="*/ 73 w 92"/>
                <a:gd name="T1" fmla="*/ 12 h 110"/>
                <a:gd name="T2" fmla="*/ 88 w 92"/>
                <a:gd name="T3" fmla="*/ 55 h 110"/>
                <a:gd name="T4" fmla="*/ 73 w 92"/>
                <a:gd name="T5" fmla="*/ 98 h 110"/>
                <a:gd name="T6" fmla="*/ 76 w 92"/>
                <a:gd name="T7" fmla="*/ 97 h 110"/>
                <a:gd name="T8" fmla="*/ 76 w 92"/>
                <a:gd name="T9" fmla="*/ 13 h 110"/>
                <a:gd name="T10" fmla="*/ 63 w 92"/>
                <a:gd name="T11" fmla="*/ 21 h 110"/>
                <a:gd name="T12" fmla="*/ 75 w 92"/>
                <a:gd name="T13" fmla="*/ 55 h 110"/>
                <a:gd name="T14" fmla="*/ 63 w 92"/>
                <a:gd name="T15" fmla="*/ 89 h 110"/>
                <a:gd name="T16" fmla="*/ 66 w 92"/>
                <a:gd name="T17" fmla="*/ 89 h 110"/>
                <a:gd name="T18" fmla="*/ 66 w 92"/>
                <a:gd name="T19" fmla="*/ 21 h 110"/>
                <a:gd name="T20" fmla="*/ 44 w 92"/>
                <a:gd name="T21" fmla="*/ 40 h 110"/>
                <a:gd name="T22" fmla="*/ 44 w 92"/>
                <a:gd name="T23" fmla="*/ 70 h 110"/>
                <a:gd name="T24" fmla="*/ 46 w 92"/>
                <a:gd name="T25" fmla="*/ 73 h 110"/>
                <a:gd name="T26" fmla="*/ 54 w 92"/>
                <a:gd name="T27" fmla="*/ 55 h 110"/>
                <a:gd name="T28" fmla="*/ 44 w 92"/>
                <a:gd name="T29" fmla="*/ 37 h 110"/>
                <a:gd name="T30" fmla="*/ 21 w 92"/>
                <a:gd name="T31" fmla="*/ 55 h 110"/>
                <a:gd name="T32" fmla="*/ 38 w 92"/>
                <a:gd name="T33" fmla="*/ 55 h 110"/>
                <a:gd name="T34" fmla="*/ 29 w 92"/>
                <a:gd name="T35" fmla="*/ 42 h 110"/>
                <a:gd name="T36" fmla="*/ 29 w 92"/>
                <a:gd name="T37" fmla="*/ 68 h 110"/>
                <a:gd name="T38" fmla="*/ 29 w 92"/>
                <a:gd name="T39" fmla="*/ 42 h 110"/>
                <a:gd name="T40" fmla="*/ 27 w 92"/>
                <a:gd name="T41" fmla="*/ 11 h 110"/>
                <a:gd name="T42" fmla="*/ 31 w 92"/>
                <a:gd name="T43" fmla="*/ 11 h 110"/>
                <a:gd name="T44" fmla="*/ 25 w 92"/>
                <a:gd name="T45" fmla="*/ 101 h 110"/>
                <a:gd name="T46" fmla="*/ 36 w 92"/>
                <a:gd name="T47" fmla="*/ 99 h 110"/>
                <a:gd name="T48" fmla="*/ 25 w 92"/>
                <a:gd name="T49" fmla="*/ 97 h 110"/>
                <a:gd name="T50" fmla="*/ 25 w 92"/>
                <a:gd name="T51" fmla="*/ 101 h 110"/>
                <a:gd name="T52" fmla="*/ 54 w 92"/>
                <a:gd name="T53" fmla="*/ 78 h 110"/>
                <a:gd name="T54" fmla="*/ 4 w 92"/>
                <a:gd name="T55" fmla="*/ 89 h 110"/>
                <a:gd name="T56" fmla="*/ 54 w 92"/>
                <a:gd name="T57" fmla="*/ 21 h 110"/>
                <a:gd name="T58" fmla="*/ 55 w 92"/>
                <a:gd name="T59" fmla="*/ 33 h 110"/>
                <a:gd name="T60" fmla="*/ 55 w 92"/>
                <a:gd name="T61" fmla="*/ 77 h 110"/>
                <a:gd name="T62" fmla="*/ 50 w 92"/>
                <a:gd name="T63" fmla="*/ 106 h 110"/>
                <a:gd name="T64" fmla="*/ 4 w 92"/>
                <a:gd name="T65" fmla="*/ 101 h 110"/>
                <a:gd name="T66" fmla="*/ 54 w 92"/>
                <a:gd name="T67" fmla="*/ 93 h 110"/>
                <a:gd name="T68" fmla="*/ 4 w 92"/>
                <a:gd name="T69" fmla="*/ 9 h 110"/>
                <a:gd name="T70" fmla="*/ 50 w 92"/>
                <a:gd name="T71" fmla="*/ 4 h 110"/>
                <a:gd name="T72" fmla="*/ 54 w 92"/>
                <a:gd name="T73" fmla="*/ 17 h 110"/>
                <a:gd name="T74" fmla="*/ 4 w 92"/>
                <a:gd name="T75" fmla="*/ 9 h 110"/>
                <a:gd name="T76" fmla="*/ 67 w 92"/>
                <a:gd name="T77" fmla="*/ 55 h 110"/>
                <a:gd name="T78" fmla="*/ 59 w 92"/>
                <a:gd name="T79" fmla="*/ 9 h 110"/>
                <a:gd name="T80" fmla="*/ 8 w 92"/>
                <a:gd name="T81" fmla="*/ 0 h 110"/>
                <a:gd name="T82" fmla="*/ 0 w 92"/>
                <a:gd name="T83" fmla="*/ 101 h 110"/>
                <a:gd name="T84" fmla="*/ 50 w 92"/>
                <a:gd name="T85" fmla="*/ 110 h 110"/>
                <a:gd name="T86" fmla="*/ 59 w 92"/>
                <a:gd name="T87" fmla="*/ 7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" h="110">
                  <a:moveTo>
                    <a:pt x="76" y="13"/>
                  </a:moveTo>
                  <a:cubicBezTo>
                    <a:pt x="75" y="12"/>
                    <a:pt x="74" y="12"/>
                    <a:pt x="73" y="12"/>
                  </a:cubicBezTo>
                  <a:cubicBezTo>
                    <a:pt x="72" y="13"/>
                    <a:pt x="72" y="15"/>
                    <a:pt x="73" y="15"/>
                  </a:cubicBezTo>
                  <a:cubicBezTo>
                    <a:pt x="83" y="27"/>
                    <a:pt x="88" y="41"/>
                    <a:pt x="88" y="55"/>
                  </a:cubicBezTo>
                  <a:cubicBezTo>
                    <a:pt x="88" y="69"/>
                    <a:pt x="83" y="83"/>
                    <a:pt x="73" y="95"/>
                  </a:cubicBezTo>
                  <a:cubicBezTo>
                    <a:pt x="72" y="95"/>
                    <a:pt x="72" y="97"/>
                    <a:pt x="73" y="98"/>
                  </a:cubicBezTo>
                  <a:cubicBezTo>
                    <a:pt x="73" y="98"/>
                    <a:pt x="74" y="98"/>
                    <a:pt x="74" y="98"/>
                  </a:cubicBezTo>
                  <a:cubicBezTo>
                    <a:pt x="75" y="98"/>
                    <a:pt x="75" y="98"/>
                    <a:pt x="76" y="97"/>
                  </a:cubicBezTo>
                  <a:cubicBezTo>
                    <a:pt x="87" y="85"/>
                    <a:pt x="92" y="70"/>
                    <a:pt x="92" y="55"/>
                  </a:cubicBezTo>
                  <a:cubicBezTo>
                    <a:pt x="92" y="40"/>
                    <a:pt x="87" y="25"/>
                    <a:pt x="76" y="13"/>
                  </a:cubicBezTo>
                  <a:moveTo>
                    <a:pt x="66" y="21"/>
                  </a:moveTo>
                  <a:cubicBezTo>
                    <a:pt x="66" y="20"/>
                    <a:pt x="64" y="20"/>
                    <a:pt x="63" y="21"/>
                  </a:cubicBezTo>
                  <a:cubicBezTo>
                    <a:pt x="63" y="22"/>
                    <a:pt x="63" y="23"/>
                    <a:pt x="63" y="24"/>
                  </a:cubicBezTo>
                  <a:cubicBezTo>
                    <a:pt x="71" y="33"/>
                    <a:pt x="75" y="44"/>
                    <a:pt x="75" y="55"/>
                  </a:cubicBezTo>
                  <a:cubicBezTo>
                    <a:pt x="75" y="66"/>
                    <a:pt x="71" y="77"/>
                    <a:pt x="63" y="86"/>
                  </a:cubicBezTo>
                  <a:cubicBezTo>
                    <a:pt x="63" y="87"/>
                    <a:pt x="63" y="88"/>
                    <a:pt x="63" y="89"/>
                  </a:cubicBezTo>
                  <a:cubicBezTo>
                    <a:pt x="64" y="89"/>
                    <a:pt x="64" y="90"/>
                    <a:pt x="65" y="90"/>
                  </a:cubicBezTo>
                  <a:cubicBezTo>
                    <a:pt x="65" y="90"/>
                    <a:pt x="66" y="89"/>
                    <a:pt x="66" y="89"/>
                  </a:cubicBezTo>
                  <a:cubicBezTo>
                    <a:pt x="75" y="79"/>
                    <a:pt x="79" y="67"/>
                    <a:pt x="79" y="55"/>
                  </a:cubicBezTo>
                  <a:cubicBezTo>
                    <a:pt x="79" y="43"/>
                    <a:pt x="75" y="31"/>
                    <a:pt x="66" y="21"/>
                  </a:cubicBezTo>
                  <a:moveTo>
                    <a:pt x="44" y="37"/>
                  </a:moveTo>
                  <a:cubicBezTo>
                    <a:pt x="43" y="38"/>
                    <a:pt x="43" y="39"/>
                    <a:pt x="44" y="40"/>
                  </a:cubicBezTo>
                  <a:cubicBezTo>
                    <a:pt x="48" y="44"/>
                    <a:pt x="50" y="50"/>
                    <a:pt x="50" y="55"/>
                  </a:cubicBezTo>
                  <a:cubicBezTo>
                    <a:pt x="50" y="60"/>
                    <a:pt x="48" y="66"/>
                    <a:pt x="44" y="70"/>
                  </a:cubicBezTo>
                  <a:cubicBezTo>
                    <a:pt x="43" y="71"/>
                    <a:pt x="43" y="72"/>
                    <a:pt x="44" y="73"/>
                  </a:cubicBezTo>
                  <a:cubicBezTo>
                    <a:pt x="44" y="73"/>
                    <a:pt x="45" y="73"/>
                    <a:pt x="46" y="73"/>
                  </a:cubicBezTo>
                  <a:cubicBezTo>
                    <a:pt x="46" y="73"/>
                    <a:pt x="47" y="73"/>
                    <a:pt x="47" y="73"/>
                  </a:cubicBezTo>
                  <a:cubicBezTo>
                    <a:pt x="52" y="68"/>
                    <a:pt x="54" y="61"/>
                    <a:pt x="54" y="55"/>
                  </a:cubicBezTo>
                  <a:cubicBezTo>
                    <a:pt x="54" y="49"/>
                    <a:pt x="52" y="42"/>
                    <a:pt x="47" y="37"/>
                  </a:cubicBezTo>
                  <a:cubicBezTo>
                    <a:pt x="46" y="36"/>
                    <a:pt x="45" y="36"/>
                    <a:pt x="44" y="37"/>
                  </a:cubicBezTo>
                  <a:moveTo>
                    <a:pt x="29" y="63"/>
                  </a:moveTo>
                  <a:cubicBezTo>
                    <a:pt x="25" y="63"/>
                    <a:pt x="21" y="60"/>
                    <a:pt x="21" y="55"/>
                  </a:cubicBezTo>
                  <a:cubicBezTo>
                    <a:pt x="21" y="50"/>
                    <a:pt x="25" y="47"/>
                    <a:pt x="29" y="47"/>
                  </a:cubicBezTo>
                  <a:cubicBezTo>
                    <a:pt x="34" y="47"/>
                    <a:pt x="38" y="50"/>
                    <a:pt x="38" y="55"/>
                  </a:cubicBezTo>
                  <a:cubicBezTo>
                    <a:pt x="38" y="60"/>
                    <a:pt x="34" y="63"/>
                    <a:pt x="29" y="63"/>
                  </a:cubicBezTo>
                  <a:moveTo>
                    <a:pt x="29" y="42"/>
                  </a:moveTo>
                  <a:cubicBezTo>
                    <a:pt x="22" y="42"/>
                    <a:pt x="17" y="48"/>
                    <a:pt x="17" y="55"/>
                  </a:cubicBezTo>
                  <a:cubicBezTo>
                    <a:pt x="17" y="62"/>
                    <a:pt x="22" y="68"/>
                    <a:pt x="29" y="68"/>
                  </a:cubicBezTo>
                  <a:cubicBezTo>
                    <a:pt x="36" y="68"/>
                    <a:pt x="42" y="62"/>
                    <a:pt x="42" y="55"/>
                  </a:cubicBezTo>
                  <a:cubicBezTo>
                    <a:pt x="42" y="48"/>
                    <a:pt x="36" y="42"/>
                    <a:pt x="29" y="42"/>
                  </a:cubicBezTo>
                  <a:moveTo>
                    <a:pt x="29" y="9"/>
                  </a:moveTo>
                  <a:cubicBezTo>
                    <a:pt x="28" y="9"/>
                    <a:pt x="27" y="10"/>
                    <a:pt x="27" y="11"/>
                  </a:cubicBezTo>
                  <a:cubicBezTo>
                    <a:pt x="27" y="12"/>
                    <a:pt x="28" y="13"/>
                    <a:pt x="29" y="13"/>
                  </a:cubicBezTo>
                  <a:cubicBezTo>
                    <a:pt x="30" y="13"/>
                    <a:pt x="31" y="12"/>
                    <a:pt x="31" y="11"/>
                  </a:cubicBezTo>
                  <a:cubicBezTo>
                    <a:pt x="31" y="10"/>
                    <a:pt x="30" y="9"/>
                    <a:pt x="29" y="9"/>
                  </a:cubicBezTo>
                  <a:moveTo>
                    <a:pt x="25" y="101"/>
                  </a:moveTo>
                  <a:cubicBezTo>
                    <a:pt x="33" y="101"/>
                    <a:pt x="33" y="101"/>
                    <a:pt x="33" y="101"/>
                  </a:cubicBezTo>
                  <a:cubicBezTo>
                    <a:pt x="35" y="101"/>
                    <a:pt x="36" y="100"/>
                    <a:pt x="36" y="99"/>
                  </a:cubicBezTo>
                  <a:cubicBezTo>
                    <a:pt x="36" y="98"/>
                    <a:pt x="35" y="97"/>
                    <a:pt x="33" y="97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4" y="97"/>
                    <a:pt x="23" y="98"/>
                    <a:pt x="23" y="99"/>
                  </a:cubicBezTo>
                  <a:cubicBezTo>
                    <a:pt x="23" y="100"/>
                    <a:pt x="24" y="101"/>
                    <a:pt x="25" y="101"/>
                  </a:cubicBezTo>
                  <a:moveTo>
                    <a:pt x="55" y="77"/>
                  </a:moveTo>
                  <a:cubicBezTo>
                    <a:pt x="55" y="77"/>
                    <a:pt x="54" y="78"/>
                    <a:pt x="54" y="78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60" y="40"/>
                    <a:pt x="63" y="47"/>
                    <a:pt x="63" y="55"/>
                  </a:cubicBezTo>
                  <a:cubicBezTo>
                    <a:pt x="63" y="63"/>
                    <a:pt x="60" y="70"/>
                    <a:pt x="55" y="77"/>
                  </a:cubicBezTo>
                  <a:moveTo>
                    <a:pt x="54" y="101"/>
                  </a:moveTo>
                  <a:cubicBezTo>
                    <a:pt x="54" y="104"/>
                    <a:pt x="52" y="106"/>
                    <a:pt x="50" y="106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6" y="106"/>
                    <a:pt x="4" y="104"/>
                    <a:pt x="4" y="101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4" y="93"/>
                    <a:pt x="54" y="93"/>
                    <a:pt x="54" y="93"/>
                  </a:cubicBezTo>
                  <a:lnTo>
                    <a:pt x="54" y="101"/>
                  </a:lnTo>
                  <a:close/>
                  <a:moveTo>
                    <a:pt x="4" y="9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2" y="4"/>
                    <a:pt x="54" y="6"/>
                    <a:pt x="54" y="9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9"/>
                  </a:lnTo>
                  <a:close/>
                  <a:moveTo>
                    <a:pt x="59" y="79"/>
                  </a:moveTo>
                  <a:cubicBezTo>
                    <a:pt x="64" y="72"/>
                    <a:pt x="67" y="63"/>
                    <a:pt x="67" y="55"/>
                  </a:cubicBezTo>
                  <a:cubicBezTo>
                    <a:pt x="67" y="47"/>
                    <a:pt x="64" y="38"/>
                    <a:pt x="59" y="31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4"/>
                    <a:pt x="55" y="0"/>
                    <a:pt x="5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6"/>
                    <a:pt x="4" y="110"/>
                    <a:pt x="8" y="110"/>
                  </a:cubicBezTo>
                  <a:cubicBezTo>
                    <a:pt x="50" y="110"/>
                    <a:pt x="50" y="110"/>
                    <a:pt x="50" y="110"/>
                  </a:cubicBezTo>
                  <a:cubicBezTo>
                    <a:pt x="55" y="110"/>
                    <a:pt x="59" y="106"/>
                    <a:pt x="59" y="101"/>
                  </a:cubicBezTo>
                  <a:lnTo>
                    <a:pt x="59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70">
            <a:extLst>
              <a:ext uri="{FF2B5EF4-FFF2-40B4-BE49-F238E27FC236}">
                <a16:creationId xmlns:a16="http://schemas.microsoft.com/office/drawing/2014/main" id="{953DEA40-3EA8-4A19-BF90-3E89B5B4BD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7076" y="1580796"/>
            <a:ext cx="758825" cy="758825"/>
            <a:chOff x="3628" y="1157"/>
            <a:chExt cx="478" cy="478"/>
          </a:xfrm>
        </p:grpSpPr>
        <p:sp>
          <p:nvSpPr>
            <p:cNvPr id="86" name="AutoShape 69">
              <a:extLst>
                <a:ext uri="{FF2B5EF4-FFF2-40B4-BE49-F238E27FC236}">
                  <a16:creationId xmlns:a16="http://schemas.microsoft.com/office/drawing/2014/main" id="{75FA38DB-1EF0-4D5C-90E9-1EA5D3BFA5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28" y="115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1">
              <a:extLst>
                <a:ext uri="{FF2B5EF4-FFF2-40B4-BE49-F238E27FC236}">
                  <a16:creationId xmlns:a16="http://schemas.microsoft.com/office/drawing/2014/main" id="{71CD096E-555F-461D-A347-302017D6AE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0" y="115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2">
              <a:extLst>
                <a:ext uri="{FF2B5EF4-FFF2-40B4-BE49-F238E27FC236}">
                  <a16:creationId xmlns:a16="http://schemas.microsoft.com/office/drawing/2014/main" id="{AA58ACAC-405F-4A8C-A016-5E17A4B50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1" y="1272"/>
              <a:ext cx="294" cy="250"/>
            </a:xfrm>
            <a:custGeom>
              <a:avLst/>
              <a:gdLst>
                <a:gd name="T0" fmla="*/ 90 w 120"/>
                <a:gd name="T1" fmla="*/ 10 h 102"/>
                <a:gd name="T2" fmla="*/ 94 w 120"/>
                <a:gd name="T3" fmla="*/ 10 h 102"/>
                <a:gd name="T4" fmla="*/ 28 w 120"/>
                <a:gd name="T5" fmla="*/ 8 h 102"/>
                <a:gd name="T6" fmla="*/ 28 w 120"/>
                <a:gd name="T7" fmla="*/ 13 h 102"/>
                <a:gd name="T8" fmla="*/ 28 w 120"/>
                <a:gd name="T9" fmla="*/ 8 h 102"/>
                <a:gd name="T10" fmla="*/ 96 w 120"/>
                <a:gd name="T11" fmla="*/ 94 h 102"/>
                <a:gd name="T12" fmla="*/ 96 w 120"/>
                <a:gd name="T13" fmla="*/ 89 h 102"/>
                <a:gd name="T14" fmla="*/ 86 w 120"/>
                <a:gd name="T15" fmla="*/ 92 h 102"/>
                <a:gd name="T16" fmla="*/ 116 w 120"/>
                <a:gd name="T17" fmla="*/ 17 h 102"/>
                <a:gd name="T18" fmla="*/ 69 w 120"/>
                <a:gd name="T19" fmla="*/ 8 h 102"/>
                <a:gd name="T20" fmla="*/ 112 w 120"/>
                <a:gd name="T21" fmla="*/ 4 h 102"/>
                <a:gd name="T22" fmla="*/ 116 w 120"/>
                <a:gd name="T23" fmla="*/ 17 h 102"/>
                <a:gd name="T24" fmla="*/ 112 w 120"/>
                <a:gd name="T25" fmla="*/ 98 h 102"/>
                <a:gd name="T26" fmla="*/ 69 w 120"/>
                <a:gd name="T27" fmla="*/ 94 h 102"/>
                <a:gd name="T28" fmla="*/ 116 w 120"/>
                <a:gd name="T29" fmla="*/ 85 h 102"/>
                <a:gd name="T30" fmla="*/ 120 w 120"/>
                <a:gd name="T31" fmla="*/ 8 h 102"/>
                <a:gd name="T32" fmla="*/ 73 w 120"/>
                <a:gd name="T33" fmla="*/ 0 h 102"/>
                <a:gd name="T34" fmla="*/ 64 w 120"/>
                <a:gd name="T35" fmla="*/ 45 h 102"/>
                <a:gd name="T36" fmla="*/ 36 w 120"/>
                <a:gd name="T37" fmla="*/ 38 h 102"/>
                <a:gd name="T38" fmla="*/ 33 w 120"/>
                <a:gd name="T39" fmla="*/ 35 h 102"/>
                <a:gd name="T40" fmla="*/ 22 w 120"/>
                <a:gd name="T41" fmla="*/ 45 h 102"/>
                <a:gd name="T42" fmla="*/ 22 w 120"/>
                <a:gd name="T43" fmla="*/ 48 h 102"/>
                <a:gd name="T44" fmla="*/ 33 w 120"/>
                <a:gd name="T45" fmla="*/ 59 h 102"/>
                <a:gd name="T46" fmla="*/ 36 w 120"/>
                <a:gd name="T47" fmla="*/ 59 h 102"/>
                <a:gd name="T48" fmla="*/ 29 w 120"/>
                <a:gd name="T49" fmla="*/ 49 h 102"/>
                <a:gd name="T50" fmla="*/ 68 w 120"/>
                <a:gd name="T51" fmla="*/ 48 h 102"/>
                <a:gd name="T52" fmla="*/ 69 w 120"/>
                <a:gd name="T53" fmla="*/ 21 h 102"/>
                <a:gd name="T54" fmla="*/ 116 w 120"/>
                <a:gd name="T55" fmla="*/ 81 h 102"/>
                <a:gd name="T56" fmla="*/ 69 w 120"/>
                <a:gd name="T57" fmla="*/ 64 h 102"/>
                <a:gd name="T58" fmla="*/ 64 w 120"/>
                <a:gd name="T59" fmla="*/ 64 h 102"/>
                <a:gd name="T60" fmla="*/ 73 w 120"/>
                <a:gd name="T61" fmla="*/ 102 h 102"/>
                <a:gd name="T62" fmla="*/ 120 w 120"/>
                <a:gd name="T63" fmla="*/ 94 h 102"/>
                <a:gd name="T64" fmla="*/ 24 w 120"/>
                <a:gd name="T65" fmla="*/ 94 h 102"/>
                <a:gd name="T66" fmla="*/ 34 w 120"/>
                <a:gd name="T67" fmla="*/ 92 h 102"/>
                <a:gd name="T68" fmla="*/ 24 w 120"/>
                <a:gd name="T69" fmla="*/ 89 h 102"/>
                <a:gd name="T70" fmla="*/ 24 w 120"/>
                <a:gd name="T71" fmla="*/ 94 h 102"/>
                <a:gd name="T72" fmla="*/ 47 w 120"/>
                <a:gd name="T73" fmla="*/ 98 h 102"/>
                <a:gd name="T74" fmla="*/ 4 w 120"/>
                <a:gd name="T75" fmla="*/ 94 h 102"/>
                <a:gd name="T76" fmla="*/ 51 w 120"/>
                <a:gd name="T77" fmla="*/ 85 h 102"/>
                <a:gd name="T78" fmla="*/ 4 w 120"/>
                <a:gd name="T79" fmla="*/ 8 h 102"/>
                <a:gd name="T80" fmla="*/ 47 w 120"/>
                <a:gd name="T81" fmla="*/ 4 h 102"/>
                <a:gd name="T82" fmla="*/ 51 w 120"/>
                <a:gd name="T83" fmla="*/ 17 h 102"/>
                <a:gd name="T84" fmla="*/ 4 w 120"/>
                <a:gd name="T85" fmla="*/ 8 h 102"/>
                <a:gd name="T86" fmla="*/ 91 w 120"/>
                <a:gd name="T87" fmla="*/ 57 h 102"/>
                <a:gd name="T88" fmla="*/ 84 w 120"/>
                <a:gd name="T89" fmla="*/ 67 h 102"/>
                <a:gd name="T90" fmla="*/ 87 w 120"/>
                <a:gd name="T91" fmla="*/ 67 h 102"/>
                <a:gd name="T92" fmla="*/ 98 w 120"/>
                <a:gd name="T93" fmla="*/ 56 h 102"/>
                <a:gd name="T94" fmla="*/ 98 w 120"/>
                <a:gd name="T95" fmla="*/ 54 h 102"/>
                <a:gd name="T96" fmla="*/ 84 w 120"/>
                <a:gd name="T97" fmla="*/ 43 h 102"/>
                <a:gd name="T98" fmla="*/ 91 w 120"/>
                <a:gd name="T99" fmla="*/ 53 h 102"/>
                <a:gd name="T100" fmla="*/ 52 w 120"/>
                <a:gd name="T101" fmla="*/ 54 h 102"/>
                <a:gd name="T102" fmla="*/ 51 w 120"/>
                <a:gd name="T103" fmla="*/ 81 h 102"/>
                <a:gd name="T104" fmla="*/ 4 w 120"/>
                <a:gd name="T105" fmla="*/ 21 h 102"/>
                <a:gd name="T106" fmla="*/ 51 w 120"/>
                <a:gd name="T107" fmla="*/ 38 h 102"/>
                <a:gd name="T108" fmla="*/ 56 w 120"/>
                <a:gd name="T109" fmla="*/ 38 h 102"/>
                <a:gd name="T110" fmla="*/ 47 w 120"/>
                <a:gd name="T111" fmla="*/ 0 h 102"/>
                <a:gd name="T112" fmla="*/ 0 w 120"/>
                <a:gd name="T113" fmla="*/ 8 h 102"/>
                <a:gd name="T114" fmla="*/ 8 w 120"/>
                <a:gd name="T115" fmla="*/ 102 h 102"/>
                <a:gd name="T116" fmla="*/ 56 w 120"/>
                <a:gd name="T117" fmla="*/ 9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102">
                  <a:moveTo>
                    <a:pt x="92" y="8"/>
                  </a:moveTo>
                  <a:cubicBezTo>
                    <a:pt x="91" y="8"/>
                    <a:pt x="90" y="9"/>
                    <a:pt x="90" y="10"/>
                  </a:cubicBezTo>
                  <a:cubicBezTo>
                    <a:pt x="90" y="12"/>
                    <a:pt x="91" y="13"/>
                    <a:pt x="92" y="13"/>
                  </a:cubicBezTo>
                  <a:cubicBezTo>
                    <a:pt x="93" y="13"/>
                    <a:pt x="94" y="12"/>
                    <a:pt x="94" y="10"/>
                  </a:cubicBezTo>
                  <a:cubicBezTo>
                    <a:pt x="94" y="9"/>
                    <a:pt x="93" y="8"/>
                    <a:pt x="92" y="8"/>
                  </a:cubicBezTo>
                  <a:moveTo>
                    <a:pt x="28" y="8"/>
                  </a:moveTo>
                  <a:cubicBezTo>
                    <a:pt x="27" y="8"/>
                    <a:pt x="26" y="9"/>
                    <a:pt x="26" y="10"/>
                  </a:cubicBezTo>
                  <a:cubicBezTo>
                    <a:pt x="26" y="12"/>
                    <a:pt x="27" y="13"/>
                    <a:pt x="28" y="13"/>
                  </a:cubicBezTo>
                  <a:cubicBezTo>
                    <a:pt x="29" y="13"/>
                    <a:pt x="30" y="12"/>
                    <a:pt x="30" y="10"/>
                  </a:cubicBezTo>
                  <a:cubicBezTo>
                    <a:pt x="30" y="9"/>
                    <a:pt x="29" y="8"/>
                    <a:pt x="28" y="8"/>
                  </a:cubicBezTo>
                  <a:moveTo>
                    <a:pt x="88" y="94"/>
                  </a:moveTo>
                  <a:cubicBezTo>
                    <a:pt x="96" y="94"/>
                    <a:pt x="96" y="94"/>
                    <a:pt x="96" y="94"/>
                  </a:cubicBezTo>
                  <a:cubicBezTo>
                    <a:pt x="98" y="94"/>
                    <a:pt x="99" y="93"/>
                    <a:pt x="99" y="92"/>
                  </a:cubicBezTo>
                  <a:cubicBezTo>
                    <a:pt x="99" y="90"/>
                    <a:pt x="98" y="89"/>
                    <a:pt x="96" y="89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7" y="89"/>
                    <a:pt x="86" y="90"/>
                    <a:pt x="86" y="92"/>
                  </a:cubicBezTo>
                  <a:cubicBezTo>
                    <a:pt x="86" y="93"/>
                    <a:pt x="87" y="94"/>
                    <a:pt x="88" y="94"/>
                  </a:cubicBezTo>
                  <a:moveTo>
                    <a:pt x="116" y="17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6"/>
                    <a:pt x="71" y="4"/>
                    <a:pt x="73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4" y="4"/>
                    <a:pt x="116" y="6"/>
                    <a:pt x="116" y="8"/>
                  </a:cubicBezTo>
                  <a:lnTo>
                    <a:pt x="116" y="17"/>
                  </a:lnTo>
                  <a:close/>
                  <a:moveTo>
                    <a:pt x="116" y="94"/>
                  </a:moveTo>
                  <a:cubicBezTo>
                    <a:pt x="116" y="96"/>
                    <a:pt x="114" y="98"/>
                    <a:pt x="112" y="98"/>
                  </a:cubicBezTo>
                  <a:cubicBezTo>
                    <a:pt x="73" y="98"/>
                    <a:pt x="73" y="98"/>
                    <a:pt x="73" y="98"/>
                  </a:cubicBezTo>
                  <a:cubicBezTo>
                    <a:pt x="71" y="98"/>
                    <a:pt x="69" y="96"/>
                    <a:pt x="69" y="94"/>
                  </a:cubicBezTo>
                  <a:cubicBezTo>
                    <a:pt x="69" y="85"/>
                    <a:pt x="69" y="85"/>
                    <a:pt x="69" y="85"/>
                  </a:cubicBezTo>
                  <a:cubicBezTo>
                    <a:pt x="116" y="85"/>
                    <a:pt x="116" y="85"/>
                    <a:pt x="116" y="85"/>
                  </a:cubicBezTo>
                  <a:lnTo>
                    <a:pt x="116" y="94"/>
                  </a:lnTo>
                  <a:close/>
                  <a:moveTo>
                    <a:pt x="120" y="8"/>
                  </a:moveTo>
                  <a:cubicBezTo>
                    <a:pt x="120" y="4"/>
                    <a:pt x="116" y="0"/>
                    <a:pt x="11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8" y="0"/>
                    <a:pt x="64" y="4"/>
                    <a:pt x="64" y="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7" y="37"/>
                    <a:pt x="37" y="35"/>
                    <a:pt x="36" y="35"/>
                  </a:cubicBezTo>
                  <a:cubicBezTo>
                    <a:pt x="35" y="34"/>
                    <a:pt x="34" y="34"/>
                    <a:pt x="33" y="3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1" y="46"/>
                    <a:pt x="21" y="47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4" y="60"/>
                    <a:pt x="34" y="60"/>
                  </a:cubicBezTo>
                  <a:cubicBezTo>
                    <a:pt x="35" y="60"/>
                    <a:pt x="35" y="59"/>
                    <a:pt x="36" y="59"/>
                  </a:cubicBezTo>
                  <a:cubicBezTo>
                    <a:pt x="37" y="58"/>
                    <a:pt x="37" y="57"/>
                    <a:pt x="36" y="5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7" y="49"/>
                    <a:pt x="68" y="49"/>
                    <a:pt x="68" y="48"/>
                  </a:cubicBezTo>
                  <a:cubicBezTo>
                    <a:pt x="68" y="48"/>
                    <a:pt x="69" y="47"/>
                    <a:pt x="69" y="47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3"/>
                    <a:pt x="68" y="62"/>
                    <a:pt x="66" y="62"/>
                  </a:cubicBezTo>
                  <a:cubicBezTo>
                    <a:pt x="65" y="62"/>
                    <a:pt x="64" y="63"/>
                    <a:pt x="64" y="6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8"/>
                    <a:pt x="68" y="102"/>
                    <a:pt x="73" y="102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16" y="102"/>
                    <a:pt x="120" y="98"/>
                    <a:pt x="120" y="94"/>
                  </a:cubicBezTo>
                  <a:lnTo>
                    <a:pt x="120" y="8"/>
                  </a:lnTo>
                  <a:close/>
                  <a:moveTo>
                    <a:pt x="24" y="94"/>
                  </a:moveTo>
                  <a:cubicBezTo>
                    <a:pt x="32" y="94"/>
                    <a:pt x="32" y="94"/>
                    <a:pt x="32" y="94"/>
                  </a:cubicBezTo>
                  <a:cubicBezTo>
                    <a:pt x="33" y="94"/>
                    <a:pt x="34" y="93"/>
                    <a:pt x="34" y="92"/>
                  </a:cubicBezTo>
                  <a:cubicBezTo>
                    <a:pt x="34" y="90"/>
                    <a:pt x="33" y="89"/>
                    <a:pt x="32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2" y="89"/>
                    <a:pt x="21" y="90"/>
                    <a:pt x="21" y="92"/>
                  </a:cubicBezTo>
                  <a:cubicBezTo>
                    <a:pt x="21" y="93"/>
                    <a:pt x="22" y="94"/>
                    <a:pt x="24" y="94"/>
                  </a:cubicBezTo>
                  <a:moveTo>
                    <a:pt x="51" y="94"/>
                  </a:moveTo>
                  <a:cubicBezTo>
                    <a:pt x="51" y="96"/>
                    <a:pt x="49" y="98"/>
                    <a:pt x="47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6" y="98"/>
                    <a:pt x="4" y="96"/>
                    <a:pt x="4" y="94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51" y="85"/>
                    <a:pt x="51" y="85"/>
                    <a:pt x="51" y="85"/>
                  </a:cubicBezTo>
                  <a:lnTo>
                    <a:pt x="51" y="94"/>
                  </a:lnTo>
                  <a:close/>
                  <a:moveTo>
                    <a:pt x="4" y="8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9" y="4"/>
                    <a:pt x="51" y="6"/>
                    <a:pt x="51" y="8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8"/>
                  </a:lnTo>
                  <a:close/>
                  <a:moveTo>
                    <a:pt x="56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3" y="65"/>
                    <a:pt x="83" y="67"/>
                    <a:pt x="84" y="67"/>
                  </a:cubicBezTo>
                  <a:cubicBezTo>
                    <a:pt x="85" y="68"/>
                    <a:pt x="85" y="68"/>
                    <a:pt x="86" y="68"/>
                  </a:cubicBezTo>
                  <a:cubicBezTo>
                    <a:pt x="86" y="68"/>
                    <a:pt x="87" y="68"/>
                    <a:pt x="87" y="6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9" y="56"/>
                    <a:pt x="99" y="56"/>
                    <a:pt x="99" y="55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6" y="42"/>
                    <a:pt x="85" y="42"/>
                    <a:pt x="84" y="43"/>
                  </a:cubicBezTo>
                  <a:cubicBezTo>
                    <a:pt x="83" y="44"/>
                    <a:pt x="83" y="45"/>
                    <a:pt x="84" y="46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2" y="53"/>
                    <a:pt x="52" y="54"/>
                  </a:cubicBezTo>
                  <a:cubicBezTo>
                    <a:pt x="52" y="54"/>
                    <a:pt x="51" y="55"/>
                    <a:pt x="51" y="55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5" y="40"/>
                    <a:pt x="56" y="39"/>
                    <a:pt x="56" y="3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4"/>
                    <a:pt x="52" y="0"/>
                    <a:pt x="4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8"/>
                    <a:pt x="4" y="102"/>
                    <a:pt x="8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52" y="102"/>
                    <a:pt x="56" y="98"/>
                    <a:pt x="56" y="94"/>
                  </a:cubicBezTo>
                  <a:lnTo>
                    <a:pt x="56" y="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9" name="Group 75">
            <a:extLst>
              <a:ext uri="{FF2B5EF4-FFF2-40B4-BE49-F238E27FC236}">
                <a16:creationId xmlns:a16="http://schemas.microsoft.com/office/drawing/2014/main" id="{3577FABC-8514-43AA-B4C0-B067659F12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8700" y="1539521"/>
            <a:ext cx="842963" cy="841375"/>
            <a:chOff x="3030" y="1080"/>
            <a:chExt cx="531" cy="530"/>
          </a:xfrm>
        </p:grpSpPr>
        <p:sp>
          <p:nvSpPr>
            <p:cNvPr id="90" name="AutoShape 74">
              <a:extLst>
                <a:ext uri="{FF2B5EF4-FFF2-40B4-BE49-F238E27FC236}">
                  <a16:creationId xmlns:a16="http://schemas.microsoft.com/office/drawing/2014/main" id="{3854404B-535B-4731-B238-C1F9AE756AB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0" y="108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76">
              <a:extLst>
                <a:ext uri="{FF2B5EF4-FFF2-40B4-BE49-F238E27FC236}">
                  <a16:creationId xmlns:a16="http://schemas.microsoft.com/office/drawing/2014/main" id="{DB3FB4F5-7FE4-4059-9AF8-71913EE9E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0" y="1080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7">
              <a:extLst>
                <a:ext uri="{FF2B5EF4-FFF2-40B4-BE49-F238E27FC236}">
                  <a16:creationId xmlns:a16="http://schemas.microsoft.com/office/drawing/2014/main" id="{4DC2758F-CD1F-49FF-892C-E2EE21790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" y="1098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8">
              <a:extLst>
                <a:ext uri="{FF2B5EF4-FFF2-40B4-BE49-F238E27FC236}">
                  <a16:creationId xmlns:a16="http://schemas.microsoft.com/office/drawing/2014/main" id="{0E97A01A-0147-4268-A043-553248BF61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" y="1216"/>
              <a:ext cx="308" cy="261"/>
            </a:xfrm>
            <a:custGeom>
              <a:avLst/>
              <a:gdLst>
                <a:gd name="T0" fmla="*/ 90 w 120"/>
                <a:gd name="T1" fmla="*/ 10 h 102"/>
                <a:gd name="T2" fmla="*/ 94 w 120"/>
                <a:gd name="T3" fmla="*/ 10 h 102"/>
                <a:gd name="T4" fmla="*/ 28 w 120"/>
                <a:gd name="T5" fmla="*/ 8 h 102"/>
                <a:gd name="T6" fmla="*/ 28 w 120"/>
                <a:gd name="T7" fmla="*/ 13 h 102"/>
                <a:gd name="T8" fmla="*/ 28 w 120"/>
                <a:gd name="T9" fmla="*/ 8 h 102"/>
                <a:gd name="T10" fmla="*/ 96 w 120"/>
                <a:gd name="T11" fmla="*/ 94 h 102"/>
                <a:gd name="T12" fmla="*/ 96 w 120"/>
                <a:gd name="T13" fmla="*/ 89 h 102"/>
                <a:gd name="T14" fmla="*/ 86 w 120"/>
                <a:gd name="T15" fmla="*/ 92 h 102"/>
                <a:gd name="T16" fmla="*/ 116 w 120"/>
                <a:gd name="T17" fmla="*/ 17 h 102"/>
                <a:gd name="T18" fmla="*/ 69 w 120"/>
                <a:gd name="T19" fmla="*/ 8 h 102"/>
                <a:gd name="T20" fmla="*/ 112 w 120"/>
                <a:gd name="T21" fmla="*/ 4 h 102"/>
                <a:gd name="T22" fmla="*/ 116 w 120"/>
                <a:gd name="T23" fmla="*/ 17 h 102"/>
                <a:gd name="T24" fmla="*/ 112 w 120"/>
                <a:gd name="T25" fmla="*/ 98 h 102"/>
                <a:gd name="T26" fmla="*/ 69 w 120"/>
                <a:gd name="T27" fmla="*/ 94 h 102"/>
                <a:gd name="T28" fmla="*/ 116 w 120"/>
                <a:gd name="T29" fmla="*/ 85 h 102"/>
                <a:gd name="T30" fmla="*/ 120 w 120"/>
                <a:gd name="T31" fmla="*/ 8 h 102"/>
                <a:gd name="T32" fmla="*/ 73 w 120"/>
                <a:gd name="T33" fmla="*/ 0 h 102"/>
                <a:gd name="T34" fmla="*/ 64 w 120"/>
                <a:gd name="T35" fmla="*/ 45 h 102"/>
                <a:gd name="T36" fmla="*/ 36 w 120"/>
                <a:gd name="T37" fmla="*/ 38 h 102"/>
                <a:gd name="T38" fmla="*/ 33 w 120"/>
                <a:gd name="T39" fmla="*/ 35 h 102"/>
                <a:gd name="T40" fmla="*/ 22 w 120"/>
                <a:gd name="T41" fmla="*/ 45 h 102"/>
                <a:gd name="T42" fmla="*/ 22 w 120"/>
                <a:gd name="T43" fmla="*/ 48 h 102"/>
                <a:gd name="T44" fmla="*/ 33 w 120"/>
                <a:gd name="T45" fmla="*/ 59 h 102"/>
                <a:gd name="T46" fmla="*/ 36 w 120"/>
                <a:gd name="T47" fmla="*/ 59 h 102"/>
                <a:gd name="T48" fmla="*/ 29 w 120"/>
                <a:gd name="T49" fmla="*/ 49 h 102"/>
                <a:gd name="T50" fmla="*/ 68 w 120"/>
                <a:gd name="T51" fmla="*/ 48 h 102"/>
                <a:gd name="T52" fmla="*/ 69 w 120"/>
                <a:gd name="T53" fmla="*/ 21 h 102"/>
                <a:gd name="T54" fmla="*/ 116 w 120"/>
                <a:gd name="T55" fmla="*/ 81 h 102"/>
                <a:gd name="T56" fmla="*/ 69 w 120"/>
                <a:gd name="T57" fmla="*/ 64 h 102"/>
                <a:gd name="T58" fmla="*/ 64 w 120"/>
                <a:gd name="T59" fmla="*/ 64 h 102"/>
                <a:gd name="T60" fmla="*/ 73 w 120"/>
                <a:gd name="T61" fmla="*/ 102 h 102"/>
                <a:gd name="T62" fmla="*/ 120 w 120"/>
                <a:gd name="T63" fmla="*/ 94 h 102"/>
                <a:gd name="T64" fmla="*/ 24 w 120"/>
                <a:gd name="T65" fmla="*/ 94 h 102"/>
                <a:gd name="T66" fmla="*/ 34 w 120"/>
                <a:gd name="T67" fmla="*/ 92 h 102"/>
                <a:gd name="T68" fmla="*/ 24 w 120"/>
                <a:gd name="T69" fmla="*/ 89 h 102"/>
                <a:gd name="T70" fmla="*/ 24 w 120"/>
                <a:gd name="T71" fmla="*/ 94 h 102"/>
                <a:gd name="T72" fmla="*/ 47 w 120"/>
                <a:gd name="T73" fmla="*/ 98 h 102"/>
                <a:gd name="T74" fmla="*/ 4 w 120"/>
                <a:gd name="T75" fmla="*/ 94 h 102"/>
                <a:gd name="T76" fmla="*/ 51 w 120"/>
                <a:gd name="T77" fmla="*/ 85 h 102"/>
                <a:gd name="T78" fmla="*/ 4 w 120"/>
                <a:gd name="T79" fmla="*/ 8 h 102"/>
                <a:gd name="T80" fmla="*/ 47 w 120"/>
                <a:gd name="T81" fmla="*/ 4 h 102"/>
                <a:gd name="T82" fmla="*/ 51 w 120"/>
                <a:gd name="T83" fmla="*/ 17 h 102"/>
                <a:gd name="T84" fmla="*/ 4 w 120"/>
                <a:gd name="T85" fmla="*/ 8 h 102"/>
                <a:gd name="T86" fmla="*/ 91 w 120"/>
                <a:gd name="T87" fmla="*/ 57 h 102"/>
                <a:gd name="T88" fmla="*/ 84 w 120"/>
                <a:gd name="T89" fmla="*/ 67 h 102"/>
                <a:gd name="T90" fmla="*/ 87 w 120"/>
                <a:gd name="T91" fmla="*/ 67 h 102"/>
                <a:gd name="T92" fmla="*/ 98 w 120"/>
                <a:gd name="T93" fmla="*/ 56 h 102"/>
                <a:gd name="T94" fmla="*/ 98 w 120"/>
                <a:gd name="T95" fmla="*/ 54 h 102"/>
                <a:gd name="T96" fmla="*/ 84 w 120"/>
                <a:gd name="T97" fmla="*/ 43 h 102"/>
                <a:gd name="T98" fmla="*/ 91 w 120"/>
                <a:gd name="T99" fmla="*/ 53 h 102"/>
                <a:gd name="T100" fmla="*/ 52 w 120"/>
                <a:gd name="T101" fmla="*/ 54 h 102"/>
                <a:gd name="T102" fmla="*/ 51 w 120"/>
                <a:gd name="T103" fmla="*/ 81 h 102"/>
                <a:gd name="T104" fmla="*/ 4 w 120"/>
                <a:gd name="T105" fmla="*/ 21 h 102"/>
                <a:gd name="T106" fmla="*/ 51 w 120"/>
                <a:gd name="T107" fmla="*/ 38 h 102"/>
                <a:gd name="T108" fmla="*/ 56 w 120"/>
                <a:gd name="T109" fmla="*/ 38 h 102"/>
                <a:gd name="T110" fmla="*/ 47 w 120"/>
                <a:gd name="T111" fmla="*/ 0 h 102"/>
                <a:gd name="T112" fmla="*/ 0 w 120"/>
                <a:gd name="T113" fmla="*/ 8 h 102"/>
                <a:gd name="T114" fmla="*/ 8 w 120"/>
                <a:gd name="T115" fmla="*/ 102 h 102"/>
                <a:gd name="T116" fmla="*/ 56 w 120"/>
                <a:gd name="T117" fmla="*/ 9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102">
                  <a:moveTo>
                    <a:pt x="92" y="8"/>
                  </a:moveTo>
                  <a:cubicBezTo>
                    <a:pt x="91" y="8"/>
                    <a:pt x="90" y="9"/>
                    <a:pt x="90" y="10"/>
                  </a:cubicBezTo>
                  <a:cubicBezTo>
                    <a:pt x="90" y="12"/>
                    <a:pt x="91" y="13"/>
                    <a:pt x="92" y="13"/>
                  </a:cubicBezTo>
                  <a:cubicBezTo>
                    <a:pt x="93" y="13"/>
                    <a:pt x="94" y="12"/>
                    <a:pt x="94" y="10"/>
                  </a:cubicBezTo>
                  <a:cubicBezTo>
                    <a:pt x="94" y="9"/>
                    <a:pt x="93" y="8"/>
                    <a:pt x="92" y="8"/>
                  </a:cubicBezTo>
                  <a:moveTo>
                    <a:pt x="28" y="8"/>
                  </a:moveTo>
                  <a:cubicBezTo>
                    <a:pt x="27" y="8"/>
                    <a:pt x="26" y="9"/>
                    <a:pt x="26" y="10"/>
                  </a:cubicBezTo>
                  <a:cubicBezTo>
                    <a:pt x="26" y="12"/>
                    <a:pt x="27" y="13"/>
                    <a:pt x="28" y="13"/>
                  </a:cubicBezTo>
                  <a:cubicBezTo>
                    <a:pt x="29" y="13"/>
                    <a:pt x="30" y="12"/>
                    <a:pt x="30" y="10"/>
                  </a:cubicBezTo>
                  <a:cubicBezTo>
                    <a:pt x="30" y="9"/>
                    <a:pt x="29" y="8"/>
                    <a:pt x="28" y="8"/>
                  </a:cubicBezTo>
                  <a:moveTo>
                    <a:pt x="88" y="94"/>
                  </a:moveTo>
                  <a:cubicBezTo>
                    <a:pt x="96" y="94"/>
                    <a:pt x="96" y="94"/>
                    <a:pt x="96" y="94"/>
                  </a:cubicBezTo>
                  <a:cubicBezTo>
                    <a:pt x="98" y="94"/>
                    <a:pt x="99" y="93"/>
                    <a:pt x="99" y="92"/>
                  </a:cubicBezTo>
                  <a:cubicBezTo>
                    <a:pt x="99" y="90"/>
                    <a:pt x="98" y="89"/>
                    <a:pt x="96" y="89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7" y="89"/>
                    <a:pt x="86" y="90"/>
                    <a:pt x="86" y="92"/>
                  </a:cubicBezTo>
                  <a:cubicBezTo>
                    <a:pt x="86" y="93"/>
                    <a:pt x="87" y="94"/>
                    <a:pt x="88" y="94"/>
                  </a:cubicBezTo>
                  <a:moveTo>
                    <a:pt x="116" y="17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6"/>
                    <a:pt x="71" y="4"/>
                    <a:pt x="73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4" y="4"/>
                    <a:pt x="116" y="6"/>
                    <a:pt x="116" y="8"/>
                  </a:cubicBezTo>
                  <a:lnTo>
                    <a:pt x="116" y="17"/>
                  </a:lnTo>
                  <a:close/>
                  <a:moveTo>
                    <a:pt x="116" y="94"/>
                  </a:moveTo>
                  <a:cubicBezTo>
                    <a:pt x="116" y="96"/>
                    <a:pt x="114" y="98"/>
                    <a:pt x="112" y="98"/>
                  </a:cubicBezTo>
                  <a:cubicBezTo>
                    <a:pt x="73" y="98"/>
                    <a:pt x="73" y="98"/>
                    <a:pt x="73" y="98"/>
                  </a:cubicBezTo>
                  <a:cubicBezTo>
                    <a:pt x="71" y="98"/>
                    <a:pt x="69" y="96"/>
                    <a:pt x="69" y="94"/>
                  </a:cubicBezTo>
                  <a:cubicBezTo>
                    <a:pt x="69" y="85"/>
                    <a:pt x="69" y="85"/>
                    <a:pt x="69" y="85"/>
                  </a:cubicBezTo>
                  <a:cubicBezTo>
                    <a:pt x="116" y="85"/>
                    <a:pt x="116" y="85"/>
                    <a:pt x="116" y="85"/>
                  </a:cubicBezTo>
                  <a:lnTo>
                    <a:pt x="116" y="94"/>
                  </a:lnTo>
                  <a:close/>
                  <a:moveTo>
                    <a:pt x="120" y="8"/>
                  </a:moveTo>
                  <a:cubicBezTo>
                    <a:pt x="120" y="4"/>
                    <a:pt x="116" y="0"/>
                    <a:pt x="11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8" y="0"/>
                    <a:pt x="64" y="4"/>
                    <a:pt x="64" y="8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7" y="37"/>
                    <a:pt x="37" y="35"/>
                    <a:pt x="36" y="35"/>
                  </a:cubicBezTo>
                  <a:cubicBezTo>
                    <a:pt x="35" y="34"/>
                    <a:pt x="34" y="34"/>
                    <a:pt x="33" y="3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1" y="46"/>
                    <a:pt x="21" y="47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4" y="60"/>
                    <a:pt x="34" y="60"/>
                  </a:cubicBezTo>
                  <a:cubicBezTo>
                    <a:pt x="35" y="60"/>
                    <a:pt x="35" y="59"/>
                    <a:pt x="36" y="59"/>
                  </a:cubicBezTo>
                  <a:cubicBezTo>
                    <a:pt x="37" y="58"/>
                    <a:pt x="37" y="57"/>
                    <a:pt x="36" y="5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7" y="49"/>
                    <a:pt x="68" y="49"/>
                    <a:pt x="68" y="48"/>
                  </a:cubicBezTo>
                  <a:cubicBezTo>
                    <a:pt x="68" y="48"/>
                    <a:pt x="69" y="47"/>
                    <a:pt x="69" y="47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3"/>
                    <a:pt x="68" y="62"/>
                    <a:pt x="66" y="62"/>
                  </a:cubicBezTo>
                  <a:cubicBezTo>
                    <a:pt x="65" y="62"/>
                    <a:pt x="64" y="63"/>
                    <a:pt x="64" y="6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8"/>
                    <a:pt x="68" y="102"/>
                    <a:pt x="73" y="102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16" y="102"/>
                    <a:pt x="120" y="98"/>
                    <a:pt x="120" y="94"/>
                  </a:cubicBezTo>
                  <a:lnTo>
                    <a:pt x="120" y="8"/>
                  </a:lnTo>
                  <a:close/>
                  <a:moveTo>
                    <a:pt x="24" y="94"/>
                  </a:moveTo>
                  <a:cubicBezTo>
                    <a:pt x="32" y="94"/>
                    <a:pt x="32" y="94"/>
                    <a:pt x="32" y="94"/>
                  </a:cubicBezTo>
                  <a:cubicBezTo>
                    <a:pt x="33" y="94"/>
                    <a:pt x="34" y="93"/>
                    <a:pt x="34" y="92"/>
                  </a:cubicBezTo>
                  <a:cubicBezTo>
                    <a:pt x="34" y="90"/>
                    <a:pt x="33" y="89"/>
                    <a:pt x="32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2" y="89"/>
                    <a:pt x="21" y="90"/>
                    <a:pt x="21" y="92"/>
                  </a:cubicBezTo>
                  <a:cubicBezTo>
                    <a:pt x="21" y="93"/>
                    <a:pt x="22" y="94"/>
                    <a:pt x="24" y="94"/>
                  </a:cubicBezTo>
                  <a:moveTo>
                    <a:pt x="51" y="94"/>
                  </a:moveTo>
                  <a:cubicBezTo>
                    <a:pt x="51" y="96"/>
                    <a:pt x="49" y="98"/>
                    <a:pt x="47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6" y="98"/>
                    <a:pt x="4" y="96"/>
                    <a:pt x="4" y="94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51" y="85"/>
                    <a:pt x="51" y="85"/>
                    <a:pt x="51" y="85"/>
                  </a:cubicBezTo>
                  <a:lnTo>
                    <a:pt x="51" y="94"/>
                  </a:lnTo>
                  <a:close/>
                  <a:moveTo>
                    <a:pt x="4" y="8"/>
                  </a:moveTo>
                  <a:cubicBezTo>
                    <a:pt x="4" y="6"/>
                    <a:pt x="6" y="4"/>
                    <a:pt x="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9" y="4"/>
                    <a:pt x="51" y="6"/>
                    <a:pt x="51" y="8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4" y="17"/>
                    <a:pt x="4" y="17"/>
                    <a:pt x="4" y="17"/>
                  </a:cubicBezTo>
                  <a:lnTo>
                    <a:pt x="4" y="8"/>
                  </a:lnTo>
                  <a:close/>
                  <a:moveTo>
                    <a:pt x="56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3" y="65"/>
                    <a:pt x="83" y="67"/>
                    <a:pt x="84" y="67"/>
                  </a:cubicBezTo>
                  <a:cubicBezTo>
                    <a:pt x="85" y="68"/>
                    <a:pt x="85" y="68"/>
                    <a:pt x="86" y="68"/>
                  </a:cubicBezTo>
                  <a:cubicBezTo>
                    <a:pt x="86" y="68"/>
                    <a:pt x="87" y="68"/>
                    <a:pt x="87" y="6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9" y="56"/>
                    <a:pt x="99" y="56"/>
                    <a:pt x="99" y="55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6" y="42"/>
                    <a:pt x="85" y="42"/>
                    <a:pt x="84" y="43"/>
                  </a:cubicBezTo>
                  <a:cubicBezTo>
                    <a:pt x="83" y="44"/>
                    <a:pt x="83" y="45"/>
                    <a:pt x="84" y="46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2" y="53"/>
                    <a:pt x="52" y="54"/>
                  </a:cubicBezTo>
                  <a:cubicBezTo>
                    <a:pt x="52" y="54"/>
                    <a:pt x="51" y="55"/>
                    <a:pt x="51" y="55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5" y="40"/>
                    <a:pt x="56" y="39"/>
                    <a:pt x="56" y="3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4"/>
                    <a:pt x="52" y="0"/>
                    <a:pt x="4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8"/>
                    <a:pt x="4" y="102"/>
                    <a:pt x="8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52" y="102"/>
                    <a:pt x="56" y="98"/>
                    <a:pt x="56" y="94"/>
                  </a:cubicBezTo>
                  <a:lnTo>
                    <a:pt x="56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81">
            <a:extLst>
              <a:ext uri="{FF2B5EF4-FFF2-40B4-BE49-F238E27FC236}">
                <a16:creationId xmlns:a16="http://schemas.microsoft.com/office/drawing/2014/main" id="{C7999786-BC64-4575-987C-324C7A1A99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900" y="1580796"/>
            <a:ext cx="760412" cy="760412"/>
            <a:chOff x="5059" y="1161"/>
            <a:chExt cx="479" cy="479"/>
          </a:xfrm>
        </p:grpSpPr>
        <p:sp>
          <p:nvSpPr>
            <p:cNvPr id="99" name="AutoShape 80">
              <a:extLst>
                <a:ext uri="{FF2B5EF4-FFF2-40B4-BE49-F238E27FC236}">
                  <a16:creationId xmlns:a16="http://schemas.microsoft.com/office/drawing/2014/main" id="{27494F3F-44B9-462C-9EE7-BA3CBD2A9F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9" y="1161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2">
              <a:extLst>
                <a:ext uri="{FF2B5EF4-FFF2-40B4-BE49-F238E27FC236}">
                  <a16:creationId xmlns:a16="http://schemas.microsoft.com/office/drawing/2014/main" id="{AF3F3F2C-D338-4CE1-9562-EB2D885256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1" y="1163"/>
              <a:ext cx="477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3">
              <a:extLst>
                <a:ext uri="{FF2B5EF4-FFF2-40B4-BE49-F238E27FC236}">
                  <a16:creationId xmlns:a16="http://schemas.microsoft.com/office/drawing/2014/main" id="{B6F48B9B-97BD-469A-B395-B596BB6FE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4" y="1262"/>
              <a:ext cx="293" cy="292"/>
            </a:xfrm>
            <a:custGeom>
              <a:avLst/>
              <a:gdLst>
                <a:gd name="T0" fmla="*/ 102 w 119"/>
                <a:gd name="T1" fmla="*/ 75 h 119"/>
                <a:gd name="T2" fmla="*/ 104 w 119"/>
                <a:gd name="T3" fmla="*/ 30 h 119"/>
                <a:gd name="T4" fmla="*/ 112 w 119"/>
                <a:gd name="T5" fmla="*/ 29 h 119"/>
                <a:gd name="T6" fmla="*/ 91 w 119"/>
                <a:gd name="T7" fmla="*/ 90 h 119"/>
                <a:gd name="T8" fmla="*/ 100 w 119"/>
                <a:gd name="T9" fmla="*/ 78 h 119"/>
                <a:gd name="T10" fmla="*/ 96 w 119"/>
                <a:gd name="T11" fmla="*/ 108 h 119"/>
                <a:gd name="T12" fmla="*/ 12 w 119"/>
                <a:gd name="T13" fmla="*/ 108 h 119"/>
                <a:gd name="T14" fmla="*/ 66 w 119"/>
                <a:gd name="T15" fmla="*/ 3 h 119"/>
                <a:gd name="T16" fmla="*/ 68 w 119"/>
                <a:gd name="T17" fmla="*/ 32 h 119"/>
                <a:gd name="T18" fmla="*/ 96 w 119"/>
                <a:gd name="T19" fmla="*/ 46 h 119"/>
                <a:gd name="T20" fmla="*/ 87 w 119"/>
                <a:gd name="T21" fmla="*/ 73 h 119"/>
                <a:gd name="T22" fmla="*/ 89 w 119"/>
                <a:gd name="T23" fmla="*/ 97 h 119"/>
                <a:gd name="T24" fmla="*/ 96 w 119"/>
                <a:gd name="T25" fmla="*/ 90 h 119"/>
                <a:gd name="T26" fmla="*/ 87 w 119"/>
                <a:gd name="T27" fmla="*/ 115 h 119"/>
                <a:gd name="T28" fmla="*/ 3 w 119"/>
                <a:gd name="T29" fmla="*/ 11 h 119"/>
                <a:gd name="T30" fmla="*/ 8 w 119"/>
                <a:gd name="T31" fmla="*/ 109 h 119"/>
                <a:gd name="T32" fmla="*/ 87 w 119"/>
                <a:gd name="T33" fmla="*/ 111 h 119"/>
                <a:gd name="T34" fmla="*/ 70 w 119"/>
                <a:gd name="T35" fmla="*/ 6 h 119"/>
                <a:gd name="T36" fmla="*/ 70 w 119"/>
                <a:gd name="T37" fmla="*/ 29 h 119"/>
                <a:gd name="T38" fmla="*/ 113 w 119"/>
                <a:gd name="T39" fmla="*/ 25 h 119"/>
                <a:gd name="T40" fmla="*/ 108 w 119"/>
                <a:gd name="T41" fmla="*/ 24 h 119"/>
                <a:gd name="T42" fmla="*/ 99 w 119"/>
                <a:gd name="T43" fmla="*/ 34 h 119"/>
                <a:gd name="T44" fmla="*/ 99 w 119"/>
                <a:gd name="T45" fmla="*/ 30 h 119"/>
                <a:gd name="T46" fmla="*/ 69 w 119"/>
                <a:gd name="T47" fmla="*/ 0 h 119"/>
                <a:gd name="T48" fmla="*/ 10 w 119"/>
                <a:gd name="T49" fmla="*/ 0 h 119"/>
                <a:gd name="T50" fmla="*/ 8 w 119"/>
                <a:gd name="T51" fmla="*/ 7 h 119"/>
                <a:gd name="T52" fmla="*/ 0 w 119"/>
                <a:gd name="T53" fmla="*/ 9 h 119"/>
                <a:gd name="T54" fmla="*/ 1 w 119"/>
                <a:gd name="T55" fmla="*/ 119 h 119"/>
                <a:gd name="T56" fmla="*/ 91 w 119"/>
                <a:gd name="T57" fmla="*/ 117 h 119"/>
                <a:gd name="T58" fmla="*/ 97 w 119"/>
                <a:gd name="T59" fmla="*/ 111 h 119"/>
                <a:gd name="T60" fmla="*/ 99 w 119"/>
                <a:gd name="T61" fmla="*/ 85 h 119"/>
                <a:gd name="T62" fmla="*/ 105 w 119"/>
                <a:gd name="T63" fmla="*/ 78 h 119"/>
                <a:gd name="T64" fmla="*/ 113 w 119"/>
                <a:gd name="T65" fmla="*/ 2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119">
                  <a:moveTo>
                    <a:pt x="115" y="34"/>
                  </a:moveTo>
                  <a:cubicBezTo>
                    <a:pt x="102" y="75"/>
                    <a:pt x="102" y="75"/>
                    <a:pt x="102" y="75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105" y="28"/>
                    <a:pt x="107" y="27"/>
                    <a:pt x="109" y="28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4" y="29"/>
                    <a:pt x="116" y="32"/>
                    <a:pt x="115" y="34"/>
                  </a:cubicBezTo>
                  <a:moveTo>
                    <a:pt x="91" y="90"/>
                  </a:moveTo>
                  <a:cubicBezTo>
                    <a:pt x="91" y="75"/>
                    <a:pt x="91" y="75"/>
                    <a:pt x="91" y="75"/>
                  </a:cubicBezTo>
                  <a:cubicBezTo>
                    <a:pt x="100" y="78"/>
                    <a:pt x="100" y="78"/>
                    <a:pt x="100" y="78"/>
                  </a:cubicBezTo>
                  <a:lnTo>
                    <a:pt x="91" y="90"/>
                  </a:lnTo>
                  <a:close/>
                  <a:moveTo>
                    <a:pt x="96" y="108"/>
                  </a:moveTo>
                  <a:cubicBezTo>
                    <a:pt x="96" y="108"/>
                    <a:pt x="96" y="108"/>
                    <a:pt x="96" y="108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1"/>
                    <a:pt x="67" y="32"/>
                    <a:pt x="68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8" y="96"/>
                    <a:pt x="88" y="96"/>
                    <a:pt x="88" y="96"/>
                  </a:cubicBezTo>
                  <a:cubicBezTo>
                    <a:pt x="88" y="96"/>
                    <a:pt x="88" y="97"/>
                    <a:pt x="89" y="97"/>
                  </a:cubicBezTo>
                  <a:cubicBezTo>
                    <a:pt x="90" y="98"/>
                    <a:pt x="91" y="97"/>
                    <a:pt x="91" y="97"/>
                  </a:cubicBezTo>
                  <a:cubicBezTo>
                    <a:pt x="96" y="90"/>
                    <a:pt x="96" y="90"/>
                    <a:pt x="96" y="90"/>
                  </a:cubicBezTo>
                  <a:lnTo>
                    <a:pt x="96" y="108"/>
                  </a:lnTo>
                  <a:close/>
                  <a:moveTo>
                    <a:pt x="87" y="115"/>
                  </a:moveTo>
                  <a:cubicBezTo>
                    <a:pt x="3" y="115"/>
                    <a:pt x="3" y="115"/>
                    <a:pt x="3" y="11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11"/>
                    <a:pt x="9" y="111"/>
                    <a:pt x="10" y="111"/>
                  </a:cubicBezTo>
                  <a:cubicBezTo>
                    <a:pt x="87" y="111"/>
                    <a:pt x="87" y="111"/>
                    <a:pt x="87" y="111"/>
                  </a:cubicBezTo>
                  <a:lnTo>
                    <a:pt x="87" y="115"/>
                  </a:lnTo>
                  <a:close/>
                  <a:moveTo>
                    <a:pt x="70" y="6"/>
                  </a:moveTo>
                  <a:cubicBezTo>
                    <a:pt x="93" y="29"/>
                    <a:pt x="93" y="29"/>
                    <a:pt x="93" y="29"/>
                  </a:cubicBezTo>
                  <a:cubicBezTo>
                    <a:pt x="70" y="29"/>
                    <a:pt x="70" y="29"/>
                    <a:pt x="70" y="29"/>
                  </a:cubicBezTo>
                  <a:lnTo>
                    <a:pt x="70" y="6"/>
                  </a:lnTo>
                  <a:close/>
                  <a:moveTo>
                    <a:pt x="113" y="25"/>
                  </a:moveTo>
                  <a:cubicBezTo>
                    <a:pt x="110" y="24"/>
                    <a:pt x="110" y="24"/>
                    <a:pt x="110" y="24"/>
                  </a:cubicBezTo>
                  <a:cubicBezTo>
                    <a:pt x="110" y="24"/>
                    <a:pt x="109" y="24"/>
                    <a:pt x="108" y="24"/>
                  </a:cubicBezTo>
                  <a:cubicBezTo>
                    <a:pt x="105" y="24"/>
                    <a:pt x="102" y="26"/>
                    <a:pt x="101" y="29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29"/>
                    <a:pt x="99" y="29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8" y="0"/>
                    <a:pt x="6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0"/>
                    <a:pt x="8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8"/>
                    <a:pt x="0" y="119"/>
                    <a:pt x="1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19"/>
                    <a:pt x="91" y="118"/>
                    <a:pt x="91" y="117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99" y="111"/>
                    <a:pt x="99" y="111"/>
                    <a:pt x="99" y="109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1"/>
                    <a:pt x="117" y="27"/>
                    <a:pt x="113" y="2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4">
              <a:extLst>
                <a:ext uri="{FF2B5EF4-FFF2-40B4-BE49-F238E27FC236}">
                  <a16:creationId xmlns:a16="http://schemas.microsoft.com/office/drawing/2014/main" id="{E8DE2E5F-7CC5-4907-8FBA-1D7E2D3EF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8" y="1286"/>
              <a:ext cx="74" cy="54"/>
            </a:xfrm>
            <a:custGeom>
              <a:avLst/>
              <a:gdLst>
                <a:gd name="T0" fmla="*/ 4 w 30"/>
                <a:gd name="T1" fmla="*/ 4 h 22"/>
                <a:gd name="T2" fmla="*/ 26 w 30"/>
                <a:gd name="T3" fmla="*/ 4 h 22"/>
                <a:gd name="T4" fmla="*/ 26 w 30"/>
                <a:gd name="T5" fmla="*/ 19 h 22"/>
                <a:gd name="T6" fmla="*/ 4 w 30"/>
                <a:gd name="T7" fmla="*/ 19 h 22"/>
                <a:gd name="T8" fmla="*/ 4 w 30"/>
                <a:gd name="T9" fmla="*/ 4 h 22"/>
                <a:gd name="T10" fmla="*/ 2 w 30"/>
                <a:gd name="T11" fmla="*/ 22 h 22"/>
                <a:gd name="T12" fmla="*/ 28 w 30"/>
                <a:gd name="T13" fmla="*/ 22 h 22"/>
                <a:gd name="T14" fmla="*/ 30 w 30"/>
                <a:gd name="T15" fmla="*/ 20 h 22"/>
                <a:gd name="T16" fmla="*/ 30 w 30"/>
                <a:gd name="T17" fmla="*/ 2 h 22"/>
                <a:gd name="T18" fmla="*/ 28 w 30"/>
                <a:gd name="T19" fmla="*/ 0 h 22"/>
                <a:gd name="T20" fmla="*/ 2 w 30"/>
                <a:gd name="T21" fmla="*/ 0 h 22"/>
                <a:gd name="T22" fmla="*/ 0 w 30"/>
                <a:gd name="T23" fmla="*/ 2 h 22"/>
                <a:gd name="T24" fmla="*/ 0 w 30"/>
                <a:gd name="T25" fmla="*/ 20 h 22"/>
                <a:gd name="T26" fmla="*/ 2 w 30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2">
                  <a:moveTo>
                    <a:pt x="4" y="4"/>
                  </a:moveTo>
                  <a:cubicBezTo>
                    <a:pt x="26" y="4"/>
                    <a:pt x="26" y="4"/>
                    <a:pt x="26" y="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4" y="19"/>
                    <a:pt x="4" y="19"/>
                    <a:pt x="4" y="19"/>
                  </a:cubicBezTo>
                  <a:lnTo>
                    <a:pt x="4" y="4"/>
                  </a:lnTo>
                  <a:close/>
                  <a:moveTo>
                    <a:pt x="2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30" y="21"/>
                    <a:pt x="30" y="2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85">
              <a:extLst>
                <a:ext uri="{FF2B5EF4-FFF2-40B4-BE49-F238E27FC236}">
                  <a16:creationId xmlns:a16="http://schemas.microsoft.com/office/drawing/2014/main" id="{F4141D9A-3552-4EBA-AB2D-54C98CBA7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1375"/>
              <a:ext cx="145" cy="7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1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1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2"/>
                    <a:pt x="59" y="1"/>
                  </a:cubicBezTo>
                  <a:cubicBezTo>
                    <a:pt x="59" y="0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6">
              <a:extLst>
                <a:ext uri="{FF2B5EF4-FFF2-40B4-BE49-F238E27FC236}">
                  <a16:creationId xmlns:a16="http://schemas.microsoft.com/office/drawing/2014/main" id="{D00D1F51-D1C5-4083-821A-B55A73B2E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1407"/>
              <a:ext cx="145" cy="7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1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1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3"/>
                    <a:pt x="59" y="1"/>
                  </a:cubicBezTo>
                  <a:cubicBezTo>
                    <a:pt x="59" y="0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7">
              <a:extLst>
                <a:ext uri="{FF2B5EF4-FFF2-40B4-BE49-F238E27FC236}">
                  <a16:creationId xmlns:a16="http://schemas.microsoft.com/office/drawing/2014/main" id="{DC65064D-2704-403F-81A8-A9B9C08AA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1439"/>
              <a:ext cx="145" cy="7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2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2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3"/>
                    <a:pt x="59" y="2"/>
                  </a:cubicBezTo>
                  <a:cubicBezTo>
                    <a:pt x="59" y="1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88">
              <a:extLst>
                <a:ext uri="{FF2B5EF4-FFF2-40B4-BE49-F238E27FC236}">
                  <a16:creationId xmlns:a16="http://schemas.microsoft.com/office/drawing/2014/main" id="{6E2D6F2A-F145-4210-8AC0-840499FF6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1471"/>
              <a:ext cx="145" cy="9"/>
            </a:xfrm>
            <a:custGeom>
              <a:avLst/>
              <a:gdLst>
                <a:gd name="T0" fmla="*/ 59 w 59"/>
                <a:gd name="T1" fmla="*/ 2 h 4"/>
                <a:gd name="T2" fmla="*/ 57 w 59"/>
                <a:gd name="T3" fmla="*/ 0 h 4"/>
                <a:gd name="T4" fmla="*/ 2 w 59"/>
                <a:gd name="T5" fmla="*/ 0 h 4"/>
                <a:gd name="T6" fmla="*/ 0 w 59"/>
                <a:gd name="T7" fmla="*/ 2 h 4"/>
                <a:gd name="T8" fmla="*/ 2 w 59"/>
                <a:gd name="T9" fmla="*/ 4 h 4"/>
                <a:gd name="T10" fmla="*/ 57 w 59"/>
                <a:gd name="T11" fmla="*/ 4 h 4"/>
                <a:gd name="T12" fmla="*/ 59 w 5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">
                  <a:moveTo>
                    <a:pt x="59" y="2"/>
                  </a:moveTo>
                  <a:cubicBezTo>
                    <a:pt x="59" y="1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8" y="4"/>
                    <a:pt x="59" y="3"/>
                    <a:pt x="59" y="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9">
              <a:extLst>
                <a:ext uri="{FF2B5EF4-FFF2-40B4-BE49-F238E27FC236}">
                  <a16:creationId xmlns:a16="http://schemas.microsoft.com/office/drawing/2014/main" id="{65569BB2-3A92-4894-8FCD-8859517E4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7" y="1502"/>
              <a:ext cx="74" cy="10"/>
            </a:xfrm>
            <a:custGeom>
              <a:avLst/>
              <a:gdLst>
                <a:gd name="T0" fmla="*/ 29 w 30"/>
                <a:gd name="T1" fmla="*/ 0 h 4"/>
                <a:gd name="T2" fmla="*/ 1 w 30"/>
                <a:gd name="T3" fmla="*/ 0 h 4"/>
                <a:gd name="T4" fmla="*/ 0 w 30"/>
                <a:gd name="T5" fmla="*/ 2 h 4"/>
                <a:gd name="T6" fmla="*/ 1 w 30"/>
                <a:gd name="T7" fmla="*/ 4 h 4"/>
                <a:gd name="T8" fmla="*/ 29 w 30"/>
                <a:gd name="T9" fmla="*/ 4 h 4"/>
                <a:gd name="T10" fmla="*/ 30 w 30"/>
                <a:gd name="T11" fmla="*/ 2 h 4"/>
                <a:gd name="T12" fmla="*/ 29 w 3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">
                  <a:moveTo>
                    <a:pt x="2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30" y="1"/>
                    <a:pt x="30" y="0"/>
                    <a:pt x="2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8" name="Group 92">
            <a:extLst>
              <a:ext uri="{FF2B5EF4-FFF2-40B4-BE49-F238E27FC236}">
                <a16:creationId xmlns:a16="http://schemas.microsoft.com/office/drawing/2014/main" id="{6FFAD68A-2626-45D3-B434-9274C60E9D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9985" y="1539521"/>
            <a:ext cx="841375" cy="841375"/>
            <a:chOff x="4447" y="1059"/>
            <a:chExt cx="530" cy="530"/>
          </a:xfrm>
        </p:grpSpPr>
        <p:sp>
          <p:nvSpPr>
            <p:cNvPr id="109" name="AutoShape 91">
              <a:extLst>
                <a:ext uri="{FF2B5EF4-FFF2-40B4-BE49-F238E27FC236}">
                  <a16:creationId xmlns:a16="http://schemas.microsoft.com/office/drawing/2014/main" id="{5256F0C1-A9D6-430D-B696-0B50EBC05D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7" y="105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Oval 93">
              <a:extLst>
                <a:ext uri="{FF2B5EF4-FFF2-40B4-BE49-F238E27FC236}">
                  <a16:creationId xmlns:a16="http://schemas.microsoft.com/office/drawing/2014/main" id="{5F8B60B1-53EE-4F73-816F-7796B45B2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7" y="105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94">
              <a:extLst>
                <a:ext uri="{FF2B5EF4-FFF2-40B4-BE49-F238E27FC236}">
                  <a16:creationId xmlns:a16="http://schemas.microsoft.com/office/drawing/2014/main" id="{1A2BAA7F-D0D2-42C5-A3FE-08FE5C0B0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5" y="107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5">
              <a:extLst>
                <a:ext uri="{FF2B5EF4-FFF2-40B4-BE49-F238E27FC236}">
                  <a16:creationId xmlns:a16="http://schemas.microsoft.com/office/drawing/2014/main" id="{65EC3EFF-DC18-4D9E-8E26-09DBB683C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3" y="1179"/>
              <a:ext cx="304" cy="305"/>
            </a:xfrm>
            <a:custGeom>
              <a:avLst/>
              <a:gdLst>
                <a:gd name="T0" fmla="*/ 102 w 119"/>
                <a:gd name="T1" fmla="*/ 75 h 119"/>
                <a:gd name="T2" fmla="*/ 104 w 119"/>
                <a:gd name="T3" fmla="*/ 30 h 119"/>
                <a:gd name="T4" fmla="*/ 112 w 119"/>
                <a:gd name="T5" fmla="*/ 29 h 119"/>
                <a:gd name="T6" fmla="*/ 91 w 119"/>
                <a:gd name="T7" fmla="*/ 90 h 119"/>
                <a:gd name="T8" fmla="*/ 100 w 119"/>
                <a:gd name="T9" fmla="*/ 78 h 119"/>
                <a:gd name="T10" fmla="*/ 96 w 119"/>
                <a:gd name="T11" fmla="*/ 108 h 119"/>
                <a:gd name="T12" fmla="*/ 12 w 119"/>
                <a:gd name="T13" fmla="*/ 108 h 119"/>
                <a:gd name="T14" fmla="*/ 66 w 119"/>
                <a:gd name="T15" fmla="*/ 3 h 119"/>
                <a:gd name="T16" fmla="*/ 68 w 119"/>
                <a:gd name="T17" fmla="*/ 32 h 119"/>
                <a:gd name="T18" fmla="*/ 96 w 119"/>
                <a:gd name="T19" fmla="*/ 46 h 119"/>
                <a:gd name="T20" fmla="*/ 87 w 119"/>
                <a:gd name="T21" fmla="*/ 73 h 119"/>
                <a:gd name="T22" fmla="*/ 89 w 119"/>
                <a:gd name="T23" fmla="*/ 97 h 119"/>
                <a:gd name="T24" fmla="*/ 96 w 119"/>
                <a:gd name="T25" fmla="*/ 90 h 119"/>
                <a:gd name="T26" fmla="*/ 87 w 119"/>
                <a:gd name="T27" fmla="*/ 115 h 119"/>
                <a:gd name="T28" fmla="*/ 3 w 119"/>
                <a:gd name="T29" fmla="*/ 11 h 119"/>
                <a:gd name="T30" fmla="*/ 8 w 119"/>
                <a:gd name="T31" fmla="*/ 109 h 119"/>
                <a:gd name="T32" fmla="*/ 87 w 119"/>
                <a:gd name="T33" fmla="*/ 111 h 119"/>
                <a:gd name="T34" fmla="*/ 70 w 119"/>
                <a:gd name="T35" fmla="*/ 6 h 119"/>
                <a:gd name="T36" fmla="*/ 70 w 119"/>
                <a:gd name="T37" fmla="*/ 29 h 119"/>
                <a:gd name="T38" fmla="*/ 113 w 119"/>
                <a:gd name="T39" fmla="*/ 25 h 119"/>
                <a:gd name="T40" fmla="*/ 108 w 119"/>
                <a:gd name="T41" fmla="*/ 24 h 119"/>
                <a:gd name="T42" fmla="*/ 99 w 119"/>
                <a:gd name="T43" fmla="*/ 34 h 119"/>
                <a:gd name="T44" fmla="*/ 99 w 119"/>
                <a:gd name="T45" fmla="*/ 30 h 119"/>
                <a:gd name="T46" fmla="*/ 69 w 119"/>
                <a:gd name="T47" fmla="*/ 0 h 119"/>
                <a:gd name="T48" fmla="*/ 10 w 119"/>
                <a:gd name="T49" fmla="*/ 0 h 119"/>
                <a:gd name="T50" fmla="*/ 8 w 119"/>
                <a:gd name="T51" fmla="*/ 7 h 119"/>
                <a:gd name="T52" fmla="*/ 0 w 119"/>
                <a:gd name="T53" fmla="*/ 9 h 119"/>
                <a:gd name="T54" fmla="*/ 1 w 119"/>
                <a:gd name="T55" fmla="*/ 119 h 119"/>
                <a:gd name="T56" fmla="*/ 91 w 119"/>
                <a:gd name="T57" fmla="*/ 117 h 119"/>
                <a:gd name="T58" fmla="*/ 97 w 119"/>
                <a:gd name="T59" fmla="*/ 111 h 119"/>
                <a:gd name="T60" fmla="*/ 99 w 119"/>
                <a:gd name="T61" fmla="*/ 85 h 119"/>
                <a:gd name="T62" fmla="*/ 105 w 119"/>
                <a:gd name="T63" fmla="*/ 78 h 119"/>
                <a:gd name="T64" fmla="*/ 113 w 119"/>
                <a:gd name="T65" fmla="*/ 2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119">
                  <a:moveTo>
                    <a:pt x="115" y="34"/>
                  </a:moveTo>
                  <a:cubicBezTo>
                    <a:pt x="102" y="75"/>
                    <a:pt x="102" y="75"/>
                    <a:pt x="102" y="75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105" y="28"/>
                    <a:pt x="107" y="27"/>
                    <a:pt x="109" y="28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4" y="29"/>
                    <a:pt x="116" y="32"/>
                    <a:pt x="115" y="34"/>
                  </a:cubicBezTo>
                  <a:moveTo>
                    <a:pt x="91" y="90"/>
                  </a:moveTo>
                  <a:cubicBezTo>
                    <a:pt x="91" y="75"/>
                    <a:pt x="91" y="75"/>
                    <a:pt x="91" y="75"/>
                  </a:cubicBezTo>
                  <a:cubicBezTo>
                    <a:pt x="100" y="78"/>
                    <a:pt x="100" y="78"/>
                    <a:pt x="100" y="78"/>
                  </a:cubicBezTo>
                  <a:lnTo>
                    <a:pt x="91" y="90"/>
                  </a:lnTo>
                  <a:close/>
                  <a:moveTo>
                    <a:pt x="96" y="108"/>
                  </a:moveTo>
                  <a:cubicBezTo>
                    <a:pt x="96" y="108"/>
                    <a:pt x="96" y="108"/>
                    <a:pt x="96" y="108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1"/>
                    <a:pt x="67" y="32"/>
                    <a:pt x="68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8" y="96"/>
                    <a:pt x="88" y="96"/>
                    <a:pt x="88" y="96"/>
                  </a:cubicBezTo>
                  <a:cubicBezTo>
                    <a:pt x="88" y="96"/>
                    <a:pt x="88" y="97"/>
                    <a:pt x="89" y="97"/>
                  </a:cubicBezTo>
                  <a:cubicBezTo>
                    <a:pt x="90" y="98"/>
                    <a:pt x="91" y="97"/>
                    <a:pt x="91" y="97"/>
                  </a:cubicBezTo>
                  <a:cubicBezTo>
                    <a:pt x="96" y="90"/>
                    <a:pt x="96" y="90"/>
                    <a:pt x="96" y="90"/>
                  </a:cubicBezTo>
                  <a:lnTo>
                    <a:pt x="96" y="108"/>
                  </a:lnTo>
                  <a:close/>
                  <a:moveTo>
                    <a:pt x="87" y="115"/>
                  </a:moveTo>
                  <a:cubicBezTo>
                    <a:pt x="3" y="115"/>
                    <a:pt x="3" y="115"/>
                    <a:pt x="3" y="11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11"/>
                    <a:pt x="9" y="111"/>
                    <a:pt x="10" y="111"/>
                  </a:cubicBezTo>
                  <a:cubicBezTo>
                    <a:pt x="87" y="111"/>
                    <a:pt x="87" y="111"/>
                    <a:pt x="87" y="111"/>
                  </a:cubicBezTo>
                  <a:lnTo>
                    <a:pt x="87" y="115"/>
                  </a:lnTo>
                  <a:close/>
                  <a:moveTo>
                    <a:pt x="70" y="6"/>
                  </a:moveTo>
                  <a:cubicBezTo>
                    <a:pt x="93" y="29"/>
                    <a:pt x="93" y="29"/>
                    <a:pt x="93" y="29"/>
                  </a:cubicBezTo>
                  <a:cubicBezTo>
                    <a:pt x="70" y="29"/>
                    <a:pt x="70" y="29"/>
                    <a:pt x="70" y="29"/>
                  </a:cubicBezTo>
                  <a:lnTo>
                    <a:pt x="70" y="6"/>
                  </a:lnTo>
                  <a:close/>
                  <a:moveTo>
                    <a:pt x="113" y="25"/>
                  </a:moveTo>
                  <a:cubicBezTo>
                    <a:pt x="110" y="24"/>
                    <a:pt x="110" y="24"/>
                    <a:pt x="110" y="24"/>
                  </a:cubicBezTo>
                  <a:cubicBezTo>
                    <a:pt x="110" y="24"/>
                    <a:pt x="109" y="24"/>
                    <a:pt x="108" y="24"/>
                  </a:cubicBezTo>
                  <a:cubicBezTo>
                    <a:pt x="105" y="24"/>
                    <a:pt x="102" y="26"/>
                    <a:pt x="101" y="29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29"/>
                    <a:pt x="99" y="29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8" y="0"/>
                    <a:pt x="6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0"/>
                    <a:pt x="8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8"/>
                    <a:pt x="0" y="119"/>
                    <a:pt x="1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90" y="119"/>
                    <a:pt x="91" y="118"/>
                    <a:pt x="91" y="117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99" y="111"/>
                    <a:pt x="99" y="111"/>
                    <a:pt x="99" y="109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1"/>
                    <a:pt x="117" y="27"/>
                    <a:pt x="113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6">
              <a:extLst>
                <a:ext uri="{FF2B5EF4-FFF2-40B4-BE49-F238E27FC236}">
                  <a16:creationId xmlns:a16="http://schemas.microsoft.com/office/drawing/2014/main" id="{24EBED5E-2978-4E73-8F54-C51F96B17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9" y="1205"/>
              <a:ext cx="77" cy="56"/>
            </a:xfrm>
            <a:custGeom>
              <a:avLst/>
              <a:gdLst>
                <a:gd name="T0" fmla="*/ 4 w 30"/>
                <a:gd name="T1" fmla="*/ 4 h 22"/>
                <a:gd name="T2" fmla="*/ 26 w 30"/>
                <a:gd name="T3" fmla="*/ 4 h 22"/>
                <a:gd name="T4" fmla="*/ 26 w 30"/>
                <a:gd name="T5" fmla="*/ 19 h 22"/>
                <a:gd name="T6" fmla="*/ 4 w 30"/>
                <a:gd name="T7" fmla="*/ 19 h 22"/>
                <a:gd name="T8" fmla="*/ 4 w 30"/>
                <a:gd name="T9" fmla="*/ 4 h 22"/>
                <a:gd name="T10" fmla="*/ 2 w 30"/>
                <a:gd name="T11" fmla="*/ 22 h 22"/>
                <a:gd name="T12" fmla="*/ 28 w 30"/>
                <a:gd name="T13" fmla="*/ 22 h 22"/>
                <a:gd name="T14" fmla="*/ 30 w 30"/>
                <a:gd name="T15" fmla="*/ 20 h 22"/>
                <a:gd name="T16" fmla="*/ 30 w 30"/>
                <a:gd name="T17" fmla="*/ 2 h 22"/>
                <a:gd name="T18" fmla="*/ 28 w 30"/>
                <a:gd name="T19" fmla="*/ 0 h 22"/>
                <a:gd name="T20" fmla="*/ 2 w 30"/>
                <a:gd name="T21" fmla="*/ 0 h 22"/>
                <a:gd name="T22" fmla="*/ 0 w 30"/>
                <a:gd name="T23" fmla="*/ 2 h 22"/>
                <a:gd name="T24" fmla="*/ 0 w 30"/>
                <a:gd name="T25" fmla="*/ 20 h 22"/>
                <a:gd name="T26" fmla="*/ 2 w 30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2">
                  <a:moveTo>
                    <a:pt x="4" y="4"/>
                  </a:moveTo>
                  <a:cubicBezTo>
                    <a:pt x="26" y="4"/>
                    <a:pt x="26" y="4"/>
                    <a:pt x="26" y="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4" y="19"/>
                    <a:pt x="4" y="19"/>
                    <a:pt x="4" y="19"/>
                  </a:cubicBezTo>
                  <a:lnTo>
                    <a:pt x="4" y="4"/>
                  </a:lnTo>
                  <a:close/>
                  <a:moveTo>
                    <a:pt x="2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30" y="21"/>
                    <a:pt x="30" y="2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7">
              <a:extLst>
                <a:ext uri="{FF2B5EF4-FFF2-40B4-BE49-F238E27FC236}">
                  <a16:creationId xmlns:a16="http://schemas.microsoft.com/office/drawing/2014/main" id="{316D44FC-14FE-44C2-945D-97C8C1D2B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" y="1297"/>
              <a:ext cx="151" cy="8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1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1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2"/>
                    <a:pt x="59" y="1"/>
                  </a:cubicBezTo>
                  <a:cubicBezTo>
                    <a:pt x="59" y="0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8">
              <a:extLst>
                <a:ext uri="{FF2B5EF4-FFF2-40B4-BE49-F238E27FC236}">
                  <a16:creationId xmlns:a16="http://schemas.microsoft.com/office/drawing/2014/main" id="{2EA74BF6-8A8E-40DF-8FF4-4412576D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" y="1330"/>
              <a:ext cx="151" cy="8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1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1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3"/>
                    <a:pt x="59" y="1"/>
                  </a:cubicBezTo>
                  <a:cubicBezTo>
                    <a:pt x="59" y="0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9">
              <a:extLst>
                <a:ext uri="{FF2B5EF4-FFF2-40B4-BE49-F238E27FC236}">
                  <a16:creationId xmlns:a16="http://schemas.microsoft.com/office/drawing/2014/main" id="{4BB6DF4D-D2C3-4875-B175-E38734562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" y="1364"/>
              <a:ext cx="151" cy="7"/>
            </a:xfrm>
            <a:custGeom>
              <a:avLst/>
              <a:gdLst>
                <a:gd name="T0" fmla="*/ 2 w 59"/>
                <a:gd name="T1" fmla="*/ 3 h 3"/>
                <a:gd name="T2" fmla="*/ 57 w 59"/>
                <a:gd name="T3" fmla="*/ 3 h 3"/>
                <a:gd name="T4" fmla="*/ 59 w 59"/>
                <a:gd name="T5" fmla="*/ 2 h 3"/>
                <a:gd name="T6" fmla="*/ 57 w 59"/>
                <a:gd name="T7" fmla="*/ 0 h 3"/>
                <a:gd name="T8" fmla="*/ 2 w 59"/>
                <a:gd name="T9" fmla="*/ 0 h 3"/>
                <a:gd name="T10" fmla="*/ 0 w 59"/>
                <a:gd name="T11" fmla="*/ 2 h 3"/>
                <a:gd name="T12" fmla="*/ 2 w 5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">
                  <a:moveTo>
                    <a:pt x="2" y="3"/>
                  </a:move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9" y="3"/>
                    <a:pt x="59" y="2"/>
                  </a:cubicBezTo>
                  <a:cubicBezTo>
                    <a:pt x="59" y="1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0">
              <a:extLst>
                <a:ext uri="{FF2B5EF4-FFF2-40B4-BE49-F238E27FC236}">
                  <a16:creationId xmlns:a16="http://schemas.microsoft.com/office/drawing/2014/main" id="{AAE528C6-F854-4637-B414-7A00CD286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" y="1397"/>
              <a:ext cx="151" cy="10"/>
            </a:xfrm>
            <a:custGeom>
              <a:avLst/>
              <a:gdLst>
                <a:gd name="T0" fmla="*/ 59 w 59"/>
                <a:gd name="T1" fmla="*/ 2 h 4"/>
                <a:gd name="T2" fmla="*/ 57 w 59"/>
                <a:gd name="T3" fmla="*/ 0 h 4"/>
                <a:gd name="T4" fmla="*/ 2 w 59"/>
                <a:gd name="T5" fmla="*/ 0 h 4"/>
                <a:gd name="T6" fmla="*/ 0 w 59"/>
                <a:gd name="T7" fmla="*/ 2 h 4"/>
                <a:gd name="T8" fmla="*/ 2 w 59"/>
                <a:gd name="T9" fmla="*/ 4 h 4"/>
                <a:gd name="T10" fmla="*/ 57 w 59"/>
                <a:gd name="T11" fmla="*/ 4 h 4"/>
                <a:gd name="T12" fmla="*/ 59 w 5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4">
                  <a:moveTo>
                    <a:pt x="59" y="2"/>
                  </a:moveTo>
                  <a:cubicBezTo>
                    <a:pt x="59" y="1"/>
                    <a:pt x="58" y="0"/>
                    <a:pt x="5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8" y="4"/>
                    <a:pt x="59" y="3"/>
                    <a:pt x="59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1">
              <a:extLst>
                <a:ext uri="{FF2B5EF4-FFF2-40B4-BE49-F238E27FC236}">
                  <a16:creationId xmlns:a16="http://schemas.microsoft.com/office/drawing/2014/main" id="{491DA2A9-28D4-4626-B21E-8D668855A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" y="1430"/>
              <a:ext cx="77" cy="10"/>
            </a:xfrm>
            <a:custGeom>
              <a:avLst/>
              <a:gdLst>
                <a:gd name="T0" fmla="*/ 29 w 30"/>
                <a:gd name="T1" fmla="*/ 0 h 4"/>
                <a:gd name="T2" fmla="*/ 1 w 30"/>
                <a:gd name="T3" fmla="*/ 0 h 4"/>
                <a:gd name="T4" fmla="*/ 0 w 30"/>
                <a:gd name="T5" fmla="*/ 2 h 4"/>
                <a:gd name="T6" fmla="*/ 1 w 30"/>
                <a:gd name="T7" fmla="*/ 4 h 4"/>
                <a:gd name="T8" fmla="*/ 29 w 30"/>
                <a:gd name="T9" fmla="*/ 4 h 4"/>
                <a:gd name="T10" fmla="*/ 30 w 30"/>
                <a:gd name="T11" fmla="*/ 2 h 4"/>
                <a:gd name="T12" fmla="*/ 29 w 3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">
                  <a:moveTo>
                    <a:pt x="2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30" y="1"/>
                    <a:pt x="30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Group 104">
            <a:extLst>
              <a:ext uri="{FF2B5EF4-FFF2-40B4-BE49-F238E27FC236}">
                <a16:creationId xmlns:a16="http://schemas.microsoft.com/office/drawing/2014/main" id="{A62DA8A6-1ACC-4CF8-B26C-33D2B15CC2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7951" y="2853054"/>
            <a:ext cx="758825" cy="758825"/>
            <a:chOff x="931" y="1906"/>
            <a:chExt cx="478" cy="478"/>
          </a:xfrm>
        </p:grpSpPr>
        <p:sp>
          <p:nvSpPr>
            <p:cNvPr id="124" name="AutoShape 103">
              <a:extLst>
                <a:ext uri="{FF2B5EF4-FFF2-40B4-BE49-F238E27FC236}">
                  <a16:creationId xmlns:a16="http://schemas.microsoft.com/office/drawing/2014/main" id="{B4FD89BC-3596-4227-A7CE-9E22DDACD87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1" y="190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C389AAA6-BAB6-4B41-BE2A-47C1E3AF6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3" y="190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44F3AAED-6064-4ADB-8383-FADBFFFAA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4" y="2014"/>
              <a:ext cx="237" cy="265"/>
            </a:xfrm>
            <a:custGeom>
              <a:avLst/>
              <a:gdLst>
                <a:gd name="T0" fmla="*/ 81 w 97"/>
                <a:gd name="T1" fmla="*/ 3 h 108"/>
                <a:gd name="T2" fmla="*/ 92 w 97"/>
                <a:gd name="T3" fmla="*/ 9 h 108"/>
                <a:gd name="T4" fmla="*/ 89 w 97"/>
                <a:gd name="T5" fmla="*/ 18 h 108"/>
                <a:gd name="T6" fmla="*/ 76 w 97"/>
                <a:gd name="T7" fmla="*/ 11 h 108"/>
                <a:gd name="T8" fmla="*/ 43 w 97"/>
                <a:gd name="T9" fmla="*/ 71 h 108"/>
                <a:gd name="T10" fmla="*/ 80 w 97"/>
                <a:gd name="T11" fmla="*/ 16 h 108"/>
                <a:gd name="T12" fmla="*/ 71 w 97"/>
                <a:gd name="T13" fmla="*/ 36 h 108"/>
                <a:gd name="T14" fmla="*/ 73 w 97"/>
                <a:gd name="T15" fmla="*/ 35 h 108"/>
                <a:gd name="T16" fmla="*/ 88 w 97"/>
                <a:gd name="T17" fmla="*/ 21 h 108"/>
                <a:gd name="T18" fmla="*/ 50 w 97"/>
                <a:gd name="T19" fmla="*/ 75 h 108"/>
                <a:gd name="T20" fmla="*/ 50 w 97"/>
                <a:gd name="T21" fmla="*/ 79 h 108"/>
                <a:gd name="T22" fmla="*/ 43 w 97"/>
                <a:gd name="T23" fmla="*/ 87 h 108"/>
                <a:gd name="T24" fmla="*/ 50 w 97"/>
                <a:gd name="T25" fmla="*/ 79 h 108"/>
                <a:gd name="T26" fmla="*/ 58 w 97"/>
                <a:gd name="T27" fmla="*/ 82 h 108"/>
                <a:gd name="T28" fmla="*/ 58 w 97"/>
                <a:gd name="T29" fmla="*/ 81 h 108"/>
                <a:gd name="T30" fmla="*/ 58 w 97"/>
                <a:gd name="T31" fmla="*/ 81 h 108"/>
                <a:gd name="T32" fmla="*/ 96 w 97"/>
                <a:gd name="T33" fmla="*/ 13 h 108"/>
                <a:gd name="T34" fmla="*/ 84 w 97"/>
                <a:gd name="T35" fmla="*/ 1 h 108"/>
                <a:gd name="T36" fmla="*/ 77 w 97"/>
                <a:gd name="T37" fmla="*/ 3 h 108"/>
                <a:gd name="T38" fmla="*/ 40 w 97"/>
                <a:gd name="T39" fmla="*/ 71 h 108"/>
                <a:gd name="T40" fmla="*/ 40 w 97"/>
                <a:gd name="T41" fmla="*/ 71 h 108"/>
                <a:gd name="T42" fmla="*/ 39 w 97"/>
                <a:gd name="T43" fmla="*/ 72 h 108"/>
                <a:gd name="T44" fmla="*/ 39 w 97"/>
                <a:gd name="T45" fmla="*/ 72 h 108"/>
                <a:gd name="T46" fmla="*/ 41 w 97"/>
                <a:gd name="T47" fmla="*/ 91 h 108"/>
                <a:gd name="T48" fmla="*/ 42 w 97"/>
                <a:gd name="T49" fmla="*/ 92 h 108"/>
                <a:gd name="T50" fmla="*/ 91 w 97"/>
                <a:gd name="T51" fmla="*/ 92 h 108"/>
                <a:gd name="T52" fmla="*/ 10 w 97"/>
                <a:gd name="T53" fmla="*/ 94 h 108"/>
                <a:gd name="T54" fmla="*/ 10 w 97"/>
                <a:gd name="T55" fmla="*/ 98 h 108"/>
                <a:gd name="T56" fmla="*/ 82 w 97"/>
                <a:gd name="T57" fmla="*/ 105 h 108"/>
                <a:gd name="T58" fmla="*/ 3 w 97"/>
                <a:gd name="T59" fmla="*/ 96 h 108"/>
                <a:gd name="T60" fmla="*/ 12 w 97"/>
                <a:gd name="T61" fmla="*/ 17 h 108"/>
                <a:gd name="T62" fmla="*/ 64 w 97"/>
                <a:gd name="T63" fmla="*/ 16 h 108"/>
                <a:gd name="T64" fmla="*/ 12 w 97"/>
                <a:gd name="T65" fmla="*/ 14 h 108"/>
                <a:gd name="T66" fmla="*/ 0 w 97"/>
                <a:gd name="T67" fmla="*/ 96 h 108"/>
                <a:gd name="T68" fmla="*/ 82 w 97"/>
                <a:gd name="T69" fmla="*/ 108 h 108"/>
                <a:gd name="T70" fmla="*/ 94 w 97"/>
                <a:gd name="T71" fmla="*/ 33 h 108"/>
                <a:gd name="T72" fmla="*/ 91 w 97"/>
                <a:gd name="T73" fmla="*/ 33 h 108"/>
                <a:gd name="T74" fmla="*/ 48 w 97"/>
                <a:gd name="T75" fmla="*/ 88 h 108"/>
                <a:gd name="T76" fmla="*/ 58 w 97"/>
                <a:gd name="T77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08">
                  <a:moveTo>
                    <a:pt x="80" y="4"/>
                  </a:moveTo>
                  <a:cubicBezTo>
                    <a:pt x="80" y="4"/>
                    <a:pt x="80" y="4"/>
                    <a:pt x="81" y="3"/>
                  </a:cubicBezTo>
                  <a:cubicBezTo>
                    <a:pt x="81" y="3"/>
                    <a:pt x="82" y="3"/>
                    <a:pt x="82" y="4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3" y="9"/>
                    <a:pt x="93" y="10"/>
                    <a:pt x="93" y="11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76" y="11"/>
                    <a:pt x="76" y="11"/>
                    <a:pt x="76" y="11"/>
                  </a:cubicBezTo>
                  <a:lnTo>
                    <a:pt x="80" y="4"/>
                  </a:lnTo>
                  <a:close/>
                  <a:moveTo>
                    <a:pt x="43" y="71"/>
                  </a:moveTo>
                  <a:cubicBezTo>
                    <a:pt x="75" y="14"/>
                    <a:pt x="75" y="14"/>
                    <a:pt x="75" y="14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70" y="35"/>
                    <a:pt x="71" y="36"/>
                  </a:cubicBezTo>
                  <a:cubicBezTo>
                    <a:pt x="71" y="36"/>
                    <a:pt x="71" y="36"/>
                    <a:pt x="72" y="36"/>
                  </a:cubicBezTo>
                  <a:cubicBezTo>
                    <a:pt x="72" y="36"/>
                    <a:pt x="73" y="36"/>
                    <a:pt x="73" y="35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0" y="75"/>
                    <a:pt x="50" y="75"/>
                    <a:pt x="50" y="75"/>
                  </a:cubicBezTo>
                  <a:lnTo>
                    <a:pt x="43" y="71"/>
                  </a:lnTo>
                  <a:close/>
                  <a:moveTo>
                    <a:pt x="50" y="79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50" y="79"/>
                  </a:lnTo>
                  <a:close/>
                  <a:moveTo>
                    <a:pt x="58" y="82"/>
                  </a:move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7" y="10"/>
                    <a:pt x="96" y="7"/>
                    <a:pt x="94" y="6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3" y="0"/>
                    <a:pt x="81" y="0"/>
                    <a:pt x="80" y="0"/>
                  </a:cubicBezTo>
                  <a:cubicBezTo>
                    <a:pt x="79" y="1"/>
                    <a:pt x="77" y="1"/>
                    <a:pt x="77" y="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1"/>
                    <a:pt x="40" y="91"/>
                    <a:pt x="41" y="91"/>
                  </a:cubicBezTo>
                  <a:cubicBezTo>
                    <a:pt x="41" y="92"/>
                    <a:pt x="41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91" y="92"/>
                    <a:pt x="91" y="92"/>
                    <a:pt x="91" y="92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9" y="94"/>
                    <a:pt x="8" y="95"/>
                    <a:pt x="8" y="96"/>
                  </a:cubicBezTo>
                  <a:cubicBezTo>
                    <a:pt x="8" y="97"/>
                    <a:pt x="9" y="98"/>
                    <a:pt x="10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90" y="102"/>
                    <a:pt x="86" y="105"/>
                    <a:pt x="82" y="105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7" y="105"/>
                    <a:pt x="3" y="101"/>
                    <a:pt x="3" y="9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1"/>
                    <a:pt x="7" y="17"/>
                    <a:pt x="1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3" y="17"/>
                    <a:pt x="64" y="17"/>
                    <a:pt x="64" y="16"/>
                  </a:cubicBezTo>
                  <a:cubicBezTo>
                    <a:pt x="64" y="15"/>
                    <a:pt x="63" y="14"/>
                    <a:pt x="6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5" y="14"/>
                    <a:pt x="0" y="19"/>
                    <a:pt x="0" y="2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3"/>
                    <a:pt x="5" y="108"/>
                    <a:pt x="12" y="108"/>
                  </a:cubicBezTo>
                  <a:cubicBezTo>
                    <a:pt x="82" y="108"/>
                    <a:pt x="82" y="108"/>
                    <a:pt x="82" y="108"/>
                  </a:cubicBezTo>
                  <a:cubicBezTo>
                    <a:pt x="89" y="108"/>
                    <a:pt x="94" y="103"/>
                    <a:pt x="94" y="96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2"/>
                    <a:pt x="93" y="31"/>
                    <a:pt x="92" y="31"/>
                  </a:cubicBezTo>
                  <a:cubicBezTo>
                    <a:pt x="91" y="31"/>
                    <a:pt x="91" y="32"/>
                    <a:pt x="91" y="33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7" name="Group 109">
            <a:extLst>
              <a:ext uri="{FF2B5EF4-FFF2-40B4-BE49-F238E27FC236}">
                <a16:creationId xmlns:a16="http://schemas.microsoft.com/office/drawing/2014/main" id="{04CDA956-5F99-405F-8EB2-C14BE7F716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7038" y="2811779"/>
            <a:ext cx="842963" cy="841375"/>
            <a:chOff x="332" y="1883"/>
            <a:chExt cx="531" cy="530"/>
          </a:xfrm>
        </p:grpSpPr>
        <p:sp>
          <p:nvSpPr>
            <p:cNvPr id="128" name="AutoShape 108">
              <a:extLst>
                <a:ext uri="{FF2B5EF4-FFF2-40B4-BE49-F238E27FC236}">
                  <a16:creationId xmlns:a16="http://schemas.microsoft.com/office/drawing/2014/main" id="{8D80D473-CAF3-41DE-9B36-D4D71B234C0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2" y="1883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10">
              <a:extLst>
                <a:ext uri="{FF2B5EF4-FFF2-40B4-BE49-F238E27FC236}">
                  <a16:creationId xmlns:a16="http://schemas.microsoft.com/office/drawing/2014/main" id="{DCC62257-57C5-42B0-BCED-123282B50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" y="1883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1">
              <a:extLst>
                <a:ext uri="{FF2B5EF4-FFF2-40B4-BE49-F238E27FC236}">
                  <a16:creationId xmlns:a16="http://schemas.microsoft.com/office/drawing/2014/main" id="{7C6666DA-00C0-4B34-924A-35FD107BD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" y="1901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2">
              <a:extLst>
                <a:ext uri="{FF2B5EF4-FFF2-40B4-BE49-F238E27FC236}">
                  <a16:creationId xmlns:a16="http://schemas.microsoft.com/office/drawing/2014/main" id="{51B1140F-D5D5-4410-B74B-C90B338ADA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" y="2011"/>
              <a:ext cx="248" cy="276"/>
            </a:xfrm>
            <a:custGeom>
              <a:avLst/>
              <a:gdLst>
                <a:gd name="T0" fmla="*/ 81 w 97"/>
                <a:gd name="T1" fmla="*/ 3 h 108"/>
                <a:gd name="T2" fmla="*/ 92 w 97"/>
                <a:gd name="T3" fmla="*/ 9 h 108"/>
                <a:gd name="T4" fmla="*/ 89 w 97"/>
                <a:gd name="T5" fmla="*/ 18 h 108"/>
                <a:gd name="T6" fmla="*/ 76 w 97"/>
                <a:gd name="T7" fmla="*/ 11 h 108"/>
                <a:gd name="T8" fmla="*/ 43 w 97"/>
                <a:gd name="T9" fmla="*/ 71 h 108"/>
                <a:gd name="T10" fmla="*/ 80 w 97"/>
                <a:gd name="T11" fmla="*/ 16 h 108"/>
                <a:gd name="T12" fmla="*/ 71 w 97"/>
                <a:gd name="T13" fmla="*/ 36 h 108"/>
                <a:gd name="T14" fmla="*/ 73 w 97"/>
                <a:gd name="T15" fmla="*/ 35 h 108"/>
                <a:gd name="T16" fmla="*/ 88 w 97"/>
                <a:gd name="T17" fmla="*/ 21 h 108"/>
                <a:gd name="T18" fmla="*/ 50 w 97"/>
                <a:gd name="T19" fmla="*/ 75 h 108"/>
                <a:gd name="T20" fmla="*/ 50 w 97"/>
                <a:gd name="T21" fmla="*/ 79 h 108"/>
                <a:gd name="T22" fmla="*/ 43 w 97"/>
                <a:gd name="T23" fmla="*/ 87 h 108"/>
                <a:gd name="T24" fmla="*/ 50 w 97"/>
                <a:gd name="T25" fmla="*/ 79 h 108"/>
                <a:gd name="T26" fmla="*/ 58 w 97"/>
                <a:gd name="T27" fmla="*/ 82 h 108"/>
                <a:gd name="T28" fmla="*/ 58 w 97"/>
                <a:gd name="T29" fmla="*/ 81 h 108"/>
                <a:gd name="T30" fmla="*/ 58 w 97"/>
                <a:gd name="T31" fmla="*/ 81 h 108"/>
                <a:gd name="T32" fmla="*/ 96 w 97"/>
                <a:gd name="T33" fmla="*/ 13 h 108"/>
                <a:gd name="T34" fmla="*/ 84 w 97"/>
                <a:gd name="T35" fmla="*/ 1 h 108"/>
                <a:gd name="T36" fmla="*/ 77 w 97"/>
                <a:gd name="T37" fmla="*/ 3 h 108"/>
                <a:gd name="T38" fmla="*/ 40 w 97"/>
                <a:gd name="T39" fmla="*/ 71 h 108"/>
                <a:gd name="T40" fmla="*/ 40 w 97"/>
                <a:gd name="T41" fmla="*/ 71 h 108"/>
                <a:gd name="T42" fmla="*/ 39 w 97"/>
                <a:gd name="T43" fmla="*/ 72 h 108"/>
                <a:gd name="T44" fmla="*/ 39 w 97"/>
                <a:gd name="T45" fmla="*/ 72 h 108"/>
                <a:gd name="T46" fmla="*/ 41 w 97"/>
                <a:gd name="T47" fmla="*/ 91 h 108"/>
                <a:gd name="T48" fmla="*/ 42 w 97"/>
                <a:gd name="T49" fmla="*/ 92 h 108"/>
                <a:gd name="T50" fmla="*/ 91 w 97"/>
                <a:gd name="T51" fmla="*/ 92 h 108"/>
                <a:gd name="T52" fmla="*/ 10 w 97"/>
                <a:gd name="T53" fmla="*/ 94 h 108"/>
                <a:gd name="T54" fmla="*/ 10 w 97"/>
                <a:gd name="T55" fmla="*/ 98 h 108"/>
                <a:gd name="T56" fmla="*/ 82 w 97"/>
                <a:gd name="T57" fmla="*/ 105 h 108"/>
                <a:gd name="T58" fmla="*/ 3 w 97"/>
                <a:gd name="T59" fmla="*/ 96 h 108"/>
                <a:gd name="T60" fmla="*/ 12 w 97"/>
                <a:gd name="T61" fmla="*/ 17 h 108"/>
                <a:gd name="T62" fmla="*/ 64 w 97"/>
                <a:gd name="T63" fmla="*/ 16 h 108"/>
                <a:gd name="T64" fmla="*/ 12 w 97"/>
                <a:gd name="T65" fmla="*/ 14 h 108"/>
                <a:gd name="T66" fmla="*/ 0 w 97"/>
                <a:gd name="T67" fmla="*/ 96 h 108"/>
                <a:gd name="T68" fmla="*/ 82 w 97"/>
                <a:gd name="T69" fmla="*/ 108 h 108"/>
                <a:gd name="T70" fmla="*/ 94 w 97"/>
                <a:gd name="T71" fmla="*/ 33 h 108"/>
                <a:gd name="T72" fmla="*/ 91 w 97"/>
                <a:gd name="T73" fmla="*/ 33 h 108"/>
                <a:gd name="T74" fmla="*/ 48 w 97"/>
                <a:gd name="T75" fmla="*/ 88 h 108"/>
                <a:gd name="T76" fmla="*/ 58 w 97"/>
                <a:gd name="T77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08">
                  <a:moveTo>
                    <a:pt x="80" y="4"/>
                  </a:moveTo>
                  <a:cubicBezTo>
                    <a:pt x="80" y="4"/>
                    <a:pt x="80" y="4"/>
                    <a:pt x="81" y="3"/>
                  </a:cubicBezTo>
                  <a:cubicBezTo>
                    <a:pt x="81" y="3"/>
                    <a:pt x="82" y="3"/>
                    <a:pt x="82" y="4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3" y="9"/>
                    <a:pt x="93" y="10"/>
                    <a:pt x="93" y="11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76" y="11"/>
                    <a:pt x="76" y="11"/>
                    <a:pt x="76" y="11"/>
                  </a:cubicBezTo>
                  <a:lnTo>
                    <a:pt x="80" y="4"/>
                  </a:lnTo>
                  <a:close/>
                  <a:moveTo>
                    <a:pt x="43" y="71"/>
                  </a:moveTo>
                  <a:cubicBezTo>
                    <a:pt x="75" y="14"/>
                    <a:pt x="75" y="14"/>
                    <a:pt x="75" y="14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70" y="35"/>
                    <a:pt x="71" y="36"/>
                  </a:cubicBezTo>
                  <a:cubicBezTo>
                    <a:pt x="71" y="36"/>
                    <a:pt x="71" y="36"/>
                    <a:pt x="72" y="36"/>
                  </a:cubicBezTo>
                  <a:cubicBezTo>
                    <a:pt x="72" y="36"/>
                    <a:pt x="73" y="36"/>
                    <a:pt x="73" y="35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0" y="75"/>
                    <a:pt x="50" y="75"/>
                    <a:pt x="50" y="75"/>
                  </a:cubicBezTo>
                  <a:lnTo>
                    <a:pt x="43" y="71"/>
                  </a:lnTo>
                  <a:close/>
                  <a:moveTo>
                    <a:pt x="50" y="79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50" y="79"/>
                  </a:lnTo>
                  <a:close/>
                  <a:moveTo>
                    <a:pt x="58" y="82"/>
                  </a:move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7" y="10"/>
                    <a:pt x="96" y="7"/>
                    <a:pt x="94" y="6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3" y="0"/>
                    <a:pt x="81" y="0"/>
                    <a:pt x="80" y="0"/>
                  </a:cubicBezTo>
                  <a:cubicBezTo>
                    <a:pt x="79" y="1"/>
                    <a:pt x="77" y="1"/>
                    <a:pt x="77" y="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1"/>
                    <a:pt x="40" y="91"/>
                    <a:pt x="41" y="91"/>
                  </a:cubicBezTo>
                  <a:cubicBezTo>
                    <a:pt x="41" y="92"/>
                    <a:pt x="41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91" y="92"/>
                    <a:pt x="91" y="92"/>
                    <a:pt x="91" y="92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9" y="94"/>
                    <a:pt x="8" y="95"/>
                    <a:pt x="8" y="96"/>
                  </a:cubicBezTo>
                  <a:cubicBezTo>
                    <a:pt x="8" y="97"/>
                    <a:pt x="9" y="98"/>
                    <a:pt x="10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90" y="102"/>
                    <a:pt x="86" y="105"/>
                    <a:pt x="82" y="105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7" y="105"/>
                    <a:pt x="3" y="101"/>
                    <a:pt x="3" y="9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1"/>
                    <a:pt x="7" y="17"/>
                    <a:pt x="1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3" y="17"/>
                    <a:pt x="64" y="17"/>
                    <a:pt x="64" y="16"/>
                  </a:cubicBezTo>
                  <a:cubicBezTo>
                    <a:pt x="64" y="15"/>
                    <a:pt x="63" y="14"/>
                    <a:pt x="6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5" y="14"/>
                    <a:pt x="0" y="19"/>
                    <a:pt x="0" y="2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3"/>
                    <a:pt x="5" y="108"/>
                    <a:pt x="12" y="108"/>
                  </a:cubicBezTo>
                  <a:cubicBezTo>
                    <a:pt x="82" y="108"/>
                    <a:pt x="82" y="108"/>
                    <a:pt x="82" y="108"/>
                  </a:cubicBezTo>
                  <a:cubicBezTo>
                    <a:pt x="89" y="108"/>
                    <a:pt x="94" y="103"/>
                    <a:pt x="94" y="96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2"/>
                    <a:pt x="93" y="31"/>
                    <a:pt x="92" y="31"/>
                  </a:cubicBezTo>
                  <a:cubicBezTo>
                    <a:pt x="91" y="31"/>
                    <a:pt x="91" y="32"/>
                    <a:pt x="91" y="33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6" name="Group 115">
            <a:extLst>
              <a:ext uri="{FF2B5EF4-FFF2-40B4-BE49-F238E27FC236}">
                <a16:creationId xmlns:a16="http://schemas.microsoft.com/office/drawing/2014/main" id="{61419CFA-AEAD-4A5A-98BD-87272805B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787" y="2811520"/>
            <a:ext cx="841248" cy="841248"/>
            <a:chOff x="1735" y="1899"/>
            <a:chExt cx="478" cy="478"/>
          </a:xfrm>
        </p:grpSpPr>
        <p:sp>
          <p:nvSpPr>
            <p:cNvPr id="137" name="AutoShape 114">
              <a:extLst>
                <a:ext uri="{FF2B5EF4-FFF2-40B4-BE49-F238E27FC236}">
                  <a16:creationId xmlns:a16="http://schemas.microsoft.com/office/drawing/2014/main" id="{26E7989F-9F9E-43F4-939E-A27BFBDD5D0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35" y="189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Oval 116">
              <a:extLst>
                <a:ext uri="{FF2B5EF4-FFF2-40B4-BE49-F238E27FC236}">
                  <a16:creationId xmlns:a16="http://schemas.microsoft.com/office/drawing/2014/main" id="{A30B77F7-67EF-44BB-89F5-906827BA6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5" y="1899"/>
              <a:ext cx="480" cy="48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7">
              <a:extLst>
                <a:ext uri="{FF2B5EF4-FFF2-40B4-BE49-F238E27FC236}">
                  <a16:creationId xmlns:a16="http://schemas.microsoft.com/office/drawing/2014/main" id="{680B566F-7CBB-430A-B9D8-FC8E17D254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1" y="1915"/>
              <a:ext cx="448" cy="44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8">
              <a:extLst>
                <a:ext uri="{FF2B5EF4-FFF2-40B4-BE49-F238E27FC236}">
                  <a16:creationId xmlns:a16="http://schemas.microsoft.com/office/drawing/2014/main" id="{EBBAC0AF-09FD-4463-86CE-08886B92A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2218"/>
              <a:ext cx="32" cy="7"/>
            </a:xfrm>
            <a:custGeom>
              <a:avLst/>
              <a:gdLst>
                <a:gd name="T0" fmla="*/ 0 w 14"/>
                <a:gd name="T1" fmla="*/ 2 h 3"/>
                <a:gd name="T2" fmla="*/ 0 w 14"/>
                <a:gd name="T3" fmla="*/ 3 h 3"/>
                <a:gd name="T4" fmla="*/ 0 w 14"/>
                <a:gd name="T5" fmla="*/ 3 h 3"/>
                <a:gd name="T6" fmla="*/ 1 w 14"/>
                <a:gd name="T7" fmla="*/ 3 h 3"/>
                <a:gd name="T8" fmla="*/ 1 w 14"/>
                <a:gd name="T9" fmla="*/ 3 h 3"/>
                <a:gd name="T10" fmla="*/ 14 w 14"/>
                <a:gd name="T11" fmla="*/ 3 h 3"/>
                <a:gd name="T12" fmla="*/ 14 w 14"/>
                <a:gd name="T13" fmla="*/ 3 h 3"/>
                <a:gd name="T14" fmla="*/ 14 w 14"/>
                <a:gd name="T15" fmla="*/ 3 h 3"/>
                <a:gd name="T16" fmla="*/ 14 w 14"/>
                <a:gd name="T17" fmla="*/ 2 h 3"/>
                <a:gd name="T18" fmla="*/ 14 w 14"/>
                <a:gd name="T19" fmla="*/ 2 h 3"/>
                <a:gd name="T20" fmla="*/ 14 w 14"/>
                <a:gd name="T21" fmla="*/ 1 h 3"/>
                <a:gd name="T22" fmla="*/ 14 w 14"/>
                <a:gd name="T23" fmla="*/ 1 h 3"/>
                <a:gd name="T24" fmla="*/ 14 w 14"/>
                <a:gd name="T25" fmla="*/ 0 h 3"/>
                <a:gd name="T26" fmla="*/ 14 w 14"/>
                <a:gd name="T27" fmla="*/ 0 h 3"/>
                <a:gd name="T28" fmla="*/ 13 w 14"/>
                <a:gd name="T29" fmla="*/ 0 h 3"/>
                <a:gd name="T30" fmla="*/ 13 w 14"/>
                <a:gd name="T31" fmla="*/ 0 h 3"/>
                <a:gd name="T32" fmla="*/ 13 w 14"/>
                <a:gd name="T33" fmla="*/ 0 h 3"/>
                <a:gd name="T34" fmla="*/ 1 w 14"/>
                <a:gd name="T35" fmla="*/ 0 h 3"/>
                <a:gd name="T36" fmla="*/ 0 w 14"/>
                <a:gd name="T37" fmla="*/ 0 h 3"/>
                <a:gd name="T38" fmla="*/ 0 w 14"/>
                <a:gd name="T39" fmla="*/ 0 h 3"/>
                <a:gd name="T40" fmla="*/ 0 w 14"/>
                <a:gd name="T41" fmla="*/ 1 h 3"/>
                <a:gd name="T42" fmla="*/ 0 w 14"/>
                <a:gd name="T43" fmla="*/ 1 h 3"/>
                <a:gd name="T44" fmla="*/ 0 w 14"/>
                <a:gd name="T45" fmla="*/ 2 h 3"/>
                <a:gd name="T46" fmla="*/ 0 w 14"/>
                <a:gd name="T4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3">
                  <a:moveTo>
                    <a:pt x="0" y="2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9">
              <a:extLst>
                <a:ext uri="{FF2B5EF4-FFF2-40B4-BE49-F238E27FC236}">
                  <a16:creationId xmlns:a16="http://schemas.microsoft.com/office/drawing/2014/main" id="{6A300EEC-0BCE-4F4E-93C6-08BFB6A25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2197"/>
              <a:ext cx="7" cy="9"/>
            </a:xfrm>
            <a:custGeom>
              <a:avLst/>
              <a:gdLst>
                <a:gd name="T0" fmla="*/ 3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3 h 4"/>
                <a:gd name="T36" fmla="*/ 2 w 3"/>
                <a:gd name="T37" fmla="*/ 3 h 4"/>
                <a:gd name="T38" fmla="*/ 3 w 3"/>
                <a:gd name="T39" fmla="*/ 3 h 4"/>
                <a:gd name="T40" fmla="*/ 3 w 3"/>
                <a:gd name="T41" fmla="*/ 2 h 4"/>
                <a:gd name="T42" fmla="*/ 3 w 3"/>
                <a:gd name="T43" fmla="*/ 2 h 4"/>
                <a:gd name="T44" fmla="*/ 3 w 3"/>
                <a:gd name="T45" fmla="*/ 2 h 4"/>
                <a:gd name="T46" fmla="*/ 3 w 3"/>
                <a:gd name="T47" fmla="*/ 1 h 4"/>
                <a:gd name="T48" fmla="*/ 3 w 3"/>
                <a:gd name="T49" fmla="*/ 1 h 4"/>
                <a:gd name="T50" fmla="*/ 3 w 3"/>
                <a:gd name="T5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20">
              <a:extLst>
                <a:ext uri="{FF2B5EF4-FFF2-40B4-BE49-F238E27FC236}">
                  <a16:creationId xmlns:a16="http://schemas.microsoft.com/office/drawing/2014/main" id="{C63DE7A0-3A16-428D-A511-94158118C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3" y="2197"/>
              <a:ext cx="7" cy="9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3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2 h 4"/>
                <a:gd name="T22" fmla="*/ 3 w 3"/>
                <a:gd name="T23" fmla="*/ 1 h 4"/>
                <a:gd name="T24" fmla="*/ 3 w 3"/>
                <a:gd name="T25" fmla="*/ 1 h 4"/>
                <a:gd name="T26" fmla="*/ 3 w 3"/>
                <a:gd name="T27" fmla="*/ 0 h 4"/>
                <a:gd name="T28" fmla="*/ 2 w 3"/>
                <a:gd name="T29" fmla="*/ 0 h 4"/>
                <a:gd name="T30" fmla="*/ 2 w 3"/>
                <a:gd name="T31" fmla="*/ 0 h 4"/>
                <a:gd name="T32" fmla="*/ 1 w 3"/>
                <a:gd name="T33" fmla="*/ 0 h 4"/>
                <a:gd name="T34" fmla="*/ 1 w 3"/>
                <a:gd name="T35" fmla="*/ 0 h 4"/>
                <a:gd name="T36" fmla="*/ 1 w 3"/>
                <a:gd name="T37" fmla="*/ 0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Rectangle 121">
              <a:extLst>
                <a:ext uri="{FF2B5EF4-FFF2-40B4-BE49-F238E27FC236}">
                  <a16:creationId xmlns:a16="http://schemas.microsoft.com/office/drawing/2014/main" id="{8E644BB4-47A6-4190-930E-5DC653B4F8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2">
              <a:extLst>
                <a:ext uri="{FF2B5EF4-FFF2-40B4-BE49-F238E27FC236}">
                  <a16:creationId xmlns:a16="http://schemas.microsoft.com/office/drawing/2014/main" id="{1328D580-1BC4-4E5C-973A-67225AF0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1" y="2197"/>
              <a:ext cx="7" cy="9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0 h 4"/>
                <a:gd name="T4" fmla="*/ 0 w 3"/>
                <a:gd name="T5" fmla="*/ 0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2 h 4"/>
                <a:gd name="T16" fmla="*/ 0 w 3"/>
                <a:gd name="T17" fmla="*/ 3 h 4"/>
                <a:gd name="T18" fmla="*/ 1 w 3"/>
                <a:gd name="T19" fmla="*/ 3 h 4"/>
                <a:gd name="T20" fmla="*/ 1 w 3"/>
                <a:gd name="T21" fmla="*/ 3 h 4"/>
                <a:gd name="T22" fmla="*/ 1 w 3"/>
                <a:gd name="T23" fmla="*/ 4 h 4"/>
                <a:gd name="T24" fmla="*/ 2 w 3"/>
                <a:gd name="T25" fmla="*/ 3 h 4"/>
                <a:gd name="T26" fmla="*/ 2 w 3"/>
                <a:gd name="T27" fmla="*/ 3 h 4"/>
                <a:gd name="T28" fmla="*/ 3 w 3"/>
                <a:gd name="T29" fmla="*/ 3 h 4"/>
                <a:gd name="T30" fmla="*/ 3 w 3"/>
                <a:gd name="T31" fmla="*/ 3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2 h 4"/>
                <a:gd name="T38" fmla="*/ 3 w 3"/>
                <a:gd name="T39" fmla="*/ 1 h 4"/>
                <a:gd name="T40" fmla="*/ 3 w 3"/>
                <a:gd name="T41" fmla="*/ 1 h 4"/>
                <a:gd name="T42" fmla="*/ 3 w 3"/>
                <a:gd name="T43" fmla="*/ 1 h 4"/>
                <a:gd name="T44" fmla="*/ 3 w 3"/>
                <a:gd name="T45" fmla="*/ 0 h 4"/>
                <a:gd name="T46" fmla="*/ 3 w 3"/>
                <a:gd name="T47" fmla="*/ 0 h 4"/>
                <a:gd name="T48" fmla="*/ 2 w 3"/>
                <a:gd name="T4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Rectangle 123">
              <a:extLst>
                <a:ext uri="{FF2B5EF4-FFF2-40B4-BE49-F238E27FC236}">
                  <a16:creationId xmlns:a16="http://schemas.microsoft.com/office/drawing/2014/main" id="{99B2F86E-0DD8-4E0F-AC9A-BA953A4E6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3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Rectangle 124">
              <a:extLst>
                <a:ext uri="{FF2B5EF4-FFF2-40B4-BE49-F238E27FC236}">
                  <a16:creationId xmlns:a16="http://schemas.microsoft.com/office/drawing/2014/main" id="{8C6DBAA3-9591-4C0A-A174-3102ABD294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1" y="219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25">
              <a:extLst>
                <a:ext uri="{FF2B5EF4-FFF2-40B4-BE49-F238E27FC236}">
                  <a16:creationId xmlns:a16="http://schemas.microsoft.com/office/drawing/2014/main" id="{D7E827D9-43F7-45B6-9EA9-A26912081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0" y="218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Rectangle 126">
              <a:extLst>
                <a:ext uri="{FF2B5EF4-FFF2-40B4-BE49-F238E27FC236}">
                  <a16:creationId xmlns:a16="http://schemas.microsoft.com/office/drawing/2014/main" id="{C693C483-EBB3-4EA6-8CF2-B8D6CE2C4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2220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27">
              <a:extLst>
                <a:ext uri="{FF2B5EF4-FFF2-40B4-BE49-F238E27FC236}">
                  <a16:creationId xmlns:a16="http://schemas.microsoft.com/office/drawing/2014/main" id="{D77FB22E-3028-429A-AA6B-DE4149F11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" y="219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28">
              <a:extLst>
                <a:ext uri="{FF2B5EF4-FFF2-40B4-BE49-F238E27FC236}">
                  <a16:creationId xmlns:a16="http://schemas.microsoft.com/office/drawing/2014/main" id="{23EC7704-BF3F-44D0-A988-260AD7D740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7" y="218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9">
              <a:extLst>
                <a:ext uri="{FF2B5EF4-FFF2-40B4-BE49-F238E27FC236}">
                  <a16:creationId xmlns:a16="http://schemas.microsoft.com/office/drawing/2014/main" id="{3FC1B37C-E602-4B82-8756-529C76FA3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" y="2197"/>
              <a:ext cx="7" cy="9"/>
            </a:xfrm>
            <a:custGeom>
              <a:avLst/>
              <a:gdLst>
                <a:gd name="T0" fmla="*/ 1 w 3"/>
                <a:gd name="T1" fmla="*/ 0 h 4"/>
                <a:gd name="T2" fmla="*/ 0 w 3"/>
                <a:gd name="T3" fmla="*/ 0 h 4"/>
                <a:gd name="T4" fmla="*/ 0 w 3"/>
                <a:gd name="T5" fmla="*/ 1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3 h 4"/>
                <a:gd name="T16" fmla="*/ 0 w 3"/>
                <a:gd name="T17" fmla="*/ 3 h 4"/>
                <a:gd name="T18" fmla="*/ 1 w 3"/>
                <a:gd name="T19" fmla="*/ 3 h 4"/>
                <a:gd name="T20" fmla="*/ 2 w 3"/>
                <a:gd name="T21" fmla="*/ 4 h 4"/>
                <a:gd name="T22" fmla="*/ 2 w 3"/>
                <a:gd name="T23" fmla="*/ 3 h 4"/>
                <a:gd name="T24" fmla="*/ 2 w 3"/>
                <a:gd name="T25" fmla="*/ 3 h 4"/>
                <a:gd name="T26" fmla="*/ 3 w 3"/>
                <a:gd name="T27" fmla="*/ 3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1 h 4"/>
                <a:gd name="T34" fmla="*/ 3 w 3"/>
                <a:gd name="T35" fmla="*/ 1 h 4"/>
                <a:gd name="T36" fmla="*/ 2 w 3"/>
                <a:gd name="T37" fmla="*/ 0 h 4"/>
                <a:gd name="T38" fmla="*/ 1 w 3"/>
                <a:gd name="T3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130">
              <a:extLst>
                <a:ext uri="{FF2B5EF4-FFF2-40B4-BE49-F238E27FC236}">
                  <a16:creationId xmlns:a16="http://schemas.microsoft.com/office/drawing/2014/main" id="{28F72D8F-790D-406B-8C51-2C3ACF9D9B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1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1">
              <a:extLst>
                <a:ext uri="{FF2B5EF4-FFF2-40B4-BE49-F238E27FC236}">
                  <a16:creationId xmlns:a16="http://schemas.microsoft.com/office/drawing/2014/main" id="{5FAD6086-0E8E-4D34-9882-E35600346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2197"/>
              <a:ext cx="7" cy="9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2 h 4"/>
                <a:gd name="T8" fmla="*/ 0 w 3"/>
                <a:gd name="T9" fmla="*/ 3 h 4"/>
                <a:gd name="T10" fmla="*/ 0 w 3"/>
                <a:gd name="T11" fmla="*/ 3 h 4"/>
                <a:gd name="T12" fmla="*/ 1 w 3"/>
                <a:gd name="T13" fmla="*/ 4 h 4"/>
                <a:gd name="T14" fmla="*/ 2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2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1 h 4"/>
                <a:gd name="T38" fmla="*/ 3 w 3"/>
                <a:gd name="T39" fmla="*/ 1 h 4"/>
                <a:gd name="T40" fmla="*/ 3 w 3"/>
                <a:gd name="T41" fmla="*/ 0 h 4"/>
                <a:gd name="T42" fmla="*/ 2 w 3"/>
                <a:gd name="T43" fmla="*/ 0 h 4"/>
                <a:gd name="T44" fmla="*/ 2 w 3"/>
                <a:gd name="T45" fmla="*/ 0 h 4"/>
                <a:gd name="T46" fmla="*/ 1 w 3"/>
                <a:gd name="T47" fmla="*/ 0 h 4"/>
                <a:gd name="T48" fmla="*/ 1 w 3"/>
                <a:gd name="T49" fmla="*/ 0 h 4"/>
                <a:gd name="T50" fmla="*/ 1 w 3"/>
                <a:gd name="T51" fmla="*/ 0 h 4"/>
                <a:gd name="T52" fmla="*/ 0 w 3"/>
                <a:gd name="T53" fmla="*/ 1 h 4"/>
                <a:gd name="T54" fmla="*/ 0 w 3"/>
                <a:gd name="T55" fmla="*/ 1 h 4"/>
                <a:gd name="T56" fmla="*/ 0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2">
              <a:extLst>
                <a:ext uri="{FF2B5EF4-FFF2-40B4-BE49-F238E27FC236}">
                  <a16:creationId xmlns:a16="http://schemas.microsoft.com/office/drawing/2014/main" id="{E48EF0CC-2F65-4059-BC49-CC102F288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9" y="2197"/>
              <a:ext cx="7" cy="9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3 h 4"/>
                <a:gd name="T8" fmla="*/ 0 w 3"/>
                <a:gd name="T9" fmla="*/ 3 h 4"/>
                <a:gd name="T10" fmla="*/ 1 w 3"/>
                <a:gd name="T11" fmla="*/ 3 h 4"/>
                <a:gd name="T12" fmla="*/ 1 w 3"/>
                <a:gd name="T13" fmla="*/ 3 h 4"/>
                <a:gd name="T14" fmla="*/ 1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1 h 4"/>
                <a:gd name="T32" fmla="*/ 2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1 w 3"/>
                <a:gd name="T39" fmla="*/ 0 h 4"/>
                <a:gd name="T40" fmla="*/ 1 w 3"/>
                <a:gd name="T41" fmla="*/ 0 h 4"/>
                <a:gd name="T42" fmla="*/ 0 w 3"/>
                <a:gd name="T43" fmla="*/ 0 h 4"/>
                <a:gd name="T44" fmla="*/ 0 w 3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Rectangle 133">
              <a:extLst>
                <a:ext uri="{FF2B5EF4-FFF2-40B4-BE49-F238E27FC236}">
                  <a16:creationId xmlns:a16="http://schemas.microsoft.com/office/drawing/2014/main" id="{7996BC45-89C1-4953-AB83-DC7F62ECB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7" y="219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34">
              <a:extLst>
                <a:ext uri="{FF2B5EF4-FFF2-40B4-BE49-F238E27FC236}">
                  <a16:creationId xmlns:a16="http://schemas.microsoft.com/office/drawing/2014/main" id="{FBB3108D-E5F5-4A05-AF2C-ECE95CC02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" y="220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Rectangle 135">
              <a:extLst>
                <a:ext uri="{FF2B5EF4-FFF2-40B4-BE49-F238E27FC236}">
                  <a16:creationId xmlns:a16="http://schemas.microsoft.com/office/drawing/2014/main" id="{9B415A56-F120-437E-9380-9257DFF8CE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" y="219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36">
              <a:extLst>
                <a:ext uri="{FF2B5EF4-FFF2-40B4-BE49-F238E27FC236}">
                  <a16:creationId xmlns:a16="http://schemas.microsoft.com/office/drawing/2014/main" id="{ADF3A832-70D1-474C-AC98-30F604B04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2" y="219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37">
              <a:extLst>
                <a:ext uri="{FF2B5EF4-FFF2-40B4-BE49-F238E27FC236}">
                  <a16:creationId xmlns:a16="http://schemas.microsoft.com/office/drawing/2014/main" id="{AD72E850-AA3E-462A-8F28-726A895DA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" y="219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38">
              <a:extLst>
                <a:ext uri="{FF2B5EF4-FFF2-40B4-BE49-F238E27FC236}">
                  <a16:creationId xmlns:a16="http://schemas.microsoft.com/office/drawing/2014/main" id="{F4E70D81-8D4E-456F-A7F7-C58C64C8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1" y="219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Rectangle 139">
              <a:extLst>
                <a:ext uri="{FF2B5EF4-FFF2-40B4-BE49-F238E27FC236}">
                  <a16:creationId xmlns:a16="http://schemas.microsoft.com/office/drawing/2014/main" id="{637DA281-E1E6-48CF-A3BE-8880E853B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9" y="218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0">
              <a:extLst>
                <a:ext uri="{FF2B5EF4-FFF2-40B4-BE49-F238E27FC236}">
                  <a16:creationId xmlns:a16="http://schemas.microsoft.com/office/drawing/2014/main" id="{90B87598-D584-4042-8BFA-0AA76518F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" y="2178"/>
              <a:ext cx="9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1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2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141">
              <a:extLst>
                <a:ext uri="{FF2B5EF4-FFF2-40B4-BE49-F238E27FC236}">
                  <a16:creationId xmlns:a16="http://schemas.microsoft.com/office/drawing/2014/main" id="{064481F7-54BD-476A-8F67-DD4749A8F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7" y="2206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Rectangle 142">
              <a:extLst>
                <a:ext uri="{FF2B5EF4-FFF2-40B4-BE49-F238E27FC236}">
                  <a16:creationId xmlns:a16="http://schemas.microsoft.com/office/drawing/2014/main" id="{B03E789D-CA6C-4E75-B8BD-3B9922C56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7" y="219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Rectangle 143">
              <a:extLst>
                <a:ext uri="{FF2B5EF4-FFF2-40B4-BE49-F238E27FC236}">
                  <a16:creationId xmlns:a16="http://schemas.microsoft.com/office/drawing/2014/main" id="{274C1B5B-BC55-4B52-8FBD-0601964B8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4">
              <a:extLst>
                <a:ext uri="{FF2B5EF4-FFF2-40B4-BE49-F238E27FC236}">
                  <a16:creationId xmlns:a16="http://schemas.microsoft.com/office/drawing/2014/main" id="{D2BC754C-AC61-4E96-A10A-367AF17F3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2178"/>
              <a:ext cx="7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2 w 3"/>
                <a:gd name="T7" fmla="*/ 0 h 4"/>
                <a:gd name="T8" fmla="*/ 1 w 3"/>
                <a:gd name="T9" fmla="*/ 0 h 4"/>
                <a:gd name="T10" fmla="*/ 1 w 3"/>
                <a:gd name="T11" fmla="*/ 0 h 4"/>
                <a:gd name="T12" fmla="*/ 1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4 h 4"/>
                <a:gd name="T36" fmla="*/ 3 w 3"/>
                <a:gd name="T37" fmla="*/ 3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5">
              <a:extLst>
                <a:ext uri="{FF2B5EF4-FFF2-40B4-BE49-F238E27FC236}">
                  <a16:creationId xmlns:a16="http://schemas.microsoft.com/office/drawing/2014/main" id="{251CDFE6-5D00-4167-BF53-3499CC0D5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" y="2010"/>
              <a:ext cx="272" cy="240"/>
            </a:xfrm>
            <a:custGeom>
              <a:avLst/>
              <a:gdLst>
                <a:gd name="T0" fmla="*/ 118 w 118"/>
                <a:gd name="T1" fmla="*/ 100 h 104"/>
                <a:gd name="T2" fmla="*/ 102 w 118"/>
                <a:gd name="T3" fmla="*/ 66 h 104"/>
                <a:gd name="T4" fmla="*/ 100 w 118"/>
                <a:gd name="T5" fmla="*/ 7 h 104"/>
                <a:gd name="T6" fmla="*/ 99 w 118"/>
                <a:gd name="T7" fmla="*/ 7 h 104"/>
                <a:gd name="T8" fmla="*/ 89 w 118"/>
                <a:gd name="T9" fmla="*/ 6 h 104"/>
                <a:gd name="T10" fmla="*/ 80 w 118"/>
                <a:gd name="T11" fmla="*/ 0 h 104"/>
                <a:gd name="T12" fmla="*/ 67 w 118"/>
                <a:gd name="T13" fmla="*/ 2 h 104"/>
                <a:gd name="T14" fmla="*/ 58 w 118"/>
                <a:gd name="T15" fmla="*/ 6 h 104"/>
                <a:gd name="T16" fmla="*/ 49 w 118"/>
                <a:gd name="T17" fmla="*/ 1 h 104"/>
                <a:gd name="T18" fmla="*/ 34 w 118"/>
                <a:gd name="T19" fmla="*/ 0 h 104"/>
                <a:gd name="T20" fmla="*/ 29 w 118"/>
                <a:gd name="T21" fmla="*/ 6 h 104"/>
                <a:gd name="T22" fmla="*/ 17 w 118"/>
                <a:gd name="T23" fmla="*/ 7 h 104"/>
                <a:gd name="T24" fmla="*/ 16 w 118"/>
                <a:gd name="T25" fmla="*/ 9 h 104"/>
                <a:gd name="T26" fmla="*/ 16 w 118"/>
                <a:gd name="T27" fmla="*/ 66 h 104"/>
                <a:gd name="T28" fmla="*/ 0 w 118"/>
                <a:gd name="T29" fmla="*/ 102 h 104"/>
                <a:gd name="T30" fmla="*/ 1 w 118"/>
                <a:gd name="T31" fmla="*/ 104 h 104"/>
                <a:gd name="T32" fmla="*/ 117 w 118"/>
                <a:gd name="T33" fmla="*/ 104 h 104"/>
                <a:gd name="T34" fmla="*/ 118 w 118"/>
                <a:gd name="T35" fmla="*/ 103 h 104"/>
                <a:gd name="T36" fmla="*/ 61 w 118"/>
                <a:gd name="T37" fmla="*/ 10 h 104"/>
                <a:gd name="T38" fmla="*/ 65 w 118"/>
                <a:gd name="T39" fmla="*/ 7 h 104"/>
                <a:gd name="T40" fmla="*/ 74 w 118"/>
                <a:gd name="T41" fmla="*/ 4 h 104"/>
                <a:gd name="T42" fmla="*/ 85 w 118"/>
                <a:gd name="T43" fmla="*/ 3 h 104"/>
                <a:gd name="T44" fmla="*/ 86 w 118"/>
                <a:gd name="T45" fmla="*/ 4 h 104"/>
                <a:gd name="T46" fmla="*/ 85 w 118"/>
                <a:gd name="T47" fmla="*/ 51 h 104"/>
                <a:gd name="T48" fmla="*/ 70 w 118"/>
                <a:gd name="T49" fmla="*/ 53 h 104"/>
                <a:gd name="T50" fmla="*/ 62 w 118"/>
                <a:gd name="T51" fmla="*/ 56 h 104"/>
                <a:gd name="T52" fmla="*/ 61 w 118"/>
                <a:gd name="T53" fmla="*/ 56 h 104"/>
                <a:gd name="T54" fmla="*/ 61 w 118"/>
                <a:gd name="T55" fmla="*/ 10 h 104"/>
                <a:gd name="T56" fmla="*/ 61 w 118"/>
                <a:gd name="T57" fmla="*/ 60 h 104"/>
                <a:gd name="T58" fmla="*/ 71 w 118"/>
                <a:gd name="T59" fmla="*/ 56 h 104"/>
                <a:gd name="T60" fmla="*/ 82 w 118"/>
                <a:gd name="T61" fmla="*/ 55 h 104"/>
                <a:gd name="T62" fmla="*/ 89 w 118"/>
                <a:gd name="T63" fmla="*/ 13 h 104"/>
                <a:gd name="T64" fmla="*/ 95 w 118"/>
                <a:gd name="T65" fmla="*/ 12 h 104"/>
                <a:gd name="T66" fmla="*/ 97 w 118"/>
                <a:gd name="T67" fmla="*/ 64 h 104"/>
                <a:gd name="T68" fmla="*/ 62 w 118"/>
                <a:gd name="T69" fmla="*/ 65 h 104"/>
                <a:gd name="T70" fmla="*/ 61 w 118"/>
                <a:gd name="T71" fmla="*/ 61 h 104"/>
                <a:gd name="T72" fmla="*/ 33 w 118"/>
                <a:gd name="T73" fmla="*/ 3 h 104"/>
                <a:gd name="T74" fmla="*/ 41 w 118"/>
                <a:gd name="T75" fmla="*/ 4 h 104"/>
                <a:gd name="T76" fmla="*/ 53 w 118"/>
                <a:gd name="T77" fmla="*/ 6 h 104"/>
                <a:gd name="T78" fmla="*/ 57 w 118"/>
                <a:gd name="T79" fmla="*/ 10 h 104"/>
                <a:gd name="T80" fmla="*/ 57 w 118"/>
                <a:gd name="T81" fmla="*/ 56 h 104"/>
                <a:gd name="T82" fmla="*/ 56 w 118"/>
                <a:gd name="T83" fmla="*/ 56 h 104"/>
                <a:gd name="T84" fmla="*/ 43 w 118"/>
                <a:gd name="T85" fmla="*/ 52 h 104"/>
                <a:gd name="T86" fmla="*/ 34 w 118"/>
                <a:gd name="T87" fmla="*/ 51 h 104"/>
                <a:gd name="T88" fmla="*/ 32 w 118"/>
                <a:gd name="T89" fmla="*/ 4 h 104"/>
                <a:gd name="T90" fmla="*/ 23 w 118"/>
                <a:gd name="T91" fmla="*/ 12 h 104"/>
                <a:gd name="T92" fmla="*/ 29 w 118"/>
                <a:gd name="T93" fmla="*/ 13 h 104"/>
                <a:gd name="T94" fmla="*/ 39 w 118"/>
                <a:gd name="T95" fmla="*/ 55 h 104"/>
                <a:gd name="T96" fmla="*/ 49 w 118"/>
                <a:gd name="T97" fmla="*/ 57 h 104"/>
                <a:gd name="T98" fmla="*/ 57 w 118"/>
                <a:gd name="T99" fmla="*/ 60 h 104"/>
                <a:gd name="T100" fmla="*/ 57 w 118"/>
                <a:gd name="T101" fmla="*/ 64 h 104"/>
                <a:gd name="T102" fmla="*/ 23 w 118"/>
                <a:gd name="T103" fmla="*/ 65 h 104"/>
                <a:gd name="T104" fmla="*/ 22 w 118"/>
                <a:gd name="T105" fmla="*/ 13 h 104"/>
                <a:gd name="T106" fmla="*/ 110 w 118"/>
                <a:gd name="T107" fmla="*/ 99 h 104"/>
                <a:gd name="T108" fmla="*/ 7 w 118"/>
                <a:gd name="T109" fmla="*/ 98 h 104"/>
                <a:gd name="T110" fmla="*/ 21 w 118"/>
                <a:gd name="T111" fmla="*/ 69 h 104"/>
                <a:gd name="T112" fmla="*/ 96 w 118"/>
                <a:gd name="T113" fmla="*/ 69 h 104"/>
                <a:gd name="T114" fmla="*/ 111 w 118"/>
                <a:gd name="T115" fmla="*/ 9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8" h="104">
                  <a:moveTo>
                    <a:pt x="118" y="102"/>
                  </a:moveTo>
                  <a:cubicBezTo>
                    <a:pt x="118" y="100"/>
                    <a:pt x="118" y="100"/>
                    <a:pt x="118" y="100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89" y="6"/>
                    <a:pt x="89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59" y="6"/>
                    <a:pt x="59" y="6"/>
                    <a:pt x="58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3" y="104"/>
                    <a:pt x="3" y="104"/>
                    <a:pt x="3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3"/>
                    <a:pt x="118" y="103"/>
                    <a:pt x="118" y="103"/>
                  </a:cubicBezTo>
                  <a:lnTo>
                    <a:pt x="118" y="102"/>
                  </a:lnTo>
                  <a:close/>
                  <a:moveTo>
                    <a:pt x="61" y="10"/>
                  </a:moveTo>
                  <a:cubicBezTo>
                    <a:pt x="61" y="9"/>
                    <a:pt x="61" y="9"/>
                    <a:pt x="61" y="9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1" y="56"/>
                    <a:pt x="61" y="56"/>
                  </a:cubicBezTo>
                  <a:cubicBezTo>
                    <a:pt x="61" y="55"/>
                    <a:pt x="61" y="55"/>
                    <a:pt x="61" y="55"/>
                  </a:cubicBezTo>
                  <a:lnTo>
                    <a:pt x="61" y="10"/>
                  </a:lnTo>
                  <a:close/>
                  <a:moveTo>
                    <a:pt x="61" y="61"/>
                  </a:moveTo>
                  <a:cubicBezTo>
                    <a:pt x="61" y="61"/>
                    <a:pt x="61" y="61"/>
                    <a:pt x="61" y="60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90" y="12"/>
                    <a:pt x="90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6" y="12"/>
                    <a:pt x="97" y="13"/>
                    <a:pt x="97" y="13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5"/>
                    <a:pt x="96" y="65"/>
                    <a:pt x="95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5"/>
                    <a:pt x="61" y="65"/>
                    <a:pt x="61" y="64"/>
                  </a:cubicBezTo>
                  <a:lnTo>
                    <a:pt x="61" y="61"/>
                  </a:lnTo>
                  <a:close/>
                  <a:moveTo>
                    <a:pt x="32" y="4"/>
                  </a:moveTo>
                  <a:cubicBezTo>
                    <a:pt x="32" y="4"/>
                    <a:pt x="32" y="4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10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6" y="56"/>
                    <a:pt x="56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3" y="51"/>
                    <a:pt x="32" y="51"/>
                    <a:pt x="32" y="50"/>
                  </a:cubicBezTo>
                  <a:lnTo>
                    <a:pt x="32" y="4"/>
                  </a:lnTo>
                  <a:close/>
                  <a:moveTo>
                    <a:pt x="22" y="13"/>
                  </a:moveTo>
                  <a:cubicBezTo>
                    <a:pt x="22" y="13"/>
                    <a:pt x="22" y="12"/>
                    <a:pt x="23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7" y="65"/>
                    <a:pt x="56" y="65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2" y="65"/>
                    <a:pt x="22" y="65"/>
                    <a:pt x="22" y="64"/>
                  </a:cubicBezTo>
                  <a:lnTo>
                    <a:pt x="22" y="13"/>
                  </a:lnTo>
                  <a:close/>
                  <a:moveTo>
                    <a:pt x="111" y="99"/>
                  </a:moveTo>
                  <a:cubicBezTo>
                    <a:pt x="110" y="99"/>
                    <a:pt x="110" y="99"/>
                    <a:pt x="110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7" y="98"/>
                  </a:cubicBezTo>
                  <a:cubicBezTo>
                    <a:pt x="7" y="98"/>
                    <a:pt x="7" y="98"/>
                    <a:pt x="7" y="97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2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1" y="98"/>
                    <a:pt x="111" y="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Rectangle 146">
              <a:extLst>
                <a:ext uri="{FF2B5EF4-FFF2-40B4-BE49-F238E27FC236}">
                  <a16:creationId xmlns:a16="http://schemas.microsoft.com/office/drawing/2014/main" id="{7454EAA4-7C9D-4A47-B8FD-175756F6C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" y="2206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147">
              <a:extLst>
                <a:ext uri="{FF2B5EF4-FFF2-40B4-BE49-F238E27FC236}">
                  <a16:creationId xmlns:a16="http://schemas.microsoft.com/office/drawing/2014/main" id="{B22AB946-AF5E-4DC7-B1F6-C708104A2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4" y="2176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Rectangle 148">
              <a:extLst>
                <a:ext uri="{FF2B5EF4-FFF2-40B4-BE49-F238E27FC236}">
                  <a16:creationId xmlns:a16="http://schemas.microsoft.com/office/drawing/2014/main" id="{FFC24183-347E-4512-9AAB-99A1C3C3EC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2" y="220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149">
              <a:extLst>
                <a:ext uri="{FF2B5EF4-FFF2-40B4-BE49-F238E27FC236}">
                  <a16:creationId xmlns:a16="http://schemas.microsoft.com/office/drawing/2014/main" id="{84071148-0E92-45DD-832D-59741CB7E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7" y="222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50">
              <a:extLst>
                <a:ext uri="{FF2B5EF4-FFF2-40B4-BE49-F238E27FC236}">
                  <a16:creationId xmlns:a16="http://schemas.microsoft.com/office/drawing/2014/main" id="{AE97C16C-4AB8-4274-BA8B-3D4C48E50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0" y="2178"/>
              <a:ext cx="7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1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2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3 h 4"/>
                <a:gd name="T38" fmla="*/ 2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2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2 h 4"/>
                <a:gd name="T52" fmla="*/ 3 w 3"/>
                <a:gd name="T53" fmla="*/ 1 h 4"/>
                <a:gd name="T54" fmla="*/ 3 w 3"/>
                <a:gd name="T55" fmla="*/ 1 h 4"/>
                <a:gd name="T56" fmla="*/ 2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29222D92-C6A3-49C4-98CF-827591829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4" y="2197"/>
              <a:ext cx="7" cy="9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2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1 h 4"/>
                <a:gd name="T22" fmla="*/ 3 w 3"/>
                <a:gd name="T23" fmla="*/ 1 h 4"/>
                <a:gd name="T24" fmla="*/ 3 w 3"/>
                <a:gd name="T25" fmla="*/ 0 h 4"/>
                <a:gd name="T26" fmla="*/ 3 w 3"/>
                <a:gd name="T27" fmla="*/ 0 h 4"/>
                <a:gd name="T28" fmla="*/ 3 w 3"/>
                <a:gd name="T29" fmla="*/ 0 h 4"/>
                <a:gd name="T30" fmla="*/ 2 w 3"/>
                <a:gd name="T31" fmla="*/ 0 h 4"/>
                <a:gd name="T32" fmla="*/ 2 w 3"/>
                <a:gd name="T33" fmla="*/ 0 h 4"/>
                <a:gd name="T34" fmla="*/ 1 w 3"/>
                <a:gd name="T35" fmla="*/ 0 h 4"/>
                <a:gd name="T36" fmla="*/ 0 w 3"/>
                <a:gd name="T37" fmla="*/ 1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2 h 4"/>
                <a:gd name="T46" fmla="*/ 0 w 3"/>
                <a:gd name="T47" fmla="*/ 2 h 4"/>
                <a:gd name="T48" fmla="*/ 0 w 3"/>
                <a:gd name="T49" fmla="*/ 3 h 4"/>
                <a:gd name="T50" fmla="*/ 0 w 3"/>
                <a:gd name="T5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0A6AAB83-9EBA-432E-8E28-103F06671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7" y="2178"/>
              <a:ext cx="10" cy="10"/>
            </a:xfrm>
            <a:custGeom>
              <a:avLst/>
              <a:gdLst>
                <a:gd name="T0" fmla="*/ 3 w 4"/>
                <a:gd name="T1" fmla="*/ 1 h 4"/>
                <a:gd name="T2" fmla="*/ 3 w 4"/>
                <a:gd name="T3" fmla="*/ 0 h 4"/>
                <a:gd name="T4" fmla="*/ 3 w 4"/>
                <a:gd name="T5" fmla="*/ 0 h 4"/>
                <a:gd name="T6" fmla="*/ 2 w 4"/>
                <a:gd name="T7" fmla="*/ 0 h 4"/>
                <a:gd name="T8" fmla="*/ 1 w 4"/>
                <a:gd name="T9" fmla="*/ 0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1 h 4"/>
                <a:gd name="T16" fmla="*/ 0 w 4"/>
                <a:gd name="T17" fmla="*/ 2 h 4"/>
                <a:gd name="T18" fmla="*/ 0 w 4"/>
                <a:gd name="T19" fmla="*/ 2 h 4"/>
                <a:gd name="T20" fmla="*/ 0 w 4"/>
                <a:gd name="T21" fmla="*/ 2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4 w 4"/>
                <a:gd name="T37" fmla="*/ 3 h 4"/>
                <a:gd name="T38" fmla="*/ 4 w 4"/>
                <a:gd name="T39" fmla="*/ 2 h 4"/>
                <a:gd name="T40" fmla="*/ 4 w 4"/>
                <a:gd name="T41" fmla="*/ 1 h 4"/>
                <a:gd name="T42" fmla="*/ 4 w 4"/>
                <a:gd name="T43" fmla="*/ 1 h 4"/>
                <a:gd name="T44" fmla="*/ 4 w 4"/>
                <a:gd name="T45" fmla="*/ 1 h 4"/>
                <a:gd name="T46" fmla="*/ 3 w 4"/>
                <a:gd name="T4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153">
              <a:extLst>
                <a:ext uri="{FF2B5EF4-FFF2-40B4-BE49-F238E27FC236}">
                  <a16:creationId xmlns:a16="http://schemas.microsoft.com/office/drawing/2014/main" id="{5CC76335-8953-40C4-AE3D-0A6FACC0C9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1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154">
              <a:extLst>
                <a:ext uri="{FF2B5EF4-FFF2-40B4-BE49-F238E27FC236}">
                  <a16:creationId xmlns:a16="http://schemas.microsoft.com/office/drawing/2014/main" id="{7F01C946-915B-4ECF-9442-2CBE36F3F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4" y="219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51639263-55D3-4DF5-9C74-F21308D2E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4" y="2197"/>
              <a:ext cx="7" cy="9"/>
            </a:xfrm>
            <a:custGeom>
              <a:avLst/>
              <a:gdLst>
                <a:gd name="T0" fmla="*/ 0 w 3"/>
                <a:gd name="T1" fmla="*/ 2 h 4"/>
                <a:gd name="T2" fmla="*/ 0 w 3"/>
                <a:gd name="T3" fmla="*/ 2 h 4"/>
                <a:gd name="T4" fmla="*/ 0 w 3"/>
                <a:gd name="T5" fmla="*/ 3 h 4"/>
                <a:gd name="T6" fmla="*/ 1 w 3"/>
                <a:gd name="T7" fmla="*/ 3 h 4"/>
                <a:gd name="T8" fmla="*/ 1 w 3"/>
                <a:gd name="T9" fmla="*/ 3 h 4"/>
                <a:gd name="T10" fmla="*/ 1 w 3"/>
                <a:gd name="T11" fmla="*/ 3 h 4"/>
                <a:gd name="T12" fmla="*/ 2 w 3"/>
                <a:gd name="T13" fmla="*/ 4 h 4"/>
                <a:gd name="T14" fmla="*/ 2 w 3"/>
                <a:gd name="T15" fmla="*/ 3 h 4"/>
                <a:gd name="T16" fmla="*/ 2 w 3"/>
                <a:gd name="T17" fmla="*/ 3 h 4"/>
                <a:gd name="T18" fmla="*/ 3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0 h 4"/>
                <a:gd name="T32" fmla="*/ 3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2 w 3"/>
                <a:gd name="T39" fmla="*/ 0 h 4"/>
                <a:gd name="T40" fmla="*/ 1 w 3"/>
                <a:gd name="T41" fmla="*/ 0 h 4"/>
                <a:gd name="T42" fmla="*/ 1 w 3"/>
                <a:gd name="T43" fmla="*/ 0 h 4"/>
                <a:gd name="T44" fmla="*/ 1 w 3"/>
                <a:gd name="T45" fmla="*/ 0 h 4"/>
                <a:gd name="T46" fmla="*/ 0 w 3"/>
                <a:gd name="T47" fmla="*/ 1 h 4"/>
                <a:gd name="T48" fmla="*/ 0 w 3"/>
                <a:gd name="T49" fmla="*/ 1 h 4"/>
                <a:gd name="T50" fmla="*/ 0 w 3"/>
                <a:gd name="T51" fmla="*/ 1 h 4"/>
                <a:gd name="T52" fmla="*/ 0 w 3"/>
                <a:gd name="T53" fmla="*/ 2 h 4"/>
                <a:gd name="T54" fmla="*/ 0 w 3"/>
                <a:gd name="T5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Rectangle 156">
              <a:extLst>
                <a:ext uri="{FF2B5EF4-FFF2-40B4-BE49-F238E27FC236}">
                  <a16:creationId xmlns:a16="http://schemas.microsoft.com/office/drawing/2014/main" id="{0C13F59D-DF4C-42F6-9FAF-3D8341DD1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5" y="218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EFCC7F5E-6837-4AC3-B4DA-A42FFFDB4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" y="2178"/>
              <a:ext cx="10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0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3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1FBC13ED-FC1A-4601-B14A-D23D1EEF0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" y="2178"/>
              <a:ext cx="7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1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4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65C1C3F6-EC07-4EE8-BA51-6FFAB5C4D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" y="2178"/>
              <a:ext cx="7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2 h 4"/>
                <a:gd name="T24" fmla="*/ 0 w 3"/>
                <a:gd name="T25" fmla="*/ 2 h 4"/>
                <a:gd name="T26" fmla="*/ 0 w 3"/>
                <a:gd name="T27" fmla="*/ 2 h 4"/>
                <a:gd name="T28" fmla="*/ 0 w 3"/>
                <a:gd name="T29" fmla="*/ 2 h 4"/>
                <a:gd name="T30" fmla="*/ 0 w 3"/>
                <a:gd name="T31" fmla="*/ 3 h 4"/>
                <a:gd name="T32" fmla="*/ 0 w 3"/>
                <a:gd name="T33" fmla="*/ 3 h 4"/>
                <a:gd name="T34" fmla="*/ 0 w 3"/>
                <a:gd name="T35" fmla="*/ 3 h 4"/>
                <a:gd name="T36" fmla="*/ 0 w 3"/>
                <a:gd name="T37" fmla="*/ 3 h 4"/>
                <a:gd name="T38" fmla="*/ 1 w 3"/>
                <a:gd name="T39" fmla="*/ 3 h 4"/>
                <a:gd name="T40" fmla="*/ 1 w 3"/>
                <a:gd name="T41" fmla="*/ 4 h 4"/>
                <a:gd name="T42" fmla="*/ 1 w 3"/>
                <a:gd name="T43" fmla="*/ 4 h 4"/>
                <a:gd name="T44" fmla="*/ 2 w 3"/>
                <a:gd name="T45" fmla="*/ 3 h 4"/>
                <a:gd name="T46" fmla="*/ 3 w 3"/>
                <a:gd name="T47" fmla="*/ 3 h 4"/>
                <a:gd name="T48" fmla="*/ 3 w 3"/>
                <a:gd name="T49" fmla="*/ 3 h 4"/>
                <a:gd name="T50" fmla="*/ 3 w 3"/>
                <a:gd name="T51" fmla="*/ 2 h 4"/>
                <a:gd name="T52" fmla="*/ 3 w 3"/>
                <a:gd name="T53" fmla="*/ 2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1 h 4"/>
                <a:gd name="T60" fmla="*/ 2 w 3"/>
                <a:gd name="T6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62">
            <a:extLst>
              <a:ext uri="{FF2B5EF4-FFF2-40B4-BE49-F238E27FC236}">
                <a16:creationId xmlns:a16="http://schemas.microsoft.com/office/drawing/2014/main" id="{7F1C0D89-A8BB-4EFE-8CF2-3506070F2F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337" y="2852668"/>
            <a:ext cx="758952" cy="758952"/>
            <a:chOff x="2358" y="1927"/>
            <a:chExt cx="530" cy="530"/>
          </a:xfrm>
        </p:grpSpPr>
        <p:sp>
          <p:nvSpPr>
            <p:cNvPr id="183" name="AutoShape 161">
              <a:extLst>
                <a:ext uri="{FF2B5EF4-FFF2-40B4-BE49-F238E27FC236}">
                  <a16:creationId xmlns:a16="http://schemas.microsoft.com/office/drawing/2014/main" id="{251D5AE6-E85C-4FAB-AAEF-9D21A7A0083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58" y="192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63">
              <a:extLst>
                <a:ext uri="{FF2B5EF4-FFF2-40B4-BE49-F238E27FC236}">
                  <a16:creationId xmlns:a16="http://schemas.microsoft.com/office/drawing/2014/main" id="{BC10476D-87DA-4765-ACAE-FAC746C51A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1" y="1930"/>
              <a:ext cx="527" cy="52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4">
              <a:extLst>
                <a:ext uri="{FF2B5EF4-FFF2-40B4-BE49-F238E27FC236}">
                  <a16:creationId xmlns:a16="http://schemas.microsoft.com/office/drawing/2014/main" id="{C44DEC62-EC6A-4F0C-9ADB-D59762B62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2286"/>
              <a:ext cx="38" cy="8"/>
            </a:xfrm>
            <a:custGeom>
              <a:avLst/>
              <a:gdLst>
                <a:gd name="T0" fmla="*/ 0 w 14"/>
                <a:gd name="T1" fmla="*/ 2 h 3"/>
                <a:gd name="T2" fmla="*/ 0 w 14"/>
                <a:gd name="T3" fmla="*/ 3 h 3"/>
                <a:gd name="T4" fmla="*/ 0 w 14"/>
                <a:gd name="T5" fmla="*/ 3 h 3"/>
                <a:gd name="T6" fmla="*/ 1 w 14"/>
                <a:gd name="T7" fmla="*/ 3 h 3"/>
                <a:gd name="T8" fmla="*/ 1 w 14"/>
                <a:gd name="T9" fmla="*/ 3 h 3"/>
                <a:gd name="T10" fmla="*/ 14 w 14"/>
                <a:gd name="T11" fmla="*/ 3 h 3"/>
                <a:gd name="T12" fmla="*/ 14 w 14"/>
                <a:gd name="T13" fmla="*/ 3 h 3"/>
                <a:gd name="T14" fmla="*/ 14 w 14"/>
                <a:gd name="T15" fmla="*/ 3 h 3"/>
                <a:gd name="T16" fmla="*/ 14 w 14"/>
                <a:gd name="T17" fmla="*/ 2 h 3"/>
                <a:gd name="T18" fmla="*/ 14 w 14"/>
                <a:gd name="T19" fmla="*/ 2 h 3"/>
                <a:gd name="T20" fmla="*/ 14 w 14"/>
                <a:gd name="T21" fmla="*/ 1 h 3"/>
                <a:gd name="T22" fmla="*/ 14 w 14"/>
                <a:gd name="T23" fmla="*/ 1 h 3"/>
                <a:gd name="T24" fmla="*/ 14 w 14"/>
                <a:gd name="T25" fmla="*/ 0 h 3"/>
                <a:gd name="T26" fmla="*/ 14 w 14"/>
                <a:gd name="T27" fmla="*/ 0 h 3"/>
                <a:gd name="T28" fmla="*/ 13 w 14"/>
                <a:gd name="T29" fmla="*/ 0 h 3"/>
                <a:gd name="T30" fmla="*/ 13 w 14"/>
                <a:gd name="T31" fmla="*/ 0 h 3"/>
                <a:gd name="T32" fmla="*/ 13 w 14"/>
                <a:gd name="T33" fmla="*/ 0 h 3"/>
                <a:gd name="T34" fmla="*/ 1 w 14"/>
                <a:gd name="T35" fmla="*/ 0 h 3"/>
                <a:gd name="T36" fmla="*/ 0 w 14"/>
                <a:gd name="T37" fmla="*/ 0 h 3"/>
                <a:gd name="T38" fmla="*/ 0 w 14"/>
                <a:gd name="T39" fmla="*/ 0 h 3"/>
                <a:gd name="T40" fmla="*/ 0 w 14"/>
                <a:gd name="T41" fmla="*/ 1 h 3"/>
                <a:gd name="T42" fmla="*/ 0 w 14"/>
                <a:gd name="T43" fmla="*/ 1 h 3"/>
                <a:gd name="T44" fmla="*/ 0 w 14"/>
                <a:gd name="T45" fmla="*/ 2 h 3"/>
                <a:gd name="T46" fmla="*/ 0 w 14"/>
                <a:gd name="T4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3">
                  <a:moveTo>
                    <a:pt x="0" y="2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5">
              <a:extLst>
                <a:ext uri="{FF2B5EF4-FFF2-40B4-BE49-F238E27FC236}">
                  <a16:creationId xmlns:a16="http://schemas.microsoft.com/office/drawing/2014/main" id="{757E598D-114C-489B-9EBE-92ACA8F30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" y="2261"/>
              <a:ext cx="8" cy="11"/>
            </a:xfrm>
            <a:custGeom>
              <a:avLst/>
              <a:gdLst>
                <a:gd name="T0" fmla="*/ 3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3 h 4"/>
                <a:gd name="T36" fmla="*/ 2 w 3"/>
                <a:gd name="T37" fmla="*/ 3 h 4"/>
                <a:gd name="T38" fmla="*/ 3 w 3"/>
                <a:gd name="T39" fmla="*/ 3 h 4"/>
                <a:gd name="T40" fmla="*/ 3 w 3"/>
                <a:gd name="T41" fmla="*/ 2 h 4"/>
                <a:gd name="T42" fmla="*/ 3 w 3"/>
                <a:gd name="T43" fmla="*/ 2 h 4"/>
                <a:gd name="T44" fmla="*/ 3 w 3"/>
                <a:gd name="T45" fmla="*/ 2 h 4"/>
                <a:gd name="T46" fmla="*/ 3 w 3"/>
                <a:gd name="T47" fmla="*/ 1 h 4"/>
                <a:gd name="T48" fmla="*/ 3 w 3"/>
                <a:gd name="T49" fmla="*/ 1 h 4"/>
                <a:gd name="T50" fmla="*/ 3 w 3"/>
                <a:gd name="T5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66">
              <a:extLst>
                <a:ext uri="{FF2B5EF4-FFF2-40B4-BE49-F238E27FC236}">
                  <a16:creationId xmlns:a16="http://schemas.microsoft.com/office/drawing/2014/main" id="{5E88EBF0-2F24-49E2-B226-37BC9FC32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2261"/>
              <a:ext cx="8" cy="11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3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2 h 4"/>
                <a:gd name="T22" fmla="*/ 3 w 3"/>
                <a:gd name="T23" fmla="*/ 1 h 4"/>
                <a:gd name="T24" fmla="*/ 3 w 3"/>
                <a:gd name="T25" fmla="*/ 1 h 4"/>
                <a:gd name="T26" fmla="*/ 3 w 3"/>
                <a:gd name="T27" fmla="*/ 0 h 4"/>
                <a:gd name="T28" fmla="*/ 2 w 3"/>
                <a:gd name="T29" fmla="*/ 0 h 4"/>
                <a:gd name="T30" fmla="*/ 2 w 3"/>
                <a:gd name="T31" fmla="*/ 0 h 4"/>
                <a:gd name="T32" fmla="*/ 1 w 3"/>
                <a:gd name="T33" fmla="*/ 0 h 4"/>
                <a:gd name="T34" fmla="*/ 1 w 3"/>
                <a:gd name="T35" fmla="*/ 0 h 4"/>
                <a:gd name="T36" fmla="*/ 1 w 3"/>
                <a:gd name="T37" fmla="*/ 0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167">
              <a:extLst>
                <a:ext uri="{FF2B5EF4-FFF2-40B4-BE49-F238E27FC236}">
                  <a16:creationId xmlns:a16="http://schemas.microsoft.com/office/drawing/2014/main" id="{D01F68AA-5853-4A28-BD7C-FA4976F9D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8">
              <a:extLst>
                <a:ext uri="{FF2B5EF4-FFF2-40B4-BE49-F238E27FC236}">
                  <a16:creationId xmlns:a16="http://schemas.microsoft.com/office/drawing/2014/main" id="{5863BBEF-6540-4589-BFA9-6F30C0C21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" y="2261"/>
              <a:ext cx="8" cy="11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0 h 4"/>
                <a:gd name="T4" fmla="*/ 0 w 3"/>
                <a:gd name="T5" fmla="*/ 0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2 h 4"/>
                <a:gd name="T16" fmla="*/ 0 w 3"/>
                <a:gd name="T17" fmla="*/ 3 h 4"/>
                <a:gd name="T18" fmla="*/ 1 w 3"/>
                <a:gd name="T19" fmla="*/ 3 h 4"/>
                <a:gd name="T20" fmla="*/ 1 w 3"/>
                <a:gd name="T21" fmla="*/ 3 h 4"/>
                <a:gd name="T22" fmla="*/ 1 w 3"/>
                <a:gd name="T23" fmla="*/ 4 h 4"/>
                <a:gd name="T24" fmla="*/ 2 w 3"/>
                <a:gd name="T25" fmla="*/ 3 h 4"/>
                <a:gd name="T26" fmla="*/ 2 w 3"/>
                <a:gd name="T27" fmla="*/ 3 h 4"/>
                <a:gd name="T28" fmla="*/ 3 w 3"/>
                <a:gd name="T29" fmla="*/ 3 h 4"/>
                <a:gd name="T30" fmla="*/ 3 w 3"/>
                <a:gd name="T31" fmla="*/ 3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2 h 4"/>
                <a:gd name="T38" fmla="*/ 3 w 3"/>
                <a:gd name="T39" fmla="*/ 1 h 4"/>
                <a:gd name="T40" fmla="*/ 3 w 3"/>
                <a:gd name="T41" fmla="*/ 1 h 4"/>
                <a:gd name="T42" fmla="*/ 3 w 3"/>
                <a:gd name="T43" fmla="*/ 1 h 4"/>
                <a:gd name="T44" fmla="*/ 3 w 3"/>
                <a:gd name="T45" fmla="*/ 0 h 4"/>
                <a:gd name="T46" fmla="*/ 3 w 3"/>
                <a:gd name="T47" fmla="*/ 0 h 4"/>
                <a:gd name="T48" fmla="*/ 2 w 3"/>
                <a:gd name="T4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169">
              <a:extLst>
                <a:ext uri="{FF2B5EF4-FFF2-40B4-BE49-F238E27FC236}">
                  <a16:creationId xmlns:a16="http://schemas.microsoft.com/office/drawing/2014/main" id="{4340A4E1-0E3B-42BC-8165-056B0C545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7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70">
              <a:extLst>
                <a:ext uri="{FF2B5EF4-FFF2-40B4-BE49-F238E27FC236}">
                  <a16:creationId xmlns:a16="http://schemas.microsoft.com/office/drawing/2014/main" id="{851CD8E5-E3FF-4F71-BA81-AFA7982059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4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171">
              <a:extLst>
                <a:ext uri="{FF2B5EF4-FFF2-40B4-BE49-F238E27FC236}">
                  <a16:creationId xmlns:a16="http://schemas.microsoft.com/office/drawing/2014/main" id="{F75D8E26-419D-419A-8838-FFB666C1B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4" y="225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72">
              <a:extLst>
                <a:ext uri="{FF2B5EF4-FFF2-40B4-BE49-F238E27FC236}">
                  <a16:creationId xmlns:a16="http://schemas.microsoft.com/office/drawing/2014/main" id="{92748294-EFA4-481C-85A3-61C280378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" y="228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173">
              <a:extLst>
                <a:ext uri="{FF2B5EF4-FFF2-40B4-BE49-F238E27FC236}">
                  <a16:creationId xmlns:a16="http://schemas.microsoft.com/office/drawing/2014/main" id="{CECFF18B-8E04-473E-A51B-D895E1A51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1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74">
              <a:extLst>
                <a:ext uri="{FF2B5EF4-FFF2-40B4-BE49-F238E27FC236}">
                  <a16:creationId xmlns:a16="http://schemas.microsoft.com/office/drawing/2014/main" id="{5FE51A17-0340-40EC-9658-BE5C1FF3EB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25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75">
              <a:extLst>
                <a:ext uri="{FF2B5EF4-FFF2-40B4-BE49-F238E27FC236}">
                  <a16:creationId xmlns:a16="http://schemas.microsoft.com/office/drawing/2014/main" id="{EC983C65-1B72-484D-9BDD-AAFFD3D57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4" y="2261"/>
              <a:ext cx="8" cy="11"/>
            </a:xfrm>
            <a:custGeom>
              <a:avLst/>
              <a:gdLst>
                <a:gd name="T0" fmla="*/ 1 w 3"/>
                <a:gd name="T1" fmla="*/ 0 h 4"/>
                <a:gd name="T2" fmla="*/ 0 w 3"/>
                <a:gd name="T3" fmla="*/ 0 h 4"/>
                <a:gd name="T4" fmla="*/ 0 w 3"/>
                <a:gd name="T5" fmla="*/ 1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3 h 4"/>
                <a:gd name="T16" fmla="*/ 0 w 3"/>
                <a:gd name="T17" fmla="*/ 3 h 4"/>
                <a:gd name="T18" fmla="*/ 1 w 3"/>
                <a:gd name="T19" fmla="*/ 3 h 4"/>
                <a:gd name="T20" fmla="*/ 2 w 3"/>
                <a:gd name="T21" fmla="*/ 4 h 4"/>
                <a:gd name="T22" fmla="*/ 2 w 3"/>
                <a:gd name="T23" fmla="*/ 3 h 4"/>
                <a:gd name="T24" fmla="*/ 2 w 3"/>
                <a:gd name="T25" fmla="*/ 3 h 4"/>
                <a:gd name="T26" fmla="*/ 3 w 3"/>
                <a:gd name="T27" fmla="*/ 3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1 h 4"/>
                <a:gd name="T34" fmla="*/ 3 w 3"/>
                <a:gd name="T35" fmla="*/ 1 h 4"/>
                <a:gd name="T36" fmla="*/ 2 w 3"/>
                <a:gd name="T37" fmla="*/ 0 h 4"/>
                <a:gd name="T38" fmla="*/ 1 w 3"/>
                <a:gd name="T3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76">
              <a:extLst>
                <a:ext uri="{FF2B5EF4-FFF2-40B4-BE49-F238E27FC236}">
                  <a16:creationId xmlns:a16="http://schemas.microsoft.com/office/drawing/2014/main" id="{7A9810C4-3845-4110-A06A-8AC15A2C3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8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77">
              <a:extLst>
                <a:ext uri="{FF2B5EF4-FFF2-40B4-BE49-F238E27FC236}">
                  <a16:creationId xmlns:a16="http://schemas.microsoft.com/office/drawing/2014/main" id="{0B9EBBAF-8086-4EF6-9B20-141E1F4DA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261"/>
              <a:ext cx="8" cy="11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2 h 4"/>
                <a:gd name="T8" fmla="*/ 0 w 3"/>
                <a:gd name="T9" fmla="*/ 3 h 4"/>
                <a:gd name="T10" fmla="*/ 0 w 3"/>
                <a:gd name="T11" fmla="*/ 3 h 4"/>
                <a:gd name="T12" fmla="*/ 1 w 3"/>
                <a:gd name="T13" fmla="*/ 4 h 4"/>
                <a:gd name="T14" fmla="*/ 2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2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1 h 4"/>
                <a:gd name="T38" fmla="*/ 3 w 3"/>
                <a:gd name="T39" fmla="*/ 1 h 4"/>
                <a:gd name="T40" fmla="*/ 3 w 3"/>
                <a:gd name="T41" fmla="*/ 0 h 4"/>
                <a:gd name="T42" fmla="*/ 2 w 3"/>
                <a:gd name="T43" fmla="*/ 0 h 4"/>
                <a:gd name="T44" fmla="*/ 2 w 3"/>
                <a:gd name="T45" fmla="*/ 0 h 4"/>
                <a:gd name="T46" fmla="*/ 1 w 3"/>
                <a:gd name="T47" fmla="*/ 0 h 4"/>
                <a:gd name="T48" fmla="*/ 1 w 3"/>
                <a:gd name="T49" fmla="*/ 0 h 4"/>
                <a:gd name="T50" fmla="*/ 1 w 3"/>
                <a:gd name="T51" fmla="*/ 0 h 4"/>
                <a:gd name="T52" fmla="*/ 0 w 3"/>
                <a:gd name="T53" fmla="*/ 1 h 4"/>
                <a:gd name="T54" fmla="*/ 0 w 3"/>
                <a:gd name="T55" fmla="*/ 1 h 4"/>
                <a:gd name="T56" fmla="*/ 0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78">
              <a:extLst>
                <a:ext uri="{FF2B5EF4-FFF2-40B4-BE49-F238E27FC236}">
                  <a16:creationId xmlns:a16="http://schemas.microsoft.com/office/drawing/2014/main" id="{5EACD998-538D-46C9-B424-952D5E211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2261"/>
              <a:ext cx="8" cy="11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3 h 4"/>
                <a:gd name="T8" fmla="*/ 0 w 3"/>
                <a:gd name="T9" fmla="*/ 3 h 4"/>
                <a:gd name="T10" fmla="*/ 1 w 3"/>
                <a:gd name="T11" fmla="*/ 3 h 4"/>
                <a:gd name="T12" fmla="*/ 1 w 3"/>
                <a:gd name="T13" fmla="*/ 3 h 4"/>
                <a:gd name="T14" fmla="*/ 1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1 h 4"/>
                <a:gd name="T32" fmla="*/ 2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1 w 3"/>
                <a:gd name="T39" fmla="*/ 0 h 4"/>
                <a:gd name="T40" fmla="*/ 1 w 3"/>
                <a:gd name="T41" fmla="*/ 0 h 4"/>
                <a:gd name="T42" fmla="*/ 0 w 3"/>
                <a:gd name="T43" fmla="*/ 0 h 4"/>
                <a:gd name="T44" fmla="*/ 0 w 3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179">
              <a:extLst>
                <a:ext uri="{FF2B5EF4-FFF2-40B4-BE49-F238E27FC236}">
                  <a16:creationId xmlns:a16="http://schemas.microsoft.com/office/drawing/2014/main" id="{6A1CD858-E33C-41A2-9473-5F198F7FF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80">
              <a:extLst>
                <a:ext uri="{FF2B5EF4-FFF2-40B4-BE49-F238E27FC236}">
                  <a16:creationId xmlns:a16="http://schemas.microsoft.com/office/drawing/2014/main" id="{C7CA0EC6-0CA0-40EC-A5C1-B384CD79FA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9" y="226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181">
              <a:extLst>
                <a:ext uri="{FF2B5EF4-FFF2-40B4-BE49-F238E27FC236}">
                  <a16:creationId xmlns:a16="http://schemas.microsoft.com/office/drawing/2014/main" id="{755DFD32-9FAF-49A3-8E9C-E3E7E9906B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0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Rectangle 182">
              <a:extLst>
                <a:ext uri="{FF2B5EF4-FFF2-40B4-BE49-F238E27FC236}">
                  <a16:creationId xmlns:a16="http://schemas.microsoft.com/office/drawing/2014/main" id="{B0EF1B26-2C4E-4F57-B1C3-F0FFEFF7E2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3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83">
              <a:extLst>
                <a:ext uri="{FF2B5EF4-FFF2-40B4-BE49-F238E27FC236}">
                  <a16:creationId xmlns:a16="http://schemas.microsoft.com/office/drawing/2014/main" id="{4779534D-0F83-479A-A70D-FC36DD6B8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0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184">
              <a:extLst>
                <a:ext uri="{FF2B5EF4-FFF2-40B4-BE49-F238E27FC236}">
                  <a16:creationId xmlns:a16="http://schemas.microsoft.com/office/drawing/2014/main" id="{8B7E04B8-CA78-4CAA-8241-876785D10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185">
              <a:extLst>
                <a:ext uri="{FF2B5EF4-FFF2-40B4-BE49-F238E27FC236}">
                  <a16:creationId xmlns:a16="http://schemas.microsoft.com/office/drawing/2014/main" id="{4F7D2D03-3756-42D0-B279-6290B745C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5" y="224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86">
              <a:extLst>
                <a:ext uri="{FF2B5EF4-FFF2-40B4-BE49-F238E27FC236}">
                  <a16:creationId xmlns:a16="http://schemas.microsoft.com/office/drawing/2014/main" id="{5CF0405A-2E90-4FB9-A286-D2065A637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2240"/>
              <a:ext cx="11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1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2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187">
              <a:extLst>
                <a:ext uri="{FF2B5EF4-FFF2-40B4-BE49-F238E27FC236}">
                  <a16:creationId xmlns:a16="http://schemas.microsoft.com/office/drawing/2014/main" id="{77713893-BAF8-41CC-8464-54C107A87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2" y="22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188">
              <a:extLst>
                <a:ext uri="{FF2B5EF4-FFF2-40B4-BE49-F238E27FC236}">
                  <a16:creationId xmlns:a16="http://schemas.microsoft.com/office/drawing/2014/main" id="{89272E41-5366-4277-87BC-10A400AF4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2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189">
              <a:extLst>
                <a:ext uri="{FF2B5EF4-FFF2-40B4-BE49-F238E27FC236}">
                  <a16:creationId xmlns:a16="http://schemas.microsoft.com/office/drawing/2014/main" id="{0802F005-7BD1-478B-A829-F7ABF6A68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90">
              <a:extLst>
                <a:ext uri="{FF2B5EF4-FFF2-40B4-BE49-F238E27FC236}">
                  <a16:creationId xmlns:a16="http://schemas.microsoft.com/office/drawing/2014/main" id="{54896EC0-1EFF-4C0A-831C-C33F1C0C7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" y="2240"/>
              <a:ext cx="8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2 w 3"/>
                <a:gd name="T7" fmla="*/ 0 h 4"/>
                <a:gd name="T8" fmla="*/ 1 w 3"/>
                <a:gd name="T9" fmla="*/ 0 h 4"/>
                <a:gd name="T10" fmla="*/ 1 w 3"/>
                <a:gd name="T11" fmla="*/ 0 h 4"/>
                <a:gd name="T12" fmla="*/ 1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4 h 4"/>
                <a:gd name="T36" fmla="*/ 3 w 3"/>
                <a:gd name="T37" fmla="*/ 3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91">
              <a:extLst>
                <a:ext uri="{FF2B5EF4-FFF2-40B4-BE49-F238E27FC236}">
                  <a16:creationId xmlns:a16="http://schemas.microsoft.com/office/drawing/2014/main" id="{9724C931-FA01-4ED4-8E14-762ECFDE4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4" y="2041"/>
              <a:ext cx="321" cy="283"/>
            </a:xfrm>
            <a:custGeom>
              <a:avLst/>
              <a:gdLst>
                <a:gd name="T0" fmla="*/ 118 w 118"/>
                <a:gd name="T1" fmla="*/ 100 h 104"/>
                <a:gd name="T2" fmla="*/ 102 w 118"/>
                <a:gd name="T3" fmla="*/ 66 h 104"/>
                <a:gd name="T4" fmla="*/ 100 w 118"/>
                <a:gd name="T5" fmla="*/ 7 h 104"/>
                <a:gd name="T6" fmla="*/ 99 w 118"/>
                <a:gd name="T7" fmla="*/ 7 h 104"/>
                <a:gd name="T8" fmla="*/ 89 w 118"/>
                <a:gd name="T9" fmla="*/ 6 h 104"/>
                <a:gd name="T10" fmla="*/ 80 w 118"/>
                <a:gd name="T11" fmla="*/ 0 h 104"/>
                <a:gd name="T12" fmla="*/ 67 w 118"/>
                <a:gd name="T13" fmla="*/ 2 h 104"/>
                <a:gd name="T14" fmla="*/ 58 w 118"/>
                <a:gd name="T15" fmla="*/ 6 h 104"/>
                <a:gd name="T16" fmla="*/ 49 w 118"/>
                <a:gd name="T17" fmla="*/ 1 h 104"/>
                <a:gd name="T18" fmla="*/ 34 w 118"/>
                <a:gd name="T19" fmla="*/ 0 h 104"/>
                <a:gd name="T20" fmla="*/ 29 w 118"/>
                <a:gd name="T21" fmla="*/ 6 h 104"/>
                <a:gd name="T22" fmla="*/ 17 w 118"/>
                <a:gd name="T23" fmla="*/ 7 h 104"/>
                <a:gd name="T24" fmla="*/ 16 w 118"/>
                <a:gd name="T25" fmla="*/ 9 h 104"/>
                <a:gd name="T26" fmla="*/ 16 w 118"/>
                <a:gd name="T27" fmla="*/ 66 h 104"/>
                <a:gd name="T28" fmla="*/ 0 w 118"/>
                <a:gd name="T29" fmla="*/ 102 h 104"/>
                <a:gd name="T30" fmla="*/ 1 w 118"/>
                <a:gd name="T31" fmla="*/ 104 h 104"/>
                <a:gd name="T32" fmla="*/ 117 w 118"/>
                <a:gd name="T33" fmla="*/ 104 h 104"/>
                <a:gd name="T34" fmla="*/ 118 w 118"/>
                <a:gd name="T35" fmla="*/ 103 h 104"/>
                <a:gd name="T36" fmla="*/ 61 w 118"/>
                <a:gd name="T37" fmla="*/ 10 h 104"/>
                <a:gd name="T38" fmla="*/ 65 w 118"/>
                <a:gd name="T39" fmla="*/ 7 h 104"/>
                <a:gd name="T40" fmla="*/ 74 w 118"/>
                <a:gd name="T41" fmla="*/ 4 h 104"/>
                <a:gd name="T42" fmla="*/ 85 w 118"/>
                <a:gd name="T43" fmla="*/ 3 h 104"/>
                <a:gd name="T44" fmla="*/ 86 w 118"/>
                <a:gd name="T45" fmla="*/ 4 h 104"/>
                <a:gd name="T46" fmla="*/ 85 w 118"/>
                <a:gd name="T47" fmla="*/ 51 h 104"/>
                <a:gd name="T48" fmla="*/ 70 w 118"/>
                <a:gd name="T49" fmla="*/ 53 h 104"/>
                <a:gd name="T50" fmla="*/ 62 w 118"/>
                <a:gd name="T51" fmla="*/ 56 h 104"/>
                <a:gd name="T52" fmla="*/ 61 w 118"/>
                <a:gd name="T53" fmla="*/ 56 h 104"/>
                <a:gd name="T54" fmla="*/ 61 w 118"/>
                <a:gd name="T55" fmla="*/ 10 h 104"/>
                <a:gd name="T56" fmla="*/ 61 w 118"/>
                <a:gd name="T57" fmla="*/ 60 h 104"/>
                <a:gd name="T58" fmla="*/ 71 w 118"/>
                <a:gd name="T59" fmla="*/ 56 h 104"/>
                <a:gd name="T60" fmla="*/ 82 w 118"/>
                <a:gd name="T61" fmla="*/ 55 h 104"/>
                <a:gd name="T62" fmla="*/ 89 w 118"/>
                <a:gd name="T63" fmla="*/ 13 h 104"/>
                <a:gd name="T64" fmla="*/ 95 w 118"/>
                <a:gd name="T65" fmla="*/ 12 h 104"/>
                <a:gd name="T66" fmla="*/ 97 w 118"/>
                <a:gd name="T67" fmla="*/ 64 h 104"/>
                <a:gd name="T68" fmla="*/ 62 w 118"/>
                <a:gd name="T69" fmla="*/ 65 h 104"/>
                <a:gd name="T70" fmla="*/ 61 w 118"/>
                <a:gd name="T71" fmla="*/ 61 h 104"/>
                <a:gd name="T72" fmla="*/ 33 w 118"/>
                <a:gd name="T73" fmla="*/ 3 h 104"/>
                <a:gd name="T74" fmla="*/ 41 w 118"/>
                <a:gd name="T75" fmla="*/ 4 h 104"/>
                <a:gd name="T76" fmla="*/ 53 w 118"/>
                <a:gd name="T77" fmla="*/ 6 h 104"/>
                <a:gd name="T78" fmla="*/ 57 w 118"/>
                <a:gd name="T79" fmla="*/ 10 h 104"/>
                <a:gd name="T80" fmla="*/ 57 w 118"/>
                <a:gd name="T81" fmla="*/ 56 h 104"/>
                <a:gd name="T82" fmla="*/ 56 w 118"/>
                <a:gd name="T83" fmla="*/ 56 h 104"/>
                <a:gd name="T84" fmla="*/ 43 w 118"/>
                <a:gd name="T85" fmla="*/ 52 h 104"/>
                <a:gd name="T86" fmla="*/ 34 w 118"/>
                <a:gd name="T87" fmla="*/ 51 h 104"/>
                <a:gd name="T88" fmla="*/ 32 w 118"/>
                <a:gd name="T89" fmla="*/ 4 h 104"/>
                <a:gd name="T90" fmla="*/ 23 w 118"/>
                <a:gd name="T91" fmla="*/ 12 h 104"/>
                <a:gd name="T92" fmla="*/ 29 w 118"/>
                <a:gd name="T93" fmla="*/ 13 h 104"/>
                <a:gd name="T94" fmla="*/ 39 w 118"/>
                <a:gd name="T95" fmla="*/ 55 h 104"/>
                <a:gd name="T96" fmla="*/ 49 w 118"/>
                <a:gd name="T97" fmla="*/ 57 h 104"/>
                <a:gd name="T98" fmla="*/ 57 w 118"/>
                <a:gd name="T99" fmla="*/ 60 h 104"/>
                <a:gd name="T100" fmla="*/ 57 w 118"/>
                <a:gd name="T101" fmla="*/ 64 h 104"/>
                <a:gd name="T102" fmla="*/ 23 w 118"/>
                <a:gd name="T103" fmla="*/ 65 h 104"/>
                <a:gd name="T104" fmla="*/ 22 w 118"/>
                <a:gd name="T105" fmla="*/ 13 h 104"/>
                <a:gd name="T106" fmla="*/ 110 w 118"/>
                <a:gd name="T107" fmla="*/ 99 h 104"/>
                <a:gd name="T108" fmla="*/ 7 w 118"/>
                <a:gd name="T109" fmla="*/ 98 h 104"/>
                <a:gd name="T110" fmla="*/ 21 w 118"/>
                <a:gd name="T111" fmla="*/ 69 h 104"/>
                <a:gd name="T112" fmla="*/ 96 w 118"/>
                <a:gd name="T113" fmla="*/ 69 h 104"/>
                <a:gd name="T114" fmla="*/ 111 w 118"/>
                <a:gd name="T115" fmla="*/ 9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8" h="104">
                  <a:moveTo>
                    <a:pt x="118" y="102"/>
                  </a:moveTo>
                  <a:cubicBezTo>
                    <a:pt x="118" y="100"/>
                    <a:pt x="118" y="100"/>
                    <a:pt x="118" y="100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89" y="6"/>
                    <a:pt x="89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59" y="6"/>
                    <a:pt x="59" y="6"/>
                    <a:pt x="58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3" y="104"/>
                    <a:pt x="3" y="104"/>
                    <a:pt x="3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3"/>
                    <a:pt x="118" y="103"/>
                    <a:pt x="118" y="103"/>
                  </a:cubicBezTo>
                  <a:lnTo>
                    <a:pt x="118" y="102"/>
                  </a:lnTo>
                  <a:close/>
                  <a:moveTo>
                    <a:pt x="61" y="10"/>
                  </a:moveTo>
                  <a:cubicBezTo>
                    <a:pt x="61" y="9"/>
                    <a:pt x="61" y="9"/>
                    <a:pt x="61" y="9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1" y="56"/>
                    <a:pt x="61" y="56"/>
                  </a:cubicBezTo>
                  <a:cubicBezTo>
                    <a:pt x="61" y="55"/>
                    <a:pt x="61" y="55"/>
                    <a:pt x="61" y="55"/>
                  </a:cubicBezTo>
                  <a:lnTo>
                    <a:pt x="61" y="10"/>
                  </a:lnTo>
                  <a:close/>
                  <a:moveTo>
                    <a:pt x="61" y="61"/>
                  </a:moveTo>
                  <a:cubicBezTo>
                    <a:pt x="61" y="61"/>
                    <a:pt x="61" y="61"/>
                    <a:pt x="61" y="60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90" y="12"/>
                    <a:pt x="90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6" y="12"/>
                    <a:pt x="97" y="13"/>
                    <a:pt x="97" y="13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5"/>
                    <a:pt x="96" y="65"/>
                    <a:pt x="95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5"/>
                    <a:pt x="61" y="65"/>
                    <a:pt x="61" y="64"/>
                  </a:cubicBezTo>
                  <a:lnTo>
                    <a:pt x="61" y="61"/>
                  </a:lnTo>
                  <a:close/>
                  <a:moveTo>
                    <a:pt x="32" y="4"/>
                  </a:moveTo>
                  <a:cubicBezTo>
                    <a:pt x="32" y="4"/>
                    <a:pt x="32" y="4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10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6" y="56"/>
                    <a:pt x="56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3" y="51"/>
                    <a:pt x="32" y="51"/>
                    <a:pt x="32" y="50"/>
                  </a:cubicBezTo>
                  <a:lnTo>
                    <a:pt x="32" y="4"/>
                  </a:lnTo>
                  <a:close/>
                  <a:moveTo>
                    <a:pt x="22" y="13"/>
                  </a:moveTo>
                  <a:cubicBezTo>
                    <a:pt x="22" y="13"/>
                    <a:pt x="22" y="12"/>
                    <a:pt x="23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7" y="65"/>
                    <a:pt x="56" y="65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2" y="65"/>
                    <a:pt x="22" y="65"/>
                    <a:pt x="22" y="64"/>
                  </a:cubicBezTo>
                  <a:lnTo>
                    <a:pt x="22" y="13"/>
                  </a:lnTo>
                  <a:close/>
                  <a:moveTo>
                    <a:pt x="111" y="99"/>
                  </a:moveTo>
                  <a:cubicBezTo>
                    <a:pt x="110" y="99"/>
                    <a:pt x="110" y="99"/>
                    <a:pt x="110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7" y="98"/>
                  </a:cubicBezTo>
                  <a:cubicBezTo>
                    <a:pt x="7" y="98"/>
                    <a:pt x="7" y="98"/>
                    <a:pt x="7" y="97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2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1" y="98"/>
                    <a:pt x="111" y="99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192">
              <a:extLst>
                <a:ext uri="{FF2B5EF4-FFF2-40B4-BE49-F238E27FC236}">
                  <a16:creationId xmlns:a16="http://schemas.microsoft.com/office/drawing/2014/main" id="{1684E25F-92CB-45CB-9D68-25A06369C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6" y="22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Rectangle 193">
              <a:extLst>
                <a:ext uri="{FF2B5EF4-FFF2-40B4-BE49-F238E27FC236}">
                  <a16:creationId xmlns:a16="http://schemas.microsoft.com/office/drawing/2014/main" id="{222BD7E0-990E-42C7-93F8-290AC6856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1" y="223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Rectangle 194">
              <a:extLst>
                <a:ext uri="{FF2B5EF4-FFF2-40B4-BE49-F238E27FC236}">
                  <a16:creationId xmlns:a16="http://schemas.microsoft.com/office/drawing/2014/main" id="{15C3F21E-6B52-47E3-AAEC-05082559CD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3" y="226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Rectangle 195">
              <a:extLst>
                <a:ext uri="{FF2B5EF4-FFF2-40B4-BE49-F238E27FC236}">
                  <a16:creationId xmlns:a16="http://schemas.microsoft.com/office/drawing/2014/main" id="{9C1C0B7C-FF32-4261-919E-029996A7B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3" y="229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96">
              <a:extLst>
                <a:ext uri="{FF2B5EF4-FFF2-40B4-BE49-F238E27FC236}">
                  <a16:creationId xmlns:a16="http://schemas.microsoft.com/office/drawing/2014/main" id="{2A996F56-52C2-44E7-AB23-86518EFC1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240"/>
              <a:ext cx="9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1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2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3 h 4"/>
                <a:gd name="T38" fmla="*/ 2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2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2 h 4"/>
                <a:gd name="T52" fmla="*/ 3 w 3"/>
                <a:gd name="T53" fmla="*/ 1 h 4"/>
                <a:gd name="T54" fmla="*/ 3 w 3"/>
                <a:gd name="T55" fmla="*/ 1 h 4"/>
                <a:gd name="T56" fmla="*/ 2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97">
              <a:extLst>
                <a:ext uri="{FF2B5EF4-FFF2-40B4-BE49-F238E27FC236}">
                  <a16:creationId xmlns:a16="http://schemas.microsoft.com/office/drawing/2014/main" id="{F86FBC69-A662-45D1-982C-9A2888C30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" y="2261"/>
              <a:ext cx="8" cy="11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2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1 h 4"/>
                <a:gd name="T22" fmla="*/ 3 w 3"/>
                <a:gd name="T23" fmla="*/ 1 h 4"/>
                <a:gd name="T24" fmla="*/ 3 w 3"/>
                <a:gd name="T25" fmla="*/ 0 h 4"/>
                <a:gd name="T26" fmla="*/ 3 w 3"/>
                <a:gd name="T27" fmla="*/ 0 h 4"/>
                <a:gd name="T28" fmla="*/ 3 w 3"/>
                <a:gd name="T29" fmla="*/ 0 h 4"/>
                <a:gd name="T30" fmla="*/ 2 w 3"/>
                <a:gd name="T31" fmla="*/ 0 h 4"/>
                <a:gd name="T32" fmla="*/ 2 w 3"/>
                <a:gd name="T33" fmla="*/ 0 h 4"/>
                <a:gd name="T34" fmla="*/ 1 w 3"/>
                <a:gd name="T35" fmla="*/ 0 h 4"/>
                <a:gd name="T36" fmla="*/ 0 w 3"/>
                <a:gd name="T37" fmla="*/ 1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2 h 4"/>
                <a:gd name="T46" fmla="*/ 0 w 3"/>
                <a:gd name="T47" fmla="*/ 2 h 4"/>
                <a:gd name="T48" fmla="*/ 0 w 3"/>
                <a:gd name="T49" fmla="*/ 3 h 4"/>
                <a:gd name="T50" fmla="*/ 0 w 3"/>
                <a:gd name="T5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98">
              <a:extLst>
                <a:ext uri="{FF2B5EF4-FFF2-40B4-BE49-F238E27FC236}">
                  <a16:creationId xmlns:a16="http://schemas.microsoft.com/office/drawing/2014/main" id="{863728C7-EC63-4E6B-A963-FFF742BFB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" y="2240"/>
              <a:ext cx="11" cy="10"/>
            </a:xfrm>
            <a:custGeom>
              <a:avLst/>
              <a:gdLst>
                <a:gd name="T0" fmla="*/ 3 w 4"/>
                <a:gd name="T1" fmla="*/ 1 h 4"/>
                <a:gd name="T2" fmla="*/ 3 w 4"/>
                <a:gd name="T3" fmla="*/ 0 h 4"/>
                <a:gd name="T4" fmla="*/ 3 w 4"/>
                <a:gd name="T5" fmla="*/ 0 h 4"/>
                <a:gd name="T6" fmla="*/ 2 w 4"/>
                <a:gd name="T7" fmla="*/ 0 h 4"/>
                <a:gd name="T8" fmla="*/ 1 w 4"/>
                <a:gd name="T9" fmla="*/ 0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1 h 4"/>
                <a:gd name="T16" fmla="*/ 0 w 4"/>
                <a:gd name="T17" fmla="*/ 2 h 4"/>
                <a:gd name="T18" fmla="*/ 0 w 4"/>
                <a:gd name="T19" fmla="*/ 2 h 4"/>
                <a:gd name="T20" fmla="*/ 0 w 4"/>
                <a:gd name="T21" fmla="*/ 2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4 w 4"/>
                <a:gd name="T37" fmla="*/ 3 h 4"/>
                <a:gd name="T38" fmla="*/ 4 w 4"/>
                <a:gd name="T39" fmla="*/ 2 h 4"/>
                <a:gd name="T40" fmla="*/ 4 w 4"/>
                <a:gd name="T41" fmla="*/ 1 h 4"/>
                <a:gd name="T42" fmla="*/ 4 w 4"/>
                <a:gd name="T43" fmla="*/ 1 h 4"/>
                <a:gd name="T44" fmla="*/ 4 w 4"/>
                <a:gd name="T45" fmla="*/ 1 h 4"/>
                <a:gd name="T46" fmla="*/ 3 w 4"/>
                <a:gd name="T4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Rectangle 199">
              <a:extLst>
                <a:ext uri="{FF2B5EF4-FFF2-40B4-BE49-F238E27FC236}">
                  <a16:creationId xmlns:a16="http://schemas.microsoft.com/office/drawing/2014/main" id="{B35CCB00-54C3-4C0E-A73A-BAB602A2B2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4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200">
              <a:extLst>
                <a:ext uri="{FF2B5EF4-FFF2-40B4-BE49-F238E27FC236}">
                  <a16:creationId xmlns:a16="http://schemas.microsoft.com/office/drawing/2014/main" id="{9A01EA8B-6C54-41C5-9B4A-384B7D8BE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1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201">
              <a:extLst>
                <a:ext uri="{FF2B5EF4-FFF2-40B4-BE49-F238E27FC236}">
                  <a16:creationId xmlns:a16="http://schemas.microsoft.com/office/drawing/2014/main" id="{57A910A3-01FD-4D3C-BCE8-E6A0DA85A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" y="2261"/>
              <a:ext cx="9" cy="11"/>
            </a:xfrm>
            <a:custGeom>
              <a:avLst/>
              <a:gdLst>
                <a:gd name="T0" fmla="*/ 0 w 3"/>
                <a:gd name="T1" fmla="*/ 2 h 4"/>
                <a:gd name="T2" fmla="*/ 0 w 3"/>
                <a:gd name="T3" fmla="*/ 2 h 4"/>
                <a:gd name="T4" fmla="*/ 0 w 3"/>
                <a:gd name="T5" fmla="*/ 3 h 4"/>
                <a:gd name="T6" fmla="*/ 1 w 3"/>
                <a:gd name="T7" fmla="*/ 3 h 4"/>
                <a:gd name="T8" fmla="*/ 1 w 3"/>
                <a:gd name="T9" fmla="*/ 3 h 4"/>
                <a:gd name="T10" fmla="*/ 1 w 3"/>
                <a:gd name="T11" fmla="*/ 3 h 4"/>
                <a:gd name="T12" fmla="*/ 2 w 3"/>
                <a:gd name="T13" fmla="*/ 4 h 4"/>
                <a:gd name="T14" fmla="*/ 2 w 3"/>
                <a:gd name="T15" fmla="*/ 3 h 4"/>
                <a:gd name="T16" fmla="*/ 2 w 3"/>
                <a:gd name="T17" fmla="*/ 3 h 4"/>
                <a:gd name="T18" fmla="*/ 3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0 h 4"/>
                <a:gd name="T32" fmla="*/ 3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2 w 3"/>
                <a:gd name="T39" fmla="*/ 0 h 4"/>
                <a:gd name="T40" fmla="*/ 1 w 3"/>
                <a:gd name="T41" fmla="*/ 0 h 4"/>
                <a:gd name="T42" fmla="*/ 1 w 3"/>
                <a:gd name="T43" fmla="*/ 0 h 4"/>
                <a:gd name="T44" fmla="*/ 1 w 3"/>
                <a:gd name="T45" fmla="*/ 0 h 4"/>
                <a:gd name="T46" fmla="*/ 0 w 3"/>
                <a:gd name="T47" fmla="*/ 1 h 4"/>
                <a:gd name="T48" fmla="*/ 0 w 3"/>
                <a:gd name="T49" fmla="*/ 1 h 4"/>
                <a:gd name="T50" fmla="*/ 0 w 3"/>
                <a:gd name="T51" fmla="*/ 1 h 4"/>
                <a:gd name="T52" fmla="*/ 0 w 3"/>
                <a:gd name="T53" fmla="*/ 2 h 4"/>
                <a:gd name="T54" fmla="*/ 0 w 3"/>
                <a:gd name="T5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202">
              <a:extLst>
                <a:ext uri="{FF2B5EF4-FFF2-40B4-BE49-F238E27FC236}">
                  <a16:creationId xmlns:a16="http://schemas.microsoft.com/office/drawing/2014/main" id="{EB78ECF6-FAF7-4B16-945C-C52AEADCE7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5" y="224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3">
              <a:extLst>
                <a:ext uri="{FF2B5EF4-FFF2-40B4-BE49-F238E27FC236}">
                  <a16:creationId xmlns:a16="http://schemas.microsoft.com/office/drawing/2014/main" id="{692BFC05-F77C-4AAB-911D-BDC32C05E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" y="2240"/>
              <a:ext cx="11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0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3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04">
              <a:extLst>
                <a:ext uri="{FF2B5EF4-FFF2-40B4-BE49-F238E27FC236}">
                  <a16:creationId xmlns:a16="http://schemas.microsoft.com/office/drawing/2014/main" id="{D47C0CD7-32FC-45A5-AAD1-36E66FA25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6" y="2240"/>
              <a:ext cx="8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1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4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05">
              <a:extLst>
                <a:ext uri="{FF2B5EF4-FFF2-40B4-BE49-F238E27FC236}">
                  <a16:creationId xmlns:a16="http://schemas.microsoft.com/office/drawing/2014/main" id="{B49F9231-3CBA-4D74-8C20-8A80A78F3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240"/>
              <a:ext cx="8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2 h 4"/>
                <a:gd name="T24" fmla="*/ 0 w 3"/>
                <a:gd name="T25" fmla="*/ 2 h 4"/>
                <a:gd name="T26" fmla="*/ 0 w 3"/>
                <a:gd name="T27" fmla="*/ 2 h 4"/>
                <a:gd name="T28" fmla="*/ 0 w 3"/>
                <a:gd name="T29" fmla="*/ 2 h 4"/>
                <a:gd name="T30" fmla="*/ 0 w 3"/>
                <a:gd name="T31" fmla="*/ 3 h 4"/>
                <a:gd name="T32" fmla="*/ 0 w 3"/>
                <a:gd name="T33" fmla="*/ 3 h 4"/>
                <a:gd name="T34" fmla="*/ 0 w 3"/>
                <a:gd name="T35" fmla="*/ 3 h 4"/>
                <a:gd name="T36" fmla="*/ 0 w 3"/>
                <a:gd name="T37" fmla="*/ 3 h 4"/>
                <a:gd name="T38" fmla="*/ 1 w 3"/>
                <a:gd name="T39" fmla="*/ 3 h 4"/>
                <a:gd name="T40" fmla="*/ 1 w 3"/>
                <a:gd name="T41" fmla="*/ 4 h 4"/>
                <a:gd name="T42" fmla="*/ 1 w 3"/>
                <a:gd name="T43" fmla="*/ 4 h 4"/>
                <a:gd name="T44" fmla="*/ 2 w 3"/>
                <a:gd name="T45" fmla="*/ 3 h 4"/>
                <a:gd name="T46" fmla="*/ 3 w 3"/>
                <a:gd name="T47" fmla="*/ 3 h 4"/>
                <a:gd name="T48" fmla="*/ 3 w 3"/>
                <a:gd name="T49" fmla="*/ 3 h 4"/>
                <a:gd name="T50" fmla="*/ 3 w 3"/>
                <a:gd name="T51" fmla="*/ 2 h 4"/>
                <a:gd name="T52" fmla="*/ 3 w 3"/>
                <a:gd name="T53" fmla="*/ 2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1 h 4"/>
                <a:gd name="T60" fmla="*/ 2 w 3"/>
                <a:gd name="T6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06">
              <a:extLst>
                <a:ext uri="{FF2B5EF4-FFF2-40B4-BE49-F238E27FC236}">
                  <a16:creationId xmlns:a16="http://schemas.microsoft.com/office/drawing/2014/main" id="{1100F1BF-94FA-46EF-AAB5-DB9BFBC2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" y="2286"/>
              <a:ext cx="38" cy="8"/>
            </a:xfrm>
            <a:custGeom>
              <a:avLst/>
              <a:gdLst>
                <a:gd name="T0" fmla="*/ 0 w 14"/>
                <a:gd name="T1" fmla="*/ 2 h 3"/>
                <a:gd name="T2" fmla="*/ 0 w 14"/>
                <a:gd name="T3" fmla="*/ 3 h 3"/>
                <a:gd name="T4" fmla="*/ 0 w 14"/>
                <a:gd name="T5" fmla="*/ 3 h 3"/>
                <a:gd name="T6" fmla="*/ 1 w 14"/>
                <a:gd name="T7" fmla="*/ 3 h 3"/>
                <a:gd name="T8" fmla="*/ 1 w 14"/>
                <a:gd name="T9" fmla="*/ 3 h 3"/>
                <a:gd name="T10" fmla="*/ 14 w 14"/>
                <a:gd name="T11" fmla="*/ 3 h 3"/>
                <a:gd name="T12" fmla="*/ 14 w 14"/>
                <a:gd name="T13" fmla="*/ 3 h 3"/>
                <a:gd name="T14" fmla="*/ 14 w 14"/>
                <a:gd name="T15" fmla="*/ 3 h 3"/>
                <a:gd name="T16" fmla="*/ 14 w 14"/>
                <a:gd name="T17" fmla="*/ 2 h 3"/>
                <a:gd name="T18" fmla="*/ 14 w 14"/>
                <a:gd name="T19" fmla="*/ 2 h 3"/>
                <a:gd name="T20" fmla="*/ 14 w 14"/>
                <a:gd name="T21" fmla="*/ 1 h 3"/>
                <a:gd name="T22" fmla="*/ 14 w 14"/>
                <a:gd name="T23" fmla="*/ 1 h 3"/>
                <a:gd name="T24" fmla="*/ 14 w 14"/>
                <a:gd name="T25" fmla="*/ 0 h 3"/>
                <a:gd name="T26" fmla="*/ 14 w 14"/>
                <a:gd name="T27" fmla="*/ 0 h 3"/>
                <a:gd name="T28" fmla="*/ 13 w 14"/>
                <a:gd name="T29" fmla="*/ 0 h 3"/>
                <a:gd name="T30" fmla="*/ 13 w 14"/>
                <a:gd name="T31" fmla="*/ 0 h 3"/>
                <a:gd name="T32" fmla="*/ 13 w 14"/>
                <a:gd name="T33" fmla="*/ 0 h 3"/>
                <a:gd name="T34" fmla="*/ 1 w 14"/>
                <a:gd name="T35" fmla="*/ 0 h 3"/>
                <a:gd name="T36" fmla="*/ 0 w 14"/>
                <a:gd name="T37" fmla="*/ 0 h 3"/>
                <a:gd name="T38" fmla="*/ 0 w 14"/>
                <a:gd name="T39" fmla="*/ 0 h 3"/>
                <a:gd name="T40" fmla="*/ 0 w 14"/>
                <a:gd name="T41" fmla="*/ 1 h 3"/>
                <a:gd name="T42" fmla="*/ 0 w 14"/>
                <a:gd name="T43" fmla="*/ 1 h 3"/>
                <a:gd name="T44" fmla="*/ 0 w 14"/>
                <a:gd name="T45" fmla="*/ 2 h 3"/>
                <a:gd name="T46" fmla="*/ 0 w 14"/>
                <a:gd name="T4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3">
                  <a:moveTo>
                    <a:pt x="0" y="2"/>
                  </a:move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07">
              <a:extLst>
                <a:ext uri="{FF2B5EF4-FFF2-40B4-BE49-F238E27FC236}">
                  <a16:creationId xmlns:a16="http://schemas.microsoft.com/office/drawing/2014/main" id="{B5136712-503E-4F45-8117-EDE65E4ED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" y="2261"/>
              <a:ext cx="8" cy="11"/>
            </a:xfrm>
            <a:custGeom>
              <a:avLst/>
              <a:gdLst>
                <a:gd name="T0" fmla="*/ 3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3 h 4"/>
                <a:gd name="T36" fmla="*/ 2 w 3"/>
                <a:gd name="T37" fmla="*/ 3 h 4"/>
                <a:gd name="T38" fmla="*/ 3 w 3"/>
                <a:gd name="T39" fmla="*/ 3 h 4"/>
                <a:gd name="T40" fmla="*/ 3 w 3"/>
                <a:gd name="T41" fmla="*/ 2 h 4"/>
                <a:gd name="T42" fmla="*/ 3 w 3"/>
                <a:gd name="T43" fmla="*/ 2 h 4"/>
                <a:gd name="T44" fmla="*/ 3 w 3"/>
                <a:gd name="T45" fmla="*/ 2 h 4"/>
                <a:gd name="T46" fmla="*/ 3 w 3"/>
                <a:gd name="T47" fmla="*/ 1 h 4"/>
                <a:gd name="T48" fmla="*/ 3 w 3"/>
                <a:gd name="T49" fmla="*/ 1 h 4"/>
                <a:gd name="T50" fmla="*/ 3 w 3"/>
                <a:gd name="T5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08">
              <a:extLst>
                <a:ext uri="{FF2B5EF4-FFF2-40B4-BE49-F238E27FC236}">
                  <a16:creationId xmlns:a16="http://schemas.microsoft.com/office/drawing/2014/main" id="{9F8D5885-DBB0-4E87-9C7A-DE07701FE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2261"/>
              <a:ext cx="8" cy="11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3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2 h 4"/>
                <a:gd name="T22" fmla="*/ 3 w 3"/>
                <a:gd name="T23" fmla="*/ 1 h 4"/>
                <a:gd name="T24" fmla="*/ 3 w 3"/>
                <a:gd name="T25" fmla="*/ 1 h 4"/>
                <a:gd name="T26" fmla="*/ 3 w 3"/>
                <a:gd name="T27" fmla="*/ 0 h 4"/>
                <a:gd name="T28" fmla="*/ 2 w 3"/>
                <a:gd name="T29" fmla="*/ 0 h 4"/>
                <a:gd name="T30" fmla="*/ 2 w 3"/>
                <a:gd name="T31" fmla="*/ 0 h 4"/>
                <a:gd name="T32" fmla="*/ 1 w 3"/>
                <a:gd name="T33" fmla="*/ 0 h 4"/>
                <a:gd name="T34" fmla="*/ 1 w 3"/>
                <a:gd name="T35" fmla="*/ 0 h 4"/>
                <a:gd name="T36" fmla="*/ 1 w 3"/>
                <a:gd name="T37" fmla="*/ 0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209">
              <a:extLst>
                <a:ext uri="{FF2B5EF4-FFF2-40B4-BE49-F238E27FC236}">
                  <a16:creationId xmlns:a16="http://schemas.microsoft.com/office/drawing/2014/main" id="{68DD8A58-00D6-42AE-9F57-3BD736AFB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10">
              <a:extLst>
                <a:ext uri="{FF2B5EF4-FFF2-40B4-BE49-F238E27FC236}">
                  <a16:creationId xmlns:a16="http://schemas.microsoft.com/office/drawing/2014/main" id="{DF805443-8522-47B3-ACB9-37F776895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" y="2261"/>
              <a:ext cx="8" cy="11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0 h 4"/>
                <a:gd name="T4" fmla="*/ 0 w 3"/>
                <a:gd name="T5" fmla="*/ 0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2 h 4"/>
                <a:gd name="T16" fmla="*/ 0 w 3"/>
                <a:gd name="T17" fmla="*/ 3 h 4"/>
                <a:gd name="T18" fmla="*/ 1 w 3"/>
                <a:gd name="T19" fmla="*/ 3 h 4"/>
                <a:gd name="T20" fmla="*/ 1 w 3"/>
                <a:gd name="T21" fmla="*/ 3 h 4"/>
                <a:gd name="T22" fmla="*/ 1 w 3"/>
                <a:gd name="T23" fmla="*/ 4 h 4"/>
                <a:gd name="T24" fmla="*/ 2 w 3"/>
                <a:gd name="T25" fmla="*/ 3 h 4"/>
                <a:gd name="T26" fmla="*/ 2 w 3"/>
                <a:gd name="T27" fmla="*/ 3 h 4"/>
                <a:gd name="T28" fmla="*/ 3 w 3"/>
                <a:gd name="T29" fmla="*/ 3 h 4"/>
                <a:gd name="T30" fmla="*/ 3 w 3"/>
                <a:gd name="T31" fmla="*/ 3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2 h 4"/>
                <a:gd name="T38" fmla="*/ 3 w 3"/>
                <a:gd name="T39" fmla="*/ 1 h 4"/>
                <a:gd name="T40" fmla="*/ 3 w 3"/>
                <a:gd name="T41" fmla="*/ 1 h 4"/>
                <a:gd name="T42" fmla="*/ 3 w 3"/>
                <a:gd name="T43" fmla="*/ 1 h 4"/>
                <a:gd name="T44" fmla="*/ 3 w 3"/>
                <a:gd name="T45" fmla="*/ 0 h 4"/>
                <a:gd name="T46" fmla="*/ 3 w 3"/>
                <a:gd name="T47" fmla="*/ 0 h 4"/>
                <a:gd name="T48" fmla="*/ 2 w 3"/>
                <a:gd name="T4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Rectangle 211">
              <a:extLst>
                <a:ext uri="{FF2B5EF4-FFF2-40B4-BE49-F238E27FC236}">
                  <a16:creationId xmlns:a16="http://schemas.microsoft.com/office/drawing/2014/main" id="{21F918EB-64F6-4082-A757-447F1A2406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7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212">
              <a:extLst>
                <a:ext uri="{FF2B5EF4-FFF2-40B4-BE49-F238E27FC236}">
                  <a16:creationId xmlns:a16="http://schemas.microsoft.com/office/drawing/2014/main" id="{2977AFC1-C0CC-46E0-91D1-7888DDAF0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4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Rectangle 213">
              <a:extLst>
                <a:ext uri="{FF2B5EF4-FFF2-40B4-BE49-F238E27FC236}">
                  <a16:creationId xmlns:a16="http://schemas.microsoft.com/office/drawing/2014/main" id="{2CA4C633-5E59-47DE-9540-3A18CCF5C8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4" y="225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214">
              <a:extLst>
                <a:ext uri="{FF2B5EF4-FFF2-40B4-BE49-F238E27FC236}">
                  <a16:creationId xmlns:a16="http://schemas.microsoft.com/office/drawing/2014/main" id="{5E3964BF-A305-4842-933F-385A52A26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" y="228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Rectangle 215">
              <a:extLst>
                <a:ext uri="{FF2B5EF4-FFF2-40B4-BE49-F238E27FC236}">
                  <a16:creationId xmlns:a16="http://schemas.microsoft.com/office/drawing/2014/main" id="{A664FC0E-8682-450B-A6C4-80D24ECB4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1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216">
              <a:extLst>
                <a:ext uri="{FF2B5EF4-FFF2-40B4-BE49-F238E27FC236}">
                  <a16:creationId xmlns:a16="http://schemas.microsoft.com/office/drawing/2014/main" id="{0678053D-9097-456B-B489-B7968DE53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3" y="225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17">
              <a:extLst>
                <a:ext uri="{FF2B5EF4-FFF2-40B4-BE49-F238E27FC236}">
                  <a16:creationId xmlns:a16="http://schemas.microsoft.com/office/drawing/2014/main" id="{34956F8D-F7FC-45F8-B131-381FEEEE6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4" y="2261"/>
              <a:ext cx="8" cy="11"/>
            </a:xfrm>
            <a:custGeom>
              <a:avLst/>
              <a:gdLst>
                <a:gd name="T0" fmla="*/ 1 w 3"/>
                <a:gd name="T1" fmla="*/ 0 h 4"/>
                <a:gd name="T2" fmla="*/ 0 w 3"/>
                <a:gd name="T3" fmla="*/ 0 h 4"/>
                <a:gd name="T4" fmla="*/ 0 w 3"/>
                <a:gd name="T5" fmla="*/ 1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2 h 4"/>
                <a:gd name="T12" fmla="*/ 0 w 3"/>
                <a:gd name="T13" fmla="*/ 2 h 4"/>
                <a:gd name="T14" fmla="*/ 0 w 3"/>
                <a:gd name="T15" fmla="*/ 3 h 4"/>
                <a:gd name="T16" fmla="*/ 0 w 3"/>
                <a:gd name="T17" fmla="*/ 3 h 4"/>
                <a:gd name="T18" fmla="*/ 1 w 3"/>
                <a:gd name="T19" fmla="*/ 3 h 4"/>
                <a:gd name="T20" fmla="*/ 2 w 3"/>
                <a:gd name="T21" fmla="*/ 4 h 4"/>
                <a:gd name="T22" fmla="*/ 2 w 3"/>
                <a:gd name="T23" fmla="*/ 3 h 4"/>
                <a:gd name="T24" fmla="*/ 2 w 3"/>
                <a:gd name="T25" fmla="*/ 3 h 4"/>
                <a:gd name="T26" fmla="*/ 3 w 3"/>
                <a:gd name="T27" fmla="*/ 3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1 h 4"/>
                <a:gd name="T34" fmla="*/ 3 w 3"/>
                <a:gd name="T35" fmla="*/ 1 h 4"/>
                <a:gd name="T36" fmla="*/ 2 w 3"/>
                <a:gd name="T37" fmla="*/ 0 h 4"/>
                <a:gd name="T38" fmla="*/ 1 w 3"/>
                <a:gd name="T3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218">
              <a:extLst>
                <a:ext uri="{FF2B5EF4-FFF2-40B4-BE49-F238E27FC236}">
                  <a16:creationId xmlns:a16="http://schemas.microsoft.com/office/drawing/2014/main" id="{5179EA82-0F4D-4CBC-A6E6-E3A7A1854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8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19">
              <a:extLst>
                <a:ext uri="{FF2B5EF4-FFF2-40B4-BE49-F238E27FC236}">
                  <a16:creationId xmlns:a16="http://schemas.microsoft.com/office/drawing/2014/main" id="{51FBC14E-52B3-42E7-951F-DBDD98B9D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" y="2261"/>
              <a:ext cx="8" cy="11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2 h 4"/>
                <a:gd name="T8" fmla="*/ 0 w 3"/>
                <a:gd name="T9" fmla="*/ 3 h 4"/>
                <a:gd name="T10" fmla="*/ 0 w 3"/>
                <a:gd name="T11" fmla="*/ 3 h 4"/>
                <a:gd name="T12" fmla="*/ 1 w 3"/>
                <a:gd name="T13" fmla="*/ 4 h 4"/>
                <a:gd name="T14" fmla="*/ 2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2 h 4"/>
                <a:gd name="T28" fmla="*/ 3 w 3"/>
                <a:gd name="T29" fmla="*/ 2 h 4"/>
                <a:gd name="T30" fmla="*/ 3 w 3"/>
                <a:gd name="T31" fmla="*/ 2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1 h 4"/>
                <a:gd name="T38" fmla="*/ 3 w 3"/>
                <a:gd name="T39" fmla="*/ 1 h 4"/>
                <a:gd name="T40" fmla="*/ 3 w 3"/>
                <a:gd name="T41" fmla="*/ 0 h 4"/>
                <a:gd name="T42" fmla="*/ 2 w 3"/>
                <a:gd name="T43" fmla="*/ 0 h 4"/>
                <a:gd name="T44" fmla="*/ 2 w 3"/>
                <a:gd name="T45" fmla="*/ 0 h 4"/>
                <a:gd name="T46" fmla="*/ 1 w 3"/>
                <a:gd name="T47" fmla="*/ 0 h 4"/>
                <a:gd name="T48" fmla="*/ 1 w 3"/>
                <a:gd name="T49" fmla="*/ 0 h 4"/>
                <a:gd name="T50" fmla="*/ 1 w 3"/>
                <a:gd name="T51" fmla="*/ 0 h 4"/>
                <a:gd name="T52" fmla="*/ 0 w 3"/>
                <a:gd name="T53" fmla="*/ 1 h 4"/>
                <a:gd name="T54" fmla="*/ 0 w 3"/>
                <a:gd name="T55" fmla="*/ 1 h 4"/>
                <a:gd name="T56" fmla="*/ 0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20">
              <a:extLst>
                <a:ext uri="{FF2B5EF4-FFF2-40B4-BE49-F238E27FC236}">
                  <a16:creationId xmlns:a16="http://schemas.microsoft.com/office/drawing/2014/main" id="{6ADF501C-48C4-4590-8154-B2B968034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" y="2261"/>
              <a:ext cx="8" cy="11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3 h 4"/>
                <a:gd name="T8" fmla="*/ 0 w 3"/>
                <a:gd name="T9" fmla="*/ 3 h 4"/>
                <a:gd name="T10" fmla="*/ 1 w 3"/>
                <a:gd name="T11" fmla="*/ 3 h 4"/>
                <a:gd name="T12" fmla="*/ 1 w 3"/>
                <a:gd name="T13" fmla="*/ 3 h 4"/>
                <a:gd name="T14" fmla="*/ 1 w 3"/>
                <a:gd name="T15" fmla="*/ 4 h 4"/>
                <a:gd name="T16" fmla="*/ 2 w 3"/>
                <a:gd name="T17" fmla="*/ 3 h 4"/>
                <a:gd name="T18" fmla="*/ 2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1 h 4"/>
                <a:gd name="T32" fmla="*/ 2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1 w 3"/>
                <a:gd name="T39" fmla="*/ 0 h 4"/>
                <a:gd name="T40" fmla="*/ 1 w 3"/>
                <a:gd name="T41" fmla="*/ 0 h 4"/>
                <a:gd name="T42" fmla="*/ 0 w 3"/>
                <a:gd name="T43" fmla="*/ 0 h 4"/>
                <a:gd name="T44" fmla="*/ 0 w 3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Rectangle 221">
              <a:extLst>
                <a:ext uri="{FF2B5EF4-FFF2-40B4-BE49-F238E27FC236}">
                  <a16:creationId xmlns:a16="http://schemas.microsoft.com/office/drawing/2014/main" id="{E1F980C7-777B-4B64-B6FF-85D96382B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Rectangle 222">
              <a:extLst>
                <a:ext uri="{FF2B5EF4-FFF2-40B4-BE49-F238E27FC236}">
                  <a16:creationId xmlns:a16="http://schemas.microsoft.com/office/drawing/2014/main" id="{0C4C0C33-53AC-482E-8459-D116697F6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9" y="226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Rectangle 223">
              <a:extLst>
                <a:ext uri="{FF2B5EF4-FFF2-40B4-BE49-F238E27FC236}">
                  <a16:creationId xmlns:a16="http://schemas.microsoft.com/office/drawing/2014/main" id="{EAEA4C5F-4E32-4F02-A442-3A3F8D00A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0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Rectangle 224">
              <a:extLst>
                <a:ext uri="{FF2B5EF4-FFF2-40B4-BE49-F238E27FC236}">
                  <a16:creationId xmlns:a16="http://schemas.microsoft.com/office/drawing/2014/main" id="{6C7F7638-3E9D-496C-8936-4BA5DFD46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3" y="22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Rectangle 225">
              <a:extLst>
                <a:ext uri="{FF2B5EF4-FFF2-40B4-BE49-F238E27FC236}">
                  <a16:creationId xmlns:a16="http://schemas.microsoft.com/office/drawing/2014/main" id="{9FD760A8-7B24-4753-9059-225FCAF55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0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Rectangle 226">
              <a:extLst>
                <a:ext uri="{FF2B5EF4-FFF2-40B4-BE49-F238E27FC236}">
                  <a16:creationId xmlns:a16="http://schemas.microsoft.com/office/drawing/2014/main" id="{9206A833-5F80-4047-8437-402FE2820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Rectangle 227">
              <a:extLst>
                <a:ext uri="{FF2B5EF4-FFF2-40B4-BE49-F238E27FC236}">
                  <a16:creationId xmlns:a16="http://schemas.microsoft.com/office/drawing/2014/main" id="{5C023D20-6A6E-4FF9-962B-116F1740A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5" y="224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28">
              <a:extLst>
                <a:ext uri="{FF2B5EF4-FFF2-40B4-BE49-F238E27FC236}">
                  <a16:creationId xmlns:a16="http://schemas.microsoft.com/office/drawing/2014/main" id="{5C9A5146-2748-41C8-A679-D82E18E73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2240"/>
              <a:ext cx="11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1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2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Rectangle 229">
              <a:extLst>
                <a:ext uri="{FF2B5EF4-FFF2-40B4-BE49-F238E27FC236}">
                  <a16:creationId xmlns:a16="http://schemas.microsoft.com/office/drawing/2014/main" id="{DCCBACED-7C88-4266-9194-43320EBEF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2" y="22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Rectangle 230">
              <a:extLst>
                <a:ext uri="{FF2B5EF4-FFF2-40B4-BE49-F238E27FC236}">
                  <a16:creationId xmlns:a16="http://schemas.microsoft.com/office/drawing/2014/main" id="{FD9D2A2F-F115-4FCA-9CA6-624D732C27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2" y="226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231">
              <a:extLst>
                <a:ext uri="{FF2B5EF4-FFF2-40B4-BE49-F238E27FC236}">
                  <a16:creationId xmlns:a16="http://schemas.microsoft.com/office/drawing/2014/main" id="{E87013CB-D36A-4BFE-9B5B-3136F8F84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9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32">
              <a:extLst>
                <a:ext uri="{FF2B5EF4-FFF2-40B4-BE49-F238E27FC236}">
                  <a16:creationId xmlns:a16="http://schemas.microsoft.com/office/drawing/2014/main" id="{81901A1F-0B57-4D37-9E7F-1A1168DF5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" y="2240"/>
              <a:ext cx="8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2 w 3"/>
                <a:gd name="T7" fmla="*/ 0 h 4"/>
                <a:gd name="T8" fmla="*/ 1 w 3"/>
                <a:gd name="T9" fmla="*/ 0 h 4"/>
                <a:gd name="T10" fmla="*/ 1 w 3"/>
                <a:gd name="T11" fmla="*/ 0 h 4"/>
                <a:gd name="T12" fmla="*/ 1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2 w 3"/>
                <a:gd name="T33" fmla="*/ 4 h 4"/>
                <a:gd name="T34" fmla="*/ 2 w 3"/>
                <a:gd name="T35" fmla="*/ 4 h 4"/>
                <a:gd name="T36" fmla="*/ 3 w 3"/>
                <a:gd name="T37" fmla="*/ 3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33">
              <a:extLst>
                <a:ext uri="{FF2B5EF4-FFF2-40B4-BE49-F238E27FC236}">
                  <a16:creationId xmlns:a16="http://schemas.microsoft.com/office/drawing/2014/main" id="{9E52394C-87B7-4419-A834-A671E5DAB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4" y="2041"/>
              <a:ext cx="321" cy="283"/>
            </a:xfrm>
            <a:custGeom>
              <a:avLst/>
              <a:gdLst>
                <a:gd name="T0" fmla="*/ 118 w 118"/>
                <a:gd name="T1" fmla="*/ 100 h 104"/>
                <a:gd name="T2" fmla="*/ 102 w 118"/>
                <a:gd name="T3" fmla="*/ 66 h 104"/>
                <a:gd name="T4" fmla="*/ 100 w 118"/>
                <a:gd name="T5" fmla="*/ 7 h 104"/>
                <a:gd name="T6" fmla="*/ 99 w 118"/>
                <a:gd name="T7" fmla="*/ 7 h 104"/>
                <a:gd name="T8" fmla="*/ 89 w 118"/>
                <a:gd name="T9" fmla="*/ 6 h 104"/>
                <a:gd name="T10" fmla="*/ 80 w 118"/>
                <a:gd name="T11" fmla="*/ 0 h 104"/>
                <a:gd name="T12" fmla="*/ 67 w 118"/>
                <a:gd name="T13" fmla="*/ 2 h 104"/>
                <a:gd name="T14" fmla="*/ 58 w 118"/>
                <a:gd name="T15" fmla="*/ 6 h 104"/>
                <a:gd name="T16" fmla="*/ 49 w 118"/>
                <a:gd name="T17" fmla="*/ 1 h 104"/>
                <a:gd name="T18" fmla="*/ 34 w 118"/>
                <a:gd name="T19" fmla="*/ 0 h 104"/>
                <a:gd name="T20" fmla="*/ 29 w 118"/>
                <a:gd name="T21" fmla="*/ 6 h 104"/>
                <a:gd name="T22" fmla="*/ 17 w 118"/>
                <a:gd name="T23" fmla="*/ 7 h 104"/>
                <a:gd name="T24" fmla="*/ 16 w 118"/>
                <a:gd name="T25" fmla="*/ 9 h 104"/>
                <a:gd name="T26" fmla="*/ 16 w 118"/>
                <a:gd name="T27" fmla="*/ 66 h 104"/>
                <a:gd name="T28" fmla="*/ 0 w 118"/>
                <a:gd name="T29" fmla="*/ 102 h 104"/>
                <a:gd name="T30" fmla="*/ 1 w 118"/>
                <a:gd name="T31" fmla="*/ 104 h 104"/>
                <a:gd name="T32" fmla="*/ 117 w 118"/>
                <a:gd name="T33" fmla="*/ 104 h 104"/>
                <a:gd name="T34" fmla="*/ 118 w 118"/>
                <a:gd name="T35" fmla="*/ 103 h 104"/>
                <a:gd name="T36" fmla="*/ 61 w 118"/>
                <a:gd name="T37" fmla="*/ 10 h 104"/>
                <a:gd name="T38" fmla="*/ 65 w 118"/>
                <a:gd name="T39" fmla="*/ 7 h 104"/>
                <a:gd name="T40" fmla="*/ 74 w 118"/>
                <a:gd name="T41" fmla="*/ 4 h 104"/>
                <a:gd name="T42" fmla="*/ 85 w 118"/>
                <a:gd name="T43" fmla="*/ 3 h 104"/>
                <a:gd name="T44" fmla="*/ 86 w 118"/>
                <a:gd name="T45" fmla="*/ 4 h 104"/>
                <a:gd name="T46" fmla="*/ 85 w 118"/>
                <a:gd name="T47" fmla="*/ 51 h 104"/>
                <a:gd name="T48" fmla="*/ 70 w 118"/>
                <a:gd name="T49" fmla="*/ 53 h 104"/>
                <a:gd name="T50" fmla="*/ 62 w 118"/>
                <a:gd name="T51" fmla="*/ 56 h 104"/>
                <a:gd name="T52" fmla="*/ 61 w 118"/>
                <a:gd name="T53" fmla="*/ 56 h 104"/>
                <a:gd name="T54" fmla="*/ 61 w 118"/>
                <a:gd name="T55" fmla="*/ 10 h 104"/>
                <a:gd name="T56" fmla="*/ 61 w 118"/>
                <a:gd name="T57" fmla="*/ 60 h 104"/>
                <a:gd name="T58" fmla="*/ 71 w 118"/>
                <a:gd name="T59" fmla="*/ 56 h 104"/>
                <a:gd name="T60" fmla="*/ 82 w 118"/>
                <a:gd name="T61" fmla="*/ 55 h 104"/>
                <a:gd name="T62" fmla="*/ 89 w 118"/>
                <a:gd name="T63" fmla="*/ 13 h 104"/>
                <a:gd name="T64" fmla="*/ 95 w 118"/>
                <a:gd name="T65" fmla="*/ 12 h 104"/>
                <a:gd name="T66" fmla="*/ 97 w 118"/>
                <a:gd name="T67" fmla="*/ 64 h 104"/>
                <a:gd name="T68" fmla="*/ 62 w 118"/>
                <a:gd name="T69" fmla="*/ 65 h 104"/>
                <a:gd name="T70" fmla="*/ 61 w 118"/>
                <a:gd name="T71" fmla="*/ 61 h 104"/>
                <a:gd name="T72" fmla="*/ 33 w 118"/>
                <a:gd name="T73" fmla="*/ 3 h 104"/>
                <a:gd name="T74" fmla="*/ 41 w 118"/>
                <a:gd name="T75" fmla="*/ 4 h 104"/>
                <a:gd name="T76" fmla="*/ 53 w 118"/>
                <a:gd name="T77" fmla="*/ 6 h 104"/>
                <a:gd name="T78" fmla="*/ 57 w 118"/>
                <a:gd name="T79" fmla="*/ 10 h 104"/>
                <a:gd name="T80" fmla="*/ 57 w 118"/>
                <a:gd name="T81" fmla="*/ 56 h 104"/>
                <a:gd name="T82" fmla="*/ 56 w 118"/>
                <a:gd name="T83" fmla="*/ 56 h 104"/>
                <a:gd name="T84" fmla="*/ 43 w 118"/>
                <a:gd name="T85" fmla="*/ 52 h 104"/>
                <a:gd name="T86" fmla="*/ 34 w 118"/>
                <a:gd name="T87" fmla="*/ 51 h 104"/>
                <a:gd name="T88" fmla="*/ 32 w 118"/>
                <a:gd name="T89" fmla="*/ 4 h 104"/>
                <a:gd name="T90" fmla="*/ 23 w 118"/>
                <a:gd name="T91" fmla="*/ 12 h 104"/>
                <a:gd name="T92" fmla="*/ 29 w 118"/>
                <a:gd name="T93" fmla="*/ 13 h 104"/>
                <a:gd name="T94" fmla="*/ 39 w 118"/>
                <a:gd name="T95" fmla="*/ 55 h 104"/>
                <a:gd name="T96" fmla="*/ 49 w 118"/>
                <a:gd name="T97" fmla="*/ 57 h 104"/>
                <a:gd name="T98" fmla="*/ 57 w 118"/>
                <a:gd name="T99" fmla="*/ 60 h 104"/>
                <a:gd name="T100" fmla="*/ 57 w 118"/>
                <a:gd name="T101" fmla="*/ 64 h 104"/>
                <a:gd name="T102" fmla="*/ 23 w 118"/>
                <a:gd name="T103" fmla="*/ 65 h 104"/>
                <a:gd name="T104" fmla="*/ 22 w 118"/>
                <a:gd name="T105" fmla="*/ 13 h 104"/>
                <a:gd name="T106" fmla="*/ 110 w 118"/>
                <a:gd name="T107" fmla="*/ 99 h 104"/>
                <a:gd name="T108" fmla="*/ 7 w 118"/>
                <a:gd name="T109" fmla="*/ 98 h 104"/>
                <a:gd name="T110" fmla="*/ 21 w 118"/>
                <a:gd name="T111" fmla="*/ 69 h 104"/>
                <a:gd name="T112" fmla="*/ 96 w 118"/>
                <a:gd name="T113" fmla="*/ 69 h 104"/>
                <a:gd name="T114" fmla="*/ 111 w 118"/>
                <a:gd name="T115" fmla="*/ 9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8" h="104">
                  <a:moveTo>
                    <a:pt x="118" y="102"/>
                  </a:moveTo>
                  <a:cubicBezTo>
                    <a:pt x="118" y="100"/>
                    <a:pt x="118" y="100"/>
                    <a:pt x="118" y="100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66"/>
                    <a:pt x="102" y="66"/>
                    <a:pt x="102" y="66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89" y="6"/>
                    <a:pt x="89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59" y="6"/>
                    <a:pt x="59" y="6"/>
                    <a:pt x="58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3" y="104"/>
                    <a:pt x="3" y="104"/>
                    <a:pt x="3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3"/>
                    <a:pt x="118" y="103"/>
                    <a:pt x="118" y="103"/>
                  </a:cubicBezTo>
                  <a:lnTo>
                    <a:pt x="118" y="102"/>
                  </a:lnTo>
                  <a:close/>
                  <a:moveTo>
                    <a:pt x="61" y="10"/>
                  </a:moveTo>
                  <a:cubicBezTo>
                    <a:pt x="61" y="9"/>
                    <a:pt x="61" y="9"/>
                    <a:pt x="61" y="9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1" y="56"/>
                    <a:pt x="61" y="56"/>
                  </a:cubicBezTo>
                  <a:cubicBezTo>
                    <a:pt x="61" y="55"/>
                    <a:pt x="61" y="55"/>
                    <a:pt x="61" y="55"/>
                  </a:cubicBezTo>
                  <a:lnTo>
                    <a:pt x="61" y="10"/>
                  </a:lnTo>
                  <a:close/>
                  <a:moveTo>
                    <a:pt x="61" y="61"/>
                  </a:moveTo>
                  <a:cubicBezTo>
                    <a:pt x="61" y="61"/>
                    <a:pt x="61" y="61"/>
                    <a:pt x="61" y="60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13"/>
                    <a:pt x="90" y="12"/>
                    <a:pt x="90" y="12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6" y="12"/>
                    <a:pt x="97" y="13"/>
                    <a:pt x="97" y="13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5"/>
                    <a:pt x="96" y="65"/>
                    <a:pt x="95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1" y="65"/>
                    <a:pt x="61" y="65"/>
                    <a:pt x="61" y="64"/>
                  </a:cubicBezTo>
                  <a:lnTo>
                    <a:pt x="61" y="61"/>
                  </a:lnTo>
                  <a:close/>
                  <a:moveTo>
                    <a:pt x="32" y="4"/>
                  </a:moveTo>
                  <a:cubicBezTo>
                    <a:pt x="32" y="4"/>
                    <a:pt x="32" y="4"/>
                    <a:pt x="33" y="3"/>
                  </a:cubicBezTo>
                  <a:cubicBezTo>
                    <a:pt x="33" y="3"/>
                    <a:pt x="33" y="3"/>
                    <a:pt x="34" y="3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10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6" y="56"/>
                    <a:pt x="56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3" y="51"/>
                    <a:pt x="32" y="51"/>
                    <a:pt x="32" y="50"/>
                  </a:cubicBezTo>
                  <a:lnTo>
                    <a:pt x="32" y="4"/>
                  </a:lnTo>
                  <a:close/>
                  <a:moveTo>
                    <a:pt x="22" y="13"/>
                  </a:moveTo>
                  <a:cubicBezTo>
                    <a:pt x="22" y="13"/>
                    <a:pt x="22" y="12"/>
                    <a:pt x="23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7" y="65"/>
                    <a:pt x="56" y="65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2" y="65"/>
                    <a:pt x="22" y="65"/>
                    <a:pt x="22" y="64"/>
                  </a:cubicBezTo>
                  <a:lnTo>
                    <a:pt x="22" y="13"/>
                  </a:lnTo>
                  <a:close/>
                  <a:moveTo>
                    <a:pt x="111" y="99"/>
                  </a:moveTo>
                  <a:cubicBezTo>
                    <a:pt x="110" y="99"/>
                    <a:pt x="110" y="99"/>
                    <a:pt x="110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7" y="98"/>
                  </a:cubicBezTo>
                  <a:cubicBezTo>
                    <a:pt x="7" y="98"/>
                    <a:pt x="7" y="98"/>
                    <a:pt x="7" y="97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2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1" y="98"/>
                    <a:pt x="111" y="99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Rectangle 234">
              <a:extLst>
                <a:ext uri="{FF2B5EF4-FFF2-40B4-BE49-F238E27FC236}">
                  <a16:creationId xmlns:a16="http://schemas.microsoft.com/office/drawing/2014/main" id="{1C9492A6-0417-46F9-BE00-5F465F064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6" y="22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Rectangle 235">
              <a:extLst>
                <a:ext uri="{FF2B5EF4-FFF2-40B4-BE49-F238E27FC236}">
                  <a16:creationId xmlns:a16="http://schemas.microsoft.com/office/drawing/2014/main" id="{D3DAC729-9399-4F95-A46D-A4F292A42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1" y="223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236">
              <a:extLst>
                <a:ext uri="{FF2B5EF4-FFF2-40B4-BE49-F238E27FC236}">
                  <a16:creationId xmlns:a16="http://schemas.microsoft.com/office/drawing/2014/main" id="{0016B665-7AD5-4180-ACF0-00B99154D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3" y="226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237">
              <a:extLst>
                <a:ext uri="{FF2B5EF4-FFF2-40B4-BE49-F238E27FC236}">
                  <a16:creationId xmlns:a16="http://schemas.microsoft.com/office/drawing/2014/main" id="{65D90DE8-50C0-4DBD-8AE5-9E39BFA80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3" y="229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38">
              <a:extLst>
                <a:ext uri="{FF2B5EF4-FFF2-40B4-BE49-F238E27FC236}">
                  <a16:creationId xmlns:a16="http://schemas.microsoft.com/office/drawing/2014/main" id="{F765391B-B274-4907-8D5C-5671526AA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240"/>
              <a:ext cx="9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1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2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0 w 3"/>
                <a:gd name="T27" fmla="*/ 3 h 4"/>
                <a:gd name="T28" fmla="*/ 1 w 3"/>
                <a:gd name="T29" fmla="*/ 4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3 h 4"/>
                <a:gd name="T38" fmla="*/ 2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2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2 h 4"/>
                <a:gd name="T52" fmla="*/ 3 w 3"/>
                <a:gd name="T53" fmla="*/ 1 h 4"/>
                <a:gd name="T54" fmla="*/ 3 w 3"/>
                <a:gd name="T55" fmla="*/ 1 h 4"/>
                <a:gd name="T56" fmla="*/ 2 w 3"/>
                <a:gd name="T5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39">
              <a:extLst>
                <a:ext uri="{FF2B5EF4-FFF2-40B4-BE49-F238E27FC236}">
                  <a16:creationId xmlns:a16="http://schemas.microsoft.com/office/drawing/2014/main" id="{8A44D455-B960-43F0-8776-E7D383E81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" y="2261"/>
              <a:ext cx="8" cy="11"/>
            </a:xfrm>
            <a:custGeom>
              <a:avLst/>
              <a:gdLst>
                <a:gd name="T0" fmla="*/ 0 w 3"/>
                <a:gd name="T1" fmla="*/ 3 h 4"/>
                <a:gd name="T2" fmla="*/ 1 w 3"/>
                <a:gd name="T3" fmla="*/ 3 h 4"/>
                <a:gd name="T4" fmla="*/ 1 w 3"/>
                <a:gd name="T5" fmla="*/ 3 h 4"/>
                <a:gd name="T6" fmla="*/ 2 w 3"/>
                <a:gd name="T7" fmla="*/ 4 h 4"/>
                <a:gd name="T8" fmla="*/ 2 w 3"/>
                <a:gd name="T9" fmla="*/ 3 h 4"/>
                <a:gd name="T10" fmla="*/ 2 w 3"/>
                <a:gd name="T11" fmla="*/ 3 h 4"/>
                <a:gd name="T12" fmla="*/ 3 w 3"/>
                <a:gd name="T13" fmla="*/ 3 h 4"/>
                <a:gd name="T14" fmla="*/ 3 w 3"/>
                <a:gd name="T15" fmla="*/ 3 h 4"/>
                <a:gd name="T16" fmla="*/ 3 w 3"/>
                <a:gd name="T17" fmla="*/ 2 h 4"/>
                <a:gd name="T18" fmla="*/ 3 w 3"/>
                <a:gd name="T19" fmla="*/ 2 h 4"/>
                <a:gd name="T20" fmla="*/ 3 w 3"/>
                <a:gd name="T21" fmla="*/ 1 h 4"/>
                <a:gd name="T22" fmla="*/ 3 w 3"/>
                <a:gd name="T23" fmla="*/ 1 h 4"/>
                <a:gd name="T24" fmla="*/ 3 w 3"/>
                <a:gd name="T25" fmla="*/ 0 h 4"/>
                <a:gd name="T26" fmla="*/ 3 w 3"/>
                <a:gd name="T27" fmla="*/ 0 h 4"/>
                <a:gd name="T28" fmla="*/ 3 w 3"/>
                <a:gd name="T29" fmla="*/ 0 h 4"/>
                <a:gd name="T30" fmla="*/ 2 w 3"/>
                <a:gd name="T31" fmla="*/ 0 h 4"/>
                <a:gd name="T32" fmla="*/ 2 w 3"/>
                <a:gd name="T33" fmla="*/ 0 h 4"/>
                <a:gd name="T34" fmla="*/ 1 w 3"/>
                <a:gd name="T35" fmla="*/ 0 h 4"/>
                <a:gd name="T36" fmla="*/ 0 w 3"/>
                <a:gd name="T37" fmla="*/ 1 h 4"/>
                <a:gd name="T38" fmla="*/ 0 w 3"/>
                <a:gd name="T39" fmla="*/ 1 h 4"/>
                <a:gd name="T40" fmla="*/ 0 w 3"/>
                <a:gd name="T41" fmla="*/ 1 h 4"/>
                <a:gd name="T42" fmla="*/ 0 w 3"/>
                <a:gd name="T43" fmla="*/ 2 h 4"/>
                <a:gd name="T44" fmla="*/ 0 w 3"/>
                <a:gd name="T45" fmla="*/ 2 h 4"/>
                <a:gd name="T46" fmla="*/ 0 w 3"/>
                <a:gd name="T47" fmla="*/ 2 h 4"/>
                <a:gd name="T48" fmla="*/ 0 w 3"/>
                <a:gd name="T49" fmla="*/ 3 h 4"/>
                <a:gd name="T50" fmla="*/ 0 w 3"/>
                <a:gd name="T5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40">
              <a:extLst>
                <a:ext uri="{FF2B5EF4-FFF2-40B4-BE49-F238E27FC236}">
                  <a16:creationId xmlns:a16="http://schemas.microsoft.com/office/drawing/2014/main" id="{5335B809-3A32-4437-AE80-FDDDB0DEF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8" y="2240"/>
              <a:ext cx="11" cy="10"/>
            </a:xfrm>
            <a:custGeom>
              <a:avLst/>
              <a:gdLst>
                <a:gd name="T0" fmla="*/ 3 w 4"/>
                <a:gd name="T1" fmla="*/ 1 h 4"/>
                <a:gd name="T2" fmla="*/ 3 w 4"/>
                <a:gd name="T3" fmla="*/ 0 h 4"/>
                <a:gd name="T4" fmla="*/ 3 w 4"/>
                <a:gd name="T5" fmla="*/ 0 h 4"/>
                <a:gd name="T6" fmla="*/ 2 w 4"/>
                <a:gd name="T7" fmla="*/ 0 h 4"/>
                <a:gd name="T8" fmla="*/ 1 w 4"/>
                <a:gd name="T9" fmla="*/ 0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1 h 4"/>
                <a:gd name="T16" fmla="*/ 0 w 4"/>
                <a:gd name="T17" fmla="*/ 2 h 4"/>
                <a:gd name="T18" fmla="*/ 0 w 4"/>
                <a:gd name="T19" fmla="*/ 2 h 4"/>
                <a:gd name="T20" fmla="*/ 0 w 4"/>
                <a:gd name="T21" fmla="*/ 2 h 4"/>
                <a:gd name="T22" fmla="*/ 1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4 w 4"/>
                <a:gd name="T37" fmla="*/ 3 h 4"/>
                <a:gd name="T38" fmla="*/ 4 w 4"/>
                <a:gd name="T39" fmla="*/ 2 h 4"/>
                <a:gd name="T40" fmla="*/ 4 w 4"/>
                <a:gd name="T41" fmla="*/ 1 h 4"/>
                <a:gd name="T42" fmla="*/ 4 w 4"/>
                <a:gd name="T43" fmla="*/ 1 h 4"/>
                <a:gd name="T44" fmla="*/ 4 w 4"/>
                <a:gd name="T45" fmla="*/ 1 h 4"/>
                <a:gd name="T46" fmla="*/ 3 w 4"/>
                <a:gd name="T4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241">
              <a:extLst>
                <a:ext uri="{FF2B5EF4-FFF2-40B4-BE49-F238E27FC236}">
                  <a16:creationId xmlns:a16="http://schemas.microsoft.com/office/drawing/2014/main" id="{2B9116BF-F7CD-40B5-AC5E-A7A8DBF62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4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242">
              <a:extLst>
                <a:ext uri="{FF2B5EF4-FFF2-40B4-BE49-F238E27FC236}">
                  <a16:creationId xmlns:a16="http://schemas.microsoft.com/office/drawing/2014/main" id="{13B2F7EA-1A45-46D2-8631-41E35C503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1" y="22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43">
              <a:extLst>
                <a:ext uri="{FF2B5EF4-FFF2-40B4-BE49-F238E27FC236}">
                  <a16:creationId xmlns:a16="http://schemas.microsoft.com/office/drawing/2014/main" id="{FE5DD823-1863-45CA-889F-3D34511FA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" y="2261"/>
              <a:ext cx="9" cy="11"/>
            </a:xfrm>
            <a:custGeom>
              <a:avLst/>
              <a:gdLst>
                <a:gd name="T0" fmla="*/ 0 w 3"/>
                <a:gd name="T1" fmla="*/ 2 h 4"/>
                <a:gd name="T2" fmla="*/ 0 w 3"/>
                <a:gd name="T3" fmla="*/ 2 h 4"/>
                <a:gd name="T4" fmla="*/ 0 w 3"/>
                <a:gd name="T5" fmla="*/ 3 h 4"/>
                <a:gd name="T6" fmla="*/ 1 w 3"/>
                <a:gd name="T7" fmla="*/ 3 h 4"/>
                <a:gd name="T8" fmla="*/ 1 w 3"/>
                <a:gd name="T9" fmla="*/ 3 h 4"/>
                <a:gd name="T10" fmla="*/ 1 w 3"/>
                <a:gd name="T11" fmla="*/ 3 h 4"/>
                <a:gd name="T12" fmla="*/ 2 w 3"/>
                <a:gd name="T13" fmla="*/ 4 h 4"/>
                <a:gd name="T14" fmla="*/ 2 w 3"/>
                <a:gd name="T15" fmla="*/ 3 h 4"/>
                <a:gd name="T16" fmla="*/ 2 w 3"/>
                <a:gd name="T17" fmla="*/ 3 h 4"/>
                <a:gd name="T18" fmla="*/ 3 w 3"/>
                <a:gd name="T19" fmla="*/ 3 h 4"/>
                <a:gd name="T20" fmla="*/ 3 w 3"/>
                <a:gd name="T21" fmla="*/ 3 h 4"/>
                <a:gd name="T22" fmla="*/ 3 w 3"/>
                <a:gd name="T23" fmla="*/ 2 h 4"/>
                <a:gd name="T24" fmla="*/ 3 w 3"/>
                <a:gd name="T25" fmla="*/ 2 h 4"/>
                <a:gd name="T26" fmla="*/ 3 w 3"/>
                <a:gd name="T27" fmla="*/ 1 h 4"/>
                <a:gd name="T28" fmla="*/ 3 w 3"/>
                <a:gd name="T29" fmla="*/ 1 h 4"/>
                <a:gd name="T30" fmla="*/ 3 w 3"/>
                <a:gd name="T31" fmla="*/ 0 h 4"/>
                <a:gd name="T32" fmla="*/ 3 w 3"/>
                <a:gd name="T33" fmla="*/ 0 h 4"/>
                <a:gd name="T34" fmla="*/ 2 w 3"/>
                <a:gd name="T35" fmla="*/ 0 h 4"/>
                <a:gd name="T36" fmla="*/ 2 w 3"/>
                <a:gd name="T37" fmla="*/ 0 h 4"/>
                <a:gd name="T38" fmla="*/ 2 w 3"/>
                <a:gd name="T39" fmla="*/ 0 h 4"/>
                <a:gd name="T40" fmla="*/ 1 w 3"/>
                <a:gd name="T41" fmla="*/ 0 h 4"/>
                <a:gd name="T42" fmla="*/ 1 w 3"/>
                <a:gd name="T43" fmla="*/ 0 h 4"/>
                <a:gd name="T44" fmla="*/ 1 w 3"/>
                <a:gd name="T45" fmla="*/ 0 h 4"/>
                <a:gd name="T46" fmla="*/ 0 w 3"/>
                <a:gd name="T47" fmla="*/ 1 h 4"/>
                <a:gd name="T48" fmla="*/ 0 w 3"/>
                <a:gd name="T49" fmla="*/ 1 h 4"/>
                <a:gd name="T50" fmla="*/ 0 w 3"/>
                <a:gd name="T51" fmla="*/ 1 h 4"/>
                <a:gd name="T52" fmla="*/ 0 w 3"/>
                <a:gd name="T53" fmla="*/ 2 h 4"/>
                <a:gd name="T54" fmla="*/ 0 w 3"/>
                <a:gd name="T5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244">
              <a:extLst>
                <a:ext uri="{FF2B5EF4-FFF2-40B4-BE49-F238E27FC236}">
                  <a16:creationId xmlns:a16="http://schemas.microsoft.com/office/drawing/2014/main" id="{802A1E3E-1EAD-4B58-8D31-7BD9EA3FE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5" y="224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45">
              <a:extLst>
                <a:ext uri="{FF2B5EF4-FFF2-40B4-BE49-F238E27FC236}">
                  <a16:creationId xmlns:a16="http://schemas.microsoft.com/office/drawing/2014/main" id="{E115B90F-864A-480D-801D-0232F4774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" y="2240"/>
              <a:ext cx="11" cy="10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2 w 4"/>
                <a:gd name="T5" fmla="*/ 0 h 4"/>
                <a:gd name="T6" fmla="*/ 1 w 4"/>
                <a:gd name="T7" fmla="*/ 0 h 4"/>
                <a:gd name="T8" fmla="*/ 1 w 4"/>
                <a:gd name="T9" fmla="*/ 1 h 4"/>
                <a:gd name="T10" fmla="*/ 1 w 4"/>
                <a:gd name="T11" fmla="*/ 1 h 4"/>
                <a:gd name="T12" fmla="*/ 1 w 4"/>
                <a:gd name="T13" fmla="*/ 1 h 4"/>
                <a:gd name="T14" fmla="*/ 0 w 4"/>
                <a:gd name="T15" fmla="*/ 2 h 4"/>
                <a:gd name="T16" fmla="*/ 0 w 4"/>
                <a:gd name="T17" fmla="*/ 2 h 4"/>
                <a:gd name="T18" fmla="*/ 0 w 4"/>
                <a:gd name="T19" fmla="*/ 3 h 4"/>
                <a:gd name="T20" fmla="*/ 1 w 4"/>
                <a:gd name="T21" fmla="*/ 3 h 4"/>
                <a:gd name="T22" fmla="*/ 1 w 4"/>
                <a:gd name="T23" fmla="*/ 3 h 4"/>
                <a:gd name="T24" fmla="*/ 1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2 w 4"/>
                <a:gd name="T31" fmla="*/ 4 h 4"/>
                <a:gd name="T32" fmla="*/ 3 w 4"/>
                <a:gd name="T33" fmla="*/ 3 h 4"/>
                <a:gd name="T34" fmla="*/ 3 w 4"/>
                <a:gd name="T35" fmla="*/ 3 h 4"/>
                <a:gd name="T36" fmla="*/ 3 w 4"/>
                <a:gd name="T37" fmla="*/ 3 h 4"/>
                <a:gd name="T38" fmla="*/ 4 w 4"/>
                <a:gd name="T39" fmla="*/ 3 h 4"/>
                <a:gd name="T40" fmla="*/ 4 w 4"/>
                <a:gd name="T41" fmla="*/ 2 h 4"/>
                <a:gd name="T42" fmla="*/ 4 w 4"/>
                <a:gd name="T43" fmla="*/ 1 h 4"/>
                <a:gd name="T44" fmla="*/ 3 w 4"/>
                <a:gd name="T45" fmla="*/ 1 h 4"/>
                <a:gd name="T46" fmla="*/ 3 w 4"/>
                <a:gd name="T4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46">
              <a:extLst>
                <a:ext uri="{FF2B5EF4-FFF2-40B4-BE49-F238E27FC236}">
                  <a16:creationId xmlns:a16="http://schemas.microsoft.com/office/drawing/2014/main" id="{11347A23-0D94-458C-AB19-9A134D5C1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6" y="2240"/>
              <a:ext cx="8" cy="10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1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3 h 4"/>
                <a:gd name="T24" fmla="*/ 0 w 3"/>
                <a:gd name="T25" fmla="*/ 3 h 4"/>
                <a:gd name="T26" fmla="*/ 1 w 3"/>
                <a:gd name="T27" fmla="*/ 3 h 4"/>
                <a:gd name="T28" fmla="*/ 1 w 3"/>
                <a:gd name="T29" fmla="*/ 3 h 4"/>
                <a:gd name="T30" fmla="*/ 1 w 3"/>
                <a:gd name="T31" fmla="*/ 4 h 4"/>
                <a:gd name="T32" fmla="*/ 1 w 3"/>
                <a:gd name="T33" fmla="*/ 4 h 4"/>
                <a:gd name="T34" fmla="*/ 2 w 3"/>
                <a:gd name="T35" fmla="*/ 4 h 4"/>
                <a:gd name="T36" fmla="*/ 2 w 3"/>
                <a:gd name="T37" fmla="*/ 4 h 4"/>
                <a:gd name="T38" fmla="*/ 3 w 3"/>
                <a:gd name="T39" fmla="*/ 3 h 4"/>
                <a:gd name="T40" fmla="*/ 3 w 3"/>
                <a:gd name="T41" fmla="*/ 3 h 4"/>
                <a:gd name="T42" fmla="*/ 3 w 3"/>
                <a:gd name="T43" fmla="*/ 3 h 4"/>
                <a:gd name="T44" fmla="*/ 3 w 3"/>
                <a:gd name="T45" fmla="*/ 3 h 4"/>
                <a:gd name="T46" fmla="*/ 3 w 3"/>
                <a:gd name="T47" fmla="*/ 2 h 4"/>
                <a:gd name="T48" fmla="*/ 3 w 3"/>
                <a:gd name="T49" fmla="*/ 2 h 4"/>
                <a:gd name="T50" fmla="*/ 3 w 3"/>
                <a:gd name="T51" fmla="*/ 1 h 4"/>
                <a:gd name="T52" fmla="*/ 3 w 3"/>
                <a:gd name="T53" fmla="*/ 1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47">
              <a:extLst>
                <a:ext uri="{FF2B5EF4-FFF2-40B4-BE49-F238E27FC236}">
                  <a16:creationId xmlns:a16="http://schemas.microsoft.com/office/drawing/2014/main" id="{FC9FDCCB-7187-46FE-AE51-74D156566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240"/>
              <a:ext cx="8" cy="10"/>
            </a:xfrm>
            <a:custGeom>
              <a:avLst/>
              <a:gdLst>
                <a:gd name="T0" fmla="*/ 2 w 3"/>
                <a:gd name="T1" fmla="*/ 1 h 4"/>
                <a:gd name="T2" fmla="*/ 2 w 3"/>
                <a:gd name="T3" fmla="*/ 0 h 4"/>
                <a:gd name="T4" fmla="*/ 2 w 3"/>
                <a:gd name="T5" fmla="*/ 0 h 4"/>
                <a:gd name="T6" fmla="*/ 1 w 3"/>
                <a:gd name="T7" fmla="*/ 0 h 4"/>
                <a:gd name="T8" fmla="*/ 1 w 3"/>
                <a:gd name="T9" fmla="*/ 0 h 4"/>
                <a:gd name="T10" fmla="*/ 0 w 3"/>
                <a:gd name="T11" fmla="*/ 1 h 4"/>
                <a:gd name="T12" fmla="*/ 0 w 3"/>
                <a:gd name="T13" fmla="*/ 1 h 4"/>
                <a:gd name="T14" fmla="*/ 0 w 3"/>
                <a:gd name="T15" fmla="*/ 1 h 4"/>
                <a:gd name="T16" fmla="*/ 0 w 3"/>
                <a:gd name="T17" fmla="*/ 1 h 4"/>
                <a:gd name="T18" fmla="*/ 0 w 3"/>
                <a:gd name="T19" fmla="*/ 2 h 4"/>
                <a:gd name="T20" fmla="*/ 0 w 3"/>
                <a:gd name="T21" fmla="*/ 2 h 4"/>
                <a:gd name="T22" fmla="*/ 0 w 3"/>
                <a:gd name="T23" fmla="*/ 2 h 4"/>
                <a:gd name="T24" fmla="*/ 0 w 3"/>
                <a:gd name="T25" fmla="*/ 2 h 4"/>
                <a:gd name="T26" fmla="*/ 0 w 3"/>
                <a:gd name="T27" fmla="*/ 2 h 4"/>
                <a:gd name="T28" fmla="*/ 0 w 3"/>
                <a:gd name="T29" fmla="*/ 2 h 4"/>
                <a:gd name="T30" fmla="*/ 0 w 3"/>
                <a:gd name="T31" fmla="*/ 3 h 4"/>
                <a:gd name="T32" fmla="*/ 0 w 3"/>
                <a:gd name="T33" fmla="*/ 3 h 4"/>
                <a:gd name="T34" fmla="*/ 0 w 3"/>
                <a:gd name="T35" fmla="*/ 3 h 4"/>
                <a:gd name="T36" fmla="*/ 0 w 3"/>
                <a:gd name="T37" fmla="*/ 3 h 4"/>
                <a:gd name="T38" fmla="*/ 1 w 3"/>
                <a:gd name="T39" fmla="*/ 3 h 4"/>
                <a:gd name="T40" fmla="*/ 1 w 3"/>
                <a:gd name="T41" fmla="*/ 4 h 4"/>
                <a:gd name="T42" fmla="*/ 1 w 3"/>
                <a:gd name="T43" fmla="*/ 4 h 4"/>
                <a:gd name="T44" fmla="*/ 2 w 3"/>
                <a:gd name="T45" fmla="*/ 3 h 4"/>
                <a:gd name="T46" fmla="*/ 3 w 3"/>
                <a:gd name="T47" fmla="*/ 3 h 4"/>
                <a:gd name="T48" fmla="*/ 3 w 3"/>
                <a:gd name="T49" fmla="*/ 3 h 4"/>
                <a:gd name="T50" fmla="*/ 3 w 3"/>
                <a:gd name="T51" fmla="*/ 2 h 4"/>
                <a:gd name="T52" fmla="*/ 3 w 3"/>
                <a:gd name="T53" fmla="*/ 2 h 4"/>
                <a:gd name="T54" fmla="*/ 3 w 3"/>
                <a:gd name="T55" fmla="*/ 1 h 4"/>
                <a:gd name="T56" fmla="*/ 3 w 3"/>
                <a:gd name="T57" fmla="*/ 1 h 4"/>
                <a:gd name="T58" fmla="*/ 3 w 3"/>
                <a:gd name="T59" fmla="*/ 1 h 4"/>
                <a:gd name="T60" fmla="*/ 2 w 3"/>
                <a:gd name="T6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3" name="Group 250">
            <a:extLst>
              <a:ext uri="{FF2B5EF4-FFF2-40B4-BE49-F238E27FC236}">
                <a16:creationId xmlns:a16="http://schemas.microsoft.com/office/drawing/2014/main" id="{AEF2D36A-CE89-422B-B02D-B232511CC3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7076" y="2856964"/>
            <a:ext cx="758825" cy="758825"/>
            <a:chOff x="3736" y="1919"/>
            <a:chExt cx="478" cy="478"/>
          </a:xfrm>
        </p:grpSpPr>
        <p:sp>
          <p:nvSpPr>
            <p:cNvPr id="274" name="AutoShape 249">
              <a:extLst>
                <a:ext uri="{FF2B5EF4-FFF2-40B4-BE49-F238E27FC236}">
                  <a16:creationId xmlns:a16="http://schemas.microsoft.com/office/drawing/2014/main" id="{A8478735-C964-439B-A299-A002AF3F84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36" y="191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51">
              <a:extLst>
                <a:ext uri="{FF2B5EF4-FFF2-40B4-BE49-F238E27FC236}">
                  <a16:creationId xmlns:a16="http://schemas.microsoft.com/office/drawing/2014/main" id="{A434F5B1-B48D-4CE2-8911-9080D66738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8" y="192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52">
              <a:extLst>
                <a:ext uri="{FF2B5EF4-FFF2-40B4-BE49-F238E27FC236}">
                  <a16:creationId xmlns:a16="http://schemas.microsoft.com/office/drawing/2014/main" id="{5803D51B-8523-4298-9FA9-5F69387D7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3" y="2027"/>
              <a:ext cx="206" cy="265"/>
            </a:xfrm>
            <a:custGeom>
              <a:avLst/>
              <a:gdLst>
                <a:gd name="T0" fmla="*/ 206 w 206"/>
                <a:gd name="T1" fmla="*/ 257 h 265"/>
                <a:gd name="T2" fmla="*/ 206 w 206"/>
                <a:gd name="T3" fmla="*/ 2 h 265"/>
                <a:gd name="T4" fmla="*/ 201 w 206"/>
                <a:gd name="T5" fmla="*/ 0 h 265"/>
                <a:gd name="T6" fmla="*/ 199 w 206"/>
                <a:gd name="T7" fmla="*/ 0 h 265"/>
                <a:gd name="T8" fmla="*/ 81 w 206"/>
                <a:gd name="T9" fmla="*/ 0 h 265"/>
                <a:gd name="T10" fmla="*/ 79 w 206"/>
                <a:gd name="T11" fmla="*/ 2 h 265"/>
                <a:gd name="T12" fmla="*/ 0 w 206"/>
                <a:gd name="T13" fmla="*/ 81 h 265"/>
                <a:gd name="T14" fmla="*/ 0 w 206"/>
                <a:gd name="T15" fmla="*/ 83 h 265"/>
                <a:gd name="T16" fmla="*/ 0 w 206"/>
                <a:gd name="T17" fmla="*/ 83 h 265"/>
                <a:gd name="T18" fmla="*/ 0 w 206"/>
                <a:gd name="T19" fmla="*/ 262 h 265"/>
                <a:gd name="T20" fmla="*/ 3 w 206"/>
                <a:gd name="T21" fmla="*/ 265 h 265"/>
                <a:gd name="T22" fmla="*/ 5 w 206"/>
                <a:gd name="T23" fmla="*/ 265 h 265"/>
                <a:gd name="T24" fmla="*/ 8 w 206"/>
                <a:gd name="T25" fmla="*/ 265 h 265"/>
                <a:gd name="T26" fmla="*/ 204 w 206"/>
                <a:gd name="T27" fmla="*/ 265 h 265"/>
                <a:gd name="T28" fmla="*/ 206 w 206"/>
                <a:gd name="T29" fmla="*/ 260 h 265"/>
                <a:gd name="T30" fmla="*/ 206 w 206"/>
                <a:gd name="T31" fmla="*/ 257 h 265"/>
                <a:gd name="T32" fmla="*/ 89 w 206"/>
                <a:gd name="T33" fmla="*/ 147 h 265"/>
                <a:gd name="T34" fmla="*/ 89 w 206"/>
                <a:gd name="T35" fmla="*/ 88 h 265"/>
                <a:gd name="T36" fmla="*/ 120 w 206"/>
                <a:gd name="T37" fmla="*/ 88 h 265"/>
                <a:gd name="T38" fmla="*/ 120 w 206"/>
                <a:gd name="T39" fmla="*/ 147 h 265"/>
                <a:gd name="T40" fmla="*/ 152 w 206"/>
                <a:gd name="T41" fmla="*/ 147 h 265"/>
                <a:gd name="T42" fmla="*/ 106 w 206"/>
                <a:gd name="T43" fmla="*/ 194 h 265"/>
                <a:gd name="T44" fmla="*/ 57 w 206"/>
                <a:gd name="T45" fmla="*/ 147 h 265"/>
                <a:gd name="T46" fmla="*/ 89 w 206"/>
                <a:gd name="T47" fmla="*/ 147 h 265"/>
                <a:gd name="T48" fmla="*/ 79 w 206"/>
                <a:gd name="T49" fmla="*/ 19 h 265"/>
                <a:gd name="T50" fmla="*/ 79 w 206"/>
                <a:gd name="T51" fmla="*/ 78 h 265"/>
                <a:gd name="T52" fmla="*/ 20 w 206"/>
                <a:gd name="T53" fmla="*/ 78 h 265"/>
                <a:gd name="T54" fmla="*/ 79 w 206"/>
                <a:gd name="T55" fmla="*/ 19 h 265"/>
                <a:gd name="T56" fmla="*/ 194 w 206"/>
                <a:gd name="T57" fmla="*/ 252 h 265"/>
                <a:gd name="T58" fmla="*/ 13 w 206"/>
                <a:gd name="T59" fmla="*/ 252 h 265"/>
                <a:gd name="T60" fmla="*/ 13 w 206"/>
                <a:gd name="T61" fmla="*/ 88 h 265"/>
                <a:gd name="T62" fmla="*/ 79 w 206"/>
                <a:gd name="T63" fmla="*/ 88 h 265"/>
                <a:gd name="T64" fmla="*/ 79 w 206"/>
                <a:gd name="T65" fmla="*/ 137 h 265"/>
                <a:gd name="T66" fmla="*/ 59 w 206"/>
                <a:gd name="T67" fmla="*/ 140 h 265"/>
                <a:gd name="T68" fmla="*/ 54 w 206"/>
                <a:gd name="T69" fmla="*/ 142 h 265"/>
                <a:gd name="T70" fmla="*/ 52 w 206"/>
                <a:gd name="T71" fmla="*/ 147 h 265"/>
                <a:gd name="T72" fmla="*/ 52 w 206"/>
                <a:gd name="T73" fmla="*/ 149 h 265"/>
                <a:gd name="T74" fmla="*/ 52 w 206"/>
                <a:gd name="T75" fmla="*/ 154 h 265"/>
                <a:gd name="T76" fmla="*/ 54 w 206"/>
                <a:gd name="T77" fmla="*/ 157 h 265"/>
                <a:gd name="T78" fmla="*/ 106 w 206"/>
                <a:gd name="T79" fmla="*/ 206 h 265"/>
                <a:gd name="T80" fmla="*/ 157 w 206"/>
                <a:gd name="T81" fmla="*/ 152 h 265"/>
                <a:gd name="T82" fmla="*/ 157 w 206"/>
                <a:gd name="T83" fmla="*/ 149 h 265"/>
                <a:gd name="T84" fmla="*/ 157 w 206"/>
                <a:gd name="T85" fmla="*/ 144 h 265"/>
                <a:gd name="T86" fmla="*/ 155 w 206"/>
                <a:gd name="T87" fmla="*/ 142 h 265"/>
                <a:gd name="T88" fmla="*/ 150 w 206"/>
                <a:gd name="T89" fmla="*/ 140 h 265"/>
                <a:gd name="T90" fmla="*/ 145 w 206"/>
                <a:gd name="T91" fmla="*/ 137 h 265"/>
                <a:gd name="T92" fmla="*/ 130 w 206"/>
                <a:gd name="T93" fmla="*/ 137 h 265"/>
                <a:gd name="T94" fmla="*/ 130 w 206"/>
                <a:gd name="T95" fmla="*/ 78 h 265"/>
                <a:gd name="T96" fmla="*/ 89 w 206"/>
                <a:gd name="T97" fmla="*/ 78 h 265"/>
                <a:gd name="T98" fmla="*/ 89 w 206"/>
                <a:gd name="T99" fmla="*/ 12 h 265"/>
                <a:gd name="T100" fmla="*/ 194 w 206"/>
                <a:gd name="T101" fmla="*/ 12 h 265"/>
                <a:gd name="T102" fmla="*/ 194 w 206"/>
                <a:gd name="T103" fmla="*/ 25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" h="265">
                  <a:moveTo>
                    <a:pt x="206" y="257"/>
                  </a:moveTo>
                  <a:lnTo>
                    <a:pt x="206" y="2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81" y="0"/>
                  </a:lnTo>
                  <a:lnTo>
                    <a:pt x="79" y="2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262"/>
                  </a:lnTo>
                  <a:lnTo>
                    <a:pt x="3" y="265"/>
                  </a:lnTo>
                  <a:lnTo>
                    <a:pt x="5" y="265"/>
                  </a:lnTo>
                  <a:lnTo>
                    <a:pt x="8" y="265"/>
                  </a:lnTo>
                  <a:lnTo>
                    <a:pt x="204" y="265"/>
                  </a:lnTo>
                  <a:lnTo>
                    <a:pt x="206" y="260"/>
                  </a:lnTo>
                  <a:lnTo>
                    <a:pt x="206" y="257"/>
                  </a:lnTo>
                  <a:close/>
                  <a:moveTo>
                    <a:pt x="89" y="147"/>
                  </a:moveTo>
                  <a:lnTo>
                    <a:pt x="89" y="88"/>
                  </a:lnTo>
                  <a:lnTo>
                    <a:pt x="120" y="88"/>
                  </a:lnTo>
                  <a:lnTo>
                    <a:pt x="120" y="147"/>
                  </a:lnTo>
                  <a:lnTo>
                    <a:pt x="152" y="147"/>
                  </a:lnTo>
                  <a:lnTo>
                    <a:pt x="106" y="194"/>
                  </a:lnTo>
                  <a:lnTo>
                    <a:pt x="57" y="147"/>
                  </a:lnTo>
                  <a:lnTo>
                    <a:pt x="89" y="147"/>
                  </a:lnTo>
                  <a:close/>
                  <a:moveTo>
                    <a:pt x="79" y="19"/>
                  </a:moveTo>
                  <a:lnTo>
                    <a:pt x="79" y="78"/>
                  </a:lnTo>
                  <a:lnTo>
                    <a:pt x="20" y="78"/>
                  </a:lnTo>
                  <a:lnTo>
                    <a:pt x="79" y="19"/>
                  </a:lnTo>
                  <a:close/>
                  <a:moveTo>
                    <a:pt x="194" y="252"/>
                  </a:moveTo>
                  <a:lnTo>
                    <a:pt x="13" y="252"/>
                  </a:lnTo>
                  <a:lnTo>
                    <a:pt x="13" y="88"/>
                  </a:lnTo>
                  <a:lnTo>
                    <a:pt x="79" y="88"/>
                  </a:lnTo>
                  <a:lnTo>
                    <a:pt x="79" y="137"/>
                  </a:lnTo>
                  <a:lnTo>
                    <a:pt x="59" y="140"/>
                  </a:lnTo>
                  <a:lnTo>
                    <a:pt x="54" y="142"/>
                  </a:lnTo>
                  <a:lnTo>
                    <a:pt x="52" y="147"/>
                  </a:lnTo>
                  <a:lnTo>
                    <a:pt x="52" y="149"/>
                  </a:lnTo>
                  <a:lnTo>
                    <a:pt x="52" y="154"/>
                  </a:lnTo>
                  <a:lnTo>
                    <a:pt x="54" y="157"/>
                  </a:lnTo>
                  <a:lnTo>
                    <a:pt x="106" y="206"/>
                  </a:lnTo>
                  <a:lnTo>
                    <a:pt x="157" y="152"/>
                  </a:lnTo>
                  <a:lnTo>
                    <a:pt x="157" y="149"/>
                  </a:lnTo>
                  <a:lnTo>
                    <a:pt x="157" y="144"/>
                  </a:lnTo>
                  <a:lnTo>
                    <a:pt x="155" y="142"/>
                  </a:lnTo>
                  <a:lnTo>
                    <a:pt x="150" y="140"/>
                  </a:lnTo>
                  <a:lnTo>
                    <a:pt x="145" y="137"/>
                  </a:lnTo>
                  <a:lnTo>
                    <a:pt x="130" y="137"/>
                  </a:lnTo>
                  <a:lnTo>
                    <a:pt x="130" y="78"/>
                  </a:lnTo>
                  <a:lnTo>
                    <a:pt x="89" y="78"/>
                  </a:lnTo>
                  <a:lnTo>
                    <a:pt x="89" y="12"/>
                  </a:lnTo>
                  <a:lnTo>
                    <a:pt x="194" y="12"/>
                  </a:lnTo>
                  <a:lnTo>
                    <a:pt x="194" y="2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255">
            <a:extLst>
              <a:ext uri="{FF2B5EF4-FFF2-40B4-BE49-F238E27FC236}">
                <a16:creationId xmlns:a16="http://schemas.microsoft.com/office/drawing/2014/main" id="{5FC7913A-0019-4D54-9B7E-D882464461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0288" y="2815689"/>
            <a:ext cx="841375" cy="841375"/>
            <a:chOff x="2979" y="1837"/>
            <a:chExt cx="530" cy="530"/>
          </a:xfrm>
        </p:grpSpPr>
        <p:sp>
          <p:nvSpPr>
            <p:cNvPr id="278" name="AutoShape 254">
              <a:extLst>
                <a:ext uri="{FF2B5EF4-FFF2-40B4-BE49-F238E27FC236}">
                  <a16:creationId xmlns:a16="http://schemas.microsoft.com/office/drawing/2014/main" id="{F4B0DE77-5491-42DB-839D-6BF06DE836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79" y="183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256">
              <a:extLst>
                <a:ext uri="{FF2B5EF4-FFF2-40B4-BE49-F238E27FC236}">
                  <a16:creationId xmlns:a16="http://schemas.microsoft.com/office/drawing/2014/main" id="{4E3A72D3-3D37-4345-85E6-8D1CBB3C8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" y="183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57">
              <a:extLst>
                <a:ext uri="{FF2B5EF4-FFF2-40B4-BE49-F238E27FC236}">
                  <a16:creationId xmlns:a16="http://schemas.microsoft.com/office/drawing/2014/main" id="{66B3B1E6-1268-46E8-A903-F00E231F9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7" y="185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58">
              <a:extLst>
                <a:ext uri="{FF2B5EF4-FFF2-40B4-BE49-F238E27FC236}">
                  <a16:creationId xmlns:a16="http://schemas.microsoft.com/office/drawing/2014/main" id="{46ED7435-45B2-4D87-8C7A-78FE0F4C50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8" y="1965"/>
              <a:ext cx="215" cy="276"/>
            </a:xfrm>
            <a:custGeom>
              <a:avLst/>
              <a:gdLst>
                <a:gd name="T0" fmla="*/ 215 w 215"/>
                <a:gd name="T1" fmla="*/ 269 h 276"/>
                <a:gd name="T2" fmla="*/ 215 w 215"/>
                <a:gd name="T3" fmla="*/ 2 h 276"/>
                <a:gd name="T4" fmla="*/ 210 w 215"/>
                <a:gd name="T5" fmla="*/ 0 h 276"/>
                <a:gd name="T6" fmla="*/ 207 w 215"/>
                <a:gd name="T7" fmla="*/ 0 h 276"/>
                <a:gd name="T8" fmla="*/ 84 w 215"/>
                <a:gd name="T9" fmla="*/ 0 h 276"/>
                <a:gd name="T10" fmla="*/ 82 w 215"/>
                <a:gd name="T11" fmla="*/ 2 h 276"/>
                <a:gd name="T12" fmla="*/ 0 w 215"/>
                <a:gd name="T13" fmla="*/ 84 h 276"/>
                <a:gd name="T14" fmla="*/ 0 w 215"/>
                <a:gd name="T15" fmla="*/ 87 h 276"/>
                <a:gd name="T16" fmla="*/ 0 w 215"/>
                <a:gd name="T17" fmla="*/ 87 h 276"/>
                <a:gd name="T18" fmla="*/ 0 w 215"/>
                <a:gd name="T19" fmla="*/ 274 h 276"/>
                <a:gd name="T20" fmla="*/ 2 w 215"/>
                <a:gd name="T21" fmla="*/ 276 h 276"/>
                <a:gd name="T22" fmla="*/ 5 w 215"/>
                <a:gd name="T23" fmla="*/ 276 h 276"/>
                <a:gd name="T24" fmla="*/ 7 w 215"/>
                <a:gd name="T25" fmla="*/ 276 h 276"/>
                <a:gd name="T26" fmla="*/ 212 w 215"/>
                <a:gd name="T27" fmla="*/ 276 h 276"/>
                <a:gd name="T28" fmla="*/ 215 w 215"/>
                <a:gd name="T29" fmla="*/ 271 h 276"/>
                <a:gd name="T30" fmla="*/ 215 w 215"/>
                <a:gd name="T31" fmla="*/ 269 h 276"/>
                <a:gd name="T32" fmla="*/ 92 w 215"/>
                <a:gd name="T33" fmla="*/ 154 h 276"/>
                <a:gd name="T34" fmla="*/ 92 w 215"/>
                <a:gd name="T35" fmla="*/ 92 h 276"/>
                <a:gd name="T36" fmla="*/ 125 w 215"/>
                <a:gd name="T37" fmla="*/ 92 h 276"/>
                <a:gd name="T38" fmla="*/ 125 w 215"/>
                <a:gd name="T39" fmla="*/ 154 h 276"/>
                <a:gd name="T40" fmla="*/ 158 w 215"/>
                <a:gd name="T41" fmla="*/ 154 h 276"/>
                <a:gd name="T42" fmla="*/ 110 w 215"/>
                <a:gd name="T43" fmla="*/ 202 h 276"/>
                <a:gd name="T44" fmla="*/ 59 w 215"/>
                <a:gd name="T45" fmla="*/ 154 h 276"/>
                <a:gd name="T46" fmla="*/ 92 w 215"/>
                <a:gd name="T47" fmla="*/ 154 h 276"/>
                <a:gd name="T48" fmla="*/ 82 w 215"/>
                <a:gd name="T49" fmla="*/ 20 h 276"/>
                <a:gd name="T50" fmla="*/ 82 w 215"/>
                <a:gd name="T51" fmla="*/ 82 h 276"/>
                <a:gd name="T52" fmla="*/ 20 w 215"/>
                <a:gd name="T53" fmla="*/ 82 h 276"/>
                <a:gd name="T54" fmla="*/ 82 w 215"/>
                <a:gd name="T55" fmla="*/ 20 h 276"/>
                <a:gd name="T56" fmla="*/ 202 w 215"/>
                <a:gd name="T57" fmla="*/ 264 h 276"/>
                <a:gd name="T58" fmla="*/ 12 w 215"/>
                <a:gd name="T59" fmla="*/ 264 h 276"/>
                <a:gd name="T60" fmla="*/ 12 w 215"/>
                <a:gd name="T61" fmla="*/ 92 h 276"/>
                <a:gd name="T62" fmla="*/ 82 w 215"/>
                <a:gd name="T63" fmla="*/ 92 h 276"/>
                <a:gd name="T64" fmla="*/ 82 w 215"/>
                <a:gd name="T65" fmla="*/ 143 h 276"/>
                <a:gd name="T66" fmla="*/ 61 w 215"/>
                <a:gd name="T67" fmla="*/ 146 h 276"/>
                <a:gd name="T68" fmla="*/ 56 w 215"/>
                <a:gd name="T69" fmla="*/ 148 h 276"/>
                <a:gd name="T70" fmla="*/ 53 w 215"/>
                <a:gd name="T71" fmla="*/ 154 h 276"/>
                <a:gd name="T72" fmla="*/ 53 w 215"/>
                <a:gd name="T73" fmla="*/ 156 h 276"/>
                <a:gd name="T74" fmla="*/ 53 w 215"/>
                <a:gd name="T75" fmla="*/ 161 h 276"/>
                <a:gd name="T76" fmla="*/ 56 w 215"/>
                <a:gd name="T77" fmla="*/ 164 h 276"/>
                <a:gd name="T78" fmla="*/ 110 w 215"/>
                <a:gd name="T79" fmla="*/ 215 h 276"/>
                <a:gd name="T80" fmla="*/ 164 w 215"/>
                <a:gd name="T81" fmla="*/ 159 h 276"/>
                <a:gd name="T82" fmla="*/ 164 w 215"/>
                <a:gd name="T83" fmla="*/ 156 h 276"/>
                <a:gd name="T84" fmla="*/ 164 w 215"/>
                <a:gd name="T85" fmla="*/ 151 h 276"/>
                <a:gd name="T86" fmla="*/ 161 w 215"/>
                <a:gd name="T87" fmla="*/ 148 h 276"/>
                <a:gd name="T88" fmla="*/ 156 w 215"/>
                <a:gd name="T89" fmla="*/ 146 h 276"/>
                <a:gd name="T90" fmla="*/ 151 w 215"/>
                <a:gd name="T91" fmla="*/ 143 h 276"/>
                <a:gd name="T92" fmla="*/ 135 w 215"/>
                <a:gd name="T93" fmla="*/ 143 h 276"/>
                <a:gd name="T94" fmla="*/ 135 w 215"/>
                <a:gd name="T95" fmla="*/ 82 h 276"/>
                <a:gd name="T96" fmla="*/ 92 w 215"/>
                <a:gd name="T97" fmla="*/ 82 h 276"/>
                <a:gd name="T98" fmla="*/ 92 w 215"/>
                <a:gd name="T99" fmla="*/ 13 h 276"/>
                <a:gd name="T100" fmla="*/ 202 w 215"/>
                <a:gd name="T101" fmla="*/ 13 h 276"/>
                <a:gd name="T102" fmla="*/ 202 w 215"/>
                <a:gd name="T103" fmla="*/ 26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5" h="276">
                  <a:moveTo>
                    <a:pt x="215" y="269"/>
                  </a:moveTo>
                  <a:lnTo>
                    <a:pt x="215" y="2"/>
                  </a:lnTo>
                  <a:lnTo>
                    <a:pt x="210" y="0"/>
                  </a:lnTo>
                  <a:lnTo>
                    <a:pt x="207" y="0"/>
                  </a:lnTo>
                  <a:lnTo>
                    <a:pt x="84" y="0"/>
                  </a:lnTo>
                  <a:lnTo>
                    <a:pt x="82" y="2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274"/>
                  </a:lnTo>
                  <a:lnTo>
                    <a:pt x="2" y="276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212" y="276"/>
                  </a:ln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92" y="154"/>
                  </a:moveTo>
                  <a:lnTo>
                    <a:pt x="92" y="92"/>
                  </a:lnTo>
                  <a:lnTo>
                    <a:pt x="125" y="92"/>
                  </a:lnTo>
                  <a:lnTo>
                    <a:pt x="125" y="154"/>
                  </a:lnTo>
                  <a:lnTo>
                    <a:pt x="158" y="154"/>
                  </a:lnTo>
                  <a:lnTo>
                    <a:pt x="110" y="202"/>
                  </a:lnTo>
                  <a:lnTo>
                    <a:pt x="59" y="154"/>
                  </a:lnTo>
                  <a:lnTo>
                    <a:pt x="92" y="154"/>
                  </a:lnTo>
                  <a:close/>
                  <a:moveTo>
                    <a:pt x="82" y="20"/>
                  </a:moveTo>
                  <a:lnTo>
                    <a:pt x="82" y="82"/>
                  </a:lnTo>
                  <a:lnTo>
                    <a:pt x="20" y="82"/>
                  </a:lnTo>
                  <a:lnTo>
                    <a:pt x="82" y="20"/>
                  </a:lnTo>
                  <a:close/>
                  <a:moveTo>
                    <a:pt x="202" y="264"/>
                  </a:moveTo>
                  <a:lnTo>
                    <a:pt x="12" y="264"/>
                  </a:lnTo>
                  <a:lnTo>
                    <a:pt x="12" y="92"/>
                  </a:lnTo>
                  <a:lnTo>
                    <a:pt x="82" y="92"/>
                  </a:lnTo>
                  <a:lnTo>
                    <a:pt x="82" y="143"/>
                  </a:lnTo>
                  <a:lnTo>
                    <a:pt x="61" y="146"/>
                  </a:lnTo>
                  <a:lnTo>
                    <a:pt x="56" y="148"/>
                  </a:lnTo>
                  <a:lnTo>
                    <a:pt x="53" y="154"/>
                  </a:lnTo>
                  <a:lnTo>
                    <a:pt x="53" y="156"/>
                  </a:lnTo>
                  <a:lnTo>
                    <a:pt x="53" y="161"/>
                  </a:lnTo>
                  <a:lnTo>
                    <a:pt x="56" y="164"/>
                  </a:lnTo>
                  <a:lnTo>
                    <a:pt x="110" y="215"/>
                  </a:lnTo>
                  <a:lnTo>
                    <a:pt x="164" y="159"/>
                  </a:lnTo>
                  <a:lnTo>
                    <a:pt x="164" y="156"/>
                  </a:lnTo>
                  <a:lnTo>
                    <a:pt x="164" y="151"/>
                  </a:lnTo>
                  <a:lnTo>
                    <a:pt x="161" y="148"/>
                  </a:lnTo>
                  <a:lnTo>
                    <a:pt x="156" y="146"/>
                  </a:lnTo>
                  <a:lnTo>
                    <a:pt x="151" y="143"/>
                  </a:lnTo>
                  <a:lnTo>
                    <a:pt x="135" y="143"/>
                  </a:lnTo>
                  <a:lnTo>
                    <a:pt x="135" y="82"/>
                  </a:lnTo>
                  <a:lnTo>
                    <a:pt x="92" y="82"/>
                  </a:lnTo>
                  <a:lnTo>
                    <a:pt x="92" y="13"/>
                  </a:lnTo>
                  <a:lnTo>
                    <a:pt x="202" y="13"/>
                  </a:lnTo>
                  <a:lnTo>
                    <a:pt x="202" y="2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6" name="Group 261">
            <a:extLst>
              <a:ext uri="{FF2B5EF4-FFF2-40B4-BE49-F238E27FC236}">
                <a16:creationId xmlns:a16="http://schemas.microsoft.com/office/drawing/2014/main" id="{96360EC1-8ABC-4A00-8C07-F6B2A60408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900" y="2856964"/>
            <a:ext cx="758825" cy="758825"/>
            <a:chOff x="5171" y="2004"/>
            <a:chExt cx="478" cy="478"/>
          </a:xfrm>
        </p:grpSpPr>
        <p:sp>
          <p:nvSpPr>
            <p:cNvPr id="287" name="AutoShape 260">
              <a:extLst>
                <a:ext uri="{FF2B5EF4-FFF2-40B4-BE49-F238E27FC236}">
                  <a16:creationId xmlns:a16="http://schemas.microsoft.com/office/drawing/2014/main" id="{6C6370CB-6F7E-45D3-B8E7-4410A08D589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71" y="20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62">
              <a:extLst>
                <a:ext uri="{FF2B5EF4-FFF2-40B4-BE49-F238E27FC236}">
                  <a16:creationId xmlns:a16="http://schemas.microsoft.com/office/drawing/2014/main" id="{218E8912-82A5-41D9-97FC-B347309F8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" y="20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63">
              <a:extLst>
                <a:ext uri="{FF2B5EF4-FFF2-40B4-BE49-F238E27FC236}">
                  <a16:creationId xmlns:a16="http://schemas.microsoft.com/office/drawing/2014/main" id="{90C8E877-912D-4943-AAC1-ED563F71E2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6" y="2104"/>
              <a:ext cx="230" cy="280"/>
            </a:xfrm>
            <a:custGeom>
              <a:avLst/>
              <a:gdLst>
                <a:gd name="T0" fmla="*/ 181 w 230"/>
                <a:gd name="T1" fmla="*/ 199 h 280"/>
                <a:gd name="T2" fmla="*/ 115 w 230"/>
                <a:gd name="T3" fmla="*/ 187 h 280"/>
                <a:gd name="T4" fmla="*/ 115 w 230"/>
                <a:gd name="T5" fmla="*/ 175 h 280"/>
                <a:gd name="T6" fmla="*/ 47 w 230"/>
                <a:gd name="T7" fmla="*/ 194 h 280"/>
                <a:gd name="T8" fmla="*/ 56 w 230"/>
                <a:gd name="T9" fmla="*/ 221 h 280"/>
                <a:gd name="T10" fmla="*/ 59 w 230"/>
                <a:gd name="T11" fmla="*/ 224 h 280"/>
                <a:gd name="T12" fmla="*/ 61 w 230"/>
                <a:gd name="T13" fmla="*/ 224 h 280"/>
                <a:gd name="T14" fmla="*/ 64 w 230"/>
                <a:gd name="T15" fmla="*/ 224 h 280"/>
                <a:gd name="T16" fmla="*/ 64 w 230"/>
                <a:gd name="T17" fmla="*/ 221 h 280"/>
                <a:gd name="T18" fmla="*/ 101 w 230"/>
                <a:gd name="T19" fmla="*/ 179 h 280"/>
                <a:gd name="T20" fmla="*/ 115 w 230"/>
                <a:gd name="T21" fmla="*/ 128 h 280"/>
                <a:gd name="T22" fmla="*/ 115 w 230"/>
                <a:gd name="T23" fmla="*/ 113 h 280"/>
                <a:gd name="T24" fmla="*/ 181 w 230"/>
                <a:gd name="T25" fmla="*/ 103 h 280"/>
                <a:gd name="T26" fmla="*/ 115 w 230"/>
                <a:gd name="T27" fmla="*/ 103 h 280"/>
                <a:gd name="T28" fmla="*/ 37 w 230"/>
                <a:gd name="T29" fmla="*/ 121 h 280"/>
                <a:gd name="T30" fmla="*/ 56 w 230"/>
                <a:gd name="T31" fmla="*/ 138 h 280"/>
                <a:gd name="T32" fmla="*/ 59 w 230"/>
                <a:gd name="T33" fmla="*/ 140 h 280"/>
                <a:gd name="T34" fmla="*/ 61 w 230"/>
                <a:gd name="T35" fmla="*/ 140 h 280"/>
                <a:gd name="T36" fmla="*/ 64 w 230"/>
                <a:gd name="T37" fmla="*/ 138 h 280"/>
                <a:gd name="T38" fmla="*/ 66 w 230"/>
                <a:gd name="T39" fmla="*/ 138 h 280"/>
                <a:gd name="T40" fmla="*/ 91 w 230"/>
                <a:gd name="T41" fmla="*/ 89 h 280"/>
                <a:gd name="T42" fmla="*/ 69 w 230"/>
                <a:gd name="T43" fmla="*/ 69 h 280"/>
                <a:gd name="T44" fmla="*/ 15 w 230"/>
                <a:gd name="T45" fmla="*/ 81 h 280"/>
                <a:gd name="T46" fmla="*/ 78 w 230"/>
                <a:gd name="T47" fmla="*/ 81 h 280"/>
                <a:gd name="T48" fmla="*/ 78 w 230"/>
                <a:gd name="T49" fmla="*/ 81 h 280"/>
                <a:gd name="T50" fmla="*/ 81 w 230"/>
                <a:gd name="T51" fmla="*/ 79 h 280"/>
                <a:gd name="T52" fmla="*/ 81 w 230"/>
                <a:gd name="T53" fmla="*/ 79 h 280"/>
                <a:gd name="T54" fmla="*/ 83 w 230"/>
                <a:gd name="T55" fmla="*/ 76 h 280"/>
                <a:gd name="T56" fmla="*/ 83 w 230"/>
                <a:gd name="T57" fmla="*/ 13 h 280"/>
                <a:gd name="T58" fmla="*/ 15 w 230"/>
                <a:gd name="T59" fmla="*/ 268 h 280"/>
                <a:gd name="T60" fmla="*/ 76 w 230"/>
                <a:gd name="T61" fmla="*/ 0 h 280"/>
                <a:gd name="T62" fmla="*/ 74 w 230"/>
                <a:gd name="T63" fmla="*/ 0 h 280"/>
                <a:gd name="T64" fmla="*/ 71 w 230"/>
                <a:gd name="T65" fmla="*/ 3 h 280"/>
                <a:gd name="T66" fmla="*/ 2 w 230"/>
                <a:gd name="T67" fmla="*/ 72 h 280"/>
                <a:gd name="T68" fmla="*/ 0 w 230"/>
                <a:gd name="T69" fmla="*/ 72 h 280"/>
                <a:gd name="T70" fmla="*/ 0 w 230"/>
                <a:gd name="T71" fmla="*/ 74 h 280"/>
                <a:gd name="T72" fmla="*/ 0 w 230"/>
                <a:gd name="T73" fmla="*/ 275 h 280"/>
                <a:gd name="T74" fmla="*/ 0 w 230"/>
                <a:gd name="T75" fmla="*/ 275 h 280"/>
                <a:gd name="T76" fmla="*/ 2 w 230"/>
                <a:gd name="T77" fmla="*/ 278 h 280"/>
                <a:gd name="T78" fmla="*/ 2 w 230"/>
                <a:gd name="T79" fmla="*/ 280 h 280"/>
                <a:gd name="T80" fmla="*/ 5 w 230"/>
                <a:gd name="T81" fmla="*/ 280 h 280"/>
                <a:gd name="T82" fmla="*/ 7 w 230"/>
                <a:gd name="T83" fmla="*/ 280 h 280"/>
                <a:gd name="T84" fmla="*/ 226 w 230"/>
                <a:gd name="T85" fmla="*/ 280 h 280"/>
                <a:gd name="T86" fmla="*/ 226 w 230"/>
                <a:gd name="T87" fmla="*/ 280 h 280"/>
                <a:gd name="T88" fmla="*/ 228 w 230"/>
                <a:gd name="T89" fmla="*/ 278 h 280"/>
                <a:gd name="T90" fmla="*/ 228 w 230"/>
                <a:gd name="T91" fmla="*/ 278 h 280"/>
                <a:gd name="T92" fmla="*/ 230 w 230"/>
                <a:gd name="T93" fmla="*/ 275 h 280"/>
                <a:gd name="T94" fmla="*/ 230 w 230"/>
                <a:gd name="T95" fmla="*/ 5 h 280"/>
                <a:gd name="T96" fmla="*/ 228 w 230"/>
                <a:gd name="T97" fmla="*/ 3 h 280"/>
                <a:gd name="T98" fmla="*/ 228 w 230"/>
                <a:gd name="T99" fmla="*/ 3 h 280"/>
                <a:gd name="T100" fmla="*/ 226 w 230"/>
                <a:gd name="T101" fmla="*/ 0 h 280"/>
                <a:gd name="T102" fmla="*/ 226 w 230"/>
                <a:gd name="T103" fmla="*/ 0 h 280"/>
                <a:gd name="T104" fmla="*/ 76 w 230"/>
                <a:gd name="T10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0" h="280">
                  <a:moveTo>
                    <a:pt x="115" y="211"/>
                  </a:moveTo>
                  <a:lnTo>
                    <a:pt x="181" y="211"/>
                  </a:lnTo>
                  <a:lnTo>
                    <a:pt x="181" y="199"/>
                  </a:lnTo>
                  <a:lnTo>
                    <a:pt x="115" y="199"/>
                  </a:lnTo>
                  <a:lnTo>
                    <a:pt x="115" y="211"/>
                  </a:lnTo>
                  <a:close/>
                  <a:moveTo>
                    <a:pt x="115" y="187"/>
                  </a:moveTo>
                  <a:lnTo>
                    <a:pt x="181" y="187"/>
                  </a:lnTo>
                  <a:lnTo>
                    <a:pt x="181" y="175"/>
                  </a:lnTo>
                  <a:lnTo>
                    <a:pt x="115" y="175"/>
                  </a:lnTo>
                  <a:lnTo>
                    <a:pt x="115" y="187"/>
                  </a:lnTo>
                  <a:close/>
                  <a:moveTo>
                    <a:pt x="59" y="209"/>
                  </a:moveTo>
                  <a:lnTo>
                    <a:pt x="47" y="194"/>
                  </a:lnTo>
                  <a:lnTo>
                    <a:pt x="37" y="204"/>
                  </a:lnTo>
                  <a:lnTo>
                    <a:pt x="56" y="221"/>
                  </a:lnTo>
                  <a:lnTo>
                    <a:pt x="56" y="221"/>
                  </a:lnTo>
                  <a:lnTo>
                    <a:pt x="56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101" y="179"/>
                  </a:lnTo>
                  <a:lnTo>
                    <a:pt x="91" y="172"/>
                  </a:lnTo>
                  <a:lnTo>
                    <a:pt x="59" y="209"/>
                  </a:lnTo>
                  <a:close/>
                  <a:moveTo>
                    <a:pt x="115" y="128"/>
                  </a:moveTo>
                  <a:lnTo>
                    <a:pt x="181" y="128"/>
                  </a:lnTo>
                  <a:lnTo>
                    <a:pt x="181" y="113"/>
                  </a:lnTo>
                  <a:lnTo>
                    <a:pt x="115" y="113"/>
                  </a:lnTo>
                  <a:lnTo>
                    <a:pt x="115" y="128"/>
                  </a:lnTo>
                  <a:close/>
                  <a:moveTo>
                    <a:pt x="115" y="103"/>
                  </a:moveTo>
                  <a:lnTo>
                    <a:pt x="181" y="103"/>
                  </a:lnTo>
                  <a:lnTo>
                    <a:pt x="181" y="91"/>
                  </a:lnTo>
                  <a:lnTo>
                    <a:pt x="115" y="91"/>
                  </a:lnTo>
                  <a:lnTo>
                    <a:pt x="115" y="103"/>
                  </a:lnTo>
                  <a:close/>
                  <a:moveTo>
                    <a:pt x="59" y="123"/>
                  </a:moveTo>
                  <a:lnTo>
                    <a:pt x="47" y="111"/>
                  </a:lnTo>
                  <a:lnTo>
                    <a:pt x="37" y="121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101" y="96"/>
                  </a:lnTo>
                  <a:lnTo>
                    <a:pt x="91" y="89"/>
                  </a:lnTo>
                  <a:lnTo>
                    <a:pt x="59" y="123"/>
                  </a:lnTo>
                  <a:close/>
                  <a:moveTo>
                    <a:pt x="69" y="23"/>
                  </a:moveTo>
                  <a:lnTo>
                    <a:pt x="69" y="69"/>
                  </a:lnTo>
                  <a:lnTo>
                    <a:pt x="22" y="69"/>
                  </a:lnTo>
                  <a:lnTo>
                    <a:pt x="69" y="23"/>
                  </a:lnTo>
                  <a:close/>
                  <a:moveTo>
                    <a:pt x="15" y="81"/>
                  </a:moveTo>
                  <a:lnTo>
                    <a:pt x="76" y="81"/>
                  </a:lnTo>
                  <a:lnTo>
                    <a:pt x="76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81" y="81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1" y="76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3" y="74"/>
                  </a:lnTo>
                  <a:lnTo>
                    <a:pt x="83" y="13"/>
                  </a:lnTo>
                  <a:lnTo>
                    <a:pt x="216" y="13"/>
                  </a:lnTo>
                  <a:lnTo>
                    <a:pt x="216" y="268"/>
                  </a:lnTo>
                  <a:lnTo>
                    <a:pt x="15" y="268"/>
                  </a:lnTo>
                  <a:lnTo>
                    <a:pt x="15" y="81"/>
                  </a:lnTo>
                  <a:close/>
                  <a:moveTo>
                    <a:pt x="76" y="0"/>
                  </a:moveTo>
                  <a:lnTo>
                    <a:pt x="76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273"/>
                  </a:lnTo>
                  <a:lnTo>
                    <a:pt x="0" y="275"/>
                  </a:lnTo>
                  <a:lnTo>
                    <a:pt x="0" y="275"/>
                  </a:lnTo>
                  <a:lnTo>
                    <a:pt x="0" y="275"/>
                  </a:lnTo>
                  <a:lnTo>
                    <a:pt x="0" y="275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2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223" y="280"/>
                  </a:lnTo>
                  <a:lnTo>
                    <a:pt x="223" y="280"/>
                  </a:lnTo>
                  <a:lnTo>
                    <a:pt x="226" y="280"/>
                  </a:lnTo>
                  <a:lnTo>
                    <a:pt x="226" y="280"/>
                  </a:lnTo>
                  <a:lnTo>
                    <a:pt x="226" y="280"/>
                  </a:lnTo>
                  <a:lnTo>
                    <a:pt x="226" y="280"/>
                  </a:lnTo>
                  <a:lnTo>
                    <a:pt x="228" y="280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28" y="278"/>
                  </a:lnTo>
                  <a:lnTo>
                    <a:pt x="230" y="275"/>
                  </a:lnTo>
                  <a:lnTo>
                    <a:pt x="230" y="275"/>
                  </a:lnTo>
                  <a:lnTo>
                    <a:pt x="230" y="275"/>
                  </a:lnTo>
                  <a:lnTo>
                    <a:pt x="230" y="27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66">
            <a:extLst>
              <a:ext uri="{FF2B5EF4-FFF2-40B4-BE49-F238E27FC236}">
                <a16:creationId xmlns:a16="http://schemas.microsoft.com/office/drawing/2014/main" id="{1A2E46D4-C72C-43FC-8CC3-AF39BA4728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9985" y="2815689"/>
            <a:ext cx="842962" cy="841375"/>
            <a:chOff x="4503" y="1918"/>
            <a:chExt cx="531" cy="530"/>
          </a:xfrm>
        </p:grpSpPr>
        <p:sp>
          <p:nvSpPr>
            <p:cNvPr id="291" name="AutoShape 265">
              <a:extLst>
                <a:ext uri="{FF2B5EF4-FFF2-40B4-BE49-F238E27FC236}">
                  <a16:creationId xmlns:a16="http://schemas.microsoft.com/office/drawing/2014/main" id="{4AF60144-BD0B-474A-B677-FD7D3A2B56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03" y="191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267">
              <a:extLst>
                <a:ext uri="{FF2B5EF4-FFF2-40B4-BE49-F238E27FC236}">
                  <a16:creationId xmlns:a16="http://schemas.microsoft.com/office/drawing/2014/main" id="{42176175-56D1-497F-B16C-ACDE06390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3" y="191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68">
              <a:extLst>
                <a:ext uri="{FF2B5EF4-FFF2-40B4-BE49-F238E27FC236}">
                  <a16:creationId xmlns:a16="http://schemas.microsoft.com/office/drawing/2014/main" id="{506B0276-1B88-44F8-B0F6-0D24C6E62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1" y="193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69">
              <a:extLst>
                <a:ext uri="{FF2B5EF4-FFF2-40B4-BE49-F238E27FC236}">
                  <a16:creationId xmlns:a16="http://schemas.microsoft.com/office/drawing/2014/main" id="{F671A988-DBE1-4B36-9B96-88D6B66AC8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" y="2038"/>
              <a:ext cx="241" cy="292"/>
            </a:xfrm>
            <a:custGeom>
              <a:avLst/>
              <a:gdLst>
                <a:gd name="T0" fmla="*/ 190 w 241"/>
                <a:gd name="T1" fmla="*/ 208 h 292"/>
                <a:gd name="T2" fmla="*/ 121 w 241"/>
                <a:gd name="T3" fmla="*/ 195 h 292"/>
                <a:gd name="T4" fmla="*/ 121 w 241"/>
                <a:gd name="T5" fmla="*/ 182 h 292"/>
                <a:gd name="T6" fmla="*/ 49 w 241"/>
                <a:gd name="T7" fmla="*/ 203 h 292"/>
                <a:gd name="T8" fmla="*/ 59 w 241"/>
                <a:gd name="T9" fmla="*/ 231 h 292"/>
                <a:gd name="T10" fmla="*/ 62 w 241"/>
                <a:gd name="T11" fmla="*/ 233 h 292"/>
                <a:gd name="T12" fmla="*/ 64 w 241"/>
                <a:gd name="T13" fmla="*/ 233 h 292"/>
                <a:gd name="T14" fmla="*/ 67 w 241"/>
                <a:gd name="T15" fmla="*/ 233 h 292"/>
                <a:gd name="T16" fmla="*/ 67 w 241"/>
                <a:gd name="T17" fmla="*/ 231 h 292"/>
                <a:gd name="T18" fmla="*/ 105 w 241"/>
                <a:gd name="T19" fmla="*/ 187 h 292"/>
                <a:gd name="T20" fmla="*/ 121 w 241"/>
                <a:gd name="T21" fmla="*/ 133 h 292"/>
                <a:gd name="T22" fmla="*/ 121 w 241"/>
                <a:gd name="T23" fmla="*/ 118 h 292"/>
                <a:gd name="T24" fmla="*/ 190 w 241"/>
                <a:gd name="T25" fmla="*/ 108 h 292"/>
                <a:gd name="T26" fmla="*/ 121 w 241"/>
                <a:gd name="T27" fmla="*/ 108 h 292"/>
                <a:gd name="T28" fmla="*/ 39 w 241"/>
                <a:gd name="T29" fmla="*/ 126 h 292"/>
                <a:gd name="T30" fmla="*/ 59 w 241"/>
                <a:gd name="T31" fmla="*/ 144 h 292"/>
                <a:gd name="T32" fmla="*/ 62 w 241"/>
                <a:gd name="T33" fmla="*/ 146 h 292"/>
                <a:gd name="T34" fmla="*/ 64 w 241"/>
                <a:gd name="T35" fmla="*/ 146 h 292"/>
                <a:gd name="T36" fmla="*/ 67 w 241"/>
                <a:gd name="T37" fmla="*/ 144 h 292"/>
                <a:gd name="T38" fmla="*/ 69 w 241"/>
                <a:gd name="T39" fmla="*/ 144 h 292"/>
                <a:gd name="T40" fmla="*/ 95 w 241"/>
                <a:gd name="T41" fmla="*/ 92 h 292"/>
                <a:gd name="T42" fmla="*/ 72 w 241"/>
                <a:gd name="T43" fmla="*/ 72 h 292"/>
                <a:gd name="T44" fmla="*/ 16 w 241"/>
                <a:gd name="T45" fmla="*/ 85 h 292"/>
                <a:gd name="T46" fmla="*/ 82 w 241"/>
                <a:gd name="T47" fmla="*/ 85 h 292"/>
                <a:gd name="T48" fmla="*/ 82 w 241"/>
                <a:gd name="T49" fmla="*/ 85 h 292"/>
                <a:gd name="T50" fmla="*/ 85 w 241"/>
                <a:gd name="T51" fmla="*/ 82 h 292"/>
                <a:gd name="T52" fmla="*/ 85 w 241"/>
                <a:gd name="T53" fmla="*/ 82 h 292"/>
                <a:gd name="T54" fmla="*/ 87 w 241"/>
                <a:gd name="T55" fmla="*/ 80 h 292"/>
                <a:gd name="T56" fmla="*/ 87 w 241"/>
                <a:gd name="T57" fmla="*/ 13 h 292"/>
                <a:gd name="T58" fmla="*/ 16 w 241"/>
                <a:gd name="T59" fmla="*/ 279 h 292"/>
                <a:gd name="T60" fmla="*/ 80 w 241"/>
                <a:gd name="T61" fmla="*/ 0 h 292"/>
                <a:gd name="T62" fmla="*/ 77 w 241"/>
                <a:gd name="T63" fmla="*/ 0 h 292"/>
                <a:gd name="T64" fmla="*/ 75 w 241"/>
                <a:gd name="T65" fmla="*/ 3 h 292"/>
                <a:gd name="T66" fmla="*/ 3 w 241"/>
                <a:gd name="T67" fmla="*/ 74 h 292"/>
                <a:gd name="T68" fmla="*/ 0 w 241"/>
                <a:gd name="T69" fmla="*/ 74 h 292"/>
                <a:gd name="T70" fmla="*/ 0 w 241"/>
                <a:gd name="T71" fmla="*/ 77 h 292"/>
                <a:gd name="T72" fmla="*/ 0 w 241"/>
                <a:gd name="T73" fmla="*/ 287 h 292"/>
                <a:gd name="T74" fmla="*/ 0 w 241"/>
                <a:gd name="T75" fmla="*/ 287 h 292"/>
                <a:gd name="T76" fmla="*/ 3 w 241"/>
                <a:gd name="T77" fmla="*/ 290 h 292"/>
                <a:gd name="T78" fmla="*/ 3 w 241"/>
                <a:gd name="T79" fmla="*/ 292 h 292"/>
                <a:gd name="T80" fmla="*/ 5 w 241"/>
                <a:gd name="T81" fmla="*/ 292 h 292"/>
                <a:gd name="T82" fmla="*/ 8 w 241"/>
                <a:gd name="T83" fmla="*/ 292 h 292"/>
                <a:gd name="T84" fmla="*/ 236 w 241"/>
                <a:gd name="T85" fmla="*/ 292 h 292"/>
                <a:gd name="T86" fmla="*/ 236 w 241"/>
                <a:gd name="T87" fmla="*/ 292 h 292"/>
                <a:gd name="T88" fmla="*/ 239 w 241"/>
                <a:gd name="T89" fmla="*/ 290 h 292"/>
                <a:gd name="T90" fmla="*/ 239 w 241"/>
                <a:gd name="T91" fmla="*/ 290 h 292"/>
                <a:gd name="T92" fmla="*/ 241 w 241"/>
                <a:gd name="T93" fmla="*/ 287 h 292"/>
                <a:gd name="T94" fmla="*/ 241 w 241"/>
                <a:gd name="T95" fmla="*/ 5 h 292"/>
                <a:gd name="T96" fmla="*/ 239 w 241"/>
                <a:gd name="T97" fmla="*/ 3 h 292"/>
                <a:gd name="T98" fmla="*/ 239 w 241"/>
                <a:gd name="T99" fmla="*/ 3 h 292"/>
                <a:gd name="T100" fmla="*/ 236 w 241"/>
                <a:gd name="T101" fmla="*/ 0 h 292"/>
                <a:gd name="T102" fmla="*/ 236 w 241"/>
                <a:gd name="T103" fmla="*/ 0 h 292"/>
                <a:gd name="T104" fmla="*/ 80 w 241"/>
                <a:gd name="T10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1" h="292">
                  <a:moveTo>
                    <a:pt x="121" y="220"/>
                  </a:moveTo>
                  <a:lnTo>
                    <a:pt x="190" y="220"/>
                  </a:lnTo>
                  <a:lnTo>
                    <a:pt x="190" y="208"/>
                  </a:lnTo>
                  <a:lnTo>
                    <a:pt x="121" y="208"/>
                  </a:lnTo>
                  <a:lnTo>
                    <a:pt x="121" y="220"/>
                  </a:lnTo>
                  <a:close/>
                  <a:moveTo>
                    <a:pt x="121" y="195"/>
                  </a:moveTo>
                  <a:lnTo>
                    <a:pt x="190" y="195"/>
                  </a:lnTo>
                  <a:lnTo>
                    <a:pt x="190" y="182"/>
                  </a:lnTo>
                  <a:lnTo>
                    <a:pt x="121" y="182"/>
                  </a:lnTo>
                  <a:lnTo>
                    <a:pt x="121" y="195"/>
                  </a:lnTo>
                  <a:close/>
                  <a:moveTo>
                    <a:pt x="62" y="218"/>
                  </a:moveTo>
                  <a:lnTo>
                    <a:pt x="49" y="203"/>
                  </a:lnTo>
                  <a:lnTo>
                    <a:pt x="39" y="213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59" y="233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105" y="187"/>
                  </a:lnTo>
                  <a:lnTo>
                    <a:pt x="95" y="179"/>
                  </a:lnTo>
                  <a:lnTo>
                    <a:pt x="62" y="218"/>
                  </a:lnTo>
                  <a:close/>
                  <a:moveTo>
                    <a:pt x="121" y="133"/>
                  </a:moveTo>
                  <a:lnTo>
                    <a:pt x="190" y="133"/>
                  </a:lnTo>
                  <a:lnTo>
                    <a:pt x="190" y="118"/>
                  </a:lnTo>
                  <a:lnTo>
                    <a:pt x="121" y="118"/>
                  </a:lnTo>
                  <a:lnTo>
                    <a:pt x="121" y="133"/>
                  </a:lnTo>
                  <a:close/>
                  <a:moveTo>
                    <a:pt x="121" y="108"/>
                  </a:moveTo>
                  <a:lnTo>
                    <a:pt x="190" y="108"/>
                  </a:lnTo>
                  <a:lnTo>
                    <a:pt x="190" y="95"/>
                  </a:lnTo>
                  <a:lnTo>
                    <a:pt x="121" y="95"/>
                  </a:lnTo>
                  <a:lnTo>
                    <a:pt x="121" y="108"/>
                  </a:lnTo>
                  <a:close/>
                  <a:moveTo>
                    <a:pt x="62" y="128"/>
                  </a:moveTo>
                  <a:lnTo>
                    <a:pt x="49" y="115"/>
                  </a:lnTo>
                  <a:lnTo>
                    <a:pt x="39" y="126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62" y="144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4" y="146"/>
                  </a:lnTo>
                  <a:lnTo>
                    <a:pt x="64" y="146"/>
                  </a:lnTo>
                  <a:lnTo>
                    <a:pt x="64" y="146"/>
                  </a:lnTo>
                  <a:lnTo>
                    <a:pt x="64" y="146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105" y="100"/>
                  </a:lnTo>
                  <a:lnTo>
                    <a:pt x="95" y="92"/>
                  </a:lnTo>
                  <a:lnTo>
                    <a:pt x="62" y="128"/>
                  </a:lnTo>
                  <a:close/>
                  <a:moveTo>
                    <a:pt x="72" y="23"/>
                  </a:moveTo>
                  <a:lnTo>
                    <a:pt x="72" y="72"/>
                  </a:lnTo>
                  <a:lnTo>
                    <a:pt x="23" y="72"/>
                  </a:lnTo>
                  <a:lnTo>
                    <a:pt x="72" y="23"/>
                  </a:lnTo>
                  <a:close/>
                  <a:moveTo>
                    <a:pt x="16" y="85"/>
                  </a:moveTo>
                  <a:lnTo>
                    <a:pt x="80" y="85"/>
                  </a:lnTo>
                  <a:lnTo>
                    <a:pt x="80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5" y="85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7" y="77"/>
                  </a:lnTo>
                  <a:lnTo>
                    <a:pt x="87" y="13"/>
                  </a:lnTo>
                  <a:lnTo>
                    <a:pt x="226" y="13"/>
                  </a:lnTo>
                  <a:lnTo>
                    <a:pt x="226" y="279"/>
                  </a:lnTo>
                  <a:lnTo>
                    <a:pt x="16" y="279"/>
                  </a:lnTo>
                  <a:lnTo>
                    <a:pt x="16" y="85"/>
                  </a:lnTo>
                  <a:close/>
                  <a:moveTo>
                    <a:pt x="80" y="0"/>
                  </a:moveTo>
                  <a:lnTo>
                    <a:pt x="80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0" y="7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284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2"/>
                  </a:lnTo>
                  <a:lnTo>
                    <a:pt x="5" y="292"/>
                  </a:lnTo>
                  <a:lnTo>
                    <a:pt x="5" y="292"/>
                  </a:lnTo>
                  <a:lnTo>
                    <a:pt x="5" y="292"/>
                  </a:lnTo>
                  <a:lnTo>
                    <a:pt x="5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234" y="292"/>
                  </a:lnTo>
                  <a:lnTo>
                    <a:pt x="234" y="292"/>
                  </a:lnTo>
                  <a:lnTo>
                    <a:pt x="236" y="292"/>
                  </a:lnTo>
                  <a:lnTo>
                    <a:pt x="236" y="292"/>
                  </a:lnTo>
                  <a:lnTo>
                    <a:pt x="236" y="292"/>
                  </a:lnTo>
                  <a:lnTo>
                    <a:pt x="236" y="292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90"/>
                  </a:lnTo>
                  <a:lnTo>
                    <a:pt x="239" y="290"/>
                  </a:lnTo>
                  <a:lnTo>
                    <a:pt x="239" y="290"/>
                  </a:lnTo>
                  <a:lnTo>
                    <a:pt x="239" y="290"/>
                  </a:lnTo>
                  <a:lnTo>
                    <a:pt x="241" y="287"/>
                  </a:lnTo>
                  <a:lnTo>
                    <a:pt x="241" y="287"/>
                  </a:lnTo>
                  <a:lnTo>
                    <a:pt x="241" y="287"/>
                  </a:lnTo>
                  <a:lnTo>
                    <a:pt x="241" y="287"/>
                  </a:lnTo>
                  <a:lnTo>
                    <a:pt x="241" y="5"/>
                  </a:lnTo>
                  <a:lnTo>
                    <a:pt x="241" y="5"/>
                  </a:lnTo>
                  <a:lnTo>
                    <a:pt x="241" y="5"/>
                  </a:lnTo>
                  <a:lnTo>
                    <a:pt x="241" y="5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9" name="Group 272">
            <a:extLst>
              <a:ext uri="{FF2B5EF4-FFF2-40B4-BE49-F238E27FC236}">
                <a16:creationId xmlns:a16="http://schemas.microsoft.com/office/drawing/2014/main" id="{DB392BA6-CCFC-4E11-912C-1905FBDB7A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7951" y="4100512"/>
            <a:ext cx="758825" cy="758825"/>
            <a:chOff x="999" y="2785"/>
            <a:chExt cx="478" cy="478"/>
          </a:xfrm>
        </p:grpSpPr>
        <p:sp>
          <p:nvSpPr>
            <p:cNvPr id="300" name="AutoShape 271">
              <a:extLst>
                <a:ext uri="{FF2B5EF4-FFF2-40B4-BE49-F238E27FC236}">
                  <a16:creationId xmlns:a16="http://schemas.microsoft.com/office/drawing/2014/main" id="{47F195F6-847C-4EEE-BFC2-28FFB82715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99" y="278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73">
              <a:extLst>
                <a:ext uri="{FF2B5EF4-FFF2-40B4-BE49-F238E27FC236}">
                  <a16:creationId xmlns:a16="http://schemas.microsoft.com/office/drawing/2014/main" id="{97CCECED-F160-4F5E-8F90-B0EAD8881B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" y="278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74">
              <a:extLst>
                <a:ext uri="{FF2B5EF4-FFF2-40B4-BE49-F238E27FC236}">
                  <a16:creationId xmlns:a16="http://schemas.microsoft.com/office/drawing/2014/main" id="{6DB4F3CB-45AD-42F4-BEC9-1994F5DFBB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" y="2898"/>
              <a:ext cx="250" cy="255"/>
            </a:xfrm>
            <a:custGeom>
              <a:avLst/>
              <a:gdLst>
                <a:gd name="T0" fmla="*/ 248 w 250"/>
                <a:gd name="T1" fmla="*/ 90 h 255"/>
                <a:gd name="T2" fmla="*/ 243 w 250"/>
                <a:gd name="T3" fmla="*/ 78 h 255"/>
                <a:gd name="T4" fmla="*/ 233 w 250"/>
                <a:gd name="T5" fmla="*/ 66 h 255"/>
                <a:gd name="T6" fmla="*/ 211 w 250"/>
                <a:gd name="T7" fmla="*/ 49 h 255"/>
                <a:gd name="T8" fmla="*/ 201 w 250"/>
                <a:gd name="T9" fmla="*/ 2 h 255"/>
                <a:gd name="T10" fmla="*/ 196 w 250"/>
                <a:gd name="T11" fmla="*/ 0 h 255"/>
                <a:gd name="T12" fmla="*/ 79 w 250"/>
                <a:gd name="T13" fmla="*/ 0 h 255"/>
                <a:gd name="T14" fmla="*/ 0 w 250"/>
                <a:gd name="T15" fmla="*/ 78 h 255"/>
                <a:gd name="T16" fmla="*/ 3 w 250"/>
                <a:gd name="T17" fmla="*/ 252 h 255"/>
                <a:gd name="T18" fmla="*/ 8 w 250"/>
                <a:gd name="T19" fmla="*/ 255 h 255"/>
                <a:gd name="T20" fmla="*/ 201 w 250"/>
                <a:gd name="T21" fmla="*/ 252 h 255"/>
                <a:gd name="T22" fmla="*/ 204 w 250"/>
                <a:gd name="T23" fmla="*/ 250 h 255"/>
                <a:gd name="T24" fmla="*/ 248 w 250"/>
                <a:gd name="T25" fmla="*/ 103 h 255"/>
                <a:gd name="T26" fmla="*/ 79 w 250"/>
                <a:gd name="T27" fmla="*/ 19 h 255"/>
                <a:gd name="T28" fmla="*/ 20 w 250"/>
                <a:gd name="T29" fmla="*/ 76 h 255"/>
                <a:gd name="T30" fmla="*/ 189 w 250"/>
                <a:gd name="T31" fmla="*/ 242 h 255"/>
                <a:gd name="T32" fmla="*/ 15 w 250"/>
                <a:gd name="T33" fmla="*/ 86 h 255"/>
                <a:gd name="T34" fmla="*/ 84 w 250"/>
                <a:gd name="T35" fmla="*/ 83 h 255"/>
                <a:gd name="T36" fmla="*/ 86 w 250"/>
                <a:gd name="T37" fmla="*/ 83 h 255"/>
                <a:gd name="T38" fmla="*/ 86 w 250"/>
                <a:gd name="T39" fmla="*/ 81 h 255"/>
                <a:gd name="T40" fmla="*/ 86 w 250"/>
                <a:gd name="T41" fmla="*/ 81 h 255"/>
                <a:gd name="T42" fmla="*/ 189 w 250"/>
                <a:gd name="T43" fmla="*/ 12 h 255"/>
                <a:gd name="T44" fmla="*/ 106 w 250"/>
                <a:gd name="T45" fmla="*/ 135 h 255"/>
                <a:gd name="T46" fmla="*/ 88 w 250"/>
                <a:gd name="T47" fmla="*/ 206 h 255"/>
                <a:gd name="T48" fmla="*/ 93 w 250"/>
                <a:gd name="T49" fmla="*/ 211 h 255"/>
                <a:gd name="T50" fmla="*/ 96 w 250"/>
                <a:gd name="T51" fmla="*/ 208 h 255"/>
                <a:gd name="T52" fmla="*/ 164 w 250"/>
                <a:gd name="T53" fmla="*/ 191 h 255"/>
                <a:gd name="T54" fmla="*/ 189 w 250"/>
                <a:gd name="T55" fmla="*/ 242 h 255"/>
                <a:gd name="T56" fmla="*/ 115 w 250"/>
                <a:gd name="T57" fmla="*/ 191 h 255"/>
                <a:gd name="T58" fmla="*/ 106 w 250"/>
                <a:gd name="T59" fmla="*/ 181 h 255"/>
                <a:gd name="T60" fmla="*/ 118 w 250"/>
                <a:gd name="T61" fmla="*/ 139 h 255"/>
                <a:gd name="T62" fmla="*/ 177 w 250"/>
                <a:gd name="T63" fmla="*/ 90 h 255"/>
                <a:gd name="T64" fmla="*/ 189 w 250"/>
                <a:gd name="T65" fmla="*/ 98 h 255"/>
                <a:gd name="T66" fmla="*/ 137 w 250"/>
                <a:gd name="T67" fmla="*/ 152 h 255"/>
                <a:gd name="T68" fmla="*/ 142 w 250"/>
                <a:gd name="T69" fmla="*/ 159 h 255"/>
                <a:gd name="T70" fmla="*/ 147 w 250"/>
                <a:gd name="T71" fmla="*/ 159 h 255"/>
                <a:gd name="T72" fmla="*/ 204 w 250"/>
                <a:gd name="T73" fmla="*/ 115 h 255"/>
                <a:gd name="T74" fmla="*/ 155 w 250"/>
                <a:gd name="T75" fmla="*/ 179 h 255"/>
                <a:gd name="T76" fmla="*/ 236 w 250"/>
                <a:gd name="T77" fmla="*/ 100 h 255"/>
                <a:gd name="T78" fmla="*/ 211 w 250"/>
                <a:gd name="T79" fmla="*/ 103 h 255"/>
                <a:gd name="T80" fmla="*/ 191 w 250"/>
                <a:gd name="T81" fmla="*/ 83 h 255"/>
                <a:gd name="T82" fmla="*/ 199 w 250"/>
                <a:gd name="T83" fmla="*/ 61 h 255"/>
                <a:gd name="T84" fmla="*/ 204 w 250"/>
                <a:gd name="T85" fmla="*/ 61 h 255"/>
                <a:gd name="T86" fmla="*/ 221 w 250"/>
                <a:gd name="T87" fmla="*/ 71 h 255"/>
                <a:gd name="T88" fmla="*/ 233 w 250"/>
                <a:gd name="T89" fmla="*/ 86 h 255"/>
                <a:gd name="T90" fmla="*/ 236 w 250"/>
                <a:gd name="T91" fmla="*/ 10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0" h="255">
                  <a:moveTo>
                    <a:pt x="250" y="98"/>
                  </a:moveTo>
                  <a:lnTo>
                    <a:pt x="248" y="90"/>
                  </a:lnTo>
                  <a:lnTo>
                    <a:pt x="248" y="86"/>
                  </a:lnTo>
                  <a:lnTo>
                    <a:pt x="243" y="78"/>
                  </a:lnTo>
                  <a:lnTo>
                    <a:pt x="238" y="71"/>
                  </a:lnTo>
                  <a:lnTo>
                    <a:pt x="233" y="66"/>
                  </a:lnTo>
                  <a:lnTo>
                    <a:pt x="221" y="56"/>
                  </a:lnTo>
                  <a:lnTo>
                    <a:pt x="211" y="49"/>
                  </a:lnTo>
                  <a:lnTo>
                    <a:pt x="204" y="49"/>
                  </a:lnTo>
                  <a:lnTo>
                    <a:pt x="201" y="2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84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0" y="78"/>
                  </a:lnTo>
                  <a:lnTo>
                    <a:pt x="0" y="81"/>
                  </a:lnTo>
                  <a:lnTo>
                    <a:pt x="3" y="252"/>
                  </a:lnTo>
                  <a:lnTo>
                    <a:pt x="5" y="255"/>
                  </a:lnTo>
                  <a:lnTo>
                    <a:pt x="8" y="255"/>
                  </a:lnTo>
                  <a:lnTo>
                    <a:pt x="201" y="255"/>
                  </a:lnTo>
                  <a:lnTo>
                    <a:pt x="201" y="252"/>
                  </a:lnTo>
                  <a:lnTo>
                    <a:pt x="204" y="250"/>
                  </a:lnTo>
                  <a:lnTo>
                    <a:pt x="204" y="250"/>
                  </a:lnTo>
                  <a:lnTo>
                    <a:pt x="204" y="152"/>
                  </a:lnTo>
                  <a:lnTo>
                    <a:pt x="248" y="103"/>
                  </a:lnTo>
                  <a:lnTo>
                    <a:pt x="250" y="98"/>
                  </a:lnTo>
                  <a:close/>
                  <a:moveTo>
                    <a:pt x="79" y="19"/>
                  </a:moveTo>
                  <a:lnTo>
                    <a:pt x="79" y="76"/>
                  </a:lnTo>
                  <a:lnTo>
                    <a:pt x="20" y="76"/>
                  </a:lnTo>
                  <a:lnTo>
                    <a:pt x="79" y="19"/>
                  </a:lnTo>
                  <a:close/>
                  <a:moveTo>
                    <a:pt x="189" y="242"/>
                  </a:moveTo>
                  <a:lnTo>
                    <a:pt x="15" y="242"/>
                  </a:lnTo>
                  <a:lnTo>
                    <a:pt x="15" y="86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12"/>
                  </a:lnTo>
                  <a:lnTo>
                    <a:pt x="189" y="12"/>
                  </a:lnTo>
                  <a:lnTo>
                    <a:pt x="189" y="51"/>
                  </a:lnTo>
                  <a:lnTo>
                    <a:pt x="106" y="135"/>
                  </a:lnTo>
                  <a:lnTo>
                    <a:pt x="86" y="203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6" y="208"/>
                  </a:lnTo>
                  <a:lnTo>
                    <a:pt x="162" y="191"/>
                  </a:lnTo>
                  <a:lnTo>
                    <a:pt x="164" y="191"/>
                  </a:lnTo>
                  <a:lnTo>
                    <a:pt x="189" y="164"/>
                  </a:lnTo>
                  <a:lnTo>
                    <a:pt x="189" y="242"/>
                  </a:lnTo>
                  <a:close/>
                  <a:moveTo>
                    <a:pt x="155" y="179"/>
                  </a:moveTo>
                  <a:lnTo>
                    <a:pt x="115" y="191"/>
                  </a:lnTo>
                  <a:lnTo>
                    <a:pt x="108" y="181"/>
                  </a:lnTo>
                  <a:lnTo>
                    <a:pt x="106" y="181"/>
                  </a:lnTo>
                  <a:lnTo>
                    <a:pt x="118" y="142"/>
                  </a:lnTo>
                  <a:lnTo>
                    <a:pt x="118" y="139"/>
                  </a:lnTo>
                  <a:lnTo>
                    <a:pt x="172" y="88"/>
                  </a:lnTo>
                  <a:lnTo>
                    <a:pt x="177" y="90"/>
                  </a:lnTo>
                  <a:lnTo>
                    <a:pt x="184" y="95"/>
                  </a:lnTo>
                  <a:lnTo>
                    <a:pt x="189" y="98"/>
                  </a:lnTo>
                  <a:lnTo>
                    <a:pt x="137" y="152"/>
                  </a:lnTo>
                  <a:lnTo>
                    <a:pt x="137" y="152"/>
                  </a:lnTo>
                  <a:lnTo>
                    <a:pt x="137" y="157"/>
                  </a:lnTo>
                  <a:lnTo>
                    <a:pt x="142" y="159"/>
                  </a:lnTo>
                  <a:lnTo>
                    <a:pt x="147" y="159"/>
                  </a:lnTo>
                  <a:lnTo>
                    <a:pt x="147" y="159"/>
                  </a:lnTo>
                  <a:lnTo>
                    <a:pt x="199" y="108"/>
                  </a:lnTo>
                  <a:lnTo>
                    <a:pt x="204" y="115"/>
                  </a:lnTo>
                  <a:lnTo>
                    <a:pt x="209" y="127"/>
                  </a:lnTo>
                  <a:lnTo>
                    <a:pt x="155" y="179"/>
                  </a:lnTo>
                  <a:close/>
                  <a:moveTo>
                    <a:pt x="236" y="100"/>
                  </a:moveTo>
                  <a:lnTo>
                    <a:pt x="236" y="100"/>
                  </a:lnTo>
                  <a:lnTo>
                    <a:pt x="218" y="115"/>
                  </a:lnTo>
                  <a:lnTo>
                    <a:pt x="211" y="103"/>
                  </a:lnTo>
                  <a:lnTo>
                    <a:pt x="204" y="93"/>
                  </a:lnTo>
                  <a:lnTo>
                    <a:pt x="191" y="83"/>
                  </a:lnTo>
                  <a:lnTo>
                    <a:pt x="182" y="78"/>
                  </a:lnTo>
                  <a:lnTo>
                    <a:pt x="199" y="61"/>
                  </a:lnTo>
                  <a:lnTo>
                    <a:pt x="201" y="61"/>
                  </a:lnTo>
                  <a:lnTo>
                    <a:pt x="204" y="61"/>
                  </a:lnTo>
                  <a:lnTo>
                    <a:pt x="213" y="66"/>
                  </a:lnTo>
                  <a:lnTo>
                    <a:pt x="221" y="71"/>
                  </a:lnTo>
                  <a:lnTo>
                    <a:pt x="226" y="76"/>
                  </a:lnTo>
                  <a:lnTo>
                    <a:pt x="233" y="86"/>
                  </a:lnTo>
                  <a:lnTo>
                    <a:pt x="236" y="95"/>
                  </a:lnTo>
                  <a:lnTo>
                    <a:pt x="236" y="10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Rectangle 275">
              <a:extLst>
                <a:ext uri="{FF2B5EF4-FFF2-40B4-BE49-F238E27FC236}">
                  <a16:creationId xmlns:a16="http://schemas.microsoft.com/office/drawing/2014/main" id="{92EFEC01-EB00-4643-93CE-A2EE3A6997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5" y="29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4" name="Group 278">
            <a:extLst>
              <a:ext uri="{FF2B5EF4-FFF2-40B4-BE49-F238E27FC236}">
                <a16:creationId xmlns:a16="http://schemas.microsoft.com/office/drawing/2014/main" id="{42FE13B6-D436-49BB-8C13-19A91857A3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8626" y="4059237"/>
            <a:ext cx="841375" cy="841375"/>
            <a:chOff x="184" y="2682"/>
            <a:chExt cx="530" cy="530"/>
          </a:xfrm>
        </p:grpSpPr>
        <p:sp>
          <p:nvSpPr>
            <p:cNvPr id="305" name="AutoShape 277">
              <a:extLst>
                <a:ext uri="{FF2B5EF4-FFF2-40B4-BE49-F238E27FC236}">
                  <a16:creationId xmlns:a16="http://schemas.microsoft.com/office/drawing/2014/main" id="{7F74D4FF-CB5C-4098-9BAA-9C075BB97E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4" y="26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279">
              <a:extLst>
                <a:ext uri="{FF2B5EF4-FFF2-40B4-BE49-F238E27FC236}">
                  <a16:creationId xmlns:a16="http://schemas.microsoft.com/office/drawing/2014/main" id="{AA248D17-420E-4CD8-9B07-42F1FC30B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" y="26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80">
              <a:extLst>
                <a:ext uri="{FF2B5EF4-FFF2-40B4-BE49-F238E27FC236}">
                  <a16:creationId xmlns:a16="http://schemas.microsoft.com/office/drawing/2014/main" id="{BC3F0E62-E6BB-4B02-9FA2-39176B178C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" y="27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81">
              <a:extLst>
                <a:ext uri="{FF2B5EF4-FFF2-40B4-BE49-F238E27FC236}">
                  <a16:creationId xmlns:a16="http://schemas.microsoft.com/office/drawing/2014/main" id="{B709CA2D-14CE-43DA-AC8D-5D12748A7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" y="2815"/>
              <a:ext cx="261" cy="266"/>
            </a:xfrm>
            <a:custGeom>
              <a:avLst/>
              <a:gdLst>
                <a:gd name="T0" fmla="*/ 258 w 261"/>
                <a:gd name="T1" fmla="*/ 95 h 266"/>
                <a:gd name="T2" fmla="*/ 253 w 261"/>
                <a:gd name="T3" fmla="*/ 82 h 266"/>
                <a:gd name="T4" fmla="*/ 243 w 261"/>
                <a:gd name="T5" fmla="*/ 69 h 266"/>
                <a:gd name="T6" fmla="*/ 220 w 261"/>
                <a:gd name="T7" fmla="*/ 51 h 266"/>
                <a:gd name="T8" fmla="*/ 210 w 261"/>
                <a:gd name="T9" fmla="*/ 3 h 266"/>
                <a:gd name="T10" fmla="*/ 204 w 261"/>
                <a:gd name="T11" fmla="*/ 0 h 266"/>
                <a:gd name="T12" fmla="*/ 82 w 261"/>
                <a:gd name="T13" fmla="*/ 0 h 266"/>
                <a:gd name="T14" fmla="*/ 0 w 261"/>
                <a:gd name="T15" fmla="*/ 82 h 266"/>
                <a:gd name="T16" fmla="*/ 2 w 261"/>
                <a:gd name="T17" fmla="*/ 264 h 266"/>
                <a:gd name="T18" fmla="*/ 7 w 261"/>
                <a:gd name="T19" fmla="*/ 266 h 266"/>
                <a:gd name="T20" fmla="*/ 210 w 261"/>
                <a:gd name="T21" fmla="*/ 264 h 266"/>
                <a:gd name="T22" fmla="*/ 212 w 261"/>
                <a:gd name="T23" fmla="*/ 261 h 266"/>
                <a:gd name="T24" fmla="*/ 258 w 261"/>
                <a:gd name="T25" fmla="*/ 108 h 266"/>
                <a:gd name="T26" fmla="*/ 82 w 261"/>
                <a:gd name="T27" fmla="*/ 21 h 266"/>
                <a:gd name="T28" fmla="*/ 20 w 261"/>
                <a:gd name="T29" fmla="*/ 79 h 266"/>
                <a:gd name="T30" fmla="*/ 197 w 261"/>
                <a:gd name="T31" fmla="*/ 254 h 266"/>
                <a:gd name="T32" fmla="*/ 15 w 261"/>
                <a:gd name="T33" fmla="*/ 90 h 266"/>
                <a:gd name="T34" fmla="*/ 87 w 261"/>
                <a:gd name="T35" fmla="*/ 87 h 266"/>
                <a:gd name="T36" fmla="*/ 89 w 261"/>
                <a:gd name="T37" fmla="*/ 87 h 266"/>
                <a:gd name="T38" fmla="*/ 89 w 261"/>
                <a:gd name="T39" fmla="*/ 85 h 266"/>
                <a:gd name="T40" fmla="*/ 89 w 261"/>
                <a:gd name="T41" fmla="*/ 85 h 266"/>
                <a:gd name="T42" fmla="*/ 197 w 261"/>
                <a:gd name="T43" fmla="*/ 13 h 266"/>
                <a:gd name="T44" fmla="*/ 110 w 261"/>
                <a:gd name="T45" fmla="*/ 141 h 266"/>
                <a:gd name="T46" fmla="*/ 92 w 261"/>
                <a:gd name="T47" fmla="*/ 215 h 266"/>
                <a:gd name="T48" fmla="*/ 97 w 261"/>
                <a:gd name="T49" fmla="*/ 220 h 266"/>
                <a:gd name="T50" fmla="*/ 99 w 261"/>
                <a:gd name="T51" fmla="*/ 218 h 266"/>
                <a:gd name="T52" fmla="*/ 171 w 261"/>
                <a:gd name="T53" fmla="*/ 200 h 266"/>
                <a:gd name="T54" fmla="*/ 197 w 261"/>
                <a:gd name="T55" fmla="*/ 254 h 266"/>
                <a:gd name="T56" fmla="*/ 120 w 261"/>
                <a:gd name="T57" fmla="*/ 200 h 266"/>
                <a:gd name="T58" fmla="*/ 110 w 261"/>
                <a:gd name="T59" fmla="*/ 190 h 266"/>
                <a:gd name="T60" fmla="*/ 122 w 261"/>
                <a:gd name="T61" fmla="*/ 146 h 266"/>
                <a:gd name="T62" fmla="*/ 184 w 261"/>
                <a:gd name="T63" fmla="*/ 95 h 266"/>
                <a:gd name="T64" fmla="*/ 197 w 261"/>
                <a:gd name="T65" fmla="*/ 102 h 266"/>
                <a:gd name="T66" fmla="*/ 143 w 261"/>
                <a:gd name="T67" fmla="*/ 159 h 266"/>
                <a:gd name="T68" fmla="*/ 148 w 261"/>
                <a:gd name="T69" fmla="*/ 166 h 266"/>
                <a:gd name="T70" fmla="*/ 153 w 261"/>
                <a:gd name="T71" fmla="*/ 166 h 266"/>
                <a:gd name="T72" fmla="*/ 212 w 261"/>
                <a:gd name="T73" fmla="*/ 120 h 266"/>
                <a:gd name="T74" fmla="*/ 161 w 261"/>
                <a:gd name="T75" fmla="*/ 187 h 266"/>
                <a:gd name="T76" fmla="*/ 245 w 261"/>
                <a:gd name="T77" fmla="*/ 105 h 266"/>
                <a:gd name="T78" fmla="*/ 220 w 261"/>
                <a:gd name="T79" fmla="*/ 108 h 266"/>
                <a:gd name="T80" fmla="*/ 199 w 261"/>
                <a:gd name="T81" fmla="*/ 87 h 266"/>
                <a:gd name="T82" fmla="*/ 207 w 261"/>
                <a:gd name="T83" fmla="*/ 64 h 266"/>
                <a:gd name="T84" fmla="*/ 212 w 261"/>
                <a:gd name="T85" fmla="*/ 64 h 266"/>
                <a:gd name="T86" fmla="*/ 230 w 261"/>
                <a:gd name="T87" fmla="*/ 74 h 266"/>
                <a:gd name="T88" fmla="*/ 243 w 261"/>
                <a:gd name="T89" fmla="*/ 90 h 266"/>
                <a:gd name="T90" fmla="*/ 245 w 261"/>
                <a:gd name="T91" fmla="*/ 105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1" h="266">
                  <a:moveTo>
                    <a:pt x="261" y="102"/>
                  </a:moveTo>
                  <a:lnTo>
                    <a:pt x="258" y="95"/>
                  </a:lnTo>
                  <a:lnTo>
                    <a:pt x="258" y="90"/>
                  </a:lnTo>
                  <a:lnTo>
                    <a:pt x="253" y="82"/>
                  </a:lnTo>
                  <a:lnTo>
                    <a:pt x="248" y="74"/>
                  </a:lnTo>
                  <a:lnTo>
                    <a:pt x="243" y="69"/>
                  </a:lnTo>
                  <a:lnTo>
                    <a:pt x="230" y="59"/>
                  </a:lnTo>
                  <a:lnTo>
                    <a:pt x="220" y="51"/>
                  </a:lnTo>
                  <a:lnTo>
                    <a:pt x="212" y="51"/>
                  </a:lnTo>
                  <a:lnTo>
                    <a:pt x="210" y="3"/>
                  </a:lnTo>
                  <a:lnTo>
                    <a:pt x="207" y="0"/>
                  </a:lnTo>
                  <a:lnTo>
                    <a:pt x="204" y="0"/>
                  </a:lnTo>
                  <a:lnTo>
                    <a:pt x="87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2" y="264"/>
                  </a:lnTo>
                  <a:lnTo>
                    <a:pt x="5" y="266"/>
                  </a:lnTo>
                  <a:lnTo>
                    <a:pt x="7" y="266"/>
                  </a:lnTo>
                  <a:lnTo>
                    <a:pt x="210" y="266"/>
                  </a:lnTo>
                  <a:lnTo>
                    <a:pt x="210" y="264"/>
                  </a:lnTo>
                  <a:lnTo>
                    <a:pt x="212" y="261"/>
                  </a:lnTo>
                  <a:lnTo>
                    <a:pt x="212" y="261"/>
                  </a:lnTo>
                  <a:lnTo>
                    <a:pt x="212" y="159"/>
                  </a:lnTo>
                  <a:lnTo>
                    <a:pt x="258" y="108"/>
                  </a:lnTo>
                  <a:lnTo>
                    <a:pt x="261" y="102"/>
                  </a:lnTo>
                  <a:close/>
                  <a:moveTo>
                    <a:pt x="82" y="21"/>
                  </a:moveTo>
                  <a:lnTo>
                    <a:pt x="82" y="79"/>
                  </a:lnTo>
                  <a:lnTo>
                    <a:pt x="20" y="79"/>
                  </a:lnTo>
                  <a:lnTo>
                    <a:pt x="82" y="21"/>
                  </a:lnTo>
                  <a:close/>
                  <a:moveTo>
                    <a:pt x="197" y="254"/>
                  </a:moveTo>
                  <a:lnTo>
                    <a:pt x="15" y="254"/>
                  </a:lnTo>
                  <a:lnTo>
                    <a:pt x="15" y="90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13"/>
                  </a:lnTo>
                  <a:lnTo>
                    <a:pt x="197" y="13"/>
                  </a:lnTo>
                  <a:lnTo>
                    <a:pt x="197" y="54"/>
                  </a:lnTo>
                  <a:lnTo>
                    <a:pt x="110" y="141"/>
                  </a:lnTo>
                  <a:lnTo>
                    <a:pt x="89" y="213"/>
                  </a:lnTo>
                  <a:lnTo>
                    <a:pt x="92" y="215"/>
                  </a:lnTo>
                  <a:lnTo>
                    <a:pt x="92" y="218"/>
                  </a:lnTo>
                  <a:lnTo>
                    <a:pt x="97" y="220"/>
                  </a:lnTo>
                  <a:lnTo>
                    <a:pt x="97" y="220"/>
                  </a:lnTo>
                  <a:lnTo>
                    <a:pt x="99" y="218"/>
                  </a:lnTo>
                  <a:lnTo>
                    <a:pt x="169" y="200"/>
                  </a:lnTo>
                  <a:lnTo>
                    <a:pt x="171" y="200"/>
                  </a:lnTo>
                  <a:lnTo>
                    <a:pt x="197" y="172"/>
                  </a:lnTo>
                  <a:lnTo>
                    <a:pt x="197" y="254"/>
                  </a:lnTo>
                  <a:close/>
                  <a:moveTo>
                    <a:pt x="161" y="187"/>
                  </a:moveTo>
                  <a:lnTo>
                    <a:pt x="120" y="200"/>
                  </a:lnTo>
                  <a:lnTo>
                    <a:pt x="112" y="190"/>
                  </a:lnTo>
                  <a:lnTo>
                    <a:pt x="110" y="190"/>
                  </a:lnTo>
                  <a:lnTo>
                    <a:pt x="122" y="149"/>
                  </a:lnTo>
                  <a:lnTo>
                    <a:pt x="122" y="146"/>
                  </a:lnTo>
                  <a:lnTo>
                    <a:pt x="179" y="92"/>
                  </a:lnTo>
                  <a:lnTo>
                    <a:pt x="184" y="95"/>
                  </a:lnTo>
                  <a:lnTo>
                    <a:pt x="192" y="100"/>
                  </a:lnTo>
                  <a:lnTo>
                    <a:pt x="197" y="102"/>
                  </a:lnTo>
                  <a:lnTo>
                    <a:pt x="143" y="159"/>
                  </a:lnTo>
                  <a:lnTo>
                    <a:pt x="143" y="159"/>
                  </a:lnTo>
                  <a:lnTo>
                    <a:pt x="143" y="164"/>
                  </a:lnTo>
                  <a:lnTo>
                    <a:pt x="148" y="166"/>
                  </a:lnTo>
                  <a:lnTo>
                    <a:pt x="153" y="166"/>
                  </a:lnTo>
                  <a:lnTo>
                    <a:pt x="153" y="166"/>
                  </a:lnTo>
                  <a:lnTo>
                    <a:pt x="207" y="113"/>
                  </a:lnTo>
                  <a:lnTo>
                    <a:pt x="212" y="120"/>
                  </a:lnTo>
                  <a:lnTo>
                    <a:pt x="217" y="133"/>
                  </a:lnTo>
                  <a:lnTo>
                    <a:pt x="161" y="187"/>
                  </a:lnTo>
                  <a:close/>
                  <a:moveTo>
                    <a:pt x="245" y="105"/>
                  </a:moveTo>
                  <a:lnTo>
                    <a:pt x="245" y="105"/>
                  </a:lnTo>
                  <a:lnTo>
                    <a:pt x="227" y="120"/>
                  </a:lnTo>
                  <a:lnTo>
                    <a:pt x="220" y="108"/>
                  </a:lnTo>
                  <a:lnTo>
                    <a:pt x="212" y="97"/>
                  </a:lnTo>
                  <a:lnTo>
                    <a:pt x="199" y="87"/>
                  </a:lnTo>
                  <a:lnTo>
                    <a:pt x="189" y="82"/>
                  </a:lnTo>
                  <a:lnTo>
                    <a:pt x="207" y="64"/>
                  </a:lnTo>
                  <a:lnTo>
                    <a:pt x="210" y="64"/>
                  </a:lnTo>
                  <a:lnTo>
                    <a:pt x="212" y="64"/>
                  </a:lnTo>
                  <a:lnTo>
                    <a:pt x="222" y="69"/>
                  </a:lnTo>
                  <a:lnTo>
                    <a:pt x="230" y="74"/>
                  </a:lnTo>
                  <a:lnTo>
                    <a:pt x="235" y="79"/>
                  </a:lnTo>
                  <a:lnTo>
                    <a:pt x="243" y="90"/>
                  </a:lnTo>
                  <a:lnTo>
                    <a:pt x="245" y="100"/>
                  </a:lnTo>
                  <a:lnTo>
                    <a:pt x="245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282">
              <a:extLst>
                <a:ext uri="{FF2B5EF4-FFF2-40B4-BE49-F238E27FC236}">
                  <a16:creationId xmlns:a16="http://schemas.microsoft.com/office/drawing/2014/main" id="{11D2D8E9-E2D2-4C73-87E1-0560518CF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" y="288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4" name="Group 285">
            <a:extLst>
              <a:ext uri="{FF2B5EF4-FFF2-40B4-BE49-F238E27FC236}">
                <a16:creationId xmlns:a16="http://schemas.microsoft.com/office/drawing/2014/main" id="{47FB7E0A-8D8C-47D6-A0AB-A88A4DA233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337" y="4100512"/>
            <a:ext cx="760413" cy="758825"/>
            <a:chOff x="2500" y="2696"/>
            <a:chExt cx="479" cy="478"/>
          </a:xfrm>
        </p:grpSpPr>
        <p:sp>
          <p:nvSpPr>
            <p:cNvPr id="315" name="AutoShape 284">
              <a:extLst>
                <a:ext uri="{FF2B5EF4-FFF2-40B4-BE49-F238E27FC236}">
                  <a16:creationId xmlns:a16="http://schemas.microsoft.com/office/drawing/2014/main" id="{860E05E6-95F5-4964-97C4-BB7D347D2C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00" y="269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86">
              <a:extLst>
                <a:ext uri="{FF2B5EF4-FFF2-40B4-BE49-F238E27FC236}">
                  <a16:creationId xmlns:a16="http://schemas.microsoft.com/office/drawing/2014/main" id="{64FED926-6988-4FA9-A169-8ED7073768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2" y="269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87">
              <a:extLst>
                <a:ext uri="{FF2B5EF4-FFF2-40B4-BE49-F238E27FC236}">
                  <a16:creationId xmlns:a16="http://schemas.microsoft.com/office/drawing/2014/main" id="{378E86F6-A989-4501-A557-7EFBE58ED8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5" y="2804"/>
              <a:ext cx="290" cy="265"/>
            </a:xfrm>
            <a:custGeom>
              <a:avLst/>
              <a:gdLst>
                <a:gd name="T0" fmla="*/ 37 w 290"/>
                <a:gd name="T1" fmla="*/ 164 h 265"/>
                <a:gd name="T2" fmla="*/ 219 w 290"/>
                <a:gd name="T3" fmla="*/ 191 h 265"/>
                <a:gd name="T4" fmla="*/ 278 w 290"/>
                <a:gd name="T5" fmla="*/ 240 h 265"/>
                <a:gd name="T6" fmla="*/ 266 w 290"/>
                <a:gd name="T7" fmla="*/ 252 h 265"/>
                <a:gd name="T8" fmla="*/ 150 w 290"/>
                <a:gd name="T9" fmla="*/ 198 h 265"/>
                <a:gd name="T10" fmla="*/ 131 w 290"/>
                <a:gd name="T11" fmla="*/ 184 h 265"/>
                <a:gd name="T12" fmla="*/ 118 w 290"/>
                <a:gd name="T13" fmla="*/ 164 h 265"/>
                <a:gd name="T14" fmla="*/ 118 w 290"/>
                <a:gd name="T15" fmla="*/ 142 h 265"/>
                <a:gd name="T16" fmla="*/ 126 w 290"/>
                <a:gd name="T17" fmla="*/ 120 h 265"/>
                <a:gd name="T18" fmla="*/ 143 w 290"/>
                <a:gd name="T19" fmla="*/ 103 h 265"/>
                <a:gd name="T20" fmla="*/ 165 w 290"/>
                <a:gd name="T21" fmla="*/ 95 h 265"/>
                <a:gd name="T22" fmla="*/ 187 w 290"/>
                <a:gd name="T23" fmla="*/ 98 h 265"/>
                <a:gd name="T24" fmla="*/ 207 w 290"/>
                <a:gd name="T25" fmla="*/ 110 h 265"/>
                <a:gd name="T26" fmla="*/ 219 w 290"/>
                <a:gd name="T27" fmla="*/ 130 h 265"/>
                <a:gd name="T28" fmla="*/ 222 w 290"/>
                <a:gd name="T29" fmla="*/ 154 h 265"/>
                <a:gd name="T30" fmla="*/ 214 w 290"/>
                <a:gd name="T31" fmla="*/ 176 h 265"/>
                <a:gd name="T32" fmla="*/ 199 w 290"/>
                <a:gd name="T33" fmla="*/ 194 h 265"/>
                <a:gd name="T34" fmla="*/ 177 w 290"/>
                <a:gd name="T35" fmla="*/ 201 h 265"/>
                <a:gd name="T36" fmla="*/ 153 w 290"/>
                <a:gd name="T37" fmla="*/ 86 h 265"/>
                <a:gd name="T38" fmla="*/ 128 w 290"/>
                <a:gd name="T39" fmla="*/ 98 h 265"/>
                <a:gd name="T40" fmla="*/ 111 w 290"/>
                <a:gd name="T41" fmla="*/ 120 h 265"/>
                <a:gd name="T42" fmla="*/ 106 w 290"/>
                <a:gd name="T43" fmla="*/ 149 h 265"/>
                <a:gd name="T44" fmla="*/ 111 w 290"/>
                <a:gd name="T45" fmla="*/ 176 h 265"/>
                <a:gd name="T46" fmla="*/ 128 w 290"/>
                <a:gd name="T47" fmla="*/ 198 h 265"/>
                <a:gd name="T48" fmla="*/ 153 w 290"/>
                <a:gd name="T49" fmla="*/ 213 h 265"/>
                <a:gd name="T50" fmla="*/ 177 w 290"/>
                <a:gd name="T51" fmla="*/ 213 h 265"/>
                <a:gd name="T52" fmla="*/ 197 w 290"/>
                <a:gd name="T53" fmla="*/ 208 h 265"/>
                <a:gd name="T54" fmla="*/ 261 w 290"/>
                <a:gd name="T55" fmla="*/ 262 h 265"/>
                <a:gd name="T56" fmla="*/ 271 w 290"/>
                <a:gd name="T57" fmla="*/ 262 h 265"/>
                <a:gd name="T58" fmla="*/ 288 w 290"/>
                <a:gd name="T59" fmla="*/ 245 h 265"/>
                <a:gd name="T60" fmla="*/ 288 w 290"/>
                <a:gd name="T61" fmla="*/ 233 h 265"/>
                <a:gd name="T62" fmla="*/ 234 w 290"/>
                <a:gd name="T63" fmla="*/ 162 h 265"/>
                <a:gd name="T64" fmla="*/ 231 w 290"/>
                <a:gd name="T65" fmla="*/ 132 h 265"/>
                <a:gd name="T66" fmla="*/ 219 w 290"/>
                <a:gd name="T67" fmla="*/ 108 h 265"/>
                <a:gd name="T68" fmla="*/ 197 w 290"/>
                <a:gd name="T69" fmla="*/ 91 h 265"/>
                <a:gd name="T70" fmla="*/ 170 w 290"/>
                <a:gd name="T71" fmla="*/ 83 h 265"/>
                <a:gd name="T72" fmla="*/ 15 w 290"/>
                <a:gd name="T73" fmla="*/ 54 h 265"/>
                <a:gd name="T74" fmla="*/ 20 w 290"/>
                <a:gd name="T75" fmla="*/ 46 h 265"/>
                <a:gd name="T76" fmla="*/ 59 w 290"/>
                <a:gd name="T77" fmla="*/ 15 h 265"/>
                <a:gd name="T78" fmla="*/ 13 w 290"/>
                <a:gd name="T79" fmla="*/ 66 h 265"/>
                <a:gd name="T80" fmla="*/ 52 w 290"/>
                <a:gd name="T81" fmla="*/ 2 h 265"/>
                <a:gd name="T82" fmla="*/ 13 w 290"/>
                <a:gd name="T83" fmla="*/ 37 h 265"/>
                <a:gd name="T84" fmla="*/ 3 w 290"/>
                <a:gd name="T85" fmla="*/ 49 h 265"/>
                <a:gd name="T86" fmla="*/ 0 w 290"/>
                <a:gd name="T87" fmla="*/ 243 h 265"/>
                <a:gd name="T88" fmla="*/ 5 w 290"/>
                <a:gd name="T89" fmla="*/ 252 h 265"/>
                <a:gd name="T90" fmla="*/ 15 w 290"/>
                <a:gd name="T91" fmla="*/ 257 h 265"/>
                <a:gd name="T92" fmla="*/ 192 w 290"/>
                <a:gd name="T93" fmla="*/ 257 h 265"/>
                <a:gd name="T94" fmla="*/ 204 w 290"/>
                <a:gd name="T95" fmla="*/ 250 h 265"/>
                <a:gd name="T96" fmla="*/ 207 w 290"/>
                <a:gd name="T97" fmla="*/ 240 h 265"/>
                <a:gd name="T98" fmla="*/ 195 w 290"/>
                <a:gd name="T99" fmla="*/ 243 h 265"/>
                <a:gd name="T100" fmla="*/ 190 w 290"/>
                <a:gd name="T101" fmla="*/ 245 h 265"/>
                <a:gd name="T102" fmla="*/ 18 w 290"/>
                <a:gd name="T103" fmla="*/ 245 h 265"/>
                <a:gd name="T104" fmla="*/ 13 w 290"/>
                <a:gd name="T105" fmla="*/ 243 h 265"/>
                <a:gd name="T106" fmla="*/ 79 w 290"/>
                <a:gd name="T107" fmla="*/ 78 h 265"/>
                <a:gd name="T108" fmla="*/ 82 w 290"/>
                <a:gd name="T109" fmla="*/ 73 h 265"/>
                <a:gd name="T110" fmla="*/ 190 w 290"/>
                <a:gd name="T111" fmla="*/ 12 h 265"/>
                <a:gd name="T112" fmla="*/ 195 w 290"/>
                <a:gd name="T113" fmla="*/ 17 h 265"/>
                <a:gd name="T114" fmla="*/ 207 w 290"/>
                <a:gd name="T115" fmla="*/ 19 h 265"/>
                <a:gd name="T116" fmla="*/ 204 w 290"/>
                <a:gd name="T117" fmla="*/ 10 h 265"/>
                <a:gd name="T118" fmla="*/ 192 w 290"/>
                <a:gd name="T119" fmla="*/ 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0" h="265">
                  <a:moveTo>
                    <a:pt x="37" y="211"/>
                  </a:moveTo>
                  <a:lnTo>
                    <a:pt x="96" y="211"/>
                  </a:lnTo>
                  <a:lnTo>
                    <a:pt x="96" y="201"/>
                  </a:lnTo>
                  <a:lnTo>
                    <a:pt x="37" y="201"/>
                  </a:lnTo>
                  <a:lnTo>
                    <a:pt x="37" y="211"/>
                  </a:lnTo>
                  <a:close/>
                  <a:moveTo>
                    <a:pt x="37" y="174"/>
                  </a:moveTo>
                  <a:lnTo>
                    <a:pt x="64" y="174"/>
                  </a:lnTo>
                  <a:lnTo>
                    <a:pt x="64" y="164"/>
                  </a:lnTo>
                  <a:lnTo>
                    <a:pt x="37" y="164"/>
                  </a:lnTo>
                  <a:lnTo>
                    <a:pt x="37" y="174"/>
                  </a:lnTo>
                  <a:close/>
                  <a:moveTo>
                    <a:pt x="266" y="252"/>
                  </a:moveTo>
                  <a:lnTo>
                    <a:pt x="266" y="252"/>
                  </a:lnTo>
                  <a:lnTo>
                    <a:pt x="263" y="250"/>
                  </a:lnTo>
                  <a:lnTo>
                    <a:pt x="263" y="250"/>
                  </a:lnTo>
                  <a:lnTo>
                    <a:pt x="214" y="198"/>
                  </a:lnTo>
                  <a:lnTo>
                    <a:pt x="214" y="196"/>
                  </a:lnTo>
                  <a:lnTo>
                    <a:pt x="217" y="194"/>
                  </a:lnTo>
                  <a:lnTo>
                    <a:pt x="219" y="191"/>
                  </a:lnTo>
                  <a:lnTo>
                    <a:pt x="219" y="191"/>
                  </a:lnTo>
                  <a:lnTo>
                    <a:pt x="222" y="189"/>
                  </a:lnTo>
                  <a:lnTo>
                    <a:pt x="224" y="186"/>
                  </a:lnTo>
                  <a:lnTo>
                    <a:pt x="278" y="238"/>
                  </a:lnTo>
                  <a:lnTo>
                    <a:pt x="278" y="238"/>
                  </a:lnTo>
                  <a:lnTo>
                    <a:pt x="278" y="238"/>
                  </a:lnTo>
                  <a:lnTo>
                    <a:pt x="278" y="240"/>
                  </a:lnTo>
                  <a:lnTo>
                    <a:pt x="278" y="240"/>
                  </a:lnTo>
                  <a:lnTo>
                    <a:pt x="278" y="240"/>
                  </a:lnTo>
                  <a:lnTo>
                    <a:pt x="278" y="240"/>
                  </a:lnTo>
                  <a:lnTo>
                    <a:pt x="278" y="243"/>
                  </a:lnTo>
                  <a:lnTo>
                    <a:pt x="278" y="243"/>
                  </a:lnTo>
                  <a:lnTo>
                    <a:pt x="268" y="250"/>
                  </a:lnTo>
                  <a:lnTo>
                    <a:pt x="268" y="250"/>
                  </a:lnTo>
                  <a:lnTo>
                    <a:pt x="268" y="252"/>
                  </a:lnTo>
                  <a:lnTo>
                    <a:pt x="266" y="252"/>
                  </a:lnTo>
                  <a:lnTo>
                    <a:pt x="266" y="252"/>
                  </a:lnTo>
                  <a:lnTo>
                    <a:pt x="266" y="252"/>
                  </a:lnTo>
                  <a:lnTo>
                    <a:pt x="266" y="252"/>
                  </a:lnTo>
                  <a:close/>
                  <a:moveTo>
                    <a:pt x="168" y="203"/>
                  </a:moveTo>
                  <a:lnTo>
                    <a:pt x="165" y="201"/>
                  </a:lnTo>
                  <a:lnTo>
                    <a:pt x="163" y="201"/>
                  </a:lnTo>
                  <a:lnTo>
                    <a:pt x="160" y="201"/>
                  </a:lnTo>
                  <a:lnTo>
                    <a:pt x="158" y="201"/>
                  </a:lnTo>
                  <a:lnTo>
                    <a:pt x="155" y="201"/>
                  </a:lnTo>
                  <a:lnTo>
                    <a:pt x="153" y="198"/>
                  </a:lnTo>
                  <a:lnTo>
                    <a:pt x="150" y="198"/>
                  </a:lnTo>
                  <a:lnTo>
                    <a:pt x="148" y="196"/>
                  </a:lnTo>
                  <a:lnTo>
                    <a:pt x="145" y="196"/>
                  </a:lnTo>
                  <a:lnTo>
                    <a:pt x="143" y="194"/>
                  </a:lnTo>
                  <a:lnTo>
                    <a:pt x="140" y="194"/>
                  </a:lnTo>
                  <a:lnTo>
                    <a:pt x="138" y="191"/>
                  </a:lnTo>
                  <a:lnTo>
                    <a:pt x="136" y="191"/>
                  </a:lnTo>
                  <a:lnTo>
                    <a:pt x="133" y="189"/>
                  </a:lnTo>
                  <a:lnTo>
                    <a:pt x="133" y="186"/>
                  </a:lnTo>
                  <a:lnTo>
                    <a:pt x="131" y="184"/>
                  </a:lnTo>
                  <a:lnTo>
                    <a:pt x="128" y="184"/>
                  </a:lnTo>
                  <a:lnTo>
                    <a:pt x="128" y="181"/>
                  </a:lnTo>
                  <a:lnTo>
                    <a:pt x="126" y="179"/>
                  </a:lnTo>
                  <a:lnTo>
                    <a:pt x="126" y="176"/>
                  </a:lnTo>
                  <a:lnTo>
                    <a:pt x="123" y="174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18" y="164"/>
                  </a:lnTo>
                  <a:lnTo>
                    <a:pt x="118" y="162"/>
                  </a:lnTo>
                  <a:lnTo>
                    <a:pt x="118" y="159"/>
                  </a:lnTo>
                  <a:lnTo>
                    <a:pt x="118" y="157"/>
                  </a:lnTo>
                  <a:lnTo>
                    <a:pt x="118" y="154"/>
                  </a:lnTo>
                  <a:lnTo>
                    <a:pt x="116" y="152"/>
                  </a:lnTo>
                  <a:lnTo>
                    <a:pt x="116" y="149"/>
                  </a:lnTo>
                  <a:lnTo>
                    <a:pt x="116" y="147"/>
                  </a:lnTo>
                  <a:lnTo>
                    <a:pt x="118" y="144"/>
                  </a:lnTo>
                  <a:lnTo>
                    <a:pt x="118" y="142"/>
                  </a:lnTo>
                  <a:lnTo>
                    <a:pt x="118" y="137"/>
                  </a:lnTo>
                  <a:lnTo>
                    <a:pt x="118" y="135"/>
                  </a:lnTo>
                  <a:lnTo>
                    <a:pt x="118" y="132"/>
                  </a:lnTo>
                  <a:lnTo>
                    <a:pt x="121" y="130"/>
                  </a:lnTo>
                  <a:lnTo>
                    <a:pt x="121" y="127"/>
                  </a:lnTo>
                  <a:lnTo>
                    <a:pt x="123" y="125"/>
                  </a:lnTo>
                  <a:lnTo>
                    <a:pt x="123" y="122"/>
                  </a:lnTo>
                  <a:lnTo>
                    <a:pt x="126" y="122"/>
                  </a:lnTo>
                  <a:lnTo>
                    <a:pt x="126" y="120"/>
                  </a:lnTo>
                  <a:lnTo>
                    <a:pt x="128" y="118"/>
                  </a:lnTo>
                  <a:lnTo>
                    <a:pt x="128" y="115"/>
                  </a:lnTo>
                  <a:lnTo>
                    <a:pt x="131" y="113"/>
                  </a:lnTo>
                  <a:lnTo>
                    <a:pt x="133" y="110"/>
                  </a:lnTo>
                  <a:lnTo>
                    <a:pt x="133" y="110"/>
                  </a:lnTo>
                  <a:lnTo>
                    <a:pt x="136" y="108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3" y="103"/>
                  </a:lnTo>
                  <a:lnTo>
                    <a:pt x="145" y="103"/>
                  </a:lnTo>
                  <a:lnTo>
                    <a:pt x="148" y="100"/>
                  </a:lnTo>
                  <a:lnTo>
                    <a:pt x="150" y="100"/>
                  </a:lnTo>
                  <a:lnTo>
                    <a:pt x="153" y="98"/>
                  </a:lnTo>
                  <a:lnTo>
                    <a:pt x="155" y="98"/>
                  </a:lnTo>
                  <a:lnTo>
                    <a:pt x="158" y="98"/>
                  </a:lnTo>
                  <a:lnTo>
                    <a:pt x="160" y="98"/>
                  </a:lnTo>
                  <a:lnTo>
                    <a:pt x="163" y="95"/>
                  </a:lnTo>
                  <a:lnTo>
                    <a:pt x="165" y="95"/>
                  </a:lnTo>
                  <a:lnTo>
                    <a:pt x="168" y="95"/>
                  </a:lnTo>
                  <a:lnTo>
                    <a:pt x="170" y="95"/>
                  </a:lnTo>
                  <a:lnTo>
                    <a:pt x="172" y="95"/>
                  </a:lnTo>
                  <a:lnTo>
                    <a:pt x="175" y="95"/>
                  </a:lnTo>
                  <a:lnTo>
                    <a:pt x="177" y="95"/>
                  </a:lnTo>
                  <a:lnTo>
                    <a:pt x="180" y="98"/>
                  </a:lnTo>
                  <a:lnTo>
                    <a:pt x="182" y="98"/>
                  </a:lnTo>
                  <a:lnTo>
                    <a:pt x="185" y="98"/>
                  </a:lnTo>
                  <a:lnTo>
                    <a:pt x="187" y="98"/>
                  </a:lnTo>
                  <a:lnTo>
                    <a:pt x="190" y="100"/>
                  </a:lnTo>
                  <a:lnTo>
                    <a:pt x="192" y="100"/>
                  </a:lnTo>
                  <a:lnTo>
                    <a:pt x="195" y="103"/>
                  </a:lnTo>
                  <a:lnTo>
                    <a:pt x="197" y="103"/>
                  </a:lnTo>
                  <a:lnTo>
                    <a:pt x="199" y="105"/>
                  </a:lnTo>
                  <a:lnTo>
                    <a:pt x="202" y="105"/>
                  </a:lnTo>
                  <a:lnTo>
                    <a:pt x="204" y="108"/>
                  </a:lnTo>
                  <a:lnTo>
                    <a:pt x="204" y="110"/>
                  </a:lnTo>
                  <a:lnTo>
                    <a:pt x="207" y="110"/>
                  </a:lnTo>
                  <a:lnTo>
                    <a:pt x="209" y="113"/>
                  </a:lnTo>
                  <a:lnTo>
                    <a:pt x="212" y="115"/>
                  </a:lnTo>
                  <a:lnTo>
                    <a:pt x="212" y="118"/>
                  </a:lnTo>
                  <a:lnTo>
                    <a:pt x="214" y="120"/>
                  </a:lnTo>
                  <a:lnTo>
                    <a:pt x="214" y="122"/>
                  </a:lnTo>
                  <a:lnTo>
                    <a:pt x="217" y="122"/>
                  </a:lnTo>
                  <a:lnTo>
                    <a:pt x="217" y="125"/>
                  </a:lnTo>
                  <a:lnTo>
                    <a:pt x="219" y="127"/>
                  </a:lnTo>
                  <a:lnTo>
                    <a:pt x="219" y="130"/>
                  </a:lnTo>
                  <a:lnTo>
                    <a:pt x="219" y="132"/>
                  </a:lnTo>
                  <a:lnTo>
                    <a:pt x="222" y="135"/>
                  </a:lnTo>
                  <a:lnTo>
                    <a:pt x="222" y="137"/>
                  </a:lnTo>
                  <a:lnTo>
                    <a:pt x="222" y="142"/>
                  </a:lnTo>
                  <a:lnTo>
                    <a:pt x="222" y="144"/>
                  </a:lnTo>
                  <a:lnTo>
                    <a:pt x="222" y="147"/>
                  </a:lnTo>
                  <a:lnTo>
                    <a:pt x="222" y="149"/>
                  </a:lnTo>
                  <a:lnTo>
                    <a:pt x="222" y="152"/>
                  </a:lnTo>
                  <a:lnTo>
                    <a:pt x="222" y="154"/>
                  </a:lnTo>
                  <a:lnTo>
                    <a:pt x="222" y="157"/>
                  </a:lnTo>
                  <a:lnTo>
                    <a:pt x="222" y="159"/>
                  </a:lnTo>
                  <a:lnTo>
                    <a:pt x="222" y="162"/>
                  </a:lnTo>
                  <a:lnTo>
                    <a:pt x="219" y="164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7" y="171"/>
                  </a:lnTo>
                  <a:lnTo>
                    <a:pt x="217" y="174"/>
                  </a:lnTo>
                  <a:lnTo>
                    <a:pt x="214" y="176"/>
                  </a:lnTo>
                  <a:lnTo>
                    <a:pt x="214" y="179"/>
                  </a:lnTo>
                  <a:lnTo>
                    <a:pt x="212" y="181"/>
                  </a:lnTo>
                  <a:lnTo>
                    <a:pt x="212" y="184"/>
                  </a:lnTo>
                  <a:lnTo>
                    <a:pt x="209" y="184"/>
                  </a:lnTo>
                  <a:lnTo>
                    <a:pt x="207" y="186"/>
                  </a:lnTo>
                  <a:lnTo>
                    <a:pt x="204" y="189"/>
                  </a:lnTo>
                  <a:lnTo>
                    <a:pt x="204" y="191"/>
                  </a:lnTo>
                  <a:lnTo>
                    <a:pt x="202" y="191"/>
                  </a:lnTo>
                  <a:lnTo>
                    <a:pt x="199" y="194"/>
                  </a:lnTo>
                  <a:lnTo>
                    <a:pt x="197" y="194"/>
                  </a:lnTo>
                  <a:lnTo>
                    <a:pt x="195" y="196"/>
                  </a:lnTo>
                  <a:lnTo>
                    <a:pt x="192" y="196"/>
                  </a:lnTo>
                  <a:lnTo>
                    <a:pt x="190" y="198"/>
                  </a:lnTo>
                  <a:lnTo>
                    <a:pt x="187" y="198"/>
                  </a:lnTo>
                  <a:lnTo>
                    <a:pt x="185" y="201"/>
                  </a:lnTo>
                  <a:lnTo>
                    <a:pt x="182" y="201"/>
                  </a:lnTo>
                  <a:lnTo>
                    <a:pt x="180" y="201"/>
                  </a:lnTo>
                  <a:lnTo>
                    <a:pt x="177" y="201"/>
                  </a:lnTo>
                  <a:lnTo>
                    <a:pt x="175" y="201"/>
                  </a:lnTo>
                  <a:lnTo>
                    <a:pt x="172" y="203"/>
                  </a:lnTo>
                  <a:lnTo>
                    <a:pt x="170" y="203"/>
                  </a:lnTo>
                  <a:lnTo>
                    <a:pt x="168" y="203"/>
                  </a:lnTo>
                  <a:close/>
                  <a:moveTo>
                    <a:pt x="168" y="83"/>
                  </a:moveTo>
                  <a:lnTo>
                    <a:pt x="163" y="83"/>
                  </a:lnTo>
                  <a:lnTo>
                    <a:pt x="160" y="86"/>
                  </a:lnTo>
                  <a:lnTo>
                    <a:pt x="158" y="86"/>
                  </a:lnTo>
                  <a:lnTo>
                    <a:pt x="153" y="86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5" y="88"/>
                  </a:lnTo>
                  <a:lnTo>
                    <a:pt x="143" y="91"/>
                  </a:lnTo>
                  <a:lnTo>
                    <a:pt x="138" y="91"/>
                  </a:lnTo>
                  <a:lnTo>
                    <a:pt x="136" y="93"/>
                  </a:lnTo>
                  <a:lnTo>
                    <a:pt x="133" y="95"/>
                  </a:lnTo>
                  <a:lnTo>
                    <a:pt x="131" y="98"/>
                  </a:lnTo>
                  <a:lnTo>
                    <a:pt x="128" y="98"/>
                  </a:lnTo>
                  <a:lnTo>
                    <a:pt x="126" y="100"/>
                  </a:lnTo>
                  <a:lnTo>
                    <a:pt x="123" y="103"/>
                  </a:lnTo>
                  <a:lnTo>
                    <a:pt x="121" y="105"/>
                  </a:lnTo>
                  <a:lnTo>
                    <a:pt x="121" y="108"/>
                  </a:lnTo>
                  <a:lnTo>
                    <a:pt x="118" y="110"/>
                  </a:lnTo>
                  <a:lnTo>
                    <a:pt x="116" y="113"/>
                  </a:lnTo>
                  <a:lnTo>
                    <a:pt x="113" y="115"/>
                  </a:lnTo>
                  <a:lnTo>
                    <a:pt x="113" y="118"/>
                  </a:lnTo>
                  <a:lnTo>
                    <a:pt x="111" y="120"/>
                  </a:lnTo>
                  <a:lnTo>
                    <a:pt x="111" y="122"/>
                  </a:lnTo>
                  <a:lnTo>
                    <a:pt x="109" y="127"/>
                  </a:lnTo>
                  <a:lnTo>
                    <a:pt x="109" y="130"/>
                  </a:lnTo>
                  <a:lnTo>
                    <a:pt x="106" y="132"/>
                  </a:lnTo>
                  <a:lnTo>
                    <a:pt x="106" y="135"/>
                  </a:lnTo>
                  <a:lnTo>
                    <a:pt x="106" y="140"/>
                  </a:lnTo>
                  <a:lnTo>
                    <a:pt x="106" y="142"/>
                  </a:lnTo>
                  <a:lnTo>
                    <a:pt x="106" y="144"/>
                  </a:lnTo>
                  <a:lnTo>
                    <a:pt x="106" y="149"/>
                  </a:lnTo>
                  <a:lnTo>
                    <a:pt x="106" y="152"/>
                  </a:lnTo>
                  <a:lnTo>
                    <a:pt x="106" y="157"/>
                  </a:lnTo>
                  <a:lnTo>
                    <a:pt x="106" y="159"/>
                  </a:lnTo>
                  <a:lnTo>
                    <a:pt x="106" y="162"/>
                  </a:lnTo>
                  <a:lnTo>
                    <a:pt x="106" y="164"/>
                  </a:lnTo>
                  <a:lnTo>
                    <a:pt x="109" y="169"/>
                  </a:lnTo>
                  <a:lnTo>
                    <a:pt x="109" y="171"/>
                  </a:lnTo>
                  <a:lnTo>
                    <a:pt x="111" y="174"/>
                  </a:lnTo>
                  <a:lnTo>
                    <a:pt x="111" y="176"/>
                  </a:lnTo>
                  <a:lnTo>
                    <a:pt x="113" y="179"/>
                  </a:lnTo>
                  <a:lnTo>
                    <a:pt x="113" y="184"/>
                  </a:lnTo>
                  <a:lnTo>
                    <a:pt x="116" y="186"/>
                  </a:lnTo>
                  <a:lnTo>
                    <a:pt x="118" y="189"/>
                  </a:lnTo>
                  <a:lnTo>
                    <a:pt x="121" y="191"/>
                  </a:lnTo>
                  <a:lnTo>
                    <a:pt x="121" y="194"/>
                  </a:lnTo>
                  <a:lnTo>
                    <a:pt x="123" y="196"/>
                  </a:lnTo>
                  <a:lnTo>
                    <a:pt x="126" y="198"/>
                  </a:lnTo>
                  <a:lnTo>
                    <a:pt x="128" y="198"/>
                  </a:lnTo>
                  <a:lnTo>
                    <a:pt x="131" y="201"/>
                  </a:lnTo>
                  <a:lnTo>
                    <a:pt x="133" y="203"/>
                  </a:lnTo>
                  <a:lnTo>
                    <a:pt x="136" y="206"/>
                  </a:lnTo>
                  <a:lnTo>
                    <a:pt x="138" y="206"/>
                  </a:lnTo>
                  <a:lnTo>
                    <a:pt x="143" y="208"/>
                  </a:lnTo>
                  <a:lnTo>
                    <a:pt x="145" y="208"/>
                  </a:lnTo>
                  <a:lnTo>
                    <a:pt x="148" y="211"/>
                  </a:lnTo>
                  <a:lnTo>
                    <a:pt x="150" y="211"/>
                  </a:lnTo>
                  <a:lnTo>
                    <a:pt x="153" y="213"/>
                  </a:lnTo>
                  <a:lnTo>
                    <a:pt x="158" y="213"/>
                  </a:lnTo>
                  <a:lnTo>
                    <a:pt x="160" y="213"/>
                  </a:lnTo>
                  <a:lnTo>
                    <a:pt x="163" y="213"/>
                  </a:lnTo>
                  <a:lnTo>
                    <a:pt x="168" y="213"/>
                  </a:lnTo>
                  <a:lnTo>
                    <a:pt x="170" y="213"/>
                  </a:lnTo>
                  <a:lnTo>
                    <a:pt x="172" y="213"/>
                  </a:lnTo>
                  <a:lnTo>
                    <a:pt x="175" y="213"/>
                  </a:lnTo>
                  <a:lnTo>
                    <a:pt x="177" y="213"/>
                  </a:lnTo>
                  <a:lnTo>
                    <a:pt x="177" y="213"/>
                  </a:lnTo>
                  <a:lnTo>
                    <a:pt x="180" y="213"/>
                  </a:lnTo>
                  <a:lnTo>
                    <a:pt x="182" y="213"/>
                  </a:lnTo>
                  <a:lnTo>
                    <a:pt x="185" y="213"/>
                  </a:lnTo>
                  <a:lnTo>
                    <a:pt x="187" y="211"/>
                  </a:lnTo>
                  <a:lnTo>
                    <a:pt x="190" y="211"/>
                  </a:lnTo>
                  <a:lnTo>
                    <a:pt x="190" y="211"/>
                  </a:lnTo>
                  <a:lnTo>
                    <a:pt x="192" y="211"/>
                  </a:lnTo>
                  <a:lnTo>
                    <a:pt x="195" y="208"/>
                  </a:lnTo>
                  <a:lnTo>
                    <a:pt x="197" y="208"/>
                  </a:lnTo>
                  <a:lnTo>
                    <a:pt x="199" y="208"/>
                  </a:lnTo>
                  <a:lnTo>
                    <a:pt x="199" y="206"/>
                  </a:lnTo>
                  <a:lnTo>
                    <a:pt x="202" y="206"/>
                  </a:lnTo>
                  <a:lnTo>
                    <a:pt x="204" y="203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8" y="262"/>
                  </a:lnTo>
                  <a:lnTo>
                    <a:pt x="258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63" y="262"/>
                  </a:lnTo>
                  <a:lnTo>
                    <a:pt x="263" y="265"/>
                  </a:lnTo>
                  <a:lnTo>
                    <a:pt x="266" y="265"/>
                  </a:lnTo>
                  <a:lnTo>
                    <a:pt x="266" y="265"/>
                  </a:lnTo>
                  <a:lnTo>
                    <a:pt x="268" y="265"/>
                  </a:lnTo>
                  <a:lnTo>
                    <a:pt x="268" y="265"/>
                  </a:lnTo>
                  <a:lnTo>
                    <a:pt x="271" y="262"/>
                  </a:lnTo>
                  <a:lnTo>
                    <a:pt x="271" y="262"/>
                  </a:lnTo>
                  <a:lnTo>
                    <a:pt x="273" y="262"/>
                  </a:lnTo>
                  <a:lnTo>
                    <a:pt x="273" y="262"/>
                  </a:lnTo>
                  <a:lnTo>
                    <a:pt x="276" y="260"/>
                  </a:lnTo>
                  <a:lnTo>
                    <a:pt x="276" y="260"/>
                  </a:lnTo>
                  <a:lnTo>
                    <a:pt x="285" y="250"/>
                  </a:lnTo>
                  <a:lnTo>
                    <a:pt x="285" y="250"/>
                  </a:lnTo>
                  <a:lnTo>
                    <a:pt x="288" y="247"/>
                  </a:lnTo>
                  <a:lnTo>
                    <a:pt x="288" y="247"/>
                  </a:lnTo>
                  <a:lnTo>
                    <a:pt x="288" y="245"/>
                  </a:lnTo>
                  <a:lnTo>
                    <a:pt x="288" y="245"/>
                  </a:lnTo>
                  <a:lnTo>
                    <a:pt x="290" y="243"/>
                  </a:lnTo>
                  <a:lnTo>
                    <a:pt x="290" y="240"/>
                  </a:lnTo>
                  <a:lnTo>
                    <a:pt x="290" y="240"/>
                  </a:lnTo>
                  <a:lnTo>
                    <a:pt x="290" y="238"/>
                  </a:lnTo>
                  <a:lnTo>
                    <a:pt x="290" y="238"/>
                  </a:lnTo>
                  <a:lnTo>
                    <a:pt x="288" y="235"/>
                  </a:lnTo>
                  <a:lnTo>
                    <a:pt x="288" y="233"/>
                  </a:lnTo>
                  <a:lnTo>
                    <a:pt x="288" y="233"/>
                  </a:lnTo>
                  <a:lnTo>
                    <a:pt x="288" y="230"/>
                  </a:lnTo>
                  <a:lnTo>
                    <a:pt x="285" y="230"/>
                  </a:lnTo>
                  <a:lnTo>
                    <a:pt x="285" y="228"/>
                  </a:lnTo>
                  <a:lnTo>
                    <a:pt x="229" y="176"/>
                  </a:lnTo>
                  <a:lnTo>
                    <a:pt x="229" y="174"/>
                  </a:lnTo>
                  <a:lnTo>
                    <a:pt x="231" y="171"/>
                  </a:lnTo>
                  <a:lnTo>
                    <a:pt x="231" y="169"/>
                  </a:lnTo>
                  <a:lnTo>
                    <a:pt x="231" y="164"/>
                  </a:lnTo>
                  <a:lnTo>
                    <a:pt x="234" y="162"/>
                  </a:lnTo>
                  <a:lnTo>
                    <a:pt x="234" y="159"/>
                  </a:lnTo>
                  <a:lnTo>
                    <a:pt x="234" y="154"/>
                  </a:lnTo>
                  <a:lnTo>
                    <a:pt x="234" y="152"/>
                  </a:lnTo>
                  <a:lnTo>
                    <a:pt x="234" y="149"/>
                  </a:lnTo>
                  <a:lnTo>
                    <a:pt x="234" y="144"/>
                  </a:lnTo>
                  <a:lnTo>
                    <a:pt x="234" y="142"/>
                  </a:lnTo>
                  <a:lnTo>
                    <a:pt x="234" y="140"/>
                  </a:lnTo>
                  <a:lnTo>
                    <a:pt x="234" y="135"/>
                  </a:lnTo>
                  <a:lnTo>
                    <a:pt x="231" y="132"/>
                  </a:lnTo>
                  <a:lnTo>
                    <a:pt x="231" y="130"/>
                  </a:lnTo>
                  <a:lnTo>
                    <a:pt x="231" y="127"/>
                  </a:lnTo>
                  <a:lnTo>
                    <a:pt x="229" y="122"/>
                  </a:lnTo>
                  <a:lnTo>
                    <a:pt x="229" y="120"/>
                  </a:lnTo>
                  <a:lnTo>
                    <a:pt x="226" y="118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2" y="110"/>
                  </a:lnTo>
                  <a:lnTo>
                    <a:pt x="219" y="108"/>
                  </a:lnTo>
                  <a:lnTo>
                    <a:pt x="217" y="105"/>
                  </a:lnTo>
                  <a:lnTo>
                    <a:pt x="217" y="103"/>
                  </a:lnTo>
                  <a:lnTo>
                    <a:pt x="214" y="100"/>
                  </a:lnTo>
                  <a:lnTo>
                    <a:pt x="212" y="98"/>
                  </a:lnTo>
                  <a:lnTo>
                    <a:pt x="209" y="98"/>
                  </a:lnTo>
                  <a:lnTo>
                    <a:pt x="207" y="95"/>
                  </a:lnTo>
                  <a:lnTo>
                    <a:pt x="204" y="93"/>
                  </a:lnTo>
                  <a:lnTo>
                    <a:pt x="199" y="91"/>
                  </a:lnTo>
                  <a:lnTo>
                    <a:pt x="197" y="91"/>
                  </a:lnTo>
                  <a:lnTo>
                    <a:pt x="195" y="88"/>
                  </a:lnTo>
                  <a:lnTo>
                    <a:pt x="192" y="88"/>
                  </a:lnTo>
                  <a:lnTo>
                    <a:pt x="190" y="86"/>
                  </a:lnTo>
                  <a:lnTo>
                    <a:pt x="187" y="86"/>
                  </a:lnTo>
                  <a:lnTo>
                    <a:pt x="182" y="86"/>
                  </a:lnTo>
                  <a:lnTo>
                    <a:pt x="180" y="86"/>
                  </a:lnTo>
                  <a:lnTo>
                    <a:pt x="177" y="83"/>
                  </a:lnTo>
                  <a:lnTo>
                    <a:pt x="172" y="83"/>
                  </a:lnTo>
                  <a:lnTo>
                    <a:pt x="170" y="83"/>
                  </a:lnTo>
                  <a:lnTo>
                    <a:pt x="168" y="83"/>
                  </a:lnTo>
                  <a:close/>
                  <a:moveTo>
                    <a:pt x="13" y="61"/>
                  </a:moveTo>
                  <a:lnTo>
                    <a:pt x="13" y="61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2" y="15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7" y="12"/>
                  </a:lnTo>
                  <a:lnTo>
                    <a:pt x="69" y="12"/>
                  </a:lnTo>
                  <a:lnTo>
                    <a:pt x="69" y="66"/>
                  </a:lnTo>
                  <a:lnTo>
                    <a:pt x="13" y="66"/>
                  </a:lnTo>
                  <a:lnTo>
                    <a:pt x="13" y="61"/>
                  </a:lnTo>
                  <a:close/>
                  <a:moveTo>
                    <a:pt x="64" y="0"/>
                  </a:moveTo>
                  <a:lnTo>
                    <a:pt x="62" y="0"/>
                  </a:lnTo>
                  <a:lnTo>
                    <a:pt x="62" y="2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13" y="37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5" y="44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3" y="49"/>
                  </a:lnTo>
                  <a:lnTo>
                    <a:pt x="3" y="51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240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0" y="245"/>
                  </a:lnTo>
                  <a:lnTo>
                    <a:pt x="3" y="245"/>
                  </a:lnTo>
                  <a:lnTo>
                    <a:pt x="3" y="245"/>
                  </a:lnTo>
                  <a:lnTo>
                    <a:pt x="3" y="247"/>
                  </a:lnTo>
                  <a:lnTo>
                    <a:pt x="3" y="250"/>
                  </a:lnTo>
                  <a:lnTo>
                    <a:pt x="5" y="250"/>
                  </a:lnTo>
                  <a:lnTo>
                    <a:pt x="5" y="252"/>
                  </a:lnTo>
                  <a:lnTo>
                    <a:pt x="5" y="252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0" y="257"/>
                  </a:lnTo>
                  <a:lnTo>
                    <a:pt x="13" y="257"/>
                  </a:lnTo>
                  <a:lnTo>
                    <a:pt x="13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20" y="257"/>
                  </a:lnTo>
                  <a:lnTo>
                    <a:pt x="187" y="257"/>
                  </a:lnTo>
                  <a:lnTo>
                    <a:pt x="190" y="257"/>
                  </a:lnTo>
                  <a:lnTo>
                    <a:pt x="190" y="257"/>
                  </a:lnTo>
                  <a:lnTo>
                    <a:pt x="192" y="257"/>
                  </a:lnTo>
                  <a:lnTo>
                    <a:pt x="192" y="257"/>
                  </a:lnTo>
                  <a:lnTo>
                    <a:pt x="192" y="257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7" y="257"/>
                  </a:lnTo>
                  <a:lnTo>
                    <a:pt x="197" y="255"/>
                  </a:lnTo>
                  <a:lnTo>
                    <a:pt x="199" y="255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50"/>
                  </a:lnTo>
                  <a:lnTo>
                    <a:pt x="204" y="250"/>
                  </a:lnTo>
                  <a:lnTo>
                    <a:pt x="204" y="247"/>
                  </a:lnTo>
                  <a:lnTo>
                    <a:pt x="204" y="247"/>
                  </a:lnTo>
                  <a:lnTo>
                    <a:pt x="204" y="245"/>
                  </a:lnTo>
                  <a:lnTo>
                    <a:pt x="204" y="245"/>
                  </a:lnTo>
                  <a:lnTo>
                    <a:pt x="204" y="245"/>
                  </a:lnTo>
                  <a:lnTo>
                    <a:pt x="207" y="243"/>
                  </a:lnTo>
                  <a:lnTo>
                    <a:pt x="207" y="243"/>
                  </a:lnTo>
                  <a:lnTo>
                    <a:pt x="207" y="243"/>
                  </a:lnTo>
                  <a:lnTo>
                    <a:pt x="207" y="240"/>
                  </a:lnTo>
                  <a:lnTo>
                    <a:pt x="207" y="228"/>
                  </a:lnTo>
                  <a:lnTo>
                    <a:pt x="202" y="228"/>
                  </a:lnTo>
                  <a:lnTo>
                    <a:pt x="199" y="230"/>
                  </a:lnTo>
                  <a:lnTo>
                    <a:pt x="197" y="230"/>
                  </a:lnTo>
                  <a:lnTo>
                    <a:pt x="195" y="23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2" y="243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0" y="245"/>
                  </a:lnTo>
                  <a:lnTo>
                    <a:pt x="190" y="245"/>
                  </a:lnTo>
                  <a:lnTo>
                    <a:pt x="190" y="247"/>
                  </a:lnTo>
                  <a:lnTo>
                    <a:pt x="190" y="247"/>
                  </a:lnTo>
                  <a:lnTo>
                    <a:pt x="187" y="247"/>
                  </a:lnTo>
                  <a:lnTo>
                    <a:pt x="20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3" y="243"/>
                  </a:lnTo>
                  <a:lnTo>
                    <a:pt x="13" y="243"/>
                  </a:lnTo>
                  <a:lnTo>
                    <a:pt x="13" y="243"/>
                  </a:lnTo>
                  <a:lnTo>
                    <a:pt x="13" y="243"/>
                  </a:lnTo>
                  <a:lnTo>
                    <a:pt x="13" y="240"/>
                  </a:lnTo>
                  <a:lnTo>
                    <a:pt x="13" y="240"/>
                  </a:lnTo>
                  <a:lnTo>
                    <a:pt x="13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9" y="78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82" y="76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2" y="71"/>
                  </a:lnTo>
                  <a:lnTo>
                    <a:pt x="82" y="12"/>
                  </a:lnTo>
                  <a:lnTo>
                    <a:pt x="187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5" y="17"/>
                  </a:lnTo>
                  <a:lnTo>
                    <a:pt x="195" y="17"/>
                  </a:lnTo>
                  <a:lnTo>
                    <a:pt x="195" y="17"/>
                  </a:lnTo>
                  <a:lnTo>
                    <a:pt x="195" y="17"/>
                  </a:lnTo>
                  <a:lnTo>
                    <a:pt x="195" y="19"/>
                  </a:lnTo>
                  <a:lnTo>
                    <a:pt x="195" y="66"/>
                  </a:lnTo>
                  <a:lnTo>
                    <a:pt x="197" y="68"/>
                  </a:lnTo>
                  <a:lnTo>
                    <a:pt x="199" y="68"/>
                  </a:lnTo>
                  <a:lnTo>
                    <a:pt x="202" y="71"/>
                  </a:lnTo>
                  <a:lnTo>
                    <a:pt x="207" y="71"/>
                  </a:lnTo>
                  <a:lnTo>
                    <a:pt x="207" y="19"/>
                  </a:lnTo>
                  <a:lnTo>
                    <a:pt x="207" y="17"/>
                  </a:lnTo>
                  <a:lnTo>
                    <a:pt x="207" y="17"/>
                  </a:lnTo>
                  <a:lnTo>
                    <a:pt x="207" y="15"/>
                  </a:lnTo>
                  <a:lnTo>
                    <a:pt x="204" y="15"/>
                  </a:lnTo>
                  <a:lnTo>
                    <a:pt x="204" y="15"/>
                  </a:lnTo>
                  <a:lnTo>
                    <a:pt x="204" y="12"/>
                  </a:lnTo>
                  <a:lnTo>
                    <a:pt x="204" y="12"/>
                  </a:lnTo>
                  <a:lnTo>
                    <a:pt x="204" y="12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2" y="7"/>
                  </a:lnTo>
                  <a:lnTo>
                    <a:pt x="202" y="5"/>
                  </a:lnTo>
                  <a:lnTo>
                    <a:pt x="199" y="5"/>
                  </a:lnTo>
                  <a:lnTo>
                    <a:pt x="197" y="5"/>
                  </a:lnTo>
                  <a:lnTo>
                    <a:pt x="197" y="2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8" name="Group 290">
            <a:extLst>
              <a:ext uri="{FF2B5EF4-FFF2-40B4-BE49-F238E27FC236}">
                <a16:creationId xmlns:a16="http://schemas.microsoft.com/office/drawing/2014/main" id="{9BDF2F39-0A0C-44BE-9DC1-E940D0BC1A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660" y="4059237"/>
            <a:ext cx="841375" cy="841375"/>
            <a:chOff x="1639" y="2593"/>
            <a:chExt cx="530" cy="530"/>
          </a:xfrm>
        </p:grpSpPr>
        <p:sp>
          <p:nvSpPr>
            <p:cNvPr id="319" name="AutoShape 289">
              <a:extLst>
                <a:ext uri="{FF2B5EF4-FFF2-40B4-BE49-F238E27FC236}">
                  <a16:creationId xmlns:a16="http://schemas.microsoft.com/office/drawing/2014/main" id="{AB4DFE4E-BB91-4927-AEA2-B3C756FC52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9" y="25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291">
              <a:extLst>
                <a:ext uri="{FF2B5EF4-FFF2-40B4-BE49-F238E27FC236}">
                  <a16:creationId xmlns:a16="http://schemas.microsoft.com/office/drawing/2014/main" id="{A53EE061-10E8-41E6-8A09-D459BF9A9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9" y="25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92">
              <a:extLst>
                <a:ext uri="{FF2B5EF4-FFF2-40B4-BE49-F238E27FC236}">
                  <a16:creationId xmlns:a16="http://schemas.microsoft.com/office/drawing/2014/main" id="{5482D6A1-0378-42D2-8755-6BA4FDCB5C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" y="26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93">
              <a:extLst>
                <a:ext uri="{FF2B5EF4-FFF2-40B4-BE49-F238E27FC236}">
                  <a16:creationId xmlns:a16="http://schemas.microsoft.com/office/drawing/2014/main" id="{9FEF5609-5797-411B-8F83-BBE9B3E16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5" y="2721"/>
              <a:ext cx="302" cy="276"/>
            </a:xfrm>
            <a:custGeom>
              <a:avLst/>
              <a:gdLst>
                <a:gd name="T0" fmla="*/ 38 w 302"/>
                <a:gd name="T1" fmla="*/ 171 h 276"/>
                <a:gd name="T2" fmla="*/ 227 w 302"/>
                <a:gd name="T3" fmla="*/ 200 h 276"/>
                <a:gd name="T4" fmla="*/ 289 w 302"/>
                <a:gd name="T5" fmla="*/ 251 h 276"/>
                <a:gd name="T6" fmla="*/ 276 w 302"/>
                <a:gd name="T7" fmla="*/ 264 h 276"/>
                <a:gd name="T8" fmla="*/ 156 w 302"/>
                <a:gd name="T9" fmla="*/ 207 h 276"/>
                <a:gd name="T10" fmla="*/ 135 w 302"/>
                <a:gd name="T11" fmla="*/ 192 h 276"/>
                <a:gd name="T12" fmla="*/ 122 w 302"/>
                <a:gd name="T13" fmla="*/ 171 h 276"/>
                <a:gd name="T14" fmla="*/ 122 w 302"/>
                <a:gd name="T15" fmla="*/ 148 h 276"/>
                <a:gd name="T16" fmla="*/ 130 w 302"/>
                <a:gd name="T17" fmla="*/ 125 h 276"/>
                <a:gd name="T18" fmla="*/ 148 w 302"/>
                <a:gd name="T19" fmla="*/ 107 h 276"/>
                <a:gd name="T20" fmla="*/ 171 w 302"/>
                <a:gd name="T21" fmla="*/ 100 h 276"/>
                <a:gd name="T22" fmla="*/ 194 w 302"/>
                <a:gd name="T23" fmla="*/ 102 h 276"/>
                <a:gd name="T24" fmla="*/ 215 w 302"/>
                <a:gd name="T25" fmla="*/ 115 h 276"/>
                <a:gd name="T26" fmla="*/ 227 w 302"/>
                <a:gd name="T27" fmla="*/ 136 h 276"/>
                <a:gd name="T28" fmla="*/ 230 w 302"/>
                <a:gd name="T29" fmla="*/ 161 h 276"/>
                <a:gd name="T30" fmla="*/ 222 w 302"/>
                <a:gd name="T31" fmla="*/ 184 h 276"/>
                <a:gd name="T32" fmla="*/ 207 w 302"/>
                <a:gd name="T33" fmla="*/ 202 h 276"/>
                <a:gd name="T34" fmla="*/ 184 w 302"/>
                <a:gd name="T35" fmla="*/ 210 h 276"/>
                <a:gd name="T36" fmla="*/ 158 w 302"/>
                <a:gd name="T37" fmla="*/ 90 h 276"/>
                <a:gd name="T38" fmla="*/ 133 w 302"/>
                <a:gd name="T39" fmla="*/ 102 h 276"/>
                <a:gd name="T40" fmla="*/ 115 w 302"/>
                <a:gd name="T41" fmla="*/ 125 h 276"/>
                <a:gd name="T42" fmla="*/ 110 w 302"/>
                <a:gd name="T43" fmla="*/ 156 h 276"/>
                <a:gd name="T44" fmla="*/ 115 w 302"/>
                <a:gd name="T45" fmla="*/ 184 h 276"/>
                <a:gd name="T46" fmla="*/ 133 w 302"/>
                <a:gd name="T47" fmla="*/ 207 h 276"/>
                <a:gd name="T48" fmla="*/ 158 w 302"/>
                <a:gd name="T49" fmla="*/ 223 h 276"/>
                <a:gd name="T50" fmla="*/ 184 w 302"/>
                <a:gd name="T51" fmla="*/ 223 h 276"/>
                <a:gd name="T52" fmla="*/ 204 w 302"/>
                <a:gd name="T53" fmla="*/ 218 h 276"/>
                <a:gd name="T54" fmla="*/ 271 w 302"/>
                <a:gd name="T55" fmla="*/ 274 h 276"/>
                <a:gd name="T56" fmla="*/ 281 w 302"/>
                <a:gd name="T57" fmla="*/ 274 h 276"/>
                <a:gd name="T58" fmla="*/ 299 w 302"/>
                <a:gd name="T59" fmla="*/ 256 h 276"/>
                <a:gd name="T60" fmla="*/ 299 w 302"/>
                <a:gd name="T61" fmla="*/ 243 h 276"/>
                <a:gd name="T62" fmla="*/ 243 w 302"/>
                <a:gd name="T63" fmla="*/ 169 h 276"/>
                <a:gd name="T64" fmla="*/ 240 w 302"/>
                <a:gd name="T65" fmla="*/ 138 h 276"/>
                <a:gd name="T66" fmla="*/ 227 w 302"/>
                <a:gd name="T67" fmla="*/ 113 h 276"/>
                <a:gd name="T68" fmla="*/ 204 w 302"/>
                <a:gd name="T69" fmla="*/ 95 h 276"/>
                <a:gd name="T70" fmla="*/ 176 w 302"/>
                <a:gd name="T71" fmla="*/ 87 h 276"/>
                <a:gd name="T72" fmla="*/ 15 w 302"/>
                <a:gd name="T73" fmla="*/ 56 h 276"/>
                <a:gd name="T74" fmla="*/ 20 w 302"/>
                <a:gd name="T75" fmla="*/ 49 h 276"/>
                <a:gd name="T76" fmla="*/ 61 w 302"/>
                <a:gd name="T77" fmla="*/ 15 h 276"/>
                <a:gd name="T78" fmla="*/ 12 w 302"/>
                <a:gd name="T79" fmla="*/ 69 h 276"/>
                <a:gd name="T80" fmla="*/ 53 w 302"/>
                <a:gd name="T81" fmla="*/ 2 h 276"/>
                <a:gd name="T82" fmla="*/ 12 w 302"/>
                <a:gd name="T83" fmla="*/ 38 h 276"/>
                <a:gd name="T84" fmla="*/ 2 w 302"/>
                <a:gd name="T85" fmla="*/ 51 h 276"/>
                <a:gd name="T86" fmla="*/ 0 w 302"/>
                <a:gd name="T87" fmla="*/ 253 h 276"/>
                <a:gd name="T88" fmla="*/ 5 w 302"/>
                <a:gd name="T89" fmla="*/ 264 h 276"/>
                <a:gd name="T90" fmla="*/ 15 w 302"/>
                <a:gd name="T91" fmla="*/ 269 h 276"/>
                <a:gd name="T92" fmla="*/ 199 w 302"/>
                <a:gd name="T93" fmla="*/ 269 h 276"/>
                <a:gd name="T94" fmla="*/ 212 w 302"/>
                <a:gd name="T95" fmla="*/ 261 h 276"/>
                <a:gd name="T96" fmla="*/ 215 w 302"/>
                <a:gd name="T97" fmla="*/ 251 h 276"/>
                <a:gd name="T98" fmla="*/ 202 w 302"/>
                <a:gd name="T99" fmla="*/ 253 h 276"/>
                <a:gd name="T100" fmla="*/ 197 w 302"/>
                <a:gd name="T101" fmla="*/ 256 h 276"/>
                <a:gd name="T102" fmla="*/ 18 w 302"/>
                <a:gd name="T103" fmla="*/ 256 h 276"/>
                <a:gd name="T104" fmla="*/ 12 w 302"/>
                <a:gd name="T105" fmla="*/ 253 h 276"/>
                <a:gd name="T106" fmla="*/ 82 w 302"/>
                <a:gd name="T107" fmla="*/ 82 h 276"/>
                <a:gd name="T108" fmla="*/ 84 w 302"/>
                <a:gd name="T109" fmla="*/ 77 h 276"/>
                <a:gd name="T110" fmla="*/ 197 w 302"/>
                <a:gd name="T111" fmla="*/ 13 h 276"/>
                <a:gd name="T112" fmla="*/ 202 w 302"/>
                <a:gd name="T113" fmla="*/ 18 h 276"/>
                <a:gd name="T114" fmla="*/ 215 w 302"/>
                <a:gd name="T115" fmla="*/ 20 h 276"/>
                <a:gd name="T116" fmla="*/ 212 w 302"/>
                <a:gd name="T117" fmla="*/ 10 h 276"/>
                <a:gd name="T118" fmla="*/ 199 w 302"/>
                <a:gd name="T119" fmla="*/ 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2" h="276">
                  <a:moveTo>
                    <a:pt x="38" y="220"/>
                  </a:moveTo>
                  <a:lnTo>
                    <a:pt x="99" y="220"/>
                  </a:lnTo>
                  <a:lnTo>
                    <a:pt x="99" y="210"/>
                  </a:lnTo>
                  <a:lnTo>
                    <a:pt x="38" y="210"/>
                  </a:lnTo>
                  <a:lnTo>
                    <a:pt x="38" y="220"/>
                  </a:lnTo>
                  <a:close/>
                  <a:moveTo>
                    <a:pt x="38" y="182"/>
                  </a:moveTo>
                  <a:lnTo>
                    <a:pt x="66" y="182"/>
                  </a:lnTo>
                  <a:lnTo>
                    <a:pt x="66" y="171"/>
                  </a:lnTo>
                  <a:lnTo>
                    <a:pt x="38" y="171"/>
                  </a:lnTo>
                  <a:lnTo>
                    <a:pt x="38" y="182"/>
                  </a:lnTo>
                  <a:close/>
                  <a:moveTo>
                    <a:pt x="276" y="264"/>
                  </a:moveTo>
                  <a:lnTo>
                    <a:pt x="276" y="264"/>
                  </a:lnTo>
                  <a:lnTo>
                    <a:pt x="274" y="261"/>
                  </a:lnTo>
                  <a:lnTo>
                    <a:pt x="274" y="261"/>
                  </a:lnTo>
                  <a:lnTo>
                    <a:pt x="222" y="207"/>
                  </a:lnTo>
                  <a:lnTo>
                    <a:pt x="222" y="205"/>
                  </a:lnTo>
                  <a:lnTo>
                    <a:pt x="225" y="202"/>
                  </a:lnTo>
                  <a:lnTo>
                    <a:pt x="227" y="200"/>
                  </a:lnTo>
                  <a:lnTo>
                    <a:pt x="227" y="200"/>
                  </a:lnTo>
                  <a:lnTo>
                    <a:pt x="230" y="197"/>
                  </a:lnTo>
                  <a:lnTo>
                    <a:pt x="233" y="195"/>
                  </a:lnTo>
                  <a:lnTo>
                    <a:pt x="289" y="248"/>
                  </a:lnTo>
                  <a:lnTo>
                    <a:pt x="289" y="248"/>
                  </a:lnTo>
                  <a:lnTo>
                    <a:pt x="289" y="248"/>
                  </a:lnTo>
                  <a:lnTo>
                    <a:pt x="289" y="251"/>
                  </a:lnTo>
                  <a:lnTo>
                    <a:pt x="289" y="251"/>
                  </a:lnTo>
                  <a:lnTo>
                    <a:pt x="289" y="251"/>
                  </a:lnTo>
                  <a:lnTo>
                    <a:pt x="289" y="251"/>
                  </a:lnTo>
                  <a:lnTo>
                    <a:pt x="289" y="253"/>
                  </a:lnTo>
                  <a:lnTo>
                    <a:pt x="289" y="253"/>
                  </a:lnTo>
                  <a:lnTo>
                    <a:pt x="279" y="261"/>
                  </a:lnTo>
                  <a:lnTo>
                    <a:pt x="279" y="261"/>
                  </a:lnTo>
                  <a:lnTo>
                    <a:pt x="279" y="264"/>
                  </a:lnTo>
                  <a:lnTo>
                    <a:pt x="276" y="264"/>
                  </a:lnTo>
                  <a:lnTo>
                    <a:pt x="276" y="264"/>
                  </a:lnTo>
                  <a:lnTo>
                    <a:pt x="276" y="264"/>
                  </a:lnTo>
                  <a:lnTo>
                    <a:pt x="276" y="264"/>
                  </a:lnTo>
                  <a:close/>
                  <a:moveTo>
                    <a:pt x="174" y="212"/>
                  </a:moveTo>
                  <a:lnTo>
                    <a:pt x="171" y="210"/>
                  </a:lnTo>
                  <a:lnTo>
                    <a:pt x="169" y="210"/>
                  </a:lnTo>
                  <a:lnTo>
                    <a:pt x="166" y="210"/>
                  </a:lnTo>
                  <a:lnTo>
                    <a:pt x="163" y="210"/>
                  </a:lnTo>
                  <a:lnTo>
                    <a:pt x="161" y="210"/>
                  </a:lnTo>
                  <a:lnTo>
                    <a:pt x="158" y="207"/>
                  </a:lnTo>
                  <a:lnTo>
                    <a:pt x="156" y="207"/>
                  </a:lnTo>
                  <a:lnTo>
                    <a:pt x="153" y="205"/>
                  </a:lnTo>
                  <a:lnTo>
                    <a:pt x="151" y="205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3" y="200"/>
                  </a:lnTo>
                  <a:lnTo>
                    <a:pt x="140" y="200"/>
                  </a:lnTo>
                  <a:lnTo>
                    <a:pt x="138" y="197"/>
                  </a:lnTo>
                  <a:lnTo>
                    <a:pt x="138" y="195"/>
                  </a:lnTo>
                  <a:lnTo>
                    <a:pt x="135" y="192"/>
                  </a:lnTo>
                  <a:lnTo>
                    <a:pt x="133" y="192"/>
                  </a:lnTo>
                  <a:lnTo>
                    <a:pt x="133" y="189"/>
                  </a:lnTo>
                  <a:lnTo>
                    <a:pt x="130" y="187"/>
                  </a:lnTo>
                  <a:lnTo>
                    <a:pt x="130" y="184"/>
                  </a:lnTo>
                  <a:lnTo>
                    <a:pt x="128" y="182"/>
                  </a:lnTo>
                  <a:lnTo>
                    <a:pt x="128" y="179"/>
                  </a:lnTo>
                  <a:lnTo>
                    <a:pt x="125" y="177"/>
                  </a:lnTo>
                  <a:lnTo>
                    <a:pt x="125" y="174"/>
                  </a:lnTo>
                  <a:lnTo>
                    <a:pt x="122" y="171"/>
                  </a:lnTo>
                  <a:lnTo>
                    <a:pt x="122" y="169"/>
                  </a:lnTo>
                  <a:lnTo>
                    <a:pt x="122" y="166"/>
                  </a:lnTo>
                  <a:lnTo>
                    <a:pt x="122" y="164"/>
                  </a:lnTo>
                  <a:lnTo>
                    <a:pt x="122" y="161"/>
                  </a:lnTo>
                  <a:lnTo>
                    <a:pt x="120" y="159"/>
                  </a:lnTo>
                  <a:lnTo>
                    <a:pt x="120" y="156"/>
                  </a:lnTo>
                  <a:lnTo>
                    <a:pt x="120" y="154"/>
                  </a:lnTo>
                  <a:lnTo>
                    <a:pt x="122" y="151"/>
                  </a:lnTo>
                  <a:lnTo>
                    <a:pt x="122" y="148"/>
                  </a:lnTo>
                  <a:lnTo>
                    <a:pt x="122" y="143"/>
                  </a:lnTo>
                  <a:lnTo>
                    <a:pt x="122" y="141"/>
                  </a:lnTo>
                  <a:lnTo>
                    <a:pt x="122" y="138"/>
                  </a:lnTo>
                  <a:lnTo>
                    <a:pt x="125" y="136"/>
                  </a:lnTo>
                  <a:lnTo>
                    <a:pt x="125" y="133"/>
                  </a:lnTo>
                  <a:lnTo>
                    <a:pt x="128" y="130"/>
                  </a:lnTo>
                  <a:lnTo>
                    <a:pt x="128" y="128"/>
                  </a:lnTo>
                  <a:lnTo>
                    <a:pt x="130" y="128"/>
                  </a:lnTo>
                  <a:lnTo>
                    <a:pt x="130" y="125"/>
                  </a:lnTo>
                  <a:lnTo>
                    <a:pt x="133" y="123"/>
                  </a:lnTo>
                  <a:lnTo>
                    <a:pt x="133" y="120"/>
                  </a:lnTo>
                  <a:lnTo>
                    <a:pt x="135" y="118"/>
                  </a:lnTo>
                  <a:lnTo>
                    <a:pt x="138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3" y="110"/>
                  </a:lnTo>
                  <a:lnTo>
                    <a:pt x="146" y="110"/>
                  </a:lnTo>
                  <a:lnTo>
                    <a:pt x="148" y="107"/>
                  </a:lnTo>
                  <a:lnTo>
                    <a:pt x="151" y="107"/>
                  </a:lnTo>
                  <a:lnTo>
                    <a:pt x="153" y="105"/>
                  </a:lnTo>
                  <a:lnTo>
                    <a:pt x="156" y="105"/>
                  </a:lnTo>
                  <a:lnTo>
                    <a:pt x="158" y="102"/>
                  </a:lnTo>
                  <a:lnTo>
                    <a:pt x="161" y="102"/>
                  </a:lnTo>
                  <a:lnTo>
                    <a:pt x="163" y="102"/>
                  </a:lnTo>
                  <a:lnTo>
                    <a:pt x="166" y="102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4" y="100"/>
                  </a:lnTo>
                  <a:lnTo>
                    <a:pt x="176" y="100"/>
                  </a:lnTo>
                  <a:lnTo>
                    <a:pt x="179" y="100"/>
                  </a:lnTo>
                  <a:lnTo>
                    <a:pt x="181" y="100"/>
                  </a:lnTo>
                  <a:lnTo>
                    <a:pt x="184" y="100"/>
                  </a:lnTo>
                  <a:lnTo>
                    <a:pt x="187" y="102"/>
                  </a:lnTo>
                  <a:lnTo>
                    <a:pt x="189" y="102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7" y="105"/>
                  </a:lnTo>
                  <a:lnTo>
                    <a:pt x="199" y="105"/>
                  </a:lnTo>
                  <a:lnTo>
                    <a:pt x="202" y="107"/>
                  </a:lnTo>
                  <a:lnTo>
                    <a:pt x="204" y="107"/>
                  </a:lnTo>
                  <a:lnTo>
                    <a:pt x="207" y="110"/>
                  </a:lnTo>
                  <a:lnTo>
                    <a:pt x="210" y="110"/>
                  </a:lnTo>
                  <a:lnTo>
                    <a:pt x="212" y="113"/>
                  </a:lnTo>
                  <a:lnTo>
                    <a:pt x="212" y="115"/>
                  </a:lnTo>
                  <a:lnTo>
                    <a:pt x="215" y="115"/>
                  </a:lnTo>
                  <a:lnTo>
                    <a:pt x="217" y="118"/>
                  </a:lnTo>
                  <a:lnTo>
                    <a:pt x="220" y="120"/>
                  </a:lnTo>
                  <a:lnTo>
                    <a:pt x="220" y="123"/>
                  </a:lnTo>
                  <a:lnTo>
                    <a:pt x="222" y="125"/>
                  </a:lnTo>
                  <a:lnTo>
                    <a:pt x="222" y="128"/>
                  </a:lnTo>
                  <a:lnTo>
                    <a:pt x="225" y="128"/>
                  </a:lnTo>
                  <a:lnTo>
                    <a:pt x="225" y="130"/>
                  </a:lnTo>
                  <a:lnTo>
                    <a:pt x="227" y="133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30" y="141"/>
                  </a:lnTo>
                  <a:lnTo>
                    <a:pt x="230" y="143"/>
                  </a:lnTo>
                  <a:lnTo>
                    <a:pt x="230" y="148"/>
                  </a:lnTo>
                  <a:lnTo>
                    <a:pt x="230" y="151"/>
                  </a:lnTo>
                  <a:lnTo>
                    <a:pt x="230" y="154"/>
                  </a:lnTo>
                  <a:lnTo>
                    <a:pt x="230" y="156"/>
                  </a:lnTo>
                  <a:lnTo>
                    <a:pt x="230" y="159"/>
                  </a:lnTo>
                  <a:lnTo>
                    <a:pt x="230" y="161"/>
                  </a:lnTo>
                  <a:lnTo>
                    <a:pt x="230" y="164"/>
                  </a:lnTo>
                  <a:lnTo>
                    <a:pt x="230" y="166"/>
                  </a:lnTo>
                  <a:lnTo>
                    <a:pt x="230" y="169"/>
                  </a:lnTo>
                  <a:lnTo>
                    <a:pt x="227" y="171"/>
                  </a:lnTo>
                  <a:lnTo>
                    <a:pt x="227" y="174"/>
                  </a:lnTo>
                  <a:lnTo>
                    <a:pt x="227" y="177"/>
                  </a:lnTo>
                  <a:lnTo>
                    <a:pt x="225" y="179"/>
                  </a:lnTo>
                  <a:lnTo>
                    <a:pt x="225" y="182"/>
                  </a:lnTo>
                  <a:lnTo>
                    <a:pt x="222" y="184"/>
                  </a:lnTo>
                  <a:lnTo>
                    <a:pt x="222" y="187"/>
                  </a:lnTo>
                  <a:lnTo>
                    <a:pt x="220" y="189"/>
                  </a:lnTo>
                  <a:lnTo>
                    <a:pt x="220" y="192"/>
                  </a:lnTo>
                  <a:lnTo>
                    <a:pt x="217" y="192"/>
                  </a:lnTo>
                  <a:lnTo>
                    <a:pt x="215" y="195"/>
                  </a:lnTo>
                  <a:lnTo>
                    <a:pt x="212" y="197"/>
                  </a:lnTo>
                  <a:lnTo>
                    <a:pt x="212" y="200"/>
                  </a:lnTo>
                  <a:lnTo>
                    <a:pt x="210" y="200"/>
                  </a:lnTo>
                  <a:lnTo>
                    <a:pt x="207" y="202"/>
                  </a:lnTo>
                  <a:lnTo>
                    <a:pt x="204" y="202"/>
                  </a:lnTo>
                  <a:lnTo>
                    <a:pt x="202" y="205"/>
                  </a:lnTo>
                  <a:lnTo>
                    <a:pt x="199" y="205"/>
                  </a:lnTo>
                  <a:lnTo>
                    <a:pt x="197" y="207"/>
                  </a:lnTo>
                  <a:lnTo>
                    <a:pt x="194" y="207"/>
                  </a:lnTo>
                  <a:lnTo>
                    <a:pt x="192" y="210"/>
                  </a:lnTo>
                  <a:lnTo>
                    <a:pt x="189" y="210"/>
                  </a:lnTo>
                  <a:lnTo>
                    <a:pt x="187" y="210"/>
                  </a:lnTo>
                  <a:lnTo>
                    <a:pt x="184" y="210"/>
                  </a:lnTo>
                  <a:lnTo>
                    <a:pt x="181" y="210"/>
                  </a:lnTo>
                  <a:lnTo>
                    <a:pt x="179" y="212"/>
                  </a:lnTo>
                  <a:lnTo>
                    <a:pt x="176" y="212"/>
                  </a:lnTo>
                  <a:lnTo>
                    <a:pt x="174" y="212"/>
                  </a:lnTo>
                  <a:close/>
                  <a:moveTo>
                    <a:pt x="174" y="87"/>
                  </a:moveTo>
                  <a:lnTo>
                    <a:pt x="169" y="87"/>
                  </a:lnTo>
                  <a:lnTo>
                    <a:pt x="166" y="90"/>
                  </a:lnTo>
                  <a:lnTo>
                    <a:pt x="163" y="90"/>
                  </a:lnTo>
                  <a:lnTo>
                    <a:pt x="158" y="90"/>
                  </a:lnTo>
                  <a:lnTo>
                    <a:pt x="156" y="90"/>
                  </a:lnTo>
                  <a:lnTo>
                    <a:pt x="153" y="92"/>
                  </a:lnTo>
                  <a:lnTo>
                    <a:pt x="151" y="92"/>
                  </a:lnTo>
                  <a:lnTo>
                    <a:pt x="148" y="95"/>
                  </a:lnTo>
                  <a:lnTo>
                    <a:pt x="143" y="95"/>
                  </a:lnTo>
                  <a:lnTo>
                    <a:pt x="140" y="97"/>
                  </a:lnTo>
                  <a:lnTo>
                    <a:pt x="138" y="100"/>
                  </a:lnTo>
                  <a:lnTo>
                    <a:pt x="135" y="102"/>
                  </a:lnTo>
                  <a:lnTo>
                    <a:pt x="133" y="102"/>
                  </a:lnTo>
                  <a:lnTo>
                    <a:pt x="130" y="105"/>
                  </a:lnTo>
                  <a:lnTo>
                    <a:pt x="128" y="107"/>
                  </a:lnTo>
                  <a:lnTo>
                    <a:pt x="125" y="110"/>
                  </a:lnTo>
                  <a:lnTo>
                    <a:pt x="125" y="113"/>
                  </a:lnTo>
                  <a:lnTo>
                    <a:pt x="122" y="115"/>
                  </a:lnTo>
                  <a:lnTo>
                    <a:pt x="120" y="118"/>
                  </a:lnTo>
                  <a:lnTo>
                    <a:pt x="117" y="120"/>
                  </a:lnTo>
                  <a:lnTo>
                    <a:pt x="117" y="123"/>
                  </a:lnTo>
                  <a:lnTo>
                    <a:pt x="115" y="125"/>
                  </a:lnTo>
                  <a:lnTo>
                    <a:pt x="115" y="128"/>
                  </a:lnTo>
                  <a:lnTo>
                    <a:pt x="112" y="133"/>
                  </a:lnTo>
                  <a:lnTo>
                    <a:pt x="112" y="136"/>
                  </a:lnTo>
                  <a:lnTo>
                    <a:pt x="110" y="138"/>
                  </a:lnTo>
                  <a:lnTo>
                    <a:pt x="110" y="141"/>
                  </a:lnTo>
                  <a:lnTo>
                    <a:pt x="110" y="146"/>
                  </a:lnTo>
                  <a:lnTo>
                    <a:pt x="110" y="148"/>
                  </a:lnTo>
                  <a:lnTo>
                    <a:pt x="110" y="151"/>
                  </a:lnTo>
                  <a:lnTo>
                    <a:pt x="110" y="156"/>
                  </a:lnTo>
                  <a:lnTo>
                    <a:pt x="110" y="159"/>
                  </a:lnTo>
                  <a:lnTo>
                    <a:pt x="110" y="164"/>
                  </a:lnTo>
                  <a:lnTo>
                    <a:pt x="110" y="166"/>
                  </a:lnTo>
                  <a:lnTo>
                    <a:pt x="110" y="169"/>
                  </a:lnTo>
                  <a:lnTo>
                    <a:pt x="110" y="171"/>
                  </a:lnTo>
                  <a:lnTo>
                    <a:pt x="112" y="177"/>
                  </a:lnTo>
                  <a:lnTo>
                    <a:pt x="112" y="179"/>
                  </a:lnTo>
                  <a:lnTo>
                    <a:pt x="115" y="182"/>
                  </a:lnTo>
                  <a:lnTo>
                    <a:pt x="115" y="184"/>
                  </a:lnTo>
                  <a:lnTo>
                    <a:pt x="117" y="187"/>
                  </a:lnTo>
                  <a:lnTo>
                    <a:pt x="117" y="192"/>
                  </a:lnTo>
                  <a:lnTo>
                    <a:pt x="120" y="195"/>
                  </a:lnTo>
                  <a:lnTo>
                    <a:pt x="122" y="197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8" y="205"/>
                  </a:lnTo>
                  <a:lnTo>
                    <a:pt x="130" y="207"/>
                  </a:lnTo>
                  <a:lnTo>
                    <a:pt x="133" y="207"/>
                  </a:lnTo>
                  <a:lnTo>
                    <a:pt x="135" y="210"/>
                  </a:lnTo>
                  <a:lnTo>
                    <a:pt x="138" y="212"/>
                  </a:lnTo>
                  <a:lnTo>
                    <a:pt x="140" y="215"/>
                  </a:lnTo>
                  <a:lnTo>
                    <a:pt x="143" y="215"/>
                  </a:lnTo>
                  <a:lnTo>
                    <a:pt x="148" y="218"/>
                  </a:lnTo>
                  <a:lnTo>
                    <a:pt x="151" y="218"/>
                  </a:lnTo>
                  <a:lnTo>
                    <a:pt x="153" y="220"/>
                  </a:lnTo>
                  <a:lnTo>
                    <a:pt x="156" y="220"/>
                  </a:lnTo>
                  <a:lnTo>
                    <a:pt x="158" y="223"/>
                  </a:lnTo>
                  <a:lnTo>
                    <a:pt x="163" y="223"/>
                  </a:lnTo>
                  <a:lnTo>
                    <a:pt x="166" y="223"/>
                  </a:lnTo>
                  <a:lnTo>
                    <a:pt x="169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9" y="223"/>
                  </a:lnTo>
                  <a:lnTo>
                    <a:pt x="181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7" y="223"/>
                  </a:lnTo>
                  <a:lnTo>
                    <a:pt x="189" y="223"/>
                  </a:lnTo>
                  <a:lnTo>
                    <a:pt x="192" y="223"/>
                  </a:lnTo>
                  <a:lnTo>
                    <a:pt x="194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9" y="220"/>
                  </a:lnTo>
                  <a:lnTo>
                    <a:pt x="202" y="218"/>
                  </a:lnTo>
                  <a:lnTo>
                    <a:pt x="204" y="218"/>
                  </a:lnTo>
                  <a:lnTo>
                    <a:pt x="207" y="218"/>
                  </a:lnTo>
                  <a:lnTo>
                    <a:pt x="207" y="215"/>
                  </a:lnTo>
                  <a:lnTo>
                    <a:pt x="210" y="215"/>
                  </a:lnTo>
                  <a:lnTo>
                    <a:pt x="212" y="212"/>
                  </a:lnTo>
                  <a:lnTo>
                    <a:pt x="266" y="271"/>
                  </a:lnTo>
                  <a:lnTo>
                    <a:pt x="266" y="271"/>
                  </a:lnTo>
                  <a:lnTo>
                    <a:pt x="268" y="274"/>
                  </a:lnTo>
                  <a:lnTo>
                    <a:pt x="268" y="274"/>
                  </a:lnTo>
                  <a:lnTo>
                    <a:pt x="271" y="274"/>
                  </a:lnTo>
                  <a:lnTo>
                    <a:pt x="271" y="274"/>
                  </a:lnTo>
                  <a:lnTo>
                    <a:pt x="274" y="274"/>
                  </a:lnTo>
                  <a:lnTo>
                    <a:pt x="274" y="276"/>
                  </a:lnTo>
                  <a:lnTo>
                    <a:pt x="276" y="276"/>
                  </a:lnTo>
                  <a:lnTo>
                    <a:pt x="276" y="276"/>
                  </a:lnTo>
                  <a:lnTo>
                    <a:pt x="279" y="276"/>
                  </a:lnTo>
                  <a:lnTo>
                    <a:pt x="279" y="276"/>
                  </a:lnTo>
                  <a:lnTo>
                    <a:pt x="281" y="274"/>
                  </a:lnTo>
                  <a:lnTo>
                    <a:pt x="281" y="274"/>
                  </a:lnTo>
                  <a:lnTo>
                    <a:pt x="284" y="274"/>
                  </a:lnTo>
                  <a:lnTo>
                    <a:pt x="284" y="274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97" y="261"/>
                  </a:lnTo>
                  <a:lnTo>
                    <a:pt x="297" y="261"/>
                  </a:lnTo>
                  <a:lnTo>
                    <a:pt x="299" y="259"/>
                  </a:lnTo>
                  <a:lnTo>
                    <a:pt x="299" y="259"/>
                  </a:lnTo>
                  <a:lnTo>
                    <a:pt x="299" y="256"/>
                  </a:lnTo>
                  <a:lnTo>
                    <a:pt x="299" y="256"/>
                  </a:lnTo>
                  <a:lnTo>
                    <a:pt x="302" y="253"/>
                  </a:lnTo>
                  <a:lnTo>
                    <a:pt x="302" y="251"/>
                  </a:lnTo>
                  <a:lnTo>
                    <a:pt x="302" y="251"/>
                  </a:lnTo>
                  <a:lnTo>
                    <a:pt x="302" y="248"/>
                  </a:lnTo>
                  <a:lnTo>
                    <a:pt x="302" y="248"/>
                  </a:lnTo>
                  <a:lnTo>
                    <a:pt x="299" y="246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1"/>
                  </a:lnTo>
                  <a:lnTo>
                    <a:pt x="297" y="241"/>
                  </a:lnTo>
                  <a:lnTo>
                    <a:pt x="297" y="238"/>
                  </a:lnTo>
                  <a:lnTo>
                    <a:pt x="238" y="184"/>
                  </a:lnTo>
                  <a:lnTo>
                    <a:pt x="238" y="182"/>
                  </a:lnTo>
                  <a:lnTo>
                    <a:pt x="240" y="179"/>
                  </a:lnTo>
                  <a:lnTo>
                    <a:pt x="240" y="177"/>
                  </a:lnTo>
                  <a:lnTo>
                    <a:pt x="240" y="171"/>
                  </a:lnTo>
                  <a:lnTo>
                    <a:pt x="243" y="169"/>
                  </a:lnTo>
                  <a:lnTo>
                    <a:pt x="243" y="166"/>
                  </a:lnTo>
                  <a:lnTo>
                    <a:pt x="243" y="161"/>
                  </a:lnTo>
                  <a:lnTo>
                    <a:pt x="243" y="159"/>
                  </a:lnTo>
                  <a:lnTo>
                    <a:pt x="243" y="156"/>
                  </a:lnTo>
                  <a:lnTo>
                    <a:pt x="243" y="151"/>
                  </a:lnTo>
                  <a:lnTo>
                    <a:pt x="243" y="148"/>
                  </a:lnTo>
                  <a:lnTo>
                    <a:pt x="243" y="146"/>
                  </a:lnTo>
                  <a:lnTo>
                    <a:pt x="243" y="141"/>
                  </a:lnTo>
                  <a:lnTo>
                    <a:pt x="240" y="138"/>
                  </a:lnTo>
                  <a:lnTo>
                    <a:pt x="240" y="136"/>
                  </a:lnTo>
                  <a:lnTo>
                    <a:pt x="240" y="133"/>
                  </a:lnTo>
                  <a:lnTo>
                    <a:pt x="238" y="128"/>
                  </a:lnTo>
                  <a:lnTo>
                    <a:pt x="238" y="125"/>
                  </a:lnTo>
                  <a:lnTo>
                    <a:pt x="235" y="123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0" y="115"/>
                  </a:lnTo>
                  <a:lnTo>
                    <a:pt x="227" y="113"/>
                  </a:lnTo>
                  <a:lnTo>
                    <a:pt x="225" y="110"/>
                  </a:lnTo>
                  <a:lnTo>
                    <a:pt x="225" y="107"/>
                  </a:lnTo>
                  <a:lnTo>
                    <a:pt x="222" y="105"/>
                  </a:lnTo>
                  <a:lnTo>
                    <a:pt x="220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2" y="97"/>
                  </a:lnTo>
                  <a:lnTo>
                    <a:pt x="207" y="95"/>
                  </a:lnTo>
                  <a:lnTo>
                    <a:pt x="204" y="95"/>
                  </a:lnTo>
                  <a:lnTo>
                    <a:pt x="202" y="92"/>
                  </a:lnTo>
                  <a:lnTo>
                    <a:pt x="199" y="92"/>
                  </a:lnTo>
                  <a:lnTo>
                    <a:pt x="197" y="90"/>
                  </a:lnTo>
                  <a:lnTo>
                    <a:pt x="194" y="90"/>
                  </a:lnTo>
                  <a:lnTo>
                    <a:pt x="189" y="90"/>
                  </a:lnTo>
                  <a:lnTo>
                    <a:pt x="187" y="90"/>
                  </a:lnTo>
                  <a:lnTo>
                    <a:pt x="184" y="87"/>
                  </a:lnTo>
                  <a:lnTo>
                    <a:pt x="179" y="87"/>
                  </a:lnTo>
                  <a:lnTo>
                    <a:pt x="176" y="87"/>
                  </a:lnTo>
                  <a:lnTo>
                    <a:pt x="174" y="87"/>
                  </a:lnTo>
                  <a:close/>
                  <a:moveTo>
                    <a:pt x="12" y="64"/>
                  </a:moveTo>
                  <a:lnTo>
                    <a:pt x="12" y="64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5" y="59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6" y="18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61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1" y="69"/>
                  </a:lnTo>
                  <a:lnTo>
                    <a:pt x="12" y="69"/>
                  </a:lnTo>
                  <a:lnTo>
                    <a:pt x="12" y="64"/>
                  </a:lnTo>
                  <a:close/>
                  <a:moveTo>
                    <a:pt x="66" y="0"/>
                  </a:moveTo>
                  <a:lnTo>
                    <a:pt x="64" y="0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3" y="2"/>
                  </a:lnTo>
                  <a:lnTo>
                    <a:pt x="53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12" y="38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5" y="51"/>
                  </a:lnTo>
                  <a:lnTo>
                    <a:pt x="2" y="51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0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9"/>
                  </a:lnTo>
                  <a:lnTo>
                    <a:pt x="2" y="261"/>
                  </a:lnTo>
                  <a:lnTo>
                    <a:pt x="5" y="261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10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20" y="269"/>
                  </a:lnTo>
                  <a:lnTo>
                    <a:pt x="194" y="269"/>
                  </a:lnTo>
                  <a:lnTo>
                    <a:pt x="197" y="269"/>
                  </a:lnTo>
                  <a:lnTo>
                    <a:pt x="197" y="269"/>
                  </a:lnTo>
                  <a:lnTo>
                    <a:pt x="199" y="269"/>
                  </a:lnTo>
                  <a:lnTo>
                    <a:pt x="199" y="269"/>
                  </a:lnTo>
                  <a:lnTo>
                    <a:pt x="199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4" y="269"/>
                  </a:lnTo>
                  <a:lnTo>
                    <a:pt x="204" y="266"/>
                  </a:lnTo>
                  <a:lnTo>
                    <a:pt x="207" y="266"/>
                  </a:lnTo>
                  <a:lnTo>
                    <a:pt x="210" y="264"/>
                  </a:lnTo>
                  <a:lnTo>
                    <a:pt x="210" y="264"/>
                  </a:lnTo>
                  <a:lnTo>
                    <a:pt x="210" y="261"/>
                  </a:lnTo>
                  <a:lnTo>
                    <a:pt x="212" y="261"/>
                  </a:lnTo>
                  <a:lnTo>
                    <a:pt x="212" y="259"/>
                  </a:lnTo>
                  <a:lnTo>
                    <a:pt x="212" y="259"/>
                  </a:lnTo>
                  <a:lnTo>
                    <a:pt x="212" y="256"/>
                  </a:lnTo>
                  <a:lnTo>
                    <a:pt x="212" y="256"/>
                  </a:lnTo>
                  <a:lnTo>
                    <a:pt x="212" y="256"/>
                  </a:lnTo>
                  <a:lnTo>
                    <a:pt x="215" y="253"/>
                  </a:lnTo>
                  <a:lnTo>
                    <a:pt x="215" y="253"/>
                  </a:lnTo>
                  <a:lnTo>
                    <a:pt x="215" y="253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10" y="238"/>
                  </a:lnTo>
                  <a:lnTo>
                    <a:pt x="207" y="241"/>
                  </a:lnTo>
                  <a:lnTo>
                    <a:pt x="204" y="241"/>
                  </a:lnTo>
                  <a:lnTo>
                    <a:pt x="202" y="241"/>
                  </a:lnTo>
                  <a:lnTo>
                    <a:pt x="202" y="251"/>
                  </a:lnTo>
                  <a:lnTo>
                    <a:pt x="202" y="251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199" y="253"/>
                  </a:lnTo>
                  <a:lnTo>
                    <a:pt x="199" y="256"/>
                  </a:lnTo>
                  <a:lnTo>
                    <a:pt x="199" y="256"/>
                  </a:lnTo>
                  <a:lnTo>
                    <a:pt x="199" y="256"/>
                  </a:lnTo>
                  <a:lnTo>
                    <a:pt x="199" y="256"/>
                  </a:lnTo>
                  <a:lnTo>
                    <a:pt x="199" y="256"/>
                  </a:lnTo>
                  <a:lnTo>
                    <a:pt x="199" y="256"/>
                  </a:lnTo>
                  <a:lnTo>
                    <a:pt x="197" y="256"/>
                  </a:lnTo>
                  <a:lnTo>
                    <a:pt x="197" y="256"/>
                  </a:lnTo>
                  <a:lnTo>
                    <a:pt x="197" y="259"/>
                  </a:lnTo>
                  <a:lnTo>
                    <a:pt x="197" y="259"/>
                  </a:lnTo>
                  <a:lnTo>
                    <a:pt x="194" y="259"/>
                  </a:lnTo>
                  <a:lnTo>
                    <a:pt x="20" y="259"/>
                  </a:lnTo>
                  <a:lnTo>
                    <a:pt x="18" y="259"/>
                  </a:lnTo>
                  <a:lnTo>
                    <a:pt x="18" y="259"/>
                  </a:lnTo>
                  <a:lnTo>
                    <a:pt x="18" y="256"/>
                  </a:lnTo>
                  <a:lnTo>
                    <a:pt x="18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82" y="82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82" y="79"/>
                  </a:lnTo>
                  <a:lnTo>
                    <a:pt x="84" y="79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4"/>
                  </a:lnTo>
                  <a:lnTo>
                    <a:pt x="84" y="13"/>
                  </a:lnTo>
                  <a:lnTo>
                    <a:pt x="194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2" y="20"/>
                  </a:lnTo>
                  <a:lnTo>
                    <a:pt x="202" y="69"/>
                  </a:lnTo>
                  <a:lnTo>
                    <a:pt x="204" y="72"/>
                  </a:lnTo>
                  <a:lnTo>
                    <a:pt x="207" y="72"/>
                  </a:lnTo>
                  <a:lnTo>
                    <a:pt x="210" y="74"/>
                  </a:lnTo>
                  <a:lnTo>
                    <a:pt x="215" y="74"/>
                  </a:lnTo>
                  <a:lnTo>
                    <a:pt x="215" y="20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5"/>
                  </a:lnTo>
                  <a:lnTo>
                    <a:pt x="212" y="15"/>
                  </a:lnTo>
                  <a:lnTo>
                    <a:pt x="212" y="15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0"/>
                  </a:lnTo>
                  <a:lnTo>
                    <a:pt x="210" y="10"/>
                  </a:lnTo>
                  <a:lnTo>
                    <a:pt x="210" y="8"/>
                  </a:lnTo>
                  <a:lnTo>
                    <a:pt x="210" y="5"/>
                  </a:lnTo>
                  <a:lnTo>
                    <a:pt x="207" y="5"/>
                  </a:lnTo>
                  <a:lnTo>
                    <a:pt x="204" y="5"/>
                  </a:lnTo>
                  <a:lnTo>
                    <a:pt x="204" y="2"/>
                  </a:lnTo>
                  <a:lnTo>
                    <a:pt x="202" y="2"/>
                  </a:lnTo>
                  <a:lnTo>
                    <a:pt x="202" y="2"/>
                  </a:lnTo>
                  <a:lnTo>
                    <a:pt x="199" y="2"/>
                  </a:lnTo>
                  <a:lnTo>
                    <a:pt x="199" y="2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296">
            <a:extLst>
              <a:ext uri="{FF2B5EF4-FFF2-40B4-BE49-F238E27FC236}">
                <a16:creationId xmlns:a16="http://schemas.microsoft.com/office/drawing/2014/main" id="{42D67D58-AAFE-4910-9DF1-1FDB976364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7076" y="4100512"/>
            <a:ext cx="758825" cy="758825"/>
            <a:chOff x="3602" y="2701"/>
            <a:chExt cx="478" cy="478"/>
          </a:xfrm>
        </p:grpSpPr>
        <p:sp>
          <p:nvSpPr>
            <p:cNvPr id="328" name="AutoShape 295">
              <a:extLst>
                <a:ext uri="{FF2B5EF4-FFF2-40B4-BE49-F238E27FC236}">
                  <a16:creationId xmlns:a16="http://schemas.microsoft.com/office/drawing/2014/main" id="{CA07125F-247A-41EB-81B9-CA75A6B0B9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02" y="27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97">
              <a:extLst>
                <a:ext uri="{FF2B5EF4-FFF2-40B4-BE49-F238E27FC236}">
                  <a16:creationId xmlns:a16="http://schemas.microsoft.com/office/drawing/2014/main" id="{FC965B31-895C-4C41-A746-8B499C3881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4" y="270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98">
              <a:extLst>
                <a:ext uri="{FF2B5EF4-FFF2-40B4-BE49-F238E27FC236}">
                  <a16:creationId xmlns:a16="http://schemas.microsoft.com/office/drawing/2014/main" id="{47EF7BCB-D12F-4872-A45F-D048FF7E7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0" y="2814"/>
              <a:ext cx="264" cy="255"/>
            </a:xfrm>
            <a:custGeom>
              <a:avLst/>
              <a:gdLst>
                <a:gd name="T0" fmla="*/ 81 w 264"/>
                <a:gd name="T1" fmla="*/ 83 h 255"/>
                <a:gd name="T2" fmla="*/ 83 w 264"/>
                <a:gd name="T3" fmla="*/ 83 h 255"/>
                <a:gd name="T4" fmla="*/ 85 w 264"/>
                <a:gd name="T5" fmla="*/ 81 h 255"/>
                <a:gd name="T6" fmla="*/ 105 w 264"/>
                <a:gd name="T7" fmla="*/ 135 h 255"/>
                <a:gd name="T8" fmla="*/ 174 w 264"/>
                <a:gd name="T9" fmla="*/ 159 h 255"/>
                <a:gd name="T10" fmla="*/ 193 w 264"/>
                <a:gd name="T11" fmla="*/ 37 h 255"/>
                <a:gd name="T12" fmla="*/ 203 w 264"/>
                <a:gd name="T13" fmla="*/ 32 h 255"/>
                <a:gd name="T14" fmla="*/ 213 w 264"/>
                <a:gd name="T15" fmla="*/ 29 h 255"/>
                <a:gd name="T16" fmla="*/ 220 w 264"/>
                <a:gd name="T17" fmla="*/ 29 h 255"/>
                <a:gd name="T18" fmla="*/ 230 w 264"/>
                <a:gd name="T19" fmla="*/ 32 h 255"/>
                <a:gd name="T20" fmla="*/ 237 w 264"/>
                <a:gd name="T21" fmla="*/ 37 h 255"/>
                <a:gd name="T22" fmla="*/ 250 w 264"/>
                <a:gd name="T23" fmla="*/ 51 h 255"/>
                <a:gd name="T24" fmla="*/ 252 w 264"/>
                <a:gd name="T25" fmla="*/ 61 h 255"/>
                <a:gd name="T26" fmla="*/ 252 w 264"/>
                <a:gd name="T27" fmla="*/ 71 h 255"/>
                <a:gd name="T28" fmla="*/ 247 w 264"/>
                <a:gd name="T29" fmla="*/ 78 h 255"/>
                <a:gd name="T30" fmla="*/ 242 w 264"/>
                <a:gd name="T31" fmla="*/ 86 h 255"/>
                <a:gd name="T32" fmla="*/ 213 w 264"/>
                <a:gd name="T33" fmla="*/ 17 h 255"/>
                <a:gd name="T34" fmla="*/ 203 w 264"/>
                <a:gd name="T35" fmla="*/ 17 h 255"/>
                <a:gd name="T36" fmla="*/ 196 w 264"/>
                <a:gd name="T37" fmla="*/ 22 h 255"/>
                <a:gd name="T38" fmla="*/ 186 w 264"/>
                <a:gd name="T39" fmla="*/ 24 h 255"/>
                <a:gd name="T40" fmla="*/ 181 w 264"/>
                <a:gd name="T41" fmla="*/ 19 h 255"/>
                <a:gd name="T42" fmla="*/ 174 w 264"/>
                <a:gd name="T43" fmla="*/ 17 h 255"/>
                <a:gd name="T44" fmla="*/ 164 w 264"/>
                <a:gd name="T45" fmla="*/ 19 h 255"/>
                <a:gd name="T46" fmla="*/ 154 w 264"/>
                <a:gd name="T47" fmla="*/ 24 h 255"/>
                <a:gd name="T48" fmla="*/ 122 w 264"/>
                <a:gd name="T49" fmla="*/ 59 h 255"/>
                <a:gd name="T50" fmla="*/ 159 w 264"/>
                <a:gd name="T51" fmla="*/ 37 h 255"/>
                <a:gd name="T52" fmla="*/ 164 w 264"/>
                <a:gd name="T53" fmla="*/ 32 h 255"/>
                <a:gd name="T54" fmla="*/ 171 w 264"/>
                <a:gd name="T55" fmla="*/ 29 h 255"/>
                <a:gd name="T56" fmla="*/ 176 w 264"/>
                <a:gd name="T57" fmla="*/ 32 h 255"/>
                <a:gd name="T58" fmla="*/ 98 w 264"/>
                <a:gd name="T59" fmla="*/ 117 h 255"/>
                <a:gd name="T60" fmla="*/ 81 w 264"/>
                <a:gd name="T61" fmla="*/ 196 h 255"/>
                <a:gd name="T62" fmla="*/ 81 w 264"/>
                <a:gd name="T63" fmla="*/ 198 h 255"/>
                <a:gd name="T64" fmla="*/ 83 w 264"/>
                <a:gd name="T65" fmla="*/ 201 h 255"/>
                <a:gd name="T66" fmla="*/ 88 w 264"/>
                <a:gd name="T67" fmla="*/ 201 h 255"/>
                <a:gd name="T68" fmla="*/ 164 w 264"/>
                <a:gd name="T69" fmla="*/ 184 h 255"/>
                <a:gd name="T70" fmla="*/ 252 w 264"/>
                <a:gd name="T71" fmla="*/ 95 h 255"/>
                <a:gd name="T72" fmla="*/ 260 w 264"/>
                <a:gd name="T73" fmla="*/ 83 h 255"/>
                <a:gd name="T74" fmla="*/ 262 w 264"/>
                <a:gd name="T75" fmla="*/ 71 h 255"/>
                <a:gd name="T76" fmla="*/ 262 w 264"/>
                <a:gd name="T77" fmla="*/ 59 h 255"/>
                <a:gd name="T78" fmla="*/ 260 w 264"/>
                <a:gd name="T79" fmla="*/ 46 h 255"/>
                <a:gd name="T80" fmla="*/ 252 w 264"/>
                <a:gd name="T81" fmla="*/ 37 h 255"/>
                <a:gd name="T82" fmla="*/ 237 w 264"/>
                <a:gd name="T83" fmla="*/ 22 h 255"/>
                <a:gd name="T84" fmla="*/ 225 w 264"/>
                <a:gd name="T85" fmla="*/ 17 h 255"/>
                <a:gd name="T86" fmla="*/ 213 w 264"/>
                <a:gd name="T87" fmla="*/ 17 h 255"/>
                <a:gd name="T88" fmla="*/ 68 w 264"/>
                <a:gd name="T89" fmla="*/ 2 h 255"/>
                <a:gd name="T90" fmla="*/ 5 w 264"/>
                <a:gd name="T91" fmla="*/ 59 h 255"/>
                <a:gd name="T92" fmla="*/ 2 w 264"/>
                <a:gd name="T93" fmla="*/ 61 h 255"/>
                <a:gd name="T94" fmla="*/ 0 w 264"/>
                <a:gd name="T95" fmla="*/ 66 h 255"/>
                <a:gd name="T96" fmla="*/ 2 w 264"/>
                <a:gd name="T97" fmla="*/ 242 h 255"/>
                <a:gd name="T98" fmla="*/ 7 w 264"/>
                <a:gd name="T99" fmla="*/ 250 h 255"/>
                <a:gd name="T100" fmla="*/ 14 w 264"/>
                <a:gd name="T101" fmla="*/ 255 h 255"/>
                <a:gd name="T102" fmla="*/ 201 w 264"/>
                <a:gd name="T103" fmla="*/ 252 h 255"/>
                <a:gd name="T104" fmla="*/ 208 w 264"/>
                <a:gd name="T105" fmla="*/ 247 h 255"/>
                <a:gd name="T106" fmla="*/ 210 w 264"/>
                <a:gd name="T107" fmla="*/ 238 h 255"/>
                <a:gd name="T108" fmla="*/ 198 w 264"/>
                <a:gd name="T109" fmla="*/ 240 h 255"/>
                <a:gd name="T110" fmla="*/ 17 w 264"/>
                <a:gd name="T111" fmla="*/ 242 h 255"/>
                <a:gd name="T112" fmla="*/ 12 w 264"/>
                <a:gd name="T113" fmla="*/ 240 h 255"/>
                <a:gd name="T114" fmla="*/ 12 w 264"/>
                <a:gd name="T115" fmla="*/ 68 h 255"/>
                <a:gd name="T116" fmla="*/ 71 w 264"/>
                <a:gd name="T117" fmla="*/ 12 h 255"/>
                <a:gd name="T118" fmla="*/ 130 w 264"/>
                <a:gd name="T119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4" h="255">
                  <a:moveTo>
                    <a:pt x="73" y="29"/>
                  </a:moveTo>
                  <a:lnTo>
                    <a:pt x="73" y="71"/>
                  </a:lnTo>
                  <a:lnTo>
                    <a:pt x="29" y="71"/>
                  </a:lnTo>
                  <a:lnTo>
                    <a:pt x="29" y="83"/>
                  </a:lnTo>
                  <a:lnTo>
                    <a:pt x="78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78"/>
                  </a:lnTo>
                  <a:lnTo>
                    <a:pt x="85" y="78"/>
                  </a:lnTo>
                  <a:lnTo>
                    <a:pt x="85" y="78"/>
                  </a:lnTo>
                  <a:lnTo>
                    <a:pt x="85" y="29"/>
                  </a:lnTo>
                  <a:lnTo>
                    <a:pt x="73" y="29"/>
                  </a:lnTo>
                  <a:close/>
                  <a:moveTo>
                    <a:pt x="105" y="135"/>
                  </a:moveTo>
                  <a:lnTo>
                    <a:pt x="149" y="176"/>
                  </a:lnTo>
                  <a:lnTo>
                    <a:pt x="95" y="189"/>
                  </a:lnTo>
                  <a:lnTo>
                    <a:pt x="105" y="135"/>
                  </a:lnTo>
                  <a:close/>
                  <a:moveTo>
                    <a:pt x="110" y="122"/>
                  </a:moveTo>
                  <a:lnTo>
                    <a:pt x="125" y="108"/>
                  </a:lnTo>
                  <a:lnTo>
                    <a:pt x="174" y="159"/>
                  </a:lnTo>
                  <a:lnTo>
                    <a:pt x="161" y="171"/>
                  </a:lnTo>
                  <a:lnTo>
                    <a:pt x="110" y="122"/>
                  </a:lnTo>
                  <a:close/>
                  <a:moveTo>
                    <a:pt x="132" y="100"/>
                  </a:moveTo>
                  <a:lnTo>
                    <a:pt x="188" y="41"/>
                  </a:lnTo>
                  <a:lnTo>
                    <a:pt x="191" y="39"/>
                  </a:lnTo>
                  <a:lnTo>
                    <a:pt x="193" y="37"/>
                  </a:lnTo>
                  <a:lnTo>
                    <a:pt x="193" y="37"/>
                  </a:lnTo>
                  <a:lnTo>
                    <a:pt x="196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201" y="32"/>
                  </a:lnTo>
                  <a:lnTo>
                    <a:pt x="203" y="32"/>
                  </a:lnTo>
                  <a:lnTo>
                    <a:pt x="203" y="32"/>
                  </a:lnTo>
                  <a:lnTo>
                    <a:pt x="206" y="29"/>
                  </a:lnTo>
                  <a:lnTo>
                    <a:pt x="208" y="29"/>
                  </a:lnTo>
                  <a:lnTo>
                    <a:pt x="208" y="29"/>
                  </a:lnTo>
                  <a:lnTo>
                    <a:pt x="210" y="29"/>
                  </a:lnTo>
                  <a:lnTo>
                    <a:pt x="213" y="29"/>
                  </a:lnTo>
                  <a:lnTo>
                    <a:pt x="213" y="29"/>
                  </a:lnTo>
                  <a:lnTo>
                    <a:pt x="215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20" y="29"/>
                  </a:lnTo>
                  <a:lnTo>
                    <a:pt x="220" y="29"/>
                  </a:lnTo>
                  <a:lnTo>
                    <a:pt x="223" y="29"/>
                  </a:lnTo>
                  <a:lnTo>
                    <a:pt x="223" y="29"/>
                  </a:lnTo>
                  <a:lnTo>
                    <a:pt x="225" y="29"/>
                  </a:lnTo>
                  <a:lnTo>
                    <a:pt x="228" y="32"/>
                  </a:lnTo>
                  <a:lnTo>
                    <a:pt x="228" y="32"/>
                  </a:lnTo>
                  <a:lnTo>
                    <a:pt x="230" y="32"/>
                  </a:lnTo>
                  <a:lnTo>
                    <a:pt x="230" y="32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7" y="37"/>
                  </a:lnTo>
                  <a:lnTo>
                    <a:pt x="242" y="44"/>
                  </a:lnTo>
                  <a:lnTo>
                    <a:pt x="245" y="46"/>
                  </a:lnTo>
                  <a:lnTo>
                    <a:pt x="245" y="46"/>
                  </a:lnTo>
                  <a:lnTo>
                    <a:pt x="247" y="49"/>
                  </a:lnTo>
                  <a:lnTo>
                    <a:pt x="247" y="51"/>
                  </a:lnTo>
                  <a:lnTo>
                    <a:pt x="250" y="51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0" y="56"/>
                  </a:lnTo>
                  <a:lnTo>
                    <a:pt x="252" y="59"/>
                  </a:lnTo>
                  <a:lnTo>
                    <a:pt x="252" y="59"/>
                  </a:lnTo>
                  <a:lnTo>
                    <a:pt x="252" y="61"/>
                  </a:lnTo>
                  <a:lnTo>
                    <a:pt x="252" y="61"/>
                  </a:lnTo>
                  <a:lnTo>
                    <a:pt x="252" y="63"/>
                  </a:lnTo>
                  <a:lnTo>
                    <a:pt x="252" y="66"/>
                  </a:lnTo>
                  <a:lnTo>
                    <a:pt x="252" y="66"/>
                  </a:lnTo>
                  <a:lnTo>
                    <a:pt x="252" y="68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0" y="73"/>
                  </a:lnTo>
                  <a:lnTo>
                    <a:pt x="250" y="73"/>
                  </a:lnTo>
                  <a:lnTo>
                    <a:pt x="250" y="76"/>
                  </a:lnTo>
                  <a:lnTo>
                    <a:pt x="247" y="76"/>
                  </a:lnTo>
                  <a:lnTo>
                    <a:pt x="247" y="78"/>
                  </a:lnTo>
                  <a:lnTo>
                    <a:pt x="247" y="81"/>
                  </a:lnTo>
                  <a:lnTo>
                    <a:pt x="247" y="81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2" y="88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181" y="149"/>
                  </a:lnTo>
                  <a:lnTo>
                    <a:pt x="132" y="100"/>
                  </a:lnTo>
                  <a:close/>
                  <a:moveTo>
                    <a:pt x="213" y="17"/>
                  </a:moveTo>
                  <a:lnTo>
                    <a:pt x="213" y="17"/>
                  </a:lnTo>
                  <a:lnTo>
                    <a:pt x="210" y="17"/>
                  </a:lnTo>
                  <a:lnTo>
                    <a:pt x="208" y="17"/>
                  </a:lnTo>
                  <a:lnTo>
                    <a:pt x="208" y="17"/>
                  </a:lnTo>
                  <a:lnTo>
                    <a:pt x="206" y="17"/>
                  </a:lnTo>
                  <a:lnTo>
                    <a:pt x="203" y="17"/>
                  </a:lnTo>
                  <a:lnTo>
                    <a:pt x="203" y="19"/>
                  </a:lnTo>
                  <a:lnTo>
                    <a:pt x="201" y="19"/>
                  </a:lnTo>
                  <a:lnTo>
                    <a:pt x="201" y="19"/>
                  </a:lnTo>
                  <a:lnTo>
                    <a:pt x="198" y="19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3" y="22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8" y="24"/>
                  </a:lnTo>
                  <a:lnTo>
                    <a:pt x="188" y="24"/>
                  </a:lnTo>
                  <a:lnTo>
                    <a:pt x="186" y="24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4" y="22"/>
                  </a:lnTo>
                  <a:lnTo>
                    <a:pt x="184" y="22"/>
                  </a:lnTo>
                  <a:lnTo>
                    <a:pt x="181" y="19"/>
                  </a:lnTo>
                  <a:lnTo>
                    <a:pt x="181" y="19"/>
                  </a:lnTo>
                  <a:lnTo>
                    <a:pt x="179" y="19"/>
                  </a:lnTo>
                  <a:lnTo>
                    <a:pt x="179" y="19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6" y="17"/>
                  </a:lnTo>
                  <a:lnTo>
                    <a:pt x="174" y="17"/>
                  </a:lnTo>
                  <a:lnTo>
                    <a:pt x="174" y="17"/>
                  </a:lnTo>
                  <a:lnTo>
                    <a:pt x="171" y="17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6" y="19"/>
                  </a:lnTo>
                  <a:lnTo>
                    <a:pt x="164" y="19"/>
                  </a:lnTo>
                  <a:lnTo>
                    <a:pt x="161" y="19"/>
                  </a:lnTo>
                  <a:lnTo>
                    <a:pt x="161" y="19"/>
                  </a:lnTo>
                  <a:lnTo>
                    <a:pt x="159" y="22"/>
                  </a:lnTo>
                  <a:lnTo>
                    <a:pt x="157" y="22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7" y="32"/>
                  </a:lnTo>
                  <a:lnTo>
                    <a:pt x="122" y="59"/>
                  </a:lnTo>
                  <a:lnTo>
                    <a:pt x="103" y="76"/>
                  </a:lnTo>
                  <a:lnTo>
                    <a:pt x="112" y="83"/>
                  </a:lnTo>
                  <a:lnTo>
                    <a:pt x="130" y="66"/>
                  </a:lnTo>
                  <a:lnTo>
                    <a:pt x="154" y="41"/>
                  </a:lnTo>
                  <a:lnTo>
                    <a:pt x="157" y="39"/>
                  </a:lnTo>
                  <a:lnTo>
                    <a:pt x="159" y="37"/>
                  </a:lnTo>
                  <a:lnTo>
                    <a:pt x="159" y="37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4" y="34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9" y="32"/>
                  </a:lnTo>
                  <a:lnTo>
                    <a:pt x="169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6" y="29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81" y="34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161" y="186"/>
                  </a:lnTo>
                  <a:lnTo>
                    <a:pt x="161" y="186"/>
                  </a:lnTo>
                  <a:lnTo>
                    <a:pt x="161" y="186"/>
                  </a:lnTo>
                  <a:lnTo>
                    <a:pt x="161" y="186"/>
                  </a:lnTo>
                  <a:lnTo>
                    <a:pt x="164" y="186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247" y="98"/>
                  </a:lnTo>
                  <a:lnTo>
                    <a:pt x="250" y="95"/>
                  </a:lnTo>
                  <a:lnTo>
                    <a:pt x="252" y="95"/>
                  </a:lnTo>
                  <a:lnTo>
                    <a:pt x="252" y="93"/>
                  </a:lnTo>
                  <a:lnTo>
                    <a:pt x="255" y="90"/>
                  </a:lnTo>
                  <a:lnTo>
                    <a:pt x="255" y="88"/>
                  </a:lnTo>
                  <a:lnTo>
                    <a:pt x="257" y="86"/>
                  </a:lnTo>
                  <a:lnTo>
                    <a:pt x="257" y="86"/>
                  </a:lnTo>
                  <a:lnTo>
                    <a:pt x="260" y="83"/>
                  </a:lnTo>
                  <a:lnTo>
                    <a:pt x="260" y="81"/>
                  </a:lnTo>
                  <a:lnTo>
                    <a:pt x="262" y="78"/>
                  </a:lnTo>
                  <a:lnTo>
                    <a:pt x="262" y="76"/>
                  </a:lnTo>
                  <a:lnTo>
                    <a:pt x="262" y="73"/>
                  </a:lnTo>
                  <a:lnTo>
                    <a:pt x="262" y="73"/>
                  </a:lnTo>
                  <a:lnTo>
                    <a:pt x="262" y="71"/>
                  </a:lnTo>
                  <a:lnTo>
                    <a:pt x="264" y="68"/>
                  </a:lnTo>
                  <a:lnTo>
                    <a:pt x="264" y="66"/>
                  </a:lnTo>
                  <a:lnTo>
                    <a:pt x="264" y="63"/>
                  </a:lnTo>
                  <a:lnTo>
                    <a:pt x="264" y="61"/>
                  </a:lnTo>
                  <a:lnTo>
                    <a:pt x="264" y="59"/>
                  </a:lnTo>
                  <a:lnTo>
                    <a:pt x="262" y="59"/>
                  </a:lnTo>
                  <a:lnTo>
                    <a:pt x="262" y="56"/>
                  </a:lnTo>
                  <a:lnTo>
                    <a:pt x="262" y="54"/>
                  </a:lnTo>
                  <a:lnTo>
                    <a:pt x="262" y="51"/>
                  </a:lnTo>
                  <a:lnTo>
                    <a:pt x="262" y="49"/>
                  </a:lnTo>
                  <a:lnTo>
                    <a:pt x="260" y="49"/>
                  </a:lnTo>
                  <a:lnTo>
                    <a:pt x="260" y="46"/>
                  </a:lnTo>
                  <a:lnTo>
                    <a:pt x="260" y="44"/>
                  </a:lnTo>
                  <a:lnTo>
                    <a:pt x="257" y="44"/>
                  </a:lnTo>
                  <a:lnTo>
                    <a:pt x="257" y="41"/>
                  </a:lnTo>
                  <a:lnTo>
                    <a:pt x="255" y="39"/>
                  </a:lnTo>
                  <a:lnTo>
                    <a:pt x="252" y="39"/>
                  </a:lnTo>
                  <a:lnTo>
                    <a:pt x="252" y="37"/>
                  </a:lnTo>
                  <a:lnTo>
                    <a:pt x="245" y="29"/>
                  </a:lnTo>
                  <a:lnTo>
                    <a:pt x="242" y="27"/>
                  </a:lnTo>
                  <a:lnTo>
                    <a:pt x="242" y="27"/>
                  </a:lnTo>
                  <a:lnTo>
                    <a:pt x="240" y="24"/>
                  </a:lnTo>
                  <a:lnTo>
                    <a:pt x="237" y="24"/>
                  </a:lnTo>
                  <a:lnTo>
                    <a:pt x="237" y="22"/>
                  </a:lnTo>
                  <a:lnTo>
                    <a:pt x="235" y="22"/>
                  </a:lnTo>
                  <a:lnTo>
                    <a:pt x="233" y="19"/>
                  </a:lnTo>
                  <a:lnTo>
                    <a:pt x="230" y="19"/>
                  </a:lnTo>
                  <a:lnTo>
                    <a:pt x="230" y="19"/>
                  </a:lnTo>
                  <a:lnTo>
                    <a:pt x="228" y="19"/>
                  </a:lnTo>
                  <a:lnTo>
                    <a:pt x="225" y="17"/>
                  </a:lnTo>
                  <a:lnTo>
                    <a:pt x="223" y="17"/>
                  </a:lnTo>
                  <a:lnTo>
                    <a:pt x="220" y="17"/>
                  </a:lnTo>
                  <a:lnTo>
                    <a:pt x="220" y="17"/>
                  </a:lnTo>
                  <a:lnTo>
                    <a:pt x="218" y="17"/>
                  </a:lnTo>
                  <a:lnTo>
                    <a:pt x="215" y="17"/>
                  </a:lnTo>
                  <a:lnTo>
                    <a:pt x="213" y="17"/>
                  </a:lnTo>
                  <a:close/>
                  <a:moveTo>
                    <a:pt x="76" y="0"/>
                  </a:moveTo>
                  <a:lnTo>
                    <a:pt x="7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3" y="5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238"/>
                  </a:lnTo>
                  <a:lnTo>
                    <a:pt x="0" y="240"/>
                  </a:lnTo>
                  <a:lnTo>
                    <a:pt x="0" y="242"/>
                  </a:lnTo>
                  <a:lnTo>
                    <a:pt x="2" y="242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7"/>
                  </a:lnTo>
                  <a:lnTo>
                    <a:pt x="5" y="250"/>
                  </a:lnTo>
                  <a:lnTo>
                    <a:pt x="5" y="250"/>
                  </a:lnTo>
                  <a:lnTo>
                    <a:pt x="7" y="250"/>
                  </a:lnTo>
                  <a:lnTo>
                    <a:pt x="7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12" y="255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7" y="255"/>
                  </a:lnTo>
                  <a:lnTo>
                    <a:pt x="196" y="255"/>
                  </a:lnTo>
                  <a:lnTo>
                    <a:pt x="198" y="255"/>
                  </a:lnTo>
                  <a:lnTo>
                    <a:pt x="198" y="255"/>
                  </a:lnTo>
                  <a:lnTo>
                    <a:pt x="201" y="255"/>
                  </a:lnTo>
                  <a:lnTo>
                    <a:pt x="201" y="252"/>
                  </a:lnTo>
                  <a:lnTo>
                    <a:pt x="203" y="252"/>
                  </a:lnTo>
                  <a:lnTo>
                    <a:pt x="206" y="252"/>
                  </a:lnTo>
                  <a:lnTo>
                    <a:pt x="206" y="250"/>
                  </a:lnTo>
                  <a:lnTo>
                    <a:pt x="206" y="250"/>
                  </a:lnTo>
                  <a:lnTo>
                    <a:pt x="208" y="250"/>
                  </a:lnTo>
                  <a:lnTo>
                    <a:pt x="208" y="247"/>
                  </a:lnTo>
                  <a:lnTo>
                    <a:pt x="210" y="245"/>
                  </a:lnTo>
                  <a:lnTo>
                    <a:pt x="210" y="245"/>
                  </a:lnTo>
                  <a:lnTo>
                    <a:pt x="210" y="242"/>
                  </a:lnTo>
                  <a:lnTo>
                    <a:pt x="210" y="242"/>
                  </a:lnTo>
                  <a:lnTo>
                    <a:pt x="210" y="240"/>
                  </a:lnTo>
                  <a:lnTo>
                    <a:pt x="210" y="238"/>
                  </a:lnTo>
                  <a:lnTo>
                    <a:pt x="210" y="174"/>
                  </a:lnTo>
                  <a:lnTo>
                    <a:pt x="201" y="174"/>
                  </a:lnTo>
                  <a:lnTo>
                    <a:pt x="201" y="238"/>
                  </a:lnTo>
                  <a:lnTo>
                    <a:pt x="198" y="240"/>
                  </a:lnTo>
                  <a:lnTo>
                    <a:pt x="198" y="240"/>
                  </a:lnTo>
                  <a:lnTo>
                    <a:pt x="198" y="240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7" y="242"/>
                  </a:lnTo>
                  <a:lnTo>
                    <a:pt x="14" y="242"/>
                  </a:lnTo>
                  <a:lnTo>
                    <a:pt x="14" y="242"/>
                  </a:lnTo>
                  <a:lnTo>
                    <a:pt x="14" y="242"/>
                  </a:lnTo>
                  <a:lnTo>
                    <a:pt x="14" y="242"/>
                  </a:lnTo>
                  <a:lnTo>
                    <a:pt x="12" y="240"/>
                  </a:lnTo>
                  <a:lnTo>
                    <a:pt x="12" y="240"/>
                  </a:lnTo>
                  <a:lnTo>
                    <a:pt x="12" y="240"/>
                  </a:lnTo>
                  <a:lnTo>
                    <a:pt x="12" y="23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130" y="12"/>
                  </a:lnTo>
                  <a:lnTo>
                    <a:pt x="13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1" name="Group 301">
            <a:extLst>
              <a:ext uri="{FF2B5EF4-FFF2-40B4-BE49-F238E27FC236}">
                <a16:creationId xmlns:a16="http://schemas.microsoft.com/office/drawing/2014/main" id="{D962079F-6E51-4312-9ECF-F63BA75DAA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0288" y="4059237"/>
            <a:ext cx="841375" cy="841375"/>
            <a:chOff x="3042" y="2593"/>
            <a:chExt cx="530" cy="530"/>
          </a:xfrm>
        </p:grpSpPr>
        <p:sp>
          <p:nvSpPr>
            <p:cNvPr id="332" name="AutoShape 300">
              <a:extLst>
                <a:ext uri="{FF2B5EF4-FFF2-40B4-BE49-F238E27FC236}">
                  <a16:creationId xmlns:a16="http://schemas.microsoft.com/office/drawing/2014/main" id="{065DF5F9-6B30-49E5-BD18-7CAE2A4FEDC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42" y="25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302">
              <a:extLst>
                <a:ext uri="{FF2B5EF4-FFF2-40B4-BE49-F238E27FC236}">
                  <a16:creationId xmlns:a16="http://schemas.microsoft.com/office/drawing/2014/main" id="{8800B9FD-A6E9-4B83-9D9A-CCBB111A8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5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303">
              <a:extLst>
                <a:ext uri="{FF2B5EF4-FFF2-40B4-BE49-F238E27FC236}">
                  <a16:creationId xmlns:a16="http://schemas.microsoft.com/office/drawing/2014/main" id="{2B101C15-8CBF-4941-8749-D6349AAF8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0" y="26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304">
              <a:extLst>
                <a:ext uri="{FF2B5EF4-FFF2-40B4-BE49-F238E27FC236}">
                  <a16:creationId xmlns:a16="http://schemas.microsoft.com/office/drawing/2014/main" id="{A8C13F1C-9740-4CBD-8479-8649CEE31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0" y="2726"/>
              <a:ext cx="277" cy="266"/>
            </a:xfrm>
            <a:custGeom>
              <a:avLst/>
              <a:gdLst>
                <a:gd name="T0" fmla="*/ 85 w 277"/>
                <a:gd name="T1" fmla="*/ 87 h 266"/>
                <a:gd name="T2" fmla="*/ 87 w 277"/>
                <a:gd name="T3" fmla="*/ 87 h 266"/>
                <a:gd name="T4" fmla="*/ 90 w 277"/>
                <a:gd name="T5" fmla="*/ 85 h 266"/>
                <a:gd name="T6" fmla="*/ 110 w 277"/>
                <a:gd name="T7" fmla="*/ 141 h 266"/>
                <a:gd name="T8" fmla="*/ 182 w 277"/>
                <a:gd name="T9" fmla="*/ 166 h 266"/>
                <a:gd name="T10" fmla="*/ 202 w 277"/>
                <a:gd name="T11" fmla="*/ 38 h 266"/>
                <a:gd name="T12" fmla="*/ 213 w 277"/>
                <a:gd name="T13" fmla="*/ 33 h 266"/>
                <a:gd name="T14" fmla="*/ 223 w 277"/>
                <a:gd name="T15" fmla="*/ 31 h 266"/>
                <a:gd name="T16" fmla="*/ 231 w 277"/>
                <a:gd name="T17" fmla="*/ 31 h 266"/>
                <a:gd name="T18" fmla="*/ 241 w 277"/>
                <a:gd name="T19" fmla="*/ 33 h 266"/>
                <a:gd name="T20" fmla="*/ 249 w 277"/>
                <a:gd name="T21" fmla="*/ 38 h 266"/>
                <a:gd name="T22" fmla="*/ 261 w 277"/>
                <a:gd name="T23" fmla="*/ 54 h 266"/>
                <a:gd name="T24" fmla="*/ 264 w 277"/>
                <a:gd name="T25" fmla="*/ 64 h 266"/>
                <a:gd name="T26" fmla="*/ 264 w 277"/>
                <a:gd name="T27" fmla="*/ 74 h 266"/>
                <a:gd name="T28" fmla="*/ 259 w 277"/>
                <a:gd name="T29" fmla="*/ 82 h 266"/>
                <a:gd name="T30" fmla="*/ 254 w 277"/>
                <a:gd name="T31" fmla="*/ 90 h 266"/>
                <a:gd name="T32" fmla="*/ 223 w 277"/>
                <a:gd name="T33" fmla="*/ 18 h 266"/>
                <a:gd name="T34" fmla="*/ 213 w 277"/>
                <a:gd name="T35" fmla="*/ 18 h 266"/>
                <a:gd name="T36" fmla="*/ 205 w 277"/>
                <a:gd name="T37" fmla="*/ 23 h 266"/>
                <a:gd name="T38" fmla="*/ 195 w 277"/>
                <a:gd name="T39" fmla="*/ 26 h 266"/>
                <a:gd name="T40" fmla="*/ 190 w 277"/>
                <a:gd name="T41" fmla="*/ 21 h 266"/>
                <a:gd name="T42" fmla="*/ 182 w 277"/>
                <a:gd name="T43" fmla="*/ 18 h 266"/>
                <a:gd name="T44" fmla="*/ 172 w 277"/>
                <a:gd name="T45" fmla="*/ 21 h 266"/>
                <a:gd name="T46" fmla="*/ 161 w 277"/>
                <a:gd name="T47" fmla="*/ 26 h 266"/>
                <a:gd name="T48" fmla="*/ 128 w 277"/>
                <a:gd name="T49" fmla="*/ 61 h 266"/>
                <a:gd name="T50" fmla="*/ 167 w 277"/>
                <a:gd name="T51" fmla="*/ 38 h 266"/>
                <a:gd name="T52" fmla="*/ 172 w 277"/>
                <a:gd name="T53" fmla="*/ 33 h 266"/>
                <a:gd name="T54" fmla="*/ 179 w 277"/>
                <a:gd name="T55" fmla="*/ 31 h 266"/>
                <a:gd name="T56" fmla="*/ 185 w 277"/>
                <a:gd name="T57" fmla="*/ 33 h 266"/>
                <a:gd name="T58" fmla="*/ 103 w 277"/>
                <a:gd name="T59" fmla="*/ 123 h 266"/>
                <a:gd name="T60" fmla="*/ 85 w 277"/>
                <a:gd name="T61" fmla="*/ 205 h 266"/>
                <a:gd name="T62" fmla="*/ 85 w 277"/>
                <a:gd name="T63" fmla="*/ 207 h 266"/>
                <a:gd name="T64" fmla="*/ 87 w 277"/>
                <a:gd name="T65" fmla="*/ 210 h 266"/>
                <a:gd name="T66" fmla="*/ 92 w 277"/>
                <a:gd name="T67" fmla="*/ 210 h 266"/>
                <a:gd name="T68" fmla="*/ 172 w 277"/>
                <a:gd name="T69" fmla="*/ 192 h 266"/>
                <a:gd name="T70" fmla="*/ 264 w 277"/>
                <a:gd name="T71" fmla="*/ 100 h 266"/>
                <a:gd name="T72" fmla="*/ 272 w 277"/>
                <a:gd name="T73" fmla="*/ 87 h 266"/>
                <a:gd name="T74" fmla="*/ 274 w 277"/>
                <a:gd name="T75" fmla="*/ 74 h 266"/>
                <a:gd name="T76" fmla="*/ 274 w 277"/>
                <a:gd name="T77" fmla="*/ 61 h 266"/>
                <a:gd name="T78" fmla="*/ 272 w 277"/>
                <a:gd name="T79" fmla="*/ 49 h 266"/>
                <a:gd name="T80" fmla="*/ 264 w 277"/>
                <a:gd name="T81" fmla="*/ 38 h 266"/>
                <a:gd name="T82" fmla="*/ 249 w 277"/>
                <a:gd name="T83" fmla="*/ 23 h 266"/>
                <a:gd name="T84" fmla="*/ 236 w 277"/>
                <a:gd name="T85" fmla="*/ 18 h 266"/>
                <a:gd name="T86" fmla="*/ 223 w 277"/>
                <a:gd name="T87" fmla="*/ 18 h 266"/>
                <a:gd name="T88" fmla="*/ 72 w 277"/>
                <a:gd name="T89" fmla="*/ 3 h 266"/>
                <a:gd name="T90" fmla="*/ 5 w 277"/>
                <a:gd name="T91" fmla="*/ 61 h 266"/>
                <a:gd name="T92" fmla="*/ 3 w 277"/>
                <a:gd name="T93" fmla="*/ 64 h 266"/>
                <a:gd name="T94" fmla="*/ 0 w 277"/>
                <a:gd name="T95" fmla="*/ 69 h 266"/>
                <a:gd name="T96" fmla="*/ 3 w 277"/>
                <a:gd name="T97" fmla="*/ 254 h 266"/>
                <a:gd name="T98" fmla="*/ 8 w 277"/>
                <a:gd name="T99" fmla="*/ 261 h 266"/>
                <a:gd name="T100" fmla="*/ 16 w 277"/>
                <a:gd name="T101" fmla="*/ 266 h 266"/>
                <a:gd name="T102" fmla="*/ 210 w 277"/>
                <a:gd name="T103" fmla="*/ 264 h 266"/>
                <a:gd name="T104" fmla="*/ 218 w 277"/>
                <a:gd name="T105" fmla="*/ 259 h 266"/>
                <a:gd name="T106" fmla="*/ 220 w 277"/>
                <a:gd name="T107" fmla="*/ 248 h 266"/>
                <a:gd name="T108" fmla="*/ 208 w 277"/>
                <a:gd name="T109" fmla="*/ 251 h 266"/>
                <a:gd name="T110" fmla="*/ 18 w 277"/>
                <a:gd name="T111" fmla="*/ 254 h 266"/>
                <a:gd name="T112" fmla="*/ 13 w 277"/>
                <a:gd name="T113" fmla="*/ 251 h 266"/>
                <a:gd name="T114" fmla="*/ 13 w 277"/>
                <a:gd name="T115" fmla="*/ 72 h 266"/>
                <a:gd name="T116" fmla="*/ 74 w 277"/>
                <a:gd name="T117" fmla="*/ 13 h 266"/>
                <a:gd name="T118" fmla="*/ 136 w 277"/>
                <a:gd name="T119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7" h="266">
                  <a:moveTo>
                    <a:pt x="77" y="31"/>
                  </a:moveTo>
                  <a:lnTo>
                    <a:pt x="77" y="74"/>
                  </a:lnTo>
                  <a:lnTo>
                    <a:pt x="31" y="74"/>
                  </a:lnTo>
                  <a:lnTo>
                    <a:pt x="31" y="87"/>
                  </a:lnTo>
                  <a:lnTo>
                    <a:pt x="82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90" y="85"/>
                  </a:lnTo>
                  <a:lnTo>
                    <a:pt x="90" y="85"/>
                  </a:lnTo>
                  <a:lnTo>
                    <a:pt x="90" y="85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31"/>
                  </a:lnTo>
                  <a:lnTo>
                    <a:pt x="77" y="31"/>
                  </a:lnTo>
                  <a:close/>
                  <a:moveTo>
                    <a:pt x="110" y="141"/>
                  </a:moveTo>
                  <a:lnTo>
                    <a:pt x="156" y="184"/>
                  </a:lnTo>
                  <a:lnTo>
                    <a:pt x="100" y="197"/>
                  </a:lnTo>
                  <a:lnTo>
                    <a:pt x="110" y="141"/>
                  </a:lnTo>
                  <a:close/>
                  <a:moveTo>
                    <a:pt x="115" y="128"/>
                  </a:moveTo>
                  <a:lnTo>
                    <a:pt x="131" y="113"/>
                  </a:lnTo>
                  <a:lnTo>
                    <a:pt x="182" y="166"/>
                  </a:lnTo>
                  <a:lnTo>
                    <a:pt x="169" y="179"/>
                  </a:lnTo>
                  <a:lnTo>
                    <a:pt x="115" y="128"/>
                  </a:lnTo>
                  <a:close/>
                  <a:moveTo>
                    <a:pt x="138" y="105"/>
                  </a:moveTo>
                  <a:lnTo>
                    <a:pt x="197" y="44"/>
                  </a:lnTo>
                  <a:lnTo>
                    <a:pt x="200" y="41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5" y="36"/>
                  </a:lnTo>
                  <a:lnTo>
                    <a:pt x="208" y="36"/>
                  </a:lnTo>
                  <a:lnTo>
                    <a:pt x="208" y="36"/>
                  </a:lnTo>
                  <a:lnTo>
                    <a:pt x="210" y="33"/>
                  </a:lnTo>
                  <a:lnTo>
                    <a:pt x="213" y="33"/>
                  </a:lnTo>
                  <a:lnTo>
                    <a:pt x="213" y="33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3" y="31"/>
                  </a:lnTo>
                  <a:lnTo>
                    <a:pt x="223" y="31"/>
                  </a:lnTo>
                  <a:lnTo>
                    <a:pt x="225" y="31"/>
                  </a:lnTo>
                  <a:lnTo>
                    <a:pt x="228" y="31"/>
                  </a:lnTo>
                  <a:lnTo>
                    <a:pt x="228" y="31"/>
                  </a:lnTo>
                  <a:lnTo>
                    <a:pt x="231" y="31"/>
                  </a:lnTo>
                  <a:lnTo>
                    <a:pt x="231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6" y="31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41" y="33"/>
                  </a:lnTo>
                  <a:lnTo>
                    <a:pt x="241" y="33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6" y="38"/>
                  </a:lnTo>
                  <a:lnTo>
                    <a:pt x="246" y="38"/>
                  </a:lnTo>
                  <a:lnTo>
                    <a:pt x="249" y="38"/>
                  </a:lnTo>
                  <a:lnTo>
                    <a:pt x="254" y="46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9" y="51"/>
                  </a:lnTo>
                  <a:lnTo>
                    <a:pt x="259" y="54"/>
                  </a:lnTo>
                  <a:lnTo>
                    <a:pt x="261" y="54"/>
                  </a:lnTo>
                  <a:lnTo>
                    <a:pt x="261" y="56"/>
                  </a:lnTo>
                  <a:lnTo>
                    <a:pt x="261" y="56"/>
                  </a:lnTo>
                  <a:lnTo>
                    <a:pt x="261" y="59"/>
                  </a:lnTo>
                  <a:lnTo>
                    <a:pt x="264" y="61"/>
                  </a:lnTo>
                  <a:lnTo>
                    <a:pt x="264" y="61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7"/>
                  </a:lnTo>
                  <a:lnTo>
                    <a:pt x="264" y="69"/>
                  </a:lnTo>
                  <a:lnTo>
                    <a:pt x="264" y="69"/>
                  </a:lnTo>
                  <a:lnTo>
                    <a:pt x="264" y="72"/>
                  </a:lnTo>
                  <a:lnTo>
                    <a:pt x="264" y="74"/>
                  </a:lnTo>
                  <a:lnTo>
                    <a:pt x="261" y="74"/>
                  </a:lnTo>
                  <a:lnTo>
                    <a:pt x="261" y="77"/>
                  </a:lnTo>
                  <a:lnTo>
                    <a:pt x="261" y="77"/>
                  </a:lnTo>
                  <a:lnTo>
                    <a:pt x="261" y="79"/>
                  </a:lnTo>
                  <a:lnTo>
                    <a:pt x="259" y="79"/>
                  </a:lnTo>
                  <a:lnTo>
                    <a:pt x="259" y="82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1" y="92"/>
                  </a:lnTo>
                  <a:lnTo>
                    <a:pt x="251" y="95"/>
                  </a:lnTo>
                  <a:lnTo>
                    <a:pt x="190" y="156"/>
                  </a:lnTo>
                  <a:lnTo>
                    <a:pt x="138" y="105"/>
                  </a:lnTo>
                  <a:close/>
                  <a:moveTo>
                    <a:pt x="223" y="18"/>
                  </a:moveTo>
                  <a:lnTo>
                    <a:pt x="223" y="18"/>
                  </a:lnTo>
                  <a:lnTo>
                    <a:pt x="220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5" y="18"/>
                  </a:lnTo>
                  <a:lnTo>
                    <a:pt x="213" y="18"/>
                  </a:lnTo>
                  <a:lnTo>
                    <a:pt x="213" y="21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08" y="21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2" y="23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197" y="26"/>
                  </a:lnTo>
                  <a:lnTo>
                    <a:pt x="197" y="26"/>
                  </a:lnTo>
                  <a:lnTo>
                    <a:pt x="195" y="26"/>
                  </a:lnTo>
                  <a:lnTo>
                    <a:pt x="195" y="23"/>
                  </a:lnTo>
                  <a:lnTo>
                    <a:pt x="195" y="23"/>
                  </a:lnTo>
                  <a:lnTo>
                    <a:pt x="192" y="23"/>
                  </a:lnTo>
                  <a:lnTo>
                    <a:pt x="192" y="23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5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79" y="18"/>
                  </a:lnTo>
                  <a:lnTo>
                    <a:pt x="177" y="18"/>
                  </a:lnTo>
                  <a:lnTo>
                    <a:pt x="177" y="21"/>
                  </a:lnTo>
                  <a:lnTo>
                    <a:pt x="174" y="21"/>
                  </a:lnTo>
                  <a:lnTo>
                    <a:pt x="172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7" y="23"/>
                  </a:lnTo>
                  <a:lnTo>
                    <a:pt x="164" y="23"/>
                  </a:lnTo>
                  <a:lnTo>
                    <a:pt x="164" y="26"/>
                  </a:lnTo>
                  <a:lnTo>
                    <a:pt x="161" y="26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56" y="31"/>
                  </a:lnTo>
                  <a:lnTo>
                    <a:pt x="156" y="31"/>
                  </a:lnTo>
                  <a:lnTo>
                    <a:pt x="154" y="33"/>
                  </a:lnTo>
                  <a:lnTo>
                    <a:pt x="128" y="61"/>
                  </a:lnTo>
                  <a:lnTo>
                    <a:pt x="108" y="79"/>
                  </a:lnTo>
                  <a:lnTo>
                    <a:pt x="118" y="87"/>
                  </a:lnTo>
                  <a:lnTo>
                    <a:pt x="136" y="69"/>
                  </a:lnTo>
                  <a:lnTo>
                    <a:pt x="161" y="44"/>
                  </a:lnTo>
                  <a:lnTo>
                    <a:pt x="164" y="41"/>
                  </a:lnTo>
                  <a:lnTo>
                    <a:pt x="167" y="38"/>
                  </a:lnTo>
                  <a:lnTo>
                    <a:pt x="167" y="38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72" y="36"/>
                  </a:lnTo>
                  <a:lnTo>
                    <a:pt x="172" y="33"/>
                  </a:lnTo>
                  <a:lnTo>
                    <a:pt x="172" y="33"/>
                  </a:lnTo>
                  <a:lnTo>
                    <a:pt x="174" y="33"/>
                  </a:lnTo>
                  <a:lnTo>
                    <a:pt x="174" y="33"/>
                  </a:lnTo>
                  <a:lnTo>
                    <a:pt x="177" y="33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9" y="31"/>
                  </a:lnTo>
                  <a:lnTo>
                    <a:pt x="179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5" y="31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90" y="36"/>
                  </a:lnTo>
                  <a:lnTo>
                    <a:pt x="103" y="123"/>
                  </a:lnTo>
                  <a:lnTo>
                    <a:pt x="103" y="123"/>
                  </a:lnTo>
                  <a:lnTo>
                    <a:pt x="103" y="123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85" y="205"/>
                  </a:lnTo>
                  <a:lnTo>
                    <a:pt x="85" y="205"/>
                  </a:lnTo>
                  <a:lnTo>
                    <a:pt x="85" y="205"/>
                  </a:lnTo>
                  <a:lnTo>
                    <a:pt x="85" y="205"/>
                  </a:lnTo>
                  <a:lnTo>
                    <a:pt x="85" y="207"/>
                  </a:lnTo>
                  <a:lnTo>
                    <a:pt x="85" y="207"/>
                  </a:lnTo>
                  <a:lnTo>
                    <a:pt x="85" y="207"/>
                  </a:lnTo>
                  <a:lnTo>
                    <a:pt x="85" y="210"/>
                  </a:lnTo>
                  <a:lnTo>
                    <a:pt x="87" y="210"/>
                  </a:lnTo>
                  <a:lnTo>
                    <a:pt x="87" y="210"/>
                  </a:lnTo>
                  <a:lnTo>
                    <a:pt x="87" y="210"/>
                  </a:lnTo>
                  <a:lnTo>
                    <a:pt x="87" y="210"/>
                  </a:lnTo>
                  <a:lnTo>
                    <a:pt x="87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10"/>
                  </a:lnTo>
                  <a:lnTo>
                    <a:pt x="169" y="195"/>
                  </a:lnTo>
                  <a:lnTo>
                    <a:pt x="169" y="195"/>
                  </a:lnTo>
                  <a:lnTo>
                    <a:pt x="169" y="195"/>
                  </a:lnTo>
                  <a:lnTo>
                    <a:pt x="169" y="195"/>
                  </a:lnTo>
                  <a:lnTo>
                    <a:pt x="172" y="195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259" y="102"/>
                  </a:lnTo>
                  <a:lnTo>
                    <a:pt x="261" y="100"/>
                  </a:lnTo>
                  <a:lnTo>
                    <a:pt x="264" y="100"/>
                  </a:lnTo>
                  <a:lnTo>
                    <a:pt x="264" y="97"/>
                  </a:lnTo>
                  <a:lnTo>
                    <a:pt x="266" y="95"/>
                  </a:lnTo>
                  <a:lnTo>
                    <a:pt x="266" y="92"/>
                  </a:lnTo>
                  <a:lnTo>
                    <a:pt x="269" y="90"/>
                  </a:lnTo>
                  <a:lnTo>
                    <a:pt x="269" y="90"/>
                  </a:lnTo>
                  <a:lnTo>
                    <a:pt x="272" y="87"/>
                  </a:lnTo>
                  <a:lnTo>
                    <a:pt x="272" y="85"/>
                  </a:lnTo>
                  <a:lnTo>
                    <a:pt x="274" y="82"/>
                  </a:lnTo>
                  <a:lnTo>
                    <a:pt x="274" y="79"/>
                  </a:lnTo>
                  <a:lnTo>
                    <a:pt x="274" y="77"/>
                  </a:lnTo>
                  <a:lnTo>
                    <a:pt x="274" y="77"/>
                  </a:lnTo>
                  <a:lnTo>
                    <a:pt x="274" y="74"/>
                  </a:lnTo>
                  <a:lnTo>
                    <a:pt x="277" y="72"/>
                  </a:lnTo>
                  <a:lnTo>
                    <a:pt x="277" y="69"/>
                  </a:lnTo>
                  <a:lnTo>
                    <a:pt x="277" y="67"/>
                  </a:lnTo>
                  <a:lnTo>
                    <a:pt x="277" y="64"/>
                  </a:lnTo>
                  <a:lnTo>
                    <a:pt x="277" y="61"/>
                  </a:lnTo>
                  <a:lnTo>
                    <a:pt x="274" y="61"/>
                  </a:lnTo>
                  <a:lnTo>
                    <a:pt x="274" y="59"/>
                  </a:lnTo>
                  <a:lnTo>
                    <a:pt x="274" y="56"/>
                  </a:lnTo>
                  <a:lnTo>
                    <a:pt x="274" y="54"/>
                  </a:lnTo>
                  <a:lnTo>
                    <a:pt x="274" y="51"/>
                  </a:lnTo>
                  <a:lnTo>
                    <a:pt x="272" y="51"/>
                  </a:lnTo>
                  <a:lnTo>
                    <a:pt x="272" y="49"/>
                  </a:lnTo>
                  <a:lnTo>
                    <a:pt x="272" y="46"/>
                  </a:lnTo>
                  <a:lnTo>
                    <a:pt x="269" y="46"/>
                  </a:lnTo>
                  <a:lnTo>
                    <a:pt x="269" y="44"/>
                  </a:lnTo>
                  <a:lnTo>
                    <a:pt x="266" y="41"/>
                  </a:lnTo>
                  <a:lnTo>
                    <a:pt x="264" y="41"/>
                  </a:lnTo>
                  <a:lnTo>
                    <a:pt x="264" y="38"/>
                  </a:lnTo>
                  <a:lnTo>
                    <a:pt x="256" y="31"/>
                  </a:lnTo>
                  <a:lnTo>
                    <a:pt x="254" y="28"/>
                  </a:lnTo>
                  <a:lnTo>
                    <a:pt x="254" y="28"/>
                  </a:lnTo>
                  <a:lnTo>
                    <a:pt x="251" y="26"/>
                  </a:lnTo>
                  <a:lnTo>
                    <a:pt x="249" y="26"/>
                  </a:lnTo>
                  <a:lnTo>
                    <a:pt x="249" y="23"/>
                  </a:lnTo>
                  <a:lnTo>
                    <a:pt x="246" y="23"/>
                  </a:lnTo>
                  <a:lnTo>
                    <a:pt x="243" y="21"/>
                  </a:lnTo>
                  <a:lnTo>
                    <a:pt x="241" y="21"/>
                  </a:lnTo>
                  <a:lnTo>
                    <a:pt x="241" y="21"/>
                  </a:lnTo>
                  <a:lnTo>
                    <a:pt x="238" y="21"/>
                  </a:lnTo>
                  <a:lnTo>
                    <a:pt x="236" y="18"/>
                  </a:lnTo>
                  <a:lnTo>
                    <a:pt x="233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28" y="18"/>
                  </a:lnTo>
                  <a:lnTo>
                    <a:pt x="225" y="18"/>
                  </a:lnTo>
                  <a:lnTo>
                    <a:pt x="223" y="18"/>
                  </a:lnTo>
                  <a:close/>
                  <a:moveTo>
                    <a:pt x="80" y="0"/>
                  </a:moveTo>
                  <a:lnTo>
                    <a:pt x="7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7" y="5"/>
                  </a:lnTo>
                  <a:lnTo>
                    <a:pt x="8" y="59"/>
                  </a:lnTo>
                  <a:lnTo>
                    <a:pt x="5" y="59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3" y="61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248"/>
                  </a:lnTo>
                  <a:lnTo>
                    <a:pt x="0" y="251"/>
                  </a:lnTo>
                  <a:lnTo>
                    <a:pt x="0" y="254"/>
                  </a:lnTo>
                  <a:lnTo>
                    <a:pt x="3" y="254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5" y="261"/>
                  </a:lnTo>
                  <a:lnTo>
                    <a:pt x="5" y="261"/>
                  </a:lnTo>
                  <a:lnTo>
                    <a:pt x="8" y="261"/>
                  </a:lnTo>
                  <a:lnTo>
                    <a:pt x="8" y="264"/>
                  </a:lnTo>
                  <a:lnTo>
                    <a:pt x="10" y="264"/>
                  </a:lnTo>
                  <a:lnTo>
                    <a:pt x="10" y="264"/>
                  </a:lnTo>
                  <a:lnTo>
                    <a:pt x="13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8" y="266"/>
                  </a:lnTo>
                  <a:lnTo>
                    <a:pt x="205" y="266"/>
                  </a:lnTo>
                  <a:lnTo>
                    <a:pt x="208" y="266"/>
                  </a:lnTo>
                  <a:lnTo>
                    <a:pt x="208" y="266"/>
                  </a:lnTo>
                  <a:lnTo>
                    <a:pt x="210" y="266"/>
                  </a:lnTo>
                  <a:lnTo>
                    <a:pt x="210" y="264"/>
                  </a:lnTo>
                  <a:lnTo>
                    <a:pt x="213" y="264"/>
                  </a:lnTo>
                  <a:lnTo>
                    <a:pt x="215" y="264"/>
                  </a:lnTo>
                  <a:lnTo>
                    <a:pt x="215" y="261"/>
                  </a:lnTo>
                  <a:lnTo>
                    <a:pt x="215" y="261"/>
                  </a:lnTo>
                  <a:lnTo>
                    <a:pt x="218" y="261"/>
                  </a:lnTo>
                  <a:lnTo>
                    <a:pt x="218" y="259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20" y="251"/>
                  </a:lnTo>
                  <a:lnTo>
                    <a:pt x="220" y="248"/>
                  </a:lnTo>
                  <a:lnTo>
                    <a:pt x="220" y="182"/>
                  </a:lnTo>
                  <a:lnTo>
                    <a:pt x="210" y="182"/>
                  </a:lnTo>
                  <a:lnTo>
                    <a:pt x="210" y="248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5" y="254"/>
                  </a:lnTo>
                  <a:lnTo>
                    <a:pt x="205" y="254"/>
                  </a:lnTo>
                  <a:lnTo>
                    <a:pt x="18" y="254"/>
                  </a:lnTo>
                  <a:lnTo>
                    <a:pt x="16" y="254"/>
                  </a:lnTo>
                  <a:lnTo>
                    <a:pt x="16" y="254"/>
                  </a:lnTo>
                  <a:lnTo>
                    <a:pt x="16" y="254"/>
                  </a:lnTo>
                  <a:lnTo>
                    <a:pt x="16" y="254"/>
                  </a:lnTo>
                  <a:lnTo>
                    <a:pt x="13" y="251"/>
                  </a:lnTo>
                  <a:lnTo>
                    <a:pt x="13" y="251"/>
                  </a:lnTo>
                  <a:lnTo>
                    <a:pt x="13" y="251"/>
                  </a:lnTo>
                  <a:lnTo>
                    <a:pt x="13" y="248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74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136" y="13"/>
                  </a:lnTo>
                  <a:lnTo>
                    <a:pt x="136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0" name="Group 307">
            <a:extLst>
              <a:ext uri="{FF2B5EF4-FFF2-40B4-BE49-F238E27FC236}">
                <a16:creationId xmlns:a16="http://schemas.microsoft.com/office/drawing/2014/main" id="{0168DC4B-E1B1-44EF-8661-25575943A0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900" y="4100512"/>
            <a:ext cx="758825" cy="758825"/>
            <a:chOff x="5083" y="2795"/>
            <a:chExt cx="478" cy="478"/>
          </a:xfrm>
        </p:grpSpPr>
        <p:sp>
          <p:nvSpPr>
            <p:cNvPr id="341" name="AutoShape 306">
              <a:extLst>
                <a:ext uri="{FF2B5EF4-FFF2-40B4-BE49-F238E27FC236}">
                  <a16:creationId xmlns:a16="http://schemas.microsoft.com/office/drawing/2014/main" id="{B2F5059D-82C4-487C-807B-79A1D6488A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83" y="27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308">
              <a:extLst>
                <a:ext uri="{FF2B5EF4-FFF2-40B4-BE49-F238E27FC236}">
                  <a16:creationId xmlns:a16="http://schemas.microsoft.com/office/drawing/2014/main" id="{FF2B73E3-B20C-4DE2-A61F-767B711C8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5" y="27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309">
              <a:extLst>
                <a:ext uri="{FF2B5EF4-FFF2-40B4-BE49-F238E27FC236}">
                  <a16:creationId xmlns:a16="http://schemas.microsoft.com/office/drawing/2014/main" id="{1D379B3F-0F71-44B2-BEBB-22111535F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1" y="2883"/>
              <a:ext cx="245" cy="304"/>
            </a:xfrm>
            <a:custGeom>
              <a:avLst/>
              <a:gdLst>
                <a:gd name="T0" fmla="*/ 73 w 245"/>
                <a:gd name="T1" fmla="*/ 270 h 304"/>
                <a:gd name="T2" fmla="*/ 105 w 245"/>
                <a:gd name="T3" fmla="*/ 260 h 304"/>
                <a:gd name="T4" fmla="*/ 103 w 245"/>
                <a:gd name="T5" fmla="*/ 209 h 304"/>
                <a:gd name="T6" fmla="*/ 112 w 245"/>
                <a:gd name="T7" fmla="*/ 204 h 304"/>
                <a:gd name="T8" fmla="*/ 68 w 245"/>
                <a:gd name="T9" fmla="*/ 206 h 304"/>
                <a:gd name="T10" fmla="*/ 100 w 245"/>
                <a:gd name="T11" fmla="*/ 209 h 304"/>
                <a:gd name="T12" fmla="*/ 137 w 245"/>
                <a:gd name="T13" fmla="*/ 179 h 304"/>
                <a:gd name="T14" fmla="*/ 142 w 245"/>
                <a:gd name="T15" fmla="*/ 189 h 304"/>
                <a:gd name="T16" fmla="*/ 73 w 245"/>
                <a:gd name="T17" fmla="*/ 177 h 304"/>
                <a:gd name="T18" fmla="*/ 76 w 245"/>
                <a:gd name="T19" fmla="*/ 189 h 304"/>
                <a:gd name="T20" fmla="*/ 88 w 245"/>
                <a:gd name="T21" fmla="*/ 177 h 304"/>
                <a:gd name="T22" fmla="*/ 98 w 245"/>
                <a:gd name="T23" fmla="*/ 187 h 304"/>
                <a:gd name="T24" fmla="*/ 130 w 245"/>
                <a:gd name="T25" fmla="*/ 182 h 304"/>
                <a:gd name="T26" fmla="*/ 149 w 245"/>
                <a:gd name="T27" fmla="*/ 184 h 304"/>
                <a:gd name="T28" fmla="*/ 171 w 245"/>
                <a:gd name="T29" fmla="*/ 184 h 304"/>
                <a:gd name="T30" fmla="*/ 176 w 245"/>
                <a:gd name="T31" fmla="*/ 179 h 304"/>
                <a:gd name="T32" fmla="*/ 210 w 245"/>
                <a:gd name="T33" fmla="*/ 189 h 304"/>
                <a:gd name="T34" fmla="*/ 73 w 245"/>
                <a:gd name="T35" fmla="*/ 155 h 304"/>
                <a:gd name="T36" fmla="*/ 76 w 245"/>
                <a:gd name="T37" fmla="*/ 164 h 304"/>
                <a:gd name="T38" fmla="*/ 76 w 245"/>
                <a:gd name="T39" fmla="*/ 155 h 304"/>
                <a:gd name="T40" fmla="*/ 115 w 245"/>
                <a:gd name="T41" fmla="*/ 164 h 304"/>
                <a:gd name="T42" fmla="*/ 120 w 245"/>
                <a:gd name="T43" fmla="*/ 155 h 304"/>
                <a:gd name="T44" fmla="*/ 203 w 245"/>
                <a:gd name="T45" fmla="*/ 162 h 304"/>
                <a:gd name="T46" fmla="*/ 213 w 245"/>
                <a:gd name="T47" fmla="*/ 157 h 304"/>
                <a:gd name="T48" fmla="*/ 85 w 245"/>
                <a:gd name="T49" fmla="*/ 160 h 304"/>
                <a:gd name="T50" fmla="*/ 108 w 245"/>
                <a:gd name="T51" fmla="*/ 162 h 304"/>
                <a:gd name="T52" fmla="*/ 130 w 245"/>
                <a:gd name="T53" fmla="*/ 157 h 304"/>
                <a:gd name="T54" fmla="*/ 147 w 245"/>
                <a:gd name="T55" fmla="*/ 164 h 304"/>
                <a:gd name="T56" fmla="*/ 161 w 245"/>
                <a:gd name="T57" fmla="*/ 155 h 304"/>
                <a:gd name="T58" fmla="*/ 161 w 245"/>
                <a:gd name="T59" fmla="*/ 164 h 304"/>
                <a:gd name="T60" fmla="*/ 193 w 245"/>
                <a:gd name="T61" fmla="*/ 155 h 304"/>
                <a:gd name="T62" fmla="*/ 95 w 245"/>
                <a:gd name="T63" fmla="*/ 140 h 304"/>
                <a:gd name="T64" fmla="*/ 105 w 245"/>
                <a:gd name="T65" fmla="*/ 135 h 304"/>
                <a:gd name="T66" fmla="*/ 110 w 245"/>
                <a:gd name="T67" fmla="*/ 138 h 304"/>
                <a:gd name="T68" fmla="*/ 122 w 245"/>
                <a:gd name="T69" fmla="*/ 138 h 304"/>
                <a:gd name="T70" fmla="*/ 176 w 245"/>
                <a:gd name="T71" fmla="*/ 135 h 304"/>
                <a:gd name="T72" fmla="*/ 186 w 245"/>
                <a:gd name="T73" fmla="*/ 138 h 304"/>
                <a:gd name="T74" fmla="*/ 71 w 245"/>
                <a:gd name="T75" fmla="*/ 133 h 304"/>
                <a:gd name="T76" fmla="*/ 88 w 245"/>
                <a:gd name="T77" fmla="*/ 142 h 304"/>
                <a:gd name="T78" fmla="*/ 164 w 245"/>
                <a:gd name="T79" fmla="*/ 130 h 304"/>
                <a:gd name="T80" fmla="*/ 130 w 245"/>
                <a:gd name="T81" fmla="*/ 142 h 304"/>
                <a:gd name="T82" fmla="*/ 169 w 245"/>
                <a:gd name="T83" fmla="*/ 133 h 304"/>
                <a:gd name="T84" fmla="*/ 191 w 245"/>
                <a:gd name="T85" fmla="*/ 138 h 304"/>
                <a:gd name="T86" fmla="*/ 213 w 245"/>
                <a:gd name="T87" fmla="*/ 135 h 304"/>
                <a:gd name="T88" fmla="*/ 137 w 245"/>
                <a:gd name="T89" fmla="*/ 98 h 304"/>
                <a:gd name="T90" fmla="*/ 147 w 245"/>
                <a:gd name="T91" fmla="*/ 103 h 304"/>
                <a:gd name="T92" fmla="*/ 154 w 245"/>
                <a:gd name="T93" fmla="*/ 96 h 304"/>
                <a:gd name="T94" fmla="*/ 176 w 245"/>
                <a:gd name="T95" fmla="*/ 106 h 304"/>
                <a:gd name="T96" fmla="*/ 191 w 245"/>
                <a:gd name="T97" fmla="*/ 93 h 304"/>
                <a:gd name="T98" fmla="*/ 188 w 245"/>
                <a:gd name="T99" fmla="*/ 106 h 304"/>
                <a:gd name="T100" fmla="*/ 210 w 245"/>
                <a:gd name="T101" fmla="*/ 96 h 304"/>
                <a:gd name="T102" fmla="*/ 176 w 245"/>
                <a:gd name="T103" fmla="*/ 79 h 304"/>
                <a:gd name="T104" fmla="*/ 186 w 245"/>
                <a:gd name="T105" fmla="*/ 76 h 304"/>
                <a:gd name="T106" fmla="*/ 137 w 245"/>
                <a:gd name="T107" fmla="*/ 76 h 304"/>
                <a:gd name="T108" fmla="*/ 171 w 245"/>
                <a:gd name="T109" fmla="*/ 79 h 304"/>
                <a:gd name="T110" fmla="*/ 193 w 245"/>
                <a:gd name="T111" fmla="*/ 71 h 304"/>
                <a:gd name="T112" fmla="*/ 210 w 245"/>
                <a:gd name="T113" fmla="*/ 81 h 304"/>
                <a:gd name="T114" fmla="*/ 166 w 245"/>
                <a:gd name="T115" fmla="*/ 226 h 304"/>
                <a:gd name="T116" fmla="*/ 201 w 245"/>
                <a:gd name="T117" fmla="*/ 12 h 304"/>
                <a:gd name="T118" fmla="*/ 2 w 245"/>
                <a:gd name="T119" fmla="*/ 0 h 304"/>
                <a:gd name="T120" fmla="*/ 34 w 245"/>
                <a:gd name="T121" fmla="*/ 299 h 304"/>
                <a:gd name="T122" fmla="*/ 245 w 245"/>
                <a:gd name="T123" fmla="*/ 228 h 304"/>
                <a:gd name="T124" fmla="*/ 210 w 245"/>
                <a:gd name="T125" fmla="*/ 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5" h="304">
                  <a:moveTo>
                    <a:pt x="76" y="258"/>
                  </a:moveTo>
                  <a:lnTo>
                    <a:pt x="73" y="258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5"/>
                  </a:lnTo>
                  <a:lnTo>
                    <a:pt x="68" y="265"/>
                  </a:lnTo>
                  <a:lnTo>
                    <a:pt x="68" y="265"/>
                  </a:lnTo>
                  <a:lnTo>
                    <a:pt x="68" y="265"/>
                  </a:lnTo>
                  <a:lnTo>
                    <a:pt x="68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70"/>
                  </a:lnTo>
                  <a:lnTo>
                    <a:pt x="73" y="270"/>
                  </a:lnTo>
                  <a:lnTo>
                    <a:pt x="73" y="270"/>
                  </a:lnTo>
                  <a:lnTo>
                    <a:pt x="73" y="270"/>
                  </a:lnTo>
                  <a:lnTo>
                    <a:pt x="73" y="270"/>
                  </a:lnTo>
                  <a:lnTo>
                    <a:pt x="73" y="270"/>
                  </a:lnTo>
                  <a:lnTo>
                    <a:pt x="76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258"/>
                  </a:lnTo>
                  <a:lnTo>
                    <a:pt x="103" y="258"/>
                  </a:lnTo>
                  <a:lnTo>
                    <a:pt x="103" y="258"/>
                  </a:lnTo>
                  <a:lnTo>
                    <a:pt x="103" y="258"/>
                  </a:lnTo>
                  <a:lnTo>
                    <a:pt x="76" y="258"/>
                  </a:lnTo>
                  <a:close/>
                  <a:moveTo>
                    <a:pt x="108" y="201"/>
                  </a:moveTo>
                  <a:lnTo>
                    <a:pt x="108" y="201"/>
                  </a:lnTo>
                  <a:lnTo>
                    <a:pt x="108" y="201"/>
                  </a:lnTo>
                  <a:lnTo>
                    <a:pt x="105" y="201"/>
                  </a:lnTo>
                  <a:lnTo>
                    <a:pt x="105" y="201"/>
                  </a:lnTo>
                  <a:lnTo>
                    <a:pt x="105" y="201"/>
                  </a:lnTo>
                  <a:lnTo>
                    <a:pt x="105" y="201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3" y="206"/>
                  </a:lnTo>
                  <a:lnTo>
                    <a:pt x="103" y="206"/>
                  </a:lnTo>
                  <a:lnTo>
                    <a:pt x="103" y="206"/>
                  </a:lnTo>
                  <a:lnTo>
                    <a:pt x="103" y="206"/>
                  </a:lnTo>
                  <a:lnTo>
                    <a:pt x="103" y="206"/>
                  </a:lnTo>
                  <a:lnTo>
                    <a:pt x="103" y="209"/>
                  </a:lnTo>
                  <a:lnTo>
                    <a:pt x="103" y="209"/>
                  </a:lnTo>
                  <a:lnTo>
                    <a:pt x="103" y="209"/>
                  </a:lnTo>
                  <a:lnTo>
                    <a:pt x="103" y="209"/>
                  </a:lnTo>
                  <a:lnTo>
                    <a:pt x="105" y="211"/>
                  </a:lnTo>
                  <a:lnTo>
                    <a:pt x="105" y="211"/>
                  </a:lnTo>
                  <a:lnTo>
                    <a:pt x="105" y="211"/>
                  </a:lnTo>
                  <a:lnTo>
                    <a:pt x="105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12" y="204"/>
                  </a:lnTo>
                  <a:lnTo>
                    <a:pt x="112" y="204"/>
                  </a:lnTo>
                  <a:lnTo>
                    <a:pt x="112" y="204"/>
                  </a:lnTo>
                  <a:lnTo>
                    <a:pt x="112" y="204"/>
                  </a:lnTo>
                  <a:lnTo>
                    <a:pt x="112" y="201"/>
                  </a:lnTo>
                  <a:lnTo>
                    <a:pt x="112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08" y="201"/>
                  </a:lnTo>
                  <a:lnTo>
                    <a:pt x="108" y="201"/>
                  </a:lnTo>
                  <a:close/>
                  <a:moveTo>
                    <a:pt x="93" y="201"/>
                  </a:moveTo>
                  <a:lnTo>
                    <a:pt x="76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68" y="204"/>
                  </a:lnTo>
                  <a:lnTo>
                    <a:pt x="68" y="204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11"/>
                  </a:lnTo>
                  <a:lnTo>
                    <a:pt x="71" y="211"/>
                  </a:lnTo>
                  <a:lnTo>
                    <a:pt x="73" y="211"/>
                  </a:lnTo>
                  <a:lnTo>
                    <a:pt x="73" y="211"/>
                  </a:lnTo>
                  <a:lnTo>
                    <a:pt x="73" y="211"/>
                  </a:lnTo>
                  <a:lnTo>
                    <a:pt x="73" y="211"/>
                  </a:lnTo>
                  <a:lnTo>
                    <a:pt x="73" y="211"/>
                  </a:lnTo>
                  <a:lnTo>
                    <a:pt x="76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98" y="211"/>
                  </a:lnTo>
                  <a:lnTo>
                    <a:pt x="98" y="211"/>
                  </a:lnTo>
                  <a:lnTo>
                    <a:pt x="98" y="209"/>
                  </a:lnTo>
                  <a:lnTo>
                    <a:pt x="98" y="209"/>
                  </a:lnTo>
                  <a:lnTo>
                    <a:pt x="100" y="209"/>
                  </a:lnTo>
                  <a:lnTo>
                    <a:pt x="100" y="209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100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4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95" y="201"/>
                  </a:lnTo>
                  <a:lnTo>
                    <a:pt x="95" y="201"/>
                  </a:lnTo>
                  <a:lnTo>
                    <a:pt x="95" y="201"/>
                  </a:lnTo>
                  <a:lnTo>
                    <a:pt x="95" y="201"/>
                  </a:lnTo>
                  <a:lnTo>
                    <a:pt x="95" y="201"/>
                  </a:lnTo>
                  <a:lnTo>
                    <a:pt x="93" y="201"/>
                  </a:lnTo>
                  <a:close/>
                  <a:moveTo>
                    <a:pt x="139" y="177"/>
                  </a:moveTo>
                  <a:lnTo>
                    <a:pt x="139" y="177"/>
                  </a:lnTo>
                  <a:lnTo>
                    <a:pt x="139" y="177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4" y="182"/>
                  </a:lnTo>
                  <a:lnTo>
                    <a:pt x="134" y="182"/>
                  </a:lnTo>
                  <a:lnTo>
                    <a:pt x="134" y="182"/>
                  </a:lnTo>
                  <a:lnTo>
                    <a:pt x="134" y="182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37" y="187"/>
                  </a:lnTo>
                  <a:lnTo>
                    <a:pt x="137" y="187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42" y="189"/>
                  </a:lnTo>
                  <a:lnTo>
                    <a:pt x="142" y="189"/>
                  </a:lnTo>
                  <a:lnTo>
                    <a:pt x="142" y="189"/>
                  </a:lnTo>
                  <a:lnTo>
                    <a:pt x="142" y="189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4"/>
                  </a:lnTo>
                  <a:lnTo>
                    <a:pt x="144" y="184"/>
                  </a:lnTo>
                  <a:lnTo>
                    <a:pt x="144" y="184"/>
                  </a:lnTo>
                  <a:lnTo>
                    <a:pt x="147" y="184"/>
                  </a:lnTo>
                  <a:lnTo>
                    <a:pt x="147" y="184"/>
                  </a:lnTo>
                  <a:lnTo>
                    <a:pt x="147" y="182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39" y="177"/>
                  </a:lnTo>
                  <a:lnTo>
                    <a:pt x="139" y="177"/>
                  </a:lnTo>
                  <a:close/>
                  <a:moveTo>
                    <a:pt x="85" y="177"/>
                  </a:moveTo>
                  <a:lnTo>
                    <a:pt x="76" y="177"/>
                  </a:lnTo>
                  <a:lnTo>
                    <a:pt x="73" y="177"/>
                  </a:lnTo>
                  <a:lnTo>
                    <a:pt x="73" y="177"/>
                  </a:lnTo>
                  <a:lnTo>
                    <a:pt x="73" y="177"/>
                  </a:lnTo>
                  <a:lnTo>
                    <a:pt x="73" y="177"/>
                  </a:lnTo>
                  <a:lnTo>
                    <a:pt x="73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68" y="182"/>
                  </a:lnTo>
                  <a:lnTo>
                    <a:pt x="68" y="182"/>
                  </a:lnTo>
                  <a:lnTo>
                    <a:pt x="68" y="182"/>
                  </a:lnTo>
                  <a:lnTo>
                    <a:pt x="68" y="182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71" y="187"/>
                  </a:lnTo>
                  <a:lnTo>
                    <a:pt x="71" y="187"/>
                  </a:lnTo>
                  <a:lnTo>
                    <a:pt x="71" y="187"/>
                  </a:lnTo>
                  <a:lnTo>
                    <a:pt x="71" y="187"/>
                  </a:lnTo>
                  <a:lnTo>
                    <a:pt x="73" y="189"/>
                  </a:lnTo>
                  <a:lnTo>
                    <a:pt x="73" y="189"/>
                  </a:lnTo>
                  <a:lnTo>
                    <a:pt x="73" y="189"/>
                  </a:lnTo>
                  <a:lnTo>
                    <a:pt x="73" y="189"/>
                  </a:lnTo>
                  <a:lnTo>
                    <a:pt x="73" y="189"/>
                  </a:lnTo>
                  <a:lnTo>
                    <a:pt x="76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8" y="179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85" y="177"/>
                  </a:lnTo>
                  <a:lnTo>
                    <a:pt x="85" y="177"/>
                  </a:lnTo>
                  <a:close/>
                  <a:moveTo>
                    <a:pt x="125" y="177"/>
                  </a:move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5" y="179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7"/>
                  </a:lnTo>
                  <a:lnTo>
                    <a:pt x="98" y="187"/>
                  </a:lnTo>
                  <a:lnTo>
                    <a:pt x="98" y="187"/>
                  </a:lnTo>
                  <a:lnTo>
                    <a:pt x="98" y="187"/>
                  </a:lnTo>
                  <a:lnTo>
                    <a:pt x="98" y="189"/>
                  </a:lnTo>
                  <a:lnTo>
                    <a:pt x="100" y="189"/>
                  </a:lnTo>
                  <a:lnTo>
                    <a:pt x="100" y="189"/>
                  </a:lnTo>
                  <a:lnTo>
                    <a:pt x="100" y="189"/>
                  </a:lnTo>
                  <a:lnTo>
                    <a:pt x="100" y="189"/>
                  </a:lnTo>
                  <a:lnTo>
                    <a:pt x="100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7" y="187"/>
                  </a:lnTo>
                  <a:lnTo>
                    <a:pt x="130" y="187"/>
                  </a:lnTo>
                  <a:lnTo>
                    <a:pt x="130" y="187"/>
                  </a:lnTo>
                  <a:lnTo>
                    <a:pt x="130" y="187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79"/>
                  </a:lnTo>
                  <a:lnTo>
                    <a:pt x="130" y="179"/>
                  </a:lnTo>
                  <a:lnTo>
                    <a:pt x="130" y="179"/>
                  </a:lnTo>
                  <a:lnTo>
                    <a:pt x="127" y="179"/>
                  </a:lnTo>
                  <a:lnTo>
                    <a:pt x="127" y="179"/>
                  </a:lnTo>
                  <a:lnTo>
                    <a:pt x="127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5" y="177"/>
                  </a:lnTo>
                  <a:close/>
                  <a:moveTo>
                    <a:pt x="166" y="177"/>
                  </a:moveTo>
                  <a:lnTo>
                    <a:pt x="154" y="177"/>
                  </a:lnTo>
                  <a:lnTo>
                    <a:pt x="154" y="177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7"/>
                  </a:lnTo>
                  <a:lnTo>
                    <a:pt x="152" y="177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2" y="189"/>
                  </a:lnTo>
                  <a:lnTo>
                    <a:pt x="152" y="189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66" y="189"/>
                  </a:lnTo>
                  <a:lnTo>
                    <a:pt x="166" y="189"/>
                  </a:lnTo>
                  <a:lnTo>
                    <a:pt x="166" y="189"/>
                  </a:lnTo>
                  <a:lnTo>
                    <a:pt x="166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87"/>
                  </a:lnTo>
                  <a:lnTo>
                    <a:pt x="169" y="187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79"/>
                  </a:lnTo>
                  <a:lnTo>
                    <a:pt x="169" y="177"/>
                  </a:lnTo>
                  <a:lnTo>
                    <a:pt x="169" y="177"/>
                  </a:lnTo>
                  <a:lnTo>
                    <a:pt x="166" y="177"/>
                  </a:lnTo>
                  <a:lnTo>
                    <a:pt x="166" y="177"/>
                  </a:lnTo>
                  <a:lnTo>
                    <a:pt x="166" y="177"/>
                  </a:lnTo>
                  <a:lnTo>
                    <a:pt x="166" y="177"/>
                  </a:lnTo>
                  <a:close/>
                  <a:moveTo>
                    <a:pt x="208" y="177"/>
                  </a:moveTo>
                  <a:lnTo>
                    <a:pt x="181" y="177"/>
                  </a:lnTo>
                  <a:lnTo>
                    <a:pt x="181" y="177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6" y="182"/>
                  </a:lnTo>
                  <a:lnTo>
                    <a:pt x="176" y="182"/>
                  </a:lnTo>
                  <a:lnTo>
                    <a:pt x="176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6" y="184"/>
                  </a:lnTo>
                  <a:lnTo>
                    <a:pt x="176" y="184"/>
                  </a:lnTo>
                  <a:lnTo>
                    <a:pt x="176" y="184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9" y="189"/>
                  </a:lnTo>
                  <a:lnTo>
                    <a:pt x="179" y="189"/>
                  </a:lnTo>
                  <a:lnTo>
                    <a:pt x="179" y="189"/>
                  </a:lnTo>
                  <a:lnTo>
                    <a:pt x="179" y="189"/>
                  </a:lnTo>
                  <a:lnTo>
                    <a:pt x="181" y="189"/>
                  </a:lnTo>
                  <a:lnTo>
                    <a:pt x="181" y="189"/>
                  </a:lnTo>
                  <a:lnTo>
                    <a:pt x="208" y="189"/>
                  </a:lnTo>
                  <a:lnTo>
                    <a:pt x="208" y="189"/>
                  </a:lnTo>
                  <a:lnTo>
                    <a:pt x="210" y="189"/>
                  </a:lnTo>
                  <a:lnTo>
                    <a:pt x="210" y="189"/>
                  </a:lnTo>
                  <a:lnTo>
                    <a:pt x="210" y="189"/>
                  </a:lnTo>
                  <a:lnTo>
                    <a:pt x="210" y="189"/>
                  </a:lnTo>
                  <a:lnTo>
                    <a:pt x="210" y="187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7"/>
                  </a:lnTo>
                  <a:close/>
                  <a:moveTo>
                    <a:pt x="73" y="155"/>
                  </a:moveTo>
                  <a:lnTo>
                    <a:pt x="73" y="155"/>
                  </a:lnTo>
                  <a:lnTo>
                    <a:pt x="73" y="155"/>
                  </a:lnTo>
                  <a:lnTo>
                    <a:pt x="73" y="155"/>
                  </a:lnTo>
                  <a:lnTo>
                    <a:pt x="73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7"/>
                  </a:lnTo>
                  <a:lnTo>
                    <a:pt x="71" y="157"/>
                  </a:lnTo>
                  <a:lnTo>
                    <a:pt x="71" y="157"/>
                  </a:lnTo>
                  <a:lnTo>
                    <a:pt x="68" y="157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68" y="162"/>
                  </a:lnTo>
                  <a:lnTo>
                    <a:pt x="68" y="162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73" y="164"/>
                  </a:lnTo>
                  <a:lnTo>
                    <a:pt x="73" y="164"/>
                  </a:lnTo>
                  <a:lnTo>
                    <a:pt x="73" y="164"/>
                  </a:lnTo>
                  <a:lnTo>
                    <a:pt x="73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8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0"/>
                  </a:lnTo>
                  <a:lnTo>
                    <a:pt x="81" y="160"/>
                  </a:lnTo>
                  <a:lnTo>
                    <a:pt x="81" y="160"/>
                  </a:lnTo>
                  <a:lnTo>
                    <a:pt x="81" y="160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78" y="157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3" y="155"/>
                  </a:lnTo>
                  <a:close/>
                  <a:moveTo>
                    <a:pt x="117" y="155"/>
                  </a:moveTo>
                  <a:lnTo>
                    <a:pt x="117" y="155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2" y="155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2" y="164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57"/>
                  </a:lnTo>
                  <a:lnTo>
                    <a:pt x="122" y="157"/>
                  </a:lnTo>
                  <a:lnTo>
                    <a:pt x="122" y="157"/>
                  </a:lnTo>
                  <a:lnTo>
                    <a:pt x="122" y="157"/>
                  </a:lnTo>
                  <a:lnTo>
                    <a:pt x="122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17" y="155"/>
                  </a:lnTo>
                  <a:close/>
                  <a:moveTo>
                    <a:pt x="208" y="155"/>
                  </a:moveTo>
                  <a:lnTo>
                    <a:pt x="208" y="155"/>
                  </a:lnTo>
                  <a:lnTo>
                    <a:pt x="206" y="155"/>
                  </a:lnTo>
                  <a:lnTo>
                    <a:pt x="206" y="155"/>
                  </a:lnTo>
                  <a:lnTo>
                    <a:pt x="206" y="155"/>
                  </a:lnTo>
                  <a:lnTo>
                    <a:pt x="206" y="155"/>
                  </a:lnTo>
                  <a:lnTo>
                    <a:pt x="203" y="155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3" y="160"/>
                  </a:lnTo>
                  <a:lnTo>
                    <a:pt x="203" y="160"/>
                  </a:lnTo>
                  <a:lnTo>
                    <a:pt x="203" y="160"/>
                  </a:lnTo>
                  <a:lnTo>
                    <a:pt x="203" y="160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4"/>
                  </a:lnTo>
                  <a:lnTo>
                    <a:pt x="206" y="164"/>
                  </a:lnTo>
                  <a:lnTo>
                    <a:pt x="206" y="164"/>
                  </a:lnTo>
                  <a:lnTo>
                    <a:pt x="206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4"/>
                  </a:lnTo>
                  <a:lnTo>
                    <a:pt x="208" y="164"/>
                  </a:lnTo>
                  <a:lnTo>
                    <a:pt x="208" y="164"/>
                  </a:lnTo>
                  <a:lnTo>
                    <a:pt x="208" y="164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13" y="164"/>
                  </a:lnTo>
                  <a:lnTo>
                    <a:pt x="213" y="162"/>
                  </a:lnTo>
                  <a:lnTo>
                    <a:pt x="213" y="162"/>
                  </a:lnTo>
                  <a:lnTo>
                    <a:pt x="213" y="162"/>
                  </a:lnTo>
                  <a:lnTo>
                    <a:pt x="213" y="162"/>
                  </a:lnTo>
                  <a:lnTo>
                    <a:pt x="213" y="160"/>
                  </a:lnTo>
                  <a:lnTo>
                    <a:pt x="213" y="160"/>
                  </a:lnTo>
                  <a:lnTo>
                    <a:pt x="213" y="160"/>
                  </a:lnTo>
                  <a:lnTo>
                    <a:pt x="213" y="160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3" y="155"/>
                  </a:lnTo>
                  <a:lnTo>
                    <a:pt x="210" y="155"/>
                  </a:lnTo>
                  <a:lnTo>
                    <a:pt x="210" y="155"/>
                  </a:lnTo>
                  <a:lnTo>
                    <a:pt x="210" y="155"/>
                  </a:lnTo>
                  <a:lnTo>
                    <a:pt x="210" y="155"/>
                  </a:lnTo>
                  <a:lnTo>
                    <a:pt x="208" y="155"/>
                  </a:lnTo>
                  <a:lnTo>
                    <a:pt x="208" y="155"/>
                  </a:lnTo>
                  <a:lnTo>
                    <a:pt x="208" y="155"/>
                  </a:lnTo>
                  <a:lnTo>
                    <a:pt x="208" y="155"/>
                  </a:lnTo>
                  <a:close/>
                  <a:moveTo>
                    <a:pt x="103" y="155"/>
                  </a:moveTo>
                  <a:lnTo>
                    <a:pt x="90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5" y="155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4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8" y="160"/>
                  </a:lnTo>
                  <a:lnTo>
                    <a:pt x="108" y="160"/>
                  </a:lnTo>
                  <a:lnTo>
                    <a:pt x="108" y="160"/>
                  </a:lnTo>
                  <a:lnTo>
                    <a:pt x="108" y="157"/>
                  </a:lnTo>
                  <a:lnTo>
                    <a:pt x="108" y="157"/>
                  </a:lnTo>
                  <a:lnTo>
                    <a:pt x="108" y="157"/>
                  </a:lnTo>
                  <a:lnTo>
                    <a:pt x="108" y="157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3" y="155"/>
                  </a:lnTo>
                  <a:lnTo>
                    <a:pt x="103" y="155"/>
                  </a:lnTo>
                  <a:lnTo>
                    <a:pt x="103" y="155"/>
                  </a:lnTo>
                  <a:lnTo>
                    <a:pt x="103" y="155"/>
                  </a:lnTo>
                  <a:close/>
                  <a:moveTo>
                    <a:pt x="134" y="155"/>
                  </a:move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30" y="164"/>
                  </a:lnTo>
                  <a:lnTo>
                    <a:pt x="130" y="164"/>
                  </a:lnTo>
                  <a:lnTo>
                    <a:pt x="130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4" y="164"/>
                  </a:lnTo>
                  <a:lnTo>
                    <a:pt x="144" y="164"/>
                  </a:lnTo>
                  <a:lnTo>
                    <a:pt x="144" y="164"/>
                  </a:lnTo>
                  <a:lnTo>
                    <a:pt x="147" y="164"/>
                  </a:lnTo>
                  <a:lnTo>
                    <a:pt x="147" y="164"/>
                  </a:lnTo>
                  <a:lnTo>
                    <a:pt x="147" y="164"/>
                  </a:lnTo>
                  <a:lnTo>
                    <a:pt x="147" y="164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52" y="162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34" y="155"/>
                  </a:lnTo>
                  <a:close/>
                  <a:moveTo>
                    <a:pt x="191" y="155"/>
                  </a:moveTo>
                  <a:lnTo>
                    <a:pt x="161" y="155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7" y="155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1" y="164"/>
                  </a:lnTo>
                  <a:lnTo>
                    <a:pt x="161" y="164"/>
                  </a:lnTo>
                  <a:lnTo>
                    <a:pt x="161" y="164"/>
                  </a:lnTo>
                  <a:lnTo>
                    <a:pt x="191" y="164"/>
                  </a:lnTo>
                  <a:lnTo>
                    <a:pt x="191" y="164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6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8" y="160"/>
                  </a:lnTo>
                  <a:lnTo>
                    <a:pt x="198" y="160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00" y="130"/>
                  </a:moveTo>
                  <a:lnTo>
                    <a:pt x="100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100" y="142"/>
                  </a:lnTo>
                  <a:lnTo>
                    <a:pt x="100" y="142"/>
                  </a:lnTo>
                  <a:lnTo>
                    <a:pt x="100" y="142"/>
                  </a:lnTo>
                  <a:lnTo>
                    <a:pt x="100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5" y="140"/>
                  </a:lnTo>
                  <a:lnTo>
                    <a:pt x="105" y="140"/>
                  </a:lnTo>
                  <a:lnTo>
                    <a:pt x="105" y="140"/>
                  </a:lnTo>
                  <a:lnTo>
                    <a:pt x="105" y="138"/>
                  </a:lnTo>
                  <a:lnTo>
                    <a:pt x="105" y="138"/>
                  </a:lnTo>
                  <a:lnTo>
                    <a:pt x="105" y="138"/>
                  </a:lnTo>
                  <a:lnTo>
                    <a:pt x="105" y="138"/>
                  </a:lnTo>
                  <a:lnTo>
                    <a:pt x="105" y="138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3" y="130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30"/>
                  </a:lnTo>
                  <a:close/>
                  <a:moveTo>
                    <a:pt x="115" y="130"/>
                  </a:move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40"/>
                  </a:lnTo>
                  <a:lnTo>
                    <a:pt x="112" y="140"/>
                  </a:lnTo>
                  <a:lnTo>
                    <a:pt x="112" y="142"/>
                  </a:lnTo>
                  <a:lnTo>
                    <a:pt x="112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20" y="140"/>
                  </a:lnTo>
                  <a:lnTo>
                    <a:pt x="120" y="140"/>
                  </a:lnTo>
                  <a:lnTo>
                    <a:pt x="120" y="140"/>
                  </a:lnTo>
                  <a:lnTo>
                    <a:pt x="120" y="140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2" y="138"/>
                  </a:lnTo>
                  <a:lnTo>
                    <a:pt x="122" y="138"/>
                  </a:lnTo>
                  <a:lnTo>
                    <a:pt x="122" y="138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0" y="135"/>
                  </a:lnTo>
                  <a:lnTo>
                    <a:pt x="120" y="135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7" y="130"/>
                  </a:lnTo>
                  <a:lnTo>
                    <a:pt x="117" y="130"/>
                  </a:lnTo>
                  <a:lnTo>
                    <a:pt x="117" y="130"/>
                  </a:lnTo>
                  <a:lnTo>
                    <a:pt x="115" y="130"/>
                  </a:lnTo>
                  <a:close/>
                  <a:moveTo>
                    <a:pt x="181" y="130"/>
                  </a:moveTo>
                  <a:lnTo>
                    <a:pt x="181" y="130"/>
                  </a:lnTo>
                  <a:lnTo>
                    <a:pt x="179" y="130"/>
                  </a:lnTo>
                  <a:lnTo>
                    <a:pt x="179" y="130"/>
                  </a:lnTo>
                  <a:lnTo>
                    <a:pt x="179" y="133"/>
                  </a:lnTo>
                  <a:lnTo>
                    <a:pt x="179" y="133"/>
                  </a:lnTo>
                  <a:lnTo>
                    <a:pt x="179" y="133"/>
                  </a:lnTo>
                  <a:lnTo>
                    <a:pt x="176" y="133"/>
                  </a:lnTo>
                  <a:lnTo>
                    <a:pt x="176" y="133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6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1" y="130"/>
                  </a:lnTo>
                  <a:lnTo>
                    <a:pt x="181" y="130"/>
                  </a:lnTo>
                  <a:lnTo>
                    <a:pt x="181" y="130"/>
                  </a:lnTo>
                  <a:lnTo>
                    <a:pt x="181" y="130"/>
                  </a:lnTo>
                  <a:close/>
                  <a:moveTo>
                    <a:pt x="85" y="130"/>
                  </a:moveTo>
                  <a:lnTo>
                    <a:pt x="76" y="130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6" y="142"/>
                  </a:lnTo>
                  <a:lnTo>
                    <a:pt x="85" y="142"/>
                  </a:lnTo>
                  <a:lnTo>
                    <a:pt x="85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5" y="130"/>
                  </a:lnTo>
                  <a:lnTo>
                    <a:pt x="85" y="130"/>
                  </a:lnTo>
                  <a:close/>
                  <a:moveTo>
                    <a:pt x="164" y="130"/>
                  </a:move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27" y="133"/>
                  </a:lnTo>
                  <a:lnTo>
                    <a:pt x="127" y="133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8"/>
                  </a:lnTo>
                  <a:lnTo>
                    <a:pt x="127" y="138"/>
                  </a:lnTo>
                  <a:lnTo>
                    <a:pt x="127" y="138"/>
                  </a:lnTo>
                  <a:lnTo>
                    <a:pt x="127" y="138"/>
                  </a:lnTo>
                  <a:lnTo>
                    <a:pt x="127" y="138"/>
                  </a:lnTo>
                  <a:lnTo>
                    <a:pt x="127" y="140"/>
                  </a:lnTo>
                  <a:lnTo>
                    <a:pt x="127" y="140"/>
                  </a:lnTo>
                  <a:lnTo>
                    <a:pt x="127" y="140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64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71" y="140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69" y="133"/>
                  </a:lnTo>
                  <a:lnTo>
                    <a:pt x="169" y="133"/>
                  </a:lnTo>
                  <a:lnTo>
                    <a:pt x="169" y="133"/>
                  </a:lnTo>
                  <a:lnTo>
                    <a:pt x="169" y="133"/>
                  </a:lnTo>
                  <a:lnTo>
                    <a:pt x="166" y="130"/>
                  </a:lnTo>
                  <a:lnTo>
                    <a:pt x="166" y="130"/>
                  </a:lnTo>
                  <a:lnTo>
                    <a:pt x="166" y="130"/>
                  </a:lnTo>
                  <a:lnTo>
                    <a:pt x="166" y="130"/>
                  </a:lnTo>
                  <a:lnTo>
                    <a:pt x="164" y="130"/>
                  </a:lnTo>
                  <a:close/>
                  <a:moveTo>
                    <a:pt x="208" y="130"/>
                  </a:moveTo>
                  <a:lnTo>
                    <a:pt x="196" y="130"/>
                  </a:lnTo>
                  <a:lnTo>
                    <a:pt x="196" y="130"/>
                  </a:lnTo>
                  <a:lnTo>
                    <a:pt x="193" y="130"/>
                  </a:lnTo>
                  <a:lnTo>
                    <a:pt x="193" y="130"/>
                  </a:lnTo>
                  <a:lnTo>
                    <a:pt x="193" y="130"/>
                  </a:lnTo>
                  <a:lnTo>
                    <a:pt x="193" y="133"/>
                  </a:lnTo>
                  <a:lnTo>
                    <a:pt x="193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8"/>
                  </a:lnTo>
                  <a:lnTo>
                    <a:pt x="191" y="138"/>
                  </a:lnTo>
                  <a:lnTo>
                    <a:pt x="191" y="138"/>
                  </a:lnTo>
                  <a:lnTo>
                    <a:pt x="191" y="138"/>
                  </a:lnTo>
                  <a:lnTo>
                    <a:pt x="191" y="138"/>
                  </a:lnTo>
                  <a:lnTo>
                    <a:pt x="191" y="140"/>
                  </a:lnTo>
                  <a:lnTo>
                    <a:pt x="191" y="140"/>
                  </a:lnTo>
                  <a:lnTo>
                    <a:pt x="191" y="140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208" y="142"/>
                  </a:lnTo>
                  <a:lnTo>
                    <a:pt x="208" y="142"/>
                  </a:lnTo>
                  <a:lnTo>
                    <a:pt x="210" y="142"/>
                  </a:lnTo>
                  <a:lnTo>
                    <a:pt x="210" y="142"/>
                  </a:lnTo>
                  <a:lnTo>
                    <a:pt x="210" y="142"/>
                  </a:lnTo>
                  <a:lnTo>
                    <a:pt x="210" y="142"/>
                  </a:lnTo>
                  <a:lnTo>
                    <a:pt x="210" y="142"/>
                  </a:lnTo>
                  <a:lnTo>
                    <a:pt x="213" y="140"/>
                  </a:lnTo>
                  <a:lnTo>
                    <a:pt x="213" y="140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38"/>
                  </a:lnTo>
                  <a:lnTo>
                    <a:pt x="213" y="138"/>
                  </a:lnTo>
                  <a:lnTo>
                    <a:pt x="213" y="138"/>
                  </a:lnTo>
                  <a:lnTo>
                    <a:pt x="213" y="138"/>
                  </a:lnTo>
                  <a:lnTo>
                    <a:pt x="213" y="135"/>
                  </a:lnTo>
                  <a:lnTo>
                    <a:pt x="213" y="135"/>
                  </a:lnTo>
                  <a:lnTo>
                    <a:pt x="213" y="135"/>
                  </a:lnTo>
                  <a:lnTo>
                    <a:pt x="213" y="135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3"/>
                  </a:lnTo>
                  <a:lnTo>
                    <a:pt x="210" y="133"/>
                  </a:lnTo>
                  <a:lnTo>
                    <a:pt x="210" y="133"/>
                  </a:lnTo>
                  <a:lnTo>
                    <a:pt x="210" y="130"/>
                  </a:lnTo>
                  <a:lnTo>
                    <a:pt x="210" y="130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8" y="130"/>
                  </a:lnTo>
                  <a:close/>
                  <a:moveTo>
                    <a:pt x="142" y="93"/>
                  </a:moveTo>
                  <a:lnTo>
                    <a:pt x="142" y="93"/>
                  </a:lnTo>
                  <a:lnTo>
                    <a:pt x="142" y="93"/>
                  </a:lnTo>
                  <a:lnTo>
                    <a:pt x="142" y="96"/>
                  </a:lnTo>
                  <a:lnTo>
                    <a:pt x="139" y="96"/>
                  </a:lnTo>
                  <a:lnTo>
                    <a:pt x="139" y="96"/>
                  </a:lnTo>
                  <a:lnTo>
                    <a:pt x="139" y="96"/>
                  </a:lnTo>
                  <a:lnTo>
                    <a:pt x="139" y="96"/>
                  </a:lnTo>
                  <a:lnTo>
                    <a:pt x="137" y="96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3"/>
                  </a:lnTo>
                  <a:lnTo>
                    <a:pt x="137" y="103"/>
                  </a:lnTo>
                  <a:lnTo>
                    <a:pt x="137" y="103"/>
                  </a:lnTo>
                  <a:lnTo>
                    <a:pt x="139" y="103"/>
                  </a:lnTo>
                  <a:lnTo>
                    <a:pt x="139" y="106"/>
                  </a:lnTo>
                  <a:lnTo>
                    <a:pt x="139" y="106"/>
                  </a:lnTo>
                  <a:lnTo>
                    <a:pt x="139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2" y="93"/>
                  </a:lnTo>
                  <a:lnTo>
                    <a:pt x="142" y="93"/>
                  </a:lnTo>
                  <a:close/>
                  <a:moveTo>
                    <a:pt x="159" y="93"/>
                  </a:moveTo>
                  <a:lnTo>
                    <a:pt x="157" y="93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7" y="96"/>
                  </a:lnTo>
                  <a:lnTo>
                    <a:pt x="157" y="96"/>
                  </a:lnTo>
                  <a:lnTo>
                    <a:pt x="154" y="96"/>
                  </a:lnTo>
                  <a:lnTo>
                    <a:pt x="154" y="96"/>
                  </a:lnTo>
                  <a:lnTo>
                    <a:pt x="154" y="96"/>
                  </a:lnTo>
                  <a:lnTo>
                    <a:pt x="154" y="98"/>
                  </a:lnTo>
                  <a:lnTo>
                    <a:pt x="154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2" y="98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9" y="106"/>
                  </a:lnTo>
                  <a:lnTo>
                    <a:pt x="174" y="106"/>
                  </a:lnTo>
                  <a:lnTo>
                    <a:pt x="174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9" y="103"/>
                  </a:lnTo>
                  <a:lnTo>
                    <a:pt x="179" y="103"/>
                  </a:lnTo>
                  <a:lnTo>
                    <a:pt x="179" y="103"/>
                  </a:lnTo>
                  <a:lnTo>
                    <a:pt x="179" y="103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98"/>
                  </a:lnTo>
                  <a:lnTo>
                    <a:pt x="179" y="98"/>
                  </a:lnTo>
                  <a:lnTo>
                    <a:pt x="179" y="98"/>
                  </a:lnTo>
                  <a:lnTo>
                    <a:pt x="179" y="98"/>
                  </a:lnTo>
                  <a:lnTo>
                    <a:pt x="179" y="98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6" y="93"/>
                  </a:lnTo>
                  <a:lnTo>
                    <a:pt x="176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59" y="93"/>
                  </a:lnTo>
                  <a:close/>
                  <a:moveTo>
                    <a:pt x="191" y="93"/>
                  </a:moveTo>
                  <a:lnTo>
                    <a:pt x="188" y="93"/>
                  </a:lnTo>
                  <a:lnTo>
                    <a:pt x="188" y="93"/>
                  </a:lnTo>
                  <a:lnTo>
                    <a:pt x="188" y="93"/>
                  </a:lnTo>
                  <a:lnTo>
                    <a:pt x="188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91" y="106"/>
                  </a:lnTo>
                  <a:lnTo>
                    <a:pt x="208" y="106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3" y="101"/>
                  </a:lnTo>
                  <a:lnTo>
                    <a:pt x="213" y="101"/>
                  </a:lnTo>
                  <a:lnTo>
                    <a:pt x="213" y="101"/>
                  </a:lnTo>
                  <a:lnTo>
                    <a:pt x="213" y="101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6"/>
                  </a:lnTo>
                  <a:lnTo>
                    <a:pt x="210" y="96"/>
                  </a:lnTo>
                  <a:lnTo>
                    <a:pt x="210" y="96"/>
                  </a:lnTo>
                  <a:lnTo>
                    <a:pt x="210" y="96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08" y="93"/>
                  </a:lnTo>
                  <a:lnTo>
                    <a:pt x="208" y="93"/>
                  </a:lnTo>
                  <a:lnTo>
                    <a:pt x="191" y="93"/>
                  </a:lnTo>
                  <a:close/>
                  <a:moveTo>
                    <a:pt x="181" y="71"/>
                  </a:moveTo>
                  <a:lnTo>
                    <a:pt x="179" y="71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6" y="71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6" y="79"/>
                  </a:lnTo>
                  <a:lnTo>
                    <a:pt x="176" y="79"/>
                  </a:lnTo>
                  <a:lnTo>
                    <a:pt x="176" y="79"/>
                  </a:lnTo>
                  <a:lnTo>
                    <a:pt x="176" y="79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4" y="81"/>
                  </a:lnTo>
                  <a:lnTo>
                    <a:pt x="184" y="81"/>
                  </a:lnTo>
                  <a:lnTo>
                    <a:pt x="184" y="81"/>
                  </a:lnTo>
                  <a:lnTo>
                    <a:pt x="184" y="81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86" y="74"/>
                  </a:lnTo>
                  <a:lnTo>
                    <a:pt x="186" y="74"/>
                  </a:lnTo>
                  <a:lnTo>
                    <a:pt x="186" y="74"/>
                  </a:lnTo>
                  <a:lnTo>
                    <a:pt x="184" y="74"/>
                  </a:lnTo>
                  <a:lnTo>
                    <a:pt x="184" y="71"/>
                  </a:lnTo>
                  <a:lnTo>
                    <a:pt x="184" y="71"/>
                  </a:lnTo>
                  <a:lnTo>
                    <a:pt x="184" y="71"/>
                  </a:lnTo>
                  <a:lnTo>
                    <a:pt x="181" y="71"/>
                  </a:lnTo>
                  <a:lnTo>
                    <a:pt x="181" y="71"/>
                  </a:lnTo>
                  <a:lnTo>
                    <a:pt x="181" y="71"/>
                  </a:lnTo>
                  <a:lnTo>
                    <a:pt x="181" y="71"/>
                  </a:lnTo>
                  <a:close/>
                  <a:moveTo>
                    <a:pt x="142" y="71"/>
                  </a:move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39" y="71"/>
                  </a:lnTo>
                  <a:lnTo>
                    <a:pt x="139" y="71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7" y="74"/>
                  </a:lnTo>
                  <a:lnTo>
                    <a:pt x="137" y="74"/>
                  </a:lnTo>
                  <a:lnTo>
                    <a:pt x="137" y="74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9" y="79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64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9" y="81"/>
                  </a:lnTo>
                  <a:lnTo>
                    <a:pt x="169" y="81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71" y="79"/>
                  </a:lnTo>
                  <a:lnTo>
                    <a:pt x="171" y="79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69" y="74"/>
                  </a:lnTo>
                  <a:lnTo>
                    <a:pt x="169" y="74"/>
                  </a:lnTo>
                  <a:lnTo>
                    <a:pt x="169" y="74"/>
                  </a:lnTo>
                  <a:lnTo>
                    <a:pt x="169" y="74"/>
                  </a:lnTo>
                  <a:lnTo>
                    <a:pt x="169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4" y="71"/>
                  </a:lnTo>
                  <a:lnTo>
                    <a:pt x="142" y="71"/>
                  </a:lnTo>
                  <a:close/>
                  <a:moveTo>
                    <a:pt x="208" y="71"/>
                  </a:moveTo>
                  <a:lnTo>
                    <a:pt x="196" y="71"/>
                  </a:lnTo>
                  <a:lnTo>
                    <a:pt x="196" y="71"/>
                  </a:lnTo>
                  <a:lnTo>
                    <a:pt x="196" y="71"/>
                  </a:lnTo>
                  <a:lnTo>
                    <a:pt x="193" y="71"/>
                  </a:lnTo>
                  <a:lnTo>
                    <a:pt x="193" y="71"/>
                  </a:lnTo>
                  <a:lnTo>
                    <a:pt x="193" y="71"/>
                  </a:lnTo>
                  <a:lnTo>
                    <a:pt x="193" y="71"/>
                  </a:lnTo>
                  <a:lnTo>
                    <a:pt x="193" y="74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208" y="81"/>
                  </a:lnTo>
                  <a:lnTo>
                    <a:pt x="208" y="81"/>
                  </a:lnTo>
                  <a:lnTo>
                    <a:pt x="210" y="81"/>
                  </a:lnTo>
                  <a:lnTo>
                    <a:pt x="210" y="81"/>
                  </a:lnTo>
                  <a:lnTo>
                    <a:pt x="210" y="81"/>
                  </a:lnTo>
                  <a:lnTo>
                    <a:pt x="210" y="81"/>
                  </a:lnTo>
                  <a:lnTo>
                    <a:pt x="213" y="81"/>
                  </a:lnTo>
                  <a:lnTo>
                    <a:pt x="213" y="81"/>
                  </a:lnTo>
                  <a:lnTo>
                    <a:pt x="213" y="79"/>
                  </a:lnTo>
                  <a:lnTo>
                    <a:pt x="213" y="79"/>
                  </a:lnTo>
                  <a:lnTo>
                    <a:pt x="213" y="79"/>
                  </a:lnTo>
                  <a:lnTo>
                    <a:pt x="213" y="79"/>
                  </a:lnTo>
                  <a:lnTo>
                    <a:pt x="215" y="79"/>
                  </a:lnTo>
                  <a:lnTo>
                    <a:pt x="215" y="76"/>
                  </a:lnTo>
                  <a:lnTo>
                    <a:pt x="215" y="76"/>
                  </a:lnTo>
                  <a:lnTo>
                    <a:pt x="215" y="76"/>
                  </a:lnTo>
                  <a:lnTo>
                    <a:pt x="215" y="76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1"/>
                  </a:lnTo>
                  <a:lnTo>
                    <a:pt x="210" y="71"/>
                  </a:lnTo>
                  <a:lnTo>
                    <a:pt x="210" y="71"/>
                  </a:lnTo>
                  <a:lnTo>
                    <a:pt x="210" y="71"/>
                  </a:lnTo>
                  <a:lnTo>
                    <a:pt x="210" y="71"/>
                  </a:lnTo>
                  <a:lnTo>
                    <a:pt x="208" y="71"/>
                  </a:lnTo>
                  <a:lnTo>
                    <a:pt x="208" y="71"/>
                  </a:lnTo>
                  <a:close/>
                  <a:moveTo>
                    <a:pt x="166" y="226"/>
                  </a:moveTo>
                  <a:lnTo>
                    <a:pt x="235" y="226"/>
                  </a:lnTo>
                  <a:lnTo>
                    <a:pt x="166" y="292"/>
                  </a:lnTo>
                  <a:lnTo>
                    <a:pt x="166" y="226"/>
                  </a:lnTo>
                  <a:close/>
                  <a:moveTo>
                    <a:pt x="44" y="47"/>
                  </a:moveTo>
                  <a:lnTo>
                    <a:pt x="235" y="47"/>
                  </a:lnTo>
                  <a:lnTo>
                    <a:pt x="235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7" y="214"/>
                  </a:lnTo>
                  <a:lnTo>
                    <a:pt x="157" y="214"/>
                  </a:lnTo>
                  <a:lnTo>
                    <a:pt x="157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4" y="216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92"/>
                  </a:lnTo>
                  <a:lnTo>
                    <a:pt x="44" y="292"/>
                  </a:lnTo>
                  <a:lnTo>
                    <a:pt x="44" y="47"/>
                  </a:lnTo>
                  <a:close/>
                  <a:moveTo>
                    <a:pt x="9" y="12"/>
                  </a:moveTo>
                  <a:lnTo>
                    <a:pt x="201" y="12"/>
                  </a:lnTo>
                  <a:lnTo>
                    <a:pt x="201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258"/>
                  </a:lnTo>
                  <a:lnTo>
                    <a:pt x="9" y="258"/>
                  </a:lnTo>
                  <a:lnTo>
                    <a:pt x="9" y="12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34" y="270"/>
                  </a:lnTo>
                  <a:lnTo>
                    <a:pt x="34" y="299"/>
                  </a:lnTo>
                  <a:lnTo>
                    <a:pt x="34" y="299"/>
                  </a:lnTo>
                  <a:lnTo>
                    <a:pt x="34" y="299"/>
                  </a:lnTo>
                  <a:lnTo>
                    <a:pt x="34" y="299"/>
                  </a:lnTo>
                  <a:lnTo>
                    <a:pt x="34" y="302"/>
                  </a:lnTo>
                  <a:lnTo>
                    <a:pt x="34" y="302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71" y="304"/>
                  </a:lnTo>
                  <a:lnTo>
                    <a:pt x="171" y="304"/>
                  </a:lnTo>
                  <a:lnTo>
                    <a:pt x="171" y="304"/>
                  </a:lnTo>
                  <a:lnTo>
                    <a:pt x="171" y="302"/>
                  </a:lnTo>
                  <a:lnTo>
                    <a:pt x="171" y="302"/>
                  </a:lnTo>
                  <a:lnTo>
                    <a:pt x="245" y="231"/>
                  </a:lnTo>
                  <a:lnTo>
                    <a:pt x="245" y="231"/>
                  </a:lnTo>
                  <a:lnTo>
                    <a:pt x="245" y="231"/>
                  </a:lnTo>
                  <a:lnTo>
                    <a:pt x="245" y="228"/>
                  </a:lnTo>
                  <a:lnTo>
                    <a:pt x="245" y="228"/>
                  </a:lnTo>
                  <a:lnTo>
                    <a:pt x="245" y="228"/>
                  </a:lnTo>
                  <a:lnTo>
                    <a:pt x="245" y="228"/>
                  </a:lnTo>
                  <a:lnTo>
                    <a:pt x="245" y="228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7"/>
                  </a:lnTo>
                  <a:lnTo>
                    <a:pt x="245" y="37"/>
                  </a:lnTo>
                  <a:lnTo>
                    <a:pt x="245" y="37"/>
                  </a:lnTo>
                  <a:lnTo>
                    <a:pt x="245" y="37"/>
                  </a:lnTo>
                  <a:lnTo>
                    <a:pt x="242" y="35"/>
                  </a:lnTo>
                  <a:lnTo>
                    <a:pt x="242" y="35"/>
                  </a:lnTo>
                  <a:lnTo>
                    <a:pt x="242" y="35"/>
                  </a:lnTo>
                  <a:lnTo>
                    <a:pt x="242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10" y="35"/>
                  </a:lnTo>
                  <a:lnTo>
                    <a:pt x="210" y="5"/>
                  </a:lnTo>
                  <a:lnTo>
                    <a:pt x="210" y="5"/>
                  </a:lnTo>
                  <a:lnTo>
                    <a:pt x="210" y="5"/>
                  </a:lnTo>
                  <a:lnTo>
                    <a:pt x="210" y="5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08" y="3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4" name="Group 312">
            <a:extLst>
              <a:ext uri="{FF2B5EF4-FFF2-40B4-BE49-F238E27FC236}">
                <a16:creationId xmlns:a16="http://schemas.microsoft.com/office/drawing/2014/main" id="{CC3C56ED-723C-417E-B311-6E6B91109E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1572" y="4059237"/>
            <a:ext cx="841375" cy="841375"/>
            <a:chOff x="4421" y="2619"/>
            <a:chExt cx="530" cy="530"/>
          </a:xfrm>
        </p:grpSpPr>
        <p:sp>
          <p:nvSpPr>
            <p:cNvPr id="345" name="AutoShape 311">
              <a:extLst>
                <a:ext uri="{FF2B5EF4-FFF2-40B4-BE49-F238E27FC236}">
                  <a16:creationId xmlns:a16="http://schemas.microsoft.com/office/drawing/2014/main" id="{F4714FD3-657A-497B-BFF4-C747E9A46D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1" y="261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Oval 313">
              <a:extLst>
                <a:ext uri="{FF2B5EF4-FFF2-40B4-BE49-F238E27FC236}">
                  <a16:creationId xmlns:a16="http://schemas.microsoft.com/office/drawing/2014/main" id="{BCE6E08E-0F92-4761-8D68-A69D22EAE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" y="261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314">
              <a:extLst>
                <a:ext uri="{FF2B5EF4-FFF2-40B4-BE49-F238E27FC236}">
                  <a16:creationId xmlns:a16="http://schemas.microsoft.com/office/drawing/2014/main" id="{7D78ADCE-632D-475E-B1EE-3E5B8B97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9" y="263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315">
              <a:extLst>
                <a:ext uri="{FF2B5EF4-FFF2-40B4-BE49-F238E27FC236}">
                  <a16:creationId xmlns:a16="http://schemas.microsoft.com/office/drawing/2014/main" id="{5EE21C78-9B3E-4093-8C18-F3A86ED224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726"/>
              <a:ext cx="256" cy="318"/>
            </a:xfrm>
            <a:custGeom>
              <a:avLst/>
              <a:gdLst>
                <a:gd name="T0" fmla="*/ 77 w 256"/>
                <a:gd name="T1" fmla="*/ 282 h 318"/>
                <a:gd name="T2" fmla="*/ 110 w 256"/>
                <a:gd name="T3" fmla="*/ 272 h 318"/>
                <a:gd name="T4" fmla="*/ 108 w 256"/>
                <a:gd name="T5" fmla="*/ 218 h 318"/>
                <a:gd name="T6" fmla="*/ 118 w 256"/>
                <a:gd name="T7" fmla="*/ 213 h 318"/>
                <a:gd name="T8" fmla="*/ 72 w 256"/>
                <a:gd name="T9" fmla="*/ 216 h 318"/>
                <a:gd name="T10" fmla="*/ 105 w 256"/>
                <a:gd name="T11" fmla="*/ 218 h 318"/>
                <a:gd name="T12" fmla="*/ 144 w 256"/>
                <a:gd name="T13" fmla="*/ 187 h 318"/>
                <a:gd name="T14" fmla="*/ 149 w 256"/>
                <a:gd name="T15" fmla="*/ 198 h 318"/>
                <a:gd name="T16" fmla="*/ 77 w 256"/>
                <a:gd name="T17" fmla="*/ 185 h 318"/>
                <a:gd name="T18" fmla="*/ 80 w 256"/>
                <a:gd name="T19" fmla="*/ 198 h 318"/>
                <a:gd name="T20" fmla="*/ 92 w 256"/>
                <a:gd name="T21" fmla="*/ 185 h 318"/>
                <a:gd name="T22" fmla="*/ 103 w 256"/>
                <a:gd name="T23" fmla="*/ 195 h 318"/>
                <a:gd name="T24" fmla="*/ 136 w 256"/>
                <a:gd name="T25" fmla="*/ 190 h 318"/>
                <a:gd name="T26" fmla="*/ 156 w 256"/>
                <a:gd name="T27" fmla="*/ 192 h 318"/>
                <a:gd name="T28" fmla="*/ 179 w 256"/>
                <a:gd name="T29" fmla="*/ 192 h 318"/>
                <a:gd name="T30" fmla="*/ 185 w 256"/>
                <a:gd name="T31" fmla="*/ 187 h 318"/>
                <a:gd name="T32" fmla="*/ 220 w 256"/>
                <a:gd name="T33" fmla="*/ 198 h 318"/>
                <a:gd name="T34" fmla="*/ 77 w 256"/>
                <a:gd name="T35" fmla="*/ 162 h 318"/>
                <a:gd name="T36" fmla="*/ 80 w 256"/>
                <a:gd name="T37" fmla="*/ 172 h 318"/>
                <a:gd name="T38" fmla="*/ 80 w 256"/>
                <a:gd name="T39" fmla="*/ 162 h 318"/>
                <a:gd name="T40" fmla="*/ 120 w 256"/>
                <a:gd name="T41" fmla="*/ 172 h 318"/>
                <a:gd name="T42" fmla="*/ 126 w 256"/>
                <a:gd name="T43" fmla="*/ 162 h 318"/>
                <a:gd name="T44" fmla="*/ 213 w 256"/>
                <a:gd name="T45" fmla="*/ 169 h 318"/>
                <a:gd name="T46" fmla="*/ 223 w 256"/>
                <a:gd name="T47" fmla="*/ 164 h 318"/>
                <a:gd name="T48" fmla="*/ 90 w 256"/>
                <a:gd name="T49" fmla="*/ 167 h 318"/>
                <a:gd name="T50" fmla="*/ 113 w 256"/>
                <a:gd name="T51" fmla="*/ 169 h 318"/>
                <a:gd name="T52" fmla="*/ 136 w 256"/>
                <a:gd name="T53" fmla="*/ 164 h 318"/>
                <a:gd name="T54" fmla="*/ 154 w 256"/>
                <a:gd name="T55" fmla="*/ 172 h 318"/>
                <a:gd name="T56" fmla="*/ 169 w 256"/>
                <a:gd name="T57" fmla="*/ 162 h 318"/>
                <a:gd name="T58" fmla="*/ 169 w 256"/>
                <a:gd name="T59" fmla="*/ 172 h 318"/>
                <a:gd name="T60" fmla="*/ 202 w 256"/>
                <a:gd name="T61" fmla="*/ 162 h 318"/>
                <a:gd name="T62" fmla="*/ 100 w 256"/>
                <a:gd name="T63" fmla="*/ 146 h 318"/>
                <a:gd name="T64" fmla="*/ 110 w 256"/>
                <a:gd name="T65" fmla="*/ 141 h 318"/>
                <a:gd name="T66" fmla="*/ 115 w 256"/>
                <a:gd name="T67" fmla="*/ 144 h 318"/>
                <a:gd name="T68" fmla="*/ 128 w 256"/>
                <a:gd name="T69" fmla="*/ 144 h 318"/>
                <a:gd name="T70" fmla="*/ 185 w 256"/>
                <a:gd name="T71" fmla="*/ 141 h 318"/>
                <a:gd name="T72" fmla="*/ 195 w 256"/>
                <a:gd name="T73" fmla="*/ 144 h 318"/>
                <a:gd name="T74" fmla="*/ 74 w 256"/>
                <a:gd name="T75" fmla="*/ 139 h 318"/>
                <a:gd name="T76" fmla="*/ 92 w 256"/>
                <a:gd name="T77" fmla="*/ 149 h 318"/>
                <a:gd name="T78" fmla="*/ 172 w 256"/>
                <a:gd name="T79" fmla="*/ 136 h 318"/>
                <a:gd name="T80" fmla="*/ 136 w 256"/>
                <a:gd name="T81" fmla="*/ 149 h 318"/>
                <a:gd name="T82" fmla="*/ 177 w 256"/>
                <a:gd name="T83" fmla="*/ 139 h 318"/>
                <a:gd name="T84" fmla="*/ 200 w 256"/>
                <a:gd name="T85" fmla="*/ 144 h 318"/>
                <a:gd name="T86" fmla="*/ 223 w 256"/>
                <a:gd name="T87" fmla="*/ 141 h 318"/>
                <a:gd name="T88" fmla="*/ 144 w 256"/>
                <a:gd name="T89" fmla="*/ 103 h 318"/>
                <a:gd name="T90" fmla="*/ 154 w 256"/>
                <a:gd name="T91" fmla="*/ 108 h 318"/>
                <a:gd name="T92" fmla="*/ 161 w 256"/>
                <a:gd name="T93" fmla="*/ 100 h 318"/>
                <a:gd name="T94" fmla="*/ 185 w 256"/>
                <a:gd name="T95" fmla="*/ 111 h 318"/>
                <a:gd name="T96" fmla="*/ 200 w 256"/>
                <a:gd name="T97" fmla="*/ 98 h 318"/>
                <a:gd name="T98" fmla="*/ 197 w 256"/>
                <a:gd name="T99" fmla="*/ 111 h 318"/>
                <a:gd name="T100" fmla="*/ 220 w 256"/>
                <a:gd name="T101" fmla="*/ 100 h 318"/>
                <a:gd name="T102" fmla="*/ 185 w 256"/>
                <a:gd name="T103" fmla="*/ 82 h 318"/>
                <a:gd name="T104" fmla="*/ 195 w 256"/>
                <a:gd name="T105" fmla="*/ 80 h 318"/>
                <a:gd name="T106" fmla="*/ 144 w 256"/>
                <a:gd name="T107" fmla="*/ 80 h 318"/>
                <a:gd name="T108" fmla="*/ 179 w 256"/>
                <a:gd name="T109" fmla="*/ 82 h 318"/>
                <a:gd name="T110" fmla="*/ 202 w 256"/>
                <a:gd name="T111" fmla="*/ 75 h 318"/>
                <a:gd name="T112" fmla="*/ 220 w 256"/>
                <a:gd name="T113" fmla="*/ 85 h 318"/>
                <a:gd name="T114" fmla="*/ 174 w 256"/>
                <a:gd name="T115" fmla="*/ 236 h 318"/>
                <a:gd name="T116" fmla="*/ 210 w 256"/>
                <a:gd name="T117" fmla="*/ 13 h 318"/>
                <a:gd name="T118" fmla="*/ 3 w 256"/>
                <a:gd name="T119" fmla="*/ 0 h 318"/>
                <a:gd name="T120" fmla="*/ 36 w 256"/>
                <a:gd name="T121" fmla="*/ 313 h 318"/>
                <a:gd name="T122" fmla="*/ 256 w 256"/>
                <a:gd name="T123" fmla="*/ 239 h 318"/>
                <a:gd name="T124" fmla="*/ 220 w 256"/>
                <a:gd name="T125" fmla="*/ 3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" h="318">
                  <a:moveTo>
                    <a:pt x="80" y="269"/>
                  </a:moveTo>
                  <a:lnTo>
                    <a:pt x="77" y="269"/>
                  </a:lnTo>
                  <a:lnTo>
                    <a:pt x="77" y="269"/>
                  </a:lnTo>
                  <a:lnTo>
                    <a:pt x="77" y="269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74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2" y="277"/>
                  </a:lnTo>
                  <a:lnTo>
                    <a:pt x="72" y="277"/>
                  </a:lnTo>
                  <a:lnTo>
                    <a:pt x="72" y="277"/>
                  </a:lnTo>
                  <a:lnTo>
                    <a:pt x="72" y="277"/>
                  </a:lnTo>
                  <a:lnTo>
                    <a:pt x="72" y="280"/>
                  </a:lnTo>
                  <a:lnTo>
                    <a:pt x="74" y="280"/>
                  </a:lnTo>
                  <a:lnTo>
                    <a:pt x="74" y="280"/>
                  </a:lnTo>
                  <a:lnTo>
                    <a:pt x="74" y="280"/>
                  </a:lnTo>
                  <a:lnTo>
                    <a:pt x="74" y="282"/>
                  </a:lnTo>
                  <a:lnTo>
                    <a:pt x="77" y="282"/>
                  </a:lnTo>
                  <a:lnTo>
                    <a:pt x="77" y="282"/>
                  </a:lnTo>
                  <a:lnTo>
                    <a:pt x="77" y="282"/>
                  </a:lnTo>
                  <a:lnTo>
                    <a:pt x="77" y="282"/>
                  </a:lnTo>
                  <a:lnTo>
                    <a:pt x="77" y="282"/>
                  </a:lnTo>
                  <a:lnTo>
                    <a:pt x="80" y="282"/>
                  </a:lnTo>
                  <a:lnTo>
                    <a:pt x="108" y="282"/>
                  </a:lnTo>
                  <a:lnTo>
                    <a:pt x="108" y="282"/>
                  </a:lnTo>
                  <a:lnTo>
                    <a:pt x="108" y="282"/>
                  </a:lnTo>
                  <a:lnTo>
                    <a:pt x="110" y="282"/>
                  </a:lnTo>
                  <a:lnTo>
                    <a:pt x="110" y="282"/>
                  </a:lnTo>
                  <a:lnTo>
                    <a:pt x="110" y="282"/>
                  </a:lnTo>
                  <a:lnTo>
                    <a:pt x="110" y="282"/>
                  </a:lnTo>
                  <a:lnTo>
                    <a:pt x="113" y="280"/>
                  </a:lnTo>
                  <a:lnTo>
                    <a:pt x="113" y="280"/>
                  </a:lnTo>
                  <a:lnTo>
                    <a:pt x="113" y="280"/>
                  </a:lnTo>
                  <a:lnTo>
                    <a:pt x="113" y="280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2"/>
                  </a:lnTo>
                  <a:lnTo>
                    <a:pt x="113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69"/>
                  </a:lnTo>
                  <a:lnTo>
                    <a:pt x="108" y="269"/>
                  </a:lnTo>
                  <a:lnTo>
                    <a:pt x="108" y="269"/>
                  </a:lnTo>
                  <a:lnTo>
                    <a:pt x="108" y="269"/>
                  </a:lnTo>
                  <a:lnTo>
                    <a:pt x="80" y="269"/>
                  </a:lnTo>
                  <a:close/>
                  <a:moveTo>
                    <a:pt x="113" y="210"/>
                  </a:moveTo>
                  <a:lnTo>
                    <a:pt x="113" y="210"/>
                  </a:lnTo>
                  <a:lnTo>
                    <a:pt x="113" y="210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08" y="213"/>
                  </a:lnTo>
                  <a:lnTo>
                    <a:pt x="108" y="213"/>
                  </a:lnTo>
                  <a:lnTo>
                    <a:pt x="108" y="213"/>
                  </a:lnTo>
                  <a:lnTo>
                    <a:pt x="108" y="216"/>
                  </a:lnTo>
                  <a:lnTo>
                    <a:pt x="108" y="216"/>
                  </a:lnTo>
                  <a:lnTo>
                    <a:pt x="108" y="216"/>
                  </a:lnTo>
                  <a:lnTo>
                    <a:pt x="108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8" y="221"/>
                  </a:lnTo>
                  <a:lnTo>
                    <a:pt x="118" y="221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18" y="210"/>
                  </a:lnTo>
                  <a:lnTo>
                    <a:pt x="118" y="210"/>
                  </a:lnTo>
                  <a:lnTo>
                    <a:pt x="115" y="210"/>
                  </a:lnTo>
                  <a:lnTo>
                    <a:pt x="115" y="210"/>
                  </a:lnTo>
                  <a:lnTo>
                    <a:pt x="115" y="210"/>
                  </a:lnTo>
                  <a:lnTo>
                    <a:pt x="115" y="210"/>
                  </a:lnTo>
                  <a:lnTo>
                    <a:pt x="115" y="210"/>
                  </a:lnTo>
                  <a:lnTo>
                    <a:pt x="113" y="210"/>
                  </a:lnTo>
                  <a:lnTo>
                    <a:pt x="113" y="210"/>
                  </a:lnTo>
                  <a:close/>
                  <a:moveTo>
                    <a:pt x="97" y="210"/>
                  </a:moveTo>
                  <a:lnTo>
                    <a:pt x="80" y="210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21"/>
                  </a:lnTo>
                  <a:lnTo>
                    <a:pt x="74" y="221"/>
                  </a:lnTo>
                  <a:lnTo>
                    <a:pt x="77" y="221"/>
                  </a:lnTo>
                  <a:lnTo>
                    <a:pt x="77" y="221"/>
                  </a:lnTo>
                  <a:lnTo>
                    <a:pt x="77" y="221"/>
                  </a:lnTo>
                  <a:lnTo>
                    <a:pt x="77" y="221"/>
                  </a:lnTo>
                  <a:lnTo>
                    <a:pt x="77" y="221"/>
                  </a:lnTo>
                  <a:lnTo>
                    <a:pt x="80" y="221"/>
                  </a:lnTo>
                  <a:lnTo>
                    <a:pt x="97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3" y="218"/>
                  </a:lnTo>
                  <a:lnTo>
                    <a:pt x="103" y="218"/>
                  </a:lnTo>
                  <a:lnTo>
                    <a:pt x="105" y="218"/>
                  </a:lnTo>
                  <a:lnTo>
                    <a:pt x="105" y="218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3"/>
                  </a:lnTo>
                  <a:lnTo>
                    <a:pt x="105" y="213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3" y="210"/>
                  </a:lnTo>
                  <a:lnTo>
                    <a:pt x="103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97" y="210"/>
                  </a:lnTo>
                  <a:close/>
                  <a:moveTo>
                    <a:pt x="146" y="185"/>
                  </a:moveTo>
                  <a:lnTo>
                    <a:pt x="146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4" y="185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41" y="190"/>
                  </a:lnTo>
                  <a:lnTo>
                    <a:pt x="141" y="190"/>
                  </a:lnTo>
                  <a:lnTo>
                    <a:pt x="141" y="190"/>
                  </a:lnTo>
                  <a:lnTo>
                    <a:pt x="141" y="190"/>
                  </a:lnTo>
                  <a:lnTo>
                    <a:pt x="141" y="192"/>
                  </a:lnTo>
                  <a:lnTo>
                    <a:pt x="141" y="192"/>
                  </a:lnTo>
                  <a:lnTo>
                    <a:pt x="141" y="192"/>
                  </a:lnTo>
                  <a:lnTo>
                    <a:pt x="141" y="192"/>
                  </a:lnTo>
                  <a:lnTo>
                    <a:pt x="141" y="192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51" y="195"/>
                  </a:lnTo>
                  <a:lnTo>
                    <a:pt x="151" y="195"/>
                  </a:lnTo>
                  <a:lnTo>
                    <a:pt x="151" y="195"/>
                  </a:lnTo>
                  <a:lnTo>
                    <a:pt x="151" y="195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4" y="192"/>
                  </a:lnTo>
                  <a:lnTo>
                    <a:pt x="154" y="192"/>
                  </a:lnTo>
                  <a:lnTo>
                    <a:pt x="154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49" y="185"/>
                  </a:lnTo>
                  <a:lnTo>
                    <a:pt x="149" y="185"/>
                  </a:lnTo>
                  <a:lnTo>
                    <a:pt x="149" y="185"/>
                  </a:lnTo>
                  <a:lnTo>
                    <a:pt x="146" y="185"/>
                  </a:lnTo>
                  <a:lnTo>
                    <a:pt x="146" y="185"/>
                  </a:lnTo>
                  <a:close/>
                  <a:moveTo>
                    <a:pt x="90" y="185"/>
                  </a:moveTo>
                  <a:lnTo>
                    <a:pt x="80" y="185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4" y="195"/>
                  </a:lnTo>
                  <a:lnTo>
                    <a:pt x="74" y="195"/>
                  </a:lnTo>
                  <a:lnTo>
                    <a:pt x="74" y="195"/>
                  </a:lnTo>
                  <a:lnTo>
                    <a:pt x="74" y="195"/>
                  </a:lnTo>
                  <a:lnTo>
                    <a:pt x="77" y="198"/>
                  </a:lnTo>
                  <a:lnTo>
                    <a:pt x="77" y="198"/>
                  </a:lnTo>
                  <a:lnTo>
                    <a:pt x="77" y="198"/>
                  </a:lnTo>
                  <a:lnTo>
                    <a:pt x="77" y="198"/>
                  </a:lnTo>
                  <a:lnTo>
                    <a:pt x="77" y="198"/>
                  </a:lnTo>
                  <a:lnTo>
                    <a:pt x="80" y="198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2" y="187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131" y="185"/>
                  </a:moveTo>
                  <a:lnTo>
                    <a:pt x="105" y="185"/>
                  </a:lnTo>
                  <a:lnTo>
                    <a:pt x="105" y="185"/>
                  </a:lnTo>
                  <a:lnTo>
                    <a:pt x="105" y="185"/>
                  </a:lnTo>
                  <a:lnTo>
                    <a:pt x="105" y="185"/>
                  </a:lnTo>
                  <a:lnTo>
                    <a:pt x="105" y="185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0" y="187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5"/>
                  </a:lnTo>
                  <a:lnTo>
                    <a:pt x="136" y="195"/>
                  </a:lnTo>
                  <a:lnTo>
                    <a:pt x="136" y="195"/>
                  </a:lnTo>
                  <a:lnTo>
                    <a:pt x="136" y="195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36" y="192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3" y="187"/>
                  </a:lnTo>
                  <a:lnTo>
                    <a:pt x="133" y="187"/>
                  </a:lnTo>
                  <a:lnTo>
                    <a:pt x="133" y="185"/>
                  </a:lnTo>
                  <a:lnTo>
                    <a:pt x="133" y="185"/>
                  </a:lnTo>
                  <a:lnTo>
                    <a:pt x="131" y="185"/>
                  </a:lnTo>
                  <a:lnTo>
                    <a:pt x="131" y="185"/>
                  </a:lnTo>
                  <a:lnTo>
                    <a:pt x="131" y="185"/>
                  </a:lnTo>
                  <a:close/>
                  <a:moveTo>
                    <a:pt x="174" y="185"/>
                  </a:moveTo>
                  <a:lnTo>
                    <a:pt x="161" y="185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6" y="187"/>
                  </a:lnTo>
                  <a:lnTo>
                    <a:pt x="156" y="187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61" y="198"/>
                  </a:lnTo>
                  <a:lnTo>
                    <a:pt x="161" y="198"/>
                  </a:lnTo>
                  <a:lnTo>
                    <a:pt x="161" y="198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7" y="198"/>
                  </a:lnTo>
                  <a:lnTo>
                    <a:pt x="177" y="198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9" y="190"/>
                  </a:lnTo>
                  <a:lnTo>
                    <a:pt x="179" y="190"/>
                  </a:lnTo>
                  <a:lnTo>
                    <a:pt x="179" y="190"/>
                  </a:lnTo>
                  <a:lnTo>
                    <a:pt x="179" y="190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7" y="187"/>
                  </a:lnTo>
                  <a:lnTo>
                    <a:pt x="177" y="187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close/>
                  <a:moveTo>
                    <a:pt x="218" y="185"/>
                  </a:moveTo>
                  <a:lnTo>
                    <a:pt x="190" y="185"/>
                  </a:lnTo>
                  <a:lnTo>
                    <a:pt x="190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5" y="190"/>
                  </a:lnTo>
                  <a:lnTo>
                    <a:pt x="185" y="190"/>
                  </a:lnTo>
                  <a:lnTo>
                    <a:pt x="185" y="190"/>
                  </a:lnTo>
                  <a:lnTo>
                    <a:pt x="182" y="190"/>
                  </a:lnTo>
                  <a:lnTo>
                    <a:pt x="182" y="192"/>
                  </a:lnTo>
                  <a:lnTo>
                    <a:pt x="182" y="192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85" y="195"/>
                  </a:lnTo>
                  <a:lnTo>
                    <a:pt x="185" y="195"/>
                  </a:lnTo>
                  <a:lnTo>
                    <a:pt x="185" y="195"/>
                  </a:lnTo>
                  <a:lnTo>
                    <a:pt x="185" y="195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218" y="198"/>
                  </a:lnTo>
                  <a:lnTo>
                    <a:pt x="218" y="198"/>
                  </a:lnTo>
                  <a:lnTo>
                    <a:pt x="220" y="198"/>
                  </a:lnTo>
                  <a:lnTo>
                    <a:pt x="220" y="198"/>
                  </a:lnTo>
                  <a:lnTo>
                    <a:pt x="220" y="198"/>
                  </a:lnTo>
                  <a:lnTo>
                    <a:pt x="220" y="198"/>
                  </a:lnTo>
                  <a:lnTo>
                    <a:pt x="220" y="195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2"/>
                  </a:lnTo>
                  <a:lnTo>
                    <a:pt x="223" y="192"/>
                  </a:lnTo>
                  <a:lnTo>
                    <a:pt x="223" y="192"/>
                  </a:lnTo>
                  <a:lnTo>
                    <a:pt x="223" y="192"/>
                  </a:lnTo>
                  <a:lnTo>
                    <a:pt x="223" y="192"/>
                  </a:lnTo>
                  <a:lnTo>
                    <a:pt x="223" y="190"/>
                  </a:lnTo>
                  <a:lnTo>
                    <a:pt x="223" y="190"/>
                  </a:lnTo>
                  <a:lnTo>
                    <a:pt x="223" y="190"/>
                  </a:lnTo>
                  <a:lnTo>
                    <a:pt x="223" y="190"/>
                  </a:lnTo>
                  <a:lnTo>
                    <a:pt x="223" y="187"/>
                  </a:lnTo>
                  <a:lnTo>
                    <a:pt x="223" y="187"/>
                  </a:lnTo>
                  <a:lnTo>
                    <a:pt x="223" y="187"/>
                  </a:lnTo>
                  <a:lnTo>
                    <a:pt x="220" y="187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18" y="185"/>
                  </a:lnTo>
                  <a:lnTo>
                    <a:pt x="218" y="185"/>
                  </a:lnTo>
                  <a:close/>
                  <a:moveTo>
                    <a:pt x="77" y="162"/>
                  </a:moveTo>
                  <a:lnTo>
                    <a:pt x="77" y="162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4" y="162"/>
                  </a:lnTo>
                  <a:lnTo>
                    <a:pt x="74" y="162"/>
                  </a:lnTo>
                  <a:lnTo>
                    <a:pt x="74" y="164"/>
                  </a:lnTo>
                  <a:lnTo>
                    <a:pt x="74" y="164"/>
                  </a:lnTo>
                  <a:lnTo>
                    <a:pt x="74" y="164"/>
                  </a:lnTo>
                  <a:lnTo>
                    <a:pt x="72" y="164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4" y="169"/>
                  </a:lnTo>
                  <a:lnTo>
                    <a:pt x="74" y="169"/>
                  </a:lnTo>
                  <a:lnTo>
                    <a:pt x="74" y="169"/>
                  </a:lnTo>
                  <a:lnTo>
                    <a:pt x="74" y="172"/>
                  </a:lnTo>
                  <a:lnTo>
                    <a:pt x="74" y="172"/>
                  </a:lnTo>
                  <a:lnTo>
                    <a:pt x="77" y="172"/>
                  </a:lnTo>
                  <a:lnTo>
                    <a:pt x="77" y="172"/>
                  </a:lnTo>
                  <a:lnTo>
                    <a:pt x="77" y="172"/>
                  </a:lnTo>
                  <a:lnTo>
                    <a:pt x="77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2" y="172"/>
                  </a:lnTo>
                  <a:lnTo>
                    <a:pt x="82" y="172"/>
                  </a:lnTo>
                  <a:lnTo>
                    <a:pt x="82" y="172"/>
                  </a:lnTo>
                  <a:lnTo>
                    <a:pt x="82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4"/>
                  </a:lnTo>
                  <a:lnTo>
                    <a:pt x="85" y="164"/>
                  </a:lnTo>
                  <a:lnTo>
                    <a:pt x="85" y="164"/>
                  </a:lnTo>
                  <a:lnTo>
                    <a:pt x="82" y="164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77" y="162"/>
                  </a:lnTo>
                  <a:close/>
                  <a:moveTo>
                    <a:pt x="123" y="162"/>
                  </a:moveTo>
                  <a:lnTo>
                    <a:pt x="123" y="162"/>
                  </a:lnTo>
                  <a:lnTo>
                    <a:pt x="120" y="162"/>
                  </a:lnTo>
                  <a:lnTo>
                    <a:pt x="120" y="162"/>
                  </a:lnTo>
                  <a:lnTo>
                    <a:pt x="120" y="162"/>
                  </a:lnTo>
                  <a:lnTo>
                    <a:pt x="120" y="162"/>
                  </a:lnTo>
                  <a:lnTo>
                    <a:pt x="118" y="162"/>
                  </a:lnTo>
                  <a:lnTo>
                    <a:pt x="118" y="164"/>
                  </a:lnTo>
                  <a:lnTo>
                    <a:pt x="118" y="164"/>
                  </a:lnTo>
                  <a:lnTo>
                    <a:pt x="118" y="164"/>
                  </a:lnTo>
                  <a:lnTo>
                    <a:pt x="118" y="164"/>
                  </a:lnTo>
                  <a:lnTo>
                    <a:pt x="118" y="167"/>
                  </a:lnTo>
                  <a:lnTo>
                    <a:pt x="118" y="167"/>
                  </a:lnTo>
                  <a:lnTo>
                    <a:pt x="118" y="167"/>
                  </a:lnTo>
                  <a:lnTo>
                    <a:pt x="118" y="167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0" y="172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6" y="172"/>
                  </a:lnTo>
                  <a:lnTo>
                    <a:pt x="126" y="172"/>
                  </a:lnTo>
                  <a:lnTo>
                    <a:pt x="126" y="172"/>
                  </a:lnTo>
                  <a:lnTo>
                    <a:pt x="126" y="172"/>
                  </a:lnTo>
                  <a:lnTo>
                    <a:pt x="126" y="172"/>
                  </a:lnTo>
                  <a:lnTo>
                    <a:pt x="128" y="172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8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3" y="162"/>
                  </a:lnTo>
                  <a:close/>
                  <a:moveTo>
                    <a:pt x="218" y="162"/>
                  </a:moveTo>
                  <a:lnTo>
                    <a:pt x="218" y="162"/>
                  </a:lnTo>
                  <a:lnTo>
                    <a:pt x="215" y="162"/>
                  </a:lnTo>
                  <a:lnTo>
                    <a:pt x="215" y="162"/>
                  </a:lnTo>
                  <a:lnTo>
                    <a:pt x="215" y="162"/>
                  </a:lnTo>
                  <a:lnTo>
                    <a:pt x="215" y="162"/>
                  </a:lnTo>
                  <a:lnTo>
                    <a:pt x="213" y="162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3" y="172"/>
                  </a:lnTo>
                  <a:lnTo>
                    <a:pt x="215" y="172"/>
                  </a:lnTo>
                  <a:lnTo>
                    <a:pt x="215" y="172"/>
                  </a:lnTo>
                  <a:lnTo>
                    <a:pt x="215" y="172"/>
                  </a:lnTo>
                  <a:lnTo>
                    <a:pt x="215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20" y="172"/>
                  </a:lnTo>
                  <a:lnTo>
                    <a:pt x="220" y="172"/>
                  </a:lnTo>
                  <a:lnTo>
                    <a:pt x="220" y="172"/>
                  </a:lnTo>
                  <a:lnTo>
                    <a:pt x="223" y="172"/>
                  </a:lnTo>
                  <a:lnTo>
                    <a:pt x="223" y="169"/>
                  </a:lnTo>
                  <a:lnTo>
                    <a:pt x="223" y="169"/>
                  </a:lnTo>
                  <a:lnTo>
                    <a:pt x="223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7"/>
                  </a:lnTo>
                  <a:lnTo>
                    <a:pt x="223" y="167"/>
                  </a:lnTo>
                  <a:lnTo>
                    <a:pt x="223" y="167"/>
                  </a:lnTo>
                  <a:lnTo>
                    <a:pt x="223" y="164"/>
                  </a:lnTo>
                  <a:lnTo>
                    <a:pt x="223" y="164"/>
                  </a:lnTo>
                  <a:lnTo>
                    <a:pt x="223" y="164"/>
                  </a:lnTo>
                  <a:lnTo>
                    <a:pt x="223" y="164"/>
                  </a:lnTo>
                  <a:lnTo>
                    <a:pt x="223" y="162"/>
                  </a:lnTo>
                  <a:lnTo>
                    <a:pt x="220" y="162"/>
                  </a:lnTo>
                  <a:lnTo>
                    <a:pt x="220" y="162"/>
                  </a:lnTo>
                  <a:lnTo>
                    <a:pt x="220" y="162"/>
                  </a:lnTo>
                  <a:lnTo>
                    <a:pt x="220" y="162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18" y="162"/>
                  </a:lnTo>
                  <a:lnTo>
                    <a:pt x="218" y="162"/>
                  </a:lnTo>
                  <a:close/>
                  <a:moveTo>
                    <a:pt x="108" y="162"/>
                  </a:moveTo>
                  <a:lnTo>
                    <a:pt x="95" y="162"/>
                  </a:lnTo>
                  <a:lnTo>
                    <a:pt x="95" y="162"/>
                  </a:lnTo>
                  <a:lnTo>
                    <a:pt x="95" y="162"/>
                  </a:lnTo>
                  <a:lnTo>
                    <a:pt x="92" y="162"/>
                  </a:lnTo>
                  <a:lnTo>
                    <a:pt x="92" y="162"/>
                  </a:lnTo>
                  <a:lnTo>
                    <a:pt x="92" y="162"/>
                  </a:lnTo>
                  <a:lnTo>
                    <a:pt x="92" y="162"/>
                  </a:lnTo>
                  <a:lnTo>
                    <a:pt x="90" y="162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3" y="169"/>
                  </a:lnTo>
                  <a:lnTo>
                    <a:pt x="113" y="169"/>
                  </a:lnTo>
                  <a:lnTo>
                    <a:pt x="113" y="169"/>
                  </a:lnTo>
                  <a:lnTo>
                    <a:pt x="113" y="169"/>
                  </a:lnTo>
                  <a:lnTo>
                    <a:pt x="113" y="169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4"/>
                  </a:lnTo>
                  <a:lnTo>
                    <a:pt x="113" y="164"/>
                  </a:lnTo>
                  <a:lnTo>
                    <a:pt x="113" y="164"/>
                  </a:lnTo>
                  <a:lnTo>
                    <a:pt x="113" y="164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close/>
                  <a:moveTo>
                    <a:pt x="141" y="162"/>
                  </a:moveTo>
                  <a:lnTo>
                    <a:pt x="138" y="162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6" y="162"/>
                  </a:lnTo>
                  <a:lnTo>
                    <a:pt x="136" y="162"/>
                  </a:lnTo>
                  <a:lnTo>
                    <a:pt x="136" y="162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6" y="169"/>
                  </a:lnTo>
                  <a:lnTo>
                    <a:pt x="136" y="169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41" y="172"/>
                  </a:lnTo>
                  <a:lnTo>
                    <a:pt x="151" y="172"/>
                  </a:lnTo>
                  <a:lnTo>
                    <a:pt x="151" y="172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6" y="172"/>
                  </a:lnTo>
                  <a:lnTo>
                    <a:pt x="156" y="172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6" y="162"/>
                  </a:lnTo>
                  <a:lnTo>
                    <a:pt x="156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41" y="162"/>
                  </a:lnTo>
                  <a:close/>
                  <a:moveTo>
                    <a:pt x="200" y="162"/>
                  </a:moveTo>
                  <a:lnTo>
                    <a:pt x="169" y="162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4" y="162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9" y="172"/>
                  </a:lnTo>
                  <a:lnTo>
                    <a:pt x="169" y="172"/>
                  </a:lnTo>
                  <a:lnTo>
                    <a:pt x="16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8" y="167"/>
                  </a:lnTo>
                  <a:lnTo>
                    <a:pt x="208" y="167"/>
                  </a:lnTo>
                  <a:lnTo>
                    <a:pt x="208" y="167"/>
                  </a:lnTo>
                  <a:lnTo>
                    <a:pt x="205" y="167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0" y="162"/>
                  </a:lnTo>
                  <a:lnTo>
                    <a:pt x="200" y="162"/>
                  </a:lnTo>
                  <a:close/>
                  <a:moveTo>
                    <a:pt x="105" y="136"/>
                  </a:moveTo>
                  <a:lnTo>
                    <a:pt x="105" y="136"/>
                  </a:lnTo>
                  <a:lnTo>
                    <a:pt x="105" y="136"/>
                  </a:lnTo>
                  <a:lnTo>
                    <a:pt x="103" y="136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3" y="146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8" y="149"/>
                  </a:lnTo>
                  <a:lnTo>
                    <a:pt x="108" y="149"/>
                  </a:lnTo>
                  <a:lnTo>
                    <a:pt x="108" y="149"/>
                  </a:lnTo>
                  <a:lnTo>
                    <a:pt x="108" y="149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6"/>
                  </a:lnTo>
                  <a:lnTo>
                    <a:pt x="108" y="136"/>
                  </a:lnTo>
                  <a:lnTo>
                    <a:pt x="105" y="136"/>
                  </a:lnTo>
                  <a:lnTo>
                    <a:pt x="105" y="136"/>
                  </a:lnTo>
                  <a:close/>
                  <a:moveTo>
                    <a:pt x="120" y="136"/>
                  </a:moveTo>
                  <a:lnTo>
                    <a:pt x="120" y="136"/>
                  </a:lnTo>
                  <a:lnTo>
                    <a:pt x="120" y="136"/>
                  </a:lnTo>
                  <a:lnTo>
                    <a:pt x="120" y="136"/>
                  </a:lnTo>
                  <a:lnTo>
                    <a:pt x="118" y="139"/>
                  </a:lnTo>
                  <a:lnTo>
                    <a:pt x="118" y="139"/>
                  </a:lnTo>
                  <a:lnTo>
                    <a:pt x="118" y="139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8" y="146"/>
                  </a:lnTo>
                  <a:lnTo>
                    <a:pt x="118" y="146"/>
                  </a:lnTo>
                  <a:lnTo>
                    <a:pt x="118" y="149"/>
                  </a:lnTo>
                  <a:lnTo>
                    <a:pt x="118" y="149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3" y="149"/>
                  </a:lnTo>
                  <a:lnTo>
                    <a:pt x="123" y="149"/>
                  </a:lnTo>
                  <a:lnTo>
                    <a:pt x="123" y="149"/>
                  </a:lnTo>
                  <a:lnTo>
                    <a:pt x="123" y="149"/>
                  </a:lnTo>
                  <a:lnTo>
                    <a:pt x="123" y="149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4"/>
                  </a:lnTo>
                  <a:lnTo>
                    <a:pt x="126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1"/>
                  </a:lnTo>
                  <a:lnTo>
                    <a:pt x="128" y="141"/>
                  </a:lnTo>
                  <a:lnTo>
                    <a:pt x="126" y="141"/>
                  </a:lnTo>
                  <a:lnTo>
                    <a:pt x="126" y="141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close/>
                  <a:moveTo>
                    <a:pt x="190" y="136"/>
                  </a:moveTo>
                  <a:lnTo>
                    <a:pt x="190" y="136"/>
                  </a:lnTo>
                  <a:lnTo>
                    <a:pt x="187" y="136"/>
                  </a:lnTo>
                  <a:lnTo>
                    <a:pt x="187" y="136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5" y="139"/>
                  </a:lnTo>
                  <a:lnTo>
                    <a:pt x="185" y="139"/>
                  </a:lnTo>
                  <a:lnTo>
                    <a:pt x="185" y="141"/>
                  </a:lnTo>
                  <a:lnTo>
                    <a:pt x="185" y="141"/>
                  </a:lnTo>
                  <a:lnTo>
                    <a:pt x="185" y="141"/>
                  </a:lnTo>
                  <a:lnTo>
                    <a:pt x="185" y="141"/>
                  </a:lnTo>
                  <a:lnTo>
                    <a:pt x="185" y="141"/>
                  </a:lnTo>
                  <a:lnTo>
                    <a:pt x="185" y="144"/>
                  </a:lnTo>
                  <a:lnTo>
                    <a:pt x="185" y="144"/>
                  </a:lnTo>
                  <a:lnTo>
                    <a:pt x="185" y="144"/>
                  </a:lnTo>
                  <a:lnTo>
                    <a:pt x="185" y="144"/>
                  </a:lnTo>
                  <a:lnTo>
                    <a:pt x="185" y="144"/>
                  </a:lnTo>
                  <a:lnTo>
                    <a:pt x="185" y="146"/>
                  </a:lnTo>
                  <a:lnTo>
                    <a:pt x="185" y="146"/>
                  </a:lnTo>
                  <a:lnTo>
                    <a:pt x="185" y="146"/>
                  </a:lnTo>
                  <a:lnTo>
                    <a:pt x="187" y="146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92" y="149"/>
                  </a:lnTo>
                  <a:lnTo>
                    <a:pt x="192" y="149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5" y="146"/>
                  </a:lnTo>
                  <a:lnTo>
                    <a:pt x="195" y="146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5" y="139"/>
                  </a:lnTo>
                  <a:lnTo>
                    <a:pt x="192" y="139"/>
                  </a:lnTo>
                  <a:lnTo>
                    <a:pt x="192" y="139"/>
                  </a:lnTo>
                  <a:lnTo>
                    <a:pt x="192" y="139"/>
                  </a:lnTo>
                  <a:lnTo>
                    <a:pt x="192" y="139"/>
                  </a:lnTo>
                  <a:lnTo>
                    <a:pt x="190" y="136"/>
                  </a:lnTo>
                  <a:lnTo>
                    <a:pt x="190" y="136"/>
                  </a:lnTo>
                  <a:lnTo>
                    <a:pt x="190" y="136"/>
                  </a:lnTo>
                  <a:lnTo>
                    <a:pt x="190" y="136"/>
                  </a:lnTo>
                  <a:close/>
                  <a:moveTo>
                    <a:pt x="90" y="136"/>
                  </a:moveTo>
                  <a:lnTo>
                    <a:pt x="80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5" y="146"/>
                  </a:lnTo>
                  <a:lnTo>
                    <a:pt x="95" y="146"/>
                  </a:lnTo>
                  <a:lnTo>
                    <a:pt x="95" y="146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5" y="141"/>
                  </a:lnTo>
                  <a:lnTo>
                    <a:pt x="95" y="141"/>
                  </a:lnTo>
                  <a:lnTo>
                    <a:pt x="95" y="141"/>
                  </a:lnTo>
                  <a:lnTo>
                    <a:pt x="95" y="141"/>
                  </a:lnTo>
                  <a:lnTo>
                    <a:pt x="95" y="141"/>
                  </a:lnTo>
                  <a:lnTo>
                    <a:pt x="95" y="139"/>
                  </a:lnTo>
                  <a:lnTo>
                    <a:pt x="95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2" y="136"/>
                  </a:lnTo>
                  <a:lnTo>
                    <a:pt x="92" y="136"/>
                  </a:lnTo>
                  <a:lnTo>
                    <a:pt x="92" y="136"/>
                  </a:lnTo>
                  <a:lnTo>
                    <a:pt x="90" y="136"/>
                  </a:lnTo>
                  <a:lnTo>
                    <a:pt x="90" y="136"/>
                  </a:lnTo>
                  <a:close/>
                  <a:moveTo>
                    <a:pt x="172" y="136"/>
                  </a:moveTo>
                  <a:lnTo>
                    <a:pt x="138" y="136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9"/>
                  </a:lnTo>
                  <a:lnTo>
                    <a:pt x="136" y="139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4"/>
                  </a:lnTo>
                  <a:lnTo>
                    <a:pt x="133" y="144"/>
                  </a:lnTo>
                  <a:lnTo>
                    <a:pt x="133" y="144"/>
                  </a:lnTo>
                  <a:lnTo>
                    <a:pt x="133" y="144"/>
                  </a:lnTo>
                  <a:lnTo>
                    <a:pt x="133" y="144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6" y="149"/>
                  </a:lnTo>
                  <a:lnTo>
                    <a:pt x="136" y="149"/>
                  </a:lnTo>
                  <a:lnTo>
                    <a:pt x="136" y="149"/>
                  </a:lnTo>
                  <a:lnTo>
                    <a:pt x="136" y="149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72" y="149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9" y="146"/>
                  </a:lnTo>
                  <a:lnTo>
                    <a:pt x="179" y="144"/>
                  </a:lnTo>
                  <a:lnTo>
                    <a:pt x="179" y="144"/>
                  </a:lnTo>
                  <a:lnTo>
                    <a:pt x="179" y="144"/>
                  </a:lnTo>
                  <a:lnTo>
                    <a:pt x="179" y="144"/>
                  </a:lnTo>
                  <a:lnTo>
                    <a:pt x="179" y="144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7" y="139"/>
                  </a:lnTo>
                  <a:lnTo>
                    <a:pt x="177" y="139"/>
                  </a:lnTo>
                  <a:lnTo>
                    <a:pt x="177" y="139"/>
                  </a:lnTo>
                  <a:lnTo>
                    <a:pt x="177" y="139"/>
                  </a:lnTo>
                  <a:lnTo>
                    <a:pt x="174" y="136"/>
                  </a:lnTo>
                  <a:lnTo>
                    <a:pt x="174" y="136"/>
                  </a:lnTo>
                  <a:lnTo>
                    <a:pt x="174" y="136"/>
                  </a:lnTo>
                  <a:lnTo>
                    <a:pt x="174" y="136"/>
                  </a:lnTo>
                  <a:lnTo>
                    <a:pt x="172" y="136"/>
                  </a:lnTo>
                  <a:close/>
                  <a:moveTo>
                    <a:pt x="218" y="136"/>
                  </a:moveTo>
                  <a:lnTo>
                    <a:pt x="205" y="136"/>
                  </a:lnTo>
                  <a:lnTo>
                    <a:pt x="205" y="136"/>
                  </a:lnTo>
                  <a:lnTo>
                    <a:pt x="202" y="136"/>
                  </a:lnTo>
                  <a:lnTo>
                    <a:pt x="202" y="136"/>
                  </a:lnTo>
                  <a:lnTo>
                    <a:pt x="202" y="136"/>
                  </a:lnTo>
                  <a:lnTo>
                    <a:pt x="202" y="139"/>
                  </a:lnTo>
                  <a:lnTo>
                    <a:pt x="202" y="139"/>
                  </a:lnTo>
                  <a:lnTo>
                    <a:pt x="200" y="139"/>
                  </a:lnTo>
                  <a:lnTo>
                    <a:pt x="200" y="139"/>
                  </a:lnTo>
                  <a:lnTo>
                    <a:pt x="200" y="141"/>
                  </a:lnTo>
                  <a:lnTo>
                    <a:pt x="200" y="141"/>
                  </a:lnTo>
                  <a:lnTo>
                    <a:pt x="200" y="141"/>
                  </a:lnTo>
                  <a:lnTo>
                    <a:pt x="200" y="141"/>
                  </a:lnTo>
                  <a:lnTo>
                    <a:pt x="200" y="141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5" y="149"/>
                  </a:lnTo>
                  <a:lnTo>
                    <a:pt x="205" y="149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20" y="149"/>
                  </a:lnTo>
                  <a:lnTo>
                    <a:pt x="220" y="149"/>
                  </a:lnTo>
                  <a:lnTo>
                    <a:pt x="220" y="149"/>
                  </a:lnTo>
                  <a:lnTo>
                    <a:pt x="220" y="149"/>
                  </a:lnTo>
                  <a:lnTo>
                    <a:pt x="220" y="149"/>
                  </a:lnTo>
                  <a:lnTo>
                    <a:pt x="223" y="146"/>
                  </a:lnTo>
                  <a:lnTo>
                    <a:pt x="223" y="146"/>
                  </a:lnTo>
                  <a:lnTo>
                    <a:pt x="223" y="146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39"/>
                  </a:lnTo>
                  <a:lnTo>
                    <a:pt x="223" y="139"/>
                  </a:lnTo>
                  <a:lnTo>
                    <a:pt x="220" y="139"/>
                  </a:lnTo>
                  <a:lnTo>
                    <a:pt x="220" y="139"/>
                  </a:lnTo>
                  <a:lnTo>
                    <a:pt x="220" y="136"/>
                  </a:lnTo>
                  <a:lnTo>
                    <a:pt x="220" y="136"/>
                  </a:lnTo>
                  <a:lnTo>
                    <a:pt x="220" y="136"/>
                  </a:lnTo>
                  <a:lnTo>
                    <a:pt x="218" y="136"/>
                  </a:lnTo>
                  <a:lnTo>
                    <a:pt x="218" y="136"/>
                  </a:lnTo>
                  <a:close/>
                  <a:moveTo>
                    <a:pt x="149" y="98"/>
                  </a:moveTo>
                  <a:lnTo>
                    <a:pt x="149" y="98"/>
                  </a:lnTo>
                  <a:lnTo>
                    <a:pt x="149" y="98"/>
                  </a:lnTo>
                  <a:lnTo>
                    <a:pt x="149" y="100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6" y="108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3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98"/>
                  </a:lnTo>
                  <a:lnTo>
                    <a:pt x="149" y="98"/>
                  </a:lnTo>
                  <a:lnTo>
                    <a:pt x="149" y="98"/>
                  </a:lnTo>
                  <a:close/>
                  <a:moveTo>
                    <a:pt x="167" y="98"/>
                  </a:move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61" y="103"/>
                  </a:lnTo>
                  <a:lnTo>
                    <a:pt x="161" y="103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11"/>
                  </a:lnTo>
                  <a:lnTo>
                    <a:pt x="164" y="111"/>
                  </a:lnTo>
                  <a:lnTo>
                    <a:pt x="164" y="111"/>
                  </a:lnTo>
                  <a:lnTo>
                    <a:pt x="164" y="111"/>
                  </a:lnTo>
                  <a:lnTo>
                    <a:pt x="164" y="111"/>
                  </a:lnTo>
                  <a:lnTo>
                    <a:pt x="164" y="111"/>
                  </a:lnTo>
                  <a:lnTo>
                    <a:pt x="167" y="111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5" y="111"/>
                  </a:lnTo>
                  <a:lnTo>
                    <a:pt x="185" y="111"/>
                  </a:lnTo>
                  <a:lnTo>
                    <a:pt x="185" y="111"/>
                  </a:lnTo>
                  <a:lnTo>
                    <a:pt x="185" y="111"/>
                  </a:lnTo>
                  <a:lnTo>
                    <a:pt x="185" y="111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3"/>
                  </a:lnTo>
                  <a:lnTo>
                    <a:pt x="187" y="103"/>
                  </a:lnTo>
                  <a:lnTo>
                    <a:pt x="187" y="103"/>
                  </a:lnTo>
                  <a:lnTo>
                    <a:pt x="187" y="103"/>
                  </a:lnTo>
                  <a:lnTo>
                    <a:pt x="187" y="103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0"/>
                  </a:lnTo>
                  <a:lnTo>
                    <a:pt x="185" y="100"/>
                  </a:lnTo>
                  <a:lnTo>
                    <a:pt x="185" y="100"/>
                  </a:lnTo>
                  <a:lnTo>
                    <a:pt x="185" y="98"/>
                  </a:lnTo>
                  <a:lnTo>
                    <a:pt x="185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67" y="98"/>
                  </a:lnTo>
                  <a:close/>
                  <a:moveTo>
                    <a:pt x="200" y="98"/>
                  </a:moveTo>
                  <a:lnTo>
                    <a:pt x="197" y="98"/>
                  </a:lnTo>
                  <a:lnTo>
                    <a:pt x="197" y="98"/>
                  </a:lnTo>
                  <a:lnTo>
                    <a:pt x="197" y="98"/>
                  </a:lnTo>
                  <a:lnTo>
                    <a:pt x="197" y="100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3"/>
                  </a:lnTo>
                  <a:lnTo>
                    <a:pt x="192" y="103"/>
                  </a:lnTo>
                  <a:lnTo>
                    <a:pt x="192" y="103"/>
                  </a:lnTo>
                  <a:lnTo>
                    <a:pt x="192" y="103"/>
                  </a:lnTo>
                  <a:lnTo>
                    <a:pt x="192" y="103"/>
                  </a:lnTo>
                  <a:lnTo>
                    <a:pt x="192" y="105"/>
                  </a:lnTo>
                  <a:lnTo>
                    <a:pt x="192" y="105"/>
                  </a:lnTo>
                  <a:lnTo>
                    <a:pt x="192" y="105"/>
                  </a:lnTo>
                  <a:lnTo>
                    <a:pt x="192" y="105"/>
                  </a:lnTo>
                  <a:lnTo>
                    <a:pt x="192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7" y="111"/>
                  </a:lnTo>
                  <a:lnTo>
                    <a:pt x="197" y="111"/>
                  </a:lnTo>
                  <a:lnTo>
                    <a:pt x="197" y="111"/>
                  </a:lnTo>
                  <a:lnTo>
                    <a:pt x="197" y="111"/>
                  </a:lnTo>
                  <a:lnTo>
                    <a:pt x="200" y="111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23" y="108"/>
                  </a:lnTo>
                  <a:lnTo>
                    <a:pt x="223" y="108"/>
                  </a:lnTo>
                  <a:lnTo>
                    <a:pt x="223" y="108"/>
                  </a:lnTo>
                  <a:lnTo>
                    <a:pt x="223" y="108"/>
                  </a:lnTo>
                  <a:lnTo>
                    <a:pt x="223" y="105"/>
                  </a:lnTo>
                  <a:lnTo>
                    <a:pt x="223" y="105"/>
                  </a:lnTo>
                  <a:lnTo>
                    <a:pt x="223" y="105"/>
                  </a:lnTo>
                  <a:lnTo>
                    <a:pt x="223" y="105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223" y="100"/>
                  </a:lnTo>
                  <a:lnTo>
                    <a:pt x="223" y="100"/>
                  </a:lnTo>
                  <a:lnTo>
                    <a:pt x="220" y="100"/>
                  </a:lnTo>
                  <a:lnTo>
                    <a:pt x="220" y="100"/>
                  </a:lnTo>
                  <a:lnTo>
                    <a:pt x="220" y="100"/>
                  </a:lnTo>
                  <a:lnTo>
                    <a:pt x="220" y="98"/>
                  </a:lnTo>
                  <a:lnTo>
                    <a:pt x="220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00" y="98"/>
                  </a:lnTo>
                  <a:close/>
                  <a:moveTo>
                    <a:pt x="190" y="75"/>
                  </a:move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5" y="75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5" y="80"/>
                  </a:lnTo>
                  <a:lnTo>
                    <a:pt x="185" y="80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5" y="82"/>
                  </a:lnTo>
                  <a:lnTo>
                    <a:pt x="185" y="82"/>
                  </a:lnTo>
                  <a:lnTo>
                    <a:pt x="185" y="82"/>
                  </a:lnTo>
                  <a:lnTo>
                    <a:pt x="185" y="82"/>
                  </a:lnTo>
                  <a:lnTo>
                    <a:pt x="185" y="82"/>
                  </a:lnTo>
                  <a:lnTo>
                    <a:pt x="185" y="85"/>
                  </a:lnTo>
                  <a:lnTo>
                    <a:pt x="185" y="85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90" y="85"/>
                  </a:lnTo>
                  <a:lnTo>
                    <a:pt x="190" y="85"/>
                  </a:lnTo>
                  <a:lnTo>
                    <a:pt x="190" y="85"/>
                  </a:lnTo>
                  <a:lnTo>
                    <a:pt x="190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77"/>
                  </a:lnTo>
                  <a:lnTo>
                    <a:pt x="195" y="77"/>
                  </a:lnTo>
                  <a:lnTo>
                    <a:pt x="195" y="77"/>
                  </a:lnTo>
                  <a:lnTo>
                    <a:pt x="192" y="77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90" y="75"/>
                  </a:lnTo>
                  <a:close/>
                  <a:moveTo>
                    <a:pt x="149" y="75"/>
                  </a:move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6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46" y="82"/>
                  </a:lnTo>
                  <a:lnTo>
                    <a:pt x="146" y="85"/>
                  </a:lnTo>
                  <a:lnTo>
                    <a:pt x="146" y="85"/>
                  </a:lnTo>
                  <a:lnTo>
                    <a:pt x="146" y="85"/>
                  </a:lnTo>
                  <a:lnTo>
                    <a:pt x="149" y="85"/>
                  </a:lnTo>
                  <a:lnTo>
                    <a:pt x="149" y="85"/>
                  </a:lnTo>
                  <a:lnTo>
                    <a:pt x="149" y="85"/>
                  </a:lnTo>
                  <a:lnTo>
                    <a:pt x="149" y="85"/>
                  </a:lnTo>
                  <a:lnTo>
                    <a:pt x="149" y="85"/>
                  </a:lnTo>
                  <a:lnTo>
                    <a:pt x="172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2"/>
                  </a:lnTo>
                  <a:lnTo>
                    <a:pt x="177" y="82"/>
                  </a:lnTo>
                  <a:lnTo>
                    <a:pt x="177" y="82"/>
                  </a:lnTo>
                  <a:lnTo>
                    <a:pt x="179" y="82"/>
                  </a:lnTo>
                  <a:lnTo>
                    <a:pt x="179" y="82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7" y="77"/>
                  </a:lnTo>
                  <a:lnTo>
                    <a:pt x="177" y="77"/>
                  </a:lnTo>
                  <a:lnTo>
                    <a:pt x="177" y="77"/>
                  </a:lnTo>
                  <a:lnTo>
                    <a:pt x="177" y="77"/>
                  </a:lnTo>
                  <a:lnTo>
                    <a:pt x="177" y="75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2" y="75"/>
                  </a:lnTo>
                  <a:lnTo>
                    <a:pt x="149" y="75"/>
                  </a:lnTo>
                  <a:close/>
                  <a:moveTo>
                    <a:pt x="218" y="75"/>
                  </a:moveTo>
                  <a:lnTo>
                    <a:pt x="205" y="75"/>
                  </a:lnTo>
                  <a:lnTo>
                    <a:pt x="205" y="75"/>
                  </a:lnTo>
                  <a:lnTo>
                    <a:pt x="205" y="75"/>
                  </a:lnTo>
                  <a:lnTo>
                    <a:pt x="202" y="75"/>
                  </a:lnTo>
                  <a:lnTo>
                    <a:pt x="202" y="75"/>
                  </a:lnTo>
                  <a:lnTo>
                    <a:pt x="202" y="75"/>
                  </a:lnTo>
                  <a:lnTo>
                    <a:pt x="202" y="75"/>
                  </a:lnTo>
                  <a:lnTo>
                    <a:pt x="202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5" y="85"/>
                  </a:lnTo>
                  <a:lnTo>
                    <a:pt x="205" y="85"/>
                  </a:lnTo>
                  <a:lnTo>
                    <a:pt x="205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3" y="85"/>
                  </a:lnTo>
                  <a:lnTo>
                    <a:pt x="223" y="85"/>
                  </a:lnTo>
                  <a:lnTo>
                    <a:pt x="223" y="82"/>
                  </a:lnTo>
                  <a:lnTo>
                    <a:pt x="223" y="82"/>
                  </a:lnTo>
                  <a:lnTo>
                    <a:pt x="223" y="82"/>
                  </a:lnTo>
                  <a:lnTo>
                    <a:pt x="223" y="82"/>
                  </a:lnTo>
                  <a:lnTo>
                    <a:pt x="225" y="82"/>
                  </a:lnTo>
                  <a:lnTo>
                    <a:pt x="225" y="80"/>
                  </a:lnTo>
                  <a:lnTo>
                    <a:pt x="225" y="80"/>
                  </a:lnTo>
                  <a:lnTo>
                    <a:pt x="225" y="80"/>
                  </a:lnTo>
                  <a:lnTo>
                    <a:pt x="225" y="80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3" y="75"/>
                  </a:lnTo>
                  <a:lnTo>
                    <a:pt x="220" y="75"/>
                  </a:lnTo>
                  <a:lnTo>
                    <a:pt x="220" y="75"/>
                  </a:lnTo>
                  <a:lnTo>
                    <a:pt x="220" y="75"/>
                  </a:lnTo>
                  <a:lnTo>
                    <a:pt x="220" y="75"/>
                  </a:lnTo>
                  <a:lnTo>
                    <a:pt x="218" y="75"/>
                  </a:lnTo>
                  <a:lnTo>
                    <a:pt x="218" y="75"/>
                  </a:lnTo>
                  <a:close/>
                  <a:moveTo>
                    <a:pt x="174" y="236"/>
                  </a:moveTo>
                  <a:lnTo>
                    <a:pt x="246" y="236"/>
                  </a:lnTo>
                  <a:lnTo>
                    <a:pt x="174" y="305"/>
                  </a:lnTo>
                  <a:lnTo>
                    <a:pt x="174" y="236"/>
                  </a:lnTo>
                  <a:close/>
                  <a:moveTo>
                    <a:pt x="46" y="49"/>
                  </a:moveTo>
                  <a:lnTo>
                    <a:pt x="246" y="49"/>
                  </a:lnTo>
                  <a:lnTo>
                    <a:pt x="246" y="223"/>
                  </a:lnTo>
                  <a:lnTo>
                    <a:pt x="167" y="223"/>
                  </a:lnTo>
                  <a:lnTo>
                    <a:pt x="167" y="223"/>
                  </a:lnTo>
                  <a:lnTo>
                    <a:pt x="167" y="223"/>
                  </a:lnTo>
                  <a:lnTo>
                    <a:pt x="167" y="223"/>
                  </a:lnTo>
                  <a:lnTo>
                    <a:pt x="167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6"/>
                  </a:lnTo>
                  <a:lnTo>
                    <a:pt x="161" y="226"/>
                  </a:lnTo>
                  <a:lnTo>
                    <a:pt x="161" y="226"/>
                  </a:lnTo>
                  <a:lnTo>
                    <a:pt x="161" y="226"/>
                  </a:lnTo>
                  <a:lnTo>
                    <a:pt x="161" y="228"/>
                  </a:lnTo>
                  <a:lnTo>
                    <a:pt x="161" y="228"/>
                  </a:lnTo>
                  <a:lnTo>
                    <a:pt x="161" y="228"/>
                  </a:lnTo>
                  <a:lnTo>
                    <a:pt x="161" y="228"/>
                  </a:lnTo>
                  <a:lnTo>
                    <a:pt x="161" y="305"/>
                  </a:lnTo>
                  <a:lnTo>
                    <a:pt x="46" y="305"/>
                  </a:lnTo>
                  <a:lnTo>
                    <a:pt x="46" y="49"/>
                  </a:lnTo>
                  <a:close/>
                  <a:moveTo>
                    <a:pt x="10" y="13"/>
                  </a:moveTo>
                  <a:lnTo>
                    <a:pt x="210" y="13"/>
                  </a:lnTo>
                  <a:lnTo>
                    <a:pt x="210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269"/>
                  </a:lnTo>
                  <a:lnTo>
                    <a:pt x="10" y="269"/>
                  </a:lnTo>
                  <a:lnTo>
                    <a:pt x="10" y="13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36" y="282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5"/>
                  </a:lnTo>
                  <a:lnTo>
                    <a:pt x="36" y="315"/>
                  </a:lnTo>
                  <a:lnTo>
                    <a:pt x="36" y="315"/>
                  </a:lnTo>
                  <a:lnTo>
                    <a:pt x="39" y="315"/>
                  </a:lnTo>
                  <a:lnTo>
                    <a:pt x="39" y="318"/>
                  </a:lnTo>
                  <a:lnTo>
                    <a:pt x="39" y="318"/>
                  </a:lnTo>
                  <a:lnTo>
                    <a:pt x="39" y="318"/>
                  </a:lnTo>
                  <a:lnTo>
                    <a:pt x="39" y="318"/>
                  </a:lnTo>
                  <a:lnTo>
                    <a:pt x="41" y="318"/>
                  </a:lnTo>
                  <a:lnTo>
                    <a:pt x="41" y="318"/>
                  </a:lnTo>
                  <a:lnTo>
                    <a:pt x="41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15"/>
                  </a:lnTo>
                  <a:lnTo>
                    <a:pt x="179" y="315"/>
                  </a:lnTo>
                  <a:lnTo>
                    <a:pt x="256" y="241"/>
                  </a:lnTo>
                  <a:lnTo>
                    <a:pt x="256" y="241"/>
                  </a:lnTo>
                  <a:lnTo>
                    <a:pt x="256" y="241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41"/>
                  </a:lnTo>
                  <a:lnTo>
                    <a:pt x="256" y="41"/>
                  </a:lnTo>
                  <a:lnTo>
                    <a:pt x="256" y="41"/>
                  </a:lnTo>
                  <a:lnTo>
                    <a:pt x="256" y="41"/>
                  </a:lnTo>
                  <a:lnTo>
                    <a:pt x="256" y="39"/>
                  </a:lnTo>
                  <a:lnTo>
                    <a:pt x="256" y="39"/>
                  </a:lnTo>
                  <a:lnTo>
                    <a:pt x="256" y="39"/>
                  </a:lnTo>
                  <a:lnTo>
                    <a:pt x="256" y="39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20" y="36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18" y="3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3" name="Group 318">
            <a:extLst>
              <a:ext uri="{FF2B5EF4-FFF2-40B4-BE49-F238E27FC236}">
                <a16:creationId xmlns:a16="http://schemas.microsoft.com/office/drawing/2014/main" id="{9DE70DAE-F887-4294-8EA4-1FC81C1E8C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7951" y="5466761"/>
            <a:ext cx="758825" cy="758825"/>
            <a:chOff x="924" y="3596"/>
            <a:chExt cx="478" cy="478"/>
          </a:xfrm>
        </p:grpSpPr>
        <p:sp>
          <p:nvSpPr>
            <p:cNvPr id="354" name="AutoShape 317">
              <a:extLst>
                <a:ext uri="{FF2B5EF4-FFF2-40B4-BE49-F238E27FC236}">
                  <a16:creationId xmlns:a16="http://schemas.microsoft.com/office/drawing/2014/main" id="{FD314FBC-B9C0-4B0F-85D2-A69D5FF7A1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24" y="359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19">
              <a:extLst>
                <a:ext uri="{FF2B5EF4-FFF2-40B4-BE49-F238E27FC236}">
                  <a16:creationId xmlns:a16="http://schemas.microsoft.com/office/drawing/2014/main" id="{0A783962-3629-4D2C-8CFF-CBDD6F1E9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6" y="359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320">
              <a:extLst>
                <a:ext uri="{FF2B5EF4-FFF2-40B4-BE49-F238E27FC236}">
                  <a16:creationId xmlns:a16="http://schemas.microsoft.com/office/drawing/2014/main" id="{7D406D63-8B87-4FDA-B156-EDCABBD6A6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" y="3692"/>
              <a:ext cx="245" cy="289"/>
            </a:xfrm>
            <a:custGeom>
              <a:avLst/>
              <a:gdLst>
                <a:gd name="T0" fmla="*/ 10 w 100"/>
                <a:gd name="T1" fmla="*/ 96 h 118"/>
                <a:gd name="T2" fmla="*/ 20 w 100"/>
                <a:gd name="T3" fmla="*/ 96 h 118"/>
                <a:gd name="T4" fmla="*/ 15 w 100"/>
                <a:gd name="T5" fmla="*/ 17 h 118"/>
                <a:gd name="T6" fmla="*/ 15 w 100"/>
                <a:gd name="T7" fmla="*/ 27 h 118"/>
                <a:gd name="T8" fmla="*/ 15 w 100"/>
                <a:gd name="T9" fmla="*/ 17 h 118"/>
                <a:gd name="T10" fmla="*/ 32 w 100"/>
                <a:gd name="T11" fmla="*/ 96 h 118"/>
                <a:gd name="T12" fmla="*/ 32 w 100"/>
                <a:gd name="T13" fmla="*/ 101 h 118"/>
                <a:gd name="T14" fmla="*/ 58 w 100"/>
                <a:gd name="T15" fmla="*/ 98 h 118"/>
                <a:gd name="T16" fmla="*/ 63 w 100"/>
                <a:gd name="T17" fmla="*/ 86 h 118"/>
                <a:gd name="T18" fmla="*/ 30 w 100"/>
                <a:gd name="T19" fmla="*/ 88 h 118"/>
                <a:gd name="T20" fmla="*/ 63 w 100"/>
                <a:gd name="T21" fmla="*/ 91 h 118"/>
                <a:gd name="T22" fmla="*/ 63 w 100"/>
                <a:gd name="T23" fmla="*/ 86 h 118"/>
                <a:gd name="T24" fmla="*/ 63 w 100"/>
                <a:gd name="T25" fmla="*/ 17 h 118"/>
                <a:gd name="T26" fmla="*/ 63 w 100"/>
                <a:gd name="T27" fmla="*/ 37 h 118"/>
                <a:gd name="T28" fmla="*/ 58 w 100"/>
                <a:gd name="T29" fmla="*/ 15 h 118"/>
                <a:gd name="T30" fmla="*/ 60 w 100"/>
                <a:gd name="T31" fmla="*/ 42 h 118"/>
                <a:gd name="T32" fmla="*/ 87 w 100"/>
                <a:gd name="T33" fmla="*/ 39 h 118"/>
                <a:gd name="T34" fmla="*/ 50 w 100"/>
                <a:gd name="T35" fmla="*/ 71 h 118"/>
                <a:gd name="T36" fmla="*/ 31 w 100"/>
                <a:gd name="T37" fmla="*/ 60 h 118"/>
                <a:gd name="T38" fmla="*/ 72 w 100"/>
                <a:gd name="T39" fmla="*/ 52 h 118"/>
                <a:gd name="T40" fmla="*/ 29 w 100"/>
                <a:gd name="T41" fmla="*/ 56 h 118"/>
                <a:gd name="T42" fmla="*/ 47 w 100"/>
                <a:gd name="T43" fmla="*/ 27 h 118"/>
                <a:gd name="T44" fmla="*/ 29 w 100"/>
                <a:gd name="T45" fmla="*/ 56 h 118"/>
                <a:gd name="T46" fmla="*/ 53 w 100"/>
                <a:gd name="T47" fmla="*/ 47 h 118"/>
                <a:gd name="T48" fmla="*/ 50 w 100"/>
                <a:gd name="T49" fmla="*/ 22 h 118"/>
                <a:gd name="T50" fmla="*/ 35 w 100"/>
                <a:gd name="T51" fmla="*/ 72 h 118"/>
                <a:gd name="T52" fmla="*/ 78 w 100"/>
                <a:gd name="T53" fmla="*/ 49 h 118"/>
                <a:gd name="T54" fmla="*/ 95 w 100"/>
                <a:gd name="T55" fmla="*/ 93 h 118"/>
                <a:gd name="T56" fmla="*/ 75 w 100"/>
                <a:gd name="T57" fmla="*/ 101 h 118"/>
                <a:gd name="T58" fmla="*/ 10 w 100"/>
                <a:gd name="T59" fmla="*/ 113 h 118"/>
                <a:gd name="T60" fmla="*/ 5 w 100"/>
                <a:gd name="T61" fmla="*/ 10 h 118"/>
                <a:gd name="T62" fmla="*/ 90 w 100"/>
                <a:gd name="T63" fmla="*/ 5 h 118"/>
                <a:gd name="T64" fmla="*/ 95 w 100"/>
                <a:gd name="T65" fmla="*/ 93 h 118"/>
                <a:gd name="T66" fmla="*/ 80 w 100"/>
                <a:gd name="T67" fmla="*/ 101 h 118"/>
                <a:gd name="T68" fmla="*/ 94 w 100"/>
                <a:gd name="T69" fmla="*/ 98 h 118"/>
                <a:gd name="T70" fmla="*/ 90 w 100"/>
                <a:gd name="T71" fmla="*/ 0 h 118"/>
                <a:gd name="T72" fmla="*/ 0 w 100"/>
                <a:gd name="T73" fmla="*/ 10 h 118"/>
                <a:gd name="T74" fmla="*/ 10 w 100"/>
                <a:gd name="T75" fmla="*/ 118 h 118"/>
                <a:gd name="T76" fmla="*/ 82 w 100"/>
                <a:gd name="T77" fmla="*/ 117 h 118"/>
                <a:gd name="T78" fmla="*/ 100 w 100"/>
                <a:gd name="T79" fmla="*/ 99 h 118"/>
                <a:gd name="T80" fmla="*/ 100 w 100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0" h="118">
                  <a:moveTo>
                    <a:pt x="15" y="91"/>
                  </a:moveTo>
                  <a:cubicBezTo>
                    <a:pt x="12" y="91"/>
                    <a:pt x="10" y="93"/>
                    <a:pt x="10" y="96"/>
                  </a:cubicBezTo>
                  <a:cubicBezTo>
                    <a:pt x="10" y="99"/>
                    <a:pt x="12" y="101"/>
                    <a:pt x="15" y="101"/>
                  </a:cubicBezTo>
                  <a:cubicBezTo>
                    <a:pt x="18" y="101"/>
                    <a:pt x="20" y="99"/>
                    <a:pt x="20" y="96"/>
                  </a:cubicBezTo>
                  <a:cubicBezTo>
                    <a:pt x="20" y="93"/>
                    <a:pt x="18" y="91"/>
                    <a:pt x="15" y="91"/>
                  </a:cubicBezTo>
                  <a:moveTo>
                    <a:pt x="15" y="17"/>
                  </a:moveTo>
                  <a:cubicBezTo>
                    <a:pt x="12" y="17"/>
                    <a:pt x="10" y="19"/>
                    <a:pt x="10" y="22"/>
                  </a:cubicBezTo>
                  <a:cubicBezTo>
                    <a:pt x="10" y="25"/>
                    <a:pt x="12" y="27"/>
                    <a:pt x="15" y="27"/>
                  </a:cubicBezTo>
                  <a:cubicBezTo>
                    <a:pt x="18" y="27"/>
                    <a:pt x="20" y="25"/>
                    <a:pt x="20" y="22"/>
                  </a:cubicBezTo>
                  <a:cubicBezTo>
                    <a:pt x="20" y="19"/>
                    <a:pt x="18" y="17"/>
                    <a:pt x="15" y="17"/>
                  </a:cubicBezTo>
                  <a:moveTo>
                    <a:pt x="55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30" y="97"/>
                    <a:pt x="30" y="98"/>
                  </a:cubicBezTo>
                  <a:cubicBezTo>
                    <a:pt x="30" y="100"/>
                    <a:pt x="31" y="101"/>
                    <a:pt x="32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6" y="101"/>
                    <a:pt x="58" y="100"/>
                    <a:pt x="58" y="98"/>
                  </a:cubicBezTo>
                  <a:cubicBezTo>
                    <a:pt x="58" y="97"/>
                    <a:pt x="56" y="96"/>
                    <a:pt x="55" y="96"/>
                  </a:cubicBezTo>
                  <a:moveTo>
                    <a:pt x="63" y="86"/>
                  </a:moveTo>
                  <a:cubicBezTo>
                    <a:pt x="32" y="86"/>
                    <a:pt x="32" y="86"/>
                    <a:pt x="32" y="86"/>
                  </a:cubicBezTo>
                  <a:cubicBezTo>
                    <a:pt x="31" y="86"/>
                    <a:pt x="30" y="87"/>
                    <a:pt x="30" y="88"/>
                  </a:cubicBezTo>
                  <a:cubicBezTo>
                    <a:pt x="30" y="90"/>
                    <a:pt x="31" y="91"/>
                    <a:pt x="3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1"/>
                    <a:pt x="65" y="90"/>
                    <a:pt x="65" y="88"/>
                  </a:cubicBezTo>
                  <a:cubicBezTo>
                    <a:pt x="65" y="87"/>
                    <a:pt x="64" y="86"/>
                    <a:pt x="63" y="86"/>
                  </a:cubicBezTo>
                  <a:moveTo>
                    <a:pt x="63" y="37"/>
                  </a:moveTo>
                  <a:cubicBezTo>
                    <a:pt x="63" y="17"/>
                    <a:pt x="63" y="17"/>
                    <a:pt x="63" y="17"/>
                  </a:cubicBezTo>
                  <a:cubicBezTo>
                    <a:pt x="73" y="18"/>
                    <a:pt x="81" y="27"/>
                    <a:pt x="82" y="37"/>
                  </a:cubicBezTo>
                  <a:lnTo>
                    <a:pt x="63" y="37"/>
                  </a:lnTo>
                  <a:close/>
                  <a:moveTo>
                    <a:pt x="60" y="12"/>
                  </a:moveTo>
                  <a:cubicBezTo>
                    <a:pt x="59" y="12"/>
                    <a:pt x="58" y="13"/>
                    <a:pt x="58" y="15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41"/>
                    <a:pt x="59" y="42"/>
                    <a:pt x="60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6" y="42"/>
                    <a:pt x="87" y="41"/>
                    <a:pt x="87" y="39"/>
                  </a:cubicBezTo>
                  <a:cubicBezTo>
                    <a:pt x="87" y="24"/>
                    <a:pt x="75" y="12"/>
                    <a:pt x="60" y="12"/>
                  </a:cubicBezTo>
                  <a:moveTo>
                    <a:pt x="50" y="71"/>
                  </a:moveTo>
                  <a:cubicBezTo>
                    <a:pt x="46" y="71"/>
                    <a:pt x="41" y="70"/>
                    <a:pt x="38" y="68"/>
                  </a:cubicBezTo>
                  <a:cubicBezTo>
                    <a:pt x="35" y="66"/>
                    <a:pt x="32" y="63"/>
                    <a:pt x="31" y="60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1" y="63"/>
                    <a:pt x="62" y="71"/>
                    <a:pt x="50" y="71"/>
                  </a:cubicBezTo>
                  <a:moveTo>
                    <a:pt x="29" y="56"/>
                  </a:moveTo>
                  <a:cubicBezTo>
                    <a:pt x="28" y="54"/>
                    <a:pt x="27" y="51"/>
                    <a:pt x="27" y="49"/>
                  </a:cubicBezTo>
                  <a:cubicBezTo>
                    <a:pt x="27" y="38"/>
                    <a:pt x="36" y="28"/>
                    <a:pt x="47" y="27"/>
                  </a:cubicBezTo>
                  <a:cubicBezTo>
                    <a:pt x="47" y="48"/>
                    <a:pt x="47" y="48"/>
                    <a:pt x="47" y="48"/>
                  </a:cubicBezTo>
                  <a:lnTo>
                    <a:pt x="29" y="56"/>
                  </a:lnTo>
                  <a:close/>
                  <a:moveTo>
                    <a:pt x="75" y="47"/>
                  </a:moveTo>
                  <a:cubicBezTo>
                    <a:pt x="53" y="47"/>
                    <a:pt x="53" y="47"/>
                    <a:pt x="53" y="47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3"/>
                    <a:pt x="51" y="22"/>
                    <a:pt x="50" y="22"/>
                  </a:cubicBezTo>
                  <a:cubicBezTo>
                    <a:pt x="35" y="22"/>
                    <a:pt x="23" y="34"/>
                    <a:pt x="23" y="49"/>
                  </a:cubicBezTo>
                  <a:cubicBezTo>
                    <a:pt x="23" y="58"/>
                    <a:pt x="27" y="67"/>
                    <a:pt x="35" y="72"/>
                  </a:cubicBezTo>
                  <a:cubicBezTo>
                    <a:pt x="39" y="75"/>
                    <a:pt x="45" y="76"/>
                    <a:pt x="50" y="76"/>
                  </a:cubicBezTo>
                  <a:cubicBezTo>
                    <a:pt x="65" y="76"/>
                    <a:pt x="78" y="64"/>
                    <a:pt x="78" y="49"/>
                  </a:cubicBezTo>
                  <a:cubicBezTo>
                    <a:pt x="78" y="48"/>
                    <a:pt x="76" y="47"/>
                    <a:pt x="75" y="47"/>
                  </a:cubicBezTo>
                  <a:moveTo>
                    <a:pt x="95" y="93"/>
                  </a:moveTo>
                  <a:cubicBezTo>
                    <a:pt x="83" y="93"/>
                    <a:pt x="83" y="93"/>
                    <a:pt x="83" y="93"/>
                  </a:cubicBezTo>
                  <a:cubicBezTo>
                    <a:pt x="78" y="93"/>
                    <a:pt x="75" y="97"/>
                    <a:pt x="75" y="101"/>
                  </a:cubicBezTo>
                  <a:cubicBezTo>
                    <a:pt x="75" y="113"/>
                    <a:pt x="75" y="113"/>
                    <a:pt x="75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7" y="113"/>
                    <a:pt x="5" y="111"/>
                    <a:pt x="5" y="108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7"/>
                    <a:pt x="7" y="5"/>
                    <a:pt x="10" y="5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3" y="5"/>
                    <a:pt x="95" y="7"/>
                    <a:pt x="95" y="10"/>
                  </a:cubicBezTo>
                  <a:lnTo>
                    <a:pt x="95" y="93"/>
                  </a:lnTo>
                  <a:close/>
                  <a:moveTo>
                    <a:pt x="80" y="112"/>
                  </a:moveTo>
                  <a:cubicBezTo>
                    <a:pt x="80" y="101"/>
                    <a:pt x="80" y="101"/>
                    <a:pt x="80" y="101"/>
                  </a:cubicBezTo>
                  <a:cubicBezTo>
                    <a:pt x="80" y="99"/>
                    <a:pt x="81" y="98"/>
                    <a:pt x="83" y="98"/>
                  </a:cubicBezTo>
                  <a:cubicBezTo>
                    <a:pt x="94" y="98"/>
                    <a:pt x="94" y="98"/>
                    <a:pt x="94" y="98"/>
                  </a:cubicBezTo>
                  <a:lnTo>
                    <a:pt x="80" y="112"/>
                  </a:lnTo>
                  <a:close/>
                  <a:moveTo>
                    <a:pt x="9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4"/>
                    <a:pt x="5" y="118"/>
                    <a:pt x="1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1" y="118"/>
                    <a:pt x="81" y="118"/>
                    <a:pt x="82" y="117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100" y="100"/>
                    <a:pt x="100" y="99"/>
                  </a:cubicBezTo>
                  <a:cubicBezTo>
                    <a:pt x="100" y="99"/>
                    <a:pt x="100" y="99"/>
                    <a:pt x="100" y="98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4"/>
                    <a:pt x="95" y="0"/>
                    <a:pt x="9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7" name="Group 323">
            <a:extLst>
              <a:ext uri="{FF2B5EF4-FFF2-40B4-BE49-F238E27FC236}">
                <a16:creationId xmlns:a16="http://schemas.microsoft.com/office/drawing/2014/main" id="{2AA7E1EC-9B49-4686-BADC-24FA1690ED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8626" y="5425486"/>
            <a:ext cx="841375" cy="841375"/>
            <a:chOff x="243" y="3533"/>
            <a:chExt cx="530" cy="530"/>
          </a:xfrm>
        </p:grpSpPr>
        <p:sp>
          <p:nvSpPr>
            <p:cNvPr id="358" name="AutoShape 322">
              <a:extLst>
                <a:ext uri="{FF2B5EF4-FFF2-40B4-BE49-F238E27FC236}">
                  <a16:creationId xmlns:a16="http://schemas.microsoft.com/office/drawing/2014/main" id="{666C8F33-9CA0-4D76-9257-D243B523FA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3" y="353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324">
              <a:extLst>
                <a:ext uri="{FF2B5EF4-FFF2-40B4-BE49-F238E27FC236}">
                  <a16:creationId xmlns:a16="http://schemas.microsoft.com/office/drawing/2014/main" id="{23F9EDD1-80C6-475B-8B78-BFECE6364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" y="353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25">
              <a:extLst>
                <a:ext uri="{FF2B5EF4-FFF2-40B4-BE49-F238E27FC236}">
                  <a16:creationId xmlns:a16="http://schemas.microsoft.com/office/drawing/2014/main" id="{884CAA81-1F8A-4C3B-AF73-C556EAFBFE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" y="355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6">
              <a:extLst>
                <a:ext uri="{FF2B5EF4-FFF2-40B4-BE49-F238E27FC236}">
                  <a16:creationId xmlns:a16="http://schemas.microsoft.com/office/drawing/2014/main" id="{ED9F6C3D-9C00-49F9-8EF3-716E4A65CA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" y="3648"/>
              <a:ext cx="256" cy="302"/>
            </a:xfrm>
            <a:custGeom>
              <a:avLst/>
              <a:gdLst>
                <a:gd name="T0" fmla="*/ 10 w 100"/>
                <a:gd name="T1" fmla="*/ 96 h 118"/>
                <a:gd name="T2" fmla="*/ 20 w 100"/>
                <a:gd name="T3" fmla="*/ 96 h 118"/>
                <a:gd name="T4" fmla="*/ 15 w 100"/>
                <a:gd name="T5" fmla="*/ 17 h 118"/>
                <a:gd name="T6" fmla="*/ 15 w 100"/>
                <a:gd name="T7" fmla="*/ 27 h 118"/>
                <a:gd name="T8" fmla="*/ 15 w 100"/>
                <a:gd name="T9" fmla="*/ 17 h 118"/>
                <a:gd name="T10" fmla="*/ 32 w 100"/>
                <a:gd name="T11" fmla="*/ 96 h 118"/>
                <a:gd name="T12" fmla="*/ 32 w 100"/>
                <a:gd name="T13" fmla="*/ 101 h 118"/>
                <a:gd name="T14" fmla="*/ 58 w 100"/>
                <a:gd name="T15" fmla="*/ 98 h 118"/>
                <a:gd name="T16" fmla="*/ 63 w 100"/>
                <a:gd name="T17" fmla="*/ 86 h 118"/>
                <a:gd name="T18" fmla="*/ 30 w 100"/>
                <a:gd name="T19" fmla="*/ 88 h 118"/>
                <a:gd name="T20" fmla="*/ 63 w 100"/>
                <a:gd name="T21" fmla="*/ 91 h 118"/>
                <a:gd name="T22" fmla="*/ 63 w 100"/>
                <a:gd name="T23" fmla="*/ 86 h 118"/>
                <a:gd name="T24" fmla="*/ 63 w 100"/>
                <a:gd name="T25" fmla="*/ 17 h 118"/>
                <a:gd name="T26" fmla="*/ 63 w 100"/>
                <a:gd name="T27" fmla="*/ 37 h 118"/>
                <a:gd name="T28" fmla="*/ 58 w 100"/>
                <a:gd name="T29" fmla="*/ 15 h 118"/>
                <a:gd name="T30" fmla="*/ 60 w 100"/>
                <a:gd name="T31" fmla="*/ 42 h 118"/>
                <a:gd name="T32" fmla="*/ 87 w 100"/>
                <a:gd name="T33" fmla="*/ 39 h 118"/>
                <a:gd name="T34" fmla="*/ 50 w 100"/>
                <a:gd name="T35" fmla="*/ 71 h 118"/>
                <a:gd name="T36" fmla="*/ 31 w 100"/>
                <a:gd name="T37" fmla="*/ 60 h 118"/>
                <a:gd name="T38" fmla="*/ 72 w 100"/>
                <a:gd name="T39" fmla="*/ 52 h 118"/>
                <a:gd name="T40" fmla="*/ 29 w 100"/>
                <a:gd name="T41" fmla="*/ 56 h 118"/>
                <a:gd name="T42" fmla="*/ 47 w 100"/>
                <a:gd name="T43" fmla="*/ 27 h 118"/>
                <a:gd name="T44" fmla="*/ 29 w 100"/>
                <a:gd name="T45" fmla="*/ 56 h 118"/>
                <a:gd name="T46" fmla="*/ 53 w 100"/>
                <a:gd name="T47" fmla="*/ 47 h 118"/>
                <a:gd name="T48" fmla="*/ 50 w 100"/>
                <a:gd name="T49" fmla="*/ 22 h 118"/>
                <a:gd name="T50" fmla="*/ 35 w 100"/>
                <a:gd name="T51" fmla="*/ 72 h 118"/>
                <a:gd name="T52" fmla="*/ 78 w 100"/>
                <a:gd name="T53" fmla="*/ 49 h 118"/>
                <a:gd name="T54" fmla="*/ 95 w 100"/>
                <a:gd name="T55" fmla="*/ 93 h 118"/>
                <a:gd name="T56" fmla="*/ 75 w 100"/>
                <a:gd name="T57" fmla="*/ 101 h 118"/>
                <a:gd name="T58" fmla="*/ 10 w 100"/>
                <a:gd name="T59" fmla="*/ 113 h 118"/>
                <a:gd name="T60" fmla="*/ 5 w 100"/>
                <a:gd name="T61" fmla="*/ 10 h 118"/>
                <a:gd name="T62" fmla="*/ 90 w 100"/>
                <a:gd name="T63" fmla="*/ 5 h 118"/>
                <a:gd name="T64" fmla="*/ 95 w 100"/>
                <a:gd name="T65" fmla="*/ 93 h 118"/>
                <a:gd name="T66" fmla="*/ 80 w 100"/>
                <a:gd name="T67" fmla="*/ 101 h 118"/>
                <a:gd name="T68" fmla="*/ 94 w 100"/>
                <a:gd name="T69" fmla="*/ 98 h 118"/>
                <a:gd name="T70" fmla="*/ 90 w 100"/>
                <a:gd name="T71" fmla="*/ 0 h 118"/>
                <a:gd name="T72" fmla="*/ 0 w 100"/>
                <a:gd name="T73" fmla="*/ 10 h 118"/>
                <a:gd name="T74" fmla="*/ 10 w 100"/>
                <a:gd name="T75" fmla="*/ 118 h 118"/>
                <a:gd name="T76" fmla="*/ 82 w 100"/>
                <a:gd name="T77" fmla="*/ 117 h 118"/>
                <a:gd name="T78" fmla="*/ 100 w 100"/>
                <a:gd name="T79" fmla="*/ 99 h 118"/>
                <a:gd name="T80" fmla="*/ 100 w 100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0" h="118">
                  <a:moveTo>
                    <a:pt x="15" y="91"/>
                  </a:moveTo>
                  <a:cubicBezTo>
                    <a:pt x="12" y="91"/>
                    <a:pt x="10" y="93"/>
                    <a:pt x="10" y="96"/>
                  </a:cubicBezTo>
                  <a:cubicBezTo>
                    <a:pt x="10" y="99"/>
                    <a:pt x="12" y="101"/>
                    <a:pt x="15" y="101"/>
                  </a:cubicBezTo>
                  <a:cubicBezTo>
                    <a:pt x="18" y="101"/>
                    <a:pt x="20" y="99"/>
                    <a:pt x="20" y="96"/>
                  </a:cubicBezTo>
                  <a:cubicBezTo>
                    <a:pt x="20" y="93"/>
                    <a:pt x="18" y="91"/>
                    <a:pt x="15" y="91"/>
                  </a:cubicBezTo>
                  <a:moveTo>
                    <a:pt x="15" y="17"/>
                  </a:moveTo>
                  <a:cubicBezTo>
                    <a:pt x="12" y="17"/>
                    <a:pt x="10" y="19"/>
                    <a:pt x="10" y="22"/>
                  </a:cubicBezTo>
                  <a:cubicBezTo>
                    <a:pt x="10" y="25"/>
                    <a:pt x="12" y="27"/>
                    <a:pt x="15" y="27"/>
                  </a:cubicBezTo>
                  <a:cubicBezTo>
                    <a:pt x="18" y="27"/>
                    <a:pt x="20" y="25"/>
                    <a:pt x="20" y="22"/>
                  </a:cubicBezTo>
                  <a:cubicBezTo>
                    <a:pt x="20" y="19"/>
                    <a:pt x="18" y="17"/>
                    <a:pt x="15" y="17"/>
                  </a:cubicBezTo>
                  <a:moveTo>
                    <a:pt x="55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30" y="97"/>
                    <a:pt x="30" y="98"/>
                  </a:cubicBezTo>
                  <a:cubicBezTo>
                    <a:pt x="30" y="100"/>
                    <a:pt x="31" y="101"/>
                    <a:pt x="32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6" y="101"/>
                    <a:pt x="58" y="100"/>
                    <a:pt x="58" y="98"/>
                  </a:cubicBezTo>
                  <a:cubicBezTo>
                    <a:pt x="58" y="97"/>
                    <a:pt x="56" y="96"/>
                    <a:pt x="55" y="96"/>
                  </a:cubicBezTo>
                  <a:moveTo>
                    <a:pt x="63" y="86"/>
                  </a:moveTo>
                  <a:cubicBezTo>
                    <a:pt x="32" y="86"/>
                    <a:pt x="32" y="86"/>
                    <a:pt x="32" y="86"/>
                  </a:cubicBezTo>
                  <a:cubicBezTo>
                    <a:pt x="31" y="86"/>
                    <a:pt x="30" y="87"/>
                    <a:pt x="30" y="88"/>
                  </a:cubicBezTo>
                  <a:cubicBezTo>
                    <a:pt x="30" y="90"/>
                    <a:pt x="31" y="91"/>
                    <a:pt x="3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1"/>
                    <a:pt x="65" y="90"/>
                    <a:pt x="65" y="88"/>
                  </a:cubicBezTo>
                  <a:cubicBezTo>
                    <a:pt x="65" y="87"/>
                    <a:pt x="64" y="86"/>
                    <a:pt x="63" y="86"/>
                  </a:cubicBezTo>
                  <a:moveTo>
                    <a:pt x="63" y="37"/>
                  </a:moveTo>
                  <a:cubicBezTo>
                    <a:pt x="63" y="17"/>
                    <a:pt x="63" y="17"/>
                    <a:pt x="63" y="17"/>
                  </a:cubicBezTo>
                  <a:cubicBezTo>
                    <a:pt x="73" y="18"/>
                    <a:pt x="81" y="27"/>
                    <a:pt x="82" y="37"/>
                  </a:cubicBezTo>
                  <a:lnTo>
                    <a:pt x="63" y="37"/>
                  </a:lnTo>
                  <a:close/>
                  <a:moveTo>
                    <a:pt x="60" y="12"/>
                  </a:moveTo>
                  <a:cubicBezTo>
                    <a:pt x="59" y="12"/>
                    <a:pt x="58" y="13"/>
                    <a:pt x="58" y="15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41"/>
                    <a:pt x="59" y="42"/>
                    <a:pt x="60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6" y="42"/>
                    <a:pt x="87" y="41"/>
                    <a:pt x="87" y="39"/>
                  </a:cubicBezTo>
                  <a:cubicBezTo>
                    <a:pt x="87" y="24"/>
                    <a:pt x="75" y="12"/>
                    <a:pt x="60" y="12"/>
                  </a:cubicBezTo>
                  <a:moveTo>
                    <a:pt x="50" y="71"/>
                  </a:moveTo>
                  <a:cubicBezTo>
                    <a:pt x="46" y="71"/>
                    <a:pt x="41" y="70"/>
                    <a:pt x="38" y="68"/>
                  </a:cubicBezTo>
                  <a:cubicBezTo>
                    <a:pt x="35" y="66"/>
                    <a:pt x="32" y="63"/>
                    <a:pt x="31" y="60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1" y="63"/>
                    <a:pt x="62" y="71"/>
                    <a:pt x="50" y="71"/>
                  </a:cubicBezTo>
                  <a:moveTo>
                    <a:pt x="29" y="56"/>
                  </a:moveTo>
                  <a:cubicBezTo>
                    <a:pt x="28" y="54"/>
                    <a:pt x="27" y="51"/>
                    <a:pt x="27" y="49"/>
                  </a:cubicBezTo>
                  <a:cubicBezTo>
                    <a:pt x="27" y="38"/>
                    <a:pt x="36" y="28"/>
                    <a:pt x="47" y="27"/>
                  </a:cubicBezTo>
                  <a:cubicBezTo>
                    <a:pt x="47" y="48"/>
                    <a:pt x="47" y="48"/>
                    <a:pt x="47" y="48"/>
                  </a:cubicBezTo>
                  <a:lnTo>
                    <a:pt x="29" y="56"/>
                  </a:lnTo>
                  <a:close/>
                  <a:moveTo>
                    <a:pt x="75" y="47"/>
                  </a:moveTo>
                  <a:cubicBezTo>
                    <a:pt x="53" y="47"/>
                    <a:pt x="53" y="47"/>
                    <a:pt x="53" y="47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3"/>
                    <a:pt x="51" y="22"/>
                    <a:pt x="50" y="22"/>
                  </a:cubicBezTo>
                  <a:cubicBezTo>
                    <a:pt x="35" y="22"/>
                    <a:pt x="23" y="34"/>
                    <a:pt x="23" y="49"/>
                  </a:cubicBezTo>
                  <a:cubicBezTo>
                    <a:pt x="23" y="58"/>
                    <a:pt x="27" y="67"/>
                    <a:pt x="35" y="72"/>
                  </a:cubicBezTo>
                  <a:cubicBezTo>
                    <a:pt x="39" y="75"/>
                    <a:pt x="45" y="76"/>
                    <a:pt x="50" y="76"/>
                  </a:cubicBezTo>
                  <a:cubicBezTo>
                    <a:pt x="65" y="76"/>
                    <a:pt x="78" y="64"/>
                    <a:pt x="78" y="49"/>
                  </a:cubicBezTo>
                  <a:cubicBezTo>
                    <a:pt x="78" y="48"/>
                    <a:pt x="76" y="47"/>
                    <a:pt x="75" y="47"/>
                  </a:cubicBezTo>
                  <a:moveTo>
                    <a:pt x="95" y="93"/>
                  </a:moveTo>
                  <a:cubicBezTo>
                    <a:pt x="83" y="93"/>
                    <a:pt x="83" y="93"/>
                    <a:pt x="83" y="93"/>
                  </a:cubicBezTo>
                  <a:cubicBezTo>
                    <a:pt x="78" y="93"/>
                    <a:pt x="75" y="97"/>
                    <a:pt x="75" y="101"/>
                  </a:cubicBezTo>
                  <a:cubicBezTo>
                    <a:pt x="75" y="113"/>
                    <a:pt x="75" y="113"/>
                    <a:pt x="75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7" y="113"/>
                    <a:pt x="5" y="111"/>
                    <a:pt x="5" y="108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7"/>
                    <a:pt x="7" y="5"/>
                    <a:pt x="10" y="5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3" y="5"/>
                    <a:pt x="95" y="7"/>
                    <a:pt x="95" y="10"/>
                  </a:cubicBezTo>
                  <a:lnTo>
                    <a:pt x="95" y="93"/>
                  </a:lnTo>
                  <a:close/>
                  <a:moveTo>
                    <a:pt x="80" y="112"/>
                  </a:moveTo>
                  <a:cubicBezTo>
                    <a:pt x="80" y="101"/>
                    <a:pt x="80" y="101"/>
                    <a:pt x="80" y="101"/>
                  </a:cubicBezTo>
                  <a:cubicBezTo>
                    <a:pt x="80" y="99"/>
                    <a:pt x="81" y="98"/>
                    <a:pt x="83" y="98"/>
                  </a:cubicBezTo>
                  <a:cubicBezTo>
                    <a:pt x="94" y="98"/>
                    <a:pt x="94" y="98"/>
                    <a:pt x="94" y="98"/>
                  </a:cubicBezTo>
                  <a:lnTo>
                    <a:pt x="80" y="112"/>
                  </a:lnTo>
                  <a:close/>
                  <a:moveTo>
                    <a:pt x="9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14"/>
                    <a:pt x="5" y="118"/>
                    <a:pt x="1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1" y="118"/>
                    <a:pt x="81" y="118"/>
                    <a:pt x="82" y="117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100" y="100"/>
                    <a:pt x="100" y="99"/>
                  </a:cubicBezTo>
                  <a:cubicBezTo>
                    <a:pt x="100" y="99"/>
                    <a:pt x="100" y="99"/>
                    <a:pt x="100" y="98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4"/>
                    <a:pt x="95" y="0"/>
                    <a:pt x="9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6" name="Group 329">
            <a:extLst>
              <a:ext uri="{FF2B5EF4-FFF2-40B4-BE49-F238E27FC236}">
                <a16:creationId xmlns:a16="http://schemas.microsoft.com/office/drawing/2014/main" id="{79B8428E-DA84-43D3-8E38-42157CCC98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337" y="5466761"/>
            <a:ext cx="758825" cy="758825"/>
            <a:chOff x="2308" y="3560"/>
            <a:chExt cx="478" cy="478"/>
          </a:xfrm>
        </p:grpSpPr>
        <p:sp>
          <p:nvSpPr>
            <p:cNvPr id="367" name="AutoShape 328">
              <a:extLst>
                <a:ext uri="{FF2B5EF4-FFF2-40B4-BE49-F238E27FC236}">
                  <a16:creationId xmlns:a16="http://schemas.microsoft.com/office/drawing/2014/main" id="{48D52F54-3991-4C2F-9C25-A36BE41EC3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8" y="356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30">
              <a:extLst>
                <a:ext uri="{FF2B5EF4-FFF2-40B4-BE49-F238E27FC236}">
                  <a16:creationId xmlns:a16="http://schemas.microsoft.com/office/drawing/2014/main" id="{224FEDAA-46C7-4AB0-8F3D-3461F5F23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0" y="356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31">
              <a:extLst>
                <a:ext uri="{FF2B5EF4-FFF2-40B4-BE49-F238E27FC236}">
                  <a16:creationId xmlns:a16="http://schemas.microsoft.com/office/drawing/2014/main" id="{73041826-F83E-4753-B106-072F26AAD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3" y="3808"/>
              <a:ext cx="81" cy="161"/>
            </a:xfrm>
            <a:custGeom>
              <a:avLst/>
              <a:gdLst>
                <a:gd name="T0" fmla="*/ 29 w 33"/>
                <a:gd name="T1" fmla="*/ 0 h 66"/>
                <a:gd name="T2" fmla="*/ 26 w 33"/>
                <a:gd name="T3" fmla="*/ 1 h 66"/>
                <a:gd name="T4" fmla="*/ 23 w 33"/>
                <a:gd name="T5" fmla="*/ 0 h 66"/>
                <a:gd name="T6" fmla="*/ 20 w 33"/>
                <a:gd name="T7" fmla="*/ 1 h 66"/>
                <a:gd name="T8" fmla="*/ 17 w 33"/>
                <a:gd name="T9" fmla="*/ 0 h 66"/>
                <a:gd name="T10" fmla="*/ 14 w 33"/>
                <a:gd name="T11" fmla="*/ 1 h 66"/>
                <a:gd name="T12" fmla="*/ 12 w 33"/>
                <a:gd name="T13" fmla="*/ 0 h 66"/>
                <a:gd name="T14" fmla="*/ 7 w 33"/>
                <a:gd name="T15" fmla="*/ 4 h 66"/>
                <a:gd name="T16" fmla="*/ 7 w 33"/>
                <a:gd name="T17" fmla="*/ 16 h 66"/>
                <a:gd name="T18" fmla="*/ 5 w 33"/>
                <a:gd name="T19" fmla="*/ 16 h 66"/>
                <a:gd name="T20" fmla="*/ 0 w 33"/>
                <a:gd name="T21" fmla="*/ 16 h 66"/>
                <a:gd name="T22" fmla="*/ 0 w 33"/>
                <a:gd name="T23" fmla="*/ 32 h 66"/>
                <a:gd name="T24" fmla="*/ 9 w 33"/>
                <a:gd name="T25" fmla="*/ 43 h 66"/>
                <a:gd name="T26" fmla="*/ 9 w 33"/>
                <a:gd name="T27" fmla="*/ 66 h 66"/>
                <a:gd name="T28" fmla="*/ 12 w 33"/>
                <a:gd name="T29" fmla="*/ 66 h 66"/>
                <a:gd name="T30" fmla="*/ 12 w 33"/>
                <a:gd name="T31" fmla="*/ 42 h 66"/>
                <a:gd name="T32" fmla="*/ 3 w 33"/>
                <a:gd name="T33" fmla="*/ 31 h 66"/>
                <a:gd name="T34" fmla="*/ 3 w 33"/>
                <a:gd name="T35" fmla="*/ 18 h 66"/>
                <a:gd name="T36" fmla="*/ 5 w 33"/>
                <a:gd name="T37" fmla="*/ 18 h 66"/>
                <a:gd name="T38" fmla="*/ 7 w 33"/>
                <a:gd name="T39" fmla="*/ 20 h 66"/>
                <a:gd name="T40" fmla="*/ 7 w 33"/>
                <a:gd name="T41" fmla="*/ 25 h 66"/>
                <a:gd name="T42" fmla="*/ 7 w 33"/>
                <a:gd name="T43" fmla="*/ 25 h 66"/>
                <a:gd name="T44" fmla="*/ 10 w 33"/>
                <a:gd name="T45" fmla="*/ 25 h 66"/>
                <a:gd name="T46" fmla="*/ 10 w 33"/>
                <a:gd name="T47" fmla="*/ 25 h 66"/>
                <a:gd name="T48" fmla="*/ 10 w 33"/>
                <a:gd name="T49" fmla="*/ 20 h 66"/>
                <a:gd name="T50" fmla="*/ 10 w 33"/>
                <a:gd name="T51" fmla="*/ 4 h 66"/>
                <a:gd name="T52" fmla="*/ 12 w 33"/>
                <a:gd name="T53" fmla="*/ 3 h 66"/>
                <a:gd name="T54" fmla="*/ 13 w 33"/>
                <a:gd name="T55" fmla="*/ 4 h 66"/>
                <a:gd name="T56" fmla="*/ 13 w 33"/>
                <a:gd name="T57" fmla="*/ 22 h 66"/>
                <a:gd name="T58" fmla="*/ 16 w 33"/>
                <a:gd name="T59" fmla="*/ 22 h 66"/>
                <a:gd name="T60" fmla="*/ 16 w 33"/>
                <a:gd name="T61" fmla="*/ 4 h 66"/>
                <a:gd name="T62" fmla="*/ 17 w 33"/>
                <a:gd name="T63" fmla="*/ 3 h 66"/>
                <a:gd name="T64" fmla="*/ 19 w 33"/>
                <a:gd name="T65" fmla="*/ 4 h 66"/>
                <a:gd name="T66" fmla="*/ 19 w 33"/>
                <a:gd name="T67" fmla="*/ 22 h 66"/>
                <a:gd name="T68" fmla="*/ 22 w 33"/>
                <a:gd name="T69" fmla="*/ 22 h 66"/>
                <a:gd name="T70" fmla="*/ 22 w 33"/>
                <a:gd name="T71" fmla="*/ 4 h 66"/>
                <a:gd name="T72" fmla="*/ 23 w 33"/>
                <a:gd name="T73" fmla="*/ 3 h 66"/>
                <a:gd name="T74" fmla="*/ 25 w 33"/>
                <a:gd name="T75" fmla="*/ 4 h 66"/>
                <a:gd name="T76" fmla="*/ 25 w 33"/>
                <a:gd name="T77" fmla="*/ 22 h 66"/>
                <a:gd name="T78" fmla="*/ 27 w 33"/>
                <a:gd name="T79" fmla="*/ 22 h 66"/>
                <a:gd name="T80" fmla="*/ 27 w 33"/>
                <a:gd name="T81" fmla="*/ 4 h 66"/>
                <a:gd name="T82" fmla="*/ 29 w 33"/>
                <a:gd name="T83" fmla="*/ 3 h 66"/>
                <a:gd name="T84" fmla="*/ 30 w 33"/>
                <a:gd name="T85" fmla="*/ 4 h 66"/>
                <a:gd name="T86" fmla="*/ 30 w 33"/>
                <a:gd name="T87" fmla="*/ 24 h 66"/>
                <a:gd name="T88" fmla="*/ 30 w 33"/>
                <a:gd name="T89" fmla="*/ 25 h 66"/>
                <a:gd name="T90" fmla="*/ 30 w 33"/>
                <a:gd name="T91" fmla="*/ 34 h 66"/>
                <a:gd name="T92" fmla="*/ 26 w 33"/>
                <a:gd name="T93" fmla="*/ 41 h 66"/>
                <a:gd name="T94" fmla="*/ 26 w 33"/>
                <a:gd name="T95" fmla="*/ 42 h 66"/>
                <a:gd name="T96" fmla="*/ 26 w 33"/>
                <a:gd name="T97" fmla="*/ 66 h 66"/>
                <a:gd name="T98" fmla="*/ 29 w 33"/>
                <a:gd name="T99" fmla="*/ 66 h 66"/>
                <a:gd name="T100" fmla="*/ 29 w 33"/>
                <a:gd name="T101" fmla="*/ 43 h 66"/>
                <a:gd name="T102" fmla="*/ 33 w 33"/>
                <a:gd name="T103" fmla="*/ 34 h 66"/>
                <a:gd name="T104" fmla="*/ 33 w 33"/>
                <a:gd name="T105" fmla="*/ 25 h 66"/>
                <a:gd name="T106" fmla="*/ 33 w 33"/>
                <a:gd name="T107" fmla="*/ 24 h 66"/>
                <a:gd name="T108" fmla="*/ 33 w 33"/>
                <a:gd name="T109" fmla="*/ 4 h 66"/>
                <a:gd name="T110" fmla="*/ 29 w 33"/>
                <a:gd name="T1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66">
                  <a:moveTo>
                    <a:pt x="29" y="0"/>
                  </a:moveTo>
                  <a:cubicBezTo>
                    <a:pt x="28" y="0"/>
                    <a:pt x="27" y="0"/>
                    <a:pt x="26" y="1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22" y="0"/>
                    <a:pt x="21" y="0"/>
                    <a:pt x="20" y="1"/>
                  </a:cubicBezTo>
                  <a:cubicBezTo>
                    <a:pt x="19" y="0"/>
                    <a:pt x="18" y="0"/>
                    <a:pt x="17" y="0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9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7" y="19"/>
                    <a:pt x="7" y="20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2" y="3"/>
                    <a:pt x="13" y="3"/>
                    <a:pt x="13" y="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8" y="3"/>
                    <a:pt x="19" y="3"/>
                    <a:pt x="19" y="4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3"/>
                    <a:pt x="22" y="3"/>
                    <a:pt x="23" y="3"/>
                  </a:cubicBezTo>
                  <a:cubicBezTo>
                    <a:pt x="24" y="3"/>
                    <a:pt x="25" y="3"/>
                    <a:pt x="25" y="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3"/>
                    <a:pt x="28" y="3"/>
                    <a:pt x="29" y="3"/>
                  </a:cubicBezTo>
                  <a:cubicBezTo>
                    <a:pt x="30" y="3"/>
                    <a:pt x="30" y="3"/>
                    <a:pt x="30" y="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28" y="38"/>
                    <a:pt x="26" y="41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1"/>
                    <a:pt x="33" y="36"/>
                    <a:pt x="33" y="34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2">
              <a:extLst>
                <a:ext uri="{FF2B5EF4-FFF2-40B4-BE49-F238E27FC236}">
                  <a16:creationId xmlns:a16="http://schemas.microsoft.com/office/drawing/2014/main" id="{9777466C-B51B-4034-A097-7B7694379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3" y="3712"/>
              <a:ext cx="162" cy="81"/>
            </a:xfrm>
            <a:custGeom>
              <a:avLst/>
              <a:gdLst>
                <a:gd name="T0" fmla="*/ 5 w 66"/>
                <a:gd name="T1" fmla="*/ 3 h 33"/>
                <a:gd name="T2" fmla="*/ 24 w 66"/>
                <a:gd name="T3" fmla="*/ 3 h 33"/>
                <a:gd name="T4" fmla="*/ 25 w 66"/>
                <a:gd name="T5" fmla="*/ 3 h 33"/>
                <a:gd name="T6" fmla="*/ 34 w 66"/>
                <a:gd name="T7" fmla="*/ 3 h 33"/>
                <a:gd name="T8" fmla="*/ 42 w 66"/>
                <a:gd name="T9" fmla="*/ 7 h 33"/>
                <a:gd name="T10" fmla="*/ 42 w 66"/>
                <a:gd name="T11" fmla="*/ 7 h 33"/>
                <a:gd name="T12" fmla="*/ 66 w 66"/>
                <a:gd name="T13" fmla="*/ 7 h 33"/>
                <a:gd name="T14" fmla="*/ 66 w 66"/>
                <a:gd name="T15" fmla="*/ 5 h 33"/>
                <a:gd name="T16" fmla="*/ 43 w 66"/>
                <a:gd name="T17" fmla="*/ 5 h 33"/>
                <a:gd name="T18" fmla="*/ 34 w 66"/>
                <a:gd name="T19" fmla="*/ 0 h 33"/>
                <a:gd name="T20" fmla="*/ 25 w 66"/>
                <a:gd name="T21" fmla="*/ 0 h 33"/>
                <a:gd name="T22" fmla="*/ 24 w 66"/>
                <a:gd name="T23" fmla="*/ 0 h 33"/>
                <a:gd name="T24" fmla="*/ 5 w 66"/>
                <a:gd name="T25" fmla="*/ 0 h 33"/>
                <a:gd name="T26" fmla="*/ 0 w 66"/>
                <a:gd name="T27" fmla="*/ 5 h 33"/>
                <a:gd name="T28" fmla="*/ 1 w 66"/>
                <a:gd name="T29" fmla="*/ 7 h 33"/>
                <a:gd name="T30" fmla="*/ 0 w 66"/>
                <a:gd name="T31" fmla="*/ 10 h 33"/>
                <a:gd name="T32" fmla="*/ 1 w 66"/>
                <a:gd name="T33" fmla="*/ 13 h 33"/>
                <a:gd name="T34" fmla="*/ 0 w 66"/>
                <a:gd name="T35" fmla="*/ 16 h 33"/>
                <a:gd name="T36" fmla="*/ 1 w 66"/>
                <a:gd name="T37" fmla="*/ 19 h 33"/>
                <a:gd name="T38" fmla="*/ 0 w 66"/>
                <a:gd name="T39" fmla="*/ 22 h 33"/>
                <a:gd name="T40" fmla="*/ 5 w 66"/>
                <a:gd name="T41" fmla="*/ 26 h 33"/>
                <a:gd name="T42" fmla="*/ 16 w 66"/>
                <a:gd name="T43" fmla="*/ 26 h 33"/>
                <a:gd name="T44" fmla="*/ 16 w 66"/>
                <a:gd name="T45" fmla="*/ 28 h 33"/>
                <a:gd name="T46" fmla="*/ 16 w 66"/>
                <a:gd name="T47" fmla="*/ 33 h 33"/>
                <a:gd name="T48" fmla="*/ 32 w 66"/>
                <a:gd name="T49" fmla="*/ 33 h 33"/>
                <a:gd name="T50" fmla="*/ 43 w 66"/>
                <a:gd name="T51" fmla="*/ 24 h 33"/>
                <a:gd name="T52" fmla="*/ 66 w 66"/>
                <a:gd name="T53" fmla="*/ 24 h 33"/>
                <a:gd name="T54" fmla="*/ 66 w 66"/>
                <a:gd name="T55" fmla="*/ 21 h 33"/>
                <a:gd name="T56" fmla="*/ 42 w 66"/>
                <a:gd name="T57" fmla="*/ 21 h 33"/>
                <a:gd name="T58" fmla="*/ 31 w 66"/>
                <a:gd name="T59" fmla="*/ 30 h 33"/>
                <a:gd name="T60" fmla="*/ 19 w 66"/>
                <a:gd name="T61" fmla="*/ 30 h 33"/>
                <a:gd name="T62" fmla="*/ 19 w 66"/>
                <a:gd name="T63" fmla="*/ 28 h 33"/>
                <a:gd name="T64" fmla="*/ 21 w 66"/>
                <a:gd name="T65" fmla="*/ 26 h 33"/>
                <a:gd name="T66" fmla="*/ 25 w 66"/>
                <a:gd name="T67" fmla="*/ 26 h 33"/>
                <a:gd name="T68" fmla="*/ 25 w 66"/>
                <a:gd name="T69" fmla="*/ 26 h 33"/>
                <a:gd name="T70" fmla="*/ 25 w 66"/>
                <a:gd name="T71" fmla="*/ 23 h 33"/>
                <a:gd name="T72" fmla="*/ 25 w 66"/>
                <a:gd name="T73" fmla="*/ 23 h 33"/>
                <a:gd name="T74" fmla="*/ 21 w 66"/>
                <a:gd name="T75" fmla="*/ 23 h 33"/>
                <a:gd name="T76" fmla="*/ 5 w 66"/>
                <a:gd name="T77" fmla="*/ 23 h 33"/>
                <a:gd name="T78" fmla="*/ 3 w 66"/>
                <a:gd name="T79" fmla="*/ 22 h 33"/>
                <a:gd name="T80" fmla="*/ 5 w 66"/>
                <a:gd name="T81" fmla="*/ 20 h 33"/>
                <a:gd name="T82" fmla="*/ 23 w 66"/>
                <a:gd name="T83" fmla="*/ 20 h 33"/>
                <a:gd name="T84" fmla="*/ 23 w 66"/>
                <a:gd name="T85" fmla="*/ 18 h 33"/>
                <a:gd name="T86" fmla="*/ 5 w 66"/>
                <a:gd name="T87" fmla="*/ 18 h 33"/>
                <a:gd name="T88" fmla="*/ 3 w 66"/>
                <a:gd name="T89" fmla="*/ 16 h 33"/>
                <a:gd name="T90" fmla="*/ 5 w 66"/>
                <a:gd name="T91" fmla="*/ 15 h 33"/>
                <a:gd name="T92" fmla="*/ 23 w 66"/>
                <a:gd name="T93" fmla="*/ 15 h 33"/>
                <a:gd name="T94" fmla="*/ 23 w 66"/>
                <a:gd name="T95" fmla="*/ 12 h 33"/>
                <a:gd name="T96" fmla="*/ 5 w 66"/>
                <a:gd name="T97" fmla="*/ 12 h 33"/>
                <a:gd name="T98" fmla="*/ 3 w 66"/>
                <a:gd name="T99" fmla="*/ 10 h 33"/>
                <a:gd name="T100" fmla="*/ 5 w 66"/>
                <a:gd name="T101" fmla="*/ 9 h 33"/>
                <a:gd name="T102" fmla="*/ 23 w 66"/>
                <a:gd name="T103" fmla="*/ 9 h 33"/>
                <a:gd name="T104" fmla="*/ 23 w 66"/>
                <a:gd name="T105" fmla="*/ 6 h 33"/>
                <a:gd name="T106" fmla="*/ 5 w 66"/>
                <a:gd name="T107" fmla="*/ 6 h 33"/>
                <a:gd name="T108" fmla="*/ 3 w 66"/>
                <a:gd name="T109" fmla="*/ 5 h 33"/>
                <a:gd name="T110" fmla="*/ 5 w 66"/>
                <a:gd name="T111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6" h="33">
                  <a:moveTo>
                    <a:pt x="5" y="3"/>
                  </a:move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8" y="5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1" y="3"/>
                    <a:pt x="36" y="0"/>
                    <a:pt x="3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17"/>
                    <a:pt x="1" y="18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6"/>
                    <a:pt x="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6" y="28"/>
                    <a:pt x="16" y="28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20" y="26"/>
                    <a:pt x="21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3" y="23"/>
                    <a:pt x="3" y="22"/>
                  </a:cubicBezTo>
                  <a:cubicBezTo>
                    <a:pt x="3" y="21"/>
                    <a:pt x="4" y="20"/>
                    <a:pt x="5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3" y="17"/>
                    <a:pt x="3" y="16"/>
                  </a:cubicBezTo>
                  <a:cubicBezTo>
                    <a:pt x="3" y="15"/>
                    <a:pt x="4" y="15"/>
                    <a:pt x="5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3" y="11"/>
                    <a:pt x="3" y="10"/>
                  </a:cubicBezTo>
                  <a:cubicBezTo>
                    <a:pt x="3" y="10"/>
                    <a:pt x="4" y="9"/>
                    <a:pt x="5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3" y="5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3">
              <a:extLst>
                <a:ext uri="{FF2B5EF4-FFF2-40B4-BE49-F238E27FC236}">
                  <a16:creationId xmlns:a16="http://schemas.microsoft.com/office/drawing/2014/main" id="{861FE109-2D35-43E3-8E04-E8E3647F4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2" y="3631"/>
              <a:ext cx="81" cy="162"/>
            </a:xfrm>
            <a:custGeom>
              <a:avLst/>
              <a:gdLst>
                <a:gd name="T0" fmla="*/ 24 w 33"/>
                <a:gd name="T1" fmla="*/ 0 h 66"/>
                <a:gd name="T2" fmla="*/ 21 w 33"/>
                <a:gd name="T3" fmla="*/ 0 h 66"/>
                <a:gd name="T4" fmla="*/ 21 w 33"/>
                <a:gd name="T5" fmla="*/ 24 h 66"/>
                <a:gd name="T6" fmla="*/ 30 w 33"/>
                <a:gd name="T7" fmla="*/ 35 h 66"/>
                <a:gd name="T8" fmla="*/ 30 w 33"/>
                <a:gd name="T9" fmla="*/ 48 h 66"/>
                <a:gd name="T10" fmla="*/ 28 w 33"/>
                <a:gd name="T11" fmla="*/ 48 h 66"/>
                <a:gd name="T12" fmla="*/ 26 w 33"/>
                <a:gd name="T13" fmla="*/ 46 h 66"/>
                <a:gd name="T14" fmla="*/ 26 w 33"/>
                <a:gd name="T15" fmla="*/ 41 h 66"/>
                <a:gd name="T16" fmla="*/ 26 w 33"/>
                <a:gd name="T17" fmla="*/ 41 h 66"/>
                <a:gd name="T18" fmla="*/ 23 w 33"/>
                <a:gd name="T19" fmla="*/ 41 h 66"/>
                <a:gd name="T20" fmla="*/ 23 w 33"/>
                <a:gd name="T21" fmla="*/ 41 h 66"/>
                <a:gd name="T22" fmla="*/ 23 w 33"/>
                <a:gd name="T23" fmla="*/ 46 h 66"/>
                <a:gd name="T24" fmla="*/ 23 w 33"/>
                <a:gd name="T25" fmla="*/ 62 h 66"/>
                <a:gd name="T26" fmla="*/ 21 w 33"/>
                <a:gd name="T27" fmla="*/ 63 h 66"/>
                <a:gd name="T28" fmla="*/ 20 w 33"/>
                <a:gd name="T29" fmla="*/ 62 h 66"/>
                <a:gd name="T30" fmla="*/ 20 w 33"/>
                <a:gd name="T31" fmla="*/ 44 h 66"/>
                <a:gd name="T32" fmla="*/ 17 w 33"/>
                <a:gd name="T33" fmla="*/ 44 h 66"/>
                <a:gd name="T34" fmla="*/ 17 w 33"/>
                <a:gd name="T35" fmla="*/ 62 h 66"/>
                <a:gd name="T36" fmla="*/ 16 w 33"/>
                <a:gd name="T37" fmla="*/ 63 h 66"/>
                <a:gd name="T38" fmla="*/ 14 w 33"/>
                <a:gd name="T39" fmla="*/ 62 h 66"/>
                <a:gd name="T40" fmla="*/ 14 w 33"/>
                <a:gd name="T41" fmla="*/ 44 h 66"/>
                <a:gd name="T42" fmla="*/ 11 w 33"/>
                <a:gd name="T43" fmla="*/ 44 h 66"/>
                <a:gd name="T44" fmla="*/ 11 w 33"/>
                <a:gd name="T45" fmla="*/ 62 h 66"/>
                <a:gd name="T46" fmla="*/ 10 w 33"/>
                <a:gd name="T47" fmla="*/ 63 h 66"/>
                <a:gd name="T48" fmla="*/ 8 w 33"/>
                <a:gd name="T49" fmla="*/ 62 h 66"/>
                <a:gd name="T50" fmla="*/ 8 w 33"/>
                <a:gd name="T51" fmla="*/ 44 h 66"/>
                <a:gd name="T52" fmla="*/ 6 w 33"/>
                <a:gd name="T53" fmla="*/ 44 h 66"/>
                <a:gd name="T54" fmla="*/ 6 w 33"/>
                <a:gd name="T55" fmla="*/ 62 h 66"/>
                <a:gd name="T56" fmla="*/ 4 w 33"/>
                <a:gd name="T57" fmla="*/ 63 h 66"/>
                <a:gd name="T58" fmla="*/ 3 w 33"/>
                <a:gd name="T59" fmla="*/ 62 h 66"/>
                <a:gd name="T60" fmla="*/ 3 w 33"/>
                <a:gd name="T61" fmla="*/ 42 h 66"/>
                <a:gd name="T62" fmla="*/ 3 w 33"/>
                <a:gd name="T63" fmla="*/ 41 h 66"/>
                <a:gd name="T64" fmla="*/ 3 w 33"/>
                <a:gd name="T65" fmla="*/ 32 h 66"/>
                <a:gd name="T66" fmla="*/ 7 w 33"/>
                <a:gd name="T67" fmla="*/ 25 h 66"/>
                <a:gd name="T68" fmla="*/ 7 w 33"/>
                <a:gd name="T69" fmla="*/ 24 h 66"/>
                <a:gd name="T70" fmla="*/ 7 w 33"/>
                <a:gd name="T71" fmla="*/ 0 h 66"/>
                <a:gd name="T72" fmla="*/ 4 w 33"/>
                <a:gd name="T73" fmla="*/ 0 h 66"/>
                <a:gd name="T74" fmla="*/ 4 w 33"/>
                <a:gd name="T75" fmla="*/ 23 h 66"/>
                <a:gd name="T76" fmla="*/ 0 w 33"/>
                <a:gd name="T77" fmla="*/ 32 h 66"/>
                <a:gd name="T78" fmla="*/ 0 w 33"/>
                <a:gd name="T79" fmla="*/ 41 h 66"/>
                <a:gd name="T80" fmla="*/ 0 w 33"/>
                <a:gd name="T81" fmla="*/ 42 h 66"/>
                <a:gd name="T82" fmla="*/ 0 w 33"/>
                <a:gd name="T83" fmla="*/ 62 h 66"/>
                <a:gd name="T84" fmla="*/ 4 w 33"/>
                <a:gd name="T85" fmla="*/ 66 h 66"/>
                <a:gd name="T86" fmla="*/ 7 w 33"/>
                <a:gd name="T87" fmla="*/ 65 h 66"/>
                <a:gd name="T88" fmla="*/ 10 w 33"/>
                <a:gd name="T89" fmla="*/ 66 h 66"/>
                <a:gd name="T90" fmla="*/ 13 w 33"/>
                <a:gd name="T91" fmla="*/ 65 h 66"/>
                <a:gd name="T92" fmla="*/ 16 w 33"/>
                <a:gd name="T93" fmla="*/ 66 h 66"/>
                <a:gd name="T94" fmla="*/ 19 w 33"/>
                <a:gd name="T95" fmla="*/ 65 h 66"/>
                <a:gd name="T96" fmla="*/ 21 w 33"/>
                <a:gd name="T97" fmla="*/ 66 h 66"/>
                <a:gd name="T98" fmla="*/ 26 w 33"/>
                <a:gd name="T99" fmla="*/ 62 h 66"/>
                <a:gd name="T100" fmla="*/ 26 w 33"/>
                <a:gd name="T101" fmla="*/ 50 h 66"/>
                <a:gd name="T102" fmla="*/ 28 w 33"/>
                <a:gd name="T103" fmla="*/ 50 h 66"/>
                <a:gd name="T104" fmla="*/ 33 w 33"/>
                <a:gd name="T105" fmla="*/ 50 h 66"/>
                <a:gd name="T106" fmla="*/ 33 w 33"/>
                <a:gd name="T107" fmla="*/ 34 h 66"/>
                <a:gd name="T108" fmla="*/ 24 w 33"/>
                <a:gd name="T109" fmla="*/ 23 h 66"/>
                <a:gd name="T110" fmla="*/ 24 w 33"/>
                <a:gd name="T1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66">
                  <a:moveTo>
                    <a:pt x="24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7" y="48"/>
                    <a:pt x="26" y="47"/>
                    <a:pt x="26" y="46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3" y="63"/>
                    <a:pt x="22" y="63"/>
                    <a:pt x="21" y="63"/>
                  </a:cubicBezTo>
                  <a:cubicBezTo>
                    <a:pt x="21" y="63"/>
                    <a:pt x="20" y="63"/>
                    <a:pt x="20" y="6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3"/>
                    <a:pt x="16" y="63"/>
                    <a:pt x="16" y="63"/>
                  </a:cubicBezTo>
                  <a:cubicBezTo>
                    <a:pt x="15" y="63"/>
                    <a:pt x="14" y="63"/>
                    <a:pt x="14" y="62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9" y="63"/>
                    <a:pt x="8" y="63"/>
                    <a:pt x="8" y="62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3"/>
                    <a:pt x="5" y="63"/>
                    <a:pt x="4" y="63"/>
                  </a:cubicBezTo>
                  <a:cubicBezTo>
                    <a:pt x="3" y="63"/>
                    <a:pt x="3" y="63"/>
                    <a:pt x="3" y="6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5" y="28"/>
                    <a:pt x="7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5"/>
                    <a:pt x="0" y="30"/>
                    <a:pt x="0" y="3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5" y="66"/>
                    <a:pt x="6" y="66"/>
                    <a:pt x="7" y="65"/>
                  </a:cubicBezTo>
                  <a:cubicBezTo>
                    <a:pt x="8" y="66"/>
                    <a:pt x="9" y="66"/>
                    <a:pt x="10" y="66"/>
                  </a:cubicBezTo>
                  <a:cubicBezTo>
                    <a:pt x="11" y="66"/>
                    <a:pt x="12" y="66"/>
                    <a:pt x="13" y="65"/>
                  </a:cubicBezTo>
                  <a:cubicBezTo>
                    <a:pt x="14" y="66"/>
                    <a:pt x="15" y="66"/>
                    <a:pt x="16" y="66"/>
                  </a:cubicBezTo>
                  <a:cubicBezTo>
                    <a:pt x="17" y="66"/>
                    <a:pt x="18" y="66"/>
                    <a:pt x="19" y="65"/>
                  </a:cubicBezTo>
                  <a:cubicBezTo>
                    <a:pt x="19" y="66"/>
                    <a:pt x="20" y="66"/>
                    <a:pt x="21" y="66"/>
                  </a:cubicBezTo>
                  <a:cubicBezTo>
                    <a:pt x="24" y="66"/>
                    <a:pt x="26" y="64"/>
                    <a:pt x="26" y="62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24" y="23"/>
                    <a:pt x="24" y="23"/>
                    <a:pt x="24" y="23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4">
              <a:extLst>
                <a:ext uri="{FF2B5EF4-FFF2-40B4-BE49-F238E27FC236}">
                  <a16:creationId xmlns:a16="http://schemas.microsoft.com/office/drawing/2014/main" id="{EE26ADAE-824D-4284-8007-41107764B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" y="3808"/>
              <a:ext cx="161" cy="80"/>
            </a:xfrm>
            <a:custGeom>
              <a:avLst/>
              <a:gdLst>
                <a:gd name="T0" fmla="*/ 61 w 66"/>
                <a:gd name="T1" fmla="*/ 7 h 33"/>
                <a:gd name="T2" fmla="*/ 50 w 66"/>
                <a:gd name="T3" fmla="*/ 7 h 33"/>
                <a:gd name="T4" fmla="*/ 50 w 66"/>
                <a:gd name="T5" fmla="*/ 5 h 33"/>
                <a:gd name="T6" fmla="*/ 50 w 66"/>
                <a:gd name="T7" fmla="*/ 0 h 33"/>
                <a:gd name="T8" fmla="*/ 34 w 66"/>
                <a:gd name="T9" fmla="*/ 0 h 33"/>
                <a:gd name="T10" fmla="*/ 23 w 66"/>
                <a:gd name="T11" fmla="*/ 9 h 33"/>
                <a:gd name="T12" fmla="*/ 0 w 66"/>
                <a:gd name="T13" fmla="*/ 9 h 33"/>
                <a:gd name="T14" fmla="*/ 0 w 66"/>
                <a:gd name="T15" fmla="*/ 12 h 33"/>
                <a:gd name="T16" fmla="*/ 24 w 66"/>
                <a:gd name="T17" fmla="*/ 12 h 33"/>
                <a:gd name="T18" fmla="*/ 35 w 66"/>
                <a:gd name="T19" fmla="*/ 3 h 33"/>
                <a:gd name="T20" fmla="*/ 47 w 66"/>
                <a:gd name="T21" fmla="*/ 3 h 33"/>
                <a:gd name="T22" fmla="*/ 47 w 66"/>
                <a:gd name="T23" fmla="*/ 5 h 33"/>
                <a:gd name="T24" fmla="*/ 45 w 66"/>
                <a:gd name="T25" fmla="*/ 7 h 33"/>
                <a:gd name="T26" fmla="*/ 41 w 66"/>
                <a:gd name="T27" fmla="*/ 7 h 33"/>
                <a:gd name="T28" fmla="*/ 41 w 66"/>
                <a:gd name="T29" fmla="*/ 7 h 33"/>
                <a:gd name="T30" fmla="*/ 41 w 66"/>
                <a:gd name="T31" fmla="*/ 10 h 33"/>
                <a:gd name="T32" fmla="*/ 41 w 66"/>
                <a:gd name="T33" fmla="*/ 10 h 33"/>
                <a:gd name="T34" fmla="*/ 45 w 66"/>
                <a:gd name="T35" fmla="*/ 10 h 33"/>
                <a:gd name="T36" fmla="*/ 61 w 66"/>
                <a:gd name="T37" fmla="*/ 10 h 33"/>
                <a:gd name="T38" fmla="*/ 63 w 66"/>
                <a:gd name="T39" fmla="*/ 11 h 33"/>
                <a:gd name="T40" fmla="*/ 61 w 66"/>
                <a:gd name="T41" fmla="*/ 13 h 33"/>
                <a:gd name="T42" fmla="*/ 43 w 66"/>
                <a:gd name="T43" fmla="*/ 13 h 33"/>
                <a:gd name="T44" fmla="*/ 43 w 66"/>
                <a:gd name="T45" fmla="*/ 15 h 33"/>
                <a:gd name="T46" fmla="*/ 61 w 66"/>
                <a:gd name="T47" fmla="*/ 15 h 33"/>
                <a:gd name="T48" fmla="*/ 63 w 66"/>
                <a:gd name="T49" fmla="*/ 17 h 33"/>
                <a:gd name="T50" fmla="*/ 61 w 66"/>
                <a:gd name="T51" fmla="*/ 18 h 33"/>
                <a:gd name="T52" fmla="*/ 43 w 66"/>
                <a:gd name="T53" fmla="*/ 18 h 33"/>
                <a:gd name="T54" fmla="*/ 43 w 66"/>
                <a:gd name="T55" fmla="*/ 21 h 33"/>
                <a:gd name="T56" fmla="*/ 61 w 66"/>
                <a:gd name="T57" fmla="*/ 21 h 33"/>
                <a:gd name="T58" fmla="*/ 63 w 66"/>
                <a:gd name="T59" fmla="*/ 23 h 33"/>
                <a:gd name="T60" fmla="*/ 61 w 66"/>
                <a:gd name="T61" fmla="*/ 24 h 33"/>
                <a:gd name="T62" fmla="*/ 43 w 66"/>
                <a:gd name="T63" fmla="*/ 24 h 33"/>
                <a:gd name="T64" fmla="*/ 43 w 66"/>
                <a:gd name="T65" fmla="*/ 27 h 33"/>
                <a:gd name="T66" fmla="*/ 61 w 66"/>
                <a:gd name="T67" fmla="*/ 27 h 33"/>
                <a:gd name="T68" fmla="*/ 63 w 66"/>
                <a:gd name="T69" fmla="*/ 28 h 33"/>
                <a:gd name="T70" fmla="*/ 61 w 66"/>
                <a:gd name="T71" fmla="*/ 30 h 33"/>
                <a:gd name="T72" fmla="*/ 42 w 66"/>
                <a:gd name="T73" fmla="*/ 30 h 33"/>
                <a:gd name="T74" fmla="*/ 41 w 66"/>
                <a:gd name="T75" fmla="*/ 30 h 33"/>
                <a:gd name="T76" fmla="*/ 32 w 66"/>
                <a:gd name="T77" fmla="*/ 30 h 33"/>
                <a:gd name="T78" fmla="*/ 24 w 66"/>
                <a:gd name="T79" fmla="*/ 26 h 33"/>
                <a:gd name="T80" fmla="*/ 24 w 66"/>
                <a:gd name="T81" fmla="*/ 26 h 33"/>
                <a:gd name="T82" fmla="*/ 0 w 66"/>
                <a:gd name="T83" fmla="*/ 26 h 33"/>
                <a:gd name="T84" fmla="*/ 0 w 66"/>
                <a:gd name="T85" fmla="*/ 28 h 33"/>
                <a:gd name="T86" fmla="*/ 23 w 66"/>
                <a:gd name="T87" fmla="*/ 28 h 33"/>
                <a:gd name="T88" fmla="*/ 32 w 66"/>
                <a:gd name="T89" fmla="*/ 33 h 33"/>
                <a:gd name="T90" fmla="*/ 41 w 66"/>
                <a:gd name="T91" fmla="*/ 33 h 33"/>
                <a:gd name="T92" fmla="*/ 42 w 66"/>
                <a:gd name="T93" fmla="*/ 33 h 33"/>
                <a:gd name="T94" fmla="*/ 61 w 66"/>
                <a:gd name="T95" fmla="*/ 33 h 33"/>
                <a:gd name="T96" fmla="*/ 66 w 66"/>
                <a:gd name="T97" fmla="*/ 28 h 33"/>
                <a:gd name="T98" fmla="*/ 64 w 66"/>
                <a:gd name="T99" fmla="*/ 26 h 33"/>
                <a:gd name="T100" fmla="*/ 66 w 66"/>
                <a:gd name="T101" fmla="*/ 23 h 33"/>
                <a:gd name="T102" fmla="*/ 64 w 66"/>
                <a:gd name="T103" fmla="*/ 20 h 33"/>
                <a:gd name="T104" fmla="*/ 66 w 66"/>
                <a:gd name="T105" fmla="*/ 17 h 33"/>
                <a:gd name="T106" fmla="*/ 64 w 66"/>
                <a:gd name="T107" fmla="*/ 14 h 33"/>
                <a:gd name="T108" fmla="*/ 66 w 66"/>
                <a:gd name="T109" fmla="*/ 11 h 33"/>
                <a:gd name="T110" fmla="*/ 61 w 66"/>
                <a:gd name="T111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6" h="33">
                  <a:moveTo>
                    <a:pt x="61" y="7"/>
                  </a:move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0" y="5"/>
                    <a:pt x="50" y="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6"/>
                    <a:pt x="46" y="7"/>
                    <a:pt x="45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0"/>
                    <a:pt x="63" y="10"/>
                    <a:pt x="63" y="11"/>
                  </a:cubicBezTo>
                  <a:cubicBezTo>
                    <a:pt x="63" y="12"/>
                    <a:pt x="62" y="13"/>
                    <a:pt x="61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5"/>
                    <a:pt x="63" y="16"/>
                    <a:pt x="63" y="17"/>
                  </a:cubicBezTo>
                  <a:cubicBezTo>
                    <a:pt x="63" y="18"/>
                    <a:pt x="62" y="18"/>
                    <a:pt x="61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2" y="21"/>
                    <a:pt x="63" y="22"/>
                    <a:pt x="63" y="23"/>
                  </a:cubicBezTo>
                  <a:cubicBezTo>
                    <a:pt x="63" y="23"/>
                    <a:pt x="62" y="24"/>
                    <a:pt x="61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2" y="27"/>
                    <a:pt x="63" y="28"/>
                    <a:pt x="63" y="28"/>
                  </a:cubicBezTo>
                  <a:cubicBezTo>
                    <a:pt x="63" y="29"/>
                    <a:pt x="62" y="30"/>
                    <a:pt x="61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1" y="30"/>
                    <a:pt x="28" y="28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30"/>
                    <a:pt x="30" y="33"/>
                    <a:pt x="3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4" y="33"/>
                    <a:pt x="66" y="31"/>
                    <a:pt x="66" y="28"/>
                  </a:cubicBezTo>
                  <a:cubicBezTo>
                    <a:pt x="66" y="27"/>
                    <a:pt x="65" y="26"/>
                    <a:pt x="64" y="26"/>
                  </a:cubicBezTo>
                  <a:cubicBezTo>
                    <a:pt x="65" y="25"/>
                    <a:pt x="66" y="24"/>
                    <a:pt x="66" y="23"/>
                  </a:cubicBezTo>
                  <a:cubicBezTo>
                    <a:pt x="66" y="22"/>
                    <a:pt x="65" y="21"/>
                    <a:pt x="64" y="20"/>
                  </a:cubicBezTo>
                  <a:cubicBezTo>
                    <a:pt x="65" y="19"/>
                    <a:pt x="66" y="18"/>
                    <a:pt x="66" y="17"/>
                  </a:cubicBezTo>
                  <a:cubicBezTo>
                    <a:pt x="66" y="16"/>
                    <a:pt x="65" y="15"/>
                    <a:pt x="64" y="14"/>
                  </a:cubicBezTo>
                  <a:cubicBezTo>
                    <a:pt x="65" y="13"/>
                    <a:pt x="66" y="12"/>
                    <a:pt x="66" y="11"/>
                  </a:cubicBezTo>
                  <a:cubicBezTo>
                    <a:pt x="66" y="9"/>
                    <a:pt x="64" y="7"/>
                    <a:pt x="61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3" name="Group 337">
            <a:extLst>
              <a:ext uri="{FF2B5EF4-FFF2-40B4-BE49-F238E27FC236}">
                <a16:creationId xmlns:a16="http://schemas.microsoft.com/office/drawing/2014/main" id="{E2B9FD86-1EB8-4998-8062-51CC5B79B7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660" y="5425486"/>
            <a:ext cx="841375" cy="841375"/>
            <a:chOff x="1591" y="3448"/>
            <a:chExt cx="530" cy="530"/>
          </a:xfrm>
        </p:grpSpPr>
        <p:sp>
          <p:nvSpPr>
            <p:cNvPr id="374" name="AutoShape 336">
              <a:extLst>
                <a:ext uri="{FF2B5EF4-FFF2-40B4-BE49-F238E27FC236}">
                  <a16:creationId xmlns:a16="http://schemas.microsoft.com/office/drawing/2014/main" id="{A83407C5-D98B-45FF-8DF1-E68FE99ACE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91" y="344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Oval 338">
              <a:extLst>
                <a:ext uri="{FF2B5EF4-FFF2-40B4-BE49-F238E27FC236}">
                  <a16:creationId xmlns:a16="http://schemas.microsoft.com/office/drawing/2014/main" id="{4A4E309E-DD60-40BD-ACB8-FB6FFB4B2F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" y="344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39">
              <a:extLst>
                <a:ext uri="{FF2B5EF4-FFF2-40B4-BE49-F238E27FC236}">
                  <a16:creationId xmlns:a16="http://schemas.microsoft.com/office/drawing/2014/main" id="{B9464ABA-F1A3-4938-95E9-81004A9E6D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" y="346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40">
              <a:extLst>
                <a:ext uri="{FF2B5EF4-FFF2-40B4-BE49-F238E27FC236}">
                  <a16:creationId xmlns:a16="http://schemas.microsoft.com/office/drawing/2014/main" id="{594340AD-3CBC-47D8-B62F-FC13ABC4E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" y="3722"/>
              <a:ext cx="85" cy="169"/>
            </a:xfrm>
            <a:custGeom>
              <a:avLst/>
              <a:gdLst>
                <a:gd name="T0" fmla="*/ 29 w 33"/>
                <a:gd name="T1" fmla="*/ 0 h 66"/>
                <a:gd name="T2" fmla="*/ 26 w 33"/>
                <a:gd name="T3" fmla="*/ 1 h 66"/>
                <a:gd name="T4" fmla="*/ 23 w 33"/>
                <a:gd name="T5" fmla="*/ 0 h 66"/>
                <a:gd name="T6" fmla="*/ 20 w 33"/>
                <a:gd name="T7" fmla="*/ 1 h 66"/>
                <a:gd name="T8" fmla="*/ 17 w 33"/>
                <a:gd name="T9" fmla="*/ 0 h 66"/>
                <a:gd name="T10" fmla="*/ 14 w 33"/>
                <a:gd name="T11" fmla="*/ 1 h 66"/>
                <a:gd name="T12" fmla="*/ 12 w 33"/>
                <a:gd name="T13" fmla="*/ 0 h 66"/>
                <a:gd name="T14" fmla="*/ 7 w 33"/>
                <a:gd name="T15" fmla="*/ 4 h 66"/>
                <a:gd name="T16" fmla="*/ 7 w 33"/>
                <a:gd name="T17" fmla="*/ 16 h 66"/>
                <a:gd name="T18" fmla="*/ 5 w 33"/>
                <a:gd name="T19" fmla="*/ 16 h 66"/>
                <a:gd name="T20" fmla="*/ 0 w 33"/>
                <a:gd name="T21" fmla="*/ 16 h 66"/>
                <a:gd name="T22" fmla="*/ 0 w 33"/>
                <a:gd name="T23" fmla="*/ 32 h 66"/>
                <a:gd name="T24" fmla="*/ 9 w 33"/>
                <a:gd name="T25" fmla="*/ 43 h 66"/>
                <a:gd name="T26" fmla="*/ 9 w 33"/>
                <a:gd name="T27" fmla="*/ 66 h 66"/>
                <a:gd name="T28" fmla="*/ 12 w 33"/>
                <a:gd name="T29" fmla="*/ 66 h 66"/>
                <a:gd name="T30" fmla="*/ 12 w 33"/>
                <a:gd name="T31" fmla="*/ 42 h 66"/>
                <a:gd name="T32" fmla="*/ 3 w 33"/>
                <a:gd name="T33" fmla="*/ 31 h 66"/>
                <a:gd name="T34" fmla="*/ 3 w 33"/>
                <a:gd name="T35" fmla="*/ 18 h 66"/>
                <a:gd name="T36" fmla="*/ 5 w 33"/>
                <a:gd name="T37" fmla="*/ 18 h 66"/>
                <a:gd name="T38" fmla="*/ 7 w 33"/>
                <a:gd name="T39" fmla="*/ 20 h 66"/>
                <a:gd name="T40" fmla="*/ 7 w 33"/>
                <a:gd name="T41" fmla="*/ 25 h 66"/>
                <a:gd name="T42" fmla="*/ 7 w 33"/>
                <a:gd name="T43" fmla="*/ 25 h 66"/>
                <a:gd name="T44" fmla="*/ 10 w 33"/>
                <a:gd name="T45" fmla="*/ 25 h 66"/>
                <a:gd name="T46" fmla="*/ 10 w 33"/>
                <a:gd name="T47" fmla="*/ 25 h 66"/>
                <a:gd name="T48" fmla="*/ 10 w 33"/>
                <a:gd name="T49" fmla="*/ 20 h 66"/>
                <a:gd name="T50" fmla="*/ 10 w 33"/>
                <a:gd name="T51" fmla="*/ 4 h 66"/>
                <a:gd name="T52" fmla="*/ 12 w 33"/>
                <a:gd name="T53" fmla="*/ 3 h 66"/>
                <a:gd name="T54" fmla="*/ 13 w 33"/>
                <a:gd name="T55" fmla="*/ 4 h 66"/>
                <a:gd name="T56" fmla="*/ 13 w 33"/>
                <a:gd name="T57" fmla="*/ 22 h 66"/>
                <a:gd name="T58" fmla="*/ 16 w 33"/>
                <a:gd name="T59" fmla="*/ 22 h 66"/>
                <a:gd name="T60" fmla="*/ 16 w 33"/>
                <a:gd name="T61" fmla="*/ 4 h 66"/>
                <a:gd name="T62" fmla="*/ 17 w 33"/>
                <a:gd name="T63" fmla="*/ 3 h 66"/>
                <a:gd name="T64" fmla="*/ 19 w 33"/>
                <a:gd name="T65" fmla="*/ 4 h 66"/>
                <a:gd name="T66" fmla="*/ 19 w 33"/>
                <a:gd name="T67" fmla="*/ 22 h 66"/>
                <a:gd name="T68" fmla="*/ 22 w 33"/>
                <a:gd name="T69" fmla="*/ 22 h 66"/>
                <a:gd name="T70" fmla="*/ 22 w 33"/>
                <a:gd name="T71" fmla="*/ 4 h 66"/>
                <a:gd name="T72" fmla="*/ 23 w 33"/>
                <a:gd name="T73" fmla="*/ 3 h 66"/>
                <a:gd name="T74" fmla="*/ 25 w 33"/>
                <a:gd name="T75" fmla="*/ 4 h 66"/>
                <a:gd name="T76" fmla="*/ 25 w 33"/>
                <a:gd name="T77" fmla="*/ 22 h 66"/>
                <a:gd name="T78" fmla="*/ 27 w 33"/>
                <a:gd name="T79" fmla="*/ 22 h 66"/>
                <a:gd name="T80" fmla="*/ 27 w 33"/>
                <a:gd name="T81" fmla="*/ 4 h 66"/>
                <a:gd name="T82" fmla="*/ 29 w 33"/>
                <a:gd name="T83" fmla="*/ 3 h 66"/>
                <a:gd name="T84" fmla="*/ 30 w 33"/>
                <a:gd name="T85" fmla="*/ 4 h 66"/>
                <a:gd name="T86" fmla="*/ 30 w 33"/>
                <a:gd name="T87" fmla="*/ 24 h 66"/>
                <a:gd name="T88" fmla="*/ 30 w 33"/>
                <a:gd name="T89" fmla="*/ 25 h 66"/>
                <a:gd name="T90" fmla="*/ 30 w 33"/>
                <a:gd name="T91" fmla="*/ 34 h 66"/>
                <a:gd name="T92" fmla="*/ 26 w 33"/>
                <a:gd name="T93" fmla="*/ 41 h 66"/>
                <a:gd name="T94" fmla="*/ 26 w 33"/>
                <a:gd name="T95" fmla="*/ 42 h 66"/>
                <a:gd name="T96" fmla="*/ 26 w 33"/>
                <a:gd name="T97" fmla="*/ 66 h 66"/>
                <a:gd name="T98" fmla="*/ 29 w 33"/>
                <a:gd name="T99" fmla="*/ 66 h 66"/>
                <a:gd name="T100" fmla="*/ 29 w 33"/>
                <a:gd name="T101" fmla="*/ 43 h 66"/>
                <a:gd name="T102" fmla="*/ 33 w 33"/>
                <a:gd name="T103" fmla="*/ 34 h 66"/>
                <a:gd name="T104" fmla="*/ 33 w 33"/>
                <a:gd name="T105" fmla="*/ 25 h 66"/>
                <a:gd name="T106" fmla="*/ 33 w 33"/>
                <a:gd name="T107" fmla="*/ 24 h 66"/>
                <a:gd name="T108" fmla="*/ 33 w 33"/>
                <a:gd name="T109" fmla="*/ 4 h 66"/>
                <a:gd name="T110" fmla="*/ 29 w 33"/>
                <a:gd name="T1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66">
                  <a:moveTo>
                    <a:pt x="29" y="0"/>
                  </a:moveTo>
                  <a:cubicBezTo>
                    <a:pt x="28" y="0"/>
                    <a:pt x="27" y="0"/>
                    <a:pt x="26" y="1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22" y="0"/>
                    <a:pt x="21" y="0"/>
                    <a:pt x="20" y="1"/>
                  </a:cubicBezTo>
                  <a:cubicBezTo>
                    <a:pt x="19" y="0"/>
                    <a:pt x="18" y="0"/>
                    <a:pt x="17" y="0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9" y="0"/>
                    <a:pt x="7" y="2"/>
                    <a:pt x="7" y="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7" y="19"/>
                    <a:pt x="7" y="20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2" y="3"/>
                    <a:pt x="13" y="3"/>
                    <a:pt x="13" y="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8" y="3"/>
                    <a:pt x="19" y="3"/>
                    <a:pt x="19" y="4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3"/>
                    <a:pt x="22" y="3"/>
                    <a:pt x="23" y="3"/>
                  </a:cubicBezTo>
                  <a:cubicBezTo>
                    <a:pt x="24" y="3"/>
                    <a:pt x="25" y="3"/>
                    <a:pt x="25" y="4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3"/>
                    <a:pt x="28" y="3"/>
                    <a:pt x="29" y="3"/>
                  </a:cubicBezTo>
                  <a:cubicBezTo>
                    <a:pt x="30" y="3"/>
                    <a:pt x="30" y="3"/>
                    <a:pt x="30" y="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28" y="38"/>
                    <a:pt x="26" y="41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1"/>
                    <a:pt x="33" y="36"/>
                    <a:pt x="33" y="34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41">
              <a:extLst>
                <a:ext uri="{FF2B5EF4-FFF2-40B4-BE49-F238E27FC236}">
                  <a16:creationId xmlns:a16="http://schemas.microsoft.com/office/drawing/2014/main" id="{123B7000-660F-4209-9417-7FC53752E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2" y="3622"/>
              <a:ext cx="169" cy="84"/>
            </a:xfrm>
            <a:custGeom>
              <a:avLst/>
              <a:gdLst>
                <a:gd name="T0" fmla="*/ 5 w 66"/>
                <a:gd name="T1" fmla="*/ 3 h 33"/>
                <a:gd name="T2" fmla="*/ 24 w 66"/>
                <a:gd name="T3" fmla="*/ 3 h 33"/>
                <a:gd name="T4" fmla="*/ 25 w 66"/>
                <a:gd name="T5" fmla="*/ 3 h 33"/>
                <a:gd name="T6" fmla="*/ 34 w 66"/>
                <a:gd name="T7" fmla="*/ 3 h 33"/>
                <a:gd name="T8" fmla="*/ 42 w 66"/>
                <a:gd name="T9" fmla="*/ 7 h 33"/>
                <a:gd name="T10" fmla="*/ 42 w 66"/>
                <a:gd name="T11" fmla="*/ 7 h 33"/>
                <a:gd name="T12" fmla="*/ 66 w 66"/>
                <a:gd name="T13" fmla="*/ 7 h 33"/>
                <a:gd name="T14" fmla="*/ 66 w 66"/>
                <a:gd name="T15" fmla="*/ 5 h 33"/>
                <a:gd name="T16" fmla="*/ 43 w 66"/>
                <a:gd name="T17" fmla="*/ 5 h 33"/>
                <a:gd name="T18" fmla="*/ 34 w 66"/>
                <a:gd name="T19" fmla="*/ 0 h 33"/>
                <a:gd name="T20" fmla="*/ 25 w 66"/>
                <a:gd name="T21" fmla="*/ 0 h 33"/>
                <a:gd name="T22" fmla="*/ 24 w 66"/>
                <a:gd name="T23" fmla="*/ 0 h 33"/>
                <a:gd name="T24" fmla="*/ 5 w 66"/>
                <a:gd name="T25" fmla="*/ 0 h 33"/>
                <a:gd name="T26" fmla="*/ 0 w 66"/>
                <a:gd name="T27" fmla="*/ 5 h 33"/>
                <a:gd name="T28" fmla="*/ 1 w 66"/>
                <a:gd name="T29" fmla="*/ 7 h 33"/>
                <a:gd name="T30" fmla="*/ 0 w 66"/>
                <a:gd name="T31" fmla="*/ 10 h 33"/>
                <a:gd name="T32" fmla="*/ 1 w 66"/>
                <a:gd name="T33" fmla="*/ 13 h 33"/>
                <a:gd name="T34" fmla="*/ 0 w 66"/>
                <a:gd name="T35" fmla="*/ 16 h 33"/>
                <a:gd name="T36" fmla="*/ 1 w 66"/>
                <a:gd name="T37" fmla="*/ 19 h 33"/>
                <a:gd name="T38" fmla="*/ 0 w 66"/>
                <a:gd name="T39" fmla="*/ 22 h 33"/>
                <a:gd name="T40" fmla="*/ 5 w 66"/>
                <a:gd name="T41" fmla="*/ 26 h 33"/>
                <a:gd name="T42" fmla="*/ 16 w 66"/>
                <a:gd name="T43" fmla="*/ 26 h 33"/>
                <a:gd name="T44" fmla="*/ 16 w 66"/>
                <a:gd name="T45" fmla="*/ 28 h 33"/>
                <a:gd name="T46" fmla="*/ 16 w 66"/>
                <a:gd name="T47" fmla="*/ 33 h 33"/>
                <a:gd name="T48" fmla="*/ 32 w 66"/>
                <a:gd name="T49" fmla="*/ 33 h 33"/>
                <a:gd name="T50" fmla="*/ 43 w 66"/>
                <a:gd name="T51" fmla="*/ 24 h 33"/>
                <a:gd name="T52" fmla="*/ 66 w 66"/>
                <a:gd name="T53" fmla="*/ 24 h 33"/>
                <a:gd name="T54" fmla="*/ 66 w 66"/>
                <a:gd name="T55" fmla="*/ 21 h 33"/>
                <a:gd name="T56" fmla="*/ 42 w 66"/>
                <a:gd name="T57" fmla="*/ 21 h 33"/>
                <a:gd name="T58" fmla="*/ 31 w 66"/>
                <a:gd name="T59" fmla="*/ 30 h 33"/>
                <a:gd name="T60" fmla="*/ 19 w 66"/>
                <a:gd name="T61" fmla="*/ 30 h 33"/>
                <a:gd name="T62" fmla="*/ 19 w 66"/>
                <a:gd name="T63" fmla="*/ 28 h 33"/>
                <a:gd name="T64" fmla="*/ 21 w 66"/>
                <a:gd name="T65" fmla="*/ 26 h 33"/>
                <a:gd name="T66" fmla="*/ 25 w 66"/>
                <a:gd name="T67" fmla="*/ 26 h 33"/>
                <a:gd name="T68" fmla="*/ 25 w 66"/>
                <a:gd name="T69" fmla="*/ 26 h 33"/>
                <a:gd name="T70" fmla="*/ 25 w 66"/>
                <a:gd name="T71" fmla="*/ 23 h 33"/>
                <a:gd name="T72" fmla="*/ 25 w 66"/>
                <a:gd name="T73" fmla="*/ 23 h 33"/>
                <a:gd name="T74" fmla="*/ 21 w 66"/>
                <a:gd name="T75" fmla="*/ 23 h 33"/>
                <a:gd name="T76" fmla="*/ 5 w 66"/>
                <a:gd name="T77" fmla="*/ 23 h 33"/>
                <a:gd name="T78" fmla="*/ 3 w 66"/>
                <a:gd name="T79" fmla="*/ 22 h 33"/>
                <a:gd name="T80" fmla="*/ 5 w 66"/>
                <a:gd name="T81" fmla="*/ 20 h 33"/>
                <a:gd name="T82" fmla="*/ 23 w 66"/>
                <a:gd name="T83" fmla="*/ 20 h 33"/>
                <a:gd name="T84" fmla="*/ 23 w 66"/>
                <a:gd name="T85" fmla="*/ 18 h 33"/>
                <a:gd name="T86" fmla="*/ 5 w 66"/>
                <a:gd name="T87" fmla="*/ 18 h 33"/>
                <a:gd name="T88" fmla="*/ 3 w 66"/>
                <a:gd name="T89" fmla="*/ 16 h 33"/>
                <a:gd name="T90" fmla="*/ 5 w 66"/>
                <a:gd name="T91" fmla="*/ 15 h 33"/>
                <a:gd name="T92" fmla="*/ 23 w 66"/>
                <a:gd name="T93" fmla="*/ 15 h 33"/>
                <a:gd name="T94" fmla="*/ 23 w 66"/>
                <a:gd name="T95" fmla="*/ 12 h 33"/>
                <a:gd name="T96" fmla="*/ 5 w 66"/>
                <a:gd name="T97" fmla="*/ 12 h 33"/>
                <a:gd name="T98" fmla="*/ 3 w 66"/>
                <a:gd name="T99" fmla="*/ 10 h 33"/>
                <a:gd name="T100" fmla="*/ 5 w 66"/>
                <a:gd name="T101" fmla="*/ 9 h 33"/>
                <a:gd name="T102" fmla="*/ 23 w 66"/>
                <a:gd name="T103" fmla="*/ 9 h 33"/>
                <a:gd name="T104" fmla="*/ 23 w 66"/>
                <a:gd name="T105" fmla="*/ 6 h 33"/>
                <a:gd name="T106" fmla="*/ 5 w 66"/>
                <a:gd name="T107" fmla="*/ 6 h 33"/>
                <a:gd name="T108" fmla="*/ 3 w 66"/>
                <a:gd name="T109" fmla="*/ 5 h 33"/>
                <a:gd name="T110" fmla="*/ 5 w 66"/>
                <a:gd name="T111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6" h="33">
                  <a:moveTo>
                    <a:pt x="5" y="3"/>
                  </a:moveTo>
                  <a:cubicBezTo>
                    <a:pt x="24" y="3"/>
                    <a:pt x="24" y="3"/>
                    <a:pt x="24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8" y="5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1" y="3"/>
                    <a:pt x="36" y="0"/>
                    <a:pt x="3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17"/>
                    <a:pt x="1" y="18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6"/>
                    <a:pt x="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6" y="28"/>
                    <a:pt x="16" y="28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20" y="26"/>
                    <a:pt x="21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3" y="23"/>
                    <a:pt x="3" y="22"/>
                  </a:cubicBezTo>
                  <a:cubicBezTo>
                    <a:pt x="3" y="21"/>
                    <a:pt x="4" y="20"/>
                    <a:pt x="5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3" y="17"/>
                    <a:pt x="3" y="16"/>
                  </a:cubicBezTo>
                  <a:cubicBezTo>
                    <a:pt x="3" y="15"/>
                    <a:pt x="4" y="15"/>
                    <a:pt x="5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3" y="11"/>
                    <a:pt x="3" y="10"/>
                  </a:cubicBezTo>
                  <a:cubicBezTo>
                    <a:pt x="3" y="10"/>
                    <a:pt x="4" y="9"/>
                    <a:pt x="5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3" y="5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342">
              <a:extLst>
                <a:ext uri="{FF2B5EF4-FFF2-40B4-BE49-F238E27FC236}">
                  <a16:creationId xmlns:a16="http://schemas.microsoft.com/office/drawing/2014/main" id="{9DDCD636-658E-4D82-9AB7-DF68C9F52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" y="3537"/>
              <a:ext cx="84" cy="169"/>
            </a:xfrm>
            <a:custGeom>
              <a:avLst/>
              <a:gdLst>
                <a:gd name="T0" fmla="*/ 24 w 33"/>
                <a:gd name="T1" fmla="*/ 0 h 66"/>
                <a:gd name="T2" fmla="*/ 21 w 33"/>
                <a:gd name="T3" fmla="*/ 0 h 66"/>
                <a:gd name="T4" fmla="*/ 21 w 33"/>
                <a:gd name="T5" fmla="*/ 24 h 66"/>
                <a:gd name="T6" fmla="*/ 30 w 33"/>
                <a:gd name="T7" fmla="*/ 35 h 66"/>
                <a:gd name="T8" fmla="*/ 30 w 33"/>
                <a:gd name="T9" fmla="*/ 48 h 66"/>
                <a:gd name="T10" fmla="*/ 28 w 33"/>
                <a:gd name="T11" fmla="*/ 48 h 66"/>
                <a:gd name="T12" fmla="*/ 26 w 33"/>
                <a:gd name="T13" fmla="*/ 46 h 66"/>
                <a:gd name="T14" fmla="*/ 26 w 33"/>
                <a:gd name="T15" fmla="*/ 41 h 66"/>
                <a:gd name="T16" fmla="*/ 26 w 33"/>
                <a:gd name="T17" fmla="*/ 41 h 66"/>
                <a:gd name="T18" fmla="*/ 23 w 33"/>
                <a:gd name="T19" fmla="*/ 41 h 66"/>
                <a:gd name="T20" fmla="*/ 23 w 33"/>
                <a:gd name="T21" fmla="*/ 41 h 66"/>
                <a:gd name="T22" fmla="*/ 23 w 33"/>
                <a:gd name="T23" fmla="*/ 46 h 66"/>
                <a:gd name="T24" fmla="*/ 23 w 33"/>
                <a:gd name="T25" fmla="*/ 62 h 66"/>
                <a:gd name="T26" fmla="*/ 21 w 33"/>
                <a:gd name="T27" fmla="*/ 63 h 66"/>
                <a:gd name="T28" fmla="*/ 20 w 33"/>
                <a:gd name="T29" fmla="*/ 62 h 66"/>
                <a:gd name="T30" fmla="*/ 20 w 33"/>
                <a:gd name="T31" fmla="*/ 44 h 66"/>
                <a:gd name="T32" fmla="*/ 17 w 33"/>
                <a:gd name="T33" fmla="*/ 44 h 66"/>
                <a:gd name="T34" fmla="*/ 17 w 33"/>
                <a:gd name="T35" fmla="*/ 62 h 66"/>
                <a:gd name="T36" fmla="*/ 16 w 33"/>
                <a:gd name="T37" fmla="*/ 63 h 66"/>
                <a:gd name="T38" fmla="*/ 14 w 33"/>
                <a:gd name="T39" fmla="*/ 62 h 66"/>
                <a:gd name="T40" fmla="*/ 14 w 33"/>
                <a:gd name="T41" fmla="*/ 44 h 66"/>
                <a:gd name="T42" fmla="*/ 11 w 33"/>
                <a:gd name="T43" fmla="*/ 44 h 66"/>
                <a:gd name="T44" fmla="*/ 11 w 33"/>
                <a:gd name="T45" fmla="*/ 62 h 66"/>
                <a:gd name="T46" fmla="*/ 10 w 33"/>
                <a:gd name="T47" fmla="*/ 63 h 66"/>
                <a:gd name="T48" fmla="*/ 8 w 33"/>
                <a:gd name="T49" fmla="*/ 62 h 66"/>
                <a:gd name="T50" fmla="*/ 8 w 33"/>
                <a:gd name="T51" fmla="*/ 44 h 66"/>
                <a:gd name="T52" fmla="*/ 6 w 33"/>
                <a:gd name="T53" fmla="*/ 44 h 66"/>
                <a:gd name="T54" fmla="*/ 6 w 33"/>
                <a:gd name="T55" fmla="*/ 62 h 66"/>
                <a:gd name="T56" fmla="*/ 4 w 33"/>
                <a:gd name="T57" fmla="*/ 63 h 66"/>
                <a:gd name="T58" fmla="*/ 3 w 33"/>
                <a:gd name="T59" fmla="*/ 62 h 66"/>
                <a:gd name="T60" fmla="*/ 3 w 33"/>
                <a:gd name="T61" fmla="*/ 42 h 66"/>
                <a:gd name="T62" fmla="*/ 3 w 33"/>
                <a:gd name="T63" fmla="*/ 41 h 66"/>
                <a:gd name="T64" fmla="*/ 3 w 33"/>
                <a:gd name="T65" fmla="*/ 32 h 66"/>
                <a:gd name="T66" fmla="*/ 7 w 33"/>
                <a:gd name="T67" fmla="*/ 25 h 66"/>
                <a:gd name="T68" fmla="*/ 7 w 33"/>
                <a:gd name="T69" fmla="*/ 24 h 66"/>
                <a:gd name="T70" fmla="*/ 7 w 33"/>
                <a:gd name="T71" fmla="*/ 0 h 66"/>
                <a:gd name="T72" fmla="*/ 4 w 33"/>
                <a:gd name="T73" fmla="*/ 0 h 66"/>
                <a:gd name="T74" fmla="*/ 4 w 33"/>
                <a:gd name="T75" fmla="*/ 23 h 66"/>
                <a:gd name="T76" fmla="*/ 0 w 33"/>
                <a:gd name="T77" fmla="*/ 32 h 66"/>
                <a:gd name="T78" fmla="*/ 0 w 33"/>
                <a:gd name="T79" fmla="*/ 41 h 66"/>
                <a:gd name="T80" fmla="*/ 0 w 33"/>
                <a:gd name="T81" fmla="*/ 42 h 66"/>
                <a:gd name="T82" fmla="*/ 0 w 33"/>
                <a:gd name="T83" fmla="*/ 62 h 66"/>
                <a:gd name="T84" fmla="*/ 4 w 33"/>
                <a:gd name="T85" fmla="*/ 66 h 66"/>
                <a:gd name="T86" fmla="*/ 7 w 33"/>
                <a:gd name="T87" fmla="*/ 65 h 66"/>
                <a:gd name="T88" fmla="*/ 10 w 33"/>
                <a:gd name="T89" fmla="*/ 66 h 66"/>
                <a:gd name="T90" fmla="*/ 13 w 33"/>
                <a:gd name="T91" fmla="*/ 65 h 66"/>
                <a:gd name="T92" fmla="*/ 16 w 33"/>
                <a:gd name="T93" fmla="*/ 66 h 66"/>
                <a:gd name="T94" fmla="*/ 19 w 33"/>
                <a:gd name="T95" fmla="*/ 65 h 66"/>
                <a:gd name="T96" fmla="*/ 21 w 33"/>
                <a:gd name="T97" fmla="*/ 66 h 66"/>
                <a:gd name="T98" fmla="*/ 26 w 33"/>
                <a:gd name="T99" fmla="*/ 62 h 66"/>
                <a:gd name="T100" fmla="*/ 26 w 33"/>
                <a:gd name="T101" fmla="*/ 50 h 66"/>
                <a:gd name="T102" fmla="*/ 28 w 33"/>
                <a:gd name="T103" fmla="*/ 50 h 66"/>
                <a:gd name="T104" fmla="*/ 33 w 33"/>
                <a:gd name="T105" fmla="*/ 50 h 66"/>
                <a:gd name="T106" fmla="*/ 33 w 33"/>
                <a:gd name="T107" fmla="*/ 34 h 66"/>
                <a:gd name="T108" fmla="*/ 24 w 33"/>
                <a:gd name="T109" fmla="*/ 23 h 66"/>
                <a:gd name="T110" fmla="*/ 24 w 33"/>
                <a:gd name="T1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66">
                  <a:moveTo>
                    <a:pt x="24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7" y="48"/>
                    <a:pt x="26" y="47"/>
                    <a:pt x="26" y="46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3" y="63"/>
                    <a:pt x="22" y="63"/>
                    <a:pt x="21" y="63"/>
                  </a:cubicBezTo>
                  <a:cubicBezTo>
                    <a:pt x="21" y="63"/>
                    <a:pt x="20" y="63"/>
                    <a:pt x="20" y="6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3"/>
                    <a:pt x="16" y="63"/>
                    <a:pt x="16" y="63"/>
                  </a:cubicBezTo>
                  <a:cubicBezTo>
                    <a:pt x="15" y="63"/>
                    <a:pt x="14" y="63"/>
                    <a:pt x="14" y="62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9" y="63"/>
                    <a:pt x="8" y="63"/>
                    <a:pt x="8" y="62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3"/>
                    <a:pt x="5" y="63"/>
                    <a:pt x="4" y="63"/>
                  </a:cubicBezTo>
                  <a:cubicBezTo>
                    <a:pt x="3" y="63"/>
                    <a:pt x="3" y="63"/>
                    <a:pt x="3" y="6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5" y="28"/>
                    <a:pt x="7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5"/>
                    <a:pt x="0" y="30"/>
                    <a:pt x="0" y="3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5" y="66"/>
                    <a:pt x="6" y="66"/>
                    <a:pt x="7" y="65"/>
                  </a:cubicBezTo>
                  <a:cubicBezTo>
                    <a:pt x="8" y="66"/>
                    <a:pt x="9" y="66"/>
                    <a:pt x="10" y="66"/>
                  </a:cubicBezTo>
                  <a:cubicBezTo>
                    <a:pt x="11" y="66"/>
                    <a:pt x="12" y="66"/>
                    <a:pt x="13" y="65"/>
                  </a:cubicBezTo>
                  <a:cubicBezTo>
                    <a:pt x="14" y="66"/>
                    <a:pt x="15" y="66"/>
                    <a:pt x="16" y="66"/>
                  </a:cubicBezTo>
                  <a:cubicBezTo>
                    <a:pt x="17" y="66"/>
                    <a:pt x="18" y="66"/>
                    <a:pt x="19" y="65"/>
                  </a:cubicBezTo>
                  <a:cubicBezTo>
                    <a:pt x="19" y="66"/>
                    <a:pt x="20" y="66"/>
                    <a:pt x="21" y="66"/>
                  </a:cubicBezTo>
                  <a:cubicBezTo>
                    <a:pt x="24" y="66"/>
                    <a:pt x="26" y="64"/>
                    <a:pt x="26" y="62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24" y="23"/>
                    <a:pt x="24" y="23"/>
                    <a:pt x="24" y="23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343">
              <a:extLst>
                <a:ext uri="{FF2B5EF4-FFF2-40B4-BE49-F238E27FC236}">
                  <a16:creationId xmlns:a16="http://schemas.microsoft.com/office/drawing/2014/main" id="{00CABEE3-88B8-4A2F-9289-ED197C2DB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3" y="3722"/>
              <a:ext cx="169" cy="84"/>
            </a:xfrm>
            <a:custGeom>
              <a:avLst/>
              <a:gdLst>
                <a:gd name="T0" fmla="*/ 61 w 66"/>
                <a:gd name="T1" fmla="*/ 7 h 33"/>
                <a:gd name="T2" fmla="*/ 50 w 66"/>
                <a:gd name="T3" fmla="*/ 7 h 33"/>
                <a:gd name="T4" fmla="*/ 50 w 66"/>
                <a:gd name="T5" fmla="*/ 5 h 33"/>
                <a:gd name="T6" fmla="*/ 50 w 66"/>
                <a:gd name="T7" fmla="*/ 0 h 33"/>
                <a:gd name="T8" fmla="*/ 34 w 66"/>
                <a:gd name="T9" fmla="*/ 0 h 33"/>
                <a:gd name="T10" fmla="*/ 23 w 66"/>
                <a:gd name="T11" fmla="*/ 9 h 33"/>
                <a:gd name="T12" fmla="*/ 0 w 66"/>
                <a:gd name="T13" fmla="*/ 9 h 33"/>
                <a:gd name="T14" fmla="*/ 0 w 66"/>
                <a:gd name="T15" fmla="*/ 12 h 33"/>
                <a:gd name="T16" fmla="*/ 24 w 66"/>
                <a:gd name="T17" fmla="*/ 12 h 33"/>
                <a:gd name="T18" fmla="*/ 35 w 66"/>
                <a:gd name="T19" fmla="*/ 3 h 33"/>
                <a:gd name="T20" fmla="*/ 47 w 66"/>
                <a:gd name="T21" fmla="*/ 3 h 33"/>
                <a:gd name="T22" fmla="*/ 47 w 66"/>
                <a:gd name="T23" fmla="*/ 5 h 33"/>
                <a:gd name="T24" fmla="*/ 45 w 66"/>
                <a:gd name="T25" fmla="*/ 7 h 33"/>
                <a:gd name="T26" fmla="*/ 41 w 66"/>
                <a:gd name="T27" fmla="*/ 7 h 33"/>
                <a:gd name="T28" fmla="*/ 41 w 66"/>
                <a:gd name="T29" fmla="*/ 7 h 33"/>
                <a:gd name="T30" fmla="*/ 41 w 66"/>
                <a:gd name="T31" fmla="*/ 10 h 33"/>
                <a:gd name="T32" fmla="*/ 41 w 66"/>
                <a:gd name="T33" fmla="*/ 10 h 33"/>
                <a:gd name="T34" fmla="*/ 45 w 66"/>
                <a:gd name="T35" fmla="*/ 10 h 33"/>
                <a:gd name="T36" fmla="*/ 61 w 66"/>
                <a:gd name="T37" fmla="*/ 10 h 33"/>
                <a:gd name="T38" fmla="*/ 63 w 66"/>
                <a:gd name="T39" fmla="*/ 11 h 33"/>
                <a:gd name="T40" fmla="*/ 61 w 66"/>
                <a:gd name="T41" fmla="*/ 13 h 33"/>
                <a:gd name="T42" fmla="*/ 43 w 66"/>
                <a:gd name="T43" fmla="*/ 13 h 33"/>
                <a:gd name="T44" fmla="*/ 43 w 66"/>
                <a:gd name="T45" fmla="*/ 15 h 33"/>
                <a:gd name="T46" fmla="*/ 61 w 66"/>
                <a:gd name="T47" fmla="*/ 15 h 33"/>
                <a:gd name="T48" fmla="*/ 63 w 66"/>
                <a:gd name="T49" fmla="*/ 17 h 33"/>
                <a:gd name="T50" fmla="*/ 61 w 66"/>
                <a:gd name="T51" fmla="*/ 18 h 33"/>
                <a:gd name="T52" fmla="*/ 43 w 66"/>
                <a:gd name="T53" fmla="*/ 18 h 33"/>
                <a:gd name="T54" fmla="*/ 43 w 66"/>
                <a:gd name="T55" fmla="*/ 21 h 33"/>
                <a:gd name="T56" fmla="*/ 61 w 66"/>
                <a:gd name="T57" fmla="*/ 21 h 33"/>
                <a:gd name="T58" fmla="*/ 63 w 66"/>
                <a:gd name="T59" fmla="*/ 23 h 33"/>
                <a:gd name="T60" fmla="*/ 61 w 66"/>
                <a:gd name="T61" fmla="*/ 24 h 33"/>
                <a:gd name="T62" fmla="*/ 43 w 66"/>
                <a:gd name="T63" fmla="*/ 24 h 33"/>
                <a:gd name="T64" fmla="*/ 43 w 66"/>
                <a:gd name="T65" fmla="*/ 27 h 33"/>
                <a:gd name="T66" fmla="*/ 61 w 66"/>
                <a:gd name="T67" fmla="*/ 27 h 33"/>
                <a:gd name="T68" fmla="*/ 63 w 66"/>
                <a:gd name="T69" fmla="*/ 28 h 33"/>
                <a:gd name="T70" fmla="*/ 61 w 66"/>
                <a:gd name="T71" fmla="*/ 30 h 33"/>
                <a:gd name="T72" fmla="*/ 42 w 66"/>
                <a:gd name="T73" fmla="*/ 30 h 33"/>
                <a:gd name="T74" fmla="*/ 41 w 66"/>
                <a:gd name="T75" fmla="*/ 30 h 33"/>
                <a:gd name="T76" fmla="*/ 32 w 66"/>
                <a:gd name="T77" fmla="*/ 30 h 33"/>
                <a:gd name="T78" fmla="*/ 24 w 66"/>
                <a:gd name="T79" fmla="*/ 26 h 33"/>
                <a:gd name="T80" fmla="*/ 24 w 66"/>
                <a:gd name="T81" fmla="*/ 26 h 33"/>
                <a:gd name="T82" fmla="*/ 0 w 66"/>
                <a:gd name="T83" fmla="*/ 26 h 33"/>
                <a:gd name="T84" fmla="*/ 0 w 66"/>
                <a:gd name="T85" fmla="*/ 28 h 33"/>
                <a:gd name="T86" fmla="*/ 23 w 66"/>
                <a:gd name="T87" fmla="*/ 28 h 33"/>
                <a:gd name="T88" fmla="*/ 32 w 66"/>
                <a:gd name="T89" fmla="*/ 33 h 33"/>
                <a:gd name="T90" fmla="*/ 41 w 66"/>
                <a:gd name="T91" fmla="*/ 33 h 33"/>
                <a:gd name="T92" fmla="*/ 42 w 66"/>
                <a:gd name="T93" fmla="*/ 33 h 33"/>
                <a:gd name="T94" fmla="*/ 61 w 66"/>
                <a:gd name="T95" fmla="*/ 33 h 33"/>
                <a:gd name="T96" fmla="*/ 66 w 66"/>
                <a:gd name="T97" fmla="*/ 28 h 33"/>
                <a:gd name="T98" fmla="*/ 64 w 66"/>
                <a:gd name="T99" fmla="*/ 26 h 33"/>
                <a:gd name="T100" fmla="*/ 66 w 66"/>
                <a:gd name="T101" fmla="*/ 23 h 33"/>
                <a:gd name="T102" fmla="*/ 64 w 66"/>
                <a:gd name="T103" fmla="*/ 20 h 33"/>
                <a:gd name="T104" fmla="*/ 66 w 66"/>
                <a:gd name="T105" fmla="*/ 17 h 33"/>
                <a:gd name="T106" fmla="*/ 64 w 66"/>
                <a:gd name="T107" fmla="*/ 14 h 33"/>
                <a:gd name="T108" fmla="*/ 66 w 66"/>
                <a:gd name="T109" fmla="*/ 11 h 33"/>
                <a:gd name="T110" fmla="*/ 61 w 66"/>
                <a:gd name="T111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6" h="33">
                  <a:moveTo>
                    <a:pt x="61" y="7"/>
                  </a:move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0" y="5"/>
                    <a:pt x="50" y="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6"/>
                    <a:pt x="46" y="7"/>
                    <a:pt x="45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2" y="10"/>
                    <a:pt x="63" y="10"/>
                    <a:pt x="63" y="11"/>
                  </a:cubicBezTo>
                  <a:cubicBezTo>
                    <a:pt x="63" y="12"/>
                    <a:pt x="62" y="13"/>
                    <a:pt x="61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5"/>
                    <a:pt x="63" y="16"/>
                    <a:pt x="63" y="17"/>
                  </a:cubicBezTo>
                  <a:cubicBezTo>
                    <a:pt x="63" y="18"/>
                    <a:pt x="62" y="18"/>
                    <a:pt x="61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2" y="21"/>
                    <a:pt x="63" y="22"/>
                    <a:pt x="63" y="23"/>
                  </a:cubicBezTo>
                  <a:cubicBezTo>
                    <a:pt x="63" y="23"/>
                    <a:pt x="62" y="24"/>
                    <a:pt x="61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2" y="27"/>
                    <a:pt x="63" y="28"/>
                    <a:pt x="63" y="28"/>
                  </a:cubicBezTo>
                  <a:cubicBezTo>
                    <a:pt x="63" y="29"/>
                    <a:pt x="62" y="30"/>
                    <a:pt x="61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1" y="30"/>
                    <a:pt x="28" y="28"/>
                    <a:pt x="24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30"/>
                    <a:pt x="30" y="33"/>
                    <a:pt x="3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4" y="33"/>
                    <a:pt x="66" y="31"/>
                    <a:pt x="66" y="28"/>
                  </a:cubicBezTo>
                  <a:cubicBezTo>
                    <a:pt x="66" y="27"/>
                    <a:pt x="65" y="26"/>
                    <a:pt x="64" y="26"/>
                  </a:cubicBezTo>
                  <a:cubicBezTo>
                    <a:pt x="65" y="25"/>
                    <a:pt x="66" y="24"/>
                    <a:pt x="66" y="23"/>
                  </a:cubicBezTo>
                  <a:cubicBezTo>
                    <a:pt x="66" y="22"/>
                    <a:pt x="65" y="21"/>
                    <a:pt x="64" y="20"/>
                  </a:cubicBezTo>
                  <a:cubicBezTo>
                    <a:pt x="65" y="19"/>
                    <a:pt x="66" y="18"/>
                    <a:pt x="66" y="17"/>
                  </a:cubicBezTo>
                  <a:cubicBezTo>
                    <a:pt x="66" y="16"/>
                    <a:pt x="65" y="15"/>
                    <a:pt x="64" y="14"/>
                  </a:cubicBezTo>
                  <a:cubicBezTo>
                    <a:pt x="65" y="13"/>
                    <a:pt x="66" y="12"/>
                    <a:pt x="66" y="11"/>
                  </a:cubicBezTo>
                  <a:cubicBezTo>
                    <a:pt x="66" y="9"/>
                    <a:pt x="64" y="7"/>
                    <a:pt x="61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5" name="Group 346">
            <a:extLst>
              <a:ext uri="{FF2B5EF4-FFF2-40B4-BE49-F238E27FC236}">
                <a16:creationId xmlns:a16="http://schemas.microsoft.com/office/drawing/2014/main" id="{7B99EFB7-4F1D-48A3-AA83-9E6091F78B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7076" y="5466761"/>
            <a:ext cx="758825" cy="758825"/>
            <a:chOff x="3796" y="3469"/>
            <a:chExt cx="478" cy="478"/>
          </a:xfrm>
        </p:grpSpPr>
        <p:sp>
          <p:nvSpPr>
            <p:cNvPr id="386" name="AutoShape 345">
              <a:extLst>
                <a:ext uri="{FF2B5EF4-FFF2-40B4-BE49-F238E27FC236}">
                  <a16:creationId xmlns:a16="http://schemas.microsoft.com/office/drawing/2014/main" id="{4B2FEEEE-37AF-4492-917E-692AB38349D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96" y="346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347">
              <a:extLst>
                <a:ext uri="{FF2B5EF4-FFF2-40B4-BE49-F238E27FC236}">
                  <a16:creationId xmlns:a16="http://schemas.microsoft.com/office/drawing/2014/main" id="{BE5805E3-2FA9-4D97-8E5E-E902AF8F2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8" y="347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348">
              <a:extLst>
                <a:ext uri="{FF2B5EF4-FFF2-40B4-BE49-F238E27FC236}">
                  <a16:creationId xmlns:a16="http://schemas.microsoft.com/office/drawing/2014/main" id="{84796946-E443-4A94-9168-D3342E6F7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" y="3675"/>
              <a:ext cx="54" cy="69"/>
            </a:xfrm>
            <a:custGeom>
              <a:avLst/>
              <a:gdLst>
                <a:gd name="T0" fmla="*/ 0 w 54"/>
                <a:gd name="T1" fmla="*/ 59 h 69"/>
                <a:gd name="T2" fmla="*/ 0 w 54"/>
                <a:gd name="T3" fmla="*/ 61 h 69"/>
                <a:gd name="T4" fmla="*/ 2 w 54"/>
                <a:gd name="T5" fmla="*/ 66 h 69"/>
                <a:gd name="T6" fmla="*/ 2 w 54"/>
                <a:gd name="T7" fmla="*/ 66 h 69"/>
                <a:gd name="T8" fmla="*/ 7 w 54"/>
                <a:gd name="T9" fmla="*/ 69 h 69"/>
                <a:gd name="T10" fmla="*/ 51 w 54"/>
                <a:gd name="T11" fmla="*/ 66 h 69"/>
                <a:gd name="T12" fmla="*/ 54 w 54"/>
                <a:gd name="T13" fmla="*/ 64 h 69"/>
                <a:gd name="T14" fmla="*/ 54 w 54"/>
                <a:gd name="T15" fmla="*/ 61 h 69"/>
                <a:gd name="T16" fmla="*/ 51 w 54"/>
                <a:gd name="T17" fmla="*/ 56 h 69"/>
                <a:gd name="T18" fmla="*/ 51 w 54"/>
                <a:gd name="T19" fmla="*/ 56 h 69"/>
                <a:gd name="T20" fmla="*/ 51 w 54"/>
                <a:gd name="T21" fmla="*/ 5 h 69"/>
                <a:gd name="T22" fmla="*/ 49 w 54"/>
                <a:gd name="T23" fmla="*/ 2 h 69"/>
                <a:gd name="T24" fmla="*/ 46 w 54"/>
                <a:gd name="T25" fmla="*/ 0 h 69"/>
                <a:gd name="T26" fmla="*/ 44 w 54"/>
                <a:gd name="T27" fmla="*/ 2 h 69"/>
                <a:gd name="T28" fmla="*/ 44 w 54"/>
                <a:gd name="T29" fmla="*/ 2 h 69"/>
                <a:gd name="T30" fmla="*/ 41 w 54"/>
                <a:gd name="T31" fmla="*/ 2 h 69"/>
                <a:gd name="T32" fmla="*/ 41 w 54"/>
                <a:gd name="T33" fmla="*/ 5 h 69"/>
                <a:gd name="T34" fmla="*/ 41 w 54"/>
                <a:gd name="T35" fmla="*/ 5 h 69"/>
                <a:gd name="T36" fmla="*/ 41 w 54"/>
                <a:gd name="T37" fmla="*/ 54 h 69"/>
                <a:gd name="T38" fmla="*/ 5 w 54"/>
                <a:gd name="T39" fmla="*/ 54 h 69"/>
                <a:gd name="T40" fmla="*/ 0 w 54"/>
                <a:gd name="T41" fmla="*/ 5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69">
                  <a:moveTo>
                    <a:pt x="0" y="59"/>
                  </a:moveTo>
                  <a:lnTo>
                    <a:pt x="0" y="61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7" y="69"/>
                  </a:lnTo>
                  <a:lnTo>
                    <a:pt x="51" y="66"/>
                  </a:lnTo>
                  <a:lnTo>
                    <a:pt x="54" y="64"/>
                  </a:lnTo>
                  <a:lnTo>
                    <a:pt x="54" y="61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"/>
                  </a:lnTo>
                  <a:lnTo>
                    <a:pt x="49" y="2"/>
                  </a:lnTo>
                  <a:lnTo>
                    <a:pt x="46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1" y="2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4"/>
                  </a:lnTo>
                  <a:lnTo>
                    <a:pt x="5" y="54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349">
              <a:extLst>
                <a:ext uri="{FF2B5EF4-FFF2-40B4-BE49-F238E27FC236}">
                  <a16:creationId xmlns:a16="http://schemas.microsoft.com/office/drawing/2014/main" id="{6B37F583-2E77-449C-9B1E-699CAC355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6" y="3547"/>
              <a:ext cx="221" cy="304"/>
            </a:xfrm>
            <a:custGeom>
              <a:avLst/>
              <a:gdLst>
                <a:gd name="T0" fmla="*/ 213 w 221"/>
                <a:gd name="T1" fmla="*/ 67 h 304"/>
                <a:gd name="T2" fmla="*/ 201 w 221"/>
                <a:gd name="T3" fmla="*/ 37 h 304"/>
                <a:gd name="T4" fmla="*/ 189 w 221"/>
                <a:gd name="T5" fmla="*/ 37 h 304"/>
                <a:gd name="T6" fmla="*/ 162 w 221"/>
                <a:gd name="T7" fmla="*/ 18 h 304"/>
                <a:gd name="T8" fmla="*/ 125 w 221"/>
                <a:gd name="T9" fmla="*/ 0 h 304"/>
                <a:gd name="T10" fmla="*/ 71 w 221"/>
                <a:gd name="T11" fmla="*/ 8 h 304"/>
                <a:gd name="T12" fmla="*/ 49 w 221"/>
                <a:gd name="T13" fmla="*/ 40 h 304"/>
                <a:gd name="T14" fmla="*/ 20 w 221"/>
                <a:gd name="T15" fmla="*/ 37 h 304"/>
                <a:gd name="T16" fmla="*/ 22 w 221"/>
                <a:gd name="T17" fmla="*/ 52 h 304"/>
                <a:gd name="T18" fmla="*/ 0 w 221"/>
                <a:gd name="T19" fmla="*/ 84 h 304"/>
                <a:gd name="T20" fmla="*/ 10 w 221"/>
                <a:gd name="T21" fmla="*/ 111 h 304"/>
                <a:gd name="T22" fmla="*/ 12 w 221"/>
                <a:gd name="T23" fmla="*/ 113 h 304"/>
                <a:gd name="T24" fmla="*/ 54 w 221"/>
                <a:gd name="T25" fmla="*/ 108 h 304"/>
                <a:gd name="T26" fmla="*/ 20 w 221"/>
                <a:gd name="T27" fmla="*/ 152 h 304"/>
                <a:gd name="T28" fmla="*/ 17 w 221"/>
                <a:gd name="T29" fmla="*/ 219 h 304"/>
                <a:gd name="T30" fmla="*/ 54 w 221"/>
                <a:gd name="T31" fmla="*/ 270 h 304"/>
                <a:gd name="T32" fmla="*/ 46 w 221"/>
                <a:gd name="T33" fmla="*/ 304 h 304"/>
                <a:gd name="T34" fmla="*/ 78 w 221"/>
                <a:gd name="T35" fmla="*/ 282 h 304"/>
                <a:gd name="T36" fmla="*/ 145 w 221"/>
                <a:gd name="T37" fmla="*/ 280 h 304"/>
                <a:gd name="T38" fmla="*/ 176 w 221"/>
                <a:gd name="T39" fmla="*/ 304 h 304"/>
                <a:gd name="T40" fmla="*/ 167 w 221"/>
                <a:gd name="T41" fmla="*/ 270 h 304"/>
                <a:gd name="T42" fmla="*/ 203 w 221"/>
                <a:gd name="T43" fmla="*/ 219 h 304"/>
                <a:gd name="T44" fmla="*/ 203 w 221"/>
                <a:gd name="T45" fmla="*/ 157 h 304"/>
                <a:gd name="T46" fmla="*/ 167 w 221"/>
                <a:gd name="T47" fmla="*/ 108 h 304"/>
                <a:gd name="T48" fmla="*/ 213 w 221"/>
                <a:gd name="T49" fmla="*/ 111 h 304"/>
                <a:gd name="T50" fmla="*/ 221 w 221"/>
                <a:gd name="T51" fmla="*/ 86 h 304"/>
                <a:gd name="T52" fmla="*/ 78 w 221"/>
                <a:gd name="T53" fmla="*/ 15 h 304"/>
                <a:gd name="T54" fmla="*/ 140 w 221"/>
                <a:gd name="T55" fmla="*/ 15 h 304"/>
                <a:gd name="T56" fmla="*/ 162 w 221"/>
                <a:gd name="T57" fmla="*/ 37 h 304"/>
                <a:gd name="T58" fmla="*/ 135 w 221"/>
                <a:gd name="T59" fmla="*/ 52 h 304"/>
                <a:gd name="T60" fmla="*/ 162 w 221"/>
                <a:gd name="T61" fmla="*/ 86 h 304"/>
                <a:gd name="T62" fmla="*/ 113 w 221"/>
                <a:gd name="T63" fmla="*/ 91 h 304"/>
                <a:gd name="T64" fmla="*/ 59 w 221"/>
                <a:gd name="T65" fmla="*/ 86 h 304"/>
                <a:gd name="T66" fmla="*/ 93 w 221"/>
                <a:gd name="T67" fmla="*/ 62 h 304"/>
                <a:gd name="T68" fmla="*/ 73 w 221"/>
                <a:gd name="T69" fmla="*/ 42 h 304"/>
                <a:gd name="T70" fmla="*/ 12 w 221"/>
                <a:gd name="T71" fmla="*/ 101 h 304"/>
                <a:gd name="T72" fmla="*/ 12 w 221"/>
                <a:gd name="T73" fmla="*/ 74 h 304"/>
                <a:gd name="T74" fmla="*/ 42 w 221"/>
                <a:gd name="T75" fmla="*/ 52 h 304"/>
                <a:gd name="T76" fmla="*/ 69 w 221"/>
                <a:gd name="T77" fmla="*/ 49 h 304"/>
                <a:gd name="T78" fmla="*/ 12 w 221"/>
                <a:gd name="T79" fmla="*/ 101 h 304"/>
                <a:gd name="T80" fmla="*/ 191 w 221"/>
                <a:gd name="T81" fmla="*/ 162 h 304"/>
                <a:gd name="T82" fmla="*/ 189 w 221"/>
                <a:gd name="T83" fmla="*/ 221 h 304"/>
                <a:gd name="T84" fmla="*/ 152 w 221"/>
                <a:gd name="T85" fmla="*/ 263 h 304"/>
                <a:gd name="T86" fmla="*/ 110 w 221"/>
                <a:gd name="T87" fmla="*/ 273 h 304"/>
                <a:gd name="T88" fmla="*/ 56 w 221"/>
                <a:gd name="T89" fmla="*/ 253 h 304"/>
                <a:gd name="T90" fmla="*/ 29 w 221"/>
                <a:gd name="T91" fmla="*/ 209 h 304"/>
                <a:gd name="T92" fmla="*/ 34 w 221"/>
                <a:gd name="T93" fmla="*/ 155 h 304"/>
                <a:gd name="T94" fmla="*/ 73 w 221"/>
                <a:gd name="T95" fmla="*/ 113 h 304"/>
                <a:gd name="T96" fmla="*/ 110 w 221"/>
                <a:gd name="T97" fmla="*/ 103 h 304"/>
                <a:gd name="T98" fmla="*/ 159 w 221"/>
                <a:gd name="T99" fmla="*/ 121 h 304"/>
                <a:gd name="T100" fmla="*/ 137 w 221"/>
                <a:gd name="T101" fmla="*/ 62 h 304"/>
                <a:gd name="T102" fmla="*/ 159 w 221"/>
                <a:gd name="T103" fmla="*/ 47 h 304"/>
                <a:gd name="T104" fmla="*/ 184 w 221"/>
                <a:gd name="T105" fmla="*/ 54 h 304"/>
                <a:gd name="T106" fmla="*/ 211 w 221"/>
                <a:gd name="T107" fmla="*/ 79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304">
                  <a:moveTo>
                    <a:pt x="221" y="86"/>
                  </a:moveTo>
                  <a:lnTo>
                    <a:pt x="218" y="79"/>
                  </a:lnTo>
                  <a:lnTo>
                    <a:pt x="216" y="72"/>
                  </a:lnTo>
                  <a:lnTo>
                    <a:pt x="213" y="67"/>
                  </a:lnTo>
                  <a:lnTo>
                    <a:pt x="206" y="59"/>
                  </a:lnTo>
                  <a:lnTo>
                    <a:pt x="198" y="52"/>
                  </a:lnTo>
                  <a:lnTo>
                    <a:pt x="203" y="42"/>
                  </a:lnTo>
                  <a:lnTo>
                    <a:pt x="201" y="37"/>
                  </a:lnTo>
                  <a:lnTo>
                    <a:pt x="198" y="35"/>
                  </a:lnTo>
                  <a:lnTo>
                    <a:pt x="196" y="35"/>
                  </a:lnTo>
                  <a:lnTo>
                    <a:pt x="191" y="37"/>
                  </a:lnTo>
                  <a:lnTo>
                    <a:pt x="189" y="37"/>
                  </a:lnTo>
                  <a:lnTo>
                    <a:pt x="186" y="45"/>
                  </a:lnTo>
                  <a:lnTo>
                    <a:pt x="172" y="40"/>
                  </a:lnTo>
                  <a:lnTo>
                    <a:pt x="164" y="22"/>
                  </a:lnTo>
                  <a:lnTo>
                    <a:pt x="162" y="18"/>
                  </a:lnTo>
                  <a:lnTo>
                    <a:pt x="157" y="13"/>
                  </a:lnTo>
                  <a:lnTo>
                    <a:pt x="149" y="8"/>
                  </a:lnTo>
                  <a:lnTo>
                    <a:pt x="137" y="3"/>
                  </a:lnTo>
                  <a:lnTo>
                    <a:pt x="125" y="0"/>
                  </a:lnTo>
                  <a:lnTo>
                    <a:pt x="113" y="0"/>
                  </a:lnTo>
                  <a:lnTo>
                    <a:pt x="96" y="0"/>
                  </a:lnTo>
                  <a:lnTo>
                    <a:pt x="81" y="5"/>
                  </a:lnTo>
                  <a:lnTo>
                    <a:pt x="71" y="8"/>
                  </a:lnTo>
                  <a:lnTo>
                    <a:pt x="61" y="15"/>
                  </a:lnTo>
                  <a:lnTo>
                    <a:pt x="56" y="22"/>
                  </a:lnTo>
                  <a:lnTo>
                    <a:pt x="51" y="32"/>
                  </a:lnTo>
                  <a:lnTo>
                    <a:pt x="49" y="40"/>
                  </a:lnTo>
                  <a:lnTo>
                    <a:pt x="34" y="45"/>
                  </a:lnTo>
                  <a:lnTo>
                    <a:pt x="27" y="35"/>
                  </a:lnTo>
                  <a:lnTo>
                    <a:pt x="24" y="35"/>
                  </a:lnTo>
                  <a:lnTo>
                    <a:pt x="20" y="37"/>
                  </a:lnTo>
                  <a:lnTo>
                    <a:pt x="17" y="40"/>
                  </a:lnTo>
                  <a:lnTo>
                    <a:pt x="17" y="42"/>
                  </a:lnTo>
                  <a:lnTo>
                    <a:pt x="20" y="45"/>
                  </a:lnTo>
                  <a:lnTo>
                    <a:pt x="22" y="52"/>
                  </a:lnTo>
                  <a:lnTo>
                    <a:pt x="15" y="59"/>
                  </a:lnTo>
                  <a:lnTo>
                    <a:pt x="7" y="67"/>
                  </a:lnTo>
                  <a:lnTo>
                    <a:pt x="2" y="7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96"/>
                  </a:lnTo>
                  <a:lnTo>
                    <a:pt x="5" y="106"/>
                  </a:lnTo>
                  <a:lnTo>
                    <a:pt x="10" y="111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5" y="111"/>
                  </a:lnTo>
                  <a:lnTo>
                    <a:pt x="46" y="94"/>
                  </a:lnTo>
                  <a:lnTo>
                    <a:pt x="54" y="108"/>
                  </a:lnTo>
                  <a:lnTo>
                    <a:pt x="46" y="113"/>
                  </a:lnTo>
                  <a:lnTo>
                    <a:pt x="32" y="128"/>
                  </a:lnTo>
                  <a:lnTo>
                    <a:pt x="24" y="143"/>
                  </a:lnTo>
                  <a:lnTo>
                    <a:pt x="20" y="152"/>
                  </a:lnTo>
                  <a:lnTo>
                    <a:pt x="12" y="172"/>
                  </a:lnTo>
                  <a:lnTo>
                    <a:pt x="12" y="189"/>
                  </a:lnTo>
                  <a:lnTo>
                    <a:pt x="12" y="201"/>
                  </a:lnTo>
                  <a:lnTo>
                    <a:pt x="17" y="219"/>
                  </a:lnTo>
                  <a:lnTo>
                    <a:pt x="24" y="238"/>
                  </a:lnTo>
                  <a:lnTo>
                    <a:pt x="37" y="255"/>
                  </a:lnTo>
                  <a:lnTo>
                    <a:pt x="44" y="260"/>
                  </a:lnTo>
                  <a:lnTo>
                    <a:pt x="54" y="270"/>
                  </a:lnTo>
                  <a:lnTo>
                    <a:pt x="39" y="300"/>
                  </a:lnTo>
                  <a:lnTo>
                    <a:pt x="42" y="302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51" y="304"/>
                  </a:lnTo>
                  <a:lnTo>
                    <a:pt x="54" y="302"/>
                  </a:lnTo>
                  <a:lnTo>
                    <a:pt x="66" y="277"/>
                  </a:lnTo>
                  <a:lnTo>
                    <a:pt x="78" y="282"/>
                  </a:lnTo>
                  <a:lnTo>
                    <a:pt x="96" y="285"/>
                  </a:lnTo>
                  <a:lnTo>
                    <a:pt x="110" y="287"/>
                  </a:lnTo>
                  <a:lnTo>
                    <a:pt x="125" y="285"/>
                  </a:lnTo>
                  <a:lnTo>
                    <a:pt x="145" y="280"/>
                  </a:lnTo>
                  <a:lnTo>
                    <a:pt x="154" y="277"/>
                  </a:lnTo>
                  <a:lnTo>
                    <a:pt x="169" y="304"/>
                  </a:lnTo>
                  <a:lnTo>
                    <a:pt x="174" y="304"/>
                  </a:lnTo>
                  <a:lnTo>
                    <a:pt x="176" y="304"/>
                  </a:lnTo>
                  <a:lnTo>
                    <a:pt x="181" y="302"/>
                  </a:lnTo>
                  <a:lnTo>
                    <a:pt x="181" y="300"/>
                  </a:lnTo>
                  <a:lnTo>
                    <a:pt x="179" y="295"/>
                  </a:lnTo>
                  <a:lnTo>
                    <a:pt x="167" y="270"/>
                  </a:lnTo>
                  <a:lnTo>
                    <a:pt x="176" y="260"/>
                  </a:lnTo>
                  <a:lnTo>
                    <a:pt x="186" y="250"/>
                  </a:lnTo>
                  <a:lnTo>
                    <a:pt x="198" y="233"/>
                  </a:lnTo>
                  <a:lnTo>
                    <a:pt x="203" y="219"/>
                  </a:lnTo>
                  <a:lnTo>
                    <a:pt x="208" y="201"/>
                  </a:lnTo>
                  <a:lnTo>
                    <a:pt x="208" y="187"/>
                  </a:lnTo>
                  <a:lnTo>
                    <a:pt x="208" y="172"/>
                  </a:lnTo>
                  <a:lnTo>
                    <a:pt x="203" y="157"/>
                  </a:lnTo>
                  <a:lnTo>
                    <a:pt x="194" y="138"/>
                  </a:lnTo>
                  <a:lnTo>
                    <a:pt x="184" y="125"/>
                  </a:lnTo>
                  <a:lnTo>
                    <a:pt x="176" y="116"/>
                  </a:lnTo>
                  <a:lnTo>
                    <a:pt x="167" y="108"/>
                  </a:lnTo>
                  <a:lnTo>
                    <a:pt x="174" y="94"/>
                  </a:lnTo>
                  <a:lnTo>
                    <a:pt x="208" y="113"/>
                  </a:lnTo>
                  <a:lnTo>
                    <a:pt x="213" y="111"/>
                  </a:lnTo>
                  <a:lnTo>
                    <a:pt x="213" y="111"/>
                  </a:lnTo>
                  <a:lnTo>
                    <a:pt x="213" y="108"/>
                  </a:lnTo>
                  <a:lnTo>
                    <a:pt x="218" y="98"/>
                  </a:lnTo>
                  <a:lnTo>
                    <a:pt x="221" y="89"/>
                  </a:lnTo>
                  <a:lnTo>
                    <a:pt x="221" y="86"/>
                  </a:lnTo>
                  <a:close/>
                  <a:moveTo>
                    <a:pt x="64" y="25"/>
                  </a:moveTo>
                  <a:lnTo>
                    <a:pt x="66" y="22"/>
                  </a:lnTo>
                  <a:lnTo>
                    <a:pt x="73" y="18"/>
                  </a:lnTo>
                  <a:lnTo>
                    <a:pt x="78" y="15"/>
                  </a:lnTo>
                  <a:lnTo>
                    <a:pt x="93" y="10"/>
                  </a:lnTo>
                  <a:lnTo>
                    <a:pt x="113" y="8"/>
                  </a:lnTo>
                  <a:lnTo>
                    <a:pt x="127" y="10"/>
                  </a:lnTo>
                  <a:lnTo>
                    <a:pt x="140" y="15"/>
                  </a:lnTo>
                  <a:lnTo>
                    <a:pt x="152" y="20"/>
                  </a:lnTo>
                  <a:lnTo>
                    <a:pt x="157" y="25"/>
                  </a:lnTo>
                  <a:lnTo>
                    <a:pt x="159" y="32"/>
                  </a:lnTo>
                  <a:lnTo>
                    <a:pt x="162" y="37"/>
                  </a:lnTo>
                  <a:lnTo>
                    <a:pt x="152" y="40"/>
                  </a:lnTo>
                  <a:lnTo>
                    <a:pt x="145" y="42"/>
                  </a:lnTo>
                  <a:lnTo>
                    <a:pt x="140" y="47"/>
                  </a:lnTo>
                  <a:lnTo>
                    <a:pt x="135" y="52"/>
                  </a:lnTo>
                  <a:lnTo>
                    <a:pt x="127" y="62"/>
                  </a:lnTo>
                  <a:lnTo>
                    <a:pt x="127" y="67"/>
                  </a:lnTo>
                  <a:lnTo>
                    <a:pt x="130" y="67"/>
                  </a:lnTo>
                  <a:lnTo>
                    <a:pt x="162" y="86"/>
                  </a:lnTo>
                  <a:lnTo>
                    <a:pt x="154" y="101"/>
                  </a:lnTo>
                  <a:lnTo>
                    <a:pt x="137" y="94"/>
                  </a:lnTo>
                  <a:lnTo>
                    <a:pt x="115" y="91"/>
                  </a:lnTo>
                  <a:lnTo>
                    <a:pt x="113" y="91"/>
                  </a:lnTo>
                  <a:lnTo>
                    <a:pt x="96" y="91"/>
                  </a:lnTo>
                  <a:lnTo>
                    <a:pt x="81" y="96"/>
                  </a:lnTo>
                  <a:lnTo>
                    <a:pt x="66" y="101"/>
                  </a:lnTo>
                  <a:lnTo>
                    <a:pt x="59" y="86"/>
                  </a:lnTo>
                  <a:lnTo>
                    <a:pt x="91" y="67"/>
                  </a:lnTo>
                  <a:lnTo>
                    <a:pt x="93" y="67"/>
                  </a:lnTo>
                  <a:lnTo>
                    <a:pt x="93" y="64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86" y="52"/>
                  </a:lnTo>
                  <a:lnTo>
                    <a:pt x="81" y="47"/>
                  </a:lnTo>
                  <a:lnTo>
                    <a:pt x="73" y="42"/>
                  </a:lnTo>
                  <a:lnTo>
                    <a:pt x="64" y="40"/>
                  </a:lnTo>
                  <a:lnTo>
                    <a:pt x="59" y="40"/>
                  </a:lnTo>
                  <a:lnTo>
                    <a:pt x="64" y="25"/>
                  </a:lnTo>
                  <a:close/>
                  <a:moveTo>
                    <a:pt x="12" y="101"/>
                  </a:moveTo>
                  <a:lnTo>
                    <a:pt x="10" y="89"/>
                  </a:lnTo>
                  <a:lnTo>
                    <a:pt x="10" y="86"/>
                  </a:lnTo>
                  <a:lnTo>
                    <a:pt x="10" y="79"/>
                  </a:lnTo>
                  <a:lnTo>
                    <a:pt x="12" y="74"/>
                  </a:lnTo>
                  <a:lnTo>
                    <a:pt x="17" y="67"/>
                  </a:lnTo>
                  <a:lnTo>
                    <a:pt x="22" y="62"/>
                  </a:lnTo>
                  <a:lnTo>
                    <a:pt x="27" y="59"/>
                  </a:lnTo>
                  <a:lnTo>
                    <a:pt x="42" y="52"/>
                  </a:lnTo>
                  <a:lnTo>
                    <a:pt x="54" y="47"/>
                  </a:lnTo>
                  <a:lnTo>
                    <a:pt x="59" y="47"/>
                  </a:lnTo>
                  <a:lnTo>
                    <a:pt x="64" y="47"/>
                  </a:lnTo>
                  <a:lnTo>
                    <a:pt x="69" y="49"/>
                  </a:lnTo>
                  <a:lnTo>
                    <a:pt x="76" y="54"/>
                  </a:lnTo>
                  <a:lnTo>
                    <a:pt x="81" y="59"/>
                  </a:lnTo>
                  <a:lnTo>
                    <a:pt x="83" y="62"/>
                  </a:lnTo>
                  <a:lnTo>
                    <a:pt x="12" y="101"/>
                  </a:lnTo>
                  <a:close/>
                  <a:moveTo>
                    <a:pt x="169" y="128"/>
                  </a:moveTo>
                  <a:lnTo>
                    <a:pt x="176" y="135"/>
                  </a:lnTo>
                  <a:lnTo>
                    <a:pt x="186" y="150"/>
                  </a:lnTo>
                  <a:lnTo>
                    <a:pt x="191" y="162"/>
                  </a:lnTo>
                  <a:lnTo>
                    <a:pt x="194" y="179"/>
                  </a:lnTo>
                  <a:lnTo>
                    <a:pt x="196" y="192"/>
                  </a:lnTo>
                  <a:lnTo>
                    <a:pt x="194" y="206"/>
                  </a:lnTo>
                  <a:lnTo>
                    <a:pt x="189" y="221"/>
                  </a:lnTo>
                  <a:lnTo>
                    <a:pt x="181" y="236"/>
                  </a:lnTo>
                  <a:lnTo>
                    <a:pt x="176" y="243"/>
                  </a:lnTo>
                  <a:lnTo>
                    <a:pt x="164" y="253"/>
                  </a:lnTo>
                  <a:lnTo>
                    <a:pt x="152" y="263"/>
                  </a:lnTo>
                  <a:lnTo>
                    <a:pt x="135" y="270"/>
                  </a:lnTo>
                  <a:lnTo>
                    <a:pt x="122" y="273"/>
                  </a:lnTo>
                  <a:lnTo>
                    <a:pt x="115" y="273"/>
                  </a:lnTo>
                  <a:lnTo>
                    <a:pt x="110" y="273"/>
                  </a:lnTo>
                  <a:lnTo>
                    <a:pt x="103" y="273"/>
                  </a:lnTo>
                  <a:lnTo>
                    <a:pt x="86" y="270"/>
                  </a:lnTo>
                  <a:lnTo>
                    <a:pt x="69" y="263"/>
                  </a:lnTo>
                  <a:lnTo>
                    <a:pt x="56" y="253"/>
                  </a:lnTo>
                  <a:lnTo>
                    <a:pt x="46" y="246"/>
                  </a:lnTo>
                  <a:lnTo>
                    <a:pt x="42" y="238"/>
                  </a:lnTo>
                  <a:lnTo>
                    <a:pt x="37" y="228"/>
                  </a:lnTo>
                  <a:lnTo>
                    <a:pt x="29" y="209"/>
                  </a:lnTo>
                  <a:lnTo>
                    <a:pt x="27" y="194"/>
                  </a:lnTo>
                  <a:lnTo>
                    <a:pt x="27" y="187"/>
                  </a:lnTo>
                  <a:lnTo>
                    <a:pt x="27" y="170"/>
                  </a:lnTo>
                  <a:lnTo>
                    <a:pt x="34" y="155"/>
                  </a:lnTo>
                  <a:lnTo>
                    <a:pt x="39" y="143"/>
                  </a:lnTo>
                  <a:lnTo>
                    <a:pt x="46" y="133"/>
                  </a:lnTo>
                  <a:lnTo>
                    <a:pt x="59" y="123"/>
                  </a:lnTo>
                  <a:lnTo>
                    <a:pt x="73" y="113"/>
                  </a:lnTo>
                  <a:lnTo>
                    <a:pt x="91" y="106"/>
                  </a:lnTo>
                  <a:lnTo>
                    <a:pt x="98" y="106"/>
                  </a:lnTo>
                  <a:lnTo>
                    <a:pt x="105" y="106"/>
                  </a:lnTo>
                  <a:lnTo>
                    <a:pt x="110" y="103"/>
                  </a:lnTo>
                  <a:lnTo>
                    <a:pt x="118" y="106"/>
                  </a:lnTo>
                  <a:lnTo>
                    <a:pt x="127" y="106"/>
                  </a:lnTo>
                  <a:lnTo>
                    <a:pt x="145" y="111"/>
                  </a:lnTo>
                  <a:lnTo>
                    <a:pt x="159" y="121"/>
                  </a:lnTo>
                  <a:lnTo>
                    <a:pt x="169" y="128"/>
                  </a:lnTo>
                  <a:close/>
                  <a:moveTo>
                    <a:pt x="211" y="94"/>
                  </a:moveTo>
                  <a:lnTo>
                    <a:pt x="208" y="101"/>
                  </a:lnTo>
                  <a:lnTo>
                    <a:pt x="137" y="62"/>
                  </a:lnTo>
                  <a:lnTo>
                    <a:pt x="142" y="54"/>
                  </a:lnTo>
                  <a:lnTo>
                    <a:pt x="147" y="52"/>
                  </a:lnTo>
                  <a:lnTo>
                    <a:pt x="152" y="49"/>
                  </a:lnTo>
                  <a:lnTo>
                    <a:pt x="159" y="47"/>
                  </a:lnTo>
                  <a:lnTo>
                    <a:pt x="162" y="47"/>
                  </a:lnTo>
                  <a:lnTo>
                    <a:pt x="169" y="47"/>
                  </a:lnTo>
                  <a:lnTo>
                    <a:pt x="174" y="49"/>
                  </a:lnTo>
                  <a:lnTo>
                    <a:pt x="184" y="54"/>
                  </a:lnTo>
                  <a:lnTo>
                    <a:pt x="196" y="62"/>
                  </a:lnTo>
                  <a:lnTo>
                    <a:pt x="203" y="67"/>
                  </a:lnTo>
                  <a:lnTo>
                    <a:pt x="206" y="74"/>
                  </a:lnTo>
                  <a:lnTo>
                    <a:pt x="211" y="79"/>
                  </a:lnTo>
                  <a:lnTo>
                    <a:pt x="211" y="86"/>
                  </a:lnTo>
                  <a:lnTo>
                    <a:pt x="211" y="86"/>
                  </a:lnTo>
                  <a:lnTo>
                    <a:pt x="211" y="9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0" name="Group 352">
            <a:extLst>
              <a:ext uri="{FF2B5EF4-FFF2-40B4-BE49-F238E27FC236}">
                <a16:creationId xmlns:a16="http://schemas.microsoft.com/office/drawing/2014/main" id="{65A7AB76-49FD-4383-B2B2-154088AE05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0288" y="5425486"/>
            <a:ext cx="841375" cy="841375"/>
            <a:chOff x="3006" y="3444"/>
            <a:chExt cx="530" cy="530"/>
          </a:xfrm>
        </p:grpSpPr>
        <p:sp>
          <p:nvSpPr>
            <p:cNvPr id="391" name="AutoShape 351">
              <a:extLst>
                <a:ext uri="{FF2B5EF4-FFF2-40B4-BE49-F238E27FC236}">
                  <a16:creationId xmlns:a16="http://schemas.microsoft.com/office/drawing/2014/main" id="{69E428BB-968A-476C-9566-261A141FF4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6" y="344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Oval 353">
              <a:extLst>
                <a:ext uri="{FF2B5EF4-FFF2-40B4-BE49-F238E27FC236}">
                  <a16:creationId xmlns:a16="http://schemas.microsoft.com/office/drawing/2014/main" id="{F5A686E6-1576-4AB3-B7AA-C7DD900602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344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354">
              <a:extLst>
                <a:ext uri="{FF2B5EF4-FFF2-40B4-BE49-F238E27FC236}">
                  <a16:creationId xmlns:a16="http://schemas.microsoft.com/office/drawing/2014/main" id="{1EEE6091-ACF6-4D59-9D41-F08DC473F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346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355">
              <a:extLst>
                <a:ext uri="{FF2B5EF4-FFF2-40B4-BE49-F238E27FC236}">
                  <a16:creationId xmlns:a16="http://schemas.microsoft.com/office/drawing/2014/main" id="{AF7881C0-D31E-4706-B4D8-91F2790AA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" y="3674"/>
              <a:ext cx="56" cy="72"/>
            </a:xfrm>
            <a:custGeom>
              <a:avLst/>
              <a:gdLst>
                <a:gd name="T0" fmla="*/ 0 w 56"/>
                <a:gd name="T1" fmla="*/ 62 h 72"/>
                <a:gd name="T2" fmla="*/ 0 w 56"/>
                <a:gd name="T3" fmla="*/ 64 h 72"/>
                <a:gd name="T4" fmla="*/ 2 w 56"/>
                <a:gd name="T5" fmla="*/ 69 h 72"/>
                <a:gd name="T6" fmla="*/ 2 w 56"/>
                <a:gd name="T7" fmla="*/ 69 h 72"/>
                <a:gd name="T8" fmla="*/ 7 w 56"/>
                <a:gd name="T9" fmla="*/ 72 h 72"/>
                <a:gd name="T10" fmla="*/ 53 w 56"/>
                <a:gd name="T11" fmla="*/ 69 h 72"/>
                <a:gd name="T12" fmla="*/ 56 w 56"/>
                <a:gd name="T13" fmla="*/ 67 h 72"/>
                <a:gd name="T14" fmla="*/ 56 w 56"/>
                <a:gd name="T15" fmla="*/ 64 h 72"/>
                <a:gd name="T16" fmla="*/ 53 w 56"/>
                <a:gd name="T17" fmla="*/ 59 h 72"/>
                <a:gd name="T18" fmla="*/ 53 w 56"/>
                <a:gd name="T19" fmla="*/ 59 h 72"/>
                <a:gd name="T20" fmla="*/ 53 w 56"/>
                <a:gd name="T21" fmla="*/ 5 h 72"/>
                <a:gd name="T22" fmla="*/ 51 w 56"/>
                <a:gd name="T23" fmla="*/ 3 h 72"/>
                <a:gd name="T24" fmla="*/ 48 w 56"/>
                <a:gd name="T25" fmla="*/ 0 h 72"/>
                <a:gd name="T26" fmla="*/ 46 w 56"/>
                <a:gd name="T27" fmla="*/ 3 h 72"/>
                <a:gd name="T28" fmla="*/ 46 w 56"/>
                <a:gd name="T29" fmla="*/ 3 h 72"/>
                <a:gd name="T30" fmla="*/ 43 w 56"/>
                <a:gd name="T31" fmla="*/ 3 h 72"/>
                <a:gd name="T32" fmla="*/ 43 w 56"/>
                <a:gd name="T33" fmla="*/ 5 h 72"/>
                <a:gd name="T34" fmla="*/ 43 w 56"/>
                <a:gd name="T35" fmla="*/ 5 h 72"/>
                <a:gd name="T36" fmla="*/ 43 w 56"/>
                <a:gd name="T37" fmla="*/ 57 h 72"/>
                <a:gd name="T38" fmla="*/ 5 w 56"/>
                <a:gd name="T39" fmla="*/ 57 h 72"/>
                <a:gd name="T40" fmla="*/ 0 w 56"/>
                <a:gd name="T41" fmla="*/ 6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72">
                  <a:moveTo>
                    <a:pt x="0" y="62"/>
                  </a:moveTo>
                  <a:lnTo>
                    <a:pt x="0" y="64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7" y="72"/>
                  </a:lnTo>
                  <a:lnTo>
                    <a:pt x="53" y="69"/>
                  </a:lnTo>
                  <a:lnTo>
                    <a:pt x="56" y="67"/>
                  </a:lnTo>
                  <a:lnTo>
                    <a:pt x="56" y="64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3" y="5"/>
                  </a:lnTo>
                  <a:lnTo>
                    <a:pt x="51" y="3"/>
                  </a:lnTo>
                  <a:lnTo>
                    <a:pt x="48" y="0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7"/>
                  </a:lnTo>
                  <a:lnTo>
                    <a:pt x="5" y="57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56">
              <a:extLst>
                <a:ext uri="{FF2B5EF4-FFF2-40B4-BE49-F238E27FC236}">
                  <a16:creationId xmlns:a16="http://schemas.microsoft.com/office/drawing/2014/main" id="{28EC9034-0AC3-401F-BD6B-6BDE7CBE22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" y="3541"/>
              <a:ext cx="230" cy="318"/>
            </a:xfrm>
            <a:custGeom>
              <a:avLst/>
              <a:gdLst>
                <a:gd name="T0" fmla="*/ 223 w 230"/>
                <a:gd name="T1" fmla="*/ 69 h 318"/>
                <a:gd name="T2" fmla="*/ 210 w 230"/>
                <a:gd name="T3" fmla="*/ 39 h 318"/>
                <a:gd name="T4" fmla="*/ 197 w 230"/>
                <a:gd name="T5" fmla="*/ 39 h 318"/>
                <a:gd name="T6" fmla="*/ 169 w 230"/>
                <a:gd name="T7" fmla="*/ 18 h 318"/>
                <a:gd name="T8" fmla="*/ 131 w 230"/>
                <a:gd name="T9" fmla="*/ 0 h 318"/>
                <a:gd name="T10" fmla="*/ 74 w 230"/>
                <a:gd name="T11" fmla="*/ 8 h 318"/>
                <a:gd name="T12" fmla="*/ 51 w 230"/>
                <a:gd name="T13" fmla="*/ 41 h 318"/>
                <a:gd name="T14" fmla="*/ 20 w 230"/>
                <a:gd name="T15" fmla="*/ 39 h 318"/>
                <a:gd name="T16" fmla="*/ 23 w 230"/>
                <a:gd name="T17" fmla="*/ 54 h 318"/>
                <a:gd name="T18" fmla="*/ 0 w 230"/>
                <a:gd name="T19" fmla="*/ 87 h 318"/>
                <a:gd name="T20" fmla="*/ 10 w 230"/>
                <a:gd name="T21" fmla="*/ 115 h 318"/>
                <a:gd name="T22" fmla="*/ 13 w 230"/>
                <a:gd name="T23" fmla="*/ 118 h 318"/>
                <a:gd name="T24" fmla="*/ 56 w 230"/>
                <a:gd name="T25" fmla="*/ 113 h 318"/>
                <a:gd name="T26" fmla="*/ 20 w 230"/>
                <a:gd name="T27" fmla="*/ 159 h 318"/>
                <a:gd name="T28" fmla="*/ 18 w 230"/>
                <a:gd name="T29" fmla="*/ 228 h 318"/>
                <a:gd name="T30" fmla="*/ 56 w 230"/>
                <a:gd name="T31" fmla="*/ 282 h 318"/>
                <a:gd name="T32" fmla="*/ 49 w 230"/>
                <a:gd name="T33" fmla="*/ 318 h 318"/>
                <a:gd name="T34" fmla="*/ 82 w 230"/>
                <a:gd name="T35" fmla="*/ 295 h 318"/>
                <a:gd name="T36" fmla="*/ 151 w 230"/>
                <a:gd name="T37" fmla="*/ 292 h 318"/>
                <a:gd name="T38" fmla="*/ 184 w 230"/>
                <a:gd name="T39" fmla="*/ 318 h 318"/>
                <a:gd name="T40" fmla="*/ 174 w 230"/>
                <a:gd name="T41" fmla="*/ 282 h 318"/>
                <a:gd name="T42" fmla="*/ 212 w 230"/>
                <a:gd name="T43" fmla="*/ 228 h 318"/>
                <a:gd name="T44" fmla="*/ 212 w 230"/>
                <a:gd name="T45" fmla="*/ 164 h 318"/>
                <a:gd name="T46" fmla="*/ 174 w 230"/>
                <a:gd name="T47" fmla="*/ 113 h 318"/>
                <a:gd name="T48" fmla="*/ 223 w 230"/>
                <a:gd name="T49" fmla="*/ 115 h 318"/>
                <a:gd name="T50" fmla="*/ 230 w 230"/>
                <a:gd name="T51" fmla="*/ 90 h 318"/>
                <a:gd name="T52" fmla="*/ 82 w 230"/>
                <a:gd name="T53" fmla="*/ 16 h 318"/>
                <a:gd name="T54" fmla="*/ 146 w 230"/>
                <a:gd name="T55" fmla="*/ 16 h 318"/>
                <a:gd name="T56" fmla="*/ 169 w 230"/>
                <a:gd name="T57" fmla="*/ 39 h 318"/>
                <a:gd name="T58" fmla="*/ 141 w 230"/>
                <a:gd name="T59" fmla="*/ 54 h 318"/>
                <a:gd name="T60" fmla="*/ 169 w 230"/>
                <a:gd name="T61" fmla="*/ 90 h 318"/>
                <a:gd name="T62" fmla="*/ 118 w 230"/>
                <a:gd name="T63" fmla="*/ 95 h 318"/>
                <a:gd name="T64" fmla="*/ 61 w 230"/>
                <a:gd name="T65" fmla="*/ 90 h 318"/>
                <a:gd name="T66" fmla="*/ 97 w 230"/>
                <a:gd name="T67" fmla="*/ 64 h 318"/>
                <a:gd name="T68" fmla="*/ 77 w 230"/>
                <a:gd name="T69" fmla="*/ 44 h 318"/>
                <a:gd name="T70" fmla="*/ 13 w 230"/>
                <a:gd name="T71" fmla="*/ 105 h 318"/>
                <a:gd name="T72" fmla="*/ 13 w 230"/>
                <a:gd name="T73" fmla="*/ 77 h 318"/>
                <a:gd name="T74" fmla="*/ 43 w 230"/>
                <a:gd name="T75" fmla="*/ 54 h 318"/>
                <a:gd name="T76" fmla="*/ 72 w 230"/>
                <a:gd name="T77" fmla="*/ 51 h 318"/>
                <a:gd name="T78" fmla="*/ 13 w 230"/>
                <a:gd name="T79" fmla="*/ 105 h 318"/>
                <a:gd name="T80" fmla="*/ 200 w 230"/>
                <a:gd name="T81" fmla="*/ 169 h 318"/>
                <a:gd name="T82" fmla="*/ 197 w 230"/>
                <a:gd name="T83" fmla="*/ 231 h 318"/>
                <a:gd name="T84" fmla="*/ 159 w 230"/>
                <a:gd name="T85" fmla="*/ 274 h 318"/>
                <a:gd name="T86" fmla="*/ 115 w 230"/>
                <a:gd name="T87" fmla="*/ 284 h 318"/>
                <a:gd name="T88" fmla="*/ 59 w 230"/>
                <a:gd name="T89" fmla="*/ 264 h 318"/>
                <a:gd name="T90" fmla="*/ 31 w 230"/>
                <a:gd name="T91" fmla="*/ 218 h 318"/>
                <a:gd name="T92" fmla="*/ 36 w 230"/>
                <a:gd name="T93" fmla="*/ 161 h 318"/>
                <a:gd name="T94" fmla="*/ 77 w 230"/>
                <a:gd name="T95" fmla="*/ 118 h 318"/>
                <a:gd name="T96" fmla="*/ 115 w 230"/>
                <a:gd name="T97" fmla="*/ 108 h 318"/>
                <a:gd name="T98" fmla="*/ 166 w 230"/>
                <a:gd name="T99" fmla="*/ 126 h 318"/>
                <a:gd name="T100" fmla="*/ 143 w 230"/>
                <a:gd name="T101" fmla="*/ 64 h 318"/>
                <a:gd name="T102" fmla="*/ 166 w 230"/>
                <a:gd name="T103" fmla="*/ 49 h 318"/>
                <a:gd name="T104" fmla="*/ 192 w 230"/>
                <a:gd name="T105" fmla="*/ 57 h 318"/>
                <a:gd name="T106" fmla="*/ 220 w 230"/>
                <a:gd name="T107" fmla="*/ 8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318">
                  <a:moveTo>
                    <a:pt x="230" y="90"/>
                  </a:moveTo>
                  <a:lnTo>
                    <a:pt x="228" y="82"/>
                  </a:lnTo>
                  <a:lnTo>
                    <a:pt x="225" y="74"/>
                  </a:lnTo>
                  <a:lnTo>
                    <a:pt x="223" y="69"/>
                  </a:lnTo>
                  <a:lnTo>
                    <a:pt x="215" y="62"/>
                  </a:lnTo>
                  <a:lnTo>
                    <a:pt x="207" y="54"/>
                  </a:lnTo>
                  <a:lnTo>
                    <a:pt x="212" y="44"/>
                  </a:lnTo>
                  <a:lnTo>
                    <a:pt x="210" y="39"/>
                  </a:lnTo>
                  <a:lnTo>
                    <a:pt x="207" y="36"/>
                  </a:lnTo>
                  <a:lnTo>
                    <a:pt x="205" y="36"/>
                  </a:lnTo>
                  <a:lnTo>
                    <a:pt x="200" y="39"/>
                  </a:lnTo>
                  <a:lnTo>
                    <a:pt x="197" y="39"/>
                  </a:lnTo>
                  <a:lnTo>
                    <a:pt x="195" y="46"/>
                  </a:lnTo>
                  <a:lnTo>
                    <a:pt x="179" y="41"/>
                  </a:lnTo>
                  <a:lnTo>
                    <a:pt x="172" y="23"/>
                  </a:lnTo>
                  <a:lnTo>
                    <a:pt x="169" y="18"/>
                  </a:lnTo>
                  <a:lnTo>
                    <a:pt x="164" y="13"/>
                  </a:lnTo>
                  <a:lnTo>
                    <a:pt x="156" y="8"/>
                  </a:lnTo>
                  <a:lnTo>
                    <a:pt x="143" y="3"/>
                  </a:lnTo>
                  <a:lnTo>
                    <a:pt x="131" y="0"/>
                  </a:lnTo>
                  <a:lnTo>
                    <a:pt x="118" y="0"/>
                  </a:lnTo>
                  <a:lnTo>
                    <a:pt x="100" y="0"/>
                  </a:lnTo>
                  <a:lnTo>
                    <a:pt x="84" y="5"/>
                  </a:lnTo>
                  <a:lnTo>
                    <a:pt x="74" y="8"/>
                  </a:lnTo>
                  <a:lnTo>
                    <a:pt x="64" y="16"/>
                  </a:lnTo>
                  <a:lnTo>
                    <a:pt x="59" y="23"/>
                  </a:lnTo>
                  <a:lnTo>
                    <a:pt x="54" y="33"/>
                  </a:lnTo>
                  <a:lnTo>
                    <a:pt x="51" y="41"/>
                  </a:lnTo>
                  <a:lnTo>
                    <a:pt x="36" y="46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0" y="39"/>
                  </a:lnTo>
                  <a:lnTo>
                    <a:pt x="18" y="41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3" y="54"/>
                  </a:lnTo>
                  <a:lnTo>
                    <a:pt x="15" y="62"/>
                  </a:lnTo>
                  <a:lnTo>
                    <a:pt x="8" y="69"/>
                  </a:lnTo>
                  <a:lnTo>
                    <a:pt x="3" y="77"/>
                  </a:lnTo>
                  <a:lnTo>
                    <a:pt x="0" y="87"/>
                  </a:lnTo>
                  <a:lnTo>
                    <a:pt x="0" y="90"/>
                  </a:lnTo>
                  <a:lnTo>
                    <a:pt x="3" y="100"/>
                  </a:lnTo>
                  <a:lnTo>
                    <a:pt x="5" y="110"/>
                  </a:lnTo>
                  <a:lnTo>
                    <a:pt x="10" y="115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5" y="115"/>
                  </a:lnTo>
                  <a:lnTo>
                    <a:pt x="49" y="97"/>
                  </a:lnTo>
                  <a:lnTo>
                    <a:pt x="56" y="113"/>
                  </a:lnTo>
                  <a:lnTo>
                    <a:pt x="49" y="118"/>
                  </a:lnTo>
                  <a:lnTo>
                    <a:pt x="33" y="133"/>
                  </a:lnTo>
                  <a:lnTo>
                    <a:pt x="26" y="149"/>
                  </a:lnTo>
                  <a:lnTo>
                    <a:pt x="20" y="159"/>
                  </a:lnTo>
                  <a:lnTo>
                    <a:pt x="13" y="179"/>
                  </a:lnTo>
                  <a:lnTo>
                    <a:pt x="13" y="197"/>
                  </a:lnTo>
                  <a:lnTo>
                    <a:pt x="13" y="210"/>
                  </a:lnTo>
                  <a:lnTo>
                    <a:pt x="18" y="228"/>
                  </a:lnTo>
                  <a:lnTo>
                    <a:pt x="26" y="249"/>
                  </a:lnTo>
                  <a:lnTo>
                    <a:pt x="38" y="266"/>
                  </a:lnTo>
                  <a:lnTo>
                    <a:pt x="46" y="272"/>
                  </a:lnTo>
                  <a:lnTo>
                    <a:pt x="56" y="282"/>
                  </a:lnTo>
                  <a:lnTo>
                    <a:pt x="41" y="313"/>
                  </a:lnTo>
                  <a:lnTo>
                    <a:pt x="43" y="315"/>
                  </a:lnTo>
                  <a:lnTo>
                    <a:pt x="46" y="318"/>
                  </a:lnTo>
                  <a:lnTo>
                    <a:pt x="49" y="318"/>
                  </a:lnTo>
                  <a:lnTo>
                    <a:pt x="54" y="318"/>
                  </a:lnTo>
                  <a:lnTo>
                    <a:pt x="56" y="315"/>
                  </a:lnTo>
                  <a:lnTo>
                    <a:pt x="69" y="290"/>
                  </a:lnTo>
                  <a:lnTo>
                    <a:pt x="82" y="295"/>
                  </a:lnTo>
                  <a:lnTo>
                    <a:pt x="100" y="297"/>
                  </a:lnTo>
                  <a:lnTo>
                    <a:pt x="115" y="300"/>
                  </a:lnTo>
                  <a:lnTo>
                    <a:pt x="131" y="297"/>
                  </a:lnTo>
                  <a:lnTo>
                    <a:pt x="151" y="292"/>
                  </a:lnTo>
                  <a:lnTo>
                    <a:pt x="161" y="290"/>
                  </a:lnTo>
                  <a:lnTo>
                    <a:pt x="177" y="318"/>
                  </a:lnTo>
                  <a:lnTo>
                    <a:pt x="182" y="318"/>
                  </a:lnTo>
                  <a:lnTo>
                    <a:pt x="184" y="318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87" y="307"/>
                  </a:lnTo>
                  <a:lnTo>
                    <a:pt x="174" y="282"/>
                  </a:lnTo>
                  <a:lnTo>
                    <a:pt x="184" y="272"/>
                  </a:lnTo>
                  <a:lnTo>
                    <a:pt x="195" y="261"/>
                  </a:lnTo>
                  <a:lnTo>
                    <a:pt x="207" y="243"/>
                  </a:lnTo>
                  <a:lnTo>
                    <a:pt x="212" y="228"/>
                  </a:lnTo>
                  <a:lnTo>
                    <a:pt x="218" y="210"/>
                  </a:lnTo>
                  <a:lnTo>
                    <a:pt x="218" y="195"/>
                  </a:lnTo>
                  <a:lnTo>
                    <a:pt x="218" y="179"/>
                  </a:lnTo>
                  <a:lnTo>
                    <a:pt x="212" y="164"/>
                  </a:lnTo>
                  <a:lnTo>
                    <a:pt x="202" y="144"/>
                  </a:lnTo>
                  <a:lnTo>
                    <a:pt x="192" y="131"/>
                  </a:lnTo>
                  <a:lnTo>
                    <a:pt x="184" y="121"/>
                  </a:lnTo>
                  <a:lnTo>
                    <a:pt x="174" y="113"/>
                  </a:lnTo>
                  <a:lnTo>
                    <a:pt x="182" y="97"/>
                  </a:lnTo>
                  <a:lnTo>
                    <a:pt x="218" y="118"/>
                  </a:lnTo>
                  <a:lnTo>
                    <a:pt x="223" y="115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8" y="103"/>
                  </a:lnTo>
                  <a:lnTo>
                    <a:pt x="230" y="92"/>
                  </a:lnTo>
                  <a:lnTo>
                    <a:pt x="230" y="90"/>
                  </a:lnTo>
                  <a:close/>
                  <a:moveTo>
                    <a:pt x="67" y="26"/>
                  </a:moveTo>
                  <a:lnTo>
                    <a:pt x="69" y="23"/>
                  </a:lnTo>
                  <a:lnTo>
                    <a:pt x="77" y="18"/>
                  </a:lnTo>
                  <a:lnTo>
                    <a:pt x="82" y="16"/>
                  </a:lnTo>
                  <a:lnTo>
                    <a:pt x="97" y="10"/>
                  </a:lnTo>
                  <a:lnTo>
                    <a:pt x="118" y="8"/>
                  </a:lnTo>
                  <a:lnTo>
                    <a:pt x="133" y="10"/>
                  </a:lnTo>
                  <a:lnTo>
                    <a:pt x="146" y="16"/>
                  </a:lnTo>
                  <a:lnTo>
                    <a:pt x="159" y="21"/>
                  </a:lnTo>
                  <a:lnTo>
                    <a:pt x="164" y="26"/>
                  </a:lnTo>
                  <a:lnTo>
                    <a:pt x="166" y="33"/>
                  </a:lnTo>
                  <a:lnTo>
                    <a:pt x="169" y="39"/>
                  </a:lnTo>
                  <a:lnTo>
                    <a:pt x="159" y="41"/>
                  </a:lnTo>
                  <a:lnTo>
                    <a:pt x="151" y="44"/>
                  </a:lnTo>
                  <a:lnTo>
                    <a:pt x="146" y="49"/>
                  </a:lnTo>
                  <a:lnTo>
                    <a:pt x="141" y="54"/>
                  </a:lnTo>
                  <a:lnTo>
                    <a:pt x="133" y="64"/>
                  </a:lnTo>
                  <a:lnTo>
                    <a:pt x="133" y="69"/>
                  </a:lnTo>
                  <a:lnTo>
                    <a:pt x="136" y="69"/>
                  </a:lnTo>
                  <a:lnTo>
                    <a:pt x="169" y="90"/>
                  </a:lnTo>
                  <a:lnTo>
                    <a:pt x="161" y="105"/>
                  </a:lnTo>
                  <a:lnTo>
                    <a:pt x="143" y="97"/>
                  </a:lnTo>
                  <a:lnTo>
                    <a:pt x="120" y="95"/>
                  </a:lnTo>
                  <a:lnTo>
                    <a:pt x="118" y="95"/>
                  </a:lnTo>
                  <a:lnTo>
                    <a:pt x="100" y="95"/>
                  </a:lnTo>
                  <a:lnTo>
                    <a:pt x="84" y="100"/>
                  </a:lnTo>
                  <a:lnTo>
                    <a:pt x="69" y="105"/>
                  </a:lnTo>
                  <a:lnTo>
                    <a:pt x="61" y="90"/>
                  </a:lnTo>
                  <a:lnTo>
                    <a:pt x="95" y="69"/>
                  </a:lnTo>
                  <a:lnTo>
                    <a:pt x="97" y="69"/>
                  </a:lnTo>
                  <a:lnTo>
                    <a:pt x="97" y="67"/>
                  </a:lnTo>
                  <a:lnTo>
                    <a:pt x="97" y="64"/>
                  </a:lnTo>
                  <a:lnTo>
                    <a:pt x="97" y="64"/>
                  </a:lnTo>
                  <a:lnTo>
                    <a:pt x="90" y="54"/>
                  </a:lnTo>
                  <a:lnTo>
                    <a:pt x="84" y="49"/>
                  </a:lnTo>
                  <a:lnTo>
                    <a:pt x="77" y="44"/>
                  </a:lnTo>
                  <a:lnTo>
                    <a:pt x="67" y="41"/>
                  </a:lnTo>
                  <a:lnTo>
                    <a:pt x="61" y="41"/>
                  </a:lnTo>
                  <a:lnTo>
                    <a:pt x="67" y="26"/>
                  </a:lnTo>
                  <a:close/>
                  <a:moveTo>
                    <a:pt x="13" y="105"/>
                  </a:moveTo>
                  <a:lnTo>
                    <a:pt x="10" y="92"/>
                  </a:lnTo>
                  <a:lnTo>
                    <a:pt x="10" y="90"/>
                  </a:lnTo>
                  <a:lnTo>
                    <a:pt x="10" y="82"/>
                  </a:lnTo>
                  <a:lnTo>
                    <a:pt x="13" y="77"/>
                  </a:lnTo>
                  <a:lnTo>
                    <a:pt x="18" y="69"/>
                  </a:lnTo>
                  <a:lnTo>
                    <a:pt x="23" y="64"/>
                  </a:lnTo>
                  <a:lnTo>
                    <a:pt x="28" y="62"/>
                  </a:lnTo>
                  <a:lnTo>
                    <a:pt x="43" y="54"/>
                  </a:lnTo>
                  <a:lnTo>
                    <a:pt x="56" y="49"/>
                  </a:lnTo>
                  <a:lnTo>
                    <a:pt x="61" y="49"/>
                  </a:lnTo>
                  <a:lnTo>
                    <a:pt x="67" y="49"/>
                  </a:lnTo>
                  <a:lnTo>
                    <a:pt x="72" y="51"/>
                  </a:lnTo>
                  <a:lnTo>
                    <a:pt x="79" y="57"/>
                  </a:lnTo>
                  <a:lnTo>
                    <a:pt x="84" y="62"/>
                  </a:lnTo>
                  <a:lnTo>
                    <a:pt x="87" y="64"/>
                  </a:lnTo>
                  <a:lnTo>
                    <a:pt x="13" y="105"/>
                  </a:lnTo>
                  <a:close/>
                  <a:moveTo>
                    <a:pt x="177" y="133"/>
                  </a:moveTo>
                  <a:lnTo>
                    <a:pt x="184" y="141"/>
                  </a:lnTo>
                  <a:lnTo>
                    <a:pt x="195" y="156"/>
                  </a:lnTo>
                  <a:lnTo>
                    <a:pt x="200" y="169"/>
                  </a:lnTo>
                  <a:lnTo>
                    <a:pt x="202" y="187"/>
                  </a:lnTo>
                  <a:lnTo>
                    <a:pt x="205" y="200"/>
                  </a:lnTo>
                  <a:lnTo>
                    <a:pt x="202" y="215"/>
                  </a:lnTo>
                  <a:lnTo>
                    <a:pt x="197" y="231"/>
                  </a:lnTo>
                  <a:lnTo>
                    <a:pt x="189" y="246"/>
                  </a:lnTo>
                  <a:lnTo>
                    <a:pt x="184" y="254"/>
                  </a:lnTo>
                  <a:lnTo>
                    <a:pt x="172" y="264"/>
                  </a:lnTo>
                  <a:lnTo>
                    <a:pt x="159" y="274"/>
                  </a:lnTo>
                  <a:lnTo>
                    <a:pt x="141" y="282"/>
                  </a:lnTo>
                  <a:lnTo>
                    <a:pt x="128" y="284"/>
                  </a:lnTo>
                  <a:lnTo>
                    <a:pt x="120" y="284"/>
                  </a:lnTo>
                  <a:lnTo>
                    <a:pt x="115" y="284"/>
                  </a:lnTo>
                  <a:lnTo>
                    <a:pt x="107" y="284"/>
                  </a:lnTo>
                  <a:lnTo>
                    <a:pt x="90" y="282"/>
                  </a:lnTo>
                  <a:lnTo>
                    <a:pt x="72" y="274"/>
                  </a:lnTo>
                  <a:lnTo>
                    <a:pt x="59" y="264"/>
                  </a:lnTo>
                  <a:lnTo>
                    <a:pt x="49" y="256"/>
                  </a:lnTo>
                  <a:lnTo>
                    <a:pt x="43" y="249"/>
                  </a:lnTo>
                  <a:lnTo>
                    <a:pt x="38" y="238"/>
                  </a:lnTo>
                  <a:lnTo>
                    <a:pt x="31" y="218"/>
                  </a:lnTo>
                  <a:lnTo>
                    <a:pt x="28" y="202"/>
                  </a:lnTo>
                  <a:lnTo>
                    <a:pt x="28" y="195"/>
                  </a:lnTo>
                  <a:lnTo>
                    <a:pt x="28" y="177"/>
                  </a:lnTo>
                  <a:lnTo>
                    <a:pt x="36" y="161"/>
                  </a:lnTo>
                  <a:lnTo>
                    <a:pt x="41" y="149"/>
                  </a:lnTo>
                  <a:lnTo>
                    <a:pt x="49" y="138"/>
                  </a:lnTo>
                  <a:lnTo>
                    <a:pt x="61" y="128"/>
                  </a:lnTo>
                  <a:lnTo>
                    <a:pt x="77" y="118"/>
                  </a:lnTo>
                  <a:lnTo>
                    <a:pt x="95" y="110"/>
                  </a:lnTo>
                  <a:lnTo>
                    <a:pt x="102" y="110"/>
                  </a:lnTo>
                  <a:lnTo>
                    <a:pt x="110" y="110"/>
                  </a:lnTo>
                  <a:lnTo>
                    <a:pt x="115" y="108"/>
                  </a:lnTo>
                  <a:lnTo>
                    <a:pt x="123" y="110"/>
                  </a:lnTo>
                  <a:lnTo>
                    <a:pt x="133" y="110"/>
                  </a:lnTo>
                  <a:lnTo>
                    <a:pt x="151" y="115"/>
                  </a:lnTo>
                  <a:lnTo>
                    <a:pt x="166" y="126"/>
                  </a:lnTo>
                  <a:lnTo>
                    <a:pt x="177" y="133"/>
                  </a:lnTo>
                  <a:close/>
                  <a:moveTo>
                    <a:pt x="220" y="97"/>
                  </a:moveTo>
                  <a:lnTo>
                    <a:pt x="218" y="105"/>
                  </a:lnTo>
                  <a:lnTo>
                    <a:pt x="143" y="64"/>
                  </a:lnTo>
                  <a:lnTo>
                    <a:pt x="148" y="57"/>
                  </a:lnTo>
                  <a:lnTo>
                    <a:pt x="154" y="54"/>
                  </a:lnTo>
                  <a:lnTo>
                    <a:pt x="159" y="51"/>
                  </a:lnTo>
                  <a:lnTo>
                    <a:pt x="166" y="49"/>
                  </a:lnTo>
                  <a:lnTo>
                    <a:pt x="169" y="49"/>
                  </a:lnTo>
                  <a:lnTo>
                    <a:pt x="177" y="49"/>
                  </a:lnTo>
                  <a:lnTo>
                    <a:pt x="182" y="51"/>
                  </a:lnTo>
                  <a:lnTo>
                    <a:pt x="192" y="57"/>
                  </a:lnTo>
                  <a:lnTo>
                    <a:pt x="205" y="64"/>
                  </a:lnTo>
                  <a:lnTo>
                    <a:pt x="212" y="69"/>
                  </a:lnTo>
                  <a:lnTo>
                    <a:pt x="215" y="77"/>
                  </a:lnTo>
                  <a:lnTo>
                    <a:pt x="220" y="82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0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0" name="Group 359">
            <a:extLst>
              <a:ext uri="{FF2B5EF4-FFF2-40B4-BE49-F238E27FC236}">
                <a16:creationId xmlns:a16="http://schemas.microsoft.com/office/drawing/2014/main" id="{64990831-1AE6-493E-933E-F7A5150050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900" y="5466761"/>
            <a:ext cx="758825" cy="758825"/>
            <a:chOff x="5296" y="3625"/>
            <a:chExt cx="478" cy="478"/>
          </a:xfrm>
        </p:grpSpPr>
        <p:sp>
          <p:nvSpPr>
            <p:cNvPr id="401" name="AutoShape 358">
              <a:extLst>
                <a:ext uri="{FF2B5EF4-FFF2-40B4-BE49-F238E27FC236}">
                  <a16:creationId xmlns:a16="http://schemas.microsoft.com/office/drawing/2014/main" id="{7C25CC02-EA18-4A02-8392-DB0AEF8743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96" y="362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360">
              <a:extLst>
                <a:ext uri="{FF2B5EF4-FFF2-40B4-BE49-F238E27FC236}">
                  <a16:creationId xmlns:a16="http://schemas.microsoft.com/office/drawing/2014/main" id="{3969D797-F46F-4297-B261-6CC7BCDB2F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8" y="362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Freeform 361">
              <a:extLst>
                <a:ext uri="{FF2B5EF4-FFF2-40B4-BE49-F238E27FC236}">
                  <a16:creationId xmlns:a16="http://schemas.microsoft.com/office/drawing/2014/main" id="{E6160DF4-186E-451E-AA1B-CE43F7560C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9" y="3706"/>
              <a:ext cx="235" cy="299"/>
            </a:xfrm>
            <a:custGeom>
              <a:avLst/>
              <a:gdLst>
                <a:gd name="T0" fmla="*/ 125 w 235"/>
                <a:gd name="T1" fmla="*/ 265 h 299"/>
                <a:gd name="T2" fmla="*/ 117 w 235"/>
                <a:gd name="T3" fmla="*/ 270 h 299"/>
                <a:gd name="T4" fmla="*/ 107 w 235"/>
                <a:gd name="T5" fmla="*/ 265 h 299"/>
                <a:gd name="T6" fmla="*/ 107 w 235"/>
                <a:gd name="T7" fmla="*/ 255 h 299"/>
                <a:gd name="T8" fmla="*/ 117 w 235"/>
                <a:gd name="T9" fmla="*/ 250 h 299"/>
                <a:gd name="T10" fmla="*/ 125 w 235"/>
                <a:gd name="T11" fmla="*/ 252 h 299"/>
                <a:gd name="T12" fmla="*/ 120 w 235"/>
                <a:gd name="T13" fmla="*/ 203 h 299"/>
                <a:gd name="T14" fmla="*/ 103 w 235"/>
                <a:gd name="T15" fmla="*/ 198 h 299"/>
                <a:gd name="T16" fmla="*/ 95 w 235"/>
                <a:gd name="T17" fmla="*/ 184 h 299"/>
                <a:gd name="T18" fmla="*/ 56 w 235"/>
                <a:gd name="T19" fmla="*/ 130 h 299"/>
                <a:gd name="T20" fmla="*/ 56 w 235"/>
                <a:gd name="T21" fmla="*/ 122 h 299"/>
                <a:gd name="T22" fmla="*/ 61 w 235"/>
                <a:gd name="T23" fmla="*/ 118 h 299"/>
                <a:gd name="T24" fmla="*/ 68 w 235"/>
                <a:gd name="T25" fmla="*/ 120 h 299"/>
                <a:gd name="T26" fmla="*/ 122 w 235"/>
                <a:gd name="T27" fmla="*/ 157 h 299"/>
                <a:gd name="T28" fmla="*/ 137 w 235"/>
                <a:gd name="T29" fmla="*/ 167 h 299"/>
                <a:gd name="T30" fmla="*/ 139 w 235"/>
                <a:gd name="T31" fmla="*/ 184 h 299"/>
                <a:gd name="T32" fmla="*/ 152 w 235"/>
                <a:gd name="T33" fmla="*/ 206 h 299"/>
                <a:gd name="T34" fmla="*/ 149 w 235"/>
                <a:gd name="T35" fmla="*/ 213 h 299"/>
                <a:gd name="T36" fmla="*/ 144 w 235"/>
                <a:gd name="T37" fmla="*/ 216 h 299"/>
                <a:gd name="T38" fmla="*/ 125 w 235"/>
                <a:gd name="T39" fmla="*/ 179 h 299"/>
                <a:gd name="T40" fmla="*/ 122 w 235"/>
                <a:gd name="T41" fmla="*/ 174 h 299"/>
                <a:gd name="T42" fmla="*/ 112 w 235"/>
                <a:gd name="T43" fmla="*/ 174 h 299"/>
                <a:gd name="T44" fmla="*/ 110 w 235"/>
                <a:gd name="T45" fmla="*/ 179 h 299"/>
                <a:gd name="T46" fmla="*/ 112 w 235"/>
                <a:gd name="T47" fmla="*/ 186 h 299"/>
                <a:gd name="T48" fmla="*/ 120 w 235"/>
                <a:gd name="T49" fmla="*/ 189 h 299"/>
                <a:gd name="T50" fmla="*/ 125 w 235"/>
                <a:gd name="T51" fmla="*/ 184 h 299"/>
                <a:gd name="T52" fmla="*/ 203 w 235"/>
                <a:gd name="T53" fmla="*/ 171 h 299"/>
                <a:gd name="T54" fmla="*/ 193 w 235"/>
                <a:gd name="T55" fmla="*/ 171 h 299"/>
                <a:gd name="T56" fmla="*/ 186 w 235"/>
                <a:gd name="T57" fmla="*/ 176 h 299"/>
                <a:gd name="T58" fmla="*/ 188 w 235"/>
                <a:gd name="T59" fmla="*/ 186 h 299"/>
                <a:gd name="T60" fmla="*/ 198 w 235"/>
                <a:gd name="T61" fmla="*/ 189 h 299"/>
                <a:gd name="T62" fmla="*/ 205 w 235"/>
                <a:gd name="T63" fmla="*/ 184 h 299"/>
                <a:gd name="T64" fmla="*/ 107 w 235"/>
                <a:gd name="T65" fmla="*/ 105 h 299"/>
                <a:gd name="T66" fmla="*/ 115 w 235"/>
                <a:gd name="T67" fmla="*/ 110 h 299"/>
                <a:gd name="T68" fmla="*/ 125 w 235"/>
                <a:gd name="T69" fmla="*/ 108 h 299"/>
                <a:gd name="T70" fmla="*/ 127 w 235"/>
                <a:gd name="T71" fmla="*/ 100 h 299"/>
                <a:gd name="T72" fmla="*/ 122 w 235"/>
                <a:gd name="T73" fmla="*/ 93 h 299"/>
                <a:gd name="T74" fmla="*/ 112 w 235"/>
                <a:gd name="T75" fmla="*/ 93 h 299"/>
                <a:gd name="T76" fmla="*/ 107 w 235"/>
                <a:gd name="T77" fmla="*/ 100 h 299"/>
                <a:gd name="T78" fmla="*/ 186 w 235"/>
                <a:gd name="T79" fmla="*/ 277 h 299"/>
                <a:gd name="T80" fmla="*/ 49 w 235"/>
                <a:gd name="T81" fmla="*/ 277 h 299"/>
                <a:gd name="T82" fmla="*/ 7 w 235"/>
                <a:gd name="T83" fmla="*/ 140 h 299"/>
                <a:gd name="T84" fmla="*/ 93 w 235"/>
                <a:gd name="T85" fmla="*/ 37 h 299"/>
                <a:gd name="T86" fmla="*/ 142 w 235"/>
                <a:gd name="T87" fmla="*/ 0 h 299"/>
                <a:gd name="T88" fmla="*/ 134 w 235"/>
                <a:gd name="T89" fmla="*/ 64 h 299"/>
                <a:gd name="T90" fmla="*/ 174 w 235"/>
                <a:gd name="T91" fmla="*/ 39 h 299"/>
                <a:gd name="T92" fmla="*/ 210 w 235"/>
                <a:gd name="T93" fmla="*/ 64 h 299"/>
                <a:gd name="T94" fmla="*/ 232 w 235"/>
                <a:gd name="T95" fmla="*/ 154 h 299"/>
                <a:gd name="T96" fmla="*/ 110 w 235"/>
                <a:gd name="T97" fmla="*/ 37 h 299"/>
                <a:gd name="T98" fmla="*/ 210 w 235"/>
                <a:gd name="T99" fmla="*/ 132 h 299"/>
                <a:gd name="T100" fmla="*/ 80 w 235"/>
                <a:gd name="T101" fmla="*/ 83 h 299"/>
                <a:gd name="T102" fmla="*/ 14 w 235"/>
                <a:gd name="T103" fmla="*/ 198 h 299"/>
                <a:gd name="T104" fmla="*/ 129 w 235"/>
                <a:gd name="T105" fmla="*/ 282 h 299"/>
                <a:gd name="T106" fmla="*/ 220 w 235"/>
                <a:gd name="T107" fmla="*/ 184 h 299"/>
                <a:gd name="T108" fmla="*/ 41 w 235"/>
                <a:gd name="T109" fmla="*/ 171 h 299"/>
                <a:gd name="T110" fmla="*/ 31 w 235"/>
                <a:gd name="T111" fmla="*/ 171 h 299"/>
                <a:gd name="T112" fmla="*/ 29 w 235"/>
                <a:gd name="T113" fmla="*/ 181 h 299"/>
                <a:gd name="T114" fmla="*/ 34 w 235"/>
                <a:gd name="T115" fmla="*/ 189 h 299"/>
                <a:gd name="T116" fmla="*/ 44 w 235"/>
                <a:gd name="T117" fmla="*/ 189 h 299"/>
                <a:gd name="T118" fmla="*/ 49 w 235"/>
                <a:gd name="T119" fmla="*/ 181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5" h="299">
                  <a:moveTo>
                    <a:pt x="127" y="257"/>
                  </a:moveTo>
                  <a:lnTo>
                    <a:pt x="127" y="257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5"/>
                  </a:lnTo>
                  <a:lnTo>
                    <a:pt x="125" y="265"/>
                  </a:lnTo>
                  <a:lnTo>
                    <a:pt x="125" y="267"/>
                  </a:lnTo>
                  <a:lnTo>
                    <a:pt x="122" y="267"/>
                  </a:lnTo>
                  <a:lnTo>
                    <a:pt x="122" y="267"/>
                  </a:lnTo>
                  <a:lnTo>
                    <a:pt x="122" y="267"/>
                  </a:lnTo>
                  <a:lnTo>
                    <a:pt x="120" y="267"/>
                  </a:lnTo>
                  <a:lnTo>
                    <a:pt x="120" y="270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15" y="270"/>
                  </a:lnTo>
                  <a:lnTo>
                    <a:pt x="115" y="267"/>
                  </a:lnTo>
                  <a:lnTo>
                    <a:pt x="112" y="267"/>
                  </a:lnTo>
                  <a:lnTo>
                    <a:pt x="112" y="267"/>
                  </a:lnTo>
                  <a:lnTo>
                    <a:pt x="112" y="267"/>
                  </a:lnTo>
                  <a:lnTo>
                    <a:pt x="110" y="267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07" y="265"/>
                  </a:lnTo>
                  <a:lnTo>
                    <a:pt x="107" y="262"/>
                  </a:lnTo>
                  <a:lnTo>
                    <a:pt x="107" y="262"/>
                  </a:lnTo>
                  <a:lnTo>
                    <a:pt x="107" y="260"/>
                  </a:lnTo>
                  <a:lnTo>
                    <a:pt x="107" y="260"/>
                  </a:lnTo>
                  <a:lnTo>
                    <a:pt x="107" y="260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7" y="255"/>
                  </a:lnTo>
                  <a:lnTo>
                    <a:pt x="107" y="255"/>
                  </a:lnTo>
                  <a:lnTo>
                    <a:pt x="107" y="255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5" y="250"/>
                  </a:lnTo>
                  <a:lnTo>
                    <a:pt x="115" y="250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20" y="250"/>
                  </a:lnTo>
                  <a:lnTo>
                    <a:pt x="120" y="250"/>
                  </a:lnTo>
                  <a:lnTo>
                    <a:pt x="122" y="250"/>
                  </a:lnTo>
                  <a:lnTo>
                    <a:pt x="122" y="250"/>
                  </a:lnTo>
                  <a:lnTo>
                    <a:pt x="122" y="250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7" y="255"/>
                  </a:lnTo>
                  <a:lnTo>
                    <a:pt x="127" y="255"/>
                  </a:lnTo>
                  <a:lnTo>
                    <a:pt x="127" y="255"/>
                  </a:lnTo>
                  <a:lnTo>
                    <a:pt x="127" y="257"/>
                  </a:lnTo>
                  <a:close/>
                  <a:moveTo>
                    <a:pt x="127" y="201"/>
                  </a:moveTo>
                  <a:lnTo>
                    <a:pt x="127" y="201"/>
                  </a:lnTo>
                  <a:lnTo>
                    <a:pt x="125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17" y="203"/>
                  </a:lnTo>
                  <a:lnTo>
                    <a:pt x="115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0" y="201"/>
                  </a:lnTo>
                  <a:lnTo>
                    <a:pt x="107" y="201"/>
                  </a:lnTo>
                  <a:lnTo>
                    <a:pt x="107" y="201"/>
                  </a:lnTo>
                  <a:lnTo>
                    <a:pt x="105" y="201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8" y="194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5" y="189"/>
                  </a:lnTo>
                  <a:lnTo>
                    <a:pt x="95" y="186"/>
                  </a:lnTo>
                  <a:lnTo>
                    <a:pt x="95" y="186"/>
                  </a:lnTo>
                  <a:lnTo>
                    <a:pt x="95" y="184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5" y="179"/>
                  </a:lnTo>
                  <a:lnTo>
                    <a:pt x="95" y="176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1"/>
                  </a:lnTo>
                  <a:lnTo>
                    <a:pt x="95" y="169"/>
                  </a:lnTo>
                  <a:lnTo>
                    <a:pt x="58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5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61" y="120"/>
                  </a:lnTo>
                  <a:lnTo>
                    <a:pt x="61" y="118"/>
                  </a:lnTo>
                  <a:lnTo>
                    <a:pt x="61" y="118"/>
                  </a:lnTo>
                  <a:lnTo>
                    <a:pt x="61" y="118"/>
                  </a:lnTo>
                  <a:lnTo>
                    <a:pt x="63" y="118"/>
                  </a:lnTo>
                  <a:lnTo>
                    <a:pt x="63" y="118"/>
                  </a:lnTo>
                  <a:lnTo>
                    <a:pt x="63" y="118"/>
                  </a:lnTo>
                  <a:lnTo>
                    <a:pt x="63" y="118"/>
                  </a:lnTo>
                  <a:lnTo>
                    <a:pt x="66" y="118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107" y="159"/>
                  </a:lnTo>
                  <a:lnTo>
                    <a:pt x="107" y="159"/>
                  </a:lnTo>
                  <a:lnTo>
                    <a:pt x="110" y="157"/>
                  </a:lnTo>
                  <a:lnTo>
                    <a:pt x="112" y="157"/>
                  </a:lnTo>
                  <a:lnTo>
                    <a:pt x="115" y="157"/>
                  </a:lnTo>
                  <a:lnTo>
                    <a:pt x="115" y="157"/>
                  </a:lnTo>
                  <a:lnTo>
                    <a:pt x="117" y="157"/>
                  </a:lnTo>
                  <a:lnTo>
                    <a:pt x="120" y="157"/>
                  </a:lnTo>
                  <a:lnTo>
                    <a:pt x="122" y="157"/>
                  </a:lnTo>
                  <a:lnTo>
                    <a:pt x="122" y="157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9"/>
                  </a:lnTo>
                  <a:lnTo>
                    <a:pt x="129" y="159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4" y="164"/>
                  </a:lnTo>
                  <a:lnTo>
                    <a:pt x="134" y="164"/>
                  </a:lnTo>
                  <a:lnTo>
                    <a:pt x="137" y="167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9" y="171"/>
                  </a:lnTo>
                  <a:lnTo>
                    <a:pt x="139" y="174"/>
                  </a:lnTo>
                  <a:lnTo>
                    <a:pt x="139" y="174"/>
                  </a:lnTo>
                  <a:lnTo>
                    <a:pt x="139" y="176"/>
                  </a:lnTo>
                  <a:lnTo>
                    <a:pt x="139" y="179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9" y="184"/>
                  </a:lnTo>
                  <a:lnTo>
                    <a:pt x="139" y="186"/>
                  </a:lnTo>
                  <a:lnTo>
                    <a:pt x="139" y="186"/>
                  </a:lnTo>
                  <a:lnTo>
                    <a:pt x="139" y="189"/>
                  </a:lnTo>
                  <a:lnTo>
                    <a:pt x="139" y="191"/>
                  </a:lnTo>
                  <a:lnTo>
                    <a:pt x="149" y="201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2" y="203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8"/>
                  </a:lnTo>
                  <a:lnTo>
                    <a:pt x="152" y="208"/>
                  </a:lnTo>
                  <a:lnTo>
                    <a:pt x="152" y="208"/>
                  </a:lnTo>
                  <a:lnTo>
                    <a:pt x="152" y="211"/>
                  </a:lnTo>
                  <a:lnTo>
                    <a:pt x="152" y="211"/>
                  </a:lnTo>
                  <a:lnTo>
                    <a:pt x="152" y="211"/>
                  </a:lnTo>
                  <a:lnTo>
                    <a:pt x="152" y="211"/>
                  </a:lnTo>
                  <a:lnTo>
                    <a:pt x="149" y="213"/>
                  </a:lnTo>
                  <a:lnTo>
                    <a:pt x="149" y="213"/>
                  </a:lnTo>
                  <a:lnTo>
                    <a:pt x="149" y="213"/>
                  </a:lnTo>
                  <a:lnTo>
                    <a:pt x="149" y="213"/>
                  </a:lnTo>
                  <a:lnTo>
                    <a:pt x="149" y="213"/>
                  </a:lnTo>
                  <a:lnTo>
                    <a:pt x="147" y="213"/>
                  </a:lnTo>
                  <a:lnTo>
                    <a:pt x="147" y="213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2" y="216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39" y="213"/>
                  </a:lnTo>
                  <a:lnTo>
                    <a:pt x="139" y="213"/>
                  </a:lnTo>
                  <a:lnTo>
                    <a:pt x="127" y="201"/>
                  </a:lnTo>
                  <a:close/>
                  <a:moveTo>
                    <a:pt x="125" y="181"/>
                  </a:moveTo>
                  <a:lnTo>
                    <a:pt x="125" y="179"/>
                  </a:lnTo>
                  <a:lnTo>
                    <a:pt x="125" y="179"/>
                  </a:lnTo>
                  <a:lnTo>
                    <a:pt x="125" y="176"/>
                  </a:lnTo>
                  <a:lnTo>
                    <a:pt x="125" y="176"/>
                  </a:lnTo>
                  <a:lnTo>
                    <a:pt x="125" y="176"/>
                  </a:lnTo>
                  <a:lnTo>
                    <a:pt x="125" y="176"/>
                  </a:lnTo>
                  <a:lnTo>
                    <a:pt x="125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0" y="171"/>
                  </a:lnTo>
                  <a:lnTo>
                    <a:pt x="120" y="171"/>
                  </a:lnTo>
                  <a:lnTo>
                    <a:pt x="120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0" y="174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10" y="18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22" y="189"/>
                  </a:lnTo>
                  <a:lnTo>
                    <a:pt x="122" y="186"/>
                  </a:lnTo>
                  <a:lnTo>
                    <a:pt x="122" y="186"/>
                  </a:lnTo>
                  <a:lnTo>
                    <a:pt x="122" y="186"/>
                  </a:lnTo>
                  <a:lnTo>
                    <a:pt x="125" y="186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1"/>
                  </a:lnTo>
                  <a:lnTo>
                    <a:pt x="125" y="181"/>
                  </a:lnTo>
                  <a:lnTo>
                    <a:pt x="125" y="181"/>
                  </a:lnTo>
                  <a:close/>
                  <a:moveTo>
                    <a:pt x="205" y="176"/>
                  </a:moveTo>
                  <a:lnTo>
                    <a:pt x="205" y="176"/>
                  </a:lnTo>
                  <a:lnTo>
                    <a:pt x="205" y="176"/>
                  </a:lnTo>
                  <a:lnTo>
                    <a:pt x="205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3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6" y="171"/>
                  </a:lnTo>
                  <a:lnTo>
                    <a:pt x="196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8" y="176"/>
                  </a:lnTo>
                  <a:lnTo>
                    <a:pt x="188" y="176"/>
                  </a:lnTo>
                  <a:lnTo>
                    <a:pt x="186" y="176"/>
                  </a:lnTo>
                  <a:lnTo>
                    <a:pt x="186" y="179"/>
                  </a:lnTo>
                  <a:lnTo>
                    <a:pt x="186" y="179"/>
                  </a:lnTo>
                  <a:lnTo>
                    <a:pt x="186" y="181"/>
                  </a:lnTo>
                  <a:lnTo>
                    <a:pt x="186" y="181"/>
                  </a:lnTo>
                  <a:lnTo>
                    <a:pt x="186" y="181"/>
                  </a:lnTo>
                  <a:lnTo>
                    <a:pt x="186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91" y="189"/>
                  </a:lnTo>
                  <a:lnTo>
                    <a:pt x="191" y="189"/>
                  </a:lnTo>
                  <a:lnTo>
                    <a:pt x="191" y="189"/>
                  </a:lnTo>
                  <a:lnTo>
                    <a:pt x="193" y="189"/>
                  </a:lnTo>
                  <a:lnTo>
                    <a:pt x="193" y="189"/>
                  </a:lnTo>
                  <a:lnTo>
                    <a:pt x="193" y="189"/>
                  </a:lnTo>
                  <a:lnTo>
                    <a:pt x="196" y="189"/>
                  </a:lnTo>
                  <a:lnTo>
                    <a:pt x="196" y="191"/>
                  </a:lnTo>
                  <a:lnTo>
                    <a:pt x="198" y="189"/>
                  </a:lnTo>
                  <a:lnTo>
                    <a:pt x="198" y="189"/>
                  </a:lnTo>
                  <a:lnTo>
                    <a:pt x="198" y="189"/>
                  </a:lnTo>
                  <a:lnTo>
                    <a:pt x="201" y="189"/>
                  </a:lnTo>
                  <a:lnTo>
                    <a:pt x="201" y="189"/>
                  </a:lnTo>
                  <a:lnTo>
                    <a:pt x="201" y="189"/>
                  </a:lnTo>
                  <a:lnTo>
                    <a:pt x="203" y="189"/>
                  </a:lnTo>
                  <a:lnTo>
                    <a:pt x="203" y="186"/>
                  </a:lnTo>
                  <a:lnTo>
                    <a:pt x="203" y="186"/>
                  </a:lnTo>
                  <a:lnTo>
                    <a:pt x="205" y="186"/>
                  </a:lnTo>
                  <a:lnTo>
                    <a:pt x="205" y="184"/>
                  </a:lnTo>
                  <a:lnTo>
                    <a:pt x="205" y="184"/>
                  </a:lnTo>
                  <a:lnTo>
                    <a:pt x="205" y="184"/>
                  </a:lnTo>
                  <a:lnTo>
                    <a:pt x="205" y="181"/>
                  </a:lnTo>
                  <a:lnTo>
                    <a:pt x="205" y="181"/>
                  </a:lnTo>
                  <a:lnTo>
                    <a:pt x="205" y="181"/>
                  </a:lnTo>
                  <a:lnTo>
                    <a:pt x="205" y="179"/>
                  </a:lnTo>
                  <a:lnTo>
                    <a:pt x="205" y="179"/>
                  </a:lnTo>
                  <a:lnTo>
                    <a:pt x="205" y="176"/>
                  </a:lnTo>
                  <a:close/>
                  <a:moveTo>
                    <a:pt x="107" y="105"/>
                  </a:moveTo>
                  <a:lnTo>
                    <a:pt x="107" y="105"/>
                  </a:lnTo>
                  <a:lnTo>
                    <a:pt x="107" y="105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5" y="110"/>
                  </a:lnTo>
                  <a:lnTo>
                    <a:pt x="115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2" y="110"/>
                  </a:lnTo>
                  <a:lnTo>
                    <a:pt x="122" y="110"/>
                  </a:lnTo>
                  <a:lnTo>
                    <a:pt x="122" y="110"/>
                  </a:lnTo>
                  <a:lnTo>
                    <a:pt x="125" y="110"/>
                  </a:lnTo>
                  <a:lnTo>
                    <a:pt x="125" y="108"/>
                  </a:lnTo>
                  <a:lnTo>
                    <a:pt x="125" y="108"/>
                  </a:lnTo>
                  <a:lnTo>
                    <a:pt x="125" y="108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27" y="103"/>
                  </a:lnTo>
                  <a:lnTo>
                    <a:pt x="127" y="103"/>
                  </a:lnTo>
                  <a:lnTo>
                    <a:pt x="127" y="100"/>
                  </a:lnTo>
                  <a:lnTo>
                    <a:pt x="127" y="100"/>
                  </a:lnTo>
                  <a:lnTo>
                    <a:pt x="127" y="100"/>
                  </a:lnTo>
                  <a:lnTo>
                    <a:pt x="127" y="98"/>
                  </a:lnTo>
                  <a:lnTo>
                    <a:pt x="127" y="98"/>
                  </a:lnTo>
                  <a:lnTo>
                    <a:pt x="127" y="98"/>
                  </a:lnTo>
                  <a:lnTo>
                    <a:pt x="125" y="95"/>
                  </a:lnTo>
                  <a:lnTo>
                    <a:pt x="125" y="95"/>
                  </a:lnTo>
                  <a:lnTo>
                    <a:pt x="125" y="95"/>
                  </a:lnTo>
                  <a:lnTo>
                    <a:pt x="125" y="93"/>
                  </a:lnTo>
                  <a:lnTo>
                    <a:pt x="122" y="93"/>
                  </a:lnTo>
                  <a:lnTo>
                    <a:pt x="122" y="93"/>
                  </a:lnTo>
                  <a:lnTo>
                    <a:pt x="122" y="93"/>
                  </a:lnTo>
                  <a:lnTo>
                    <a:pt x="120" y="93"/>
                  </a:lnTo>
                  <a:lnTo>
                    <a:pt x="120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2" y="93"/>
                  </a:lnTo>
                  <a:lnTo>
                    <a:pt x="110" y="93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3"/>
                  </a:lnTo>
                  <a:lnTo>
                    <a:pt x="107" y="103"/>
                  </a:lnTo>
                  <a:lnTo>
                    <a:pt x="107" y="105"/>
                  </a:lnTo>
                  <a:close/>
                  <a:moveTo>
                    <a:pt x="235" y="201"/>
                  </a:moveTo>
                  <a:lnTo>
                    <a:pt x="230" y="218"/>
                  </a:lnTo>
                  <a:lnTo>
                    <a:pt x="225" y="228"/>
                  </a:lnTo>
                  <a:lnTo>
                    <a:pt x="220" y="243"/>
                  </a:lnTo>
                  <a:lnTo>
                    <a:pt x="208" y="255"/>
                  </a:lnTo>
                  <a:lnTo>
                    <a:pt x="198" y="265"/>
                  </a:lnTo>
                  <a:lnTo>
                    <a:pt x="186" y="277"/>
                  </a:lnTo>
                  <a:lnTo>
                    <a:pt x="171" y="287"/>
                  </a:lnTo>
                  <a:lnTo>
                    <a:pt x="159" y="292"/>
                  </a:lnTo>
                  <a:lnTo>
                    <a:pt x="144" y="297"/>
                  </a:lnTo>
                  <a:lnTo>
                    <a:pt x="129" y="299"/>
                  </a:lnTo>
                  <a:lnTo>
                    <a:pt x="115" y="299"/>
                  </a:lnTo>
                  <a:lnTo>
                    <a:pt x="103" y="297"/>
                  </a:lnTo>
                  <a:lnTo>
                    <a:pt x="85" y="294"/>
                  </a:lnTo>
                  <a:lnTo>
                    <a:pt x="71" y="289"/>
                  </a:lnTo>
                  <a:lnTo>
                    <a:pt x="58" y="282"/>
                  </a:lnTo>
                  <a:lnTo>
                    <a:pt x="49" y="277"/>
                  </a:lnTo>
                  <a:lnTo>
                    <a:pt x="36" y="267"/>
                  </a:lnTo>
                  <a:lnTo>
                    <a:pt x="27" y="255"/>
                  </a:lnTo>
                  <a:lnTo>
                    <a:pt x="17" y="243"/>
                  </a:lnTo>
                  <a:lnTo>
                    <a:pt x="7" y="225"/>
                  </a:lnTo>
                  <a:lnTo>
                    <a:pt x="4" y="216"/>
                  </a:lnTo>
                  <a:lnTo>
                    <a:pt x="0" y="196"/>
                  </a:lnTo>
                  <a:lnTo>
                    <a:pt x="0" y="181"/>
                  </a:lnTo>
                  <a:lnTo>
                    <a:pt x="0" y="169"/>
                  </a:lnTo>
                  <a:lnTo>
                    <a:pt x="0" y="157"/>
                  </a:lnTo>
                  <a:lnTo>
                    <a:pt x="7" y="140"/>
                  </a:lnTo>
                  <a:lnTo>
                    <a:pt x="12" y="127"/>
                  </a:lnTo>
                  <a:lnTo>
                    <a:pt x="19" y="113"/>
                  </a:lnTo>
                  <a:lnTo>
                    <a:pt x="29" y="103"/>
                  </a:lnTo>
                  <a:lnTo>
                    <a:pt x="39" y="91"/>
                  </a:lnTo>
                  <a:lnTo>
                    <a:pt x="53" y="81"/>
                  </a:lnTo>
                  <a:lnTo>
                    <a:pt x="68" y="71"/>
                  </a:lnTo>
                  <a:lnTo>
                    <a:pt x="85" y="66"/>
                  </a:lnTo>
                  <a:lnTo>
                    <a:pt x="100" y="64"/>
                  </a:lnTo>
                  <a:lnTo>
                    <a:pt x="100" y="37"/>
                  </a:lnTo>
                  <a:lnTo>
                    <a:pt x="93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8" y="37"/>
                  </a:lnTo>
                  <a:lnTo>
                    <a:pt x="85" y="34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5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142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7" y="2"/>
                  </a:lnTo>
                  <a:lnTo>
                    <a:pt x="149" y="5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7" y="37"/>
                  </a:lnTo>
                  <a:lnTo>
                    <a:pt x="134" y="37"/>
                  </a:lnTo>
                  <a:lnTo>
                    <a:pt x="134" y="64"/>
                  </a:lnTo>
                  <a:lnTo>
                    <a:pt x="142" y="64"/>
                  </a:lnTo>
                  <a:lnTo>
                    <a:pt x="154" y="66"/>
                  </a:lnTo>
                  <a:lnTo>
                    <a:pt x="156" y="69"/>
                  </a:lnTo>
                  <a:lnTo>
                    <a:pt x="171" y="73"/>
                  </a:lnTo>
                  <a:lnTo>
                    <a:pt x="183" y="54"/>
                  </a:lnTo>
                  <a:lnTo>
                    <a:pt x="176" y="49"/>
                  </a:lnTo>
                  <a:lnTo>
                    <a:pt x="174" y="46"/>
                  </a:lnTo>
                  <a:lnTo>
                    <a:pt x="174" y="44"/>
                  </a:lnTo>
                  <a:lnTo>
                    <a:pt x="174" y="42"/>
                  </a:lnTo>
                  <a:lnTo>
                    <a:pt x="174" y="39"/>
                  </a:lnTo>
                  <a:lnTo>
                    <a:pt x="179" y="37"/>
                  </a:lnTo>
                  <a:lnTo>
                    <a:pt x="179" y="34"/>
                  </a:lnTo>
                  <a:lnTo>
                    <a:pt x="181" y="37"/>
                  </a:lnTo>
                  <a:lnTo>
                    <a:pt x="208" y="51"/>
                  </a:lnTo>
                  <a:lnTo>
                    <a:pt x="210" y="51"/>
                  </a:lnTo>
                  <a:lnTo>
                    <a:pt x="213" y="54"/>
                  </a:lnTo>
                  <a:lnTo>
                    <a:pt x="213" y="56"/>
                  </a:lnTo>
                  <a:lnTo>
                    <a:pt x="213" y="59"/>
                  </a:lnTo>
                  <a:lnTo>
                    <a:pt x="213" y="61"/>
                  </a:lnTo>
                  <a:lnTo>
                    <a:pt x="210" y="64"/>
                  </a:lnTo>
                  <a:lnTo>
                    <a:pt x="205" y="66"/>
                  </a:lnTo>
                  <a:lnTo>
                    <a:pt x="196" y="61"/>
                  </a:lnTo>
                  <a:lnTo>
                    <a:pt x="183" y="81"/>
                  </a:lnTo>
                  <a:lnTo>
                    <a:pt x="193" y="88"/>
                  </a:lnTo>
                  <a:lnTo>
                    <a:pt x="203" y="98"/>
                  </a:lnTo>
                  <a:lnTo>
                    <a:pt x="210" y="108"/>
                  </a:lnTo>
                  <a:lnTo>
                    <a:pt x="220" y="120"/>
                  </a:lnTo>
                  <a:lnTo>
                    <a:pt x="225" y="132"/>
                  </a:lnTo>
                  <a:lnTo>
                    <a:pt x="230" y="145"/>
                  </a:lnTo>
                  <a:lnTo>
                    <a:pt x="232" y="154"/>
                  </a:lnTo>
                  <a:lnTo>
                    <a:pt x="235" y="169"/>
                  </a:lnTo>
                  <a:lnTo>
                    <a:pt x="235" y="179"/>
                  </a:lnTo>
                  <a:lnTo>
                    <a:pt x="235" y="186"/>
                  </a:lnTo>
                  <a:lnTo>
                    <a:pt x="235" y="201"/>
                  </a:lnTo>
                  <a:close/>
                  <a:moveTo>
                    <a:pt x="139" y="27"/>
                  </a:moveTo>
                  <a:lnTo>
                    <a:pt x="139" y="10"/>
                  </a:lnTo>
                  <a:lnTo>
                    <a:pt x="95" y="10"/>
                  </a:lnTo>
                  <a:lnTo>
                    <a:pt x="95" y="27"/>
                  </a:lnTo>
                  <a:lnTo>
                    <a:pt x="139" y="27"/>
                  </a:lnTo>
                  <a:close/>
                  <a:moveTo>
                    <a:pt x="110" y="37"/>
                  </a:moveTo>
                  <a:lnTo>
                    <a:pt x="110" y="61"/>
                  </a:lnTo>
                  <a:lnTo>
                    <a:pt x="115" y="61"/>
                  </a:lnTo>
                  <a:lnTo>
                    <a:pt x="125" y="61"/>
                  </a:lnTo>
                  <a:lnTo>
                    <a:pt x="125" y="37"/>
                  </a:lnTo>
                  <a:lnTo>
                    <a:pt x="110" y="37"/>
                  </a:lnTo>
                  <a:close/>
                  <a:moveTo>
                    <a:pt x="220" y="184"/>
                  </a:moveTo>
                  <a:lnTo>
                    <a:pt x="220" y="171"/>
                  </a:lnTo>
                  <a:lnTo>
                    <a:pt x="220" y="159"/>
                  </a:lnTo>
                  <a:lnTo>
                    <a:pt x="215" y="147"/>
                  </a:lnTo>
                  <a:lnTo>
                    <a:pt x="210" y="132"/>
                  </a:lnTo>
                  <a:lnTo>
                    <a:pt x="201" y="118"/>
                  </a:lnTo>
                  <a:lnTo>
                    <a:pt x="188" y="105"/>
                  </a:lnTo>
                  <a:lnTo>
                    <a:pt x="176" y="93"/>
                  </a:lnTo>
                  <a:lnTo>
                    <a:pt x="166" y="88"/>
                  </a:lnTo>
                  <a:lnTo>
                    <a:pt x="154" y="83"/>
                  </a:lnTo>
                  <a:lnTo>
                    <a:pt x="137" y="78"/>
                  </a:lnTo>
                  <a:lnTo>
                    <a:pt x="120" y="76"/>
                  </a:lnTo>
                  <a:lnTo>
                    <a:pt x="115" y="76"/>
                  </a:lnTo>
                  <a:lnTo>
                    <a:pt x="98" y="78"/>
                  </a:lnTo>
                  <a:lnTo>
                    <a:pt x="80" y="83"/>
                  </a:lnTo>
                  <a:lnTo>
                    <a:pt x="63" y="91"/>
                  </a:lnTo>
                  <a:lnTo>
                    <a:pt x="49" y="103"/>
                  </a:lnTo>
                  <a:lnTo>
                    <a:pt x="36" y="115"/>
                  </a:lnTo>
                  <a:lnTo>
                    <a:pt x="29" y="127"/>
                  </a:lnTo>
                  <a:lnTo>
                    <a:pt x="22" y="140"/>
                  </a:lnTo>
                  <a:lnTo>
                    <a:pt x="17" y="152"/>
                  </a:lnTo>
                  <a:lnTo>
                    <a:pt x="14" y="164"/>
                  </a:lnTo>
                  <a:lnTo>
                    <a:pt x="14" y="181"/>
                  </a:lnTo>
                  <a:lnTo>
                    <a:pt x="14" y="186"/>
                  </a:lnTo>
                  <a:lnTo>
                    <a:pt x="14" y="198"/>
                  </a:lnTo>
                  <a:lnTo>
                    <a:pt x="19" y="213"/>
                  </a:lnTo>
                  <a:lnTo>
                    <a:pt x="27" y="230"/>
                  </a:lnTo>
                  <a:lnTo>
                    <a:pt x="36" y="245"/>
                  </a:lnTo>
                  <a:lnTo>
                    <a:pt x="49" y="260"/>
                  </a:lnTo>
                  <a:lnTo>
                    <a:pt x="61" y="267"/>
                  </a:lnTo>
                  <a:lnTo>
                    <a:pt x="73" y="274"/>
                  </a:lnTo>
                  <a:lnTo>
                    <a:pt x="88" y="279"/>
                  </a:lnTo>
                  <a:lnTo>
                    <a:pt x="105" y="282"/>
                  </a:lnTo>
                  <a:lnTo>
                    <a:pt x="117" y="284"/>
                  </a:lnTo>
                  <a:lnTo>
                    <a:pt x="129" y="282"/>
                  </a:lnTo>
                  <a:lnTo>
                    <a:pt x="147" y="279"/>
                  </a:lnTo>
                  <a:lnTo>
                    <a:pt x="161" y="274"/>
                  </a:lnTo>
                  <a:lnTo>
                    <a:pt x="174" y="267"/>
                  </a:lnTo>
                  <a:lnTo>
                    <a:pt x="188" y="255"/>
                  </a:lnTo>
                  <a:lnTo>
                    <a:pt x="198" y="245"/>
                  </a:lnTo>
                  <a:lnTo>
                    <a:pt x="208" y="233"/>
                  </a:lnTo>
                  <a:lnTo>
                    <a:pt x="215" y="218"/>
                  </a:lnTo>
                  <a:lnTo>
                    <a:pt x="218" y="208"/>
                  </a:lnTo>
                  <a:lnTo>
                    <a:pt x="220" y="196"/>
                  </a:lnTo>
                  <a:lnTo>
                    <a:pt x="220" y="184"/>
                  </a:lnTo>
                  <a:close/>
                  <a:moveTo>
                    <a:pt x="49" y="176"/>
                  </a:moveTo>
                  <a:lnTo>
                    <a:pt x="46" y="176"/>
                  </a:lnTo>
                  <a:lnTo>
                    <a:pt x="46" y="174"/>
                  </a:lnTo>
                  <a:lnTo>
                    <a:pt x="46" y="174"/>
                  </a:lnTo>
                  <a:lnTo>
                    <a:pt x="46" y="174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1" y="171"/>
                  </a:lnTo>
                  <a:lnTo>
                    <a:pt x="31" y="174"/>
                  </a:lnTo>
                  <a:lnTo>
                    <a:pt x="31" y="174"/>
                  </a:lnTo>
                  <a:lnTo>
                    <a:pt x="29" y="174"/>
                  </a:lnTo>
                  <a:lnTo>
                    <a:pt x="29" y="176"/>
                  </a:lnTo>
                  <a:lnTo>
                    <a:pt x="29" y="176"/>
                  </a:lnTo>
                  <a:lnTo>
                    <a:pt x="29" y="176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29" y="181"/>
                  </a:lnTo>
                  <a:lnTo>
                    <a:pt x="29" y="181"/>
                  </a:lnTo>
                  <a:lnTo>
                    <a:pt x="29" y="181"/>
                  </a:lnTo>
                  <a:lnTo>
                    <a:pt x="29" y="184"/>
                  </a:lnTo>
                  <a:lnTo>
                    <a:pt x="29" y="184"/>
                  </a:lnTo>
                  <a:lnTo>
                    <a:pt x="29" y="184"/>
                  </a:lnTo>
                  <a:lnTo>
                    <a:pt x="29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39" y="191"/>
                  </a:lnTo>
                  <a:lnTo>
                    <a:pt x="39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4" y="189"/>
                  </a:lnTo>
                  <a:lnTo>
                    <a:pt x="44" y="189"/>
                  </a:lnTo>
                  <a:lnTo>
                    <a:pt x="44" y="189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1"/>
                  </a:lnTo>
                  <a:lnTo>
                    <a:pt x="49" y="181"/>
                  </a:lnTo>
                  <a:lnTo>
                    <a:pt x="49" y="181"/>
                  </a:lnTo>
                  <a:lnTo>
                    <a:pt x="49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4" name="Group 364">
            <a:extLst>
              <a:ext uri="{FF2B5EF4-FFF2-40B4-BE49-F238E27FC236}">
                <a16:creationId xmlns:a16="http://schemas.microsoft.com/office/drawing/2014/main" id="{28476328-9023-4E0E-BF1F-821761A9C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1572" y="5425486"/>
            <a:ext cx="841375" cy="841375"/>
            <a:chOff x="4367" y="3445"/>
            <a:chExt cx="530" cy="530"/>
          </a:xfrm>
        </p:grpSpPr>
        <p:sp>
          <p:nvSpPr>
            <p:cNvPr id="405" name="AutoShape 363">
              <a:extLst>
                <a:ext uri="{FF2B5EF4-FFF2-40B4-BE49-F238E27FC236}">
                  <a16:creationId xmlns:a16="http://schemas.microsoft.com/office/drawing/2014/main" id="{128962E3-5470-42DB-9E7C-24C0FCBD63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7" y="344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Oval 365">
              <a:extLst>
                <a:ext uri="{FF2B5EF4-FFF2-40B4-BE49-F238E27FC236}">
                  <a16:creationId xmlns:a16="http://schemas.microsoft.com/office/drawing/2014/main" id="{B4D2909E-D4BA-4EDF-8E9A-89B955559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" y="344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366">
              <a:extLst>
                <a:ext uri="{FF2B5EF4-FFF2-40B4-BE49-F238E27FC236}">
                  <a16:creationId xmlns:a16="http://schemas.microsoft.com/office/drawing/2014/main" id="{8378A097-57BA-4138-AEEB-9FC1F2BABF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5" y="346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367">
              <a:extLst>
                <a:ext uri="{FF2B5EF4-FFF2-40B4-BE49-F238E27FC236}">
                  <a16:creationId xmlns:a16="http://schemas.microsoft.com/office/drawing/2014/main" id="{F28F67FD-329C-41A6-92D5-D806848ABA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0" y="3545"/>
              <a:ext cx="246" cy="312"/>
            </a:xfrm>
            <a:custGeom>
              <a:avLst/>
              <a:gdLst>
                <a:gd name="T0" fmla="*/ 131 w 246"/>
                <a:gd name="T1" fmla="*/ 276 h 312"/>
                <a:gd name="T2" fmla="*/ 123 w 246"/>
                <a:gd name="T3" fmla="*/ 281 h 312"/>
                <a:gd name="T4" fmla="*/ 113 w 246"/>
                <a:gd name="T5" fmla="*/ 276 h 312"/>
                <a:gd name="T6" fmla="*/ 113 w 246"/>
                <a:gd name="T7" fmla="*/ 266 h 312"/>
                <a:gd name="T8" fmla="*/ 123 w 246"/>
                <a:gd name="T9" fmla="*/ 261 h 312"/>
                <a:gd name="T10" fmla="*/ 131 w 246"/>
                <a:gd name="T11" fmla="*/ 263 h 312"/>
                <a:gd name="T12" fmla="*/ 126 w 246"/>
                <a:gd name="T13" fmla="*/ 212 h 312"/>
                <a:gd name="T14" fmla="*/ 108 w 246"/>
                <a:gd name="T15" fmla="*/ 207 h 312"/>
                <a:gd name="T16" fmla="*/ 100 w 246"/>
                <a:gd name="T17" fmla="*/ 192 h 312"/>
                <a:gd name="T18" fmla="*/ 59 w 246"/>
                <a:gd name="T19" fmla="*/ 135 h 312"/>
                <a:gd name="T20" fmla="*/ 59 w 246"/>
                <a:gd name="T21" fmla="*/ 128 h 312"/>
                <a:gd name="T22" fmla="*/ 64 w 246"/>
                <a:gd name="T23" fmla="*/ 123 h 312"/>
                <a:gd name="T24" fmla="*/ 72 w 246"/>
                <a:gd name="T25" fmla="*/ 125 h 312"/>
                <a:gd name="T26" fmla="*/ 128 w 246"/>
                <a:gd name="T27" fmla="*/ 164 h 312"/>
                <a:gd name="T28" fmla="*/ 144 w 246"/>
                <a:gd name="T29" fmla="*/ 174 h 312"/>
                <a:gd name="T30" fmla="*/ 146 w 246"/>
                <a:gd name="T31" fmla="*/ 192 h 312"/>
                <a:gd name="T32" fmla="*/ 159 w 246"/>
                <a:gd name="T33" fmla="*/ 215 h 312"/>
                <a:gd name="T34" fmla="*/ 156 w 246"/>
                <a:gd name="T35" fmla="*/ 223 h 312"/>
                <a:gd name="T36" fmla="*/ 151 w 246"/>
                <a:gd name="T37" fmla="*/ 225 h 312"/>
                <a:gd name="T38" fmla="*/ 131 w 246"/>
                <a:gd name="T39" fmla="*/ 187 h 312"/>
                <a:gd name="T40" fmla="*/ 128 w 246"/>
                <a:gd name="T41" fmla="*/ 182 h 312"/>
                <a:gd name="T42" fmla="*/ 118 w 246"/>
                <a:gd name="T43" fmla="*/ 182 h 312"/>
                <a:gd name="T44" fmla="*/ 115 w 246"/>
                <a:gd name="T45" fmla="*/ 187 h 312"/>
                <a:gd name="T46" fmla="*/ 118 w 246"/>
                <a:gd name="T47" fmla="*/ 194 h 312"/>
                <a:gd name="T48" fmla="*/ 126 w 246"/>
                <a:gd name="T49" fmla="*/ 197 h 312"/>
                <a:gd name="T50" fmla="*/ 131 w 246"/>
                <a:gd name="T51" fmla="*/ 192 h 312"/>
                <a:gd name="T52" fmla="*/ 213 w 246"/>
                <a:gd name="T53" fmla="*/ 179 h 312"/>
                <a:gd name="T54" fmla="*/ 203 w 246"/>
                <a:gd name="T55" fmla="*/ 179 h 312"/>
                <a:gd name="T56" fmla="*/ 195 w 246"/>
                <a:gd name="T57" fmla="*/ 184 h 312"/>
                <a:gd name="T58" fmla="*/ 197 w 246"/>
                <a:gd name="T59" fmla="*/ 194 h 312"/>
                <a:gd name="T60" fmla="*/ 208 w 246"/>
                <a:gd name="T61" fmla="*/ 197 h 312"/>
                <a:gd name="T62" fmla="*/ 215 w 246"/>
                <a:gd name="T63" fmla="*/ 192 h 312"/>
                <a:gd name="T64" fmla="*/ 113 w 246"/>
                <a:gd name="T65" fmla="*/ 110 h 312"/>
                <a:gd name="T66" fmla="*/ 121 w 246"/>
                <a:gd name="T67" fmla="*/ 115 h 312"/>
                <a:gd name="T68" fmla="*/ 131 w 246"/>
                <a:gd name="T69" fmla="*/ 112 h 312"/>
                <a:gd name="T70" fmla="*/ 133 w 246"/>
                <a:gd name="T71" fmla="*/ 105 h 312"/>
                <a:gd name="T72" fmla="*/ 128 w 246"/>
                <a:gd name="T73" fmla="*/ 97 h 312"/>
                <a:gd name="T74" fmla="*/ 118 w 246"/>
                <a:gd name="T75" fmla="*/ 97 h 312"/>
                <a:gd name="T76" fmla="*/ 113 w 246"/>
                <a:gd name="T77" fmla="*/ 105 h 312"/>
                <a:gd name="T78" fmla="*/ 195 w 246"/>
                <a:gd name="T79" fmla="*/ 289 h 312"/>
                <a:gd name="T80" fmla="*/ 51 w 246"/>
                <a:gd name="T81" fmla="*/ 289 h 312"/>
                <a:gd name="T82" fmla="*/ 8 w 246"/>
                <a:gd name="T83" fmla="*/ 146 h 312"/>
                <a:gd name="T84" fmla="*/ 98 w 246"/>
                <a:gd name="T85" fmla="*/ 38 h 312"/>
                <a:gd name="T86" fmla="*/ 149 w 246"/>
                <a:gd name="T87" fmla="*/ 0 h 312"/>
                <a:gd name="T88" fmla="*/ 141 w 246"/>
                <a:gd name="T89" fmla="*/ 66 h 312"/>
                <a:gd name="T90" fmla="*/ 182 w 246"/>
                <a:gd name="T91" fmla="*/ 41 h 312"/>
                <a:gd name="T92" fmla="*/ 220 w 246"/>
                <a:gd name="T93" fmla="*/ 66 h 312"/>
                <a:gd name="T94" fmla="*/ 244 w 246"/>
                <a:gd name="T95" fmla="*/ 161 h 312"/>
                <a:gd name="T96" fmla="*/ 115 w 246"/>
                <a:gd name="T97" fmla="*/ 38 h 312"/>
                <a:gd name="T98" fmla="*/ 220 w 246"/>
                <a:gd name="T99" fmla="*/ 138 h 312"/>
                <a:gd name="T100" fmla="*/ 85 w 246"/>
                <a:gd name="T101" fmla="*/ 87 h 312"/>
                <a:gd name="T102" fmla="*/ 16 w 246"/>
                <a:gd name="T103" fmla="*/ 207 h 312"/>
                <a:gd name="T104" fmla="*/ 136 w 246"/>
                <a:gd name="T105" fmla="*/ 294 h 312"/>
                <a:gd name="T106" fmla="*/ 231 w 246"/>
                <a:gd name="T107" fmla="*/ 192 h 312"/>
                <a:gd name="T108" fmla="*/ 44 w 246"/>
                <a:gd name="T109" fmla="*/ 179 h 312"/>
                <a:gd name="T110" fmla="*/ 34 w 246"/>
                <a:gd name="T111" fmla="*/ 179 h 312"/>
                <a:gd name="T112" fmla="*/ 31 w 246"/>
                <a:gd name="T113" fmla="*/ 189 h 312"/>
                <a:gd name="T114" fmla="*/ 36 w 246"/>
                <a:gd name="T115" fmla="*/ 197 h 312"/>
                <a:gd name="T116" fmla="*/ 46 w 246"/>
                <a:gd name="T117" fmla="*/ 197 h 312"/>
                <a:gd name="T118" fmla="*/ 51 w 246"/>
                <a:gd name="T119" fmla="*/ 18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6" h="312">
                  <a:moveTo>
                    <a:pt x="133" y="269"/>
                  </a:moveTo>
                  <a:lnTo>
                    <a:pt x="133" y="269"/>
                  </a:lnTo>
                  <a:lnTo>
                    <a:pt x="133" y="271"/>
                  </a:lnTo>
                  <a:lnTo>
                    <a:pt x="133" y="271"/>
                  </a:lnTo>
                  <a:lnTo>
                    <a:pt x="133" y="271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6"/>
                  </a:lnTo>
                  <a:lnTo>
                    <a:pt x="131" y="276"/>
                  </a:lnTo>
                  <a:lnTo>
                    <a:pt x="131" y="276"/>
                  </a:lnTo>
                  <a:lnTo>
                    <a:pt x="131" y="276"/>
                  </a:lnTo>
                  <a:lnTo>
                    <a:pt x="131" y="279"/>
                  </a:lnTo>
                  <a:lnTo>
                    <a:pt x="128" y="279"/>
                  </a:lnTo>
                  <a:lnTo>
                    <a:pt x="128" y="279"/>
                  </a:lnTo>
                  <a:lnTo>
                    <a:pt x="128" y="279"/>
                  </a:lnTo>
                  <a:lnTo>
                    <a:pt x="126" y="279"/>
                  </a:lnTo>
                  <a:lnTo>
                    <a:pt x="126" y="281"/>
                  </a:lnTo>
                  <a:lnTo>
                    <a:pt x="123" y="281"/>
                  </a:lnTo>
                  <a:lnTo>
                    <a:pt x="123" y="281"/>
                  </a:lnTo>
                  <a:lnTo>
                    <a:pt x="123" y="281"/>
                  </a:lnTo>
                  <a:lnTo>
                    <a:pt x="121" y="281"/>
                  </a:lnTo>
                  <a:lnTo>
                    <a:pt x="121" y="279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15" y="279"/>
                  </a:lnTo>
                  <a:lnTo>
                    <a:pt x="115" y="276"/>
                  </a:lnTo>
                  <a:lnTo>
                    <a:pt x="115" y="276"/>
                  </a:lnTo>
                  <a:lnTo>
                    <a:pt x="115" y="276"/>
                  </a:lnTo>
                  <a:lnTo>
                    <a:pt x="113" y="276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1"/>
                  </a:lnTo>
                  <a:lnTo>
                    <a:pt x="113" y="271"/>
                  </a:lnTo>
                  <a:lnTo>
                    <a:pt x="113" y="271"/>
                  </a:lnTo>
                  <a:lnTo>
                    <a:pt x="113" y="269"/>
                  </a:lnTo>
                  <a:lnTo>
                    <a:pt x="113" y="269"/>
                  </a:lnTo>
                  <a:lnTo>
                    <a:pt x="113" y="266"/>
                  </a:lnTo>
                  <a:lnTo>
                    <a:pt x="113" y="266"/>
                  </a:lnTo>
                  <a:lnTo>
                    <a:pt x="113" y="266"/>
                  </a:lnTo>
                  <a:lnTo>
                    <a:pt x="115" y="263"/>
                  </a:lnTo>
                  <a:lnTo>
                    <a:pt x="115" y="263"/>
                  </a:lnTo>
                  <a:lnTo>
                    <a:pt x="115" y="263"/>
                  </a:lnTo>
                  <a:lnTo>
                    <a:pt x="115" y="263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31" y="263"/>
                  </a:lnTo>
                  <a:lnTo>
                    <a:pt x="131" y="263"/>
                  </a:lnTo>
                  <a:lnTo>
                    <a:pt x="131" y="263"/>
                  </a:lnTo>
                  <a:lnTo>
                    <a:pt x="131" y="263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9"/>
                  </a:lnTo>
                  <a:close/>
                  <a:moveTo>
                    <a:pt x="133" y="210"/>
                  </a:moveTo>
                  <a:lnTo>
                    <a:pt x="133" y="210"/>
                  </a:lnTo>
                  <a:lnTo>
                    <a:pt x="131" y="212"/>
                  </a:lnTo>
                  <a:lnTo>
                    <a:pt x="128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3" y="212"/>
                  </a:lnTo>
                  <a:lnTo>
                    <a:pt x="121" y="212"/>
                  </a:lnTo>
                  <a:lnTo>
                    <a:pt x="118" y="212"/>
                  </a:lnTo>
                  <a:lnTo>
                    <a:pt x="118" y="212"/>
                  </a:lnTo>
                  <a:lnTo>
                    <a:pt x="115" y="210"/>
                  </a:lnTo>
                  <a:lnTo>
                    <a:pt x="113" y="210"/>
                  </a:lnTo>
                  <a:lnTo>
                    <a:pt x="113" y="210"/>
                  </a:lnTo>
                  <a:lnTo>
                    <a:pt x="110" y="210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3" y="202"/>
                  </a:lnTo>
                  <a:lnTo>
                    <a:pt x="103" y="199"/>
                  </a:lnTo>
                  <a:lnTo>
                    <a:pt x="103" y="199"/>
                  </a:lnTo>
                  <a:lnTo>
                    <a:pt x="100" y="197"/>
                  </a:lnTo>
                  <a:lnTo>
                    <a:pt x="100" y="194"/>
                  </a:lnTo>
                  <a:lnTo>
                    <a:pt x="100" y="194"/>
                  </a:lnTo>
                  <a:lnTo>
                    <a:pt x="100" y="192"/>
                  </a:lnTo>
                  <a:lnTo>
                    <a:pt x="100" y="189"/>
                  </a:lnTo>
                  <a:lnTo>
                    <a:pt x="100" y="189"/>
                  </a:lnTo>
                  <a:lnTo>
                    <a:pt x="100" y="187"/>
                  </a:lnTo>
                  <a:lnTo>
                    <a:pt x="100" y="184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00" y="179"/>
                  </a:lnTo>
                  <a:lnTo>
                    <a:pt x="100" y="176"/>
                  </a:lnTo>
                  <a:lnTo>
                    <a:pt x="62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9" y="123"/>
                  </a:lnTo>
                  <a:lnTo>
                    <a:pt x="69" y="125"/>
                  </a:lnTo>
                  <a:lnTo>
                    <a:pt x="69" y="125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3" y="164"/>
                  </a:lnTo>
                  <a:lnTo>
                    <a:pt x="126" y="164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31" y="166"/>
                  </a:lnTo>
                  <a:lnTo>
                    <a:pt x="133" y="166"/>
                  </a:lnTo>
                  <a:lnTo>
                    <a:pt x="133" y="166"/>
                  </a:lnTo>
                  <a:lnTo>
                    <a:pt x="136" y="166"/>
                  </a:lnTo>
                  <a:lnTo>
                    <a:pt x="139" y="169"/>
                  </a:lnTo>
                  <a:lnTo>
                    <a:pt x="139" y="169"/>
                  </a:lnTo>
                  <a:lnTo>
                    <a:pt x="141" y="171"/>
                  </a:lnTo>
                  <a:lnTo>
                    <a:pt x="141" y="171"/>
                  </a:lnTo>
                  <a:lnTo>
                    <a:pt x="144" y="174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6" y="179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6" y="184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6" y="192"/>
                  </a:lnTo>
                  <a:lnTo>
                    <a:pt x="146" y="194"/>
                  </a:lnTo>
                  <a:lnTo>
                    <a:pt x="146" y="194"/>
                  </a:lnTo>
                  <a:lnTo>
                    <a:pt x="146" y="197"/>
                  </a:lnTo>
                  <a:lnTo>
                    <a:pt x="146" y="199"/>
                  </a:lnTo>
                  <a:lnTo>
                    <a:pt x="156" y="210"/>
                  </a:lnTo>
                  <a:lnTo>
                    <a:pt x="159" y="212"/>
                  </a:lnTo>
                  <a:lnTo>
                    <a:pt x="159" y="212"/>
                  </a:lnTo>
                  <a:lnTo>
                    <a:pt x="159" y="212"/>
                  </a:lnTo>
                  <a:lnTo>
                    <a:pt x="159" y="215"/>
                  </a:lnTo>
                  <a:lnTo>
                    <a:pt x="159" y="215"/>
                  </a:lnTo>
                  <a:lnTo>
                    <a:pt x="159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7"/>
                  </a:lnTo>
                  <a:lnTo>
                    <a:pt x="159" y="217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3"/>
                  </a:lnTo>
                  <a:lnTo>
                    <a:pt x="154" y="225"/>
                  </a:lnTo>
                  <a:lnTo>
                    <a:pt x="154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49" y="225"/>
                  </a:lnTo>
                  <a:lnTo>
                    <a:pt x="149" y="223"/>
                  </a:lnTo>
                  <a:lnTo>
                    <a:pt x="149" y="223"/>
                  </a:lnTo>
                  <a:lnTo>
                    <a:pt x="149" y="223"/>
                  </a:lnTo>
                  <a:lnTo>
                    <a:pt x="146" y="223"/>
                  </a:lnTo>
                  <a:lnTo>
                    <a:pt x="146" y="223"/>
                  </a:lnTo>
                  <a:lnTo>
                    <a:pt x="133" y="210"/>
                  </a:lnTo>
                  <a:close/>
                  <a:moveTo>
                    <a:pt x="131" y="189"/>
                  </a:moveTo>
                  <a:lnTo>
                    <a:pt x="131" y="187"/>
                  </a:lnTo>
                  <a:lnTo>
                    <a:pt x="131" y="187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1" y="179"/>
                  </a:lnTo>
                  <a:lnTo>
                    <a:pt x="121" y="179"/>
                  </a:lnTo>
                  <a:lnTo>
                    <a:pt x="121" y="179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5" y="182"/>
                  </a:lnTo>
                  <a:lnTo>
                    <a:pt x="115" y="184"/>
                  </a:lnTo>
                  <a:lnTo>
                    <a:pt x="115" y="184"/>
                  </a:lnTo>
                  <a:lnTo>
                    <a:pt x="115" y="184"/>
                  </a:lnTo>
                  <a:lnTo>
                    <a:pt x="115" y="184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7"/>
                  </a:lnTo>
                  <a:lnTo>
                    <a:pt x="121" y="197"/>
                  </a:lnTo>
                  <a:lnTo>
                    <a:pt x="121" y="197"/>
                  </a:lnTo>
                  <a:lnTo>
                    <a:pt x="121" y="197"/>
                  </a:lnTo>
                  <a:lnTo>
                    <a:pt x="123" y="197"/>
                  </a:lnTo>
                  <a:lnTo>
                    <a:pt x="123" y="197"/>
                  </a:lnTo>
                  <a:lnTo>
                    <a:pt x="123" y="197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8" y="197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31" y="194"/>
                  </a:lnTo>
                  <a:lnTo>
                    <a:pt x="131" y="192"/>
                  </a:lnTo>
                  <a:lnTo>
                    <a:pt x="131" y="192"/>
                  </a:lnTo>
                  <a:lnTo>
                    <a:pt x="131" y="192"/>
                  </a:lnTo>
                  <a:lnTo>
                    <a:pt x="131" y="192"/>
                  </a:lnTo>
                  <a:lnTo>
                    <a:pt x="131" y="189"/>
                  </a:lnTo>
                  <a:lnTo>
                    <a:pt x="131" y="189"/>
                  </a:lnTo>
                  <a:lnTo>
                    <a:pt x="131" y="189"/>
                  </a:lnTo>
                  <a:close/>
                  <a:moveTo>
                    <a:pt x="215" y="184"/>
                  </a:moveTo>
                  <a:lnTo>
                    <a:pt x="215" y="184"/>
                  </a:lnTo>
                  <a:lnTo>
                    <a:pt x="215" y="184"/>
                  </a:lnTo>
                  <a:lnTo>
                    <a:pt x="215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05" y="179"/>
                  </a:lnTo>
                  <a:lnTo>
                    <a:pt x="205" y="179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0" y="179"/>
                  </a:lnTo>
                  <a:lnTo>
                    <a:pt x="200" y="179"/>
                  </a:lnTo>
                  <a:lnTo>
                    <a:pt x="200" y="179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7" y="184"/>
                  </a:lnTo>
                  <a:lnTo>
                    <a:pt x="197" y="184"/>
                  </a:lnTo>
                  <a:lnTo>
                    <a:pt x="195" y="184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92"/>
                  </a:lnTo>
                  <a:lnTo>
                    <a:pt x="197" y="192"/>
                  </a:lnTo>
                  <a:lnTo>
                    <a:pt x="197" y="192"/>
                  </a:lnTo>
                  <a:lnTo>
                    <a:pt x="197" y="194"/>
                  </a:lnTo>
                  <a:lnTo>
                    <a:pt x="197" y="194"/>
                  </a:lnTo>
                  <a:lnTo>
                    <a:pt x="197" y="194"/>
                  </a:lnTo>
                  <a:lnTo>
                    <a:pt x="200" y="197"/>
                  </a:lnTo>
                  <a:lnTo>
                    <a:pt x="200" y="197"/>
                  </a:lnTo>
                  <a:lnTo>
                    <a:pt x="200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5" y="197"/>
                  </a:lnTo>
                  <a:lnTo>
                    <a:pt x="205" y="199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3" y="197"/>
                  </a:lnTo>
                  <a:lnTo>
                    <a:pt x="213" y="194"/>
                  </a:lnTo>
                  <a:lnTo>
                    <a:pt x="213" y="194"/>
                  </a:lnTo>
                  <a:lnTo>
                    <a:pt x="215" y="194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5" y="187"/>
                  </a:lnTo>
                  <a:lnTo>
                    <a:pt x="215" y="187"/>
                  </a:lnTo>
                  <a:lnTo>
                    <a:pt x="215" y="184"/>
                  </a:lnTo>
                  <a:close/>
                  <a:moveTo>
                    <a:pt x="113" y="110"/>
                  </a:moveTo>
                  <a:lnTo>
                    <a:pt x="113" y="110"/>
                  </a:lnTo>
                  <a:lnTo>
                    <a:pt x="113" y="110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5" y="115"/>
                  </a:lnTo>
                  <a:lnTo>
                    <a:pt x="118" y="115"/>
                  </a:lnTo>
                  <a:lnTo>
                    <a:pt x="118" y="115"/>
                  </a:lnTo>
                  <a:lnTo>
                    <a:pt x="118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3" y="110"/>
                  </a:lnTo>
                  <a:lnTo>
                    <a:pt x="133" y="110"/>
                  </a:lnTo>
                  <a:lnTo>
                    <a:pt x="133" y="110"/>
                  </a:lnTo>
                  <a:lnTo>
                    <a:pt x="133" y="107"/>
                  </a:lnTo>
                  <a:lnTo>
                    <a:pt x="133" y="107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1" y="100"/>
                  </a:lnTo>
                  <a:lnTo>
                    <a:pt x="131" y="100"/>
                  </a:lnTo>
                  <a:lnTo>
                    <a:pt x="131" y="100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6" y="97"/>
                  </a:lnTo>
                  <a:lnTo>
                    <a:pt x="126" y="94"/>
                  </a:lnTo>
                  <a:lnTo>
                    <a:pt x="123" y="94"/>
                  </a:lnTo>
                  <a:lnTo>
                    <a:pt x="123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21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5" y="97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5"/>
                  </a:lnTo>
                  <a:lnTo>
                    <a:pt x="113" y="105"/>
                  </a:lnTo>
                  <a:lnTo>
                    <a:pt x="113" y="105"/>
                  </a:lnTo>
                  <a:lnTo>
                    <a:pt x="113" y="107"/>
                  </a:lnTo>
                  <a:lnTo>
                    <a:pt x="113" y="107"/>
                  </a:lnTo>
                  <a:lnTo>
                    <a:pt x="113" y="110"/>
                  </a:lnTo>
                  <a:close/>
                  <a:moveTo>
                    <a:pt x="246" y="210"/>
                  </a:moveTo>
                  <a:lnTo>
                    <a:pt x="241" y="228"/>
                  </a:lnTo>
                  <a:lnTo>
                    <a:pt x="236" y="238"/>
                  </a:lnTo>
                  <a:lnTo>
                    <a:pt x="231" y="253"/>
                  </a:lnTo>
                  <a:lnTo>
                    <a:pt x="218" y="266"/>
                  </a:lnTo>
                  <a:lnTo>
                    <a:pt x="208" y="276"/>
                  </a:lnTo>
                  <a:lnTo>
                    <a:pt x="195" y="289"/>
                  </a:lnTo>
                  <a:lnTo>
                    <a:pt x="180" y="299"/>
                  </a:lnTo>
                  <a:lnTo>
                    <a:pt x="167" y="304"/>
                  </a:lnTo>
                  <a:lnTo>
                    <a:pt x="151" y="310"/>
                  </a:lnTo>
                  <a:lnTo>
                    <a:pt x="136" y="312"/>
                  </a:lnTo>
                  <a:lnTo>
                    <a:pt x="121" y="312"/>
                  </a:lnTo>
                  <a:lnTo>
                    <a:pt x="108" y="310"/>
                  </a:lnTo>
                  <a:lnTo>
                    <a:pt x="90" y="307"/>
                  </a:lnTo>
                  <a:lnTo>
                    <a:pt x="75" y="302"/>
                  </a:lnTo>
                  <a:lnTo>
                    <a:pt x="62" y="294"/>
                  </a:lnTo>
                  <a:lnTo>
                    <a:pt x="51" y="289"/>
                  </a:lnTo>
                  <a:lnTo>
                    <a:pt x="39" y="279"/>
                  </a:lnTo>
                  <a:lnTo>
                    <a:pt x="28" y="266"/>
                  </a:lnTo>
                  <a:lnTo>
                    <a:pt x="18" y="253"/>
                  </a:lnTo>
                  <a:lnTo>
                    <a:pt x="8" y="235"/>
                  </a:lnTo>
                  <a:lnTo>
                    <a:pt x="5" y="225"/>
                  </a:lnTo>
                  <a:lnTo>
                    <a:pt x="0" y="205"/>
                  </a:lnTo>
                  <a:lnTo>
                    <a:pt x="0" y="189"/>
                  </a:lnTo>
                  <a:lnTo>
                    <a:pt x="0" y="176"/>
                  </a:lnTo>
                  <a:lnTo>
                    <a:pt x="0" y="164"/>
                  </a:lnTo>
                  <a:lnTo>
                    <a:pt x="8" y="146"/>
                  </a:lnTo>
                  <a:lnTo>
                    <a:pt x="13" y="133"/>
                  </a:lnTo>
                  <a:lnTo>
                    <a:pt x="21" y="118"/>
                  </a:lnTo>
                  <a:lnTo>
                    <a:pt x="31" y="107"/>
                  </a:lnTo>
                  <a:lnTo>
                    <a:pt x="41" y="94"/>
                  </a:lnTo>
                  <a:lnTo>
                    <a:pt x="57" y="84"/>
                  </a:lnTo>
                  <a:lnTo>
                    <a:pt x="72" y="74"/>
                  </a:lnTo>
                  <a:lnTo>
                    <a:pt x="90" y="69"/>
                  </a:lnTo>
                  <a:lnTo>
                    <a:pt x="105" y="66"/>
                  </a:lnTo>
                  <a:lnTo>
                    <a:pt x="105" y="38"/>
                  </a:lnTo>
                  <a:lnTo>
                    <a:pt x="98" y="38"/>
                  </a:lnTo>
                  <a:lnTo>
                    <a:pt x="95" y="38"/>
                  </a:lnTo>
                  <a:lnTo>
                    <a:pt x="95" y="38"/>
                  </a:lnTo>
                  <a:lnTo>
                    <a:pt x="92" y="38"/>
                  </a:lnTo>
                  <a:lnTo>
                    <a:pt x="90" y="36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5"/>
                  </a:lnTo>
                  <a:lnTo>
                    <a:pt x="92" y="2"/>
                  </a:lnTo>
                  <a:lnTo>
                    <a:pt x="92" y="0"/>
                  </a:lnTo>
                  <a:lnTo>
                    <a:pt x="149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4" y="2"/>
                  </a:lnTo>
                  <a:lnTo>
                    <a:pt x="156" y="5"/>
                  </a:lnTo>
                  <a:lnTo>
                    <a:pt x="156" y="33"/>
                  </a:lnTo>
                  <a:lnTo>
                    <a:pt x="156" y="33"/>
                  </a:lnTo>
                  <a:lnTo>
                    <a:pt x="156" y="36"/>
                  </a:lnTo>
                  <a:lnTo>
                    <a:pt x="154" y="38"/>
                  </a:lnTo>
                  <a:lnTo>
                    <a:pt x="141" y="38"/>
                  </a:lnTo>
                  <a:lnTo>
                    <a:pt x="141" y="66"/>
                  </a:lnTo>
                  <a:lnTo>
                    <a:pt x="149" y="66"/>
                  </a:lnTo>
                  <a:lnTo>
                    <a:pt x="162" y="69"/>
                  </a:lnTo>
                  <a:lnTo>
                    <a:pt x="164" y="71"/>
                  </a:lnTo>
                  <a:lnTo>
                    <a:pt x="180" y="77"/>
                  </a:lnTo>
                  <a:lnTo>
                    <a:pt x="192" y="56"/>
                  </a:lnTo>
                  <a:lnTo>
                    <a:pt x="185" y="51"/>
                  </a:lnTo>
                  <a:lnTo>
                    <a:pt x="182" y="48"/>
                  </a:lnTo>
                  <a:lnTo>
                    <a:pt x="182" y="46"/>
                  </a:lnTo>
                  <a:lnTo>
                    <a:pt x="182" y="43"/>
                  </a:lnTo>
                  <a:lnTo>
                    <a:pt x="182" y="41"/>
                  </a:lnTo>
                  <a:lnTo>
                    <a:pt x="187" y="38"/>
                  </a:lnTo>
                  <a:lnTo>
                    <a:pt x="187" y="36"/>
                  </a:lnTo>
                  <a:lnTo>
                    <a:pt x="190" y="38"/>
                  </a:lnTo>
                  <a:lnTo>
                    <a:pt x="218" y="54"/>
                  </a:lnTo>
                  <a:lnTo>
                    <a:pt x="220" y="54"/>
                  </a:lnTo>
                  <a:lnTo>
                    <a:pt x="223" y="56"/>
                  </a:lnTo>
                  <a:lnTo>
                    <a:pt x="223" y="59"/>
                  </a:lnTo>
                  <a:lnTo>
                    <a:pt x="223" y="61"/>
                  </a:lnTo>
                  <a:lnTo>
                    <a:pt x="223" y="64"/>
                  </a:lnTo>
                  <a:lnTo>
                    <a:pt x="220" y="66"/>
                  </a:lnTo>
                  <a:lnTo>
                    <a:pt x="215" y="69"/>
                  </a:lnTo>
                  <a:lnTo>
                    <a:pt x="205" y="64"/>
                  </a:lnTo>
                  <a:lnTo>
                    <a:pt x="192" y="84"/>
                  </a:lnTo>
                  <a:lnTo>
                    <a:pt x="203" y="92"/>
                  </a:lnTo>
                  <a:lnTo>
                    <a:pt x="213" y="102"/>
                  </a:lnTo>
                  <a:lnTo>
                    <a:pt x="220" y="112"/>
                  </a:lnTo>
                  <a:lnTo>
                    <a:pt x="231" y="125"/>
                  </a:lnTo>
                  <a:lnTo>
                    <a:pt x="236" y="138"/>
                  </a:lnTo>
                  <a:lnTo>
                    <a:pt x="241" y="151"/>
                  </a:lnTo>
                  <a:lnTo>
                    <a:pt x="244" y="161"/>
                  </a:lnTo>
                  <a:lnTo>
                    <a:pt x="246" y="176"/>
                  </a:lnTo>
                  <a:lnTo>
                    <a:pt x="246" y="187"/>
                  </a:lnTo>
                  <a:lnTo>
                    <a:pt x="246" y="194"/>
                  </a:lnTo>
                  <a:lnTo>
                    <a:pt x="246" y="210"/>
                  </a:lnTo>
                  <a:close/>
                  <a:moveTo>
                    <a:pt x="146" y="28"/>
                  </a:moveTo>
                  <a:lnTo>
                    <a:pt x="146" y="10"/>
                  </a:lnTo>
                  <a:lnTo>
                    <a:pt x="100" y="10"/>
                  </a:lnTo>
                  <a:lnTo>
                    <a:pt x="100" y="28"/>
                  </a:lnTo>
                  <a:lnTo>
                    <a:pt x="146" y="28"/>
                  </a:lnTo>
                  <a:close/>
                  <a:moveTo>
                    <a:pt x="115" y="38"/>
                  </a:moveTo>
                  <a:lnTo>
                    <a:pt x="115" y="64"/>
                  </a:lnTo>
                  <a:lnTo>
                    <a:pt x="121" y="64"/>
                  </a:lnTo>
                  <a:lnTo>
                    <a:pt x="131" y="64"/>
                  </a:lnTo>
                  <a:lnTo>
                    <a:pt x="131" y="38"/>
                  </a:lnTo>
                  <a:lnTo>
                    <a:pt x="115" y="38"/>
                  </a:lnTo>
                  <a:close/>
                  <a:moveTo>
                    <a:pt x="231" y="192"/>
                  </a:moveTo>
                  <a:lnTo>
                    <a:pt x="231" y="179"/>
                  </a:lnTo>
                  <a:lnTo>
                    <a:pt x="231" y="166"/>
                  </a:lnTo>
                  <a:lnTo>
                    <a:pt x="226" y="153"/>
                  </a:lnTo>
                  <a:lnTo>
                    <a:pt x="220" y="138"/>
                  </a:lnTo>
                  <a:lnTo>
                    <a:pt x="210" y="123"/>
                  </a:lnTo>
                  <a:lnTo>
                    <a:pt x="197" y="110"/>
                  </a:lnTo>
                  <a:lnTo>
                    <a:pt x="185" y="97"/>
                  </a:lnTo>
                  <a:lnTo>
                    <a:pt x="174" y="92"/>
                  </a:lnTo>
                  <a:lnTo>
                    <a:pt x="162" y="87"/>
                  </a:lnTo>
                  <a:lnTo>
                    <a:pt x="144" y="82"/>
                  </a:lnTo>
                  <a:lnTo>
                    <a:pt x="126" y="79"/>
                  </a:lnTo>
                  <a:lnTo>
                    <a:pt x="121" y="79"/>
                  </a:lnTo>
                  <a:lnTo>
                    <a:pt x="103" y="82"/>
                  </a:lnTo>
                  <a:lnTo>
                    <a:pt x="85" y="87"/>
                  </a:lnTo>
                  <a:lnTo>
                    <a:pt x="67" y="94"/>
                  </a:lnTo>
                  <a:lnTo>
                    <a:pt x="51" y="107"/>
                  </a:lnTo>
                  <a:lnTo>
                    <a:pt x="39" y="120"/>
                  </a:lnTo>
                  <a:lnTo>
                    <a:pt x="31" y="133"/>
                  </a:lnTo>
                  <a:lnTo>
                    <a:pt x="23" y="146"/>
                  </a:lnTo>
                  <a:lnTo>
                    <a:pt x="18" y="158"/>
                  </a:lnTo>
                  <a:lnTo>
                    <a:pt x="16" y="171"/>
                  </a:lnTo>
                  <a:lnTo>
                    <a:pt x="16" y="189"/>
                  </a:lnTo>
                  <a:lnTo>
                    <a:pt x="16" y="194"/>
                  </a:lnTo>
                  <a:lnTo>
                    <a:pt x="16" y="207"/>
                  </a:lnTo>
                  <a:lnTo>
                    <a:pt x="21" y="223"/>
                  </a:lnTo>
                  <a:lnTo>
                    <a:pt x="28" y="240"/>
                  </a:lnTo>
                  <a:lnTo>
                    <a:pt x="39" y="256"/>
                  </a:lnTo>
                  <a:lnTo>
                    <a:pt x="51" y="271"/>
                  </a:lnTo>
                  <a:lnTo>
                    <a:pt x="64" y="279"/>
                  </a:lnTo>
                  <a:lnTo>
                    <a:pt x="77" y="287"/>
                  </a:lnTo>
                  <a:lnTo>
                    <a:pt x="92" y="292"/>
                  </a:lnTo>
                  <a:lnTo>
                    <a:pt x="110" y="294"/>
                  </a:lnTo>
                  <a:lnTo>
                    <a:pt x="123" y="297"/>
                  </a:lnTo>
                  <a:lnTo>
                    <a:pt x="136" y="294"/>
                  </a:lnTo>
                  <a:lnTo>
                    <a:pt x="154" y="292"/>
                  </a:lnTo>
                  <a:lnTo>
                    <a:pt x="169" y="287"/>
                  </a:lnTo>
                  <a:lnTo>
                    <a:pt x="182" y="279"/>
                  </a:lnTo>
                  <a:lnTo>
                    <a:pt x="197" y="266"/>
                  </a:lnTo>
                  <a:lnTo>
                    <a:pt x="208" y="256"/>
                  </a:lnTo>
                  <a:lnTo>
                    <a:pt x="218" y="243"/>
                  </a:lnTo>
                  <a:lnTo>
                    <a:pt x="226" y="228"/>
                  </a:lnTo>
                  <a:lnTo>
                    <a:pt x="228" y="217"/>
                  </a:lnTo>
                  <a:lnTo>
                    <a:pt x="231" y="205"/>
                  </a:lnTo>
                  <a:lnTo>
                    <a:pt x="231" y="192"/>
                  </a:lnTo>
                  <a:close/>
                  <a:moveTo>
                    <a:pt x="51" y="184"/>
                  </a:moveTo>
                  <a:lnTo>
                    <a:pt x="49" y="184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4" y="179"/>
                  </a:lnTo>
                  <a:lnTo>
                    <a:pt x="44" y="179"/>
                  </a:lnTo>
                  <a:lnTo>
                    <a:pt x="44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4" y="179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1" y="182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31" y="187"/>
                  </a:lnTo>
                  <a:lnTo>
                    <a:pt x="31" y="187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4"/>
                  </a:lnTo>
                  <a:lnTo>
                    <a:pt x="34" y="194"/>
                  </a:lnTo>
                  <a:lnTo>
                    <a:pt x="34" y="194"/>
                  </a:lnTo>
                  <a:lnTo>
                    <a:pt x="34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41" y="199"/>
                  </a:lnTo>
                  <a:lnTo>
                    <a:pt x="41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6" y="197"/>
                  </a:lnTo>
                  <a:lnTo>
                    <a:pt x="46" y="197"/>
                  </a:lnTo>
                  <a:lnTo>
                    <a:pt x="46" y="197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2"/>
                  </a:lnTo>
                  <a:lnTo>
                    <a:pt x="51" y="192"/>
                  </a:lnTo>
                  <a:lnTo>
                    <a:pt x="51" y="192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972986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A32D2CE-EF26-4022-8D99-7D8BB1470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938653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n the Clock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unter Clockwis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ime Setting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im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verse Tim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fficienc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as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ght Ide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n Target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n Target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earc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rategiz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ink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gital Strateg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arc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ought Proces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orking Remotel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pressed Working Week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2956F2FF-AB64-43B5-9E90-62610B4C84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365992"/>
            <a:ext cx="758825" cy="758825"/>
            <a:chOff x="883" y="364"/>
            <a:chExt cx="478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BBC416-3ED0-43C5-BA7B-E0FD20F259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3" y="36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4C0D143E-BFCB-4821-9E10-FAC7D378A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" y="36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00A9A8D7-4648-4686-B727-DBB7B6BA1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491"/>
              <a:ext cx="182" cy="238"/>
            </a:xfrm>
            <a:custGeom>
              <a:avLst/>
              <a:gdLst>
                <a:gd name="T0" fmla="*/ 25 w 74"/>
                <a:gd name="T1" fmla="*/ 0 h 97"/>
                <a:gd name="T2" fmla="*/ 0 w 74"/>
                <a:gd name="T3" fmla="*/ 7 h 97"/>
                <a:gd name="T4" fmla="*/ 3 w 74"/>
                <a:gd name="T5" fmla="*/ 11 h 97"/>
                <a:gd name="T6" fmla="*/ 25 w 74"/>
                <a:gd name="T7" fmla="*/ 4 h 97"/>
                <a:gd name="T8" fmla="*/ 70 w 74"/>
                <a:gd name="T9" fmla="*/ 49 h 97"/>
                <a:gd name="T10" fmla="*/ 25 w 74"/>
                <a:gd name="T11" fmla="*/ 93 h 97"/>
                <a:gd name="T12" fmla="*/ 3 w 74"/>
                <a:gd name="T13" fmla="*/ 87 h 97"/>
                <a:gd name="T14" fmla="*/ 0 w 74"/>
                <a:gd name="T15" fmla="*/ 90 h 97"/>
                <a:gd name="T16" fmla="*/ 25 w 74"/>
                <a:gd name="T17" fmla="*/ 97 h 97"/>
                <a:gd name="T18" fmla="*/ 74 w 74"/>
                <a:gd name="T19" fmla="*/ 49 h 97"/>
                <a:gd name="T20" fmla="*/ 25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25" y="0"/>
                  </a:moveTo>
                  <a:cubicBezTo>
                    <a:pt x="17" y="0"/>
                    <a:pt x="8" y="3"/>
                    <a:pt x="0" y="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9" y="6"/>
                    <a:pt x="17" y="4"/>
                    <a:pt x="25" y="4"/>
                  </a:cubicBezTo>
                  <a:cubicBezTo>
                    <a:pt x="50" y="4"/>
                    <a:pt x="70" y="24"/>
                    <a:pt x="70" y="49"/>
                  </a:cubicBezTo>
                  <a:cubicBezTo>
                    <a:pt x="70" y="73"/>
                    <a:pt x="50" y="93"/>
                    <a:pt x="25" y="93"/>
                  </a:cubicBezTo>
                  <a:cubicBezTo>
                    <a:pt x="17" y="93"/>
                    <a:pt x="9" y="91"/>
                    <a:pt x="3" y="87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8" y="95"/>
                    <a:pt x="17" y="97"/>
                    <a:pt x="25" y="97"/>
                  </a:cubicBezTo>
                  <a:cubicBezTo>
                    <a:pt x="52" y="97"/>
                    <a:pt x="74" y="75"/>
                    <a:pt x="74" y="49"/>
                  </a:cubicBezTo>
                  <a:cubicBezTo>
                    <a:pt x="74" y="22"/>
                    <a:pt x="52" y="0"/>
                    <a:pt x="25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D17809D-E16D-4E7F-88F2-E4BF581AD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" y="545"/>
              <a:ext cx="157" cy="219"/>
            </a:xfrm>
            <a:custGeom>
              <a:avLst/>
              <a:gdLst>
                <a:gd name="T0" fmla="*/ 64 w 64"/>
                <a:gd name="T1" fmla="*/ 40 h 89"/>
                <a:gd name="T2" fmla="*/ 64 w 64"/>
                <a:gd name="T3" fmla="*/ 21 h 89"/>
                <a:gd name="T4" fmla="*/ 43 w 64"/>
                <a:gd name="T5" fmla="*/ 0 h 89"/>
                <a:gd name="T6" fmla="*/ 21 w 64"/>
                <a:gd name="T7" fmla="*/ 0 h 89"/>
                <a:gd name="T8" fmla="*/ 0 w 64"/>
                <a:gd name="T9" fmla="*/ 21 h 89"/>
                <a:gd name="T10" fmla="*/ 0 w 64"/>
                <a:gd name="T11" fmla="*/ 40 h 89"/>
                <a:gd name="T12" fmla="*/ 13 w 64"/>
                <a:gd name="T13" fmla="*/ 55 h 89"/>
                <a:gd name="T14" fmla="*/ 14 w 64"/>
                <a:gd name="T15" fmla="*/ 55 h 89"/>
                <a:gd name="T16" fmla="*/ 14 w 64"/>
                <a:gd name="T17" fmla="*/ 89 h 89"/>
                <a:gd name="T18" fmla="*/ 18 w 64"/>
                <a:gd name="T19" fmla="*/ 89 h 89"/>
                <a:gd name="T20" fmla="*/ 18 w 64"/>
                <a:gd name="T21" fmla="*/ 19 h 89"/>
                <a:gd name="T22" fmla="*/ 14 w 64"/>
                <a:gd name="T23" fmla="*/ 19 h 89"/>
                <a:gd name="T24" fmla="*/ 14 w 64"/>
                <a:gd name="T25" fmla="*/ 52 h 89"/>
                <a:gd name="T26" fmla="*/ 13 w 64"/>
                <a:gd name="T27" fmla="*/ 51 h 89"/>
                <a:gd name="T28" fmla="*/ 4 w 64"/>
                <a:gd name="T29" fmla="*/ 40 h 89"/>
                <a:gd name="T30" fmla="*/ 4 w 64"/>
                <a:gd name="T31" fmla="*/ 21 h 89"/>
                <a:gd name="T32" fmla="*/ 21 w 64"/>
                <a:gd name="T33" fmla="*/ 4 h 89"/>
                <a:gd name="T34" fmla="*/ 43 w 64"/>
                <a:gd name="T35" fmla="*/ 4 h 89"/>
                <a:gd name="T36" fmla="*/ 60 w 64"/>
                <a:gd name="T37" fmla="*/ 21 h 89"/>
                <a:gd name="T38" fmla="*/ 60 w 64"/>
                <a:gd name="T39" fmla="*/ 40 h 89"/>
                <a:gd name="T40" fmla="*/ 52 w 64"/>
                <a:gd name="T41" fmla="*/ 51 h 89"/>
                <a:gd name="T42" fmla="*/ 51 w 64"/>
                <a:gd name="T43" fmla="*/ 51 h 89"/>
                <a:gd name="T44" fmla="*/ 51 w 64"/>
                <a:gd name="T45" fmla="*/ 19 h 89"/>
                <a:gd name="T46" fmla="*/ 47 w 64"/>
                <a:gd name="T47" fmla="*/ 19 h 89"/>
                <a:gd name="T48" fmla="*/ 47 w 64"/>
                <a:gd name="T49" fmla="*/ 89 h 89"/>
                <a:gd name="T50" fmla="*/ 51 w 64"/>
                <a:gd name="T51" fmla="*/ 89 h 89"/>
                <a:gd name="T52" fmla="*/ 51 w 64"/>
                <a:gd name="T53" fmla="*/ 55 h 89"/>
                <a:gd name="T54" fmla="*/ 51 w 64"/>
                <a:gd name="T55" fmla="*/ 55 h 89"/>
                <a:gd name="T56" fmla="*/ 64 w 64"/>
                <a:gd name="T57" fmla="*/ 4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4" h="89">
                  <a:moveTo>
                    <a:pt x="64" y="40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9"/>
                    <a:pt x="53" y="0"/>
                    <a:pt x="4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1" y="0"/>
                    <a:pt x="0" y="9"/>
                    <a:pt x="0" y="2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7"/>
                    <a:pt x="7" y="54"/>
                    <a:pt x="13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9" y="50"/>
                    <a:pt x="4" y="45"/>
                    <a:pt x="4" y="4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0"/>
                    <a:pt x="14" y="4"/>
                    <a:pt x="21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50" y="4"/>
                    <a:pt x="60" y="10"/>
                    <a:pt x="60" y="21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44"/>
                    <a:pt x="56" y="49"/>
                    <a:pt x="52" y="51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8" y="53"/>
                    <a:pt x="64" y="46"/>
                    <a:pt x="64" y="4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462D9A4C-E385-48C6-BE5B-98E3C8503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" y="661"/>
              <a:ext cx="10" cy="10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9C94949D-9619-417A-940F-C9C86B7D8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" y="526"/>
              <a:ext cx="135" cy="169"/>
            </a:xfrm>
            <a:custGeom>
              <a:avLst/>
              <a:gdLst>
                <a:gd name="T0" fmla="*/ 20 w 55"/>
                <a:gd name="T1" fmla="*/ 4 h 69"/>
                <a:gd name="T2" fmla="*/ 51 w 55"/>
                <a:gd name="T3" fmla="*/ 35 h 69"/>
                <a:gd name="T4" fmla="*/ 20 w 55"/>
                <a:gd name="T5" fmla="*/ 66 h 69"/>
                <a:gd name="T6" fmla="*/ 5 w 55"/>
                <a:gd name="T7" fmla="*/ 61 h 69"/>
                <a:gd name="T8" fmla="*/ 3 w 55"/>
                <a:gd name="T9" fmla="*/ 64 h 69"/>
                <a:gd name="T10" fmla="*/ 20 w 55"/>
                <a:gd name="T11" fmla="*/ 69 h 69"/>
                <a:gd name="T12" fmla="*/ 55 w 55"/>
                <a:gd name="T13" fmla="*/ 35 h 69"/>
                <a:gd name="T14" fmla="*/ 20 w 55"/>
                <a:gd name="T15" fmla="*/ 0 h 69"/>
                <a:gd name="T16" fmla="*/ 0 w 55"/>
                <a:gd name="T17" fmla="*/ 7 h 69"/>
                <a:gd name="T18" fmla="*/ 3 w 55"/>
                <a:gd name="T19" fmla="*/ 10 h 69"/>
                <a:gd name="T20" fmla="*/ 20 w 55"/>
                <a:gd name="T21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69">
                  <a:moveTo>
                    <a:pt x="20" y="4"/>
                  </a:moveTo>
                  <a:cubicBezTo>
                    <a:pt x="37" y="4"/>
                    <a:pt x="51" y="18"/>
                    <a:pt x="51" y="35"/>
                  </a:cubicBezTo>
                  <a:cubicBezTo>
                    <a:pt x="51" y="52"/>
                    <a:pt x="37" y="66"/>
                    <a:pt x="20" y="66"/>
                  </a:cubicBezTo>
                  <a:cubicBezTo>
                    <a:pt x="15" y="66"/>
                    <a:pt x="10" y="64"/>
                    <a:pt x="5" y="61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9" y="68"/>
                    <a:pt x="14" y="69"/>
                    <a:pt x="20" y="69"/>
                  </a:cubicBezTo>
                  <a:cubicBezTo>
                    <a:pt x="40" y="69"/>
                    <a:pt x="55" y="54"/>
                    <a:pt x="55" y="35"/>
                  </a:cubicBezTo>
                  <a:cubicBezTo>
                    <a:pt x="55" y="16"/>
                    <a:pt x="40" y="0"/>
                    <a:pt x="20" y="0"/>
                  </a:cubicBezTo>
                  <a:cubicBezTo>
                    <a:pt x="13" y="0"/>
                    <a:pt x="6" y="2"/>
                    <a:pt x="0" y="7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8" y="6"/>
                    <a:pt x="14" y="4"/>
                    <a:pt x="20" y="4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238AEC3-C616-4E2E-AA93-68FD79DA5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" y="445"/>
              <a:ext cx="76" cy="91"/>
            </a:xfrm>
            <a:custGeom>
              <a:avLst/>
              <a:gdLst>
                <a:gd name="T0" fmla="*/ 16 w 31"/>
                <a:gd name="T1" fmla="*/ 0 h 37"/>
                <a:gd name="T2" fmla="*/ 0 w 31"/>
                <a:gd name="T3" fmla="*/ 16 h 37"/>
                <a:gd name="T4" fmla="*/ 0 w 31"/>
                <a:gd name="T5" fmla="*/ 21 h 37"/>
                <a:gd name="T6" fmla="*/ 4 w 31"/>
                <a:gd name="T7" fmla="*/ 32 h 37"/>
                <a:gd name="T8" fmla="*/ 15 w 31"/>
                <a:gd name="T9" fmla="*/ 37 h 37"/>
                <a:gd name="T10" fmla="*/ 31 w 31"/>
                <a:gd name="T11" fmla="*/ 21 h 37"/>
                <a:gd name="T12" fmla="*/ 31 w 31"/>
                <a:gd name="T13" fmla="*/ 16 h 37"/>
                <a:gd name="T14" fmla="*/ 26 w 31"/>
                <a:gd name="T15" fmla="*/ 5 h 37"/>
                <a:gd name="T16" fmla="*/ 16 w 31"/>
                <a:gd name="T17" fmla="*/ 0 h 37"/>
                <a:gd name="T18" fmla="*/ 27 w 31"/>
                <a:gd name="T19" fmla="*/ 21 h 37"/>
                <a:gd name="T20" fmla="*/ 15 w 31"/>
                <a:gd name="T21" fmla="*/ 33 h 37"/>
                <a:gd name="T22" fmla="*/ 7 w 31"/>
                <a:gd name="T23" fmla="*/ 30 h 37"/>
                <a:gd name="T24" fmla="*/ 4 w 31"/>
                <a:gd name="T25" fmla="*/ 21 h 37"/>
                <a:gd name="T26" fmla="*/ 4 w 31"/>
                <a:gd name="T27" fmla="*/ 16 h 37"/>
                <a:gd name="T28" fmla="*/ 16 w 31"/>
                <a:gd name="T29" fmla="*/ 4 h 37"/>
                <a:gd name="T30" fmla="*/ 24 w 31"/>
                <a:gd name="T31" fmla="*/ 8 h 37"/>
                <a:gd name="T32" fmla="*/ 27 w 31"/>
                <a:gd name="T33" fmla="*/ 16 h 37"/>
                <a:gd name="T34" fmla="*/ 27 w 31"/>
                <a:gd name="T35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7">
                  <a:moveTo>
                    <a:pt x="16" y="0"/>
                  </a:moveTo>
                  <a:cubicBezTo>
                    <a:pt x="7" y="0"/>
                    <a:pt x="0" y="8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9"/>
                    <a:pt x="4" y="32"/>
                  </a:cubicBezTo>
                  <a:cubicBezTo>
                    <a:pt x="7" y="35"/>
                    <a:pt x="11" y="37"/>
                    <a:pt x="15" y="37"/>
                  </a:cubicBezTo>
                  <a:cubicBezTo>
                    <a:pt x="24" y="37"/>
                    <a:pt x="31" y="30"/>
                    <a:pt x="31" y="21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2"/>
                    <a:pt x="29" y="8"/>
                    <a:pt x="26" y="5"/>
                  </a:cubicBezTo>
                  <a:cubicBezTo>
                    <a:pt x="23" y="2"/>
                    <a:pt x="20" y="0"/>
                    <a:pt x="16" y="0"/>
                  </a:cubicBezTo>
                  <a:close/>
                  <a:moveTo>
                    <a:pt x="27" y="21"/>
                  </a:moveTo>
                  <a:cubicBezTo>
                    <a:pt x="27" y="27"/>
                    <a:pt x="22" y="33"/>
                    <a:pt x="15" y="33"/>
                  </a:cubicBezTo>
                  <a:cubicBezTo>
                    <a:pt x="12" y="33"/>
                    <a:pt x="9" y="32"/>
                    <a:pt x="7" y="30"/>
                  </a:cubicBezTo>
                  <a:cubicBezTo>
                    <a:pt x="5" y="27"/>
                    <a:pt x="4" y="24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0"/>
                    <a:pt x="9" y="4"/>
                    <a:pt x="16" y="4"/>
                  </a:cubicBezTo>
                  <a:cubicBezTo>
                    <a:pt x="18" y="4"/>
                    <a:pt x="21" y="5"/>
                    <a:pt x="24" y="8"/>
                  </a:cubicBezTo>
                  <a:cubicBezTo>
                    <a:pt x="26" y="10"/>
                    <a:pt x="27" y="13"/>
                    <a:pt x="27" y="16"/>
                  </a:cubicBezTo>
                  <a:lnTo>
                    <a:pt x="27" y="2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243FB2D1-E77C-4946-A1ED-2AA6B3558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560"/>
              <a:ext cx="36" cy="56"/>
            </a:xfrm>
            <a:custGeom>
              <a:avLst/>
              <a:gdLst>
                <a:gd name="T0" fmla="*/ 0 w 36"/>
                <a:gd name="T1" fmla="*/ 0 h 56"/>
                <a:gd name="T2" fmla="*/ 0 w 36"/>
                <a:gd name="T3" fmla="*/ 56 h 56"/>
                <a:gd name="T4" fmla="*/ 36 w 36"/>
                <a:gd name="T5" fmla="*/ 56 h 56"/>
                <a:gd name="T6" fmla="*/ 36 w 36"/>
                <a:gd name="T7" fmla="*/ 47 h 56"/>
                <a:gd name="T8" fmla="*/ 9 w 36"/>
                <a:gd name="T9" fmla="*/ 47 h 56"/>
                <a:gd name="T10" fmla="*/ 9 w 36"/>
                <a:gd name="T11" fmla="*/ 0 h 56"/>
                <a:gd name="T12" fmla="*/ 0 w 36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56">
                  <a:moveTo>
                    <a:pt x="0" y="0"/>
                  </a:moveTo>
                  <a:lnTo>
                    <a:pt x="0" y="56"/>
                  </a:lnTo>
                  <a:lnTo>
                    <a:pt x="36" y="56"/>
                  </a:lnTo>
                  <a:lnTo>
                    <a:pt x="36" y="47"/>
                  </a:lnTo>
                  <a:lnTo>
                    <a:pt x="9" y="47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14">
            <a:extLst>
              <a:ext uri="{FF2B5EF4-FFF2-40B4-BE49-F238E27FC236}">
                <a16:creationId xmlns:a16="http://schemas.microsoft.com/office/drawing/2014/main" id="{16C52C66-6107-49EC-9AED-2ED27E1532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3225" y="324717"/>
            <a:ext cx="841375" cy="841375"/>
            <a:chOff x="182" y="261"/>
            <a:chExt cx="530" cy="530"/>
          </a:xfrm>
        </p:grpSpPr>
        <p:sp>
          <p:nvSpPr>
            <p:cNvPr id="17" name="AutoShape 13">
              <a:extLst>
                <a:ext uri="{FF2B5EF4-FFF2-40B4-BE49-F238E27FC236}">
                  <a16:creationId xmlns:a16="http://schemas.microsoft.com/office/drawing/2014/main" id="{85726EC6-B09A-4B00-9D5B-EC3F127FC2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2" y="2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5">
              <a:extLst>
                <a:ext uri="{FF2B5EF4-FFF2-40B4-BE49-F238E27FC236}">
                  <a16:creationId xmlns:a16="http://schemas.microsoft.com/office/drawing/2014/main" id="{D9128255-47A9-46D4-82FB-813D90EBA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" y="26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92A8675C-3E28-4FAB-B489-5A4336321B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" y="27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DB5C126C-95AC-4C8B-8FCB-30E6EA644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" y="409"/>
              <a:ext cx="190" cy="249"/>
            </a:xfrm>
            <a:custGeom>
              <a:avLst/>
              <a:gdLst>
                <a:gd name="T0" fmla="*/ 25 w 74"/>
                <a:gd name="T1" fmla="*/ 0 h 97"/>
                <a:gd name="T2" fmla="*/ 0 w 74"/>
                <a:gd name="T3" fmla="*/ 7 h 97"/>
                <a:gd name="T4" fmla="*/ 3 w 74"/>
                <a:gd name="T5" fmla="*/ 11 h 97"/>
                <a:gd name="T6" fmla="*/ 25 w 74"/>
                <a:gd name="T7" fmla="*/ 4 h 97"/>
                <a:gd name="T8" fmla="*/ 70 w 74"/>
                <a:gd name="T9" fmla="*/ 49 h 97"/>
                <a:gd name="T10" fmla="*/ 25 w 74"/>
                <a:gd name="T11" fmla="*/ 93 h 97"/>
                <a:gd name="T12" fmla="*/ 3 w 74"/>
                <a:gd name="T13" fmla="*/ 87 h 97"/>
                <a:gd name="T14" fmla="*/ 0 w 74"/>
                <a:gd name="T15" fmla="*/ 90 h 97"/>
                <a:gd name="T16" fmla="*/ 25 w 74"/>
                <a:gd name="T17" fmla="*/ 97 h 97"/>
                <a:gd name="T18" fmla="*/ 74 w 74"/>
                <a:gd name="T19" fmla="*/ 49 h 97"/>
                <a:gd name="T20" fmla="*/ 25 w 74"/>
                <a:gd name="T2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97">
                  <a:moveTo>
                    <a:pt x="25" y="0"/>
                  </a:moveTo>
                  <a:cubicBezTo>
                    <a:pt x="17" y="0"/>
                    <a:pt x="8" y="3"/>
                    <a:pt x="0" y="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9" y="6"/>
                    <a:pt x="17" y="4"/>
                    <a:pt x="25" y="4"/>
                  </a:cubicBezTo>
                  <a:cubicBezTo>
                    <a:pt x="50" y="4"/>
                    <a:pt x="70" y="24"/>
                    <a:pt x="70" y="49"/>
                  </a:cubicBezTo>
                  <a:cubicBezTo>
                    <a:pt x="70" y="73"/>
                    <a:pt x="50" y="93"/>
                    <a:pt x="25" y="93"/>
                  </a:cubicBezTo>
                  <a:cubicBezTo>
                    <a:pt x="17" y="93"/>
                    <a:pt x="9" y="91"/>
                    <a:pt x="3" y="87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8" y="95"/>
                    <a:pt x="17" y="97"/>
                    <a:pt x="25" y="97"/>
                  </a:cubicBezTo>
                  <a:cubicBezTo>
                    <a:pt x="52" y="97"/>
                    <a:pt x="74" y="75"/>
                    <a:pt x="74" y="49"/>
                  </a:cubicBezTo>
                  <a:cubicBezTo>
                    <a:pt x="74" y="22"/>
                    <a:pt x="52" y="0"/>
                    <a:pt x="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7D59F5C1-C051-4C31-B0C5-5CA008148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466"/>
              <a:ext cx="164" cy="228"/>
            </a:xfrm>
            <a:custGeom>
              <a:avLst/>
              <a:gdLst>
                <a:gd name="T0" fmla="*/ 64 w 64"/>
                <a:gd name="T1" fmla="*/ 40 h 89"/>
                <a:gd name="T2" fmla="*/ 64 w 64"/>
                <a:gd name="T3" fmla="*/ 21 h 89"/>
                <a:gd name="T4" fmla="*/ 43 w 64"/>
                <a:gd name="T5" fmla="*/ 0 h 89"/>
                <a:gd name="T6" fmla="*/ 21 w 64"/>
                <a:gd name="T7" fmla="*/ 0 h 89"/>
                <a:gd name="T8" fmla="*/ 0 w 64"/>
                <a:gd name="T9" fmla="*/ 21 h 89"/>
                <a:gd name="T10" fmla="*/ 0 w 64"/>
                <a:gd name="T11" fmla="*/ 40 h 89"/>
                <a:gd name="T12" fmla="*/ 13 w 64"/>
                <a:gd name="T13" fmla="*/ 55 h 89"/>
                <a:gd name="T14" fmla="*/ 14 w 64"/>
                <a:gd name="T15" fmla="*/ 55 h 89"/>
                <a:gd name="T16" fmla="*/ 14 w 64"/>
                <a:gd name="T17" fmla="*/ 89 h 89"/>
                <a:gd name="T18" fmla="*/ 18 w 64"/>
                <a:gd name="T19" fmla="*/ 89 h 89"/>
                <a:gd name="T20" fmla="*/ 18 w 64"/>
                <a:gd name="T21" fmla="*/ 19 h 89"/>
                <a:gd name="T22" fmla="*/ 14 w 64"/>
                <a:gd name="T23" fmla="*/ 19 h 89"/>
                <a:gd name="T24" fmla="*/ 14 w 64"/>
                <a:gd name="T25" fmla="*/ 52 h 89"/>
                <a:gd name="T26" fmla="*/ 13 w 64"/>
                <a:gd name="T27" fmla="*/ 51 h 89"/>
                <a:gd name="T28" fmla="*/ 4 w 64"/>
                <a:gd name="T29" fmla="*/ 40 h 89"/>
                <a:gd name="T30" fmla="*/ 4 w 64"/>
                <a:gd name="T31" fmla="*/ 21 h 89"/>
                <a:gd name="T32" fmla="*/ 21 w 64"/>
                <a:gd name="T33" fmla="*/ 4 h 89"/>
                <a:gd name="T34" fmla="*/ 43 w 64"/>
                <a:gd name="T35" fmla="*/ 4 h 89"/>
                <a:gd name="T36" fmla="*/ 60 w 64"/>
                <a:gd name="T37" fmla="*/ 21 h 89"/>
                <a:gd name="T38" fmla="*/ 60 w 64"/>
                <a:gd name="T39" fmla="*/ 40 h 89"/>
                <a:gd name="T40" fmla="*/ 52 w 64"/>
                <a:gd name="T41" fmla="*/ 51 h 89"/>
                <a:gd name="T42" fmla="*/ 51 w 64"/>
                <a:gd name="T43" fmla="*/ 51 h 89"/>
                <a:gd name="T44" fmla="*/ 51 w 64"/>
                <a:gd name="T45" fmla="*/ 19 h 89"/>
                <a:gd name="T46" fmla="*/ 47 w 64"/>
                <a:gd name="T47" fmla="*/ 19 h 89"/>
                <a:gd name="T48" fmla="*/ 47 w 64"/>
                <a:gd name="T49" fmla="*/ 89 h 89"/>
                <a:gd name="T50" fmla="*/ 51 w 64"/>
                <a:gd name="T51" fmla="*/ 89 h 89"/>
                <a:gd name="T52" fmla="*/ 51 w 64"/>
                <a:gd name="T53" fmla="*/ 55 h 89"/>
                <a:gd name="T54" fmla="*/ 51 w 64"/>
                <a:gd name="T55" fmla="*/ 55 h 89"/>
                <a:gd name="T56" fmla="*/ 64 w 64"/>
                <a:gd name="T57" fmla="*/ 4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4" h="89">
                  <a:moveTo>
                    <a:pt x="64" y="40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9"/>
                    <a:pt x="53" y="0"/>
                    <a:pt x="4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1" y="0"/>
                    <a:pt x="0" y="9"/>
                    <a:pt x="0" y="2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7"/>
                    <a:pt x="7" y="54"/>
                    <a:pt x="13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9" y="50"/>
                    <a:pt x="4" y="45"/>
                    <a:pt x="4" y="4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0"/>
                    <a:pt x="14" y="4"/>
                    <a:pt x="21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50" y="4"/>
                    <a:pt x="60" y="10"/>
                    <a:pt x="60" y="21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44"/>
                    <a:pt x="56" y="49"/>
                    <a:pt x="52" y="51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8" y="53"/>
                    <a:pt x="64" y="46"/>
                    <a:pt x="64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id="{45BA71BC-F3FE-4657-8632-DD8F807F0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" y="586"/>
              <a:ext cx="10" cy="1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3A1BAC97-79A1-44C1-BF86-9DFFA53D1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" y="445"/>
              <a:ext cx="141" cy="177"/>
            </a:xfrm>
            <a:custGeom>
              <a:avLst/>
              <a:gdLst>
                <a:gd name="T0" fmla="*/ 20 w 55"/>
                <a:gd name="T1" fmla="*/ 4 h 69"/>
                <a:gd name="T2" fmla="*/ 51 w 55"/>
                <a:gd name="T3" fmla="*/ 35 h 69"/>
                <a:gd name="T4" fmla="*/ 20 w 55"/>
                <a:gd name="T5" fmla="*/ 66 h 69"/>
                <a:gd name="T6" fmla="*/ 5 w 55"/>
                <a:gd name="T7" fmla="*/ 61 h 69"/>
                <a:gd name="T8" fmla="*/ 3 w 55"/>
                <a:gd name="T9" fmla="*/ 64 h 69"/>
                <a:gd name="T10" fmla="*/ 20 w 55"/>
                <a:gd name="T11" fmla="*/ 69 h 69"/>
                <a:gd name="T12" fmla="*/ 55 w 55"/>
                <a:gd name="T13" fmla="*/ 35 h 69"/>
                <a:gd name="T14" fmla="*/ 20 w 55"/>
                <a:gd name="T15" fmla="*/ 0 h 69"/>
                <a:gd name="T16" fmla="*/ 0 w 55"/>
                <a:gd name="T17" fmla="*/ 7 h 69"/>
                <a:gd name="T18" fmla="*/ 3 w 55"/>
                <a:gd name="T19" fmla="*/ 10 h 69"/>
                <a:gd name="T20" fmla="*/ 20 w 55"/>
                <a:gd name="T21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69">
                  <a:moveTo>
                    <a:pt x="20" y="4"/>
                  </a:moveTo>
                  <a:cubicBezTo>
                    <a:pt x="37" y="4"/>
                    <a:pt x="51" y="18"/>
                    <a:pt x="51" y="35"/>
                  </a:cubicBezTo>
                  <a:cubicBezTo>
                    <a:pt x="51" y="52"/>
                    <a:pt x="37" y="66"/>
                    <a:pt x="20" y="66"/>
                  </a:cubicBezTo>
                  <a:cubicBezTo>
                    <a:pt x="15" y="66"/>
                    <a:pt x="10" y="64"/>
                    <a:pt x="5" y="61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9" y="68"/>
                    <a:pt x="14" y="69"/>
                    <a:pt x="20" y="69"/>
                  </a:cubicBezTo>
                  <a:cubicBezTo>
                    <a:pt x="40" y="69"/>
                    <a:pt x="55" y="54"/>
                    <a:pt x="55" y="35"/>
                  </a:cubicBezTo>
                  <a:cubicBezTo>
                    <a:pt x="55" y="16"/>
                    <a:pt x="40" y="0"/>
                    <a:pt x="20" y="0"/>
                  </a:cubicBezTo>
                  <a:cubicBezTo>
                    <a:pt x="13" y="0"/>
                    <a:pt x="6" y="2"/>
                    <a:pt x="0" y="7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8" y="6"/>
                    <a:pt x="14" y="4"/>
                    <a:pt x="2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E49DB1B1-63E9-4C48-ACC5-CF94EBDF0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" y="361"/>
              <a:ext cx="80" cy="94"/>
            </a:xfrm>
            <a:custGeom>
              <a:avLst/>
              <a:gdLst>
                <a:gd name="T0" fmla="*/ 16 w 31"/>
                <a:gd name="T1" fmla="*/ 0 h 37"/>
                <a:gd name="T2" fmla="*/ 0 w 31"/>
                <a:gd name="T3" fmla="*/ 16 h 37"/>
                <a:gd name="T4" fmla="*/ 0 w 31"/>
                <a:gd name="T5" fmla="*/ 21 h 37"/>
                <a:gd name="T6" fmla="*/ 4 w 31"/>
                <a:gd name="T7" fmla="*/ 32 h 37"/>
                <a:gd name="T8" fmla="*/ 15 w 31"/>
                <a:gd name="T9" fmla="*/ 37 h 37"/>
                <a:gd name="T10" fmla="*/ 31 w 31"/>
                <a:gd name="T11" fmla="*/ 21 h 37"/>
                <a:gd name="T12" fmla="*/ 31 w 31"/>
                <a:gd name="T13" fmla="*/ 16 h 37"/>
                <a:gd name="T14" fmla="*/ 26 w 31"/>
                <a:gd name="T15" fmla="*/ 5 h 37"/>
                <a:gd name="T16" fmla="*/ 16 w 31"/>
                <a:gd name="T17" fmla="*/ 0 h 37"/>
                <a:gd name="T18" fmla="*/ 27 w 31"/>
                <a:gd name="T19" fmla="*/ 21 h 37"/>
                <a:gd name="T20" fmla="*/ 15 w 31"/>
                <a:gd name="T21" fmla="*/ 33 h 37"/>
                <a:gd name="T22" fmla="*/ 7 w 31"/>
                <a:gd name="T23" fmla="*/ 30 h 37"/>
                <a:gd name="T24" fmla="*/ 4 w 31"/>
                <a:gd name="T25" fmla="*/ 21 h 37"/>
                <a:gd name="T26" fmla="*/ 4 w 31"/>
                <a:gd name="T27" fmla="*/ 16 h 37"/>
                <a:gd name="T28" fmla="*/ 16 w 31"/>
                <a:gd name="T29" fmla="*/ 4 h 37"/>
                <a:gd name="T30" fmla="*/ 24 w 31"/>
                <a:gd name="T31" fmla="*/ 8 h 37"/>
                <a:gd name="T32" fmla="*/ 27 w 31"/>
                <a:gd name="T33" fmla="*/ 16 h 37"/>
                <a:gd name="T34" fmla="*/ 27 w 31"/>
                <a:gd name="T35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7">
                  <a:moveTo>
                    <a:pt x="16" y="0"/>
                  </a:moveTo>
                  <a:cubicBezTo>
                    <a:pt x="7" y="0"/>
                    <a:pt x="0" y="8"/>
                    <a:pt x="0" y="16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9"/>
                    <a:pt x="4" y="32"/>
                  </a:cubicBezTo>
                  <a:cubicBezTo>
                    <a:pt x="7" y="35"/>
                    <a:pt x="11" y="37"/>
                    <a:pt x="15" y="37"/>
                  </a:cubicBezTo>
                  <a:cubicBezTo>
                    <a:pt x="24" y="37"/>
                    <a:pt x="31" y="30"/>
                    <a:pt x="31" y="21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2"/>
                    <a:pt x="29" y="8"/>
                    <a:pt x="26" y="5"/>
                  </a:cubicBezTo>
                  <a:cubicBezTo>
                    <a:pt x="23" y="2"/>
                    <a:pt x="20" y="0"/>
                    <a:pt x="16" y="0"/>
                  </a:cubicBezTo>
                  <a:close/>
                  <a:moveTo>
                    <a:pt x="27" y="21"/>
                  </a:moveTo>
                  <a:cubicBezTo>
                    <a:pt x="27" y="27"/>
                    <a:pt x="22" y="33"/>
                    <a:pt x="15" y="33"/>
                  </a:cubicBezTo>
                  <a:cubicBezTo>
                    <a:pt x="12" y="33"/>
                    <a:pt x="9" y="32"/>
                    <a:pt x="7" y="30"/>
                  </a:cubicBezTo>
                  <a:cubicBezTo>
                    <a:pt x="5" y="27"/>
                    <a:pt x="4" y="24"/>
                    <a:pt x="4" y="21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0"/>
                    <a:pt x="9" y="4"/>
                    <a:pt x="16" y="4"/>
                  </a:cubicBezTo>
                  <a:cubicBezTo>
                    <a:pt x="18" y="4"/>
                    <a:pt x="21" y="5"/>
                    <a:pt x="24" y="8"/>
                  </a:cubicBezTo>
                  <a:cubicBezTo>
                    <a:pt x="26" y="10"/>
                    <a:pt x="27" y="13"/>
                    <a:pt x="27" y="16"/>
                  </a:cubicBez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FC87F8C7-CC61-4492-BDCF-37D07F4ED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" y="481"/>
              <a:ext cx="38" cy="59"/>
            </a:xfrm>
            <a:custGeom>
              <a:avLst/>
              <a:gdLst>
                <a:gd name="T0" fmla="*/ 0 w 38"/>
                <a:gd name="T1" fmla="*/ 0 h 59"/>
                <a:gd name="T2" fmla="*/ 0 w 38"/>
                <a:gd name="T3" fmla="*/ 59 h 59"/>
                <a:gd name="T4" fmla="*/ 38 w 38"/>
                <a:gd name="T5" fmla="*/ 59 h 59"/>
                <a:gd name="T6" fmla="*/ 38 w 38"/>
                <a:gd name="T7" fmla="*/ 49 h 59"/>
                <a:gd name="T8" fmla="*/ 10 w 38"/>
                <a:gd name="T9" fmla="*/ 49 h 59"/>
                <a:gd name="T10" fmla="*/ 10 w 38"/>
                <a:gd name="T11" fmla="*/ 0 h 59"/>
                <a:gd name="T12" fmla="*/ 0 w 38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59">
                  <a:moveTo>
                    <a:pt x="0" y="0"/>
                  </a:moveTo>
                  <a:lnTo>
                    <a:pt x="0" y="59"/>
                  </a:lnTo>
                  <a:lnTo>
                    <a:pt x="38" y="59"/>
                  </a:lnTo>
                  <a:lnTo>
                    <a:pt x="38" y="49"/>
                  </a:lnTo>
                  <a:lnTo>
                    <a:pt x="10" y="49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5">
            <a:extLst>
              <a:ext uri="{FF2B5EF4-FFF2-40B4-BE49-F238E27FC236}">
                <a16:creationId xmlns:a16="http://schemas.microsoft.com/office/drawing/2014/main" id="{A90B8B6A-5753-4615-AA3C-76A98A3F71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1764" y="365992"/>
            <a:ext cx="758825" cy="758825"/>
            <a:chOff x="2347" y="349"/>
            <a:chExt cx="478" cy="478"/>
          </a:xfrm>
        </p:grpSpPr>
        <p:sp>
          <p:nvSpPr>
            <p:cNvPr id="31" name="AutoShape 24">
              <a:extLst>
                <a:ext uri="{FF2B5EF4-FFF2-40B4-BE49-F238E27FC236}">
                  <a16:creationId xmlns:a16="http://schemas.microsoft.com/office/drawing/2014/main" id="{6FF737AD-1FEF-4275-BE07-D808F6103F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7" y="34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CF65FAD2-D59D-46B4-B46F-C02F35372F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9" y="35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0598850F-C38B-479E-8B54-FF32A3296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533"/>
              <a:ext cx="35" cy="86"/>
            </a:xfrm>
            <a:custGeom>
              <a:avLst/>
              <a:gdLst>
                <a:gd name="T0" fmla="*/ 0 w 35"/>
                <a:gd name="T1" fmla="*/ 0 h 86"/>
                <a:gd name="T2" fmla="*/ 0 w 35"/>
                <a:gd name="T3" fmla="*/ 59 h 86"/>
                <a:gd name="T4" fmla="*/ 27 w 35"/>
                <a:gd name="T5" fmla="*/ 86 h 86"/>
                <a:gd name="T6" fmla="*/ 35 w 35"/>
                <a:gd name="T7" fmla="*/ 78 h 86"/>
                <a:gd name="T8" fmla="*/ 10 w 35"/>
                <a:gd name="T9" fmla="*/ 54 h 86"/>
                <a:gd name="T10" fmla="*/ 10 w 35"/>
                <a:gd name="T11" fmla="*/ 0 h 86"/>
                <a:gd name="T12" fmla="*/ 0 w 35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6">
                  <a:moveTo>
                    <a:pt x="0" y="0"/>
                  </a:moveTo>
                  <a:lnTo>
                    <a:pt x="0" y="59"/>
                  </a:lnTo>
                  <a:lnTo>
                    <a:pt x="27" y="86"/>
                  </a:lnTo>
                  <a:lnTo>
                    <a:pt x="35" y="78"/>
                  </a:lnTo>
                  <a:lnTo>
                    <a:pt x="10" y="54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B2FDB94B-8AA5-4ACD-9799-50D5BC958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" y="447"/>
              <a:ext cx="291" cy="154"/>
            </a:xfrm>
            <a:custGeom>
              <a:avLst/>
              <a:gdLst>
                <a:gd name="T0" fmla="*/ 59 w 119"/>
                <a:gd name="T1" fmla="*/ 0 h 63"/>
                <a:gd name="T2" fmla="*/ 59 w 119"/>
                <a:gd name="T3" fmla="*/ 0 h 63"/>
                <a:gd name="T4" fmla="*/ 17 w 119"/>
                <a:gd name="T5" fmla="*/ 17 h 63"/>
                <a:gd name="T6" fmla="*/ 12 w 119"/>
                <a:gd name="T7" fmla="*/ 22 h 63"/>
                <a:gd name="T8" fmla="*/ 5 w 119"/>
                <a:gd name="T9" fmla="*/ 16 h 63"/>
                <a:gd name="T10" fmla="*/ 0 w 119"/>
                <a:gd name="T11" fmla="*/ 16 h 63"/>
                <a:gd name="T12" fmla="*/ 0 w 119"/>
                <a:gd name="T13" fmla="*/ 47 h 63"/>
                <a:gd name="T14" fmla="*/ 31 w 119"/>
                <a:gd name="T15" fmla="*/ 47 h 63"/>
                <a:gd name="T16" fmla="*/ 31 w 119"/>
                <a:gd name="T17" fmla="*/ 41 h 63"/>
                <a:gd name="T18" fmla="*/ 26 w 119"/>
                <a:gd name="T19" fmla="*/ 36 h 63"/>
                <a:gd name="T20" fmla="*/ 31 w 119"/>
                <a:gd name="T21" fmla="*/ 31 h 63"/>
                <a:gd name="T22" fmla="*/ 59 w 119"/>
                <a:gd name="T23" fmla="*/ 20 h 63"/>
                <a:gd name="T24" fmla="*/ 59 w 119"/>
                <a:gd name="T25" fmla="*/ 20 h 63"/>
                <a:gd name="T26" fmla="*/ 87 w 119"/>
                <a:gd name="T27" fmla="*/ 31 h 63"/>
                <a:gd name="T28" fmla="*/ 98 w 119"/>
                <a:gd name="T29" fmla="*/ 61 h 63"/>
                <a:gd name="T30" fmla="*/ 98 w 119"/>
                <a:gd name="T31" fmla="*/ 63 h 63"/>
                <a:gd name="T32" fmla="*/ 118 w 119"/>
                <a:gd name="T33" fmla="*/ 63 h 63"/>
                <a:gd name="T34" fmla="*/ 118 w 119"/>
                <a:gd name="T35" fmla="*/ 61 h 63"/>
                <a:gd name="T36" fmla="*/ 101 w 119"/>
                <a:gd name="T37" fmla="*/ 17 h 63"/>
                <a:gd name="T38" fmla="*/ 59 w 119"/>
                <a:gd name="T39" fmla="*/ 0 h 63"/>
                <a:gd name="T40" fmla="*/ 114 w 119"/>
                <a:gd name="T41" fmla="*/ 59 h 63"/>
                <a:gd name="T42" fmla="*/ 102 w 119"/>
                <a:gd name="T43" fmla="*/ 59 h 63"/>
                <a:gd name="T44" fmla="*/ 102 w 119"/>
                <a:gd name="T45" fmla="*/ 58 h 63"/>
                <a:gd name="T46" fmla="*/ 89 w 119"/>
                <a:gd name="T47" fmla="*/ 29 h 63"/>
                <a:gd name="T48" fmla="*/ 59 w 119"/>
                <a:gd name="T49" fmla="*/ 16 h 63"/>
                <a:gd name="T50" fmla="*/ 59 w 119"/>
                <a:gd name="T51" fmla="*/ 16 h 63"/>
                <a:gd name="T52" fmla="*/ 29 w 119"/>
                <a:gd name="T53" fmla="*/ 28 h 63"/>
                <a:gd name="T54" fmla="*/ 20 w 119"/>
                <a:gd name="T55" fmla="*/ 36 h 63"/>
                <a:gd name="T56" fmla="*/ 27 w 119"/>
                <a:gd name="T57" fmla="*/ 43 h 63"/>
                <a:gd name="T58" fmla="*/ 3 w 119"/>
                <a:gd name="T59" fmla="*/ 43 h 63"/>
                <a:gd name="T60" fmla="*/ 3 w 119"/>
                <a:gd name="T61" fmla="*/ 20 h 63"/>
                <a:gd name="T62" fmla="*/ 12 w 119"/>
                <a:gd name="T63" fmla="*/ 28 h 63"/>
                <a:gd name="T64" fmla="*/ 20 w 119"/>
                <a:gd name="T65" fmla="*/ 20 h 63"/>
                <a:gd name="T66" fmla="*/ 59 w 119"/>
                <a:gd name="T67" fmla="*/ 4 h 63"/>
                <a:gd name="T68" fmla="*/ 98 w 119"/>
                <a:gd name="T69" fmla="*/ 20 h 63"/>
                <a:gd name="T70" fmla="*/ 114 w 119"/>
                <a:gd name="T71" fmla="*/ 58 h 63"/>
                <a:gd name="T72" fmla="*/ 114 w 119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9" h="63"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43" y="0"/>
                    <a:pt x="28" y="6"/>
                    <a:pt x="17" y="1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9" y="24"/>
                    <a:pt x="48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9" y="20"/>
                    <a:pt x="79" y="24"/>
                    <a:pt x="87" y="31"/>
                  </a:cubicBezTo>
                  <a:cubicBezTo>
                    <a:pt x="94" y="39"/>
                    <a:pt x="99" y="50"/>
                    <a:pt x="98" y="61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18" y="63"/>
                    <a:pt x="118" y="63"/>
                    <a:pt x="118" y="63"/>
                  </a:cubicBezTo>
                  <a:cubicBezTo>
                    <a:pt x="118" y="61"/>
                    <a:pt x="118" y="61"/>
                    <a:pt x="118" y="61"/>
                  </a:cubicBezTo>
                  <a:cubicBezTo>
                    <a:pt x="119" y="44"/>
                    <a:pt x="113" y="29"/>
                    <a:pt x="101" y="17"/>
                  </a:cubicBezTo>
                  <a:cubicBezTo>
                    <a:pt x="90" y="6"/>
                    <a:pt x="75" y="0"/>
                    <a:pt x="59" y="0"/>
                  </a:cubicBezTo>
                  <a:close/>
                  <a:moveTo>
                    <a:pt x="114" y="59"/>
                  </a:moveTo>
                  <a:cubicBezTo>
                    <a:pt x="102" y="59"/>
                    <a:pt x="102" y="59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47"/>
                    <a:pt x="97" y="36"/>
                    <a:pt x="89" y="29"/>
                  </a:cubicBezTo>
                  <a:cubicBezTo>
                    <a:pt x="81" y="21"/>
                    <a:pt x="70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47" y="16"/>
                    <a:pt x="37" y="20"/>
                    <a:pt x="29" y="2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0" y="9"/>
                    <a:pt x="44" y="4"/>
                    <a:pt x="59" y="4"/>
                  </a:cubicBezTo>
                  <a:cubicBezTo>
                    <a:pt x="74" y="4"/>
                    <a:pt x="88" y="9"/>
                    <a:pt x="98" y="20"/>
                  </a:cubicBezTo>
                  <a:cubicBezTo>
                    <a:pt x="109" y="30"/>
                    <a:pt x="114" y="43"/>
                    <a:pt x="114" y="58"/>
                  </a:cubicBezTo>
                  <a:lnTo>
                    <a:pt x="114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26C8583B-300B-4E89-859B-441CF943A9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579"/>
              <a:ext cx="292" cy="152"/>
            </a:xfrm>
            <a:custGeom>
              <a:avLst/>
              <a:gdLst>
                <a:gd name="T0" fmla="*/ 60 w 119"/>
                <a:gd name="T1" fmla="*/ 62 h 62"/>
                <a:gd name="T2" fmla="*/ 102 w 119"/>
                <a:gd name="T3" fmla="*/ 45 h 62"/>
                <a:gd name="T4" fmla="*/ 107 w 119"/>
                <a:gd name="T5" fmla="*/ 40 h 62"/>
                <a:gd name="T6" fmla="*/ 114 w 119"/>
                <a:gd name="T7" fmla="*/ 46 h 62"/>
                <a:gd name="T8" fmla="*/ 119 w 119"/>
                <a:gd name="T9" fmla="*/ 46 h 62"/>
                <a:gd name="T10" fmla="*/ 119 w 119"/>
                <a:gd name="T11" fmla="*/ 16 h 62"/>
                <a:gd name="T12" fmla="*/ 88 w 119"/>
                <a:gd name="T13" fmla="*/ 16 h 62"/>
                <a:gd name="T14" fmla="*/ 88 w 119"/>
                <a:gd name="T15" fmla="*/ 21 h 62"/>
                <a:gd name="T16" fmla="*/ 93 w 119"/>
                <a:gd name="T17" fmla="*/ 26 h 62"/>
                <a:gd name="T18" fmla="*/ 88 w 119"/>
                <a:gd name="T19" fmla="*/ 31 h 62"/>
                <a:gd name="T20" fmla="*/ 32 w 119"/>
                <a:gd name="T21" fmla="*/ 31 h 62"/>
                <a:gd name="T22" fmla="*/ 21 w 119"/>
                <a:gd name="T23" fmla="*/ 2 h 62"/>
                <a:gd name="T24" fmla="*/ 21 w 119"/>
                <a:gd name="T25" fmla="*/ 0 h 62"/>
                <a:gd name="T26" fmla="*/ 1 w 119"/>
                <a:gd name="T27" fmla="*/ 0 h 62"/>
                <a:gd name="T28" fmla="*/ 1 w 119"/>
                <a:gd name="T29" fmla="*/ 1 h 62"/>
                <a:gd name="T30" fmla="*/ 18 w 119"/>
                <a:gd name="T31" fmla="*/ 45 h 62"/>
                <a:gd name="T32" fmla="*/ 60 w 119"/>
                <a:gd name="T33" fmla="*/ 62 h 62"/>
                <a:gd name="T34" fmla="*/ 4 w 119"/>
                <a:gd name="T35" fmla="*/ 3 h 62"/>
                <a:gd name="T36" fmla="*/ 17 w 119"/>
                <a:gd name="T37" fmla="*/ 3 h 62"/>
                <a:gd name="T38" fmla="*/ 17 w 119"/>
                <a:gd name="T39" fmla="*/ 4 h 62"/>
                <a:gd name="T40" fmla="*/ 30 w 119"/>
                <a:gd name="T41" fmla="*/ 34 h 62"/>
                <a:gd name="T42" fmla="*/ 90 w 119"/>
                <a:gd name="T43" fmla="*/ 34 h 62"/>
                <a:gd name="T44" fmla="*/ 99 w 119"/>
                <a:gd name="T45" fmla="*/ 26 h 62"/>
                <a:gd name="T46" fmla="*/ 92 w 119"/>
                <a:gd name="T47" fmla="*/ 20 h 62"/>
                <a:gd name="T48" fmla="*/ 116 w 119"/>
                <a:gd name="T49" fmla="*/ 20 h 62"/>
                <a:gd name="T50" fmla="*/ 116 w 119"/>
                <a:gd name="T51" fmla="*/ 43 h 62"/>
                <a:gd name="T52" fmla="*/ 107 w 119"/>
                <a:gd name="T53" fmla="*/ 35 h 62"/>
                <a:gd name="T54" fmla="*/ 99 w 119"/>
                <a:gd name="T55" fmla="*/ 43 h 62"/>
                <a:gd name="T56" fmla="*/ 60 w 119"/>
                <a:gd name="T57" fmla="*/ 58 h 62"/>
                <a:gd name="T58" fmla="*/ 21 w 119"/>
                <a:gd name="T59" fmla="*/ 42 h 62"/>
                <a:gd name="T60" fmla="*/ 4 w 119"/>
                <a:gd name="T61" fmla="*/ 4 h 62"/>
                <a:gd name="T62" fmla="*/ 4 w 119"/>
                <a:gd name="T63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9" h="62">
                  <a:moveTo>
                    <a:pt x="60" y="62"/>
                  </a:moveTo>
                  <a:cubicBezTo>
                    <a:pt x="76" y="62"/>
                    <a:pt x="91" y="56"/>
                    <a:pt x="102" y="45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14" y="46"/>
                    <a:pt x="114" y="46"/>
                    <a:pt x="114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72" y="46"/>
                    <a:pt x="48" y="46"/>
                    <a:pt x="32" y="31"/>
                  </a:cubicBezTo>
                  <a:cubicBezTo>
                    <a:pt x="25" y="23"/>
                    <a:pt x="20" y="12"/>
                    <a:pt x="21" y="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8"/>
                    <a:pt x="6" y="33"/>
                    <a:pt x="18" y="45"/>
                  </a:cubicBezTo>
                  <a:cubicBezTo>
                    <a:pt x="29" y="56"/>
                    <a:pt x="44" y="62"/>
                    <a:pt x="60" y="62"/>
                  </a:cubicBezTo>
                  <a:close/>
                  <a:moveTo>
                    <a:pt x="4" y="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15"/>
                    <a:pt x="22" y="26"/>
                    <a:pt x="30" y="34"/>
                  </a:cubicBezTo>
                  <a:cubicBezTo>
                    <a:pt x="46" y="50"/>
                    <a:pt x="74" y="50"/>
                    <a:pt x="90" y="34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89" y="53"/>
                    <a:pt x="74" y="58"/>
                    <a:pt x="60" y="58"/>
                  </a:cubicBezTo>
                  <a:cubicBezTo>
                    <a:pt x="46" y="58"/>
                    <a:pt x="32" y="53"/>
                    <a:pt x="21" y="42"/>
                  </a:cubicBezTo>
                  <a:cubicBezTo>
                    <a:pt x="10" y="32"/>
                    <a:pt x="5" y="19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32">
            <a:extLst>
              <a:ext uri="{FF2B5EF4-FFF2-40B4-BE49-F238E27FC236}">
                <a16:creationId xmlns:a16="http://schemas.microsoft.com/office/drawing/2014/main" id="{B09CCFDD-16B9-4D93-AAF0-E4A370EA3AC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32075" y="324717"/>
            <a:ext cx="841375" cy="841375"/>
            <a:chOff x="1658" y="329"/>
            <a:chExt cx="530" cy="530"/>
          </a:xfrm>
        </p:grpSpPr>
        <p:sp>
          <p:nvSpPr>
            <p:cNvPr id="37" name="AutoShape 31">
              <a:extLst>
                <a:ext uri="{FF2B5EF4-FFF2-40B4-BE49-F238E27FC236}">
                  <a16:creationId xmlns:a16="http://schemas.microsoft.com/office/drawing/2014/main" id="{A4F60346-F2DA-407D-A23F-41B2F024C5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58" y="32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3">
              <a:extLst>
                <a:ext uri="{FF2B5EF4-FFF2-40B4-BE49-F238E27FC236}">
                  <a16:creationId xmlns:a16="http://schemas.microsoft.com/office/drawing/2014/main" id="{301B2936-82DC-4A99-AFB3-5CE9B64D9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" y="32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79DF1BBE-C567-4E4A-9AD8-AF6EE6AD44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6" y="34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4BA742A6-3B51-4CFD-BCAB-52AC17F11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" y="536"/>
              <a:ext cx="36" cy="90"/>
            </a:xfrm>
            <a:custGeom>
              <a:avLst/>
              <a:gdLst>
                <a:gd name="T0" fmla="*/ 0 w 36"/>
                <a:gd name="T1" fmla="*/ 0 h 90"/>
                <a:gd name="T2" fmla="*/ 0 w 36"/>
                <a:gd name="T3" fmla="*/ 62 h 90"/>
                <a:gd name="T4" fmla="*/ 28 w 36"/>
                <a:gd name="T5" fmla="*/ 90 h 90"/>
                <a:gd name="T6" fmla="*/ 36 w 36"/>
                <a:gd name="T7" fmla="*/ 82 h 90"/>
                <a:gd name="T8" fmla="*/ 10 w 36"/>
                <a:gd name="T9" fmla="*/ 57 h 90"/>
                <a:gd name="T10" fmla="*/ 10 w 36"/>
                <a:gd name="T11" fmla="*/ 0 h 90"/>
                <a:gd name="T12" fmla="*/ 0 w 36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90">
                  <a:moveTo>
                    <a:pt x="0" y="0"/>
                  </a:moveTo>
                  <a:lnTo>
                    <a:pt x="0" y="62"/>
                  </a:lnTo>
                  <a:lnTo>
                    <a:pt x="28" y="90"/>
                  </a:lnTo>
                  <a:lnTo>
                    <a:pt x="36" y="82"/>
                  </a:lnTo>
                  <a:lnTo>
                    <a:pt x="10" y="57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FD49EA2D-7905-4AAA-A783-E69CDBFA0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3" y="447"/>
              <a:ext cx="305" cy="161"/>
            </a:xfrm>
            <a:custGeom>
              <a:avLst/>
              <a:gdLst>
                <a:gd name="T0" fmla="*/ 59 w 119"/>
                <a:gd name="T1" fmla="*/ 0 h 63"/>
                <a:gd name="T2" fmla="*/ 59 w 119"/>
                <a:gd name="T3" fmla="*/ 0 h 63"/>
                <a:gd name="T4" fmla="*/ 17 w 119"/>
                <a:gd name="T5" fmla="*/ 17 h 63"/>
                <a:gd name="T6" fmla="*/ 12 w 119"/>
                <a:gd name="T7" fmla="*/ 22 h 63"/>
                <a:gd name="T8" fmla="*/ 5 w 119"/>
                <a:gd name="T9" fmla="*/ 16 h 63"/>
                <a:gd name="T10" fmla="*/ 0 w 119"/>
                <a:gd name="T11" fmla="*/ 16 h 63"/>
                <a:gd name="T12" fmla="*/ 0 w 119"/>
                <a:gd name="T13" fmla="*/ 47 h 63"/>
                <a:gd name="T14" fmla="*/ 31 w 119"/>
                <a:gd name="T15" fmla="*/ 47 h 63"/>
                <a:gd name="T16" fmla="*/ 31 w 119"/>
                <a:gd name="T17" fmla="*/ 41 h 63"/>
                <a:gd name="T18" fmla="*/ 26 w 119"/>
                <a:gd name="T19" fmla="*/ 36 h 63"/>
                <a:gd name="T20" fmla="*/ 31 w 119"/>
                <a:gd name="T21" fmla="*/ 31 h 63"/>
                <a:gd name="T22" fmla="*/ 59 w 119"/>
                <a:gd name="T23" fmla="*/ 20 h 63"/>
                <a:gd name="T24" fmla="*/ 59 w 119"/>
                <a:gd name="T25" fmla="*/ 20 h 63"/>
                <a:gd name="T26" fmla="*/ 87 w 119"/>
                <a:gd name="T27" fmla="*/ 31 h 63"/>
                <a:gd name="T28" fmla="*/ 98 w 119"/>
                <a:gd name="T29" fmla="*/ 61 h 63"/>
                <a:gd name="T30" fmla="*/ 98 w 119"/>
                <a:gd name="T31" fmla="*/ 63 h 63"/>
                <a:gd name="T32" fmla="*/ 118 w 119"/>
                <a:gd name="T33" fmla="*/ 63 h 63"/>
                <a:gd name="T34" fmla="*/ 118 w 119"/>
                <a:gd name="T35" fmla="*/ 61 h 63"/>
                <a:gd name="T36" fmla="*/ 101 w 119"/>
                <a:gd name="T37" fmla="*/ 17 h 63"/>
                <a:gd name="T38" fmla="*/ 59 w 119"/>
                <a:gd name="T39" fmla="*/ 0 h 63"/>
                <a:gd name="T40" fmla="*/ 114 w 119"/>
                <a:gd name="T41" fmla="*/ 59 h 63"/>
                <a:gd name="T42" fmla="*/ 102 w 119"/>
                <a:gd name="T43" fmla="*/ 59 h 63"/>
                <a:gd name="T44" fmla="*/ 102 w 119"/>
                <a:gd name="T45" fmla="*/ 58 h 63"/>
                <a:gd name="T46" fmla="*/ 89 w 119"/>
                <a:gd name="T47" fmla="*/ 29 h 63"/>
                <a:gd name="T48" fmla="*/ 59 w 119"/>
                <a:gd name="T49" fmla="*/ 16 h 63"/>
                <a:gd name="T50" fmla="*/ 59 w 119"/>
                <a:gd name="T51" fmla="*/ 16 h 63"/>
                <a:gd name="T52" fmla="*/ 29 w 119"/>
                <a:gd name="T53" fmla="*/ 28 h 63"/>
                <a:gd name="T54" fmla="*/ 20 w 119"/>
                <a:gd name="T55" fmla="*/ 36 h 63"/>
                <a:gd name="T56" fmla="*/ 27 w 119"/>
                <a:gd name="T57" fmla="*/ 43 h 63"/>
                <a:gd name="T58" fmla="*/ 3 w 119"/>
                <a:gd name="T59" fmla="*/ 43 h 63"/>
                <a:gd name="T60" fmla="*/ 3 w 119"/>
                <a:gd name="T61" fmla="*/ 20 h 63"/>
                <a:gd name="T62" fmla="*/ 12 w 119"/>
                <a:gd name="T63" fmla="*/ 28 h 63"/>
                <a:gd name="T64" fmla="*/ 20 w 119"/>
                <a:gd name="T65" fmla="*/ 20 h 63"/>
                <a:gd name="T66" fmla="*/ 59 w 119"/>
                <a:gd name="T67" fmla="*/ 4 h 63"/>
                <a:gd name="T68" fmla="*/ 98 w 119"/>
                <a:gd name="T69" fmla="*/ 20 h 63"/>
                <a:gd name="T70" fmla="*/ 114 w 119"/>
                <a:gd name="T71" fmla="*/ 58 h 63"/>
                <a:gd name="T72" fmla="*/ 114 w 119"/>
                <a:gd name="T73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9" h="63"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43" y="0"/>
                    <a:pt x="28" y="6"/>
                    <a:pt x="17" y="1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9" y="24"/>
                    <a:pt x="48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9" y="20"/>
                    <a:pt x="79" y="24"/>
                    <a:pt x="87" y="31"/>
                  </a:cubicBezTo>
                  <a:cubicBezTo>
                    <a:pt x="94" y="39"/>
                    <a:pt x="99" y="50"/>
                    <a:pt x="98" y="61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18" y="63"/>
                    <a:pt x="118" y="63"/>
                    <a:pt x="118" y="63"/>
                  </a:cubicBezTo>
                  <a:cubicBezTo>
                    <a:pt x="118" y="61"/>
                    <a:pt x="118" y="61"/>
                    <a:pt x="118" y="61"/>
                  </a:cubicBezTo>
                  <a:cubicBezTo>
                    <a:pt x="119" y="44"/>
                    <a:pt x="113" y="29"/>
                    <a:pt x="101" y="17"/>
                  </a:cubicBezTo>
                  <a:cubicBezTo>
                    <a:pt x="90" y="6"/>
                    <a:pt x="75" y="0"/>
                    <a:pt x="59" y="0"/>
                  </a:cubicBezTo>
                  <a:close/>
                  <a:moveTo>
                    <a:pt x="114" y="59"/>
                  </a:moveTo>
                  <a:cubicBezTo>
                    <a:pt x="102" y="59"/>
                    <a:pt x="102" y="59"/>
                    <a:pt x="102" y="59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47"/>
                    <a:pt x="97" y="36"/>
                    <a:pt x="89" y="29"/>
                  </a:cubicBezTo>
                  <a:cubicBezTo>
                    <a:pt x="81" y="21"/>
                    <a:pt x="70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47" y="16"/>
                    <a:pt x="37" y="20"/>
                    <a:pt x="29" y="28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0" y="9"/>
                    <a:pt x="44" y="4"/>
                    <a:pt x="59" y="4"/>
                  </a:cubicBezTo>
                  <a:cubicBezTo>
                    <a:pt x="74" y="4"/>
                    <a:pt x="88" y="9"/>
                    <a:pt x="98" y="20"/>
                  </a:cubicBezTo>
                  <a:cubicBezTo>
                    <a:pt x="109" y="30"/>
                    <a:pt x="114" y="43"/>
                    <a:pt x="114" y="58"/>
                  </a:cubicBezTo>
                  <a:lnTo>
                    <a:pt x="114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081813BD-1165-4ABD-9E1D-CB3223D3C8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" y="585"/>
              <a:ext cx="304" cy="159"/>
            </a:xfrm>
            <a:custGeom>
              <a:avLst/>
              <a:gdLst>
                <a:gd name="T0" fmla="*/ 60 w 119"/>
                <a:gd name="T1" fmla="*/ 62 h 62"/>
                <a:gd name="T2" fmla="*/ 102 w 119"/>
                <a:gd name="T3" fmla="*/ 45 h 62"/>
                <a:gd name="T4" fmla="*/ 107 w 119"/>
                <a:gd name="T5" fmla="*/ 40 h 62"/>
                <a:gd name="T6" fmla="*/ 114 w 119"/>
                <a:gd name="T7" fmla="*/ 46 h 62"/>
                <a:gd name="T8" fmla="*/ 119 w 119"/>
                <a:gd name="T9" fmla="*/ 46 h 62"/>
                <a:gd name="T10" fmla="*/ 119 w 119"/>
                <a:gd name="T11" fmla="*/ 16 h 62"/>
                <a:gd name="T12" fmla="*/ 88 w 119"/>
                <a:gd name="T13" fmla="*/ 16 h 62"/>
                <a:gd name="T14" fmla="*/ 88 w 119"/>
                <a:gd name="T15" fmla="*/ 21 h 62"/>
                <a:gd name="T16" fmla="*/ 93 w 119"/>
                <a:gd name="T17" fmla="*/ 26 h 62"/>
                <a:gd name="T18" fmla="*/ 88 w 119"/>
                <a:gd name="T19" fmla="*/ 31 h 62"/>
                <a:gd name="T20" fmla="*/ 32 w 119"/>
                <a:gd name="T21" fmla="*/ 31 h 62"/>
                <a:gd name="T22" fmla="*/ 21 w 119"/>
                <a:gd name="T23" fmla="*/ 2 h 62"/>
                <a:gd name="T24" fmla="*/ 21 w 119"/>
                <a:gd name="T25" fmla="*/ 0 h 62"/>
                <a:gd name="T26" fmla="*/ 1 w 119"/>
                <a:gd name="T27" fmla="*/ 0 h 62"/>
                <a:gd name="T28" fmla="*/ 1 w 119"/>
                <a:gd name="T29" fmla="*/ 1 h 62"/>
                <a:gd name="T30" fmla="*/ 18 w 119"/>
                <a:gd name="T31" fmla="*/ 45 h 62"/>
                <a:gd name="T32" fmla="*/ 60 w 119"/>
                <a:gd name="T33" fmla="*/ 62 h 62"/>
                <a:gd name="T34" fmla="*/ 4 w 119"/>
                <a:gd name="T35" fmla="*/ 3 h 62"/>
                <a:gd name="T36" fmla="*/ 17 w 119"/>
                <a:gd name="T37" fmla="*/ 3 h 62"/>
                <a:gd name="T38" fmla="*/ 17 w 119"/>
                <a:gd name="T39" fmla="*/ 4 h 62"/>
                <a:gd name="T40" fmla="*/ 30 w 119"/>
                <a:gd name="T41" fmla="*/ 34 h 62"/>
                <a:gd name="T42" fmla="*/ 90 w 119"/>
                <a:gd name="T43" fmla="*/ 34 h 62"/>
                <a:gd name="T44" fmla="*/ 99 w 119"/>
                <a:gd name="T45" fmla="*/ 26 h 62"/>
                <a:gd name="T46" fmla="*/ 92 w 119"/>
                <a:gd name="T47" fmla="*/ 20 h 62"/>
                <a:gd name="T48" fmla="*/ 116 w 119"/>
                <a:gd name="T49" fmla="*/ 20 h 62"/>
                <a:gd name="T50" fmla="*/ 116 w 119"/>
                <a:gd name="T51" fmla="*/ 43 h 62"/>
                <a:gd name="T52" fmla="*/ 107 w 119"/>
                <a:gd name="T53" fmla="*/ 35 h 62"/>
                <a:gd name="T54" fmla="*/ 99 w 119"/>
                <a:gd name="T55" fmla="*/ 43 h 62"/>
                <a:gd name="T56" fmla="*/ 60 w 119"/>
                <a:gd name="T57" fmla="*/ 58 h 62"/>
                <a:gd name="T58" fmla="*/ 21 w 119"/>
                <a:gd name="T59" fmla="*/ 42 h 62"/>
                <a:gd name="T60" fmla="*/ 4 w 119"/>
                <a:gd name="T61" fmla="*/ 4 h 62"/>
                <a:gd name="T62" fmla="*/ 4 w 119"/>
                <a:gd name="T63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9" h="62">
                  <a:moveTo>
                    <a:pt x="60" y="62"/>
                  </a:moveTo>
                  <a:cubicBezTo>
                    <a:pt x="76" y="62"/>
                    <a:pt x="91" y="56"/>
                    <a:pt x="102" y="45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14" y="46"/>
                    <a:pt x="114" y="46"/>
                    <a:pt x="114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72" y="46"/>
                    <a:pt x="48" y="46"/>
                    <a:pt x="32" y="31"/>
                  </a:cubicBezTo>
                  <a:cubicBezTo>
                    <a:pt x="25" y="23"/>
                    <a:pt x="20" y="12"/>
                    <a:pt x="21" y="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8"/>
                    <a:pt x="6" y="33"/>
                    <a:pt x="18" y="45"/>
                  </a:cubicBezTo>
                  <a:cubicBezTo>
                    <a:pt x="29" y="56"/>
                    <a:pt x="44" y="62"/>
                    <a:pt x="60" y="62"/>
                  </a:cubicBezTo>
                  <a:close/>
                  <a:moveTo>
                    <a:pt x="4" y="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15"/>
                    <a:pt x="22" y="26"/>
                    <a:pt x="30" y="34"/>
                  </a:cubicBezTo>
                  <a:cubicBezTo>
                    <a:pt x="46" y="50"/>
                    <a:pt x="74" y="50"/>
                    <a:pt x="90" y="34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89" y="53"/>
                    <a:pt x="74" y="58"/>
                    <a:pt x="60" y="58"/>
                  </a:cubicBezTo>
                  <a:cubicBezTo>
                    <a:pt x="46" y="58"/>
                    <a:pt x="32" y="53"/>
                    <a:pt x="21" y="42"/>
                  </a:cubicBezTo>
                  <a:cubicBezTo>
                    <a:pt x="10" y="32"/>
                    <a:pt x="5" y="19"/>
                    <a:pt x="4" y="4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0">
            <a:extLst>
              <a:ext uri="{FF2B5EF4-FFF2-40B4-BE49-F238E27FC236}">
                <a16:creationId xmlns:a16="http://schemas.microsoft.com/office/drawing/2014/main" id="{D548A7DE-B2E9-46CA-B58E-4170439BFB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720" y="365992"/>
            <a:ext cx="758825" cy="758825"/>
            <a:chOff x="3652" y="368"/>
            <a:chExt cx="478" cy="478"/>
          </a:xfrm>
        </p:grpSpPr>
        <p:sp>
          <p:nvSpPr>
            <p:cNvPr id="48" name="AutoShape 39">
              <a:extLst>
                <a:ext uri="{FF2B5EF4-FFF2-40B4-BE49-F238E27FC236}">
                  <a16:creationId xmlns:a16="http://schemas.microsoft.com/office/drawing/2014/main" id="{B0FE918D-090C-43EA-AA4C-6E1F7A4B49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2" y="36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5D6681BE-6E8C-45E0-97D7-F57D7ED099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4" y="37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E7397D35-CEDA-47DE-B20B-0093088EE1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4" y="508"/>
              <a:ext cx="196" cy="201"/>
            </a:xfrm>
            <a:custGeom>
              <a:avLst/>
              <a:gdLst>
                <a:gd name="T0" fmla="*/ 40 w 80"/>
                <a:gd name="T1" fmla="*/ 0 h 82"/>
                <a:gd name="T2" fmla="*/ 0 w 80"/>
                <a:gd name="T3" fmla="*/ 41 h 82"/>
                <a:gd name="T4" fmla="*/ 40 w 80"/>
                <a:gd name="T5" fmla="*/ 82 h 82"/>
                <a:gd name="T6" fmla="*/ 80 w 80"/>
                <a:gd name="T7" fmla="*/ 41 h 82"/>
                <a:gd name="T8" fmla="*/ 40 w 80"/>
                <a:gd name="T9" fmla="*/ 0 h 82"/>
                <a:gd name="T10" fmla="*/ 40 w 80"/>
                <a:gd name="T11" fmla="*/ 78 h 82"/>
                <a:gd name="T12" fmla="*/ 4 w 80"/>
                <a:gd name="T13" fmla="*/ 41 h 82"/>
                <a:gd name="T14" fmla="*/ 40 w 80"/>
                <a:gd name="T15" fmla="*/ 4 h 82"/>
                <a:gd name="T16" fmla="*/ 76 w 80"/>
                <a:gd name="T17" fmla="*/ 41 h 82"/>
                <a:gd name="T18" fmla="*/ 40 w 80"/>
                <a:gd name="T19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2">
                  <a:moveTo>
                    <a:pt x="40" y="0"/>
                  </a:moveTo>
                  <a:cubicBezTo>
                    <a:pt x="18" y="0"/>
                    <a:pt x="0" y="18"/>
                    <a:pt x="0" y="41"/>
                  </a:cubicBezTo>
                  <a:cubicBezTo>
                    <a:pt x="0" y="63"/>
                    <a:pt x="18" y="82"/>
                    <a:pt x="40" y="82"/>
                  </a:cubicBezTo>
                  <a:cubicBezTo>
                    <a:pt x="62" y="82"/>
                    <a:pt x="80" y="63"/>
                    <a:pt x="80" y="41"/>
                  </a:cubicBezTo>
                  <a:cubicBezTo>
                    <a:pt x="80" y="18"/>
                    <a:pt x="62" y="0"/>
                    <a:pt x="40" y="0"/>
                  </a:cubicBezTo>
                  <a:close/>
                  <a:moveTo>
                    <a:pt x="40" y="78"/>
                  </a:moveTo>
                  <a:cubicBezTo>
                    <a:pt x="20" y="78"/>
                    <a:pt x="4" y="61"/>
                    <a:pt x="4" y="41"/>
                  </a:cubicBezTo>
                  <a:cubicBezTo>
                    <a:pt x="4" y="20"/>
                    <a:pt x="20" y="4"/>
                    <a:pt x="40" y="4"/>
                  </a:cubicBezTo>
                  <a:cubicBezTo>
                    <a:pt x="60" y="4"/>
                    <a:pt x="76" y="20"/>
                    <a:pt x="76" y="41"/>
                  </a:cubicBezTo>
                  <a:cubicBezTo>
                    <a:pt x="76" y="61"/>
                    <a:pt x="60" y="78"/>
                    <a:pt x="40" y="78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83225094-5B3C-48F7-B64A-57A861894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3" y="564"/>
              <a:ext cx="78" cy="56"/>
            </a:xfrm>
            <a:custGeom>
              <a:avLst/>
              <a:gdLst>
                <a:gd name="T0" fmla="*/ 29 w 78"/>
                <a:gd name="T1" fmla="*/ 44 h 56"/>
                <a:gd name="T2" fmla="*/ 7 w 78"/>
                <a:gd name="T3" fmla="*/ 20 h 56"/>
                <a:gd name="T4" fmla="*/ 0 w 78"/>
                <a:gd name="T5" fmla="*/ 27 h 56"/>
                <a:gd name="T6" fmla="*/ 29 w 78"/>
                <a:gd name="T7" fmla="*/ 56 h 56"/>
                <a:gd name="T8" fmla="*/ 78 w 78"/>
                <a:gd name="T9" fmla="*/ 7 h 56"/>
                <a:gd name="T10" fmla="*/ 71 w 78"/>
                <a:gd name="T11" fmla="*/ 0 h 56"/>
                <a:gd name="T12" fmla="*/ 29 w 78"/>
                <a:gd name="T1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56">
                  <a:moveTo>
                    <a:pt x="29" y="44"/>
                  </a:moveTo>
                  <a:lnTo>
                    <a:pt x="7" y="20"/>
                  </a:lnTo>
                  <a:lnTo>
                    <a:pt x="0" y="27"/>
                  </a:lnTo>
                  <a:lnTo>
                    <a:pt x="29" y="56"/>
                  </a:lnTo>
                  <a:lnTo>
                    <a:pt x="78" y="7"/>
                  </a:lnTo>
                  <a:lnTo>
                    <a:pt x="71" y="0"/>
                  </a:lnTo>
                  <a:lnTo>
                    <a:pt x="29" y="4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991ACE17-DDD3-447D-A6E1-B739528DE9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8" y="449"/>
              <a:ext cx="309" cy="319"/>
            </a:xfrm>
            <a:custGeom>
              <a:avLst/>
              <a:gdLst>
                <a:gd name="T0" fmla="*/ 117 w 126"/>
                <a:gd name="T1" fmla="*/ 73 h 130"/>
                <a:gd name="T2" fmla="*/ 116 w 126"/>
                <a:gd name="T3" fmla="*/ 59 h 130"/>
                <a:gd name="T4" fmla="*/ 124 w 126"/>
                <a:gd name="T5" fmla="*/ 53 h 130"/>
                <a:gd name="T6" fmla="*/ 114 w 126"/>
                <a:gd name="T7" fmla="*/ 29 h 130"/>
                <a:gd name="T8" fmla="*/ 105 w 126"/>
                <a:gd name="T9" fmla="*/ 30 h 130"/>
                <a:gd name="T10" fmla="*/ 96 w 126"/>
                <a:gd name="T11" fmla="*/ 20 h 130"/>
                <a:gd name="T12" fmla="*/ 80 w 126"/>
                <a:gd name="T13" fmla="*/ 0 h 130"/>
                <a:gd name="T14" fmla="*/ 69 w 126"/>
                <a:gd name="T15" fmla="*/ 11 h 130"/>
                <a:gd name="T16" fmla="*/ 57 w 126"/>
                <a:gd name="T17" fmla="*/ 11 h 130"/>
                <a:gd name="T18" fmla="*/ 46 w 126"/>
                <a:gd name="T19" fmla="*/ 0 h 130"/>
                <a:gd name="T20" fmla="*/ 30 w 126"/>
                <a:gd name="T21" fmla="*/ 20 h 130"/>
                <a:gd name="T22" fmla="*/ 21 w 126"/>
                <a:gd name="T23" fmla="*/ 30 h 130"/>
                <a:gd name="T24" fmla="*/ 12 w 126"/>
                <a:gd name="T25" fmla="*/ 29 h 130"/>
                <a:gd name="T26" fmla="*/ 2 w 126"/>
                <a:gd name="T27" fmla="*/ 53 h 130"/>
                <a:gd name="T28" fmla="*/ 10 w 126"/>
                <a:gd name="T29" fmla="*/ 59 h 130"/>
                <a:gd name="T30" fmla="*/ 9 w 126"/>
                <a:gd name="T31" fmla="*/ 73 h 130"/>
                <a:gd name="T32" fmla="*/ 6 w 126"/>
                <a:gd name="T33" fmla="*/ 98 h 130"/>
                <a:gd name="T34" fmla="*/ 21 w 126"/>
                <a:gd name="T35" fmla="*/ 99 h 130"/>
                <a:gd name="T36" fmla="*/ 29 w 126"/>
                <a:gd name="T37" fmla="*/ 108 h 130"/>
                <a:gd name="T38" fmla="*/ 30 w 126"/>
                <a:gd name="T39" fmla="*/ 123 h 130"/>
                <a:gd name="T40" fmla="*/ 55 w 126"/>
                <a:gd name="T41" fmla="*/ 121 h 130"/>
                <a:gd name="T42" fmla="*/ 69 w 126"/>
                <a:gd name="T43" fmla="*/ 120 h 130"/>
                <a:gd name="T44" fmla="*/ 74 w 126"/>
                <a:gd name="T45" fmla="*/ 128 h 130"/>
                <a:gd name="T46" fmla="*/ 98 w 126"/>
                <a:gd name="T47" fmla="*/ 118 h 130"/>
                <a:gd name="T48" fmla="*/ 97 w 126"/>
                <a:gd name="T49" fmla="*/ 108 h 130"/>
                <a:gd name="T50" fmla="*/ 107 w 126"/>
                <a:gd name="T51" fmla="*/ 99 h 130"/>
                <a:gd name="T52" fmla="*/ 126 w 126"/>
                <a:gd name="T53" fmla="*/ 82 h 130"/>
                <a:gd name="T54" fmla="*/ 102 w 126"/>
                <a:gd name="T55" fmla="*/ 96 h 130"/>
                <a:gd name="T56" fmla="*/ 93 w 126"/>
                <a:gd name="T57" fmla="*/ 105 h 130"/>
                <a:gd name="T58" fmla="*/ 93 w 126"/>
                <a:gd name="T59" fmla="*/ 120 h 130"/>
                <a:gd name="T60" fmla="*/ 74 w 126"/>
                <a:gd name="T61" fmla="*/ 118 h 130"/>
                <a:gd name="T62" fmla="*/ 57 w 126"/>
                <a:gd name="T63" fmla="*/ 115 h 130"/>
                <a:gd name="T64" fmla="*/ 49 w 126"/>
                <a:gd name="T65" fmla="*/ 124 h 130"/>
                <a:gd name="T66" fmla="*/ 33 w 126"/>
                <a:gd name="T67" fmla="*/ 120 h 130"/>
                <a:gd name="T68" fmla="*/ 33 w 126"/>
                <a:gd name="T69" fmla="*/ 105 h 130"/>
                <a:gd name="T70" fmla="*/ 24 w 126"/>
                <a:gd name="T71" fmla="*/ 96 h 130"/>
                <a:gd name="T72" fmla="*/ 9 w 126"/>
                <a:gd name="T73" fmla="*/ 95 h 130"/>
                <a:gd name="T74" fmla="*/ 11 w 126"/>
                <a:gd name="T75" fmla="*/ 76 h 130"/>
                <a:gd name="T76" fmla="*/ 14 w 126"/>
                <a:gd name="T77" fmla="*/ 59 h 130"/>
                <a:gd name="T78" fmla="*/ 5 w 126"/>
                <a:gd name="T79" fmla="*/ 50 h 130"/>
                <a:gd name="T80" fmla="*/ 12 w 126"/>
                <a:gd name="T81" fmla="*/ 33 h 130"/>
                <a:gd name="T82" fmla="*/ 24 w 126"/>
                <a:gd name="T83" fmla="*/ 34 h 130"/>
                <a:gd name="T84" fmla="*/ 34 w 126"/>
                <a:gd name="T85" fmla="*/ 20 h 130"/>
                <a:gd name="T86" fmla="*/ 46 w 126"/>
                <a:gd name="T87" fmla="*/ 5 h 130"/>
                <a:gd name="T88" fmla="*/ 56 w 126"/>
                <a:gd name="T89" fmla="*/ 15 h 130"/>
                <a:gd name="T90" fmla="*/ 70 w 126"/>
                <a:gd name="T91" fmla="*/ 15 h 130"/>
                <a:gd name="T92" fmla="*/ 80 w 126"/>
                <a:gd name="T93" fmla="*/ 5 h 130"/>
                <a:gd name="T94" fmla="*/ 92 w 126"/>
                <a:gd name="T95" fmla="*/ 20 h 130"/>
                <a:gd name="T96" fmla="*/ 102 w 126"/>
                <a:gd name="T97" fmla="*/ 34 h 130"/>
                <a:gd name="T98" fmla="*/ 114 w 126"/>
                <a:gd name="T99" fmla="*/ 33 h 130"/>
                <a:gd name="T100" fmla="*/ 121 w 126"/>
                <a:gd name="T101" fmla="*/ 50 h 130"/>
                <a:gd name="T102" fmla="*/ 112 w 126"/>
                <a:gd name="T103" fmla="*/ 59 h 130"/>
                <a:gd name="T104" fmla="*/ 115 w 126"/>
                <a:gd name="T105" fmla="*/ 76 h 130"/>
                <a:gd name="T106" fmla="*/ 117 w 126"/>
                <a:gd name="T107" fmla="*/ 9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6" h="130">
                  <a:moveTo>
                    <a:pt x="126" y="82"/>
                  </a:moveTo>
                  <a:cubicBezTo>
                    <a:pt x="124" y="77"/>
                    <a:pt x="124" y="77"/>
                    <a:pt x="124" y="77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7" y="67"/>
                    <a:pt x="117" y="63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2" y="28"/>
                    <a:pt x="100" y="25"/>
                    <a:pt x="97" y="22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5" y="10"/>
                    <a:pt x="61" y="10"/>
                    <a:pt x="57" y="10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6" y="25"/>
                    <a:pt x="24" y="28"/>
                    <a:pt x="21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9" y="63"/>
                    <a:pt x="9" y="67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100"/>
                    <a:pt x="21" y="100"/>
                    <a:pt x="21" y="100"/>
                  </a:cubicBezTo>
                  <a:cubicBezTo>
                    <a:pt x="24" y="102"/>
                    <a:pt x="26" y="105"/>
                    <a:pt x="29" y="108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0"/>
                    <a:pt x="30" y="110"/>
                    <a:pt x="30" y="110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30" y="123"/>
                    <a:pt x="30" y="123"/>
                    <a:pt x="30" y="123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7" y="119"/>
                    <a:pt x="57" y="119"/>
                    <a:pt x="57" y="119"/>
                  </a:cubicBezTo>
                  <a:cubicBezTo>
                    <a:pt x="57" y="120"/>
                    <a:pt x="57" y="120"/>
                    <a:pt x="57" y="120"/>
                  </a:cubicBezTo>
                  <a:cubicBezTo>
                    <a:pt x="61" y="120"/>
                    <a:pt x="65" y="120"/>
                    <a:pt x="69" y="120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71" y="121"/>
                    <a:pt x="71" y="121"/>
                    <a:pt x="71" y="121"/>
                  </a:cubicBezTo>
                  <a:cubicBezTo>
                    <a:pt x="74" y="128"/>
                    <a:pt x="74" y="128"/>
                    <a:pt x="74" y="128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96" y="123"/>
                    <a:pt x="96" y="123"/>
                    <a:pt x="96" y="123"/>
                  </a:cubicBezTo>
                  <a:cubicBezTo>
                    <a:pt x="98" y="118"/>
                    <a:pt x="98" y="118"/>
                    <a:pt x="98" y="118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100" y="105"/>
                    <a:pt x="102" y="103"/>
                    <a:pt x="105" y="100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20" y="98"/>
                    <a:pt x="120" y="98"/>
                    <a:pt x="120" y="98"/>
                  </a:cubicBezTo>
                  <a:lnTo>
                    <a:pt x="126" y="82"/>
                  </a:lnTo>
                  <a:close/>
                  <a:moveTo>
                    <a:pt x="114" y="97"/>
                  </a:moveTo>
                  <a:cubicBezTo>
                    <a:pt x="107" y="94"/>
                    <a:pt x="107" y="94"/>
                    <a:pt x="107" y="94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0" y="100"/>
                    <a:pt x="97" y="102"/>
                    <a:pt x="94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77" y="124"/>
                    <a:pt x="77" y="124"/>
                    <a:pt x="77" y="124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69" y="115"/>
                    <a:pt x="69" y="115"/>
                    <a:pt x="69" y="115"/>
                  </a:cubicBezTo>
                  <a:cubicBezTo>
                    <a:pt x="65" y="116"/>
                    <a:pt x="61" y="116"/>
                    <a:pt x="57" y="115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46" y="125"/>
                    <a:pt x="46" y="125"/>
                    <a:pt x="46" y="125"/>
                  </a:cubicBezTo>
                  <a:cubicBezTo>
                    <a:pt x="46" y="125"/>
                    <a:pt x="46" y="125"/>
                    <a:pt x="46" y="125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29" y="102"/>
                    <a:pt x="26" y="100"/>
                    <a:pt x="24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3" y="67"/>
                    <a:pt x="13" y="63"/>
                    <a:pt x="14" y="59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6" y="30"/>
                    <a:pt x="29" y="27"/>
                    <a:pt x="32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61" y="14"/>
                    <a:pt x="65" y="14"/>
                    <a:pt x="69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3"/>
                    <a:pt x="94" y="13"/>
                    <a:pt x="94" y="1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7" y="28"/>
                    <a:pt x="100" y="30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15" y="54"/>
                    <a:pt x="115" y="54"/>
                    <a:pt x="115" y="54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3" y="63"/>
                    <a:pt x="113" y="67"/>
                    <a:pt x="112" y="71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17" y="95"/>
                    <a:pt x="117" y="95"/>
                    <a:pt x="117" y="95"/>
                  </a:cubicBezTo>
                  <a:lnTo>
                    <a:pt x="114" y="9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47">
            <a:extLst>
              <a:ext uri="{FF2B5EF4-FFF2-40B4-BE49-F238E27FC236}">
                <a16:creationId xmlns:a16="http://schemas.microsoft.com/office/drawing/2014/main" id="{948B8C0E-B803-4F6B-A8BE-FAB1277265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9651" y="324717"/>
            <a:ext cx="841375" cy="841375"/>
            <a:chOff x="2969" y="282"/>
            <a:chExt cx="530" cy="530"/>
          </a:xfrm>
        </p:grpSpPr>
        <p:sp>
          <p:nvSpPr>
            <p:cNvPr id="54" name="AutoShape 46">
              <a:extLst>
                <a:ext uri="{FF2B5EF4-FFF2-40B4-BE49-F238E27FC236}">
                  <a16:creationId xmlns:a16="http://schemas.microsoft.com/office/drawing/2014/main" id="{39D7B7EF-138E-4899-BBBA-AAB0CAAE73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69" y="2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8">
              <a:extLst>
                <a:ext uri="{FF2B5EF4-FFF2-40B4-BE49-F238E27FC236}">
                  <a16:creationId xmlns:a16="http://schemas.microsoft.com/office/drawing/2014/main" id="{15F8F10C-5EA5-418C-BBCD-DED539FFB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9" y="2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0CB2514F-67A9-4A9E-8065-93B222D1C4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7" y="3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0D94E856-7D9B-4CAE-9B9A-002E5FE71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3" y="443"/>
              <a:ext cx="205" cy="210"/>
            </a:xfrm>
            <a:custGeom>
              <a:avLst/>
              <a:gdLst>
                <a:gd name="T0" fmla="*/ 40 w 80"/>
                <a:gd name="T1" fmla="*/ 0 h 82"/>
                <a:gd name="T2" fmla="*/ 0 w 80"/>
                <a:gd name="T3" fmla="*/ 41 h 82"/>
                <a:gd name="T4" fmla="*/ 40 w 80"/>
                <a:gd name="T5" fmla="*/ 82 h 82"/>
                <a:gd name="T6" fmla="*/ 80 w 80"/>
                <a:gd name="T7" fmla="*/ 41 h 82"/>
                <a:gd name="T8" fmla="*/ 40 w 80"/>
                <a:gd name="T9" fmla="*/ 0 h 82"/>
                <a:gd name="T10" fmla="*/ 40 w 80"/>
                <a:gd name="T11" fmla="*/ 78 h 82"/>
                <a:gd name="T12" fmla="*/ 4 w 80"/>
                <a:gd name="T13" fmla="*/ 41 h 82"/>
                <a:gd name="T14" fmla="*/ 40 w 80"/>
                <a:gd name="T15" fmla="*/ 4 h 82"/>
                <a:gd name="T16" fmla="*/ 76 w 80"/>
                <a:gd name="T17" fmla="*/ 41 h 82"/>
                <a:gd name="T18" fmla="*/ 40 w 80"/>
                <a:gd name="T19" fmla="*/ 7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2">
                  <a:moveTo>
                    <a:pt x="40" y="0"/>
                  </a:moveTo>
                  <a:cubicBezTo>
                    <a:pt x="18" y="0"/>
                    <a:pt x="0" y="18"/>
                    <a:pt x="0" y="41"/>
                  </a:cubicBezTo>
                  <a:cubicBezTo>
                    <a:pt x="0" y="63"/>
                    <a:pt x="18" y="82"/>
                    <a:pt x="40" y="82"/>
                  </a:cubicBezTo>
                  <a:cubicBezTo>
                    <a:pt x="62" y="82"/>
                    <a:pt x="80" y="63"/>
                    <a:pt x="80" y="41"/>
                  </a:cubicBezTo>
                  <a:cubicBezTo>
                    <a:pt x="80" y="18"/>
                    <a:pt x="62" y="0"/>
                    <a:pt x="40" y="0"/>
                  </a:cubicBezTo>
                  <a:close/>
                  <a:moveTo>
                    <a:pt x="40" y="78"/>
                  </a:moveTo>
                  <a:cubicBezTo>
                    <a:pt x="20" y="78"/>
                    <a:pt x="4" y="61"/>
                    <a:pt x="4" y="41"/>
                  </a:cubicBezTo>
                  <a:cubicBezTo>
                    <a:pt x="4" y="20"/>
                    <a:pt x="20" y="4"/>
                    <a:pt x="40" y="4"/>
                  </a:cubicBezTo>
                  <a:cubicBezTo>
                    <a:pt x="60" y="4"/>
                    <a:pt x="76" y="20"/>
                    <a:pt x="76" y="41"/>
                  </a:cubicBezTo>
                  <a:cubicBezTo>
                    <a:pt x="76" y="61"/>
                    <a:pt x="60" y="78"/>
                    <a:pt x="40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F4276E81-464F-4A0E-A019-99C95908C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4" y="502"/>
              <a:ext cx="82" cy="59"/>
            </a:xfrm>
            <a:custGeom>
              <a:avLst/>
              <a:gdLst>
                <a:gd name="T0" fmla="*/ 31 w 82"/>
                <a:gd name="T1" fmla="*/ 46 h 59"/>
                <a:gd name="T2" fmla="*/ 8 w 82"/>
                <a:gd name="T3" fmla="*/ 21 h 59"/>
                <a:gd name="T4" fmla="*/ 0 w 82"/>
                <a:gd name="T5" fmla="*/ 28 h 59"/>
                <a:gd name="T6" fmla="*/ 31 w 82"/>
                <a:gd name="T7" fmla="*/ 59 h 59"/>
                <a:gd name="T8" fmla="*/ 82 w 82"/>
                <a:gd name="T9" fmla="*/ 8 h 59"/>
                <a:gd name="T10" fmla="*/ 75 w 82"/>
                <a:gd name="T11" fmla="*/ 0 h 59"/>
                <a:gd name="T12" fmla="*/ 31 w 82"/>
                <a:gd name="T13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59">
                  <a:moveTo>
                    <a:pt x="31" y="46"/>
                  </a:moveTo>
                  <a:lnTo>
                    <a:pt x="8" y="21"/>
                  </a:lnTo>
                  <a:lnTo>
                    <a:pt x="0" y="28"/>
                  </a:lnTo>
                  <a:lnTo>
                    <a:pt x="31" y="59"/>
                  </a:lnTo>
                  <a:lnTo>
                    <a:pt x="82" y="8"/>
                  </a:lnTo>
                  <a:lnTo>
                    <a:pt x="75" y="0"/>
                  </a:lnTo>
                  <a:lnTo>
                    <a:pt x="31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2514EE77-A84E-44DB-8D71-1D32769A4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4" y="382"/>
              <a:ext cx="322" cy="333"/>
            </a:xfrm>
            <a:custGeom>
              <a:avLst/>
              <a:gdLst>
                <a:gd name="T0" fmla="*/ 117 w 126"/>
                <a:gd name="T1" fmla="*/ 73 h 130"/>
                <a:gd name="T2" fmla="*/ 116 w 126"/>
                <a:gd name="T3" fmla="*/ 59 h 130"/>
                <a:gd name="T4" fmla="*/ 124 w 126"/>
                <a:gd name="T5" fmla="*/ 53 h 130"/>
                <a:gd name="T6" fmla="*/ 114 w 126"/>
                <a:gd name="T7" fmla="*/ 29 h 130"/>
                <a:gd name="T8" fmla="*/ 105 w 126"/>
                <a:gd name="T9" fmla="*/ 30 h 130"/>
                <a:gd name="T10" fmla="*/ 96 w 126"/>
                <a:gd name="T11" fmla="*/ 20 h 130"/>
                <a:gd name="T12" fmla="*/ 80 w 126"/>
                <a:gd name="T13" fmla="*/ 0 h 130"/>
                <a:gd name="T14" fmla="*/ 69 w 126"/>
                <a:gd name="T15" fmla="*/ 11 h 130"/>
                <a:gd name="T16" fmla="*/ 57 w 126"/>
                <a:gd name="T17" fmla="*/ 11 h 130"/>
                <a:gd name="T18" fmla="*/ 46 w 126"/>
                <a:gd name="T19" fmla="*/ 0 h 130"/>
                <a:gd name="T20" fmla="*/ 30 w 126"/>
                <a:gd name="T21" fmla="*/ 20 h 130"/>
                <a:gd name="T22" fmla="*/ 21 w 126"/>
                <a:gd name="T23" fmla="*/ 30 h 130"/>
                <a:gd name="T24" fmla="*/ 12 w 126"/>
                <a:gd name="T25" fmla="*/ 29 h 130"/>
                <a:gd name="T26" fmla="*/ 2 w 126"/>
                <a:gd name="T27" fmla="*/ 53 h 130"/>
                <a:gd name="T28" fmla="*/ 10 w 126"/>
                <a:gd name="T29" fmla="*/ 59 h 130"/>
                <a:gd name="T30" fmla="*/ 9 w 126"/>
                <a:gd name="T31" fmla="*/ 73 h 130"/>
                <a:gd name="T32" fmla="*/ 6 w 126"/>
                <a:gd name="T33" fmla="*/ 98 h 130"/>
                <a:gd name="T34" fmla="*/ 21 w 126"/>
                <a:gd name="T35" fmla="*/ 99 h 130"/>
                <a:gd name="T36" fmla="*/ 29 w 126"/>
                <a:gd name="T37" fmla="*/ 108 h 130"/>
                <a:gd name="T38" fmla="*/ 30 w 126"/>
                <a:gd name="T39" fmla="*/ 123 h 130"/>
                <a:gd name="T40" fmla="*/ 55 w 126"/>
                <a:gd name="T41" fmla="*/ 121 h 130"/>
                <a:gd name="T42" fmla="*/ 69 w 126"/>
                <a:gd name="T43" fmla="*/ 120 h 130"/>
                <a:gd name="T44" fmla="*/ 74 w 126"/>
                <a:gd name="T45" fmla="*/ 128 h 130"/>
                <a:gd name="T46" fmla="*/ 98 w 126"/>
                <a:gd name="T47" fmla="*/ 118 h 130"/>
                <a:gd name="T48" fmla="*/ 97 w 126"/>
                <a:gd name="T49" fmla="*/ 108 h 130"/>
                <a:gd name="T50" fmla="*/ 107 w 126"/>
                <a:gd name="T51" fmla="*/ 99 h 130"/>
                <a:gd name="T52" fmla="*/ 126 w 126"/>
                <a:gd name="T53" fmla="*/ 82 h 130"/>
                <a:gd name="T54" fmla="*/ 102 w 126"/>
                <a:gd name="T55" fmla="*/ 96 h 130"/>
                <a:gd name="T56" fmla="*/ 93 w 126"/>
                <a:gd name="T57" fmla="*/ 105 h 130"/>
                <a:gd name="T58" fmla="*/ 93 w 126"/>
                <a:gd name="T59" fmla="*/ 120 h 130"/>
                <a:gd name="T60" fmla="*/ 74 w 126"/>
                <a:gd name="T61" fmla="*/ 118 h 130"/>
                <a:gd name="T62" fmla="*/ 57 w 126"/>
                <a:gd name="T63" fmla="*/ 115 h 130"/>
                <a:gd name="T64" fmla="*/ 49 w 126"/>
                <a:gd name="T65" fmla="*/ 124 h 130"/>
                <a:gd name="T66" fmla="*/ 33 w 126"/>
                <a:gd name="T67" fmla="*/ 120 h 130"/>
                <a:gd name="T68" fmla="*/ 33 w 126"/>
                <a:gd name="T69" fmla="*/ 105 h 130"/>
                <a:gd name="T70" fmla="*/ 24 w 126"/>
                <a:gd name="T71" fmla="*/ 96 h 130"/>
                <a:gd name="T72" fmla="*/ 9 w 126"/>
                <a:gd name="T73" fmla="*/ 95 h 130"/>
                <a:gd name="T74" fmla="*/ 11 w 126"/>
                <a:gd name="T75" fmla="*/ 76 h 130"/>
                <a:gd name="T76" fmla="*/ 14 w 126"/>
                <a:gd name="T77" fmla="*/ 59 h 130"/>
                <a:gd name="T78" fmla="*/ 5 w 126"/>
                <a:gd name="T79" fmla="*/ 50 h 130"/>
                <a:gd name="T80" fmla="*/ 12 w 126"/>
                <a:gd name="T81" fmla="*/ 33 h 130"/>
                <a:gd name="T82" fmla="*/ 24 w 126"/>
                <a:gd name="T83" fmla="*/ 34 h 130"/>
                <a:gd name="T84" fmla="*/ 34 w 126"/>
                <a:gd name="T85" fmla="*/ 20 h 130"/>
                <a:gd name="T86" fmla="*/ 46 w 126"/>
                <a:gd name="T87" fmla="*/ 5 h 130"/>
                <a:gd name="T88" fmla="*/ 56 w 126"/>
                <a:gd name="T89" fmla="*/ 15 h 130"/>
                <a:gd name="T90" fmla="*/ 70 w 126"/>
                <a:gd name="T91" fmla="*/ 15 h 130"/>
                <a:gd name="T92" fmla="*/ 80 w 126"/>
                <a:gd name="T93" fmla="*/ 5 h 130"/>
                <a:gd name="T94" fmla="*/ 92 w 126"/>
                <a:gd name="T95" fmla="*/ 20 h 130"/>
                <a:gd name="T96" fmla="*/ 102 w 126"/>
                <a:gd name="T97" fmla="*/ 34 h 130"/>
                <a:gd name="T98" fmla="*/ 114 w 126"/>
                <a:gd name="T99" fmla="*/ 33 h 130"/>
                <a:gd name="T100" fmla="*/ 121 w 126"/>
                <a:gd name="T101" fmla="*/ 50 h 130"/>
                <a:gd name="T102" fmla="*/ 112 w 126"/>
                <a:gd name="T103" fmla="*/ 59 h 130"/>
                <a:gd name="T104" fmla="*/ 115 w 126"/>
                <a:gd name="T105" fmla="*/ 76 h 130"/>
                <a:gd name="T106" fmla="*/ 117 w 126"/>
                <a:gd name="T107" fmla="*/ 9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6" h="130">
                  <a:moveTo>
                    <a:pt x="126" y="82"/>
                  </a:moveTo>
                  <a:cubicBezTo>
                    <a:pt x="124" y="77"/>
                    <a:pt x="124" y="77"/>
                    <a:pt x="124" y="77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7" y="67"/>
                    <a:pt x="117" y="63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2" y="28"/>
                    <a:pt x="100" y="25"/>
                    <a:pt x="97" y="22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5" y="10"/>
                    <a:pt x="61" y="10"/>
                    <a:pt x="57" y="10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6" y="25"/>
                    <a:pt x="24" y="28"/>
                    <a:pt x="21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9" y="63"/>
                    <a:pt x="9" y="67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100"/>
                    <a:pt x="21" y="100"/>
                    <a:pt x="21" y="100"/>
                  </a:cubicBezTo>
                  <a:cubicBezTo>
                    <a:pt x="24" y="102"/>
                    <a:pt x="26" y="105"/>
                    <a:pt x="29" y="108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0"/>
                    <a:pt x="30" y="110"/>
                    <a:pt x="30" y="110"/>
                  </a:cubicBezTo>
                  <a:cubicBezTo>
                    <a:pt x="28" y="118"/>
                    <a:pt x="28" y="118"/>
                    <a:pt x="28" y="118"/>
                  </a:cubicBezTo>
                  <a:cubicBezTo>
                    <a:pt x="30" y="123"/>
                    <a:pt x="30" y="123"/>
                    <a:pt x="30" y="123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52" y="128"/>
                    <a:pt x="52" y="128"/>
                    <a:pt x="52" y="128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7" y="119"/>
                    <a:pt x="57" y="119"/>
                    <a:pt x="57" y="119"/>
                  </a:cubicBezTo>
                  <a:cubicBezTo>
                    <a:pt x="57" y="120"/>
                    <a:pt x="57" y="120"/>
                    <a:pt x="57" y="120"/>
                  </a:cubicBezTo>
                  <a:cubicBezTo>
                    <a:pt x="61" y="120"/>
                    <a:pt x="65" y="120"/>
                    <a:pt x="69" y="120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71" y="121"/>
                    <a:pt x="71" y="121"/>
                    <a:pt x="71" y="121"/>
                  </a:cubicBezTo>
                  <a:cubicBezTo>
                    <a:pt x="74" y="128"/>
                    <a:pt x="74" y="128"/>
                    <a:pt x="74" y="128"/>
                  </a:cubicBezTo>
                  <a:cubicBezTo>
                    <a:pt x="80" y="130"/>
                    <a:pt x="80" y="130"/>
                    <a:pt x="80" y="130"/>
                  </a:cubicBezTo>
                  <a:cubicBezTo>
                    <a:pt x="96" y="123"/>
                    <a:pt x="96" y="123"/>
                    <a:pt x="96" y="123"/>
                  </a:cubicBezTo>
                  <a:cubicBezTo>
                    <a:pt x="98" y="118"/>
                    <a:pt x="98" y="118"/>
                    <a:pt x="98" y="118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7" y="108"/>
                    <a:pt x="97" y="108"/>
                    <a:pt x="97" y="108"/>
                  </a:cubicBezTo>
                  <a:cubicBezTo>
                    <a:pt x="100" y="105"/>
                    <a:pt x="102" y="103"/>
                    <a:pt x="105" y="100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20" y="98"/>
                    <a:pt x="120" y="98"/>
                    <a:pt x="120" y="98"/>
                  </a:cubicBezTo>
                  <a:lnTo>
                    <a:pt x="126" y="82"/>
                  </a:lnTo>
                  <a:close/>
                  <a:moveTo>
                    <a:pt x="114" y="97"/>
                  </a:moveTo>
                  <a:cubicBezTo>
                    <a:pt x="107" y="94"/>
                    <a:pt x="107" y="94"/>
                    <a:pt x="107" y="94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0" y="100"/>
                    <a:pt x="97" y="102"/>
                    <a:pt x="94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77" y="124"/>
                    <a:pt x="77" y="124"/>
                    <a:pt x="77" y="124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69" y="115"/>
                    <a:pt x="69" y="115"/>
                    <a:pt x="69" y="115"/>
                  </a:cubicBezTo>
                  <a:cubicBezTo>
                    <a:pt x="65" y="116"/>
                    <a:pt x="61" y="116"/>
                    <a:pt x="57" y="115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46" y="125"/>
                    <a:pt x="46" y="125"/>
                    <a:pt x="46" y="125"/>
                  </a:cubicBezTo>
                  <a:cubicBezTo>
                    <a:pt x="46" y="125"/>
                    <a:pt x="46" y="125"/>
                    <a:pt x="46" y="125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29" y="102"/>
                    <a:pt x="26" y="100"/>
                    <a:pt x="24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3" y="67"/>
                    <a:pt x="13" y="63"/>
                    <a:pt x="14" y="59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6" y="30"/>
                    <a:pt x="29" y="27"/>
                    <a:pt x="32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61" y="14"/>
                    <a:pt x="65" y="14"/>
                    <a:pt x="69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4" y="13"/>
                    <a:pt x="94" y="13"/>
                    <a:pt x="94" y="1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7" y="28"/>
                    <a:pt x="100" y="30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15" y="54"/>
                    <a:pt x="115" y="54"/>
                    <a:pt x="115" y="54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3" y="63"/>
                    <a:pt x="113" y="67"/>
                    <a:pt x="112" y="71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17" y="95"/>
                    <a:pt x="117" y="95"/>
                    <a:pt x="117" y="95"/>
                  </a:cubicBezTo>
                  <a:lnTo>
                    <a:pt x="114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55">
            <a:extLst>
              <a:ext uri="{FF2B5EF4-FFF2-40B4-BE49-F238E27FC236}">
                <a16:creationId xmlns:a16="http://schemas.microsoft.com/office/drawing/2014/main" id="{B137C692-7327-4FD3-86AA-127A0CDEF4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111" y="365198"/>
            <a:ext cx="758825" cy="760412"/>
            <a:chOff x="4976" y="425"/>
            <a:chExt cx="478" cy="479"/>
          </a:xfrm>
        </p:grpSpPr>
        <p:sp>
          <p:nvSpPr>
            <p:cNvPr id="65" name="AutoShape 54">
              <a:extLst>
                <a:ext uri="{FF2B5EF4-FFF2-40B4-BE49-F238E27FC236}">
                  <a16:creationId xmlns:a16="http://schemas.microsoft.com/office/drawing/2014/main" id="{10F16565-E1B6-4BF1-8FE6-F8B5989F89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76" y="425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6">
              <a:extLst>
                <a:ext uri="{FF2B5EF4-FFF2-40B4-BE49-F238E27FC236}">
                  <a16:creationId xmlns:a16="http://schemas.microsoft.com/office/drawing/2014/main" id="{ABCA73CF-A17C-4503-A618-9C33834DD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8" y="427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CDC5037C-B5DE-4882-A837-3446921C9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3" y="513"/>
              <a:ext cx="328" cy="305"/>
            </a:xfrm>
            <a:custGeom>
              <a:avLst/>
              <a:gdLst>
                <a:gd name="T0" fmla="*/ 70 w 134"/>
                <a:gd name="T1" fmla="*/ 108 h 124"/>
                <a:gd name="T2" fmla="*/ 81 w 134"/>
                <a:gd name="T3" fmla="*/ 114 h 124"/>
                <a:gd name="T4" fmla="*/ 117 w 134"/>
                <a:gd name="T5" fmla="*/ 53 h 124"/>
                <a:gd name="T6" fmla="*/ 117 w 134"/>
                <a:gd name="T7" fmla="*/ 73 h 124"/>
                <a:gd name="T8" fmla="*/ 81 w 134"/>
                <a:gd name="T9" fmla="*/ 78 h 124"/>
                <a:gd name="T10" fmla="*/ 81 w 134"/>
                <a:gd name="T11" fmla="*/ 67 h 124"/>
                <a:gd name="T12" fmla="*/ 81 w 134"/>
                <a:gd name="T13" fmla="*/ 78 h 124"/>
                <a:gd name="T14" fmla="*/ 81 w 134"/>
                <a:gd name="T15" fmla="*/ 62 h 124"/>
                <a:gd name="T16" fmla="*/ 81 w 134"/>
                <a:gd name="T17" fmla="*/ 84 h 124"/>
                <a:gd name="T18" fmla="*/ 91 w 134"/>
                <a:gd name="T19" fmla="*/ 67 h 124"/>
                <a:gd name="T20" fmla="*/ 107 w 134"/>
                <a:gd name="T21" fmla="*/ 44 h 124"/>
                <a:gd name="T22" fmla="*/ 48 w 134"/>
                <a:gd name="T23" fmla="*/ 114 h 124"/>
                <a:gd name="T24" fmla="*/ 40 w 134"/>
                <a:gd name="T25" fmla="*/ 96 h 124"/>
                <a:gd name="T26" fmla="*/ 48 w 134"/>
                <a:gd name="T27" fmla="*/ 114 h 124"/>
                <a:gd name="T28" fmla="*/ 124 w 134"/>
                <a:gd name="T29" fmla="*/ 32 h 124"/>
                <a:gd name="T30" fmla="*/ 131 w 134"/>
                <a:gd name="T31" fmla="*/ 30 h 124"/>
                <a:gd name="T32" fmla="*/ 118 w 134"/>
                <a:gd name="T33" fmla="*/ 26 h 124"/>
                <a:gd name="T34" fmla="*/ 115 w 134"/>
                <a:gd name="T35" fmla="*/ 33 h 124"/>
                <a:gd name="T36" fmla="*/ 89 w 134"/>
                <a:gd name="T37" fmla="*/ 19 h 124"/>
                <a:gd name="T38" fmla="*/ 84 w 134"/>
                <a:gd name="T39" fmla="*/ 27 h 124"/>
                <a:gd name="T40" fmla="*/ 129 w 134"/>
                <a:gd name="T41" fmla="*/ 73 h 124"/>
                <a:gd name="T42" fmla="*/ 36 w 134"/>
                <a:gd name="T43" fmla="*/ 119 h 124"/>
                <a:gd name="T44" fmla="*/ 81 w 134"/>
                <a:gd name="T45" fmla="*/ 124 h 124"/>
                <a:gd name="T46" fmla="*/ 119 w 134"/>
                <a:gd name="T47" fmla="*/ 37 h 124"/>
                <a:gd name="T48" fmla="*/ 70 w 134"/>
                <a:gd name="T49" fmla="*/ 11 h 124"/>
                <a:gd name="T50" fmla="*/ 92 w 134"/>
                <a:gd name="T51" fmla="*/ 5 h 124"/>
                <a:gd name="T52" fmla="*/ 84 w 134"/>
                <a:gd name="T53" fmla="*/ 11 h 124"/>
                <a:gd name="T54" fmla="*/ 98 w 134"/>
                <a:gd name="T55" fmla="*/ 16 h 124"/>
                <a:gd name="T56" fmla="*/ 64 w 134"/>
                <a:gd name="T57" fmla="*/ 0 h 124"/>
                <a:gd name="T58" fmla="*/ 78 w 134"/>
                <a:gd name="T59" fmla="*/ 16 h 124"/>
                <a:gd name="T60" fmla="*/ 50 w 134"/>
                <a:gd name="T61" fmla="*/ 86 h 124"/>
                <a:gd name="T62" fmla="*/ 33 w 134"/>
                <a:gd name="T63" fmla="*/ 75 h 124"/>
                <a:gd name="T64" fmla="*/ 30 w 134"/>
                <a:gd name="T65" fmla="*/ 86 h 124"/>
                <a:gd name="T66" fmla="*/ 8 w 134"/>
                <a:gd name="T67" fmla="*/ 92 h 124"/>
                <a:gd name="T68" fmla="*/ 50 w 134"/>
                <a:gd name="T69" fmla="*/ 86 h 124"/>
                <a:gd name="T70" fmla="*/ 34 w 134"/>
                <a:gd name="T71" fmla="*/ 65 h 124"/>
                <a:gd name="T72" fmla="*/ 32 w 134"/>
                <a:gd name="T73" fmla="*/ 53 h 124"/>
                <a:gd name="T74" fmla="*/ 0 w 134"/>
                <a:gd name="T75" fmla="*/ 65 h 124"/>
                <a:gd name="T76" fmla="*/ 47 w 134"/>
                <a:gd name="T77" fmla="*/ 70 h 124"/>
                <a:gd name="T78" fmla="*/ 56 w 134"/>
                <a:gd name="T79" fmla="*/ 43 h 124"/>
                <a:gd name="T80" fmla="*/ 76 w 134"/>
                <a:gd name="T81" fmla="*/ 27 h 124"/>
                <a:gd name="T82" fmla="*/ 78 w 134"/>
                <a:gd name="T83" fmla="*/ 19 h 124"/>
                <a:gd name="T84" fmla="*/ 73 w 134"/>
                <a:gd name="T85" fmla="*/ 22 h 124"/>
                <a:gd name="T86" fmla="*/ 14 w 134"/>
                <a:gd name="T87" fmla="*/ 43 h 124"/>
                <a:gd name="T88" fmla="*/ 56 w 134"/>
                <a:gd name="T89" fmla="*/ 4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4" h="124">
                  <a:moveTo>
                    <a:pt x="81" y="108"/>
                  </a:moveTo>
                  <a:cubicBezTo>
                    <a:pt x="70" y="108"/>
                    <a:pt x="70" y="108"/>
                    <a:pt x="70" y="108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104" y="114"/>
                    <a:pt x="123" y="95"/>
                    <a:pt x="123" y="73"/>
                  </a:cubicBezTo>
                  <a:cubicBezTo>
                    <a:pt x="123" y="66"/>
                    <a:pt x="121" y="59"/>
                    <a:pt x="117" y="53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6" y="61"/>
                    <a:pt x="117" y="67"/>
                    <a:pt x="117" y="73"/>
                  </a:cubicBezTo>
                  <a:cubicBezTo>
                    <a:pt x="117" y="92"/>
                    <a:pt x="101" y="108"/>
                    <a:pt x="81" y="108"/>
                  </a:cubicBezTo>
                  <a:moveTo>
                    <a:pt x="81" y="78"/>
                  </a:moveTo>
                  <a:cubicBezTo>
                    <a:pt x="78" y="78"/>
                    <a:pt x="75" y="76"/>
                    <a:pt x="75" y="73"/>
                  </a:cubicBezTo>
                  <a:cubicBezTo>
                    <a:pt x="75" y="70"/>
                    <a:pt x="78" y="67"/>
                    <a:pt x="81" y="67"/>
                  </a:cubicBezTo>
                  <a:cubicBezTo>
                    <a:pt x="84" y="67"/>
                    <a:pt x="87" y="70"/>
                    <a:pt x="87" y="73"/>
                  </a:cubicBezTo>
                  <a:cubicBezTo>
                    <a:pt x="87" y="76"/>
                    <a:pt x="84" y="78"/>
                    <a:pt x="81" y="78"/>
                  </a:cubicBezTo>
                  <a:moveTo>
                    <a:pt x="87" y="64"/>
                  </a:moveTo>
                  <a:cubicBezTo>
                    <a:pt x="85" y="63"/>
                    <a:pt x="83" y="62"/>
                    <a:pt x="81" y="62"/>
                  </a:cubicBezTo>
                  <a:cubicBezTo>
                    <a:pt x="75" y="62"/>
                    <a:pt x="70" y="67"/>
                    <a:pt x="70" y="73"/>
                  </a:cubicBezTo>
                  <a:cubicBezTo>
                    <a:pt x="70" y="79"/>
                    <a:pt x="75" y="84"/>
                    <a:pt x="81" y="84"/>
                  </a:cubicBezTo>
                  <a:cubicBezTo>
                    <a:pt x="87" y="84"/>
                    <a:pt x="92" y="79"/>
                    <a:pt x="92" y="73"/>
                  </a:cubicBezTo>
                  <a:cubicBezTo>
                    <a:pt x="92" y="71"/>
                    <a:pt x="92" y="69"/>
                    <a:pt x="91" y="67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07" y="44"/>
                    <a:pt x="107" y="44"/>
                    <a:pt x="107" y="44"/>
                  </a:cubicBezTo>
                  <a:lnTo>
                    <a:pt x="87" y="64"/>
                  </a:lnTo>
                  <a:close/>
                  <a:moveTo>
                    <a:pt x="48" y="114"/>
                  </a:moveTo>
                  <a:cubicBezTo>
                    <a:pt x="52" y="109"/>
                    <a:pt x="52" y="109"/>
                    <a:pt x="52" y="109"/>
                  </a:cubicBezTo>
                  <a:cubicBezTo>
                    <a:pt x="47" y="106"/>
                    <a:pt x="43" y="101"/>
                    <a:pt x="40" y="96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8" y="104"/>
                    <a:pt x="43" y="109"/>
                    <a:pt x="48" y="114"/>
                  </a:cubicBezTo>
                  <a:moveTo>
                    <a:pt x="119" y="37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08" y="28"/>
                    <a:pt x="99" y="24"/>
                    <a:pt x="89" y="22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110" y="30"/>
                    <a:pt x="129" y="49"/>
                    <a:pt x="129" y="73"/>
                  </a:cubicBezTo>
                  <a:cubicBezTo>
                    <a:pt x="129" y="98"/>
                    <a:pt x="107" y="119"/>
                    <a:pt x="81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110" y="124"/>
                    <a:pt x="134" y="101"/>
                    <a:pt x="134" y="73"/>
                  </a:cubicBezTo>
                  <a:cubicBezTo>
                    <a:pt x="134" y="59"/>
                    <a:pt x="129" y="46"/>
                    <a:pt x="119" y="37"/>
                  </a:cubicBezTo>
                  <a:moveTo>
                    <a:pt x="78" y="11"/>
                  </a:moveTo>
                  <a:cubicBezTo>
                    <a:pt x="70" y="11"/>
                    <a:pt x="70" y="11"/>
                    <a:pt x="70" y="1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78" y="16"/>
                    <a:pt x="78" y="16"/>
                    <a:pt x="78" y="16"/>
                  </a:cubicBezTo>
                  <a:lnTo>
                    <a:pt x="78" y="11"/>
                  </a:lnTo>
                  <a:close/>
                  <a:moveTo>
                    <a:pt x="50" y="86"/>
                  </a:moveTo>
                  <a:cubicBezTo>
                    <a:pt x="35" y="86"/>
                    <a:pt x="35" y="86"/>
                    <a:pt x="35" y="86"/>
                  </a:cubicBezTo>
                  <a:cubicBezTo>
                    <a:pt x="34" y="83"/>
                    <a:pt x="34" y="79"/>
                    <a:pt x="33" y="75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9"/>
                    <a:pt x="29" y="83"/>
                    <a:pt x="30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50" y="92"/>
                    <a:pt x="50" y="92"/>
                    <a:pt x="50" y="92"/>
                  </a:cubicBezTo>
                  <a:lnTo>
                    <a:pt x="50" y="86"/>
                  </a:lnTo>
                  <a:close/>
                  <a:moveTo>
                    <a:pt x="47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5" y="61"/>
                    <a:pt x="36" y="58"/>
                    <a:pt x="37" y="55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0" y="57"/>
                    <a:pt x="29" y="61"/>
                    <a:pt x="2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47" y="70"/>
                    <a:pt x="47" y="70"/>
                    <a:pt x="47" y="70"/>
                  </a:cubicBezTo>
                  <a:lnTo>
                    <a:pt x="47" y="65"/>
                  </a:lnTo>
                  <a:close/>
                  <a:moveTo>
                    <a:pt x="56" y="43"/>
                  </a:moveTo>
                  <a:cubicBezTo>
                    <a:pt x="45" y="43"/>
                    <a:pt x="45" y="43"/>
                    <a:pt x="45" y="43"/>
                  </a:cubicBezTo>
                  <a:cubicBezTo>
                    <a:pt x="53" y="34"/>
                    <a:pt x="64" y="28"/>
                    <a:pt x="76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58" y="24"/>
                    <a:pt x="46" y="32"/>
                    <a:pt x="38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56" y="48"/>
                    <a:pt x="56" y="48"/>
                    <a:pt x="56" y="48"/>
                  </a:cubicBezTo>
                  <a:lnTo>
                    <a:pt x="56" y="4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0">
            <a:extLst>
              <a:ext uri="{FF2B5EF4-FFF2-40B4-BE49-F238E27FC236}">
                <a16:creationId xmlns:a16="http://schemas.microsoft.com/office/drawing/2014/main" id="{DD46E4DD-89DF-4DB7-BB25-B46A3E90375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01694" y="324717"/>
            <a:ext cx="841375" cy="841375"/>
            <a:chOff x="4346" y="238"/>
            <a:chExt cx="530" cy="530"/>
          </a:xfrm>
        </p:grpSpPr>
        <p:sp>
          <p:nvSpPr>
            <p:cNvPr id="69" name="AutoShape 59">
              <a:extLst>
                <a:ext uri="{FF2B5EF4-FFF2-40B4-BE49-F238E27FC236}">
                  <a16:creationId xmlns:a16="http://schemas.microsoft.com/office/drawing/2014/main" id="{BE7BAF09-6192-467A-A708-D74D926886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6" y="23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61">
              <a:extLst>
                <a:ext uri="{FF2B5EF4-FFF2-40B4-BE49-F238E27FC236}">
                  <a16:creationId xmlns:a16="http://schemas.microsoft.com/office/drawing/2014/main" id="{98BC9AA5-17E7-43F3-AC38-844A7A311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" y="23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2674FA02-57C9-4CB0-982D-02910CA0B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" y="25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3">
              <a:extLst>
                <a:ext uri="{FF2B5EF4-FFF2-40B4-BE49-F238E27FC236}">
                  <a16:creationId xmlns:a16="http://schemas.microsoft.com/office/drawing/2014/main" id="{DFDDE61A-C3F8-4080-A85F-A5C9004E1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0" y="345"/>
              <a:ext cx="343" cy="318"/>
            </a:xfrm>
            <a:custGeom>
              <a:avLst/>
              <a:gdLst>
                <a:gd name="T0" fmla="*/ 70 w 134"/>
                <a:gd name="T1" fmla="*/ 108 h 124"/>
                <a:gd name="T2" fmla="*/ 81 w 134"/>
                <a:gd name="T3" fmla="*/ 114 h 124"/>
                <a:gd name="T4" fmla="*/ 117 w 134"/>
                <a:gd name="T5" fmla="*/ 53 h 124"/>
                <a:gd name="T6" fmla="*/ 117 w 134"/>
                <a:gd name="T7" fmla="*/ 73 h 124"/>
                <a:gd name="T8" fmla="*/ 81 w 134"/>
                <a:gd name="T9" fmla="*/ 78 h 124"/>
                <a:gd name="T10" fmla="*/ 81 w 134"/>
                <a:gd name="T11" fmla="*/ 67 h 124"/>
                <a:gd name="T12" fmla="*/ 81 w 134"/>
                <a:gd name="T13" fmla="*/ 78 h 124"/>
                <a:gd name="T14" fmla="*/ 81 w 134"/>
                <a:gd name="T15" fmla="*/ 62 h 124"/>
                <a:gd name="T16" fmla="*/ 81 w 134"/>
                <a:gd name="T17" fmla="*/ 84 h 124"/>
                <a:gd name="T18" fmla="*/ 91 w 134"/>
                <a:gd name="T19" fmla="*/ 67 h 124"/>
                <a:gd name="T20" fmla="*/ 107 w 134"/>
                <a:gd name="T21" fmla="*/ 44 h 124"/>
                <a:gd name="T22" fmla="*/ 48 w 134"/>
                <a:gd name="T23" fmla="*/ 114 h 124"/>
                <a:gd name="T24" fmla="*/ 40 w 134"/>
                <a:gd name="T25" fmla="*/ 96 h 124"/>
                <a:gd name="T26" fmla="*/ 48 w 134"/>
                <a:gd name="T27" fmla="*/ 114 h 124"/>
                <a:gd name="T28" fmla="*/ 124 w 134"/>
                <a:gd name="T29" fmla="*/ 32 h 124"/>
                <a:gd name="T30" fmla="*/ 131 w 134"/>
                <a:gd name="T31" fmla="*/ 30 h 124"/>
                <a:gd name="T32" fmla="*/ 118 w 134"/>
                <a:gd name="T33" fmla="*/ 26 h 124"/>
                <a:gd name="T34" fmla="*/ 115 w 134"/>
                <a:gd name="T35" fmla="*/ 33 h 124"/>
                <a:gd name="T36" fmla="*/ 89 w 134"/>
                <a:gd name="T37" fmla="*/ 19 h 124"/>
                <a:gd name="T38" fmla="*/ 84 w 134"/>
                <a:gd name="T39" fmla="*/ 27 h 124"/>
                <a:gd name="T40" fmla="*/ 129 w 134"/>
                <a:gd name="T41" fmla="*/ 73 h 124"/>
                <a:gd name="T42" fmla="*/ 36 w 134"/>
                <a:gd name="T43" fmla="*/ 119 h 124"/>
                <a:gd name="T44" fmla="*/ 81 w 134"/>
                <a:gd name="T45" fmla="*/ 124 h 124"/>
                <a:gd name="T46" fmla="*/ 119 w 134"/>
                <a:gd name="T47" fmla="*/ 37 h 124"/>
                <a:gd name="T48" fmla="*/ 70 w 134"/>
                <a:gd name="T49" fmla="*/ 11 h 124"/>
                <a:gd name="T50" fmla="*/ 92 w 134"/>
                <a:gd name="T51" fmla="*/ 5 h 124"/>
                <a:gd name="T52" fmla="*/ 84 w 134"/>
                <a:gd name="T53" fmla="*/ 11 h 124"/>
                <a:gd name="T54" fmla="*/ 98 w 134"/>
                <a:gd name="T55" fmla="*/ 16 h 124"/>
                <a:gd name="T56" fmla="*/ 64 w 134"/>
                <a:gd name="T57" fmla="*/ 0 h 124"/>
                <a:gd name="T58" fmla="*/ 78 w 134"/>
                <a:gd name="T59" fmla="*/ 16 h 124"/>
                <a:gd name="T60" fmla="*/ 50 w 134"/>
                <a:gd name="T61" fmla="*/ 86 h 124"/>
                <a:gd name="T62" fmla="*/ 33 w 134"/>
                <a:gd name="T63" fmla="*/ 75 h 124"/>
                <a:gd name="T64" fmla="*/ 30 w 134"/>
                <a:gd name="T65" fmla="*/ 86 h 124"/>
                <a:gd name="T66" fmla="*/ 8 w 134"/>
                <a:gd name="T67" fmla="*/ 92 h 124"/>
                <a:gd name="T68" fmla="*/ 50 w 134"/>
                <a:gd name="T69" fmla="*/ 86 h 124"/>
                <a:gd name="T70" fmla="*/ 34 w 134"/>
                <a:gd name="T71" fmla="*/ 65 h 124"/>
                <a:gd name="T72" fmla="*/ 32 w 134"/>
                <a:gd name="T73" fmla="*/ 53 h 124"/>
                <a:gd name="T74" fmla="*/ 0 w 134"/>
                <a:gd name="T75" fmla="*/ 65 h 124"/>
                <a:gd name="T76" fmla="*/ 47 w 134"/>
                <a:gd name="T77" fmla="*/ 70 h 124"/>
                <a:gd name="T78" fmla="*/ 56 w 134"/>
                <a:gd name="T79" fmla="*/ 43 h 124"/>
                <a:gd name="T80" fmla="*/ 76 w 134"/>
                <a:gd name="T81" fmla="*/ 27 h 124"/>
                <a:gd name="T82" fmla="*/ 78 w 134"/>
                <a:gd name="T83" fmla="*/ 19 h 124"/>
                <a:gd name="T84" fmla="*/ 73 w 134"/>
                <a:gd name="T85" fmla="*/ 22 h 124"/>
                <a:gd name="T86" fmla="*/ 14 w 134"/>
                <a:gd name="T87" fmla="*/ 43 h 124"/>
                <a:gd name="T88" fmla="*/ 56 w 134"/>
                <a:gd name="T89" fmla="*/ 4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4" h="124">
                  <a:moveTo>
                    <a:pt x="81" y="108"/>
                  </a:moveTo>
                  <a:cubicBezTo>
                    <a:pt x="70" y="108"/>
                    <a:pt x="70" y="108"/>
                    <a:pt x="70" y="108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104" y="114"/>
                    <a:pt x="123" y="95"/>
                    <a:pt x="123" y="73"/>
                  </a:cubicBezTo>
                  <a:cubicBezTo>
                    <a:pt x="123" y="66"/>
                    <a:pt x="121" y="59"/>
                    <a:pt x="117" y="53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6" y="61"/>
                    <a:pt x="117" y="67"/>
                    <a:pt x="117" y="73"/>
                  </a:cubicBezTo>
                  <a:cubicBezTo>
                    <a:pt x="117" y="92"/>
                    <a:pt x="101" y="108"/>
                    <a:pt x="81" y="108"/>
                  </a:cubicBezTo>
                  <a:moveTo>
                    <a:pt x="81" y="78"/>
                  </a:moveTo>
                  <a:cubicBezTo>
                    <a:pt x="78" y="78"/>
                    <a:pt x="75" y="76"/>
                    <a:pt x="75" y="73"/>
                  </a:cubicBezTo>
                  <a:cubicBezTo>
                    <a:pt x="75" y="70"/>
                    <a:pt x="78" y="67"/>
                    <a:pt x="81" y="67"/>
                  </a:cubicBezTo>
                  <a:cubicBezTo>
                    <a:pt x="84" y="67"/>
                    <a:pt x="87" y="70"/>
                    <a:pt x="87" y="73"/>
                  </a:cubicBezTo>
                  <a:cubicBezTo>
                    <a:pt x="87" y="76"/>
                    <a:pt x="84" y="78"/>
                    <a:pt x="81" y="78"/>
                  </a:cubicBezTo>
                  <a:moveTo>
                    <a:pt x="87" y="64"/>
                  </a:moveTo>
                  <a:cubicBezTo>
                    <a:pt x="85" y="63"/>
                    <a:pt x="83" y="62"/>
                    <a:pt x="81" y="62"/>
                  </a:cubicBezTo>
                  <a:cubicBezTo>
                    <a:pt x="75" y="62"/>
                    <a:pt x="70" y="67"/>
                    <a:pt x="70" y="73"/>
                  </a:cubicBezTo>
                  <a:cubicBezTo>
                    <a:pt x="70" y="79"/>
                    <a:pt x="75" y="84"/>
                    <a:pt x="81" y="84"/>
                  </a:cubicBezTo>
                  <a:cubicBezTo>
                    <a:pt x="87" y="84"/>
                    <a:pt x="92" y="79"/>
                    <a:pt x="92" y="73"/>
                  </a:cubicBezTo>
                  <a:cubicBezTo>
                    <a:pt x="92" y="71"/>
                    <a:pt x="92" y="69"/>
                    <a:pt x="91" y="67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07" y="44"/>
                    <a:pt x="107" y="44"/>
                    <a:pt x="107" y="44"/>
                  </a:cubicBezTo>
                  <a:lnTo>
                    <a:pt x="87" y="64"/>
                  </a:lnTo>
                  <a:close/>
                  <a:moveTo>
                    <a:pt x="48" y="114"/>
                  </a:moveTo>
                  <a:cubicBezTo>
                    <a:pt x="52" y="109"/>
                    <a:pt x="52" y="109"/>
                    <a:pt x="52" y="109"/>
                  </a:cubicBezTo>
                  <a:cubicBezTo>
                    <a:pt x="47" y="106"/>
                    <a:pt x="43" y="101"/>
                    <a:pt x="40" y="96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8" y="104"/>
                    <a:pt x="43" y="109"/>
                    <a:pt x="48" y="114"/>
                  </a:cubicBezTo>
                  <a:moveTo>
                    <a:pt x="119" y="37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08" y="28"/>
                    <a:pt x="99" y="24"/>
                    <a:pt x="89" y="22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110" y="30"/>
                    <a:pt x="129" y="49"/>
                    <a:pt x="129" y="73"/>
                  </a:cubicBezTo>
                  <a:cubicBezTo>
                    <a:pt x="129" y="98"/>
                    <a:pt x="107" y="119"/>
                    <a:pt x="81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110" y="124"/>
                    <a:pt x="134" y="101"/>
                    <a:pt x="134" y="73"/>
                  </a:cubicBezTo>
                  <a:cubicBezTo>
                    <a:pt x="134" y="59"/>
                    <a:pt x="129" y="46"/>
                    <a:pt x="119" y="37"/>
                  </a:cubicBezTo>
                  <a:moveTo>
                    <a:pt x="78" y="11"/>
                  </a:moveTo>
                  <a:cubicBezTo>
                    <a:pt x="70" y="11"/>
                    <a:pt x="70" y="11"/>
                    <a:pt x="70" y="11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78" y="16"/>
                    <a:pt x="78" y="16"/>
                    <a:pt x="78" y="16"/>
                  </a:cubicBezTo>
                  <a:lnTo>
                    <a:pt x="78" y="11"/>
                  </a:lnTo>
                  <a:close/>
                  <a:moveTo>
                    <a:pt x="50" y="86"/>
                  </a:moveTo>
                  <a:cubicBezTo>
                    <a:pt x="35" y="86"/>
                    <a:pt x="35" y="86"/>
                    <a:pt x="35" y="86"/>
                  </a:cubicBezTo>
                  <a:cubicBezTo>
                    <a:pt x="34" y="83"/>
                    <a:pt x="34" y="79"/>
                    <a:pt x="33" y="75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9"/>
                    <a:pt x="29" y="83"/>
                    <a:pt x="30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50" y="92"/>
                    <a:pt x="50" y="92"/>
                    <a:pt x="50" y="92"/>
                  </a:cubicBezTo>
                  <a:lnTo>
                    <a:pt x="50" y="86"/>
                  </a:lnTo>
                  <a:close/>
                  <a:moveTo>
                    <a:pt x="47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5" y="61"/>
                    <a:pt x="36" y="58"/>
                    <a:pt x="37" y="55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0" y="57"/>
                    <a:pt x="29" y="61"/>
                    <a:pt x="2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47" y="70"/>
                    <a:pt x="47" y="70"/>
                    <a:pt x="47" y="70"/>
                  </a:cubicBezTo>
                  <a:lnTo>
                    <a:pt x="47" y="65"/>
                  </a:lnTo>
                  <a:close/>
                  <a:moveTo>
                    <a:pt x="56" y="43"/>
                  </a:moveTo>
                  <a:cubicBezTo>
                    <a:pt x="45" y="43"/>
                    <a:pt x="45" y="43"/>
                    <a:pt x="45" y="43"/>
                  </a:cubicBezTo>
                  <a:cubicBezTo>
                    <a:pt x="53" y="34"/>
                    <a:pt x="64" y="28"/>
                    <a:pt x="76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58" y="24"/>
                    <a:pt x="46" y="32"/>
                    <a:pt x="38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56" y="48"/>
                    <a:pt x="56" y="48"/>
                    <a:pt x="56" y="48"/>
                  </a:cubicBezTo>
                  <a:lnTo>
                    <a:pt x="56" y="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66">
            <a:extLst>
              <a:ext uri="{FF2B5EF4-FFF2-40B4-BE49-F238E27FC236}">
                <a16:creationId xmlns:a16="http://schemas.microsoft.com/office/drawing/2014/main" id="{E28CDACB-FECC-432E-8AAD-4C93B5B070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1598276"/>
            <a:ext cx="758825" cy="758825"/>
            <a:chOff x="1025" y="1187"/>
            <a:chExt cx="478" cy="478"/>
          </a:xfrm>
        </p:grpSpPr>
        <p:sp>
          <p:nvSpPr>
            <p:cNvPr id="78" name="AutoShape 65">
              <a:extLst>
                <a:ext uri="{FF2B5EF4-FFF2-40B4-BE49-F238E27FC236}">
                  <a16:creationId xmlns:a16="http://schemas.microsoft.com/office/drawing/2014/main" id="{5BB8F400-4F0C-4483-9839-626A3A3D72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25" y="118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C7E4F4DA-93BC-4225-9E8B-D5AF6487C6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7" y="118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843A0F81-0E10-4BAF-9701-12AEE349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" y="1278"/>
              <a:ext cx="284" cy="299"/>
            </a:xfrm>
            <a:custGeom>
              <a:avLst/>
              <a:gdLst>
                <a:gd name="T0" fmla="*/ 116 w 116"/>
                <a:gd name="T1" fmla="*/ 62 h 122"/>
                <a:gd name="T2" fmla="*/ 116 w 116"/>
                <a:gd name="T3" fmla="*/ 60 h 122"/>
                <a:gd name="T4" fmla="*/ 99 w 116"/>
                <a:gd name="T5" fmla="*/ 17 h 122"/>
                <a:gd name="T6" fmla="*/ 58 w 116"/>
                <a:gd name="T7" fmla="*/ 0 h 122"/>
                <a:gd name="T8" fmla="*/ 58 w 116"/>
                <a:gd name="T9" fmla="*/ 0 h 122"/>
                <a:gd name="T10" fmla="*/ 17 w 116"/>
                <a:gd name="T11" fmla="*/ 17 h 122"/>
                <a:gd name="T12" fmla="*/ 11 w 116"/>
                <a:gd name="T13" fmla="*/ 23 h 122"/>
                <a:gd name="T14" fmla="*/ 5 w 116"/>
                <a:gd name="T15" fmla="*/ 16 h 122"/>
                <a:gd name="T16" fmla="*/ 0 w 116"/>
                <a:gd name="T17" fmla="*/ 16 h 122"/>
                <a:gd name="T18" fmla="*/ 0 w 116"/>
                <a:gd name="T19" fmla="*/ 48 h 122"/>
                <a:gd name="T20" fmla="*/ 30 w 116"/>
                <a:gd name="T21" fmla="*/ 48 h 122"/>
                <a:gd name="T22" fmla="*/ 30 w 116"/>
                <a:gd name="T23" fmla="*/ 42 h 122"/>
                <a:gd name="T24" fmla="*/ 25 w 116"/>
                <a:gd name="T25" fmla="*/ 37 h 122"/>
                <a:gd name="T26" fmla="*/ 31 w 116"/>
                <a:gd name="T27" fmla="*/ 32 h 122"/>
                <a:gd name="T28" fmla="*/ 58 w 116"/>
                <a:gd name="T29" fmla="*/ 20 h 122"/>
                <a:gd name="T30" fmla="*/ 58 w 116"/>
                <a:gd name="T31" fmla="*/ 20 h 122"/>
                <a:gd name="T32" fmla="*/ 85 w 116"/>
                <a:gd name="T33" fmla="*/ 32 h 122"/>
                <a:gd name="T34" fmla="*/ 96 w 116"/>
                <a:gd name="T35" fmla="*/ 62 h 122"/>
                <a:gd name="T36" fmla="*/ 58 w 116"/>
                <a:gd name="T37" fmla="*/ 102 h 122"/>
                <a:gd name="T38" fmla="*/ 20 w 116"/>
                <a:gd name="T39" fmla="*/ 63 h 122"/>
                <a:gd name="T40" fmla="*/ 16 w 116"/>
                <a:gd name="T41" fmla="*/ 63 h 122"/>
                <a:gd name="T42" fmla="*/ 58 w 116"/>
                <a:gd name="T43" fmla="*/ 106 h 122"/>
                <a:gd name="T44" fmla="*/ 100 w 116"/>
                <a:gd name="T45" fmla="*/ 63 h 122"/>
                <a:gd name="T46" fmla="*/ 88 w 116"/>
                <a:gd name="T47" fmla="*/ 29 h 122"/>
                <a:gd name="T48" fmla="*/ 58 w 116"/>
                <a:gd name="T49" fmla="*/ 16 h 122"/>
                <a:gd name="T50" fmla="*/ 58 w 116"/>
                <a:gd name="T51" fmla="*/ 16 h 122"/>
                <a:gd name="T52" fmla="*/ 28 w 116"/>
                <a:gd name="T53" fmla="*/ 29 h 122"/>
                <a:gd name="T54" fmla="*/ 20 w 116"/>
                <a:gd name="T55" fmla="*/ 37 h 122"/>
                <a:gd name="T56" fmla="*/ 27 w 116"/>
                <a:gd name="T57" fmla="*/ 44 h 122"/>
                <a:gd name="T58" fmla="*/ 3 w 116"/>
                <a:gd name="T59" fmla="*/ 44 h 122"/>
                <a:gd name="T60" fmla="*/ 3 w 116"/>
                <a:gd name="T61" fmla="*/ 20 h 122"/>
                <a:gd name="T62" fmla="*/ 11 w 116"/>
                <a:gd name="T63" fmla="*/ 28 h 122"/>
                <a:gd name="T64" fmla="*/ 19 w 116"/>
                <a:gd name="T65" fmla="*/ 20 h 122"/>
                <a:gd name="T66" fmla="*/ 58 w 116"/>
                <a:gd name="T67" fmla="*/ 3 h 122"/>
                <a:gd name="T68" fmla="*/ 58 w 116"/>
                <a:gd name="T69" fmla="*/ 3 h 122"/>
                <a:gd name="T70" fmla="*/ 97 w 116"/>
                <a:gd name="T71" fmla="*/ 20 h 122"/>
                <a:gd name="T72" fmla="*/ 112 w 116"/>
                <a:gd name="T73" fmla="*/ 62 h 122"/>
                <a:gd name="T74" fmla="*/ 112 w 116"/>
                <a:gd name="T75" fmla="*/ 65 h 122"/>
                <a:gd name="T76" fmla="*/ 59 w 116"/>
                <a:gd name="T77" fmla="*/ 119 h 122"/>
                <a:gd name="T78" fmla="*/ 59 w 116"/>
                <a:gd name="T79" fmla="*/ 122 h 122"/>
                <a:gd name="T80" fmla="*/ 116 w 116"/>
                <a:gd name="T81" fmla="*/ 6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22">
                  <a:moveTo>
                    <a:pt x="116" y="62"/>
                  </a:moveTo>
                  <a:cubicBezTo>
                    <a:pt x="116" y="60"/>
                    <a:pt x="116" y="60"/>
                    <a:pt x="116" y="60"/>
                  </a:cubicBezTo>
                  <a:cubicBezTo>
                    <a:pt x="116" y="44"/>
                    <a:pt x="110" y="29"/>
                    <a:pt x="99" y="17"/>
                  </a:cubicBezTo>
                  <a:cubicBezTo>
                    <a:pt x="88" y="6"/>
                    <a:pt x="73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2" y="0"/>
                    <a:pt x="28" y="6"/>
                    <a:pt x="17" y="17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8" y="24"/>
                    <a:pt x="47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8" y="20"/>
                    <a:pt x="78" y="25"/>
                    <a:pt x="85" y="32"/>
                  </a:cubicBezTo>
                  <a:cubicBezTo>
                    <a:pt x="93" y="40"/>
                    <a:pt x="97" y="51"/>
                    <a:pt x="96" y="62"/>
                  </a:cubicBezTo>
                  <a:cubicBezTo>
                    <a:pt x="96" y="84"/>
                    <a:pt x="79" y="102"/>
                    <a:pt x="58" y="102"/>
                  </a:cubicBezTo>
                  <a:cubicBezTo>
                    <a:pt x="37" y="102"/>
                    <a:pt x="20" y="85"/>
                    <a:pt x="20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87"/>
                    <a:pt x="35" y="106"/>
                    <a:pt x="58" y="106"/>
                  </a:cubicBezTo>
                  <a:cubicBezTo>
                    <a:pt x="81" y="106"/>
                    <a:pt x="100" y="86"/>
                    <a:pt x="100" y="63"/>
                  </a:cubicBezTo>
                  <a:cubicBezTo>
                    <a:pt x="101" y="50"/>
                    <a:pt x="96" y="38"/>
                    <a:pt x="88" y="29"/>
                  </a:cubicBezTo>
                  <a:cubicBezTo>
                    <a:pt x="80" y="21"/>
                    <a:pt x="69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46" y="16"/>
                    <a:pt x="36" y="21"/>
                    <a:pt x="28" y="29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30" y="9"/>
                    <a:pt x="43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72" y="3"/>
                    <a:pt x="86" y="9"/>
                    <a:pt x="97" y="20"/>
                  </a:cubicBezTo>
                  <a:cubicBezTo>
                    <a:pt x="107" y="31"/>
                    <a:pt x="113" y="46"/>
                    <a:pt x="112" y="62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1" y="95"/>
                    <a:pt x="88" y="118"/>
                    <a:pt x="59" y="119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91" y="122"/>
                    <a:pt x="116" y="95"/>
                    <a:pt x="116" y="6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E8F9EBEC-BDAC-4F3A-9091-2CD887C6E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" y="1366"/>
              <a:ext cx="32" cy="88"/>
            </a:xfrm>
            <a:custGeom>
              <a:avLst/>
              <a:gdLst>
                <a:gd name="T0" fmla="*/ 0 w 32"/>
                <a:gd name="T1" fmla="*/ 0 h 88"/>
                <a:gd name="T2" fmla="*/ 0 w 32"/>
                <a:gd name="T3" fmla="*/ 59 h 88"/>
                <a:gd name="T4" fmla="*/ 27 w 32"/>
                <a:gd name="T5" fmla="*/ 88 h 88"/>
                <a:gd name="T6" fmla="*/ 32 w 32"/>
                <a:gd name="T7" fmla="*/ 81 h 88"/>
                <a:gd name="T8" fmla="*/ 10 w 32"/>
                <a:gd name="T9" fmla="*/ 56 h 88"/>
                <a:gd name="T10" fmla="*/ 10 w 32"/>
                <a:gd name="T11" fmla="*/ 0 h 88"/>
                <a:gd name="T12" fmla="*/ 0 w 32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88">
                  <a:moveTo>
                    <a:pt x="0" y="0"/>
                  </a:moveTo>
                  <a:lnTo>
                    <a:pt x="0" y="59"/>
                  </a:lnTo>
                  <a:lnTo>
                    <a:pt x="27" y="88"/>
                  </a:lnTo>
                  <a:lnTo>
                    <a:pt x="32" y="81"/>
                  </a:lnTo>
                  <a:lnTo>
                    <a:pt x="10" y="56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72">
            <a:extLst>
              <a:ext uri="{FF2B5EF4-FFF2-40B4-BE49-F238E27FC236}">
                <a16:creationId xmlns:a16="http://schemas.microsoft.com/office/drawing/2014/main" id="{37DB2F21-254D-4753-94FB-DF846DDA72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1637" y="1557001"/>
            <a:ext cx="842963" cy="841375"/>
            <a:chOff x="184" y="1044"/>
            <a:chExt cx="531" cy="530"/>
          </a:xfrm>
        </p:grpSpPr>
        <p:sp>
          <p:nvSpPr>
            <p:cNvPr id="83" name="AutoShape 71">
              <a:extLst>
                <a:ext uri="{FF2B5EF4-FFF2-40B4-BE49-F238E27FC236}">
                  <a16:creationId xmlns:a16="http://schemas.microsoft.com/office/drawing/2014/main" id="{6B2323DA-2F82-4369-BE1C-ED6DA4905EE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4" y="1044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3">
              <a:extLst>
                <a:ext uri="{FF2B5EF4-FFF2-40B4-BE49-F238E27FC236}">
                  <a16:creationId xmlns:a16="http://schemas.microsoft.com/office/drawing/2014/main" id="{EDB7C53B-EF0E-4E3C-8E13-32BB26A580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" y="104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4">
              <a:extLst>
                <a:ext uri="{FF2B5EF4-FFF2-40B4-BE49-F238E27FC236}">
                  <a16:creationId xmlns:a16="http://schemas.microsoft.com/office/drawing/2014/main" id="{8E1B6F12-B26B-4783-A3B1-567412FB8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" y="1062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5">
              <a:extLst>
                <a:ext uri="{FF2B5EF4-FFF2-40B4-BE49-F238E27FC236}">
                  <a16:creationId xmlns:a16="http://schemas.microsoft.com/office/drawing/2014/main" id="{DD37E4FC-4CAD-4B6E-8EC5-1E0125451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" y="1154"/>
              <a:ext cx="298" cy="312"/>
            </a:xfrm>
            <a:custGeom>
              <a:avLst/>
              <a:gdLst>
                <a:gd name="T0" fmla="*/ 116 w 116"/>
                <a:gd name="T1" fmla="*/ 62 h 122"/>
                <a:gd name="T2" fmla="*/ 116 w 116"/>
                <a:gd name="T3" fmla="*/ 60 h 122"/>
                <a:gd name="T4" fmla="*/ 99 w 116"/>
                <a:gd name="T5" fmla="*/ 17 h 122"/>
                <a:gd name="T6" fmla="*/ 58 w 116"/>
                <a:gd name="T7" fmla="*/ 0 h 122"/>
                <a:gd name="T8" fmla="*/ 58 w 116"/>
                <a:gd name="T9" fmla="*/ 0 h 122"/>
                <a:gd name="T10" fmla="*/ 17 w 116"/>
                <a:gd name="T11" fmla="*/ 17 h 122"/>
                <a:gd name="T12" fmla="*/ 11 w 116"/>
                <a:gd name="T13" fmla="*/ 23 h 122"/>
                <a:gd name="T14" fmla="*/ 5 w 116"/>
                <a:gd name="T15" fmla="*/ 16 h 122"/>
                <a:gd name="T16" fmla="*/ 0 w 116"/>
                <a:gd name="T17" fmla="*/ 16 h 122"/>
                <a:gd name="T18" fmla="*/ 0 w 116"/>
                <a:gd name="T19" fmla="*/ 48 h 122"/>
                <a:gd name="T20" fmla="*/ 30 w 116"/>
                <a:gd name="T21" fmla="*/ 48 h 122"/>
                <a:gd name="T22" fmla="*/ 30 w 116"/>
                <a:gd name="T23" fmla="*/ 42 h 122"/>
                <a:gd name="T24" fmla="*/ 25 w 116"/>
                <a:gd name="T25" fmla="*/ 37 h 122"/>
                <a:gd name="T26" fmla="*/ 31 w 116"/>
                <a:gd name="T27" fmla="*/ 32 h 122"/>
                <a:gd name="T28" fmla="*/ 58 w 116"/>
                <a:gd name="T29" fmla="*/ 20 h 122"/>
                <a:gd name="T30" fmla="*/ 58 w 116"/>
                <a:gd name="T31" fmla="*/ 20 h 122"/>
                <a:gd name="T32" fmla="*/ 85 w 116"/>
                <a:gd name="T33" fmla="*/ 32 h 122"/>
                <a:gd name="T34" fmla="*/ 96 w 116"/>
                <a:gd name="T35" fmla="*/ 62 h 122"/>
                <a:gd name="T36" fmla="*/ 58 w 116"/>
                <a:gd name="T37" fmla="*/ 102 h 122"/>
                <a:gd name="T38" fmla="*/ 20 w 116"/>
                <a:gd name="T39" fmla="*/ 63 h 122"/>
                <a:gd name="T40" fmla="*/ 16 w 116"/>
                <a:gd name="T41" fmla="*/ 63 h 122"/>
                <a:gd name="T42" fmla="*/ 58 w 116"/>
                <a:gd name="T43" fmla="*/ 106 h 122"/>
                <a:gd name="T44" fmla="*/ 100 w 116"/>
                <a:gd name="T45" fmla="*/ 63 h 122"/>
                <a:gd name="T46" fmla="*/ 88 w 116"/>
                <a:gd name="T47" fmla="*/ 29 h 122"/>
                <a:gd name="T48" fmla="*/ 58 w 116"/>
                <a:gd name="T49" fmla="*/ 16 h 122"/>
                <a:gd name="T50" fmla="*/ 58 w 116"/>
                <a:gd name="T51" fmla="*/ 16 h 122"/>
                <a:gd name="T52" fmla="*/ 28 w 116"/>
                <a:gd name="T53" fmla="*/ 29 h 122"/>
                <a:gd name="T54" fmla="*/ 20 w 116"/>
                <a:gd name="T55" fmla="*/ 37 h 122"/>
                <a:gd name="T56" fmla="*/ 27 w 116"/>
                <a:gd name="T57" fmla="*/ 44 h 122"/>
                <a:gd name="T58" fmla="*/ 3 w 116"/>
                <a:gd name="T59" fmla="*/ 44 h 122"/>
                <a:gd name="T60" fmla="*/ 3 w 116"/>
                <a:gd name="T61" fmla="*/ 20 h 122"/>
                <a:gd name="T62" fmla="*/ 11 w 116"/>
                <a:gd name="T63" fmla="*/ 28 h 122"/>
                <a:gd name="T64" fmla="*/ 19 w 116"/>
                <a:gd name="T65" fmla="*/ 20 h 122"/>
                <a:gd name="T66" fmla="*/ 58 w 116"/>
                <a:gd name="T67" fmla="*/ 3 h 122"/>
                <a:gd name="T68" fmla="*/ 58 w 116"/>
                <a:gd name="T69" fmla="*/ 3 h 122"/>
                <a:gd name="T70" fmla="*/ 97 w 116"/>
                <a:gd name="T71" fmla="*/ 20 h 122"/>
                <a:gd name="T72" fmla="*/ 112 w 116"/>
                <a:gd name="T73" fmla="*/ 62 h 122"/>
                <a:gd name="T74" fmla="*/ 112 w 116"/>
                <a:gd name="T75" fmla="*/ 65 h 122"/>
                <a:gd name="T76" fmla="*/ 59 w 116"/>
                <a:gd name="T77" fmla="*/ 119 h 122"/>
                <a:gd name="T78" fmla="*/ 59 w 116"/>
                <a:gd name="T79" fmla="*/ 122 h 122"/>
                <a:gd name="T80" fmla="*/ 116 w 116"/>
                <a:gd name="T81" fmla="*/ 6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" h="122">
                  <a:moveTo>
                    <a:pt x="116" y="62"/>
                  </a:moveTo>
                  <a:cubicBezTo>
                    <a:pt x="116" y="60"/>
                    <a:pt x="116" y="60"/>
                    <a:pt x="116" y="60"/>
                  </a:cubicBezTo>
                  <a:cubicBezTo>
                    <a:pt x="116" y="44"/>
                    <a:pt x="110" y="29"/>
                    <a:pt x="99" y="17"/>
                  </a:cubicBezTo>
                  <a:cubicBezTo>
                    <a:pt x="88" y="6"/>
                    <a:pt x="73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2" y="0"/>
                    <a:pt x="28" y="6"/>
                    <a:pt x="17" y="17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8" y="24"/>
                    <a:pt x="47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8" y="20"/>
                    <a:pt x="78" y="25"/>
                    <a:pt x="85" y="32"/>
                  </a:cubicBezTo>
                  <a:cubicBezTo>
                    <a:pt x="93" y="40"/>
                    <a:pt x="97" y="51"/>
                    <a:pt x="96" y="62"/>
                  </a:cubicBezTo>
                  <a:cubicBezTo>
                    <a:pt x="96" y="84"/>
                    <a:pt x="79" y="102"/>
                    <a:pt x="58" y="102"/>
                  </a:cubicBezTo>
                  <a:cubicBezTo>
                    <a:pt x="37" y="102"/>
                    <a:pt x="20" y="85"/>
                    <a:pt x="20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87"/>
                    <a:pt x="35" y="106"/>
                    <a:pt x="58" y="106"/>
                  </a:cubicBezTo>
                  <a:cubicBezTo>
                    <a:pt x="81" y="106"/>
                    <a:pt x="100" y="86"/>
                    <a:pt x="100" y="63"/>
                  </a:cubicBezTo>
                  <a:cubicBezTo>
                    <a:pt x="101" y="50"/>
                    <a:pt x="96" y="38"/>
                    <a:pt x="88" y="29"/>
                  </a:cubicBezTo>
                  <a:cubicBezTo>
                    <a:pt x="80" y="21"/>
                    <a:pt x="69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46" y="16"/>
                    <a:pt x="36" y="21"/>
                    <a:pt x="28" y="29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30" y="9"/>
                    <a:pt x="43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72" y="3"/>
                    <a:pt x="86" y="9"/>
                    <a:pt x="97" y="20"/>
                  </a:cubicBezTo>
                  <a:cubicBezTo>
                    <a:pt x="107" y="31"/>
                    <a:pt x="113" y="46"/>
                    <a:pt x="112" y="62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1" y="95"/>
                    <a:pt x="88" y="118"/>
                    <a:pt x="59" y="119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91" y="122"/>
                    <a:pt x="116" y="95"/>
                    <a:pt x="116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6">
              <a:extLst>
                <a:ext uri="{FF2B5EF4-FFF2-40B4-BE49-F238E27FC236}">
                  <a16:creationId xmlns:a16="http://schemas.microsoft.com/office/drawing/2014/main" id="{D76424A2-1104-4539-8474-ACF308EAC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" y="1246"/>
              <a:ext cx="33" cy="92"/>
            </a:xfrm>
            <a:custGeom>
              <a:avLst/>
              <a:gdLst>
                <a:gd name="T0" fmla="*/ 0 w 33"/>
                <a:gd name="T1" fmla="*/ 0 h 92"/>
                <a:gd name="T2" fmla="*/ 0 w 33"/>
                <a:gd name="T3" fmla="*/ 62 h 92"/>
                <a:gd name="T4" fmla="*/ 28 w 33"/>
                <a:gd name="T5" fmla="*/ 92 h 92"/>
                <a:gd name="T6" fmla="*/ 33 w 33"/>
                <a:gd name="T7" fmla="*/ 85 h 92"/>
                <a:gd name="T8" fmla="*/ 10 w 33"/>
                <a:gd name="T9" fmla="*/ 59 h 92"/>
                <a:gd name="T10" fmla="*/ 10 w 33"/>
                <a:gd name="T11" fmla="*/ 0 h 92"/>
                <a:gd name="T12" fmla="*/ 0 w 33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92">
                  <a:moveTo>
                    <a:pt x="0" y="0"/>
                  </a:moveTo>
                  <a:lnTo>
                    <a:pt x="0" y="62"/>
                  </a:lnTo>
                  <a:lnTo>
                    <a:pt x="28" y="92"/>
                  </a:lnTo>
                  <a:lnTo>
                    <a:pt x="33" y="85"/>
                  </a:lnTo>
                  <a:lnTo>
                    <a:pt x="10" y="59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79">
            <a:extLst>
              <a:ext uri="{FF2B5EF4-FFF2-40B4-BE49-F238E27FC236}">
                <a16:creationId xmlns:a16="http://schemas.microsoft.com/office/drawing/2014/main" id="{6159643E-DC7B-4D5B-9AED-79FB252519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32075" y="1557001"/>
            <a:ext cx="841248" cy="841248"/>
            <a:chOff x="1670" y="1191"/>
            <a:chExt cx="478" cy="478"/>
          </a:xfrm>
        </p:grpSpPr>
        <p:sp>
          <p:nvSpPr>
            <p:cNvPr id="93" name="AutoShape 78">
              <a:extLst>
                <a:ext uri="{FF2B5EF4-FFF2-40B4-BE49-F238E27FC236}">
                  <a16:creationId xmlns:a16="http://schemas.microsoft.com/office/drawing/2014/main" id="{32CC10E9-3EB4-4542-962A-5AAB553F8E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0" y="119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80">
              <a:extLst>
                <a:ext uri="{FF2B5EF4-FFF2-40B4-BE49-F238E27FC236}">
                  <a16:creationId xmlns:a16="http://schemas.microsoft.com/office/drawing/2014/main" id="{167E02EA-43DD-41AD-9D60-7AE6072A8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1191"/>
              <a:ext cx="480" cy="48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100496AF-4433-4D37-B12A-D366B578D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6" y="1207"/>
              <a:ext cx="448" cy="44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2B7094D9-0AC6-4C49-9984-DF138284C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5" y="1463"/>
              <a:ext cx="71" cy="72"/>
            </a:xfrm>
            <a:custGeom>
              <a:avLst/>
              <a:gdLst>
                <a:gd name="T0" fmla="*/ 15 w 31"/>
                <a:gd name="T1" fmla="*/ 27 h 31"/>
                <a:gd name="T2" fmla="*/ 3 w 31"/>
                <a:gd name="T3" fmla="*/ 15 h 31"/>
                <a:gd name="T4" fmla="*/ 15 w 31"/>
                <a:gd name="T5" fmla="*/ 3 h 31"/>
                <a:gd name="T6" fmla="*/ 27 w 31"/>
                <a:gd name="T7" fmla="*/ 15 h 31"/>
                <a:gd name="T8" fmla="*/ 15 w 31"/>
                <a:gd name="T9" fmla="*/ 27 h 31"/>
                <a:gd name="T10" fmla="*/ 15 w 31"/>
                <a:gd name="T11" fmla="*/ 0 h 31"/>
                <a:gd name="T12" fmla="*/ 0 w 31"/>
                <a:gd name="T13" fmla="*/ 15 h 31"/>
                <a:gd name="T14" fmla="*/ 15 w 31"/>
                <a:gd name="T15" fmla="*/ 31 h 31"/>
                <a:gd name="T16" fmla="*/ 31 w 31"/>
                <a:gd name="T17" fmla="*/ 15 h 31"/>
                <a:gd name="T18" fmla="*/ 15 w 3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5" y="27"/>
                  </a:moveTo>
                  <a:cubicBezTo>
                    <a:pt x="8" y="27"/>
                    <a:pt x="3" y="22"/>
                    <a:pt x="3" y="15"/>
                  </a:cubicBezTo>
                  <a:cubicBezTo>
                    <a:pt x="3" y="8"/>
                    <a:pt x="8" y="3"/>
                    <a:pt x="15" y="3"/>
                  </a:cubicBezTo>
                  <a:cubicBezTo>
                    <a:pt x="22" y="3"/>
                    <a:pt x="27" y="8"/>
                    <a:pt x="27" y="15"/>
                  </a:cubicBezTo>
                  <a:cubicBezTo>
                    <a:pt x="27" y="22"/>
                    <a:pt x="22" y="27"/>
                    <a:pt x="15" y="27"/>
                  </a:cubicBezTo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24" y="31"/>
                    <a:pt x="31" y="24"/>
                    <a:pt x="31" y="15"/>
                  </a:cubicBezTo>
                  <a:cubicBezTo>
                    <a:pt x="31" y="7"/>
                    <a:pt x="24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3">
              <a:extLst>
                <a:ext uri="{FF2B5EF4-FFF2-40B4-BE49-F238E27FC236}">
                  <a16:creationId xmlns:a16="http://schemas.microsoft.com/office/drawing/2014/main" id="{75B8C29A-D005-43F1-B26B-FA9E036D8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" y="1299"/>
              <a:ext cx="268" cy="264"/>
            </a:xfrm>
            <a:custGeom>
              <a:avLst/>
              <a:gdLst>
                <a:gd name="T0" fmla="*/ 107 w 116"/>
                <a:gd name="T1" fmla="*/ 92 h 114"/>
                <a:gd name="T2" fmla="*/ 107 w 116"/>
                <a:gd name="T3" fmla="*/ 102 h 114"/>
                <a:gd name="T4" fmla="*/ 103 w 116"/>
                <a:gd name="T5" fmla="*/ 105 h 114"/>
                <a:gd name="T6" fmla="*/ 94 w 116"/>
                <a:gd name="T7" fmla="*/ 105 h 114"/>
                <a:gd name="T8" fmla="*/ 87 w 116"/>
                <a:gd name="T9" fmla="*/ 111 h 114"/>
                <a:gd name="T10" fmla="*/ 79 w 116"/>
                <a:gd name="T11" fmla="*/ 104 h 114"/>
                <a:gd name="T12" fmla="*/ 73 w 116"/>
                <a:gd name="T13" fmla="*/ 105 h 114"/>
                <a:gd name="T14" fmla="*/ 70 w 116"/>
                <a:gd name="T15" fmla="*/ 102 h 114"/>
                <a:gd name="T16" fmla="*/ 69 w 116"/>
                <a:gd name="T17" fmla="*/ 92 h 114"/>
                <a:gd name="T18" fmla="*/ 64 w 116"/>
                <a:gd name="T19" fmla="*/ 85 h 114"/>
                <a:gd name="T20" fmla="*/ 71 w 116"/>
                <a:gd name="T21" fmla="*/ 77 h 114"/>
                <a:gd name="T22" fmla="*/ 70 w 116"/>
                <a:gd name="T23" fmla="*/ 70 h 114"/>
                <a:gd name="T24" fmla="*/ 79 w 116"/>
                <a:gd name="T25" fmla="*/ 69 h 114"/>
                <a:gd name="T26" fmla="*/ 87 w 116"/>
                <a:gd name="T27" fmla="*/ 62 h 114"/>
                <a:gd name="T28" fmla="*/ 94 w 116"/>
                <a:gd name="T29" fmla="*/ 67 h 114"/>
                <a:gd name="T30" fmla="*/ 104 w 116"/>
                <a:gd name="T31" fmla="*/ 68 h 114"/>
                <a:gd name="T32" fmla="*/ 107 w 116"/>
                <a:gd name="T33" fmla="*/ 71 h 114"/>
                <a:gd name="T34" fmla="*/ 112 w 116"/>
                <a:gd name="T35" fmla="*/ 84 h 114"/>
                <a:gd name="T36" fmla="*/ 3 w 116"/>
                <a:gd name="T37" fmla="*/ 57 h 114"/>
                <a:gd name="T38" fmla="*/ 9 w 116"/>
                <a:gd name="T39" fmla="*/ 53 h 114"/>
                <a:gd name="T40" fmla="*/ 53 w 116"/>
                <a:gd name="T41" fmla="*/ 9 h 114"/>
                <a:gd name="T42" fmla="*/ 57 w 116"/>
                <a:gd name="T43" fmla="*/ 4 h 114"/>
                <a:gd name="T44" fmla="*/ 99 w 116"/>
                <a:gd name="T45" fmla="*/ 55 h 114"/>
                <a:gd name="T46" fmla="*/ 105 w 116"/>
                <a:gd name="T47" fmla="*/ 64 h 114"/>
                <a:gd name="T48" fmla="*/ 95 w 116"/>
                <a:gd name="T49" fmla="*/ 64 h 114"/>
                <a:gd name="T50" fmla="*/ 87 w 116"/>
                <a:gd name="T51" fmla="*/ 58 h 114"/>
                <a:gd name="T52" fmla="*/ 77 w 116"/>
                <a:gd name="T53" fmla="*/ 66 h 114"/>
                <a:gd name="T54" fmla="*/ 67 w 116"/>
                <a:gd name="T55" fmla="*/ 68 h 114"/>
                <a:gd name="T56" fmla="*/ 68 w 116"/>
                <a:gd name="T57" fmla="*/ 75 h 114"/>
                <a:gd name="T58" fmla="*/ 60 w 116"/>
                <a:gd name="T59" fmla="*/ 85 h 114"/>
                <a:gd name="T60" fmla="*/ 66 w 116"/>
                <a:gd name="T61" fmla="*/ 93 h 114"/>
                <a:gd name="T62" fmla="*/ 67 w 116"/>
                <a:gd name="T63" fmla="*/ 105 h 114"/>
                <a:gd name="T64" fmla="*/ 57 w 116"/>
                <a:gd name="T65" fmla="*/ 101 h 114"/>
                <a:gd name="T66" fmla="*/ 53 w 116"/>
                <a:gd name="T67" fmla="*/ 106 h 114"/>
                <a:gd name="T68" fmla="*/ 111 w 116"/>
                <a:gd name="T69" fmla="*/ 80 h 114"/>
                <a:gd name="T70" fmla="*/ 110 w 116"/>
                <a:gd name="T71" fmla="*/ 71 h 114"/>
                <a:gd name="T72" fmla="*/ 110 w 116"/>
                <a:gd name="T73" fmla="*/ 55 h 114"/>
                <a:gd name="T74" fmla="*/ 55 w 116"/>
                <a:gd name="T75" fmla="*/ 110 h 114"/>
                <a:gd name="T76" fmla="*/ 76 w 116"/>
                <a:gd name="T77" fmla="*/ 107 h 114"/>
                <a:gd name="T78" fmla="*/ 82 w 116"/>
                <a:gd name="T79" fmla="*/ 110 h 114"/>
                <a:gd name="T80" fmla="*/ 94 w 116"/>
                <a:gd name="T81" fmla="*/ 110 h 114"/>
                <a:gd name="T82" fmla="*/ 101 w 116"/>
                <a:gd name="T83" fmla="*/ 107 h 114"/>
                <a:gd name="T84" fmla="*/ 109 w 116"/>
                <a:gd name="T85" fmla="*/ 105 h 114"/>
                <a:gd name="T86" fmla="*/ 109 w 116"/>
                <a:gd name="T87" fmla="*/ 97 h 114"/>
                <a:gd name="T88" fmla="*/ 116 w 116"/>
                <a:gd name="T89" fmla="*/ 8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114">
                  <a:moveTo>
                    <a:pt x="113" y="88"/>
                  </a:moveTo>
                  <a:cubicBezTo>
                    <a:pt x="113" y="88"/>
                    <a:pt x="112" y="89"/>
                    <a:pt x="112" y="89"/>
                  </a:cubicBezTo>
                  <a:cubicBezTo>
                    <a:pt x="110" y="89"/>
                    <a:pt x="108" y="90"/>
                    <a:pt x="107" y="92"/>
                  </a:cubicBezTo>
                  <a:cubicBezTo>
                    <a:pt x="107" y="93"/>
                    <a:pt x="107" y="95"/>
                    <a:pt x="106" y="96"/>
                  </a:cubicBezTo>
                  <a:cubicBezTo>
                    <a:pt x="105" y="97"/>
                    <a:pt x="105" y="100"/>
                    <a:pt x="107" y="101"/>
                  </a:cubicBezTo>
                  <a:cubicBezTo>
                    <a:pt x="107" y="101"/>
                    <a:pt x="107" y="101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5"/>
                    <a:pt x="103" y="105"/>
                    <a:pt x="103" y="105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02" y="103"/>
                    <a:pt x="99" y="103"/>
                    <a:pt x="98" y="104"/>
                  </a:cubicBezTo>
                  <a:cubicBezTo>
                    <a:pt x="97" y="104"/>
                    <a:pt x="95" y="105"/>
                    <a:pt x="94" y="105"/>
                  </a:cubicBezTo>
                  <a:cubicBezTo>
                    <a:pt x="92" y="106"/>
                    <a:pt x="91" y="108"/>
                    <a:pt x="91" y="110"/>
                  </a:cubicBezTo>
                  <a:cubicBezTo>
                    <a:pt x="91" y="110"/>
                    <a:pt x="90" y="111"/>
                    <a:pt x="90" y="111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86" y="111"/>
                    <a:pt x="86" y="110"/>
                    <a:pt x="86" y="110"/>
                  </a:cubicBezTo>
                  <a:cubicBezTo>
                    <a:pt x="86" y="108"/>
                    <a:pt x="84" y="106"/>
                    <a:pt x="83" y="105"/>
                  </a:cubicBezTo>
                  <a:cubicBezTo>
                    <a:pt x="81" y="105"/>
                    <a:pt x="80" y="104"/>
                    <a:pt x="79" y="104"/>
                  </a:cubicBezTo>
                  <a:cubicBezTo>
                    <a:pt x="78" y="103"/>
                    <a:pt x="77" y="103"/>
                    <a:pt x="77" y="103"/>
                  </a:cubicBezTo>
                  <a:cubicBezTo>
                    <a:pt x="75" y="103"/>
                    <a:pt x="74" y="104"/>
                    <a:pt x="74" y="105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73" y="105"/>
                    <a:pt x="73" y="105"/>
                    <a:pt x="72" y="105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1" y="100"/>
                    <a:pt x="71" y="97"/>
                    <a:pt x="71" y="96"/>
                  </a:cubicBezTo>
                  <a:cubicBezTo>
                    <a:pt x="70" y="95"/>
                    <a:pt x="69" y="93"/>
                    <a:pt x="69" y="92"/>
                  </a:cubicBezTo>
                  <a:cubicBezTo>
                    <a:pt x="68" y="90"/>
                    <a:pt x="67" y="89"/>
                    <a:pt x="65" y="89"/>
                  </a:cubicBezTo>
                  <a:cubicBezTo>
                    <a:pt x="64" y="89"/>
                    <a:pt x="64" y="88"/>
                    <a:pt x="64" y="88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4" y="84"/>
                    <a:pt x="64" y="84"/>
                    <a:pt x="65" y="84"/>
                  </a:cubicBezTo>
                  <a:cubicBezTo>
                    <a:pt x="67" y="84"/>
                    <a:pt x="68" y="82"/>
                    <a:pt x="69" y="81"/>
                  </a:cubicBezTo>
                  <a:cubicBezTo>
                    <a:pt x="69" y="79"/>
                    <a:pt x="70" y="78"/>
                    <a:pt x="71" y="77"/>
                  </a:cubicBezTo>
                  <a:cubicBezTo>
                    <a:pt x="71" y="75"/>
                    <a:pt x="71" y="73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1"/>
                    <a:pt x="70" y="70"/>
                    <a:pt x="70" y="70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7"/>
                    <a:pt x="73" y="67"/>
                    <a:pt x="73" y="68"/>
                  </a:cubicBezTo>
                  <a:cubicBezTo>
                    <a:pt x="75" y="69"/>
                    <a:pt x="77" y="69"/>
                    <a:pt x="79" y="69"/>
                  </a:cubicBezTo>
                  <a:cubicBezTo>
                    <a:pt x="80" y="68"/>
                    <a:pt x="81" y="67"/>
                    <a:pt x="83" y="67"/>
                  </a:cubicBezTo>
                  <a:cubicBezTo>
                    <a:pt x="84" y="66"/>
                    <a:pt x="86" y="65"/>
                    <a:pt x="86" y="63"/>
                  </a:cubicBezTo>
                  <a:cubicBezTo>
                    <a:pt x="86" y="62"/>
                    <a:pt x="86" y="62"/>
                    <a:pt x="87" y="62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1" y="62"/>
                    <a:pt x="91" y="63"/>
                  </a:cubicBezTo>
                  <a:cubicBezTo>
                    <a:pt x="91" y="65"/>
                    <a:pt x="92" y="66"/>
                    <a:pt x="94" y="67"/>
                  </a:cubicBezTo>
                  <a:cubicBezTo>
                    <a:pt x="95" y="67"/>
                    <a:pt x="97" y="68"/>
                    <a:pt x="98" y="69"/>
                  </a:cubicBezTo>
                  <a:cubicBezTo>
                    <a:pt x="99" y="69"/>
                    <a:pt x="102" y="69"/>
                    <a:pt x="103" y="68"/>
                  </a:cubicBezTo>
                  <a:cubicBezTo>
                    <a:pt x="103" y="67"/>
                    <a:pt x="104" y="67"/>
                    <a:pt x="104" y="68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1"/>
                    <a:pt x="107" y="71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5" y="73"/>
                    <a:pt x="105" y="75"/>
                    <a:pt x="106" y="77"/>
                  </a:cubicBezTo>
                  <a:cubicBezTo>
                    <a:pt x="107" y="78"/>
                    <a:pt x="107" y="79"/>
                    <a:pt x="107" y="81"/>
                  </a:cubicBezTo>
                  <a:cubicBezTo>
                    <a:pt x="108" y="82"/>
                    <a:pt x="110" y="84"/>
                    <a:pt x="112" y="84"/>
                  </a:cubicBezTo>
                  <a:cubicBezTo>
                    <a:pt x="112" y="84"/>
                    <a:pt x="113" y="84"/>
                    <a:pt x="113" y="85"/>
                  </a:cubicBezTo>
                  <a:lnTo>
                    <a:pt x="113" y="88"/>
                  </a:lnTo>
                  <a:close/>
                  <a:moveTo>
                    <a:pt x="3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1" y="56"/>
                    <a:pt x="11" y="55"/>
                  </a:cubicBezTo>
                  <a:cubicBezTo>
                    <a:pt x="11" y="54"/>
                    <a:pt x="10" y="53"/>
                    <a:pt x="9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4" y="26"/>
                    <a:pt x="26" y="4"/>
                    <a:pt x="53" y="4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4" y="11"/>
                    <a:pt x="55" y="11"/>
                  </a:cubicBezTo>
                  <a:cubicBezTo>
                    <a:pt x="56" y="11"/>
                    <a:pt x="57" y="10"/>
                    <a:pt x="57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84" y="4"/>
                    <a:pt x="105" y="26"/>
                    <a:pt x="106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0" y="53"/>
                    <a:pt x="99" y="54"/>
                    <a:pt x="99" y="55"/>
                  </a:cubicBezTo>
                  <a:cubicBezTo>
                    <a:pt x="99" y="56"/>
                    <a:pt x="100" y="57"/>
                    <a:pt x="101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6" y="59"/>
                    <a:pt x="106" y="62"/>
                    <a:pt x="105" y="64"/>
                  </a:cubicBezTo>
                  <a:cubicBezTo>
                    <a:pt x="104" y="64"/>
                    <a:pt x="102" y="64"/>
                    <a:pt x="101" y="65"/>
                  </a:cubicBezTo>
                  <a:cubicBezTo>
                    <a:pt x="100" y="66"/>
                    <a:pt x="100" y="66"/>
                    <a:pt x="99" y="66"/>
                  </a:cubicBezTo>
                  <a:cubicBezTo>
                    <a:pt x="98" y="65"/>
                    <a:pt x="96" y="64"/>
                    <a:pt x="95" y="64"/>
                  </a:cubicBezTo>
                  <a:cubicBezTo>
                    <a:pt x="94" y="64"/>
                    <a:pt x="94" y="63"/>
                    <a:pt x="94" y="63"/>
                  </a:cubicBezTo>
                  <a:cubicBezTo>
                    <a:pt x="94" y="60"/>
                    <a:pt x="92" y="58"/>
                    <a:pt x="9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4" y="58"/>
                    <a:pt x="82" y="60"/>
                    <a:pt x="82" y="63"/>
                  </a:cubicBezTo>
                  <a:cubicBezTo>
                    <a:pt x="82" y="63"/>
                    <a:pt x="82" y="64"/>
                    <a:pt x="82" y="64"/>
                  </a:cubicBezTo>
                  <a:cubicBezTo>
                    <a:pt x="80" y="64"/>
                    <a:pt x="78" y="65"/>
                    <a:pt x="77" y="66"/>
                  </a:cubicBezTo>
                  <a:cubicBezTo>
                    <a:pt x="77" y="66"/>
                    <a:pt x="76" y="66"/>
                    <a:pt x="76" y="65"/>
                  </a:cubicBezTo>
                  <a:cubicBezTo>
                    <a:pt x="74" y="64"/>
                    <a:pt x="71" y="64"/>
                    <a:pt x="70" y="65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6" y="70"/>
                    <a:pt x="66" y="71"/>
                  </a:cubicBezTo>
                  <a:cubicBezTo>
                    <a:pt x="66" y="72"/>
                    <a:pt x="67" y="73"/>
                    <a:pt x="67" y="74"/>
                  </a:cubicBezTo>
                  <a:cubicBezTo>
                    <a:pt x="68" y="74"/>
                    <a:pt x="68" y="75"/>
                    <a:pt x="68" y="75"/>
                  </a:cubicBezTo>
                  <a:cubicBezTo>
                    <a:pt x="67" y="76"/>
                    <a:pt x="66" y="78"/>
                    <a:pt x="66" y="80"/>
                  </a:cubicBezTo>
                  <a:cubicBezTo>
                    <a:pt x="66" y="80"/>
                    <a:pt x="65" y="80"/>
                    <a:pt x="65" y="80"/>
                  </a:cubicBezTo>
                  <a:cubicBezTo>
                    <a:pt x="62" y="80"/>
                    <a:pt x="60" y="82"/>
                    <a:pt x="60" y="85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90"/>
                    <a:pt x="62" y="92"/>
                    <a:pt x="65" y="92"/>
                  </a:cubicBezTo>
                  <a:cubicBezTo>
                    <a:pt x="65" y="92"/>
                    <a:pt x="66" y="92"/>
                    <a:pt x="66" y="93"/>
                  </a:cubicBezTo>
                  <a:cubicBezTo>
                    <a:pt x="66" y="94"/>
                    <a:pt x="67" y="96"/>
                    <a:pt x="68" y="97"/>
                  </a:cubicBezTo>
                  <a:cubicBezTo>
                    <a:pt x="68" y="98"/>
                    <a:pt x="68" y="98"/>
                    <a:pt x="67" y="99"/>
                  </a:cubicBezTo>
                  <a:cubicBezTo>
                    <a:pt x="66" y="100"/>
                    <a:pt x="66" y="103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4" y="106"/>
                    <a:pt x="60" y="106"/>
                    <a:pt x="57" y="106"/>
                  </a:cubicBezTo>
                  <a:cubicBezTo>
                    <a:pt x="57" y="101"/>
                    <a:pt x="57" y="101"/>
                    <a:pt x="57" y="101"/>
                  </a:cubicBezTo>
                  <a:cubicBezTo>
                    <a:pt x="57" y="100"/>
                    <a:pt x="56" y="99"/>
                    <a:pt x="55" y="99"/>
                  </a:cubicBezTo>
                  <a:cubicBezTo>
                    <a:pt x="54" y="99"/>
                    <a:pt x="53" y="100"/>
                    <a:pt x="53" y="101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26" y="105"/>
                    <a:pt x="4" y="84"/>
                    <a:pt x="3" y="57"/>
                  </a:cubicBezTo>
                  <a:moveTo>
                    <a:pt x="112" y="80"/>
                  </a:moveTo>
                  <a:cubicBezTo>
                    <a:pt x="111" y="80"/>
                    <a:pt x="111" y="80"/>
                    <a:pt x="111" y="80"/>
                  </a:cubicBezTo>
                  <a:cubicBezTo>
                    <a:pt x="110" y="78"/>
                    <a:pt x="110" y="76"/>
                    <a:pt x="109" y="75"/>
                  </a:cubicBezTo>
                  <a:cubicBezTo>
                    <a:pt x="109" y="75"/>
                    <a:pt x="109" y="74"/>
                    <a:pt x="109" y="74"/>
                  </a:cubicBezTo>
                  <a:cubicBezTo>
                    <a:pt x="110" y="73"/>
                    <a:pt x="110" y="72"/>
                    <a:pt x="110" y="71"/>
                  </a:cubicBezTo>
                  <a:cubicBezTo>
                    <a:pt x="110" y="70"/>
                    <a:pt x="110" y="69"/>
                    <a:pt x="109" y="68"/>
                  </a:cubicBezTo>
                  <a:cubicBezTo>
                    <a:pt x="108" y="67"/>
                    <a:pt x="108" y="67"/>
                    <a:pt x="108" y="67"/>
                  </a:cubicBezTo>
                  <a:cubicBezTo>
                    <a:pt x="109" y="63"/>
                    <a:pt x="110" y="59"/>
                    <a:pt x="110" y="55"/>
                  </a:cubicBezTo>
                  <a:cubicBezTo>
                    <a:pt x="110" y="25"/>
                    <a:pt x="85" y="0"/>
                    <a:pt x="55" y="0"/>
                  </a:cubicBezTo>
                  <a:cubicBezTo>
                    <a:pt x="25" y="0"/>
                    <a:pt x="0" y="25"/>
                    <a:pt x="0" y="55"/>
                  </a:cubicBezTo>
                  <a:cubicBezTo>
                    <a:pt x="0" y="85"/>
                    <a:pt x="25" y="110"/>
                    <a:pt x="55" y="110"/>
                  </a:cubicBezTo>
                  <a:cubicBezTo>
                    <a:pt x="60" y="110"/>
                    <a:pt x="65" y="109"/>
                    <a:pt x="70" y="108"/>
                  </a:cubicBezTo>
                  <a:cubicBezTo>
                    <a:pt x="72" y="109"/>
                    <a:pt x="74" y="108"/>
                    <a:pt x="76" y="107"/>
                  </a:cubicBezTo>
                  <a:cubicBezTo>
                    <a:pt x="76" y="107"/>
                    <a:pt x="76" y="107"/>
                    <a:pt x="76" y="107"/>
                  </a:cubicBezTo>
                  <a:cubicBezTo>
                    <a:pt x="76" y="107"/>
                    <a:pt x="77" y="107"/>
                    <a:pt x="77" y="107"/>
                  </a:cubicBezTo>
                  <a:cubicBezTo>
                    <a:pt x="78" y="108"/>
                    <a:pt x="80" y="108"/>
                    <a:pt x="82" y="109"/>
                  </a:cubicBezTo>
                  <a:cubicBezTo>
                    <a:pt x="82" y="109"/>
                    <a:pt x="82" y="109"/>
                    <a:pt x="82" y="110"/>
                  </a:cubicBezTo>
                  <a:cubicBezTo>
                    <a:pt x="82" y="112"/>
                    <a:pt x="84" y="114"/>
                    <a:pt x="87" y="114"/>
                  </a:cubicBezTo>
                  <a:cubicBezTo>
                    <a:pt x="90" y="114"/>
                    <a:pt x="90" y="114"/>
                    <a:pt x="90" y="114"/>
                  </a:cubicBezTo>
                  <a:cubicBezTo>
                    <a:pt x="92" y="114"/>
                    <a:pt x="94" y="112"/>
                    <a:pt x="94" y="110"/>
                  </a:cubicBezTo>
                  <a:cubicBezTo>
                    <a:pt x="94" y="109"/>
                    <a:pt x="94" y="109"/>
                    <a:pt x="95" y="109"/>
                  </a:cubicBezTo>
                  <a:cubicBezTo>
                    <a:pt x="96" y="108"/>
                    <a:pt x="98" y="108"/>
                    <a:pt x="99" y="107"/>
                  </a:cubicBezTo>
                  <a:cubicBezTo>
                    <a:pt x="100" y="107"/>
                    <a:pt x="100" y="107"/>
                    <a:pt x="101" y="107"/>
                  </a:cubicBezTo>
                  <a:cubicBezTo>
                    <a:pt x="101" y="107"/>
                    <a:pt x="101" y="107"/>
                    <a:pt x="101" y="107"/>
                  </a:cubicBezTo>
                  <a:cubicBezTo>
                    <a:pt x="102" y="109"/>
                    <a:pt x="105" y="109"/>
                    <a:pt x="107" y="107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10" y="104"/>
                    <a:pt x="110" y="103"/>
                    <a:pt x="110" y="102"/>
                  </a:cubicBezTo>
                  <a:cubicBezTo>
                    <a:pt x="110" y="100"/>
                    <a:pt x="110" y="99"/>
                    <a:pt x="109" y="99"/>
                  </a:cubicBezTo>
                  <a:cubicBezTo>
                    <a:pt x="109" y="98"/>
                    <a:pt x="109" y="98"/>
                    <a:pt x="109" y="97"/>
                  </a:cubicBezTo>
                  <a:cubicBezTo>
                    <a:pt x="110" y="96"/>
                    <a:pt x="110" y="94"/>
                    <a:pt x="111" y="93"/>
                  </a:cubicBezTo>
                  <a:cubicBezTo>
                    <a:pt x="111" y="92"/>
                    <a:pt x="111" y="92"/>
                    <a:pt x="112" y="92"/>
                  </a:cubicBezTo>
                  <a:cubicBezTo>
                    <a:pt x="114" y="92"/>
                    <a:pt x="116" y="90"/>
                    <a:pt x="116" y="88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116" y="82"/>
                    <a:pt x="114" y="80"/>
                    <a:pt x="112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4">
              <a:extLst>
                <a:ext uri="{FF2B5EF4-FFF2-40B4-BE49-F238E27FC236}">
                  <a16:creationId xmlns:a16="http://schemas.microsoft.com/office/drawing/2014/main" id="{E5ADF468-ACDF-4897-8F3A-7B07D3F14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" y="1355"/>
              <a:ext cx="60" cy="99"/>
            </a:xfrm>
            <a:custGeom>
              <a:avLst/>
              <a:gdLst>
                <a:gd name="T0" fmla="*/ 4 w 26"/>
                <a:gd name="T1" fmla="*/ 43 h 43"/>
                <a:gd name="T2" fmla="*/ 5 w 26"/>
                <a:gd name="T3" fmla="*/ 40 h 43"/>
                <a:gd name="T4" fmla="*/ 4 w 26"/>
                <a:gd name="T5" fmla="*/ 29 h 43"/>
                <a:gd name="T6" fmla="*/ 24 w 26"/>
                <a:gd name="T7" fmla="*/ 4 h 43"/>
                <a:gd name="T8" fmla="*/ 26 w 26"/>
                <a:gd name="T9" fmla="*/ 2 h 43"/>
                <a:gd name="T10" fmla="*/ 23 w 26"/>
                <a:gd name="T11" fmla="*/ 0 h 43"/>
                <a:gd name="T12" fmla="*/ 0 w 26"/>
                <a:gd name="T13" fmla="*/ 29 h 43"/>
                <a:gd name="T14" fmla="*/ 2 w 26"/>
                <a:gd name="T15" fmla="*/ 41 h 43"/>
                <a:gd name="T16" fmla="*/ 4 w 26"/>
                <a:gd name="T17" fmla="*/ 43 h 43"/>
                <a:gd name="T18" fmla="*/ 4 w 26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3">
                  <a:moveTo>
                    <a:pt x="4" y="43"/>
                  </a:moveTo>
                  <a:cubicBezTo>
                    <a:pt x="5" y="42"/>
                    <a:pt x="6" y="41"/>
                    <a:pt x="5" y="40"/>
                  </a:cubicBezTo>
                  <a:cubicBezTo>
                    <a:pt x="4" y="37"/>
                    <a:pt x="4" y="33"/>
                    <a:pt x="4" y="29"/>
                  </a:cubicBezTo>
                  <a:cubicBezTo>
                    <a:pt x="4" y="17"/>
                    <a:pt x="13" y="7"/>
                    <a:pt x="24" y="4"/>
                  </a:cubicBezTo>
                  <a:cubicBezTo>
                    <a:pt x="25" y="3"/>
                    <a:pt x="26" y="3"/>
                    <a:pt x="26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10" y="4"/>
                    <a:pt x="1" y="16"/>
                    <a:pt x="0" y="29"/>
                  </a:cubicBezTo>
                  <a:cubicBezTo>
                    <a:pt x="0" y="33"/>
                    <a:pt x="1" y="38"/>
                    <a:pt x="2" y="41"/>
                  </a:cubicBezTo>
                  <a:cubicBezTo>
                    <a:pt x="2" y="42"/>
                    <a:pt x="3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6A31F9CA-E489-4AEA-9D9C-59CF69E3E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1343"/>
              <a:ext cx="74" cy="134"/>
            </a:xfrm>
            <a:custGeom>
              <a:avLst/>
              <a:gdLst>
                <a:gd name="T0" fmla="*/ 28 w 32"/>
                <a:gd name="T1" fmla="*/ 39 h 58"/>
                <a:gd name="T2" fmla="*/ 29 w 32"/>
                <a:gd name="T3" fmla="*/ 39 h 58"/>
                <a:gd name="T4" fmla="*/ 32 w 32"/>
                <a:gd name="T5" fmla="*/ 36 h 58"/>
                <a:gd name="T6" fmla="*/ 31 w 32"/>
                <a:gd name="T7" fmla="*/ 33 h 58"/>
                <a:gd name="T8" fmla="*/ 31 w 32"/>
                <a:gd name="T9" fmla="*/ 2 h 58"/>
                <a:gd name="T10" fmla="*/ 29 w 32"/>
                <a:gd name="T11" fmla="*/ 0 h 58"/>
                <a:gd name="T12" fmla="*/ 27 w 32"/>
                <a:gd name="T13" fmla="*/ 2 h 58"/>
                <a:gd name="T14" fmla="*/ 27 w 32"/>
                <a:gd name="T15" fmla="*/ 33 h 58"/>
                <a:gd name="T16" fmla="*/ 26 w 32"/>
                <a:gd name="T17" fmla="*/ 36 h 58"/>
                <a:gd name="T18" fmla="*/ 26 w 32"/>
                <a:gd name="T19" fmla="*/ 36 h 58"/>
                <a:gd name="T20" fmla="*/ 1 w 32"/>
                <a:gd name="T21" fmla="*/ 55 h 58"/>
                <a:gd name="T22" fmla="*/ 0 w 32"/>
                <a:gd name="T23" fmla="*/ 57 h 58"/>
                <a:gd name="T24" fmla="*/ 2 w 32"/>
                <a:gd name="T25" fmla="*/ 58 h 58"/>
                <a:gd name="T26" fmla="*/ 3 w 32"/>
                <a:gd name="T27" fmla="*/ 58 h 58"/>
                <a:gd name="T28" fmla="*/ 28 w 32"/>
                <a:gd name="T2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58">
                  <a:moveTo>
                    <a:pt x="28" y="39"/>
                  </a:moveTo>
                  <a:cubicBezTo>
                    <a:pt x="28" y="39"/>
                    <a:pt x="29" y="39"/>
                    <a:pt x="29" y="39"/>
                  </a:cubicBezTo>
                  <a:cubicBezTo>
                    <a:pt x="31" y="39"/>
                    <a:pt x="32" y="38"/>
                    <a:pt x="32" y="36"/>
                  </a:cubicBezTo>
                  <a:cubicBezTo>
                    <a:pt x="32" y="35"/>
                    <a:pt x="31" y="34"/>
                    <a:pt x="31" y="3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ubicBezTo>
                    <a:pt x="28" y="0"/>
                    <a:pt x="27" y="1"/>
                    <a:pt x="27" y="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4"/>
                    <a:pt x="26" y="35"/>
                    <a:pt x="26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1" y="58"/>
                    <a:pt x="1" y="58"/>
                    <a:pt x="2" y="58"/>
                  </a:cubicBezTo>
                  <a:cubicBezTo>
                    <a:pt x="2" y="58"/>
                    <a:pt x="2" y="58"/>
                    <a:pt x="3" y="58"/>
                  </a:cubicBezTo>
                  <a:lnTo>
                    <a:pt x="28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88">
            <a:extLst>
              <a:ext uri="{FF2B5EF4-FFF2-40B4-BE49-F238E27FC236}">
                <a16:creationId xmlns:a16="http://schemas.microsoft.com/office/drawing/2014/main" id="{67C31561-266E-4081-8F01-BDFE2DF6BB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1637" y="1598276"/>
            <a:ext cx="758952" cy="758952"/>
            <a:chOff x="2237" y="1140"/>
            <a:chExt cx="530" cy="530"/>
          </a:xfrm>
        </p:grpSpPr>
        <p:sp>
          <p:nvSpPr>
            <p:cNvPr id="101" name="AutoShape 87">
              <a:extLst>
                <a:ext uri="{FF2B5EF4-FFF2-40B4-BE49-F238E27FC236}">
                  <a16:creationId xmlns:a16="http://schemas.microsoft.com/office/drawing/2014/main" id="{F402F9D0-7238-4A95-BCDD-582AA1995A8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7" y="114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9">
              <a:extLst>
                <a:ext uri="{FF2B5EF4-FFF2-40B4-BE49-F238E27FC236}">
                  <a16:creationId xmlns:a16="http://schemas.microsoft.com/office/drawing/2014/main" id="{A56022A4-B1CF-481E-B7B3-C9C3B24CC7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0" y="1143"/>
              <a:ext cx="527" cy="52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0">
              <a:extLst>
                <a:ext uri="{FF2B5EF4-FFF2-40B4-BE49-F238E27FC236}">
                  <a16:creationId xmlns:a16="http://schemas.microsoft.com/office/drawing/2014/main" id="{00C2CA5B-3C39-4B30-8855-3CF76C03CC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" y="1444"/>
              <a:ext cx="84" cy="85"/>
            </a:xfrm>
            <a:custGeom>
              <a:avLst/>
              <a:gdLst>
                <a:gd name="T0" fmla="*/ 15 w 31"/>
                <a:gd name="T1" fmla="*/ 27 h 31"/>
                <a:gd name="T2" fmla="*/ 3 w 31"/>
                <a:gd name="T3" fmla="*/ 15 h 31"/>
                <a:gd name="T4" fmla="*/ 15 w 31"/>
                <a:gd name="T5" fmla="*/ 3 h 31"/>
                <a:gd name="T6" fmla="*/ 27 w 31"/>
                <a:gd name="T7" fmla="*/ 15 h 31"/>
                <a:gd name="T8" fmla="*/ 15 w 31"/>
                <a:gd name="T9" fmla="*/ 27 h 31"/>
                <a:gd name="T10" fmla="*/ 15 w 31"/>
                <a:gd name="T11" fmla="*/ 0 h 31"/>
                <a:gd name="T12" fmla="*/ 0 w 31"/>
                <a:gd name="T13" fmla="*/ 15 h 31"/>
                <a:gd name="T14" fmla="*/ 15 w 31"/>
                <a:gd name="T15" fmla="*/ 31 h 31"/>
                <a:gd name="T16" fmla="*/ 31 w 31"/>
                <a:gd name="T17" fmla="*/ 15 h 31"/>
                <a:gd name="T18" fmla="*/ 15 w 3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1">
                  <a:moveTo>
                    <a:pt x="15" y="27"/>
                  </a:moveTo>
                  <a:cubicBezTo>
                    <a:pt x="8" y="27"/>
                    <a:pt x="3" y="22"/>
                    <a:pt x="3" y="15"/>
                  </a:cubicBezTo>
                  <a:cubicBezTo>
                    <a:pt x="3" y="8"/>
                    <a:pt x="8" y="3"/>
                    <a:pt x="15" y="3"/>
                  </a:cubicBezTo>
                  <a:cubicBezTo>
                    <a:pt x="22" y="3"/>
                    <a:pt x="27" y="8"/>
                    <a:pt x="27" y="15"/>
                  </a:cubicBezTo>
                  <a:cubicBezTo>
                    <a:pt x="27" y="22"/>
                    <a:pt x="22" y="27"/>
                    <a:pt x="15" y="27"/>
                  </a:cubicBezTo>
                  <a:moveTo>
                    <a:pt x="15" y="0"/>
                  </a:move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1"/>
                    <a:pt x="15" y="31"/>
                  </a:cubicBezTo>
                  <a:cubicBezTo>
                    <a:pt x="24" y="31"/>
                    <a:pt x="31" y="24"/>
                    <a:pt x="31" y="15"/>
                  </a:cubicBezTo>
                  <a:cubicBezTo>
                    <a:pt x="31" y="7"/>
                    <a:pt x="24" y="0"/>
                    <a:pt x="1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1">
              <a:extLst>
                <a:ext uri="{FF2B5EF4-FFF2-40B4-BE49-F238E27FC236}">
                  <a16:creationId xmlns:a16="http://schemas.microsoft.com/office/drawing/2014/main" id="{07ED0EE1-9537-49A6-89EC-64DCB931F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" y="1251"/>
              <a:ext cx="315" cy="310"/>
            </a:xfrm>
            <a:custGeom>
              <a:avLst/>
              <a:gdLst>
                <a:gd name="T0" fmla="*/ 107 w 116"/>
                <a:gd name="T1" fmla="*/ 92 h 114"/>
                <a:gd name="T2" fmla="*/ 107 w 116"/>
                <a:gd name="T3" fmla="*/ 102 h 114"/>
                <a:gd name="T4" fmla="*/ 103 w 116"/>
                <a:gd name="T5" fmla="*/ 105 h 114"/>
                <a:gd name="T6" fmla="*/ 94 w 116"/>
                <a:gd name="T7" fmla="*/ 105 h 114"/>
                <a:gd name="T8" fmla="*/ 87 w 116"/>
                <a:gd name="T9" fmla="*/ 111 h 114"/>
                <a:gd name="T10" fmla="*/ 79 w 116"/>
                <a:gd name="T11" fmla="*/ 104 h 114"/>
                <a:gd name="T12" fmla="*/ 73 w 116"/>
                <a:gd name="T13" fmla="*/ 105 h 114"/>
                <a:gd name="T14" fmla="*/ 70 w 116"/>
                <a:gd name="T15" fmla="*/ 102 h 114"/>
                <a:gd name="T16" fmla="*/ 69 w 116"/>
                <a:gd name="T17" fmla="*/ 92 h 114"/>
                <a:gd name="T18" fmla="*/ 64 w 116"/>
                <a:gd name="T19" fmla="*/ 85 h 114"/>
                <a:gd name="T20" fmla="*/ 71 w 116"/>
                <a:gd name="T21" fmla="*/ 77 h 114"/>
                <a:gd name="T22" fmla="*/ 70 w 116"/>
                <a:gd name="T23" fmla="*/ 70 h 114"/>
                <a:gd name="T24" fmla="*/ 79 w 116"/>
                <a:gd name="T25" fmla="*/ 69 h 114"/>
                <a:gd name="T26" fmla="*/ 87 w 116"/>
                <a:gd name="T27" fmla="*/ 62 h 114"/>
                <a:gd name="T28" fmla="*/ 94 w 116"/>
                <a:gd name="T29" fmla="*/ 67 h 114"/>
                <a:gd name="T30" fmla="*/ 104 w 116"/>
                <a:gd name="T31" fmla="*/ 68 h 114"/>
                <a:gd name="T32" fmla="*/ 107 w 116"/>
                <a:gd name="T33" fmla="*/ 71 h 114"/>
                <a:gd name="T34" fmla="*/ 112 w 116"/>
                <a:gd name="T35" fmla="*/ 84 h 114"/>
                <a:gd name="T36" fmla="*/ 3 w 116"/>
                <a:gd name="T37" fmla="*/ 57 h 114"/>
                <a:gd name="T38" fmla="*/ 9 w 116"/>
                <a:gd name="T39" fmla="*/ 53 h 114"/>
                <a:gd name="T40" fmla="*/ 53 w 116"/>
                <a:gd name="T41" fmla="*/ 9 h 114"/>
                <a:gd name="T42" fmla="*/ 57 w 116"/>
                <a:gd name="T43" fmla="*/ 4 h 114"/>
                <a:gd name="T44" fmla="*/ 99 w 116"/>
                <a:gd name="T45" fmla="*/ 55 h 114"/>
                <a:gd name="T46" fmla="*/ 105 w 116"/>
                <a:gd name="T47" fmla="*/ 64 h 114"/>
                <a:gd name="T48" fmla="*/ 95 w 116"/>
                <a:gd name="T49" fmla="*/ 64 h 114"/>
                <a:gd name="T50" fmla="*/ 87 w 116"/>
                <a:gd name="T51" fmla="*/ 58 h 114"/>
                <a:gd name="T52" fmla="*/ 77 w 116"/>
                <a:gd name="T53" fmla="*/ 66 h 114"/>
                <a:gd name="T54" fmla="*/ 67 w 116"/>
                <a:gd name="T55" fmla="*/ 68 h 114"/>
                <a:gd name="T56" fmla="*/ 68 w 116"/>
                <a:gd name="T57" fmla="*/ 75 h 114"/>
                <a:gd name="T58" fmla="*/ 60 w 116"/>
                <a:gd name="T59" fmla="*/ 85 h 114"/>
                <a:gd name="T60" fmla="*/ 66 w 116"/>
                <a:gd name="T61" fmla="*/ 93 h 114"/>
                <a:gd name="T62" fmla="*/ 67 w 116"/>
                <a:gd name="T63" fmla="*/ 105 h 114"/>
                <a:gd name="T64" fmla="*/ 57 w 116"/>
                <a:gd name="T65" fmla="*/ 101 h 114"/>
                <a:gd name="T66" fmla="*/ 53 w 116"/>
                <a:gd name="T67" fmla="*/ 106 h 114"/>
                <a:gd name="T68" fmla="*/ 111 w 116"/>
                <a:gd name="T69" fmla="*/ 80 h 114"/>
                <a:gd name="T70" fmla="*/ 110 w 116"/>
                <a:gd name="T71" fmla="*/ 71 h 114"/>
                <a:gd name="T72" fmla="*/ 110 w 116"/>
                <a:gd name="T73" fmla="*/ 55 h 114"/>
                <a:gd name="T74" fmla="*/ 55 w 116"/>
                <a:gd name="T75" fmla="*/ 110 h 114"/>
                <a:gd name="T76" fmla="*/ 76 w 116"/>
                <a:gd name="T77" fmla="*/ 107 h 114"/>
                <a:gd name="T78" fmla="*/ 82 w 116"/>
                <a:gd name="T79" fmla="*/ 110 h 114"/>
                <a:gd name="T80" fmla="*/ 94 w 116"/>
                <a:gd name="T81" fmla="*/ 110 h 114"/>
                <a:gd name="T82" fmla="*/ 101 w 116"/>
                <a:gd name="T83" fmla="*/ 107 h 114"/>
                <a:gd name="T84" fmla="*/ 109 w 116"/>
                <a:gd name="T85" fmla="*/ 105 h 114"/>
                <a:gd name="T86" fmla="*/ 109 w 116"/>
                <a:gd name="T87" fmla="*/ 97 h 114"/>
                <a:gd name="T88" fmla="*/ 116 w 116"/>
                <a:gd name="T89" fmla="*/ 8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114">
                  <a:moveTo>
                    <a:pt x="113" y="88"/>
                  </a:moveTo>
                  <a:cubicBezTo>
                    <a:pt x="113" y="88"/>
                    <a:pt x="112" y="89"/>
                    <a:pt x="112" y="89"/>
                  </a:cubicBezTo>
                  <a:cubicBezTo>
                    <a:pt x="110" y="89"/>
                    <a:pt x="108" y="90"/>
                    <a:pt x="107" y="92"/>
                  </a:cubicBezTo>
                  <a:cubicBezTo>
                    <a:pt x="107" y="93"/>
                    <a:pt x="107" y="95"/>
                    <a:pt x="106" y="96"/>
                  </a:cubicBezTo>
                  <a:cubicBezTo>
                    <a:pt x="105" y="97"/>
                    <a:pt x="105" y="100"/>
                    <a:pt x="107" y="101"/>
                  </a:cubicBezTo>
                  <a:cubicBezTo>
                    <a:pt x="107" y="101"/>
                    <a:pt x="107" y="101"/>
                    <a:pt x="107" y="102"/>
                  </a:cubicBezTo>
                  <a:cubicBezTo>
                    <a:pt x="107" y="102"/>
                    <a:pt x="107" y="102"/>
                    <a:pt x="107" y="102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5"/>
                    <a:pt x="103" y="105"/>
                    <a:pt x="103" y="105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02" y="103"/>
                    <a:pt x="99" y="103"/>
                    <a:pt x="98" y="104"/>
                  </a:cubicBezTo>
                  <a:cubicBezTo>
                    <a:pt x="97" y="104"/>
                    <a:pt x="95" y="105"/>
                    <a:pt x="94" y="105"/>
                  </a:cubicBezTo>
                  <a:cubicBezTo>
                    <a:pt x="92" y="106"/>
                    <a:pt x="91" y="108"/>
                    <a:pt x="91" y="110"/>
                  </a:cubicBezTo>
                  <a:cubicBezTo>
                    <a:pt x="91" y="110"/>
                    <a:pt x="90" y="111"/>
                    <a:pt x="90" y="111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86" y="111"/>
                    <a:pt x="86" y="110"/>
                    <a:pt x="86" y="110"/>
                  </a:cubicBezTo>
                  <a:cubicBezTo>
                    <a:pt x="86" y="108"/>
                    <a:pt x="84" y="106"/>
                    <a:pt x="83" y="105"/>
                  </a:cubicBezTo>
                  <a:cubicBezTo>
                    <a:pt x="81" y="105"/>
                    <a:pt x="80" y="104"/>
                    <a:pt x="79" y="104"/>
                  </a:cubicBezTo>
                  <a:cubicBezTo>
                    <a:pt x="78" y="103"/>
                    <a:pt x="77" y="103"/>
                    <a:pt x="77" y="103"/>
                  </a:cubicBezTo>
                  <a:cubicBezTo>
                    <a:pt x="75" y="103"/>
                    <a:pt x="74" y="104"/>
                    <a:pt x="74" y="105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73" y="105"/>
                    <a:pt x="73" y="105"/>
                    <a:pt x="72" y="105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70" y="102"/>
                    <a:pt x="70" y="102"/>
                    <a:pt x="70" y="102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1" y="100"/>
                    <a:pt x="71" y="97"/>
                    <a:pt x="71" y="96"/>
                  </a:cubicBezTo>
                  <a:cubicBezTo>
                    <a:pt x="70" y="95"/>
                    <a:pt x="69" y="93"/>
                    <a:pt x="69" y="92"/>
                  </a:cubicBezTo>
                  <a:cubicBezTo>
                    <a:pt x="68" y="90"/>
                    <a:pt x="67" y="89"/>
                    <a:pt x="65" y="89"/>
                  </a:cubicBezTo>
                  <a:cubicBezTo>
                    <a:pt x="64" y="89"/>
                    <a:pt x="64" y="88"/>
                    <a:pt x="64" y="88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4" y="84"/>
                    <a:pt x="64" y="84"/>
                    <a:pt x="65" y="84"/>
                  </a:cubicBezTo>
                  <a:cubicBezTo>
                    <a:pt x="67" y="84"/>
                    <a:pt x="68" y="82"/>
                    <a:pt x="69" y="81"/>
                  </a:cubicBezTo>
                  <a:cubicBezTo>
                    <a:pt x="69" y="79"/>
                    <a:pt x="70" y="78"/>
                    <a:pt x="71" y="77"/>
                  </a:cubicBezTo>
                  <a:cubicBezTo>
                    <a:pt x="71" y="75"/>
                    <a:pt x="71" y="73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1"/>
                    <a:pt x="70" y="70"/>
                    <a:pt x="70" y="70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7"/>
                    <a:pt x="73" y="67"/>
                    <a:pt x="73" y="68"/>
                  </a:cubicBezTo>
                  <a:cubicBezTo>
                    <a:pt x="75" y="69"/>
                    <a:pt x="77" y="69"/>
                    <a:pt x="79" y="69"/>
                  </a:cubicBezTo>
                  <a:cubicBezTo>
                    <a:pt x="80" y="68"/>
                    <a:pt x="81" y="67"/>
                    <a:pt x="83" y="67"/>
                  </a:cubicBezTo>
                  <a:cubicBezTo>
                    <a:pt x="84" y="66"/>
                    <a:pt x="86" y="65"/>
                    <a:pt x="86" y="63"/>
                  </a:cubicBezTo>
                  <a:cubicBezTo>
                    <a:pt x="86" y="62"/>
                    <a:pt x="86" y="62"/>
                    <a:pt x="87" y="62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0" y="62"/>
                    <a:pt x="91" y="62"/>
                    <a:pt x="91" y="63"/>
                  </a:cubicBezTo>
                  <a:cubicBezTo>
                    <a:pt x="91" y="65"/>
                    <a:pt x="92" y="66"/>
                    <a:pt x="94" y="67"/>
                  </a:cubicBezTo>
                  <a:cubicBezTo>
                    <a:pt x="95" y="67"/>
                    <a:pt x="97" y="68"/>
                    <a:pt x="98" y="69"/>
                  </a:cubicBezTo>
                  <a:cubicBezTo>
                    <a:pt x="99" y="69"/>
                    <a:pt x="102" y="69"/>
                    <a:pt x="103" y="68"/>
                  </a:cubicBezTo>
                  <a:cubicBezTo>
                    <a:pt x="103" y="67"/>
                    <a:pt x="104" y="67"/>
                    <a:pt x="104" y="68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1"/>
                    <a:pt x="107" y="71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5" y="73"/>
                    <a:pt x="105" y="75"/>
                    <a:pt x="106" y="77"/>
                  </a:cubicBezTo>
                  <a:cubicBezTo>
                    <a:pt x="107" y="78"/>
                    <a:pt x="107" y="79"/>
                    <a:pt x="107" y="81"/>
                  </a:cubicBezTo>
                  <a:cubicBezTo>
                    <a:pt x="108" y="82"/>
                    <a:pt x="110" y="84"/>
                    <a:pt x="112" y="84"/>
                  </a:cubicBezTo>
                  <a:cubicBezTo>
                    <a:pt x="112" y="84"/>
                    <a:pt x="113" y="84"/>
                    <a:pt x="113" y="85"/>
                  </a:cubicBezTo>
                  <a:lnTo>
                    <a:pt x="113" y="88"/>
                  </a:lnTo>
                  <a:close/>
                  <a:moveTo>
                    <a:pt x="3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10" y="57"/>
                    <a:pt x="11" y="56"/>
                    <a:pt x="11" y="55"/>
                  </a:cubicBezTo>
                  <a:cubicBezTo>
                    <a:pt x="11" y="54"/>
                    <a:pt x="10" y="53"/>
                    <a:pt x="9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4" y="26"/>
                    <a:pt x="26" y="4"/>
                    <a:pt x="53" y="4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4" y="11"/>
                    <a:pt x="55" y="11"/>
                  </a:cubicBezTo>
                  <a:cubicBezTo>
                    <a:pt x="56" y="11"/>
                    <a:pt x="57" y="10"/>
                    <a:pt x="57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84" y="4"/>
                    <a:pt x="105" y="26"/>
                    <a:pt x="106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0" y="53"/>
                    <a:pt x="99" y="54"/>
                    <a:pt x="99" y="55"/>
                  </a:cubicBezTo>
                  <a:cubicBezTo>
                    <a:pt x="99" y="56"/>
                    <a:pt x="100" y="57"/>
                    <a:pt x="101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6" y="59"/>
                    <a:pt x="106" y="62"/>
                    <a:pt x="105" y="64"/>
                  </a:cubicBezTo>
                  <a:cubicBezTo>
                    <a:pt x="104" y="64"/>
                    <a:pt x="102" y="64"/>
                    <a:pt x="101" y="65"/>
                  </a:cubicBezTo>
                  <a:cubicBezTo>
                    <a:pt x="100" y="66"/>
                    <a:pt x="100" y="66"/>
                    <a:pt x="99" y="66"/>
                  </a:cubicBezTo>
                  <a:cubicBezTo>
                    <a:pt x="98" y="65"/>
                    <a:pt x="96" y="64"/>
                    <a:pt x="95" y="64"/>
                  </a:cubicBezTo>
                  <a:cubicBezTo>
                    <a:pt x="94" y="64"/>
                    <a:pt x="94" y="63"/>
                    <a:pt x="94" y="63"/>
                  </a:cubicBezTo>
                  <a:cubicBezTo>
                    <a:pt x="94" y="60"/>
                    <a:pt x="92" y="58"/>
                    <a:pt x="90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4" y="58"/>
                    <a:pt x="82" y="60"/>
                    <a:pt x="82" y="63"/>
                  </a:cubicBezTo>
                  <a:cubicBezTo>
                    <a:pt x="82" y="63"/>
                    <a:pt x="82" y="64"/>
                    <a:pt x="82" y="64"/>
                  </a:cubicBezTo>
                  <a:cubicBezTo>
                    <a:pt x="80" y="64"/>
                    <a:pt x="78" y="65"/>
                    <a:pt x="77" y="66"/>
                  </a:cubicBezTo>
                  <a:cubicBezTo>
                    <a:pt x="77" y="66"/>
                    <a:pt x="76" y="66"/>
                    <a:pt x="76" y="65"/>
                  </a:cubicBezTo>
                  <a:cubicBezTo>
                    <a:pt x="74" y="64"/>
                    <a:pt x="71" y="64"/>
                    <a:pt x="70" y="65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6" y="70"/>
                    <a:pt x="66" y="71"/>
                  </a:cubicBezTo>
                  <a:cubicBezTo>
                    <a:pt x="66" y="72"/>
                    <a:pt x="67" y="73"/>
                    <a:pt x="67" y="74"/>
                  </a:cubicBezTo>
                  <a:cubicBezTo>
                    <a:pt x="68" y="74"/>
                    <a:pt x="68" y="75"/>
                    <a:pt x="68" y="75"/>
                  </a:cubicBezTo>
                  <a:cubicBezTo>
                    <a:pt x="67" y="76"/>
                    <a:pt x="66" y="78"/>
                    <a:pt x="66" y="80"/>
                  </a:cubicBezTo>
                  <a:cubicBezTo>
                    <a:pt x="66" y="80"/>
                    <a:pt x="65" y="80"/>
                    <a:pt x="65" y="80"/>
                  </a:cubicBezTo>
                  <a:cubicBezTo>
                    <a:pt x="62" y="80"/>
                    <a:pt x="60" y="82"/>
                    <a:pt x="60" y="85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90"/>
                    <a:pt x="62" y="92"/>
                    <a:pt x="65" y="92"/>
                  </a:cubicBezTo>
                  <a:cubicBezTo>
                    <a:pt x="65" y="92"/>
                    <a:pt x="66" y="92"/>
                    <a:pt x="66" y="93"/>
                  </a:cubicBezTo>
                  <a:cubicBezTo>
                    <a:pt x="66" y="94"/>
                    <a:pt x="67" y="96"/>
                    <a:pt x="68" y="97"/>
                  </a:cubicBezTo>
                  <a:cubicBezTo>
                    <a:pt x="68" y="98"/>
                    <a:pt x="68" y="98"/>
                    <a:pt x="67" y="99"/>
                  </a:cubicBezTo>
                  <a:cubicBezTo>
                    <a:pt x="66" y="100"/>
                    <a:pt x="66" y="103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4" y="106"/>
                    <a:pt x="60" y="106"/>
                    <a:pt x="57" y="106"/>
                  </a:cubicBezTo>
                  <a:cubicBezTo>
                    <a:pt x="57" y="101"/>
                    <a:pt x="57" y="101"/>
                    <a:pt x="57" y="101"/>
                  </a:cubicBezTo>
                  <a:cubicBezTo>
                    <a:pt x="57" y="100"/>
                    <a:pt x="56" y="99"/>
                    <a:pt x="55" y="99"/>
                  </a:cubicBezTo>
                  <a:cubicBezTo>
                    <a:pt x="54" y="99"/>
                    <a:pt x="53" y="100"/>
                    <a:pt x="53" y="101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26" y="105"/>
                    <a:pt x="4" y="84"/>
                    <a:pt x="3" y="57"/>
                  </a:cubicBezTo>
                  <a:moveTo>
                    <a:pt x="112" y="80"/>
                  </a:moveTo>
                  <a:cubicBezTo>
                    <a:pt x="111" y="80"/>
                    <a:pt x="111" y="80"/>
                    <a:pt x="111" y="80"/>
                  </a:cubicBezTo>
                  <a:cubicBezTo>
                    <a:pt x="110" y="78"/>
                    <a:pt x="110" y="76"/>
                    <a:pt x="109" y="75"/>
                  </a:cubicBezTo>
                  <a:cubicBezTo>
                    <a:pt x="109" y="75"/>
                    <a:pt x="109" y="74"/>
                    <a:pt x="109" y="74"/>
                  </a:cubicBezTo>
                  <a:cubicBezTo>
                    <a:pt x="110" y="73"/>
                    <a:pt x="110" y="72"/>
                    <a:pt x="110" y="71"/>
                  </a:cubicBezTo>
                  <a:cubicBezTo>
                    <a:pt x="110" y="70"/>
                    <a:pt x="110" y="69"/>
                    <a:pt x="109" y="68"/>
                  </a:cubicBezTo>
                  <a:cubicBezTo>
                    <a:pt x="108" y="67"/>
                    <a:pt x="108" y="67"/>
                    <a:pt x="108" y="67"/>
                  </a:cubicBezTo>
                  <a:cubicBezTo>
                    <a:pt x="109" y="63"/>
                    <a:pt x="110" y="59"/>
                    <a:pt x="110" y="55"/>
                  </a:cubicBezTo>
                  <a:cubicBezTo>
                    <a:pt x="110" y="25"/>
                    <a:pt x="85" y="0"/>
                    <a:pt x="55" y="0"/>
                  </a:cubicBezTo>
                  <a:cubicBezTo>
                    <a:pt x="25" y="0"/>
                    <a:pt x="0" y="25"/>
                    <a:pt x="0" y="55"/>
                  </a:cubicBezTo>
                  <a:cubicBezTo>
                    <a:pt x="0" y="85"/>
                    <a:pt x="25" y="110"/>
                    <a:pt x="55" y="110"/>
                  </a:cubicBezTo>
                  <a:cubicBezTo>
                    <a:pt x="60" y="110"/>
                    <a:pt x="65" y="109"/>
                    <a:pt x="70" y="108"/>
                  </a:cubicBezTo>
                  <a:cubicBezTo>
                    <a:pt x="72" y="109"/>
                    <a:pt x="74" y="108"/>
                    <a:pt x="76" y="107"/>
                  </a:cubicBezTo>
                  <a:cubicBezTo>
                    <a:pt x="76" y="107"/>
                    <a:pt x="76" y="107"/>
                    <a:pt x="76" y="107"/>
                  </a:cubicBezTo>
                  <a:cubicBezTo>
                    <a:pt x="76" y="107"/>
                    <a:pt x="77" y="107"/>
                    <a:pt x="77" y="107"/>
                  </a:cubicBezTo>
                  <a:cubicBezTo>
                    <a:pt x="78" y="108"/>
                    <a:pt x="80" y="108"/>
                    <a:pt x="82" y="109"/>
                  </a:cubicBezTo>
                  <a:cubicBezTo>
                    <a:pt x="82" y="109"/>
                    <a:pt x="82" y="109"/>
                    <a:pt x="82" y="110"/>
                  </a:cubicBezTo>
                  <a:cubicBezTo>
                    <a:pt x="82" y="112"/>
                    <a:pt x="84" y="114"/>
                    <a:pt x="87" y="114"/>
                  </a:cubicBezTo>
                  <a:cubicBezTo>
                    <a:pt x="90" y="114"/>
                    <a:pt x="90" y="114"/>
                    <a:pt x="90" y="114"/>
                  </a:cubicBezTo>
                  <a:cubicBezTo>
                    <a:pt x="92" y="114"/>
                    <a:pt x="94" y="112"/>
                    <a:pt x="94" y="110"/>
                  </a:cubicBezTo>
                  <a:cubicBezTo>
                    <a:pt x="94" y="109"/>
                    <a:pt x="94" y="109"/>
                    <a:pt x="95" y="109"/>
                  </a:cubicBezTo>
                  <a:cubicBezTo>
                    <a:pt x="96" y="108"/>
                    <a:pt x="98" y="108"/>
                    <a:pt x="99" y="107"/>
                  </a:cubicBezTo>
                  <a:cubicBezTo>
                    <a:pt x="100" y="107"/>
                    <a:pt x="100" y="107"/>
                    <a:pt x="101" y="107"/>
                  </a:cubicBezTo>
                  <a:cubicBezTo>
                    <a:pt x="101" y="107"/>
                    <a:pt x="101" y="107"/>
                    <a:pt x="101" y="107"/>
                  </a:cubicBezTo>
                  <a:cubicBezTo>
                    <a:pt x="102" y="109"/>
                    <a:pt x="105" y="109"/>
                    <a:pt x="107" y="107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10" y="104"/>
                    <a:pt x="110" y="103"/>
                    <a:pt x="110" y="102"/>
                  </a:cubicBezTo>
                  <a:cubicBezTo>
                    <a:pt x="110" y="100"/>
                    <a:pt x="110" y="99"/>
                    <a:pt x="109" y="99"/>
                  </a:cubicBezTo>
                  <a:cubicBezTo>
                    <a:pt x="109" y="98"/>
                    <a:pt x="109" y="98"/>
                    <a:pt x="109" y="97"/>
                  </a:cubicBezTo>
                  <a:cubicBezTo>
                    <a:pt x="110" y="96"/>
                    <a:pt x="110" y="94"/>
                    <a:pt x="111" y="93"/>
                  </a:cubicBezTo>
                  <a:cubicBezTo>
                    <a:pt x="111" y="92"/>
                    <a:pt x="111" y="92"/>
                    <a:pt x="112" y="92"/>
                  </a:cubicBezTo>
                  <a:cubicBezTo>
                    <a:pt x="114" y="92"/>
                    <a:pt x="116" y="90"/>
                    <a:pt x="116" y="88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116" y="82"/>
                    <a:pt x="114" y="80"/>
                    <a:pt x="112" y="8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2">
              <a:extLst>
                <a:ext uri="{FF2B5EF4-FFF2-40B4-BE49-F238E27FC236}">
                  <a16:creationId xmlns:a16="http://schemas.microsoft.com/office/drawing/2014/main" id="{FB877EFE-217D-4929-BABD-D8105F18F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1317"/>
              <a:ext cx="71" cy="117"/>
            </a:xfrm>
            <a:custGeom>
              <a:avLst/>
              <a:gdLst>
                <a:gd name="T0" fmla="*/ 4 w 26"/>
                <a:gd name="T1" fmla="*/ 43 h 43"/>
                <a:gd name="T2" fmla="*/ 5 w 26"/>
                <a:gd name="T3" fmla="*/ 40 h 43"/>
                <a:gd name="T4" fmla="*/ 4 w 26"/>
                <a:gd name="T5" fmla="*/ 29 h 43"/>
                <a:gd name="T6" fmla="*/ 24 w 26"/>
                <a:gd name="T7" fmla="*/ 4 h 43"/>
                <a:gd name="T8" fmla="*/ 26 w 26"/>
                <a:gd name="T9" fmla="*/ 2 h 43"/>
                <a:gd name="T10" fmla="*/ 23 w 26"/>
                <a:gd name="T11" fmla="*/ 0 h 43"/>
                <a:gd name="T12" fmla="*/ 0 w 26"/>
                <a:gd name="T13" fmla="*/ 29 h 43"/>
                <a:gd name="T14" fmla="*/ 2 w 26"/>
                <a:gd name="T15" fmla="*/ 41 h 43"/>
                <a:gd name="T16" fmla="*/ 4 w 26"/>
                <a:gd name="T17" fmla="*/ 43 h 43"/>
                <a:gd name="T18" fmla="*/ 4 w 26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3">
                  <a:moveTo>
                    <a:pt x="4" y="43"/>
                  </a:moveTo>
                  <a:cubicBezTo>
                    <a:pt x="5" y="42"/>
                    <a:pt x="6" y="41"/>
                    <a:pt x="5" y="40"/>
                  </a:cubicBezTo>
                  <a:cubicBezTo>
                    <a:pt x="4" y="37"/>
                    <a:pt x="4" y="33"/>
                    <a:pt x="4" y="29"/>
                  </a:cubicBezTo>
                  <a:cubicBezTo>
                    <a:pt x="4" y="17"/>
                    <a:pt x="13" y="7"/>
                    <a:pt x="24" y="4"/>
                  </a:cubicBezTo>
                  <a:cubicBezTo>
                    <a:pt x="25" y="3"/>
                    <a:pt x="26" y="3"/>
                    <a:pt x="26" y="2"/>
                  </a:cubicBezTo>
                  <a:cubicBezTo>
                    <a:pt x="25" y="1"/>
                    <a:pt x="24" y="0"/>
                    <a:pt x="23" y="0"/>
                  </a:cubicBezTo>
                  <a:cubicBezTo>
                    <a:pt x="10" y="4"/>
                    <a:pt x="1" y="16"/>
                    <a:pt x="0" y="29"/>
                  </a:cubicBezTo>
                  <a:cubicBezTo>
                    <a:pt x="0" y="33"/>
                    <a:pt x="1" y="38"/>
                    <a:pt x="2" y="41"/>
                  </a:cubicBezTo>
                  <a:cubicBezTo>
                    <a:pt x="2" y="42"/>
                    <a:pt x="3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3">
              <a:extLst>
                <a:ext uri="{FF2B5EF4-FFF2-40B4-BE49-F238E27FC236}">
                  <a16:creationId xmlns:a16="http://schemas.microsoft.com/office/drawing/2014/main" id="{33652F41-89A1-4D02-9DCD-D55E1A754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6" y="1303"/>
              <a:ext cx="87" cy="158"/>
            </a:xfrm>
            <a:custGeom>
              <a:avLst/>
              <a:gdLst>
                <a:gd name="T0" fmla="*/ 28 w 32"/>
                <a:gd name="T1" fmla="*/ 39 h 58"/>
                <a:gd name="T2" fmla="*/ 29 w 32"/>
                <a:gd name="T3" fmla="*/ 39 h 58"/>
                <a:gd name="T4" fmla="*/ 32 w 32"/>
                <a:gd name="T5" fmla="*/ 36 h 58"/>
                <a:gd name="T6" fmla="*/ 31 w 32"/>
                <a:gd name="T7" fmla="*/ 33 h 58"/>
                <a:gd name="T8" fmla="*/ 31 w 32"/>
                <a:gd name="T9" fmla="*/ 2 h 58"/>
                <a:gd name="T10" fmla="*/ 29 w 32"/>
                <a:gd name="T11" fmla="*/ 0 h 58"/>
                <a:gd name="T12" fmla="*/ 27 w 32"/>
                <a:gd name="T13" fmla="*/ 2 h 58"/>
                <a:gd name="T14" fmla="*/ 27 w 32"/>
                <a:gd name="T15" fmla="*/ 33 h 58"/>
                <a:gd name="T16" fmla="*/ 26 w 32"/>
                <a:gd name="T17" fmla="*/ 36 h 58"/>
                <a:gd name="T18" fmla="*/ 26 w 32"/>
                <a:gd name="T19" fmla="*/ 36 h 58"/>
                <a:gd name="T20" fmla="*/ 1 w 32"/>
                <a:gd name="T21" fmla="*/ 55 h 58"/>
                <a:gd name="T22" fmla="*/ 0 w 32"/>
                <a:gd name="T23" fmla="*/ 57 h 58"/>
                <a:gd name="T24" fmla="*/ 2 w 32"/>
                <a:gd name="T25" fmla="*/ 58 h 58"/>
                <a:gd name="T26" fmla="*/ 3 w 32"/>
                <a:gd name="T27" fmla="*/ 58 h 58"/>
                <a:gd name="T28" fmla="*/ 28 w 32"/>
                <a:gd name="T2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58">
                  <a:moveTo>
                    <a:pt x="28" y="39"/>
                  </a:moveTo>
                  <a:cubicBezTo>
                    <a:pt x="28" y="39"/>
                    <a:pt x="29" y="39"/>
                    <a:pt x="29" y="39"/>
                  </a:cubicBezTo>
                  <a:cubicBezTo>
                    <a:pt x="31" y="39"/>
                    <a:pt x="32" y="38"/>
                    <a:pt x="32" y="36"/>
                  </a:cubicBezTo>
                  <a:cubicBezTo>
                    <a:pt x="32" y="35"/>
                    <a:pt x="31" y="34"/>
                    <a:pt x="31" y="3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ubicBezTo>
                    <a:pt x="28" y="0"/>
                    <a:pt x="27" y="1"/>
                    <a:pt x="27" y="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4"/>
                    <a:pt x="26" y="35"/>
                    <a:pt x="26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6"/>
                    <a:pt x="0" y="57"/>
                    <a:pt x="0" y="57"/>
                  </a:cubicBezTo>
                  <a:cubicBezTo>
                    <a:pt x="1" y="58"/>
                    <a:pt x="1" y="58"/>
                    <a:pt x="2" y="58"/>
                  </a:cubicBezTo>
                  <a:cubicBezTo>
                    <a:pt x="2" y="58"/>
                    <a:pt x="2" y="58"/>
                    <a:pt x="3" y="58"/>
                  </a:cubicBezTo>
                  <a:lnTo>
                    <a:pt x="28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96">
            <a:extLst>
              <a:ext uri="{FF2B5EF4-FFF2-40B4-BE49-F238E27FC236}">
                <a16:creationId xmlns:a16="http://schemas.microsoft.com/office/drawing/2014/main" id="{B392F7B8-4D58-45C2-AF1C-FECAE9BCF5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720" y="1598403"/>
            <a:ext cx="758825" cy="758825"/>
            <a:chOff x="3721" y="1246"/>
            <a:chExt cx="478" cy="478"/>
          </a:xfrm>
        </p:grpSpPr>
        <p:sp>
          <p:nvSpPr>
            <p:cNvPr id="112" name="AutoShape 95">
              <a:extLst>
                <a:ext uri="{FF2B5EF4-FFF2-40B4-BE49-F238E27FC236}">
                  <a16:creationId xmlns:a16="http://schemas.microsoft.com/office/drawing/2014/main" id="{6AB2ECEF-67F2-42ED-A2D2-6C4DC404230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21" y="124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7">
              <a:extLst>
                <a:ext uri="{FF2B5EF4-FFF2-40B4-BE49-F238E27FC236}">
                  <a16:creationId xmlns:a16="http://schemas.microsoft.com/office/drawing/2014/main" id="{4CF6D2E4-529C-436E-8050-D370522B3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3" y="124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8">
              <a:extLst>
                <a:ext uri="{FF2B5EF4-FFF2-40B4-BE49-F238E27FC236}">
                  <a16:creationId xmlns:a16="http://schemas.microsoft.com/office/drawing/2014/main" id="{6141684B-CE53-4A43-A37E-9E12BF386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1" y="1359"/>
              <a:ext cx="181" cy="191"/>
            </a:xfrm>
            <a:custGeom>
              <a:avLst/>
              <a:gdLst>
                <a:gd name="T0" fmla="*/ 60 w 74"/>
                <a:gd name="T1" fmla="*/ 61 h 78"/>
                <a:gd name="T2" fmla="*/ 54 w 74"/>
                <a:gd name="T3" fmla="*/ 75 h 78"/>
                <a:gd name="T4" fmla="*/ 20 w 74"/>
                <a:gd name="T5" fmla="*/ 75 h 78"/>
                <a:gd name="T6" fmla="*/ 13 w 74"/>
                <a:gd name="T7" fmla="*/ 61 h 78"/>
                <a:gd name="T8" fmla="*/ 4 w 74"/>
                <a:gd name="T9" fmla="*/ 35 h 78"/>
                <a:gd name="T10" fmla="*/ 35 w 74"/>
                <a:gd name="T11" fmla="*/ 5 h 78"/>
                <a:gd name="T12" fmla="*/ 60 w 74"/>
                <a:gd name="T13" fmla="*/ 13 h 78"/>
                <a:gd name="T14" fmla="*/ 70 w 74"/>
                <a:gd name="T15" fmla="*/ 38 h 78"/>
                <a:gd name="T16" fmla="*/ 60 w 74"/>
                <a:gd name="T17" fmla="*/ 61 h 78"/>
                <a:gd name="T18" fmla="*/ 62 w 74"/>
                <a:gd name="T19" fmla="*/ 11 h 78"/>
                <a:gd name="T20" fmla="*/ 34 w 74"/>
                <a:gd name="T21" fmla="*/ 1 h 78"/>
                <a:gd name="T22" fmla="*/ 1 w 74"/>
                <a:gd name="T23" fmla="*/ 34 h 78"/>
                <a:gd name="T24" fmla="*/ 11 w 74"/>
                <a:gd name="T25" fmla="*/ 63 h 78"/>
                <a:gd name="T26" fmla="*/ 17 w 74"/>
                <a:gd name="T27" fmla="*/ 77 h 78"/>
                <a:gd name="T28" fmla="*/ 17 w 74"/>
                <a:gd name="T29" fmla="*/ 77 h 78"/>
                <a:gd name="T30" fmla="*/ 18 w 74"/>
                <a:gd name="T31" fmla="*/ 78 h 78"/>
                <a:gd name="T32" fmla="*/ 56 w 74"/>
                <a:gd name="T33" fmla="*/ 78 h 78"/>
                <a:gd name="T34" fmla="*/ 57 w 74"/>
                <a:gd name="T35" fmla="*/ 77 h 78"/>
                <a:gd name="T36" fmla="*/ 57 w 74"/>
                <a:gd name="T37" fmla="*/ 77 h 78"/>
                <a:gd name="T38" fmla="*/ 63 w 74"/>
                <a:gd name="T39" fmla="*/ 64 h 78"/>
                <a:gd name="T40" fmla="*/ 74 w 74"/>
                <a:gd name="T41" fmla="*/ 38 h 78"/>
                <a:gd name="T42" fmla="*/ 62 w 74"/>
                <a:gd name="T43" fmla="*/ 1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78">
                  <a:moveTo>
                    <a:pt x="60" y="61"/>
                  </a:moveTo>
                  <a:cubicBezTo>
                    <a:pt x="57" y="65"/>
                    <a:pt x="54" y="70"/>
                    <a:pt x="54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0"/>
                    <a:pt x="17" y="65"/>
                    <a:pt x="13" y="61"/>
                  </a:cubicBezTo>
                  <a:cubicBezTo>
                    <a:pt x="7" y="54"/>
                    <a:pt x="3" y="44"/>
                    <a:pt x="4" y="35"/>
                  </a:cubicBezTo>
                  <a:cubicBezTo>
                    <a:pt x="5" y="19"/>
                    <a:pt x="18" y="6"/>
                    <a:pt x="35" y="5"/>
                  </a:cubicBezTo>
                  <a:cubicBezTo>
                    <a:pt x="44" y="4"/>
                    <a:pt x="53" y="7"/>
                    <a:pt x="60" y="13"/>
                  </a:cubicBezTo>
                  <a:cubicBezTo>
                    <a:pt x="66" y="20"/>
                    <a:pt x="70" y="28"/>
                    <a:pt x="70" y="38"/>
                  </a:cubicBezTo>
                  <a:cubicBezTo>
                    <a:pt x="70" y="46"/>
                    <a:pt x="67" y="55"/>
                    <a:pt x="60" y="61"/>
                  </a:cubicBezTo>
                  <a:moveTo>
                    <a:pt x="62" y="11"/>
                  </a:moveTo>
                  <a:cubicBezTo>
                    <a:pt x="54" y="4"/>
                    <a:pt x="45" y="0"/>
                    <a:pt x="34" y="1"/>
                  </a:cubicBezTo>
                  <a:cubicBezTo>
                    <a:pt x="17" y="2"/>
                    <a:pt x="2" y="17"/>
                    <a:pt x="1" y="34"/>
                  </a:cubicBezTo>
                  <a:cubicBezTo>
                    <a:pt x="0" y="45"/>
                    <a:pt x="3" y="56"/>
                    <a:pt x="11" y="63"/>
                  </a:cubicBezTo>
                  <a:cubicBezTo>
                    <a:pt x="15" y="67"/>
                    <a:pt x="17" y="72"/>
                    <a:pt x="17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7" y="78"/>
                    <a:pt x="17" y="78"/>
                    <a:pt x="1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7" y="78"/>
                    <a:pt x="57" y="78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2"/>
                    <a:pt x="59" y="67"/>
                    <a:pt x="63" y="64"/>
                  </a:cubicBezTo>
                  <a:cubicBezTo>
                    <a:pt x="70" y="57"/>
                    <a:pt x="74" y="47"/>
                    <a:pt x="74" y="38"/>
                  </a:cubicBezTo>
                  <a:cubicBezTo>
                    <a:pt x="74" y="27"/>
                    <a:pt x="69" y="18"/>
                    <a:pt x="62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9">
              <a:extLst>
                <a:ext uri="{FF2B5EF4-FFF2-40B4-BE49-F238E27FC236}">
                  <a16:creationId xmlns:a16="http://schemas.microsoft.com/office/drawing/2014/main" id="{1A108FF6-EFDF-4BD5-A11E-AC18047BE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" y="1386"/>
              <a:ext cx="108" cy="63"/>
            </a:xfrm>
            <a:custGeom>
              <a:avLst/>
              <a:gdLst>
                <a:gd name="T0" fmla="*/ 24 w 44"/>
                <a:gd name="T1" fmla="*/ 0 h 26"/>
                <a:gd name="T2" fmla="*/ 0 w 44"/>
                <a:gd name="T3" fmla="*/ 24 h 26"/>
                <a:gd name="T4" fmla="*/ 2 w 44"/>
                <a:gd name="T5" fmla="*/ 26 h 26"/>
                <a:gd name="T6" fmla="*/ 2 w 44"/>
                <a:gd name="T7" fmla="*/ 26 h 26"/>
                <a:gd name="T8" fmla="*/ 3 w 44"/>
                <a:gd name="T9" fmla="*/ 24 h 26"/>
                <a:gd name="T10" fmla="*/ 24 w 44"/>
                <a:gd name="T11" fmla="*/ 4 h 26"/>
                <a:gd name="T12" fmla="*/ 41 w 44"/>
                <a:gd name="T13" fmla="*/ 9 h 26"/>
                <a:gd name="T14" fmla="*/ 43 w 44"/>
                <a:gd name="T15" fmla="*/ 9 h 26"/>
                <a:gd name="T16" fmla="*/ 43 w 44"/>
                <a:gd name="T17" fmla="*/ 7 h 26"/>
                <a:gd name="T18" fmla="*/ 24 w 44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26">
                  <a:moveTo>
                    <a:pt x="24" y="0"/>
                  </a:moveTo>
                  <a:cubicBezTo>
                    <a:pt x="11" y="1"/>
                    <a:pt x="1" y="11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3" y="26"/>
                    <a:pt x="3" y="25"/>
                    <a:pt x="3" y="24"/>
                  </a:cubicBezTo>
                  <a:cubicBezTo>
                    <a:pt x="4" y="13"/>
                    <a:pt x="13" y="5"/>
                    <a:pt x="24" y="4"/>
                  </a:cubicBezTo>
                  <a:cubicBezTo>
                    <a:pt x="30" y="3"/>
                    <a:pt x="36" y="5"/>
                    <a:pt x="41" y="9"/>
                  </a:cubicBezTo>
                  <a:cubicBezTo>
                    <a:pt x="42" y="10"/>
                    <a:pt x="43" y="10"/>
                    <a:pt x="43" y="9"/>
                  </a:cubicBezTo>
                  <a:cubicBezTo>
                    <a:pt x="44" y="9"/>
                    <a:pt x="44" y="7"/>
                    <a:pt x="43" y="7"/>
                  </a:cubicBezTo>
                  <a:cubicBezTo>
                    <a:pt x="38" y="2"/>
                    <a:pt x="31" y="0"/>
                    <a:pt x="2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0">
              <a:extLst>
                <a:ext uri="{FF2B5EF4-FFF2-40B4-BE49-F238E27FC236}">
                  <a16:creationId xmlns:a16="http://schemas.microsoft.com/office/drawing/2014/main" id="{FC025FD9-C241-4D2D-92DF-A5B04FF52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0" y="1560"/>
              <a:ext cx="103" cy="10"/>
            </a:xfrm>
            <a:custGeom>
              <a:avLst/>
              <a:gdLst>
                <a:gd name="T0" fmla="*/ 40 w 42"/>
                <a:gd name="T1" fmla="*/ 0 h 4"/>
                <a:gd name="T2" fmla="*/ 2 w 42"/>
                <a:gd name="T3" fmla="*/ 0 h 4"/>
                <a:gd name="T4" fmla="*/ 0 w 42"/>
                <a:gd name="T5" fmla="*/ 2 h 4"/>
                <a:gd name="T6" fmla="*/ 2 w 42"/>
                <a:gd name="T7" fmla="*/ 4 h 4"/>
                <a:gd name="T8" fmla="*/ 40 w 42"/>
                <a:gd name="T9" fmla="*/ 4 h 4"/>
                <a:gd name="T10" fmla="*/ 42 w 42"/>
                <a:gd name="T11" fmla="*/ 2 h 4"/>
                <a:gd name="T12" fmla="*/ 40 w 4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">
                  <a:moveTo>
                    <a:pt x="4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4"/>
                    <a:pt x="42" y="3"/>
                    <a:pt x="42" y="2"/>
                  </a:cubicBezTo>
                  <a:cubicBezTo>
                    <a:pt x="42" y="1"/>
                    <a:pt x="41" y="0"/>
                    <a:pt x="4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1">
              <a:extLst>
                <a:ext uri="{FF2B5EF4-FFF2-40B4-BE49-F238E27FC236}">
                  <a16:creationId xmlns:a16="http://schemas.microsoft.com/office/drawing/2014/main" id="{DF4468AF-DFBA-4D24-8A27-6D91F06DDB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" y="1579"/>
              <a:ext cx="103" cy="71"/>
            </a:xfrm>
            <a:custGeom>
              <a:avLst/>
              <a:gdLst>
                <a:gd name="T0" fmla="*/ 38 w 42"/>
                <a:gd name="T1" fmla="*/ 13 h 29"/>
                <a:gd name="T2" fmla="*/ 33 w 42"/>
                <a:gd name="T3" fmla="*/ 18 h 29"/>
                <a:gd name="T4" fmla="*/ 9 w 42"/>
                <a:gd name="T5" fmla="*/ 18 h 29"/>
                <a:gd name="T6" fmla="*/ 4 w 42"/>
                <a:gd name="T7" fmla="*/ 13 h 29"/>
                <a:gd name="T8" fmla="*/ 4 w 42"/>
                <a:gd name="T9" fmla="*/ 3 h 29"/>
                <a:gd name="T10" fmla="*/ 38 w 42"/>
                <a:gd name="T11" fmla="*/ 3 h 29"/>
                <a:gd name="T12" fmla="*/ 38 w 42"/>
                <a:gd name="T13" fmla="*/ 13 h 29"/>
                <a:gd name="T14" fmla="*/ 25 w 42"/>
                <a:gd name="T15" fmla="*/ 22 h 29"/>
                <a:gd name="T16" fmla="*/ 21 w 42"/>
                <a:gd name="T17" fmla="*/ 26 h 29"/>
                <a:gd name="T18" fmla="*/ 17 w 42"/>
                <a:gd name="T19" fmla="*/ 22 h 29"/>
                <a:gd name="T20" fmla="*/ 17 w 42"/>
                <a:gd name="T21" fmla="*/ 21 h 29"/>
                <a:gd name="T22" fmla="*/ 25 w 42"/>
                <a:gd name="T23" fmla="*/ 21 h 29"/>
                <a:gd name="T24" fmla="*/ 25 w 42"/>
                <a:gd name="T25" fmla="*/ 22 h 29"/>
                <a:gd name="T26" fmla="*/ 40 w 42"/>
                <a:gd name="T27" fmla="*/ 0 h 29"/>
                <a:gd name="T28" fmla="*/ 2 w 42"/>
                <a:gd name="T29" fmla="*/ 0 h 29"/>
                <a:gd name="T30" fmla="*/ 0 w 42"/>
                <a:gd name="T31" fmla="*/ 2 h 29"/>
                <a:gd name="T32" fmla="*/ 0 w 42"/>
                <a:gd name="T33" fmla="*/ 13 h 29"/>
                <a:gd name="T34" fmla="*/ 9 w 42"/>
                <a:gd name="T35" fmla="*/ 21 h 29"/>
                <a:gd name="T36" fmla="*/ 14 w 42"/>
                <a:gd name="T37" fmla="*/ 21 h 29"/>
                <a:gd name="T38" fmla="*/ 14 w 42"/>
                <a:gd name="T39" fmla="*/ 22 h 29"/>
                <a:gd name="T40" fmla="*/ 21 w 42"/>
                <a:gd name="T41" fmla="*/ 29 h 29"/>
                <a:gd name="T42" fmla="*/ 28 w 42"/>
                <a:gd name="T43" fmla="*/ 22 h 29"/>
                <a:gd name="T44" fmla="*/ 28 w 42"/>
                <a:gd name="T45" fmla="*/ 21 h 29"/>
                <a:gd name="T46" fmla="*/ 33 w 42"/>
                <a:gd name="T47" fmla="*/ 21 h 29"/>
                <a:gd name="T48" fmla="*/ 42 w 42"/>
                <a:gd name="T49" fmla="*/ 13 h 29"/>
                <a:gd name="T50" fmla="*/ 42 w 42"/>
                <a:gd name="T51" fmla="*/ 2 h 29"/>
                <a:gd name="T52" fmla="*/ 40 w 42"/>
                <a:gd name="T5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29">
                  <a:moveTo>
                    <a:pt x="38" y="13"/>
                  </a:moveTo>
                  <a:cubicBezTo>
                    <a:pt x="38" y="16"/>
                    <a:pt x="36" y="18"/>
                    <a:pt x="33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6" y="18"/>
                    <a:pt x="4" y="16"/>
                    <a:pt x="4" y="1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8" y="3"/>
                    <a:pt x="38" y="3"/>
                    <a:pt x="38" y="3"/>
                  </a:cubicBezTo>
                  <a:lnTo>
                    <a:pt x="38" y="13"/>
                  </a:lnTo>
                  <a:close/>
                  <a:moveTo>
                    <a:pt x="25" y="22"/>
                  </a:moveTo>
                  <a:cubicBezTo>
                    <a:pt x="25" y="24"/>
                    <a:pt x="23" y="26"/>
                    <a:pt x="21" y="26"/>
                  </a:cubicBezTo>
                  <a:cubicBezTo>
                    <a:pt x="19" y="26"/>
                    <a:pt x="17" y="24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25" y="21"/>
                    <a:pt x="25" y="21"/>
                    <a:pt x="25" y="21"/>
                  </a:cubicBezTo>
                  <a:lnTo>
                    <a:pt x="25" y="22"/>
                  </a:lnTo>
                  <a:close/>
                  <a:moveTo>
                    <a:pt x="4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8"/>
                    <a:pt x="4" y="21"/>
                    <a:pt x="9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6"/>
                    <a:pt x="17" y="29"/>
                    <a:pt x="21" y="29"/>
                  </a:cubicBezTo>
                  <a:cubicBezTo>
                    <a:pt x="25" y="29"/>
                    <a:pt x="28" y="26"/>
                    <a:pt x="28" y="22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8" y="21"/>
                    <a:pt x="42" y="18"/>
                    <a:pt x="42" y="1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1"/>
                    <a:pt x="41" y="0"/>
                    <a:pt x="4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2">
              <a:extLst>
                <a:ext uri="{FF2B5EF4-FFF2-40B4-BE49-F238E27FC236}">
                  <a16:creationId xmlns:a16="http://schemas.microsoft.com/office/drawing/2014/main" id="{67B57D3F-233A-45BE-8F91-F4A447BF0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6" y="1322"/>
              <a:ext cx="10" cy="27"/>
            </a:xfrm>
            <a:custGeom>
              <a:avLst/>
              <a:gdLst>
                <a:gd name="T0" fmla="*/ 2 w 4"/>
                <a:gd name="T1" fmla="*/ 11 h 11"/>
                <a:gd name="T2" fmla="*/ 4 w 4"/>
                <a:gd name="T3" fmla="*/ 10 h 11"/>
                <a:gd name="T4" fmla="*/ 4 w 4"/>
                <a:gd name="T5" fmla="*/ 2 h 11"/>
                <a:gd name="T6" fmla="*/ 2 w 4"/>
                <a:gd name="T7" fmla="*/ 0 h 11"/>
                <a:gd name="T8" fmla="*/ 0 w 4"/>
                <a:gd name="T9" fmla="*/ 2 h 11"/>
                <a:gd name="T10" fmla="*/ 0 w 4"/>
                <a:gd name="T11" fmla="*/ 10 h 11"/>
                <a:gd name="T12" fmla="*/ 2 w 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2" y="11"/>
                  </a:moveTo>
                  <a:cubicBezTo>
                    <a:pt x="3" y="11"/>
                    <a:pt x="4" y="10"/>
                    <a:pt x="4" y="1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2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3">
              <a:extLst>
                <a:ext uri="{FF2B5EF4-FFF2-40B4-BE49-F238E27FC236}">
                  <a16:creationId xmlns:a16="http://schemas.microsoft.com/office/drawing/2014/main" id="{6248483A-7759-4521-B503-27AB8552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1329"/>
              <a:ext cx="14" cy="27"/>
            </a:xfrm>
            <a:custGeom>
              <a:avLst/>
              <a:gdLst>
                <a:gd name="T0" fmla="*/ 3 w 6"/>
                <a:gd name="T1" fmla="*/ 10 h 11"/>
                <a:gd name="T2" fmla="*/ 4 w 6"/>
                <a:gd name="T3" fmla="*/ 11 h 11"/>
                <a:gd name="T4" fmla="*/ 5 w 6"/>
                <a:gd name="T5" fmla="*/ 11 h 11"/>
                <a:gd name="T6" fmla="*/ 6 w 6"/>
                <a:gd name="T7" fmla="*/ 9 h 11"/>
                <a:gd name="T8" fmla="*/ 3 w 6"/>
                <a:gd name="T9" fmla="*/ 1 h 11"/>
                <a:gd name="T10" fmla="*/ 1 w 6"/>
                <a:gd name="T11" fmla="*/ 0 h 11"/>
                <a:gd name="T12" fmla="*/ 0 w 6"/>
                <a:gd name="T13" fmla="*/ 3 h 11"/>
                <a:gd name="T14" fmla="*/ 3 w 6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3" y="11"/>
                    <a:pt x="4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6" y="11"/>
                    <a:pt x="6" y="10"/>
                    <a:pt x="6" y="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4">
              <a:extLst>
                <a:ext uri="{FF2B5EF4-FFF2-40B4-BE49-F238E27FC236}">
                  <a16:creationId xmlns:a16="http://schemas.microsoft.com/office/drawing/2014/main" id="{538F79D2-6E01-400A-B234-B796A1695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1351"/>
              <a:ext cx="22" cy="25"/>
            </a:xfrm>
            <a:custGeom>
              <a:avLst/>
              <a:gdLst>
                <a:gd name="T0" fmla="*/ 6 w 9"/>
                <a:gd name="T1" fmla="*/ 9 h 10"/>
                <a:gd name="T2" fmla="*/ 7 w 9"/>
                <a:gd name="T3" fmla="*/ 10 h 10"/>
                <a:gd name="T4" fmla="*/ 9 w 9"/>
                <a:gd name="T5" fmla="*/ 10 h 10"/>
                <a:gd name="T6" fmla="*/ 9 w 9"/>
                <a:gd name="T7" fmla="*/ 7 h 10"/>
                <a:gd name="T8" fmla="*/ 4 w 9"/>
                <a:gd name="T9" fmla="*/ 1 h 10"/>
                <a:gd name="T10" fmla="*/ 1 w 9"/>
                <a:gd name="T11" fmla="*/ 1 h 10"/>
                <a:gd name="T12" fmla="*/ 1 w 9"/>
                <a:gd name="T13" fmla="*/ 3 h 10"/>
                <a:gd name="T14" fmla="*/ 6 w 9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cubicBezTo>
                    <a:pt x="6" y="10"/>
                    <a:pt x="7" y="10"/>
                    <a:pt x="7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9"/>
                    <a:pt x="9" y="8"/>
                    <a:pt x="9" y="7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lnTo>
                    <a:pt x="6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5">
              <a:extLst>
                <a:ext uri="{FF2B5EF4-FFF2-40B4-BE49-F238E27FC236}">
                  <a16:creationId xmlns:a16="http://schemas.microsoft.com/office/drawing/2014/main" id="{D5EAFBCE-4D3E-42D0-B40B-F2B4AF04A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" y="1386"/>
              <a:ext cx="27" cy="19"/>
            </a:xfrm>
            <a:custGeom>
              <a:avLst/>
              <a:gdLst>
                <a:gd name="T0" fmla="*/ 11 w 11"/>
                <a:gd name="T1" fmla="*/ 7 h 8"/>
                <a:gd name="T2" fmla="*/ 10 w 11"/>
                <a:gd name="T3" fmla="*/ 4 h 8"/>
                <a:gd name="T4" fmla="*/ 3 w 11"/>
                <a:gd name="T5" fmla="*/ 0 h 8"/>
                <a:gd name="T6" fmla="*/ 1 w 11"/>
                <a:gd name="T7" fmla="*/ 1 h 8"/>
                <a:gd name="T8" fmla="*/ 1 w 11"/>
                <a:gd name="T9" fmla="*/ 3 h 8"/>
                <a:gd name="T10" fmla="*/ 8 w 11"/>
                <a:gd name="T11" fmla="*/ 7 h 8"/>
                <a:gd name="T12" fmla="*/ 9 w 11"/>
                <a:gd name="T13" fmla="*/ 8 h 8"/>
                <a:gd name="T14" fmla="*/ 11 w 11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8">
                  <a:moveTo>
                    <a:pt x="11" y="7"/>
                  </a:moveTo>
                  <a:cubicBezTo>
                    <a:pt x="11" y="6"/>
                    <a:pt x="11" y="5"/>
                    <a:pt x="10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0" y="8"/>
                    <a:pt x="10" y="7"/>
                    <a:pt x="11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6">
              <a:extLst>
                <a:ext uri="{FF2B5EF4-FFF2-40B4-BE49-F238E27FC236}">
                  <a16:creationId xmlns:a16="http://schemas.microsoft.com/office/drawing/2014/main" id="{923E0D63-D73B-4FC4-AABE-A2D07806A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" y="1329"/>
              <a:ext cx="15" cy="27"/>
            </a:xfrm>
            <a:custGeom>
              <a:avLst/>
              <a:gdLst>
                <a:gd name="T0" fmla="*/ 1 w 6"/>
                <a:gd name="T1" fmla="*/ 11 h 11"/>
                <a:gd name="T2" fmla="*/ 2 w 6"/>
                <a:gd name="T3" fmla="*/ 11 h 11"/>
                <a:gd name="T4" fmla="*/ 3 w 6"/>
                <a:gd name="T5" fmla="*/ 10 h 11"/>
                <a:gd name="T6" fmla="*/ 6 w 6"/>
                <a:gd name="T7" fmla="*/ 3 h 11"/>
                <a:gd name="T8" fmla="*/ 5 w 6"/>
                <a:gd name="T9" fmla="*/ 0 h 11"/>
                <a:gd name="T10" fmla="*/ 3 w 6"/>
                <a:gd name="T11" fmla="*/ 1 h 11"/>
                <a:gd name="T12" fmla="*/ 0 w 6"/>
                <a:gd name="T13" fmla="*/ 9 h 11"/>
                <a:gd name="T14" fmla="*/ 1 w 6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1">
                  <a:moveTo>
                    <a:pt x="1" y="11"/>
                  </a:moveTo>
                  <a:cubicBezTo>
                    <a:pt x="1" y="11"/>
                    <a:pt x="2" y="11"/>
                    <a:pt x="2" y="11"/>
                  </a:cubicBezTo>
                  <a:cubicBezTo>
                    <a:pt x="2" y="11"/>
                    <a:pt x="3" y="11"/>
                    <a:pt x="3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1"/>
                    <a:pt x="5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1"/>
                    <a:pt x="1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7">
              <a:extLst>
                <a:ext uri="{FF2B5EF4-FFF2-40B4-BE49-F238E27FC236}">
                  <a16:creationId xmlns:a16="http://schemas.microsoft.com/office/drawing/2014/main" id="{1D8E45A9-38A6-4DE3-8FAD-1342A3D52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1351"/>
              <a:ext cx="22" cy="25"/>
            </a:xfrm>
            <a:custGeom>
              <a:avLst/>
              <a:gdLst>
                <a:gd name="T0" fmla="*/ 2 w 9"/>
                <a:gd name="T1" fmla="*/ 10 h 10"/>
                <a:gd name="T2" fmla="*/ 3 w 9"/>
                <a:gd name="T3" fmla="*/ 9 h 10"/>
                <a:gd name="T4" fmla="*/ 8 w 9"/>
                <a:gd name="T5" fmla="*/ 3 h 10"/>
                <a:gd name="T6" fmla="*/ 8 w 9"/>
                <a:gd name="T7" fmla="*/ 1 h 10"/>
                <a:gd name="T8" fmla="*/ 5 w 9"/>
                <a:gd name="T9" fmla="*/ 1 h 10"/>
                <a:gd name="T10" fmla="*/ 0 w 9"/>
                <a:gd name="T11" fmla="*/ 7 h 10"/>
                <a:gd name="T12" fmla="*/ 0 w 9"/>
                <a:gd name="T13" fmla="*/ 10 h 10"/>
                <a:gd name="T14" fmla="*/ 2 w 9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2" y="10"/>
                  </a:moveTo>
                  <a:cubicBezTo>
                    <a:pt x="2" y="10"/>
                    <a:pt x="3" y="10"/>
                    <a:pt x="3" y="9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0"/>
                    <a:pt x="1" y="10"/>
                    <a:pt x="2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8">
              <a:extLst>
                <a:ext uri="{FF2B5EF4-FFF2-40B4-BE49-F238E27FC236}">
                  <a16:creationId xmlns:a16="http://schemas.microsoft.com/office/drawing/2014/main" id="{6A8DF5BA-45DE-4313-976E-CAADC094C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1386"/>
              <a:ext cx="27" cy="19"/>
            </a:xfrm>
            <a:custGeom>
              <a:avLst/>
              <a:gdLst>
                <a:gd name="T0" fmla="*/ 10 w 11"/>
                <a:gd name="T1" fmla="*/ 1 h 8"/>
                <a:gd name="T2" fmla="*/ 8 w 11"/>
                <a:gd name="T3" fmla="*/ 0 h 8"/>
                <a:gd name="T4" fmla="*/ 1 w 11"/>
                <a:gd name="T5" fmla="*/ 4 h 8"/>
                <a:gd name="T6" fmla="*/ 0 w 11"/>
                <a:gd name="T7" fmla="*/ 7 h 8"/>
                <a:gd name="T8" fmla="*/ 2 w 11"/>
                <a:gd name="T9" fmla="*/ 8 h 8"/>
                <a:gd name="T10" fmla="*/ 3 w 11"/>
                <a:gd name="T11" fmla="*/ 7 h 8"/>
                <a:gd name="T12" fmla="*/ 10 w 11"/>
                <a:gd name="T13" fmla="*/ 3 h 8"/>
                <a:gd name="T14" fmla="*/ 10 w 11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8">
                  <a:moveTo>
                    <a:pt x="10" y="1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1" y="8"/>
                    <a:pt x="2" y="8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2"/>
                    <a:pt x="10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5" name="Group 111">
            <a:extLst>
              <a:ext uri="{FF2B5EF4-FFF2-40B4-BE49-F238E27FC236}">
                <a16:creationId xmlns:a16="http://schemas.microsoft.com/office/drawing/2014/main" id="{D25F4E52-8CC6-4C3B-B49F-3F5F7F8621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9651" y="1557128"/>
            <a:ext cx="841375" cy="841375"/>
            <a:chOff x="3082" y="1059"/>
            <a:chExt cx="530" cy="530"/>
          </a:xfrm>
        </p:grpSpPr>
        <p:sp>
          <p:nvSpPr>
            <p:cNvPr id="126" name="AutoShape 110">
              <a:extLst>
                <a:ext uri="{FF2B5EF4-FFF2-40B4-BE49-F238E27FC236}">
                  <a16:creationId xmlns:a16="http://schemas.microsoft.com/office/drawing/2014/main" id="{4F247DE7-18F4-4CFA-87B0-721D4DC987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82" y="105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112">
              <a:extLst>
                <a:ext uri="{FF2B5EF4-FFF2-40B4-BE49-F238E27FC236}">
                  <a16:creationId xmlns:a16="http://schemas.microsoft.com/office/drawing/2014/main" id="{017A771F-ECC6-47A2-BA38-CE92D22E2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2" y="105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3">
              <a:extLst>
                <a:ext uri="{FF2B5EF4-FFF2-40B4-BE49-F238E27FC236}">
                  <a16:creationId xmlns:a16="http://schemas.microsoft.com/office/drawing/2014/main" id="{4E783B5A-6218-4899-9AB8-4C41A797A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0" y="107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4">
              <a:extLst>
                <a:ext uri="{FF2B5EF4-FFF2-40B4-BE49-F238E27FC236}">
                  <a16:creationId xmlns:a16="http://schemas.microsoft.com/office/drawing/2014/main" id="{48FE48D7-86AC-4583-B970-77D14365D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3" y="1192"/>
              <a:ext cx="190" cy="200"/>
            </a:xfrm>
            <a:custGeom>
              <a:avLst/>
              <a:gdLst>
                <a:gd name="T0" fmla="*/ 60 w 74"/>
                <a:gd name="T1" fmla="*/ 61 h 78"/>
                <a:gd name="T2" fmla="*/ 54 w 74"/>
                <a:gd name="T3" fmla="*/ 75 h 78"/>
                <a:gd name="T4" fmla="*/ 20 w 74"/>
                <a:gd name="T5" fmla="*/ 75 h 78"/>
                <a:gd name="T6" fmla="*/ 13 w 74"/>
                <a:gd name="T7" fmla="*/ 61 h 78"/>
                <a:gd name="T8" fmla="*/ 4 w 74"/>
                <a:gd name="T9" fmla="*/ 35 h 78"/>
                <a:gd name="T10" fmla="*/ 35 w 74"/>
                <a:gd name="T11" fmla="*/ 5 h 78"/>
                <a:gd name="T12" fmla="*/ 60 w 74"/>
                <a:gd name="T13" fmla="*/ 13 h 78"/>
                <a:gd name="T14" fmla="*/ 70 w 74"/>
                <a:gd name="T15" fmla="*/ 38 h 78"/>
                <a:gd name="T16" fmla="*/ 60 w 74"/>
                <a:gd name="T17" fmla="*/ 61 h 78"/>
                <a:gd name="T18" fmla="*/ 62 w 74"/>
                <a:gd name="T19" fmla="*/ 11 h 78"/>
                <a:gd name="T20" fmla="*/ 34 w 74"/>
                <a:gd name="T21" fmla="*/ 1 h 78"/>
                <a:gd name="T22" fmla="*/ 1 w 74"/>
                <a:gd name="T23" fmla="*/ 34 h 78"/>
                <a:gd name="T24" fmla="*/ 11 w 74"/>
                <a:gd name="T25" fmla="*/ 63 h 78"/>
                <a:gd name="T26" fmla="*/ 17 w 74"/>
                <a:gd name="T27" fmla="*/ 77 h 78"/>
                <a:gd name="T28" fmla="*/ 17 w 74"/>
                <a:gd name="T29" fmla="*/ 77 h 78"/>
                <a:gd name="T30" fmla="*/ 18 w 74"/>
                <a:gd name="T31" fmla="*/ 78 h 78"/>
                <a:gd name="T32" fmla="*/ 56 w 74"/>
                <a:gd name="T33" fmla="*/ 78 h 78"/>
                <a:gd name="T34" fmla="*/ 57 w 74"/>
                <a:gd name="T35" fmla="*/ 77 h 78"/>
                <a:gd name="T36" fmla="*/ 57 w 74"/>
                <a:gd name="T37" fmla="*/ 77 h 78"/>
                <a:gd name="T38" fmla="*/ 63 w 74"/>
                <a:gd name="T39" fmla="*/ 64 h 78"/>
                <a:gd name="T40" fmla="*/ 74 w 74"/>
                <a:gd name="T41" fmla="*/ 38 h 78"/>
                <a:gd name="T42" fmla="*/ 62 w 74"/>
                <a:gd name="T43" fmla="*/ 1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78">
                  <a:moveTo>
                    <a:pt x="60" y="61"/>
                  </a:moveTo>
                  <a:cubicBezTo>
                    <a:pt x="57" y="65"/>
                    <a:pt x="54" y="70"/>
                    <a:pt x="54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0"/>
                    <a:pt x="17" y="65"/>
                    <a:pt x="13" y="61"/>
                  </a:cubicBezTo>
                  <a:cubicBezTo>
                    <a:pt x="7" y="54"/>
                    <a:pt x="3" y="44"/>
                    <a:pt x="4" y="35"/>
                  </a:cubicBezTo>
                  <a:cubicBezTo>
                    <a:pt x="5" y="19"/>
                    <a:pt x="18" y="6"/>
                    <a:pt x="35" y="5"/>
                  </a:cubicBezTo>
                  <a:cubicBezTo>
                    <a:pt x="44" y="4"/>
                    <a:pt x="53" y="7"/>
                    <a:pt x="60" y="13"/>
                  </a:cubicBezTo>
                  <a:cubicBezTo>
                    <a:pt x="66" y="20"/>
                    <a:pt x="70" y="28"/>
                    <a:pt x="70" y="38"/>
                  </a:cubicBezTo>
                  <a:cubicBezTo>
                    <a:pt x="70" y="46"/>
                    <a:pt x="67" y="55"/>
                    <a:pt x="60" y="61"/>
                  </a:cubicBezTo>
                  <a:moveTo>
                    <a:pt x="62" y="11"/>
                  </a:moveTo>
                  <a:cubicBezTo>
                    <a:pt x="54" y="4"/>
                    <a:pt x="45" y="0"/>
                    <a:pt x="34" y="1"/>
                  </a:cubicBezTo>
                  <a:cubicBezTo>
                    <a:pt x="17" y="2"/>
                    <a:pt x="2" y="17"/>
                    <a:pt x="1" y="34"/>
                  </a:cubicBezTo>
                  <a:cubicBezTo>
                    <a:pt x="0" y="45"/>
                    <a:pt x="3" y="56"/>
                    <a:pt x="11" y="63"/>
                  </a:cubicBezTo>
                  <a:cubicBezTo>
                    <a:pt x="15" y="67"/>
                    <a:pt x="17" y="72"/>
                    <a:pt x="17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7" y="78"/>
                    <a:pt x="17" y="78"/>
                    <a:pt x="1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7" y="78"/>
                    <a:pt x="57" y="78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2"/>
                    <a:pt x="59" y="67"/>
                    <a:pt x="63" y="64"/>
                  </a:cubicBezTo>
                  <a:cubicBezTo>
                    <a:pt x="70" y="57"/>
                    <a:pt x="74" y="47"/>
                    <a:pt x="74" y="38"/>
                  </a:cubicBezTo>
                  <a:cubicBezTo>
                    <a:pt x="74" y="27"/>
                    <a:pt x="69" y="18"/>
                    <a:pt x="6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5">
              <a:extLst>
                <a:ext uri="{FF2B5EF4-FFF2-40B4-BE49-F238E27FC236}">
                  <a16:creationId xmlns:a16="http://schemas.microsoft.com/office/drawing/2014/main" id="{13FCE9FB-5DDC-46FE-867D-3916C731D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2" y="1220"/>
              <a:ext cx="112" cy="67"/>
            </a:xfrm>
            <a:custGeom>
              <a:avLst/>
              <a:gdLst>
                <a:gd name="T0" fmla="*/ 24 w 44"/>
                <a:gd name="T1" fmla="*/ 0 h 26"/>
                <a:gd name="T2" fmla="*/ 0 w 44"/>
                <a:gd name="T3" fmla="*/ 24 h 26"/>
                <a:gd name="T4" fmla="*/ 2 w 44"/>
                <a:gd name="T5" fmla="*/ 26 h 26"/>
                <a:gd name="T6" fmla="*/ 2 w 44"/>
                <a:gd name="T7" fmla="*/ 26 h 26"/>
                <a:gd name="T8" fmla="*/ 3 w 44"/>
                <a:gd name="T9" fmla="*/ 24 h 26"/>
                <a:gd name="T10" fmla="*/ 24 w 44"/>
                <a:gd name="T11" fmla="*/ 4 h 26"/>
                <a:gd name="T12" fmla="*/ 41 w 44"/>
                <a:gd name="T13" fmla="*/ 9 h 26"/>
                <a:gd name="T14" fmla="*/ 43 w 44"/>
                <a:gd name="T15" fmla="*/ 9 h 26"/>
                <a:gd name="T16" fmla="*/ 43 w 44"/>
                <a:gd name="T17" fmla="*/ 7 h 26"/>
                <a:gd name="T18" fmla="*/ 24 w 44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26">
                  <a:moveTo>
                    <a:pt x="24" y="0"/>
                  </a:moveTo>
                  <a:cubicBezTo>
                    <a:pt x="11" y="1"/>
                    <a:pt x="1" y="11"/>
                    <a:pt x="0" y="24"/>
                  </a:cubicBezTo>
                  <a:cubicBezTo>
                    <a:pt x="0" y="25"/>
                    <a:pt x="1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3" y="26"/>
                    <a:pt x="3" y="25"/>
                    <a:pt x="3" y="24"/>
                  </a:cubicBezTo>
                  <a:cubicBezTo>
                    <a:pt x="4" y="13"/>
                    <a:pt x="13" y="5"/>
                    <a:pt x="24" y="4"/>
                  </a:cubicBezTo>
                  <a:cubicBezTo>
                    <a:pt x="30" y="3"/>
                    <a:pt x="36" y="5"/>
                    <a:pt x="41" y="9"/>
                  </a:cubicBezTo>
                  <a:cubicBezTo>
                    <a:pt x="42" y="10"/>
                    <a:pt x="43" y="10"/>
                    <a:pt x="43" y="9"/>
                  </a:cubicBezTo>
                  <a:cubicBezTo>
                    <a:pt x="44" y="9"/>
                    <a:pt x="44" y="7"/>
                    <a:pt x="43" y="7"/>
                  </a:cubicBezTo>
                  <a:cubicBezTo>
                    <a:pt x="38" y="2"/>
                    <a:pt x="31" y="0"/>
                    <a:pt x="2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6">
              <a:extLst>
                <a:ext uri="{FF2B5EF4-FFF2-40B4-BE49-F238E27FC236}">
                  <a16:creationId xmlns:a16="http://schemas.microsoft.com/office/drawing/2014/main" id="{28A535F5-CC4F-46BA-838B-A64C5C636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1402"/>
              <a:ext cx="108" cy="10"/>
            </a:xfrm>
            <a:custGeom>
              <a:avLst/>
              <a:gdLst>
                <a:gd name="T0" fmla="*/ 40 w 42"/>
                <a:gd name="T1" fmla="*/ 0 h 4"/>
                <a:gd name="T2" fmla="*/ 2 w 42"/>
                <a:gd name="T3" fmla="*/ 0 h 4"/>
                <a:gd name="T4" fmla="*/ 0 w 42"/>
                <a:gd name="T5" fmla="*/ 2 h 4"/>
                <a:gd name="T6" fmla="*/ 2 w 42"/>
                <a:gd name="T7" fmla="*/ 4 h 4"/>
                <a:gd name="T8" fmla="*/ 40 w 42"/>
                <a:gd name="T9" fmla="*/ 4 h 4"/>
                <a:gd name="T10" fmla="*/ 42 w 42"/>
                <a:gd name="T11" fmla="*/ 2 h 4"/>
                <a:gd name="T12" fmla="*/ 40 w 4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">
                  <a:moveTo>
                    <a:pt x="4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4"/>
                    <a:pt x="42" y="3"/>
                    <a:pt x="42" y="2"/>
                  </a:cubicBezTo>
                  <a:cubicBezTo>
                    <a:pt x="42" y="1"/>
                    <a:pt x="41" y="0"/>
                    <a:pt x="4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17">
              <a:extLst>
                <a:ext uri="{FF2B5EF4-FFF2-40B4-BE49-F238E27FC236}">
                  <a16:creationId xmlns:a16="http://schemas.microsoft.com/office/drawing/2014/main" id="{89B80FF2-BCD2-4249-97AE-AE8E93A808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4" y="1422"/>
              <a:ext cx="108" cy="75"/>
            </a:xfrm>
            <a:custGeom>
              <a:avLst/>
              <a:gdLst>
                <a:gd name="T0" fmla="*/ 38 w 42"/>
                <a:gd name="T1" fmla="*/ 13 h 29"/>
                <a:gd name="T2" fmla="*/ 33 w 42"/>
                <a:gd name="T3" fmla="*/ 18 h 29"/>
                <a:gd name="T4" fmla="*/ 9 w 42"/>
                <a:gd name="T5" fmla="*/ 18 h 29"/>
                <a:gd name="T6" fmla="*/ 4 w 42"/>
                <a:gd name="T7" fmla="*/ 13 h 29"/>
                <a:gd name="T8" fmla="*/ 4 w 42"/>
                <a:gd name="T9" fmla="*/ 3 h 29"/>
                <a:gd name="T10" fmla="*/ 38 w 42"/>
                <a:gd name="T11" fmla="*/ 3 h 29"/>
                <a:gd name="T12" fmla="*/ 38 w 42"/>
                <a:gd name="T13" fmla="*/ 13 h 29"/>
                <a:gd name="T14" fmla="*/ 25 w 42"/>
                <a:gd name="T15" fmla="*/ 22 h 29"/>
                <a:gd name="T16" fmla="*/ 21 w 42"/>
                <a:gd name="T17" fmla="*/ 26 h 29"/>
                <a:gd name="T18" fmla="*/ 17 w 42"/>
                <a:gd name="T19" fmla="*/ 22 h 29"/>
                <a:gd name="T20" fmla="*/ 17 w 42"/>
                <a:gd name="T21" fmla="*/ 21 h 29"/>
                <a:gd name="T22" fmla="*/ 25 w 42"/>
                <a:gd name="T23" fmla="*/ 21 h 29"/>
                <a:gd name="T24" fmla="*/ 25 w 42"/>
                <a:gd name="T25" fmla="*/ 22 h 29"/>
                <a:gd name="T26" fmla="*/ 40 w 42"/>
                <a:gd name="T27" fmla="*/ 0 h 29"/>
                <a:gd name="T28" fmla="*/ 2 w 42"/>
                <a:gd name="T29" fmla="*/ 0 h 29"/>
                <a:gd name="T30" fmla="*/ 0 w 42"/>
                <a:gd name="T31" fmla="*/ 2 h 29"/>
                <a:gd name="T32" fmla="*/ 0 w 42"/>
                <a:gd name="T33" fmla="*/ 13 h 29"/>
                <a:gd name="T34" fmla="*/ 9 w 42"/>
                <a:gd name="T35" fmla="*/ 21 h 29"/>
                <a:gd name="T36" fmla="*/ 14 w 42"/>
                <a:gd name="T37" fmla="*/ 21 h 29"/>
                <a:gd name="T38" fmla="*/ 14 w 42"/>
                <a:gd name="T39" fmla="*/ 22 h 29"/>
                <a:gd name="T40" fmla="*/ 21 w 42"/>
                <a:gd name="T41" fmla="*/ 29 h 29"/>
                <a:gd name="T42" fmla="*/ 28 w 42"/>
                <a:gd name="T43" fmla="*/ 22 h 29"/>
                <a:gd name="T44" fmla="*/ 28 w 42"/>
                <a:gd name="T45" fmla="*/ 21 h 29"/>
                <a:gd name="T46" fmla="*/ 33 w 42"/>
                <a:gd name="T47" fmla="*/ 21 h 29"/>
                <a:gd name="T48" fmla="*/ 42 w 42"/>
                <a:gd name="T49" fmla="*/ 13 h 29"/>
                <a:gd name="T50" fmla="*/ 42 w 42"/>
                <a:gd name="T51" fmla="*/ 2 h 29"/>
                <a:gd name="T52" fmla="*/ 40 w 42"/>
                <a:gd name="T5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29">
                  <a:moveTo>
                    <a:pt x="38" y="13"/>
                  </a:moveTo>
                  <a:cubicBezTo>
                    <a:pt x="38" y="16"/>
                    <a:pt x="36" y="18"/>
                    <a:pt x="33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6" y="18"/>
                    <a:pt x="4" y="16"/>
                    <a:pt x="4" y="1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8" y="3"/>
                    <a:pt x="38" y="3"/>
                    <a:pt x="38" y="3"/>
                  </a:cubicBezTo>
                  <a:lnTo>
                    <a:pt x="38" y="13"/>
                  </a:lnTo>
                  <a:close/>
                  <a:moveTo>
                    <a:pt x="25" y="22"/>
                  </a:moveTo>
                  <a:cubicBezTo>
                    <a:pt x="25" y="24"/>
                    <a:pt x="23" y="26"/>
                    <a:pt x="21" y="26"/>
                  </a:cubicBezTo>
                  <a:cubicBezTo>
                    <a:pt x="19" y="26"/>
                    <a:pt x="17" y="24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25" y="21"/>
                    <a:pt x="25" y="21"/>
                    <a:pt x="25" y="21"/>
                  </a:cubicBezTo>
                  <a:lnTo>
                    <a:pt x="25" y="22"/>
                  </a:lnTo>
                  <a:close/>
                  <a:moveTo>
                    <a:pt x="4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8"/>
                    <a:pt x="4" y="21"/>
                    <a:pt x="9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6"/>
                    <a:pt x="17" y="29"/>
                    <a:pt x="21" y="29"/>
                  </a:cubicBezTo>
                  <a:cubicBezTo>
                    <a:pt x="25" y="29"/>
                    <a:pt x="28" y="26"/>
                    <a:pt x="28" y="22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8" y="21"/>
                    <a:pt x="42" y="18"/>
                    <a:pt x="42" y="1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1"/>
                    <a:pt x="41" y="0"/>
                    <a:pt x="4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8">
              <a:extLst>
                <a:ext uri="{FF2B5EF4-FFF2-40B4-BE49-F238E27FC236}">
                  <a16:creationId xmlns:a16="http://schemas.microsoft.com/office/drawing/2014/main" id="{4560DB7B-7932-4CB4-86D5-C8923BCFE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1154"/>
              <a:ext cx="10" cy="28"/>
            </a:xfrm>
            <a:custGeom>
              <a:avLst/>
              <a:gdLst>
                <a:gd name="T0" fmla="*/ 2 w 4"/>
                <a:gd name="T1" fmla="*/ 11 h 11"/>
                <a:gd name="T2" fmla="*/ 4 w 4"/>
                <a:gd name="T3" fmla="*/ 10 h 11"/>
                <a:gd name="T4" fmla="*/ 4 w 4"/>
                <a:gd name="T5" fmla="*/ 2 h 11"/>
                <a:gd name="T6" fmla="*/ 2 w 4"/>
                <a:gd name="T7" fmla="*/ 0 h 11"/>
                <a:gd name="T8" fmla="*/ 0 w 4"/>
                <a:gd name="T9" fmla="*/ 2 h 11"/>
                <a:gd name="T10" fmla="*/ 0 w 4"/>
                <a:gd name="T11" fmla="*/ 10 h 11"/>
                <a:gd name="T12" fmla="*/ 2 w 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2" y="11"/>
                  </a:moveTo>
                  <a:cubicBezTo>
                    <a:pt x="3" y="11"/>
                    <a:pt x="4" y="10"/>
                    <a:pt x="4" y="1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2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9">
              <a:extLst>
                <a:ext uri="{FF2B5EF4-FFF2-40B4-BE49-F238E27FC236}">
                  <a16:creationId xmlns:a16="http://schemas.microsoft.com/office/drawing/2014/main" id="{EAC2B5D4-034E-4D4A-BB5A-C9B96984D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161"/>
              <a:ext cx="15" cy="28"/>
            </a:xfrm>
            <a:custGeom>
              <a:avLst/>
              <a:gdLst>
                <a:gd name="T0" fmla="*/ 3 w 6"/>
                <a:gd name="T1" fmla="*/ 10 h 11"/>
                <a:gd name="T2" fmla="*/ 4 w 6"/>
                <a:gd name="T3" fmla="*/ 11 h 11"/>
                <a:gd name="T4" fmla="*/ 5 w 6"/>
                <a:gd name="T5" fmla="*/ 11 h 11"/>
                <a:gd name="T6" fmla="*/ 6 w 6"/>
                <a:gd name="T7" fmla="*/ 9 h 11"/>
                <a:gd name="T8" fmla="*/ 3 w 6"/>
                <a:gd name="T9" fmla="*/ 1 h 11"/>
                <a:gd name="T10" fmla="*/ 1 w 6"/>
                <a:gd name="T11" fmla="*/ 0 h 11"/>
                <a:gd name="T12" fmla="*/ 0 w 6"/>
                <a:gd name="T13" fmla="*/ 3 h 11"/>
                <a:gd name="T14" fmla="*/ 3 w 6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3" y="11"/>
                    <a:pt x="4" y="11"/>
                    <a:pt x="4" y="11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6" y="11"/>
                    <a:pt x="6" y="10"/>
                    <a:pt x="6" y="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0">
              <a:extLst>
                <a:ext uri="{FF2B5EF4-FFF2-40B4-BE49-F238E27FC236}">
                  <a16:creationId xmlns:a16="http://schemas.microsoft.com/office/drawing/2014/main" id="{A3EF3D16-F507-4E9C-A5F1-38A83A6E5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" y="1184"/>
              <a:ext cx="23" cy="26"/>
            </a:xfrm>
            <a:custGeom>
              <a:avLst/>
              <a:gdLst>
                <a:gd name="T0" fmla="*/ 6 w 9"/>
                <a:gd name="T1" fmla="*/ 9 h 10"/>
                <a:gd name="T2" fmla="*/ 7 w 9"/>
                <a:gd name="T3" fmla="*/ 10 h 10"/>
                <a:gd name="T4" fmla="*/ 9 w 9"/>
                <a:gd name="T5" fmla="*/ 10 h 10"/>
                <a:gd name="T6" fmla="*/ 9 w 9"/>
                <a:gd name="T7" fmla="*/ 7 h 10"/>
                <a:gd name="T8" fmla="*/ 4 w 9"/>
                <a:gd name="T9" fmla="*/ 1 h 10"/>
                <a:gd name="T10" fmla="*/ 1 w 9"/>
                <a:gd name="T11" fmla="*/ 1 h 10"/>
                <a:gd name="T12" fmla="*/ 1 w 9"/>
                <a:gd name="T13" fmla="*/ 3 h 10"/>
                <a:gd name="T14" fmla="*/ 6 w 9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6" y="9"/>
                  </a:moveTo>
                  <a:cubicBezTo>
                    <a:pt x="6" y="10"/>
                    <a:pt x="7" y="10"/>
                    <a:pt x="7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9"/>
                    <a:pt x="9" y="8"/>
                    <a:pt x="9" y="7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1"/>
                    <a:pt x="0" y="2"/>
                    <a:pt x="1" y="3"/>
                  </a:cubicBezTo>
                  <a:lnTo>
                    <a:pt x="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1">
              <a:extLst>
                <a:ext uri="{FF2B5EF4-FFF2-40B4-BE49-F238E27FC236}">
                  <a16:creationId xmlns:a16="http://schemas.microsoft.com/office/drawing/2014/main" id="{5B14FAF4-5740-4152-B3F6-828C1087C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1220"/>
              <a:ext cx="29" cy="21"/>
            </a:xfrm>
            <a:custGeom>
              <a:avLst/>
              <a:gdLst>
                <a:gd name="T0" fmla="*/ 11 w 11"/>
                <a:gd name="T1" fmla="*/ 7 h 8"/>
                <a:gd name="T2" fmla="*/ 10 w 11"/>
                <a:gd name="T3" fmla="*/ 4 h 8"/>
                <a:gd name="T4" fmla="*/ 3 w 11"/>
                <a:gd name="T5" fmla="*/ 0 h 8"/>
                <a:gd name="T6" fmla="*/ 1 w 11"/>
                <a:gd name="T7" fmla="*/ 1 h 8"/>
                <a:gd name="T8" fmla="*/ 1 w 11"/>
                <a:gd name="T9" fmla="*/ 3 h 8"/>
                <a:gd name="T10" fmla="*/ 8 w 11"/>
                <a:gd name="T11" fmla="*/ 7 h 8"/>
                <a:gd name="T12" fmla="*/ 9 w 11"/>
                <a:gd name="T13" fmla="*/ 8 h 8"/>
                <a:gd name="T14" fmla="*/ 11 w 11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8">
                  <a:moveTo>
                    <a:pt x="11" y="7"/>
                  </a:moveTo>
                  <a:cubicBezTo>
                    <a:pt x="11" y="6"/>
                    <a:pt x="11" y="5"/>
                    <a:pt x="10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0" y="8"/>
                    <a:pt x="10" y="7"/>
                    <a:pt x="11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2">
              <a:extLst>
                <a:ext uri="{FF2B5EF4-FFF2-40B4-BE49-F238E27FC236}">
                  <a16:creationId xmlns:a16="http://schemas.microsoft.com/office/drawing/2014/main" id="{ACB99BCC-8DF0-424C-91AF-9F93E40A0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1161"/>
              <a:ext cx="16" cy="28"/>
            </a:xfrm>
            <a:custGeom>
              <a:avLst/>
              <a:gdLst>
                <a:gd name="T0" fmla="*/ 1 w 6"/>
                <a:gd name="T1" fmla="*/ 11 h 11"/>
                <a:gd name="T2" fmla="*/ 2 w 6"/>
                <a:gd name="T3" fmla="*/ 11 h 11"/>
                <a:gd name="T4" fmla="*/ 3 w 6"/>
                <a:gd name="T5" fmla="*/ 10 h 11"/>
                <a:gd name="T6" fmla="*/ 6 w 6"/>
                <a:gd name="T7" fmla="*/ 3 h 11"/>
                <a:gd name="T8" fmla="*/ 5 w 6"/>
                <a:gd name="T9" fmla="*/ 0 h 11"/>
                <a:gd name="T10" fmla="*/ 3 w 6"/>
                <a:gd name="T11" fmla="*/ 1 h 11"/>
                <a:gd name="T12" fmla="*/ 0 w 6"/>
                <a:gd name="T13" fmla="*/ 9 h 11"/>
                <a:gd name="T14" fmla="*/ 1 w 6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1">
                  <a:moveTo>
                    <a:pt x="1" y="11"/>
                  </a:moveTo>
                  <a:cubicBezTo>
                    <a:pt x="1" y="11"/>
                    <a:pt x="2" y="11"/>
                    <a:pt x="2" y="11"/>
                  </a:cubicBezTo>
                  <a:cubicBezTo>
                    <a:pt x="2" y="11"/>
                    <a:pt x="3" y="11"/>
                    <a:pt x="3" y="1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1"/>
                    <a:pt x="5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1"/>
                    <a:pt x="1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3">
              <a:extLst>
                <a:ext uri="{FF2B5EF4-FFF2-40B4-BE49-F238E27FC236}">
                  <a16:creationId xmlns:a16="http://schemas.microsoft.com/office/drawing/2014/main" id="{DFE5F12C-5F8B-4304-B548-035F0115F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5" y="1184"/>
              <a:ext cx="23" cy="26"/>
            </a:xfrm>
            <a:custGeom>
              <a:avLst/>
              <a:gdLst>
                <a:gd name="T0" fmla="*/ 2 w 9"/>
                <a:gd name="T1" fmla="*/ 10 h 10"/>
                <a:gd name="T2" fmla="*/ 3 w 9"/>
                <a:gd name="T3" fmla="*/ 9 h 10"/>
                <a:gd name="T4" fmla="*/ 8 w 9"/>
                <a:gd name="T5" fmla="*/ 3 h 10"/>
                <a:gd name="T6" fmla="*/ 8 w 9"/>
                <a:gd name="T7" fmla="*/ 1 h 10"/>
                <a:gd name="T8" fmla="*/ 5 w 9"/>
                <a:gd name="T9" fmla="*/ 1 h 10"/>
                <a:gd name="T10" fmla="*/ 0 w 9"/>
                <a:gd name="T11" fmla="*/ 7 h 10"/>
                <a:gd name="T12" fmla="*/ 0 w 9"/>
                <a:gd name="T13" fmla="*/ 10 h 10"/>
                <a:gd name="T14" fmla="*/ 2 w 9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2" y="10"/>
                  </a:moveTo>
                  <a:cubicBezTo>
                    <a:pt x="2" y="10"/>
                    <a:pt x="3" y="10"/>
                    <a:pt x="3" y="9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9"/>
                    <a:pt x="0" y="10"/>
                  </a:cubicBezTo>
                  <a:cubicBezTo>
                    <a:pt x="1" y="10"/>
                    <a:pt x="1" y="10"/>
                    <a:pt x="2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4">
              <a:extLst>
                <a:ext uri="{FF2B5EF4-FFF2-40B4-BE49-F238E27FC236}">
                  <a16:creationId xmlns:a16="http://schemas.microsoft.com/office/drawing/2014/main" id="{C5EE30FD-8F48-4938-8FD7-8D2F16405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" y="1220"/>
              <a:ext cx="28" cy="21"/>
            </a:xfrm>
            <a:custGeom>
              <a:avLst/>
              <a:gdLst>
                <a:gd name="T0" fmla="*/ 10 w 11"/>
                <a:gd name="T1" fmla="*/ 1 h 8"/>
                <a:gd name="T2" fmla="*/ 8 w 11"/>
                <a:gd name="T3" fmla="*/ 0 h 8"/>
                <a:gd name="T4" fmla="*/ 1 w 11"/>
                <a:gd name="T5" fmla="*/ 4 h 8"/>
                <a:gd name="T6" fmla="*/ 0 w 11"/>
                <a:gd name="T7" fmla="*/ 7 h 8"/>
                <a:gd name="T8" fmla="*/ 2 w 11"/>
                <a:gd name="T9" fmla="*/ 8 h 8"/>
                <a:gd name="T10" fmla="*/ 3 w 11"/>
                <a:gd name="T11" fmla="*/ 7 h 8"/>
                <a:gd name="T12" fmla="*/ 10 w 11"/>
                <a:gd name="T13" fmla="*/ 3 h 8"/>
                <a:gd name="T14" fmla="*/ 10 w 11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8">
                  <a:moveTo>
                    <a:pt x="10" y="1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1" y="8"/>
                    <a:pt x="2" y="8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2"/>
                    <a:pt x="10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4" name="Group 127">
            <a:extLst>
              <a:ext uri="{FF2B5EF4-FFF2-40B4-BE49-F238E27FC236}">
                <a16:creationId xmlns:a16="http://schemas.microsoft.com/office/drawing/2014/main" id="{D36C68B7-A376-41E2-B775-F79EDC1035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111" y="1602572"/>
            <a:ext cx="760413" cy="758825"/>
            <a:chOff x="5096" y="1137"/>
            <a:chExt cx="479" cy="478"/>
          </a:xfrm>
        </p:grpSpPr>
        <p:sp>
          <p:nvSpPr>
            <p:cNvPr id="145" name="AutoShape 126">
              <a:extLst>
                <a:ext uri="{FF2B5EF4-FFF2-40B4-BE49-F238E27FC236}">
                  <a16:creationId xmlns:a16="http://schemas.microsoft.com/office/drawing/2014/main" id="{257F6D7D-9E0B-4417-8B7C-BBB19F06B0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96" y="113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8">
              <a:extLst>
                <a:ext uri="{FF2B5EF4-FFF2-40B4-BE49-F238E27FC236}">
                  <a16:creationId xmlns:a16="http://schemas.microsoft.com/office/drawing/2014/main" id="{437DF147-50CE-43BE-B4BE-E0C6A3F0BF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8" y="113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9">
              <a:extLst>
                <a:ext uri="{FF2B5EF4-FFF2-40B4-BE49-F238E27FC236}">
                  <a16:creationId xmlns:a16="http://schemas.microsoft.com/office/drawing/2014/main" id="{F65F0E85-95CA-4009-8C0F-20EA72578B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7" y="1201"/>
              <a:ext cx="319" cy="353"/>
            </a:xfrm>
            <a:custGeom>
              <a:avLst/>
              <a:gdLst>
                <a:gd name="T0" fmla="*/ 11 w 130"/>
                <a:gd name="T1" fmla="*/ 100 h 144"/>
                <a:gd name="T2" fmla="*/ 12 w 130"/>
                <a:gd name="T3" fmla="*/ 104 h 144"/>
                <a:gd name="T4" fmla="*/ 26 w 130"/>
                <a:gd name="T5" fmla="*/ 96 h 144"/>
                <a:gd name="T6" fmla="*/ 23 w 130"/>
                <a:gd name="T7" fmla="*/ 92 h 144"/>
                <a:gd name="T8" fmla="*/ 13 w 130"/>
                <a:gd name="T9" fmla="*/ 40 h 144"/>
                <a:gd name="T10" fmla="*/ 11 w 130"/>
                <a:gd name="T11" fmla="*/ 44 h 144"/>
                <a:gd name="T12" fmla="*/ 25 w 130"/>
                <a:gd name="T13" fmla="*/ 52 h 144"/>
                <a:gd name="T14" fmla="*/ 26 w 130"/>
                <a:gd name="T15" fmla="*/ 48 h 144"/>
                <a:gd name="T16" fmla="*/ 17 w 130"/>
                <a:gd name="T17" fmla="*/ 70 h 144"/>
                <a:gd name="T18" fmla="*/ 0 w 130"/>
                <a:gd name="T19" fmla="*/ 72 h 144"/>
                <a:gd name="T20" fmla="*/ 17 w 130"/>
                <a:gd name="T21" fmla="*/ 74 h 144"/>
                <a:gd name="T22" fmla="*/ 119 w 130"/>
                <a:gd name="T23" fmla="*/ 100 h 144"/>
                <a:gd name="T24" fmla="*/ 103 w 130"/>
                <a:gd name="T25" fmla="*/ 93 h 144"/>
                <a:gd name="T26" fmla="*/ 117 w 130"/>
                <a:gd name="T27" fmla="*/ 104 h 144"/>
                <a:gd name="T28" fmla="*/ 120 w 130"/>
                <a:gd name="T29" fmla="*/ 103 h 144"/>
                <a:gd name="T30" fmla="*/ 105 w 130"/>
                <a:gd name="T31" fmla="*/ 52 h 144"/>
                <a:gd name="T32" fmla="*/ 119 w 130"/>
                <a:gd name="T33" fmla="*/ 44 h 144"/>
                <a:gd name="T34" fmla="*/ 117 w 130"/>
                <a:gd name="T35" fmla="*/ 40 h 144"/>
                <a:gd name="T36" fmla="*/ 103 w 130"/>
                <a:gd name="T37" fmla="*/ 51 h 144"/>
                <a:gd name="T38" fmla="*/ 128 w 130"/>
                <a:gd name="T39" fmla="*/ 70 h 144"/>
                <a:gd name="T40" fmla="*/ 110 w 130"/>
                <a:gd name="T41" fmla="*/ 72 h 144"/>
                <a:gd name="T42" fmla="*/ 128 w 130"/>
                <a:gd name="T43" fmla="*/ 74 h 144"/>
                <a:gd name="T44" fmla="*/ 128 w 130"/>
                <a:gd name="T45" fmla="*/ 70 h 144"/>
                <a:gd name="T46" fmla="*/ 67 w 130"/>
                <a:gd name="T47" fmla="*/ 92 h 144"/>
                <a:gd name="T48" fmla="*/ 65 w 130"/>
                <a:gd name="T49" fmla="*/ 89 h 144"/>
                <a:gd name="T50" fmla="*/ 57 w 130"/>
                <a:gd name="T51" fmla="*/ 73 h 144"/>
                <a:gd name="T52" fmla="*/ 55 w 130"/>
                <a:gd name="T53" fmla="*/ 70 h 144"/>
                <a:gd name="T54" fmla="*/ 65 w 130"/>
                <a:gd name="T55" fmla="*/ 26 h 144"/>
                <a:gd name="T56" fmla="*/ 61 w 130"/>
                <a:gd name="T57" fmla="*/ 54 h 144"/>
                <a:gd name="T58" fmla="*/ 76 w 130"/>
                <a:gd name="T59" fmla="*/ 55 h 144"/>
                <a:gd name="T60" fmla="*/ 71 w 130"/>
                <a:gd name="T61" fmla="*/ 73 h 144"/>
                <a:gd name="T62" fmla="*/ 81 w 130"/>
                <a:gd name="T63" fmla="*/ 74 h 144"/>
                <a:gd name="T64" fmla="*/ 85 w 130"/>
                <a:gd name="T65" fmla="*/ 70 h 144"/>
                <a:gd name="T66" fmla="*/ 82 w 130"/>
                <a:gd name="T67" fmla="*/ 53 h 144"/>
                <a:gd name="T68" fmla="*/ 80 w 130"/>
                <a:gd name="T69" fmla="*/ 50 h 144"/>
                <a:gd name="T70" fmla="*/ 75 w 130"/>
                <a:gd name="T71" fmla="*/ 3 h 144"/>
                <a:gd name="T72" fmla="*/ 70 w 130"/>
                <a:gd name="T73" fmla="*/ 2 h 144"/>
                <a:gd name="T74" fmla="*/ 40 w 130"/>
                <a:gd name="T75" fmla="*/ 73 h 144"/>
                <a:gd name="T76" fmla="*/ 51 w 130"/>
                <a:gd name="T77" fmla="*/ 74 h 144"/>
                <a:gd name="T78" fmla="*/ 45 w 130"/>
                <a:gd name="T79" fmla="*/ 93 h 144"/>
                <a:gd name="T80" fmla="*/ 62 w 130"/>
                <a:gd name="T81" fmla="*/ 94 h 144"/>
                <a:gd name="T82" fmla="*/ 54 w 130"/>
                <a:gd name="T83" fmla="*/ 144 h 144"/>
                <a:gd name="T84" fmla="*/ 57 w 130"/>
                <a:gd name="T85" fmla="*/ 142 h 144"/>
                <a:gd name="T86" fmla="*/ 87 w 130"/>
                <a:gd name="T87" fmla="*/ 7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0" h="144">
                  <a:moveTo>
                    <a:pt x="23" y="92"/>
                  </a:moveTo>
                  <a:cubicBezTo>
                    <a:pt x="11" y="100"/>
                    <a:pt x="11" y="100"/>
                    <a:pt x="11" y="100"/>
                  </a:cubicBezTo>
                  <a:cubicBezTo>
                    <a:pt x="10" y="100"/>
                    <a:pt x="9" y="102"/>
                    <a:pt x="10" y="103"/>
                  </a:cubicBezTo>
                  <a:cubicBezTo>
                    <a:pt x="10" y="104"/>
                    <a:pt x="11" y="104"/>
                    <a:pt x="12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7" y="96"/>
                    <a:pt x="28" y="94"/>
                    <a:pt x="27" y="93"/>
                  </a:cubicBezTo>
                  <a:cubicBezTo>
                    <a:pt x="26" y="92"/>
                    <a:pt x="25" y="91"/>
                    <a:pt x="23" y="92"/>
                  </a:cubicBezTo>
                  <a:moveTo>
                    <a:pt x="26" y="48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2" y="40"/>
                    <a:pt x="11" y="40"/>
                    <a:pt x="10" y="41"/>
                  </a:cubicBezTo>
                  <a:cubicBezTo>
                    <a:pt x="9" y="42"/>
                    <a:pt x="10" y="44"/>
                    <a:pt x="11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4" y="52"/>
                    <a:pt x="24" y="52"/>
                    <a:pt x="25" y="52"/>
                  </a:cubicBezTo>
                  <a:cubicBezTo>
                    <a:pt x="26" y="52"/>
                    <a:pt x="26" y="52"/>
                    <a:pt x="27" y="51"/>
                  </a:cubicBezTo>
                  <a:cubicBezTo>
                    <a:pt x="28" y="50"/>
                    <a:pt x="27" y="48"/>
                    <a:pt x="26" y="48"/>
                  </a:cubicBezTo>
                  <a:moveTo>
                    <a:pt x="20" y="72"/>
                  </a:moveTo>
                  <a:cubicBezTo>
                    <a:pt x="20" y="71"/>
                    <a:pt x="19" y="70"/>
                    <a:pt x="17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70"/>
                    <a:pt x="0" y="71"/>
                    <a:pt x="0" y="72"/>
                  </a:cubicBezTo>
                  <a:cubicBezTo>
                    <a:pt x="0" y="73"/>
                    <a:pt x="1" y="74"/>
                    <a:pt x="2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9" y="74"/>
                    <a:pt x="20" y="73"/>
                    <a:pt x="20" y="72"/>
                  </a:cubicBezTo>
                  <a:moveTo>
                    <a:pt x="119" y="100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105" y="91"/>
                    <a:pt x="104" y="92"/>
                    <a:pt x="103" y="93"/>
                  </a:cubicBezTo>
                  <a:cubicBezTo>
                    <a:pt x="102" y="94"/>
                    <a:pt x="103" y="96"/>
                    <a:pt x="104" y="96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7" y="104"/>
                    <a:pt x="117" y="104"/>
                    <a:pt x="118" y="104"/>
                  </a:cubicBezTo>
                  <a:cubicBezTo>
                    <a:pt x="119" y="104"/>
                    <a:pt x="120" y="104"/>
                    <a:pt x="120" y="103"/>
                  </a:cubicBezTo>
                  <a:cubicBezTo>
                    <a:pt x="121" y="102"/>
                    <a:pt x="120" y="100"/>
                    <a:pt x="119" y="100"/>
                  </a:cubicBezTo>
                  <a:moveTo>
                    <a:pt x="105" y="52"/>
                  </a:moveTo>
                  <a:cubicBezTo>
                    <a:pt x="106" y="52"/>
                    <a:pt x="106" y="52"/>
                    <a:pt x="107" y="52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20" y="44"/>
                    <a:pt x="121" y="42"/>
                    <a:pt x="120" y="41"/>
                  </a:cubicBezTo>
                  <a:cubicBezTo>
                    <a:pt x="119" y="40"/>
                    <a:pt x="118" y="40"/>
                    <a:pt x="117" y="40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3" y="48"/>
                    <a:pt x="102" y="50"/>
                    <a:pt x="103" y="51"/>
                  </a:cubicBezTo>
                  <a:cubicBezTo>
                    <a:pt x="104" y="52"/>
                    <a:pt x="104" y="52"/>
                    <a:pt x="105" y="52"/>
                  </a:cubicBezTo>
                  <a:moveTo>
                    <a:pt x="128" y="70"/>
                  </a:moveTo>
                  <a:cubicBezTo>
                    <a:pt x="113" y="70"/>
                    <a:pt x="113" y="70"/>
                    <a:pt x="113" y="70"/>
                  </a:cubicBezTo>
                  <a:cubicBezTo>
                    <a:pt x="111" y="70"/>
                    <a:pt x="110" y="71"/>
                    <a:pt x="110" y="72"/>
                  </a:cubicBezTo>
                  <a:cubicBezTo>
                    <a:pt x="110" y="73"/>
                    <a:pt x="111" y="74"/>
                    <a:pt x="113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9" y="74"/>
                    <a:pt x="130" y="73"/>
                    <a:pt x="130" y="72"/>
                  </a:cubicBezTo>
                  <a:cubicBezTo>
                    <a:pt x="130" y="71"/>
                    <a:pt x="129" y="70"/>
                    <a:pt x="128" y="70"/>
                  </a:cubicBezTo>
                  <a:moveTo>
                    <a:pt x="62" y="118"/>
                  </a:moveTo>
                  <a:cubicBezTo>
                    <a:pt x="67" y="92"/>
                    <a:pt x="67" y="92"/>
                    <a:pt x="67" y="92"/>
                  </a:cubicBezTo>
                  <a:cubicBezTo>
                    <a:pt x="68" y="92"/>
                    <a:pt x="67" y="91"/>
                    <a:pt x="67" y="90"/>
                  </a:cubicBezTo>
                  <a:cubicBezTo>
                    <a:pt x="66" y="90"/>
                    <a:pt x="66" y="89"/>
                    <a:pt x="65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8" y="72"/>
                    <a:pt x="57" y="71"/>
                    <a:pt x="57" y="71"/>
                  </a:cubicBezTo>
                  <a:cubicBezTo>
                    <a:pt x="57" y="70"/>
                    <a:pt x="56" y="70"/>
                    <a:pt x="5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3"/>
                    <a:pt x="61" y="54"/>
                  </a:cubicBezTo>
                  <a:cubicBezTo>
                    <a:pt x="61" y="54"/>
                    <a:pt x="62" y="55"/>
                    <a:pt x="63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2"/>
                    <a:pt x="70" y="73"/>
                    <a:pt x="71" y="73"/>
                  </a:cubicBezTo>
                  <a:cubicBezTo>
                    <a:pt x="71" y="74"/>
                    <a:pt x="72" y="74"/>
                    <a:pt x="73" y="74"/>
                  </a:cubicBezTo>
                  <a:cubicBezTo>
                    <a:pt x="81" y="74"/>
                    <a:pt x="81" y="74"/>
                    <a:pt x="81" y="74"/>
                  </a:cubicBezTo>
                  <a:lnTo>
                    <a:pt x="62" y="118"/>
                  </a:lnTo>
                  <a:close/>
                  <a:moveTo>
                    <a:pt x="85" y="70"/>
                  </a:moveTo>
                  <a:cubicBezTo>
                    <a:pt x="76" y="70"/>
                    <a:pt x="76" y="70"/>
                    <a:pt x="76" y="70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2"/>
                    <a:pt x="83" y="51"/>
                    <a:pt x="82" y="51"/>
                  </a:cubicBezTo>
                  <a:cubicBezTo>
                    <a:pt x="82" y="50"/>
                    <a:pt x="81" y="50"/>
                    <a:pt x="80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3" y="0"/>
                  </a:cubicBezTo>
                  <a:cubicBezTo>
                    <a:pt x="72" y="0"/>
                    <a:pt x="71" y="1"/>
                    <a:pt x="70" y="2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2"/>
                    <a:pt x="40" y="73"/>
                    <a:pt x="40" y="73"/>
                  </a:cubicBezTo>
                  <a:cubicBezTo>
                    <a:pt x="41" y="74"/>
                    <a:pt x="42" y="74"/>
                    <a:pt x="4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2"/>
                    <a:pt x="45" y="93"/>
                    <a:pt x="45" y="93"/>
                  </a:cubicBezTo>
                  <a:cubicBezTo>
                    <a:pt x="46" y="94"/>
                    <a:pt x="47" y="94"/>
                    <a:pt x="47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52" y="141"/>
                    <a:pt x="52" y="141"/>
                    <a:pt x="52" y="141"/>
                  </a:cubicBezTo>
                  <a:cubicBezTo>
                    <a:pt x="52" y="142"/>
                    <a:pt x="53" y="143"/>
                    <a:pt x="54" y="144"/>
                  </a:cubicBezTo>
                  <a:cubicBezTo>
                    <a:pt x="54" y="144"/>
                    <a:pt x="55" y="144"/>
                    <a:pt x="55" y="144"/>
                  </a:cubicBezTo>
                  <a:cubicBezTo>
                    <a:pt x="56" y="144"/>
                    <a:pt x="57" y="143"/>
                    <a:pt x="57" y="142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8" y="72"/>
                    <a:pt x="88" y="71"/>
                    <a:pt x="87" y="71"/>
                  </a:cubicBezTo>
                  <a:cubicBezTo>
                    <a:pt x="87" y="70"/>
                    <a:pt x="86" y="70"/>
                    <a:pt x="85" y="7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32">
            <a:extLst>
              <a:ext uri="{FF2B5EF4-FFF2-40B4-BE49-F238E27FC236}">
                <a16:creationId xmlns:a16="http://schemas.microsoft.com/office/drawing/2014/main" id="{C07E25C4-7E8D-430B-8771-0D722243D2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01694" y="1561297"/>
            <a:ext cx="841375" cy="841375"/>
            <a:chOff x="4372" y="1022"/>
            <a:chExt cx="530" cy="530"/>
          </a:xfrm>
        </p:grpSpPr>
        <p:sp>
          <p:nvSpPr>
            <p:cNvPr id="149" name="AutoShape 131">
              <a:extLst>
                <a:ext uri="{FF2B5EF4-FFF2-40B4-BE49-F238E27FC236}">
                  <a16:creationId xmlns:a16="http://schemas.microsoft.com/office/drawing/2014/main" id="{450002BB-9CB9-4598-8F0F-7A8FA7D379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2" y="102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Oval 133">
              <a:extLst>
                <a:ext uri="{FF2B5EF4-FFF2-40B4-BE49-F238E27FC236}">
                  <a16:creationId xmlns:a16="http://schemas.microsoft.com/office/drawing/2014/main" id="{C177A875-062D-4C4A-8C1A-09AAA9F59A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" y="102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4">
              <a:extLst>
                <a:ext uri="{FF2B5EF4-FFF2-40B4-BE49-F238E27FC236}">
                  <a16:creationId xmlns:a16="http://schemas.microsoft.com/office/drawing/2014/main" id="{1BC0357C-88D8-44E1-853F-9B4C3E802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0" y="104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35">
              <a:extLst>
                <a:ext uri="{FF2B5EF4-FFF2-40B4-BE49-F238E27FC236}">
                  <a16:creationId xmlns:a16="http://schemas.microsoft.com/office/drawing/2014/main" id="{8D15B9A6-6175-4899-84DF-EB76CF45D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2" y="1104"/>
              <a:ext cx="333" cy="369"/>
            </a:xfrm>
            <a:custGeom>
              <a:avLst/>
              <a:gdLst>
                <a:gd name="T0" fmla="*/ 11 w 130"/>
                <a:gd name="T1" fmla="*/ 100 h 144"/>
                <a:gd name="T2" fmla="*/ 12 w 130"/>
                <a:gd name="T3" fmla="*/ 104 h 144"/>
                <a:gd name="T4" fmla="*/ 26 w 130"/>
                <a:gd name="T5" fmla="*/ 96 h 144"/>
                <a:gd name="T6" fmla="*/ 23 w 130"/>
                <a:gd name="T7" fmla="*/ 92 h 144"/>
                <a:gd name="T8" fmla="*/ 13 w 130"/>
                <a:gd name="T9" fmla="*/ 40 h 144"/>
                <a:gd name="T10" fmla="*/ 11 w 130"/>
                <a:gd name="T11" fmla="*/ 44 h 144"/>
                <a:gd name="T12" fmla="*/ 25 w 130"/>
                <a:gd name="T13" fmla="*/ 52 h 144"/>
                <a:gd name="T14" fmla="*/ 26 w 130"/>
                <a:gd name="T15" fmla="*/ 48 h 144"/>
                <a:gd name="T16" fmla="*/ 17 w 130"/>
                <a:gd name="T17" fmla="*/ 70 h 144"/>
                <a:gd name="T18" fmla="*/ 0 w 130"/>
                <a:gd name="T19" fmla="*/ 72 h 144"/>
                <a:gd name="T20" fmla="*/ 17 w 130"/>
                <a:gd name="T21" fmla="*/ 74 h 144"/>
                <a:gd name="T22" fmla="*/ 119 w 130"/>
                <a:gd name="T23" fmla="*/ 100 h 144"/>
                <a:gd name="T24" fmla="*/ 103 w 130"/>
                <a:gd name="T25" fmla="*/ 93 h 144"/>
                <a:gd name="T26" fmla="*/ 117 w 130"/>
                <a:gd name="T27" fmla="*/ 104 h 144"/>
                <a:gd name="T28" fmla="*/ 120 w 130"/>
                <a:gd name="T29" fmla="*/ 103 h 144"/>
                <a:gd name="T30" fmla="*/ 105 w 130"/>
                <a:gd name="T31" fmla="*/ 52 h 144"/>
                <a:gd name="T32" fmla="*/ 119 w 130"/>
                <a:gd name="T33" fmla="*/ 44 h 144"/>
                <a:gd name="T34" fmla="*/ 117 w 130"/>
                <a:gd name="T35" fmla="*/ 40 h 144"/>
                <a:gd name="T36" fmla="*/ 103 w 130"/>
                <a:gd name="T37" fmla="*/ 51 h 144"/>
                <a:gd name="T38" fmla="*/ 128 w 130"/>
                <a:gd name="T39" fmla="*/ 70 h 144"/>
                <a:gd name="T40" fmla="*/ 110 w 130"/>
                <a:gd name="T41" fmla="*/ 72 h 144"/>
                <a:gd name="T42" fmla="*/ 128 w 130"/>
                <a:gd name="T43" fmla="*/ 74 h 144"/>
                <a:gd name="T44" fmla="*/ 128 w 130"/>
                <a:gd name="T45" fmla="*/ 70 h 144"/>
                <a:gd name="T46" fmla="*/ 67 w 130"/>
                <a:gd name="T47" fmla="*/ 92 h 144"/>
                <a:gd name="T48" fmla="*/ 65 w 130"/>
                <a:gd name="T49" fmla="*/ 89 h 144"/>
                <a:gd name="T50" fmla="*/ 57 w 130"/>
                <a:gd name="T51" fmla="*/ 73 h 144"/>
                <a:gd name="T52" fmla="*/ 55 w 130"/>
                <a:gd name="T53" fmla="*/ 70 h 144"/>
                <a:gd name="T54" fmla="*/ 65 w 130"/>
                <a:gd name="T55" fmla="*/ 26 h 144"/>
                <a:gd name="T56" fmla="*/ 61 w 130"/>
                <a:gd name="T57" fmla="*/ 54 h 144"/>
                <a:gd name="T58" fmla="*/ 76 w 130"/>
                <a:gd name="T59" fmla="*/ 55 h 144"/>
                <a:gd name="T60" fmla="*/ 71 w 130"/>
                <a:gd name="T61" fmla="*/ 73 h 144"/>
                <a:gd name="T62" fmla="*/ 81 w 130"/>
                <a:gd name="T63" fmla="*/ 74 h 144"/>
                <a:gd name="T64" fmla="*/ 85 w 130"/>
                <a:gd name="T65" fmla="*/ 70 h 144"/>
                <a:gd name="T66" fmla="*/ 82 w 130"/>
                <a:gd name="T67" fmla="*/ 53 h 144"/>
                <a:gd name="T68" fmla="*/ 80 w 130"/>
                <a:gd name="T69" fmla="*/ 50 h 144"/>
                <a:gd name="T70" fmla="*/ 75 w 130"/>
                <a:gd name="T71" fmla="*/ 3 h 144"/>
                <a:gd name="T72" fmla="*/ 70 w 130"/>
                <a:gd name="T73" fmla="*/ 2 h 144"/>
                <a:gd name="T74" fmla="*/ 40 w 130"/>
                <a:gd name="T75" fmla="*/ 73 h 144"/>
                <a:gd name="T76" fmla="*/ 51 w 130"/>
                <a:gd name="T77" fmla="*/ 74 h 144"/>
                <a:gd name="T78" fmla="*/ 45 w 130"/>
                <a:gd name="T79" fmla="*/ 93 h 144"/>
                <a:gd name="T80" fmla="*/ 62 w 130"/>
                <a:gd name="T81" fmla="*/ 94 h 144"/>
                <a:gd name="T82" fmla="*/ 54 w 130"/>
                <a:gd name="T83" fmla="*/ 144 h 144"/>
                <a:gd name="T84" fmla="*/ 57 w 130"/>
                <a:gd name="T85" fmla="*/ 142 h 144"/>
                <a:gd name="T86" fmla="*/ 87 w 130"/>
                <a:gd name="T87" fmla="*/ 7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0" h="144">
                  <a:moveTo>
                    <a:pt x="23" y="92"/>
                  </a:moveTo>
                  <a:cubicBezTo>
                    <a:pt x="11" y="100"/>
                    <a:pt x="11" y="100"/>
                    <a:pt x="11" y="100"/>
                  </a:cubicBezTo>
                  <a:cubicBezTo>
                    <a:pt x="10" y="100"/>
                    <a:pt x="9" y="102"/>
                    <a:pt x="10" y="103"/>
                  </a:cubicBezTo>
                  <a:cubicBezTo>
                    <a:pt x="10" y="104"/>
                    <a:pt x="11" y="104"/>
                    <a:pt x="12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7" y="96"/>
                    <a:pt x="28" y="94"/>
                    <a:pt x="27" y="93"/>
                  </a:cubicBezTo>
                  <a:cubicBezTo>
                    <a:pt x="26" y="92"/>
                    <a:pt x="25" y="91"/>
                    <a:pt x="23" y="92"/>
                  </a:cubicBezTo>
                  <a:moveTo>
                    <a:pt x="26" y="48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2" y="40"/>
                    <a:pt x="11" y="40"/>
                    <a:pt x="10" y="41"/>
                  </a:cubicBezTo>
                  <a:cubicBezTo>
                    <a:pt x="9" y="42"/>
                    <a:pt x="10" y="44"/>
                    <a:pt x="11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4" y="52"/>
                    <a:pt x="24" y="52"/>
                    <a:pt x="25" y="52"/>
                  </a:cubicBezTo>
                  <a:cubicBezTo>
                    <a:pt x="26" y="52"/>
                    <a:pt x="26" y="52"/>
                    <a:pt x="27" y="51"/>
                  </a:cubicBezTo>
                  <a:cubicBezTo>
                    <a:pt x="28" y="50"/>
                    <a:pt x="27" y="48"/>
                    <a:pt x="26" y="48"/>
                  </a:cubicBezTo>
                  <a:moveTo>
                    <a:pt x="20" y="72"/>
                  </a:moveTo>
                  <a:cubicBezTo>
                    <a:pt x="20" y="71"/>
                    <a:pt x="19" y="70"/>
                    <a:pt x="17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70"/>
                    <a:pt x="0" y="71"/>
                    <a:pt x="0" y="72"/>
                  </a:cubicBezTo>
                  <a:cubicBezTo>
                    <a:pt x="0" y="73"/>
                    <a:pt x="1" y="74"/>
                    <a:pt x="2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9" y="74"/>
                    <a:pt x="20" y="73"/>
                    <a:pt x="20" y="72"/>
                  </a:cubicBezTo>
                  <a:moveTo>
                    <a:pt x="119" y="100"/>
                  </a:moveTo>
                  <a:cubicBezTo>
                    <a:pt x="107" y="92"/>
                    <a:pt x="107" y="92"/>
                    <a:pt x="107" y="92"/>
                  </a:cubicBezTo>
                  <a:cubicBezTo>
                    <a:pt x="105" y="91"/>
                    <a:pt x="104" y="92"/>
                    <a:pt x="103" y="93"/>
                  </a:cubicBezTo>
                  <a:cubicBezTo>
                    <a:pt x="102" y="94"/>
                    <a:pt x="103" y="96"/>
                    <a:pt x="104" y="96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7" y="104"/>
                    <a:pt x="117" y="104"/>
                    <a:pt x="118" y="104"/>
                  </a:cubicBezTo>
                  <a:cubicBezTo>
                    <a:pt x="119" y="104"/>
                    <a:pt x="120" y="104"/>
                    <a:pt x="120" y="103"/>
                  </a:cubicBezTo>
                  <a:cubicBezTo>
                    <a:pt x="121" y="102"/>
                    <a:pt x="120" y="100"/>
                    <a:pt x="119" y="100"/>
                  </a:cubicBezTo>
                  <a:moveTo>
                    <a:pt x="105" y="52"/>
                  </a:moveTo>
                  <a:cubicBezTo>
                    <a:pt x="106" y="52"/>
                    <a:pt x="106" y="52"/>
                    <a:pt x="107" y="52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20" y="44"/>
                    <a:pt x="121" y="42"/>
                    <a:pt x="120" y="41"/>
                  </a:cubicBezTo>
                  <a:cubicBezTo>
                    <a:pt x="119" y="40"/>
                    <a:pt x="118" y="40"/>
                    <a:pt x="117" y="40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3" y="48"/>
                    <a:pt x="102" y="50"/>
                    <a:pt x="103" y="51"/>
                  </a:cubicBezTo>
                  <a:cubicBezTo>
                    <a:pt x="104" y="52"/>
                    <a:pt x="104" y="52"/>
                    <a:pt x="105" y="52"/>
                  </a:cubicBezTo>
                  <a:moveTo>
                    <a:pt x="128" y="70"/>
                  </a:moveTo>
                  <a:cubicBezTo>
                    <a:pt x="113" y="70"/>
                    <a:pt x="113" y="70"/>
                    <a:pt x="113" y="70"/>
                  </a:cubicBezTo>
                  <a:cubicBezTo>
                    <a:pt x="111" y="70"/>
                    <a:pt x="110" y="71"/>
                    <a:pt x="110" y="72"/>
                  </a:cubicBezTo>
                  <a:cubicBezTo>
                    <a:pt x="110" y="73"/>
                    <a:pt x="111" y="74"/>
                    <a:pt x="113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9" y="74"/>
                    <a:pt x="130" y="73"/>
                    <a:pt x="130" y="72"/>
                  </a:cubicBezTo>
                  <a:cubicBezTo>
                    <a:pt x="130" y="71"/>
                    <a:pt x="129" y="70"/>
                    <a:pt x="128" y="70"/>
                  </a:cubicBezTo>
                  <a:moveTo>
                    <a:pt x="62" y="118"/>
                  </a:moveTo>
                  <a:cubicBezTo>
                    <a:pt x="67" y="92"/>
                    <a:pt x="67" y="92"/>
                    <a:pt x="67" y="92"/>
                  </a:cubicBezTo>
                  <a:cubicBezTo>
                    <a:pt x="68" y="92"/>
                    <a:pt x="67" y="91"/>
                    <a:pt x="67" y="90"/>
                  </a:cubicBezTo>
                  <a:cubicBezTo>
                    <a:pt x="66" y="90"/>
                    <a:pt x="66" y="89"/>
                    <a:pt x="65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8" y="72"/>
                    <a:pt x="57" y="71"/>
                    <a:pt x="57" y="71"/>
                  </a:cubicBezTo>
                  <a:cubicBezTo>
                    <a:pt x="57" y="70"/>
                    <a:pt x="56" y="70"/>
                    <a:pt x="5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3"/>
                    <a:pt x="61" y="54"/>
                  </a:cubicBezTo>
                  <a:cubicBezTo>
                    <a:pt x="61" y="54"/>
                    <a:pt x="62" y="55"/>
                    <a:pt x="63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2"/>
                    <a:pt x="70" y="73"/>
                    <a:pt x="71" y="73"/>
                  </a:cubicBezTo>
                  <a:cubicBezTo>
                    <a:pt x="71" y="74"/>
                    <a:pt x="72" y="74"/>
                    <a:pt x="73" y="74"/>
                  </a:cubicBezTo>
                  <a:cubicBezTo>
                    <a:pt x="81" y="74"/>
                    <a:pt x="81" y="74"/>
                    <a:pt x="81" y="74"/>
                  </a:cubicBezTo>
                  <a:lnTo>
                    <a:pt x="62" y="118"/>
                  </a:lnTo>
                  <a:close/>
                  <a:moveTo>
                    <a:pt x="85" y="70"/>
                  </a:moveTo>
                  <a:cubicBezTo>
                    <a:pt x="76" y="70"/>
                    <a:pt x="76" y="70"/>
                    <a:pt x="76" y="70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2"/>
                    <a:pt x="83" y="51"/>
                    <a:pt x="82" y="51"/>
                  </a:cubicBezTo>
                  <a:cubicBezTo>
                    <a:pt x="82" y="50"/>
                    <a:pt x="81" y="50"/>
                    <a:pt x="80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3" y="0"/>
                  </a:cubicBezTo>
                  <a:cubicBezTo>
                    <a:pt x="72" y="0"/>
                    <a:pt x="71" y="1"/>
                    <a:pt x="70" y="2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2"/>
                    <a:pt x="40" y="73"/>
                    <a:pt x="40" y="73"/>
                  </a:cubicBezTo>
                  <a:cubicBezTo>
                    <a:pt x="41" y="74"/>
                    <a:pt x="42" y="74"/>
                    <a:pt x="4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2"/>
                    <a:pt x="45" y="93"/>
                    <a:pt x="45" y="93"/>
                  </a:cubicBezTo>
                  <a:cubicBezTo>
                    <a:pt x="46" y="94"/>
                    <a:pt x="47" y="94"/>
                    <a:pt x="47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52" y="141"/>
                    <a:pt x="52" y="141"/>
                    <a:pt x="52" y="141"/>
                  </a:cubicBezTo>
                  <a:cubicBezTo>
                    <a:pt x="52" y="142"/>
                    <a:pt x="53" y="143"/>
                    <a:pt x="54" y="144"/>
                  </a:cubicBezTo>
                  <a:cubicBezTo>
                    <a:pt x="54" y="144"/>
                    <a:pt x="55" y="144"/>
                    <a:pt x="55" y="144"/>
                  </a:cubicBezTo>
                  <a:cubicBezTo>
                    <a:pt x="56" y="144"/>
                    <a:pt x="57" y="143"/>
                    <a:pt x="57" y="142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8" y="72"/>
                    <a:pt x="88" y="71"/>
                    <a:pt x="87" y="71"/>
                  </a:cubicBezTo>
                  <a:cubicBezTo>
                    <a:pt x="87" y="70"/>
                    <a:pt x="86" y="70"/>
                    <a:pt x="85" y="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38">
            <a:extLst>
              <a:ext uri="{FF2B5EF4-FFF2-40B4-BE49-F238E27FC236}">
                <a16:creationId xmlns:a16="http://schemas.microsoft.com/office/drawing/2014/main" id="{634D2021-463A-47C6-A740-076060ADDA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2860225"/>
            <a:ext cx="758825" cy="758825"/>
            <a:chOff x="947" y="1875"/>
            <a:chExt cx="478" cy="478"/>
          </a:xfrm>
        </p:grpSpPr>
        <p:sp>
          <p:nvSpPr>
            <p:cNvPr id="158" name="AutoShape 137">
              <a:extLst>
                <a:ext uri="{FF2B5EF4-FFF2-40B4-BE49-F238E27FC236}">
                  <a16:creationId xmlns:a16="http://schemas.microsoft.com/office/drawing/2014/main" id="{E6B1A7F5-6337-46FE-8F10-6568AC9332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7" y="18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9">
              <a:extLst>
                <a:ext uri="{FF2B5EF4-FFF2-40B4-BE49-F238E27FC236}">
                  <a16:creationId xmlns:a16="http://schemas.microsoft.com/office/drawing/2014/main" id="{0EFFE58B-EC8F-4624-9516-B291D4776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9" y="18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0">
              <a:extLst>
                <a:ext uri="{FF2B5EF4-FFF2-40B4-BE49-F238E27FC236}">
                  <a16:creationId xmlns:a16="http://schemas.microsoft.com/office/drawing/2014/main" id="{E9278C0C-E44A-451D-9A17-E189B8DF4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" y="2032"/>
              <a:ext cx="147" cy="223"/>
            </a:xfrm>
            <a:custGeom>
              <a:avLst/>
              <a:gdLst>
                <a:gd name="T0" fmla="*/ 147 w 147"/>
                <a:gd name="T1" fmla="*/ 73 h 223"/>
                <a:gd name="T2" fmla="*/ 144 w 147"/>
                <a:gd name="T3" fmla="*/ 56 h 223"/>
                <a:gd name="T4" fmla="*/ 139 w 147"/>
                <a:gd name="T5" fmla="*/ 42 h 223"/>
                <a:gd name="T6" fmla="*/ 132 w 147"/>
                <a:gd name="T7" fmla="*/ 29 h 223"/>
                <a:gd name="T8" fmla="*/ 125 w 147"/>
                <a:gd name="T9" fmla="*/ 22 h 223"/>
                <a:gd name="T10" fmla="*/ 112 w 147"/>
                <a:gd name="T11" fmla="*/ 12 h 223"/>
                <a:gd name="T12" fmla="*/ 105 w 147"/>
                <a:gd name="T13" fmla="*/ 7 h 223"/>
                <a:gd name="T14" fmla="*/ 90 w 147"/>
                <a:gd name="T15" fmla="*/ 2 h 223"/>
                <a:gd name="T16" fmla="*/ 76 w 147"/>
                <a:gd name="T17" fmla="*/ 0 h 223"/>
                <a:gd name="T18" fmla="*/ 59 w 147"/>
                <a:gd name="T19" fmla="*/ 2 h 223"/>
                <a:gd name="T20" fmla="*/ 44 w 147"/>
                <a:gd name="T21" fmla="*/ 7 h 223"/>
                <a:gd name="T22" fmla="*/ 34 w 147"/>
                <a:gd name="T23" fmla="*/ 12 h 223"/>
                <a:gd name="T24" fmla="*/ 24 w 147"/>
                <a:gd name="T25" fmla="*/ 19 h 223"/>
                <a:gd name="T26" fmla="*/ 14 w 147"/>
                <a:gd name="T27" fmla="*/ 29 h 223"/>
                <a:gd name="T28" fmla="*/ 7 w 147"/>
                <a:gd name="T29" fmla="*/ 42 h 223"/>
                <a:gd name="T30" fmla="*/ 2 w 147"/>
                <a:gd name="T31" fmla="*/ 51 h 223"/>
                <a:gd name="T32" fmla="*/ 0 w 147"/>
                <a:gd name="T33" fmla="*/ 73 h 223"/>
                <a:gd name="T34" fmla="*/ 2 w 147"/>
                <a:gd name="T35" fmla="*/ 95 h 223"/>
                <a:gd name="T36" fmla="*/ 9 w 147"/>
                <a:gd name="T37" fmla="*/ 113 h 223"/>
                <a:gd name="T38" fmla="*/ 27 w 147"/>
                <a:gd name="T39" fmla="*/ 140 h 223"/>
                <a:gd name="T40" fmla="*/ 34 w 147"/>
                <a:gd name="T41" fmla="*/ 157 h 223"/>
                <a:gd name="T42" fmla="*/ 34 w 147"/>
                <a:gd name="T43" fmla="*/ 196 h 223"/>
                <a:gd name="T44" fmla="*/ 56 w 147"/>
                <a:gd name="T45" fmla="*/ 223 h 223"/>
                <a:gd name="T46" fmla="*/ 100 w 147"/>
                <a:gd name="T47" fmla="*/ 203 h 223"/>
                <a:gd name="T48" fmla="*/ 112 w 147"/>
                <a:gd name="T49" fmla="*/ 162 h 223"/>
                <a:gd name="T50" fmla="*/ 117 w 147"/>
                <a:gd name="T51" fmla="*/ 142 h 223"/>
                <a:gd name="T52" fmla="*/ 132 w 147"/>
                <a:gd name="T53" fmla="*/ 115 h 223"/>
                <a:gd name="T54" fmla="*/ 139 w 147"/>
                <a:gd name="T55" fmla="*/ 103 h 223"/>
                <a:gd name="T56" fmla="*/ 144 w 147"/>
                <a:gd name="T57" fmla="*/ 78 h 223"/>
                <a:gd name="T58" fmla="*/ 93 w 147"/>
                <a:gd name="T59" fmla="*/ 196 h 223"/>
                <a:gd name="T60" fmla="*/ 61 w 147"/>
                <a:gd name="T61" fmla="*/ 213 h 223"/>
                <a:gd name="T62" fmla="*/ 44 w 147"/>
                <a:gd name="T63" fmla="*/ 191 h 223"/>
                <a:gd name="T64" fmla="*/ 103 w 147"/>
                <a:gd name="T65" fmla="*/ 167 h 223"/>
                <a:gd name="T66" fmla="*/ 137 w 147"/>
                <a:gd name="T67" fmla="*/ 83 h 223"/>
                <a:gd name="T68" fmla="*/ 132 w 147"/>
                <a:gd name="T69" fmla="*/ 100 h 223"/>
                <a:gd name="T70" fmla="*/ 120 w 147"/>
                <a:gd name="T71" fmla="*/ 120 h 223"/>
                <a:gd name="T72" fmla="*/ 108 w 147"/>
                <a:gd name="T73" fmla="*/ 145 h 223"/>
                <a:gd name="T74" fmla="*/ 41 w 147"/>
                <a:gd name="T75" fmla="*/ 157 h 223"/>
                <a:gd name="T76" fmla="*/ 34 w 147"/>
                <a:gd name="T77" fmla="*/ 132 h 223"/>
                <a:gd name="T78" fmla="*/ 19 w 147"/>
                <a:gd name="T79" fmla="*/ 113 h 223"/>
                <a:gd name="T80" fmla="*/ 12 w 147"/>
                <a:gd name="T81" fmla="*/ 95 h 223"/>
                <a:gd name="T82" fmla="*/ 9 w 147"/>
                <a:gd name="T83" fmla="*/ 76 h 223"/>
                <a:gd name="T84" fmla="*/ 9 w 147"/>
                <a:gd name="T85" fmla="*/ 69 h 223"/>
                <a:gd name="T86" fmla="*/ 12 w 147"/>
                <a:gd name="T87" fmla="*/ 51 h 223"/>
                <a:gd name="T88" fmla="*/ 19 w 147"/>
                <a:gd name="T89" fmla="*/ 39 h 223"/>
                <a:gd name="T90" fmla="*/ 27 w 147"/>
                <a:gd name="T91" fmla="*/ 29 h 223"/>
                <a:gd name="T92" fmla="*/ 39 w 147"/>
                <a:gd name="T93" fmla="*/ 19 h 223"/>
                <a:gd name="T94" fmla="*/ 51 w 147"/>
                <a:gd name="T95" fmla="*/ 15 h 223"/>
                <a:gd name="T96" fmla="*/ 63 w 147"/>
                <a:gd name="T97" fmla="*/ 10 h 223"/>
                <a:gd name="T98" fmla="*/ 73 w 147"/>
                <a:gd name="T99" fmla="*/ 10 h 223"/>
                <a:gd name="T100" fmla="*/ 83 w 147"/>
                <a:gd name="T101" fmla="*/ 10 h 223"/>
                <a:gd name="T102" fmla="*/ 95 w 147"/>
                <a:gd name="T103" fmla="*/ 15 h 223"/>
                <a:gd name="T104" fmla="*/ 105 w 147"/>
                <a:gd name="T105" fmla="*/ 19 h 223"/>
                <a:gd name="T106" fmla="*/ 117 w 147"/>
                <a:gd name="T107" fmla="*/ 29 h 223"/>
                <a:gd name="T108" fmla="*/ 125 w 147"/>
                <a:gd name="T109" fmla="*/ 39 h 223"/>
                <a:gd name="T110" fmla="*/ 132 w 147"/>
                <a:gd name="T111" fmla="*/ 51 h 223"/>
                <a:gd name="T112" fmla="*/ 137 w 147"/>
                <a:gd name="T113" fmla="*/ 64 h 223"/>
                <a:gd name="T114" fmla="*/ 137 w 147"/>
                <a:gd name="T115" fmla="*/ 7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223">
                  <a:moveTo>
                    <a:pt x="144" y="78"/>
                  </a:moveTo>
                  <a:lnTo>
                    <a:pt x="147" y="73"/>
                  </a:lnTo>
                  <a:lnTo>
                    <a:pt x="144" y="64"/>
                  </a:lnTo>
                  <a:lnTo>
                    <a:pt x="144" y="56"/>
                  </a:lnTo>
                  <a:lnTo>
                    <a:pt x="142" y="49"/>
                  </a:lnTo>
                  <a:lnTo>
                    <a:pt x="139" y="42"/>
                  </a:lnTo>
                  <a:lnTo>
                    <a:pt x="135" y="37"/>
                  </a:lnTo>
                  <a:lnTo>
                    <a:pt x="132" y="29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0" y="17"/>
                  </a:lnTo>
                  <a:lnTo>
                    <a:pt x="112" y="12"/>
                  </a:lnTo>
                  <a:lnTo>
                    <a:pt x="110" y="12"/>
                  </a:lnTo>
                  <a:lnTo>
                    <a:pt x="105" y="7"/>
                  </a:lnTo>
                  <a:lnTo>
                    <a:pt x="98" y="5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76" y="0"/>
                  </a:lnTo>
                  <a:lnTo>
                    <a:pt x="63" y="0"/>
                  </a:lnTo>
                  <a:lnTo>
                    <a:pt x="59" y="2"/>
                  </a:lnTo>
                  <a:lnTo>
                    <a:pt x="51" y="5"/>
                  </a:lnTo>
                  <a:lnTo>
                    <a:pt x="44" y="7"/>
                  </a:lnTo>
                  <a:lnTo>
                    <a:pt x="39" y="10"/>
                  </a:lnTo>
                  <a:lnTo>
                    <a:pt x="34" y="12"/>
                  </a:lnTo>
                  <a:lnTo>
                    <a:pt x="29" y="15"/>
                  </a:lnTo>
                  <a:lnTo>
                    <a:pt x="24" y="19"/>
                  </a:lnTo>
                  <a:lnTo>
                    <a:pt x="19" y="24"/>
                  </a:lnTo>
                  <a:lnTo>
                    <a:pt x="14" y="29"/>
                  </a:lnTo>
                  <a:lnTo>
                    <a:pt x="9" y="37"/>
                  </a:lnTo>
                  <a:lnTo>
                    <a:pt x="7" y="42"/>
                  </a:lnTo>
                  <a:lnTo>
                    <a:pt x="5" y="46"/>
                  </a:lnTo>
                  <a:lnTo>
                    <a:pt x="2" y="51"/>
                  </a:lnTo>
                  <a:lnTo>
                    <a:pt x="2" y="59"/>
                  </a:lnTo>
                  <a:lnTo>
                    <a:pt x="0" y="73"/>
                  </a:lnTo>
                  <a:lnTo>
                    <a:pt x="0" y="83"/>
                  </a:lnTo>
                  <a:lnTo>
                    <a:pt x="2" y="95"/>
                  </a:lnTo>
                  <a:lnTo>
                    <a:pt x="5" y="103"/>
                  </a:lnTo>
                  <a:lnTo>
                    <a:pt x="9" y="113"/>
                  </a:lnTo>
                  <a:lnTo>
                    <a:pt x="17" y="122"/>
                  </a:lnTo>
                  <a:lnTo>
                    <a:pt x="27" y="140"/>
                  </a:lnTo>
                  <a:lnTo>
                    <a:pt x="29" y="147"/>
                  </a:lnTo>
                  <a:lnTo>
                    <a:pt x="34" y="157"/>
                  </a:lnTo>
                  <a:lnTo>
                    <a:pt x="34" y="162"/>
                  </a:lnTo>
                  <a:lnTo>
                    <a:pt x="34" y="196"/>
                  </a:lnTo>
                  <a:lnTo>
                    <a:pt x="46" y="203"/>
                  </a:lnTo>
                  <a:lnTo>
                    <a:pt x="56" y="223"/>
                  </a:lnTo>
                  <a:lnTo>
                    <a:pt x="88" y="223"/>
                  </a:lnTo>
                  <a:lnTo>
                    <a:pt x="100" y="203"/>
                  </a:lnTo>
                  <a:lnTo>
                    <a:pt x="112" y="196"/>
                  </a:lnTo>
                  <a:lnTo>
                    <a:pt x="112" y="162"/>
                  </a:lnTo>
                  <a:lnTo>
                    <a:pt x="112" y="154"/>
                  </a:lnTo>
                  <a:lnTo>
                    <a:pt x="117" y="142"/>
                  </a:lnTo>
                  <a:lnTo>
                    <a:pt x="122" y="132"/>
                  </a:lnTo>
                  <a:lnTo>
                    <a:pt x="132" y="115"/>
                  </a:lnTo>
                  <a:lnTo>
                    <a:pt x="137" y="108"/>
                  </a:lnTo>
                  <a:lnTo>
                    <a:pt x="139" y="103"/>
                  </a:lnTo>
                  <a:lnTo>
                    <a:pt x="144" y="88"/>
                  </a:lnTo>
                  <a:lnTo>
                    <a:pt x="144" y="78"/>
                  </a:lnTo>
                  <a:close/>
                  <a:moveTo>
                    <a:pt x="103" y="191"/>
                  </a:moveTo>
                  <a:lnTo>
                    <a:pt x="93" y="196"/>
                  </a:lnTo>
                  <a:lnTo>
                    <a:pt x="83" y="213"/>
                  </a:lnTo>
                  <a:lnTo>
                    <a:pt x="61" y="213"/>
                  </a:lnTo>
                  <a:lnTo>
                    <a:pt x="51" y="196"/>
                  </a:lnTo>
                  <a:lnTo>
                    <a:pt x="44" y="191"/>
                  </a:lnTo>
                  <a:lnTo>
                    <a:pt x="44" y="167"/>
                  </a:lnTo>
                  <a:lnTo>
                    <a:pt x="103" y="167"/>
                  </a:lnTo>
                  <a:lnTo>
                    <a:pt x="103" y="191"/>
                  </a:lnTo>
                  <a:close/>
                  <a:moveTo>
                    <a:pt x="137" y="83"/>
                  </a:moveTo>
                  <a:lnTo>
                    <a:pt x="135" y="93"/>
                  </a:lnTo>
                  <a:lnTo>
                    <a:pt x="132" y="100"/>
                  </a:lnTo>
                  <a:lnTo>
                    <a:pt x="127" y="105"/>
                  </a:lnTo>
                  <a:lnTo>
                    <a:pt x="120" y="120"/>
                  </a:lnTo>
                  <a:lnTo>
                    <a:pt x="112" y="132"/>
                  </a:lnTo>
                  <a:lnTo>
                    <a:pt x="108" y="145"/>
                  </a:lnTo>
                  <a:lnTo>
                    <a:pt x="103" y="157"/>
                  </a:lnTo>
                  <a:lnTo>
                    <a:pt x="41" y="157"/>
                  </a:lnTo>
                  <a:lnTo>
                    <a:pt x="39" y="145"/>
                  </a:lnTo>
                  <a:lnTo>
                    <a:pt x="34" y="132"/>
                  </a:lnTo>
                  <a:lnTo>
                    <a:pt x="29" y="127"/>
                  </a:lnTo>
                  <a:lnTo>
                    <a:pt x="19" y="113"/>
                  </a:lnTo>
                  <a:lnTo>
                    <a:pt x="14" y="103"/>
                  </a:lnTo>
                  <a:lnTo>
                    <a:pt x="12" y="95"/>
                  </a:lnTo>
                  <a:lnTo>
                    <a:pt x="9" y="86"/>
                  </a:lnTo>
                  <a:lnTo>
                    <a:pt x="9" y="76"/>
                  </a:lnTo>
                  <a:lnTo>
                    <a:pt x="9" y="73"/>
                  </a:lnTo>
                  <a:lnTo>
                    <a:pt x="9" y="69"/>
                  </a:lnTo>
                  <a:lnTo>
                    <a:pt x="9" y="61"/>
                  </a:lnTo>
                  <a:lnTo>
                    <a:pt x="12" y="51"/>
                  </a:lnTo>
                  <a:lnTo>
                    <a:pt x="14" y="46"/>
                  </a:lnTo>
                  <a:lnTo>
                    <a:pt x="19" y="39"/>
                  </a:lnTo>
                  <a:lnTo>
                    <a:pt x="24" y="34"/>
                  </a:lnTo>
                  <a:lnTo>
                    <a:pt x="27" y="29"/>
                  </a:lnTo>
                  <a:lnTo>
                    <a:pt x="32" y="24"/>
                  </a:lnTo>
                  <a:lnTo>
                    <a:pt x="39" y="19"/>
                  </a:lnTo>
                  <a:lnTo>
                    <a:pt x="44" y="17"/>
                  </a:lnTo>
                  <a:lnTo>
                    <a:pt x="51" y="15"/>
                  </a:lnTo>
                  <a:lnTo>
                    <a:pt x="56" y="12"/>
                  </a:lnTo>
                  <a:lnTo>
                    <a:pt x="63" y="10"/>
                  </a:lnTo>
                  <a:lnTo>
                    <a:pt x="68" y="10"/>
                  </a:lnTo>
                  <a:lnTo>
                    <a:pt x="73" y="10"/>
                  </a:lnTo>
                  <a:lnTo>
                    <a:pt x="78" y="10"/>
                  </a:lnTo>
                  <a:lnTo>
                    <a:pt x="83" y="10"/>
                  </a:lnTo>
                  <a:lnTo>
                    <a:pt x="88" y="12"/>
                  </a:lnTo>
                  <a:lnTo>
                    <a:pt x="95" y="15"/>
                  </a:lnTo>
                  <a:lnTo>
                    <a:pt x="100" y="15"/>
                  </a:lnTo>
                  <a:lnTo>
                    <a:pt x="105" y="19"/>
                  </a:lnTo>
                  <a:lnTo>
                    <a:pt x="112" y="24"/>
                  </a:lnTo>
                  <a:lnTo>
                    <a:pt x="117" y="29"/>
                  </a:lnTo>
                  <a:lnTo>
                    <a:pt x="122" y="34"/>
                  </a:lnTo>
                  <a:lnTo>
                    <a:pt x="125" y="39"/>
                  </a:lnTo>
                  <a:lnTo>
                    <a:pt x="130" y="44"/>
                  </a:lnTo>
                  <a:lnTo>
                    <a:pt x="132" y="51"/>
                  </a:lnTo>
                  <a:lnTo>
                    <a:pt x="135" y="59"/>
                  </a:lnTo>
                  <a:lnTo>
                    <a:pt x="137" y="64"/>
                  </a:lnTo>
                  <a:lnTo>
                    <a:pt x="137" y="71"/>
                  </a:lnTo>
                  <a:lnTo>
                    <a:pt x="137" y="76"/>
                  </a:lnTo>
                  <a:lnTo>
                    <a:pt x="137" y="8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41">
              <a:extLst>
                <a:ext uri="{FF2B5EF4-FFF2-40B4-BE49-F238E27FC236}">
                  <a16:creationId xmlns:a16="http://schemas.microsoft.com/office/drawing/2014/main" id="{C9E65F88-443B-4CBF-B0A8-765CA2D7C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" y="1936"/>
              <a:ext cx="324" cy="201"/>
            </a:xfrm>
            <a:custGeom>
              <a:avLst/>
              <a:gdLst>
                <a:gd name="T0" fmla="*/ 324 w 324"/>
                <a:gd name="T1" fmla="*/ 157 h 201"/>
                <a:gd name="T2" fmla="*/ 319 w 324"/>
                <a:gd name="T3" fmla="*/ 150 h 201"/>
                <a:gd name="T4" fmla="*/ 270 w 324"/>
                <a:gd name="T5" fmla="*/ 125 h 201"/>
                <a:gd name="T6" fmla="*/ 268 w 324"/>
                <a:gd name="T7" fmla="*/ 123 h 201"/>
                <a:gd name="T8" fmla="*/ 290 w 324"/>
                <a:gd name="T9" fmla="*/ 59 h 201"/>
                <a:gd name="T10" fmla="*/ 287 w 324"/>
                <a:gd name="T11" fmla="*/ 52 h 201"/>
                <a:gd name="T12" fmla="*/ 280 w 324"/>
                <a:gd name="T13" fmla="*/ 47 h 201"/>
                <a:gd name="T14" fmla="*/ 275 w 324"/>
                <a:gd name="T15" fmla="*/ 47 h 201"/>
                <a:gd name="T16" fmla="*/ 209 w 324"/>
                <a:gd name="T17" fmla="*/ 57 h 201"/>
                <a:gd name="T18" fmla="*/ 174 w 324"/>
                <a:gd name="T19" fmla="*/ 5 h 201"/>
                <a:gd name="T20" fmla="*/ 167 w 324"/>
                <a:gd name="T21" fmla="*/ 0 h 201"/>
                <a:gd name="T22" fmla="*/ 157 w 324"/>
                <a:gd name="T23" fmla="*/ 5 h 201"/>
                <a:gd name="T24" fmla="*/ 113 w 324"/>
                <a:gd name="T25" fmla="*/ 57 h 201"/>
                <a:gd name="T26" fmla="*/ 45 w 324"/>
                <a:gd name="T27" fmla="*/ 37 h 201"/>
                <a:gd name="T28" fmla="*/ 35 w 324"/>
                <a:gd name="T29" fmla="*/ 39 h 201"/>
                <a:gd name="T30" fmla="*/ 30 w 324"/>
                <a:gd name="T31" fmla="*/ 47 h 201"/>
                <a:gd name="T32" fmla="*/ 32 w 324"/>
                <a:gd name="T33" fmla="*/ 54 h 201"/>
                <a:gd name="T34" fmla="*/ 54 w 324"/>
                <a:gd name="T35" fmla="*/ 128 h 201"/>
                <a:gd name="T36" fmla="*/ 3 w 324"/>
                <a:gd name="T37" fmla="*/ 160 h 201"/>
                <a:gd name="T38" fmla="*/ 0 w 324"/>
                <a:gd name="T39" fmla="*/ 165 h 201"/>
                <a:gd name="T40" fmla="*/ 0 w 324"/>
                <a:gd name="T41" fmla="*/ 172 h 201"/>
                <a:gd name="T42" fmla="*/ 8 w 324"/>
                <a:gd name="T43" fmla="*/ 179 h 201"/>
                <a:gd name="T44" fmla="*/ 54 w 324"/>
                <a:gd name="T45" fmla="*/ 194 h 201"/>
                <a:gd name="T46" fmla="*/ 10 w 324"/>
                <a:gd name="T47" fmla="*/ 169 h 201"/>
                <a:gd name="T48" fmla="*/ 10 w 324"/>
                <a:gd name="T49" fmla="*/ 165 h 201"/>
                <a:gd name="T50" fmla="*/ 59 w 324"/>
                <a:gd name="T51" fmla="*/ 135 h 201"/>
                <a:gd name="T52" fmla="*/ 64 w 324"/>
                <a:gd name="T53" fmla="*/ 128 h 201"/>
                <a:gd name="T54" fmla="*/ 64 w 324"/>
                <a:gd name="T55" fmla="*/ 120 h 201"/>
                <a:gd name="T56" fmla="*/ 42 w 324"/>
                <a:gd name="T57" fmla="*/ 44 h 201"/>
                <a:gd name="T58" fmla="*/ 45 w 324"/>
                <a:gd name="T59" fmla="*/ 44 h 201"/>
                <a:gd name="T60" fmla="*/ 113 w 324"/>
                <a:gd name="T61" fmla="*/ 64 h 201"/>
                <a:gd name="T62" fmla="*/ 123 w 324"/>
                <a:gd name="T63" fmla="*/ 62 h 201"/>
                <a:gd name="T64" fmla="*/ 165 w 324"/>
                <a:gd name="T65" fmla="*/ 10 h 201"/>
                <a:gd name="T66" fmla="*/ 167 w 324"/>
                <a:gd name="T67" fmla="*/ 10 h 201"/>
                <a:gd name="T68" fmla="*/ 201 w 324"/>
                <a:gd name="T69" fmla="*/ 62 h 201"/>
                <a:gd name="T70" fmla="*/ 211 w 324"/>
                <a:gd name="T71" fmla="*/ 66 h 201"/>
                <a:gd name="T72" fmla="*/ 277 w 324"/>
                <a:gd name="T73" fmla="*/ 54 h 201"/>
                <a:gd name="T74" fmla="*/ 280 w 324"/>
                <a:gd name="T75" fmla="*/ 59 h 201"/>
                <a:gd name="T76" fmla="*/ 280 w 324"/>
                <a:gd name="T77" fmla="*/ 59 h 201"/>
                <a:gd name="T78" fmla="*/ 260 w 324"/>
                <a:gd name="T79" fmla="*/ 125 h 201"/>
                <a:gd name="T80" fmla="*/ 263 w 324"/>
                <a:gd name="T81" fmla="*/ 130 h 201"/>
                <a:gd name="T82" fmla="*/ 265 w 324"/>
                <a:gd name="T83" fmla="*/ 133 h 201"/>
                <a:gd name="T84" fmla="*/ 317 w 324"/>
                <a:gd name="T85" fmla="*/ 160 h 201"/>
                <a:gd name="T86" fmla="*/ 314 w 324"/>
                <a:gd name="T87" fmla="*/ 162 h 201"/>
                <a:gd name="T88" fmla="*/ 277 w 324"/>
                <a:gd name="T89" fmla="*/ 201 h 201"/>
                <a:gd name="T90" fmla="*/ 324 w 324"/>
                <a:gd name="T91" fmla="*/ 167 h 201"/>
                <a:gd name="T92" fmla="*/ 324 w 324"/>
                <a:gd name="T93" fmla="*/ 16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4" h="201">
                  <a:moveTo>
                    <a:pt x="324" y="162"/>
                  </a:moveTo>
                  <a:lnTo>
                    <a:pt x="324" y="157"/>
                  </a:lnTo>
                  <a:lnTo>
                    <a:pt x="322" y="152"/>
                  </a:lnTo>
                  <a:lnTo>
                    <a:pt x="319" y="150"/>
                  </a:lnTo>
                  <a:lnTo>
                    <a:pt x="317" y="150"/>
                  </a:lnTo>
                  <a:lnTo>
                    <a:pt x="270" y="125"/>
                  </a:lnTo>
                  <a:lnTo>
                    <a:pt x="268" y="123"/>
                  </a:lnTo>
                  <a:lnTo>
                    <a:pt x="268" y="123"/>
                  </a:lnTo>
                  <a:lnTo>
                    <a:pt x="268" y="120"/>
                  </a:lnTo>
                  <a:lnTo>
                    <a:pt x="290" y="59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2" y="47"/>
                  </a:lnTo>
                  <a:lnTo>
                    <a:pt x="280" y="47"/>
                  </a:lnTo>
                  <a:lnTo>
                    <a:pt x="277" y="47"/>
                  </a:lnTo>
                  <a:lnTo>
                    <a:pt x="275" y="47"/>
                  </a:lnTo>
                  <a:lnTo>
                    <a:pt x="211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174" y="5"/>
                  </a:lnTo>
                  <a:lnTo>
                    <a:pt x="172" y="3"/>
                  </a:lnTo>
                  <a:lnTo>
                    <a:pt x="167" y="0"/>
                  </a:lnTo>
                  <a:lnTo>
                    <a:pt x="162" y="3"/>
                  </a:lnTo>
                  <a:lnTo>
                    <a:pt x="157" y="5"/>
                  </a:lnTo>
                  <a:lnTo>
                    <a:pt x="116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45" y="37"/>
                  </a:lnTo>
                  <a:lnTo>
                    <a:pt x="40" y="37"/>
                  </a:lnTo>
                  <a:lnTo>
                    <a:pt x="35" y="39"/>
                  </a:lnTo>
                  <a:lnTo>
                    <a:pt x="32" y="42"/>
                  </a:lnTo>
                  <a:lnTo>
                    <a:pt x="30" y="47"/>
                  </a:lnTo>
                  <a:lnTo>
                    <a:pt x="30" y="49"/>
                  </a:lnTo>
                  <a:lnTo>
                    <a:pt x="32" y="54"/>
                  </a:lnTo>
                  <a:lnTo>
                    <a:pt x="54" y="125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3" y="160"/>
                  </a:lnTo>
                  <a:lnTo>
                    <a:pt x="0" y="162"/>
                  </a:lnTo>
                  <a:lnTo>
                    <a:pt x="0" y="165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3" y="177"/>
                  </a:lnTo>
                  <a:lnTo>
                    <a:pt x="8" y="179"/>
                  </a:lnTo>
                  <a:lnTo>
                    <a:pt x="52" y="201"/>
                  </a:lnTo>
                  <a:lnTo>
                    <a:pt x="54" y="194"/>
                  </a:lnTo>
                  <a:lnTo>
                    <a:pt x="10" y="172"/>
                  </a:lnTo>
                  <a:lnTo>
                    <a:pt x="10" y="169"/>
                  </a:lnTo>
                  <a:lnTo>
                    <a:pt x="8" y="167"/>
                  </a:lnTo>
                  <a:lnTo>
                    <a:pt x="10" y="165"/>
                  </a:lnTo>
                  <a:lnTo>
                    <a:pt x="10" y="165"/>
                  </a:lnTo>
                  <a:lnTo>
                    <a:pt x="59" y="135"/>
                  </a:lnTo>
                  <a:lnTo>
                    <a:pt x="62" y="133"/>
                  </a:lnTo>
                  <a:lnTo>
                    <a:pt x="64" y="128"/>
                  </a:lnTo>
                  <a:lnTo>
                    <a:pt x="64" y="125"/>
                  </a:lnTo>
                  <a:lnTo>
                    <a:pt x="64" y="120"/>
                  </a:lnTo>
                  <a:lnTo>
                    <a:pt x="40" y="47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5" y="44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8" y="64"/>
                  </a:lnTo>
                  <a:lnTo>
                    <a:pt x="123" y="62"/>
                  </a:lnTo>
                  <a:lnTo>
                    <a:pt x="123" y="62"/>
                  </a:lnTo>
                  <a:lnTo>
                    <a:pt x="165" y="10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70" y="13"/>
                  </a:lnTo>
                  <a:lnTo>
                    <a:pt x="201" y="62"/>
                  </a:lnTo>
                  <a:lnTo>
                    <a:pt x="206" y="64"/>
                  </a:lnTo>
                  <a:lnTo>
                    <a:pt x="211" y="66"/>
                  </a:lnTo>
                  <a:lnTo>
                    <a:pt x="214" y="66"/>
                  </a:lnTo>
                  <a:lnTo>
                    <a:pt x="277" y="54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59"/>
                  </a:lnTo>
                  <a:lnTo>
                    <a:pt x="280" y="59"/>
                  </a:lnTo>
                  <a:lnTo>
                    <a:pt x="260" y="123"/>
                  </a:lnTo>
                  <a:lnTo>
                    <a:pt x="260" y="125"/>
                  </a:lnTo>
                  <a:lnTo>
                    <a:pt x="260" y="128"/>
                  </a:lnTo>
                  <a:lnTo>
                    <a:pt x="263" y="130"/>
                  </a:lnTo>
                  <a:lnTo>
                    <a:pt x="265" y="133"/>
                  </a:lnTo>
                  <a:lnTo>
                    <a:pt x="265" y="133"/>
                  </a:lnTo>
                  <a:lnTo>
                    <a:pt x="314" y="157"/>
                  </a:lnTo>
                  <a:lnTo>
                    <a:pt x="317" y="160"/>
                  </a:lnTo>
                  <a:lnTo>
                    <a:pt x="317" y="162"/>
                  </a:lnTo>
                  <a:lnTo>
                    <a:pt x="314" y="162"/>
                  </a:lnTo>
                  <a:lnTo>
                    <a:pt x="273" y="194"/>
                  </a:lnTo>
                  <a:lnTo>
                    <a:pt x="277" y="201"/>
                  </a:lnTo>
                  <a:lnTo>
                    <a:pt x="322" y="169"/>
                  </a:lnTo>
                  <a:lnTo>
                    <a:pt x="324" y="167"/>
                  </a:lnTo>
                  <a:lnTo>
                    <a:pt x="324" y="162"/>
                  </a:lnTo>
                  <a:lnTo>
                    <a:pt x="324" y="16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2">
              <a:extLst>
                <a:ext uri="{FF2B5EF4-FFF2-40B4-BE49-F238E27FC236}">
                  <a16:creationId xmlns:a16="http://schemas.microsoft.com/office/drawing/2014/main" id="{316679FB-8ED0-424D-A041-B6D396BCA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1" y="2064"/>
              <a:ext cx="41" cy="49"/>
            </a:xfrm>
            <a:custGeom>
              <a:avLst/>
              <a:gdLst>
                <a:gd name="T0" fmla="*/ 29 w 41"/>
                <a:gd name="T1" fmla="*/ 44 h 49"/>
                <a:gd name="T2" fmla="*/ 34 w 41"/>
                <a:gd name="T3" fmla="*/ 39 h 49"/>
                <a:gd name="T4" fmla="*/ 36 w 41"/>
                <a:gd name="T5" fmla="*/ 34 h 49"/>
                <a:gd name="T6" fmla="*/ 39 w 41"/>
                <a:gd name="T7" fmla="*/ 29 h 49"/>
                <a:gd name="T8" fmla="*/ 41 w 41"/>
                <a:gd name="T9" fmla="*/ 27 h 49"/>
                <a:gd name="T10" fmla="*/ 41 w 41"/>
                <a:gd name="T11" fmla="*/ 22 h 49"/>
                <a:gd name="T12" fmla="*/ 41 w 41"/>
                <a:gd name="T13" fmla="*/ 17 h 49"/>
                <a:gd name="T14" fmla="*/ 41 w 41"/>
                <a:gd name="T15" fmla="*/ 12 h 49"/>
                <a:gd name="T16" fmla="*/ 39 w 41"/>
                <a:gd name="T17" fmla="*/ 7 h 49"/>
                <a:gd name="T18" fmla="*/ 36 w 41"/>
                <a:gd name="T19" fmla="*/ 5 h 49"/>
                <a:gd name="T20" fmla="*/ 34 w 41"/>
                <a:gd name="T21" fmla="*/ 2 h 49"/>
                <a:gd name="T22" fmla="*/ 32 w 41"/>
                <a:gd name="T23" fmla="*/ 0 h 49"/>
                <a:gd name="T24" fmla="*/ 27 w 41"/>
                <a:gd name="T25" fmla="*/ 0 h 49"/>
                <a:gd name="T26" fmla="*/ 27 w 41"/>
                <a:gd name="T27" fmla="*/ 0 h 49"/>
                <a:gd name="T28" fmla="*/ 22 w 41"/>
                <a:gd name="T29" fmla="*/ 2 h 49"/>
                <a:gd name="T30" fmla="*/ 14 w 41"/>
                <a:gd name="T31" fmla="*/ 5 h 49"/>
                <a:gd name="T32" fmla="*/ 12 w 41"/>
                <a:gd name="T33" fmla="*/ 7 h 49"/>
                <a:gd name="T34" fmla="*/ 7 w 41"/>
                <a:gd name="T35" fmla="*/ 12 h 49"/>
                <a:gd name="T36" fmla="*/ 5 w 41"/>
                <a:gd name="T37" fmla="*/ 17 h 49"/>
                <a:gd name="T38" fmla="*/ 2 w 41"/>
                <a:gd name="T39" fmla="*/ 19 h 49"/>
                <a:gd name="T40" fmla="*/ 2 w 41"/>
                <a:gd name="T41" fmla="*/ 24 h 49"/>
                <a:gd name="T42" fmla="*/ 0 w 41"/>
                <a:gd name="T43" fmla="*/ 29 h 49"/>
                <a:gd name="T44" fmla="*/ 0 w 41"/>
                <a:gd name="T45" fmla="*/ 32 h 49"/>
                <a:gd name="T46" fmla="*/ 0 w 41"/>
                <a:gd name="T47" fmla="*/ 39 h 49"/>
                <a:gd name="T48" fmla="*/ 2 w 41"/>
                <a:gd name="T49" fmla="*/ 41 h 49"/>
                <a:gd name="T50" fmla="*/ 7 w 41"/>
                <a:gd name="T51" fmla="*/ 46 h 49"/>
                <a:gd name="T52" fmla="*/ 7 w 41"/>
                <a:gd name="T53" fmla="*/ 49 h 49"/>
                <a:gd name="T54" fmla="*/ 12 w 41"/>
                <a:gd name="T55" fmla="*/ 49 h 49"/>
                <a:gd name="T56" fmla="*/ 14 w 41"/>
                <a:gd name="T57" fmla="*/ 49 h 49"/>
                <a:gd name="T58" fmla="*/ 17 w 41"/>
                <a:gd name="T59" fmla="*/ 49 h 49"/>
                <a:gd name="T60" fmla="*/ 22 w 41"/>
                <a:gd name="T61" fmla="*/ 49 h 49"/>
                <a:gd name="T62" fmla="*/ 24 w 41"/>
                <a:gd name="T63" fmla="*/ 46 h 49"/>
                <a:gd name="T64" fmla="*/ 29 w 41"/>
                <a:gd name="T65" fmla="*/ 44 h 49"/>
                <a:gd name="T66" fmla="*/ 22 w 41"/>
                <a:gd name="T67" fmla="*/ 39 h 49"/>
                <a:gd name="T68" fmla="*/ 19 w 41"/>
                <a:gd name="T69" fmla="*/ 39 h 49"/>
                <a:gd name="T70" fmla="*/ 17 w 41"/>
                <a:gd name="T71" fmla="*/ 41 h 49"/>
                <a:gd name="T72" fmla="*/ 14 w 41"/>
                <a:gd name="T73" fmla="*/ 41 h 49"/>
                <a:gd name="T74" fmla="*/ 14 w 41"/>
                <a:gd name="T75" fmla="*/ 39 h 49"/>
                <a:gd name="T76" fmla="*/ 12 w 41"/>
                <a:gd name="T77" fmla="*/ 39 h 49"/>
                <a:gd name="T78" fmla="*/ 9 w 41"/>
                <a:gd name="T79" fmla="*/ 37 h 49"/>
                <a:gd name="T80" fmla="*/ 9 w 41"/>
                <a:gd name="T81" fmla="*/ 34 h 49"/>
                <a:gd name="T82" fmla="*/ 9 w 41"/>
                <a:gd name="T83" fmla="*/ 32 h 49"/>
                <a:gd name="T84" fmla="*/ 9 w 41"/>
                <a:gd name="T85" fmla="*/ 27 h 49"/>
                <a:gd name="T86" fmla="*/ 12 w 41"/>
                <a:gd name="T87" fmla="*/ 19 h 49"/>
                <a:gd name="T88" fmla="*/ 17 w 41"/>
                <a:gd name="T89" fmla="*/ 14 h 49"/>
                <a:gd name="T90" fmla="*/ 22 w 41"/>
                <a:gd name="T91" fmla="*/ 12 h 49"/>
                <a:gd name="T92" fmla="*/ 24 w 41"/>
                <a:gd name="T93" fmla="*/ 10 h 49"/>
                <a:gd name="T94" fmla="*/ 27 w 41"/>
                <a:gd name="T95" fmla="*/ 10 h 49"/>
                <a:gd name="T96" fmla="*/ 29 w 41"/>
                <a:gd name="T97" fmla="*/ 10 h 49"/>
                <a:gd name="T98" fmla="*/ 32 w 41"/>
                <a:gd name="T99" fmla="*/ 12 h 49"/>
                <a:gd name="T100" fmla="*/ 34 w 41"/>
                <a:gd name="T101" fmla="*/ 14 h 49"/>
                <a:gd name="T102" fmla="*/ 34 w 41"/>
                <a:gd name="T103" fmla="*/ 19 h 49"/>
                <a:gd name="T104" fmla="*/ 34 w 41"/>
                <a:gd name="T105" fmla="*/ 22 h 49"/>
                <a:gd name="T106" fmla="*/ 32 w 41"/>
                <a:gd name="T107" fmla="*/ 27 h 49"/>
                <a:gd name="T108" fmla="*/ 29 w 41"/>
                <a:gd name="T109" fmla="*/ 32 h 49"/>
                <a:gd name="T110" fmla="*/ 24 w 41"/>
                <a:gd name="T111" fmla="*/ 37 h 49"/>
                <a:gd name="T112" fmla="*/ 22 w 41"/>
                <a:gd name="T11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" h="49">
                  <a:moveTo>
                    <a:pt x="29" y="44"/>
                  </a:moveTo>
                  <a:lnTo>
                    <a:pt x="34" y="39"/>
                  </a:lnTo>
                  <a:lnTo>
                    <a:pt x="36" y="34"/>
                  </a:lnTo>
                  <a:lnTo>
                    <a:pt x="39" y="29"/>
                  </a:lnTo>
                  <a:lnTo>
                    <a:pt x="41" y="27"/>
                  </a:lnTo>
                  <a:lnTo>
                    <a:pt x="41" y="22"/>
                  </a:lnTo>
                  <a:lnTo>
                    <a:pt x="41" y="17"/>
                  </a:lnTo>
                  <a:lnTo>
                    <a:pt x="41" y="12"/>
                  </a:lnTo>
                  <a:lnTo>
                    <a:pt x="39" y="7"/>
                  </a:lnTo>
                  <a:lnTo>
                    <a:pt x="36" y="5"/>
                  </a:lnTo>
                  <a:lnTo>
                    <a:pt x="34" y="2"/>
                  </a:lnTo>
                  <a:lnTo>
                    <a:pt x="32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4" y="5"/>
                  </a:lnTo>
                  <a:lnTo>
                    <a:pt x="12" y="7"/>
                  </a:lnTo>
                  <a:lnTo>
                    <a:pt x="7" y="12"/>
                  </a:lnTo>
                  <a:lnTo>
                    <a:pt x="5" y="17"/>
                  </a:lnTo>
                  <a:lnTo>
                    <a:pt x="2" y="19"/>
                  </a:lnTo>
                  <a:lnTo>
                    <a:pt x="2" y="24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0" y="39"/>
                  </a:lnTo>
                  <a:lnTo>
                    <a:pt x="2" y="41"/>
                  </a:lnTo>
                  <a:lnTo>
                    <a:pt x="7" y="46"/>
                  </a:lnTo>
                  <a:lnTo>
                    <a:pt x="7" y="49"/>
                  </a:lnTo>
                  <a:lnTo>
                    <a:pt x="12" y="49"/>
                  </a:lnTo>
                  <a:lnTo>
                    <a:pt x="14" y="49"/>
                  </a:lnTo>
                  <a:lnTo>
                    <a:pt x="17" y="49"/>
                  </a:lnTo>
                  <a:lnTo>
                    <a:pt x="22" y="49"/>
                  </a:lnTo>
                  <a:lnTo>
                    <a:pt x="24" y="46"/>
                  </a:lnTo>
                  <a:lnTo>
                    <a:pt x="29" y="44"/>
                  </a:lnTo>
                  <a:close/>
                  <a:moveTo>
                    <a:pt x="22" y="39"/>
                  </a:moveTo>
                  <a:lnTo>
                    <a:pt x="19" y="39"/>
                  </a:lnTo>
                  <a:lnTo>
                    <a:pt x="17" y="41"/>
                  </a:lnTo>
                  <a:lnTo>
                    <a:pt x="14" y="41"/>
                  </a:lnTo>
                  <a:lnTo>
                    <a:pt x="14" y="39"/>
                  </a:lnTo>
                  <a:lnTo>
                    <a:pt x="12" y="39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27"/>
                  </a:lnTo>
                  <a:lnTo>
                    <a:pt x="12" y="19"/>
                  </a:lnTo>
                  <a:lnTo>
                    <a:pt x="17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9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9"/>
                  </a:lnTo>
                  <a:lnTo>
                    <a:pt x="34" y="22"/>
                  </a:lnTo>
                  <a:lnTo>
                    <a:pt x="32" y="27"/>
                  </a:lnTo>
                  <a:lnTo>
                    <a:pt x="29" y="32"/>
                  </a:lnTo>
                  <a:lnTo>
                    <a:pt x="24" y="37"/>
                  </a:lnTo>
                  <a:lnTo>
                    <a:pt x="22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143">
              <a:extLst>
                <a:ext uri="{FF2B5EF4-FFF2-40B4-BE49-F238E27FC236}">
                  <a16:creationId xmlns:a16="http://schemas.microsoft.com/office/drawing/2014/main" id="{4A865243-C11F-48B8-AFC3-1CB580018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20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Rectangle 144">
              <a:extLst>
                <a:ext uri="{FF2B5EF4-FFF2-40B4-BE49-F238E27FC236}">
                  <a16:creationId xmlns:a16="http://schemas.microsoft.com/office/drawing/2014/main" id="{C3E2AD97-54D9-4240-BDCA-1ACA195FB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206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5" name="Group 147">
            <a:extLst>
              <a:ext uri="{FF2B5EF4-FFF2-40B4-BE49-F238E27FC236}">
                <a16:creationId xmlns:a16="http://schemas.microsoft.com/office/drawing/2014/main" id="{B514426C-6C01-4840-AA5F-F6A9683E7E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1637" y="2818950"/>
            <a:ext cx="841375" cy="841375"/>
            <a:chOff x="294" y="1867"/>
            <a:chExt cx="530" cy="530"/>
          </a:xfrm>
        </p:grpSpPr>
        <p:sp>
          <p:nvSpPr>
            <p:cNvPr id="166" name="AutoShape 146">
              <a:extLst>
                <a:ext uri="{FF2B5EF4-FFF2-40B4-BE49-F238E27FC236}">
                  <a16:creationId xmlns:a16="http://schemas.microsoft.com/office/drawing/2014/main" id="{CD8EF29F-3DB0-4CA0-8617-E9BC7B9C18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4" y="18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148">
              <a:extLst>
                <a:ext uri="{FF2B5EF4-FFF2-40B4-BE49-F238E27FC236}">
                  <a16:creationId xmlns:a16="http://schemas.microsoft.com/office/drawing/2014/main" id="{8306BD6B-D068-4B83-99E4-249ABAF42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" y="18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9">
              <a:extLst>
                <a:ext uri="{FF2B5EF4-FFF2-40B4-BE49-F238E27FC236}">
                  <a16:creationId xmlns:a16="http://schemas.microsoft.com/office/drawing/2014/main" id="{D684B8D8-FBFD-4A6D-95E9-7CB44BA5B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" y="18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0">
              <a:extLst>
                <a:ext uri="{FF2B5EF4-FFF2-40B4-BE49-F238E27FC236}">
                  <a16:creationId xmlns:a16="http://schemas.microsoft.com/office/drawing/2014/main" id="{0AB324C3-48E9-4ED2-A70A-F8CAFB6D33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" y="2046"/>
              <a:ext cx="154" cy="233"/>
            </a:xfrm>
            <a:custGeom>
              <a:avLst/>
              <a:gdLst>
                <a:gd name="T0" fmla="*/ 154 w 154"/>
                <a:gd name="T1" fmla="*/ 77 h 233"/>
                <a:gd name="T2" fmla="*/ 151 w 154"/>
                <a:gd name="T3" fmla="*/ 59 h 233"/>
                <a:gd name="T4" fmla="*/ 146 w 154"/>
                <a:gd name="T5" fmla="*/ 44 h 233"/>
                <a:gd name="T6" fmla="*/ 139 w 154"/>
                <a:gd name="T7" fmla="*/ 31 h 233"/>
                <a:gd name="T8" fmla="*/ 131 w 154"/>
                <a:gd name="T9" fmla="*/ 23 h 233"/>
                <a:gd name="T10" fmla="*/ 118 w 154"/>
                <a:gd name="T11" fmla="*/ 13 h 233"/>
                <a:gd name="T12" fmla="*/ 110 w 154"/>
                <a:gd name="T13" fmla="*/ 8 h 233"/>
                <a:gd name="T14" fmla="*/ 95 w 154"/>
                <a:gd name="T15" fmla="*/ 3 h 233"/>
                <a:gd name="T16" fmla="*/ 80 w 154"/>
                <a:gd name="T17" fmla="*/ 0 h 233"/>
                <a:gd name="T18" fmla="*/ 62 w 154"/>
                <a:gd name="T19" fmla="*/ 3 h 233"/>
                <a:gd name="T20" fmla="*/ 46 w 154"/>
                <a:gd name="T21" fmla="*/ 8 h 233"/>
                <a:gd name="T22" fmla="*/ 36 w 154"/>
                <a:gd name="T23" fmla="*/ 13 h 233"/>
                <a:gd name="T24" fmla="*/ 26 w 154"/>
                <a:gd name="T25" fmla="*/ 21 h 233"/>
                <a:gd name="T26" fmla="*/ 16 w 154"/>
                <a:gd name="T27" fmla="*/ 31 h 233"/>
                <a:gd name="T28" fmla="*/ 8 w 154"/>
                <a:gd name="T29" fmla="*/ 44 h 233"/>
                <a:gd name="T30" fmla="*/ 3 w 154"/>
                <a:gd name="T31" fmla="*/ 54 h 233"/>
                <a:gd name="T32" fmla="*/ 0 w 154"/>
                <a:gd name="T33" fmla="*/ 77 h 233"/>
                <a:gd name="T34" fmla="*/ 3 w 154"/>
                <a:gd name="T35" fmla="*/ 100 h 233"/>
                <a:gd name="T36" fmla="*/ 11 w 154"/>
                <a:gd name="T37" fmla="*/ 118 h 233"/>
                <a:gd name="T38" fmla="*/ 29 w 154"/>
                <a:gd name="T39" fmla="*/ 146 h 233"/>
                <a:gd name="T40" fmla="*/ 36 w 154"/>
                <a:gd name="T41" fmla="*/ 164 h 233"/>
                <a:gd name="T42" fmla="*/ 36 w 154"/>
                <a:gd name="T43" fmla="*/ 205 h 233"/>
                <a:gd name="T44" fmla="*/ 59 w 154"/>
                <a:gd name="T45" fmla="*/ 233 h 233"/>
                <a:gd name="T46" fmla="*/ 105 w 154"/>
                <a:gd name="T47" fmla="*/ 213 h 233"/>
                <a:gd name="T48" fmla="*/ 118 w 154"/>
                <a:gd name="T49" fmla="*/ 169 h 233"/>
                <a:gd name="T50" fmla="*/ 123 w 154"/>
                <a:gd name="T51" fmla="*/ 149 h 233"/>
                <a:gd name="T52" fmla="*/ 139 w 154"/>
                <a:gd name="T53" fmla="*/ 120 h 233"/>
                <a:gd name="T54" fmla="*/ 146 w 154"/>
                <a:gd name="T55" fmla="*/ 108 h 233"/>
                <a:gd name="T56" fmla="*/ 151 w 154"/>
                <a:gd name="T57" fmla="*/ 82 h 233"/>
                <a:gd name="T58" fmla="*/ 98 w 154"/>
                <a:gd name="T59" fmla="*/ 205 h 233"/>
                <a:gd name="T60" fmla="*/ 64 w 154"/>
                <a:gd name="T61" fmla="*/ 223 h 233"/>
                <a:gd name="T62" fmla="*/ 46 w 154"/>
                <a:gd name="T63" fmla="*/ 200 h 233"/>
                <a:gd name="T64" fmla="*/ 108 w 154"/>
                <a:gd name="T65" fmla="*/ 174 h 233"/>
                <a:gd name="T66" fmla="*/ 144 w 154"/>
                <a:gd name="T67" fmla="*/ 87 h 233"/>
                <a:gd name="T68" fmla="*/ 139 w 154"/>
                <a:gd name="T69" fmla="*/ 105 h 233"/>
                <a:gd name="T70" fmla="*/ 126 w 154"/>
                <a:gd name="T71" fmla="*/ 126 h 233"/>
                <a:gd name="T72" fmla="*/ 113 w 154"/>
                <a:gd name="T73" fmla="*/ 151 h 233"/>
                <a:gd name="T74" fmla="*/ 44 w 154"/>
                <a:gd name="T75" fmla="*/ 164 h 233"/>
                <a:gd name="T76" fmla="*/ 36 w 154"/>
                <a:gd name="T77" fmla="*/ 138 h 233"/>
                <a:gd name="T78" fmla="*/ 21 w 154"/>
                <a:gd name="T79" fmla="*/ 118 h 233"/>
                <a:gd name="T80" fmla="*/ 13 w 154"/>
                <a:gd name="T81" fmla="*/ 100 h 233"/>
                <a:gd name="T82" fmla="*/ 11 w 154"/>
                <a:gd name="T83" fmla="*/ 79 h 233"/>
                <a:gd name="T84" fmla="*/ 11 w 154"/>
                <a:gd name="T85" fmla="*/ 72 h 233"/>
                <a:gd name="T86" fmla="*/ 13 w 154"/>
                <a:gd name="T87" fmla="*/ 54 h 233"/>
                <a:gd name="T88" fmla="*/ 21 w 154"/>
                <a:gd name="T89" fmla="*/ 41 h 233"/>
                <a:gd name="T90" fmla="*/ 29 w 154"/>
                <a:gd name="T91" fmla="*/ 31 h 233"/>
                <a:gd name="T92" fmla="*/ 41 w 154"/>
                <a:gd name="T93" fmla="*/ 21 h 233"/>
                <a:gd name="T94" fmla="*/ 54 w 154"/>
                <a:gd name="T95" fmla="*/ 15 h 233"/>
                <a:gd name="T96" fmla="*/ 67 w 154"/>
                <a:gd name="T97" fmla="*/ 10 h 233"/>
                <a:gd name="T98" fmla="*/ 77 w 154"/>
                <a:gd name="T99" fmla="*/ 10 h 233"/>
                <a:gd name="T100" fmla="*/ 87 w 154"/>
                <a:gd name="T101" fmla="*/ 10 h 233"/>
                <a:gd name="T102" fmla="*/ 100 w 154"/>
                <a:gd name="T103" fmla="*/ 15 h 233"/>
                <a:gd name="T104" fmla="*/ 110 w 154"/>
                <a:gd name="T105" fmla="*/ 21 h 233"/>
                <a:gd name="T106" fmla="*/ 123 w 154"/>
                <a:gd name="T107" fmla="*/ 31 h 233"/>
                <a:gd name="T108" fmla="*/ 131 w 154"/>
                <a:gd name="T109" fmla="*/ 41 h 233"/>
                <a:gd name="T110" fmla="*/ 139 w 154"/>
                <a:gd name="T111" fmla="*/ 54 h 233"/>
                <a:gd name="T112" fmla="*/ 144 w 154"/>
                <a:gd name="T113" fmla="*/ 67 h 233"/>
                <a:gd name="T114" fmla="*/ 144 w 154"/>
                <a:gd name="T115" fmla="*/ 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4" h="233">
                  <a:moveTo>
                    <a:pt x="151" y="82"/>
                  </a:moveTo>
                  <a:lnTo>
                    <a:pt x="154" y="77"/>
                  </a:lnTo>
                  <a:lnTo>
                    <a:pt x="151" y="67"/>
                  </a:lnTo>
                  <a:lnTo>
                    <a:pt x="151" y="59"/>
                  </a:lnTo>
                  <a:lnTo>
                    <a:pt x="149" y="51"/>
                  </a:lnTo>
                  <a:lnTo>
                    <a:pt x="146" y="44"/>
                  </a:lnTo>
                  <a:lnTo>
                    <a:pt x="141" y="39"/>
                  </a:lnTo>
                  <a:lnTo>
                    <a:pt x="139" y="31"/>
                  </a:lnTo>
                  <a:lnTo>
                    <a:pt x="134" y="26"/>
                  </a:lnTo>
                  <a:lnTo>
                    <a:pt x="131" y="23"/>
                  </a:lnTo>
                  <a:lnTo>
                    <a:pt x="126" y="18"/>
                  </a:lnTo>
                  <a:lnTo>
                    <a:pt x="118" y="13"/>
                  </a:lnTo>
                  <a:lnTo>
                    <a:pt x="116" y="13"/>
                  </a:lnTo>
                  <a:lnTo>
                    <a:pt x="110" y="8"/>
                  </a:lnTo>
                  <a:lnTo>
                    <a:pt x="103" y="5"/>
                  </a:lnTo>
                  <a:lnTo>
                    <a:pt x="95" y="3"/>
                  </a:lnTo>
                  <a:lnTo>
                    <a:pt x="93" y="3"/>
                  </a:lnTo>
                  <a:lnTo>
                    <a:pt x="80" y="0"/>
                  </a:lnTo>
                  <a:lnTo>
                    <a:pt x="67" y="0"/>
                  </a:lnTo>
                  <a:lnTo>
                    <a:pt x="62" y="3"/>
                  </a:lnTo>
                  <a:lnTo>
                    <a:pt x="54" y="5"/>
                  </a:lnTo>
                  <a:lnTo>
                    <a:pt x="46" y="8"/>
                  </a:lnTo>
                  <a:lnTo>
                    <a:pt x="41" y="10"/>
                  </a:lnTo>
                  <a:lnTo>
                    <a:pt x="36" y="13"/>
                  </a:lnTo>
                  <a:lnTo>
                    <a:pt x="31" y="15"/>
                  </a:lnTo>
                  <a:lnTo>
                    <a:pt x="26" y="21"/>
                  </a:lnTo>
                  <a:lnTo>
                    <a:pt x="21" y="26"/>
                  </a:lnTo>
                  <a:lnTo>
                    <a:pt x="16" y="31"/>
                  </a:lnTo>
                  <a:lnTo>
                    <a:pt x="11" y="39"/>
                  </a:lnTo>
                  <a:lnTo>
                    <a:pt x="8" y="44"/>
                  </a:lnTo>
                  <a:lnTo>
                    <a:pt x="5" y="49"/>
                  </a:lnTo>
                  <a:lnTo>
                    <a:pt x="3" y="54"/>
                  </a:lnTo>
                  <a:lnTo>
                    <a:pt x="3" y="62"/>
                  </a:lnTo>
                  <a:lnTo>
                    <a:pt x="0" y="77"/>
                  </a:lnTo>
                  <a:lnTo>
                    <a:pt x="0" y="87"/>
                  </a:lnTo>
                  <a:lnTo>
                    <a:pt x="3" y="100"/>
                  </a:lnTo>
                  <a:lnTo>
                    <a:pt x="5" y="108"/>
                  </a:lnTo>
                  <a:lnTo>
                    <a:pt x="11" y="118"/>
                  </a:lnTo>
                  <a:lnTo>
                    <a:pt x="18" y="128"/>
                  </a:lnTo>
                  <a:lnTo>
                    <a:pt x="29" y="146"/>
                  </a:lnTo>
                  <a:lnTo>
                    <a:pt x="31" y="154"/>
                  </a:lnTo>
                  <a:lnTo>
                    <a:pt x="36" y="164"/>
                  </a:lnTo>
                  <a:lnTo>
                    <a:pt x="36" y="169"/>
                  </a:lnTo>
                  <a:lnTo>
                    <a:pt x="36" y="205"/>
                  </a:lnTo>
                  <a:lnTo>
                    <a:pt x="49" y="213"/>
                  </a:lnTo>
                  <a:lnTo>
                    <a:pt x="59" y="233"/>
                  </a:lnTo>
                  <a:lnTo>
                    <a:pt x="93" y="233"/>
                  </a:lnTo>
                  <a:lnTo>
                    <a:pt x="105" y="213"/>
                  </a:lnTo>
                  <a:lnTo>
                    <a:pt x="118" y="205"/>
                  </a:lnTo>
                  <a:lnTo>
                    <a:pt x="118" y="169"/>
                  </a:lnTo>
                  <a:lnTo>
                    <a:pt x="118" y="161"/>
                  </a:lnTo>
                  <a:lnTo>
                    <a:pt x="123" y="149"/>
                  </a:lnTo>
                  <a:lnTo>
                    <a:pt x="128" y="138"/>
                  </a:lnTo>
                  <a:lnTo>
                    <a:pt x="139" y="120"/>
                  </a:lnTo>
                  <a:lnTo>
                    <a:pt x="144" y="113"/>
                  </a:lnTo>
                  <a:lnTo>
                    <a:pt x="146" y="108"/>
                  </a:lnTo>
                  <a:lnTo>
                    <a:pt x="151" y="92"/>
                  </a:lnTo>
                  <a:lnTo>
                    <a:pt x="151" y="82"/>
                  </a:lnTo>
                  <a:close/>
                  <a:moveTo>
                    <a:pt x="108" y="200"/>
                  </a:moveTo>
                  <a:lnTo>
                    <a:pt x="98" y="205"/>
                  </a:lnTo>
                  <a:lnTo>
                    <a:pt x="87" y="223"/>
                  </a:lnTo>
                  <a:lnTo>
                    <a:pt x="64" y="223"/>
                  </a:lnTo>
                  <a:lnTo>
                    <a:pt x="54" y="205"/>
                  </a:lnTo>
                  <a:lnTo>
                    <a:pt x="46" y="200"/>
                  </a:lnTo>
                  <a:lnTo>
                    <a:pt x="46" y="174"/>
                  </a:lnTo>
                  <a:lnTo>
                    <a:pt x="108" y="174"/>
                  </a:lnTo>
                  <a:lnTo>
                    <a:pt x="108" y="200"/>
                  </a:lnTo>
                  <a:close/>
                  <a:moveTo>
                    <a:pt x="144" y="87"/>
                  </a:moveTo>
                  <a:lnTo>
                    <a:pt x="141" y="97"/>
                  </a:lnTo>
                  <a:lnTo>
                    <a:pt x="139" y="105"/>
                  </a:lnTo>
                  <a:lnTo>
                    <a:pt x="134" y="110"/>
                  </a:lnTo>
                  <a:lnTo>
                    <a:pt x="126" y="126"/>
                  </a:lnTo>
                  <a:lnTo>
                    <a:pt x="118" y="138"/>
                  </a:lnTo>
                  <a:lnTo>
                    <a:pt x="113" y="151"/>
                  </a:lnTo>
                  <a:lnTo>
                    <a:pt x="108" y="164"/>
                  </a:lnTo>
                  <a:lnTo>
                    <a:pt x="44" y="164"/>
                  </a:lnTo>
                  <a:lnTo>
                    <a:pt x="41" y="151"/>
                  </a:lnTo>
                  <a:lnTo>
                    <a:pt x="36" y="138"/>
                  </a:lnTo>
                  <a:lnTo>
                    <a:pt x="31" y="133"/>
                  </a:lnTo>
                  <a:lnTo>
                    <a:pt x="21" y="118"/>
                  </a:lnTo>
                  <a:lnTo>
                    <a:pt x="16" y="108"/>
                  </a:lnTo>
                  <a:lnTo>
                    <a:pt x="13" y="100"/>
                  </a:lnTo>
                  <a:lnTo>
                    <a:pt x="11" y="90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1" y="72"/>
                  </a:lnTo>
                  <a:lnTo>
                    <a:pt x="11" y="64"/>
                  </a:lnTo>
                  <a:lnTo>
                    <a:pt x="13" y="54"/>
                  </a:lnTo>
                  <a:lnTo>
                    <a:pt x="16" y="49"/>
                  </a:lnTo>
                  <a:lnTo>
                    <a:pt x="21" y="41"/>
                  </a:lnTo>
                  <a:lnTo>
                    <a:pt x="26" y="36"/>
                  </a:lnTo>
                  <a:lnTo>
                    <a:pt x="29" y="31"/>
                  </a:lnTo>
                  <a:lnTo>
                    <a:pt x="34" y="26"/>
                  </a:lnTo>
                  <a:lnTo>
                    <a:pt x="41" y="21"/>
                  </a:lnTo>
                  <a:lnTo>
                    <a:pt x="46" y="18"/>
                  </a:lnTo>
                  <a:lnTo>
                    <a:pt x="54" y="15"/>
                  </a:lnTo>
                  <a:lnTo>
                    <a:pt x="59" y="13"/>
                  </a:lnTo>
                  <a:lnTo>
                    <a:pt x="67" y="10"/>
                  </a:lnTo>
                  <a:lnTo>
                    <a:pt x="72" y="10"/>
                  </a:lnTo>
                  <a:lnTo>
                    <a:pt x="77" y="10"/>
                  </a:lnTo>
                  <a:lnTo>
                    <a:pt x="82" y="10"/>
                  </a:lnTo>
                  <a:lnTo>
                    <a:pt x="87" y="10"/>
                  </a:lnTo>
                  <a:lnTo>
                    <a:pt x="93" y="13"/>
                  </a:lnTo>
                  <a:lnTo>
                    <a:pt x="100" y="15"/>
                  </a:lnTo>
                  <a:lnTo>
                    <a:pt x="105" y="15"/>
                  </a:lnTo>
                  <a:lnTo>
                    <a:pt x="110" y="21"/>
                  </a:lnTo>
                  <a:lnTo>
                    <a:pt x="118" y="26"/>
                  </a:lnTo>
                  <a:lnTo>
                    <a:pt x="123" y="31"/>
                  </a:lnTo>
                  <a:lnTo>
                    <a:pt x="128" y="36"/>
                  </a:lnTo>
                  <a:lnTo>
                    <a:pt x="131" y="41"/>
                  </a:lnTo>
                  <a:lnTo>
                    <a:pt x="136" y="46"/>
                  </a:lnTo>
                  <a:lnTo>
                    <a:pt x="139" y="54"/>
                  </a:lnTo>
                  <a:lnTo>
                    <a:pt x="141" y="62"/>
                  </a:lnTo>
                  <a:lnTo>
                    <a:pt x="144" y="67"/>
                  </a:lnTo>
                  <a:lnTo>
                    <a:pt x="144" y="74"/>
                  </a:lnTo>
                  <a:lnTo>
                    <a:pt x="144" y="79"/>
                  </a:lnTo>
                  <a:lnTo>
                    <a:pt x="144" y="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1">
              <a:extLst>
                <a:ext uri="{FF2B5EF4-FFF2-40B4-BE49-F238E27FC236}">
                  <a16:creationId xmlns:a16="http://schemas.microsoft.com/office/drawing/2014/main" id="{04CF8637-9AAB-43C2-A85E-442A2EE2C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" y="1946"/>
              <a:ext cx="338" cy="210"/>
            </a:xfrm>
            <a:custGeom>
              <a:avLst/>
              <a:gdLst>
                <a:gd name="T0" fmla="*/ 338 w 338"/>
                <a:gd name="T1" fmla="*/ 164 h 210"/>
                <a:gd name="T2" fmla="*/ 333 w 338"/>
                <a:gd name="T3" fmla="*/ 156 h 210"/>
                <a:gd name="T4" fmla="*/ 282 w 338"/>
                <a:gd name="T5" fmla="*/ 131 h 210"/>
                <a:gd name="T6" fmla="*/ 279 w 338"/>
                <a:gd name="T7" fmla="*/ 128 h 210"/>
                <a:gd name="T8" fmla="*/ 302 w 338"/>
                <a:gd name="T9" fmla="*/ 62 h 210"/>
                <a:gd name="T10" fmla="*/ 300 w 338"/>
                <a:gd name="T11" fmla="*/ 54 h 210"/>
                <a:gd name="T12" fmla="*/ 292 w 338"/>
                <a:gd name="T13" fmla="*/ 49 h 210"/>
                <a:gd name="T14" fmla="*/ 287 w 338"/>
                <a:gd name="T15" fmla="*/ 49 h 210"/>
                <a:gd name="T16" fmla="*/ 218 w 338"/>
                <a:gd name="T17" fmla="*/ 59 h 210"/>
                <a:gd name="T18" fmla="*/ 182 w 338"/>
                <a:gd name="T19" fmla="*/ 5 h 210"/>
                <a:gd name="T20" fmla="*/ 174 w 338"/>
                <a:gd name="T21" fmla="*/ 0 h 210"/>
                <a:gd name="T22" fmla="*/ 164 w 338"/>
                <a:gd name="T23" fmla="*/ 5 h 210"/>
                <a:gd name="T24" fmla="*/ 118 w 338"/>
                <a:gd name="T25" fmla="*/ 59 h 210"/>
                <a:gd name="T26" fmla="*/ 46 w 338"/>
                <a:gd name="T27" fmla="*/ 39 h 210"/>
                <a:gd name="T28" fmla="*/ 36 w 338"/>
                <a:gd name="T29" fmla="*/ 41 h 210"/>
                <a:gd name="T30" fmla="*/ 31 w 338"/>
                <a:gd name="T31" fmla="*/ 49 h 210"/>
                <a:gd name="T32" fmla="*/ 33 w 338"/>
                <a:gd name="T33" fmla="*/ 57 h 210"/>
                <a:gd name="T34" fmla="*/ 57 w 338"/>
                <a:gd name="T35" fmla="*/ 133 h 210"/>
                <a:gd name="T36" fmla="*/ 3 w 338"/>
                <a:gd name="T37" fmla="*/ 167 h 210"/>
                <a:gd name="T38" fmla="*/ 0 w 338"/>
                <a:gd name="T39" fmla="*/ 172 h 210"/>
                <a:gd name="T40" fmla="*/ 0 w 338"/>
                <a:gd name="T41" fmla="*/ 179 h 210"/>
                <a:gd name="T42" fmla="*/ 8 w 338"/>
                <a:gd name="T43" fmla="*/ 187 h 210"/>
                <a:gd name="T44" fmla="*/ 57 w 338"/>
                <a:gd name="T45" fmla="*/ 203 h 210"/>
                <a:gd name="T46" fmla="*/ 10 w 338"/>
                <a:gd name="T47" fmla="*/ 177 h 210"/>
                <a:gd name="T48" fmla="*/ 10 w 338"/>
                <a:gd name="T49" fmla="*/ 172 h 210"/>
                <a:gd name="T50" fmla="*/ 62 w 338"/>
                <a:gd name="T51" fmla="*/ 141 h 210"/>
                <a:gd name="T52" fmla="*/ 67 w 338"/>
                <a:gd name="T53" fmla="*/ 133 h 210"/>
                <a:gd name="T54" fmla="*/ 67 w 338"/>
                <a:gd name="T55" fmla="*/ 126 h 210"/>
                <a:gd name="T56" fmla="*/ 44 w 338"/>
                <a:gd name="T57" fmla="*/ 46 h 210"/>
                <a:gd name="T58" fmla="*/ 46 w 338"/>
                <a:gd name="T59" fmla="*/ 46 h 210"/>
                <a:gd name="T60" fmla="*/ 118 w 338"/>
                <a:gd name="T61" fmla="*/ 67 h 210"/>
                <a:gd name="T62" fmla="*/ 128 w 338"/>
                <a:gd name="T63" fmla="*/ 64 h 210"/>
                <a:gd name="T64" fmla="*/ 172 w 338"/>
                <a:gd name="T65" fmla="*/ 10 h 210"/>
                <a:gd name="T66" fmla="*/ 174 w 338"/>
                <a:gd name="T67" fmla="*/ 10 h 210"/>
                <a:gd name="T68" fmla="*/ 210 w 338"/>
                <a:gd name="T69" fmla="*/ 64 h 210"/>
                <a:gd name="T70" fmla="*/ 220 w 338"/>
                <a:gd name="T71" fmla="*/ 69 h 210"/>
                <a:gd name="T72" fmla="*/ 290 w 338"/>
                <a:gd name="T73" fmla="*/ 57 h 210"/>
                <a:gd name="T74" fmla="*/ 292 w 338"/>
                <a:gd name="T75" fmla="*/ 62 h 210"/>
                <a:gd name="T76" fmla="*/ 292 w 338"/>
                <a:gd name="T77" fmla="*/ 62 h 210"/>
                <a:gd name="T78" fmla="*/ 272 w 338"/>
                <a:gd name="T79" fmla="*/ 131 h 210"/>
                <a:gd name="T80" fmla="*/ 274 w 338"/>
                <a:gd name="T81" fmla="*/ 136 h 210"/>
                <a:gd name="T82" fmla="*/ 277 w 338"/>
                <a:gd name="T83" fmla="*/ 139 h 210"/>
                <a:gd name="T84" fmla="*/ 330 w 338"/>
                <a:gd name="T85" fmla="*/ 167 h 210"/>
                <a:gd name="T86" fmla="*/ 328 w 338"/>
                <a:gd name="T87" fmla="*/ 169 h 210"/>
                <a:gd name="T88" fmla="*/ 290 w 338"/>
                <a:gd name="T89" fmla="*/ 210 h 210"/>
                <a:gd name="T90" fmla="*/ 338 w 338"/>
                <a:gd name="T91" fmla="*/ 174 h 210"/>
                <a:gd name="T92" fmla="*/ 338 w 338"/>
                <a:gd name="T93" fmla="*/ 16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38" h="210">
                  <a:moveTo>
                    <a:pt x="338" y="169"/>
                  </a:moveTo>
                  <a:lnTo>
                    <a:pt x="338" y="164"/>
                  </a:lnTo>
                  <a:lnTo>
                    <a:pt x="336" y="159"/>
                  </a:lnTo>
                  <a:lnTo>
                    <a:pt x="333" y="156"/>
                  </a:lnTo>
                  <a:lnTo>
                    <a:pt x="330" y="156"/>
                  </a:lnTo>
                  <a:lnTo>
                    <a:pt x="282" y="131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6"/>
                  </a:lnTo>
                  <a:lnTo>
                    <a:pt x="302" y="62"/>
                  </a:lnTo>
                  <a:lnTo>
                    <a:pt x="300" y="57"/>
                  </a:lnTo>
                  <a:lnTo>
                    <a:pt x="300" y="54"/>
                  </a:lnTo>
                  <a:lnTo>
                    <a:pt x="295" y="49"/>
                  </a:lnTo>
                  <a:lnTo>
                    <a:pt x="292" y="49"/>
                  </a:lnTo>
                  <a:lnTo>
                    <a:pt x="290" y="49"/>
                  </a:lnTo>
                  <a:lnTo>
                    <a:pt x="287" y="49"/>
                  </a:lnTo>
                  <a:lnTo>
                    <a:pt x="220" y="59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182" y="5"/>
                  </a:lnTo>
                  <a:lnTo>
                    <a:pt x="179" y="3"/>
                  </a:lnTo>
                  <a:lnTo>
                    <a:pt x="174" y="0"/>
                  </a:lnTo>
                  <a:lnTo>
                    <a:pt x="169" y="3"/>
                  </a:lnTo>
                  <a:lnTo>
                    <a:pt x="164" y="5"/>
                  </a:lnTo>
                  <a:lnTo>
                    <a:pt x="121" y="59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46" y="39"/>
                  </a:lnTo>
                  <a:lnTo>
                    <a:pt x="41" y="39"/>
                  </a:lnTo>
                  <a:lnTo>
                    <a:pt x="36" y="41"/>
                  </a:lnTo>
                  <a:lnTo>
                    <a:pt x="33" y="44"/>
                  </a:lnTo>
                  <a:lnTo>
                    <a:pt x="31" y="49"/>
                  </a:lnTo>
                  <a:lnTo>
                    <a:pt x="31" y="51"/>
                  </a:lnTo>
                  <a:lnTo>
                    <a:pt x="33" y="57"/>
                  </a:lnTo>
                  <a:lnTo>
                    <a:pt x="57" y="131"/>
                  </a:lnTo>
                  <a:lnTo>
                    <a:pt x="57" y="133"/>
                  </a:lnTo>
                  <a:lnTo>
                    <a:pt x="57" y="133"/>
                  </a:lnTo>
                  <a:lnTo>
                    <a:pt x="3" y="167"/>
                  </a:lnTo>
                  <a:lnTo>
                    <a:pt x="0" y="169"/>
                  </a:lnTo>
                  <a:lnTo>
                    <a:pt x="0" y="172"/>
                  </a:lnTo>
                  <a:lnTo>
                    <a:pt x="0" y="174"/>
                  </a:lnTo>
                  <a:lnTo>
                    <a:pt x="0" y="179"/>
                  </a:lnTo>
                  <a:lnTo>
                    <a:pt x="3" y="185"/>
                  </a:lnTo>
                  <a:lnTo>
                    <a:pt x="8" y="187"/>
                  </a:lnTo>
                  <a:lnTo>
                    <a:pt x="54" y="210"/>
                  </a:lnTo>
                  <a:lnTo>
                    <a:pt x="57" y="203"/>
                  </a:lnTo>
                  <a:lnTo>
                    <a:pt x="10" y="179"/>
                  </a:lnTo>
                  <a:lnTo>
                    <a:pt x="10" y="177"/>
                  </a:lnTo>
                  <a:lnTo>
                    <a:pt x="8" y="174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62" y="141"/>
                  </a:lnTo>
                  <a:lnTo>
                    <a:pt x="64" y="139"/>
                  </a:lnTo>
                  <a:lnTo>
                    <a:pt x="67" y="133"/>
                  </a:lnTo>
                  <a:lnTo>
                    <a:pt x="67" y="131"/>
                  </a:lnTo>
                  <a:lnTo>
                    <a:pt x="67" y="126"/>
                  </a:lnTo>
                  <a:lnTo>
                    <a:pt x="41" y="49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23" y="67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72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7" y="13"/>
                  </a:lnTo>
                  <a:lnTo>
                    <a:pt x="210" y="64"/>
                  </a:lnTo>
                  <a:lnTo>
                    <a:pt x="215" y="67"/>
                  </a:lnTo>
                  <a:lnTo>
                    <a:pt x="220" y="69"/>
                  </a:lnTo>
                  <a:lnTo>
                    <a:pt x="223" y="69"/>
                  </a:lnTo>
                  <a:lnTo>
                    <a:pt x="290" y="57"/>
                  </a:lnTo>
                  <a:lnTo>
                    <a:pt x="292" y="59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72" y="128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4" y="136"/>
                  </a:lnTo>
                  <a:lnTo>
                    <a:pt x="277" y="139"/>
                  </a:lnTo>
                  <a:lnTo>
                    <a:pt x="277" y="139"/>
                  </a:lnTo>
                  <a:lnTo>
                    <a:pt x="328" y="164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284" y="203"/>
                  </a:lnTo>
                  <a:lnTo>
                    <a:pt x="290" y="210"/>
                  </a:lnTo>
                  <a:lnTo>
                    <a:pt x="336" y="177"/>
                  </a:lnTo>
                  <a:lnTo>
                    <a:pt x="338" y="174"/>
                  </a:lnTo>
                  <a:lnTo>
                    <a:pt x="338" y="169"/>
                  </a:lnTo>
                  <a:lnTo>
                    <a:pt x="33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2">
              <a:extLst>
                <a:ext uri="{FF2B5EF4-FFF2-40B4-BE49-F238E27FC236}">
                  <a16:creationId xmlns:a16="http://schemas.microsoft.com/office/drawing/2014/main" id="{5F8D018A-9170-4977-B283-718EE461C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" y="2079"/>
              <a:ext cx="43" cy="52"/>
            </a:xfrm>
            <a:custGeom>
              <a:avLst/>
              <a:gdLst>
                <a:gd name="T0" fmla="*/ 30 w 43"/>
                <a:gd name="T1" fmla="*/ 46 h 52"/>
                <a:gd name="T2" fmla="*/ 35 w 43"/>
                <a:gd name="T3" fmla="*/ 41 h 52"/>
                <a:gd name="T4" fmla="*/ 38 w 43"/>
                <a:gd name="T5" fmla="*/ 36 h 52"/>
                <a:gd name="T6" fmla="*/ 40 w 43"/>
                <a:gd name="T7" fmla="*/ 31 h 52"/>
                <a:gd name="T8" fmla="*/ 43 w 43"/>
                <a:gd name="T9" fmla="*/ 29 h 52"/>
                <a:gd name="T10" fmla="*/ 43 w 43"/>
                <a:gd name="T11" fmla="*/ 23 h 52"/>
                <a:gd name="T12" fmla="*/ 43 w 43"/>
                <a:gd name="T13" fmla="*/ 18 h 52"/>
                <a:gd name="T14" fmla="*/ 43 w 43"/>
                <a:gd name="T15" fmla="*/ 13 h 52"/>
                <a:gd name="T16" fmla="*/ 40 w 43"/>
                <a:gd name="T17" fmla="*/ 8 h 52"/>
                <a:gd name="T18" fmla="*/ 38 w 43"/>
                <a:gd name="T19" fmla="*/ 6 h 52"/>
                <a:gd name="T20" fmla="*/ 35 w 43"/>
                <a:gd name="T21" fmla="*/ 3 h 52"/>
                <a:gd name="T22" fmla="*/ 33 w 43"/>
                <a:gd name="T23" fmla="*/ 0 h 52"/>
                <a:gd name="T24" fmla="*/ 28 w 43"/>
                <a:gd name="T25" fmla="*/ 0 h 52"/>
                <a:gd name="T26" fmla="*/ 28 w 43"/>
                <a:gd name="T27" fmla="*/ 0 h 52"/>
                <a:gd name="T28" fmla="*/ 23 w 43"/>
                <a:gd name="T29" fmla="*/ 3 h 52"/>
                <a:gd name="T30" fmla="*/ 15 w 43"/>
                <a:gd name="T31" fmla="*/ 6 h 52"/>
                <a:gd name="T32" fmla="*/ 12 w 43"/>
                <a:gd name="T33" fmla="*/ 8 h 52"/>
                <a:gd name="T34" fmla="*/ 7 w 43"/>
                <a:gd name="T35" fmla="*/ 13 h 52"/>
                <a:gd name="T36" fmla="*/ 5 w 43"/>
                <a:gd name="T37" fmla="*/ 18 h 52"/>
                <a:gd name="T38" fmla="*/ 2 w 43"/>
                <a:gd name="T39" fmla="*/ 21 h 52"/>
                <a:gd name="T40" fmla="*/ 2 w 43"/>
                <a:gd name="T41" fmla="*/ 26 h 52"/>
                <a:gd name="T42" fmla="*/ 0 w 43"/>
                <a:gd name="T43" fmla="*/ 31 h 52"/>
                <a:gd name="T44" fmla="*/ 0 w 43"/>
                <a:gd name="T45" fmla="*/ 34 h 52"/>
                <a:gd name="T46" fmla="*/ 0 w 43"/>
                <a:gd name="T47" fmla="*/ 41 h 52"/>
                <a:gd name="T48" fmla="*/ 2 w 43"/>
                <a:gd name="T49" fmla="*/ 44 h 52"/>
                <a:gd name="T50" fmla="*/ 7 w 43"/>
                <a:gd name="T51" fmla="*/ 49 h 52"/>
                <a:gd name="T52" fmla="*/ 7 w 43"/>
                <a:gd name="T53" fmla="*/ 52 h 52"/>
                <a:gd name="T54" fmla="*/ 12 w 43"/>
                <a:gd name="T55" fmla="*/ 52 h 52"/>
                <a:gd name="T56" fmla="*/ 15 w 43"/>
                <a:gd name="T57" fmla="*/ 52 h 52"/>
                <a:gd name="T58" fmla="*/ 17 w 43"/>
                <a:gd name="T59" fmla="*/ 52 h 52"/>
                <a:gd name="T60" fmla="*/ 23 w 43"/>
                <a:gd name="T61" fmla="*/ 52 h 52"/>
                <a:gd name="T62" fmla="*/ 25 w 43"/>
                <a:gd name="T63" fmla="*/ 49 h 52"/>
                <a:gd name="T64" fmla="*/ 30 w 43"/>
                <a:gd name="T65" fmla="*/ 46 h 52"/>
                <a:gd name="T66" fmla="*/ 23 w 43"/>
                <a:gd name="T67" fmla="*/ 41 h 52"/>
                <a:gd name="T68" fmla="*/ 20 w 43"/>
                <a:gd name="T69" fmla="*/ 41 h 52"/>
                <a:gd name="T70" fmla="*/ 17 w 43"/>
                <a:gd name="T71" fmla="*/ 44 h 52"/>
                <a:gd name="T72" fmla="*/ 15 w 43"/>
                <a:gd name="T73" fmla="*/ 44 h 52"/>
                <a:gd name="T74" fmla="*/ 15 w 43"/>
                <a:gd name="T75" fmla="*/ 41 h 52"/>
                <a:gd name="T76" fmla="*/ 12 w 43"/>
                <a:gd name="T77" fmla="*/ 41 h 52"/>
                <a:gd name="T78" fmla="*/ 10 w 43"/>
                <a:gd name="T79" fmla="*/ 39 h 52"/>
                <a:gd name="T80" fmla="*/ 10 w 43"/>
                <a:gd name="T81" fmla="*/ 36 h 52"/>
                <a:gd name="T82" fmla="*/ 10 w 43"/>
                <a:gd name="T83" fmla="*/ 34 h 52"/>
                <a:gd name="T84" fmla="*/ 10 w 43"/>
                <a:gd name="T85" fmla="*/ 29 h 52"/>
                <a:gd name="T86" fmla="*/ 12 w 43"/>
                <a:gd name="T87" fmla="*/ 21 h 52"/>
                <a:gd name="T88" fmla="*/ 17 w 43"/>
                <a:gd name="T89" fmla="*/ 16 h 52"/>
                <a:gd name="T90" fmla="*/ 23 w 43"/>
                <a:gd name="T91" fmla="*/ 13 h 52"/>
                <a:gd name="T92" fmla="*/ 25 w 43"/>
                <a:gd name="T93" fmla="*/ 11 h 52"/>
                <a:gd name="T94" fmla="*/ 28 w 43"/>
                <a:gd name="T95" fmla="*/ 11 h 52"/>
                <a:gd name="T96" fmla="*/ 30 w 43"/>
                <a:gd name="T97" fmla="*/ 11 h 52"/>
                <a:gd name="T98" fmla="*/ 33 w 43"/>
                <a:gd name="T99" fmla="*/ 13 h 52"/>
                <a:gd name="T100" fmla="*/ 35 w 43"/>
                <a:gd name="T101" fmla="*/ 16 h 52"/>
                <a:gd name="T102" fmla="*/ 35 w 43"/>
                <a:gd name="T103" fmla="*/ 21 h 52"/>
                <a:gd name="T104" fmla="*/ 35 w 43"/>
                <a:gd name="T105" fmla="*/ 23 h 52"/>
                <a:gd name="T106" fmla="*/ 33 w 43"/>
                <a:gd name="T107" fmla="*/ 29 h 52"/>
                <a:gd name="T108" fmla="*/ 30 w 43"/>
                <a:gd name="T109" fmla="*/ 34 h 52"/>
                <a:gd name="T110" fmla="*/ 25 w 43"/>
                <a:gd name="T111" fmla="*/ 39 h 52"/>
                <a:gd name="T112" fmla="*/ 23 w 43"/>
                <a:gd name="T113" fmla="*/ 4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" h="52">
                  <a:moveTo>
                    <a:pt x="30" y="46"/>
                  </a:moveTo>
                  <a:lnTo>
                    <a:pt x="35" y="41"/>
                  </a:lnTo>
                  <a:lnTo>
                    <a:pt x="38" y="36"/>
                  </a:lnTo>
                  <a:lnTo>
                    <a:pt x="40" y="31"/>
                  </a:lnTo>
                  <a:lnTo>
                    <a:pt x="43" y="29"/>
                  </a:lnTo>
                  <a:lnTo>
                    <a:pt x="43" y="23"/>
                  </a:lnTo>
                  <a:lnTo>
                    <a:pt x="43" y="18"/>
                  </a:lnTo>
                  <a:lnTo>
                    <a:pt x="43" y="13"/>
                  </a:lnTo>
                  <a:lnTo>
                    <a:pt x="40" y="8"/>
                  </a:lnTo>
                  <a:lnTo>
                    <a:pt x="38" y="6"/>
                  </a:lnTo>
                  <a:lnTo>
                    <a:pt x="35" y="3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15" y="6"/>
                  </a:lnTo>
                  <a:lnTo>
                    <a:pt x="12" y="8"/>
                  </a:lnTo>
                  <a:lnTo>
                    <a:pt x="7" y="13"/>
                  </a:lnTo>
                  <a:lnTo>
                    <a:pt x="5" y="18"/>
                  </a:lnTo>
                  <a:lnTo>
                    <a:pt x="2" y="21"/>
                  </a:lnTo>
                  <a:lnTo>
                    <a:pt x="2" y="26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0" y="41"/>
                  </a:lnTo>
                  <a:lnTo>
                    <a:pt x="2" y="44"/>
                  </a:lnTo>
                  <a:lnTo>
                    <a:pt x="7" y="49"/>
                  </a:lnTo>
                  <a:lnTo>
                    <a:pt x="7" y="52"/>
                  </a:lnTo>
                  <a:lnTo>
                    <a:pt x="12" y="52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23" y="52"/>
                  </a:lnTo>
                  <a:lnTo>
                    <a:pt x="25" y="49"/>
                  </a:lnTo>
                  <a:lnTo>
                    <a:pt x="30" y="46"/>
                  </a:lnTo>
                  <a:close/>
                  <a:moveTo>
                    <a:pt x="23" y="41"/>
                  </a:moveTo>
                  <a:lnTo>
                    <a:pt x="20" y="41"/>
                  </a:lnTo>
                  <a:lnTo>
                    <a:pt x="17" y="44"/>
                  </a:lnTo>
                  <a:lnTo>
                    <a:pt x="15" y="44"/>
                  </a:lnTo>
                  <a:lnTo>
                    <a:pt x="15" y="41"/>
                  </a:lnTo>
                  <a:lnTo>
                    <a:pt x="12" y="41"/>
                  </a:lnTo>
                  <a:lnTo>
                    <a:pt x="10" y="39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29"/>
                  </a:lnTo>
                  <a:lnTo>
                    <a:pt x="12" y="21"/>
                  </a:lnTo>
                  <a:lnTo>
                    <a:pt x="17" y="16"/>
                  </a:lnTo>
                  <a:lnTo>
                    <a:pt x="23" y="13"/>
                  </a:lnTo>
                  <a:lnTo>
                    <a:pt x="25" y="11"/>
                  </a:lnTo>
                  <a:lnTo>
                    <a:pt x="28" y="11"/>
                  </a:lnTo>
                  <a:lnTo>
                    <a:pt x="30" y="11"/>
                  </a:lnTo>
                  <a:lnTo>
                    <a:pt x="33" y="13"/>
                  </a:lnTo>
                  <a:lnTo>
                    <a:pt x="35" y="16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3" y="29"/>
                  </a:lnTo>
                  <a:lnTo>
                    <a:pt x="30" y="34"/>
                  </a:lnTo>
                  <a:lnTo>
                    <a:pt x="25" y="39"/>
                  </a:lnTo>
                  <a:lnTo>
                    <a:pt x="23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Rectangle 153">
              <a:extLst>
                <a:ext uri="{FF2B5EF4-FFF2-40B4-BE49-F238E27FC236}">
                  <a16:creationId xmlns:a16="http://schemas.microsoft.com/office/drawing/2014/main" id="{5BB60AFE-23B0-4D19-941B-40DCF76CB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" y="207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Rectangle 154">
              <a:extLst>
                <a:ext uri="{FF2B5EF4-FFF2-40B4-BE49-F238E27FC236}">
                  <a16:creationId xmlns:a16="http://schemas.microsoft.com/office/drawing/2014/main" id="{9F9D756D-B0A0-486A-8AF0-E456A043A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" y="207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57">
            <a:extLst>
              <a:ext uri="{FF2B5EF4-FFF2-40B4-BE49-F238E27FC236}">
                <a16:creationId xmlns:a16="http://schemas.microsoft.com/office/drawing/2014/main" id="{589CFE7B-AC1A-4996-A20D-B829A7AA6C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1637" y="2863400"/>
            <a:ext cx="758825" cy="758825"/>
            <a:chOff x="2510" y="1976"/>
            <a:chExt cx="478" cy="478"/>
          </a:xfrm>
        </p:grpSpPr>
        <p:sp>
          <p:nvSpPr>
            <p:cNvPr id="179" name="AutoShape 156">
              <a:extLst>
                <a:ext uri="{FF2B5EF4-FFF2-40B4-BE49-F238E27FC236}">
                  <a16:creationId xmlns:a16="http://schemas.microsoft.com/office/drawing/2014/main" id="{80C4F690-00B8-4B5B-AE38-C1E21367C3A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10" y="197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3987FF51-A68B-4AF4-BE22-7137423B5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2" y="197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B0A87200-1E33-43DD-AA66-11692A65C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2072"/>
              <a:ext cx="299" cy="308"/>
            </a:xfrm>
            <a:custGeom>
              <a:avLst/>
              <a:gdLst>
                <a:gd name="T0" fmla="*/ 100 w 122"/>
                <a:gd name="T1" fmla="*/ 44 h 126"/>
                <a:gd name="T2" fmla="*/ 113 w 122"/>
                <a:gd name="T3" fmla="*/ 45 h 126"/>
                <a:gd name="T4" fmla="*/ 89 w 122"/>
                <a:gd name="T5" fmla="*/ 46 h 126"/>
                <a:gd name="T6" fmla="*/ 77 w 122"/>
                <a:gd name="T7" fmla="*/ 84 h 126"/>
                <a:gd name="T8" fmla="*/ 45 w 122"/>
                <a:gd name="T9" fmla="*/ 94 h 126"/>
                <a:gd name="T10" fmla="*/ 61 w 122"/>
                <a:gd name="T11" fmla="*/ 5 h 126"/>
                <a:gd name="T12" fmla="*/ 61 w 122"/>
                <a:gd name="T13" fmla="*/ 15 h 126"/>
                <a:gd name="T14" fmla="*/ 75 w 122"/>
                <a:gd name="T15" fmla="*/ 46 h 126"/>
                <a:gd name="T16" fmla="*/ 61 w 122"/>
                <a:gd name="T17" fmla="*/ 20 h 126"/>
                <a:gd name="T18" fmla="*/ 61 w 122"/>
                <a:gd name="T19" fmla="*/ 49 h 126"/>
                <a:gd name="T20" fmla="*/ 52 w 122"/>
                <a:gd name="T21" fmla="*/ 44 h 126"/>
                <a:gd name="T22" fmla="*/ 61 w 122"/>
                <a:gd name="T23" fmla="*/ 39 h 126"/>
                <a:gd name="T24" fmla="*/ 49 w 122"/>
                <a:gd name="T25" fmla="*/ 106 h 126"/>
                <a:gd name="T26" fmla="*/ 73 w 122"/>
                <a:gd name="T27" fmla="*/ 112 h 126"/>
                <a:gd name="T28" fmla="*/ 73 w 122"/>
                <a:gd name="T29" fmla="*/ 112 h 126"/>
                <a:gd name="T30" fmla="*/ 73 w 122"/>
                <a:gd name="T31" fmla="*/ 116 h 126"/>
                <a:gd name="T32" fmla="*/ 122 w 122"/>
                <a:gd name="T33" fmla="*/ 33 h 126"/>
                <a:gd name="T34" fmla="*/ 102 w 122"/>
                <a:gd name="T35" fmla="*/ 34 h 126"/>
                <a:gd name="T36" fmla="*/ 40 w 122"/>
                <a:gd name="T37" fmla="*/ 84 h 126"/>
                <a:gd name="T38" fmla="*/ 44 w 122"/>
                <a:gd name="T39" fmla="*/ 106 h 126"/>
                <a:gd name="T40" fmla="*/ 44 w 122"/>
                <a:gd name="T41" fmla="*/ 114 h 126"/>
                <a:gd name="T42" fmla="*/ 45 w 122"/>
                <a:gd name="T43" fmla="*/ 118 h 126"/>
                <a:gd name="T44" fmla="*/ 78 w 122"/>
                <a:gd name="T45" fmla="*/ 116 h 126"/>
                <a:gd name="T46" fmla="*/ 78 w 122"/>
                <a:gd name="T47" fmla="*/ 109 h 126"/>
                <a:gd name="T48" fmla="*/ 82 w 122"/>
                <a:gd name="T49" fmla="*/ 94 h 126"/>
                <a:gd name="T50" fmla="*/ 104 w 122"/>
                <a:gd name="T51" fmla="*/ 55 h 126"/>
                <a:gd name="T52" fmla="*/ 122 w 122"/>
                <a:gd name="T53" fmla="*/ 52 h 126"/>
                <a:gd name="T54" fmla="*/ 105 w 122"/>
                <a:gd name="T55" fmla="*/ 20 h 126"/>
                <a:gd name="T56" fmla="*/ 103 w 122"/>
                <a:gd name="T57" fmla="*/ 16 h 126"/>
                <a:gd name="T58" fmla="*/ 102 w 122"/>
                <a:gd name="T59" fmla="*/ 68 h 126"/>
                <a:gd name="T60" fmla="*/ 114 w 122"/>
                <a:gd name="T61" fmla="*/ 75 h 126"/>
                <a:gd name="T62" fmla="*/ 13 w 122"/>
                <a:gd name="T63" fmla="*/ 33 h 126"/>
                <a:gd name="T64" fmla="*/ 6 w 122"/>
                <a:gd name="T65" fmla="*/ 29 h 126"/>
                <a:gd name="T66" fmla="*/ 15 w 122"/>
                <a:gd name="T67" fmla="*/ 56 h 126"/>
                <a:gd name="T68" fmla="*/ 9 w 122"/>
                <a:gd name="T69" fmla="*/ 60 h 126"/>
                <a:gd name="T70" fmla="*/ 101 w 122"/>
                <a:gd name="T71" fmla="*/ 6 h 126"/>
                <a:gd name="T72" fmla="*/ 94 w 122"/>
                <a:gd name="T73" fmla="*/ 10 h 126"/>
                <a:gd name="T74" fmla="*/ 21 w 122"/>
                <a:gd name="T75" fmla="*/ 85 h 126"/>
                <a:gd name="T76" fmla="*/ 28 w 122"/>
                <a:gd name="T77" fmla="*/ 78 h 126"/>
                <a:gd name="T78" fmla="*/ 94 w 122"/>
                <a:gd name="T79" fmla="*/ 81 h 126"/>
                <a:gd name="T80" fmla="*/ 101 w 122"/>
                <a:gd name="T81" fmla="*/ 81 h 126"/>
                <a:gd name="T82" fmla="*/ 9 w 122"/>
                <a:gd name="T83" fmla="*/ 72 h 126"/>
                <a:gd name="T84" fmla="*/ 19 w 122"/>
                <a:gd name="T85" fmla="*/ 71 h 126"/>
                <a:gd name="T86" fmla="*/ 18 w 122"/>
                <a:gd name="T87" fmla="*/ 21 h 126"/>
                <a:gd name="T88" fmla="*/ 8 w 122"/>
                <a:gd name="T89" fmla="*/ 12 h 126"/>
                <a:gd name="T90" fmla="*/ 28 w 122"/>
                <a:gd name="T91" fmla="*/ 10 h 126"/>
                <a:gd name="T92" fmla="*/ 21 w 122"/>
                <a:gd name="T93" fmla="*/ 6 h 126"/>
                <a:gd name="T94" fmla="*/ 2 w 122"/>
                <a:gd name="T95" fmla="*/ 41 h 126"/>
                <a:gd name="T96" fmla="*/ 14 w 122"/>
                <a:gd name="T97" fmla="*/ 4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6">
                  <a:moveTo>
                    <a:pt x="113" y="45"/>
                  </a:moveTo>
                  <a:cubicBezTo>
                    <a:pt x="116" y="51"/>
                    <a:pt x="116" y="51"/>
                    <a:pt x="116" y="51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4"/>
                    <a:pt x="113" y="45"/>
                  </a:cubicBezTo>
                  <a:moveTo>
                    <a:pt x="61" y="15"/>
                  </a:moveTo>
                  <a:cubicBezTo>
                    <a:pt x="45" y="15"/>
                    <a:pt x="33" y="28"/>
                    <a:pt x="33" y="44"/>
                  </a:cubicBezTo>
                  <a:cubicBezTo>
                    <a:pt x="33" y="60"/>
                    <a:pt x="45" y="73"/>
                    <a:pt x="61" y="73"/>
                  </a:cubicBezTo>
                  <a:cubicBezTo>
                    <a:pt x="76" y="73"/>
                    <a:pt x="88" y="61"/>
                    <a:pt x="89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7" y="60"/>
                    <a:pt x="91" y="70"/>
                    <a:pt x="81" y="76"/>
                  </a:cubicBezTo>
                  <a:cubicBezTo>
                    <a:pt x="79" y="78"/>
                    <a:pt x="77" y="81"/>
                    <a:pt x="77" y="8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6" y="97"/>
                    <a:pt x="75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6" y="97"/>
                    <a:pt x="45" y="96"/>
                    <a:pt x="45" y="9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1"/>
                    <a:pt x="43" y="78"/>
                    <a:pt x="41" y="76"/>
                  </a:cubicBezTo>
                  <a:cubicBezTo>
                    <a:pt x="30" y="69"/>
                    <a:pt x="23" y="57"/>
                    <a:pt x="23" y="44"/>
                  </a:cubicBezTo>
                  <a:cubicBezTo>
                    <a:pt x="23" y="22"/>
                    <a:pt x="40" y="5"/>
                    <a:pt x="61" y="5"/>
                  </a:cubicBezTo>
                  <a:cubicBezTo>
                    <a:pt x="80" y="5"/>
                    <a:pt x="96" y="19"/>
                    <a:pt x="98" y="38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8" y="26"/>
                    <a:pt x="76" y="15"/>
                    <a:pt x="61" y="15"/>
                  </a:cubicBezTo>
                  <a:moveTo>
                    <a:pt x="61" y="29"/>
                  </a:moveTo>
                  <a:cubicBezTo>
                    <a:pt x="53" y="29"/>
                    <a:pt x="47" y="36"/>
                    <a:pt x="47" y="44"/>
                  </a:cubicBezTo>
                  <a:cubicBezTo>
                    <a:pt x="47" y="52"/>
                    <a:pt x="53" y="58"/>
                    <a:pt x="61" y="58"/>
                  </a:cubicBezTo>
                  <a:cubicBezTo>
                    <a:pt x="68" y="58"/>
                    <a:pt x="74" y="53"/>
                    <a:pt x="7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3" y="58"/>
                    <a:pt x="73" y="68"/>
                    <a:pt x="61" y="68"/>
                  </a:cubicBezTo>
                  <a:cubicBezTo>
                    <a:pt x="48" y="68"/>
                    <a:pt x="37" y="57"/>
                    <a:pt x="37" y="44"/>
                  </a:cubicBezTo>
                  <a:cubicBezTo>
                    <a:pt x="37" y="30"/>
                    <a:pt x="48" y="20"/>
                    <a:pt x="61" y="20"/>
                  </a:cubicBezTo>
                  <a:cubicBezTo>
                    <a:pt x="73" y="20"/>
                    <a:pt x="83" y="29"/>
                    <a:pt x="84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34"/>
                    <a:pt x="68" y="29"/>
                    <a:pt x="61" y="29"/>
                  </a:cubicBezTo>
                  <a:moveTo>
                    <a:pt x="61" y="49"/>
                  </a:moveTo>
                  <a:cubicBezTo>
                    <a:pt x="63" y="49"/>
                    <a:pt x="64" y="48"/>
                    <a:pt x="65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50"/>
                    <a:pt x="65" y="53"/>
                    <a:pt x="61" y="53"/>
                  </a:cubicBezTo>
                  <a:cubicBezTo>
                    <a:pt x="56" y="53"/>
                    <a:pt x="52" y="49"/>
                    <a:pt x="52" y="44"/>
                  </a:cubicBezTo>
                  <a:cubicBezTo>
                    <a:pt x="52" y="38"/>
                    <a:pt x="56" y="34"/>
                    <a:pt x="61" y="34"/>
                  </a:cubicBezTo>
                  <a:cubicBezTo>
                    <a:pt x="65" y="34"/>
                    <a:pt x="69" y="37"/>
                    <a:pt x="7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4" y="40"/>
                    <a:pt x="63" y="39"/>
                    <a:pt x="61" y="39"/>
                  </a:cubicBezTo>
                  <a:cubicBezTo>
                    <a:pt x="58" y="39"/>
                    <a:pt x="56" y="41"/>
                    <a:pt x="56" y="44"/>
                  </a:cubicBezTo>
                  <a:cubicBezTo>
                    <a:pt x="56" y="46"/>
                    <a:pt x="58" y="49"/>
                    <a:pt x="61" y="49"/>
                  </a:cubicBezTo>
                  <a:moveTo>
                    <a:pt x="73" y="104"/>
                  </a:moveTo>
                  <a:cubicBezTo>
                    <a:pt x="49" y="106"/>
                    <a:pt x="49" y="106"/>
                    <a:pt x="49" y="106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73" y="102"/>
                    <a:pt x="73" y="102"/>
                    <a:pt x="73" y="102"/>
                  </a:cubicBezTo>
                  <a:lnTo>
                    <a:pt x="73" y="104"/>
                  </a:lnTo>
                  <a:close/>
                  <a:moveTo>
                    <a:pt x="73" y="112"/>
                  </a:moveTo>
                  <a:cubicBezTo>
                    <a:pt x="49" y="113"/>
                    <a:pt x="49" y="113"/>
                    <a:pt x="49" y="113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73" y="109"/>
                    <a:pt x="73" y="109"/>
                    <a:pt x="73" y="109"/>
                  </a:cubicBezTo>
                  <a:lnTo>
                    <a:pt x="73" y="112"/>
                  </a:lnTo>
                  <a:close/>
                  <a:moveTo>
                    <a:pt x="68" y="121"/>
                  </a:moveTo>
                  <a:cubicBezTo>
                    <a:pt x="54" y="121"/>
                    <a:pt x="54" y="121"/>
                    <a:pt x="54" y="121"/>
                  </a:cubicBezTo>
                  <a:cubicBezTo>
                    <a:pt x="52" y="121"/>
                    <a:pt x="50" y="120"/>
                    <a:pt x="50" y="118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3" y="119"/>
                    <a:pt x="71" y="121"/>
                    <a:pt x="68" y="121"/>
                  </a:cubicBezTo>
                  <a:moveTo>
                    <a:pt x="118" y="44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4"/>
                    <a:pt x="122" y="33"/>
                    <a:pt x="122" y="33"/>
                  </a:cubicBezTo>
                  <a:cubicBezTo>
                    <a:pt x="122" y="32"/>
                    <a:pt x="121" y="32"/>
                    <a:pt x="120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5" y="32"/>
                    <a:pt x="105" y="32"/>
                    <a:pt x="104" y="32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98" y="15"/>
                    <a:pt x="81" y="0"/>
                    <a:pt x="61" y="0"/>
                  </a:cubicBezTo>
                  <a:cubicBezTo>
                    <a:pt x="38" y="0"/>
                    <a:pt x="19" y="20"/>
                    <a:pt x="19" y="44"/>
                  </a:cubicBezTo>
                  <a:cubicBezTo>
                    <a:pt x="19" y="58"/>
                    <a:pt x="26" y="72"/>
                    <a:pt x="38" y="80"/>
                  </a:cubicBezTo>
                  <a:cubicBezTo>
                    <a:pt x="39" y="81"/>
                    <a:pt x="40" y="82"/>
                    <a:pt x="40" y="8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8"/>
                    <a:pt x="42" y="100"/>
                    <a:pt x="45" y="101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3" y="107"/>
                    <a:pt x="42" y="108"/>
                    <a:pt x="42" y="109"/>
                  </a:cubicBezTo>
                  <a:cubicBezTo>
                    <a:pt x="42" y="110"/>
                    <a:pt x="43" y="111"/>
                    <a:pt x="45" y="111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43" y="114"/>
                    <a:pt x="42" y="115"/>
                    <a:pt x="42" y="116"/>
                  </a:cubicBezTo>
                  <a:cubicBezTo>
                    <a:pt x="42" y="118"/>
                    <a:pt x="43" y="119"/>
                    <a:pt x="45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45" y="118"/>
                    <a:pt x="45" y="118"/>
                    <a:pt x="45" y="118"/>
                  </a:cubicBezTo>
                  <a:cubicBezTo>
                    <a:pt x="46" y="123"/>
                    <a:pt x="50" y="126"/>
                    <a:pt x="54" y="126"/>
                  </a:cubicBezTo>
                  <a:cubicBezTo>
                    <a:pt x="68" y="126"/>
                    <a:pt x="68" y="126"/>
                    <a:pt x="68" y="126"/>
                  </a:cubicBezTo>
                  <a:cubicBezTo>
                    <a:pt x="73" y="126"/>
                    <a:pt x="77" y="121"/>
                    <a:pt x="77" y="116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79" y="116"/>
                    <a:pt x="80" y="115"/>
                    <a:pt x="80" y="114"/>
                  </a:cubicBezTo>
                  <a:cubicBezTo>
                    <a:pt x="80" y="112"/>
                    <a:pt x="79" y="111"/>
                    <a:pt x="77" y="111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79" y="109"/>
                    <a:pt x="80" y="108"/>
                    <a:pt x="80" y="106"/>
                  </a:cubicBezTo>
                  <a:cubicBezTo>
                    <a:pt x="80" y="105"/>
                    <a:pt x="79" y="104"/>
                    <a:pt x="77" y="104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80" y="100"/>
                    <a:pt x="82" y="98"/>
                    <a:pt x="82" y="9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2" y="82"/>
                    <a:pt x="83" y="81"/>
                    <a:pt x="84" y="80"/>
                  </a:cubicBezTo>
                  <a:cubicBezTo>
                    <a:pt x="93" y="74"/>
                    <a:pt x="100" y="64"/>
                    <a:pt x="102" y="5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5" y="56"/>
                    <a:pt x="105" y="56"/>
                    <a:pt x="106" y="56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21" y="56"/>
                    <a:pt x="122" y="55"/>
                    <a:pt x="122" y="55"/>
                  </a:cubicBezTo>
                  <a:cubicBezTo>
                    <a:pt x="122" y="54"/>
                    <a:pt x="122" y="53"/>
                    <a:pt x="122" y="52"/>
                  </a:cubicBezTo>
                  <a:lnTo>
                    <a:pt x="118" y="44"/>
                  </a:lnTo>
                  <a:close/>
                  <a:moveTo>
                    <a:pt x="102" y="20"/>
                  </a:moveTo>
                  <a:cubicBezTo>
                    <a:pt x="102" y="20"/>
                    <a:pt x="103" y="21"/>
                    <a:pt x="104" y="21"/>
                  </a:cubicBezTo>
                  <a:cubicBezTo>
                    <a:pt x="104" y="21"/>
                    <a:pt x="105" y="21"/>
                    <a:pt x="105" y="20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4" y="15"/>
                    <a:pt x="115" y="13"/>
                    <a:pt x="114" y="12"/>
                  </a:cubicBezTo>
                  <a:cubicBezTo>
                    <a:pt x="113" y="11"/>
                    <a:pt x="112" y="11"/>
                    <a:pt x="111" y="11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2" y="17"/>
                    <a:pt x="101" y="18"/>
                    <a:pt x="102" y="20"/>
                  </a:cubicBezTo>
                  <a:moveTo>
                    <a:pt x="113" y="72"/>
                  </a:moveTo>
                  <a:cubicBezTo>
                    <a:pt x="105" y="67"/>
                    <a:pt x="105" y="67"/>
                    <a:pt x="105" y="67"/>
                  </a:cubicBezTo>
                  <a:cubicBezTo>
                    <a:pt x="104" y="66"/>
                    <a:pt x="102" y="67"/>
                    <a:pt x="102" y="68"/>
                  </a:cubicBezTo>
                  <a:cubicBezTo>
                    <a:pt x="101" y="69"/>
                    <a:pt x="102" y="70"/>
                    <a:pt x="103" y="71"/>
                  </a:cubicBezTo>
                  <a:cubicBezTo>
                    <a:pt x="111" y="76"/>
                    <a:pt x="111" y="76"/>
                    <a:pt x="111" y="76"/>
                  </a:cubicBezTo>
                  <a:cubicBezTo>
                    <a:pt x="111" y="76"/>
                    <a:pt x="112" y="76"/>
                    <a:pt x="112" y="76"/>
                  </a:cubicBezTo>
                  <a:cubicBezTo>
                    <a:pt x="113" y="76"/>
                    <a:pt x="114" y="76"/>
                    <a:pt x="114" y="75"/>
                  </a:cubicBezTo>
                  <a:cubicBezTo>
                    <a:pt x="115" y="74"/>
                    <a:pt x="114" y="72"/>
                    <a:pt x="113" y="72"/>
                  </a:cubicBezTo>
                  <a:moveTo>
                    <a:pt x="8" y="32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4" y="33"/>
                    <a:pt x="15" y="32"/>
                    <a:pt x="15" y="31"/>
                  </a:cubicBezTo>
                  <a:cubicBezTo>
                    <a:pt x="16" y="30"/>
                    <a:pt x="15" y="29"/>
                    <a:pt x="14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7" y="27"/>
                    <a:pt x="6" y="29"/>
                  </a:cubicBezTo>
                  <a:cubicBezTo>
                    <a:pt x="6" y="30"/>
                    <a:pt x="7" y="31"/>
                    <a:pt x="8" y="32"/>
                  </a:cubicBezTo>
                  <a:moveTo>
                    <a:pt x="9" y="60"/>
                  </a:moveTo>
                  <a:cubicBezTo>
                    <a:pt x="14" y="59"/>
                    <a:pt x="14" y="59"/>
                    <a:pt x="14" y="59"/>
                  </a:cubicBezTo>
                  <a:cubicBezTo>
                    <a:pt x="15" y="59"/>
                    <a:pt x="16" y="57"/>
                    <a:pt x="15" y="56"/>
                  </a:cubicBezTo>
                  <a:cubicBezTo>
                    <a:pt x="15" y="55"/>
                    <a:pt x="14" y="54"/>
                    <a:pt x="13" y="55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7" y="56"/>
                    <a:pt x="6" y="57"/>
                    <a:pt x="6" y="59"/>
                  </a:cubicBezTo>
                  <a:cubicBezTo>
                    <a:pt x="7" y="60"/>
                    <a:pt x="8" y="60"/>
                    <a:pt x="9" y="60"/>
                  </a:cubicBezTo>
                  <a:cubicBezTo>
                    <a:pt x="9" y="60"/>
                    <a:pt x="9" y="60"/>
                    <a:pt x="9" y="60"/>
                  </a:cubicBezTo>
                  <a:moveTo>
                    <a:pt x="96" y="10"/>
                  </a:moveTo>
                  <a:cubicBezTo>
                    <a:pt x="97" y="10"/>
                    <a:pt x="97" y="10"/>
                    <a:pt x="98" y="10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2" y="5"/>
                    <a:pt x="102" y="4"/>
                    <a:pt x="101" y="3"/>
                  </a:cubicBezTo>
                  <a:cubicBezTo>
                    <a:pt x="100" y="2"/>
                    <a:pt x="99" y="2"/>
                    <a:pt x="98" y="3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3" y="7"/>
                    <a:pt x="93" y="9"/>
                    <a:pt x="94" y="10"/>
                  </a:cubicBezTo>
                  <a:cubicBezTo>
                    <a:pt x="95" y="10"/>
                    <a:pt x="95" y="10"/>
                    <a:pt x="96" y="10"/>
                  </a:cubicBezTo>
                  <a:moveTo>
                    <a:pt x="24" y="78"/>
                  </a:moveTo>
                  <a:cubicBezTo>
                    <a:pt x="21" y="81"/>
                    <a:pt x="21" y="81"/>
                    <a:pt x="21" y="81"/>
                  </a:cubicBezTo>
                  <a:cubicBezTo>
                    <a:pt x="20" y="82"/>
                    <a:pt x="20" y="84"/>
                    <a:pt x="21" y="85"/>
                  </a:cubicBezTo>
                  <a:cubicBezTo>
                    <a:pt x="21" y="85"/>
                    <a:pt x="22" y="85"/>
                    <a:pt x="23" y="85"/>
                  </a:cubicBezTo>
                  <a:cubicBezTo>
                    <a:pt x="23" y="85"/>
                    <a:pt x="24" y="85"/>
                    <a:pt x="24" y="85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9" y="80"/>
                    <a:pt x="29" y="79"/>
                    <a:pt x="28" y="78"/>
                  </a:cubicBezTo>
                  <a:cubicBezTo>
                    <a:pt x="27" y="77"/>
                    <a:pt x="25" y="77"/>
                    <a:pt x="24" y="78"/>
                  </a:cubicBezTo>
                  <a:moveTo>
                    <a:pt x="98" y="78"/>
                  </a:moveTo>
                  <a:cubicBezTo>
                    <a:pt x="97" y="77"/>
                    <a:pt x="95" y="77"/>
                    <a:pt x="94" y="78"/>
                  </a:cubicBezTo>
                  <a:cubicBezTo>
                    <a:pt x="93" y="79"/>
                    <a:pt x="93" y="80"/>
                    <a:pt x="94" y="8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9" y="85"/>
                    <a:pt x="99" y="85"/>
                  </a:cubicBezTo>
                  <a:cubicBezTo>
                    <a:pt x="100" y="85"/>
                    <a:pt x="101" y="85"/>
                    <a:pt x="101" y="85"/>
                  </a:cubicBezTo>
                  <a:cubicBezTo>
                    <a:pt x="102" y="84"/>
                    <a:pt x="102" y="82"/>
                    <a:pt x="101" y="81"/>
                  </a:cubicBezTo>
                  <a:lnTo>
                    <a:pt x="98" y="78"/>
                  </a:lnTo>
                  <a:close/>
                  <a:moveTo>
                    <a:pt x="20" y="68"/>
                  </a:moveTo>
                  <a:cubicBezTo>
                    <a:pt x="20" y="67"/>
                    <a:pt x="18" y="66"/>
                    <a:pt x="17" y="67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8" y="72"/>
                    <a:pt x="7" y="74"/>
                    <a:pt x="8" y="75"/>
                  </a:cubicBezTo>
                  <a:cubicBezTo>
                    <a:pt x="8" y="76"/>
                    <a:pt x="9" y="76"/>
                    <a:pt x="10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0" y="70"/>
                    <a:pt x="21" y="69"/>
                    <a:pt x="20" y="68"/>
                  </a:cubicBezTo>
                  <a:moveTo>
                    <a:pt x="9" y="16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8" y="21"/>
                    <a:pt x="18" y="21"/>
                  </a:cubicBezTo>
                  <a:cubicBezTo>
                    <a:pt x="19" y="21"/>
                    <a:pt x="20" y="20"/>
                    <a:pt x="20" y="20"/>
                  </a:cubicBezTo>
                  <a:cubicBezTo>
                    <a:pt x="21" y="18"/>
                    <a:pt x="20" y="17"/>
                    <a:pt x="19" y="1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9" y="11"/>
                    <a:pt x="8" y="12"/>
                  </a:cubicBezTo>
                  <a:cubicBezTo>
                    <a:pt x="7" y="13"/>
                    <a:pt x="8" y="15"/>
                    <a:pt x="9" y="16"/>
                  </a:cubicBezTo>
                  <a:moveTo>
                    <a:pt x="24" y="10"/>
                  </a:moveTo>
                  <a:cubicBezTo>
                    <a:pt x="25" y="10"/>
                    <a:pt x="25" y="10"/>
                    <a:pt x="26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9" y="9"/>
                    <a:pt x="29" y="7"/>
                    <a:pt x="28" y="6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2"/>
                    <a:pt x="22" y="2"/>
                    <a:pt x="21" y="3"/>
                  </a:cubicBezTo>
                  <a:cubicBezTo>
                    <a:pt x="20" y="4"/>
                    <a:pt x="20" y="5"/>
                    <a:pt x="21" y="6"/>
                  </a:cubicBezTo>
                  <a:lnTo>
                    <a:pt x="24" y="10"/>
                  </a:lnTo>
                  <a:close/>
                  <a:moveTo>
                    <a:pt x="14" y="44"/>
                  </a:moveTo>
                  <a:cubicBezTo>
                    <a:pt x="14" y="42"/>
                    <a:pt x="13" y="41"/>
                    <a:pt x="11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3" y="46"/>
                    <a:pt x="14" y="45"/>
                    <a:pt x="14" y="4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62">
            <a:extLst>
              <a:ext uri="{FF2B5EF4-FFF2-40B4-BE49-F238E27FC236}">
                <a16:creationId xmlns:a16="http://schemas.microsoft.com/office/drawing/2014/main" id="{571866E7-A898-4CF4-8BBF-B8E35EF9F3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32075" y="2822125"/>
            <a:ext cx="842963" cy="841375"/>
            <a:chOff x="1706" y="1875"/>
            <a:chExt cx="531" cy="530"/>
          </a:xfrm>
        </p:grpSpPr>
        <p:sp>
          <p:nvSpPr>
            <p:cNvPr id="183" name="AutoShape 161">
              <a:extLst>
                <a:ext uri="{FF2B5EF4-FFF2-40B4-BE49-F238E27FC236}">
                  <a16:creationId xmlns:a16="http://schemas.microsoft.com/office/drawing/2014/main" id="{067445D8-6AB5-400D-A7D1-02580E29B1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06" y="1875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163">
              <a:extLst>
                <a:ext uri="{FF2B5EF4-FFF2-40B4-BE49-F238E27FC236}">
                  <a16:creationId xmlns:a16="http://schemas.microsoft.com/office/drawing/2014/main" id="{1FD031E9-7B3E-40E1-BA4E-B7CAA4454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6" y="1875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4">
              <a:extLst>
                <a:ext uri="{FF2B5EF4-FFF2-40B4-BE49-F238E27FC236}">
                  <a16:creationId xmlns:a16="http://schemas.microsoft.com/office/drawing/2014/main" id="{38FC5072-A094-4DAC-B3FF-964C04C7B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4" y="1893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5">
              <a:extLst>
                <a:ext uri="{FF2B5EF4-FFF2-40B4-BE49-F238E27FC236}">
                  <a16:creationId xmlns:a16="http://schemas.microsoft.com/office/drawing/2014/main" id="{F161874D-571A-479B-AF4E-DE408E4C1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6" y="1990"/>
              <a:ext cx="313" cy="323"/>
            </a:xfrm>
            <a:custGeom>
              <a:avLst/>
              <a:gdLst>
                <a:gd name="T0" fmla="*/ 100 w 122"/>
                <a:gd name="T1" fmla="*/ 44 h 126"/>
                <a:gd name="T2" fmla="*/ 113 w 122"/>
                <a:gd name="T3" fmla="*/ 45 h 126"/>
                <a:gd name="T4" fmla="*/ 89 w 122"/>
                <a:gd name="T5" fmla="*/ 46 h 126"/>
                <a:gd name="T6" fmla="*/ 77 w 122"/>
                <a:gd name="T7" fmla="*/ 84 h 126"/>
                <a:gd name="T8" fmla="*/ 45 w 122"/>
                <a:gd name="T9" fmla="*/ 94 h 126"/>
                <a:gd name="T10" fmla="*/ 61 w 122"/>
                <a:gd name="T11" fmla="*/ 5 h 126"/>
                <a:gd name="T12" fmla="*/ 61 w 122"/>
                <a:gd name="T13" fmla="*/ 15 h 126"/>
                <a:gd name="T14" fmla="*/ 75 w 122"/>
                <a:gd name="T15" fmla="*/ 46 h 126"/>
                <a:gd name="T16" fmla="*/ 61 w 122"/>
                <a:gd name="T17" fmla="*/ 20 h 126"/>
                <a:gd name="T18" fmla="*/ 61 w 122"/>
                <a:gd name="T19" fmla="*/ 49 h 126"/>
                <a:gd name="T20" fmla="*/ 52 w 122"/>
                <a:gd name="T21" fmla="*/ 44 h 126"/>
                <a:gd name="T22" fmla="*/ 61 w 122"/>
                <a:gd name="T23" fmla="*/ 39 h 126"/>
                <a:gd name="T24" fmla="*/ 49 w 122"/>
                <a:gd name="T25" fmla="*/ 106 h 126"/>
                <a:gd name="T26" fmla="*/ 73 w 122"/>
                <a:gd name="T27" fmla="*/ 112 h 126"/>
                <a:gd name="T28" fmla="*/ 73 w 122"/>
                <a:gd name="T29" fmla="*/ 112 h 126"/>
                <a:gd name="T30" fmla="*/ 73 w 122"/>
                <a:gd name="T31" fmla="*/ 116 h 126"/>
                <a:gd name="T32" fmla="*/ 122 w 122"/>
                <a:gd name="T33" fmla="*/ 33 h 126"/>
                <a:gd name="T34" fmla="*/ 102 w 122"/>
                <a:gd name="T35" fmla="*/ 34 h 126"/>
                <a:gd name="T36" fmla="*/ 40 w 122"/>
                <a:gd name="T37" fmla="*/ 84 h 126"/>
                <a:gd name="T38" fmla="*/ 44 w 122"/>
                <a:gd name="T39" fmla="*/ 106 h 126"/>
                <a:gd name="T40" fmla="*/ 44 w 122"/>
                <a:gd name="T41" fmla="*/ 114 h 126"/>
                <a:gd name="T42" fmla="*/ 45 w 122"/>
                <a:gd name="T43" fmla="*/ 118 h 126"/>
                <a:gd name="T44" fmla="*/ 78 w 122"/>
                <a:gd name="T45" fmla="*/ 116 h 126"/>
                <a:gd name="T46" fmla="*/ 78 w 122"/>
                <a:gd name="T47" fmla="*/ 109 h 126"/>
                <a:gd name="T48" fmla="*/ 82 w 122"/>
                <a:gd name="T49" fmla="*/ 94 h 126"/>
                <a:gd name="T50" fmla="*/ 104 w 122"/>
                <a:gd name="T51" fmla="*/ 55 h 126"/>
                <a:gd name="T52" fmla="*/ 122 w 122"/>
                <a:gd name="T53" fmla="*/ 52 h 126"/>
                <a:gd name="T54" fmla="*/ 105 w 122"/>
                <a:gd name="T55" fmla="*/ 20 h 126"/>
                <a:gd name="T56" fmla="*/ 103 w 122"/>
                <a:gd name="T57" fmla="*/ 16 h 126"/>
                <a:gd name="T58" fmla="*/ 102 w 122"/>
                <a:gd name="T59" fmla="*/ 68 h 126"/>
                <a:gd name="T60" fmla="*/ 114 w 122"/>
                <a:gd name="T61" fmla="*/ 75 h 126"/>
                <a:gd name="T62" fmla="*/ 13 w 122"/>
                <a:gd name="T63" fmla="*/ 33 h 126"/>
                <a:gd name="T64" fmla="*/ 6 w 122"/>
                <a:gd name="T65" fmla="*/ 29 h 126"/>
                <a:gd name="T66" fmla="*/ 15 w 122"/>
                <a:gd name="T67" fmla="*/ 56 h 126"/>
                <a:gd name="T68" fmla="*/ 9 w 122"/>
                <a:gd name="T69" fmla="*/ 60 h 126"/>
                <a:gd name="T70" fmla="*/ 101 w 122"/>
                <a:gd name="T71" fmla="*/ 6 h 126"/>
                <a:gd name="T72" fmla="*/ 94 w 122"/>
                <a:gd name="T73" fmla="*/ 10 h 126"/>
                <a:gd name="T74" fmla="*/ 21 w 122"/>
                <a:gd name="T75" fmla="*/ 85 h 126"/>
                <a:gd name="T76" fmla="*/ 28 w 122"/>
                <a:gd name="T77" fmla="*/ 78 h 126"/>
                <a:gd name="T78" fmla="*/ 94 w 122"/>
                <a:gd name="T79" fmla="*/ 81 h 126"/>
                <a:gd name="T80" fmla="*/ 101 w 122"/>
                <a:gd name="T81" fmla="*/ 81 h 126"/>
                <a:gd name="T82" fmla="*/ 9 w 122"/>
                <a:gd name="T83" fmla="*/ 72 h 126"/>
                <a:gd name="T84" fmla="*/ 19 w 122"/>
                <a:gd name="T85" fmla="*/ 71 h 126"/>
                <a:gd name="T86" fmla="*/ 18 w 122"/>
                <a:gd name="T87" fmla="*/ 21 h 126"/>
                <a:gd name="T88" fmla="*/ 8 w 122"/>
                <a:gd name="T89" fmla="*/ 12 h 126"/>
                <a:gd name="T90" fmla="*/ 28 w 122"/>
                <a:gd name="T91" fmla="*/ 10 h 126"/>
                <a:gd name="T92" fmla="*/ 21 w 122"/>
                <a:gd name="T93" fmla="*/ 6 h 126"/>
                <a:gd name="T94" fmla="*/ 2 w 122"/>
                <a:gd name="T95" fmla="*/ 41 h 126"/>
                <a:gd name="T96" fmla="*/ 14 w 122"/>
                <a:gd name="T97" fmla="*/ 4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6">
                  <a:moveTo>
                    <a:pt x="113" y="45"/>
                  </a:moveTo>
                  <a:cubicBezTo>
                    <a:pt x="116" y="51"/>
                    <a:pt x="116" y="51"/>
                    <a:pt x="116" y="51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4"/>
                    <a:pt x="113" y="45"/>
                  </a:cubicBezTo>
                  <a:moveTo>
                    <a:pt x="61" y="15"/>
                  </a:moveTo>
                  <a:cubicBezTo>
                    <a:pt x="45" y="15"/>
                    <a:pt x="33" y="28"/>
                    <a:pt x="33" y="44"/>
                  </a:cubicBezTo>
                  <a:cubicBezTo>
                    <a:pt x="33" y="60"/>
                    <a:pt x="45" y="73"/>
                    <a:pt x="61" y="73"/>
                  </a:cubicBezTo>
                  <a:cubicBezTo>
                    <a:pt x="76" y="73"/>
                    <a:pt x="88" y="61"/>
                    <a:pt x="89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7" y="60"/>
                    <a:pt x="91" y="70"/>
                    <a:pt x="81" y="76"/>
                  </a:cubicBezTo>
                  <a:cubicBezTo>
                    <a:pt x="79" y="78"/>
                    <a:pt x="77" y="81"/>
                    <a:pt x="77" y="8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7" y="96"/>
                    <a:pt x="76" y="97"/>
                    <a:pt x="75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6" y="97"/>
                    <a:pt x="45" y="96"/>
                    <a:pt x="45" y="9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1"/>
                    <a:pt x="43" y="78"/>
                    <a:pt x="41" y="76"/>
                  </a:cubicBezTo>
                  <a:cubicBezTo>
                    <a:pt x="30" y="69"/>
                    <a:pt x="23" y="57"/>
                    <a:pt x="23" y="44"/>
                  </a:cubicBezTo>
                  <a:cubicBezTo>
                    <a:pt x="23" y="22"/>
                    <a:pt x="40" y="5"/>
                    <a:pt x="61" y="5"/>
                  </a:cubicBezTo>
                  <a:cubicBezTo>
                    <a:pt x="80" y="5"/>
                    <a:pt x="96" y="19"/>
                    <a:pt x="98" y="38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8" y="26"/>
                    <a:pt x="76" y="15"/>
                    <a:pt x="61" y="15"/>
                  </a:cubicBezTo>
                  <a:moveTo>
                    <a:pt x="61" y="29"/>
                  </a:moveTo>
                  <a:cubicBezTo>
                    <a:pt x="53" y="29"/>
                    <a:pt x="47" y="36"/>
                    <a:pt x="47" y="44"/>
                  </a:cubicBezTo>
                  <a:cubicBezTo>
                    <a:pt x="47" y="52"/>
                    <a:pt x="53" y="58"/>
                    <a:pt x="61" y="58"/>
                  </a:cubicBezTo>
                  <a:cubicBezTo>
                    <a:pt x="68" y="58"/>
                    <a:pt x="74" y="53"/>
                    <a:pt x="75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3" y="58"/>
                    <a:pt x="73" y="68"/>
                    <a:pt x="61" y="68"/>
                  </a:cubicBezTo>
                  <a:cubicBezTo>
                    <a:pt x="48" y="68"/>
                    <a:pt x="37" y="57"/>
                    <a:pt x="37" y="44"/>
                  </a:cubicBezTo>
                  <a:cubicBezTo>
                    <a:pt x="37" y="30"/>
                    <a:pt x="48" y="20"/>
                    <a:pt x="61" y="20"/>
                  </a:cubicBezTo>
                  <a:cubicBezTo>
                    <a:pt x="73" y="20"/>
                    <a:pt x="83" y="29"/>
                    <a:pt x="84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34"/>
                    <a:pt x="68" y="29"/>
                    <a:pt x="61" y="29"/>
                  </a:cubicBezTo>
                  <a:moveTo>
                    <a:pt x="61" y="49"/>
                  </a:moveTo>
                  <a:cubicBezTo>
                    <a:pt x="63" y="49"/>
                    <a:pt x="64" y="48"/>
                    <a:pt x="65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50"/>
                    <a:pt x="65" y="53"/>
                    <a:pt x="61" y="53"/>
                  </a:cubicBezTo>
                  <a:cubicBezTo>
                    <a:pt x="56" y="53"/>
                    <a:pt x="52" y="49"/>
                    <a:pt x="52" y="44"/>
                  </a:cubicBezTo>
                  <a:cubicBezTo>
                    <a:pt x="52" y="38"/>
                    <a:pt x="56" y="34"/>
                    <a:pt x="61" y="34"/>
                  </a:cubicBezTo>
                  <a:cubicBezTo>
                    <a:pt x="65" y="34"/>
                    <a:pt x="69" y="37"/>
                    <a:pt x="7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4" y="40"/>
                    <a:pt x="63" y="39"/>
                    <a:pt x="61" y="39"/>
                  </a:cubicBezTo>
                  <a:cubicBezTo>
                    <a:pt x="58" y="39"/>
                    <a:pt x="56" y="41"/>
                    <a:pt x="56" y="44"/>
                  </a:cubicBezTo>
                  <a:cubicBezTo>
                    <a:pt x="56" y="46"/>
                    <a:pt x="58" y="49"/>
                    <a:pt x="61" y="49"/>
                  </a:cubicBezTo>
                  <a:moveTo>
                    <a:pt x="73" y="104"/>
                  </a:moveTo>
                  <a:cubicBezTo>
                    <a:pt x="49" y="106"/>
                    <a:pt x="49" y="106"/>
                    <a:pt x="49" y="106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73" y="102"/>
                    <a:pt x="73" y="102"/>
                    <a:pt x="73" y="102"/>
                  </a:cubicBezTo>
                  <a:lnTo>
                    <a:pt x="73" y="104"/>
                  </a:lnTo>
                  <a:close/>
                  <a:moveTo>
                    <a:pt x="73" y="112"/>
                  </a:moveTo>
                  <a:cubicBezTo>
                    <a:pt x="49" y="113"/>
                    <a:pt x="49" y="113"/>
                    <a:pt x="49" y="113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73" y="109"/>
                    <a:pt x="73" y="109"/>
                    <a:pt x="73" y="109"/>
                  </a:cubicBezTo>
                  <a:lnTo>
                    <a:pt x="73" y="112"/>
                  </a:lnTo>
                  <a:close/>
                  <a:moveTo>
                    <a:pt x="68" y="121"/>
                  </a:moveTo>
                  <a:cubicBezTo>
                    <a:pt x="54" y="121"/>
                    <a:pt x="54" y="121"/>
                    <a:pt x="54" y="121"/>
                  </a:cubicBezTo>
                  <a:cubicBezTo>
                    <a:pt x="52" y="121"/>
                    <a:pt x="50" y="120"/>
                    <a:pt x="50" y="118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3" y="119"/>
                    <a:pt x="71" y="121"/>
                    <a:pt x="68" y="121"/>
                  </a:cubicBezTo>
                  <a:moveTo>
                    <a:pt x="118" y="44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4"/>
                    <a:pt x="122" y="33"/>
                    <a:pt x="122" y="33"/>
                  </a:cubicBezTo>
                  <a:cubicBezTo>
                    <a:pt x="122" y="32"/>
                    <a:pt x="121" y="32"/>
                    <a:pt x="120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5" y="32"/>
                    <a:pt x="105" y="32"/>
                    <a:pt x="104" y="32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98" y="15"/>
                    <a:pt x="81" y="0"/>
                    <a:pt x="61" y="0"/>
                  </a:cubicBezTo>
                  <a:cubicBezTo>
                    <a:pt x="38" y="0"/>
                    <a:pt x="19" y="20"/>
                    <a:pt x="19" y="44"/>
                  </a:cubicBezTo>
                  <a:cubicBezTo>
                    <a:pt x="19" y="58"/>
                    <a:pt x="26" y="72"/>
                    <a:pt x="38" y="80"/>
                  </a:cubicBezTo>
                  <a:cubicBezTo>
                    <a:pt x="39" y="81"/>
                    <a:pt x="40" y="82"/>
                    <a:pt x="40" y="8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8"/>
                    <a:pt x="42" y="100"/>
                    <a:pt x="45" y="101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3" y="107"/>
                    <a:pt x="42" y="108"/>
                    <a:pt x="42" y="109"/>
                  </a:cubicBezTo>
                  <a:cubicBezTo>
                    <a:pt x="42" y="110"/>
                    <a:pt x="43" y="111"/>
                    <a:pt x="45" y="111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43" y="114"/>
                    <a:pt x="42" y="115"/>
                    <a:pt x="42" y="116"/>
                  </a:cubicBezTo>
                  <a:cubicBezTo>
                    <a:pt x="42" y="118"/>
                    <a:pt x="43" y="119"/>
                    <a:pt x="45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45" y="118"/>
                    <a:pt x="45" y="118"/>
                    <a:pt x="45" y="118"/>
                  </a:cubicBezTo>
                  <a:cubicBezTo>
                    <a:pt x="46" y="123"/>
                    <a:pt x="50" y="126"/>
                    <a:pt x="54" y="126"/>
                  </a:cubicBezTo>
                  <a:cubicBezTo>
                    <a:pt x="68" y="126"/>
                    <a:pt x="68" y="126"/>
                    <a:pt x="68" y="126"/>
                  </a:cubicBezTo>
                  <a:cubicBezTo>
                    <a:pt x="73" y="126"/>
                    <a:pt x="77" y="121"/>
                    <a:pt x="77" y="116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79" y="116"/>
                    <a:pt x="80" y="115"/>
                    <a:pt x="80" y="114"/>
                  </a:cubicBezTo>
                  <a:cubicBezTo>
                    <a:pt x="80" y="112"/>
                    <a:pt x="79" y="111"/>
                    <a:pt x="77" y="111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79" y="109"/>
                    <a:pt x="80" y="108"/>
                    <a:pt x="80" y="106"/>
                  </a:cubicBezTo>
                  <a:cubicBezTo>
                    <a:pt x="80" y="105"/>
                    <a:pt x="79" y="104"/>
                    <a:pt x="77" y="104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80" y="100"/>
                    <a:pt x="82" y="98"/>
                    <a:pt x="82" y="9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2" y="82"/>
                    <a:pt x="83" y="81"/>
                    <a:pt x="84" y="80"/>
                  </a:cubicBezTo>
                  <a:cubicBezTo>
                    <a:pt x="93" y="74"/>
                    <a:pt x="100" y="64"/>
                    <a:pt x="102" y="5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5" y="56"/>
                    <a:pt x="105" y="56"/>
                    <a:pt x="106" y="56"/>
                  </a:cubicBezTo>
                  <a:cubicBezTo>
                    <a:pt x="120" y="56"/>
                    <a:pt x="120" y="56"/>
                    <a:pt x="120" y="56"/>
                  </a:cubicBezTo>
                  <a:cubicBezTo>
                    <a:pt x="121" y="56"/>
                    <a:pt x="122" y="55"/>
                    <a:pt x="122" y="55"/>
                  </a:cubicBezTo>
                  <a:cubicBezTo>
                    <a:pt x="122" y="54"/>
                    <a:pt x="122" y="53"/>
                    <a:pt x="122" y="52"/>
                  </a:cubicBezTo>
                  <a:lnTo>
                    <a:pt x="118" y="44"/>
                  </a:lnTo>
                  <a:close/>
                  <a:moveTo>
                    <a:pt x="102" y="20"/>
                  </a:moveTo>
                  <a:cubicBezTo>
                    <a:pt x="102" y="20"/>
                    <a:pt x="103" y="21"/>
                    <a:pt x="104" y="21"/>
                  </a:cubicBezTo>
                  <a:cubicBezTo>
                    <a:pt x="104" y="21"/>
                    <a:pt x="105" y="21"/>
                    <a:pt x="105" y="20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4" y="15"/>
                    <a:pt x="115" y="13"/>
                    <a:pt x="114" y="12"/>
                  </a:cubicBezTo>
                  <a:cubicBezTo>
                    <a:pt x="113" y="11"/>
                    <a:pt x="112" y="11"/>
                    <a:pt x="111" y="11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2" y="17"/>
                    <a:pt x="101" y="18"/>
                    <a:pt x="102" y="20"/>
                  </a:cubicBezTo>
                  <a:moveTo>
                    <a:pt x="113" y="72"/>
                  </a:moveTo>
                  <a:cubicBezTo>
                    <a:pt x="105" y="67"/>
                    <a:pt x="105" y="67"/>
                    <a:pt x="105" y="67"/>
                  </a:cubicBezTo>
                  <a:cubicBezTo>
                    <a:pt x="104" y="66"/>
                    <a:pt x="102" y="67"/>
                    <a:pt x="102" y="68"/>
                  </a:cubicBezTo>
                  <a:cubicBezTo>
                    <a:pt x="101" y="69"/>
                    <a:pt x="102" y="70"/>
                    <a:pt x="103" y="71"/>
                  </a:cubicBezTo>
                  <a:cubicBezTo>
                    <a:pt x="111" y="76"/>
                    <a:pt x="111" y="76"/>
                    <a:pt x="111" y="76"/>
                  </a:cubicBezTo>
                  <a:cubicBezTo>
                    <a:pt x="111" y="76"/>
                    <a:pt x="112" y="76"/>
                    <a:pt x="112" y="76"/>
                  </a:cubicBezTo>
                  <a:cubicBezTo>
                    <a:pt x="113" y="76"/>
                    <a:pt x="114" y="76"/>
                    <a:pt x="114" y="75"/>
                  </a:cubicBezTo>
                  <a:cubicBezTo>
                    <a:pt x="115" y="74"/>
                    <a:pt x="114" y="72"/>
                    <a:pt x="113" y="72"/>
                  </a:cubicBezTo>
                  <a:moveTo>
                    <a:pt x="8" y="32"/>
                  </a:move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4" y="33"/>
                    <a:pt x="15" y="32"/>
                    <a:pt x="15" y="31"/>
                  </a:cubicBezTo>
                  <a:cubicBezTo>
                    <a:pt x="16" y="30"/>
                    <a:pt x="15" y="29"/>
                    <a:pt x="14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7" y="27"/>
                    <a:pt x="6" y="29"/>
                  </a:cubicBezTo>
                  <a:cubicBezTo>
                    <a:pt x="6" y="30"/>
                    <a:pt x="7" y="31"/>
                    <a:pt x="8" y="32"/>
                  </a:cubicBezTo>
                  <a:moveTo>
                    <a:pt x="9" y="60"/>
                  </a:moveTo>
                  <a:cubicBezTo>
                    <a:pt x="14" y="59"/>
                    <a:pt x="14" y="59"/>
                    <a:pt x="14" y="59"/>
                  </a:cubicBezTo>
                  <a:cubicBezTo>
                    <a:pt x="15" y="59"/>
                    <a:pt x="16" y="57"/>
                    <a:pt x="15" y="56"/>
                  </a:cubicBezTo>
                  <a:cubicBezTo>
                    <a:pt x="15" y="55"/>
                    <a:pt x="14" y="54"/>
                    <a:pt x="13" y="55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7" y="56"/>
                    <a:pt x="6" y="57"/>
                    <a:pt x="6" y="59"/>
                  </a:cubicBezTo>
                  <a:cubicBezTo>
                    <a:pt x="7" y="60"/>
                    <a:pt x="8" y="60"/>
                    <a:pt x="9" y="60"/>
                  </a:cubicBezTo>
                  <a:cubicBezTo>
                    <a:pt x="9" y="60"/>
                    <a:pt x="9" y="60"/>
                    <a:pt x="9" y="60"/>
                  </a:cubicBezTo>
                  <a:moveTo>
                    <a:pt x="96" y="10"/>
                  </a:moveTo>
                  <a:cubicBezTo>
                    <a:pt x="97" y="10"/>
                    <a:pt x="97" y="10"/>
                    <a:pt x="98" y="10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2" y="5"/>
                    <a:pt x="102" y="4"/>
                    <a:pt x="101" y="3"/>
                  </a:cubicBezTo>
                  <a:cubicBezTo>
                    <a:pt x="100" y="2"/>
                    <a:pt x="99" y="2"/>
                    <a:pt x="98" y="3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3" y="7"/>
                    <a:pt x="93" y="9"/>
                    <a:pt x="94" y="10"/>
                  </a:cubicBezTo>
                  <a:cubicBezTo>
                    <a:pt x="95" y="10"/>
                    <a:pt x="95" y="10"/>
                    <a:pt x="96" y="10"/>
                  </a:cubicBezTo>
                  <a:moveTo>
                    <a:pt x="24" y="78"/>
                  </a:moveTo>
                  <a:cubicBezTo>
                    <a:pt x="21" y="81"/>
                    <a:pt x="21" y="81"/>
                    <a:pt x="21" y="81"/>
                  </a:cubicBezTo>
                  <a:cubicBezTo>
                    <a:pt x="20" y="82"/>
                    <a:pt x="20" y="84"/>
                    <a:pt x="21" y="85"/>
                  </a:cubicBezTo>
                  <a:cubicBezTo>
                    <a:pt x="21" y="85"/>
                    <a:pt x="22" y="85"/>
                    <a:pt x="23" y="85"/>
                  </a:cubicBezTo>
                  <a:cubicBezTo>
                    <a:pt x="23" y="85"/>
                    <a:pt x="24" y="85"/>
                    <a:pt x="24" y="85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9" y="80"/>
                    <a:pt x="29" y="79"/>
                    <a:pt x="28" y="78"/>
                  </a:cubicBezTo>
                  <a:cubicBezTo>
                    <a:pt x="27" y="77"/>
                    <a:pt x="25" y="77"/>
                    <a:pt x="24" y="78"/>
                  </a:cubicBezTo>
                  <a:moveTo>
                    <a:pt x="98" y="78"/>
                  </a:moveTo>
                  <a:cubicBezTo>
                    <a:pt x="97" y="77"/>
                    <a:pt x="95" y="77"/>
                    <a:pt x="94" y="78"/>
                  </a:cubicBezTo>
                  <a:cubicBezTo>
                    <a:pt x="93" y="79"/>
                    <a:pt x="93" y="80"/>
                    <a:pt x="94" y="8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9" y="85"/>
                    <a:pt x="99" y="85"/>
                  </a:cubicBezTo>
                  <a:cubicBezTo>
                    <a:pt x="100" y="85"/>
                    <a:pt x="101" y="85"/>
                    <a:pt x="101" y="85"/>
                  </a:cubicBezTo>
                  <a:cubicBezTo>
                    <a:pt x="102" y="84"/>
                    <a:pt x="102" y="82"/>
                    <a:pt x="101" y="81"/>
                  </a:cubicBezTo>
                  <a:lnTo>
                    <a:pt x="98" y="78"/>
                  </a:lnTo>
                  <a:close/>
                  <a:moveTo>
                    <a:pt x="20" y="68"/>
                  </a:moveTo>
                  <a:cubicBezTo>
                    <a:pt x="20" y="67"/>
                    <a:pt x="18" y="66"/>
                    <a:pt x="17" y="67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8" y="72"/>
                    <a:pt x="7" y="74"/>
                    <a:pt x="8" y="75"/>
                  </a:cubicBezTo>
                  <a:cubicBezTo>
                    <a:pt x="8" y="76"/>
                    <a:pt x="9" y="76"/>
                    <a:pt x="10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0" y="70"/>
                    <a:pt x="21" y="69"/>
                    <a:pt x="20" y="68"/>
                  </a:cubicBezTo>
                  <a:moveTo>
                    <a:pt x="9" y="16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8" y="21"/>
                    <a:pt x="18" y="21"/>
                  </a:cubicBezTo>
                  <a:cubicBezTo>
                    <a:pt x="19" y="21"/>
                    <a:pt x="20" y="20"/>
                    <a:pt x="20" y="20"/>
                  </a:cubicBezTo>
                  <a:cubicBezTo>
                    <a:pt x="21" y="18"/>
                    <a:pt x="20" y="17"/>
                    <a:pt x="19" y="1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9" y="11"/>
                    <a:pt x="8" y="12"/>
                  </a:cubicBezTo>
                  <a:cubicBezTo>
                    <a:pt x="7" y="13"/>
                    <a:pt x="8" y="15"/>
                    <a:pt x="9" y="16"/>
                  </a:cubicBezTo>
                  <a:moveTo>
                    <a:pt x="24" y="10"/>
                  </a:moveTo>
                  <a:cubicBezTo>
                    <a:pt x="25" y="10"/>
                    <a:pt x="25" y="10"/>
                    <a:pt x="26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9" y="9"/>
                    <a:pt x="29" y="7"/>
                    <a:pt x="28" y="6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2"/>
                    <a:pt x="22" y="2"/>
                    <a:pt x="21" y="3"/>
                  </a:cubicBezTo>
                  <a:cubicBezTo>
                    <a:pt x="20" y="4"/>
                    <a:pt x="20" y="5"/>
                    <a:pt x="21" y="6"/>
                  </a:cubicBezTo>
                  <a:lnTo>
                    <a:pt x="24" y="10"/>
                  </a:lnTo>
                  <a:close/>
                  <a:moveTo>
                    <a:pt x="14" y="44"/>
                  </a:moveTo>
                  <a:cubicBezTo>
                    <a:pt x="14" y="42"/>
                    <a:pt x="13" y="41"/>
                    <a:pt x="11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3" y="46"/>
                    <a:pt x="14" y="45"/>
                    <a:pt x="14" y="4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1" name="Group 168">
            <a:extLst>
              <a:ext uri="{FF2B5EF4-FFF2-40B4-BE49-F238E27FC236}">
                <a16:creationId xmlns:a16="http://schemas.microsoft.com/office/drawing/2014/main" id="{62BA2870-50B6-4B42-A9C7-D30B6DB2D8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720" y="2863400"/>
            <a:ext cx="758825" cy="758825"/>
            <a:chOff x="3505" y="1976"/>
            <a:chExt cx="478" cy="478"/>
          </a:xfrm>
        </p:grpSpPr>
        <p:sp>
          <p:nvSpPr>
            <p:cNvPr id="192" name="AutoShape 167">
              <a:extLst>
                <a:ext uri="{FF2B5EF4-FFF2-40B4-BE49-F238E27FC236}">
                  <a16:creationId xmlns:a16="http://schemas.microsoft.com/office/drawing/2014/main" id="{3334984B-83F6-459C-8FFB-5B6A1AD320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05" y="197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69">
              <a:extLst>
                <a:ext uri="{FF2B5EF4-FFF2-40B4-BE49-F238E27FC236}">
                  <a16:creationId xmlns:a16="http://schemas.microsoft.com/office/drawing/2014/main" id="{2DD8B416-49DF-4FCB-A272-BAC1E9675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7" y="197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70">
              <a:extLst>
                <a:ext uri="{FF2B5EF4-FFF2-40B4-BE49-F238E27FC236}">
                  <a16:creationId xmlns:a16="http://schemas.microsoft.com/office/drawing/2014/main" id="{265D30F0-04E3-4637-9902-BFDD57959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8" y="2045"/>
              <a:ext cx="275" cy="323"/>
            </a:xfrm>
            <a:custGeom>
              <a:avLst/>
              <a:gdLst>
                <a:gd name="T0" fmla="*/ 85 w 112"/>
                <a:gd name="T1" fmla="*/ 26 h 132"/>
                <a:gd name="T2" fmla="*/ 94 w 112"/>
                <a:gd name="T3" fmla="*/ 7 h 132"/>
                <a:gd name="T4" fmla="*/ 96 w 112"/>
                <a:gd name="T5" fmla="*/ 18 h 132"/>
                <a:gd name="T6" fmla="*/ 95 w 112"/>
                <a:gd name="T7" fmla="*/ 26 h 132"/>
                <a:gd name="T8" fmla="*/ 109 w 112"/>
                <a:gd name="T9" fmla="*/ 13 h 132"/>
                <a:gd name="T10" fmla="*/ 99 w 112"/>
                <a:gd name="T11" fmla="*/ 2 h 132"/>
                <a:gd name="T12" fmla="*/ 95 w 112"/>
                <a:gd name="T13" fmla="*/ 1 h 132"/>
                <a:gd name="T14" fmla="*/ 81 w 112"/>
                <a:gd name="T15" fmla="*/ 15 h 132"/>
                <a:gd name="T16" fmla="*/ 45 w 112"/>
                <a:gd name="T17" fmla="*/ 64 h 132"/>
                <a:gd name="T18" fmla="*/ 46 w 112"/>
                <a:gd name="T19" fmla="*/ 68 h 132"/>
                <a:gd name="T20" fmla="*/ 84 w 112"/>
                <a:gd name="T21" fmla="*/ 31 h 132"/>
                <a:gd name="T22" fmla="*/ 98 w 112"/>
                <a:gd name="T23" fmla="*/ 30 h 132"/>
                <a:gd name="T24" fmla="*/ 111 w 112"/>
                <a:gd name="T25" fmla="*/ 14 h 132"/>
                <a:gd name="T26" fmla="*/ 46 w 112"/>
                <a:gd name="T27" fmla="*/ 31 h 132"/>
                <a:gd name="T28" fmla="*/ 46 w 112"/>
                <a:gd name="T29" fmla="*/ 101 h 132"/>
                <a:gd name="T30" fmla="*/ 75 w 112"/>
                <a:gd name="T31" fmla="*/ 46 h 132"/>
                <a:gd name="T32" fmla="*/ 77 w 112"/>
                <a:gd name="T33" fmla="*/ 66 h 132"/>
                <a:gd name="T34" fmla="*/ 16 w 112"/>
                <a:gd name="T35" fmla="*/ 66 h 132"/>
                <a:gd name="T36" fmla="*/ 63 w 112"/>
                <a:gd name="T37" fmla="*/ 40 h 132"/>
                <a:gd name="T38" fmla="*/ 46 w 112"/>
                <a:gd name="T39" fmla="*/ 57 h 132"/>
                <a:gd name="T40" fmla="*/ 46 w 112"/>
                <a:gd name="T41" fmla="*/ 53 h 132"/>
                <a:gd name="T42" fmla="*/ 46 w 112"/>
                <a:gd name="T43" fmla="*/ 79 h 132"/>
                <a:gd name="T44" fmla="*/ 59 w 112"/>
                <a:gd name="T45" fmla="*/ 63 h 132"/>
                <a:gd name="T46" fmla="*/ 46 w 112"/>
                <a:gd name="T47" fmla="*/ 75 h 132"/>
                <a:gd name="T48" fmla="*/ 46 w 112"/>
                <a:gd name="T49" fmla="*/ 57 h 132"/>
                <a:gd name="T50" fmla="*/ 83 w 112"/>
                <a:gd name="T51" fmla="*/ 38 h 132"/>
                <a:gd name="T52" fmla="*/ 88 w 112"/>
                <a:gd name="T53" fmla="*/ 66 h 132"/>
                <a:gd name="T54" fmla="*/ 5 w 112"/>
                <a:gd name="T55" fmla="*/ 66 h 132"/>
                <a:gd name="T56" fmla="*/ 70 w 112"/>
                <a:gd name="T57" fmla="*/ 32 h 132"/>
                <a:gd name="T58" fmla="*/ 46 w 112"/>
                <a:gd name="T59" fmla="*/ 20 h 132"/>
                <a:gd name="T60" fmla="*/ 22 w 112"/>
                <a:gd name="T61" fmla="*/ 105 h 132"/>
                <a:gd name="T62" fmla="*/ 10 w 112"/>
                <a:gd name="T63" fmla="*/ 132 h 132"/>
                <a:gd name="T64" fmla="*/ 13 w 112"/>
                <a:gd name="T65" fmla="*/ 131 h 132"/>
                <a:gd name="T66" fmla="*/ 44 w 112"/>
                <a:gd name="T67" fmla="*/ 112 h 132"/>
                <a:gd name="T68" fmla="*/ 44 w 112"/>
                <a:gd name="T69" fmla="*/ 123 h 132"/>
                <a:gd name="T70" fmla="*/ 48 w 112"/>
                <a:gd name="T71" fmla="*/ 123 h 132"/>
                <a:gd name="T72" fmla="*/ 48 w 112"/>
                <a:gd name="T73" fmla="*/ 112 h 132"/>
                <a:gd name="T74" fmla="*/ 79 w 112"/>
                <a:gd name="T75" fmla="*/ 131 h 132"/>
                <a:gd name="T76" fmla="*/ 82 w 112"/>
                <a:gd name="T77" fmla="*/ 132 h 132"/>
                <a:gd name="T78" fmla="*/ 70 w 112"/>
                <a:gd name="T79" fmla="*/ 105 h 132"/>
                <a:gd name="T80" fmla="*/ 58 w 112"/>
                <a:gd name="T81" fmla="*/ 45 h 132"/>
                <a:gd name="T82" fmla="*/ 22 w 112"/>
                <a:gd name="T83" fmla="*/ 66 h 132"/>
                <a:gd name="T84" fmla="*/ 70 w 112"/>
                <a:gd name="T85" fmla="*/ 66 h 132"/>
                <a:gd name="T86" fmla="*/ 64 w 112"/>
                <a:gd name="T87" fmla="*/ 57 h 132"/>
                <a:gd name="T88" fmla="*/ 46 w 112"/>
                <a:gd name="T89" fmla="*/ 86 h 132"/>
                <a:gd name="T90" fmla="*/ 46 w 112"/>
                <a:gd name="T91" fmla="*/ 46 h 132"/>
                <a:gd name="T92" fmla="*/ 58 w 112"/>
                <a:gd name="T93" fmla="*/ 4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2" h="132">
                  <a:moveTo>
                    <a:pt x="9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4" y="17"/>
                    <a:pt x="95" y="18"/>
                    <a:pt x="96" y="18"/>
                  </a:cubicBezTo>
                  <a:cubicBezTo>
                    <a:pt x="104" y="18"/>
                    <a:pt x="104" y="18"/>
                    <a:pt x="104" y="18"/>
                  </a:cubicBezTo>
                  <a:lnTo>
                    <a:pt x="95" y="26"/>
                  </a:lnTo>
                  <a:close/>
                  <a:moveTo>
                    <a:pt x="111" y="14"/>
                  </a:moveTo>
                  <a:cubicBezTo>
                    <a:pt x="111" y="14"/>
                    <a:pt x="110" y="13"/>
                    <a:pt x="10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8" y="0"/>
                    <a:pt x="97" y="0"/>
                  </a:cubicBezTo>
                  <a:cubicBezTo>
                    <a:pt x="96" y="0"/>
                    <a:pt x="95" y="0"/>
                    <a:pt x="95" y="1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4"/>
                    <a:pt x="81" y="15"/>
                    <a:pt x="81" y="15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4" y="65"/>
                    <a:pt x="44" y="67"/>
                    <a:pt x="45" y="68"/>
                  </a:cubicBezTo>
                  <a:cubicBezTo>
                    <a:pt x="45" y="68"/>
                    <a:pt x="46" y="68"/>
                    <a:pt x="46" y="68"/>
                  </a:cubicBezTo>
                  <a:cubicBezTo>
                    <a:pt x="47" y="68"/>
                    <a:pt x="47" y="68"/>
                    <a:pt x="48" y="68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7" y="31"/>
                    <a:pt x="98" y="30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2" y="16"/>
                    <a:pt x="112" y="15"/>
                    <a:pt x="111" y="14"/>
                  </a:cubicBezTo>
                  <a:moveTo>
                    <a:pt x="66" y="37"/>
                  </a:moveTo>
                  <a:cubicBezTo>
                    <a:pt x="60" y="33"/>
                    <a:pt x="53" y="31"/>
                    <a:pt x="46" y="31"/>
                  </a:cubicBezTo>
                  <a:cubicBezTo>
                    <a:pt x="27" y="31"/>
                    <a:pt x="11" y="47"/>
                    <a:pt x="11" y="66"/>
                  </a:cubicBezTo>
                  <a:cubicBezTo>
                    <a:pt x="11" y="85"/>
                    <a:pt x="27" y="101"/>
                    <a:pt x="46" y="101"/>
                  </a:cubicBezTo>
                  <a:cubicBezTo>
                    <a:pt x="65" y="101"/>
                    <a:pt x="81" y="85"/>
                    <a:pt x="81" y="66"/>
                  </a:cubicBezTo>
                  <a:cubicBezTo>
                    <a:pt x="81" y="59"/>
                    <a:pt x="79" y="52"/>
                    <a:pt x="75" y="46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5" y="54"/>
                    <a:pt x="77" y="60"/>
                    <a:pt x="77" y="66"/>
                  </a:cubicBezTo>
                  <a:cubicBezTo>
                    <a:pt x="77" y="83"/>
                    <a:pt x="63" y="97"/>
                    <a:pt x="46" y="97"/>
                  </a:cubicBezTo>
                  <a:cubicBezTo>
                    <a:pt x="29" y="97"/>
                    <a:pt x="16" y="83"/>
                    <a:pt x="16" y="66"/>
                  </a:cubicBezTo>
                  <a:cubicBezTo>
                    <a:pt x="16" y="49"/>
                    <a:pt x="29" y="35"/>
                    <a:pt x="46" y="35"/>
                  </a:cubicBezTo>
                  <a:cubicBezTo>
                    <a:pt x="52" y="35"/>
                    <a:pt x="58" y="37"/>
                    <a:pt x="63" y="40"/>
                  </a:cubicBezTo>
                  <a:lnTo>
                    <a:pt x="66" y="37"/>
                  </a:lnTo>
                  <a:close/>
                  <a:moveTo>
                    <a:pt x="46" y="57"/>
                  </a:moveTo>
                  <a:cubicBezTo>
                    <a:pt x="50" y="53"/>
                    <a:pt x="50" y="53"/>
                    <a:pt x="50" y="53"/>
                  </a:cubicBezTo>
                  <a:cubicBezTo>
                    <a:pt x="48" y="53"/>
                    <a:pt x="47" y="53"/>
                    <a:pt x="46" y="53"/>
                  </a:cubicBezTo>
                  <a:cubicBezTo>
                    <a:pt x="39" y="53"/>
                    <a:pt x="33" y="59"/>
                    <a:pt x="33" y="66"/>
                  </a:cubicBezTo>
                  <a:cubicBezTo>
                    <a:pt x="33" y="73"/>
                    <a:pt x="39" y="79"/>
                    <a:pt x="46" y="79"/>
                  </a:cubicBezTo>
                  <a:cubicBezTo>
                    <a:pt x="53" y="79"/>
                    <a:pt x="59" y="73"/>
                    <a:pt x="59" y="66"/>
                  </a:cubicBezTo>
                  <a:cubicBezTo>
                    <a:pt x="59" y="65"/>
                    <a:pt x="59" y="64"/>
                    <a:pt x="59" y="63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71"/>
                    <a:pt x="51" y="75"/>
                    <a:pt x="46" y="75"/>
                  </a:cubicBezTo>
                  <a:cubicBezTo>
                    <a:pt x="41" y="75"/>
                    <a:pt x="37" y="71"/>
                    <a:pt x="37" y="66"/>
                  </a:cubicBezTo>
                  <a:cubicBezTo>
                    <a:pt x="37" y="61"/>
                    <a:pt x="41" y="58"/>
                    <a:pt x="46" y="57"/>
                  </a:cubicBezTo>
                  <a:moveTo>
                    <a:pt x="92" y="66"/>
                  </a:moveTo>
                  <a:cubicBezTo>
                    <a:pt x="92" y="56"/>
                    <a:pt x="89" y="46"/>
                    <a:pt x="83" y="3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5" y="48"/>
                    <a:pt x="88" y="57"/>
                    <a:pt x="88" y="66"/>
                  </a:cubicBezTo>
                  <a:cubicBezTo>
                    <a:pt x="88" y="89"/>
                    <a:pt x="69" y="108"/>
                    <a:pt x="46" y="108"/>
                  </a:cubicBezTo>
                  <a:cubicBezTo>
                    <a:pt x="23" y="108"/>
                    <a:pt x="5" y="89"/>
                    <a:pt x="5" y="66"/>
                  </a:cubicBezTo>
                  <a:cubicBezTo>
                    <a:pt x="5" y="43"/>
                    <a:pt x="23" y="24"/>
                    <a:pt x="46" y="24"/>
                  </a:cubicBezTo>
                  <a:cubicBezTo>
                    <a:pt x="55" y="24"/>
                    <a:pt x="64" y="27"/>
                    <a:pt x="70" y="32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66" y="23"/>
                    <a:pt x="56" y="20"/>
                    <a:pt x="46" y="20"/>
                  </a:cubicBezTo>
                  <a:cubicBezTo>
                    <a:pt x="21" y="20"/>
                    <a:pt x="0" y="40"/>
                    <a:pt x="0" y="66"/>
                  </a:cubicBezTo>
                  <a:cubicBezTo>
                    <a:pt x="0" y="83"/>
                    <a:pt x="9" y="97"/>
                    <a:pt x="22" y="105"/>
                  </a:cubicBezTo>
                  <a:cubicBezTo>
                    <a:pt x="9" y="129"/>
                    <a:pt x="9" y="129"/>
                    <a:pt x="9" y="129"/>
                  </a:cubicBezTo>
                  <a:cubicBezTo>
                    <a:pt x="9" y="130"/>
                    <a:pt x="9" y="131"/>
                    <a:pt x="10" y="132"/>
                  </a:cubicBezTo>
                  <a:cubicBezTo>
                    <a:pt x="11" y="132"/>
                    <a:pt x="11" y="132"/>
                    <a:pt x="11" y="132"/>
                  </a:cubicBezTo>
                  <a:cubicBezTo>
                    <a:pt x="12" y="132"/>
                    <a:pt x="13" y="132"/>
                    <a:pt x="13" y="131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31" y="110"/>
                    <a:pt x="38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23"/>
                    <a:pt x="44" y="123"/>
                    <a:pt x="44" y="123"/>
                  </a:cubicBezTo>
                  <a:cubicBezTo>
                    <a:pt x="44" y="125"/>
                    <a:pt x="45" y="125"/>
                    <a:pt x="46" y="125"/>
                  </a:cubicBezTo>
                  <a:cubicBezTo>
                    <a:pt x="47" y="125"/>
                    <a:pt x="48" y="125"/>
                    <a:pt x="48" y="123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55" y="112"/>
                    <a:pt x="61" y="110"/>
                    <a:pt x="66" y="107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80" y="132"/>
                    <a:pt x="80" y="132"/>
                    <a:pt x="81" y="132"/>
                  </a:cubicBezTo>
                  <a:cubicBezTo>
                    <a:pt x="81" y="132"/>
                    <a:pt x="82" y="132"/>
                    <a:pt x="82" y="132"/>
                  </a:cubicBezTo>
                  <a:cubicBezTo>
                    <a:pt x="83" y="131"/>
                    <a:pt x="84" y="130"/>
                    <a:pt x="83" y="129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83" y="97"/>
                    <a:pt x="92" y="83"/>
                    <a:pt x="92" y="66"/>
                  </a:cubicBezTo>
                  <a:moveTo>
                    <a:pt x="58" y="45"/>
                  </a:moveTo>
                  <a:cubicBezTo>
                    <a:pt x="54" y="43"/>
                    <a:pt x="50" y="42"/>
                    <a:pt x="46" y="42"/>
                  </a:cubicBezTo>
                  <a:cubicBezTo>
                    <a:pt x="33" y="42"/>
                    <a:pt x="22" y="53"/>
                    <a:pt x="22" y="66"/>
                  </a:cubicBezTo>
                  <a:cubicBezTo>
                    <a:pt x="22" y="79"/>
                    <a:pt x="33" y="90"/>
                    <a:pt x="46" y="90"/>
                  </a:cubicBezTo>
                  <a:cubicBezTo>
                    <a:pt x="59" y="90"/>
                    <a:pt x="70" y="79"/>
                    <a:pt x="70" y="66"/>
                  </a:cubicBezTo>
                  <a:cubicBezTo>
                    <a:pt x="70" y="62"/>
                    <a:pt x="69" y="58"/>
                    <a:pt x="67" y="54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5" y="60"/>
                    <a:pt x="66" y="63"/>
                    <a:pt x="66" y="66"/>
                  </a:cubicBezTo>
                  <a:cubicBezTo>
                    <a:pt x="66" y="77"/>
                    <a:pt x="57" y="86"/>
                    <a:pt x="46" y="86"/>
                  </a:cubicBezTo>
                  <a:cubicBezTo>
                    <a:pt x="35" y="86"/>
                    <a:pt x="27" y="77"/>
                    <a:pt x="27" y="66"/>
                  </a:cubicBezTo>
                  <a:cubicBezTo>
                    <a:pt x="27" y="55"/>
                    <a:pt x="35" y="46"/>
                    <a:pt x="46" y="46"/>
                  </a:cubicBezTo>
                  <a:cubicBezTo>
                    <a:pt x="49" y="46"/>
                    <a:pt x="52" y="47"/>
                    <a:pt x="55" y="48"/>
                  </a:cubicBezTo>
                  <a:lnTo>
                    <a:pt x="58" y="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73">
            <a:extLst>
              <a:ext uri="{FF2B5EF4-FFF2-40B4-BE49-F238E27FC236}">
                <a16:creationId xmlns:a16="http://schemas.microsoft.com/office/drawing/2014/main" id="{F1C16012-9295-4291-879A-6598DE3636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9651" y="2822125"/>
            <a:ext cx="841375" cy="841375"/>
            <a:chOff x="3027" y="1844"/>
            <a:chExt cx="530" cy="530"/>
          </a:xfrm>
        </p:grpSpPr>
        <p:sp>
          <p:nvSpPr>
            <p:cNvPr id="196" name="AutoShape 172">
              <a:extLst>
                <a:ext uri="{FF2B5EF4-FFF2-40B4-BE49-F238E27FC236}">
                  <a16:creationId xmlns:a16="http://schemas.microsoft.com/office/drawing/2014/main" id="{94621321-B3ED-4E19-88FC-8CA0B431FB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7" y="184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Oval 174">
              <a:extLst>
                <a:ext uri="{FF2B5EF4-FFF2-40B4-BE49-F238E27FC236}">
                  <a16:creationId xmlns:a16="http://schemas.microsoft.com/office/drawing/2014/main" id="{51476E54-30D1-47A6-8A70-7F8E74738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" y="184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75">
              <a:extLst>
                <a:ext uri="{FF2B5EF4-FFF2-40B4-BE49-F238E27FC236}">
                  <a16:creationId xmlns:a16="http://schemas.microsoft.com/office/drawing/2014/main" id="{7950C5FF-14C7-4211-8509-0EFB388A28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5" y="186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76">
              <a:extLst>
                <a:ext uri="{FF2B5EF4-FFF2-40B4-BE49-F238E27FC236}">
                  <a16:creationId xmlns:a16="http://schemas.microsoft.com/office/drawing/2014/main" id="{070268BC-9A6F-4F02-AE8C-A0E78DA95B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0" y="1931"/>
              <a:ext cx="287" cy="338"/>
            </a:xfrm>
            <a:custGeom>
              <a:avLst/>
              <a:gdLst>
                <a:gd name="T0" fmla="*/ 85 w 112"/>
                <a:gd name="T1" fmla="*/ 26 h 132"/>
                <a:gd name="T2" fmla="*/ 94 w 112"/>
                <a:gd name="T3" fmla="*/ 7 h 132"/>
                <a:gd name="T4" fmla="*/ 96 w 112"/>
                <a:gd name="T5" fmla="*/ 18 h 132"/>
                <a:gd name="T6" fmla="*/ 95 w 112"/>
                <a:gd name="T7" fmla="*/ 26 h 132"/>
                <a:gd name="T8" fmla="*/ 109 w 112"/>
                <a:gd name="T9" fmla="*/ 13 h 132"/>
                <a:gd name="T10" fmla="*/ 99 w 112"/>
                <a:gd name="T11" fmla="*/ 2 h 132"/>
                <a:gd name="T12" fmla="*/ 95 w 112"/>
                <a:gd name="T13" fmla="*/ 1 h 132"/>
                <a:gd name="T14" fmla="*/ 81 w 112"/>
                <a:gd name="T15" fmla="*/ 15 h 132"/>
                <a:gd name="T16" fmla="*/ 45 w 112"/>
                <a:gd name="T17" fmla="*/ 64 h 132"/>
                <a:gd name="T18" fmla="*/ 46 w 112"/>
                <a:gd name="T19" fmla="*/ 68 h 132"/>
                <a:gd name="T20" fmla="*/ 84 w 112"/>
                <a:gd name="T21" fmla="*/ 31 h 132"/>
                <a:gd name="T22" fmla="*/ 98 w 112"/>
                <a:gd name="T23" fmla="*/ 30 h 132"/>
                <a:gd name="T24" fmla="*/ 111 w 112"/>
                <a:gd name="T25" fmla="*/ 14 h 132"/>
                <a:gd name="T26" fmla="*/ 46 w 112"/>
                <a:gd name="T27" fmla="*/ 31 h 132"/>
                <a:gd name="T28" fmla="*/ 46 w 112"/>
                <a:gd name="T29" fmla="*/ 101 h 132"/>
                <a:gd name="T30" fmla="*/ 75 w 112"/>
                <a:gd name="T31" fmla="*/ 46 h 132"/>
                <a:gd name="T32" fmla="*/ 77 w 112"/>
                <a:gd name="T33" fmla="*/ 66 h 132"/>
                <a:gd name="T34" fmla="*/ 16 w 112"/>
                <a:gd name="T35" fmla="*/ 66 h 132"/>
                <a:gd name="T36" fmla="*/ 63 w 112"/>
                <a:gd name="T37" fmla="*/ 40 h 132"/>
                <a:gd name="T38" fmla="*/ 46 w 112"/>
                <a:gd name="T39" fmla="*/ 57 h 132"/>
                <a:gd name="T40" fmla="*/ 46 w 112"/>
                <a:gd name="T41" fmla="*/ 53 h 132"/>
                <a:gd name="T42" fmla="*/ 46 w 112"/>
                <a:gd name="T43" fmla="*/ 79 h 132"/>
                <a:gd name="T44" fmla="*/ 59 w 112"/>
                <a:gd name="T45" fmla="*/ 63 h 132"/>
                <a:gd name="T46" fmla="*/ 46 w 112"/>
                <a:gd name="T47" fmla="*/ 75 h 132"/>
                <a:gd name="T48" fmla="*/ 46 w 112"/>
                <a:gd name="T49" fmla="*/ 57 h 132"/>
                <a:gd name="T50" fmla="*/ 83 w 112"/>
                <a:gd name="T51" fmla="*/ 38 h 132"/>
                <a:gd name="T52" fmla="*/ 88 w 112"/>
                <a:gd name="T53" fmla="*/ 66 h 132"/>
                <a:gd name="T54" fmla="*/ 5 w 112"/>
                <a:gd name="T55" fmla="*/ 66 h 132"/>
                <a:gd name="T56" fmla="*/ 70 w 112"/>
                <a:gd name="T57" fmla="*/ 32 h 132"/>
                <a:gd name="T58" fmla="*/ 46 w 112"/>
                <a:gd name="T59" fmla="*/ 20 h 132"/>
                <a:gd name="T60" fmla="*/ 22 w 112"/>
                <a:gd name="T61" fmla="*/ 105 h 132"/>
                <a:gd name="T62" fmla="*/ 10 w 112"/>
                <a:gd name="T63" fmla="*/ 132 h 132"/>
                <a:gd name="T64" fmla="*/ 13 w 112"/>
                <a:gd name="T65" fmla="*/ 131 h 132"/>
                <a:gd name="T66" fmla="*/ 44 w 112"/>
                <a:gd name="T67" fmla="*/ 112 h 132"/>
                <a:gd name="T68" fmla="*/ 44 w 112"/>
                <a:gd name="T69" fmla="*/ 123 h 132"/>
                <a:gd name="T70" fmla="*/ 48 w 112"/>
                <a:gd name="T71" fmla="*/ 123 h 132"/>
                <a:gd name="T72" fmla="*/ 48 w 112"/>
                <a:gd name="T73" fmla="*/ 112 h 132"/>
                <a:gd name="T74" fmla="*/ 79 w 112"/>
                <a:gd name="T75" fmla="*/ 131 h 132"/>
                <a:gd name="T76" fmla="*/ 82 w 112"/>
                <a:gd name="T77" fmla="*/ 132 h 132"/>
                <a:gd name="T78" fmla="*/ 70 w 112"/>
                <a:gd name="T79" fmla="*/ 105 h 132"/>
                <a:gd name="T80" fmla="*/ 58 w 112"/>
                <a:gd name="T81" fmla="*/ 45 h 132"/>
                <a:gd name="T82" fmla="*/ 22 w 112"/>
                <a:gd name="T83" fmla="*/ 66 h 132"/>
                <a:gd name="T84" fmla="*/ 70 w 112"/>
                <a:gd name="T85" fmla="*/ 66 h 132"/>
                <a:gd name="T86" fmla="*/ 64 w 112"/>
                <a:gd name="T87" fmla="*/ 57 h 132"/>
                <a:gd name="T88" fmla="*/ 46 w 112"/>
                <a:gd name="T89" fmla="*/ 86 h 132"/>
                <a:gd name="T90" fmla="*/ 46 w 112"/>
                <a:gd name="T91" fmla="*/ 46 h 132"/>
                <a:gd name="T92" fmla="*/ 58 w 112"/>
                <a:gd name="T93" fmla="*/ 4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2" h="132">
                  <a:moveTo>
                    <a:pt x="9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4" y="17"/>
                    <a:pt x="95" y="18"/>
                    <a:pt x="96" y="18"/>
                  </a:cubicBezTo>
                  <a:cubicBezTo>
                    <a:pt x="104" y="18"/>
                    <a:pt x="104" y="18"/>
                    <a:pt x="104" y="18"/>
                  </a:cubicBezTo>
                  <a:lnTo>
                    <a:pt x="95" y="26"/>
                  </a:lnTo>
                  <a:close/>
                  <a:moveTo>
                    <a:pt x="111" y="14"/>
                  </a:moveTo>
                  <a:cubicBezTo>
                    <a:pt x="111" y="14"/>
                    <a:pt x="110" y="13"/>
                    <a:pt x="10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8" y="0"/>
                    <a:pt x="97" y="0"/>
                  </a:cubicBezTo>
                  <a:cubicBezTo>
                    <a:pt x="96" y="0"/>
                    <a:pt x="95" y="0"/>
                    <a:pt x="95" y="1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4"/>
                    <a:pt x="81" y="15"/>
                    <a:pt x="81" y="15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4" y="65"/>
                    <a:pt x="44" y="67"/>
                    <a:pt x="45" y="68"/>
                  </a:cubicBezTo>
                  <a:cubicBezTo>
                    <a:pt x="45" y="68"/>
                    <a:pt x="46" y="68"/>
                    <a:pt x="46" y="68"/>
                  </a:cubicBezTo>
                  <a:cubicBezTo>
                    <a:pt x="47" y="68"/>
                    <a:pt x="47" y="68"/>
                    <a:pt x="48" y="68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7" y="31"/>
                    <a:pt x="98" y="30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2" y="16"/>
                    <a:pt x="112" y="15"/>
                    <a:pt x="111" y="14"/>
                  </a:cubicBezTo>
                  <a:moveTo>
                    <a:pt x="66" y="37"/>
                  </a:moveTo>
                  <a:cubicBezTo>
                    <a:pt x="60" y="33"/>
                    <a:pt x="53" y="31"/>
                    <a:pt x="46" y="31"/>
                  </a:cubicBezTo>
                  <a:cubicBezTo>
                    <a:pt x="27" y="31"/>
                    <a:pt x="11" y="47"/>
                    <a:pt x="11" y="66"/>
                  </a:cubicBezTo>
                  <a:cubicBezTo>
                    <a:pt x="11" y="85"/>
                    <a:pt x="27" y="101"/>
                    <a:pt x="46" y="101"/>
                  </a:cubicBezTo>
                  <a:cubicBezTo>
                    <a:pt x="65" y="101"/>
                    <a:pt x="81" y="85"/>
                    <a:pt x="81" y="66"/>
                  </a:cubicBezTo>
                  <a:cubicBezTo>
                    <a:pt x="81" y="59"/>
                    <a:pt x="79" y="52"/>
                    <a:pt x="75" y="46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5" y="54"/>
                    <a:pt x="77" y="60"/>
                    <a:pt x="77" y="66"/>
                  </a:cubicBezTo>
                  <a:cubicBezTo>
                    <a:pt x="77" y="83"/>
                    <a:pt x="63" y="97"/>
                    <a:pt x="46" y="97"/>
                  </a:cubicBezTo>
                  <a:cubicBezTo>
                    <a:pt x="29" y="97"/>
                    <a:pt x="16" y="83"/>
                    <a:pt x="16" y="66"/>
                  </a:cubicBezTo>
                  <a:cubicBezTo>
                    <a:pt x="16" y="49"/>
                    <a:pt x="29" y="35"/>
                    <a:pt x="46" y="35"/>
                  </a:cubicBezTo>
                  <a:cubicBezTo>
                    <a:pt x="52" y="35"/>
                    <a:pt x="58" y="37"/>
                    <a:pt x="63" y="40"/>
                  </a:cubicBezTo>
                  <a:lnTo>
                    <a:pt x="66" y="37"/>
                  </a:lnTo>
                  <a:close/>
                  <a:moveTo>
                    <a:pt x="46" y="57"/>
                  </a:moveTo>
                  <a:cubicBezTo>
                    <a:pt x="50" y="53"/>
                    <a:pt x="50" y="53"/>
                    <a:pt x="50" y="53"/>
                  </a:cubicBezTo>
                  <a:cubicBezTo>
                    <a:pt x="48" y="53"/>
                    <a:pt x="47" y="53"/>
                    <a:pt x="46" y="53"/>
                  </a:cubicBezTo>
                  <a:cubicBezTo>
                    <a:pt x="39" y="53"/>
                    <a:pt x="33" y="59"/>
                    <a:pt x="33" y="66"/>
                  </a:cubicBezTo>
                  <a:cubicBezTo>
                    <a:pt x="33" y="73"/>
                    <a:pt x="39" y="79"/>
                    <a:pt x="46" y="79"/>
                  </a:cubicBezTo>
                  <a:cubicBezTo>
                    <a:pt x="53" y="79"/>
                    <a:pt x="59" y="73"/>
                    <a:pt x="59" y="66"/>
                  </a:cubicBezTo>
                  <a:cubicBezTo>
                    <a:pt x="59" y="65"/>
                    <a:pt x="59" y="64"/>
                    <a:pt x="59" y="63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71"/>
                    <a:pt x="51" y="75"/>
                    <a:pt x="46" y="75"/>
                  </a:cubicBezTo>
                  <a:cubicBezTo>
                    <a:pt x="41" y="75"/>
                    <a:pt x="37" y="71"/>
                    <a:pt x="37" y="66"/>
                  </a:cubicBezTo>
                  <a:cubicBezTo>
                    <a:pt x="37" y="61"/>
                    <a:pt x="41" y="58"/>
                    <a:pt x="46" y="57"/>
                  </a:cubicBezTo>
                  <a:moveTo>
                    <a:pt x="92" y="66"/>
                  </a:moveTo>
                  <a:cubicBezTo>
                    <a:pt x="92" y="56"/>
                    <a:pt x="89" y="46"/>
                    <a:pt x="83" y="3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5" y="48"/>
                    <a:pt x="88" y="57"/>
                    <a:pt x="88" y="66"/>
                  </a:cubicBezTo>
                  <a:cubicBezTo>
                    <a:pt x="88" y="89"/>
                    <a:pt x="69" y="108"/>
                    <a:pt x="46" y="108"/>
                  </a:cubicBezTo>
                  <a:cubicBezTo>
                    <a:pt x="23" y="108"/>
                    <a:pt x="5" y="89"/>
                    <a:pt x="5" y="66"/>
                  </a:cubicBezTo>
                  <a:cubicBezTo>
                    <a:pt x="5" y="43"/>
                    <a:pt x="23" y="24"/>
                    <a:pt x="46" y="24"/>
                  </a:cubicBezTo>
                  <a:cubicBezTo>
                    <a:pt x="55" y="24"/>
                    <a:pt x="64" y="27"/>
                    <a:pt x="70" y="32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66" y="23"/>
                    <a:pt x="56" y="20"/>
                    <a:pt x="46" y="20"/>
                  </a:cubicBezTo>
                  <a:cubicBezTo>
                    <a:pt x="21" y="20"/>
                    <a:pt x="0" y="40"/>
                    <a:pt x="0" y="66"/>
                  </a:cubicBezTo>
                  <a:cubicBezTo>
                    <a:pt x="0" y="83"/>
                    <a:pt x="9" y="97"/>
                    <a:pt x="22" y="105"/>
                  </a:cubicBezTo>
                  <a:cubicBezTo>
                    <a:pt x="9" y="129"/>
                    <a:pt x="9" y="129"/>
                    <a:pt x="9" y="129"/>
                  </a:cubicBezTo>
                  <a:cubicBezTo>
                    <a:pt x="9" y="130"/>
                    <a:pt x="9" y="131"/>
                    <a:pt x="10" y="132"/>
                  </a:cubicBezTo>
                  <a:cubicBezTo>
                    <a:pt x="11" y="132"/>
                    <a:pt x="11" y="132"/>
                    <a:pt x="11" y="132"/>
                  </a:cubicBezTo>
                  <a:cubicBezTo>
                    <a:pt x="12" y="132"/>
                    <a:pt x="13" y="132"/>
                    <a:pt x="13" y="131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31" y="110"/>
                    <a:pt x="38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23"/>
                    <a:pt x="44" y="123"/>
                    <a:pt x="44" y="123"/>
                  </a:cubicBezTo>
                  <a:cubicBezTo>
                    <a:pt x="44" y="125"/>
                    <a:pt x="45" y="125"/>
                    <a:pt x="46" y="125"/>
                  </a:cubicBezTo>
                  <a:cubicBezTo>
                    <a:pt x="47" y="125"/>
                    <a:pt x="48" y="125"/>
                    <a:pt x="48" y="123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55" y="112"/>
                    <a:pt x="61" y="110"/>
                    <a:pt x="66" y="107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80" y="132"/>
                    <a:pt x="80" y="132"/>
                    <a:pt x="81" y="132"/>
                  </a:cubicBezTo>
                  <a:cubicBezTo>
                    <a:pt x="81" y="132"/>
                    <a:pt x="82" y="132"/>
                    <a:pt x="82" y="132"/>
                  </a:cubicBezTo>
                  <a:cubicBezTo>
                    <a:pt x="83" y="131"/>
                    <a:pt x="84" y="130"/>
                    <a:pt x="83" y="129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83" y="97"/>
                    <a:pt x="92" y="83"/>
                    <a:pt x="92" y="66"/>
                  </a:cubicBezTo>
                  <a:moveTo>
                    <a:pt x="58" y="45"/>
                  </a:moveTo>
                  <a:cubicBezTo>
                    <a:pt x="54" y="43"/>
                    <a:pt x="50" y="42"/>
                    <a:pt x="46" y="42"/>
                  </a:cubicBezTo>
                  <a:cubicBezTo>
                    <a:pt x="33" y="42"/>
                    <a:pt x="22" y="53"/>
                    <a:pt x="22" y="66"/>
                  </a:cubicBezTo>
                  <a:cubicBezTo>
                    <a:pt x="22" y="79"/>
                    <a:pt x="33" y="90"/>
                    <a:pt x="46" y="90"/>
                  </a:cubicBezTo>
                  <a:cubicBezTo>
                    <a:pt x="59" y="90"/>
                    <a:pt x="70" y="79"/>
                    <a:pt x="70" y="66"/>
                  </a:cubicBezTo>
                  <a:cubicBezTo>
                    <a:pt x="70" y="62"/>
                    <a:pt x="69" y="58"/>
                    <a:pt x="67" y="54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5" y="60"/>
                    <a:pt x="66" y="63"/>
                    <a:pt x="66" y="66"/>
                  </a:cubicBezTo>
                  <a:cubicBezTo>
                    <a:pt x="66" y="77"/>
                    <a:pt x="57" y="86"/>
                    <a:pt x="46" y="86"/>
                  </a:cubicBezTo>
                  <a:cubicBezTo>
                    <a:pt x="35" y="86"/>
                    <a:pt x="27" y="77"/>
                    <a:pt x="27" y="66"/>
                  </a:cubicBezTo>
                  <a:cubicBezTo>
                    <a:pt x="27" y="55"/>
                    <a:pt x="35" y="46"/>
                    <a:pt x="46" y="46"/>
                  </a:cubicBezTo>
                  <a:cubicBezTo>
                    <a:pt x="49" y="46"/>
                    <a:pt x="52" y="47"/>
                    <a:pt x="55" y="48"/>
                  </a:cubicBezTo>
                  <a:lnTo>
                    <a:pt x="58" y="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4" name="Group 179">
            <a:extLst>
              <a:ext uri="{FF2B5EF4-FFF2-40B4-BE49-F238E27FC236}">
                <a16:creationId xmlns:a16="http://schemas.microsoft.com/office/drawing/2014/main" id="{05A337EB-EFB6-4FC1-A48F-49187E879E8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111" y="2863400"/>
            <a:ext cx="758825" cy="758825"/>
            <a:chOff x="5184" y="1995"/>
            <a:chExt cx="478" cy="478"/>
          </a:xfrm>
        </p:grpSpPr>
        <p:sp>
          <p:nvSpPr>
            <p:cNvPr id="205" name="AutoShape 178">
              <a:extLst>
                <a:ext uri="{FF2B5EF4-FFF2-40B4-BE49-F238E27FC236}">
                  <a16:creationId xmlns:a16="http://schemas.microsoft.com/office/drawing/2014/main" id="{ACB17A3C-F557-45F8-B4B5-A005FE2682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84" y="19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80">
              <a:extLst>
                <a:ext uri="{FF2B5EF4-FFF2-40B4-BE49-F238E27FC236}">
                  <a16:creationId xmlns:a16="http://schemas.microsoft.com/office/drawing/2014/main" id="{329EAB9E-67D4-41AF-A138-8D51F9BBF9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6" y="19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81">
              <a:extLst>
                <a:ext uri="{FF2B5EF4-FFF2-40B4-BE49-F238E27FC236}">
                  <a16:creationId xmlns:a16="http://schemas.microsoft.com/office/drawing/2014/main" id="{A137251E-06DB-445C-A65D-D4925BBC7C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7" y="2061"/>
              <a:ext cx="255" cy="348"/>
            </a:xfrm>
            <a:custGeom>
              <a:avLst/>
              <a:gdLst>
                <a:gd name="T0" fmla="*/ 47 w 104"/>
                <a:gd name="T1" fmla="*/ 66 h 142"/>
                <a:gd name="T2" fmla="*/ 48 w 104"/>
                <a:gd name="T3" fmla="*/ 85 h 142"/>
                <a:gd name="T4" fmla="*/ 66 w 104"/>
                <a:gd name="T5" fmla="*/ 67 h 142"/>
                <a:gd name="T6" fmla="*/ 55 w 104"/>
                <a:gd name="T7" fmla="*/ 73 h 142"/>
                <a:gd name="T8" fmla="*/ 66 w 104"/>
                <a:gd name="T9" fmla="*/ 41 h 142"/>
                <a:gd name="T10" fmla="*/ 48 w 104"/>
                <a:gd name="T11" fmla="*/ 40 h 142"/>
                <a:gd name="T12" fmla="*/ 55 w 104"/>
                <a:gd name="T13" fmla="*/ 17 h 142"/>
                <a:gd name="T14" fmla="*/ 43 w 104"/>
                <a:gd name="T15" fmla="*/ 42 h 142"/>
                <a:gd name="T16" fmla="*/ 45 w 104"/>
                <a:gd name="T17" fmla="*/ 45 h 142"/>
                <a:gd name="T18" fmla="*/ 50 w 104"/>
                <a:gd name="T19" fmla="*/ 72 h 142"/>
                <a:gd name="T20" fmla="*/ 85 w 104"/>
                <a:gd name="T21" fmla="*/ 121 h 142"/>
                <a:gd name="T22" fmla="*/ 31 w 104"/>
                <a:gd name="T23" fmla="*/ 137 h 142"/>
                <a:gd name="T24" fmla="*/ 85 w 104"/>
                <a:gd name="T25" fmla="*/ 121 h 142"/>
                <a:gd name="T26" fmla="*/ 99 w 104"/>
                <a:gd name="T27" fmla="*/ 52 h 142"/>
                <a:gd name="T28" fmla="*/ 92 w 104"/>
                <a:gd name="T29" fmla="*/ 78 h 142"/>
                <a:gd name="T30" fmla="*/ 80 w 104"/>
                <a:gd name="T31" fmla="*/ 117 h 142"/>
                <a:gd name="T32" fmla="*/ 40 w 104"/>
                <a:gd name="T33" fmla="*/ 123 h 142"/>
                <a:gd name="T34" fmla="*/ 49 w 104"/>
                <a:gd name="T35" fmla="*/ 103 h 142"/>
                <a:gd name="T36" fmla="*/ 46 w 104"/>
                <a:gd name="T37" fmla="*/ 100 h 142"/>
                <a:gd name="T38" fmla="*/ 15 w 104"/>
                <a:gd name="T39" fmla="*/ 104 h 142"/>
                <a:gd name="T40" fmla="*/ 17 w 104"/>
                <a:gd name="T41" fmla="*/ 83 h 142"/>
                <a:gd name="T42" fmla="*/ 8 w 104"/>
                <a:gd name="T43" fmla="*/ 80 h 142"/>
                <a:gd name="T44" fmla="*/ 7 w 104"/>
                <a:gd name="T45" fmla="*/ 70 h 142"/>
                <a:gd name="T46" fmla="*/ 10 w 104"/>
                <a:gd name="T47" fmla="*/ 54 h 142"/>
                <a:gd name="T48" fmla="*/ 5 w 104"/>
                <a:gd name="T49" fmla="*/ 38 h 142"/>
                <a:gd name="T50" fmla="*/ 5 w 104"/>
                <a:gd name="T51" fmla="*/ 55 h 142"/>
                <a:gd name="T52" fmla="*/ 0 w 104"/>
                <a:gd name="T53" fmla="*/ 78 h 142"/>
                <a:gd name="T54" fmla="*/ 10 w 104"/>
                <a:gd name="T55" fmla="*/ 85 h 142"/>
                <a:gd name="T56" fmla="*/ 22 w 104"/>
                <a:gd name="T57" fmla="*/ 114 h 142"/>
                <a:gd name="T58" fmla="*/ 36 w 104"/>
                <a:gd name="T59" fmla="*/ 123 h 142"/>
                <a:gd name="T60" fmla="*/ 31 w 104"/>
                <a:gd name="T61" fmla="*/ 126 h 142"/>
                <a:gd name="T62" fmla="*/ 26 w 104"/>
                <a:gd name="T63" fmla="*/ 139 h 142"/>
                <a:gd name="T64" fmla="*/ 29 w 104"/>
                <a:gd name="T65" fmla="*/ 142 h 142"/>
                <a:gd name="T66" fmla="*/ 91 w 104"/>
                <a:gd name="T67" fmla="*/ 141 h 142"/>
                <a:gd name="T68" fmla="*/ 89 w 104"/>
                <a:gd name="T69" fmla="*/ 118 h 142"/>
                <a:gd name="T70" fmla="*/ 87 w 104"/>
                <a:gd name="T71" fmla="*/ 116 h 142"/>
                <a:gd name="T72" fmla="*/ 85 w 104"/>
                <a:gd name="T73" fmla="*/ 114 h 142"/>
                <a:gd name="T74" fmla="*/ 104 w 104"/>
                <a:gd name="T75" fmla="*/ 59 h 142"/>
                <a:gd name="T76" fmla="*/ 101 w 104"/>
                <a:gd name="T77" fmla="*/ 50 h 142"/>
                <a:gd name="T78" fmla="*/ 47 w 104"/>
                <a:gd name="T79" fmla="*/ 59 h 142"/>
                <a:gd name="T80" fmla="*/ 47 w 104"/>
                <a:gd name="T81" fmla="*/ 54 h 142"/>
                <a:gd name="T82" fmla="*/ 17 w 104"/>
                <a:gd name="T83" fmla="*/ 40 h 142"/>
                <a:gd name="T84" fmla="*/ 31 w 104"/>
                <a:gd name="T85" fmla="*/ 26 h 142"/>
                <a:gd name="T86" fmla="*/ 33 w 104"/>
                <a:gd name="T87" fmla="*/ 23 h 142"/>
                <a:gd name="T88" fmla="*/ 50 w 104"/>
                <a:gd name="T89" fmla="*/ 5 h 142"/>
                <a:gd name="T90" fmla="*/ 68 w 104"/>
                <a:gd name="T91" fmla="*/ 17 h 142"/>
                <a:gd name="T92" fmla="*/ 80 w 104"/>
                <a:gd name="T93" fmla="*/ 26 h 142"/>
                <a:gd name="T94" fmla="*/ 80 w 104"/>
                <a:gd name="T95" fmla="*/ 30 h 142"/>
                <a:gd name="T96" fmla="*/ 92 w 104"/>
                <a:gd name="T97" fmla="*/ 43 h 142"/>
                <a:gd name="T98" fmla="*/ 68 w 104"/>
                <a:gd name="T99" fmla="*/ 54 h 142"/>
                <a:gd name="T100" fmla="*/ 68 w 104"/>
                <a:gd name="T101" fmla="*/ 59 h 142"/>
                <a:gd name="T102" fmla="*/ 96 w 104"/>
                <a:gd name="T103" fmla="*/ 43 h 142"/>
                <a:gd name="T104" fmla="*/ 85 w 104"/>
                <a:gd name="T105" fmla="*/ 26 h 142"/>
                <a:gd name="T106" fmla="*/ 69 w 104"/>
                <a:gd name="T107" fmla="*/ 12 h 142"/>
                <a:gd name="T108" fmla="*/ 29 w 104"/>
                <a:gd name="T109" fmla="*/ 21 h 142"/>
                <a:gd name="T110" fmla="*/ 12 w 104"/>
                <a:gd name="T111" fmla="*/ 4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4" h="142">
                  <a:moveTo>
                    <a:pt x="50" y="68"/>
                  </a:moveTo>
                  <a:cubicBezTo>
                    <a:pt x="49" y="67"/>
                    <a:pt x="48" y="66"/>
                    <a:pt x="47" y="66"/>
                  </a:cubicBezTo>
                  <a:cubicBezTo>
                    <a:pt x="46" y="67"/>
                    <a:pt x="45" y="68"/>
                    <a:pt x="45" y="69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68"/>
                    <a:pt x="66" y="67"/>
                  </a:cubicBezTo>
                  <a:cubicBezTo>
                    <a:pt x="65" y="66"/>
                    <a:pt x="63" y="66"/>
                    <a:pt x="62" y="67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2"/>
                    <a:pt x="66" y="41"/>
                  </a:cubicBezTo>
                  <a:cubicBezTo>
                    <a:pt x="65" y="41"/>
                    <a:pt x="64" y="40"/>
                    <a:pt x="6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6" y="17"/>
                    <a:pt x="55" y="17"/>
                  </a:cubicBezTo>
                  <a:cubicBezTo>
                    <a:pt x="54" y="16"/>
                    <a:pt x="53" y="17"/>
                    <a:pt x="52" y="18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4"/>
                  </a:cubicBezTo>
                  <a:cubicBezTo>
                    <a:pt x="43" y="45"/>
                    <a:pt x="44" y="45"/>
                    <a:pt x="45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50" y="72"/>
                    <a:pt x="50" y="72"/>
                    <a:pt x="50" y="72"/>
                  </a:cubicBezTo>
                  <a:lnTo>
                    <a:pt x="50" y="68"/>
                  </a:lnTo>
                  <a:close/>
                  <a:moveTo>
                    <a:pt x="85" y="121"/>
                  </a:moveTo>
                  <a:cubicBezTo>
                    <a:pt x="87" y="137"/>
                    <a:pt x="87" y="137"/>
                    <a:pt x="87" y="137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33" y="130"/>
                    <a:pt x="33" y="130"/>
                    <a:pt x="33" y="130"/>
                  </a:cubicBezTo>
                  <a:lnTo>
                    <a:pt x="85" y="121"/>
                  </a:lnTo>
                  <a:close/>
                  <a:moveTo>
                    <a:pt x="101" y="50"/>
                  </a:moveTo>
                  <a:cubicBezTo>
                    <a:pt x="100" y="50"/>
                    <a:pt x="99" y="51"/>
                    <a:pt x="99" y="52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5"/>
                    <a:pt x="95" y="71"/>
                    <a:pt x="92" y="78"/>
                  </a:cubicBezTo>
                  <a:cubicBezTo>
                    <a:pt x="86" y="88"/>
                    <a:pt x="80" y="99"/>
                    <a:pt x="80" y="114"/>
                  </a:cubicBezTo>
                  <a:cubicBezTo>
                    <a:pt x="80" y="115"/>
                    <a:pt x="80" y="116"/>
                    <a:pt x="80" y="117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3"/>
                    <a:pt x="40" y="123"/>
                  </a:cubicBezTo>
                  <a:cubicBezTo>
                    <a:pt x="40" y="118"/>
                    <a:pt x="39" y="113"/>
                    <a:pt x="38" y="110"/>
                  </a:cubicBezTo>
                  <a:cubicBezTo>
                    <a:pt x="43" y="108"/>
                    <a:pt x="47" y="106"/>
                    <a:pt x="49" y="103"/>
                  </a:cubicBezTo>
                  <a:cubicBezTo>
                    <a:pt x="50" y="103"/>
                    <a:pt x="50" y="101"/>
                    <a:pt x="49" y="100"/>
                  </a:cubicBezTo>
                  <a:cubicBezTo>
                    <a:pt x="48" y="99"/>
                    <a:pt x="47" y="99"/>
                    <a:pt x="46" y="100"/>
                  </a:cubicBezTo>
                  <a:cubicBezTo>
                    <a:pt x="42" y="104"/>
                    <a:pt x="31" y="109"/>
                    <a:pt x="22" y="109"/>
                  </a:cubicBezTo>
                  <a:cubicBezTo>
                    <a:pt x="18" y="109"/>
                    <a:pt x="15" y="106"/>
                    <a:pt x="15" y="104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7" y="84"/>
                    <a:pt x="17" y="83"/>
                  </a:cubicBezTo>
                  <a:cubicBezTo>
                    <a:pt x="17" y="82"/>
                    <a:pt x="16" y="80"/>
                    <a:pt x="15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7" y="80"/>
                    <a:pt x="5" y="79"/>
                    <a:pt x="5" y="78"/>
                  </a:cubicBezTo>
                  <a:cubicBezTo>
                    <a:pt x="5" y="77"/>
                    <a:pt x="6" y="73"/>
                    <a:pt x="7" y="70"/>
                  </a:cubicBezTo>
                  <a:cubicBezTo>
                    <a:pt x="9" y="62"/>
                    <a:pt x="10" y="57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0"/>
                    <a:pt x="8" y="45"/>
                    <a:pt x="8" y="40"/>
                  </a:cubicBezTo>
                  <a:cubicBezTo>
                    <a:pt x="8" y="39"/>
                    <a:pt x="7" y="38"/>
                    <a:pt x="5" y="38"/>
                  </a:cubicBezTo>
                  <a:cubicBezTo>
                    <a:pt x="4" y="38"/>
                    <a:pt x="3" y="39"/>
                    <a:pt x="3" y="40"/>
                  </a:cubicBezTo>
                  <a:cubicBezTo>
                    <a:pt x="3" y="45"/>
                    <a:pt x="4" y="50"/>
                    <a:pt x="5" y="55"/>
                  </a:cubicBezTo>
                  <a:cubicBezTo>
                    <a:pt x="5" y="57"/>
                    <a:pt x="4" y="64"/>
                    <a:pt x="2" y="69"/>
                  </a:cubicBezTo>
                  <a:cubicBezTo>
                    <a:pt x="1" y="74"/>
                    <a:pt x="0" y="77"/>
                    <a:pt x="0" y="78"/>
                  </a:cubicBezTo>
                  <a:cubicBezTo>
                    <a:pt x="0" y="82"/>
                    <a:pt x="4" y="85"/>
                    <a:pt x="8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9"/>
                    <a:pt x="15" y="114"/>
                    <a:pt x="22" y="114"/>
                  </a:cubicBezTo>
                  <a:cubicBezTo>
                    <a:pt x="25" y="114"/>
                    <a:pt x="30" y="113"/>
                    <a:pt x="34" y="112"/>
                  </a:cubicBezTo>
                  <a:cubicBezTo>
                    <a:pt x="35" y="114"/>
                    <a:pt x="36" y="119"/>
                    <a:pt x="36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0" y="126"/>
                    <a:pt x="29" y="126"/>
                    <a:pt x="29" y="127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0"/>
                    <a:pt x="26" y="141"/>
                    <a:pt x="27" y="141"/>
                  </a:cubicBezTo>
                  <a:cubicBezTo>
                    <a:pt x="27" y="142"/>
                    <a:pt x="28" y="142"/>
                    <a:pt x="29" y="142"/>
                  </a:cubicBezTo>
                  <a:cubicBezTo>
                    <a:pt x="89" y="142"/>
                    <a:pt x="89" y="142"/>
                    <a:pt x="89" y="142"/>
                  </a:cubicBezTo>
                  <a:cubicBezTo>
                    <a:pt x="90" y="142"/>
                    <a:pt x="91" y="142"/>
                    <a:pt x="91" y="141"/>
                  </a:cubicBezTo>
                  <a:cubicBezTo>
                    <a:pt x="92" y="141"/>
                    <a:pt x="92" y="140"/>
                    <a:pt x="92" y="140"/>
                  </a:cubicBezTo>
                  <a:cubicBezTo>
                    <a:pt x="89" y="118"/>
                    <a:pt x="89" y="118"/>
                    <a:pt x="89" y="118"/>
                  </a:cubicBezTo>
                  <a:cubicBezTo>
                    <a:pt x="89" y="118"/>
                    <a:pt x="89" y="117"/>
                    <a:pt x="89" y="117"/>
                  </a:cubicBezTo>
                  <a:cubicBezTo>
                    <a:pt x="88" y="116"/>
                    <a:pt x="87" y="116"/>
                    <a:pt x="87" y="116"/>
                  </a:cubicBezTo>
                  <a:cubicBezTo>
                    <a:pt x="85" y="116"/>
                    <a:pt x="85" y="116"/>
                    <a:pt x="85" y="116"/>
                  </a:cubicBezTo>
                  <a:cubicBezTo>
                    <a:pt x="85" y="115"/>
                    <a:pt x="85" y="114"/>
                    <a:pt x="85" y="114"/>
                  </a:cubicBezTo>
                  <a:cubicBezTo>
                    <a:pt x="85" y="100"/>
                    <a:pt x="91" y="89"/>
                    <a:pt x="96" y="80"/>
                  </a:cubicBezTo>
                  <a:cubicBezTo>
                    <a:pt x="100" y="72"/>
                    <a:pt x="104" y="66"/>
                    <a:pt x="104" y="59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51"/>
                    <a:pt x="102" y="50"/>
                    <a:pt x="101" y="50"/>
                  </a:cubicBezTo>
                  <a:moveTo>
                    <a:pt x="31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9" y="59"/>
                    <a:pt x="50" y="58"/>
                    <a:pt x="50" y="57"/>
                  </a:cubicBezTo>
                  <a:cubicBezTo>
                    <a:pt x="50" y="55"/>
                    <a:pt x="49" y="54"/>
                    <a:pt x="47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23" y="54"/>
                    <a:pt x="17" y="48"/>
                    <a:pt x="17" y="40"/>
                  </a:cubicBezTo>
                  <a:cubicBezTo>
                    <a:pt x="17" y="33"/>
                    <a:pt x="23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2" y="26"/>
                    <a:pt x="32" y="26"/>
                    <a:pt x="33" y="25"/>
                  </a:cubicBezTo>
                  <a:cubicBezTo>
                    <a:pt x="33" y="25"/>
                    <a:pt x="33" y="24"/>
                    <a:pt x="33" y="23"/>
                  </a:cubicBezTo>
                  <a:cubicBezTo>
                    <a:pt x="33" y="23"/>
                    <a:pt x="33" y="22"/>
                    <a:pt x="33" y="21"/>
                  </a:cubicBezTo>
                  <a:cubicBezTo>
                    <a:pt x="33" y="12"/>
                    <a:pt x="41" y="5"/>
                    <a:pt x="50" y="5"/>
                  </a:cubicBezTo>
                  <a:cubicBezTo>
                    <a:pt x="56" y="5"/>
                    <a:pt x="63" y="9"/>
                    <a:pt x="65" y="16"/>
                  </a:cubicBezTo>
                  <a:cubicBezTo>
                    <a:pt x="65" y="17"/>
                    <a:pt x="67" y="17"/>
                    <a:pt x="68" y="17"/>
                  </a:cubicBezTo>
                  <a:cubicBezTo>
                    <a:pt x="69" y="17"/>
                    <a:pt x="70" y="16"/>
                    <a:pt x="71" y="16"/>
                  </a:cubicBezTo>
                  <a:cubicBezTo>
                    <a:pt x="76" y="16"/>
                    <a:pt x="80" y="21"/>
                    <a:pt x="80" y="26"/>
                  </a:cubicBezTo>
                  <a:cubicBezTo>
                    <a:pt x="80" y="27"/>
                    <a:pt x="80" y="27"/>
                    <a:pt x="80" y="28"/>
                  </a:cubicBezTo>
                  <a:cubicBezTo>
                    <a:pt x="80" y="29"/>
                    <a:pt x="80" y="29"/>
                    <a:pt x="80" y="30"/>
                  </a:cubicBezTo>
                  <a:cubicBezTo>
                    <a:pt x="81" y="30"/>
                    <a:pt x="81" y="31"/>
                    <a:pt x="82" y="31"/>
                  </a:cubicBezTo>
                  <a:cubicBezTo>
                    <a:pt x="88" y="32"/>
                    <a:pt x="92" y="37"/>
                    <a:pt x="92" y="43"/>
                  </a:cubicBezTo>
                  <a:cubicBezTo>
                    <a:pt x="92" y="49"/>
                    <a:pt x="87" y="54"/>
                    <a:pt x="80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4"/>
                    <a:pt x="66" y="55"/>
                    <a:pt x="66" y="57"/>
                  </a:cubicBezTo>
                  <a:cubicBezTo>
                    <a:pt x="66" y="58"/>
                    <a:pt x="67" y="59"/>
                    <a:pt x="68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9" y="59"/>
                    <a:pt x="96" y="52"/>
                    <a:pt x="96" y="43"/>
                  </a:cubicBezTo>
                  <a:cubicBezTo>
                    <a:pt x="96" y="35"/>
                    <a:pt x="92" y="29"/>
                    <a:pt x="85" y="27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18"/>
                    <a:pt x="78" y="12"/>
                    <a:pt x="71" y="12"/>
                  </a:cubicBezTo>
                  <a:cubicBezTo>
                    <a:pt x="70" y="12"/>
                    <a:pt x="69" y="12"/>
                    <a:pt x="69" y="12"/>
                  </a:cubicBezTo>
                  <a:cubicBezTo>
                    <a:pt x="65" y="5"/>
                    <a:pt x="58" y="0"/>
                    <a:pt x="50" y="0"/>
                  </a:cubicBezTo>
                  <a:cubicBezTo>
                    <a:pt x="38" y="0"/>
                    <a:pt x="29" y="9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0" y="23"/>
                    <a:pt x="12" y="31"/>
                    <a:pt x="12" y="40"/>
                  </a:cubicBezTo>
                  <a:cubicBezTo>
                    <a:pt x="12" y="51"/>
                    <a:pt x="20" y="59"/>
                    <a:pt x="31" y="5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8" name="Group 184">
            <a:extLst>
              <a:ext uri="{FF2B5EF4-FFF2-40B4-BE49-F238E27FC236}">
                <a16:creationId xmlns:a16="http://schemas.microsoft.com/office/drawing/2014/main" id="{1ED96507-37D9-45C6-8E06-4598896103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01694" y="2822125"/>
            <a:ext cx="841375" cy="841375"/>
            <a:chOff x="4346" y="1810"/>
            <a:chExt cx="530" cy="530"/>
          </a:xfrm>
        </p:grpSpPr>
        <p:sp>
          <p:nvSpPr>
            <p:cNvPr id="209" name="AutoShape 183">
              <a:extLst>
                <a:ext uri="{FF2B5EF4-FFF2-40B4-BE49-F238E27FC236}">
                  <a16:creationId xmlns:a16="http://schemas.microsoft.com/office/drawing/2014/main" id="{F99E176F-CAD6-4E11-9477-79C507B1D48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6" y="181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185">
              <a:extLst>
                <a:ext uri="{FF2B5EF4-FFF2-40B4-BE49-F238E27FC236}">
                  <a16:creationId xmlns:a16="http://schemas.microsoft.com/office/drawing/2014/main" id="{3CCB37E7-0249-4144-97D2-297C2C3D3A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" y="181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86">
              <a:extLst>
                <a:ext uri="{FF2B5EF4-FFF2-40B4-BE49-F238E27FC236}">
                  <a16:creationId xmlns:a16="http://schemas.microsoft.com/office/drawing/2014/main" id="{A6B19D60-0B24-4116-B30A-C4344606B7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" y="182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87">
              <a:extLst>
                <a:ext uri="{FF2B5EF4-FFF2-40B4-BE49-F238E27FC236}">
                  <a16:creationId xmlns:a16="http://schemas.microsoft.com/office/drawing/2014/main" id="{C6AF98FF-685E-4B37-8DD8-9F7177060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9" y="1894"/>
              <a:ext cx="266" cy="364"/>
            </a:xfrm>
            <a:custGeom>
              <a:avLst/>
              <a:gdLst>
                <a:gd name="T0" fmla="*/ 47 w 104"/>
                <a:gd name="T1" fmla="*/ 66 h 142"/>
                <a:gd name="T2" fmla="*/ 48 w 104"/>
                <a:gd name="T3" fmla="*/ 85 h 142"/>
                <a:gd name="T4" fmla="*/ 66 w 104"/>
                <a:gd name="T5" fmla="*/ 67 h 142"/>
                <a:gd name="T6" fmla="*/ 55 w 104"/>
                <a:gd name="T7" fmla="*/ 73 h 142"/>
                <a:gd name="T8" fmla="*/ 66 w 104"/>
                <a:gd name="T9" fmla="*/ 41 h 142"/>
                <a:gd name="T10" fmla="*/ 48 w 104"/>
                <a:gd name="T11" fmla="*/ 40 h 142"/>
                <a:gd name="T12" fmla="*/ 55 w 104"/>
                <a:gd name="T13" fmla="*/ 17 h 142"/>
                <a:gd name="T14" fmla="*/ 43 w 104"/>
                <a:gd name="T15" fmla="*/ 42 h 142"/>
                <a:gd name="T16" fmla="*/ 45 w 104"/>
                <a:gd name="T17" fmla="*/ 45 h 142"/>
                <a:gd name="T18" fmla="*/ 50 w 104"/>
                <a:gd name="T19" fmla="*/ 72 h 142"/>
                <a:gd name="T20" fmla="*/ 85 w 104"/>
                <a:gd name="T21" fmla="*/ 121 h 142"/>
                <a:gd name="T22" fmla="*/ 31 w 104"/>
                <a:gd name="T23" fmla="*/ 137 h 142"/>
                <a:gd name="T24" fmla="*/ 85 w 104"/>
                <a:gd name="T25" fmla="*/ 121 h 142"/>
                <a:gd name="T26" fmla="*/ 99 w 104"/>
                <a:gd name="T27" fmla="*/ 52 h 142"/>
                <a:gd name="T28" fmla="*/ 92 w 104"/>
                <a:gd name="T29" fmla="*/ 78 h 142"/>
                <a:gd name="T30" fmla="*/ 80 w 104"/>
                <a:gd name="T31" fmla="*/ 117 h 142"/>
                <a:gd name="T32" fmla="*/ 40 w 104"/>
                <a:gd name="T33" fmla="*/ 123 h 142"/>
                <a:gd name="T34" fmla="*/ 49 w 104"/>
                <a:gd name="T35" fmla="*/ 103 h 142"/>
                <a:gd name="T36" fmla="*/ 46 w 104"/>
                <a:gd name="T37" fmla="*/ 100 h 142"/>
                <a:gd name="T38" fmla="*/ 15 w 104"/>
                <a:gd name="T39" fmla="*/ 104 h 142"/>
                <a:gd name="T40" fmla="*/ 17 w 104"/>
                <a:gd name="T41" fmla="*/ 83 h 142"/>
                <a:gd name="T42" fmla="*/ 8 w 104"/>
                <a:gd name="T43" fmla="*/ 80 h 142"/>
                <a:gd name="T44" fmla="*/ 7 w 104"/>
                <a:gd name="T45" fmla="*/ 70 h 142"/>
                <a:gd name="T46" fmla="*/ 10 w 104"/>
                <a:gd name="T47" fmla="*/ 54 h 142"/>
                <a:gd name="T48" fmla="*/ 5 w 104"/>
                <a:gd name="T49" fmla="*/ 38 h 142"/>
                <a:gd name="T50" fmla="*/ 5 w 104"/>
                <a:gd name="T51" fmla="*/ 55 h 142"/>
                <a:gd name="T52" fmla="*/ 0 w 104"/>
                <a:gd name="T53" fmla="*/ 78 h 142"/>
                <a:gd name="T54" fmla="*/ 10 w 104"/>
                <a:gd name="T55" fmla="*/ 85 h 142"/>
                <a:gd name="T56" fmla="*/ 22 w 104"/>
                <a:gd name="T57" fmla="*/ 114 h 142"/>
                <a:gd name="T58" fmla="*/ 36 w 104"/>
                <a:gd name="T59" fmla="*/ 123 h 142"/>
                <a:gd name="T60" fmla="*/ 31 w 104"/>
                <a:gd name="T61" fmla="*/ 126 h 142"/>
                <a:gd name="T62" fmla="*/ 26 w 104"/>
                <a:gd name="T63" fmla="*/ 139 h 142"/>
                <a:gd name="T64" fmla="*/ 29 w 104"/>
                <a:gd name="T65" fmla="*/ 142 h 142"/>
                <a:gd name="T66" fmla="*/ 91 w 104"/>
                <a:gd name="T67" fmla="*/ 141 h 142"/>
                <a:gd name="T68" fmla="*/ 89 w 104"/>
                <a:gd name="T69" fmla="*/ 118 h 142"/>
                <a:gd name="T70" fmla="*/ 87 w 104"/>
                <a:gd name="T71" fmla="*/ 116 h 142"/>
                <a:gd name="T72" fmla="*/ 85 w 104"/>
                <a:gd name="T73" fmla="*/ 114 h 142"/>
                <a:gd name="T74" fmla="*/ 104 w 104"/>
                <a:gd name="T75" fmla="*/ 59 h 142"/>
                <a:gd name="T76" fmla="*/ 101 w 104"/>
                <a:gd name="T77" fmla="*/ 50 h 142"/>
                <a:gd name="T78" fmla="*/ 47 w 104"/>
                <a:gd name="T79" fmla="*/ 59 h 142"/>
                <a:gd name="T80" fmla="*/ 47 w 104"/>
                <a:gd name="T81" fmla="*/ 54 h 142"/>
                <a:gd name="T82" fmla="*/ 17 w 104"/>
                <a:gd name="T83" fmla="*/ 40 h 142"/>
                <a:gd name="T84" fmla="*/ 31 w 104"/>
                <a:gd name="T85" fmla="*/ 26 h 142"/>
                <a:gd name="T86" fmla="*/ 33 w 104"/>
                <a:gd name="T87" fmla="*/ 23 h 142"/>
                <a:gd name="T88" fmla="*/ 50 w 104"/>
                <a:gd name="T89" fmla="*/ 5 h 142"/>
                <a:gd name="T90" fmla="*/ 68 w 104"/>
                <a:gd name="T91" fmla="*/ 17 h 142"/>
                <a:gd name="T92" fmla="*/ 80 w 104"/>
                <a:gd name="T93" fmla="*/ 26 h 142"/>
                <a:gd name="T94" fmla="*/ 80 w 104"/>
                <a:gd name="T95" fmla="*/ 30 h 142"/>
                <a:gd name="T96" fmla="*/ 92 w 104"/>
                <a:gd name="T97" fmla="*/ 43 h 142"/>
                <a:gd name="T98" fmla="*/ 68 w 104"/>
                <a:gd name="T99" fmla="*/ 54 h 142"/>
                <a:gd name="T100" fmla="*/ 68 w 104"/>
                <a:gd name="T101" fmla="*/ 59 h 142"/>
                <a:gd name="T102" fmla="*/ 96 w 104"/>
                <a:gd name="T103" fmla="*/ 43 h 142"/>
                <a:gd name="T104" fmla="*/ 85 w 104"/>
                <a:gd name="T105" fmla="*/ 26 h 142"/>
                <a:gd name="T106" fmla="*/ 69 w 104"/>
                <a:gd name="T107" fmla="*/ 12 h 142"/>
                <a:gd name="T108" fmla="*/ 29 w 104"/>
                <a:gd name="T109" fmla="*/ 21 h 142"/>
                <a:gd name="T110" fmla="*/ 12 w 104"/>
                <a:gd name="T111" fmla="*/ 4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4" h="142">
                  <a:moveTo>
                    <a:pt x="50" y="68"/>
                  </a:moveTo>
                  <a:cubicBezTo>
                    <a:pt x="49" y="67"/>
                    <a:pt x="48" y="66"/>
                    <a:pt x="47" y="66"/>
                  </a:cubicBezTo>
                  <a:cubicBezTo>
                    <a:pt x="46" y="67"/>
                    <a:pt x="45" y="68"/>
                    <a:pt x="45" y="69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68"/>
                    <a:pt x="66" y="67"/>
                  </a:cubicBezTo>
                  <a:cubicBezTo>
                    <a:pt x="65" y="66"/>
                    <a:pt x="63" y="66"/>
                    <a:pt x="62" y="67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2"/>
                    <a:pt x="66" y="41"/>
                  </a:cubicBezTo>
                  <a:cubicBezTo>
                    <a:pt x="65" y="41"/>
                    <a:pt x="64" y="40"/>
                    <a:pt x="6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19"/>
                    <a:pt x="56" y="17"/>
                    <a:pt x="55" y="17"/>
                  </a:cubicBezTo>
                  <a:cubicBezTo>
                    <a:pt x="54" y="16"/>
                    <a:pt x="53" y="17"/>
                    <a:pt x="52" y="18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4"/>
                  </a:cubicBezTo>
                  <a:cubicBezTo>
                    <a:pt x="43" y="45"/>
                    <a:pt x="44" y="45"/>
                    <a:pt x="45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50" y="72"/>
                    <a:pt x="50" y="72"/>
                    <a:pt x="50" y="72"/>
                  </a:cubicBezTo>
                  <a:lnTo>
                    <a:pt x="50" y="68"/>
                  </a:lnTo>
                  <a:close/>
                  <a:moveTo>
                    <a:pt x="85" y="121"/>
                  </a:moveTo>
                  <a:cubicBezTo>
                    <a:pt x="87" y="137"/>
                    <a:pt x="87" y="137"/>
                    <a:pt x="87" y="137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33" y="130"/>
                    <a:pt x="33" y="130"/>
                    <a:pt x="33" y="130"/>
                  </a:cubicBezTo>
                  <a:lnTo>
                    <a:pt x="85" y="121"/>
                  </a:lnTo>
                  <a:close/>
                  <a:moveTo>
                    <a:pt x="101" y="50"/>
                  </a:moveTo>
                  <a:cubicBezTo>
                    <a:pt x="100" y="50"/>
                    <a:pt x="99" y="51"/>
                    <a:pt x="99" y="52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5"/>
                    <a:pt x="95" y="71"/>
                    <a:pt x="92" y="78"/>
                  </a:cubicBezTo>
                  <a:cubicBezTo>
                    <a:pt x="86" y="88"/>
                    <a:pt x="80" y="99"/>
                    <a:pt x="80" y="114"/>
                  </a:cubicBezTo>
                  <a:cubicBezTo>
                    <a:pt x="80" y="115"/>
                    <a:pt x="80" y="116"/>
                    <a:pt x="80" y="117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3"/>
                    <a:pt x="40" y="123"/>
                  </a:cubicBezTo>
                  <a:cubicBezTo>
                    <a:pt x="40" y="118"/>
                    <a:pt x="39" y="113"/>
                    <a:pt x="38" y="110"/>
                  </a:cubicBezTo>
                  <a:cubicBezTo>
                    <a:pt x="43" y="108"/>
                    <a:pt x="47" y="106"/>
                    <a:pt x="49" y="103"/>
                  </a:cubicBezTo>
                  <a:cubicBezTo>
                    <a:pt x="50" y="103"/>
                    <a:pt x="50" y="101"/>
                    <a:pt x="49" y="100"/>
                  </a:cubicBezTo>
                  <a:cubicBezTo>
                    <a:pt x="48" y="99"/>
                    <a:pt x="47" y="99"/>
                    <a:pt x="46" y="100"/>
                  </a:cubicBezTo>
                  <a:cubicBezTo>
                    <a:pt x="42" y="104"/>
                    <a:pt x="31" y="109"/>
                    <a:pt x="22" y="109"/>
                  </a:cubicBezTo>
                  <a:cubicBezTo>
                    <a:pt x="18" y="109"/>
                    <a:pt x="15" y="106"/>
                    <a:pt x="15" y="104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6" y="85"/>
                    <a:pt x="17" y="84"/>
                    <a:pt x="17" y="83"/>
                  </a:cubicBezTo>
                  <a:cubicBezTo>
                    <a:pt x="17" y="82"/>
                    <a:pt x="16" y="80"/>
                    <a:pt x="15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7" y="80"/>
                    <a:pt x="5" y="79"/>
                    <a:pt x="5" y="78"/>
                  </a:cubicBezTo>
                  <a:cubicBezTo>
                    <a:pt x="5" y="77"/>
                    <a:pt x="6" y="73"/>
                    <a:pt x="7" y="70"/>
                  </a:cubicBezTo>
                  <a:cubicBezTo>
                    <a:pt x="9" y="62"/>
                    <a:pt x="10" y="57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0"/>
                    <a:pt x="8" y="45"/>
                    <a:pt x="8" y="40"/>
                  </a:cubicBezTo>
                  <a:cubicBezTo>
                    <a:pt x="8" y="39"/>
                    <a:pt x="7" y="38"/>
                    <a:pt x="5" y="38"/>
                  </a:cubicBezTo>
                  <a:cubicBezTo>
                    <a:pt x="4" y="38"/>
                    <a:pt x="3" y="39"/>
                    <a:pt x="3" y="40"/>
                  </a:cubicBezTo>
                  <a:cubicBezTo>
                    <a:pt x="3" y="45"/>
                    <a:pt x="4" y="50"/>
                    <a:pt x="5" y="55"/>
                  </a:cubicBezTo>
                  <a:cubicBezTo>
                    <a:pt x="5" y="57"/>
                    <a:pt x="4" y="64"/>
                    <a:pt x="2" y="69"/>
                  </a:cubicBezTo>
                  <a:cubicBezTo>
                    <a:pt x="1" y="74"/>
                    <a:pt x="0" y="77"/>
                    <a:pt x="0" y="78"/>
                  </a:cubicBezTo>
                  <a:cubicBezTo>
                    <a:pt x="0" y="82"/>
                    <a:pt x="4" y="85"/>
                    <a:pt x="8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9"/>
                    <a:pt x="15" y="114"/>
                    <a:pt x="22" y="114"/>
                  </a:cubicBezTo>
                  <a:cubicBezTo>
                    <a:pt x="25" y="114"/>
                    <a:pt x="30" y="113"/>
                    <a:pt x="34" y="112"/>
                  </a:cubicBezTo>
                  <a:cubicBezTo>
                    <a:pt x="35" y="114"/>
                    <a:pt x="36" y="119"/>
                    <a:pt x="36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0" y="126"/>
                    <a:pt x="29" y="126"/>
                    <a:pt x="29" y="127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0"/>
                    <a:pt x="26" y="141"/>
                    <a:pt x="27" y="141"/>
                  </a:cubicBezTo>
                  <a:cubicBezTo>
                    <a:pt x="27" y="142"/>
                    <a:pt x="28" y="142"/>
                    <a:pt x="29" y="142"/>
                  </a:cubicBezTo>
                  <a:cubicBezTo>
                    <a:pt x="89" y="142"/>
                    <a:pt x="89" y="142"/>
                    <a:pt x="89" y="142"/>
                  </a:cubicBezTo>
                  <a:cubicBezTo>
                    <a:pt x="90" y="142"/>
                    <a:pt x="91" y="142"/>
                    <a:pt x="91" y="141"/>
                  </a:cubicBezTo>
                  <a:cubicBezTo>
                    <a:pt x="92" y="141"/>
                    <a:pt x="92" y="140"/>
                    <a:pt x="92" y="140"/>
                  </a:cubicBezTo>
                  <a:cubicBezTo>
                    <a:pt x="89" y="118"/>
                    <a:pt x="89" y="118"/>
                    <a:pt x="89" y="118"/>
                  </a:cubicBezTo>
                  <a:cubicBezTo>
                    <a:pt x="89" y="118"/>
                    <a:pt x="89" y="117"/>
                    <a:pt x="89" y="117"/>
                  </a:cubicBezTo>
                  <a:cubicBezTo>
                    <a:pt x="88" y="116"/>
                    <a:pt x="87" y="116"/>
                    <a:pt x="87" y="116"/>
                  </a:cubicBezTo>
                  <a:cubicBezTo>
                    <a:pt x="85" y="116"/>
                    <a:pt x="85" y="116"/>
                    <a:pt x="85" y="116"/>
                  </a:cubicBezTo>
                  <a:cubicBezTo>
                    <a:pt x="85" y="115"/>
                    <a:pt x="85" y="114"/>
                    <a:pt x="85" y="114"/>
                  </a:cubicBezTo>
                  <a:cubicBezTo>
                    <a:pt x="85" y="100"/>
                    <a:pt x="91" y="89"/>
                    <a:pt x="96" y="80"/>
                  </a:cubicBezTo>
                  <a:cubicBezTo>
                    <a:pt x="100" y="72"/>
                    <a:pt x="104" y="66"/>
                    <a:pt x="104" y="59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51"/>
                    <a:pt x="102" y="50"/>
                    <a:pt x="101" y="50"/>
                  </a:cubicBezTo>
                  <a:moveTo>
                    <a:pt x="31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9" y="59"/>
                    <a:pt x="50" y="58"/>
                    <a:pt x="50" y="57"/>
                  </a:cubicBezTo>
                  <a:cubicBezTo>
                    <a:pt x="50" y="55"/>
                    <a:pt x="49" y="54"/>
                    <a:pt x="47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23" y="54"/>
                    <a:pt x="17" y="48"/>
                    <a:pt x="17" y="40"/>
                  </a:cubicBezTo>
                  <a:cubicBezTo>
                    <a:pt x="17" y="33"/>
                    <a:pt x="23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2" y="26"/>
                    <a:pt x="32" y="26"/>
                    <a:pt x="33" y="25"/>
                  </a:cubicBezTo>
                  <a:cubicBezTo>
                    <a:pt x="33" y="25"/>
                    <a:pt x="33" y="24"/>
                    <a:pt x="33" y="23"/>
                  </a:cubicBezTo>
                  <a:cubicBezTo>
                    <a:pt x="33" y="23"/>
                    <a:pt x="33" y="22"/>
                    <a:pt x="33" y="21"/>
                  </a:cubicBezTo>
                  <a:cubicBezTo>
                    <a:pt x="33" y="12"/>
                    <a:pt x="41" y="5"/>
                    <a:pt x="50" y="5"/>
                  </a:cubicBezTo>
                  <a:cubicBezTo>
                    <a:pt x="56" y="5"/>
                    <a:pt x="63" y="9"/>
                    <a:pt x="65" y="16"/>
                  </a:cubicBezTo>
                  <a:cubicBezTo>
                    <a:pt x="65" y="17"/>
                    <a:pt x="67" y="17"/>
                    <a:pt x="68" y="17"/>
                  </a:cubicBezTo>
                  <a:cubicBezTo>
                    <a:pt x="69" y="17"/>
                    <a:pt x="70" y="16"/>
                    <a:pt x="71" y="16"/>
                  </a:cubicBezTo>
                  <a:cubicBezTo>
                    <a:pt x="76" y="16"/>
                    <a:pt x="80" y="21"/>
                    <a:pt x="80" y="26"/>
                  </a:cubicBezTo>
                  <a:cubicBezTo>
                    <a:pt x="80" y="27"/>
                    <a:pt x="80" y="27"/>
                    <a:pt x="80" y="28"/>
                  </a:cubicBezTo>
                  <a:cubicBezTo>
                    <a:pt x="80" y="29"/>
                    <a:pt x="80" y="29"/>
                    <a:pt x="80" y="30"/>
                  </a:cubicBezTo>
                  <a:cubicBezTo>
                    <a:pt x="81" y="30"/>
                    <a:pt x="81" y="31"/>
                    <a:pt x="82" y="31"/>
                  </a:cubicBezTo>
                  <a:cubicBezTo>
                    <a:pt x="88" y="32"/>
                    <a:pt x="92" y="37"/>
                    <a:pt x="92" y="43"/>
                  </a:cubicBezTo>
                  <a:cubicBezTo>
                    <a:pt x="92" y="49"/>
                    <a:pt x="87" y="54"/>
                    <a:pt x="80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4"/>
                    <a:pt x="66" y="55"/>
                    <a:pt x="66" y="57"/>
                  </a:cubicBezTo>
                  <a:cubicBezTo>
                    <a:pt x="66" y="58"/>
                    <a:pt x="67" y="59"/>
                    <a:pt x="68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9" y="59"/>
                    <a:pt x="96" y="52"/>
                    <a:pt x="96" y="43"/>
                  </a:cubicBezTo>
                  <a:cubicBezTo>
                    <a:pt x="96" y="35"/>
                    <a:pt x="92" y="29"/>
                    <a:pt x="85" y="27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18"/>
                    <a:pt x="78" y="12"/>
                    <a:pt x="71" y="12"/>
                  </a:cubicBezTo>
                  <a:cubicBezTo>
                    <a:pt x="70" y="12"/>
                    <a:pt x="69" y="12"/>
                    <a:pt x="69" y="12"/>
                  </a:cubicBezTo>
                  <a:cubicBezTo>
                    <a:pt x="65" y="5"/>
                    <a:pt x="58" y="0"/>
                    <a:pt x="50" y="0"/>
                  </a:cubicBezTo>
                  <a:cubicBezTo>
                    <a:pt x="38" y="0"/>
                    <a:pt x="29" y="9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0" y="23"/>
                    <a:pt x="12" y="31"/>
                    <a:pt x="12" y="40"/>
                  </a:cubicBezTo>
                  <a:cubicBezTo>
                    <a:pt x="12" y="51"/>
                    <a:pt x="20" y="59"/>
                    <a:pt x="31" y="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7" name="Group 190">
            <a:extLst>
              <a:ext uri="{FF2B5EF4-FFF2-40B4-BE49-F238E27FC236}">
                <a16:creationId xmlns:a16="http://schemas.microsoft.com/office/drawing/2014/main" id="{B2B1F047-9F78-477D-A30C-7FFB9F5931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4155283"/>
            <a:ext cx="758825" cy="758825"/>
            <a:chOff x="1151" y="2835"/>
            <a:chExt cx="478" cy="478"/>
          </a:xfrm>
        </p:grpSpPr>
        <p:sp>
          <p:nvSpPr>
            <p:cNvPr id="218" name="AutoShape 189">
              <a:extLst>
                <a:ext uri="{FF2B5EF4-FFF2-40B4-BE49-F238E27FC236}">
                  <a16:creationId xmlns:a16="http://schemas.microsoft.com/office/drawing/2014/main" id="{528333EF-7D8D-479B-8169-98015CEB63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51" y="283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91">
              <a:extLst>
                <a:ext uri="{FF2B5EF4-FFF2-40B4-BE49-F238E27FC236}">
                  <a16:creationId xmlns:a16="http://schemas.microsoft.com/office/drawing/2014/main" id="{D634A433-B622-4661-A598-6B5ABEF30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3" y="2837"/>
              <a:ext cx="476" cy="476"/>
            </a:xfrm>
            <a:custGeom>
              <a:avLst/>
              <a:gdLst>
                <a:gd name="T0" fmla="*/ 97 w 194"/>
                <a:gd name="T1" fmla="*/ 189 h 194"/>
                <a:gd name="T2" fmla="*/ 5 w 194"/>
                <a:gd name="T3" fmla="*/ 97 h 194"/>
                <a:gd name="T4" fmla="*/ 97 w 194"/>
                <a:gd name="T5" fmla="*/ 5 h 194"/>
                <a:gd name="T6" fmla="*/ 189 w 194"/>
                <a:gd name="T7" fmla="*/ 97 h 194"/>
                <a:gd name="T8" fmla="*/ 97 w 194"/>
                <a:gd name="T9" fmla="*/ 189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189"/>
                  </a:move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92">
              <a:extLst>
                <a:ext uri="{FF2B5EF4-FFF2-40B4-BE49-F238E27FC236}">
                  <a16:creationId xmlns:a16="http://schemas.microsoft.com/office/drawing/2014/main" id="{D6C1A087-362E-42B5-BB30-156F543C4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3" y="2931"/>
              <a:ext cx="125" cy="269"/>
            </a:xfrm>
            <a:custGeom>
              <a:avLst/>
              <a:gdLst>
                <a:gd name="T0" fmla="*/ 3 w 51"/>
                <a:gd name="T1" fmla="*/ 106 h 110"/>
                <a:gd name="T2" fmla="*/ 6 w 51"/>
                <a:gd name="T3" fmla="*/ 94 h 110"/>
                <a:gd name="T4" fmla="*/ 8 w 51"/>
                <a:gd name="T5" fmla="*/ 88 h 110"/>
                <a:gd name="T6" fmla="*/ 16 w 51"/>
                <a:gd name="T7" fmla="*/ 47 h 110"/>
                <a:gd name="T8" fmla="*/ 12 w 51"/>
                <a:gd name="T9" fmla="*/ 43 h 110"/>
                <a:gd name="T10" fmla="*/ 15 w 51"/>
                <a:gd name="T11" fmla="*/ 42 h 110"/>
                <a:gd name="T12" fmla="*/ 7 w 51"/>
                <a:gd name="T13" fmla="*/ 31 h 110"/>
                <a:gd name="T14" fmla="*/ 23 w 51"/>
                <a:gd name="T15" fmla="*/ 16 h 110"/>
                <a:gd name="T16" fmla="*/ 20 w 51"/>
                <a:gd name="T17" fmla="*/ 9 h 110"/>
                <a:gd name="T18" fmla="*/ 31 w 51"/>
                <a:gd name="T19" fmla="*/ 9 h 110"/>
                <a:gd name="T20" fmla="*/ 28 w 51"/>
                <a:gd name="T21" fmla="*/ 16 h 110"/>
                <a:gd name="T22" fmla="*/ 44 w 51"/>
                <a:gd name="T23" fmla="*/ 31 h 110"/>
                <a:gd name="T24" fmla="*/ 36 w 51"/>
                <a:gd name="T25" fmla="*/ 42 h 110"/>
                <a:gd name="T26" fmla="*/ 39 w 51"/>
                <a:gd name="T27" fmla="*/ 43 h 110"/>
                <a:gd name="T28" fmla="*/ 35 w 51"/>
                <a:gd name="T29" fmla="*/ 47 h 110"/>
                <a:gd name="T30" fmla="*/ 44 w 51"/>
                <a:gd name="T31" fmla="*/ 88 h 110"/>
                <a:gd name="T32" fmla="*/ 45 w 51"/>
                <a:gd name="T33" fmla="*/ 94 h 110"/>
                <a:gd name="T34" fmla="*/ 48 w 51"/>
                <a:gd name="T35" fmla="*/ 106 h 110"/>
                <a:gd name="T36" fmla="*/ 47 w 51"/>
                <a:gd name="T37" fmla="*/ 87 h 110"/>
                <a:gd name="T38" fmla="*/ 36 w 51"/>
                <a:gd name="T39" fmla="*/ 51 h 110"/>
                <a:gd name="T40" fmla="*/ 42 w 51"/>
                <a:gd name="T41" fmla="*/ 49 h 110"/>
                <a:gd name="T42" fmla="*/ 41 w 51"/>
                <a:gd name="T43" fmla="*/ 39 h 110"/>
                <a:gd name="T44" fmla="*/ 47 w 51"/>
                <a:gd name="T45" fmla="*/ 30 h 110"/>
                <a:gd name="T46" fmla="*/ 34 w 51"/>
                <a:gd name="T47" fmla="*/ 9 h 110"/>
                <a:gd name="T48" fmla="*/ 17 w 51"/>
                <a:gd name="T49" fmla="*/ 9 h 110"/>
                <a:gd name="T50" fmla="*/ 4 w 51"/>
                <a:gd name="T51" fmla="*/ 30 h 110"/>
                <a:gd name="T52" fmla="*/ 10 w 51"/>
                <a:gd name="T53" fmla="*/ 39 h 110"/>
                <a:gd name="T54" fmla="*/ 9 w 51"/>
                <a:gd name="T55" fmla="*/ 49 h 110"/>
                <a:gd name="T56" fmla="*/ 15 w 51"/>
                <a:gd name="T57" fmla="*/ 51 h 110"/>
                <a:gd name="T58" fmla="*/ 4 w 51"/>
                <a:gd name="T59" fmla="*/ 87 h 110"/>
                <a:gd name="T60" fmla="*/ 0 w 51"/>
                <a:gd name="T61" fmla="*/ 94 h 110"/>
                <a:gd name="T62" fmla="*/ 0 w 51"/>
                <a:gd name="T63" fmla="*/ 108 h 110"/>
                <a:gd name="T64" fmla="*/ 50 w 51"/>
                <a:gd name="T65" fmla="*/ 110 h 110"/>
                <a:gd name="T66" fmla="*/ 51 w 51"/>
                <a:gd name="T67" fmla="*/ 95 h 110"/>
                <a:gd name="T68" fmla="*/ 47 w 51"/>
                <a:gd name="T69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110">
                  <a:moveTo>
                    <a:pt x="48" y="106"/>
                  </a:moveTo>
                  <a:cubicBezTo>
                    <a:pt x="3" y="106"/>
                    <a:pt x="3" y="106"/>
                    <a:pt x="3" y="106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4"/>
                    <a:pt x="5" y="94"/>
                    <a:pt x="6" y="94"/>
                  </a:cubicBezTo>
                  <a:cubicBezTo>
                    <a:pt x="7" y="94"/>
                    <a:pt x="8" y="93"/>
                    <a:pt x="8" y="92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23" y="77"/>
                    <a:pt x="18" y="50"/>
                    <a:pt x="18" y="49"/>
                  </a:cubicBezTo>
                  <a:cubicBezTo>
                    <a:pt x="18" y="48"/>
                    <a:pt x="17" y="47"/>
                    <a:pt x="16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3"/>
                    <a:pt x="14" y="42"/>
                    <a:pt x="15" y="42"/>
                  </a:cubicBezTo>
                  <a:cubicBezTo>
                    <a:pt x="15" y="41"/>
                    <a:pt x="15" y="40"/>
                    <a:pt x="15" y="4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3" y="17"/>
                    <a:pt x="23" y="16"/>
                    <a:pt x="23" y="16"/>
                  </a:cubicBezTo>
                  <a:cubicBezTo>
                    <a:pt x="24" y="15"/>
                    <a:pt x="23" y="14"/>
                    <a:pt x="23" y="14"/>
                  </a:cubicBezTo>
                  <a:cubicBezTo>
                    <a:pt x="21" y="13"/>
                    <a:pt x="20" y="11"/>
                    <a:pt x="20" y="9"/>
                  </a:cubicBezTo>
                  <a:cubicBezTo>
                    <a:pt x="20" y="6"/>
                    <a:pt x="23" y="4"/>
                    <a:pt x="26" y="4"/>
                  </a:cubicBezTo>
                  <a:cubicBezTo>
                    <a:pt x="29" y="4"/>
                    <a:pt x="31" y="6"/>
                    <a:pt x="31" y="9"/>
                  </a:cubicBezTo>
                  <a:cubicBezTo>
                    <a:pt x="31" y="11"/>
                    <a:pt x="30" y="13"/>
                    <a:pt x="28" y="14"/>
                  </a:cubicBezTo>
                  <a:cubicBezTo>
                    <a:pt x="28" y="14"/>
                    <a:pt x="27" y="15"/>
                    <a:pt x="28" y="16"/>
                  </a:cubicBezTo>
                  <a:cubicBezTo>
                    <a:pt x="28" y="16"/>
                    <a:pt x="28" y="17"/>
                    <a:pt x="29" y="1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6" y="40"/>
                    <a:pt x="36" y="41"/>
                    <a:pt x="36" y="42"/>
                  </a:cubicBezTo>
                  <a:cubicBezTo>
                    <a:pt x="37" y="42"/>
                    <a:pt x="37" y="43"/>
                    <a:pt x="38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7"/>
                    <a:pt x="33" y="48"/>
                    <a:pt x="33" y="49"/>
                  </a:cubicBezTo>
                  <a:cubicBezTo>
                    <a:pt x="33" y="50"/>
                    <a:pt x="28" y="77"/>
                    <a:pt x="44" y="88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3"/>
                    <a:pt x="44" y="94"/>
                    <a:pt x="45" y="94"/>
                  </a:cubicBezTo>
                  <a:cubicBezTo>
                    <a:pt x="46" y="94"/>
                    <a:pt x="48" y="94"/>
                    <a:pt x="48" y="95"/>
                  </a:cubicBezTo>
                  <a:lnTo>
                    <a:pt x="48" y="106"/>
                  </a:lnTo>
                  <a:close/>
                  <a:moveTo>
                    <a:pt x="47" y="91"/>
                  </a:moveTo>
                  <a:cubicBezTo>
                    <a:pt x="47" y="87"/>
                    <a:pt x="47" y="87"/>
                    <a:pt x="47" y="87"/>
                  </a:cubicBezTo>
                  <a:cubicBezTo>
                    <a:pt x="47" y="87"/>
                    <a:pt x="47" y="86"/>
                    <a:pt x="46" y="86"/>
                  </a:cubicBezTo>
                  <a:cubicBezTo>
                    <a:pt x="34" y="78"/>
                    <a:pt x="36" y="56"/>
                    <a:pt x="36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1"/>
                    <a:pt x="42" y="50"/>
                    <a:pt x="42" y="49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0"/>
                    <a:pt x="42" y="40"/>
                    <a:pt x="41" y="39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8" y="31"/>
                    <a:pt x="47" y="30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4" y="13"/>
                    <a:pt x="34" y="11"/>
                    <a:pt x="34" y="9"/>
                  </a:cubicBezTo>
                  <a:cubicBezTo>
                    <a:pt x="34" y="4"/>
                    <a:pt x="30" y="0"/>
                    <a:pt x="26" y="0"/>
                  </a:cubicBezTo>
                  <a:cubicBezTo>
                    <a:pt x="21" y="0"/>
                    <a:pt x="17" y="4"/>
                    <a:pt x="17" y="9"/>
                  </a:cubicBezTo>
                  <a:cubicBezTo>
                    <a:pt x="17" y="11"/>
                    <a:pt x="18" y="13"/>
                    <a:pt x="19" y="1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3" y="31"/>
                    <a:pt x="3" y="32"/>
                    <a:pt x="4" y="32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9" y="40"/>
                    <a:pt x="9" y="40"/>
                    <a:pt x="9" y="41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10" y="51"/>
                    <a:pt x="11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6" y="56"/>
                    <a:pt x="17" y="78"/>
                    <a:pt x="5" y="86"/>
                  </a:cubicBezTo>
                  <a:cubicBezTo>
                    <a:pt x="4" y="86"/>
                    <a:pt x="4" y="87"/>
                    <a:pt x="4" y="87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3" y="91"/>
                    <a:pt x="0" y="92"/>
                    <a:pt x="0" y="94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9"/>
                    <a:pt x="0" y="110"/>
                    <a:pt x="1" y="110"/>
                  </a:cubicBezTo>
                  <a:cubicBezTo>
                    <a:pt x="50" y="110"/>
                    <a:pt x="50" y="110"/>
                    <a:pt x="50" y="110"/>
                  </a:cubicBezTo>
                  <a:cubicBezTo>
                    <a:pt x="51" y="110"/>
                    <a:pt x="51" y="109"/>
                    <a:pt x="51" y="108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2"/>
                    <a:pt x="48" y="91"/>
                    <a:pt x="47" y="9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93">
              <a:extLst>
                <a:ext uri="{FF2B5EF4-FFF2-40B4-BE49-F238E27FC236}">
                  <a16:creationId xmlns:a16="http://schemas.microsoft.com/office/drawing/2014/main" id="{B54C06A4-42AF-472C-A807-3ADC1299FA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" y="3036"/>
              <a:ext cx="81" cy="125"/>
            </a:xfrm>
            <a:custGeom>
              <a:avLst/>
              <a:gdLst>
                <a:gd name="T0" fmla="*/ 30 w 33"/>
                <a:gd name="T1" fmla="*/ 47 h 51"/>
                <a:gd name="T2" fmla="*/ 4 w 33"/>
                <a:gd name="T3" fmla="*/ 47 h 51"/>
                <a:gd name="T4" fmla="*/ 4 w 33"/>
                <a:gd name="T5" fmla="*/ 42 h 51"/>
                <a:gd name="T6" fmla="*/ 4 w 33"/>
                <a:gd name="T7" fmla="*/ 42 h 51"/>
                <a:gd name="T8" fmla="*/ 4 w 33"/>
                <a:gd name="T9" fmla="*/ 42 h 51"/>
                <a:gd name="T10" fmla="*/ 6 w 33"/>
                <a:gd name="T11" fmla="*/ 40 h 51"/>
                <a:gd name="T12" fmla="*/ 6 w 33"/>
                <a:gd name="T13" fmla="*/ 40 h 51"/>
                <a:gd name="T14" fmla="*/ 7 w 33"/>
                <a:gd name="T15" fmla="*/ 40 h 51"/>
                <a:gd name="T16" fmla="*/ 9 w 33"/>
                <a:gd name="T17" fmla="*/ 39 h 51"/>
                <a:gd name="T18" fmla="*/ 14 w 33"/>
                <a:gd name="T19" fmla="*/ 16 h 51"/>
                <a:gd name="T20" fmla="*/ 13 w 33"/>
                <a:gd name="T21" fmla="*/ 15 h 51"/>
                <a:gd name="T22" fmla="*/ 10 w 33"/>
                <a:gd name="T23" fmla="*/ 10 h 51"/>
                <a:gd name="T24" fmla="*/ 17 w 33"/>
                <a:gd name="T25" fmla="*/ 4 h 51"/>
                <a:gd name="T26" fmla="*/ 23 w 33"/>
                <a:gd name="T27" fmla="*/ 10 h 51"/>
                <a:gd name="T28" fmla="*/ 20 w 33"/>
                <a:gd name="T29" fmla="*/ 15 h 51"/>
                <a:gd name="T30" fmla="*/ 19 w 33"/>
                <a:gd name="T31" fmla="*/ 16 h 51"/>
                <a:gd name="T32" fmla="*/ 24 w 33"/>
                <a:gd name="T33" fmla="*/ 39 h 51"/>
                <a:gd name="T34" fmla="*/ 26 w 33"/>
                <a:gd name="T35" fmla="*/ 40 h 51"/>
                <a:gd name="T36" fmla="*/ 27 w 33"/>
                <a:gd name="T37" fmla="*/ 40 h 51"/>
                <a:gd name="T38" fmla="*/ 27 w 33"/>
                <a:gd name="T39" fmla="*/ 40 h 51"/>
                <a:gd name="T40" fmla="*/ 29 w 33"/>
                <a:gd name="T41" fmla="*/ 42 h 51"/>
                <a:gd name="T42" fmla="*/ 30 w 33"/>
                <a:gd name="T43" fmla="*/ 42 h 51"/>
                <a:gd name="T44" fmla="*/ 30 w 33"/>
                <a:gd name="T45" fmla="*/ 42 h 51"/>
                <a:gd name="T46" fmla="*/ 30 w 33"/>
                <a:gd name="T47" fmla="*/ 47 h 51"/>
                <a:gd name="T48" fmla="*/ 30 w 33"/>
                <a:gd name="T49" fmla="*/ 38 h 51"/>
                <a:gd name="T50" fmla="*/ 27 w 33"/>
                <a:gd name="T51" fmla="*/ 36 h 51"/>
                <a:gd name="T52" fmla="*/ 27 w 33"/>
                <a:gd name="T53" fmla="*/ 36 h 51"/>
                <a:gd name="T54" fmla="*/ 26 w 33"/>
                <a:gd name="T55" fmla="*/ 36 h 51"/>
                <a:gd name="T56" fmla="*/ 23 w 33"/>
                <a:gd name="T57" fmla="*/ 18 h 51"/>
                <a:gd name="T58" fmla="*/ 26 w 33"/>
                <a:gd name="T59" fmla="*/ 10 h 51"/>
                <a:gd name="T60" fmla="*/ 17 w 33"/>
                <a:gd name="T61" fmla="*/ 0 h 51"/>
                <a:gd name="T62" fmla="*/ 7 w 33"/>
                <a:gd name="T63" fmla="*/ 10 h 51"/>
                <a:gd name="T64" fmla="*/ 11 w 33"/>
                <a:gd name="T65" fmla="*/ 18 h 51"/>
                <a:gd name="T66" fmla="*/ 7 w 33"/>
                <a:gd name="T67" fmla="*/ 36 h 51"/>
                <a:gd name="T68" fmla="*/ 6 w 33"/>
                <a:gd name="T69" fmla="*/ 36 h 51"/>
                <a:gd name="T70" fmla="*/ 6 w 33"/>
                <a:gd name="T71" fmla="*/ 36 h 51"/>
                <a:gd name="T72" fmla="*/ 3 w 33"/>
                <a:gd name="T73" fmla="*/ 38 h 51"/>
                <a:gd name="T74" fmla="*/ 0 w 33"/>
                <a:gd name="T75" fmla="*/ 42 h 51"/>
                <a:gd name="T76" fmla="*/ 0 w 33"/>
                <a:gd name="T77" fmla="*/ 49 h 51"/>
                <a:gd name="T78" fmla="*/ 2 w 33"/>
                <a:gd name="T79" fmla="*/ 51 h 51"/>
                <a:gd name="T80" fmla="*/ 31 w 33"/>
                <a:gd name="T81" fmla="*/ 51 h 51"/>
                <a:gd name="T82" fmla="*/ 33 w 33"/>
                <a:gd name="T83" fmla="*/ 49 h 51"/>
                <a:gd name="T84" fmla="*/ 33 w 33"/>
                <a:gd name="T85" fmla="*/ 42 h 51"/>
                <a:gd name="T86" fmla="*/ 30 w 33"/>
                <a:gd name="T87" fmla="*/ 3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3" h="51">
                  <a:moveTo>
                    <a:pt x="30" y="47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5" y="42"/>
                    <a:pt x="6" y="41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5" y="32"/>
                    <a:pt x="14" y="21"/>
                    <a:pt x="14" y="16"/>
                  </a:cubicBezTo>
                  <a:cubicBezTo>
                    <a:pt x="14" y="16"/>
                    <a:pt x="13" y="15"/>
                    <a:pt x="13" y="15"/>
                  </a:cubicBezTo>
                  <a:cubicBezTo>
                    <a:pt x="11" y="14"/>
                    <a:pt x="10" y="12"/>
                    <a:pt x="10" y="10"/>
                  </a:cubicBezTo>
                  <a:cubicBezTo>
                    <a:pt x="10" y="6"/>
                    <a:pt x="13" y="4"/>
                    <a:pt x="17" y="4"/>
                  </a:cubicBezTo>
                  <a:cubicBezTo>
                    <a:pt x="20" y="4"/>
                    <a:pt x="23" y="6"/>
                    <a:pt x="23" y="10"/>
                  </a:cubicBezTo>
                  <a:cubicBezTo>
                    <a:pt x="23" y="12"/>
                    <a:pt x="22" y="14"/>
                    <a:pt x="20" y="15"/>
                  </a:cubicBezTo>
                  <a:cubicBezTo>
                    <a:pt x="20" y="15"/>
                    <a:pt x="19" y="16"/>
                    <a:pt x="19" y="16"/>
                  </a:cubicBezTo>
                  <a:cubicBezTo>
                    <a:pt x="19" y="21"/>
                    <a:pt x="18" y="32"/>
                    <a:pt x="24" y="39"/>
                  </a:cubicBezTo>
                  <a:cubicBezTo>
                    <a:pt x="25" y="39"/>
                    <a:pt x="25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1"/>
                    <a:pt x="28" y="42"/>
                    <a:pt x="29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lnTo>
                    <a:pt x="30" y="47"/>
                  </a:lnTo>
                  <a:close/>
                  <a:moveTo>
                    <a:pt x="30" y="38"/>
                  </a:moveTo>
                  <a:cubicBezTo>
                    <a:pt x="29" y="37"/>
                    <a:pt x="28" y="36"/>
                    <a:pt x="27" y="36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2" y="30"/>
                    <a:pt x="22" y="21"/>
                    <a:pt x="23" y="18"/>
                  </a:cubicBezTo>
                  <a:cubicBezTo>
                    <a:pt x="25" y="16"/>
                    <a:pt x="26" y="13"/>
                    <a:pt x="26" y="10"/>
                  </a:cubicBezTo>
                  <a:cubicBezTo>
                    <a:pt x="26" y="5"/>
                    <a:pt x="22" y="0"/>
                    <a:pt x="17" y="0"/>
                  </a:cubicBezTo>
                  <a:cubicBezTo>
                    <a:pt x="11" y="0"/>
                    <a:pt x="7" y="5"/>
                    <a:pt x="7" y="10"/>
                  </a:cubicBezTo>
                  <a:cubicBezTo>
                    <a:pt x="7" y="13"/>
                    <a:pt x="8" y="16"/>
                    <a:pt x="11" y="18"/>
                  </a:cubicBezTo>
                  <a:cubicBezTo>
                    <a:pt x="11" y="21"/>
                    <a:pt x="11" y="30"/>
                    <a:pt x="7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7"/>
                    <a:pt x="3" y="38"/>
                  </a:cubicBezTo>
                  <a:cubicBezTo>
                    <a:pt x="2" y="38"/>
                    <a:pt x="0" y="39"/>
                    <a:pt x="0" y="4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2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1"/>
                    <a:pt x="33" y="50"/>
                    <a:pt x="33" y="49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39"/>
                    <a:pt x="31" y="38"/>
                    <a:pt x="30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2" name="Group 196">
            <a:extLst>
              <a:ext uri="{FF2B5EF4-FFF2-40B4-BE49-F238E27FC236}">
                <a16:creationId xmlns:a16="http://schemas.microsoft.com/office/drawing/2014/main" id="{3682A6B6-B8A2-42DD-808A-397EB3F3D1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1637" y="4114008"/>
            <a:ext cx="841375" cy="841375"/>
            <a:chOff x="277" y="2670"/>
            <a:chExt cx="530" cy="530"/>
          </a:xfrm>
        </p:grpSpPr>
        <p:sp>
          <p:nvSpPr>
            <p:cNvPr id="223" name="AutoShape 195">
              <a:extLst>
                <a:ext uri="{FF2B5EF4-FFF2-40B4-BE49-F238E27FC236}">
                  <a16:creationId xmlns:a16="http://schemas.microsoft.com/office/drawing/2014/main" id="{78D92012-2062-44C3-9612-A8EDB78919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7" y="267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Oval 197">
              <a:extLst>
                <a:ext uri="{FF2B5EF4-FFF2-40B4-BE49-F238E27FC236}">
                  <a16:creationId xmlns:a16="http://schemas.microsoft.com/office/drawing/2014/main" id="{6A981FDC-0C8F-42AB-8E7D-E16FA2025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" y="2667"/>
              <a:ext cx="530" cy="53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98">
              <a:extLst>
                <a:ext uri="{FF2B5EF4-FFF2-40B4-BE49-F238E27FC236}">
                  <a16:creationId xmlns:a16="http://schemas.microsoft.com/office/drawing/2014/main" id="{F9EAA851-88F1-447E-9042-7134315964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" y="2687"/>
              <a:ext cx="491" cy="491"/>
            </a:xfrm>
            <a:custGeom>
              <a:avLst/>
              <a:gdLst>
                <a:gd name="T0" fmla="*/ 89 w 178"/>
                <a:gd name="T1" fmla="*/ 174 h 178"/>
                <a:gd name="T2" fmla="*/ 4 w 178"/>
                <a:gd name="T3" fmla="*/ 89 h 178"/>
                <a:gd name="T4" fmla="*/ 89 w 178"/>
                <a:gd name="T5" fmla="*/ 4 h 178"/>
                <a:gd name="T6" fmla="*/ 174 w 178"/>
                <a:gd name="T7" fmla="*/ 89 h 178"/>
                <a:gd name="T8" fmla="*/ 89 w 178"/>
                <a:gd name="T9" fmla="*/ 174 h 178"/>
                <a:gd name="T10" fmla="*/ 89 w 178"/>
                <a:gd name="T11" fmla="*/ 0 h 178"/>
                <a:gd name="T12" fmla="*/ 0 w 178"/>
                <a:gd name="T13" fmla="*/ 89 h 178"/>
                <a:gd name="T14" fmla="*/ 89 w 178"/>
                <a:gd name="T15" fmla="*/ 178 h 178"/>
                <a:gd name="T16" fmla="*/ 178 w 178"/>
                <a:gd name="T17" fmla="*/ 89 h 178"/>
                <a:gd name="T18" fmla="*/ 89 w 178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4"/>
                  </a:moveTo>
                  <a:cubicBezTo>
                    <a:pt x="42" y="174"/>
                    <a:pt x="4" y="136"/>
                    <a:pt x="4" y="89"/>
                  </a:cubicBezTo>
                  <a:cubicBezTo>
                    <a:pt x="4" y="42"/>
                    <a:pt x="42" y="4"/>
                    <a:pt x="89" y="4"/>
                  </a:cubicBezTo>
                  <a:cubicBezTo>
                    <a:pt x="136" y="4"/>
                    <a:pt x="174" y="42"/>
                    <a:pt x="174" y="89"/>
                  </a:cubicBezTo>
                  <a:cubicBezTo>
                    <a:pt x="174" y="136"/>
                    <a:pt x="136" y="174"/>
                    <a:pt x="89" y="174"/>
                  </a:cubicBezTo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99">
              <a:extLst>
                <a:ext uri="{FF2B5EF4-FFF2-40B4-BE49-F238E27FC236}">
                  <a16:creationId xmlns:a16="http://schemas.microsoft.com/office/drawing/2014/main" id="{51EE2AA6-9623-45F5-9B31-D5E258D1D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" y="2783"/>
              <a:ext cx="130" cy="279"/>
            </a:xfrm>
            <a:custGeom>
              <a:avLst/>
              <a:gdLst>
                <a:gd name="T0" fmla="*/ 3 w 47"/>
                <a:gd name="T1" fmla="*/ 97 h 101"/>
                <a:gd name="T2" fmla="*/ 6 w 47"/>
                <a:gd name="T3" fmla="*/ 86 h 101"/>
                <a:gd name="T4" fmla="*/ 7 w 47"/>
                <a:gd name="T5" fmla="*/ 81 h 101"/>
                <a:gd name="T6" fmla="*/ 15 w 47"/>
                <a:gd name="T7" fmla="*/ 43 h 101"/>
                <a:gd name="T8" fmla="*/ 12 w 47"/>
                <a:gd name="T9" fmla="*/ 39 h 101"/>
                <a:gd name="T10" fmla="*/ 14 w 47"/>
                <a:gd name="T11" fmla="*/ 38 h 101"/>
                <a:gd name="T12" fmla="*/ 7 w 47"/>
                <a:gd name="T13" fmla="*/ 28 h 101"/>
                <a:gd name="T14" fmla="*/ 22 w 47"/>
                <a:gd name="T15" fmla="*/ 14 h 101"/>
                <a:gd name="T16" fmla="*/ 19 w 47"/>
                <a:gd name="T17" fmla="*/ 8 h 101"/>
                <a:gd name="T18" fmla="*/ 29 w 47"/>
                <a:gd name="T19" fmla="*/ 8 h 101"/>
                <a:gd name="T20" fmla="*/ 26 w 47"/>
                <a:gd name="T21" fmla="*/ 14 h 101"/>
                <a:gd name="T22" fmla="*/ 40 w 47"/>
                <a:gd name="T23" fmla="*/ 28 h 101"/>
                <a:gd name="T24" fmla="*/ 34 w 47"/>
                <a:gd name="T25" fmla="*/ 38 h 101"/>
                <a:gd name="T26" fmla="*/ 36 w 47"/>
                <a:gd name="T27" fmla="*/ 39 h 101"/>
                <a:gd name="T28" fmla="*/ 32 w 47"/>
                <a:gd name="T29" fmla="*/ 43 h 101"/>
                <a:gd name="T30" fmla="*/ 40 w 47"/>
                <a:gd name="T31" fmla="*/ 81 h 101"/>
                <a:gd name="T32" fmla="*/ 42 w 47"/>
                <a:gd name="T33" fmla="*/ 86 h 101"/>
                <a:gd name="T34" fmla="*/ 44 w 47"/>
                <a:gd name="T35" fmla="*/ 97 h 101"/>
                <a:gd name="T36" fmla="*/ 43 w 47"/>
                <a:gd name="T37" fmla="*/ 80 h 101"/>
                <a:gd name="T38" fmla="*/ 34 w 47"/>
                <a:gd name="T39" fmla="*/ 46 h 101"/>
                <a:gd name="T40" fmla="*/ 39 w 47"/>
                <a:gd name="T41" fmla="*/ 45 h 101"/>
                <a:gd name="T42" fmla="*/ 38 w 47"/>
                <a:gd name="T43" fmla="*/ 36 h 101"/>
                <a:gd name="T44" fmla="*/ 44 w 47"/>
                <a:gd name="T45" fmla="*/ 27 h 101"/>
                <a:gd name="T46" fmla="*/ 32 w 47"/>
                <a:gd name="T47" fmla="*/ 8 h 101"/>
                <a:gd name="T48" fmla="*/ 16 w 47"/>
                <a:gd name="T49" fmla="*/ 8 h 101"/>
                <a:gd name="T50" fmla="*/ 4 w 47"/>
                <a:gd name="T51" fmla="*/ 27 h 101"/>
                <a:gd name="T52" fmla="*/ 9 w 47"/>
                <a:gd name="T53" fmla="*/ 36 h 101"/>
                <a:gd name="T54" fmla="*/ 9 w 47"/>
                <a:gd name="T55" fmla="*/ 45 h 101"/>
                <a:gd name="T56" fmla="*/ 14 w 47"/>
                <a:gd name="T57" fmla="*/ 46 h 101"/>
                <a:gd name="T58" fmla="*/ 4 w 47"/>
                <a:gd name="T59" fmla="*/ 80 h 101"/>
                <a:gd name="T60" fmla="*/ 0 w 47"/>
                <a:gd name="T61" fmla="*/ 87 h 101"/>
                <a:gd name="T62" fmla="*/ 0 w 47"/>
                <a:gd name="T63" fmla="*/ 99 h 101"/>
                <a:gd name="T64" fmla="*/ 46 w 47"/>
                <a:gd name="T65" fmla="*/ 101 h 101"/>
                <a:gd name="T66" fmla="*/ 47 w 47"/>
                <a:gd name="T67" fmla="*/ 87 h 101"/>
                <a:gd name="T68" fmla="*/ 43 w 47"/>
                <a:gd name="T69" fmla="*/ 8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" h="101">
                  <a:moveTo>
                    <a:pt x="44" y="97"/>
                  </a:moveTo>
                  <a:cubicBezTo>
                    <a:pt x="3" y="97"/>
                    <a:pt x="3" y="97"/>
                    <a:pt x="3" y="97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3" y="87"/>
                    <a:pt x="5" y="86"/>
                    <a:pt x="6" y="86"/>
                  </a:cubicBezTo>
                  <a:cubicBezTo>
                    <a:pt x="6" y="86"/>
                    <a:pt x="7" y="86"/>
                    <a:pt x="7" y="85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21" y="71"/>
                    <a:pt x="17" y="46"/>
                    <a:pt x="17" y="45"/>
                  </a:cubicBezTo>
                  <a:cubicBezTo>
                    <a:pt x="17" y="44"/>
                    <a:pt x="16" y="43"/>
                    <a:pt x="15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3" y="39"/>
                    <a:pt x="14" y="39"/>
                    <a:pt x="14" y="38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2" y="15"/>
                    <a:pt x="22" y="14"/>
                  </a:cubicBezTo>
                  <a:cubicBezTo>
                    <a:pt x="22" y="13"/>
                    <a:pt x="22" y="13"/>
                    <a:pt x="21" y="12"/>
                  </a:cubicBezTo>
                  <a:cubicBezTo>
                    <a:pt x="20" y="11"/>
                    <a:pt x="19" y="10"/>
                    <a:pt x="19" y="8"/>
                  </a:cubicBezTo>
                  <a:cubicBezTo>
                    <a:pt x="19" y="5"/>
                    <a:pt x="21" y="3"/>
                    <a:pt x="24" y="3"/>
                  </a:cubicBezTo>
                  <a:cubicBezTo>
                    <a:pt x="26" y="3"/>
                    <a:pt x="29" y="5"/>
                    <a:pt x="29" y="8"/>
                  </a:cubicBezTo>
                  <a:cubicBezTo>
                    <a:pt x="29" y="10"/>
                    <a:pt x="28" y="11"/>
                    <a:pt x="26" y="12"/>
                  </a:cubicBezTo>
                  <a:cubicBezTo>
                    <a:pt x="26" y="13"/>
                    <a:pt x="25" y="13"/>
                    <a:pt x="26" y="14"/>
                  </a:cubicBezTo>
                  <a:cubicBezTo>
                    <a:pt x="26" y="15"/>
                    <a:pt x="26" y="15"/>
                    <a:pt x="27" y="1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7"/>
                    <a:pt x="34" y="38"/>
                  </a:cubicBezTo>
                  <a:cubicBezTo>
                    <a:pt x="34" y="39"/>
                    <a:pt x="34" y="39"/>
                    <a:pt x="35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1" y="43"/>
                    <a:pt x="31" y="44"/>
                    <a:pt x="31" y="45"/>
                  </a:cubicBezTo>
                  <a:cubicBezTo>
                    <a:pt x="30" y="46"/>
                    <a:pt x="26" y="71"/>
                    <a:pt x="40" y="81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6"/>
                    <a:pt x="41" y="86"/>
                    <a:pt x="42" y="86"/>
                  </a:cubicBezTo>
                  <a:cubicBezTo>
                    <a:pt x="42" y="86"/>
                    <a:pt x="44" y="87"/>
                    <a:pt x="44" y="87"/>
                  </a:cubicBezTo>
                  <a:lnTo>
                    <a:pt x="44" y="97"/>
                  </a:lnTo>
                  <a:close/>
                  <a:moveTo>
                    <a:pt x="43" y="83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79"/>
                    <a:pt x="43" y="79"/>
                  </a:cubicBezTo>
                  <a:cubicBezTo>
                    <a:pt x="31" y="71"/>
                    <a:pt x="33" y="52"/>
                    <a:pt x="34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9" y="46"/>
                    <a:pt x="39" y="45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7"/>
                    <a:pt x="39" y="36"/>
                    <a:pt x="38" y="36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8"/>
                    <a:pt x="44" y="27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2"/>
                    <a:pt x="32" y="10"/>
                    <a:pt x="32" y="8"/>
                  </a:cubicBezTo>
                  <a:cubicBezTo>
                    <a:pt x="32" y="4"/>
                    <a:pt x="28" y="0"/>
                    <a:pt x="24" y="0"/>
                  </a:cubicBezTo>
                  <a:cubicBezTo>
                    <a:pt x="19" y="0"/>
                    <a:pt x="16" y="4"/>
                    <a:pt x="16" y="8"/>
                  </a:cubicBezTo>
                  <a:cubicBezTo>
                    <a:pt x="16" y="10"/>
                    <a:pt x="16" y="12"/>
                    <a:pt x="18" y="14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8"/>
                    <a:pt x="3" y="29"/>
                    <a:pt x="4" y="29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7"/>
                    <a:pt x="9" y="37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10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52"/>
                    <a:pt x="16" y="71"/>
                    <a:pt x="5" y="79"/>
                  </a:cubicBezTo>
                  <a:cubicBezTo>
                    <a:pt x="4" y="79"/>
                    <a:pt x="4" y="80"/>
                    <a:pt x="4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3" y="84"/>
                    <a:pt x="1" y="84"/>
                    <a:pt x="0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0"/>
                    <a:pt x="1" y="101"/>
                    <a:pt x="1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7" y="101"/>
                    <a:pt x="47" y="100"/>
                    <a:pt x="47" y="99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7" y="84"/>
                    <a:pt x="45" y="84"/>
                    <a:pt x="43" y="8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00">
              <a:extLst>
                <a:ext uri="{FF2B5EF4-FFF2-40B4-BE49-F238E27FC236}">
                  <a16:creationId xmlns:a16="http://schemas.microsoft.com/office/drawing/2014/main" id="{941A8AD0-A77E-4DE8-872F-E7C551F58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" y="2891"/>
              <a:ext cx="82" cy="130"/>
            </a:xfrm>
            <a:custGeom>
              <a:avLst/>
              <a:gdLst>
                <a:gd name="T0" fmla="*/ 27 w 30"/>
                <a:gd name="T1" fmla="*/ 44 h 47"/>
                <a:gd name="T2" fmla="*/ 3 w 30"/>
                <a:gd name="T3" fmla="*/ 44 h 47"/>
                <a:gd name="T4" fmla="*/ 3 w 30"/>
                <a:gd name="T5" fmla="*/ 39 h 47"/>
                <a:gd name="T6" fmla="*/ 3 w 30"/>
                <a:gd name="T7" fmla="*/ 38 h 47"/>
                <a:gd name="T8" fmla="*/ 4 w 30"/>
                <a:gd name="T9" fmla="*/ 38 h 47"/>
                <a:gd name="T10" fmla="*/ 5 w 30"/>
                <a:gd name="T11" fmla="*/ 37 h 47"/>
                <a:gd name="T12" fmla="*/ 6 w 30"/>
                <a:gd name="T13" fmla="*/ 37 h 47"/>
                <a:gd name="T14" fmla="*/ 6 w 30"/>
                <a:gd name="T15" fmla="*/ 37 h 47"/>
                <a:gd name="T16" fmla="*/ 8 w 30"/>
                <a:gd name="T17" fmla="*/ 36 h 47"/>
                <a:gd name="T18" fmla="*/ 12 w 30"/>
                <a:gd name="T19" fmla="*/ 15 h 47"/>
                <a:gd name="T20" fmla="*/ 12 w 30"/>
                <a:gd name="T21" fmla="*/ 14 h 47"/>
                <a:gd name="T22" fmla="*/ 9 w 30"/>
                <a:gd name="T23" fmla="*/ 9 h 47"/>
                <a:gd name="T24" fmla="*/ 15 w 30"/>
                <a:gd name="T25" fmla="*/ 4 h 47"/>
                <a:gd name="T26" fmla="*/ 21 w 30"/>
                <a:gd name="T27" fmla="*/ 9 h 47"/>
                <a:gd name="T28" fmla="*/ 18 w 30"/>
                <a:gd name="T29" fmla="*/ 14 h 47"/>
                <a:gd name="T30" fmla="*/ 17 w 30"/>
                <a:gd name="T31" fmla="*/ 15 h 47"/>
                <a:gd name="T32" fmla="*/ 22 w 30"/>
                <a:gd name="T33" fmla="*/ 36 h 47"/>
                <a:gd name="T34" fmla="*/ 23 w 30"/>
                <a:gd name="T35" fmla="*/ 37 h 47"/>
                <a:gd name="T36" fmla="*/ 24 w 30"/>
                <a:gd name="T37" fmla="*/ 37 h 47"/>
                <a:gd name="T38" fmla="*/ 24 w 30"/>
                <a:gd name="T39" fmla="*/ 37 h 47"/>
                <a:gd name="T40" fmla="*/ 26 w 30"/>
                <a:gd name="T41" fmla="*/ 38 h 47"/>
                <a:gd name="T42" fmla="*/ 27 w 30"/>
                <a:gd name="T43" fmla="*/ 38 h 47"/>
                <a:gd name="T44" fmla="*/ 27 w 30"/>
                <a:gd name="T45" fmla="*/ 39 h 47"/>
                <a:gd name="T46" fmla="*/ 27 w 30"/>
                <a:gd name="T47" fmla="*/ 44 h 47"/>
                <a:gd name="T48" fmla="*/ 27 w 30"/>
                <a:gd name="T49" fmla="*/ 35 h 47"/>
                <a:gd name="T50" fmla="*/ 25 w 30"/>
                <a:gd name="T51" fmla="*/ 34 h 47"/>
                <a:gd name="T52" fmla="*/ 24 w 30"/>
                <a:gd name="T53" fmla="*/ 33 h 47"/>
                <a:gd name="T54" fmla="*/ 24 w 30"/>
                <a:gd name="T55" fmla="*/ 33 h 47"/>
                <a:gd name="T56" fmla="*/ 20 w 30"/>
                <a:gd name="T57" fmla="*/ 16 h 47"/>
                <a:gd name="T58" fmla="*/ 24 w 30"/>
                <a:gd name="T59" fmla="*/ 9 h 47"/>
                <a:gd name="T60" fmla="*/ 15 w 30"/>
                <a:gd name="T61" fmla="*/ 0 h 47"/>
                <a:gd name="T62" fmla="*/ 6 w 30"/>
                <a:gd name="T63" fmla="*/ 9 h 47"/>
                <a:gd name="T64" fmla="*/ 9 w 30"/>
                <a:gd name="T65" fmla="*/ 16 h 47"/>
                <a:gd name="T66" fmla="*/ 6 w 30"/>
                <a:gd name="T67" fmla="*/ 33 h 47"/>
                <a:gd name="T68" fmla="*/ 5 w 30"/>
                <a:gd name="T69" fmla="*/ 33 h 47"/>
                <a:gd name="T70" fmla="*/ 5 w 30"/>
                <a:gd name="T71" fmla="*/ 34 h 47"/>
                <a:gd name="T72" fmla="*/ 3 w 30"/>
                <a:gd name="T73" fmla="*/ 35 h 47"/>
                <a:gd name="T74" fmla="*/ 0 w 30"/>
                <a:gd name="T75" fmla="*/ 39 h 47"/>
                <a:gd name="T76" fmla="*/ 0 w 30"/>
                <a:gd name="T77" fmla="*/ 45 h 47"/>
                <a:gd name="T78" fmla="*/ 1 w 30"/>
                <a:gd name="T79" fmla="*/ 47 h 47"/>
                <a:gd name="T80" fmla="*/ 28 w 30"/>
                <a:gd name="T81" fmla="*/ 47 h 47"/>
                <a:gd name="T82" fmla="*/ 30 w 30"/>
                <a:gd name="T83" fmla="*/ 45 h 47"/>
                <a:gd name="T84" fmla="*/ 30 w 30"/>
                <a:gd name="T85" fmla="*/ 39 h 47"/>
                <a:gd name="T86" fmla="*/ 27 w 30"/>
                <a:gd name="T87" fmla="*/ 3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" h="47">
                  <a:moveTo>
                    <a:pt x="27" y="44"/>
                  </a:moveTo>
                  <a:cubicBezTo>
                    <a:pt x="3" y="44"/>
                    <a:pt x="3" y="44"/>
                    <a:pt x="3" y="44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5" y="38"/>
                    <a:pt x="5" y="37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7"/>
                    <a:pt x="7" y="36"/>
                    <a:pt x="8" y="36"/>
                  </a:cubicBezTo>
                  <a:cubicBezTo>
                    <a:pt x="14" y="30"/>
                    <a:pt x="13" y="20"/>
                    <a:pt x="12" y="15"/>
                  </a:cubicBezTo>
                  <a:cubicBezTo>
                    <a:pt x="12" y="15"/>
                    <a:pt x="12" y="15"/>
                    <a:pt x="12" y="14"/>
                  </a:cubicBezTo>
                  <a:cubicBezTo>
                    <a:pt x="10" y="13"/>
                    <a:pt x="9" y="11"/>
                    <a:pt x="9" y="9"/>
                  </a:cubicBezTo>
                  <a:cubicBezTo>
                    <a:pt x="9" y="6"/>
                    <a:pt x="12" y="4"/>
                    <a:pt x="15" y="4"/>
                  </a:cubicBezTo>
                  <a:cubicBezTo>
                    <a:pt x="18" y="4"/>
                    <a:pt x="21" y="6"/>
                    <a:pt x="21" y="9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8" y="15"/>
                    <a:pt x="17" y="15"/>
                    <a:pt x="17" y="15"/>
                  </a:cubicBezTo>
                  <a:cubicBezTo>
                    <a:pt x="17" y="20"/>
                    <a:pt x="16" y="30"/>
                    <a:pt x="22" y="36"/>
                  </a:cubicBezTo>
                  <a:cubicBezTo>
                    <a:pt x="22" y="36"/>
                    <a:pt x="23" y="37"/>
                    <a:pt x="23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5" y="38"/>
                    <a:pt x="25" y="38"/>
                    <a:pt x="26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39"/>
                    <a:pt x="27" y="39"/>
                    <a:pt x="27" y="39"/>
                  </a:cubicBezTo>
                  <a:lnTo>
                    <a:pt x="27" y="44"/>
                  </a:lnTo>
                  <a:close/>
                  <a:moveTo>
                    <a:pt x="27" y="35"/>
                  </a:moveTo>
                  <a:cubicBezTo>
                    <a:pt x="26" y="34"/>
                    <a:pt x="25" y="34"/>
                    <a:pt x="25" y="34"/>
                  </a:cubicBezTo>
                  <a:cubicBezTo>
                    <a:pt x="25" y="34"/>
                    <a:pt x="25" y="33"/>
                    <a:pt x="24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0" y="28"/>
                    <a:pt x="20" y="20"/>
                    <a:pt x="20" y="16"/>
                  </a:cubicBezTo>
                  <a:cubicBezTo>
                    <a:pt x="23" y="15"/>
                    <a:pt x="24" y="12"/>
                    <a:pt x="24" y="9"/>
                  </a:cubicBezTo>
                  <a:cubicBezTo>
                    <a:pt x="24" y="4"/>
                    <a:pt x="20" y="0"/>
                    <a:pt x="15" y="0"/>
                  </a:cubicBezTo>
                  <a:cubicBezTo>
                    <a:pt x="10" y="0"/>
                    <a:pt x="6" y="4"/>
                    <a:pt x="6" y="9"/>
                  </a:cubicBezTo>
                  <a:cubicBezTo>
                    <a:pt x="6" y="12"/>
                    <a:pt x="7" y="15"/>
                    <a:pt x="9" y="16"/>
                  </a:cubicBezTo>
                  <a:cubicBezTo>
                    <a:pt x="10" y="20"/>
                    <a:pt x="10" y="28"/>
                    <a:pt x="6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4"/>
                    <a:pt x="5" y="34"/>
                  </a:cubicBezTo>
                  <a:cubicBezTo>
                    <a:pt x="4" y="34"/>
                    <a:pt x="3" y="34"/>
                    <a:pt x="3" y="35"/>
                  </a:cubicBezTo>
                  <a:cubicBezTo>
                    <a:pt x="1" y="35"/>
                    <a:pt x="0" y="36"/>
                    <a:pt x="0" y="3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7"/>
                    <a:pt x="1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9" y="47"/>
                    <a:pt x="30" y="46"/>
                    <a:pt x="30" y="4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6"/>
                    <a:pt x="29" y="35"/>
                    <a:pt x="27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2" name="Group 203">
            <a:extLst>
              <a:ext uri="{FF2B5EF4-FFF2-40B4-BE49-F238E27FC236}">
                <a16:creationId xmlns:a16="http://schemas.microsoft.com/office/drawing/2014/main" id="{D34ADF4C-36D3-424A-ACC6-22F00A6C74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1637" y="4191000"/>
            <a:ext cx="758825" cy="758825"/>
            <a:chOff x="2327" y="2678"/>
            <a:chExt cx="478" cy="478"/>
          </a:xfrm>
        </p:grpSpPr>
        <p:sp>
          <p:nvSpPr>
            <p:cNvPr id="233" name="AutoShape 202">
              <a:extLst>
                <a:ext uri="{FF2B5EF4-FFF2-40B4-BE49-F238E27FC236}">
                  <a16:creationId xmlns:a16="http://schemas.microsoft.com/office/drawing/2014/main" id="{7199A5A2-7103-4A0C-9A2D-94D95F56A4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27" y="26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04">
              <a:extLst>
                <a:ext uri="{FF2B5EF4-FFF2-40B4-BE49-F238E27FC236}">
                  <a16:creationId xmlns:a16="http://schemas.microsoft.com/office/drawing/2014/main" id="{5ABA6531-F356-4C8E-A7B9-3F492208C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9" y="26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05">
              <a:extLst>
                <a:ext uri="{FF2B5EF4-FFF2-40B4-BE49-F238E27FC236}">
                  <a16:creationId xmlns:a16="http://schemas.microsoft.com/office/drawing/2014/main" id="{8EC97CF8-F2BF-4781-902A-CFA6A0F70A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2754"/>
              <a:ext cx="255" cy="328"/>
            </a:xfrm>
            <a:custGeom>
              <a:avLst/>
              <a:gdLst>
                <a:gd name="T0" fmla="*/ 89 w 104"/>
                <a:gd name="T1" fmla="*/ 77 h 134"/>
                <a:gd name="T2" fmla="*/ 55 w 104"/>
                <a:gd name="T3" fmla="*/ 91 h 134"/>
                <a:gd name="T4" fmla="*/ 64 w 104"/>
                <a:gd name="T5" fmla="*/ 115 h 134"/>
                <a:gd name="T6" fmla="*/ 5 w 104"/>
                <a:gd name="T7" fmla="*/ 46 h 134"/>
                <a:gd name="T8" fmla="*/ 94 w 104"/>
                <a:gd name="T9" fmla="*/ 46 h 134"/>
                <a:gd name="T10" fmla="*/ 71 w 104"/>
                <a:gd name="T11" fmla="*/ 121 h 134"/>
                <a:gd name="T12" fmla="*/ 71 w 104"/>
                <a:gd name="T13" fmla="*/ 121 h 134"/>
                <a:gd name="T14" fmla="*/ 52 w 104"/>
                <a:gd name="T15" fmla="*/ 0 h 134"/>
                <a:gd name="T16" fmla="*/ 19 w 104"/>
                <a:gd name="T17" fmla="*/ 108 h 134"/>
                <a:gd name="T18" fmla="*/ 12 w 104"/>
                <a:gd name="T19" fmla="*/ 131 h 134"/>
                <a:gd name="T20" fmla="*/ 78 w 104"/>
                <a:gd name="T21" fmla="*/ 131 h 134"/>
                <a:gd name="T22" fmla="*/ 68 w 104"/>
                <a:gd name="T23" fmla="*/ 116 h 134"/>
                <a:gd name="T24" fmla="*/ 94 w 104"/>
                <a:gd name="T25" fmla="*/ 96 h 134"/>
                <a:gd name="T26" fmla="*/ 102 w 104"/>
                <a:gd name="T27" fmla="*/ 60 h 134"/>
                <a:gd name="T28" fmla="*/ 43 w 104"/>
                <a:gd name="T29" fmla="*/ 51 h 134"/>
                <a:gd name="T30" fmla="*/ 38 w 104"/>
                <a:gd name="T31" fmla="*/ 61 h 134"/>
                <a:gd name="T32" fmla="*/ 68 w 104"/>
                <a:gd name="T33" fmla="*/ 33 h 134"/>
                <a:gd name="T34" fmla="*/ 81 w 104"/>
                <a:gd name="T35" fmla="*/ 39 h 134"/>
                <a:gd name="T36" fmla="*/ 73 w 104"/>
                <a:gd name="T37" fmla="*/ 40 h 134"/>
                <a:gd name="T38" fmla="*/ 68 w 104"/>
                <a:gd name="T39" fmla="*/ 39 h 134"/>
                <a:gd name="T40" fmla="*/ 60 w 104"/>
                <a:gd name="T41" fmla="*/ 38 h 134"/>
                <a:gd name="T42" fmla="*/ 64 w 104"/>
                <a:gd name="T43" fmla="*/ 30 h 134"/>
                <a:gd name="T44" fmla="*/ 67 w 104"/>
                <a:gd name="T45" fmla="*/ 27 h 134"/>
                <a:gd name="T46" fmla="*/ 71 w 104"/>
                <a:gd name="T47" fmla="*/ 21 h 134"/>
                <a:gd name="T48" fmla="*/ 76 w 104"/>
                <a:gd name="T49" fmla="*/ 27 h 134"/>
                <a:gd name="T50" fmla="*/ 77 w 104"/>
                <a:gd name="T51" fmla="*/ 32 h 134"/>
                <a:gd name="T52" fmla="*/ 81 w 104"/>
                <a:gd name="T53" fmla="*/ 39 h 134"/>
                <a:gd name="T54" fmla="*/ 84 w 104"/>
                <a:gd name="T55" fmla="*/ 22 h 134"/>
                <a:gd name="T56" fmla="*/ 73 w 104"/>
                <a:gd name="T57" fmla="*/ 16 h 134"/>
                <a:gd name="T58" fmla="*/ 60 w 104"/>
                <a:gd name="T59" fmla="*/ 21 h 134"/>
                <a:gd name="T60" fmla="*/ 59 w 104"/>
                <a:gd name="T61" fmla="*/ 33 h 134"/>
                <a:gd name="T62" fmla="*/ 60 w 104"/>
                <a:gd name="T63" fmla="*/ 44 h 134"/>
                <a:gd name="T64" fmla="*/ 73 w 104"/>
                <a:gd name="T65" fmla="*/ 49 h 134"/>
                <a:gd name="T66" fmla="*/ 84 w 104"/>
                <a:gd name="T67" fmla="*/ 43 h 134"/>
                <a:gd name="T68" fmla="*/ 57 w 104"/>
                <a:gd name="T69" fmla="*/ 53 h 134"/>
                <a:gd name="T70" fmla="*/ 48 w 104"/>
                <a:gd name="T71" fmla="*/ 61 h 134"/>
                <a:gd name="T72" fmla="*/ 40 w 104"/>
                <a:gd name="T73" fmla="*/ 64 h 134"/>
                <a:gd name="T74" fmla="*/ 27 w 104"/>
                <a:gd name="T75" fmla="*/ 67 h 134"/>
                <a:gd name="T76" fmla="*/ 25 w 104"/>
                <a:gd name="T77" fmla="*/ 55 h 134"/>
                <a:gd name="T78" fmla="*/ 26 w 104"/>
                <a:gd name="T79" fmla="*/ 47 h 134"/>
                <a:gd name="T80" fmla="*/ 30 w 104"/>
                <a:gd name="T81" fmla="*/ 34 h 134"/>
                <a:gd name="T82" fmla="*/ 41 w 104"/>
                <a:gd name="T83" fmla="*/ 38 h 134"/>
                <a:gd name="T84" fmla="*/ 48 w 104"/>
                <a:gd name="T85" fmla="*/ 43 h 134"/>
                <a:gd name="T86" fmla="*/ 57 w 104"/>
                <a:gd name="T87" fmla="*/ 53 h 134"/>
                <a:gd name="T88" fmla="*/ 54 w 104"/>
                <a:gd name="T89" fmla="*/ 35 h 134"/>
                <a:gd name="T90" fmla="*/ 39 w 104"/>
                <a:gd name="T91" fmla="*/ 34 h 134"/>
                <a:gd name="T92" fmla="*/ 23 w 104"/>
                <a:gd name="T93" fmla="*/ 33 h 134"/>
                <a:gd name="T94" fmla="*/ 16 w 104"/>
                <a:gd name="T95" fmla="*/ 46 h 134"/>
                <a:gd name="T96" fmla="*/ 22 w 104"/>
                <a:gd name="T97" fmla="*/ 59 h 134"/>
                <a:gd name="T98" fmla="*/ 29 w 104"/>
                <a:gd name="T99" fmla="*/ 74 h 134"/>
                <a:gd name="T100" fmla="*/ 44 w 104"/>
                <a:gd name="T101" fmla="*/ 74 h 134"/>
                <a:gd name="T102" fmla="*/ 54 w 104"/>
                <a:gd name="T103" fmla="*/ 68 h 134"/>
                <a:gd name="T104" fmla="*/ 61 w 104"/>
                <a:gd name="T105" fmla="*/ 5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4" h="134">
                  <a:moveTo>
                    <a:pt x="96" y="72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88" y="72"/>
                    <a:pt x="87" y="73"/>
                    <a:pt x="87" y="74"/>
                  </a:cubicBezTo>
                  <a:cubicBezTo>
                    <a:pt x="87" y="75"/>
                    <a:pt x="88" y="77"/>
                    <a:pt x="89" y="77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9" y="98"/>
                    <a:pt x="86" y="100"/>
                    <a:pt x="82" y="100"/>
                  </a:cubicBezTo>
                  <a:cubicBezTo>
                    <a:pt x="73" y="100"/>
                    <a:pt x="62" y="96"/>
                    <a:pt x="58" y="91"/>
                  </a:cubicBezTo>
                  <a:cubicBezTo>
                    <a:pt x="57" y="91"/>
                    <a:pt x="56" y="91"/>
                    <a:pt x="55" y="91"/>
                  </a:cubicBezTo>
                  <a:cubicBezTo>
                    <a:pt x="54" y="92"/>
                    <a:pt x="54" y="94"/>
                    <a:pt x="55" y="95"/>
                  </a:cubicBezTo>
                  <a:cubicBezTo>
                    <a:pt x="57" y="97"/>
                    <a:pt x="61" y="100"/>
                    <a:pt x="66" y="101"/>
                  </a:cubicBezTo>
                  <a:cubicBezTo>
                    <a:pt x="65" y="104"/>
                    <a:pt x="64" y="109"/>
                    <a:pt x="64" y="115"/>
                  </a:cubicBezTo>
                  <a:cubicBezTo>
                    <a:pt x="64" y="115"/>
                    <a:pt x="64" y="115"/>
                    <a:pt x="64" y="115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24" y="107"/>
                    <a:pt x="24" y="106"/>
                    <a:pt x="24" y="105"/>
                  </a:cubicBezTo>
                  <a:cubicBezTo>
                    <a:pt x="24" y="92"/>
                    <a:pt x="19" y="83"/>
                    <a:pt x="14" y="75"/>
                  </a:cubicBezTo>
                  <a:cubicBezTo>
                    <a:pt x="10" y="66"/>
                    <a:pt x="5" y="58"/>
                    <a:pt x="5" y="46"/>
                  </a:cubicBezTo>
                  <a:cubicBezTo>
                    <a:pt x="5" y="22"/>
                    <a:pt x="25" y="5"/>
                    <a:pt x="52" y="5"/>
                  </a:cubicBezTo>
                  <a:cubicBezTo>
                    <a:pt x="71" y="5"/>
                    <a:pt x="84" y="10"/>
                    <a:pt x="91" y="19"/>
                  </a:cubicBezTo>
                  <a:cubicBezTo>
                    <a:pt x="96" y="25"/>
                    <a:pt x="97" y="34"/>
                    <a:pt x="94" y="45"/>
                  </a:cubicBezTo>
                  <a:cubicBezTo>
                    <a:pt x="94" y="45"/>
                    <a:pt x="94" y="45"/>
                    <a:pt x="94" y="46"/>
                  </a:cubicBezTo>
                  <a:cubicBezTo>
                    <a:pt x="94" y="48"/>
                    <a:pt x="95" y="54"/>
                    <a:pt x="97" y="61"/>
                  </a:cubicBezTo>
                  <a:cubicBezTo>
                    <a:pt x="98" y="64"/>
                    <a:pt x="99" y="69"/>
                    <a:pt x="99" y="69"/>
                  </a:cubicBezTo>
                  <a:cubicBezTo>
                    <a:pt x="99" y="70"/>
                    <a:pt x="97" y="72"/>
                    <a:pt x="96" y="72"/>
                  </a:cubicBezTo>
                  <a:moveTo>
                    <a:pt x="71" y="121"/>
                  </a:moveTo>
                  <a:cubicBezTo>
                    <a:pt x="73" y="129"/>
                    <a:pt x="73" y="129"/>
                    <a:pt x="73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9" y="113"/>
                    <a:pt x="19" y="113"/>
                    <a:pt x="19" y="113"/>
                  </a:cubicBezTo>
                  <a:lnTo>
                    <a:pt x="71" y="121"/>
                  </a:lnTo>
                  <a:close/>
                  <a:moveTo>
                    <a:pt x="102" y="60"/>
                  </a:moveTo>
                  <a:cubicBezTo>
                    <a:pt x="100" y="55"/>
                    <a:pt x="99" y="48"/>
                    <a:pt x="99" y="46"/>
                  </a:cubicBezTo>
                  <a:cubicBezTo>
                    <a:pt x="102" y="34"/>
                    <a:pt x="100" y="23"/>
                    <a:pt x="94" y="16"/>
                  </a:cubicBezTo>
                  <a:cubicBezTo>
                    <a:pt x="87" y="6"/>
                    <a:pt x="72" y="0"/>
                    <a:pt x="52" y="0"/>
                  </a:cubicBezTo>
                  <a:cubicBezTo>
                    <a:pt x="22" y="0"/>
                    <a:pt x="0" y="19"/>
                    <a:pt x="0" y="46"/>
                  </a:cubicBezTo>
                  <a:cubicBezTo>
                    <a:pt x="0" y="59"/>
                    <a:pt x="5" y="69"/>
                    <a:pt x="10" y="77"/>
                  </a:cubicBezTo>
                  <a:cubicBezTo>
                    <a:pt x="15" y="86"/>
                    <a:pt x="19" y="93"/>
                    <a:pt x="19" y="105"/>
                  </a:cubicBezTo>
                  <a:cubicBezTo>
                    <a:pt x="19" y="106"/>
                    <a:pt x="19" y="107"/>
                    <a:pt x="19" y="108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6" y="108"/>
                    <a:pt x="15" y="108"/>
                  </a:cubicBezTo>
                  <a:cubicBezTo>
                    <a:pt x="15" y="108"/>
                    <a:pt x="15" y="109"/>
                    <a:pt x="15" y="110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2"/>
                    <a:pt x="12" y="132"/>
                    <a:pt x="13" y="133"/>
                  </a:cubicBezTo>
                  <a:cubicBezTo>
                    <a:pt x="13" y="133"/>
                    <a:pt x="14" y="134"/>
                    <a:pt x="15" y="134"/>
                  </a:cubicBezTo>
                  <a:cubicBezTo>
                    <a:pt x="75" y="134"/>
                    <a:pt x="75" y="134"/>
                    <a:pt x="75" y="134"/>
                  </a:cubicBezTo>
                  <a:cubicBezTo>
                    <a:pt x="77" y="134"/>
                    <a:pt x="78" y="133"/>
                    <a:pt x="78" y="131"/>
                  </a:cubicBezTo>
                  <a:cubicBezTo>
                    <a:pt x="78" y="131"/>
                    <a:pt x="78" y="131"/>
                    <a:pt x="78" y="13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5" y="118"/>
                    <a:pt x="74" y="117"/>
                    <a:pt x="73" y="117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68" y="116"/>
                    <a:pt x="68" y="115"/>
                    <a:pt x="68" y="115"/>
                  </a:cubicBezTo>
                  <a:cubicBezTo>
                    <a:pt x="68" y="110"/>
                    <a:pt x="69" y="105"/>
                    <a:pt x="70" y="103"/>
                  </a:cubicBezTo>
                  <a:cubicBezTo>
                    <a:pt x="74" y="104"/>
                    <a:pt x="79" y="105"/>
                    <a:pt x="82" y="105"/>
                  </a:cubicBezTo>
                  <a:cubicBezTo>
                    <a:pt x="89" y="105"/>
                    <a:pt x="94" y="101"/>
                    <a:pt x="94" y="9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100" y="77"/>
                    <a:pt x="104" y="73"/>
                    <a:pt x="104" y="69"/>
                  </a:cubicBezTo>
                  <a:cubicBezTo>
                    <a:pt x="104" y="68"/>
                    <a:pt x="103" y="66"/>
                    <a:pt x="102" y="60"/>
                  </a:cubicBezTo>
                  <a:moveTo>
                    <a:pt x="38" y="56"/>
                  </a:moveTo>
                  <a:cubicBezTo>
                    <a:pt x="35" y="56"/>
                    <a:pt x="33" y="54"/>
                    <a:pt x="33" y="51"/>
                  </a:cubicBezTo>
                  <a:cubicBezTo>
                    <a:pt x="33" y="49"/>
                    <a:pt x="35" y="47"/>
                    <a:pt x="38" y="47"/>
                  </a:cubicBezTo>
                  <a:cubicBezTo>
                    <a:pt x="41" y="47"/>
                    <a:pt x="43" y="49"/>
                    <a:pt x="43" y="51"/>
                  </a:cubicBezTo>
                  <a:cubicBezTo>
                    <a:pt x="43" y="54"/>
                    <a:pt x="41" y="56"/>
                    <a:pt x="38" y="56"/>
                  </a:cubicBezTo>
                  <a:moveTo>
                    <a:pt x="38" y="42"/>
                  </a:moveTo>
                  <a:cubicBezTo>
                    <a:pt x="33" y="42"/>
                    <a:pt x="29" y="46"/>
                    <a:pt x="29" y="51"/>
                  </a:cubicBezTo>
                  <a:cubicBezTo>
                    <a:pt x="29" y="57"/>
                    <a:pt x="33" y="61"/>
                    <a:pt x="38" y="61"/>
                  </a:cubicBezTo>
                  <a:cubicBezTo>
                    <a:pt x="43" y="61"/>
                    <a:pt x="47" y="57"/>
                    <a:pt x="47" y="51"/>
                  </a:cubicBezTo>
                  <a:cubicBezTo>
                    <a:pt x="47" y="46"/>
                    <a:pt x="43" y="42"/>
                    <a:pt x="38" y="42"/>
                  </a:cubicBezTo>
                  <a:moveTo>
                    <a:pt x="71" y="30"/>
                  </a:moveTo>
                  <a:cubicBezTo>
                    <a:pt x="69" y="30"/>
                    <a:pt x="68" y="31"/>
                    <a:pt x="68" y="33"/>
                  </a:cubicBezTo>
                  <a:cubicBezTo>
                    <a:pt x="68" y="34"/>
                    <a:pt x="69" y="35"/>
                    <a:pt x="71" y="35"/>
                  </a:cubicBezTo>
                  <a:cubicBezTo>
                    <a:pt x="72" y="35"/>
                    <a:pt x="73" y="34"/>
                    <a:pt x="73" y="33"/>
                  </a:cubicBezTo>
                  <a:cubicBezTo>
                    <a:pt x="73" y="31"/>
                    <a:pt x="72" y="30"/>
                    <a:pt x="71" y="30"/>
                  </a:cubicBezTo>
                  <a:moveTo>
                    <a:pt x="81" y="39"/>
                  </a:move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5" y="38"/>
                    <a:pt x="75" y="3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3" y="39"/>
                    <a:pt x="73" y="39"/>
                    <a:pt x="73" y="40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4"/>
                    <a:pt x="64" y="34"/>
                    <a:pt x="64" y="33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1"/>
                    <a:pt x="64" y="31"/>
                    <a:pt x="64" y="30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6" y="27"/>
                    <a:pt x="67" y="27"/>
                    <a:pt x="67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9" y="26"/>
                    <a:pt x="69" y="25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6"/>
                    <a:pt x="74" y="26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1"/>
                    <a:pt x="77" y="31"/>
                    <a:pt x="77" y="32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7" y="34"/>
                    <a:pt x="78" y="34"/>
                    <a:pt x="78" y="35"/>
                  </a:cubicBezTo>
                  <a:cubicBezTo>
                    <a:pt x="81" y="38"/>
                    <a:pt x="81" y="38"/>
                    <a:pt x="81" y="38"/>
                  </a:cubicBezTo>
                  <a:lnTo>
                    <a:pt x="81" y="39"/>
                  </a:lnTo>
                  <a:close/>
                  <a:moveTo>
                    <a:pt x="82" y="33"/>
                  </a:moveTo>
                  <a:cubicBezTo>
                    <a:pt x="86" y="29"/>
                    <a:pt x="86" y="29"/>
                    <a:pt x="86" y="29"/>
                  </a:cubicBezTo>
                  <a:cubicBezTo>
                    <a:pt x="86" y="28"/>
                    <a:pt x="87" y="27"/>
                    <a:pt x="86" y="26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3" y="21"/>
                    <a:pt x="82" y="21"/>
                    <a:pt x="81" y="21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5" y="17"/>
                    <a:pt x="74" y="16"/>
                    <a:pt x="73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8" y="16"/>
                    <a:pt x="67" y="17"/>
                    <a:pt x="67" y="18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8" y="21"/>
                    <a:pt x="58" y="22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7"/>
                    <a:pt x="55" y="28"/>
                    <a:pt x="56" y="29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7"/>
                    <a:pt x="55" y="38"/>
                    <a:pt x="56" y="39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4"/>
                    <a:pt x="60" y="44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9"/>
                    <a:pt x="68" y="49"/>
                    <a:pt x="69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5" y="48"/>
                    <a:pt x="75" y="47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4" y="43"/>
                    <a:pt x="84" y="43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7" y="38"/>
                    <a:pt x="86" y="37"/>
                    <a:pt x="86" y="36"/>
                  </a:cubicBezTo>
                  <a:lnTo>
                    <a:pt x="82" y="33"/>
                  </a:lnTo>
                  <a:close/>
                  <a:moveTo>
                    <a:pt x="57" y="53"/>
                  </a:move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0" y="56"/>
                    <a:pt x="50" y="56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1"/>
                    <a:pt x="48" y="61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4"/>
                    <a:pt x="35" y="65"/>
                    <a:pt x="34" y="65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5" y="55"/>
                    <a:pt x="25" y="55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6" y="47"/>
                    <a:pt x="26" y="47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2"/>
                    <a:pt x="28" y="42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5" y="38"/>
                    <a:pt x="35" y="39"/>
                    <a:pt x="36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3"/>
                    <a:pt x="48" y="43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0" y="47"/>
                    <a:pt x="51" y="48"/>
                    <a:pt x="51" y="48"/>
                  </a:cubicBezTo>
                  <a:cubicBezTo>
                    <a:pt x="57" y="50"/>
                    <a:pt x="57" y="50"/>
                    <a:pt x="57" y="50"/>
                  </a:cubicBezTo>
                  <a:lnTo>
                    <a:pt x="57" y="53"/>
                  </a:lnTo>
                  <a:close/>
                  <a:moveTo>
                    <a:pt x="60" y="46"/>
                  </a:moveTo>
                  <a:cubicBezTo>
                    <a:pt x="54" y="44"/>
                    <a:pt x="54" y="44"/>
                    <a:pt x="54" y="44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4"/>
                    <a:pt x="54" y="33"/>
                    <a:pt x="53" y="33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5" y="29"/>
                    <a:pt x="44" y="29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1" y="29"/>
                    <a:pt x="30" y="29"/>
                    <a:pt x="29" y="29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5" y="46"/>
                    <a:pt x="15" y="47"/>
                    <a:pt x="15" y="48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6"/>
                    <a:pt x="15" y="57"/>
                    <a:pt x="16" y="57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9"/>
                    <a:pt x="22" y="70"/>
                    <a:pt x="23" y="70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1" y="74"/>
                    <a:pt x="32" y="74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5" y="74"/>
                    <a:pt x="45" y="74"/>
                  </a:cubicBezTo>
                  <a:cubicBezTo>
                    <a:pt x="46" y="74"/>
                    <a:pt x="46" y="74"/>
                    <a:pt x="47" y="7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0"/>
                    <a:pt x="54" y="69"/>
                    <a:pt x="54" y="68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57"/>
                    <a:pt x="61" y="56"/>
                    <a:pt x="61" y="55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7"/>
                    <a:pt x="61" y="46"/>
                    <a:pt x="60" y="4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6" name="Group 208">
            <a:extLst>
              <a:ext uri="{FF2B5EF4-FFF2-40B4-BE49-F238E27FC236}">
                <a16:creationId xmlns:a16="http://schemas.microsoft.com/office/drawing/2014/main" id="{D436EEA2-43DE-4DA6-A10A-8D3675412C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32075" y="4149725"/>
            <a:ext cx="841375" cy="841375"/>
            <a:chOff x="1701" y="2602"/>
            <a:chExt cx="530" cy="530"/>
          </a:xfrm>
        </p:grpSpPr>
        <p:sp>
          <p:nvSpPr>
            <p:cNvPr id="237" name="AutoShape 207">
              <a:extLst>
                <a:ext uri="{FF2B5EF4-FFF2-40B4-BE49-F238E27FC236}">
                  <a16:creationId xmlns:a16="http://schemas.microsoft.com/office/drawing/2014/main" id="{9253F538-12DE-4D44-8938-2BE710BA11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01" y="260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Oval 209">
              <a:extLst>
                <a:ext uri="{FF2B5EF4-FFF2-40B4-BE49-F238E27FC236}">
                  <a16:creationId xmlns:a16="http://schemas.microsoft.com/office/drawing/2014/main" id="{7E3B20FF-59AE-4B8F-9387-0F04FE5A05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1" y="260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10">
              <a:extLst>
                <a:ext uri="{FF2B5EF4-FFF2-40B4-BE49-F238E27FC236}">
                  <a16:creationId xmlns:a16="http://schemas.microsoft.com/office/drawing/2014/main" id="{33255E94-F867-475A-9180-7ADBB61F0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" y="262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11">
              <a:extLst>
                <a:ext uri="{FF2B5EF4-FFF2-40B4-BE49-F238E27FC236}">
                  <a16:creationId xmlns:a16="http://schemas.microsoft.com/office/drawing/2014/main" id="{23F6C58C-135F-4ECA-AA7D-C6E14BE73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2697"/>
              <a:ext cx="266" cy="343"/>
            </a:xfrm>
            <a:custGeom>
              <a:avLst/>
              <a:gdLst>
                <a:gd name="T0" fmla="*/ 89 w 104"/>
                <a:gd name="T1" fmla="*/ 77 h 134"/>
                <a:gd name="T2" fmla="*/ 55 w 104"/>
                <a:gd name="T3" fmla="*/ 91 h 134"/>
                <a:gd name="T4" fmla="*/ 64 w 104"/>
                <a:gd name="T5" fmla="*/ 115 h 134"/>
                <a:gd name="T6" fmla="*/ 5 w 104"/>
                <a:gd name="T7" fmla="*/ 46 h 134"/>
                <a:gd name="T8" fmla="*/ 94 w 104"/>
                <a:gd name="T9" fmla="*/ 46 h 134"/>
                <a:gd name="T10" fmla="*/ 71 w 104"/>
                <a:gd name="T11" fmla="*/ 121 h 134"/>
                <a:gd name="T12" fmla="*/ 71 w 104"/>
                <a:gd name="T13" fmla="*/ 121 h 134"/>
                <a:gd name="T14" fmla="*/ 52 w 104"/>
                <a:gd name="T15" fmla="*/ 0 h 134"/>
                <a:gd name="T16" fmla="*/ 19 w 104"/>
                <a:gd name="T17" fmla="*/ 108 h 134"/>
                <a:gd name="T18" fmla="*/ 12 w 104"/>
                <a:gd name="T19" fmla="*/ 131 h 134"/>
                <a:gd name="T20" fmla="*/ 78 w 104"/>
                <a:gd name="T21" fmla="*/ 131 h 134"/>
                <a:gd name="T22" fmla="*/ 68 w 104"/>
                <a:gd name="T23" fmla="*/ 116 h 134"/>
                <a:gd name="T24" fmla="*/ 94 w 104"/>
                <a:gd name="T25" fmla="*/ 96 h 134"/>
                <a:gd name="T26" fmla="*/ 102 w 104"/>
                <a:gd name="T27" fmla="*/ 60 h 134"/>
                <a:gd name="T28" fmla="*/ 43 w 104"/>
                <a:gd name="T29" fmla="*/ 51 h 134"/>
                <a:gd name="T30" fmla="*/ 38 w 104"/>
                <a:gd name="T31" fmla="*/ 61 h 134"/>
                <a:gd name="T32" fmla="*/ 68 w 104"/>
                <a:gd name="T33" fmla="*/ 33 h 134"/>
                <a:gd name="T34" fmla="*/ 81 w 104"/>
                <a:gd name="T35" fmla="*/ 39 h 134"/>
                <a:gd name="T36" fmla="*/ 73 w 104"/>
                <a:gd name="T37" fmla="*/ 40 h 134"/>
                <a:gd name="T38" fmla="*/ 68 w 104"/>
                <a:gd name="T39" fmla="*/ 39 h 134"/>
                <a:gd name="T40" fmla="*/ 60 w 104"/>
                <a:gd name="T41" fmla="*/ 38 h 134"/>
                <a:gd name="T42" fmla="*/ 64 w 104"/>
                <a:gd name="T43" fmla="*/ 30 h 134"/>
                <a:gd name="T44" fmla="*/ 67 w 104"/>
                <a:gd name="T45" fmla="*/ 27 h 134"/>
                <a:gd name="T46" fmla="*/ 71 w 104"/>
                <a:gd name="T47" fmla="*/ 21 h 134"/>
                <a:gd name="T48" fmla="*/ 76 w 104"/>
                <a:gd name="T49" fmla="*/ 27 h 134"/>
                <a:gd name="T50" fmla="*/ 77 w 104"/>
                <a:gd name="T51" fmla="*/ 32 h 134"/>
                <a:gd name="T52" fmla="*/ 81 w 104"/>
                <a:gd name="T53" fmla="*/ 39 h 134"/>
                <a:gd name="T54" fmla="*/ 84 w 104"/>
                <a:gd name="T55" fmla="*/ 22 h 134"/>
                <a:gd name="T56" fmla="*/ 73 w 104"/>
                <a:gd name="T57" fmla="*/ 16 h 134"/>
                <a:gd name="T58" fmla="*/ 60 w 104"/>
                <a:gd name="T59" fmla="*/ 21 h 134"/>
                <a:gd name="T60" fmla="*/ 59 w 104"/>
                <a:gd name="T61" fmla="*/ 33 h 134"/>
                <a:gd name="T62" fmla="*/ 60 w 104"/>
                <a:gd name="T63" fmla="*/ 44 h 134"/>
                <a:gd name="T64" fmla="*/ 73 w 104"/>
                <a:gd name="T65" fmla="*/ 49 h 134"/>
                <a:gd name="T66" fmla="*/ 84 w 104"/>
                <a:gd name="T67" fmla="*/ 43 h 134"/>
                <a:gd name="T68" fmla="*/ 57 w 104"/>
                <a:gd name="T69" fmla="*/ 53 h 134"/>
                <a:gd name="T70" fmla="*/ 48 w 104"/>
                <a:gd name="T71" fmla="*/ 61 h 134"/>
                <a:gd name="T72" fmla="*/ 40 w 104"/>
                <a:gd name="T73" fmla="*/ 64 h 134"/>
                <a:gd name="T74" fmla="*/ 27 w 104"/>
                <a:gd name="T75" fmla="*/ 67 h 134"/>
                <a:gd name="T76" fmla="*/ 25 w 104"/>
                <a:gd name="T77" fmla="*/ 55 h 134"/>
                <a:gd name="T78" fmla="*/ 26 w 104"/>
                <a:gd name="T79" fmla="*/ 47 h 134"/>
                <a:gd name="T80" fmla="*/ 30 w 104"/>
                <a:gd name="T81" fmla="*/ 34 h 134"/>
                <a:gd name="T82" fmla="*/ 41 w 104"/>
                <a:gd name="T83" fmla="*/ 38 h 134"/>
                <a:gd name="T84" fmla="*/ 48 w 104"/>
                <a:gd name="T85" fmla="*/ 43 h 134"/>
                <a:gd name="T86" fmla="*/ 57 w 104"/>
                <a:gd name="T87" fmla="*/ 53 h 134"/>
                <a:gd name="T88" fmla="*/ 54 w 104"/>
                <a:gd name="T89" fmla="*/ 35 h 134"/>
                <a:gd name="T90" fmla="*/ 39 w 104"/>
                <a:gd name="T91" fmla="*/ 34 h 134"/>
                <a:gd name="T92" fmla="*/ 23 w 104"/>
                <a:gd name="T93" fmla="*/ 33 h 134"/>
                <a:gd name="T94" fmla="*/ 16 w 104"/>
                <a:gd name="T95" fmla="*/ 46 h 134"/>
                <a:gd name="T96" fmla="*/ 22 w 104"/>
                <a:gd name="T97" fmla="*/ 59 h 134"/>
                <a:gd name="T98" fmla="*/ 29 w 104"/>
                <a:gd name="T99" fmla="*/ 74 h 134"/>
                <a:gd name="T100" fmla="*/ 44 w 104"/>
                <a:gd name="T101" fmla="*/ 74 h 134"/>
                <a:gd name="T102" fmla="*/ 54 w 104"/>
                <a:gd name="T103" fmla="*/ 68 h 134"/>
                <a:gd name="T104" fmla="*/ 61 w 104"/>
                <a:gd name="T105" fmla="*/ 5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4" h="134">
                  <a:moveTo>
                    <a:pt x="96" y="72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88" y="72"/>
                    <a:pt x="87" y="73"/>
                    <a:pt x="87" y="74"/>
                  </a:cubicBezTo>
                  <a:cubicBezTo>
                    <a:pt x="87" y="75"/>
                    <a:pt x="88" y="77"/>
                    <a:pt x="89" y="77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9" y="98"/>
                    <a:pt x="86" y="100"/>
                    <a:pt x="82" y="100"/>
                  </a:cubicBezTo>
                  <a:cubicBezTo>
                    <a:pt x="73" y="100"/>
                    <a:pt x="62" y="96"/>
                    <a:pt x="58" y="91"/>
                  </a:cubicBezTo>
                  <a:cubicBezTo>
                    <a:pt x="57" y="91"/>
                    <a:pt x="56" y="91"/>
                    <a:pt x="55" y="91"/>
                  </a:cubicBezTo>
                  <a:cubicBezTo>
                    <a:pt x="54" y="92"/>
                    <a:pt x="54" y="94"/>
                    <a:pt x="55" y="95"/>
                  </a:cubicBezTo>
                  <a:cubicBezTo>
                    <a:pt x="57" y="97"/>
                    <a:pt x="61" y="100"/>
                    <a:pt x="66" y="101"/>
                  </a:cubicBezTo>
                  <a:cubicBezTo>
                    <a:pt x="65" y="104"/>
                    <a:pt x="64" y="109"/>
                    <a:pt x="64" y="115"/>
                  </a:cubicBezTo>
                  <a:cubicBezTo>
                    <a:pt x="64" y="115"/>
                    <a:pt x="64" y="115"/>
                    <a:pt x="64" y="115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24" y="107"/>
                    <a:pt x="24" y="106"/>
                    <a:pt x="24" y="105"/>
                  </a:cubicBezTo>
                  <a:cubicBezTo>
                    <a:pt x="24" y="92"/>
                    <a:pt x="19" y="83"/>
                    <a:pt x="14" y="75"/>
                  </a:cubicBezTo>
                  <a:cubicBezTo>
                    <a:pt x="10" y="66"/>
                    <a:pt x="5" y="58"/>
                    <a:pt x="5" y="46"/>
                  </a:cubicBezTo>
                  <a:cubicBezTo>
                    <a:pt x="5" y="22"/>
                    <a:pt x="25" y="5"/>
                    <a:pt x="52" y="5"/>
                  </a:cubicBezTo>
                  <a:cubicBezTo>
                    <a:pt x="71" y="5"/>
                    <a:pt x="84" y="10"/>
                    <a:pt x="91" y="19"/>
                  </a:cubicBezTo>
                  <a:cubicBezTo>
                    <a:pt x="96" y="25"/>
                    <a:pt x="97" y="34"/>
                    <a:pt x="94" y="45"/>
                  </a:cubicBezTo>
                  <a:cubicBezTo>
                    <a:pt x="94" y="45"/>
                    <a:pt x="94" y="45"/>
                    <a:pt x="94" y="46"/>
                  </a:cubicBezTo>
                  <a:cubicBezTo>
                    <a:pt x="94" y="48"/>
                    <a:pt x="95" y="54"/>
                    <a:pt x="97" y="61"/>
                  </a:cubicBezTo>
                  <a:cubicBezTo>
                    <a:pt x="98" y="64"/>
                    <a:pt x="99" y="69"/>
                    <a:pt x="99" y="69"/>
                  </a:cubicBezTo>
                  <a:cubicBezTo>
                    <a:pt x="99" y="70"/>
                    <a:pt x="97" y="72"/>
                    <a:pt x="96" y="72"/>
                  </a:cubicBezTo>
                  <a:moveTo>
                    <a:pt x="71" y="121"/>
                  </a:moveTo>
                  <a:cubicBezTo>
                    <a:pt x="73" y="129"/>
                    <a:pt x="73" y="129"/>
                    <a:pt x="73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9" y="113"/>
                    <a:pt x="19" y="113"/>
                    <a:pt x="19" y="113"/>
                  </a:cubicBezTo>
                  <a:lnTo>
                    <a:pt x="71" y="121"/>
                  </a:lnTo>
                  <a:close/>
                  <a:moveTo>
                    <a:pt x="102" y="60"/>
                  </a:moveTo>
                  <a:cubicBezTo>
                    <a:pt x="100" y="55"/>
                    <a:pt x="99" y="48"/>
                    <a:pt x="99" y="46"/>
                  </a:cubicBezTo>
                  <a:cubicBezTo>
                    <a:pt x="102" y="34"/>
                    <a:pt x="100" y="23"/>
                    <a:pt x="94" y="16"/>
                  </a:cubicBezTo>
                  <a:cubicBezTo>
                    <a:pt x="87" y="6"/>
                    <a:pt x="72" y="0"/>
                    <a:pt x="52" y="0"/>
                  </a:cubicBezTo>
                  <a:cubicBezTo>
                    <a:pt x="22" y="0"/>
                    <a:pt x="0" y="19"/>
                    <a:pt x="0" y="46"/>
                  </a:cubicBezTo>
                  <a:cubicBezTo>
                    <a:pt x="0" y="59"/>
                    <a:pt x="5" y="69"/>
                    <a:pt x="10" y="77"/>
                  </a:cubicBezTo>
                  <a:cubicBezTo>
                    <a:pt x="15" y="86"/>
                    <a:pt x="19" y="93"/>
                    <a:pt x="19" y="105"/>
                  </a:cubicBezTo>
                  <a:cubicBezTo>
                    <a:pt x="19" y="106"/>
                    <a:pt x="19" y="107"/>
                    <a:pt x="19" y="108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6" y="108"/>
                    <a:pt x="15" y="108"/>
                  </a:cubicBezTo>
                  <a:cubicBezTo>
                    <a:pt x="15" y="108"/>
                    <a:pt x="15" y="109"/>
                    <a:pt x="15" y="110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2"/>
                    <a:pt x="12" y="132"/>
                    <a:pt x="13" y="133"/>
                  </a:cubicBezTo>
                  <a:cubicBezTo>
                    <a:pt x="13" y="133"/>
                    <a:pt x="14" y="134"/>
                    <a:pt x="15" y="134"/>
                  </a:cubicBezTo>
                  <a:cubicBezTo>
                    <a:pt x="75" y="134"/>
                    <a:pt x="75" y="134"/>
                    <a:pt x="75" y="134"/>
                  </a:cubicBezTo>
                  <a:cubicBezTo>
                    <a:pt x="77" y="134"/>
                    <a:pt x="78" y="133"/>
                    <a:pt x="78" y="131"/>
                  </a:cubicBezTo>
                  <a:cubicBezTo>
                    <a:pt x="78" y="131"/>
                    <a:pt x="78" y="131"/>
                    <a:pt x="78" y="13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5" y="118"/>
                    <a:pt x="74" y="117"/>
                    <a:pt x="73" y="117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68" y="116"/>
                    <a:pt x="68" y="115"/>
                    <a:pt x="68" y="115"/>
                  </a:cubicBezTo>
                  <a:cubicBezTo>
                    <a:pt x="68" y="110"/>
                    <a:pt x="69" y="105"/>
                    <a:pt x="70" y="103"/>
                  </a:cubicBezTo>
                  <a:cubicBezTo>
                    <a:pt x="74" y="104"/>
                    <a:pt x="79" y="105"/>
                    <a:pt x="82" y="105"/>
                  </a:cubicBezTo>
                  <a:cubicBezTo>
                    <a:pt x="89" y="105"/>
                    <a:pt x="94" y="101"/>
                    <a:pt x="94" y="9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100" y="77"/>
                    <a:pt x="104" y="73"/>
                    <a:pt x="104" y="69"/>
                  </a:cubicBezTo>
                  <a:cubicBezTo>
                    <a:pt x="104" y="68"/>
                    <a:pt x="103" y="66"/>
                    <a:pt x="102" y="60"/>
                  </a:cubicBezTo>
                  <a:moveTo>
                    <a:pt x="38" y="56"/>
                  </a:moveTo>
                  <a:cubicBezTo>
                    <a:pt x="35" y="56"/>
                    <a:pt x="33" y="54"/>
                    <a:pt x="33" y="51"/>
                  </a:cubicBezTo>
                  <a:cubicBezTo>
                    <a:pt x="33" y="49"/>
                    <a:pt x="35" y="47"/>
                    <a:pt x="38" y="47"/>
                  </a:cubicBezTo>
                  <a:cubicBezTo>
                    <a:pt x="41" y="47"/>
                    <a:pt x="43" y="49"/>
                    <a:pt x="43" y="51"/>
                  </a:cubicBezTo>
                  <a:cubicBezTo>
                    <a:pt x="43" y="54"/>
                    <a:pt x="41" y="56"/>
                    <a:pt x="38" y="56"/>
                  </a:cubicBezTo>
                  <a:moveTo>
                    <a:pt x="38" y="42"/>
                  </a:moveTo>
                  <a:cubicBezTo>
                    <a:pt x="33" y="42"/>
                    <a:pt x="29" y="46"/>
                    <a:pt x="29" y="51"/>
                  </a:cubicBezTo>
                  <a:cubicBezTo>
                    <a:pt x="29" y="57"/>
                    <a:pt x="33" y="61"/>
                    <a:pt x="38" y="61"/>
                  </a:cubicBezTo>
                  <a:cubicBezTo>
                    <a:pt x="43" y="61"/>
                    <a:pt x="47" y="57"/>
                    <a:pt x="47" y="51"/>
                  </a:cubicBezTo>
                  <a:cubicBezTo>
                    <a:pt x="47" y="46"/>
                    <a:pt x="43" y="42"/>
                    <a:pt x="38" y="42"/>
                  </a:cubicBezTo>
                  <a:moveTo>
                    <a:pt x="71" y="30"/>
                  </a:moveTo>
                  <a:cubicBezTo>
                    <a:pt x="69" y="30"/>
                    <a:pt x="68" y="31"/>
                    <a:pt x="68" y="33"/>
                  </a:cubicBezTo>
                  <a:cubicBezTo>
                    <a:pt x="68" y="34"/>
                    <a:pt x="69" y="35"/>
                    <a:pt x="71" y="35"/>
                  </a:cubicBezTo>
                  <a:cubicBezTo>
                    <a:pt x="72" y="35"/>
                    <a:pt x="73" y="34"/>
                    <a:pt x="73" y="33"/>
                  </a:cubicBezTo>
                  <a:cubicBezTo>
                    <a:pt x="73" y="31"/>
                    <a:pt x="72" y="30"/>
                    <a:pt x="71" y="30"/>
                  </a:cubicBezTo>
                  <a:moveTo>
                    <a:pt x="81" y="39"/>
                  </a:move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5" y="38"/>
                    <a:pt x="75" y="3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3" y="39"/>
                    <a:pt x="73" y="39"/>
                    <a:pt x="73" y="40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4"/>
                    <a:pt x="64" y="34"/>
                    <a:pt x="64" y="33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1"/>
                    <a:pt x="64" y="31"/>
                    <a:pt x="64" y="30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6" y="27"/>
                    <a:pt x="67" y="27"/>
                    <a:pt x="67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9" y="26"/>
                    <a:pt x="69" y="25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6"/>
                    <a:pt x="74" y="26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1"/>
                    <a:pt x="77" y="31"/>
                    <a:pt x="77" y="32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7" y="34"/>
                    <a:pt x="78" y="34"/>
                    <a:pt x="78" y="35"/>
                  </a:cubicBezTo>
                  <a:cubicBezTo>
                    <a:pt x="81" y="38"/>
                    <a:pt x="81" y="38"/>
                    <a:pt x="81" y="38"/>
                  </a:cubicBezTo>
                  <a:lnTo>
                    <a:pt x="81" y="39"/>
                  </a:lnTo>
                  <a:close/>
                  <a:moveTo>
                    <a:pt x="82" y="33"/>
                  </a:moveTo>
                  <a:cubicBezTo>
                    <a:pt x="86" y="29"/>
                    <a:pt x="86" y="29"/>
                    <a:pt x="86" y="29"/>
                  </a:cubicBezTo>
                  <a:cubicBezTo>
                    <a:pt x="86" y="28"/>
                    <a:pt x="87" y="27"/>
                    <a:pt x="86" y="26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3" y="21"/>
                    <a:pt x="82" y="21"/>
                    <a:pt x="81" y="21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5" y="17"/>
                    <a:pt x="74" y="16"/>
                    <a:pt x="73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8" y="16"/>
                    <a:pt x="67" y="17"/>
                    <a:pt x="67" y="18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8" y="21"/>
                    <a:pt x="58" y="22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7"/>
                    <a:pt x="55" y="28"/>
                    <a:pt x="56" y="29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7"/>
                    <a:pt x="55" y="38"/>
                    <a:pt x="56" y="39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4"/>
                    <a:pt x="60" y="44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9"/>
                    <a:pt x="68" y="49"/>
                    <a:pt x="69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5" y="48"/>
                    <a:pt x="75" y="47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4" y="43"/>
                    <a:pt x="84" y="43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7" y="38"/>
                    <a:pt x="86" y="37"/>
                    <a:pt x="86" y="36"/>
                  </a:cubicBezTo>
                  <a:lnTo>
                    <a:pt x="82" y="33"/>
                  </a:lnTo>
                  <a:close/>
                  <a:moveTo>
                    <a:pt x="57" y="53"/>
                  </a:move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0" y="56"/>
                    <a:pt x="50" y="56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1"/>
                    <a:pt x="48" y="61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4"/>
                    <a:pt x="35" y="65"/>
                    <a:pt x="34" y="65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0"/>
                    <a:pt x="28" y="60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5" y="55"/>
                    <a:pt x="25" y="55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6" y="47"/>
                    <a:pt x="26" y="47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2"/>
                    <a:pt x="28" y="42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5" y="38"/>
                    <a:pt x="35" y="39"/>
                    <a:pt x="36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3"/>
                    <a:pt x="48" y="43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0" y="47"/>
                    <a:pt x="51" y="48"/>
                    <a:pt x="51" y="48"/>
                  </a:cubicBezTo>
                  <a:cubicBezTo>
                    <a:pt x="57" y="50"/>
                    <a:pt x="57" y="50"/>
                    <a:pt x="57" y="50"/>
                  </a:cubicBezTo>
                  <a:lnTo>
                    <a:pt x="57" y="53"/>
                  </a:lnTo>
                  <a:close/>
                  <a:moveTo>
                    <a:pt x="60" y="46"/>
                  </a:moveTo>
                  <a:cubicBezTo>
                    <a:pt x="54" y="44"/>
                    <a:pt x="54" y="44"/>
                    <a:pt x="54" y="44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4"/>
                    <a:pt x="54" y="33"/>
                    <a:pt x="53" y="33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5" y="29"/>
                    <a:pt x="44" y="29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1" y="29"/>
                    <a:pt x="30" y="29"/>
                    <a:pt x="29" y="29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5" y="46"/>
                    <a:pt x="15" y="47"/>
                    <a:pt x="15" y="48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6"/>
                    <a:pt x="15" y="57"/>
                    <a:pt x="16" y="57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9"/>
                    <a:pt x="22" y="70"/>
                    <a:pt x="23" y="70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1" y="74"/>
                    <a:pt x="32" y="74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5" y="74"/>
                    <a:pt x="45" y="74"/>
                  </a:cubicBezTo>
                  <a:cubicBezTo>
                    <a:pt x="46" y="74"/>
                    <a:pt x="46" y="74"/>
                    <a:pt x="47" y="7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0"/>
                    <a:pt x="54" y="69"/>
                    <a:pt x="54" y="68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57"/>
                    <a:pt x="61" y="56"/>
                    <a:pt x="61" y="55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7"/>
                    <a:pt x="61" y="46"/>
                    <a:pt x="60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214">
            <a:extLst>
              <a:ext uri="{FF2B5EF4-FFF2-40B4-BE49-F238E27FC236}">
                <a16:creationId xmlns:a16="http://schemas.microsoft.com/office/drawing/2014/main" id="{7037720A-5601-4710-9773-46D426CA05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720" y="4178300"/>
            <a:ext cx="758825" cy="758825"/>
            <a:chOff x="3616" y="2743"/>
            <a:chExt cx="478" cy="478"/>
          </a:xfrm>
        </p:grpSpPr>
        <p:sp>
          <p:nvSpPr>
            <p:cNvPr id="246" name="AutoShape 213">
              <a:extLst>
                <a:ext uri="{FF2B5EF4-FFF2-40B4-BE49-F238E27FC236}">
                  <a16:creationId xmlns:a16="http://schemas.microsoft.com/office/drawing/2014/main" id="{95A309C6-6523-4DC4-A521-64F02EF3FB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6" y="274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5">
              <a:extLst>
                <a:ext uri="{FF2B5EF4-FFF2-40B4-BE49-F238E27FC236}">
                  <a16:creationId xmlns:a16="http://schemas.microsoft.com/office/drawing/2014/main" id="{3BA6C7CB-DF06-4A1C-9024-FF722F0BC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8" y="274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16">
              <a:extLst>
                <a:ext uri="{FF2B5EF4-FFF2-40B4-BE49-F238E27FC236}">
                  <a16:creationId xmlns:a16="http://schemas.microsoft.com/office/drawing/2014/main" id="{61AEA04A-7674-475C-89E6-F2CBB85BF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6" y="2826"/>
              <a:ext cx="260" cy="314"/>
            </a:xfrm>
            <a:custGeom>
              <a:avLst/>
              <a:gdLst>
                <a:gd name="T0" fmla="*/ 169 w 260"/>
                <a:gd name="T1" fmla="*/ 101 h 314"/>
                <a:gd name="T2" fmla="*/ 103 w 260"/>
                <a:gd name="T3" fmla="*/ 71 h 314"/>
                <a:gd name="T4" fmla="*/ 123 w 260"/>
                <a:gd name="T5" fmla="*/ 52 h 314"/>
                <a:gd name="T6" fmla="*/ 155 w 260"/>
                <a:gd name="T7" fmla="*/ 47 h 314"/>
                <a:gd name="T8" fmla="*/ 179 w 260"/>
                <a:gd name="T9" fmla="*/ 64 h 314"/>
                <a:gd name="T10" fmla="*/ 204 w 260"/>
                <a:gd name="T11" fmla="*/ 76 h 314"/>
                <a:gd name="T12" fmla="*/ 216 w 260"/>
                <a:gd name="T13" fmla="*/ 113 h 314"/>
                <a:gd name="T14" fmla="*/ 199 w 260"/>
                <a:gd name="T15" fmla="*/ 128 h 314"/>
                <a:gd name="T16" fmla="*/ 179 w 260"/>
                <a:gd name="T17" fmla="*/ 130 h 314"/>
                <a:gd name="T18" fmla="*/ 130 w 260"/>
                <a:gd name="T19" fmla="*/ 145 h 314"/>
                <a:gd name="T20" fmla="*/ 106 w 260"/>
                <a:gd name="T21" fmla="*/ 135 h 314"/>
                <a:gd name="T22" fmla="*/ 76 w 260"/>
                <a:gd name="T23" fmla="*/ 128 h 314"/>
                <a:gd name="T24" fmla="*/ 69 w 260"/>
                <a:gd name="T25" fmla="*/ 96 h 314"/>
                <a:gd name="T26" fmla="*/ 89 w 260"/>
                <a:gd name="T27" fmla="*/ 71 h 314"/>
                <a:gd name="T28" fmla="*/ 123 w 260"/>
                <a:gd name="T29" fmla="*/ 40 h 314"/>
                <a:gd name="T30" fmla="*/ 93 w 260"/>
                <a:gd name="T31" fmla="*/ 62 h 314"/>
                <a:gd name="T32" fmla="*/ 59 w 260"/>
                <a:gd name="T33" fmla="*/ 86 h 314"/>
                <a:gd name="T34" fmla="*/ 64 w 260"/>
                <a:gd name="T35" fmla="*/ 130 h 314"/>
                <a:gd name="T36" fmla="*/ 101 w 260"/>
                <a:gd name="T37" fmla="*/ 147 h 314"/>
                <a:gd name="T38" fmla="*/ 142 w 260"/>
                <a:gd name="T39" fmla="*/ 157 h 314"/>
                <a:gd name="T40" fmla="*/ 194 w 260"/>
                <a:gd name="T41" fmla="*/ 140 h 314"/>
                <a:gd name="T42" fmla="*/ 223 w 260"/>
                <a:gd name="T43" fmla="*/ 123 h 314"/>
                <a:gd name="T44" fmla="*/ 226 w 260"/>
                <a:gd name="T45" fmla="*/ 81 h 314"/>
                <a:gd name="T46" fmla="*/ 192 w 260"/>
                <a:gd name="T47" fmla="*/ 59 h 314"/>
                <a:gd name="T48" fmla="*/ 165 w 260"/>
                <a:gd name="T49" fmla="*/ 40 h 314"/>
                <a:gd name="T50" fmla="*/ 13 w 260"/>
                <a:gd name="T51" fmla="*/ 184 h 314"/>
                <a:gd name="T52" fmla="*/ 30 w 260"/>
                <a:gd name="T53" fmla="*/ 152 h 314"/>
                <a:gd name="T54" fmla="*/ 30 w 260"/>
                <a:gd name="T55" fmla="*/ 130 h 314"/>
                <a:gd name="T56" fmla="*/ 42 w 260"/>
                <a:gd name="T57" fmla="*/ 84 h 314"/>
                <a:gd name="T58" fmla="*/ 86 w 260"/>
                <a:gd name="T59" fmla="*/ 27 h 314"/>
                <a:gd name="T60" fmla="*/ 150 w 260"/>
                <a:gd name="T61" fmla="*/ 13 h 314"/>
                <a:gd name="T62" fmla="*/ 216 w 260"/>
                <a:gd name="T63" fmla="*/ 35 h 314"/>
                <a:gd name="T64" fmla="*/ 248 w 260"/>
                <a:gd name="T65" fmla="*/ 84 h 314"/>
                <a:gd name="T66" fmla="*/ 241 w 260"/>
                <a:gd name="T67" fmla="*/ 145 h 314"/>
                <a:gd name="T68" fmla="*/ 192 w 260"/>
                <a:gd name="T69" fmla="*/ 248 h 314"/>
                <a:gd name="T70" fmla="*/ 196 w 260"/>
                <a:gd name="T71" fmla="*/ 292 h 314"/>
                <a:gd name="T72" fmla="*/ 96 w 260"/>
                <a:gd name="T73" fmla="*/ 272 h 314"/>
                <a:gd name="T74" fmla="*/ 81 w 260"/>
                <a:gd name="T75" fmla="*/ 253 h 314"/>
                <a:gd name="T76" fmla="*/ 49 w 260"/>
                <a:gd name="T77" fmla="*/ 253 h 314"/>
                <a:gd name="T78" fmla="*/ 47 w 260"/>
                <a:gd name="T79" fmla="*/ 228 h 314"/>
                <a:gd name="T80" fmla="*/ 44 w 260"/>
                <a:gd name="T81" fmla="*/ 211 h 314"/>
                <a:gd name="T82" fmla="*/ 40 w 260"/>
                <a:gd name="T83" fmla="*/ 192 h 314"/>
                <a:gd name="T84" fmla="*/ 20 w 260"/>
                <a:gd name="T85" fmla="*/ 187 h 314"/>
                <a:gd name="T86" fmla="*/ 84 w 260"/>
                <a:gd name="T87" fmla="*/ 17 h 314"/>
                <a:gd name="T88" fmla="*/ 40 w 260"/>
                <a:gd name="T89" fmla="*/ 62 h 314"/>
                <a:gd name="T90" fmla="*/ 15 w 260"/>
                <a:gd name="T91" fmla="*/ 123 h 314"/>
                <a:gd name="T92" fmla="*/ 25 w 260"/>
                <a:gd name="T93" fmla="*/ 143 h 314"/>
                <a:gd name="T94" fmla="*/ 0 w 260"/>
                <a:gd name="T95" fmla="*/ 179 h 314"/>
                <a:gd name="T96" fmla="*/ 20 w 260"/>
                <a:gd name="T97" fmla="*/ 196 h 314"/>
                <a:gd name="T98" fmla="*/ 27 w 260"/>
                <a:gd name="T99" fmla="*/ 216 h 314"/>
                <a:gd name="T100" fmla="*/ 37 w 260"/>
                <a:gd name="T101" fmla="*/ 233 h 314"/>
                <a:gd name="T102" fmla="*/ 44 w 260"/>
                <a:gd name="T103" fmla="*/ 260 h 314"/>
                <a:gd name="T104" fmla="*/ 76 w 260"/>
                <a:gd name="T105" fmla="*/ 263 h 314"/>
                <a:gd name="T106" fmla="*/ 86 w 260"/>
                <a:gd name="T107" fmla="*/ 285 h 314"/>
                <a:gd name="T108" fmla="*/ 76 w 260"/>
                <a:gd name="T109" fmla="*/ 312 h 314"/>
                <a:gd name="T110" fmla="*/ 223 w 260"/>
                <a:gd name="T111" fmla="*/ 307 h 314"/>
                <a:gd name="T112" fmla="*/ 204 w 260"/>
                <a:gd name="T113" fmla="*/ 285 h 314"/>
                <a:gd name="T114" fmla="*/ 216 w 260"/>
                <a:gd name="T115" fmla="*/ 221 h 314"/>
                <a:gd name="T116" fmla="*/ 260 w 260"/>
                <a:gd name="T117" fmla="*/ 118 h 314"/>
                <a:gd name="T118" fmla="*/ 248 w 260"/>
                <a:gd name="T119" fmla="*/ 54 h 314"/>
                <a:gd name="T120" fmla="*/ 192 w 260"/>
                <a:gd name="T121" fmla="*/ 1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" h="314">
                  <a:moveTo>
                    <a:pt x="116" y="93"/>
                  </a:moveTo>
                  <a:lnTo>
                    <a:pt x="113" y="96"/>
                  </a:lnTo>
                  <a:lnTo>
                    <a:pt x="113" y="96"/>
                  </a:lnTo>
                  <a:lnTo>
                    <a:pt x="113" y="96"/>
                  </a:lnTo>
                  <a:lnTo>
                    <a:pt x="113" y="96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101"/>
                  </a:lnTo>
                  <a:lnTo>
                    <a:pt x="113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52" y="103"/>
                  </a:lnTo>
                  <a:lnTo>
                    <a:pt x="130" y="125"/>
                  </a:lnTo>
                  <a:lnTo>
                    <a:pt x="138" y="133"/>
                  </a:lnTo>
                  <a:lnTo>
                    <a:pt x="169" y="101"/>
                  </a:lnTo>
                  <a:lnTo>
                    <a:pt x="169" y="101"/>
                  </a:lnTo>
                  <a:lnTo>
                    <a:pt x="169" y="101"/>
                  </a:lnTo>
                  <a:lnTo>
                    <a:pt x="172" y="101"/>
                  </a:lnTo>
                  <a:lnTo>
                    <a:pt x="172" y="98"/>
                  </a:lnTo>
                  <a:lnTo>
                    <a:pt x="172" y="98"/>
                  </a:lnTo>
                  <a:lnTo>
                    <a:pt x="172" y="98"/>
                  </a:lnTo>
                  <a:lnTo>
                    <a:pt x="172" y="96"/>
                  </a:lnTo>
                  <a:lnTo>
                    <a:pt x="172" y="96"/>
                  </a:lnTo>
                  <a:lnTo>
                    <a:pt x="169" y="96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30" y="93"/>
                  </a:lnTo>
                  <a:lnTo>
                    <a:pt x="150" y="69"/>
                  </a:lnTo>
                  <a:lnTo>
                    <a:pt x="142" y="62"/>
                  </a:lnTo>
                  <a:lnTo>
                    <a:pt x="116" y="93"/>
                  </a:lnTo>
                  <a:close/>
                  <a:moveTo>
                    <a:pt x="101" y="71"/>
                  </a:moveTo>
                  <a:lnTo>
                    <a:pt x="103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6" y="71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4"/>
                  </a:lnTo>
                  <a:lnTo>
                    <a:pt x="111" y="64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8" y="57"/>
                  </a:lnTo>
                  <a:lnTo>
                    <a:pt x="118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3" y="52"/>
                  </a:lnTo>
                  <a:lnTo>
                    <a:pt x="123" y="52"/>
                  </a:lnTo>
                  <a:lnTo>
                    <a:pt x="125" y="52"/>
                  </a:lnTo>
                  <a:lnTo>
                    <a:pt x="125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30" y="49"/>
                  </a:lnTo>
                  <a:lnTo>
                    <a:pt x="130" y="49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5" y="47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52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60" y="49"/>
                  </a:lnTo>
                  <a:lnTo>
                    <a:pt x="160" y="49"/>
                  </a:lnTo>
                  <a:lnTo>
                    <a:pt x="162" y="49"/>
                  </a:lnTo>
                  <a:lnTo>
                    <a:pt x="162" y="52"/>
                  </a:lnTo>
                  <a:lnTo>
                    <a:pt x="165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72" y="57"/>
                  </a:lnTo>
                  <a:lnTo>
                    <a:pt x="172" y="57"/>
                  </a:lnTo>
                  <a:lnTo>
                    <a:pt x="172" y="57"/>
                  </a:lnTo>
                  <a:lnTo>
                    <a:pt x="174" y="59"/>
                  </a:lnTo>
                  <a:lnTo>
                    <a:pt x="174" y="59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64"/>
                  </a:lnTo>
                  <a:lnTo>
                    <a:pt x="179" y="64"/>
                  </a:lnTo>
                  <a:lnTo>
                    <a:pt x="179" y="64"/>
                  </a:lnTo>
                  <a:lnTo>
                    <a:pt x="179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4" y="71"/>
                  </a:lnTo>
                  <a:lnTo>
                    <a:pt x="184" y="71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9" y="71"/>
                  </a:lnTo>
                  <a:lnTo>
                    <a:pt x="192" y="71"/>
                  </a:lnTo>
                  <a:lnTo>
                    <a:pt x="194" y="71"/>
                  </a:lnTo>
                  <a:lnTo>
                    <a:pt x="196" y="71"/>
                  </a:lnTo>
                  <a:lnTo>
                    <a:pt x="196" y="71"/>
                  </a:lnTo>
                  <a:lnTo>
                    <a:pt x="199" y="74"/>
                  </a:lnTo>
                  <a:lnTo>
                    <a:pt x="201" y="74"/>
                  </a:lnTo>
                  <a:lnTo>
                    <a:pt x="201" y="74"/>
                  </a:lnTo>
                  <a:lnTo>
                    <a:pt x="204" y="74"/>
                  </a:lnTo>
                  <a:lnTo>
                    <a:pt x="204" y="76"/>
                  </a:lnTo>
                  <a:lnTo>
                    <a:pt x="206" y="76"/>
                  </a:lnTo>
                  <a:lnTo>
                    <a:pt x="206" y="76"/>
                  </a:lnTo>
                  <a:lnTo>
                    <a:pt x="209" y="79"/>
                  </a:lnTo>
                  <a:lnTo>
                    <a:pt x="209" y="79"/>
                  </a:lnTo>
                  <a:lnTo>
                    <a:pt x="211" y="79"/>
                  </a:lnTo>
                  <a:lnTo>
                    <a:pt x="211" y="81"/>
                  </a:lnTo>
                  <a:lnTo>
                    <a:pt x="214" y="84"/>
                  </a:lnTo>
                  <a:lnTo>
                    <a:pt x="214" y="84"/>
                  </a:lnTo>
                  <a:lnTo>
                    <a:pt x="214" y="86"/>
                  </a:lnTo>
                  <a:lnTo>
                    <a:pt x="216" y="86"/>
                  </a:lnTo>
                  <a:lnTo>
                    <a:pt x="216" y="89"/>
                  </a:lnTo>
                  <a:lnTo>
                    <a:pt x="216" y="91"/>
                  </a:lnTo>
                  <a:lnTo>
                    <a:pt x="218" y="93"/>
                  </a:lnTo>
                  <a:lnTo>
                    <a:pt x="218" y="96"/>
                  </a:lnTo>
                  <a:lnTo>
                    <a:pt x="218" y="96"/>
                  </a:lnTo>
                  <a:lnTo>
                    <a:pt x="218" y="98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8" y="106"/>
                  </a:lnTo>
                  <a:lnTo>
                    <a:pt x="218" y="108"/>
                  </a:lnTo>
                  <a:lnTo>
                    <a:pt x="218" y="111"/>
                  </a:lnTo>
                  <a:lnTo>
                    <a:pt x="216" y="113"/>
                  </a:lnTo>
                  <a:lnTo>
                    <a:pt x="216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6" y="118"/>
                  </a:lnTo>
                  <a:lnTo>
                    <a:pt x="214" y="118"/>
                  </a:lnTo>
                  <a:lnTo>
                    <a:pt x="214" y="120"/>
                  </a:lnTo>
                  <a:lnTo>
                    <a:pt x="214" y="120"/>
                  </a:lnTo>
                  <a:lnTo>
                    <a:pt x="214" y="123"/>
                  </a:lnTo>
                  <a:lnTo>
                    <a:pt x="211" y="123"/>
                  </a:ln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lnTo>
                    <a:pt x="209" y="125"/>
                  </a:lnTo>
                  <a:lnTo>
                    <a:pt x="209" y="125"/>
                  </a:lnTo>
                  <a:lnTo>
                    <a:pt x="206" y="128"/>
                  </a:lnTo>
                  <a:lnTo>
                    <a:pt x="206" y="128"/>
                  </a:lnTo>
                  <a:lnTo>
                    <a:pt x="204" y="128"/>
                  </a:lnTo>
                  <a:lnTo>
                    <a:pt x="204" y="128"/>
                  </a:lnTo>
                  <a:lnTo>
                    <a:pt x="204" y="128"/>
                  </a:lnTo>
                  <a:lnTo>
                    <a:pt x="201" y="128"/>
                  </a:lnTo>
                  <a:lnTo>
                    <a:pt x="201" y="128"/>
                  </a:lnTo>
                  <a:lnTo>
                    <a:pt x="199" y="128"/>
                  </a:lnTo>
                  <a:lnTo>
                    <a:pt x="196" y="128"/>
                  </a:lnTo>
                  <a:lnTo>
                    <a:pt x="196" y="128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2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5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30"/>
                  </a:lnTo>
                  <a:lnTo>
                    <a:pt x="177" y="133"/>
                  </a:lnTo>
                  <a:lnTo>
                    <a:pt x="174" y="133"/>
                  </a:lnTo>
                  <a:lnTo>
                    <a:pt x="172" y="135"/>
                  </a:lnTo>
                  <a:lnTo>
                    <a:pt x="169" y="138"/>
                  </a:lnTo>
                  <a:lnTo>
                    <a:pt x="169" y="140"/>
                  </a:lnTo>
                  <a:lnTo>
                    <a:pt x="167" y="140"/>
                  </a:lnTo>
                  <a:lnTo>
                    <a:pt x="165" y="143"/>
                  </a:lnTo>
                  <a:lnTo>
                    <a:pt x="162" y="143"/>
                  </a:lnTo>
                  <a:lnTo>
                    <a:pt x="160" y="145"/>
                  </a:lnTo>
                  <a:lnTo>
                    <a:pt x="157" y="145"/>
                  </a:lnTo>
                  <a:lnTo>
                    <a:pt x="155" y="145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47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0" y="147"/>
                  </a:lnTo>
                  <a:lnTo>
                    <a:pt x="138" y="147"/>
                  </a:lnTo>
                  <a:lnTo>
                    <a:pt x="135" y="147"/>
                  </a:lnTo>
                  <a:lnTo>
                    <a:pt x="133" y="145"/>
                  </a:lnTo>
                  <a:lnTo>
                    <a:pt x="133" y="145"/>
                  </a:lnTo>
                  <a:lnTo>
                    <a:pt x="130" y="145"/>
                  </a:lnTo>
                  <a:lnTo>
                    <a:pt x="128" y="145"/>
                  </a:lnTo>
                  <a:lnTo>
                    <a:pt x="125" y="143"/>
                  </a:lnTo>
                  <a:lnTo>
                    <a:pt x="125" y="143"/>
                  </a:lnTo>
                  <a:lnTo>
                    <a:pt x="123" y="143"/>
                  </a:lnTo>
                  <a:lnTo>
                    <a:pt x="120" y="140"/>
                  </a:lnTo>
                  <a:lnTo>
                    <a:pt x="118" y="140"/>
                  </a:lnTo>
                  <a:lnTo>
                    <a:pt x="118" y="138"/>
                  </a:lnTo>
                  <a:lnTo>
                    <a:pt x="116" y="138"/>
                  </a:lnTo>
                  <a:lnTo>
                    <a:pt x="113" y="135"/>
                  </a:lnTo>
                  <a:lnTo>
                    <a:pt x="113" y="135"/>
                  </a:lnTo>
                  <a:lnTo>
                    <a:pt x="113" y="135"/>
                  </a:lnTo>
                  <a:lnTo>
                    <a:pt x="113" y="135"/>
                  </a:lnTo>
                  <a:lnTo>
                    <a:pt x="113" y="135"/>
                  </a:lnTo>
                  <a:lnTo>
                    <a:pt x="113" y="135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08" y="133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1" y="138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3" y="138"/>
                  </a:lnTo>
                  <a:lnTo>
                    <a:pt x="91" y="138"/>
                  </a:lnTo>
                  <a:lnTo>
                    <a:pt x="91" y="135"/>
                  </a:lnTo>
                  <a:lnTo>
                    <a:pt x="89" y="135"/>
                  </a:lnTo>
                  <a:lnTo>
                    <a:pt x="89" y="135"/>
                  </a:lnTo>
                  <a:lnTo>
                    <a:pt x="86" y="135"/>
                  </a:lnTo>
                  <a:lnTo>
                    <a:pt x="86" y="135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1" y="133"/>
                  </a:lnTo>
                  <a:lnTo>
                    <a:pt x="81" y="130"/>
                  </a:lnTo>
                  <a:lnTo>
                    <a:pt x="79" y="130"/>
                  </a:lnTo>
                  <a:lnTo>
                    <a:pt x="79" y="130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1" y="123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6" y="111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1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9" y="96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89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9" y="74"/>
                  </a:lnTo>
                  <a:lnTo>
                    <a:pt x="89" y="71"/>
                  </a:lnTo>
                  <a:lnTo>
                    <a:pt x="91" y="71"/>
                  </a:lnTo>
                  <a:lnTo>
                    <a:pt x="91" y="71"/>
                  </a:lnTo>
                  <a:lnTo>
                    <a:pt x="93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8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close/>
                  <a:moveTo>
                    <a:pt x="142" y="35"/>
                  </a:moveTo>
                  <a:lnTo>
                    <a:pt x="140" y="35"/>
                  </a:lnTo>
                  <a:lnTo>
                    <a:pt x="138" y="35"/>
                  </a:lnTo>
                  <a:lnTo>
                    <a:pt x="138" y="37"/>
                  </a:lnTo>
                  <a:lnTo>
                    <a:pt x="135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28" y="37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3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6" y="44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6" y="49"/>
                  </a:lnTo>
                  <a:lnTo>
                    <a:pt x="106" y="52"/>
                  </a:lnTo>
                  <a:lnTo>
                    <a:pt x="103" y="52"/>
                  </a:lnTo>
                  <a:lnTo>
                    <a:pt x="103" y="54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9"/>
                  </a:lnTo>
                  <a:lnTo>
                    <a:pt x="98" y="59"/>
                  </a:lnTo>
                  <a:lnTo>
                    <a:pt x="98" y="62"/>
                  </a:lnTo>
                  <a:lnTo>
                    <a:pt x="96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1" y="62"/>
                  </a:lnTo>
                  <a:lnTo>
                    <a:pt x="89" y="62"/>
                  </a:lnTo>
                  <a:lnTo>
                    <a:pt x="86" y="62"/>
                  </a:lnTo>
                  <a:lnTo>
                    <a:pt x="84" y="62"/>
                  </a:lnTo>
                  <a:lnTo>
                    <a:pt x="84" y="64"/>
                  </a:lnTo>
                  <a:lnTo>
                    <a:pt x="81" y="64"/>
                  </a:lnTo>
                  <a:lnTo>
                    <a:pt x="79" y="64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4" y="69"/>
                  </a:lnTo>
                  <a:lnTo>
                    <a:pt x="71" y="69"/>
                  </a:lnTo>
                  <a:lnTo>
                    <a:pt x="71" y="71"/>
                  </a:lnTo>
                  <a:lnTo>
                    <a:pt x="69" y="71"/>
                  </a:lnTo>
                  <a:lnTo>
                    <a:pt x="69" y="74"/>
                  </a:lnTo>
                  <a:lnTo>
                    <a:pt x="66" y="74"/>
                  </a:lnTo>
                  <a:lnTo>
                    <a:pt x="66" y="76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2" y="81"/>
                  </a:lnTo>
                  <a:lnTo>
                    <a:pt x="62" y="84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9"/>
                  </a:lnTo>
                  <a:lnTo>
                    <a:pt x="59" y="91"/>
                  </a:lnTo>
                  <a:lnTo>
                    <a:pt x="57" y="93"/>
                  </a:lnTo>
                  <a:lnTo>
                    <a:pt x="57" y="96"/>
                  </a:lnTo>
                  <a:lnTo>
                    <a:pt x="57" y="98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3"/>
                  </a:lnTo>
                  <a:lnTo>
                    <a:pt x="57" y="106"/>
                  </a:lnTo>
                  <a:lnTo>
                    <a:pt x="57" y="108"/>
                  </a:lnTo>
                  <a:lnTo>
                    <a:pt x="57" y="111"/>
                  </a:lnTo>
                  <a:lnTo>
                    <a:pt x="57" y="113"/>
                  </a:lnTo>
                  <a:lnTo>
                    <a:pt x="57" y="116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20"/>
                  </a:lnTo>
                  <a:lnTo>
                    <a:pt x="59" y="123"/>
                  </a:lnTo>
                  <a:lnTo>
                    <a:pt x="62" y="125"/>
                  </a:lnTo>
                  <a:lnTo>
                    <a:pt x="62" y="128"/>
                  </a:lnTo>
                  <a:lnTo>
                    <a:pt x="64" y="128"/>
                  </a:lnTo>
                  <a:lnTo>
                    <a:pt x="64" y="130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9" y="135"/>
                  </a:lnTo>
                  <a:lnTo>
                    <a:pt x="69" y="138"/>
                  </a:lnTo>
                  <a:lnTo>
                    <a:pt x="71" y="138"/>
                  </a:lnTo>
                  <a:lnTo>
                    <a:pt x="71" y="140"/>
                  </a:lnTo>
                  <a:lnTo>
                    <a:pt x="74" y="140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9" y="143"/>
                  </a:lnTo>
                  <a:lnTo>
                    <a:pt x="81" y="145"/>
                  </a:lnTo>
                  <a:lnTo>
                    <a:pt x="84" y="145"/>
                  </a:lnTo>
                  <a:lnTo>
                    <a:pt x="84" y="145"/>
                  </a:lnTo>
                  <a:lnTo>
                    <a:pt x="86" y="147"/>
                  </a:lnTo>
                  <a:lnTo>
                    <a:pt x="89" y="147"/>
                  </a:lnTo>
                  <a:lnTo>
                    <a:pt x="91" y="147"/>
                  </a:lnTo>
                  <a:lnTo>
                    <a:pt x="93" y="147"/>
                  </a:lnTo>
                  <a:lnTo>
                    <a:pt x="93" y="147"/>
                  </a:lnTo>
                  <a:lnTo>
                    <a:pt x="96" y="147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101" y="147"/>
                  </a:lnTo>
                  <a:lnTo>
                    <a:pt x="103" y="147"/>
                  </a:lnTo>
                  <a:lnTo>
                    <a:pt x="103" y="147"/>
                  </a:lnTo>
                  <a:lnTo>
                    <a:pt x="106" y="147"/>
                  </a:lnTo>
                  <a:lnTo>
                    <a:pt x="108" y="147"/>
                  </a:lnTo>
                  <a:lnTo>
                    <a:pt x="108" y="145"/>
                  </a:lnTo>
                  <a:lnTo>
                    <a:pt x="108" y="145"/>
                  </a:lnTo>
                  <a:lnTo>
                    <a:pt x="111" y="147"/>
                  </a:lnTo>
                  <a:lnTo>
                    <a:pt x="113" y="147"/>
                  </a:lnTo>
                  <a:lnTo>
                    <a:pt x="113" y="150"/>
                  </a:lnTo>
                  <a:lnTo>
                    <a:pt x="116" y="150"/>
                  </a:lnTo>
                  <a:lnTo>
                    <a:pt x="118" y="152"/>
                  </a:lnTo>
                  <a:lnTo>
                    <a:pt x="120" y="152"/>
                  </a:lnTo>
                  <a:lnTo>
                    <a:pt x="123" y="152"/>
                  </a:lnTo>
                  <a:lnTo>
                    <a:pt x="123" y="155"/>
                  </a:lnTo>
                  <a:lnTo>
                    <a:pt x="125" y="155"/>
                  </a:lnTo>
                  <a:lnTo>
                    <a:pt x="128" y="155"/>
                  </a:lnTo>
                  <a:lnTo>
                    <a:pt x="130" y="157"/>
                  </a:lnTo>
                  <a:lnTo>
                    <a:pt x="133" y="157"/>
                  </a:lnTo>
                  <a:lnTo>
                    <a:pt x="135" y="157"/>
                  </a:lnTo>
                  <a:lnTo>
                    <a:pt x="138" y="157"/>
                  </a:lnTo>
                  <a:lnTo>
                    <a:pt x="140" y="157"/>
                  </a:lnTo>
                  <a:lnTo>
                    <a:pt x="142" y="157"/>
                  </a:lnTo>
                  <a:lnTo>
                    <a:pt x="142" y="157"/>
                  </a:lnTo>
                  <a:lnTo>
                    <a:pt x="147" y="157"/>
                  </a:lnTo>
                  <a:lnTo>
                    <a:pt x="150" y="157"/>
                  </a:lnTo>
                  <a:lnTo>
                    <a:pt x="152" y="157"/>
                  </a:lnTo>
                  <a:lnTo>
                    <a:pt x="155" y="157"/>
                  </a:lnTo>
                  <a:lnTo>
                    <a:pt x="157" y="157"/>
                  </a:lnTo>
                  <a:lnTo>
                    <a:pt x="162" y="155"/>
                  </a:lnTo>
                  <a:lnTo>
                    <a:pt x="165" y="155"/>
                  </a:lnTo>
                  <a:lnTo>
                    <a:pt x="167" y="152"/>
                  </a:lnTo>
                  <a:lnTo>
                    <a:pt x="169" y="152"/>
                  </a:lnTo>
                  <a:lnTo>
                    <a:pt x="172" y="150"/>
                  </a:lnTo>
                  <a:lnTo>
                    <a:pt x="174" y="147"/>
                  </a:lnTo>
                  <a:lnTo>
                    <a:pt x="177" y="147"/>
                  </a:lnTo>
                  <a:lnTo>
                    <a:pt x="179" y="145"/>
                  </a:lnTo>
                  <a:lnTo>
                    <a:pt x="182" y="143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9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9" y="140"/>
                  </a:lnTo>
                  <a:lnTo>
                    <a:pt x="199" y="140"/>
                  </a:lnTo>
                  <a:lnTo>
                    <a:pt x="201" y="140"/>
                  </a:lnTo>
                  <a:lnTo>
                    <a:pt x="204" y="140"/>
                  </a:lnTo>
                  <a:lnTo>
                    <a:pt x="204" y="140"/>
                  </a:lnTo>
                  <a:lnTo>
                    <a:pt x="206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4" y="135"/>
                  </a:lnTo>
                  <a:lnTo>
                    <a:pt x="216" y="135"/>
                  </a:lnTo>
                  <a:lnTo>
                    <a:pt x="216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1" y="128"/>
                  </a:lnTo>
                  <a:lnTo>
                    <a:pt x="223" y="125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6" y="123"/>
                  </a:lnTo>
                  <a:lnTo>
                    <a:pt x="226" y="120"/>
                  </a:lnTo>
                  <a:lnTo>
                    <a:pt x="226" y="120"/>
                  </a:lnTo>
                  <a:lnTo>
                    <a:pt x="226" y="118"/>
                  </a:lnTo>
                  <a:lnTo>
                    <a:pt x="228" y="116"/>
                  </a:lnTo>
                  <a:lnTo>
                    <a:pt x="228" y="116"/>
                  </a:lnTo>
                  <a:lnTo>
                    <a:pt x="228" y="113"/>
                  </a:lnTo>
                  <a:lnTo>
                    <a:pt x="228" y="111"/>
                  </a:lnTo>
                  <a:lnTo>
                    <a:pt x="228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3"/>
                  </a:lnTo>
                  <a:lnTo>
                    <a:pt x="228" y="103"/>
                  </a:lnTo>
                  <a:lnTo>
                    <a:pt x="228" y="98"/>
                  </a:lnTo>
                  <a:lnTo>
                    <a:pt x="228" y="96"/>
                  </a:lnTo>
                  <a:lnTo>
                    <a:pt x="228" y="93"/>
                  </a:lnTo>
                  <a:lnTo>
                    <a:pt x="228" y="91"/>
                  </a:lnTo>
                  <a:lnTo>
                    <a:pt x="228" y="91"/>
                  </a:lnTo>
                  <a:lnTo>
                    <a:pt x="228" y="89"/>
                  </a:lnTo>
                  <a:lnTo>
                    <a:pt x="226" y="86"/>
                  </a:lnTo>
                  <a:lnTo>
                    <a:pt x="226" y="84"/>
                  </a:lnTo>
                  <a:lnTo>
                    <a:pt x="226" y="81"/>
                  </a:lnTo>
                  <a:lnTo>
                    <a:pt x="223" y="81"/>
                  </a:lnTo>
                  <a:lnTo>
                    <a:pt x="223" y="79"/>
                  </a:lnTo>
                  <a:lnTo>
                    <a:pt x="221" y="76"/>
                  </a:lnTo>
                  <a:lnTo>
                    <a:pt x="221" y="74"/>
                  </a:lnTo>
                  <a:lnTo>
                    <a:pt x="218" y="74"/>
                  </a:lnTo>
                  <a:lnTo>
                    <a:pt x="218" y="71"/>
                  </a:lnTo>
                  <a:lnTo>
                    <a:pt x="216" y="71"/>
                  </a:lnTo>
                  <a:lnTo>
                    <a:pt x="216" y="69"/>
                  </a:lnTo>
                  <a:lnTo>
                    <a:pt x="214" y="69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09" y="67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4" y="64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199" y="62"/>
                  </a:lnTo>
                  <a:lnTo>
                    <a:pt x="196" y="62"/>
                  </a:lnTo>
                  <a:lnTo>
                    <a:pt x="194" y="62"/>
                  </a:lnTo>
                  <a:lnTo>
                    <a:pt x="194" y="59"/>
                  </a:lnTo>
                  <a:lnTo>
                    <a:pt x="192" y="59"/>
                  </a:lnTo>
                  <a:lnTo>
                    <a:pt x="189" y="59"/>
                  </a:lnTo>
                  <a:lnTo>
                    <a:pt x="189" y="59"/>
                  </a:lnTo>
                  <a:lnTo>
                    <a:pt x="189" y="59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2"/>
                  </a:lnTo>
                  <a:lnTo>
                    <a:pt x="182" y="52"/>
                  </a:lnTo>
                  <a:lnTo>
                    <a:pt x="182" y="49"/>
                  </a:lnTo>
                  <a:lnTo>
                    <a:pt x="179" y="49"/>
                  </a:lnTo>
                  <a:lnTo>
                    <a:pt x="179" y="47"/>
                  </a:lnTo>
                  <a:lnTo>
                    <a:pt x="177" y="47"/>
                  </a:lnTo>
                  <a:lnTo>
                    <a:pt x="177" y="47"/>
                  </a:lnTo>
                  <a:lnTo>
                    <a:pt x="174" y="44"/>
                  </a:lnTo>
                  <a:lnTo>
                    <a:pt x="174" y="44"/>
                  </a:lnTo>
                  <a:lnTo>
                    <a:pt x="172" y="42"/>
                  </a:lnTo>
                  <a:lnTo>
                    <a:pt x="169" y="42"/>
                  </a:lnTo>
                  <a:lnTo>
                    <a:pt x="169" y="42"/>
                  </a:lnTo>
                  <a:lnTo>
                    <a:pt x="167" y="42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2" y="40"/>
                  </a:lnTo>
                  <a:lnTo>
                    <a:pt x="162" y="40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7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2" y="37"/>
                  </a:lnTo>
                  <a:lnTo>
                    <a:pt x="150" y="37"/>
                  </a:lnTo>
                  <a:lnTo>
                    <a:pt x="150" y="35"/>
                  </a:lnTo>
                  <a:lnTo>
                    <a:pt x="147" y="35"/>
                  </a:lnTo>
                  <a:lnTo>
                    <a:pt x="145" y="35"/>
                  </a:lnTo>
                  <a:lnTo>
                    <a:pt x="142" y="35"/>
                  </a:lnTo>
                  <a:lnTo>
                    <a:pt x="142" y="35"/>
                  </a:lnTo>
                  <a:close/>
                  <a:moveTo>
                    <a:pt x="17" y="187"/>
                  </a:moveTo>
                  <a:lnTo>
                    <a:pt x="17" y="187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79"/>
                  </a:lnTo>
                  <a:lnTo>
                    <a:pt x="10" y="179"/>
                  </a:lnTo>
                  <a:lnTo>
                    <a:pt x="13" y="179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4"/>
                  </a:lnTo>
                  <a:lnTo>
                    <a:pt x="15" y="174"/>
                  </a:lnTo>
                  <a:lnTo>
                    <a:pt x="15" y="172"/>
                  </a:lnTo>
                  <a:lnTo>
                    <a:pt x="15" y="169"/>
                  </a:lnTo>
                  <a:lnTo>
                    <a:pt x="17" y="167"/>
                  </a:lnTo>
                  <a:lnTo>
                    <a:pt x="22" y="162"/>
                  </a:lnTo>
                  <a:lnTo>
                    <a:pt x="25" y="157"/>
                  </a:lnTo>
                  <a:lnTo>
                    <a:pt x="27" y="155"/>
                  </a:lnTo>
                  <a:lnTo>
                    <a:pt x="30" y="152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47"/>
                  </a:lnTo>
                  <a:lnTo>
                    <a:pt x="35" y="147"/>
                  </a:lnTo>
                  <a:lnTo>
                    <a:pt x="35" y="145"/>
                  </a:lnTo>
                  <a:lnTo>
                    <a:pt x="35" y="145"/>
                  </a:lnTo>
                  <a:lnTo>
                    <a:pt x="35" y="145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0"/>
                  </a:lnTo>
                  <a:lnTo>
                    <a:pt x="35" y="140"/>
                  </a:lnTo>
                  <a:lnTo>
                    <a:pt x="35" y="140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5"/>
                  </a:lnTo>
                  <a:lnTo>
                    <a:pt x="35" y="133"/>
                  </a:lnTo>
                  <a:lnTo>
                    <a:pt x="32" y="133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0" y="130"/>
                  </a:lnTo>
                  <a:lnTo>
                    <a:pt x="30" y="128"/>
                  </a:lnTo>
                  <a:lnTo>
                    <a:pt x="27" y="128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30" y="118"/>
                  </a:lnTo>
                  <a:lnTo>
                    <a:pt x="30" y="116"/>
                  </a:lnTo>
                  <a:lnTo>
                    <a:pt x="30" y="113"/>
                  </a:lnTo>
                  <a:lnTo>
                    <a:pt x="32" y="111"/>
                  </a:lnTo>
                  <a:lnTo>
                    <a:pt x="32" y="108"/>
                  </a:lnTo>
                  <a:lnTo>
                    <a:pt x="35" y="103"/>
                  </a:lnTo>
                  <a:lnTo>
                    <a:pt x="35" y="101"/>
                  </a:lnTo>
                  <a:lnTo>
                    <a:pt x="37" y="96"/>
                  </a:lnTo>
                  <a:lnTo>
                    <a:pt x="37" y="93"/>
                  </a:lnTo>
                  <a:lnTo>
                    <a:pt x="40" y="89"/>
                  </a:lnTo>
                  <a:lnTo>
                    <a:pt x="40" y="86"/>
                  </a:lnTo>
                  <a:lnTo>
                    <a:pt x="42" y="84"/>
                  </a:lnTo>
                  <a:lnTo>
                    <a:pt x="42" y="79"/>
                  </a:lnTo>
                  <a:lnTo>
                    <a:pt x="44" y="76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9" y="64"/>
                  </a:lnTo>
                  <a:lnTo>
                    <a:pt x="52" y="62"/>
                  </a:lnTo>
                  <a:lnTo>
                    <a:pt x="54" y="59"/>
                  </a:lnTo>
                  <a:lnTo>
                    <a:pt x="57" y="57"/>
                  </a:lnTo>
                  <a:lnTo>
                    <a:pt x="59" y="52"/>
                  </a:lnTo>
                  <a:lnTo>
                    <a:pt x="62" y="49"/>
                  </a:lnTo>
                  <a:lnTo>
                    <a:pt x="64" y="47"/>
                  </a:lnTo>
                  <a:lnTo>
                    <a:pt x="66" y="44"/>
                  </a:lnTo>
                  <a:lnTo>
                    <a:pt x="69" y="42"/>
                  </a:lnTo>
                  <a:lnTo>
                    <a:pt x="71" y="37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9" y="32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9" y="27"/>
                  </a:lnTo>
                  <a:lnTo>
                    <a:pt x="91" y="25"/>
                  </a:lnTo>
                  <a:lnTo>
                    <a:pt x="93" y="25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101" y="20"/>
                  </a:lnTo>
                  <a:lnTo>
                    <a:pt x="103" y="20"/>
                  </a:lnTo>
                  <a:lnTo>
                    <a:pt x="106" y="20"/>
                  </a:lnTo>
                  <a:lnTo>
                    <a:pt x="108" y="17"/>
                  </a:lnTo>
                  <a:lnTo>
                    <a:pt x="111" y="17"/>
                  </a:lnTo>
                  <a:lnTo>
                    <a:pt x="113" y="17"/>
                  </a:lnTo>
                  <a:lnTo>
                    <a:pt x="116" y="15"/>
                  </a:lnTo>
                  <a:lnTo>
                    <a:pt x="118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30" y="13"/>
                  </a:lnTo>
                  <a:lnTo>
                    <a:pt x="133" y="13"/>
                  </a:lnTo>
                  <a:lnTo>
                    <a:pt x="138" y="13"/>
                  </a:lnTo>
                  <a:lnTo>
                    <a:pt x="142" y="13"/>
                  </a:lnTo>
                  <a:lnTo>
                    <a:pt x="145" y="13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5" y="13"/>
                  </a:lnTo>
                  <a:lnTo>
                    <a:pt x="160" y="13"/>
                  </a:lnTo>
                  <a:lnTo>
                    <a:pt x="162" y="13"/>
                  </a:lnTo>
                  <a:lnTo>
                    <a:pt x="165" y="15"/>
                  </a:lnTo>
                  <a:lnTo>
                    <a:pt x="169" y="15"/>
                  </a:lnTo>
                  <a:lnTo>
                    <a:pt x="172" y="15"/>
                  </a:lnTo>
                  <a:lnTo>
                    <a:pt x="174" y="15"/>
                  </a:lnTo>
                  <a:lnTo>
                    <a:pt x="179" y="17"/>
                  </a:lnTo>
                  <a:lnTo>
                    <a:pt x="182" y="17"/>
                  </a:lnTo>
                  <a:lnTo>
                    <a:pt x="184" y="20"/>
                  </a:lnTo>
                  <a:lnTo>
                    <a:pt x="187" y="20"/>
                  </a:lnTo>
                  <a:lnTo>
                    <a:pt x="192" y="20"/>
                  </a:lnTo>
                  <a:lnTo>
                    <a:pt x="194" y="22"/>
                  </a:lnTo>
                  <a:lnTo>
                    <a:pt x="196" y="22"/>
                  </a:lnTo>
                  <a:lnTo>
                    <a:pt x="199" y="25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6" y="30"/>
                  </a:lnTo>
                  <a:lnTo>
                    <a:pt x="211" y="32"/>
                  </a:lnTo>
                  <a:lnTo>
                    <a:pt x="214" y="32"/>
                  </a:lnTo>
                  <a:lnTo>
                    <a:pt x="216" y="35"/>
                  </a:lnTo>
                  <a:lnTo>
                    <a:pt x="218" y="37"/>
                  </a:lnTo>
                  <a:lnTo>
                    <a:pt x="221" y="40"/>
                  </a:lnTo>
                  <a:lnTo>
                    <a:pt x="221" y="40"/>
                  </a:lnTo>
                  <a:lnTo>
                    <a:pt x="223" y="42"/>
                  </a:lnTo>
                  <a:lnTo>
                    <a:pt x="226" y="44"/>
                  </a:lnTo>
                  <a:lnTo>
                    <a:pt x="228" y="47"/>
                  </a:lnTo>
                  <a:lnTo>
                    <a:pt x="231" y="49"/>
                  </a:lnTo>
                  <a:lnTo>
                    <a:pt x="233" y="52"/>
                  </a:lnTo>
                  <a:lnTo>
                    <a:pt x="233" y="54"/>
                  </a:lnTo>
                  <a:lnTo>
                    <a:pt x="236" y="57"/>
                  </a:lnTo>
                  <a:lnTo>
                    <a:pt x="236" y="59"/>
                  </a:lnTo>
                  <a:lnTo>
                    <a:pt x="238" y="62"/>
                  </a:lnTo>
                  <a:lnTo>
                    <a:pt x="241" y="64"/>
                  </a:lnTo>
                  <a:lnTo>
                    <a:pt x="241" y="64"/>
                  </a:lnTo>
                  <a:lnTo>
                    <a:pt x="241" y="67"/>
                  </a:lnTo>
                  <a:lnTo>
                    <a:pt x="243" y="69"/>
                  </a:lnTo>
                  <a:lnTo>
                    <a:pt x="243" y="71"/>
                  </a:lnTo>
                  <a:lnTo>
                    <a:pt x="245" y="74"/>
                  </a:lnTo>
                  <a:lnTo>
                    <a:pt x="245" y="76"/>
                  </a:lnTo>
                  <a:lnTo>
                    <a:pt x="245" y="79"/>
                  </a:lnTo>
                  <a:lnTo>
                    <a:pt x="248" y="81"/>
                  </a:lnTo>
                  <a:lnTo>
                    <a:pt x="248" y="84"/>
                  </a:lnTo>
                  <a:lnTo>
                    <a:pt x="248" y="86"/>
                  </a:lnTo>
                  <a:lnTo>
                    <a:pt x="248" y="89"/>
                  </a:lnTo>
                  <a:lnTo>
                    <a:pt x="248" y="91"/>
                  </a:lnTo>
                  <a:lnTo>
                    <a:pt x="248" y="93"/>
                  </a:lnTo>
                  <a:lnTo>
                    <a:pt x="250" y="96"/>
                  </a:lnTo>
                  <a:lnTo>
                    <a:pt x="250" y="98"/>
                  </a:lnTo>
                  <a:lnTo>
                    <a:pt x="250" y="101"/>
                  </a:lnTo>
                  <a:lnTo>
                    <a:pt x="250" y="103"/>
                  </a:lnTo>
                  <a:lnTo>
                    <a:pt x="250" y="106"/>
                  </a:lnTo>
                  <a:lnTo>
                    <a:pt x="250" y="108"/>
                  </a:lnTo>
                  <a:lnTo>
                    <a:pt x="250" y="111"/>
                  </a:lnTo>
                  <a:lnTo>
                    <a:pt x="248" y="113"/>
                  </a:lnTo>
                  <a:lnTo>
                    <a:pt x="248" y="118"/>
                  </a:lnTo>
                  <a:lnTo>
                    <a:pt x="248" y="120"/>
                  </a:lnTo>
                  <a:lnTo>
                    <a:pt x="248" y="123"/>
                  </a:lnTo>
                  <a:lnTo>
                    <a:pt x="248" y="125"/>
                  </a:lnTo>
                  <a:lnTo>
                    <a:pt x="245" y="128"/>
                  </a:lnTo>
                  <a:lnTo>
                    <a:pt x="245" y="130"/>
                  </a:lnTo>
                  <a:lnTo>
                    <a:pt x="245" y="133"/>
                  </a:lnTo>
                  <a:lnTo>
                    <a:pt x="243" y="138"/>
                  </a:lnTo>
                  <a:lnTo>
                    <a:pt x="243" y="140"/>
                  </a:lnTo>
                  <a:lnTo>
                    <a:pt x="241" y="145"/>
                  </a:lnTo>
                  <a:lnTo>
                    <a:pt x="241" y="147"/>
                  </a:lnTo>
                  <a:lnTo>
                    <a:pt x="238" y="152"/>
                  </a:lnTo>
                  <a:lnTo>
                    <a:pt x="236" y="155"/>
                  </a:lnTo>
                  <a:lnTo>
                    <a:pt x="236" y="160"/>
                  </a:lnTo>
                  <a:lnTo>
                    <a:pt x="233" y="165"/>
                  </a:lnTo>
                  <a:lnTo>
                    <a:pt x="231" y="167"/>
                  </a:lnTo>
                  <a:lnTo>
                    <a:pt x="228" y="172"/>
                  </a:lnTo>
                  <a:lnTo>
                    <a:pt x="226" y="179"/>
                  </a:lnTo>
                  <a:lnTo>
                    <a:pt x="221" y="187"/>
                  </a:lnTo>
                  <a:lnTo>
                    <a:pt x="218" y="194"/>
                  </a:lnTo>
                  <a:lnTo>
                    <a:pt x="214" y="201"/>
                  </a:lnTo>
                  <a:lnTo>
                    <a:pt x="209" y="209"/>
                  </a:lnTo>
                  <a:lnTo>
                    <a:pt x="206" y="216"/>
                  </a:lnTo>
                  <a:lnTo>
                    <a:pt x="204" y="221"/>
                  </a:lnTo>
                  <a:lnTo>
                    <a:pt x="201" y="223"/>
                  </a:lnTo>
                  <a:lnTo>
                    <a:pt x="201" y="228"/>
                  </a:lnTo>
                  <a:lnTo>
                    <a:pt x="199" y="231"/>
                  </a:lnTo>
                  <a:lnTo>
                    <a:pt x="196" y="233"/>
                  </a:lnTo>
                  <a:lnTo>
                    <a:pt x="196" y="238"/>
                  </a:lnTo>
                  <a:lnTo>
                    <a:pt x="194" y="241"/>
                  </a:lnTo>
                  <a:lnTo>
                    <a:pt x="194" y="245"/>
                  </a:lnTo>
                  <a:lnTo>
                    <a:pt x="192" y="248"/>
                  </a:lnTo>
                  <a:lnTo>
                    <a:pt x="192" y="253"/>
                  </a:lnTo>
                  <a:lnTo>
                    <a:pt x="192" y="253"/>
                  </a:lnTo>
                  <a:lnTo>
                    <a:pt x="192" y="255"/>
                  </a:lnTo>
                  <a:lnTo>
                    <a:pt x="192" y="258"/>
                  </a:lnTo>
                  <a:lnTo>
                    <a:pt x="192" y="260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5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70"/>
                  </a:lnTo>
                  <a:lnTo>
                    <a:pt x="192" y="272"/>
                  </a:lnTo>
                  <a:lnTo>
                    <a:pt x="192" y="272"/>
                  </a:lnTo>
                  <a:lnTo>
                    <a:pt x="192" y="275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2" y="280"/>
                  </a:lnTo>
                  <a:lnTo>
                    <a:pt x="192" y="282"/>
                  </a:lnTo>
                  <a:lnTo>
                    <a:pt x="194" y="285"/>
                  </a:lnTo>
                  <a:lnTo>
                    <a:pt x="194" y="287"/>
                  </a:lnTo>
                  <a:lnTo>
                    <a:pt x="196" y="290"/>
                  </a:lnTo>
                  <a:lnTo>
                    <a:pt x="196" y="292"/>
                  </a:lnTo>
                  <a:lnTo>
                    <a:pt x="199" y="295"/>
                  </a:lnTo>
                  <a:lnTo>
                    <a:pt x="199" y="297"/>
                  </a:lnTo>
                  <a:lnTo>
                    <a:pt x="201" y="299"/>
                  </a:lnTo>
                  <a:lnTo>
                    <a:pt x="204" y="302"/>
                  </a:lnTo>
                  <a:lnTo>
                    <a:pt x="182" y="302"/>
                  </a:lnTo>
                  <a:lnTo>
                    <a:pt x="93" y="302"/>
                  </a:lnTo>
                  <a:lnTo>
                    <a:pt x="89" y="302"/>
                  </a:lnTo>
                  <a:lnTo>
                    <a:pt x="91" y="299"/>
                  </a:lnTo>
                  <a:lnTo>
                    <a:pt x="91" y="297"/>
                  </a:lnTo>
                  <a:lnTo>
                    <a:pt x="93" y="295"/>
                  </a:lnTo>
                  <a:lnTo>
                    <a:pt x="93" y="292"/>
                  </a:lnTo>
                  <a:lnTo>
                    <a:pt x="93" y="290"/>
                  </a:lnTo>
                  <a:lnTo>
                    <a:pt x="96" y="287"/>
                  </a:lnTo>
                  <a:lnTo>
                    <a:pt x="96" y="285"/>
                  </a:lnTo>
                  <a:lnTo>
                    <a:pt x="96" y="282"/>
                  </a:lnTo>
                  <a:lnTo>
                    <a:pt x="96" y="280"/>
                  </a:lnTo>
                  <a:lnTo>
                    <a:pt x="96" y="280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2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6" y="265"/>
                  </a:lnTo>
                  <a:lnTo>
                    <a:pt x="93" y="265"/>
                  </a:lnTo>
                  <a:lnTo>
                    <a:pt x="93" y="263"/>
                  </a:lnTo>
                  <a:lnTo>
                    <a:pt x="93" y="263"/>
                  </a:lnTo>
                  <a:lnTo>
                    <a:pt x="93" y="260"/>
                  </a:lnTo>
                  <a:lnTo>
                    <a:pt x="91" y="260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6" y="255"/>
                  </a:lnTo>
                  <a:lnTo>
                    <a:pt x="86" y="255"/>
                  </a:lnTo>
                  <a:lnTo>
                    <a:pt x="86" y="253"/>
                  </a:lnTo>
                  <a:lnTo>
                    <a:pt x="84" y="253"/>
                  </a:lnTo>
                  <a:lnTo>
                    <a:pt x="84" y="253"/>
                  </a:lnTo>
                  <a:lnTo>
                    <a:pt x="84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79" y="253"/>
                  </a:lnTo>
                  <a:lnTo>
                    <a:pt x="79" y="253"/>
                  </a:lnTo>
                  <a:lnTo>
                    <a:pt x="76" y="253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69" y="253"/>
                  </a:lnTo>
                  <a:lnTo>
                    <a:pt x="66" y="253"/>
                  </a:lnTo>
                  <a:lnTo>
                    <a:pt x="64" y="253"/>
                  </a:lnTo>
                  <a:lnTo>
                    <a:pt x="62" y="253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57" y="253"/>
                  </a:lnTo>
                  <a:lnTo>
                    <a:pt x="54" y="253"/>
                  </a:lnTo>
                  <a:lnTo>
                    <a:pt x="54" y="253"/>
                  </a:lnTo>
                  <a:lnTo>
                    <a:pt x="54" y="253"/>
                  </a:lnTo>
                  <a:lnTo>
                    <a:pt x="52" y="253"/>
                  </a:lnTo>
                  <a:lnTo>
                    <a:pt x="52" y="253"/>
                  </a:lnTo>
                  <a:lnTo>
                    <a:pt x="52" y="253"/>
                  </a:lnTo>
                  <a:lnTo>
                    <a:pt x="52" y="253"/>
                  </a:lnTo>
                  <a:lnTo>
                    <a:pt x="49" y="253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5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1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36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28"/>
                  </a:lnTo>
                  <a:lnTo>
                    <a:pt x="47" y="228"/>
                  </a:lnTo>
                  <a:lnTo>
                    <a:pt x="47" y="228"/>
                  </a:lnTo>
                  <a:lnTo>
                    <a:pt x="47" y="228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4" y="226"/>
                  </a:lnTo>
                  <a:lnTo>
                    <a:pt x="44" y="226"/>
                  </a:lnTo>
                  <a:lnTo>
                    <a:pt x="44" y="223"/>
                  </a:lnTo>
                  <a:lnTo>
                    <a:pt x="44" y="223"/>
                  </a:lnTo>
                  <a:lnTo>
                    <a:pt x="44" y="223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40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4" y="216"/>
                  </a:lnTo>
                  <a:lnTo>
                    <a:pt x="44" y="216"/>
                  </a:lnTo>
                  <a:lnTo>
                    <a:pt x="44" y="216"/>
                  </a:lnTo>
                  <a:lnTo>
                    <a:pt x="44" y="214"/>
                  </a:lnTo>
                  <a:lnTo>
                    <a:pt x="44" y="214"/>
                  </a:lnTo>
                  <a:lnTo>
                    <a:pt x="44" y="214"/>
                  </a:lnTo>
                  <a:lnTo>
                    <a:pt x="44" y="211"/>
                  </a:lnTo>
                  <a:lnTo>
                    <a:pt x="44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2" y="209"/>
                  </a:lnTo>
                  <a:lnTo>
                    <a:pt x="42" y="209"/>
                  </a:lnTo>
                  <a:lnTo>
                    <a:pt x="42" y="209"/>
                  </a:lnTo>
                  <a:lnTo>
                    <a:pt x="42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5" y="209"/>
                  </a:lnTo>
                  <a:lnTo>
                    <a:pt x="35" y="206"/>
                  </a:lnTo>
                  <a:lnTo>
                    <a:pt x="37" y="204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9"/>
                  </a:lnTo>
                  <a:lnTo>
                    <a:pt x="40" y="196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0" y="189"/>
                  </a:lnTo>
                  <a:lnTo>
                    <a:pt x="40" y="189"/>
                  </a:lnTo>
                  <a:lnTo>
                    <a:pt x="37" y="189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5" y="184"/>
                  </a:lnTo>
                  <a:lnTo>
                    <a:pt x="35" y="184"/>
                  </a:lnTo>
                  <a:lnTo>
                    <a:pt x="35" y="184"/>
                  </a:lnTo>
                  <a:lnTo>
                    <a:pt x="32" y="184"/>
                  </a:lnTo>
                  <a:lnTo>
                    <a:pt x="32" y="184"/>
                  </a:lnTo>
                  <a:lnTo>
                    <a:pt x="32" y="184"/>
                  </a:lnTo>
                  <a:lnTo>
                    <a:pt x="30" y="187"/>
                  </a:lnTo>
                  <a:lnTo>
                    <a:pt x="27" y="187"/>
                  </a:lnTo>
                  <a:lnTo>
                    <a:pt x="25" y="187"/>
                  </a:lnTo>
                  <a:lnTo>
                    <a:pt x="22" y="187"/>
                  </a:lnTo>
                  <a:lnTo>
                    <a:pt x="22" y="187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7" y="187"/>
                  </a:lnTo>
                  <a:close/>
                  <a:moveTo>
                    <a:pt x="145" y="0"/>
                  </a:moveTo>
                  <a:lnTo>
                    <a:pt x="142" y="0"/>
                  </a:lnTo>
                  <a:lnTo>
                    <a:pt x="138" y="3"/>
                  </a:lnTo>
                  <a:lnTo>
                    <a:pt x="133" y="3"/>
                  </a:lnTo>
                  <a:lnTo>
                    <a:pt x="128" y="3"/>
                  </a:lnTo>
                  <a:lnTo>
                    <a:pt x="125" y="3"/>
                  </a:lnTo>
                  <a:lnTo>
                    <a:pt x="120" y="3"/>
                  </a:lnTo>
                  <a:lnTo>
                    <a:pt x="116" y="5"/>
                  </a:lnTo>
                  <a:lnTo>
                    <a:pt x="113" y="5"/>
                  </a:lnTo>
                  <a:lnTo>
                    <a:pt x="108" y="5"/>
                  </a:lnTo>
                  <a:lnTo>
                    <a:pt x="106" y="8"/>
                  </a:lnTo>
                  <a:lnTo>
                    <a:pt x="103" y="8"/>
                  </a:lnTo>
                  <a:lnTo>
                    <a:pt x="101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89" y="15"/>
                  </a:lnTo>
                  <a:lnTo>
                    <a:pt x="86" y="15"/>
                  </a:lnTo>
                  <a:lnTo>
                    <a:pt x="84" y="17"/>
                  </a:lnTo>
                  <a:lnTo>
                    <a:pt x="81" y="17"/>
                  </a:lnTo>
                  <a:lnTo>
                    <a:pt x="79" y="20"/>
                  </a:lnTo>
                  <a:lnTo>
                    <a:pt x="76" y="22"/>
                  </a:lnTo>
                  <a:lnTo>
                    <a:pt x="74" y="22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9" y="27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2" y="32"/>
                  </a:lnTo>
                  <a:lnTo>
                    <a:pt x="62" y="35"/>
                  </a:lnTo>
                  <a:lnTo>
                    <a:pt x="59" y="35"/>
                  </a:lnTo>
                  <a:lnTo>
                    <a:pt x="57" y="37"/>
                  </a:lnTo>
                  <a:lnTo>
                    <a:pt x="57" y="40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52" y="44"/>
                  </a:lnTo>
                  <a:lnTo>
                    <a:pt x="49" y="47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9"/>
                  </a:lnTo>
                  <a:lnTo>
                    <a:pt x="40" y="62"/>
                  </a:lnTo>
                  <a:lnTo>
                    <a:pt x="37" y="67"/>
                  </a:lnTo>
                  <a:lnTo>
                    <a:pt x="35" y="69"/>
                  </a:lnTo>
                  <a:lnTo>
                    <a:pt x="35" y="74"/>
                  </a:lnTo>
                  <a:lnTo>
                    <a:pt x="32" y="76"/>
                  </a:lnTo>
                  <a:lnTo>
                    <a:pt x="30" y="81"/>
                  </a:lnTo>
                  <a:lnTo>
                    <a:pt x="30" y="84"/>
                  </a:lnTo>
                  <a:lnTo>
                    <a:pt x="27" y="86"/>
                  </a:lnTo>
                  <a:lnTo>
                    <a:pt x="27" y="91"/>
                  </a:lnTo>
                  <a:lnTo>
                    <a:pt x="25" y="93"/>
                  </a:lnTo>
                  <a:lnTo>
                    <a:pt x="25" y="98"/>
                  </a:lnTo>
                  <a:lnTo>
                    <a:pt x="22" y="103"/>
                  </a:lnTo>
                  <a:lnTo>
                    <a:pt x="22" y="106"/>
                  </a:lnTo>
                  <a:lnTo>
                    <a:pt x="20" y="108"/>
                  </a:lnTo>
                  <a:lnTo>
                    <a:pt x="20" y="111"/>
                  </a:lnTo>
                  <a:lnTo>
                    <a:pt x="20" y="113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8"/>
                  </a:lnTo>
                  <a:lnTo>
                    <a:pt x="15" y="120"/>
                  </a:lnTo>
                  <a:lnTo>
                    <a:pt x="15" y="120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7" y="130"/>
                  </a:lnTo>
                  <a:lnTo>
                    <a:pt x="17" y="130"/>
                  </a:lnTo>
                  <a:lnTo>
                    <a:pt x="17" y="130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20" y="133"/>
                  </a:lnTo>
                  <a:lnTo>
                    <a:pt x="20" y="135"/>
                  </a:lnTo>
                  <a:lnTo>
                    <a:pt x="22" y="135"/>
                  </a:lnTo>
                  <a:lnTo>
                    <a:pt x="22" y="138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2" y="143"/>
                  </a:lnTo>
                  <a:lnTo>
                    <a:pt x="22" y="145"/>
                  </a:lnTo>
                  <a:lnTo>
                    <a:pt x="22" y="145"/>
                  </a:lnTo>
                  <a:lnTo>
                    <a:pt x="22" y="147"/>
                  </a:lnTo>
                  <a:lnTo>
                    <a:pt x="20" y="150"/>
                  </a:lnTo>
                  <a:lnTo>
                    <a:pt x="17" y="152"/>
                  </a:lnTo>
                  <a:lnTo>
                    <a:pt x="15" y="155"/>
                  </a:lnTo>
                  <a:lnTo>
                    <a:pt x="13" y="157"/>
                  </a:lnTo>
                  <a:lnTo>
                    <a:pt x="10" y="160"/>
                  </a:lnTo>
                  <a:lnTo>
                    <a:pt x="8" y="162"/>
                  </a:lnTo>
                  <a:lnTo>
                    <a:pt x="8" y="165"/>
                  </a:lnTo>
                  <a:lnTo>
                    <a:pt x="5" y="167"/>
                  </a:lnTo>
                  <a:lnTo>
                    <a:pt x="5" y="169"/>
                  </a:lnTo>
                  <a:lnTo>
                    <a:pt x="3" y="172"/>
                  </a:lnTo>
                  <a:lnTo>
                    <a:pt x="3" y="174"/>
                  </a:lnTo>
                  <a:lnTo>
                    <a:pt x="3" y="174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3" y="192"/>
                  </a:lnTo>
                  <a:lnTo>
                    <a:pt x="5" y="192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10" y="194"/>
                  </a:lnTo>
                  <a:lnTo>
                    <a:pt x="10" y="196"/>
                  </a:lnTo>
                  <a:lnTo>
                    <a:pt x="13" y="196"/>
                  </a:lnTo>
                  <a:lnTo>
                    <a:pt x="15" y="196"/>
                  </a:lnTo>
                  <a:lnTo>
                    <a:pt x="15" y="196"/>
                  </a:lnTo>
                  <a:lnTo>
                    <a:pt x="17" y="196"/>
                  </a:lnTo>
                  <a:lnTo>
                    <a:pt x="20" y="196"/>
                  </a:lnTo>
                  <a:lnTo>
                    <a:pt x="22" y="196"/>
                  </a:lnTo>
                  <a:lnTo>
                    <a:pt x="25" y="196"/>
                  </a:lnTo>
                  <a:lnTo>
                    <a:pt x="27" y="196"/>
                  </a:lnTo>
                  <a:lnTo>
                    <a:pt x="25" y="199"/>
                  </a:lnTo>
                  <a:lnTo>
                    <a:pt x="25" y="201"/>
                  </a:lnTo>
                  <a:lnTo>
                    <a:pt x="25" y="201"/>
                  </a:lnTo>
                  <a:lnTo>
                    <a:pt x="25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2" y="209"/>
                  </a:lnTo>
                  <a:lnTo>
                    <a:pt x="25" y="211"/>
                  </a:lnTo>
                  <a:lnTo>
                    <a:pt x="25" y="211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30" y="216"/>
                  </a:lnTo>
                  <a:lnTo>
                    <a:pt x="30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6"/>
                  </a:lnTo>
                  <a:lnTo>
                    <a:pt x="30" y="226"/>
                  </a:lnTo>
                  <a:lnTo>
                    <a:pt x="30" y="226"/>
                  </a:lnTo>
                  <a:lnTo>
                    <a:pt x="30" y="226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2" y="231"/>
                  </a:lnTo>
                  <a:lnTo>
                    <a:pt x="32" y="231"/>
                  </a:lnTo>
                  <a:lnTo>
                    <a:pt x="32" y="231"/>
                  </a:lnTo>
                  <a:lnTo>
                    <a:pt x="35" y="231"/>
                  </a:lnTo>
                  <a:lnTo>
                    <a:pt x="35" y="231"/>
                  </a:lnTo>
                  <a:lnTo>
                    <a:pt x="35" y="231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5" y="238"/>
                  </a:lnTo>
                  <a:lnTo>
                    <a:pt x="35" y="241"/>
                  </a:lnTo>
                  <a:lnTo>
                    <a:pt x="35" y="243"/>
                  </a:lnTo>
                  <a:lnTo>
                    <a:pt x="37" y="245"/>
                  </a:lnTo>
                  <a:lnTo>
                    <a:pt x="37" y="245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50"/>
                  </a:lnTo>
                  <a:lnTo>
                    <a:pt x="37" y="250"/>
                  </a:lnTo>
                  <a:lnTo>
                    <a:pt x="37" y="253"/>
                  </a:lnTo>
                  <a:lnTo>
                    <a:pt x="37" y="253"/>
                  </a:lnTo>
                  <a:lnTo>
                    <a:pt x="40" y="253"/>
                  </a:lnTo>
                  <a:lnTo>
                    <a:pt x="40" y="255"/>
                  </a:lnTo>
                  <a:lnTo>
                    <a:pt x="40" y="255"/>
                  </a:lnTo>
                  <a:lnTo>
                    <a:pt x="40" y="258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8"/>
                  </a:lnTo>
                  <a:lnTo>
                    <a:pt x="42" y="260"/>
                  </a:lnTo>
                  <a:lnTo>
                    <a:pt x="44" y="260"/>
                  </a:lnTo>
                  <a:lnTo>
                    <a:pt x="44" y="260"/>
                  </a:lnTo>
                  <a:lnTo>
                    <a:pt x="44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9" y="263"/>
                  </a:lnTo>
                  <a:lnTo>
                    <a:pt x="49" y="263"/>
                  </a:lnTo>
                  <a:lnTo>
                    <a:pt x="52" y="265"/>
                  </a:lnTo>
                  <a:lnTo>
                    <a:pt x="52" y="265"/>
                  </a:lnTo>
                  <a:lnTo>
                    <a:pt x="54" y="265"/>
                  </a:lnTo>
                  <a:lnTo>
                    <a:pt x="54" y="265"/>
                  </a:lnTo>
                  <a:lnTo>
                    <a:pt x="57" y="265"/>
                  </a:lnTo>
                  <a:lnTo>
                    <a:pt x="57" y="265"/>
                  </a:lnTo>
                  <a:lnTo>
                    <a:pt x="59" y="265"/>
                  </a:lnTo>
                  <a:lnTo>
                    <a:pt x="62" y="265"/>
                  </a:lnTo>
                  <a:lnTo>
                    <a:pt x="64" y="265"/>
                  </a:lnTo>
                  <a:lnTo>
                    <a:pt x="66" y="263"/>
                  </a:lnTo>
                  <a:lnTo>
                    <a:pt x="69" y="263"/>
                  </a:lnTo>
                  <a:lnTo>
                    <a:pt x="71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5"/>
                  </a:lnTo>
                  <a:lnTo>
                    <a:pt x="81" y="265"/>
                  </a:lnTo>
                  <a:lnTo>
                    <a:pt x="84" y="265"/>
                  </a:lnTo>
                  <a:lnTo>
                    <a:pt x="84" y="265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4" y="268"/>
                  </a:lnTo>
                  <a:lnTo>
                    <a:pt x="86" y="270"/>
                  </a:lnTo>
                  <a:lnTo>
                    <a:pt x="86" y="272"/>
                  </a:lnTo>
                  <a:lnTo>
                    <a:pt x="86" y="272"/>
                  </a:lnTo>
                  <a:lnTo>
                    <a:pt x="86" y="275"/>
                  </a:lnTo>
                  <a:lnTo>
                    <a:pt x="86" y="275"/>
                  </a:lnTo>
                  <a:lnTo>
                    <a:pt x="86" y="277"/>
                  </a:lnTo>
                  <a:lnTo>
                    <a:pt x="86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5"/>
                  </a:lnTo>
                  <a:lnTo>
                    <a:pt x="84" y="287"/>
                  </a:lnTo>
                  <a:lnTo>
                    <a:pt x="84" y="287"/>
                  </a:lnTo>
                  <a:lnTo>
                    <a:pt x="84" y="290"/>
                  </a:lnTo>
                  <a:lnTo>
                    <a:pt x="81" y="292"/>
                  </a:lnTo>
                  <a:lnTo>
                    <a:pt x="81" y="295"/>
                  </a:lnTo>
                  <a:lnTo>
                    <a:pt x="79" y="297"/>
                  </a:lnTo>
                  <a:lnTo>
                    <a:pt x="79" y="299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76" y="304"/>
                  </a:lnTo>
                  <a:lnTo>
                    <a:pt x="74" y="304"/>
                  </a:lnTo>
                  <a:lnTo>
                    <a:pt x="74" y="307"/>
                  </a:lnTo>
                  <a:lnTo>
                    <a:pt x="74" y="307"/>
                  </a:lnTo>
                  <a:lnTo>
                    <a:pt x="74" y="307"/>
                  </a:lnTo>
                  <a:lnTo>
                    <a:pt x="74" y="307"/>
                  </a:lnTo>
                  <a:lnTo>
                    <a:pt x="74" y="309"/>
                  </a:lnTo>
                  <a:lnTo>
                    <a:pt x="74" y="309"/>
                  </a:lnTo>
                  <a:lnTo>
                    <a:pt x="74" y="309"/>
                  </a:lnTo>
                  <a:lnTo>
                    <a:pt x="76" y="312"/>
                  </a:lnTo>
                  <a:lnTo>
                    <a:pt x="76" y="312"/>
                  </a:lnTo>
                  <a:lnTo>
                    <a:pt x="76" y="312"/>
                  </a:lnTo>
                  <a:lnTo>
                    <a:pt x="76" y="312"/>
                  </a:lnTo>
                  <a:lnTo>
                    <a:pt x="76" y="312"/>
                  </a:lnTo>
                  <a:lnTo>
                    <a:pt x="79" y="314"/>
                  </a:lnTo>
                  <a:lnTo>
                    <a:pt x="79" y="314"/>
                  </a:lnTo>
                  <a:lnTo>
                    <a:pt x="79" y="314"/>
                  </a:lnTo>
                  <a:lnTo>
                    <a:pt x="79" y="314"/>
                  </a:lnTo>
                  <a:lnTo>
                    <a:pt x="116" y="314"/>
                  </a:lnTo>
                  <a:lnTo>
                    <a:pt x="182" y="314"/>
                  </a:lnTo>
                  <a:lnTo>
                    <a:pt x="209" y="314"/>
                  </a:lnTo>
                  <a:lnTo>
                    <a:pt x="216" y="314"/>
                  </a:lnTo>
                  <a:lnTo>
                    <a:pt x="216" y="314"/>
                  </a:lnTo>
                  <a:lnTo>
                    <a:pt x="218" y="314"/>
                  </a:lnTo>
                  <a:lnTo>
                    <a:pt x="218" y="312"/>
                  </a:lnTo>
                  <a:lnTo>
                    <a:pt x="218" y="312"/>
                  </a:lnTo>
                  <a:lnTo>
                    <a:pt x="221" y="312"/>
                  </a:lnTo>
                  <a:lnTo>
                    <a:pt x="221" y="312"/>
                  </a:lnTo>
                  <a:lnTo>
                    <a:pt x="221" y="312"/>
                  </a:lnTo>
                  <a:lnTo>
                    <a:pt x="221" y="312"/>
                  </a:lnTo>
                  <a:lnTo>
                    <a:pt x="221" y="309"/>
                  </a:lnTo>
                  <a:lnTo>
                    <a:pt x="221" y="309"/>
                  </a:lnTo>
                  <a:lnTo>
                    <a:pt x="221" y="309"/>
                  </a:lnTo>
                  <a:lnTo>
                    <a:pt x="223" y="309"/>
                  </a:lnTo>
                  <a:lnTo>
                    <a:pt x="223" y="307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21" y="304"/>
                  </a:lnTo>
                  <a:lnTo>
                    <a:pt x="221" y="304"/>
                  </a:lnTo>
                  <a:lnTo>
                    <a:pt x="221" y="304"/>
                  </a:lnTo>
                  <a:lnTo>
                    <a:pt x="221" y="304"/>
                  </a:lnTo>
                  <a:lnTo>
                    <a:pt x="221" y="304"/>
                  </a:lnTo>
                  <a:lnTo>
                    <a:pt x="221" y="302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6" y="299"/>
                  </a:lnTo>
                  <a:lnTo>
                    <a:pt x="214" y="297"/>
                  </a:lnTo>
                  <a:lnTo>
                    <a:pt x="214" y="297"/>
                  </a:lnTo>
                  <a:lnTo>
                    <a:pt x="211" y="297"/>
                  </a:lnTo>
                  <a:lnTo>
                    <a:pt x="211" y="295"/>
                  </a:lnTo>
                  <a:lnTo>
                    <a:pt x="211" y="295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6" y="290"/>
                  </a:lnTo>
                  <a:lnTo>
                    <a:pt x="206" y="287"/>
                  </a:lnTo>
                  <a:lnTo>
                    <a:pt x="206" y="285"/>
                  </a:lnTo>
                  <a:lnTo>
                    <a:pt x="204" y="285"/>
                  </a:lnTo>
                  <a:lnTo>
                    <a:pt x="204" y="282"/>
                  </a:lnTo>
                  <a:lnTo>
                    <a:pt x="204" y="280"/>
                  </a:lnTo>
                  <a:lnTo>
                    <a:pt x="201" y="277"/>
                  </a:lnTo>
                  <a:lnTo>
                    <a:pt x="201" y="275"/>
                  </a:lnTo>
                  <a:lnTo>
                    <a:pt x="201" y="272"/>
                  </a:lnTo>
                  <a:lnTo>
                    <a:pt x="201" y="270"/>
                  </a:lnTo>
                  <a:lnTo>
                    <a:pt x="201" y="268"/>
                  </a:lnTo>
                  <a:lnTo>
                    <a:pt x="201" y="265"/>
                  </a:lnTo>
                  <a:lnTo>
                    <a:pt x="201" y="263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55"/>
                  </a:lnTo>
                  <a:lnTo>
                    <a:pt x="204" y="250"/>
                  </a:lnTo>
                  <a:lnTo>
                    <a:pt x="204" y="248"/>
                  </a:lnTo>
                  <a:lnTo>
                    <a:pt x="206" y="245"/>
                  </a:lnTo>
                  <a:lnTo>
                    <a:pt x="206" y="241"/>
                  </a:lnTo>
                  <a:lnTo>
                    <a:pt x="209" y="238"/>
                  </a:lnTo>
                  <a:lnTo>
                    <a:pt x="209" y="236"/>
                  </a:lnTo>
                  <a:lnTo>
                    <a:pt x="211" y="231"/>
                  </a:lnTo>
                  <a:lnTo>
                    <a:pt x="211" y="228"/>
                  </a:lnTo>
                  <a:lnTo>
                    <a:pt x="214" y="223"/>
                  </a:lnTo>
                  <a:lnTo>
                    <a:pt x="216" y="221"/>
                  </a:lnTo>
                  <a:lnTo>
                    <a:pt x="218" y="214"/>
                  </a:lnTo>
                  <a:lnTo>
                    <a:pt x="223" y="206"/>
                  </a:lnTo>
                  <a:lnTo>
                    <a:pt x="228" y="199"/>
                  </a:lnTo>
                  <a:lnTo>
                    <a:pt x="231" y="192"/>
                  </a:lnTo>
                  <a:lnTo>
                    <a:pt x="236" y="184"/>
                  </a:lnTo>
                  <a:lnTo>
                    <a:pt x="238" y="177"/>
                  </a:lnTo>
                  <a:lnTo>
                    <a:pt x="241" y="172"/>
                  </a:lnTo>
                  <a:lnTo>
                    <a:pt x="243" y="167"/>
                  </a:lnTo>
                  <a:lnTo>
                    <a:pt x="245" y="165"/>
                  </a:lnTo>
                  <a:lnTo>
                    <a:pt x="245" y="160"/>
                  </a:lnTo>
                  <a:lnTo>
                    <a:pt x="248" y="157"/>
                  </a:lnTo>
                  <a:lnTo>
                    <a:pt x="250" y="152"/>
                  </a:lnTo>
                  <a:lnTo>
                    <a:pt x="250" y="147"/>
                  </a:lnTo>
                  <a:lnTo>
                    <a:pt x="253" y="145"/>
                  </a:lnTo>
                  <a:lnTo>
                    <a:pt x="253" y="140"/>
                  </a:lnTo>
                  <a:lnTo>
                    <a:pt x="255" y="138"/>
                  </a:lnTo>
                  <a:lnTo>
                    <a:pt x="255" y="133"/>
                  </a:lnTo>
                  <a:lnTo>
                    <a:pt x="258" y="130"/>
                  </a:lnTo>
                  <a:lnTo>
                    <a:pt x="258" y="128"/>
                  </a:lnTo>
                  <a:lnTo>
                    <a:pt x="258" y="125"/>
                  </a:lnTo>
                  <a:lnTo>
                    <a:pt x="258" y="120"/>
                  </a:lnTo>
                  <a:lnTo>
                    <a:pt x="260" y="118"/>
                  </a:lnTo>
                  <a:lnTo>
                    <a:pt x="260" y="116"/>
                  </a:lnTo>
                  <a:lnTo>
                    <a:pt x="260" y="113"/>
                  </a:lnTo>
                  <a:lnTo>
                    <a:pt x="260" y="111"/>
                  </a:lnTo>
                  <a:lnTo>
                    <a:pt x="260" y="106"/>
                  </a:lnTo>
                  <a:lnTo>
                    <a:pt x="260" y="101"/>
                  </a:lnTo>
                  <a:lnTo>
                    <a:pt x="260" y="98"/>
                  </a:lnTo>
                  <a:lnTo>
                    <a:pt x="260" y="96"/>
                  </a:lnTo>
                  <a:lnTo>
                    <a:pt x="260" y="91"/>
                  </a:lnTo>
                  <a:lnTo>
                    <a:pt x="260" y="89"/>
                  </a:lnTo>
                  <a:lnTo>
                    <a:pt x="258" y="86"/>
                  </a:lnTo>
                  <a:lnTo>
                    <a:pt x="258" y="84"/>
                  </a:lnTo>
                  <a:lnTo>
                    <a:pt x="258" y="81"/>
                  </a:lnTo>
                  <a:lnTo>
                    <a:pt x="258" y="79"/>
                  </a:lnTo>
                  <a:lnTo>
                    <a:pt x="255" y="76"/>
                  </a:lnTo>
                  <a:lnTo>
                    <a:pt x="255" y="74"/>
                  </a:lnTo>
                  <a:lnTo>
                    <a:pt x="255" y="69"/>
                  </a:lnTo>
                  <a:lnTo>
                    <a:pt x="253" y="67"/>
                  </a:lnTo>
                  <a:lnTo>
                    <a:pt x="253" y="64"/>
                  </a:lnTo>
                  <a:lnTo>
                    <a:pt x="250" y="62"/>
                  </a:lnTo>
                  <a:lnTo>
                    <a:pt x="250" y="59"/>
                  </a:lnTo>
                  <a:lnTo>
                    <a:pt x="248" y="57"/>
                  </a:lnTo>
                  <a:lnTo>
                    <a:pt x="248" y="54"/>
                  </a:lnTo>
                  <a:lnTo>
                    <a:pt x="245" y="52"/>
                  </a:lnTo>
                  <a:lnTo>
                    <a:pt x="245" y="49"/>
                  </a:lnTo>
                  <a:lnTo>
                    <a:pt x="243" y="47"/>
                  </a:lnTo>
                  <a:lnTo>
                    <a:pt x="241" y="44"/>
                  </a:lnTo>
                  <a:lnTo>
                    <a:pt x="238" y="42"/>
                  </a:lnTo>
                  <a:lnTo>
                    <a:pt x="236" y="40"/>
                  </a:lnTo>
                  <a:lnTo>
                    <a:pt x="233" y="37"/>
                  </a:lnTo>
                  <a:lnTo>
                    <a:pt x="231" y="35"/>
                  </a:lnTo>
                  <a:lnTo>
                    <a:pt x="228" y="32"/>
                  </a:lnTo>
                  <a:lnTo>
                    <a:pt x="226" y="30"/>
                  </a:lnTo>
                  <a:lnTo>
                    <a:pt x="223" y="27"/>
                  </a:lnTo>
                  <a:lnTo>
                    <a:pt x="221" y="27"/>
                  </a:lnTo>
                  <a:lnTo>
                    <a:pt x="218" y="25"/>
                  </a:lnTo>
                  <a:lnTo>
                    <a:pt x="216" y="22"/>
                  </a:lnTo>
                  <a:lnTo>
                    <a:pt x="214" y="20"/>
                  </a:lnTo>
                  <a:lnTo>
                    <a:pt x="211" y="17"/>
                  </a:lnTo>
                  <a:lnTo>
                    <a:pt x="206" y="17"/>
                  </a:lnTo>
                  <a:lnTo>
                    <a:pt x="204" y="15"/>
                  </a:lnTo>
                  <a:lnTo>
                    <a:pt x="201" y="13"/>
                  </a:lnTo>
                  <a:lnTo>
                    <a:pt x="199" y="13"/>
                  </a:lnTo>
                  <a:lnTo>
                    <a:pt x="194" y="10"/>
                  </a:lnTo>
                  <a:lnTo>
                    <a:pt x="192" y="10"/>
                  </a:lnTo>
                  <a:lnTo>
                    <a:pt x="189" y="8"/>
                  </a:lnTo>
                  <a:lnTo>
                    <a:pt x="184" y="8"/>
                  </a:lnTo>
                  <a:lnTo>
                    <a:pt x="182" y="5"/>
                  </a:lnTo>
                  <a:lnTo>
                    <a:pt x="179" y="5"/>
                  </a:lnTo>
                  <a:lnTo>
                    <a:pt x="174" y="5"/>
                  </a:lnTo>
                  <a:lnTo>
                    <a:pt x="172" y="3"/>
                  </a:lnTo>
                  <a:lnTo>
                    <a:pt x="167" y="3"/>
                  </a:lnTo>
                  <a:lnTo>
                    <a:pt x="165" y="3"/>
                  </a:lnTo>
                  <a:lnTo>
                    <a:pt x="160" y="3"/>
                  </a:lnTo>
                  <a:lnTo>
                    <a:pt x="157" y="3"/>
                  </a:lnTo>
                  <a:lnTo>
                    <a:pt x="152" y="3"/>
                  </a:lnTo>
                  <a:lnTo>
                    <a:pt x="150" y="0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9" name="Group 219">
            <a:extLst>
              <a:ext uri="{FF2B5EF4-FFF2-40B4-BE49-F238E27FC236}">
                <a16:creationId xmlns:a16="http://schemas.microsoft.com/office/drawing/2014/main" id="{3ECD1F99-F36D-4CE0-8AD1-42F6A0193D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9651" y="4137025"/>
            <a:ext cx="841375" cy="841375"/>
            <a:chOff x="3028" y="2587"/>
            <a:chExt cx="530" cy="530"/>
          </a:xfrm>
        </p:grpSpPr>
        <p:sp>
          <p:nvSpPr>
            <p:cNvPr id="250" name="AutoShape 218">
              <a:extLst>
                <a:ext uri="{FF2B5EF4-FFF2-40B4-BE49-F238E27FC236}">
                  <a16:creationId xmlns:a16="http://schemas.microsoft.com/office/drawing/2014/main" id="{8246637F-91E2-4769-934A-E3BB8A10E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8" y="258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220">
              <a:extLst>
                <a:ext uri="{FF2B5EF4-FFF2-40B4-BE49-F238E27FC236}">
                  <a16:creationId xmlns:a16="http://schemas.microsoft.com/office/drawing/2014/main" id="{5D239E48-7EED-461A-9C34-B37111E65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" y="258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21">
              <a:extLst>
                <a:ext uri="{FF2B5EF4-FFF2-40B4-BE49-F238E27FC236}">
                  <a16:creationId xmlns:a16="http://schemas.microsoft.com/office/drawing/2014/main" id="{D49ACBE6-9B4C-4B94-B192-0674A703F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260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22">
              <a:extLst>
                <a:ext uri="{FF2B5EF4-FFF2-40B4-BE49-F238E27FC236}">
                  <a16:creationId xmlns:a16="http://schemas.microsoft.com/office/drawing/2014/main" id="{216477F6-94E7-462A-918C-F44652F28B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8" y="2689"/>
              <a:ext cx="272" cy="328"/>
            </a:xfrm>
            <a:custGeom>
              <a:avLst/>
              <a:gdLst>
                <a:gd name="T0" fmla="*/ 177 w 272"/>
                <a:gd name="T1" fmla="*/ 105 h 328"/>
                <a:gd name="T2" fmla="*/ 108 w 272"/>
                <a:gd name="T3" fmla="*/ 75 h 328"/>
                <a:gd name="T4" fmla="*/ 128 w 272"/>
                <a:gd name="T5" fmla="*/ 54 h 328"/>
                <a:gd name="T6" fmla="*/ 162 w 272"/>
                <a:gd name="T7" fmla="*/ 49 h 328"/>
                <a:gd name="T8" fmla="*/ 187 w 272"/>
                <a:gd name="T9" fmla="*/ 67 h 328"/>
                <a:gd name="T10" fmla="*/ 213 w 272"/>
                <a:gd name="T11" fmla="*/ 80 h 328"/>
                <a:gd name="T12" fmla="*/ 226 w 272"/>
                <a:gd name="T13" fmla="*/ 118 h 328"/>
                <a:gd name="T14" fmla="*/ 208 w 272"/>
                <a:gd name="T15" fmla="*/ 133 h 328"/>
                <a:gd name="T16" fmla="*/ 187 w 272"/>
                <a:gd name="T17" fmla="*/ 136 h 328"/>
                <a:gd name="T18" fmla="*/ 136 w 272"/>
                <a:gd name="T19" fmla="*/ 151 h 328"/>
                <a:gd name="T20" fmla="*/ 111 w 272"/>
                <a:gd name="T21" fmla="*/ 141 h 328"/>
                <a:gd name="T22" fmla="*/ 80 w 272"/>
                <a:gd name="T23" fmla="*/ 133 h 328"/>
                <a:gd name="T24" fmla="*/ 72 w 272"/>
                <a:gd name="T25" fmla="*/ 100 h 328"/>
                <a:gd name="T26" fmla="*/ 93 w 272"/>
                <a:gd name="T27" fmla="*/ 75 h 328"/>
                <a:gd name="T28" fmla="*/ 128 w 272"/>
                <a:gd name="T29" fmla="*/ 41 h 328"/>
                <a:gd name="T30" fmla="*/ 98 w 272"/>
                <a:gd name="T31" fmla="*/ 64 h 328"/>
                <a:gd name="T32" fmla="*/ 62 w 272"/>
                <a:gd name="T33" fmla="*/ 90 h 328"/>
                <a:gd name="T34" fmla="*/ 67 w 272"/>
                <a:gd name="T35" fmla="*/ 136 h 328"/>
                <a:gd name="T36" fmla="*/ 105 w 272"/>
                <a:gd name="T37" fmla="*/ 154 h 328"/>
                <a:gd name="T38" fmla="*/ 149 w 272"/>
                <a:gd name="T39" fmla="*/ 164 h 328"/>
                <a:gd name="T40" fmla="*/ 203 w 272"/>
                <a:gd name="T41" fmla="*/ 146 h 328"/>
                <a:gd name="T42" fmla="*/ 233 w 272"/>
                <a:gd name="T43" fmla="*/ 128 h 328"/>
                <a:gd name="T44" fmla="*/ 236 w 272"/>
                <a:gd name="T45" fmla="*/ 85 h 328"/>
                <a:gd name="T46" fmla="*/ 200 w 272"/>
                <a:gd name="T47" fmla="*/ 62 h 328"/>
                <a:gd name="T48" fmla="*/ 172 w 272"/>
                <a:gd name="T49" fmla="*/ 41 h 328"/>
                <a:gd name="T50" fmla="*/ 13 w 272"/>
                <a:gd name="T51" fmla="*/ 192 h 328"/>
                <a:gd name="T52" fmla="*/ 31 w 272"/>
                <a:gd name="T53" fmla="*/ 159 h 328"/>
                <a:gd name="T54" fmla="*/ 31 w 272"/>
                <a:gd name="T55" fmla="*/ 136 h 328"/>
                <a:gd name="T56" fmla="*/ 44 w 272"/>
                <a:gd name="T57" fmla="*/ 87 h 328"/>
                <a:gd name="T58" fmla="*/ 90 w 272"/>
                <a:gd name="T59" fmla="*/ 28 h 328"/>
                <a:gd name="T60" fmla="*/ 157 w 272"/>
                <a:gd name="T61" fmla="*/ 13 h 328"/>
                <a:gd name="T62" fmla="*/ 226 w 272"/>
                <a:gd name="T63" fmla="*/ 36 h 328"/>
                <a:gd name="T64" fmla="*/ 259 w 272"/>
                <a:gd name="T65" fmla="*/ 87 h 328"/>
                <a:gd name="T66" fmla="*/ 251 w 272"/>
                <a:gd name="T67" fmla="*/ 151 h 328"/>
                <a:gd name="T68" fmla="*/ 200 w 272"/>
                <a:gd name="T69" fmla="*/ 259 h 328"/>
                <a:gd name="T70" fmla="*/ 205 w 272"/>
                <a:gd name="T71" fmla="*/ 305 h 328"/>
                <a:gd name="T72" fmla="*/ 100 w 272"/>
                <a:gd name="T73" fmla="*/ 285 h 328"/>
                <a:gd name="T74" fmla="*/ 85 w 272"/>
                <a:gd name="T75" fmla="*/ 264 h 328"/>
                <a:gd name="T76" fmla="*/ 52 w 272"/>
                <a:gd name="T77" fmla="*/ 264 h 328"/>
                <a:gd name="T78" fmla="*/ 49 w 272"/>
                <a:gd name="T79" fmla="*/ 238 h 328"/>
                <a:gd name="T80" fmla="*/ 47 w 272"/>
                <a:gd name="T81" fmla="*/ 221 h 328"/>
                <a:gd name="T82" fmla="*/ 41 w 272"/>
                <a:gd name="T83" fmla="*/ 200 h 328"/>
                <a:gd name="T84" fmla="*/ 21 w 272"/>
                <a:gd name="T85" fmla="*/ 195 h 328"/>
                <a:gd name="T86" fmla="*/ 88 w 272"/>
                <a:gd name="T87" fmla="*/ 18 h 328"/>
                <a:gd name="T88" fmla="*/ 41 w 272"/>
                <a:gd name="T89" fmla="*/ 64 h 328"/>
                <a:gd name="T90" fmla="*/ 16 w 272"/>
                <a:gd name="T91" fmla="*/ 128 h 328"/>
                <a:gd name="T92" fmla="*/ 26 w 272"/>
                <a:gd name="T93" fmla="*/ 149 h 328"/>
                <a:gd name="T94" fmla="*/ 0 w 272"/>
                <a:gd name="T95" fmla="*/ 187 h 328"/>
                <a:gd name="T96" fmla="*/ 21 w 272"/>
                <a:gd name="T97" fmla="*/ 205 h 328"/>
                <a:gd name="T98" fmla="*/ 29 w 272"/>
                <a:gd name="T99" fmla="*/ 226 h 328"/>
                <a:gd name="T100" fmla="*/ 39 w 272"/>
                <a:gd name="T101" fmla="*/ 244 h 328"/>
                <a:gd name="T102" fmla="*/ 47 w 272"/>
                <a:gd name="T103" fmla="*/ 272 h 328"/>
                <a:gd name="T104" fmla="*/ 80 w 272"/>
                <a:gd name="T105" fmla="*/ 274 h 328"/>
                <a:gd name="T106" fmla="*/ 90 w 272"/>
                <a:gd name="T107" fmla="*/ 297 h 328"/>
                <a:gd name="T108" fmla="*/ 80 w 272"/>
                <a:gd name="T109" fmla="*/ 325 h 328"/>
                <a:gd name="T110" fmla="*/ 233 w 272"/>
                <a:gd name="T111" fmla="*/ 320 h 328"/>
                <a:gd name="T112" fmla="*/ 213 w 272"/>
                <a:gd name="T113" fmla="*/ 297 h 328"/>
                <a:gd name="T114" fmla="*/ 226 w 272"/>
                <a:gd name="T115" fmla="*/ 231 h 328"/>
                <a:gd name="T116" fmla="*/ 272 w 272"/>
                <a:gd name="T117" fmla="*/ 123 h 328"/>
                <a:gd name="T118" fmla="*/ 259 w 272"/>
                <a:gd name="T119" fmla="*/ 57 h 328"/>
                <a:gd name="T120" fmla="*/ 200 w 272"/>
                <a:gd name="T121" fmla="*/ 1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" h="328">
                  <a:moveTo>
                    <a:pt x="121" y="98"/>
                  </a:moveTo>
                  <a:lnTo>
                    <a:pt x="118" y="100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5"/>
                  </a:lnTo>
                  <a:lnTo>
                    <a:pt x="118" y="105"/>
                  </a:lnTo>
                  <a:lnTo>
                    <a:pt x="121" y="105"/>
                  </a:lnTo>
                  <a:lnTo>
                    <a:pt x="121" y="105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3" y="108"/>
                  </a:lnTo>
                  <a:lnTo>
                    <a:pt x="123" y="108"/>
                  </a:lnTo>
                  <a:lnTo>
                    <a:pt x="159" y="108"/>
                  </a:lnTo>
                  <a:lnTo>
                    <a:pt x="136" y="131"/>
                  </a:lnTo>
                  <a:lnTo>
                    <a:pt x="144" y="139"/>
                  </a:lnTo>
                  <a:lnTo>
                    <a:pt x="177" y="105"/>
                  </a:lnTo>
                  <a:lnTo>
                    <a:pt x="177" y="105"/>
                  </a:lnTo>
                  <a:lnTo>
                    <a:pt x="177" y="105"/>
                  </a:lnTo>
                  <a:lnTo>
                    <a:pt x="180" y="105"/>
                  </a:lnTo>
                  <a:lnTo>
                    <a:pt x="180" y="103"/>
                  </a:lnTo>
                  <a:lnTo>
                    <a:pt x="180" y="103"/>
                  </a:lnTo>
                  <a:lnTo>
                    <a:pt x="180" y="103"/>
                  </a:lnTo>
                  <a:lnTo>
                    <a:pt x="180" y="100"/>
                  </a:lnTo>
                  <a:lnTo>
                    <a:pt x="180" y="100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5" y="98"/>
                  </a:lnTo>
                  <a:lnTo>
                    <a:pt x="175" y="98"/>
                  </a:lnTo>
                  <a:lnTo>
                    <a:pt x="175" y="98"/>
                  </a:lnTo>
                  <a:lnTo>
                    <a:pt x="136" y="98"/>
                  </a:lnTo>
                  <a:lnTo>
                    <a:pt x="157" y="72"/>
                  </a:lnTo>
                  <a:lnTo>
                    <a:pt x="149" y="64"/>
                  </a:lnTo>
                  <a:lnTo>
                    <a:pt x="121" y="98"/>
                  </a:lnTo>
                  <a:close/>
                  <a:moveTo>
                    <a:pt x="105" y="75"/>
                  </a:moveTo>
                  <a:lnTo>
                    <a:pt x="108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1" y="75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3" y="69"/>
                  </a:lnTo>
                  <a:lnTo>
                    <a:pt x="113" y="69"/>
                  </a:lnTo>
                  <a:lnTo>
                    <a:pt x="113" y="67"/>
                  </a:lnTo>
                  <a:lnTo>
                    <a:pt x="116" y="67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3" y="59"/>
                  </a:lnTo>
                  <a:lnTo>
                    <a:pt x="123" y="57"/>
                  </a:lnTo>
                  <a:lnTo>
                    <a:pt x="126" y="57"/>
                  </a:lnTo>
                  <a:lnTo>
                    <a:pt x="126" y="57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31" y="54"/>
                  </a:lnTo>
                  <a:lnTo>
                    <a:pt x="131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41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9" y="49"/>
                  </a:lnTo>
                  <a:lnTo>
                    <a:pt x="149" y="49"/>
                  </a:lnTo>
                  <a:lnTo>
                    <a:pt x="152" y="49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9" y="49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2" y="54"/>
                  </a:lnTo>
                  <a:lnTo>
                    <a:pt x="172" y="54"/>
                  </a:lnTo>
                  <a:lnTo>
                    <a:pt x="175" y="54"/>
                  </a:lnTo>
                  <a:lnTo>
                    <a:pt x="175" y="57"/>
                  </a:lnTo>
                  <a:lnTo>
                    <a:pt x="177" y="57"/>
                  </a:lnTo>
                  <a:lnTo>
                    <a:pt x="177" y="57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5" y="67"/>
                  </a:lnTo>
                  <a:lnTo>
                    <a:pt x="187" y="67"/>
                  </a:lnTo>
                  <a:lnTo>
                    <a:pt x="187" y="67"/>
                  </a:lnTo>
                  <a:lnTo>
                    <a:pt x="187" y="69"/>
                  </a:lnTo>
                  <a:lnTo>
                    <a:pt x="190" y="69"/>
                  </a:lnTo>
                  <a:lnTo>
                    <a:pt x="190" y="72"/>
                  </a:lnTo>
                  <a:lnTo>
                    <a:pt x="190" y="72"/>
                  </a:lnTo>
                  <a:lnTo>
                    <a:pt x="190" y="72"/>
                  </a:lnTo>
                  <a:lnTo>
                    <a:pt x="190" y="72"/>
                  </a:lnTo>
                  <a:lnTo>
                    <a:pt x="193" y="72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8" y="75"/>
                  </a:lnTo>
                  <a:lnTo>
                    <a:pt x="200" y="75"/>
                  </a:lnTo>
                  <a:lnTo>
                    <a:pt x="203" y="75"/>
                  </a:lnTo>
                  <a:lnTo>
                    <a:pt x="205" y="75"/>
                  </a:lnTo>
                  <a:lnTo>
                    <a:pt x="205" y="75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0" y="77"/>
                  </a:lnTo>
                  <a:lnTo>
                    <a:pt x="213" y="77"/>
                  </a:lnTo>
                  <a:lnTo>
                    <a:pt x="213" y="80"/>
                  </a:lnTo>
                  <a:lnTo>
                    <a:pt x="216" y="80"/>
                  </a:lnTo>
                  <a:lnTo>
                    <a:pt x="216" y="80"/>
                  </a:lnTo>
                  <a:lnTo>
                    <a:pt x="218" y="82"/>
                  </a:lnTo>
                  <a:lnTo>
                    <a:pt x="218" y="82"/>
                  </a:lnTo>
                  <a:lnTo>
                    <a:pt x="221" y="82"/>
                  </a:lnTo>
                  <a:lnTo>
                    <a:pt x="221" y="85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23" y="90"/>
                  </a:lnTo>
                  <a:lnTo>
                    <a:pt x="226" y="90"/>
                  </a:lnTo>
                  <a:lnTo>
                    <a:pt x="226" y="92"/>
                  </a:lnTo>
                  <a:lnTo>
                    <a:pt x="226" y="95"/>
                  </a:lnTo>
                  <a:lnTo>
                    <a:pt x="228" y="98"/>
                  </a:lnTo>
                  <a:lnTo>
                    <a:pt x="228" y="100"/>
                  </a:lnTo>
                  <a:lnTo>
                    <a:pt x="228" y="100"/>
                  </a:lnTo>
                  <a:lnTo>
                    <a:pt x="228" y="103"/>
                  </a:lnTo>
                  <a:lnTo>
                    <a:pt x="228" y="108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8" y="113"/>
                  </a:lnTo>
                  <a:lnTo>
                    <a:pt x="228" y="116"/>
                  </a:lnTo>
                  <a:lnTo>
                    <a:pt x="226" y="118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6" y="123"/>
                  </a:lnTo>
                  <a:lnTo>
                    <a:pt x="226" y="123"/>
                  </a:lnTo>
                  <a:lnTo>
                    <a:pt x="223" y="123"/>
                  </a:lnTo>
                  <a:lnTo>
                    <a:pt x="223" y="126"/>
                  </a:lnTo>
                  <a:lnTo>
                    <a:pt x="223" y="126"/>
                  </a:lnTo>
                  <a:lnTo>
                    <a:pt x="223" y="128"/>
                  </a:lnTo>
                  <a:lnTo>
                    <a:pt x="221" y="128"/>
                  </a:lnTo>
                  <a:lnTo>
                    <a:pt x="221" y="128"/>
                  </a:lnTo>
                  <a:lnTo>
                    <a:pt x="221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3" y="133"/>
                  </a:lnTo>
                  <a:lnTo>
                    <a:pt x="213" y="133"/>
                  </a:lnTo>
                  <a:lnTo>
                    <a:pt x="213" y="133"/>
                  </a:lnTo>
                  <a:lnTo>
                    <a:pt x="210" y="133"/>
                  </a:lnTo>
                  <a:lnTo>
                    <a:pt x="210" y="133"/>
                  </a:lnTo>
                  <a:lnTo>
                    <a:pt x="208" y="133"/>
                  </a:lnTo>
                  <a:lnTo>
                    <a:pt x="205" y="133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3" y="133"/>
                  </a:lnTo>
                  <a:lnTo>
                    <a:pt x="200" y="133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6"/>
                  </a:lnTo>
                  <a:lnTo>
                    <a:pt x="185" y="139"/>
                  </a:lnTo>
                  <a:lnTo>
                    <a:pt x="182" y="139"/>
                  </a:lnTo>
                  <a:lnTo>
                    <a:pt x="180" y="141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2" y="149"/>
                  </a:lnTo>
                  <a:lnTo>
                    <a:pt x="169" y="149"/>
                  </a:lnTo>
                  <a:lnTo>
                    <a:pt x="167" y="151"/>
                  </a:lnTo>
                  <a:lnTo>
                    <a:pt x="164" y="151"/>
                  </a:lnTo>
                  <a:lnTo>
                    <a:pt x="162" y="151"/>
                  </a:lnTo>
                  <a:lnTo>
                    <a:pt x="159" y="154"/>
                  </a:lnTo>
                  <a:lnTo>
                    <a:pt x="157" y="154"/>
                  </a:lnTo>
                  <a:lnTo>
                    <a:pt x="154" y="154"/>
                  </a:lnTo>
                  <a:lnTo>
                    <a:pt x="149" y="154"/>
                  </a:lnTo>
                  <a:lnTo>
                    <a:pt x="149" y="154"/>
                  </a:lnTo>
                  <a:lnTo>
                    <a:pt x="146" y="154"/>
                  </a:lnTo>
                  <a:lnTo>
                    <a:pt x="144" y="154"/>
                  </a:lnTo>
                  <a:lnTo>
                    <a:pt x="141" y="154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6" y="151"/>
                  </a:lnTo>
                  <a:lnTo>
                    <a:pt x="134" y="151"/>
                  </a:lnTo>
                  <a:lnTo>
                    <a:pt x="131" y="149"/>
                  </a:lnTo>
                  <a:lnTo>
                    <a:pt x="131" y="149"/>
                  </a:lnTo>
                  <a:lnTo>
                    <a:pt x="128" y="149"/>
                  </a:lnTo>
                  <a:lnTo>
                    <a:pt x="126" y="146"/>
                  </a:lnTo>
                  <a:lnTo>
                    <a:pt x="123" y="146"/>
                  </a:lnTo>
                  <a:lnTo>
                    <a:pt x="123" y="144"/>
                  </a:lnTo>
                  <a:lnTo>
                    <a:pt x="121" y="144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3" y="139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5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5" y="144"/>
                  </a:lnTo>
                  <a:lnTo>
                    <a:pt x="95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0" y="141"/>
                  </a:lnTo>
                  <a:lnTo>
                    <a:pt x="90" y="141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5" y="139"/>
                  </a:lnTo>
                  <a:lnTo>
                    <a:pt x="85" y="136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28"/>
                  </a:lnTo>
                  <a:lnTo>
                    <a:pt x="75" y="128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1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0" y="116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0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5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2" y="100"/>
                  </a:lnTo>
                  <a:lnTo>
                    <a:pt x="72" y="98"/>
                  </a:lnTo>
                  <a:lnTo>
                    <a:pt x="72" y="98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75" y="92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77" y="85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5" y="75"/>
                  </a:lnTo>
                  <a:lnTo>
                    <a:pt x="95" y="75"/>
                  </a:lnTo>
                  <a:lnTo>
                    <a:pt x="98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3" y="75"/>
                  </a:lnTo>
                  <a:lnTo>
                    <a:pt x="105" y="75"/>
                  </a:lnTo>
                  <a:lnTo>
                    <a:pt x="105" y="75"/>
                  </a:lnTo>
                  <a:lnTo>
                    <a:pt x="105" y="75"/>
                  </a:lnTo>
                  <a:close/>
                  <a:moveTo>
                    <a:pt x="149" y="36"/>
                  </a:moveTo>
                  <a:lnTo>
                    <a:pt x="146" y="36"/>
                  </a:lnTo>
                  <a:lnTo>
                    <a:pt x="144" y="36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39" y="39"/>
                  </a:lnTo>
                  <a:lnTo>
                    <a:pt x="139" y="39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4" y="39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8" y="41"/>
                  </a:lnTo>
                  <a:lnTo>
                    <a:pt x="126" y="41"/>
                  </a:lnTo>
                  <a:lnTo>
                    <a:pt x="126" y="44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1" y="4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16" y="49"/>
                  </a:lnTo>
                  <a:lnTo>
                    <a:pt x="116" y="49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8" y="54"/>
                  </a:lnTo>
                  <a:lnTo>
                    <a:pt x="108" y="57"/>
                  </a:lnTo>
                  <a:lnTo>
                    <a:pt x="105" y="59"/>
                  </a:lnTo>
                  <a:lnTo>
                    <a:pt x="105" y="59"/>
                  </a:lnTo>
                  <a:lnTo>
                    <a:pt x="105" y="62"/>
                  </a:lnTo>
                  <a:lnTo>
                    <a:pt x="103" y="62"/>
                  </a:lnTo>
                  <a:lnTo>
                    <a:pt x="103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5" y="64"/>
                  </a:lnTo>
                  <a:lnTo>
                    <a:pt x="93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8" y="67"/>
                  </a:lnTo>
                  <a:lnTo>
                    <a:pt x="85" y="67"/>
                  </a:lnTo>
                  <a:lnTo>
                    <a:pt x="82" y="67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77" y="72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2" y="75"/>
                  </a:lnTo>
                  <a:lnTo>
                    <a:pt x="72" y="77"/>
                  </a:lnTo>
                  <a:lnTo>
                    <a:pt x="70" y="77"/>
                  </a:lnTo>
                  <a:lnTo>
                    <a:pt x="70" y="80"/>
                  </a:lnTo>
                  <a:lnTo>
                    <a:pt x="67" y="82"/>
                  </a:lnTo>
                  <a:lnTo>
                    <a:pt x="67" y="82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2"/>
                  </a:lnTo>
                  <a:lnTo>
                    <a:pt x="62" y="95"/>
                  </a:lnTo>
                  <a:lnTo>
                    <a:pt x="59" y="98"/>
                  </a:lnTo>
                  <a:lnTo>
                    <a:pt x="59" y="100"/>
                  </a:lnTo>
                  <a:lnTo>
                    <a:pt x="59" y="103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8"/>
                  </a:lnTo>
                  <a:lnTo>
                    <a:pt x="59" y="110"/>
                  </a:lnTo>
                  <a:lnTo>
                    <a:pt x="59" y="113"/>
                  </a:lnTo>
                  <a:lnTo>
                    <a:pt x="59" y="116"/>
                  </a:lnTo>
                  <a:lnTo>
                    <a:pt x="59" y="118"/>
                  </a:lnTo>
                  <a:lnTo>
                    <a:pt x="59" y="121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6"/>
                  </a:lnTo>
                  <a:lnTo>
                    <a:pt x="62" y="128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72" y="141"/>
                  </a:lnTo>
                  <a:lnTo>
                    <a:pt x="72" y="144"/>
                  </a:lnTo>
                  <a:lnTo>
                    <a:pt x="75" y="144"/>
                  </a:lnTo>
                  <a:lnTo>
                    <a:pt x="75" y="146"/>
                  </a:lnTo>
                  <a:lnTo>
                    <a:pt x="77" y="146"/>
                  </a:lnTo>
                  <a:lnTo>
                    <a:pt x="80" y="149"/>
                  </a:lnTo>
                  <a:lnTo>
                    <a:pt x="80" y="149"/>
                  </a:lnTo>
                  <a:lnTo>
                    <a:pt x="82" y="149"/>
                  </a:lnTo>
                  <a:lnTo>
                    <a:pt x="85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90" y="154"/>
                  </a:lnTo>
                  <a:lnTo>
                    <a:pt x="93" y="154"/>
                  </a:lnTo>
                  <a:lnTo>
                    <a:pt x="95" y="154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100" y="154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5" y="154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11" y="154"/>
                  </a:lnTo>
                  <a:lnTo>
                    <a:pt x="113" y="154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6" y="154"/>
                  </a:lnTo>
                  <a:lnTo>
                    <a:pt x="118" y="154"/>
                  </a:lnTo>
                  <a:lnTo>
                    <a:pt x="118" y="156"/>
                  </a:lnTo>
                  <a:lnTo>
                    <a:pt x="121" y="156"/>
                  </a:lnTo>
                  <a:lnTo>
                    <a:pt x="123" y="159"/>
                  </a:lnTo>
                  <a:lnTo>
                    <a:pt x="126" y="159"/>
                  </a:lnTo>
                  <a:lnTo>
                    <a:pt x="128" y="159"/>
                  </a:lnTo>
                  <a:lnTo>
                    <a:pt x="128" y="162"/>
                  </a:lnTo>
                  <a:lnTo>
                    <a:pt x="131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9" y="164"/>
                  </a:lnTo>
                  <a:lnTo>
                    <a:pt x="141" y="164"/>
                  </a:lnTo>
                  <a:lnTo>
                    <a:pt x="144" y="164"/>
                  </a:lnTo>
                  <a:lnTo>
                    <a:pt x="146" y="164"/>
                  </a:lnTo>
                  <a:lnTo>
                    <a:pt x="149" y="164"/>
                  </a:lnTo>
                  <a:lnTo>
                    <a:pt x="149" y="164"/>
                  </a:lnTo>
                  <a:lnTo>
                    <a:pt x="154" y="164"/>
                  </a:lnTo>
                  <a:lnTo>
                    <a:pt x="157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4" y="164"/>
                  </a:lnTo>
                  <a:lnTo>
                    <a:pt x="169" y="162"/>
                  </a:lnTo>
                  <a:lnTo>
                    <a:pt x="172" y="162"/>
                  </a:lnTo>
                  <a:lnTo>
                    <a:pt x="175" y="159"/>
                  </a:lnTo>
                  <a:lnTo>
                    <a:pt x="177" y="159"/>
                  </a:lnTo>
                  <a:lnTo>
                    <a:pt x="180" y="156"/>
                  </a:lnTo>
                  <a:lnTo>
                    <a:pt x="182" y="154"/>
                  </a:lnTo>
                  <a:lnTo>
                    <a:pt x="185" y="154"/>
                  </a:lnTo>
                  <a:lnTo>
                    <a:pt x="187" y="151"/>
                  </a:lnTo>
                  <a:lnTo>
                    <a:pt x="190" y="149"/>
                  </a:lnTo>
                  <a:lnTo>
                    <a:pt x="193" y="146"/>
                  </a:lnTo>
                  <a:lnTo>
                    <a:pt x="193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200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10" y="146"/>
                  </a:lnTo>
                  <a:lnTo>
                    <a:pt x="213" y="146"/>
                  </a:lnTo>
                  <a:lnTo>
                    <a:pt x="213" y="146"/>
                  </a:lnTo>
                  <a:lnTo>
                    <a:pt x="216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3" y="141"/>
                  </a:lnTo>
                  <a:lnTo>
                    <a:pt x="226" y="141"/>
                  </a:lnTo>
                  <a:lnTo>
                    <a:pt x="226" y="139"/>
                  </a:lnTo>
                  <a:lnTo>
                    <a:pt x="228" y="139"/>
                  </a:lnTo>
                  <a:lnTo>
                    <a:pt x="228" y="139"/>
                  </a:lnTo>
                  <a:lnTo>
                    <a:pt x="231" y="136"/>
                  </a:lnTo>
                  <a:lnTo>
                    <a:pt x="231" y="136"/>
                  </a:lnTo>
                  <a:lnTo>
                    <a:pt x="231" y="133"/>
                  </a:lnTo>
                  <a:lnTo>
                    <a:pt x="233" y="131"/>
                  </a:lnTo>
                  <a:lnTo>
                    <a:pt x="233" y="131"/>
                  </a:lnTo>
                  <a:lnTo>
                    <a:pt x="233" y="128"/>
                  </a:lnTo>
                  <a:lnTo>
                    <a:pt x="236" y="128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36" y="123"/>
                  </a:lnTo>
                  <a:lnTo>
                    <a:pt x="239" y="121"/>
                  </a:lnTo>
                  <a:lnTo>
                    <a:pt x="239" y="121"/>
                  </a:lnTo>
                  <a:lnTo>
                    <a:pt x="239" y="118"/>
                  </a:lnTo>
                  <a:lnTo>
                    <a:pt x="239" y="116"/>
                  </a:lnTo>
                  <a:lnTo>
                    <a:pt x="239" y="113"/>
                  </a:lnTo>
                  <a:lnTo>
                    <a:pt x="239" y="113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8"/>
                  </a:lnTo>
                  <a:lnTo>
                    <a:pt x="239" y="103"/>
                  </a:lnTo>
                  <a:lnTo>
                    <a:pt x="239" y="100"/>
                  </a:lnTo>
                  <a:lnTo>
                    <a:pt x="239" y="98"/>
                  </a:lnTo>
                  <a:lnTo>
                    <a:pt x="239" y="95"/>
                  </a:lnTo>
                  <a:lnTo>
                    <a:pt x="239" y="95"/>
                  </a:lnTo>
                  <a:lnTo>
                    <a:pt x="239" y="92"/>
                  </a:lnTo>
                  <a:lnTo>
                    <a:pt x="236" y="90"/>
                  </a:lnTo>
                  <a:lnTo>
                    <a:pt x="236" y="87"/>
                  </a:lnTo>
                  <a:lnTo>
                    <a:pt x="236" y="85"/>
                  </a:lnTo>
                  <a:lnTo>
                    <a:pt x="233" y="85"/>
                  </a:lnTo>
                  <a:lnTo>
                    <a:pt x="233" y="82"/>
                  </a:lnTo>
                  <a:lnTo>
                    <a:pt x="231" y="80"/>
                  </a:lnTo>
                  <a:lnTo>
                    <a:pt x="231" y="77"/>
                  </a:lnTo>
                  <a:lnTo>
                    <a:pt x="228" y="77"/>
                  </a:lnTo>
                  <a:lnTo>
                    <a:pt x="228" y="75"/>
                  </a:lnTo>
                  <a:lnTo>
                    <a:pt x="226" y="75"/>
                  </a:lnTo>
                  <a:lnTo>
                    <a:pt x="226" y="72"/>
                  </a:lnTo>
                  <a:lnTo>
                    <a:pt x="223" y="72"/>
                  </a:lnTo>
                  <a:lnTo>
                    <a:pt x="221" y="69"/>
                  </a:lnTo>
                  <a:lnTo>
                    <a:pt x="221" y="69"/>
                  </a:lnTo>
                  <a:lnTo>
                    <a:pt x="218" y="69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3" y="67"/>
                  </a:lnTo>
                  <a:lnTo>
                    <a:pt x="210" y="64"/>
                  </a:lnTo>
                  <a:lnTo>
                    <a:pt x="210" y="64"/>
                  </a:lnTo>
                  <a:lnTo>
                    <a:pt x="208" y="64"/>
                  </a:lnTo>
                  <a:lnTo>
                    <a:pt x="205" y="64"/>
                  </a:lnTo>
                  <a:lnTo>
                    <a:pt x="203" y="64"/>
                  </a:lnTo>
                  <a:lnTo>
                    <a:pt x="203" y="62"/>
                  </a:lnTo>
                  <a:lnTo>
                    <a:pt x="200" y="62"/>
                  </a:lnTo>
                  <a:lnTo>
                    <a:pt x="198" y="62"/>
                  </a:lnTo>
                  <a:lnTo>
                    <a:pt x="198" y="62"/>
                  </a:lnTo>
                  <a:lnTo>
                    <a:pt x="198" y="62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93" y="57"/>
                  </a:lnTo>
                  <a:lnTo>
                    <a:pt x="193" y="57"/>
                  </a:lnTo>
                  <a:lnTo>
                    <a:pt x="193" y="54"/>
                  </a:lnTo>
                  <a:lnTo>
                    <a:pt x="190" y="54"/>
                  </a:lnTo>
                  <a:lnTo>
                    <a:pt x="190" y="52"/>
                  </a:lnTo>
                  <a:lnTo>
                    <a:pt x="187" y="52"/>
                  </a:lnTo>
                  <a:lnTo>
                    <a:pt x="187" y="49"/>
                  </a:lnTo>
                  <a:lnTo>
                    <a:pt x="185" y="49"/>
                  </a:lnTo>
                  <a:lnTo>
                    <a:pt x="185" y="49"/>
                  </a:lnTo>
                  <a:lnTo>
                    <a:pt x="182" y="46"/>
                  </a:lnTo>
                  <a:lnTo>
                    <a:pt x="182" y="46"/>
                  </a:lnTo>
                  <a:lnTo>
                    <a:pt x="180" y="44"/>
                  </a:lnTo>
                  <a:lnTo>
                    <a:pt x="177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1"/>
                  </a:lnTo>
                  <a:lnTo>
                    <a:pt x="172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7" y="39"/>
                  </a:lnTo>
                  <a:lnTo>
                    <a:pt x="167" y="39"/>
                  </a:lnTo>
                  <a:lnTo>
                    <a:pt x="164" y="39"/>
                  </a:lnTo>
                  <a:lnTo>
                    <a:pt x="162" y="39"/>
                  </a:lnTo>
                  <a:lnTo>
                    <a:pt x="162" y="39"/>
                  </a:lnTo>
                  <a:lnTo>
                    <a:pt x="159" y="39"/>
                  </a:lnTo>
                  <a:lnTo>
                    <a:pt x="157" y="39"/>
                  </a:lnTo>
                  <a:lnTo>
                    <a:pt x="157" y="36"/>
                  </a:lnTo>
                  <a:lnTo>
                    <a:pt x="154" y="36"/>
                  </a:lnTo>
                  <a:lnTo>
                    <a:pt x="152" y="36"/>
                  </a:lnTo>
                  <a:lnTo>
                    <a:pt x="149" y="36"/>
                  </a:lnTo>
                  <a:lnTo>
                    <a:pt x="149" y="36"/>
                  </a:lnTo>
                  <a:close/>
                  <a:moveTo>
                    <a:pt x="18" y="195"/>
                  </a:moveTo>
                  <a:lnTo>
                    <a:pt x="18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2"/>
                  </a:lnTo>
                  <a:lnTo>
                    <a:pt x="16" y="182"/>
                  </a:lnTo>
                  <a:lnTo>
                    <a:pt x="16" y="180"/>
                  </a:lnTo>
                  <a:lnTo>
                    <a:pt x="16" y="177"/>
                  </a:lnTo>
                  <a:lnTo>
                    <a:pt x="18" y="174"/>
                  </a:lnTo>
                  <a:lnTo>
                    <a:pt x="24" y="169"/>
                  </a:lnTo>
                  <a:lnTo>
                    <a:pt x="26" y="164"/>
                  </a:lnTo>
                  <a:lnTo>
                    <a:pt x="29" y="162"/>
                  </a:lnTo>
                  <a:lnTo>
                    <a:pt x="31" y="159"/>
                  </a:lnTo>
                  <a:lnTo>
                    <a:pt x="34" y="156"/>
                  </a:lnTo>
                  <a:lnTo>
                    <a:pt x="34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6" y="154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1"/>
                  </a:lnTo>
                  <a:lnTo>
                    <a:pt x="36" y="139"/>
                  </a:lnTo>
                  <a:lnTo>
                    <a:pt x="34" y="139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1" y="136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6" y="131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6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1" y="121"/>
                  </a:lnTo>
                  <a:lnTo>
                    <a:pt x="31" y="118"/>
                  </a:lnTo>
                  <a:lnTo>
                    <a:pt x="34" y="116"/>
                  </a:lnTo>
                  <a:lnTo>
                    <a:pt x="34" y="113"/>
                  </a:lnTo>
                  <a:lnTo>
                    <a:pt x="36" y="108"/>
                  </a:lnTo>
                  <a:lnTo>
                    <a:pt x="36" y="105"/>
                  </a:lnTo>
                  <a:lnTo>
                    <a:pt x="39" y="100"/>
                  </a:lnTo>
                  <a:lnTo>
                    <a:pt x="39" y="98"/>
                  </a:lnTo>
                  <a:lnTo>
                    <a:pt x="41" y="92"/>
                  </a:lnTo>
                  <a:lnTo>
                    <a:pt x="41" y="90"/>
                  </a:lnTo>
                  <a:lnTo>
                    <a:pt x="44" y="87"/>
                  </a:lnTo>
                  <a:lnTo>
                    <a:pt x="44" y="82"/>
                  </a:lnTo>
                  <a:lnTo>
                    <a:pt x="47" y="80"/>
                  </a:lnTo>
                  <a:lnTo>
                    <a:pt x="49" y="75"/>
                  </a:lnTo>
                  <a:lnTo>
                    <a:pt x="49" y="72"/>
                  </a:lnTo>
                  <a:lnTo>
                    <a:pt x="52" y="67"/>
                  </a:lnTo>
                  <a:lnTo>
                    <a:pt x="54" y="64"/>
                  </a:lnTo>
                  <a:lnTo>
                    <a:pt x="57" y="62"/>
                  </a:lnTo>
                  <a:lnTo>
                    <a:pt x="59" y="59"/>
                  </a:lnTo>
                  <a:lnTo>
                    <a:pt x="62" y="54"/>
                  </a:lnTo>
                  <a:lnTo>
                    <a:pt x="64" y="52"/>
                  </a:lnTo>
                  <a:lnTo>
                    <a:pt x="67" y="49"/>
                  </a:lnTo>
                  <a:lnTo>
                    <a:pt x="70" y="46"/>
                  </a:lnTo>
                  <a:lnTo>
                    <a:pt x="72" y="44"/>
                  </a:lnTo>
                  <a:lnTo>
                    <a:pt x="75" y="39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2" y="34"/>
                  </a:lnTo>
                  <a:lnTo>
                    <a:pt x="85" y="34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3" y="28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3" y="23"/>
                  </a:lnTo>
                  <a:lnTo>
                    <a:pt x="105" y="21"/>
                  </a:lnTo>
                  <a:lnTo>
                    <a:pt x="108" y="21"/>
                  </a:lnTo>
                  <a:lnTo>
                    <a:pt x="111" y="21"/>
                  </a:lnTo>
                  <a:lnTo>
                    <a:pt x="113" y="18"/>
                  </a:lnTo>
                  <a:lnTo>
                    <a:pt x="116" y="18"/>
                  </a:lnTo>
                  <a:lnTo>
                    <a:pt x="118" y="18"/>
                  </a:lnTo>
                  <a:lnTo>
                    <a:pt x="121" y="16"/>
                  </a:lnTo>
                  <a:lnTo>
                    <a:pt x="123" y="16"/>
                  </a:lnTo>
                  <a:lnTo>
                    <a:pt x="128" y="16"/>
                  </a:lnTo>
                  <a:lnTo>
                    <a:pt x="131" y="16"/>
                  </a:lnTo>
                  <a:lnTo>
                    <a:pt x="136" y="13"/>
                  </a:lnTo>
                  <a:lnTo>
                    <a:pt x="139" y="13"/>
                  </a:lnTo>
                  <a:lnTo>
                    <a:pt x="144" y="13"/>
                  </a:lnTo>
                  <a:lnTo>
                    <a:pt x="149" y="13"/>
                  </a:lnTo>
                  <a:lnTo>
                    <a:pt x="152" y="13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2" y="13"/>
                  </a:lnTo>
                  <a:lnTo>
                    <a:pt x="167" y="13"/>
                  </a:lnTo>
                  <a:lnTo>
                    <a:pt x="169" y="13"/>
                  </a:lnTo>
                  <a:lnTo>
                    <a:pt x="172" y="16"/>
                  </a:lnTo>
                  <a:lnTo>
                    <a:pt x="177" y="16"/>
                  </a:lnTo>
                  <a:lnTo>
                    <a:pt x="180" y="16"/>
                  </a:lnTo>
                  <a:lnTo>
                    <a:pt x="182" y="16"/>
                  </a:lnTo>
                  <a:lnTo>
                    <a:pt x="187" y="18"/>
                  </a:lnTo>
                  <a:lnTo>
                    <a:pt x="190" y="18"/>
                  </a:lnTo>
                  <a:lnTo>
                    <a:pt x="193" y="21"/>
                  </a:lnTo>
                  <a:lnTo>
                    <a:pt x="195" y="21"/>
                  </a:lnTo>
                  <a:lnTo>
                    <a:pt x="200" y="21"/>
                  </a:lnTo>
                  <a:lnTo>
                    <a:pt x="203" y="23"/>
                  </a:lnTo>
                  <a:lnTo>
                    <a:pt x="205" y="23"/>
                  </a:lnTo>
                  <a:lnTo>
                    <a:pt x="208" y="26"/>
                  </a:lnTo>
                  <a:lnTo>
                    <a:pt x="210" y="28"/>
                  </a:lnTo>
                  <a:lnTo>
                    <a:pt x="213" y="28"/>
                  </a:lnTo>
                  <a:lnTo>
                    <a:pt x="216" y="31"/>
                  </a:lnTo>
                  <a:lnTo>
                    <a:pt x="221" y="34"/>
                  </a:lnTo>
                  <a:lnTo>
                    <a:pt x="223" y="34"/>
                  </a:lnTo>
                  <a:lnTo>
                    <a:pt x="226" y="36"/>
                  </a:lnTo>
                  <a:lnTo>
                    <a:pt x="228" y="39"/>
                  </a:lnTo>
                  <a:lnTo>
                    <a:pt x="231" y="41"/>
                  </a:lnTo>
                  <a:lnTo>
                    <a:pt x="231" y="41"/>
                  </a:lnTo>
                  <a:lnTo>
                    <a:pt x="233" y="44"/>
                  </a:lnTo>
                  <a:lnTo>
                    <a:pt x="236" y="46"/>
                  </a:lnTo>
                  <a:lnTo>
                    <a:pt x="239" y="49"/>
                  </a:lnTo>
                  <a:lnTo>
                    <a:pt x="241" y="52"/>
                  </a:lnTo>
                  <a:lnTo>
                    <a:pt x="244" y="54"/>
                  </a:lnTo>
                  <a:lnTo>
                    <a:pt x="244" y="57"/>
                  </a:lnTo>
                  <a:lnTo>
                    <a:pt x="246" y="59"/>
                  </a:lnTo>
                  <a:lnTo>
                    <a:pt x="246" y="62"/>
                  </a:lnTo>
                  <a:lnTo>
                    <a:pt x="249" y="64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69"/>
                  </a:lnTo>
                  <a:lnTo>
                    <a:pt x="254" y="72"/>
                  </a:lnTo>
                  <a:lnTo>
                    <a:pt x="254" y="75"/>
                  </a:lnTo>
                  <a:lnTo>
                    <a:pt x="257" y="77"/>
                  </a:lnTo>
                  <a:lnTo>
                    <a:pt x="257" y="80"/>
                  </a:lnTo>
                  <a:lnTo>
                    <a:pt x="257" y="82"/>
                  </a:lnTo>
                  <a:lnTo>
                    <a:pt x="259" y="85"/>
                  </a:lnTo>
                  <a:lnTo>
                    <a:pt x="259" y="87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59" y="95"/>
                  </a:lnTo>
                  <a:lnTo>
                    <a:pt x="259" y="98"/>
                  </a:lnTo>
                  <a:lnTo>
                    <a:pt x="262" y="100"/>
                  </a:lnTo>
                  <a:lnTo>
                    <a:pt x="262" y="103"/>
                  </a:lnTo>
                  <a:lnTo>
                    <a:pt x="262" y="105"/>
                  </a:lnTo>
                  <a:lnTo>
                    <a:pt x="262" y="108"/>
                  </a:lnTo>
                  <a:lnTo>
                    <a:pt x="262" y="110"/>
                  </a:lnTo>
                  <a:lnTo>
                    <a:pt x="262" y="113"/>
                  </a:lnTo>
                  <a:lnTo>
                    <a:pt x="262" y="116"/>
                  </a:lnTo>
                  <a:lnTo>
                    <a:pt x="259" y="118"/>
                  </a:lnTo>
                  <a:lnTo>
                    <a:pt x="259" y="123"/>
                  </a:lnTo>
                  <a:lnTo>
                    <a:pt x="259" y="126"/>
                  </a:lnTo>
                  <a:lnTo>
                    <a:pt x="259" y="128"/>
                  </a:lnTo>
                  <a:lnTo>
                    <a:pt x="259" y="131"/>
                  </a:lnTo>
                  <a:lnTo>
                    <a:pt x="257" y="133"/>
                  </a:lnTo>
                  <a:lnTo>
                    <a:pt x="257" y="136"/>
                  </a:lnTo>
                  <a:lnTo>
                    <a:pt x="257" y="139"/>
                  </a:lnTo>
                  <a:lnTo>
                    <a:pt x="254" y="144"/>
                  </a:lnTo>
                  <a:lnTo>
                    <a:pt x="254" y="146"/>
                  </a:lnTo>
                  <a:lnTo>
                    <a:pt x="251" y="151"/>
                  </a:lnTo>
                  <a:lnTo>
                    <a:pt x="251" y="154"/>
                  </a:lnTo>
                  <a:lnTo>
                    <a:pt x="249" y="159"/>
                  </a:lnTo>
                  <a:lnTo>
                    <a:pt x="246" y="162"/>
                  </a:lnTo>
                  <a:lnTo>
                    <a:pt x="246" y="167"/>
                  </a:lnTo>
                  <a:lnTo>
                    <a:pt x="244" y="172"/>
                  </a:lnTo>
                  <a:lnTo>
                    <a:pt x="241" y="174"/>
                  </a:lnTo>
                  <a:lnTo>
                    <a:pt x="239" y="180"/>
                  </a:lnTo>
                  <a:lnTo>
                    <a:pt x="236" y="187"/>
                  </a:lnTo>
                  <a:lnTo>
                    <a:pt x="231" y="195"/>
                  </a:lnTo>
                  <a:lnTo>
                    <a:pt x="228" y="203"/>
                  </a:lnTo>
                  <a:lnTo>
                    <a:pt x="223" y="210"/>
                  </a:lnTo>
                  <a:lnTo>
                    <a:pt x="218" y="218"/>
                  </a:lnTo>
                  <a:lnTo>
                    <a:pt x="216" y="226"/>
                  </a:lnTo>
                  <a:lnTo>
                    <a:pt x="213" y="231"/>
                  </a:lnTo>
                  <a:lnTo>
                    <a:pt x="210" y="233"/>
                  </a:lnTo>
                  <a:lnTo>
                    <a:pt x="210" y="238"/>
                  </a:lnTo>
                  <a:lnTo>
                    <a:pt x="208" y="241"/>
                  </a:lnTo>
                  <a:lnTo>
                    <a:pt x="205" y="244"/>
                  </a:lnTo>
                  <a:lnTo>
                    <a:pt x="205" y="249"/>
                  </a:lnTo>
                  <a:lnTo>
                    <a:pt x="203" y="251"/>
                  </a:lnTo>
                  <a:lnTo>
                    <a:pt x="203" y="256"/>
                  </a:lnTo>
                  <a:lnTo>
                    <a:pt x="200" y="259"/>
                  </a:lnTo>
                  <a:lnTo>
                    <a:pt x="200" y="264"/>
                  </a:lnTo>
                  <a:lnTo>
                    <a:pt x="200" y="264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200" y="272"/>
                  </a:lnTo>
                  <a:lnTo>
                    <a:pt x="198" y="274"/>
                  </a:lnTo>
                  <a:lnTo>
                    <a:pt x="198" y="274"/>
                  </a:lnTo>
                  <a:lnTo>
                    <a:pt x="198" y="277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82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0" y="287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200" y="292"/>
                  </a:lnTo>
                  <a:lnTo>
                    <a:pt x="200" y="295"/>
                  </a:lnTo>
                  <a:lnTo>
                    <a:pt x="203" y="297"/>
                  </a:lnTo>
                  <a:lnTo>
                    <a:pt x="203" y="300"/>
                  </a:lnTo>
                  <a:lnTo>
                    <a:pt x="205" y="302"/>
                  </a:lnTo>
                  <a:lnTo>
                    <a:pt x="205" y="305"/>
                  </a:lnTo>
                  <a:lnTo>
                    <a:pt x="208" y="308"/>
                  </a:lnTo>
                  <a:lnTo>
                    <a:pt x="208" y="310"/>
                  </a:lnTo>
                  <a:lnTo>
                    <a:pt x="210" y="313"/>
                  </a:lnTo>
                  <a:lnTo>
                    <a:pt x="213" y="315"/>
                  </a:lnTo>
                  <a:lnTo>
                    <a:pt x="190" y="315"/>
                  </a:lnTo>
                  <a:lnTo>
                    <a:pt x="98" y="315"/>
                  </a:lnTo>
                  <a:lnTo>
                    <a:pt x="93" y="315"/>
                  </a:lnTo>
                  <a:lnTo>
                    <a:pt x="95" y="313"/>
                  </a:lnTo>
                  <a:lnTo>
                    <a:pt x="95" y="310"/>
                  </a:lnTo>
                  <a:lnTo>
                    <a:pt x="98" y="308"/>
                  </a:lnTo>
                  <a:lnTo>
                    <a:pt x="98" y="305"/>
                  </a:lnTo>
                  <a:lnTo>
                    <a:pt x="98" y="302"/>
                  </a:lnTo>
                  <a:lnTo>
                    <a:pt x="100" y="300"/>
                  </a:lnTo>
                  <a:lnTo>
                    <a:pt x="100" y="297"/>
                  </a:lnTo>
                  <a:lnTo>
                    <a:pt x="100" y="295"/>
                  </a:lnTo>
                  <a:lnTo>
                    <a:pt x="100" y="292"/>
                  </a:lnTo>
                  <a:lnTo>
                    <a:pt x="100" y="292"/>
                  </a:lnTo>
                  <a:lnTo>
                    <a:pt x="100" y="290"/>
                  </a:lnTo>
                  <a:lnTo>
                    <a:pt x="100" y="290"/>
                  </a:lnTo>
                  <a:lnTo>
                    <a:pt x="100" y="287"/>
                  </a:lnTo>
                  <a:lnTo>
                    <a:pt x="100" y="287"/>
                  </a:lnTo>
                  <a:lnTo>
                    <a:pt x="100" y="285"/>
                  </a:lnTo>
                  <a:lnTo>
                    <a:pt x="100" y="282"/>
                  </a:lnTo>
                  <a:lnTo>
                    <a:pt x="100" y="282"/>
                  </a:lnTo>
                  <a:lnTo>
                    <a:pt x="100" y="279"/>
                  </a:lnTo>
                  <a:lnTo>
                    <a:pt x="100" y="279"/>
                  </a:lnTo>
                  <a:lnTo>
                    <a:pt x="100" y="277"/>
                  </a:lnTo>
                  <a:lnTo>
                    <a:pt x="98" y="277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8" y="272"/>
                  </a:lnTo>
                  <a:lnTo>
                    <a:pt x="95" y="272"/>
                  </a:lnTo>
                  <a:lnTo>
                    <a:pt x="95" y="269"/>
                  </a:lnTo>
                  <a:lnTo>
                    <a:pt x="93" y="269"/>
                  </a:lnTo>
                  <a:lnTo>
                    <a:pt x="93" y="267"/>
                  </a:lnTo>
                  <a:lnTo>
                    <a:pt x="93" y="267"/>
                  </a:lnTo>
                  <a:lnTo>
                    <a:pt x="93" y="267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0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2" y="264"/>
                  </a:lnTo>
                  <a:lnTo>
                    <a:pt x="82" y="264"/>
                  </a:lnTo>
                  <a:lnTo>
                    <a:pt x="80" y="264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2" y="264"/>
                  </a:lnTo>
                  <a:lnTo>
                    <a:pt x="70" y="264"/>
                  </a:lnTo>
                  <a:lnTo>
                    <a:pt x="67" y="264"/>
                  </a:lnTo>
                  <a:lnTo>
                    <a:pt x="64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59" y="264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2" y="264"/>
                  </a:lnTo>
                  <a:lnTo>
                    <a:pt x="52" y="261"/>
                  </a:lnTo>
                  <a:lnTo>
                    <a:pt x="52" y="261"/>
                  </a:lnTo>
                  <a:lnTo>
                    <a:pt x="52" y="261"/>
                  </a:lnTo>
                  <a:lnTo>
                    <a:pt x="52" y="261"/>
                  </a:lnTo>
                  <a:lnTo>
                    <a:pt x="52" y="261"/>
                  </a:lnTo>
                  <a:lnTo>
                    <a:pt x="49" y="259"/>
                  </a:lnTo>
                  <a:lnTo>
                    <a:pt x="49" y="259"/>
                  </a:lnTo>
                  <a:lnTo>
                    <a:pt x="49" y="256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1"/>
                  </a:lnTo>
                  <a:lnTo>
                    <a:pt x="49" y="249"/>
                  </a:lnTo>
                  <a:lnTo>
                    <a:pt x="49" y="249"/>
                  </a:lnTo>
                  <a:lnTo>
                    <a:pt x="49" y="246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1"/>
                  </a:lnTo>
                  <a:lnTo>
                    <a:pt x="49" y="241"/>
                  </a:lnTo>
                  <a:lnTo>
                    <a:pt x="49" y="241"/>
                  </a:lnTo>
                  <a:lnTo>
                    <a:pt x="49" y="238"/>
                  </a:lnTo>
                  <a:lnTo>
                    <a:pt x="49" y="238"/>
                  </a:lnTo>
                  <a:lnTo>
                    <a:pt x="49" y="238"/>
                  </a:lnTo>
                  <a:lnTo>
                    <a:pt x="49" y="238"/>
                  </a:lnTo>
                  <a:lnTo>
                    <a:pt x="49" y="236"/>
                  </a:lnTo>
                  <a:lnTo>
                    <a:pt x="49" y="236"/>
                  </a:lnTo>
                  <a:lnTo>
                    <a:pt x="47" y="236"/>
                  </a:lnTo>
                  <a:lnTo>
                    <a:pt x="47" y="236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4" y="233"/>
                  </a:lnTo>
                  <a:lnTo>
                    <a:pt x="44" y="233"/>
                  </a:lnTo>
                  <a:lnTo>
                    <a:pt x="41" y="231"/>
                  </a:lnTo>
                  <a:lnTo>
                    <a:pt x="44" y="231"/>
                  </a:lnTo>
                  <a:lnTo>
                    <a:pt x="44" y="228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1"/>
                  </a:lnTo>
                  <a:lnTo>
                    <a:pt x="47" y="221"/>
                  </a:lnTo>
                  <a:lnTo>
                    <a:pt x="47" y="221"/>
                  </a:lnTo>
                  <a:lnTo>
                    <a:pt x="47" y="218"/>
                  </a:lnTo>
                  <a:lnTo>
                    <a:pt x="44" y="218"/>
                  </a:lnTo>
                  <a:lnTo>
                    <a:pt x="44" y="218"/>
                  </a:lnTo>
                  <a:lnTo>
                    <a:pt x="44" y="218"/>
                  </a:lnTo>
                  <a:lnTo>
                    <a:pt x="44" y="218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36" y="218"/>
                  </a:lnTo>
                  <a:lnTo>
                    <a:pt x="36" y="215"/>
                  </a:lnTo>
                  <a:lnTo>
                    <a:pt x="39" y="213"/>
                  </a:lnTo>
                  <a:lnTo>
                    <a:pt x="39" y="210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41" y="205"/>
                  </a:lnTo>
                  <a:lnTo>
                    <a:pt x="41" y="203"/>
                  </a:lnTo>
                  <a:lnTo>
                    <a:pt x="41" y="203"/>
                  </a:lnTo>
                  <a:lnTo>
                    <a:pt x="41" y="200"/>
                  </a:lnTo>
                  <a:lnTo>
                    <a:pt x="41" y="200"/>
                  </a:lnTo>
                  <a:lnTo>
                    <a:pt x="41" y="200"/>
                  </a:lnTo>
                  <a:lnTo>
                    <a:pt x="41" y="197"/>
                  </a:lnTo>
                  <a:lnTo>
                    <a:pt x="41" y="197"/>
                  </a:lnTo>
                  <a:lnTo>
                    <a:pt x="39" y="197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1" y="195"/>
                  </a:lnTo>
                  <a:lnTo>
                    <a:pt x="29" y="195"/>
                  </a:lnTo>
                  <a:lnTo>
                    <a:pt x="26" y="195"/>
                  </a:lnTo>
                  <a:lnTo>
                    <a:pt x="24" y="195"/>
                  </a:lnTo>
                  <a:lnTo>
                    <a:pt x="24" y="195"/>
                  </a:lnTo>
                  <a:lnTo>
                    <a:pt x="21" y="195"/>
                  </a:lnTo>
                  <a:lnTo>
                    <a:pt x="21" y="195"/>
                  </a:lnTo>
                  <a:lnTo>
                    <a:pt x="18" y="195"/>
                  </a:lnTo>
                  <a:close/>
                  <a:moveTo>
                    <a:pt x="152" y="0"/>
                  </a:moveTo>
                  <a:lnTo>
                    <a:pt x="149" y="0"/>
                  </a:lnTo>
                  <a:lnTo>
                    <a:pt x="144" y="3"/>
                  </a:lnTo>
                  <a:lnTo>
                    <a:pt x="139" y="3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26" y="3"/>
                  </a:lnTo>
                  <a:lnTo>
                    <a:pt x="121" y="5"/>
                  </a:lnTo>
                  <a:lnTo>
                    <a:pt x="118" y="5"/>
                  </a:lnTo>
                  <a:lnTo>
                    <a:pt x="113" y="5"/>
                  </a:lnTo>
                  <a:lnTo>
                    <a:pt x="111" y="8"/>
                  </a:lnTo>
                  <a:lnTo>
                    <a:pt x="108" y="8"/>
                  </a:lnTo>
                  <a:lnTo>
                    <a:pt x="105" y="11"/>
                  </a:lnTo>
                  <a:lnTo>
                    <a:pt x="103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95" y="13"/>
                  </a:lnTo>
                  <a:lnTo>
                    <a:pt x="93" y="16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5" y="18"/>
                  </a:lnTo>
                  <a:lnTo>
                    <a:pt x="82" y="21"/>
                  </a:lnTo>
                  <a:lnTo>
                    <a:pt x="80" y="23"/>
                  </a:lnTo>
                  <a:lnTo>
                    <a:pt x="77" y="23"/>
                  </a:lnTo>
                  <a:lnTo>
                    <a:pt x="75" y="26"/>
                  </a:lnTo>
                  <a:lnTo>
                    <a:pt x="72" y="26"/>
                  </a:lnTo>
                  <a:lnTo>
                    <a:pt x="72" y="28"/>
                  </a:lnTo>
                  <a:lnTo>
                    <a:pt x="70" y="31"/>
                  </a:lnTo>
                  <a:lnTo>
                    <a:pt x="67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2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57" y="44"/>
                  </a:lnTo>
                  <a:lnTo>
                    <a:pt x="54" y="44"/>
                  </a:lnTo>
                  <a:lnTo>
                    <a:pt x="54" y="46"/>
                  </a:lnTo>
                  <a:lnTo>
                    <a:pt x="52" y="49"/>
                  </a:lnTo>
                  <a:lnTo>
                    <a:pt x="49" y="54"/>
                  </a:lnTo>
                  <a:lnTo>
                    <a:pt x="47" y="57"/>
                  </a:lnTo>
                  <a:lnTo>
                    <a:pt x="44" y="62"/>
                  </a:lnTo>
                  <a:lnTo>
                    <a:pt x="41" y="64"/>
                  </a:lnTo>
                  <a:lnTo>
                    <a:pt x="39" y="69"/>
                  </a:lnTo>
                  <a:lnTo>
                    <a:pt x="36" y="72"/>
                  </a:lnTo>
                  <a:lnTo>
                    <a:pt x="36" y="77"/>
                  </a:lnTo>
                  <a:lnTo>
                    <a:pt x="34" y="80"/>
                  </a:lnTo>
                  <a:lnTo>
                    <a:pt x="31" y="85"/>
                  </a:lnTo>
                  <a:lnTo>
                    <a:pt x="31" y="87"/>
                  </a:lnTo>
                  <a:lnTo>
                    <a:pt x="29" y="90"/>
                  </a:lnTo>
                  <a:lnTo>
                    <a:pt x="29" y="95"/>
                  </a:lnTo>
                  <a:lnTo>
                    <a:pt x="26" y="98"/>
                  </a:lnTo>
                  <a:lnTo>
                    <a:pt x="26" y="103"/>
                  </a:lnTo>
                  <a:lnTo>
                    <a:pt x="24" y="108"/>
                  </a:lnTo>
                  <a:lnTo>
                    <a:pt x="24" y="110"/>
                  </a:lnTo>
                  <a:lnTo>
                    <a:pt x="21" y="113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24" y="141"/>
                  </a:lnTo>
                  <a:lnTo>
                    <a:pt x="24" y="144"/>
                  </a:lnTo>
                  <a:lnTo>
                    <a:pt x="26" y="144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9"/>
                  </a:lnTo>
                  <a:lnTo>
                    <a:pt x="26" y="149"/>
                  </a:lnTo>
                  <a:lnTo>
                    <a:pt x="24" y="149"/>
                  </a:lnTo>
                  <a:lnTo>
                    <a:pt x="24" y="151"/>
                  </a:lnTo>
                  <a:lnTo>
                    <a:pt x="24" y="151"/>
                  </a:lnTo>
                  <a:lnTo>
                    <a:pt x="24" y="154"/>
                  </a:lnTo>
                  <a:lnTo>
                    <a:pt x="21" y="156"/>
                  </a:lnTo>
                  <a:lnTo>
                    <a:pt x="18" y="159"/>
                  </a:lnTo>
                  <a:lnTo>
                    <a:pt x="16" y="162"/>
                  </a:lnTo>
                  <a:lnTo>
                    <a:pt x="13" y="164"/>
                  </a:lnTo>
                  <a:lnTo>
                    <a:pt x="11" y="167"/>
                  </a:lnTo>
                  <a:lnTo>
                    <a:pt x="8" y="169"/>
                  </a:lnTo>
                  <a:lnTo>
                    <a:pt x="8" y="172"/>
                  </a:lnTo>
                  <a:lnTo>
                    <a:pt x="6" y="174"/>
                  </a:lnTo>
                  <a:lnTo>
                    <a:pt x="6" y="177"/>
                  </a:lnTo>
                  <a:lnTo>
                    <a:pt x="3" y="180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3" y="197"/>
                  </a:lnTo>
                  <a:lnTo>
                    <a:pt x="3" y="197"/>
                  </a:lnTo>
                  <a:lnTo>
                    <a:pt x="3" y="197"/>
                  </a:lnTo>
                  <a:lnTo>
                    <a:pt x="3" y="200"/>
                  </a:lnTo>
                  <a:lnTo>
                    <a:pt x="6" y="200"/>
                  </a:lnTo>
                  <a:lnTo>
                    <a:pt x="6" y="203"/>
                  </a:lnTo>
                  <a:lnTo>
                    <a:pt x="8" y="203"/>
                  </a:lnTo>
                  <a:lnTo>
                    <a:pt x="8" y="203"/>
                  </a:lnTo>
                  <a:lnTo>
                    <a:pt x="11" y="203"/>
                  </a:lnTo>
                  <a:lnTo>
                    <a:pt x="11" y="205"/>
                  </a:lnTo>
                  <a:lnTo>
                    <a:pt x="13" y="205"/>
                  </a:lnTo>
                  <a:lnTo>
                    <a:pt x="16" y="205"/>
                  </a:lnTo>
                  <a:lnTo>
                    <a:pt x="16" y="205"/>
                  </a:lnTo>
                  <a:lnTo>
                    <a:pt x="18" y="205"/>
                  </a:lnTo>
                  <a:lnTo>
                    <a:pt x="21" y="205"/>
                  </a:lnTo>
                  <a:lnTo>
                    <a:pt x="24" y="205"/>
                  </a:lnTo>
                  <a:lnTo>
                    <a:pt x="26" y="205"/>
                  </a:lnTo>
                  <a:lnTo>
                    <a:pt x="29" y="205"/>
                  </a:lnTo>
                  <a:lnTo>
                    <a:pt x="2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3"/>
                  </a:lnTo>
                  <a:lnTo>
                    <a:pt x="24" y="213"/>
                  </a:lnTo>
                  <a:lnTo>
                    <a:pt x="24" y="213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26" y="221"/>
                  </a:lnTo>
                  <a:lnTo>
                    <a:pt x="26" y="221"/>
                  </a:lnTo>
                  <a:lnTo>
                    <a:pt x="26" y="223"/>
                  </a:lnTo>
                  <a:lnTo>
                    <a:pt x="26" y="223"/>
                  </a:lnTo>
                  <a:lnTo>
                    <a:pt x="29" y="226"/>
                  </a:lnTo>
                  <a:lnTo>
                    <a:pt x="29" y="226"/>
                  </a:lnTo>
                  <a:lnTo>
                    <a:pt x="31" y="226"/>
                  </a:lnTo>
                  <a:lnTo>
                    <a:pt x="31" y="228"/>
                  </a:lnTo>
                  <a:lnTo>
                    <a:pt x="31" y="228"/>
                  </a:lnTo>
                  <a:lnTo>
                    <a:pt x="31" y="231"/>
                  </a:lnTo>
                  <a:lnTo>
                    <a:pt x="31" y="231"/>
                  </a:lnTo>
                  <a:lnTo>
                    <a:pt x="31" y="231"/>
                  </a:lnTo>
                  <a:lnTo>
                    <a:pt x="31" y="233"/>
                  </a:lnTo>
                  <a:lnTo>
                    <a:pt x="31" y="233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4" y="241"/>
                  </a:lnTo>
                  <a:lnTo>
                    <a:pt x="34" y="241"/>
                  </a:lnTo>
                  <a:lnTo>
                    <a:pt x="34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9" y="244"/>
                  </a:lnTo>
                  <a:lnTo>
                    <a:pt x="39" y="244"/>
                  </a:lnTo>
                  <a:lnTo>
                    <a:pt x="36" y="249"/>
                  </a:lnTo>
                  <a:lnTo>
                    <a:pt x="36" y="251"/>
                  </a:lnTo>
                  <a:lnTo>
                    <a:pt x="36" y="254"/>
                  </a:lnTo>
                  <a:lnTo>
                    <a:pt x="39" y="256"/>
                  </a:lnTo>
                  <a:lnTo>
                    <a:pt x="39" y="256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64"/>
                  </a:lnTo>
                  <a:lnTo>
                    <a:pt x="39" y="264"/>
                  </a:lnTo>
                  <a:lnTo>
                    <a:pt x="41" y="264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9"/>
                  </a:lnTo>
                  <a:lnTo>
                    <a:pt x="41" y="269"/>
                  </a:lnTo>
                  <a:lnTo>
                    <a:pt x="44" y="269"/>
                  </a:lnTo>
                  <a:lnTo>
                    <a:pt x="44" y="269"/>
                  </a:lnTo>
                  <a:lnTo>
                    <a:pt x="44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4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52" y="274"/>
                  </a:lnTo>
                  <a:lnTo>
                    <a:pt x="52" y="274"/>
                  </a:lnTo>
                  <a:lnTo>
                    <a:pt x="54" y="277"/>
                  </a:lnTo>
                  <a:lnTo>
                    <a:pt x="54" y="277"/>
                  </a:lnTo>
                  <a:lnTo>
                    <a:pt x="57" y="277"/>
                  </a:lnTo>
                  <a:lnTo>
                    <a:pt x="57" y="277"/>
                  </a:lnTo>
                  <a:lnTo>
                    <a:pt x="59" y="277"/>
                  </a:lnTo>
                  <a:lnTo>
                    <a:pt x="59" y="277"/>
                  </a:lnTo>
                  <a:lnTo>
                    <a:pt x="62" y="277"/>
                  </a:lnTo>
                  <a:lnTo>
                    <a:pt x="64" y="277"/>
                  </a:lnTo>
                  <a:lnTo>
                    <a:pt x="67" y="277"/>
                  </a:lnTo>
                  <a:lnTo>
                    <a:pt x="70" y="274"/>
                  </a:lnTo>
                  <a:lnTo>
                    <a:pt x="72" y="274"/>
                  </a:lnTo>
                  <a:lnTo>
                    <a:pt x="75" y="274"/>
                  </a:lnTo>
                  <a:lnTo>
                    <a:pt x="77" y="274"/>
                  </a:lnTo>
                  <a:lnTo>
                    <a:pt x="77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7"/>
                  </a:lnTo>
                  <a:lnTo>
                    <a:pt x="85" y="277"/>
                  </a:lnTo>
                  <a:lnTo>
                    <a:pt x="88" y="277"/>
                  </a:lnTo>
                  <a:lnTo>
                    <a:pt x="88" y="277"/>
                  </a:lnTo>
                  <a:lnTo>
                    <a:pt x="88" y="279"/>
                  </a:lnTo>
                  <a:lnTo>
                    <a:pt x="88" y="279"/>
                  </a:lnTo>
                  <a:lnTo>
                    <a:pt x="88" y="279"/>
                  </a:lnTo>
                  <a:lnTo>
                    <a:pt x="90" y="282"/>
                  </a:lnTo>
                  <a:lnTo>
                    <a:pt x="90" y="285"/>
                  </a:lnTo>
                  <a:lnTo>
                    <a:pt x="90" y="285"/>
                  </a:lnTo>
                  <a:lnTo>
                    <a:pt x="90" y="287"/>
                  </a:lnTo>
                  <a:lnTo>
                    <a:pt x="90" y="287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7"/>
                  </a:lnTo>
                  <a:lnTo>
                    <a:pt x="88" y="300"/>
                  </a:lnTo>
                  <a:lnTo>
                    <a:pt x="88" y="300"/>
                  </a:lnTo>
                  <a:lnTo>
                    <a:pt x="88" y="302"/>
                  </a:lnTo>
                  <a:lnTo>
                    <a:pt x="85" y="305"/>
                  </a:lnTo>
                  <a:lnTo>
                    <a:pt x="85" y="308"/>
                  </a:lnTo>
                  <a:lnTo>
                    <a:pt x="82" y="310"/>
                  </a:lnTo>
                  <a:lnTo>
                    <a:pt x="82" y="313"/>
                  </a:lnTo>
                  <a:lnTo>
                    <a:pt x="80" y="315"/>
                  </a:lnTo>
                  <a:lnTo>
                    <a:pt x="80" y="315"/>
                  </a:lnTo>
                  <a:lnTo>
                    <a:pt x="80" y="318"/>
                  </a:lnTo>
                  <a:lnTo>
                    <a:pt x="77" y="318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3"/>
                  </a:lnTo>
                  <a:lnTo>
                    <a:pt x="77" y="323"/>
                  </a:lnTo>
                  <a:lnTo>
                    <a:pt x="77" y="323"/>
                  </a:lnTo>
                  <a:lnTo>
                    <a:pt x="80" y="325"/>
                  </a:lnTo>
                  <a:lnTo>
                    <a:pt x="80" y="325"/>
                  </a:lnTo>
                  <a:lnTo>
                    <a:pt x="80" y="325"/>
                  </a:lnTo>
                  <a:lnTo>
                    <a:pt x="80" y="325"/>
                  </a:lnTo>
                  <a:lnTo>
                    <a:pt x="80" y="325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121" y="328"/>
                  </a:lnTo>
                  <a:lnTo>
                    <a:pt x="190" y="328"/>
                  </a:lnTo>
                  <a:lnTo>
                    <a:pt x="218" y="328"/>
                  </a:lnTo>
                  <a:lnTo>
                    <a:pt x="226" y="328"/>
                  </a:lnTo>
                  <a:lnTo>
                    <a:pt x="226" y="328"/>
                  </a:lnTo>
                  <a:lnTo>
                    <a:pt x="228" y="328"/>
                  </a:lnTo>
                  <a:lnTo>
                    <a:pt x="228" y="325"/>
                  </a:lnTo>
                  <a:lnTo>
                    <a:pt x="228" y="325"/>
                  </a:lnTo>
                  <a:lnTo>
                    <a:pt x="231" y="325"/>
                  </a:lnTo>
                  <a:lnTo>
                    <a:pt x="231" y="325"/>
                  </a:lnTo>
                  <a:lnTo>
                    <a:pt x="231" y="325"/>
                  </a:lnTo>
                  <a:lnTo>
                    <a:pt x="231" y="325"/>
                  </a:lnTo>
                  <a:lnTo>
                    <a:pt x="231" y="323"/>
                  </a:lnTo>
                  <a:lnTo>
                    <a:pt x="231" y="323"/>
                  </a:lnTo>
                  <a:lnTo>
                    <a:pt x="231" y="323"/>
                  </a:lnTo>
                  <a:lnTo>
                    <a:pt x="233" y="323"/>
                  </a:lnTo>
                  <a:lnTo>
                    <a:pt x="233" y="320"/>
                  </a:lnTo>
                  <a:lnTo>
                    <a:pt x="233" y="320"/>
                  </a:lnTo>
                  <a:lnTo>
                    <a:pt x="231" y="320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15"/>
                  </a:lnTo>
                  <a:lnTo>
                    <a:pt x="228" y="315"/>
                  </a:lnTo>
                  <a:lnTo>
                    <a:pt x="228" y="315"/>
                  </a:lnTo>
                  <a:lnTo>
                    <a:pt x="226" y="313"/>
                  </a:lnTo>
                  <a:lnTo>
                    <a:pt x="223" y="310"/>
                  </a:lnTo>
                  <a:lnTo>
                    <a:pt x="223" y="310"/>
                  </a:lnTo>
                  <a:lnTo>
                    <a:pt x="221" y="310"/>
                  </a:lnTo>
                  <a:lnTo>
                    <a:pt x="221" y="308"/>
                  </a:lnTo>
                  <a:lnTo>
                    <a:pt x="221" y="308"/>
                  </a:lnTo>
                  <a:lnTo>
                    <a:pt x="218" y="305"/>
                  </a:lnTo>
                  <a:lnTo>
                    <a:pt x="218" y="302"/>
                  </a:lnTo>
                  <a:lnTo>
                    <a:pt x="216" y="302"/>
                  </a:lnTo>
                  <a:lnTo>
                    <a:pt x="216" y="300"/>
                  </a:lnTo>
                  <a:lnTo>
                    <a:pt x="216" y="297"/>
                  </a:lnTo>
                  <a:lnTo>
                    <a:pt x="213" y="297"/>
                  </a:lnTo>
                  <a:lnTo>
                    <a:pt x="213" y="295"/>
                  </a:lnTo>
                  <a:lnTo>
                    <a:pt x="213" y="292"/>
                  </a:lnTo>
                  <a:lnTo>
                    <a:pt x="210" y="290"/>
                  </a:lnTo>
                  <a:lnTo>
                    <a:pt x="210" y="287"/>
                  </a:lnTo>
                  <a:lnTo>
                    <a:pt x="210" y="285"/>
                  </a:lnTo>
                  <a:lnTo>
                    <a:pt x="210" y="282"/>
                  </a:lnTo>
                  <a:lnTo>
                    <a:pt x="210" y="279"/>
                  </a:lnTo>
                  <a:lnTo>
                    <a:pt x="210" y="277"/>
                  </a:lnTo>
                  <a:lnTo>
                    <a:pt x="210" y="274"/>
                  </a:lnTo>
                  <a:lnTo>
                    <a:pt x="210" y="272"/>
                  </a:lnTo>
                  <a:lnTo>
                    <a:pt x="210" y="269"/>
                  </a:lnTo>
                  <a:lnTo>
                    <a:pt x="210" y="267"/>
                  </a:lnTo>
                  <a:lnTo>
                    <a:pt x="213" y="261"/>
                  </a:lnTo>
                  <a:lnTo>
                    <a:pt x="213" y="259"/>
                  </a:lnTo>
                  <a:lnTo>
                    <a:pt x="216" y="256"/>
                  </a:lnTo>
                  <a:lnTo>
                    <a:pt x="216" y="251"/>
                  </a:lnTo>
                  <a:lnTo>
                    <a:pt x="218" y="249"/>
                  </a:lnTo>
                  <a:lnTo>
                    <a:pt x="218" y="246"/>
                  </a:lnTo>
                  <a:lnTo>
                    <a:pt x="221" y="241"/>
                  </a:lnTo>
                  <a:lnTo>
                    <a:pt x="221" y="238"/>
                  </a:lnTo>
                  <a:lnTo>
                    <a:pt x="223" y="233"/>
                  </a:lnTo>
                  <a:lnTo>
                    <a:pt x="226" y="231"/>
                  </a:lnTo>
                  <a:lnTo>
                    <a:pt x="228" y="223"/>
                  </a:lnTo>
                  <a:lnTo>
                    <a:pt x="233" y="215"/>
                  </a:lnTo>
                  <a:lnTo>
                    <a:pt x="239" y="208"/>
                  </a:lnTo>
                  <a:lnTo>
                    <a:pt x="241" y="200"/>
                  </a:lnTo>
                  <a:lnTo>
                    <a:pt x="246" y="192"/>
                  </a:lnTo>
                  <a:lnTo>
                    <a:pt x="249" y="185"/>
                  </a:lnTo>
                  <a:lnTo>
                    <a:pt x="251" y="180"/>
                  </a:lnTo>
                  <a:lnTo>
                    <a:pt x="254" y="174"/>
                  </a:lnTo>
                  <a:lnTo>
                    <a:pt x="257" y="172"/>
                  </a:lnTo>
                  <a:lnTo>
                    <a:pt x="257" y="167"/>
                  </a:lnTo>
                  <a:lnTo>
                    <a:pt x="259" y="164"/>
                  </a:lnTo>
                  <a:lnTo>
                    <a:pt x="262" y="159"/>
                  </a:lnTo>
                  <a:lnTo>
                    <a:pt x="262" y="154"/>
                  </a:lnTo>
                  <a:lnTo>
                    <a:pt x="264" y="151"/>
                  </a:lnTo>
                  <a:lnTo>
                    <a:pt x="264" y="146"/>
                  </a:lnTo>
                  <a:lnTo>
                    <a:pt x="267" y="144"/>
                  </a:lnTo>
                  <a:lnTo>
                    <a:pt x="267" y="139"/>
                  </a:lnTo>
                  <a:lnTo>
                    <a:pt x="269" y="136"/>
                  </a:lnTo>
                  <a:lnTo>
                    <a:pt x="269" y="133"/>
                  </a:lnTo>
                  <a:lnTo>
                    <a:pt x="269" y="131"/>
                  </a:lnTo>
                  <a:lnTo>
                    <a:pt x="269" y="126"/>
                  </a:lnTo>
                  <a:lnTo>
                    <a:pt x="272" y="123"/>
                  </a:lnTo>
                  <a:lnTo>
                    <a:pt x="272" y="121"/>
                  </a:lnTo>
                  <a:lnTo>
                    <a:pt x="272" y="118"/>
                  </a:lnTo>
                  <a:lnTo>
                    <a:pt x="272" y="116"/>
                  </a:lnTo>
                  <a:lnTo>
                    <a:pt x="272" y="110"/>
                  </a:lnTo>
                  <a:lnTo>
                    <a:pt x="272" y="105"/>
                  </a:lnTo>
                  <a:lnTo>
                    <a:pt x="272" y="103"/>
                  </a:lnTo>
                  <a:lnTo>
                    <a:pt x="272" y="100"/>
                  </a:lnTo>
                  <a:lnTo>
                    <a:pt x="272" y="95"/>
                  </a:lnTo>
                  <a:lnTo>
                    <a:pt x="272" y="92"/>
                  </a:lnTo>
                  <a:lnTo>
                    <a:pt x="269" y="90"/>
                  </a:lnTo>
                  <a:lnTo>
                    <a:pt x="269" y="87"/>
                  </a:lnTo>
                  <a:lnTo>
                    <a:pt x="269" y="85"/>
                  </a:lnTo>
                  <a:lnTo>
                    <a:pt x="269" y="82"/>
                  </a:lnTo>
                  <a:lnTo>
                    <a:pt x="267" y="80"/>
                  </a:lnTo>
                  <a:lnTo>
                    <a:pt x="267" y="77"/>
                  </a:lnTo>
                  <a:lnTo>
                    <a:pt x="267" y="72"/>
                  </a:lnTo>
                  <a:lnTo>
                    <a:pt x="264" y="69"/>
                  </a:lnTo>
                  <a:lnTo>
                    <a:pt x="264" y="67"/>
                  </a:lnTo>
                  <a:lnTo>
                    <a:pt x="262" y="64"/>
                  </a:lnTo>
                  <a:lnTo>
                    <a:pt x="262" y="62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4"/>
                  </a:lnTo>
                  <a:lnTo>
                    <a:pt x="257" y="52"/>
                  </a:lnTo>
                  <a:lnTo>
                    <a:pt x="254" y="49"/>
                  </a:lnTo>
                  <a:lnTo>
                    <a:pt x="251" y="46"/>
                  </a:lnTo>
                  <a:lnTo>
                    <a:pt x="249" y="44"/>
                  </a:lnTo>
                  <a:lnTo>
                    <a:pt x="246" y="41"/>
                  </a:lnTo>
                  <a:lnTo>
                    <a:pt x="244" y="39"/>
                  </a:lnTo>
                  <a:lnTo>
                    <a:pt x="241" y="36"/>
                  </a:lnTo>
                  <a:lnTo>
                    <a:pt x="239" y="34"/>
                  </a:lnTo>
                  <a:lnTo>
                    <a:pt x="236" y="31"/>
                  </a:lnTo>
                  <a:lnTo>
                    <a:pt x="233" y="28"/>
                  </a:lnTo>
                  <a:lnTo>
                    <a:pt x="231" y="28"/>
                  </a:lnTo>
                  <a:lnTo>
                    <a:pt x="228" y="26"/>
                  </a:lnTo>
                  <a:lnTo>
                    <a:pt x="226" y="23"/>
                  </a:lnTo>
                  <a:lnTo>
                    <a:pt x="223" y="21"/>
                  </a:lnTo>
                  <a:lnTo>
                    <a:pt x="221" y="18"/>
                  </a:lnTo>
                  <a:lnTo>
                    <a:pt x="216" y="18"/>
                  </a:lnTo>
                  <a:lnTo>
                    <a:pt x="213" y="16"/>
                  </a:lnTo>
                  <a:lnTo>
                    <a:pt x="210" y="13"/>
                  </a:lnTo>
                  <a:lnTo>
                    <a:pt x="208" y="13"/>
                  </a:lnTo>
                  <a:lnTo>
                    <a:pt x="203" y="11"/>
                  </a:lnTo>
                  <a:lnTo>
                    <a:pt x="200" y="11"/>
                  </a:lnTo>
                  <a:lnTo>
                    <a:pt x="198" y="8"/>
                  </a:lnTo>
                  <a:lnTo>
                    <a:pt x="193" y="8"/>
                  </a:lnTo>
                  <a:lnTo>
                    <a:pt x="190" y="5"/>
                  </a:lnTo>
                  <a:lnTo>
                    <a:pt x="187" y="5"/>
                  </a:lnTo>
                  <a:lnTo>
                    <a:pt x="182" y="5"/>
                  </a:lnTo>
                  <a:lnTo>
                    <a:pt x="180" y="3"/>
                  </a:lnTo>
                  <a:lnTo>
                    <a:pt x="175" y="3"/>
                  </a:lnTo>
                  <a:lnTo>
                    <a:pt x="172" y="3"/>
                  </a:lnTo>
                  <a:lnTo>
                    <a:pt x="167" y="3"/>
                  </a:lnTo>
                  <a:lnTo>
                    <a:pt x="164" y="3"/>
                  </a:lnTo>
                  <a:lnTo>
                    <a:pt x="159" y="3"/>
                  </a:lnTo>
                  <a:lnTo>
                    <a:pt x="157" y="0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25">
            <a:extLst>
              <a:ext uri="{FF2B5EF4-FFF2-40B4-BE49-F238E27FC236}">
                <a16:creationId xmlns:a16="http://schemas.microsoft.com/office/drawing/2014/main" id="{FBD957BA-41A4-43CD-9851-A89C3399FF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111" y="4178300"/>
            <a:ext cx="758825" cy="758825"/>
            <a:chOff x="5029" y="2758"/>
            <a:chExt cx="478" cy="478"/>
          </a:xfrm>
        </p:grpSpPr>
        <p:sp>
          <p:nvSpPr>
            <p:cNvPr id="259" name="AutoShape 224">
              <a:extLst>
                <a:ext uri="{FF2B5EF4-FFF2-40B4-BE49-F238E27FC236}">
                  <a16:creationId xmlns:a16="http://schemas.microsoft.com/office/drawing/2014/main" id="{330EC928-B4C1-45F7-9765-1FEEA46AF1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29" y="27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6">
              <a:extLst>
                <a:ext uri="{FF2B5EF4-FFF2-40B4-BE49-F238E27FC236}">
                  <a16:creationId xmlns:a16="http://schemas.microsoft.com/office/drawing/2014/main" id="{415621A6-47DB-4CA0-BEA3-9BA34102A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1" y="276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7">
              <a:extLst>
                <a:ext uri="{FF2B5EF4-FFF2-40B4-BE49-F238E27FC236}">
                  <a16:creationId xmlns:a16="http://schemas.microsoft.com/office/drawing/2014/main" id="{64BB14AA-C01A-477D-8F77-3507533AC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2" y="2834"/>
              <a:ext cx="255" cy="328"/>
            </a:xfrm>
            <a:custGeom>
              <a:avLst/>
              <a:gdLst>
                <a:gd name="T0" fmla="*/ 61 w 104"/>
                <a:gd name="T1" fmla="*/ 60 h 134"/>
                <a:gd name="T2" fmla="*/ 34 w 104"/>
                <a:gd name="T3" fmla="*/ 49 h 134"/>
                <a:gd name="T4" fmla="*/ 30 w 104"/>
                <a:gd name="T5" fmla="*/ 44 h 134"/>
                <a:gd name="T6" fmla="*/ 56 w 104"/>
                <a:gd name="T7" fmla="*/ 30 h 134"/>
                <a:gd name="T8" fmla="*/ 60 w 104"/>
                <a:gd name="T9" fmla="*/ 25 h 134"/>
                <a:gd name="T10" fmla="*/ 79 w 104"/>
                <a:gd name="T11" fmla="*/ 66 h 134"/>
                <a:gd name="T12" fmla="*/ 79 w 104"/>
                <a:gd name="T13" fmla="*/ 46 h 134"/>
                <a:gd name="T14" fmla="*/ 56 w 104"/>
                <a:gd name="T15" fmla="*/ 16 h 134"/>
                <a:gd name="T16" fmla="*/ 60 w 104"/>
                <a:gd name="T17" fmla="*/ 34 h 134"/>
                <a:gd name="T18" fmla="*/ 69 w 104"/>
                <a:gd name="T19" fmla="*/ 70 h 134"/>
                <a:gd name="T20" fmla="*/ 61 w 104"/>
                <a:gd name="T21" fmla="*/ 112 h 134"/>
                <a:gd name="T22" fmla="*/ 38 w 104"/>
                <a:gd name="T23" fmla="*/ 54 h 134"/>
                <a:gd name="T24" fmla="*/ 20 w 104"/>
                <a:gd name="T25" fmla="*/ 49 h 134"/>
                <a:gd name="T26" fmla="*/ 57 w 104"/>
                <a:gd name="T27" fmla="*/ 80 h 134"/>
                <a:gd name="T28" fmla="*/ 40 w 104"/>
                <a:gd name="T29" fmla="*/ 115 h 134"/>
                <a:gd name="T30" fmla="*/ 49 w 104"/>
                <a:gd name="T31" fmla="*/ 91 h 134"/>
                <a:gd name="T32" fmla="*/ 15 w 104"/>
                <a:gd name="T33" fmla="*/ 96 h 134"/>
                <a:gd name="T34" fmla="*/ 15 w 104"/>
                <a:gd name="T35" fmla="*/ 72 h 134"/>
                <a:gd name="T36" fmla="*/ 7 w 104"/>
                <a:gd name="T37" fmla="*/ 61 h 134"/>
                <a:gd name="T38" fmla="*/ 13 w 104"/>
                <a:gd name="T39" fmla="*/ 19 h 134"/>
                <a:gd name="T40" fmla="*/ 36 w 104"/>
                <a:gd name="T41" fmla="*/ 31 h 134"/>
                <a:gd name="T42" fmla="*/ 52 w 104"/>
                <a:gd name="T43" fmla="*/ 55 h 134"/>
                <a:gd name="T44" fmla="*/ 61 w 104"/>
                <a:gd name="T45" fmla="*/ 46 h 134"/>
                <a:gd name="T46" fmla="*/ 40 w 104"/>
                <a:gd name="T47" fmla="*/ 15 h 134"/>
                <a:gd name="T48" fmla="*/ 52 w 104"/>
                <a:gd name="T49" fmla="*/ 5 h 134"/>
                <a:gd name="T50" fmla="*/ 74 w 104"/>
                <a:gd name="T51" fmla="*/ 33 h 134"/>
                <a:gd name="T52" fmla="*/ 81 w 104"/>
                <a:gd name="T53" fmla="*/ 72 h 134"/>
                <a:gd name="T54" fmla="*/ 80 w 104"/>
                <a:gd name="T55" fmla="*/ 103 h 134"/>
                <a:gd name="T56" fmla="*/ 73 w 104"/>
                <a:gd name="T57" fmla="*/ 110 h 134"/>
                <a:gd name="T58" fmla="*/ 33 w 104"/>
                <a:gd name="T59" fmla="*/ 121 h 134"/>
                <a:gd name="T60" fmla="*/ 99 w 104"/>
                <a:gd name="T61" fmla="*/ 46 h 134"/>
                <a:gd name="T62" fmla="*/ 85 w 104"/>
                <a:gd name="T63" fmla="*/ 75 h 134"/>
                <a:gd name="T64" fmla="*/ 89 w 104"/>
                <a:gd name="T65" fmla="*/ 43 h 134"/>
                <a:gd name="T66" fmla="*/ 78 w 104"/>
                <a:gd name="T67" fmla="*/ 11 h 134"/>
                <a:gd name="T68" fmla="*/ 104 w 104"/>
                <a:gd name="T69" fmla="*/ 46 h 134"/>
                <a:gd name="T70" fmla="*/ 5 w 104"/>
                <a:gd name="T71" fmla="*/ 46 h 134"/>
                <a:gd name="T72" fmla="*/ 7 w 104"/>
                <a:gd name="T73" fmla="*/ 77 h 134"/>
                <a:gd name="T74" fmla="*/ 22 w 104"/>
                <a:gd name="T75" fmla="*/ 105 h 134"/>
                <a:gd name="T76" fmla="*/ 36 w 104"/>
                <a:gd name="T77" fmla="*/ 116 h 134"/>
                <a:gd name="T78" fmla="*/ 26 w 104"/>
                <a:gd name="T79" fmla="*/ 131 h 134"/>
                <a:gd name="T80" fmla="*/ 89 w 104"/>
                <a:gd name="T81" fmla="*/ 134 h 134"/>
                <a:gd name="T82" fmla="*/ 89 w 104"/>
                <a:gd name="T83" fmla="*/ 110 h 134"/>
                <a:gd name="T84" fmla="*/ 85 w 104"/>
                <a:gd name="T85" fmla="*/ 10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4">
                  <a:moveTo>
                    <a:pt x="61" y="50"/>
                  </a:moveTo>
                  <a:cubicBezTo>
                    <a:pt x="64" y="50"/>
                    <a:pt x="66" y="52"/>
                    <a:pt x="66" y="55"/>
                  </a:cubicBezTo>
                  <a:cubicBezTo>
                    <a:pt x="66" y="58"/>
                    <a:pt x="64" y="60"/>
                    <a:pt x="61" y="60"/>
                  </a:cubicBezTo>
                  <a:cubicBezTo>
                    <a:pt x="59" y="60"/>
                    <a:pt x="57" y="58"/>
                    <a:pt x="57" y="55"/>
                  </a:cubicBezTo>
                  <a:cubicBezTo>
                    <a:pt x="57" y="52"/>
                    <a:pt x="59" y="50"/>
                    <a:pt x="61" y="50"/>
                  </a:cubicBezTo>
                  <a:moveTo>
                    <a:pt x="34" y="49"/>
                  </a:moveTo>
                  <a:cubicBezTo>
                    <a:pt x="34" y="52"/>
                    <a:pt x="32" y="54"/>
                    <a:pt x="30" y="54"/>
                  </a:cubicBezTo>
                  <a:cubicBezTo>
                    <a:pt x="27" y="54"/>
                    <a:pt x="25" y="52"/>
                    <a:pt x="25" y="49"/>
                  </a:cubicBezTo>
                  <a:cubicBezTo>
                    <a:pt x="25" y="47"/>
                    <a:pt x="27" y="44"/>
                    <a:pt x="30" y="44"/>
                  </a:cubicBezTo>
                  <a:cubicBezTo>
                    <a:pt x="32" y="44"/>
                    <a:pt x="34" y="47"/>
                    <a:pt x="34" y="49"/>
                  </a:cubicBezTo>
                  <a:moveTo>
                    <a:pt x="60" y="25"/>
                  </a:moveTo>
                  <a:cubicBezTo>
                    <a:pt x="60" y="28"/>
                    <a:pt x="58" y="30"/>
                    <a:pt x="56" y="30"/>
                  </a:cubicBezTo>
                  <a:cubicBezTo>
                    <a:pt x="53" y="30"/>
                    <a:pt x="51" y="28"/>
                    <a:pt x="51" y="25"/>
                  </a:cubicBezTo>
                  <a:cubicBezTo>
                    <a:pt x="51" y="23"/>
                    <a:pt x="53" y="21"/>
                    <a:pt x="56" y="21"/>
                  </a:cubicBezTo>
                  <a:cubicBezTo>
                    <a:pt x="58" y="21"/>
                    <a:pt x="60" y="23"/>
                    <a:pt x="60" y="25"/>
                  </a:cubicBezTo>
                  <a:moveTo>
                    <a:pt x="73" y="110"/>
                  </a:moveTo>
                  <a:cubicBezTo>
                    <a:pt x="73" y="73"/>
                    <a:pt x="73" y="73"/>
                    <a:pt x="73" y="73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0" y="66"/>
                    <a:pt x="80" y="65"/>
                    <a:pt x="80" y="65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7"/>
                    <a:pt x="80" y="47"/>
                    <a:pt x="79" y="46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9"/>
                    <a:pt x="65" y="27"/>
                    <a:pt x="65" y="25"/>
                  </a:cubicBezTo>
                  <a:cubicBezTo>
                    <a:pt x="65" y="20"/>
                    <a:pt x="61" y="16"/>
                    <a:pt x="56" y="16"/>
                  </a:cubicBezTo>
                  <a:cubicBezTo>
                    <a:pt x="50" y="16"/>
                    <a:pt x="46" y="20"/>
                    <a:pt x="46" y="25"/>
                  </a:cubicBezTo>
                  <a:cubicBezTo>
                    <a:pt x="46" y="31"/>
                    <a:pt x="50" y="35"/>
                    <a:pt x="56" y="35"/>
                  </a:cubicBezTo>
                  <a:cubicBezTo>
                    <a:pt x="57" y="35"/>
                    <a:pt x="59" y="34"/>
                    <a:pt x="60" y="34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1"/>
                    <a:pt x="68" y="71"/>
                    <a:pt x="68" y="72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3"/>
                    <a:pt x="39" y="51"/>
                    <a:pt x="39" y="49"/>
                  </a:cubicBezTo>
                  <a:cubicBezTo>
                    <a:pt x="39" y="44"/>
                    <a:pt x="35" y="40"/>
                    <a:pt x="30" y="40"/>
                  </a:cubicBezTo>
                  <a:cubicBezTo>
                    <a:pt x="25" y="40"/>
                    <a:pt x="20" y="44"/>
                    <a:pt x="20" y="49"/>
                  </a:cubicBezTo>
                  <a:cubicBezTo>
                    <a:pt x="20" y="54"/>
                    <a:pt x="25" y="59"/>
                    <a:pt x="30" y="59"/>
                  </a:cubicBezTo>
                  <a:cubicBezTo>
                    <a:pt x="31" y="59"/>
                    <a:pt x="33" y="58"/>
                    <a:pt x="34" y="57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09"/>
                    <a:pt x="39" y="104"/>
                    <a:pt x="38" y="101"/>
                  </a:cubicBezTo>
                  <a:cubicBezTo>
                    <a:pt x="43" y="100"/>
                    <a:pt x="47" y="97"/>
                    <a:pt x="49" y="95"/>
                  </a:cubicBezTo>
                  <a:cubicBezTo>
                    <a:pt x="50" y="94"/>
                    <a:pt x="50" y="92"/>
                    <a:pt x="49" y="91"/>
                  </a:cubicBezTo>
                  <a:cubicBezTo>
                    <a:pt x="48" y="91"/>
                    <a:pt x="47" y="91"/>
                    <a:pt x="46" y="91"/>
                  </a:cubicBezTo>
                  <a:cubicBezTo>
                    <a:pt x="42" y="96"/>
                    <a:pt x="31" y="100"/>
                    <a:pt x="22" y="100"/>
                  </a:cubicBezTo>
                  <a:cubicBezTo>
                    <a:pt x="18" y="100"/>
                    <a:pt x="15" y="98"/>
                    <a:pt x="15" y="9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7"/>
                    <a:pt x="17" y="75"/>
                    <a:pt x="17" y="74"/>
                  </a:cubicBezTo>
                  <a:cubicBezTo>
                    <a:pt x="17" y="73"/>
                    <a:pt x="16" y="72"/>
                    <a:pt x="1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5" y="70"/>
                    <a:pt x="5" y="69"/>
                  </a:cubicBezTo>
                  <a:cubicBezTo>
                    <a:pt x="5" y="69"/>
                    <a:pt x="6" y="64"/>
                    <a:pt x="7" y="61"/>
                  </a:cubicBezTo>
                  <a:cubicBezTo>
                    <a:pt x="9" y="54"/>
                    <a:pt x="10" y="48"/>
                    <a:pt x="10" y="46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7" y="34"/>
                    <a:pt x="8" y="25"/>
                    <a:pt x="13" y="19"/>
                  </a:cubicBezTo>
                  <a:cubicBezTo>
                    <a:pt x="17" y="14"/>
                    <a:pt x="22" y="11"/>
                    <a:pt x="29" y="8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2"/>
                    <a:pt x="36" y="33"/>
                    <a:pt x="36" y="3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2" y="52"/>
                    <a:pt x="52" y="53"/>
                    <a:pt x="52" y="55"/>
                  </a:cubicBezTo>
                  <a:cubicBezTo>
                    <a:pt x="52" y="60"/>
                    <a:pt x="56" y="65"/>
                    <a:pt x="61" y="65"/>
                  </a:cubicBezTo>
                  <a:cubicBezTo>
                    <a:pt x="67" y="65"/>
                    <a:pt x="71" y="60"/>
                    <a:pt x="71" y="55"/>
                  </a:cubicBezTo>
                  <a:cubicBezTo>
                    <a:pt x="71" y="50"/>
                    <a:pt x="67" y="46"/>
                    <a:pt x="61" y="46"/>
                  </a:cubicBezTo>
                  <a:cubicBezTo>
                    <a:pt x="60" y="46"/>
                    <a:pt x="58" y="46"/>
                    <a:pt x="57" y="47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4"/>
                    <a:pt x="40" y="13"/>
                    <a:pt x="40" y="13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9" y="6"/>
                    <a:pt x="45" y="5"/>
                    <a:pt x="52" y="5"/>
                  </a:cubicBezTo>
                  <a:cubicBezTo>
                    <a:pt x="60" y="5"/>
                    <a:pt x="67" y="7"/>
                    <a:pt x="73" y="9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2"/>
                    <a:pt x="73" y="33"/>
                    <a:pt x="74" y="33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3"/>
                    <a:pt x="80" y="74"/>
                    <a:pt x="80" y="7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103"/>
                    <a:pt x="80" y="104"/>
                    <a:pt x="80" y="105"/>
                  </a:cubicBezTo>
                  <a:cubicBezTo>
                    <a:pt x="80" y="106"/>
                    <a:pt x="80" y="107"/>
                    <a:pt x="80" y="109"/>
                  </a:cubicBezTo>
                  <a:lnTo>
                    <a:pt x="73" y="110"/>
                  </a:lnTo>
                  <a:close/>
                  <a:moveTo>
                    <a:pt x="87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85" y="113"/>
                    <a:pt x="85" y="113"/>
                    <a:pt x="85" y="113"/>
                  </a:cubicBezTo>
                  <a:lnTo>
                    <a:pt x="87" y="129"/>
                  </a:lnTo>
                  <a:close/>
                  <a:moveTo>
                    <a:pt x="99" y="46"/>
                  </a:moveTo>
                  <a:cubicBezTo>
                    <a:pt x="99" y="58"/>
                    <a:pt x="94" y="66"/>
                    <a:pt x="90" y="75"/>
                  </a:cubicBezTo>
                  <a:cubicBezTo>
                    <a:pt x="88" y="78"/>
                    <a:pt x="86" y="81"/>
                    <a:pt x="85" y="84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9" y="71"/>
                    <a:pt x="89" y="70"/>
                    <a:pt x="89" y="69"/>
                  </a:cubicBezTo>
                  <a:cubicBezTo>
                    <a:pt x="89" y="43"/>
                    <a:pt x="89" y="43"/>
                    <a:pt x="89" y="43"/>
                  </a:cubicBezTo>
                  <a:cubicBezTo>
                    <a:pt x="89" y="43"/>
                    <a:pt x="89" y="42"/>
                    <a:pt x="89" y="42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91" y="18"/>
                    <a:pt x="99" y="31"/>
                    <a:pt x="99" y="46"/>
                  </a:cubicBezTo>
                  <a:moveTo>
                    <a:pt x="94" y="77"/>
                  </a:moveTo>
                  <a:cubicBezTo>
                    <a:pt x="99" y="69"/>
                    <a:pt x="104" y="59"/>
                    <a:pt x="104" y="46"/>
                  </a:cubicBezTo>
                  <a:cubicBezTo>
                    <a:pt x="104" y="19"/>
                    <a:pt x="82" y="0"/>
                    <a:pt x="52" y="0"/>
                  </a:cubicBezTo>
                  <a:cubicBezTo>
                    <a:pt x="32" y="0"/>
                    <a:pt x="17" y="6"/>
                    <a:pt x="10" y="16"/>
                  </a:cubicBezTo>
                  <a:cubicBezTo>
                    <a:pt x="4" y="23"/>
                    <a:pt x="2" y="34"/>
                    <a:pt x="5" y="46"/>
                  </a:cubicBezTo>
                  <a:cubicBezTo>
                    <a:pt x="5" y="48"/>
                    <a:pt x="4" y="55"/>
                    <a:pt x="2" y="60"/>
                  </a:cubicBezTo>
                  <a:cubicBezTo>
                    <a:pt x="1" y="66"/>
                    <a:pt x="0" y="68"/>
                    <a:pt x="0" y="69"/>
                  </a:cubicBezTo>
                  <a:cubicBezTo>
                    <a:pt x="0" y="73"/>
                    <a:pt x="4" y="77"/>
                    <a:pt x="7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101"/>
                    <a:pt x="15" y="105"/>
                    <a:pt x="22" y="105"/>
                  </a:cubicBezTo>
                  <a:cubicBezTo>
                    <a:pt x="25" y="105"/>
                    <a:pt x="30" y="104"/>
                    <a:pt x="34" y="103"/>
                  </a:cubicBezTo>
                  <a:cubicBezTo>
                    <a:pt x="35" y="105"/>
                    <a:pt x="36" y="110"/>
                    <a:pt x="36" y="115"/>
                  </a:cubicBezTo>
                  <a:cubicBezTo>
                    <a:pt x="36" y="115"/>
                    <a:pt x="36" y="116"/>
                    <a:pt x="36" y="116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0" y="117"/>
                    <a:pt x="29" y="118"/>
                    <a:pt x="29" y="119"/>
                  </a:cubicBezTo>
                  <a:cubicBezTo>
                    <a:pt x="26" y="131"/>
                    <a:pt x="26" y="131"/>
                    <a:pt x="26" y="131"/>
                  </a:cubicBezTo>
                  <a:cubicBezTo>
                    <a:pt x="26" y="131"/>
                    <a:pt x="26" y="132"/>
                    <a:pt x="27" y="133"/>
                  </a:cubicBezTo>
                  <a:cubicBezTo>
                    <a:pt x="27" y="133"/>
                    <a:pt x="28" y="134"/>
                    <a:pt x="29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0" y="134"/>
                    <a:pt x="91" y="133"/>
                    <a:pt x="91" y="133"/>
                  </a:cubicBezTo>
                  <a:cubicBezTo>
                    <a:pt x="92" y="132"/>
                    <a:pt x="92" y="132"/>
                    <a:pt x="92" y="131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89" y="109"/>
                    <a:pt x="89" y="108"/>
                    <a:pt x="89" y="108"/>
                  </a:cubicBezTo>
                  <a:cubicBezTo>
                    <a:pt x="88" y="108"/>
                    <a:pt x="87" y="107"/>
                    <a:pt x="87" y="107"/>
                  </a:cubicBezTo>
                  <a:cubicBezTo>
                    <a:pt x="85" y="108"/>
                    <a:pt x="85" y="108"/>
                    <a:pt x="85" y="108"/>
                  </a:cubicBezTo>
                  <a:cubicBezTo>
                    <a:pt x="85" y="107"/>
                    <a:pt x="85" y="106"/>
                    <a:pt x="85" y="105"/>
                  </a:cubicBezTo>
                  <a:cubicBezTo>
                    <a:pt x="85" y="93"/>
                    <a:pt x="89" y="86"/>
                    <a:pt x="94" y="7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2" name="Group 230">
            <a:extLst>
              <a:ext uri="{FF2B5EF4-FFF2-40B4-BE49-F238E27FC236}">
                <a16:creationId xmlns:a16="http://schemas.microsoft.com/office/drawing/2014/main" id="{1F811D73-F2A6-47A8-9621-89742BC35B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99287" y="4137025"/>
            <a:ext cx="841375" cy="841375"/>
            <a:chOff x="4426" y="2642"/>
            <a:chExt cx="530" cy="530"/>
          </a:xfrm>
        </p:grpSpPr>
        <p:sp>
          <p:nvSpPr>
            <p:cNvPr id="263" name="AutoShape 229">
              <a:extLst>
                <a:ext uri="{FF2B5EF4-FFF2-40B4-BE49-F238E27FC236}">
                  <a16:creationId xmlns:a16="http://schemas.microsoft.com/office/drawing/2014/main" id="{295A7261-1CC7-4FF3-9519-2269CBF74F8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6" y="264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Oval 231">
              <a:extLst>
                <a:ext uri="{FF2B5EF4-FFF2-40B4-BE49-F238E27FC236}">
                  <a16:creationId xmlns:a16="http://schemas.microsoft.com/office/drawing/2014/main" id="{A7427A8E-6030-47BA-845A-8CE88D2DE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6" y="264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32">
              <a:extLst>
                <a:ext uri="{FF2B5EF4-FFF2-40B4-BE49-F238E27FC236}">
                  <a16:creationId xmlns:a16="http://schemas.microsoft.com/office/drawing/2014/main" id="{A61BA614-BBF7-4D9C-A3F8-D0CF0874F8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4" y="266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33">
              <a:extLst>
                <a:ext uri="{FF2B5EF4-FFF2-40B4-BE49-F238E27FC236}">
                  <a16:creationId xmlns:a16="http://schemas.microsoft.com/office/drawing/2014/main" id="{3EC25DD5-059C-43EE-BCA2-231022794B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737"/>
              <a:ext cx="266" cy="343"/>
            </a:xfrm>
            <a:custGeom>
              <a:avLst/>
              <a:gdLst>
                <a:gd name="T0" fmla="*/ 61 w 104"/>
                <a:gd name="T1" fmla="*/ 60 h 134"/>
                <a:gd name="T2" fmla="*/ 34 w 104"/>
                <a:gd name="T3" fmla="*/ 49 h 134"/>
                <a:gd name="T4" fmla="*/ 30 w 104"/>
                <a:gd name="T5" fmla="*/ 44 h 134"/>
                <a:gd name="T6" fmla="*/ 56 w 104"/>
                <a:gd name="T7" fmla="*/ 30 h 134"/>
                <a:gd name="T8" fmla="*/ 60 w 104"/>
                <a:gd name="T9" fmla="*/ 25 h 134"/>
                <a:gd name="T10" fmla="*/ 79 w 104"/>
                <a:gd name="T11" fmla="*/ 66 h 134"/>
                <a:gd name="T12" fmla="*/ 79 w 104"/>
                <a:gd name="T13" fmla="*/ 46 h 134"/>
                <a:gd name="T14" fmla="*/ 56 w 104"/>
                <a:gd name="T15" fmla="*/ 16 h 134"/>
                <a:gd name="T16" fmla="*/ 60 w 104"/>
                <a:gd name="T17" fmla="*/ 34 h 134"/>
                <a:gd name="T18" fmla="*/ 69 w 104"/>
                <a:gd name="T19" fmla="*/ 70 h 134"/>
                <a:gd name="T20" fmla="*/ 61 w 104"/>
                <a:gd name="T21" fmla="*/ 112 h 134"/>
                <a:gd name="T22" fmla="*/ 38 w 104"/>
                <a:gd name="T23" fmla="*/ 54 h 134"/>
                <a:gd name="T24" fmla="*/ 20 w 104"/>
                <a:gd name="T25" fmla="*/ 49 h 134"/>
                <a:gd name="T26" fmla="*/ 57 w 104"/>
                <a:gd name="T27" fmla="*/ 80 h 134"/>
                <a:gd name="T28" fmla="*/ 40 w 104"/>
                <a:gd name="T29" fmla="*/ 115 h 134"/>
                <a:gd name="T30" fmla="*/ 49 w 104"/>
                <a:gd name="T31" fmla="*/ 91 h 134"/>
                <a:gd name="T32" fmla="*/ 15 w 104"/>
                <a:gd name="T33" fmla="*/ 96 h 134"/>
                <a:gd name="T34" fmla="*/ 15 w 104"/>
                <a:gd name="T35" fmla="*/ 72 h 134"/>
                <a:gd name="T36" fmla="*/ 7 w 104"/>
                <a:gd name="T37" fmla="*/ 61 h 134"/>
                <a:gd name="T38" fmla="*/ 13 w 104"/>
                <a:gd name="T39" fmla="*/ 19 h 134"/>
                <a:gd name="T40" fmla="*/ 36 w 104"/>
                <a:gd name="T41" fmla="*/ 31 h 134"/>
                <a:gd name="T42" fmla="*/ 52 w 104"/>
                <a:gd name="T43" fmla="*/ 55 h 134"/>
                <a:gd name="T44" fmla="*/ 61 w 104"/>
                <a:gd name="T45" fmla="*/ 46 h 134"/>
                <a:gd name="T46" fmla="*/ 40 w 104"/>
                <a:gd name="T47" fmla="*/ 15 h 134"/>
                <a:gd name="T48" fmla="*/ 52 w 104"/>
                <a:gd name="T49" fmla="*/ 5 h 134"/>
                <a:gd name="T50" fmla="*/ 74 w 104"/>
                <a:gd name="T51" fmla="*/ 33 h 134"/>
                <a:gd name="T52" fmla="*/ 81 w 104"/>
                <a:gd name="T53" fmla="*/ 72 h 134"/>
                <a:gd name="T54" fmla="*/ 80 w 104"/>
                <a:gd name="T55" fmla="*/ 103 h 134"/>
                <a:gd name="T56" fmla="*/ 73 w 104"/>
                <a:gd name="T57" fmla="*/ 110 h 134"/>
                <a:gd name="T58" fmla="*/ 33 w 104"/>
                <a:gd name="T59" fmla="*/ 121 h 134"/>
                <a:gd name="T60" fmla="*/ 99 w 104"/>
                <a:gd name="T61" fmla="*/ 46 h 134"/>
                <a:gd name="T62" fmla="*/ 85 w 104"/>
                <a:gd name="T63" fmla="*/ 75 h 134"/>
                <a:gd name="T64" fmla="*/ 89 w 104"/>
                <a:gd name="T65" fmla="*/ 43 h 134"/>
                <a:gd name="T66" fmla="*/ 78 w 104"/>
                <a:gd name="T67" fmla="*/ 11 h 134"/>
                <a:gd name="T68" fmla="*/ 104 w 104"/>
                <a:gd name="T69" fmla="*/ 46 h 134"/>
                <a:gd name="T70" fmla="*/ 5 w 104"/>
                <a:gd name="T71" fmla="*/ 46 h 134"/>
                <a:gd name="T72" fmla="*/ 7 w 104"/>
                <a:gd name="T73" fmla="*/ 77 h 134"/>
                <a:gd name="T74" fmla="*/ 22 w 104"/>
                <a:gd name="T75" fmla="*/ 105 h 134"/>
                <a:gd name="T76" fmla="*/ 36 w 104"/>
                <a:gd name="T77" fmla="*/ 116 h 134"/>
                <a:gd name="T78" fmla="*/ 26 w 104"/>
                <a:gd name="T79" fmla="*/ 131 h 134"/>
                <a:gd name="T80" fmla="*/ 89 w 104"/>
                <a:gd name="T81" fmla="*/ 134 h 134"/>
                <a:gd name="T82" fmla="*/ 89 w 104"/>
                <a:gd name="T83" fmla="*/ 110 h 134"/>
                <a:gd name="T84" fmla="*/ 85 w 104"/>
                <a:gd name="T85" fmla="*/ 10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4">
                  <a:moveTo>
                    <a:pt x="61" y="50"/>
                  </a:moveTo>
                  <a:cubicBezTo>
                    <a:pt x="64" y="50"/>
                    <a:pt x="66" y="52"/>
                    <a:pt x="66" y="55"/>
                  </a:cubicBezTo>
                  <a:cubicBezTo>
                    <a:pt x="66" y="58"/>
                    <a:pt x="64" y="60"/>
                    <a:pt x="61" y="60"/>
                  </a:cubicBezTo>
                  <a:cubicBezTo>
                    <a:pt x="59" y="60"/>
                    <a:pt x="57" y="58"/>
                    <a:pt x="57" y="55"/>
                  </a:cubicBezTo>
                  <a:cubicBezTo>
                    <a:pt x="57" y="52"/>
                    <a:pt x="59" y="50"/>
                    <a:pt x="61" y="50"/>
                  </a:cubicBezTo>
                  <a:moveTo>
                    <a:pt x="34" y="49"/>
                  </a:moveTo>
                  <a:cubicBezTo>
                    <a:pt x="34" y="52"/>
                    <a:pt x="32" y="54"/>
                    <a:pt x="30" y="54"/>
                  </a:cubicBezTo>
                  <a:cubicBezTo>
                    <a:pt x="27" y="54"/>
                    <a:pt x="25" y="52"/>
                    <a:pt x="25" y="49"/>
                  </a:cubicBezTo>
                  <a:cubicBezTo>
                    <a:pt x="25" y="47"/>
                    <a:pt x="27" y="44"/>
                    <a:pt x="30" y="44"/>
                  </a:cubicBezTo>
                  <a:cubicBezTo>
                    <a:pt x="32" y="44"/>
                    <a:pt x="34" y="47"/>
                    <a:pt x="34" y="49"/>
                  </a:cubicBezTo>
                  <a:moveTo>
                    <a:pt x="60" y="25"/>
                  </a:moveTo>
                  <a:cubicBezTo>
                    <a:pt x="60" y="28"/>
                    <a:pt x="58" y="30"/>
                    <a:pt x="56" y="30"/>
                  </a:cubicBezTo>
                  <a:cubicBezTo>
                    <a:pt x="53" y="30"/>
                    <a:pt x="51" y="28"/>
                    <a:pt x="51" y="25"/>
                  </a:cubicBezTo>
                  <a:cubicBezTo>
                    <a:pt x="51" y="23"/>
                    <a:pt x="53" y="21"/>
                    <a:pt x="56" y="21"/>
                  </a:cubicBezTo>
                  <a:cubicBezTo>
                    <a:pt x="58" y="21"/>
                    <a:pt x="60" y="23"/>
                    <a:pt x="60" y="25"/>
                  </a:cubicBezTo>
                  <a:moveTo>
                    <a:pt x="73" y="110"/>
                  </a:moveTo>
                  <a:cubicBezTo>
                    <a:pt x="73" y="73"/>
                    <a:pt x="73" y="73"/>
                    <a:pt x="73" y="73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0" y="66"/>
                    <a:pt x="80" y="65"/>
                    <a:pt x="80" y="65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7"/>
                    <a:pt x="80" y="47"/>
                    <a:pt x="79" y="46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9"/>
                    <a:pt x="65" y="27"/>
                    <a:pt x="65" y="25"/>
                  </a:cubicBezTo>
                  <a:cubicBezTo>
                    <a:pt x="65" y="20"/>
                    <a:pt x="61" y="16"/>
                    <a:pt x="56" y="16"/>
                  </a:cubicBezTo>
                  <a:cubicBezTo>
                    <a:pt x="50" y="16"/>
                    <a:pt x="46" y="20"/>
                    <a:pt x="46" y="25"/>
                  </a:cubicBezTo>
                  <a:cubicBezTo>
                    <a:pt x="46" y="31"/>
                    <a:pt x="50" y="35"/>
                    <a:pt x="56" y="35"/>
                  </a:cubicBezTo>
                  <a:cubicBezTo>
                    <a:pt x="57" y="35"/>
                    <a:pt x="59" y="34"/>
                    <a:pt x="60" y="34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1"/>
                    <a:pt x="68" y="71"/>
                    <a:pt x="68" y="72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3"/>
                    <a:pt x="39" y="51"/>
                    <a:pt x="39" y="49"/>
                  </a:cubicBezTo>
                  <a:cubicBezTo>
                    <a:pt x="39" y="44"/>
                    <a:pt x="35" y="40"/>
                    <a:pt x="30" y="40"/>
                  </a:cubicBezTo>
                  <a:cubicBezTo>
                    <a:pt x="25" y="40"/>
                    <a:pt x="20" y="44"/>
                    <a:pt x="20" y="49"/>
                  </a:cubicBezTo>
                  <a:cubicBezTo>
                    <a:pt x="20" y="54"/>
                    <a:pt x="25" y="59"/>
                    <a:pt x="30" y="59"/>
                  </a:cubicBezTo>
                  <a:cubicBezTo>
                    <a:pt x="31" y="59"/>
                    <a:pt x="33" y="58"/>
                    <a:pt x="34" y="57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09"/>
                    <a:pt x="39" y="104"/>
                    <a:pt x="38" y="101"/>
                  </a:cubicBezTo>
                  <a:cubicBezTo>
                    <a:pt x="43" y="100"/>
                    <a:pt x="47" y="97"/>
                    <a:pt x="49" y="95"/>
                  </a:cubicBezTo>
                  <a:cubicBezTo>
                    <a:pt x="50" y="94"/>
                    <a:pt x="50" y="92"/>
                    <a:pt x="49" y="91"/>
                  </a:cubicBezTo>
                  <a:cubicBezTo>
                    <a:pt x="48" y="91"/>
                    <a:pt x="47" y="91"/>
                    <a:pt x="46" y="91"/>
                  </a:cubicBezTo>
                  <a:cubicBezTo>
                    <a:pt x="42" y="96"/>
                    <a:pt x="31" y="100"/>
                    <a:pt x="22" y="100"/>
                  </a:cubicBezTo>
                  <a:cubicBezTo>
                    <a:pt x="18" y="100"/>
                    <a:pt x="15" y="98"/>
                    <a:pt x="15" y="9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7"/>
                    <a:pt x="17" y="75"/>
                    <a:pt x="17" y="74"/>
                  </a:cubicBezTo>
                  <a:cubicBezTo>
                    <a:pt x="17" y="73"/>
                    <a:pt x="16" y="72"/>
                    <a:pt x="15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5" y="70"/>
                    <a:pt x="5" y="69"/>
                  </a:cubicBezTo>
                  <a:cubicBezTo>
                    <a:pt x="5" y="69"/>
                    <a:pt x="6" y="64"/>
                    <a:pt x="7" y="61"/>
                  </a:cubicBezTo>
                  <a:cubicBezTo>
                    <a:pt x="9" y="54"/>
                    <a:pt x="10" y="48"/>
                    <a:pt x="10" y="46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7" y="34"/>
                    <a:pt x="8" y="25"/>
                    <a:pt x="13" y="19"/>
                  </a:cubicBezTo>
                  <a:cubicBezTo>
                    <a:pt x="17" y="14"/>
                    <a:pt x="22" y="11"/>
                    <a:pt x="29" y="8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2"/>
                    <a:pt x="36" y="33"/>
                    <a:pt x="36" y="3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2" y="52"/>
                    <a:pt x="52" y="53"/>
                    <a:pt x="52" y="55"/>
                  </a:cubicBezTo>
                  <a:cubicBezTo>
                    <a:pt x="52" y="60"/>
                    <a:pt x="56" y="65"/>
                    <a:pt x="61" y="65"/>
                  </a:cubicBezTo>
                  <a:cubicBezTo>
                    <a:pt x="67" y="65"/>
                    <a:pt x="71" y="60"/>
                    <a:pt x="71" y="55"/>
                  </a:cubicBezTo>
                  <a:cubicBezTo>
                    <a:pt x="71" y="50"/>
                    <a:pt x="67" y="46"/>
                    <a:pt x="61" y="46"/>
                  </a:cubicBezTo>
                  <a:cubicBezTo>
                    <a:pt x="60" y="46"/>
                    <a:pt x="58" y="46"/>
                    <a:pt x="57" y="47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4"/>
                    <a:pt x="40" y="13"/>
                    <a:pt x="40" y="13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9" y="6"/>
                    <a:pt x="45" y="5"/>
                    <a:pt x="52" y="5"/>
                  </a:cubicBezTo>
                  <a:cubicBezTo>
                    <a:pt x="60" y="5"/>
                    <a:pt x="67" y="7"/>
                    <a:pt x="73" y="9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2"/>
                    <a:pt x="73" y="33"/>
                    <a:pt x="74" y="33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3"/>
                    <a:pt x="80" y="74"/>
                    <a:pt x="80" y="74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103"/>
                    <a:pt x="80" y="104"/>
                    <a:pt x="80" y="105"/>
                  </a:cubicBezTo>
                  <a:cubicBezTo>
                    <a:pt x="80" y="106"/>
                    <a:pt x="80" y="107"/>
                    <a:pt x="80" y="109"/>
                  </a:cubicBezTo>
                  <a:lnTo>
                    <a:pt x="73" y="110"/>
                  </a:lnTo>
                  <a:close/>
                  <a:moveTo>
                    <a:pt x="87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85" y="113"/>
                    <a:pt x="85" y="113"/>
                    <a:pt x="85" y="113"/>
                  </a:cubicBezTo>
                  <a:lnTo>
                    <a:pt x="87" y="129"/>
                  </a:lnTo>
                  <a:close/>
                  <a:moveTo>
                    <a:pt x="99" y="46"/>
                  </a:moveTo>
                  <a:cubicBezTo>
                    <a:pt x="99" y="58"/>
                    <a:pt x="94" y="66"/>
                    <a:pt x="90" y="75"/>
                  </a:cubicBezTo>
                  <a:cubicBezTo>
                    <a:pt x="88" y="78"/>
                    <a:pt x="86" y="81"/>
                    <a:pt x="85" y="84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9" y="71"/>
                    <a:pt x="89" y="70"/>
                    <a:pt x="89" y="69"/>
                  </a:cubicBezTo>
                  <a:cubicBezTo>
                    <a:pt x="89" y="43"/>
                    <a:pt x="89" y="43"/>
                    <a:pt x="89" y="43"/>
                  </a:cubicBezTo>
                  <a:cubicBezTo>
                    <a:pt x="89" y="43"/>
                    <a:pt x="89" y="42"/>
                    <a:pt x="89" y="42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91" y="18"/>
                    <a:pt x="99" y="31"/>
                    <a:pt x="99" y="46"/>
                  </a:cubicBezTo>
                  <a:moveTo>
                    <a:pt x="94" y="77"/>
                  </a:moveTo>
                  <a:cubicBezTo>
                    <a:pt x="99" y="69"/>
                    <a:pt x="104" y="59"/>
                    <a:pt x="104" y="46"/>
                  </a:cubicBezTo>
                  <a:cubicBezTo>
                    <a:pt x="104" y="19"/>
                    <a:pt x="82" y="0"/>
                    <a:pt x="52" y="0"/>
                  </a:cubicBezTo>
                  <a:cubicBezTo>
                    <a:pt x="32" y="0"/>
                    <a:pt x="17" y="6"/>
                    <a:pt x="10" y="16"/>
                  </a:cubicBezTo>
                  <a:cubicBezTo>
                    <a:pt x="4" y="23"/>
                    <a:pt x="2" y="34"/>
                    <a:pt x="5" y="46"/>
                  </a:cubicBezTo>
                  <a:cubicBezTo>
                    <a:pt x="5" y="48"/>
                    <a:pt x="4" y="55"/>
                    <a:pt x="2" y="60"/>
                  </a:cubicBezTo>
                  <a:cubicBezTo>
                    <a:pt x="1" y="66"/>
                    <a:pt x="0" y="68"/>
                    <a:pt x="0" y="69"/>
                  </a:cubicBezTo>
                  <a:cubicBezTo>
                    <a:pt x="0" y="73"/>
                    <a:pt x="4" y="77"/>
                    <a:pt x="7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101"/>
                    <a:pt x="15" y="105"/>
                    <a:pt x="22" y="105"/>
                  </a:cubicBezTo>
                  <a:cubicBezTo>
                    <a:pt x="25" y="105"/>
                    <a:pt x="30" y="104"/>
                    <a:pt x="34" y="103"/>
                  </a:cubicBezTo>
                  <a:cubicBezTo>
                    <a:pt x="35" y="105"/>
                    <a:pt x="36" y="110"/>
                    <a:pt x="36" y="115"/>
                  </a:cubicBezTo>
                  <a:cubicBezTo>
                    <a:pt x="36" y="115"/>
                    <a:pt x="36" y="116"/>
                    <a:pt x="36" y="116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0" y="117"/>
                    <a:pt x="29" y="118"/>
                    <a:pt x="29" y="119"/>
                  </a:cubicBezTo>
                  <a:cubicBezTo>
                    <a:pt x="26" y="131"/>
                    <a:pt x="26" y="131"/>
                    <a:pt x="26" y="131"/>
                  </a:cubicBezTo>
                  <a:cubicBezTo>
                    <a:pt x="26" y="131"/>
                    <a:pt x="26" y="132"/>
                    <a:pt x="27" y="133"/>
                  </a:cubicBezTo>
                  <a:cubicBezTo>
                    <a:pt x="27" y="133"/>
                    <a:pt x="28" y="134"/>
                    <a:pt x="29" y="134"/>
                  </a:cubicBezTo>
                  <a:cubicBezTo>
                    <a:pt x="89" y="134"/>
                    <a:pt x="89" y="134"/>
                    <a:pt x="89" y="134"/>
                  </a:cubicBezTo>
                  <a:cubicBezTo>
                    <a:pt x="90" y="134"/>
                    <a:pt x="91" y="133"/>
                    <a:pt x="91" y="133"/>
                  </a:cubicBezTo>
                  <a:cubicBezTo>
                    <a:pt x="92" y="132"/>
                    <a:pt x="92" y="132"/>
                    <a:pt x="92" y="131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89" y="109"/>
                    <a:pt x="89" y="108"/>
                    <a:pt x="89" y="108"/>
                  </a:cubicBezTo>
                  <a:cubicBezTo>
                    <a:pt x="88" y="108"/>
                    <a:pt x="87" y="107"/>
                    <a:pt x="87" y="107"/>
                  </a:cubicBezTo>
                  <a:cubicBezTo>
                    <a:pt x="85" y="108"/>
                    <a:pt x="85" y="108"/>
                    <a:pt x="85" y="108"/>
                  </a:cubicBezTo>
                  <a:cubicBezTo>
                    <a:pt x="85" y="107"/>
                    <a:pt x="85" y="106"/>
                    <a:pt x="85" y="105"/>
                  </a:cubicBezTo>
                  <a:cubicBezTo>
                    <a:pt x="85" y="93"/>
                    <a:pt x="89" y="86"/>
                    <a:pt x="94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1" name="Group 236">
            <a:extLst>
              <a:ext uri="{FF2B5EF4-FFF2-40B4-BE49-F238E27FC236}">
                <a16:creationId xmlns:a16="http://schemas.microsoft.com/office/drawing/2014/main" id="{015864F9-3CA1-4081-8BC6-AAC4C1D44F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5465133"/>
            <a:ext cx="758825" cy="758825"/>
            <a:chOff x="989" y="3503"/>
            <a:chExt cx="478" cy="478"/>
          </a:xfrm>
        </p:grpSpPr>
        <p:sp>
          <p:nvSpPr>
            <p:cNvPr id="272" name="AutoShape 235">
              <a:extLst>
                <a:ext uri="{FF2B5EF4-FFF2-40B4-BE49-F238E27FC236}">
                  <a16:creationId xmlns:a16="http://schemas.microsoft.com/office/drawing/2014/main" id="{3AA9D895-0427-4D02-9F9C-5439AFA5EE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9" y="350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7">
              <a:extLst>
                <a:ext uri="{FF2B5EF4-FFF2-40B4-BE49-F238E27FC236}">
                  <a16:creationId xmlns:a16="http://schemas.microsoft.com/office/drawing/2014/main" id="{7B39885F-1305-4C69-B365-0F51832420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1" y="350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38">
              <a:extLst>
                <a:ext uri="{FF2B5EF4-FFF2-40B4-BE49-F238E27FC236}">
                  <a16:creationId xmlns:a16="http://schemas.microsoft.com/office/drawing/2014/main" id="{9805CBEE-2B8D-41E9-9DF4-9675FB30F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" y="3596"/>
              <a:ext cx="280" cy="275"/>
            </a:xfrm>
            <a:custGeom>
              <a:avLst/>
              <a:gdLst>
                <a:gd name="T0" fmla="*/ 184 w 280"/>
                <a:gd name="T1" fmla="*/ 240 h 275"/>
                <a:gd name="T2" fmla="*/ 18 w 280"/>
                <a:gd name="T3" fmla="*/ 184 h 275"/>
                <a:gd name="T4" fmla="*/ 86 w 280"/>
                <a:gd name="T5" fmla="*/ 169 h 275"/>
                <a:gd name="T6" fmla="*/ 96 w 280"/>
                <a:gd name="T7" fmla="*/ 216 h 275"/>
                <a:gd name="T8" fmla="*/ 187 w 280"/>
                <a:gd name="T9" fmla="*/ 209 h 275"/>
                <a:gd name="T10" fmla="*/ 199 w 280"/>
                <a:gd name="T11" fmla="*/ 162 h 275"/>
                <a:gd name="T12" fmla="*/ 263 w 280"/>
                <a:gd name="T13" fmla="*/ 194 h 275"/>
                <a:gd name="T14" fmla="*/ 184 w 280"/>
                <a:gd name="T15" fmla="*/ 226 h 275"/>
                <a:gd name="T16" fmla="*/ 135 w 280"/>
                <a:gd name="T17" fmla="*/ 96 h 275"/>
                <a:gd name="T18" fmla="*/ 32 w 280"/>
                <a:gd name="T19" fmla="*/ 86 h 275"/>
                <a:gd name="T20" fmla="*/ 42 w 280"/>
                <a:gd name="T21" fmla="*/ 76 h 275"/>
                <a:gd name="T22" fmla="*/ 135 w 280"/>
                <a:gd name="T23" fmla="*/ 66 h 275"/>
                <a:gd name="T24" fmla="*/ 108 w 280"/>
                <a:gd name="T25" fmla="*/ 88 h 275"/>
                <a:gd name="T26" fmla="*/ 103 w 280"/>
                <a:gd name="T27" fmla="*/ 115 h 275"/>
                <a:gd name="T28" fmla="*/ 111 w 280"/>
                <a:gd name="T29" fmla="*/ 125 h 275"/>
                <a:gd name="T30" fmla="*/ 145 w 280"/>
                <a:gd name="T31" fmla="*/ 66 h 275"/>
                <a:gd name="T32" fmla="*/ 238 w 280"/>
                <a:gd name="T33" fmla="*/ 76 h 275"/>
                <a:gd name="T34" fmla="*/ 248 w 280"/>
                <a:gd name="T35" fmla="*/ 86 h 275"/>
                <a:gd name="T36" fmla="*/ 167 w 280"/>
                <a:gd name="T37" fmla="*/ 125 h 275"/>
                <a:gd name="T38" fmla="*/ 175 w 280"/>
                <a:gd name="T39" fmla="*/ 118 h 275"/>
                <a:gd name="T40" fmla="*/ 175 w 280"/>
                <a:gd name="T41" fmla="*/ 91 h 275"/>
                <a:gd name="T42" fmla="*/ 167 w 280"/>
                <a:gd name="T43" fmla="*/ 86 h 275"/>
                <a:gd name="T44" fmla="*/ 209 w 280"/>
                <a:gd name="T45" fmla="*/ 34 h 275"/>
                <a:gd name="T46" fmla="*/ 64 w 280"/>
                <a:gd name="T47" fmla="*/ 10 h 275"/>
                <a:gd name="T48" fmla="*/ 113 w 280"/>
                <a:gd name="T49" fmla="*/ 22 h 275"/>
                <a:gd name="T50" fmla="*/ 167 w 280"/>
                <a:gd name="T51" fmla="*/ 10 h 275"/>
                <a:gd name="T52" fmla="*/ 216 w 280"/>
                <a:gd name="T53" fmla="*/ 22 h 275"/>
                <a:gd name="T54" fmla="*/ 165 w 280"/>
                <a:gd name="T55" fmla="*/ 0 h 275"/>
                <a:gd name="T56" fmla="*/ 157 w 280"/>
                <a:gd name="T57" fmla="*/ 7 h 275"/>
                <a:gd name="T58" fmla="*/ 157 w 280"/>
                <a:gd name="T59" fmla="*/ 27 h 275"/>
                <a:gd name="T60" fmla="*/ 165 w 280"/>
                <a:gd name="T61" fmla="*/ 54 h 275"/>
                <a:gd name="T62" fmla="*/ 121 w 280"/>
                <a:gd name="T63" fmla="*/ 30 h 275"/>
                <a:gd name="T64" fmla="*/ 123 w 280"/>
                <a:gd name="T65" fmla="*/ 10 h 275"/>
                <a:gd name="T66" fmla="*/ 118 w 280"/>
                <a:gd name="T67" fmla="*/ 0 h 275"/>
                <a:gd name="T68" fmla="*/ 59 w 280"/>
                <a:gd name="T69" fmla="*/ 0 h 275"/>
                <a:gd name="T70" fmla="*/ 54 w 280"/>
                <a:gd name="T71" fmla="*/ 7 h 275"/>
                <a:gd name="T72" fmla="*/ 54 w 280"/>
                <a:gd name="T73" fmla="*/ 27 h 275"/>
                <a:gd name="T74" fmla="*/ 62 w 280"/>
                <a:gd name="T75" fmla="*/ 57 h 275"/>
                <a:gd name="T76" fmla="*/ 35 w 280"/>
                <a:gd name="T77" fmla="*/ 69 h 275"/>
                <a:gd name="T78" fmla="*/ 23 w 280"/>
                <a:gd name="T79" fmla="*/ 81 h 275"/>
                <a:gd name="T80" fmla="*/ 18 w 280"/>
                <a:gd name="T81" fmla="*/ 157 h 275"/>
                <a:gd name="T82" fmla="*/ 5 w 280"/>
                <a:gd name="T83" fmla="*/ 204 h 275"/>
                <a:gd name="T84" fmla="*/ 3 w 280"/>
                <a:gd name="T85" fmla="*/ 272 h 275"/>
                <a:gd name="T86" fmla="*/ 5 w 280"/>
                <a:gd name="T87" fmla="*/ 275 h 275"/>
                <a:gd name="T88" fmla="*/ 106 w 280"/>
                <a:gd name="T89" fmla="*/ 275 h 275"/>
                <a:gd name="T90" fmla="*/ 106 w 280"/>
                <a:gd name="T91" fmla="*/ 221 h 275"/>
                <a:gd name="T92" fmla="*/ 96 w 280"/>
                <a:gd name="T93" fmla="*/ 172 h 275"/>
                <a:gd name="T94" fmla="*/ 179 w 280"/>
                <a:gd name="T95" fmla="*/ 186 h 275"/>
                <a:gd name="T96" fmla="*/ 172 w 280"/>
                <a:gd name="T97" fmla="*/ 235 h 275"/>
                <a:gd name="T98" fmla="*/ 177 w 280"/>
                <a:gd name="T99" fmla="*/ 275 h 275"/>
                <a:gd name="T100" fmla="*/ 275 w 280"/>
                <a:gd name="T101" fmla="*/ 275 h 275"/>
                <a:gd name="T102" fmla="*/ 280 w 280"/>
                <a:gd name="T103" fmla="*/ 270 h 275"/>
                <a:gd name="T104" fmla="*/ 273 w 280"/>
                <a:gd name="T105" fmla="*/ 186 h 275"/>
                <a:gd name="T106" fmla="*/ 260 w 280"/>
                <a:gd name="T107" fmla="*/ 150 h 275"/>
                <a:gd name="T108" fmla="*/ 255 w 280"/>
                <a:gd name="T109" fmla="*/ 76 h 275"/>
                <a:gd name="T110" fmla="*/ 241 w 280"/>
                <a:gd name="T111" fmla="*/ 66 h 275"/>
                <a:gd name="T112" fmla="*/ 221 w 280"/>
                <a:gd name="T113" fmla="*/ 32 h 275"/>
                <a:gd name="T114" fmla="*/ 226 w 280"/>
                <a:gd name="T115" fmla="*/ 25 h 275"/>
                <a:gd name="T116" fmla="*/ 226 w 280"/>
                <a:gd name="T117" fmla="*/ 5 h 275"/>
                <a:gd name="T118" fmla="*/ 216 w 280"/>
                <a:gd name="T11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" h="275">
                  <a:moveTo>
                    <a:pt x="13" y="240"/>
                  </a:moveTo>
                  <a:lnTo>
                    <a:pt x="96" y="240"/>
                  </a:lnTo>
                  <a:lnTo>
                    <a:pt x="96" y="265"/>
                  </a:lnTo>
                  <a:lnTo>
                    <a:pt x="13" y="265"/>
                  </a:lnTo>
                  <a:lnTo>
                    <a:pt x="13" y="240"/>
                  </a:lnTo>
                  <a:close/>
                  <a:moveTo>
                    <a:pt x="184" y="240"/>
                  </a:moveTo>
                  <a:lnTo>
                    <a:pt x="268" y="240"/>
                  </a:lnTo>
                  <a:lnTo>
                    <a:pt x="268" y="265"/>
                  </a:lnTo>
                  <a:lnTo>
                    <a:pt x="184" y="265"/>
                  </a:lnTo>
                  <a:lnTo>
                    <a:pt x="184" y="240"/>
                  </a:lnTo>
                  <a:close/>
                  <a:moveTo>
                    <a:pt x="13" y="226"/>
                  </a:moveTo>
                  <a:lnTo>
                    <a:pt x="13" y="221"/>
                  </a:lnTo>
                  <a:lnTo>
                    <a:pt x="13" y="216"/>
                  </a:lnTo>
                  <a:lnTo>
                    <a:pt x="13" y="213"/>
                  </a:lnTo>
                  <a:lnTo>
                    <a:pt x="15" y="209"/>
                  </a:lnTo>
                  <a:lnTo>
                    <a:pt x="15" y="204"/>
                  </a:lnTo>
                  <a:lnTo>
                    <a:pt x="15" y="199"/>
                  </a:lnTo>
                  <a:lnTo>
                    <a:pt x="18" y="194"/>
                  </a:lnTo>
                  <a:lnTo>
                    <a:pt x="18" y="189"/>
                  </a:lnTo>
                  <a:lnTo>
                    <a:pt x="18" y="184"/>
                  </a:lnTo>
                  <a:lnTo>
                    <a:pt x="20" y="179"/>
                  </a:lnTo>
                  <a:lnTo>
                    <a:pt x="23" y="174"/>
                  </a:lnTo>
                  <a:lnTo>
                    <a:pt x="23" y="169"/>
                  </a:lnTo>
                  <a:lnTo>
                    <a:pt x="25" y="167"/>
                  </a:lnTo>
                  <a:lnTo>
                    <a:pt x="27" y="162"/>
                  </a:lnTo>
                  <a:lnTo>
                    <a:pt x="30" y="157"/>
                  </a:lnTo>
                  <a:lnTo>
                    <a:pt x="79" y="157"/>
                  </a:lnTo>
                  <a:lnTo>
                    <a:pt x="81" y="162"/>
                  </a:lnTo>
                  <a:lnTo>
                    <a:pt x="84" y="167"/>
                  </a:lnTo>
                  <a:lnTo>
                    <a:pt x="86" y="169"/>
                  </a:lnTo>
                  <a:lnTo>
                    <a:pt x="86" y="174"/>
                  </a:lnTo>
                  <a:lnTo>
                    <a:pt x="89" y="179"/>
                  </a:lnTo>
                  <a:lnTo>
                    <a:pt x="89" y="184"/>
                  </a:lnTo>
                  <a:lnTo>
                    <a:pt x="91" y="189"/>
                  </a:lnTo>
                  <a:lnTo>
                    <a:pt x="91" y="194"/>
                  </a:lnTo>
                  <a:lnTo>
                    <a:pt x="94" y="199"/>
                  </a:lnTo>
                  <a:lnTo>
                    <a:pt x="94" y="204"/>
                  </a:lnTo>
                  <a:lnTo>
                    <a:pt x="94" y="209"/>
                  </a:lnTo>
                  <a:lnTo>
                    <a:pt x="96" y="213"/>
                  </a:lnTo>
                  <a:lnTo>
                    <a:pt x="96" y="216"/>
                  </a:lnTo>
                  <a:lnTo>
                    <a:pt x="96" y="221"/>
                  </a:lnTo>
                  <a:lnTo>
                    <a:pt x="96" y="226"/>
                  </a:lnTo>
                  <a:lnTo>
                    <a:pt x="96" y="231"/>
                  </a:lnTo>
                  <a:lnTo>
                    <a:pt x="13" y="231"/>
                  </a:lnTo>
                  <a:lnTo>
                    <a:pt x="13" y="226"/>
                  </a:lnTo>
                  <a:close/>
                  <a:moveTo>
                    <a:pt x="184" y="226"/>
                  </a:moveTo>
                  <a:lnTo>
                    <a:pt x="184" y="221"/>
                  </a:lnTo>
                  <a:lnTo>
                    <a:pt x="184" y="216"/>
                  </a:lnTo>
                  <a:lnTo>
                    <a:pt x="184" y="213"/>
                  </a:lnTo>
                  <a:lnTo>
                    <a:pt x="187" y="209"/>
                  </a:lnTo>
                  <a:lnTo>
                    <a:pt x="187" y="204"/>
                  </a:lnTo>
                  <a:lnTo>
                    <a:pt x="187" y="199"/>
                  </a:lnTo>
                  <a:lnTo>
                    <a:pt x="189" y="194"/>
                  </a:lnTo>
                  <a:lnTo>
                    <a:pt x="189" y="189"/>
                  </a:lnTo>
                  <a:lnTo>
                    <a:pt x="189" y="184"/>
                  </a:lnTo>
                  <a:lnTo>
                    <a:pt x="192" y="179"/>
                  </a:lnTo>
                  <a:lnTo>
                    <a:pt x="194" y="174"/>
                  </a:lnTo>
                  <a:lnTo>
                    <a:pt x="194" y="169"/>
                  </a:lnTo>
                  <a:lnTo>
                    <a:pt x="197" y="167"/>
                  </a:lnTo>
                  <a:lnTo>
                    <a:pt x="199" y="162"/>
                  </a:lnTo>
                  <a:lnTo>
                    <a:pt x="202" y="157"/>
                  </a:lnTo>
                  <a:lnTo>
                    <a:pt x="251" y="157"/>
                  </a:lnTo>
                  <a:lnTo>
                    <a:pt x="253" y="162"/>
                  </a:lnTo>
                  <a:lnTo>
                    <a:pt x="255" y="167"/>
                  </a:lnTo>
                  <a:lnTo>
                    <a:pt x="258" y="169"/>
                  </a:lnTo>
                  <a:lnTo>
                    <a:pt x="258" y="174"/>
                  </a:lnTo>
                  <a:lnTo>
                    <a:pt x="260" y="179"/>
                  </a:lnTo>
                  <a:lnTo>
                    <a:pt x="260" y="184"/>
                  </a:lnTo>
                  <a:lnTo>
                    <a:pt x="263" y="189"/>
                  </a:lnTo>
                  <a:lnTo>
                    <a:pt x="263" y="194"/>
                  </a:lnTo>
                  <a:lnTo>
                    <a:pt x="265" y="199"/>
                  </a:lnTo>
                  <a:lnTo>
                    <a:pt x="265" y="204"/>
                  </a:lnTo>
                  <a:lnTo>
                    <a:pt x="268" y="209"/>
                  </a:lnTo>
                  <a:lnTo>
                    <a:pt x="268" y="213"/>
                  </a:lnTo>
                  <a:lnTo>
                    <a:pt x="268" y="216"/>
                  </a:lnTo>
                  <a:lnTo>
                    <a:pt x="268" y="221"/>
                  </a:lnTo>
                  <a:lnTo>
                    <a:pt x="268" y="226"/>
                  </a:lnTo>
                  <a:lnTo>
                    <a:pt x="268" y="231"/>
                  </a:lnTo>
                  <a:lnTo>
                    <a:pt x="184" y="231"/>
                  </a:lnTo>
                  <a:lnTo>
                    <a:pt x="184" y="226"/>
                  </a:lnTo>
                  <a:close/>
                  <a:moveTo>
                    <a:pt x="116" y="96"/>
                  </a:moveTo>
                  <a:lnTo>
                    <a:pt x="126" y="96"/>
                  </a:lnTo>
                  <a:lnTo>
                    <a:pt x="126" y="115"/>
                  </a:lnTo>
                  <a:lnTo>
                    <a:pt x="116" y="115"/>
                  </a:lnTo>
                  <a:lnTo>
                    <a:pt x="116" y="96"/>
                  </a:lnTo>
                  <a:close/>
                  <a:moveTo>
                    <a:pt x="135" y="96"/>
                  </a:moveTo>
                  <a:lnTo>
                    <a:pt x="145" y="96"/>
                  </a:lnTo>
                  <a:lnTo>
                    <a:pt x="145" y="115"/>
                  </a:lnTo>
                  <a:lnTo>
                    <a:pt x="135" y="115"/>
                  </a:lnTo>
                  <a:lnTo>
                    <a:pt x="135" y="96"/>
                  </a:lnTo>
                  <a:close/>
                  <a:moveTo>
                    <a:pt x="155" y="96"/>
                  </a:moveTo>
                  <a:lnTo>
                    <a:pt x="165" y="96"/>
                  </a:lnTo>
                  <a:lnTo>
                    <a:pt x="165" y="115"/>
                  </a:lnTo>
                  <a:lnTo>
                    <a:pt x="155" y="115"/>
                  </a:lnTo>
                  <a:lnTo>
                    <a:pt x="155" y="96"/>
                  </a:lnTo>
                  <a:close/>
                  <a:moveTo>
                    <a:pt x="30" y="93"/>
                  </a:moveTo>
                  <a:lnTo>
                    <a:pt x="30" y="91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3"/>
                  </a:lnTo>
                  <a:lnTo>
                    <a:pt x="35" y="83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40" y="79"/>
                  </a:lnTo>
                  <a:lnTo>
                    <a:pt x="40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5" y="74"/>
                  </a:lnTo>
                  <a:lnTo>
                    <a:pt x="47" y="74"/>
                  </a:lnTo>
                  <a:lnTo>
                    <a:pt x="50" y="71"/>
                  </a:lnTo>
                  <a:lnTo>
                    <a:pt x="52" y="69"/>
                  </a:lnTo>
                  <a:lnTo>
                    <a:pt x="57" y="69"/>
                  </a:lnTo>
                  <a:lnTo>
                    <a:pt x="59" y="69"/>
                  </a:lnTo>
                  <a:lnTo>
                    <a:pt x="62" y="66"/>
                  </a:lnTo>
                  <a:lnTo>
                    <a:pt x="67" y="66"/>
                  </a:lnTo>
                  <a:lnTo>
                    <a:pt x="135" y="66"/>
                  </a:lnTo>
                  <a:lnTo>
                    <a:pt x="135" y="86"/>
                  </a:lnTo>
                  <a:lnTo>
                    <a:pt x="116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11" y="86"/>
                  </a:lnTo>
                  <a:lnTo>
                    <a:pt x="111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3" y="98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8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3" y="125"/>
                  </a:lnTo>
                  <a:lnTo>
                    <a:pt x="116" y="125"/>
                  </a:lnTo>
                  <a:lnTo>
                    <a:pt x="135" y="125"/>
                  </a:lnTo>
                  <a:lnTo>
                    <a:pt x="135" y="147"/>
                  </a:lnTo>
                  <a:lnTo>
                    <a:pt x="30" y="147"/>
                  </a:lnTo>
                  <a:lnTo>
                    <a:pt x="30" y="93"/>
                  </a:lnTo>
                  <a:close/>
                  <a:moveTo>
                    <a:pt x="145" y="66"/>
                  </a:moveTo>
                  <a:lnTo>
                    <a:pt x="214" y="66"/>
                  </a:lnTo>
                  <a:lnTo>
                    <a:pt x="219" y="66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8" y="69"/>
                  </a:lnTo>
                  <a:lnTo>
                    <a:pt x="231" y="71"/>
                  </a:lnTo>
                  <a:lnTo>
                    <a:pt x="233" y="74"/>
                  </a:lnTo>
                  <a:lnTo>
                    <a:pt x="236" y="74"/>
                  </a:lnTo>
                  <a:lnTo>
                    <a:pt x="238" y="74"/>
                  </a:lnTo>
                  <a:lnTo>
                    <a:pt x="238" y="76"/>
                  </a:lnTo>
                  <a:lnTo>
                    <a:pt x="241" y="76"/>
                  </a:lnTo>
                  <a:lnTo>
                    <a:pt x="241" y="79"/>
                  </a:lnTo>
                  <a:lnTo>
                    <a:pt x="243" y="79"/>
                  </a:lnTo>
                  <a:lnTo>
                    <a:pt x="243" y="79"/>
                  </a:lnTo>
                  <a:lnTo>
                    <a:pt x="246" y="81"/>
                  </a:lnTo>
                  <a:lnTo>
                    <a:pt x="246" y="81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6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8"/>
                  </a:lnTo>
                  <a:lnTo>
                    <a:pt x="251" y="91"/>
                  </a:lnTo>
                  <a:lnTo>
                    <a:pt x="251" y="93"/>
                  </a:lnTo>
                  <a:lnTo>
                    <a:pt x="251" y="147"/>
                  </a:lnTo>
                  <a:lnTo>
                    <a:pt x="145" y="147"/>
                  </a:lnTo>
                  <a:lnTo>
                    <a:pt x="145" y="125"/>
                  </a:lnTo>
                  <a:lnTo>
                    <a:pt x="165" y="125"/>
                  </a:lnTo>
                  <a:lnTo>
                    <a:pt x="167" y="125"/>
                  </a:lnTo>
                  <a:lnTo>
                    <a:pt x="167" y="125"/>
                  </a:lnTo>
                  <a:lnTo>
                    <a:pt x="170" y="125"/>
                  </a:lnTo>
                  <a:lnTo>
                    <a:pt x="170" y="125"/>
                  </a:lnTo>
                  <a:lnTo>
                    <a:pt x="170" y="125"/>
                  </a:lnTo>
                  <a:lnTo>
                    <a:pt x="172" y="123"/>
                  </a:lnTo>
                  <a:lnTo>
                    <a:pt x="172" y="123"/>
                  </a:lnTo>
                  <a:lnTo>
                    <a:pt x="172" y="123"/>
                  </a:lnTo>
                  <a:lnTo>
                    <a:pt x="175" y="123"/>
                  </a:lnTo>
                  <a:lnTo>
                    <a:pt x="175" y="120"/>
                  </a:lnTo>
                  <a:lnTo>
                    <a:pt x="175" y="120"/>
                  </a:lnTo>
                  <a:lnTo>
                    <a:pt x="175" y="118"/>
                  </a:lnTo>
                  <a:lnTo>
                    <a:pt x="175" y="118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96"/>
                  </a:lnTo>
                  <a:lnTo>
                    <a:pt x="177" y="96"/>
                  </a:lnTo>
                  <a:lnTo>
                    <a:pt x="177" y="96"/>
                  </a:lnTo>
                  <a:lnTo>
                    <a:pt x="175" y="93"/>
                  </a:lnTo>
                  <a:lnTo>
                    <a:pt x="175" y="93"/>
                  </a:lnTo>
                  <a:lnTo>
                    <a:pt x="175" y="91"/>
                  </a:lnTo>
                  <a:lnTo>
                    <a:pt x="175" y="91"/>
                  </a:lnTo>
                  <a:lnTo>
                    <a:pt x="175" y="91"/>
                  </a:lnTo>
                  <a:lnTo>
                    <a:pt x="172" y="88"/>
                  </a:lnTo>
                  <a:lnTo>
                    <a:pt x="172" y="88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0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5" y="86"/>
                  </a:lnTo>
                  <a:lnTo>
                    <a:pt x="145" y="86"/>
                  </a:lnTo>
                  <a:lnTo>
                    <a:pt x="145" y="66"/>
                  </a:lnTo>
                  <a:close/>
                  <a:moveTo>
                    <a:pt x="72" y="34"/>
                  </a:moveTo>
                  <a:lnTo>
                    <a:pt x="106" y="34"/>
                  </a:lnTo>
                  <a:lnTo>
                    <a:pt x="106" y="54"/>
                  </a:lnTo>
                  <a:lnTo>
                    <a:pt x="72" y="54"/>
                  </a:lnTo>
                  <a:lnTo>
                    <a:pt x="72" y="34"/>
                  </a:lnTo>
                  <a:close/>
                  <a:moveTo>
                    <a:pt x="175" y="34"/>
                  </a:moveTo>
                  <a:lnTo>
                    <a:pt x="209" y="34"/>
                  </a:lnTo>
                  <a:lnTo>
                    <a:pt x="209" y="54"/>
                  </a:lnTo>
                  <a:lnTo>
                    <a:pt x="175" y="54"/>
                  </a:lnTo>
                  <a:lnTo>
                    <a:pt x="175" y="34"/>
                  </a:lnTo>
                  <a:close/>
                  <a:moveTo>
                    <a:pt x="64" y="22"/>
                  </a:move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64" y="22"/>
                  </a:lnTo>
                  <a:lnTo>
                    <a:pt x="64" y="22"/>
                  </a:lnTo>
                  <a:close/>
                  <a:moveTo>
                    <a:pt x="167" y="22"/>
                  </a:move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216" y="22"/>
                  </a:lnTo>
                  <a:lnTo>
                    <a:pt x="167" y="22"/>
                  </a:lnTo>
                  <a:lnTo>
                    <a:pt x="167" y="22"/>
                  </a:lnTo>
                  <a:close/>
                  <a:moveTo>
                    <a:pt x="167" y="0"/>
                  </a:moveTo>
                  <a:lnTo>
                    <a:pt x="167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60" y="3"/>
                  </a:lnTo>
                  <a:lnTo>
                    <a:pt x="160" y="3"/>
                  </a:lnTo>
                  <a:lnTo>
                    <a:pt x="160" y="3"/>
                  </a:lnTo>
                  <a:lnTo>
                    <a:pt x="160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5" y="32"/>
                  </a:lnTo>
                  <a:lnTo>
                    <a:pt x="165" y="54"/>
                  </a:lnTo>
                  <a:lnTo>
                    <a:pt x="116" y="54"/>
                  </a:lnTo>
                  <a:lnTo>
                    <a:pt x="116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1" y="5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2" y="57"/>
                  </a:lnTo>
                  <a:lnTo>
                    <a:pt x="57" y="57"/>
                  </a:lnTo>
                  <a:lnTo>
                    <a:pt x="54" y="59"/>
                  </a:lnTo>
                  <a:lnTo>
                    <a:pt x="50" y="59"/>
                  </a:lnTo>
                  <a:lnTo>
                    <a:pt x="47" y="61"/>
                  </a:lnTo>
                  <a:lnTo>
                    <a:pt x="45" y="64"/>
                  </a:lnTo>
                  <a:lnTo>
                    <a:pt x="40" y="64"/>
                  </a:lnTo>
                  <a:lnTo>
                    <a:pt x="40" y="66"/>
                  </a:lnTo>
                  <a:lnTo>
                    <a:pt x="37" y="66"/>
                  </a:lnTo>
                  <a:lnTo>
                    <a:pt x="35" y="66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5" y="76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81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0" y="86"/>
                  </a:lnTo>
                  <a:lnTo>
                    <a:pt x="20" y="88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0" y="150"/>
                  </a:lnTo>
                  <a:lnTo>
                    <a:pt x="20" y="152"/>
                  </a:lnTo>
                  <a:lnTo>
                    <a:pt x="18" y="155"/>
                  </a:lnTo>
                  <a:lnTo>
                    <a:pt x="18" y="157"/>
                  </a:lnTo>
                  <a:lnTo>
                    <a:pt x="15" y="159"/>
                  </a:lnTo>
                  <a:lnTo>
                    <a:pt x="15" y="162"/>
                  </a:lnTo>
                  <a:lnTo>
                    <a:pt x="15" y="167"/>
                  </a:lnTo>
                  <a:lnTo>
                    <a:pt x="13" y="172"/>
                  </a:lnTo>
                  <a:lnTo>
                    <a:pt x="10" y="177"/>
                  </a:lnTo>
                  <a:lnTo>
                    <a:pt x="8" y="182"/>
                  </a:lnTo>
                  <a:lnTo>
                    <a:pt x="8" y="186"/>
                  </a:lnTo>
                  <a:lnTo>
                    <a:pt x="5" y="191"/>
                  </a:lnTo>
                  <a:lnTo>
                    <a:pt x="5" y="199"/>
                  </a:lnTo>
                  <a:lnTo>
                    <a:pt x="5" y="204"/>
                  </a:lnTo>
                  <a:lnTo>
                    <a:pt x="3" y="209"/>
                  </a:lnTo>
                  <a:lnTo>
                    <a:pt x="3" y="213"/>
                  </a:lnTo>
                  <a:lnTo>
                    <a:pt x="3" y="221"/>
                  </a:lnTo>
                  <a:lnTo>
                    <a:pt x="3" y="226"/>
                  </a:lnTo>
                  <a:lnTo>
                    <a:pt x="0" y="231"/>
                  </a:lnTo>
                  <a:lnTo>
                    <a:pt x="0" y="235"/>
                  </a:lnTo>
                  <a:lnTo>
                    <a:pt x="0" y="270"/>
                  </a:lnTo>
                  <a:lnTo>
                    <a:pt x="0" y="272"/>
                  </a:lnTo>
                  <a:lnTo>
                    <a:pt x="0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8" y="275"/>
                  </a:lnTo>
                  <a:lnTo>
                    <a:pt x="101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6" y="275"/>
                  </a:lnTo>
                  <a:lnTo>
                    <a:pt x="106" y="275"/>
                  </a:lnTo>
                  <a:lnTo>
                    <a:pt x="106" y="275"/>
                  </a:lnTo>
                  <a:lnTo>
                    <a:pt x="106" y="272"/>
                  </a:lnTo>
                  <a:lnTo>
                    <a:pt x="106" y="272"/>
                  </a:lnTo>
                  <a:lnTo>
                    <a:pt x="106" y="272"/>
                  </a:lnTo>
                  <a:lnTo>
                    <a:pt x="106" y="272"/>
                  </a:lnTo>
                  <a:lnTo>
                    <a:pt x="108" y="272"/>
                  </a:lnTo>
                  <a:lnTo>
                    <a:pt x="108" y="270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06" y="226"/>
                  </a:lnTo>
                  <a:lnTo>
                    <a:pt x="106" y="221"/>
                  </a:lnTo>
                  <a:lnTo>
                    <a:pt x="106" y="216"/>
                  </a:lnTo>
                  <a:lnTo>
                    <a:pt x="106" y="211"/>
                  </a:lnTo>
                  <a:lnTo>
                    <a:pt x="106" y="206"/>
                  </a:lnTo>
                  <a:lnTo>
                    <a:pt x="103" y="201"/>
                  </a:lnTo>
                  <a:lnTo>
                    <a:pt x="103" y="196"/>
                  </a:lnTo>
                  <a:lnTo>
                    <a:pt x="101" y="191"/>
                  </a:lnTo>
                  <a:lnTo>
                    <a:pt x="101" y="186"/>
                  </a:lnTo>
                  <a:lnTo>
                    <a:pt x="99" y="182"/>
                  </a:lnTo>
                  <a:lnTo>
                    <a:pt x="99" y="177"/>
                  </a:lnTo>
                  <a:lnTo>
                    <a:pt x="96" y="172"/>
                  </a:lnTo>
                  <a:lnTo>
                    <a:pt x="96" y="167"/>
                  </a:lnTo>
                  <a:lnTo>
                    <a:pt x="94" y="162"/>
                  </a:lnTo>
                  <a:lnTo>
                    <a:pt x="91" y="157"/>
                  </a:lnTo>
                  <a:lnTo>
                    <a:pt x="189" y="157"/>
                  </a:lnTo>
                  <a:lnTo>
                    <a:pt x="187" y="162"/>
                  </a:lnTo>
                  <a:lnTo>
                    <a:pt x="184" y="167"/>
                  </a:lnTo>
                  <a:lnTo>
                    <a:pt x="184" y="172"/>
                  </a:lnTo>
                  <a:lnTo>
                    <a:pt x="182" y="177"/>
                  </a:lnTo>
                  <a:lnTo>
                    <a:pt x="182" y="182"/>
                  </a:lnTo>
                  <a:lnTo>
                    <a:pt x="179" y="186"/>
                  </a:lnTo>
                  <a:lnTo>
                    <a:pt x="177" y="191"/>
                  </a:lnTo>
                  <a:lnTo>
                    <a:pt x="177" y="196"/>
                  </a:lnTo>
                  <a:lnTo>
                    <a:pt x="177" y="201"/>
                  </a:lnTo>
                  <a:lnTo>
                    <a:pt x="175" y="206"/>
                  </a:lnTo>
                  <a:lnTo>
                    <a:pt x="175" y="211"/>
                  </a:lnTo>
                  <a:lnTo>
                    <a:pt x="175" y="216"/>
                  </a:lnTo>
                  <a:lnTo>
                    <a:pt x="175" y="221"/>
                  </a:lnTo>
                  <a:lnTo>
                    <a:pt x="175" y="226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72" y="270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5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9" y="275"/>
                  </a:lnTo>
                  <a:lnTo>
                    <a:pt x="273" y="275"/>
                  </a:lnTo>
                  <a:lnTo>
                    <a:pt x="275" y="275"/>
                  </a:lnTo>
                  <a:lnTo>
                    <a:pt x="275" y="275"/>
                  </a:lnTo>
                  <a:lnTo>
                    <a:pt x="275" y="275"/>
                  </a:lnTo>
                  <a:lnTo>
                    <a:pt x="275" y="275"/>
                  </a:lnTo>
                  <a:lnTo>
                    <a:pt x="275" y="275"/>
                  </a:lnTo>
                  <a:lnTo>
                    <a:pt x="278" y="275"/>
                  </a:lnTo>
                  <a:lnTo>
                    <a:pt x="278" y="275"/>
                  </a:lnTo>
                  <a:lnTo>
                    <a:pt x="278" y="275"/>
                  </a:lnTo>
                  <a:lnTo>
                    <a:pt x="278" y="272"/>
                  </a:lnTo>
                  <a:lnTo>
                    <a:pt x="278" y="272"/>
                  </a:lnTo>
                  <a:lnTo>
                    <a:pt x="278" y="272"/>
                  </a:lnTo>
                  <a:lnTo>
                    <a:pt x="278" y="272"/>
                  </a:lnTo>
                  <a:lnTo>
                    <a:pt x="280" y="272"/>
                  </a:lnTo>
                  <a:lnTo>
                    <a:pt x="280" y="270"/>
                  </a:lnTo>
                  <a:lnTo>
                    <a:pt x="280" y="235"/>
                  </a:lnTo>
                  <a:lnTo>
                    <a:pt x="280" y="231"/>
                  </a:lnTo>
                  <a:lnTo>
                    <a:pt x="278" y="226"/>
                  </a:lnTo>
                  <a:lnTo>
                    <a:pt x="278" y="221"/>
                  </a:lnTo>
                  <a:lnTo>
                    <a:pt x="278" y="213"/>
                  </a:lnTo>
                  <a:lnTo>
                    <a:pt x="278" y="209"/>
                  </a:lnTo>
                  <a:lnTo>
                    <a:pt x="275" y="204"/>
                  </a:lnTo>
                  <a:lnTo>
                    <a:pt x="275" y="199"/>
                  </a:lnTo>
                  <a:lnTo>
                    <a:pt x="275" y="191"/>
                  </a:lnTo>
                  <a:lnTo>
                    <a:pt x="273" y="186"/>
                  </a:lnTo>
                  <a:lnTo>
                    <a:pt x="273" y="182"/>
                  </a:lnTo>
                  <a:lnTo>
                    <a:pt x="270" y="177"/>
                  </a:lnTo>
                  <a:lnTo>
                    <a:pt x="268" y="172"/>
                  </a:lnTo>
                  <a:lnTo>
                    <a:pt x="265" y="167"/>
                  </a:lnTo>
                  <a:lnTo>
                    <a:pt x="265" y="162"/>
                  </a:lnTo>
                  <a:lnTo>
                    <a:pt x="265" y="159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0" y="152"/>
                  </a:lnTo>
                  <a:lnTo>
                    <a:pt x="260" y="150"/>
                  </a:lnTo>
                  <a:lnTo>
                    <a:pt x="260" y="93"/>
                  </a:lnTo>
                  <a:lnTo>
                    <a:pt x="260" y="91"/>
                  </a:lnTo>
                  <a:lnTo>
                    <a:pt x="260" y="88"/>
                  </a:lnTo>
                  <a:lnTo>
                    <a:pt x="260" y="86"/>
                  </a:lnTo>
                  <a:lnTo>
                    <a:pt x="258" y="83"/>
                  </a:lnTo>
                  <a:lnTo>
                    <a:pt x="258" y="83"/>
                  </a:lnTo>
                  <a:lnTo>
                    <a:pt x="258" y="81"/>
                  </a:lnTo>
                  <a:lnTo>
                    <a:pt x="258" y="79"/>
                  </a:lnTo>
                  <a:lnTo>
                    <a:pt x="255" y="79"/>
                  </a:lnTo>
                  <a:lnTo>
                    <a:pt x="255" y="76"/>
                  </a:lnTo>
                  <a:lnTo>
                    <a:pt x="253" y="76"/>
                  </a:lnTo>
                  <a:lnTo>
                    <a:pt x="253" y="74"/>
                  </a:lnTo>
                  <a:lnTo>
                    <a:pt x="251" y="74"/>
                  </a:lnTo>
                  <a:lnTo>
                    <a:pt x="251" y="71"/>
                  </a:lnTo>
                  <a:lnTo>
                    <a:pt x="248" y="71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6" y="66"/>
                  </a:lnTo>
                  <a:lnTo>
                    <a:pt x="243" y="66"/>
                  </a:lnTo>
                  <a:lnTo>
                    <a:pt x="241" y="66"/>
                  </a:lnTo>
                  <a:lnTo>
                    <a:pt x="241" y="64"/>
                  </a:lnTo>
                  <a:lnTo>
                    <a:pt x="236" y="64"/>
                  </a:lnTo>
                  <a:lnTo>
                    <a:pt x="233" y="61"/>
                  </a:lnTo>
                  <a:lnTo>
                    <a:pt x="231" y="59"/>
                  </a:lnTo>
                  <a:lnTo>
                    <a:pt x="226" y="59"/>
                  </a:lnTo>
                  <a:lnTo>
                    <a:pt x="224" y="57"/>
                  </a:lnTo>
                  <a:lnTo>
                    <a:pt x="219" y="57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2"/>
                  </a:lnTo>
                  <a:lnTo>
                    <a:pt x="221" y="32"/>
                  </a:lnTo>
                  <a:lnTo>
                    <a:pt x="224" y="32"/>
                  </a:lnTo>
                  <a:lnTo>
                    <a:pt x="224" y="30"/>
                  </a:lnTo>
                  <a:lnTo>
                    <a:pt x="224" y="30"/>
                  </a:lnTo>
                  <a:lnTo>
                    <a:pt x="224" y="30"/>
                  </a:lnTo>
                  <a:lnTo>
                    <a:pt x="226" y="30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5"/>
                  </a:lnTo>
                  <a:lnTo>
                    <a:pt x="226" y="25"/>
                  </a:lnTo>
                  <a:lnTo>
                    <a:pt x="226" y="25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7"/>
                  </a:lnTo>
                  <a:lnTo>
                    <a:pt x="226" y="7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4" y="3"/>
                  </a:lnTo>
                  <a:lnTo>
                    <a:pt x="224" y="3"/>
                  </a:lnTo>
                  <a:lnTo>
                    <a:pt x="224" y="3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41">
            <a:extLst>
              <a:ext uri="{FF2B5EF4-FFF2-40B4-BE49-F238E27FC236}">
                <a16:creationId xmlns:a16="http://schemas.microsoft.com/office/drawing/2014/main" id="{C05BCBF6-50CF-44ED-BC1B-F6F7FC6E0D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1637" y="5423858"/>
            <a:ext cx="841375" cy="841375"/>
            <a:chOff x="204" y="3553"/>
            <a:chExt cx="530" cy="530"/>
          </a:xfrm>
        </p:grpSpPr>
        <p:sp>
          <p:nvSpPr>
            <p:cNvPr id="276" name="AutoShape 240">
              <a:extLst>
                <a:ext uri="{FF2B5EF4-FFF2-40B4-BE49-F238E27FC236}">
                  <a16:creationId xmlns:a16="http://schemas.microsoft.com/office/drawing/2014/main" id="{4EDBC3CD-A14A-4446-8B00-DE685DD784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4" y="355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242">
              <a:extLst>
                <a:ext uri="{FF2B5EF4-FFF2-40B4-BE49-F238E27FC236}">
                  <a16:creationId xmlns:a16="http://schemas.microsoft.com/office/drawing/2014/main" id="{AE75BAEC-FE44-46DC-A5E3-5A6CB25A3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" y="355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3">
              <a:extLst>
                <a:ext uri="{FF2B5EF4-FFF2-40B4-BE49-F238E27FC236}">
                  <a16:creationId xmlns:a16="http://schemas.microsoft.com/office/drawing/2014/main" id="{C7B255F7-4246-4CB3-BA6F-59617960D5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" y="357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44">
              <a:extLst>
                <a:ext uri="{FF2B5EF4-FFF2-40B4-BE49-F238E27FC236}">
                  <a16:creationId xmlns:a16="http://schemas.microsoft.com/office/drawing/2014/main" id="{9A35087B-53CE-40F2-A9E8-F2979AFDF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" y="3666"/>
              <a:ext cx="292" cy="286"/>
            </a:xfrm>
            <a:custGeom>
              <a:avLst/>
              <a:gdLst>
                <a:gd name="T0" fmla="*/ 192 w 292"/>
                <a:gd name="T1" fmla="*/ 250 h 286"/>
                <a:gd name="T2" fmla="*/ 18 w 292"/>
                <a:gd name="T3" fmla="*/ 192 h 286"/>
                <a:gd name="T4" fmla="*/ 90 w 292"/>
                <a:gd name="T5" fmla="*/ 176 h 286"/>
                <a:gd name="T6" fmla="*/ 100 w 292"/>
                <a:gd name="T7" fmla="*/ 225 h 286"/>
                <a:gd name="T8" fmla="*/ 195 w 292"/>
                <a:gd name="T9" fmla="*/ 217 h 286"/>
                <a:gd name="T10" fmla="*/ 208 w 292"/>
                <a:gd name="T11" fmla="*/ 169 h 286"/>
                <a:gd name="T12" fmla="*/ 274 w 292"/>
                <a:gd name="T13" fmla="*/ 202 h 286"/>
                <a:gd name="T14" fmla="*/ 192 w 292"/>
                <a:gd name="T15" fmla="*/ 235 h 286"/>
                <a:gd name="T16" fmla="*/ 141 w 292"/>
                <a:gd name="T17" fmla="*/ 99 h 286"/>
                <a:gd name="T18" fmla="*/ 34 w 292"/>
                <a:gd name="T19" fmla="*/ 89 h 286"/>
                <a:gd name="T20" fmla="*/ 44 w 292"/>
                <a:gd name="T21" fmla="*/ 79 h 286"/>
                <a:gd name="T22" fmla="*/ 141 w 292"/>
                <a:gd name="T23" fmla="*/ 69 h 286"/>
                <a:gd name="T24" fmla="*/ 113 w 292"/>
                <a:gd name="T25" fmla="*/ 92 h 286"/>
                <a:gd name="T26" fmla="*/ 108 w 292"/>
                <a:gd name="T27" fmla="*/ 120 h 286"/>
                <a:gd name="T28" fmla="*/ 115 w 292"/>
                <a:gd name="T29" fmla="*/ 130 h 286"/>
                <a:gd name="T30" fmla="*/ 151 w 292"/>
                <a:gd name="T31" fmla="*/ 69 h 286"/>
                <a:gd name="T32" fmla="*/ 249 w 292"/>
                <a:gd name="T33" fmla="*/ 79 h 286"/>
                <a:gd name="T34" fmla="*/ 259 w 292"/>
                <a:gd name="T35" fmla="*/ 89 h 286"/>
                <a:gd name="T36" fmla="*/ 174 w 292"/>
                <a:gd name="T37" fmla="*/ 130 h 286"/>
                <a:gd name="T38" fmla="*/ 182 w 292"/>
                <a:gd name="T39" fmla="*/ 122 h 286"/>
                <a:gd name="T40" fmla="*/ 182 w 292"/>
                <a:gd name="T41" fmla="*/ 94 h 286"/>
                <a:gd name="T42" fmla="*/ 174 w 292"/>
                <a:gd name="T43" fmla="*/ 89 h 286"/>
                <a:gd name="T44" fmla="*/ 218 w 292"/>
                <a:gd name="T45" fmla="*/ 35 h 286"/>
                <a:gd name="T46" fmla="*/ 67 w 292"/>
                <a:gd name="T47" fmla="*/ 10 h 286"/>
                <a:gd name="T48" fmla="*/ 118 w 292"/>
                <a:gd name="T49" fmla="*/ 23 h 286"/>
                <a:gd name="T50" fmla="*/ 174 w 292"/>
                <a:gd name="T51" fmla="*/ 10 h 286"/>
                <a:gd name="T52" fmla="*/ 226 w 292"/>
                <a:gd name="T53" fmla="*/ 23 h 286"/>
                <a:gd name="T54" fmla="*/ 172 w 292"/>
                <a:gd name="T55" fmla="*/ 0 h 286"/>
                <a:gd name="T56" fmla="*/ 164 w 292"/>
                <a:gd name="T57" fmla="*/ 7 h 286"/>
                <a:gd name="T58" fmla="*/ 164 w 292"/>
                <a:gd name="T59" fmla="*/ 28 h 286"/>
                <a:gd name="T60" fmla="*/ 172 w 292"/>
                <a:gd name="T61" fmla="*/ 56 h 286"/>
                <a:gd name="T62" fmla="*/ 126 w 292"/>
                <a:gd name="T63" fmla="*/ 30 h 286"/>
                <a:gd name="T64" fmla="*/ 128 w 292"/>
                <a:gd name="T65" fmla="*/ 10 h 286"/>
                <a:gd name="T66" fmla="*/ 123 w 292"/>
                <a:gd name="T67" fmla="*/ 0 h 286"/>
                <a:gd name="T68" fmla="*/ 62 w 292"/>
                <a:gd name="T69" fmla="*/ 0 h 286"/>
                <a:gd name="T70" fmla="*/ 57 w 292"/>
                <a:gd name="T71" fmla="*/ 7 h 286"/>
                <a:gd name="T72" fmla="*/ 57 w 292"/>
                <a:gd name="T73" fmla="*/ 28 h 286"/>
                <a:gd name="T74" fmla="*/ 64 w 292"/>
                <a:gd name="T75" fmla="*/ 58 h 286"/>
                <a:gd name="T76" fmla="*/ 36 w 292"/>
                <a:gd name="T77" fmla="*/ 71 h 286"/>
                <a:gd name="T78" fmla="*/ 23 w 292"/>
                <a:gd name="T79" fmla="*/ 84 h 286"/>
                <a:gd name="T80" fmla="*/ 18 w 292"/>
                <a:gd name="T81" fmla="*/ 163 h 286"/>
                <a:gd name="T82" fmla="*/ 5 w 292"/>
                <a:gd name="T83" fmla="*/ 212 h 286"/>
                <a:gd name="T84" fmla="*/ 3 w 292"/>
                <a:gd name="T85" fmla="*/ 284 h 286"/>
                <a:gd name="T86" fmla="*/ 5 w 292"/>
                <a:gd name="T87" fmla="*/ 286 h 286"/>
                <a:gd name="T88" fmla="*/ 110 w 292"/>
                <a:gd name="T89" fmla="*/ 286 h 286"/>
                <a:gd name="T90" fmla="*/ 110 w 292"/>
                <a:gd name="T91" fmla="*/ 230 h 286"/>
                <a:gd name="T92" fmla="*/ 100 w 292"/>
                <a:gd name="T93" fmla="*/ 179 h 286"/>
                <a:gd name="T94" fmla="*/ 187 w 292"/>
                <a:gd name="T95" fmla="*/ 194 h 286"/>
                <a:gd name="T96" fmla="*/ 179 w 292"/>
                <a:gd name="T97" fmla="*/ 245 h 286"/>
                <a:gd name="T98" fmla="*/ 185 w 292"/>
                <a:gd name="T99" fmla="*/ 286 h 286"/>
                <a:gd name="T100" fmla="*/ 287 w 292"/>
                <a:gd name="T101" fmla="*/ 286 h 286"/>
                <a:gd name="T102" fmla="*/ 292 w 292"/>
                <a:gd name="T103" fmla="*/ 281 h 286"/>
                <a:gd name="T104" fmla="*/ 284 w 292"/>
                <a:gd name="T105" fmla="*/ 194 h 286"/>
                <a:gd name="T106" fmla="*/ 272 w 292"/>
                <a:gd name="T107" fmla="*/ 156 h 286"/>
                <a:gd name="T108" fmla="*/ 267 w 292"/>
                <a:gd name="T109" fmla="*/ 79 h 286"/>
                <a:gd name="T110" fmla="*/ 251 w 292"/>
                <a:gd name="T111" fmla="*/ 69 h 286"/>
                <a:gd name="T112" fmla="*/ 231 w 292"/>
                <a:gd name="T113" fmla="*/ 33 h 286"/>
                <a:gd name="T114" fmla="*/ 236 w 292"/>
                <a:gd name="T115" fmla="*/ 25 h 286"/>
                <a:gd name="T116" fmla="*/ 236 w 292"/>
                <a:gd name="T117" fmla="*/ 5 h 286"/>
                <a:gd name="T118" fmla="*/ 226 w 292"/>
                <a:gd name="T11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286">
                  <a:moveTo>
                    <a:pt x="13" y="250"/>
                  </a:moveTo>
                  <a:lnTo>
                    <a:pt x="100" y="250"/>
                  </a:lnTo>
                  <a:lnTo>
                    <a:pt x="100" y="276"/>
                  </a:lnTo>
                  <a:lnTo>
                    <a:pt x="13" y="276"/>
                  </a:lnTo>
                  <a:lnTo>
                    <a:pt x="13" y="250"/>
                  </a:lnTo>
                  <a:close/>
                  <a:moveTo>
                    <a:pt x="192" y="250"/>
                  </a:moveTo>
                  <a:lnTo>
                    <a:pt x="279" y="250"/>
                  </a:lnTo>
                  <a:lnTo>
                    <a:pt x="279" y="276"/>
                  </a:lnTo>
                  <a:lnTo>
                    <a:pt x="192" y="276"/>
                  </a:lnTo>
                  <a:lnTo>
                    <a:pt x="192" y="250"/>
                  </a:lnTo>
                  <a:close/>
                  <a:moveTo>
                    <a:pt x="13" y="235"/>
                  </a:moveTo>
                  <a:lnTo>
                    <a:pt x="13" y="230"/>
                  </a:lnTo>
                  <a:lnTo>
                    <a:pt x="13" y="225"/>
                  </a:lnTo>
                  <a:lnTo>
                    <a:pt x="13" y="222"/>
                  </a:lnTo>
                  <a:lnTo>
                    <a:pt x="16" y="217"/>
                  </a:lnTo>
                  <a:lnTo>
                    <a:pt x="16" y="212"/>
                  </a:lnTo>
                  <a:lnTo>
                    <a:pt x="16" y="207"/>
                  </a:lnTo>
                  <a:lnTo>
                    <a:pt x="18" y="202"/>
                  </a:lnTo>
                  <a:lnTo>
                    <a:pt x="18" y="197"/>
                  </a:lnTo>
                  <a:lnTo>
                    <a:pt x="18" y="192"/>
                  </a:lnTo>
                  <a:lnTo>
                    <a:pt x="21" y="186"/>
                  </a:lnTo>
                  <a:lnTo>
                    <a:pt x="23" y="181"/>
                  </a:lnTo>
                  <a:lnTo>
                    <a:pt x="23" y="176"/>
                  </a:lnTo>
                  <a:lnTo>
                    <a:pt x="26" y="174"/>
                  </a:lnTo>
                  <a:lnTo>
                    <a:pt x="28" y="169"/>
                  </a:lnTo>
                  <a:lnTo>
                    <a:pt x="31" y="163"/>
                  </a:lnTo>
                  <a:lnTo>
                    <a:pt x="82" y="163"/>
                  </a:lnTo>
                  <a:lnTo>
                    <a:pt x="85" y="169"/>
                  </a:lnTo>
                  <a:lnTo>
                    <a:pt x="87" y="174"/>
                  </a:lnTo>
                  <a:lnTo>
                    <a:pt x="90" y="176"/>
                  </a:lnTo>
                  <a:lnTo>
                    <a:pt x="90" y="181"/>
                  </a:lnTo>
                  <a:lnTo>
                    <a:pt x="92" y="186"/>
                  </a:lnTo>
                  <a:lnTo>
                    <a:pt x="92" y="192"/>
                  </a:lnTo>
                  <a:lnTo>
                    <a:pt x="95" y="197"/>
                  </a:lnTo>
                  <a:lnTo>
                    <a:pt x="95" y="202"/>
                  </a:lnTo>
                  <a:lnTo>
                    <a:pt x="98" y="207"/>
                  </a:lnTo>
                  <a:lnTo>
                    <a:pt x="98" y="212"/>
                  </a:lnTo>
                  <a:lnTo>
                    <a:pt x="98" y="217"/>
                  </a:lnTo>
                  <a:lnTo>
                    <a:pt x="100" y="222"/>
                  </a:lnTo>
                  <a:lnTo>
                    <a:pt x="100" y="225"/>
                  </a:lnTo>
                  <a:lnTo>
                    <a:pt x="100" y="230"/>
                  </a:lnTo>
                  <a:lnTo>
                    <a:pt x="100" y="235"/>
                  </a:lnTo>
                  <a:lnTo>
                    <a:pt x="100" y="240"/>
                  </a:lnTo>
                  <a:lnTo>
                    <a:pt x="13" y="240"/>
                  </a:lnTo>
                  <a:lnTo>
                    <a:pt x="13" y="235"/>
                  </a:lnTo>
                  <a:close/>
                  <a:moveTo>
                    <a:pt x="192" y="235"/>
                  </a:moveTo>
                  <a:lnTo>
                    <a:pt x="192" y="230"/>
                  </a:lnTo>
                  <a:lnTo>
                    <a:pt x="192" y="225"/>
                  </a:lnTo>
                  <a:lnTo>
                    <a:pt x="192" y="222"/>
                  </a:lnTo>
                  <a:lnTo>
                    <a:pt x="195" y="217"/>
                  </a:lnTo>
                  <a:lnTo>
                    <a:pt x="195" y="212"/>
                  </a:lnTo>
                  <a:lnTo>
                    <a:pt x="195" y="207"/>
                  </a:lnTo>
                  <a:lnTo>
                    <a:pt x="197" y="202"/>
                  </a:lnTo>
                  <a:lnTo>
                    <a:pt x="197" y="197"/>
                  </a:lnTo>
                  <a:lnTo>
                    <a:pt x="197" y="192"/>
                  </a:lnTo>
                  <a:lnTo>
                    <a:pt x="200" y="186"/>
                  </a:lnTo>
                  <a:lnTo>
                    <a:pt x="203" y="181"/>
                  </a:lnTo>
                  <a:lnTo>
                    <a:pt x="203" y="176"/>
                  </a:lnTo>
                  <a:lnTo>
                    <a:pt x="205" y="174"/>
                  </a:lnTo>
                  <a:lnTo>
                    <a:pt x="208" y="169"/>
                  </a:lnTo>
                  <a:lnTo>
                    <a:pt x="210" y="163"/>
                  </a:lnTo>
                  <a:lnTo>
                    <a:pt x="261" y="163"/>
                  </a:lnTo>
                  <a:lnTo>
                    <a:pt x="264" y="169"/>
                  </a:lnTo>
                  <a:lnTo>
                    <a:pt x="267" y="174"/>
                  </a:lnTo>
                  <a:lnTo>
                    <a:pt x="269" y="176"/>
                  </a:lnTo>
                  <a:lnTo>
                    <a:pt x="269" y="181"/>
                  </a:lnTo>
                  <a:lnTo>
                    <a:pt x="272" y="186"/>
                  </a:lnTo>
                  <a:lnTo>
                    <a:pt x="272" y="192"/>
                  </a:lnTo>
                  <a:lnTo>
                    <a:pt x="274" y="197"/>
                  </a:lnTo>
                  <a:lnTo>
                    <a:pt x="274" y="202"/>
                  </a:lnTo>
                  <a:lnTo>
                    <a:pt x="277" y="207"/>
                  </a:lnTo>
                  <a:lnTo>
                    <a:pt x="277" y="212"/>
                  </a:lnTo>
                  <a:lnTo>
                    <a:pt x="279" y="217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30"/>
                  </a:lnTo>
                  <a:lnTo>
                    <a:pt x="279" y="235"/>
                  </a:lnTo>
                  <a:lnTo>
                    <a:pt x="279" y="240"/>
                  </a:lnTo>
                  <a:lnTo>
                    <a:pt x="192" y="240"/>
                  </a:lnTo>
                  <a:lnTo>
                    <a:pt x="192" y="235"/>
                  </a:lnTo>
                  <a:close/>
                  <a:moveTo>
                    <a:pt x="121" y="99"/>
                  </a:moveTo>
                  <a:lnTo>
                    <a:pt x="131" y="99"/>
                  </a:lnTo>
                  <a:lnTo>
                    <a:pt x="131" y="120"/>
                  </a:lnTo>
                  <a:lnTo>
                    <a:pt x="121" y="120"/>
                  </a:lnTo>
                  <a:lnTo>
                    <a:pt x="121" y="99"/>
                  </a:lnTo>
                  <a:close/>
                  <a:moveTo>
                    <a:pt x="141" y="99"/>
                  </a:moveTo>
                  <a:lnTo>
                    <a:pt x="151" y="99"/>
                  </a:lnTo>
                  <a:lnTo>
                    <a:pt x="151" y="120"/>
                  </a:lnTo>
                  <a:lnTo>
                    <a:pt x="141" y="120"/>
                  </a:lnTo>
                  <a:lnTo>
                    <a:pt x="141" y="99"/>
                  </a:lnTo>
                  <a:close/>
                  <a:moveTo>
                    <a:pt x="162" y="99"/>
                  </a:moveTo>
                  <a:lnTo>
                    <a:pt x="172" y="99"/>
                  </a:lnTo>
                  <a:lnTo>
                    <a:pt x="172" y="120"/>
                  </a:lnTo>
                  <a:lnTo>
                    <a:pt x="162" y="120"/>
                  </a:lnTo>
                  <a:lnTo>
                    <a:pt x="162" y="99"/>
                  </a:lnTo>
                  <a:close/>
                  <a:moveTo>
                    <a:pt x="31" y="97"/>
                  </a:moveTo>
                  <a:lnTo>
                    <a:pt x="31" y="94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7"/>
                  </a:lnTo>
                  <a:lnTo>
                    <a:pt x="36" y="87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9" y="81"/>
                  </a:lnTo>
                  <a:lnTo>
                    <a:pt x="39" y="81"/>
                  </a:lnTo>
                  <a:lnTo>
                    <a:pt x="41" y="81"/>
                  </a:lnTo>
                  <a:lnTo>
                    <a:pt x="41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6" y="76"/>
                  </a:lnTo>
                  <a:lnTo>
                    <a:pt x="49" y="76"/>
                  </a:lnTo>
                  <a:lnTo>
                    <a:pt x="51" y="74"/>
                  </a:lnTo>
                  <a:lnTo>
                    <a:pt x="54" y="71"/>
                  </a:lnTo>
                  <a:lnTo>
                    <a:pt x="59" y="71"/>
                  </a:lnTo>
                  <a:lnTo>
                    <a:pt x="62" y="71"/>
                  </a:lnTo>
                  <a:lnTo>
                    <a:pt x="64" y="69"/>
                  </a:lnTo>
                  <a:lnTo>
                    <a:pt x="69" y="69"/>
                  </a:lnTo>
                  <a:lnTo>
                    <a:pt x="141" y="69"/>
                  </a:lnTo>
                  <a:lnTo>
                    <a:pt x="141" y="89"/>
                  </a:lnTo>
                  <a:lnTo>
                    <a:pt x="121" y="89"/>
                  </a:lnTo>
                  <a:lnTo>
                    <a:pt x="118" y="89"/>
                  </a:lnTo>
                  <a:lnTo>
                    <a:pt x="118" y="89"/>
                  </a:lnTo>
                  <a:lnTo>
                    <a:pt x="115" y="89"/>
                  </a:lnTo>
                  <a:lnTo>
                    <a:pt x="115" y="89"/>
                  </a:lnTo>
                  <a:lnTo>
                    <a:pt x="115" y="92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8" y="99"/>
                  </a:lnTo>
                  <a:lnTo>
                    <a:pt x="108" y="99"/>
                  </a:lnTo>
                  <a:lnTo>
                    <a:pt x="108" y="102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2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5"/>
                  </a:lnTo>
                  <a:lnTo>
                    <a:pt x="110" y="125"/>
                  </a:lnTo>
                  <a:lnTo>
                    <a:pt x="110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8" y="130"/>
                  </a:lnTo>
                  <a:lnTo>
                    <a:pt x="118" y="130"/>
                  </a:lnTo>
                  <a:lnTo>
                    <a:pt x="121" y="130"/>
                  </a:lnTo>
                  <a:lnTo>
                    <a:pt x="141" y="130"/>
                  </a:lnTo>
                  <a:lnTo>
                    <a:pt x="141" y="153"/>
                  </a:lnTo>
                  <a:lnTo>
                    <a:pt x="31" y="153"/>
                  </a:lnTo>
                  <a:lnTo>
                    <a:pt x="31" y="97"/>
                  </a:lnTo>
                  <a:close/>
                  <a:moveTo>
                    <a:pt x="151" y="69"/>
                  </a:moveTo>
                  <a:lnTo>
                    <a:pt x="223" y="69"/>
                  </a:lnTo>
                  <a:lnTo>
                    <a:pt x="228" y="69"/>
                  </a:lnTo>
                  <a:lnTo>
                    <a:pt x="231" y="71"/>
                  </a:lnTo>
                  <a:lnTo>
                    <a:pt x="233" y="71"/>
                  </a:lnTo>
                  <a:lnTo>
                    <a:pt x="238" y="71"/>
                  </a:lnTo>
                  <a:lnTo>
                    <a:pt x="241" y="74"/>
                  </a:lnTo>
                  <a:lnTo>
                    <a:pt x="243" y="76"/>
                  </a:lnTo>
                  <a:lnTo>
                    <a:pt x="246" y="76"/>
                  </a:lnTo>
                  <a:lnTo>
                    <a:pt x="249" y="76"/>
                  </a:lnTo>
                  <a:lnTo>
                    <a:pt x="249" y="79"/>
                  </a:lnTo>
                  <a:lnTo>
                    <a:pt x="251" y="79"/>
                  </a:lnTo>
                  <a:lnTo>
                    <a:pt x="251" y="81"/>
                  </a:lnTo>
                  <a:lnTo>
                    <a:pt x="254" y="81"/>
                  </a:lnTo>
                  <a:lnTo>
                    <a:pt x="254" y="81"/>
                  </a:lnTo>
                  <a:lnTo>
                    <a:pt x="256" y="84"/>
                  </a:lnTo>
                  <a:lnTo>
                    <a:pt x="256" y="84"/>
                  </a:lnTo>
                  <a:lnTo>
                    <a:pt x="256" y="87"/>
                  </a:lnTo>
                  <a:lnTo>
                    <a:pt x="259" y="87"/>
                  </a:lnTo>
                  <a:lnTo>
                    <a:pt x="259" y="89"/>
                  </a:lnTo>
                  <a:lnTo>
                    <a:pt x="259" y="89"/>
                  </a:lnTo>
                  <a:lnTo>
                    <a:pt x="259" y="92"/>
                  </a:lnTo>
                  <a:lnTo>
                    <a:pt x="259" y="92"/>
                  </a:lnTo>
                  <a:lnTo>
                    <a:pt x="261" y="94"/>
                  </a:lnTo>
                  <a:lnTo>
                    <a:pt x="261" y="97"/>
                  </a:lnTo>
                  <a:lnTo>
                    <a:pt x="261" y="153"/>
                  </a:lnTo>
                  <a:lnTo>
                    <a:pt x="151" y="153"/>
                  </a:lnTo>
                  <a:lnTo>
                    <a:pt x="151" y="130"/>
                  </a:lnTo>
                  <a:lnTo>
                    <a:pt x="172" y="130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82" y="125"/>
                  </a:lnTo>
                  <a:lnTo>
                    <a:pt x="182" y="125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5" y="122"/>
                  </a:lnTo>
                  <a:lnTo>
                    <a:pt x="185" y="120"/>
                  </a:lnTo>
                  <a:lnTo>
                    <a:pt x="185" y="120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7" y="92"/>
                  </a:lnTo>
                  <a:lnTo>
                    <a:pt x="177" y="89"/>
                  </a:lnTo>
                  <a:lnTo>
                    <a:pt x="177" y="89"/>
                  </a:lnTo>
                  <a:lnTo>
                    <a:pt x="174" y="89"/>
                  </a:lnTo>
                  <a:lnTo>
                    <a:pt x="174" y="89"/>
                  </a:lnTo>
                  <a:lnTo>
                    <a:pt x="172" y="89"/>
                  </a:lnTo>
                  <a:lnTo>
                    <a:pt x="151" y="89"/>
                  </a:lnTo>
                  <a:lnTo>
                    <a:pt x="151" y="69"/>
                  </a:lnTo>
                  <a:close/>
                  <a:moveTo>
                    <a:pt x="74" y="35"/>
                  </a:moveTo>
                  <a:lnTo>
                    <a:pt x="110" y="35"/>
                  </a:lnTo>
                  <a:lnTo>
                    <a:pt x="110" y="56"/>
                  </a:lnTo>
                  <a:lnTo>
                    <a:pt x="74" y="56"/>
                  </a:lnTo>
                  <a:lnTo>
                    <a:pt x="74" y="35"/>
                  </a:lnTo>
                  <a:close/>
                  <a:moveTo>
                    <a:pt x="182" y="35"/>
                  </a:moveTo>
                  <a:lnTo>
                    <a:pt x="218" y="35"/>
                  </a:lnTo>
                  <a:lnTo>
                    <a:pt x="218" y="56"/>
                  </a:lnTo>
                  <a:lnTo>
                    <a:pt x="182" y="56"/>
                  </a:lnTo>
                  <a:lnTo>
                    <a:pt x="182" y="35"/>
                  </a:lnTo>
                  <a:close/>
                  <a:moveTo>
                    <a:pt x="67" y="23"/>
                  </a:move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67" y="23"/>
                  </a:lnTo>
                  <a:lnTo>
                    <a:pt x="67" y="23"/>
                  </a:lnTo>
                  <a:close/>
                  <a:moveTo>
                    <a:pt x="174" y="23"/>
                  </a:moveTo>
                  <a:lnTo>
                    <a:pt x="174" y="23"/>
                  </a:lnTo>
                  <a:lnTo>
                    <a:pt x="174" y="23"/>
                  </a:lnTo>
                  <a:lnTo>
                    <a:pt x="174" y="23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23"/>
                  </a:lnTo>
                  <a:lnTo>
                    <a:pt x="226" y="23"/>
                  </a:lnTo>
                  <a:lnTo>
                    <a:pt x="226" y="23"/>
                  </a:lnTo>
                  <a:lnTo>
                    <a:pt x="226" y="23"/>
                  </a:lnTo>
                  <a:lnTo>
                    <a:pt x="226" y="23"/>
                  </a:lnTo>
                  <a:lnTo>
                    <a:pt x="174" y="23"/>
                  </a:lnTo>
                  <a:lnTo>
                    <a:pt x="174" y="23"/>
                  </a:lnTo>
                  <a:close/>
                  <a:moveTo>
                    <a:pt x="174" y="0"/>
                  </a:moveTo>
                  <a:lnTo>
                    <a:pt x="174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67" y="30"/>
                  </a:lnTo>
                  <a:lnTo>
                    <a:pt x="167" y="30"/>
                  </a:lnTo>
                  <a:lnTo>
                    <a:pt x="167" y="30"/>
                  </a:lnTo>
                  <a:lnTo>
                    <a:pt x="167" y="30"/>
                  </a:lnTo>
                  <a:lnTo>
                    <a:pt x="167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2" y="33"/>
                  </a:lnTo>
                  <a:lnTo>
                    <a:pt x="172" y="56"/>
                  </a:lnTo>
                  <a:lnTo>
                    <a:pt x="121" y="56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8" y="28"/>
                  </a:lnTo>
                  <a:lnTo>
                    <a:pt x="128" y="28"/>
                  </a:lnTo>
                  <a:lnTo>
                    <a:pt x="128" y="28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6" y="5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3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58"/>
                  </a:lnTo>
                  <a:lnTo>
                    <a:pt x="59" y="58"/>
                  </a:lnTo>
                  <a:lnTo>
                    <a:pt x="57" y="61"/>
                  </a:lnTo>
                  <a:lnTo>
                    <a:pt x="51" y="61"/>
                  </a:lnTo>
                  <a:lnTo>
                    <a:pt x="49" y="64"/>
                  </a:lnTo>
                  <a:lnTo>
                    <a:pt x="46" y="66"/>
                  </a:lnTo>
                  <a:lnTo>
                    <a:pt x="41" y="66"/>
                  </a:lnTo>
                  <a:lnTo>
                    <a:pt x="41" y="69"/>
                  </a:lnTo>
                  <a:lnTo>
                    <a:pt x="39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4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6" y="79"/>
                  </a:lnTo>
                  <a:lnTo>
                    <a:pt x="26" y="81"/>
                  </a:lnTo>
                  <a:lnTo>
                    <a:pt x="23" y="81"/>
                  </a:lnTo>
                  <a:lnTo>
                    <a:pt x="23" y="84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1" y="89"/>
                  </a:lnTo>
                  <a:lnTo>
                    <a:pt x="21" y="92"/>
                  </a:lnTo>
                  <a:lnTo>
                    <a:pt x="21" y="94"/>
                  </a:lnTo>
                  <a:lnTo>
                    <a:pt x="21" y="97"/>
                  </a:lnTo>
                  <a:lnTo>
                    <a:pt x="21" y="156"/>
                  </a:lnTo>
                  <a:lnTo>
                    <a:pt x="21" y="158"/>
                  </a:lnTo>
                  <a:lnTo>
                    <a:pt x="18" y="161"/>
                  </a:lnTo>
                  <a:lnTo>
                    <a:pt x="18" y="163"/>
                  </a:lnTo>
                  <a:lnTo>
                    <a:pt x="16" y="166"/>
                  </a:lnTo>
                  <a:lnTo>
                    <a:pt x="16" y="169"/>
                  </a:lnTo>
                  <a:lnTo>
                    <a:pt x="16" y="174"/>
                  </a:lnTo>
                  <a:lnTo>
                    <a:pt x="13" y="179"/>
                  </a:lnTo>
                  <a:lnTo>
                    <a:pt x="10" y="184"/>
                  </a:lnTo>
                  <a:lnTo>
                    <a:pt x="8" y="189"/>
                  </a:lnTo>
                  <a:lnTo>
                    <a:pt x="8" y="194"/>
                  </a:lnTo>
                  <a:lnTo>
                    <a:pt x="5" y="199"/>
                  </a:lnTo>
                  <a:lnTo>
                    <a:pt x="5" y="207"/>
                  </a:lnTo>
                  <a:lnTo>
                    <a:pt x="5" y="212"/>
                  </a:lnTo>
                  <a:lnTo>
                    <a:pt x="3" y="217"/>
                  </a:lnTo>
                  <a:lnTo>
                    <a:pt x="3" y="222"/>
                  </a:lnTo>
                  <a:lnTo>
                    <a:pt x="3" y="230"/>
                  </a:lnTo>
                  <a:lnTo>
                    <a:pt x="3" y="235"/>
                  </a:lnTo>
                  <a:lnTo>
                    <a:pt x="0" y="240"/>
                  </a:lnTo>
                  <a:lnTo>
                    <a:pt x="0" y="245"/>
                  </a:lnTo>
                  <a:lnTo>
                    <a:pt x="0" y="281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6"/>
                  </a:lnTo>
                  <a:lnTo>
                    <a:pt x="3" y="286"/>
                  </a:lnTo>
                  <a:lnTo>
                    <a:pt x="3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8" y="286"/>
                  </a:lnTo>
                  <a:lnTo>
                    <a:pt x="105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10" y="286"/>
                  </a:lnTo>
                  <a:lnTo>
                    <a:pt x="110" y="286"/>
                  </a:lnTo>
                  <a:lnTo>
                    <a:pt x="110" y="286"/>
                  </a:lnTo>
                  <a:lnTo>
                    <a:pt x="110" y="284"/>
                  </a:lnTo>
                  <a:lnTo>
                    <a:pt x="110" y="284"/>
                  </a:lnTo>
                  <a:lnTo>
                    <a:pt x="110" y="284"/>
                  </a:lnTo>
                  <a:lnTo>
                    <a:pt x="110" y="284"/>
                  </a:lnTo>
                  <a:lnTo>
                    <a:pt x="113" y="284"/>
                  </a:lnTo>
                  <a:lnTo>
                    <a:pt x="113" y="281"/>
                  </a:lnTo>
                  <a:lnTo>
                    <a:pt x="113" y="245"/>
                  </a:lnTo>
                  <a:lnTo>
                    <a:pt x="113" y="240"/>
                  </a:lnTo>
                  <a:lnTo>
                    <a:pt x="110" y="235"/>
                  </a:lnTo>
                  <a:lnTo>
                    <a:pt x="110" y="230"/>
                  </a:lnTo>
                  <a:lnTo>
                    <a:pt x="110" y="225"/>
                  </a:lnTo>
                  <a:lnTo>
                    <a:pt x="110" y="220"/>
                  </a:lnTo>
                  <a:lnTo>
                    <a:pt x="110" y="215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05" y="199"/>
                  </a:lnTo>
                  <a:lnTo>
                    <a:pt x="105" y="194"/>
                  </a:lnTo>
                  <a:lnTo>
                    <a:pt x="103" y="189"/>
                  </a:lnTo>
                  <a:lnTo>
                    <a:pt x="103" y="184"/>
                  </a:lnTo>
                  <a:lnTo>
                    <a:pt x="100" y="179"/>
                  </a:lnTo>
                  <a:lnTo>
                    <a:pt x="100" y="174"/>
                  </a:lnTo>
                  <a:lnTo>
                    <a:pt x="98" y="169"/>
                  </a:lnTo>
                  <a:lnTo>
                    <a:pt x="95" y="163"/>
                  </a:lnTo>
                  <a:lnTo>
                    <a:pt x="197" y="163"/>
                  </a:lnTo>
                  <a:lnTo>
                    <a:pt x="195" y="169"/>
                  </a:lnTo>
                  <a:lnTo>
                    <a:pt x="192" y="174"/>
                  </a:lnTo>
                  <a:lnTo>
                    <a:pt x="192" y="179"/>
                  </a:lnTo>
                  <a:lnTo>
                    <a:pt x="190" y="184"/>
                  </a:lnTo>
                  <a:lnTo>
                    <a:pt x="190" y="189"/>
                  </a:lnTo>
                  <a:lnTo>
                    <a:pt x="187" y="194"/>
                  </a:lnTo>
                  <a:lnTo>
                    <a:pt x="185" y="199"/>
                  </a:lnTo>
                  <a:lnTo>
                    <a:pt x="185" y="204"/>
                  </a:lnTo>
                  <a:lnTo>
                    <a:pt x="185" y="210"/>
                  </a:lnTo>
                  <a:lnTo>
                    <a:pt x="182" y="215"/>
                  </a:lnTo>
                  <a:lnTo>
                    <a:pt x="182" y="220"/>
                  </a:lnTo>
                  <a:lnTo>
                    <a:pt x="182" y="225"/>
                  </a:lnTo>
                  <a:lnTo>
                    <a:pt x="182" y="230"/>
                  </a:lnTo>
                  <a:lnTo>
                    <a:pt x="182" y="235"/>
                  </a:lnTo>
                  <a:lnTo>
                    <a:pt x="179" y="240"/>
                  </a:lnTo>
                  <a:lnTo>
                    <a:pt x="179" y="245"/>
                  </a:lnTo>
                  <a:lnTo>
                    <a:pt x="179" y="281"/>
                  </a:lnTo>
                  <a:lnTo>
                    <a:pt x="179" y="284"/>
                  </a:lnTo>
                  <a:lnTo>
                    <a:pt x="179" y="284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2" y="286"/>
                  </a:lnTo>
                  <a:lnTo>
                    <a:pt x="182" y="286"/>
                  </a:lnTo>
                  <a:lnTo>
                    <a:pt x="182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7" y="286"/>
                  </a:lnTo>
                  <a:lnTo>
                    <a:pt x="284" y="286"/>
                  </a:lnTo>
                  <a:lnTo>
                    <a:pt x="287" y="286"/>
                  </a:lnTo>
                  <a:lnTo>
                    <a:pt x="287" y="286"/>
                  </a:lnTo>
                  <a:lnTo>
                    <a:pt x="287" y="286"/>
                  </a:lnTo>
                  <a:lnTo>
                    <a:pt x="287" y="286"/>
                  </a:lnTo>
                  <a:lnTo>
                    <a:pt x="287" y="286"/>
                  </a:lnTo>
                  <a:lnTo>
                    <a:pt x="290" y="286"/>
                  </a:lnTo>
                  <a:lnTo>
                    <a:pt x="290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4"/>
                  </a:lnTo>
                  <a:lnTo>
                    <a:pt x="290" y="284"/>
                  </a:lnTo>
                  <a:lnTo>
                    <a:pt x="290" y="284"/>
                  </a:lnTo>
                  <a:lnTo>
                    <a:pt x="292" y="284"/>
                  </a:lnTo>
                  <a:lnTo>
                    <a:pt x="292" y="281"/>
                  </a:lnTo>
                  <a:lnTo>
                    <a:pt x="292" y="245"/>
                  </a:lnTo>
                  <a:lnTo>
                    <a:pt x="292" y="240"/>
                  </a:lnTo>
                  <a:lnTo>
                    <a:pt x="290" y="235"/>
                  </a:lnTo>
                  <a:lnTo>
                    <a:pt x="290" y="230"/>
                  </a:lnTo>
                  <a:lnTo>
                    <a:pt x="290" y="222"/>
                  </a:lnTo>
                  <a:lnTo>
                    <a:pt x="290" y="217"/>
                  </a:lnTo>
                  <a:lnTo>
                    <a:pt x="287" y="212"/>
                  </a:lnTo>
                  <a:lnTo>
                    <a:pt x="287" y="207"/>
                  </a:lnTo>
                  <a:lnTo>
                    <a:pt x="287" y="199"/>
                  </a:lnTo>
                  <a:lnTo>
                    <a:pt x="284" y="194"/>
                  </a:lnTo>
                  <a:lnTo>
                    <a:pt x="284" y="189"/>
                  </a:lnTo>
                  <a:lnTo>
                    <a:pt x="282" y="184"/>
                  </a:lnTo>
                  <a:lnTo>
                    <a:pt x="279" y="179"/>
                  </a:lnTo>
                  <a:lnTo>
                    <a:pt x="277" y="174"/>
                  </a:lnTo>
                  <a:lnTo>
                    <a:pt x="277" y="169"/>
                  </a:lnTo>
                  <a:lnTo>
                    <a:pt x="277" y="166"/>
                  </a:lnTo>
                  <a:lnTo>
                    <a:pt x="274" y="163"/>
                  </a:lnTo>
                  <a:lnTo>
                    <a:pt x="274" y="161"/>
                  </a:lnTo>
                  <a:lnTo>
                    <a:pt x="272" y="158"/>
                  </a:lnTo>
                  <a:lnTo>
                    <a:pt x="272" y="156"/>
                  </a:lnTo>
                  <a:lnTo>
                    <a:pt x="272" y="97"/>
                  </a:lnTo>
                  <a:lnTo>
                    <a:pt x="272" y="94"/>
                  </a:lnTo>
                  <a:lnTo>
                    <a:pt x="272" y="92"/>
                  </a:lnTo>
                  <a:lnTo>
                    <a:pt x="272" y="89"/>
                  </a:lnTo>
                  <a:lnTo>
                    <a:pt x="269" y="87"/>
                  </a:lnTo>
                  <a:lnTo>
                    <a:pt x="269" y="87"/>
                  </a:lnTo>
                  <a:lnTo>
                    <a:pt x="269" y="84"/>
                  </a:lnTo>
                  <a:lnTo>
                    <a:pt x="269" y="81"/>
                  </a:lnTo>
                  <a:lnTo>
                    <a:pt x="267" y="81"/>
                  </a:lnTo>
                  <a:lnTo>
                    <a:pt x="267" y="79"/>
                  </a:lnTo>
                  <a:lnTo>
                    <a:pt x="264" y="79"/>
                  </a:lnTo>
                  <a:lnTo>
                    <a:pt x="264" y="76"/>
                  </a:lnTo>
                  <a:lnTo>
                    <a:pt x="261" y="76"/>
                  </a:lnTo>
                  <a:lnTo>
                    <a:pt x="261" y="74"/>
                  </a:lnTo>
                  <a:lnTo>
                    <a:pt x="259" y="74"/>
                  </a:lnTo>
                  <a:lnTo>
                    <a:pt x="259" y="71"/>
                  </a:lnTo>
                  <a:lnTo>
                    <a:pt x="256" y="71"/>
                  </a:lnTo>
                  <a:lnTo>
                    <a:pt x="256" y="69"/>
                  </a:lnTo>
                  <a:lnTo>
                    <a:pt x="254" y="69"/>
                  </a:lnTo>
                  <a:lnTo>
                    <a:pt x="251" y="69"/>
                  </a:lnTo>
                  <a:lnTo>
                    <a:pt x="251" y="66"/>
                  </a:lnTo>
                  <a:lnTo>
                    <a:pt x="246" y="66"/>
                  </a:lnTo>
                  <a:lnTo>
                    <a:pt x="243" y="64"/>
                  </a:lnTo>
                  <a:lnTo>
                    <a:pt x="241" y="61"/>
                  </a:lnTo>
                  <a:lnTo>
                    <a:pt x="236" y="61"/>
                  </a:lnTo>
                  <a:lnTo>
                    <a:pt x="233" y="58"/>
                  </a:lnTo>
                  <a:lnTo>
                    <a:pt x="228" y="58"/>
                  </a:lnTo>
                  <a:lnTo>
                    <a:pt x="228" y="33"/>
                  </a:lnTo>
                  <a:lnTo>
                    <a:pt x="231" y="33"/>
                  </a:lnTo>
                  <a:lnTo>
                    <a:pt x="231" y="33"/>
                  </a:lnTo>
                  <a:lnTo>
                    <a:pt x="231" y="33"/>
                  </a:lnTo>
                  <a:lnTo>
                    <a:pt x="233" y="33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6" y="30"/>
                  </a:lnTo>
                  <a:lnTo>
                    <a:pt x="236" y="28"/>
                  </a:lnTo>
                  <a:lnTo>
                    <a:pt x="236" y="28"/>
                  </a:lnTo>
                  <a:lnTo>
                    <a:pt x="236" y="28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6" y="7"/>
                  </a:lnTo>
                  <a:lnTo>
                    <a:pt x="236" y="7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33" y="2"/>
                  </a:lnTo>
                  <a:lnTo>
                    <a:pt x="233" y="2"/>
                  </a:lnTo>
                  <a:lnTo>
                    <a:pt x="233" y="2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47">
            <a:extLst>
              <a:ext uri="{FF2B5EF4-FFF2-40B4-BE49-F238E27FC236}">
                <a16:creationId xmlns:a16="http://schemas.microsoft.com/office/drawing/2014/main" id="{373A9533-0484-4AD7-AFB9-FA9E144B34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11637" y="5459581"/>
            <a:ext cx="769937" cy="758825"/>
            <a:chOff x="2437" y="3551"/>
            <a:chExt cx="485" cy="478"/>
          </a:xfrm>
        </p:grpSpPr>
        <p:sp>
          <p:nvSpPr>
            <p:cNvPr id="285" name="AutoShape 246">
              <a:extLst>
                <a:ext uri="{FF2B5EF4-FFF2-40B4-BE49-F238E27FC236}">
                  <a16:creationId xmlns:a16="http://schemas.microsoft.com/office/drawing/2014/main" id="{FFFA3876-F25F-4EFD-B651-CD6A329BFB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37" y="3551"/>
              <a:ext cx="485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48">
              <a:extLst>
                <a:ext uri="{FF2B5EF4-FFF2-40B4-BE49-F238E27FC236}">
                  <a16:creationId xmlns:a16="http://schemas.microsoft.com/office/drawing/2014/main" id="{4F102940-E5E3-402C-BB12-F8C396B13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0" y="3549"/>
              <a:ext cx="482" cy="483"/>
            </a:xfrm>
            <a:custGeom>
              <a:avLst/>
              <a:gdLst>
                <a:gd name="T0" fmla="*/ 97 w 194"/>
                <a:gd name="T1" fmla="*/ 0 h 194"/>
                <a:gd name="T2" fmla="*/ 0 w 194"/>
                <a:gd name="T3" fmla="*/ 97 h 194"/>
                <a:gd name="T4" fmla="*/ 97 w 194"/>
                <a:gd name="T5" fmla="*/ 194 h 194"/>
                <a:gd name="T6" fmla="*/ 194 w 194"/>
                <a:gd name="T7" fmla="*/ 97 h 194"/>
                <a:gd name="T8" fmla="*/ 97 w 194"/>
                <a:gd name="T9" fmla="*/ 0 h 194"/>
                <a:gd name="T10" fmla="*/ 97 w 194"/>
                <a:gd name="T11" fmla="*/ 4 h 194"/>
                <a:gd name="T12" fmla="*/ 190 w 194"/>
                <a:gd name="T13" fmla="*/ 97 h 194"/>
                <a:gd name="T14" fmla="*/ 97 w 194"/>
                <a:gd name="T15" fmla="*/ 189 h 194"/>
                <a:gd name="T16" fmla="*/ 5 w 194"/>
                <a:gd name="T17" fmla="*/ 97 h 194"/>
                <a:gd name="T18" fmla="*/ 97 w 194"/>
                <a:gd name="T19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0"/>
                  </a:moveTo>
                  <a:cubicBezTo>
                    <a:pt x="43" y="0"/>
                    <a:pt x="0" y="43"/>
                    <a:pt x="0" y="97"/>
                  </a:cubicBezTo>
                  <a:cubicBezTo>
                    <a:pt x="0" y="151"/>
                    <a:pt x="43" y="194"/>
                    <a:pt x="97" y="194"/>
                  </a:cubicBezTo>
                  <a:cubicBezTo>
                    <a:pt x="151" y="194"/>
                    <a:pt x="194" y="151"/>
                    <a:pt x="194" y="97"/>
                  </a:cubicBezTo>
                  <a:cubicBezTo>
                    <a:pt x="194" y="43"/>
                    <a:pt x="151" y="0"/>
                    <a:pt x="97" y="0"/>
                  </a:cubicBezTo>
                  <a:moveTo>
                    <a:pt x="97" y="4"/>
                  </a:moveTo>
                  <a:cubicBezTo>
                    <a:pt x="148" y="4"/>
                    <a:pt x="190" y="46"/>
                    <a:pt x="190" y="97"/>
                  </a:cubicBezTo>
                  <a:cubicBezTo>
                    <a:pt x="190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4"/>
                    <a:pt x="97" y="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49">
              <a:extLst>
                <a:ext uri="{FF2B5EF4-FFF2-40B4-BE49-F238E27FC236}">
                  <a16:creationId xmlns:a16="http://schemas.microsoft.com/office/drawing/2014/main" id="{C81CC74C-6276-4C38-A452-230D90ED5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9" y="3626"/>
              <a:ext cx="303" cy="328"/>
            </a:xfrm>
            <a:custGeom>
              <a:avLst/>
              <a:gdLst>
                <a:gd name="T0" fmla="*/ 21 w 122"/>
                <a:gd name="T1" fmla="*/ 50 h 132"/>
                <a:gd name="T2" fmla="*/ 0 w 122"/>
                <a:gd name="T3" fmla="*/ 73 h 132"/>
                <a:gd name="T4" fmla="*/ 16 w 122"/>
                <a:gd name="T5" fmla="*/ 81 h 132"/>
                <a:gd name="T6" fmla="*/ 28 w 122"/>
                <a:gd name="T7" fmla="*/ 116 h 132"/>
                <a:gd name="T8" fmla="*/ 46 w 122"/>
                <a:gd name="T9" fmla="*/ 129 h 132"/>
                <a:gd name="T10" fmla="*/ 51 w 122"/>
                <a:gd name="T11" fmla="*/ 129 h 132"/>
                <a:gd name="T12" fmla="*/ 50 w 122"/>
                <a:gd name="T13" fmla="*/ 112 h 132"/>
                <a:gd name="T14" fmla="*/ 28 w 122"/>
                <a:gd name="T15" fmla="*/ 111 h 132"/>
                <a:gd name="T16" fmla="*/ 21 w 122"/>
                <a:gd name="T17" fmla="*/ 78 h 132"/>
                <a:gd name="T18" fmla="*/ 18 w 122"/>
                <a:gd name="T19" fmla="*/ 76 h 132"/>
                <a:gd name="T20" fmla="*/ 6 w 122"/>
                <a:gd name="T21" fmla="*/ 73 h 132"/>
                <a:gd name="T22" fmla="*/ 25 w 122"/>
                <a:gd name="T23" fmla="*/ 53 h 132"/>
                <a:gd name="T24" fmla="*/ 26 w 122"/>
                <a:gd name="T25" fmla="*/ 51 h 132"/>
                <a:gd name="T26" fmla="*/ 117 w 122"/>
                <a:gd name="T27" fmla="*/ 51 h 132"/>
                <a:gd name="T28" fmla="*/ 102 w 122"/>
                <a:gd name="T29" fmla="*/ 86 h 132"/>
                <a:gd name="T30" fmla="*/ 104 w 122"/>
                <a:gd name="T31" fmla="*/ 132 h 132"/>
                <a:gd name="T32" fmla="*/ 107 w 122"/>
                <a:gd name="T33" fmla="*/ 87 h 132"/>
                <a:gd name="T34" fmla="*/ 71 w 122"/>
                <a:gd name="T35" fmla="*/ 0 h 132"/>
                <a:gd name="T36" fmla="*/ 92 w 122"/>
                <a:gd name="T37" fmla="*/ 50 h 132"/>
                <a:gd name="T38" fmla="*/ 102 w 122"/>
                <a:gd name="T39" fmla="*/ 58 h 132"/>
                <a:gd name="T40" fmla="*/ 111 w 122"/>
                <a:gd name="T41" fmla="*/ 50 h 132"/>
                <a:gd name="T42" fmla="*/ 107 w 122"/>
                <a:gd name="T43" fmla="*/ 46 h 132"/>
                <a:gd name="T44" fmla="*/ 71 w 122"/>
                <a:gd name="T45" fmla="*/ 18 h 132"/>
                <a:gd name="T46" fmla="*/ 44 w 122"/>
                <a:gd name="T47" fmla="*/ 38 h 132"/>
                <a:gd name="T48" fmla="*/ 71 w 122"/>
                <a:gd name="T49" fmla="*/ 23 h 132"/>
                <a:gd name="T50" fmla="*/ 96 w 122"/>
                <a:gd name="T51" fmla="*/ 46 h 132"/>
                <a:gd name="T52" fmla="*/ 99 w 122"/>
                <a:gd name="T53" fmla="*/ 64 h 132"/>
                <a:gd name="T54" fmla="*/ 71 w 122"/>
                <a:gd name="T55" fmla="*/ 78 h 132"/>
                <a:gd name="T56" fmla="*/ 47 w 122"/>
                <a:gd name="T57" fmla="*/ 55 h 132"/>
                <a:gd name="T58" fmla="*/ 50 w 122"/>
                <a:gd name="T59" fmla="*/ 51 h 132"/>
                <a:gd name="T60" fmla="*/ 39 w 122"/>
                <a:gd name="T61" fmla="*/ 44 h 132"/>
                <a:gd name="T62" fmla="*/ 32 w 122"/>
                <a:gd name="T63" fmla="*/ 55 h 132"/>
                <a:gd name="T64" fmla="*/ 35 w 122"/>
                <a:gd name="T65" fmla="*/ 55 h 132"/>
                <a:gd name="T66" fmla="*/ 71 w 122"/>
                <a:gd name="T67" fmla="*/ 84 h 132"/>
                <a:gd name="T68" fmla="*/ 99 w 122"/>
                <a:gd name="T69" fmla="*/ 64 h 132"/>
                <a:gd name="T70" fmla="*/ 74 w 122"/>
                <a:gd name="T71" fmla="*/ 61 h 132"/>
                <a:gd name="T72" fmla="*/ 81 w 122"/>
                <a:gd name="T73" fmla="*/ 53 h 132"/>
                <a:gd name="T74" fmla="*/ 81 w 122"/>
                <a:gd name="T75" fmla="*/ 48 h 132"/>
                <a:gd name="T76" fmla="*/ 74 w 122"/>
                <a:gd name="T77" fmla="*/ 41 h 132"/>
                <a:gd name="T78" fmla="*/ 69 w 122"/>
                <a:gd name="T79" fmla="*/ 41 h 132"/>
                <a:gd name="T80" fmla="*/ 61 w 122"/>
                <a:gd name="T81" fmla="*/ 48 h 132"/>
                <a:gd name="T82" fmla="*/ 61 w 122"/>
                <a:gd name="T83" fmla="*/ 53 h 132"/>
                <a:gd name="T84" fmla="*/ 69 w 122"/>
                <a:gd name="T85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" h="132">
                  <a:moveTo>
                    <a:pt x="71" y="0"/>
                  </a:moveTo>
                  <a:cubicBezTo>
                    <a:pt x="44" y="0"/>
                    <a:pt x="21" y="22"/>
                    <a:pt x="21" y="50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1" y="69"/>
                    <a:pt x="0" y="71"/>
                    <a:pt x="0" y="73"/>
                  </a:cubicBezTo>
                  <a:cubicBezTo>
                    <a:pt x="0" y="77"/>
                    <a:pt x="4" y="81"/>
                    <a:pt x="8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11"/>
                    <a:pt x="21" y="116"/>
                    <a:pt x="28" y="116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6" y="130"/>
                    <a:pt x="47" y="132"/>
                    <a:pt x="48" y="132"/>
                  </a:cubicBezTo>
                  <a:cubicBezTo>
                    <a:pt x="50" y="132"/>
                    <a:pt x="51" y="130"/>
                    <a:pt x="51" y="12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1" y="113"/>
                    <a:pt x="51" y="113"/>
                    <a:pt x="50" y="112"/>
                  </a:cubicBezTo>
                  <a:cubicBezTo>
                    <a:pt x="50" y="112"/>
                    <a:pt x="49" y="111"/>
                    <a:pt x="48" y="111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24" y="111"/>
                    <a:pt x="21" y="108"/>
                    <a:pt x="21" y="104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78"/>
                    <a:pt x="20" y="77"/>
                    <a:pt x="20" y="77"/>
                  </a:cubicBezTo>
                  <a:cubicBezTo>
                    <a:pt x="19" y="76"/>
                    <a:pt x="19" y="76"/>
                    <a:pt x="18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7" y="76"/>
                    <a:pt x="6" y="75"/>
                    <a:pt x="6" y="73"/>
                  </a:cubicBezTo>
                  <a:cubicBezTo>
                    <a:pt x="6" y="73"/>
                    <a:pt x="6" y="72"/>
                    <a:pt x="6" y="71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2"/>
                    <a:pt x="26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26"/>
                    <a:pt x="46" y="5"/>
                    <a:pt x="71" y="5"/>
                  </a:cubicBezTo>
                  <a:cubicBezTo>
                    <a:pt x="96" y="5"/>
                    <a:pt x="117" y="26"/>
                    <a:pt x="117" y="51"/>
                  </a:cubicBezTo>
                  <a:cubicBezTo>
                    <a:pt x="117" y="64"/>
                    <a:pt x="111" y="75"/>
                    <a:pt x="102" y="84"/>
                  </a:cubicBezTo>
                  <a:cubicBezTo>
                    <a:pt x="102" y="84"/>
                    <a:pt x="102" y="85"/>
                    <a:pt x="102" y="86"/>
                  </a:cubicBezTo>
                  <a:cubicBezTo>
                    <a:pt x="102" y="129"/>
                    <a:pt x="102" y="129"/>
                    <a:pt x="102" y="129"/>
                  </a:cubicBezTo>
                  <a:cubicBezTo>
                    <a:pt x="102" y="130"/>
                    <a:pt x="103" y="132"/>
                    <a:pt x="104" y="132"/>
                  </a:cubicBezTo>
                  <a:cubicBezTo>
                    <a:pt x="106" y="132"/>
                    <a:pt x="107" y="130"/>
                    <a:pt x="107" y="129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16" y="78"/>
                    <a:pt x="122" y="65"/>
                    <a:pt x="122" y="51"/>
                  </a:cubicBezTo>
                  <a:cubicBezTo>
                    <a:pt x="122" y="23"/>
                    <a:pt x="99" y="0"/>
                    <a:pt x="71" y="0"/>
                  </a:cubicBezTo>
                  <a:moveTo>
                    <a:pt x="92" y="46"/>
                  </a:moveTo>
                  <a:cubicBezTo>
                    <a:pt x="91" y="47"/>
                    <a:pt x="91" y="49"/>
                    <a:pt x="92" y="50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1" y="58"/>
                    <a:pt x="102" y="58"/>
                  </a:cubicBezTo>
                  <a:cubicBezTo>
                    <a:pt x="102" y="58"/>
                    <a:pt x="103" y="58"/>
                    <a:pt x="103" y="58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2" y="49"/>
                    <a:pt x="112" y="47"/>
                    <a:pt x="111" y="46"/>
                  </a:cubicBezTo>
                  <a:cubicBezTo>
                    <a:pt x="110" y="45"/>
                    <a:pt x="108" y="45"/>
                    <a:pt x="107" y="46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4" y="32"/>
                    <a:pt x="89" y="18"/>
                    <a:pt x="71" y="18"/>
                  </a:cubicBezTo>
                  <a:cubicBezTo>
                    <a:pt x="59" y="18"/>
                    <a:pt x="48" y="24"/>
                    <a:pt x="43" y="34"/>
                  </a:cubicBezTo>
                  <a:cubicBezTo>
                    <a:pt x="42" y="35"/>
                    <a:pt x="43" y="37"/>
                    <a:pt x="44" y="38"/>
                  </a:cubicBezTo>
                  <a:cubicBezTo>
                    <a:pt x="45" y="38"/>
                    <a:pt x="47" y="38"/>
                    <a:pt x="47" y="37"/>
                  </a:cubicBezTo>
                  <a:cubicBezTo>
                    <a:pt x="52" y="28"/>
                    <a:pt x="61" y="23"/>
                    <a:pt x="71" y="23"/>
                  </a:cubicBezTo>
                  <a:cubicBezTo>
                    <a:pt x="86" y="23"/>
                    <a:pt x="98" y="35"/>
                    <a:pt x="99" y="50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5"/>
                    <a:pt x="93" y="45"/>
                    <a:pt x="92" y="46"/>
                  </a:cubicBezTo>
                  <a:moveTo>
                    <a:pt x="99" y="64"/>
                  </a:moveTo>
                  <a:cubicBezTo>
                    <a:pt x="98" y="63"/>
                    <a:pt x="96" y="63"/>
                    <a:pt x="95" y="65"/>
                  </a:cubicBezTo>
                  <a:cubicBezTo>
                    <a:pt x="90" y="73"/>
                    <a:pt x="82" y="78"/>
                    <a:pt x="71" y="78"/>
                  </a:cubicBezTo>
                  <a:cubicBezTo>
                    <a:pt x="56" y="78"/>
                    <a:pt x="44" y="67"/>
                    <a:pt x="43" y="52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6"/>
                    <a:pt x="49" y="56"/>
                    <a:pt x="50" y="55"/>
                  </a:cubicBezTo>
                  <a:cubicBezTo>
                    <a:pt x="51" y="54"/>
                    <a:pt x="51" y="52"/>
                    <a:pt x="50" y="51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2" y="43"/>
                    <a:pt x="40" y="43"/>
                    <a:pt x="39" y="44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2"/>
                    <a:pt x="31" y="54"/>
                    <a:pt x="32" y="55"/>
                  </a:cubicBezTo>
                  <a:cubicBezTo>
                    <a:pt x="32" y="55"/>
                    <a:pt x="33" y="56"/>
                    <a:pt x="33" y="56"/>
                  </a:cubicBezTo>
                  <a:cubicBezTo>
                    <a:pt x="34" y="56"/>
                    <a:pt x="35" y="55"/>
                    <a:pt x="35" y="55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9" y="69"/>
                    <a:pt x="53" y="84"/>
                    <a:pt x="71" y="84"/>
                  </a:cubicBezTo>
                  <a:cubicBezTo>
                    <a:pt x="83" y="84"/>
                    <a:pt x="94" y="77"/>
                    <a:pt x="100" y="67"/>
                  </a:cubicBezTo>
                  <a:cubicBezTo>
                    <a:pt x="100" y="66"/>
                    <a:pt x="100" y="64"/>
                    <a:pt x="99" y="64"/>
                  </a:cubicBezTo>
                  <a:moveTo>
                    <a:pt x="71" y="63"/>
                  </a:moveTo>
                  <a:cubicBezTo>
                    <a:pt x="73" y="63"/>
                    <a:pt x="74" y="62"/>
                    <a:pt x="74" y="61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3" y="53"/>
                    <a:pt x="84" y="52"/>
                    <a:pt x="84" y="51"/>
                  </a:cubicBezTo>
                  <a:cubicBezTo>
                    <a:pt x="84" y="49"/>
                    <a:pt x="83" y="48"/>
                    <a:pt x="81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39"/>
                    <a:pt x="73" y="38"/>
                    <a:pt x="71" y="38"/>
                  </a:cubicBezTo>
                  <a:cubicBezTo>
                    <a:pt x="70" y="38"/>
                    <a:pt x="69" y="39"/>
                    <a:pt x="69" y="41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0" y="48"/>
                    <a:pt x="59" y="49"/>
                    <a:pt x="59" y="51"/>
                  </a:cubicBezTo>
                  <a:cubicBezTo>
                    <a:pt x="59" y="52"/>
                    <a:pt x="60" y="53"/>
                    <a:pt x="61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2"/>
                    <a:pt x="70" y="63"/>
                    <a:pt x="71" y="6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8" name="Group 252">
            <a:extLst>
              <a:ext uri="{FF2B5EF4-FFF2-40B4-BE49-F238E27FC236}">
                <a16:creationId xmlns:a16="http://schemas.microsoft.com/office/drawing/2014/main" id="{A6A6AD49-2100-49C0-AC2B-8E50E3303A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9375" y="5418306"/>
            <a:ext cx="854075" cy="841375"/>
            <a:chOff x="1683" y="3416"/>
            <a:chExt cx="538" cy="530"/>
          </a:xfrm>
        </p:grpSpPr>
        <p:sp>
          <p:nvSpPr>
            <p:cNvPr id="289" name="AutoShape 251">
              <a:extLst>
                <a:ext uri="{FF2B5EF4-FFF2-40B4-BE49-F238E27FC236}">
                  <a16:creationId xmlns:a16="http://schemas.microsoft.com/office/drawing/2014/main" id="{DD51CB9A-94AE-4A7E-BCC8-7249B9C8E7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3" y="3416"/>
              <a:ext cx="538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253">
              <a:extLst>
                <a:ext uri="{FF2B5EF4-FFF2-40B4-BE49-F238E27FC236}">
                  <a16:creationId xmlns:a16="http://schemas.microsoft.com/office/drawing/2014/main" id="{304F4192-CD1F-46CF-BD96-F97D4AD1E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6" y="3413"/>
              <a:ext cx="535" cy="536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4">
              <a:extLst>
                <a:ext uri="{FF2B5EF4-FFF2-40B4-BE49-F238E27FC236}">
                  <a16:creationId xmlns:a16="http://schemas.microsoft.com/office/drawing/2014/main" id="{7198F674-B82B-483A-A9D4-507049EFD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" y="3430"/>
              <a:ext cx="502" cy="502"/>
            </a:xfrm>
            <a:custGeom>
              <a:avLst/>
              <a:gdLst>
                <a:gd name="T0" fmla="*/ 91 w 182"/>
                <a:gd name="T1" fmla="*/ 0 h 182"/>
                <a:gd name="T2" fmla="*/ 0 w 182"/>
                <a:gd name="T3" fmla="*/ 91 h 182"/>
                <a:gd name="T4" fmla="*/ 91 w 182"/>
                <a:gd name="T5" fmla="*/ 182 h 182"/>
                <a:gd name="T6" fmla="*/ 182 w 182"/>
                <a:gd name="T7" fmla="*/ 91 h 182"/>
                <a:gd name="T8" fmla="*/ 91 w 182"/>
                <a:gd name="T9" fmla="*/ 0 h 182"/>
                <a:gd name="T10" fmla="*/ 91 w 182"/>
                <a:gd name="T11" fmla="*/ 4 h 182"/>
                <a:gd name="T12" fmla="*/ 178 w 182"/>
                <a:gd name="T13" fmla="*/ 91 h 182"/>
                <a:gd name="T14" fmla="*/ 91 w 182"/>
                <a:gd name="T15" fmla="*/ 177 h 182"/>
                <a:gd name="T16" fmla="*/ 5 w 182"/>
                <a:gd name="T17" fmla="*/ 91 h 182"/>
                <a:gd name="T18" fmla="*/ 91 w 182"/>
                <a:gd name="T19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2">
                  <a:moveTo>
                    <a:pt x="91" y="0"/>
                  </a:moveTo>
                  <a:cubicBezTo>
                    <a:pt x="41" y="0"/>
                    <a:pt x="0" y="41"/>
                    <a:pt x="0" y="91"/>
                  </a:cubicBezTo>
                  <a:cubicBezTo>
                    <a:pt x="0" y="141"/>
                    <a:pt x="41" y="182"/>
                    <a:pt x="91" y="182"/>
                  </a:cubicBezTo>
                  <a:cubicBezTo>
                    <a:pt x="141" y="182"/>
                    <a:pt x="182" y="141"/>
                    <a:pt x="182" y="91"/>
                  </a:cubicBezTo>
                  <a:cubicBezTo>
                    <a:pt x="182" y="41"/>
                    <a:pt x="141" y="0"/>
                    <a:pt x="91" y="0"/>
                  </a:cubicBezTo>
                  <a:moveTo>
                    <a:pt x="91" y="4"/>
                  </a:moveTo>
                  <a:cubicBezTo>
                    <a:pt x="139" y="4"/>
                    <a:pt x="178" y="43"/>
                    <a:pt x="178" y="91"/>
                  </a:cubicBezTo>
                  <a:cubicBezTo>
                    <a:pt x="178" y="138"/>
                    <a:pt x="139" y="177"/>
                    <a:pt x="91" y="177"/>
                  </a:cubicBezTo>
                  <a:cubicBezTo>
                    <a:pt x="44" y="177"/>
                    <a:pt x="5" y="138"/>
                    <a:pt x="5" y="91"/>
                  </a:cubicBezTo>
                  <a:cubicBezTo>
                    <a:pt x="5" y="43"/>
                    <a:pt x="44" y="4"/>
                    <a:pt x="9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55">
              <a:extLst>
                <a:ext uri="{FF2B5EF4-FFF2-40B4-BE49-F238E27FC236}">
                  <a16:creationId xmlns:a16="http://schemas.microsoft.com/office/drawing/2014/main" id="{63FF76BF-1C4C-4934-90CC-87DC24407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3510"/>
              <a:ext cx="312" cy="339"/>
            </a:xfrm>
            <a:custGeom>
              <a:avLst/>
              <a:gdLst>
                <a:gd name="T0" fmla="*/ 18 w 113"/>
                <a:gd name="T1" fmla="*/ 47 h 123"/>
                <a:gd name="T2" fmla="*/ 0 w 113"/>
                <a:gd name="T3" fmla="*/ 69 h 123"/>
                <a:gd name="T4" fmla="*/ 14 w 113"/>
                <a:gd name="T5" fmla="*/ 76 h 123"/>
                <a:gd name="T6" fmla="*/ 26 w 113"/>
                <a:gd name="T7" fmla="*/ 109 h 123"/>
                <a:gd name="T8" fmla="*/ 42 w 113"/>
                <a:gd name="T9" fmla="*/ 121 h 123"/>
                <a:gd name="T10" fmla="*/ 47 w 113"/>
                <a:gd name="T11" fmla="*/ 121 h 123"/>
                <a:gd name="T12" fmla="*/ 46 w 113"/>
                <a:gd name="T13" fmla="*/ 105 h 123"/>
                <a:gd name="T14" fmla="*/ 26 w 113"/>
                <a:gd name="T15" fmla="*/ 104 h 123"/>
                <a:gd name="T16" fmla="*/ 18 w 113"/>
                <a:gd name="T17" fmla="*/ 74 h 123"/>
                <a:gd name="T18" fmla="*/ 16 w 113"/>
                <a:gd name="T19" fmla="*/ 71 h 123"/>
                <a:gd name="T20" fmla="*/ 4 w 113"/>
                <a:gd name="T21" fmla="*/ 69 h 123"/>
                <a:gd name="T22" fmla="*/ 22 w 113"/>
                <a:gd name="T23" fmla="*/ 49 h 123"/>
                <a:gd name="T24" fmla="*/ 23 w 113"/>
                <a:gd name="T25" fmla="*/ 48 h 123"/>
                <a:gd name="T26" fmla="*/ 108 w 113"/>
                <a:gd name="T27" fmla="*/ 48 h 123"/>
                <a:gd name="T28" fmla="*/ 94 w 113"/>
                <a:gd name="T29" fmla="*/ 80 h 123"/>
                <a:gd name="T30" fmla="*/ 96 w 113"/>
                <a:gd name="T31" fmla="*/ 123 h 123"/>
                <a:gd name="T32" fmla="*/ 99 w 113"/>
                <a:gd name="T33" fmla="*/ 81 h 123"/>
                <a:gd name="T34" fmla="*/ 66 w 113"/>
                <a:gd name="T35" fmla="*/ 0 h 123"/>
                <a:gd name="T36" fmla="*/ 85 w 113"/>
                <a:gd name="T37" fmla="*/ 47 h 123"/>
                <a:gd name="T38" fmla="*/ 94 w 113"/>
                <a:gd name="T39" fmla="*/ 55 h 123"/>
                <a:gd name="T40" fmla="*/ 103 w 113"/>
                <a:gd name="T41" fmla="*/ 47 h 123"/>
                <a:gd name="T42" fmla="*/ 99 w 113"/>
                <a:gd name="T43" fmla="*/ 44 h 123"/>
                <a:gd name="T44" fmla="*/ 66 w 113"/>
                <a:gd name="T45" fmla="*/ 17 h 123"/>
                <a:gd name="T46" fmla="*/ 40 w 113"/>
                <a:gd name="T47" fmla="*/ 36 h 123"/>
                <a:gd name="T48" fmla="*/ 66 w 113"/>
                <a:gd name="T49" fmla="*/ 22 h 123"/>
                <a:gd name="T50" fmla="*/ 89 w 113"/>
                <a:gd name="T51" fmla="*/ 44 h 123"/>
                <a:gd name="T52" fmla="*/ 91 w 113"/>
                <a:gd name="T53" fmla="*/ 60 h 123"/>
                <a:gd name="T54" fmla="*/ 66 w 113"/>
                <a:gd name="T55" fmla="*/ 74 h 123"/>
                <a:gd name="T56" fmla="*/ 43 w 113"/>
                <a:gd name="T57" fmla="*/ 52 h 123"/>
                <a:gd name="T58" fmla="*/ 46 w 113"/>
                <a:gd name="T59" fmla="*/ 48 h 123"/>
                <a:gd name="T60" fmla="*/ 36 w 113"/>
                <a:gd name="T61" fmla="*/ 41 h 123"/>
                <a:gd name="T62" fmla="*/ 29 w 113"/>
                <a:gd name="T63" fmla="*/ 52 h 123"/>
                <a:gd name="T64" fmla="*/ 32 w 113"/>
                <a:gd name="T65" fmla="*/ 52 h 123"/>
                <a:gd name="T66" fmla="*/ 66 w 113"/>
                <a:gd name="T67" fmla="*/ 78 h 123"/>
                <a:gd name="T68" fmla="*/ 91 w 113"/>
                <a:gd name="T69" fmla="*/ 60 h 123"/>
                <a:gd name="T70" fmla="*/ 68 w 113"/>
                <a:gd name="T71" fmla="*/ 57 h 123"/>
                <a:gd name="T72" fmla="*/ 75 w 113"/>
                <a:gd name="T73" fmla="*/ 50 h 123"/>
                <a:gd name="T74" fmla="*/ 75 w 113"/>
                <a:gd name="T75" fmla="*/ 45 h 123"/>
                <a:gd name="T76" fmla="*/ 68 w 113"/>
                <a:gd name="T77" fmla="*/ 38 h 123"/>
                <a:gd name="T78" fmla="*/ 63 w 113"/>
                <a:gd name="T79" fmla="*/ 38 h 123"/>
                <a:gd name="T80" fmla="*/ 56 w 113"/>
                <a:gd name="T81" fmla="*/ 45 h 123"/>
                <a:gd name="T82" fmla="*/ 56 w 113"/>
                <a:gd name="T83" fmla="*/ 50 h 123"/>
                <a:gd name="T84" fmla="*/ 63 w 113"/>
                <a:gd name="T85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3" h="123">
                  <a:moveTo>
                    <a:pt x="66" y="0"/>
                  </a:moveTo>
                  <a:cubicBezTo>
                    <a:pt x="40" y="0"/>
                    <a:pt x="19" y="21"/>
                    <a:pt x="18" y="47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0" y="65"/>
                    <a:pt x="0" y="67"/>
                    <a:pt x="0" y="69"/>
                  </a:cubicBezTo>
                  <a:cubicBezTo>
                    <a:pt x="0" y="72"/>
                    <a:pt x="2" y="76"/>
                    <a:pt x="7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104"/>
                    <a:pt x="19" y="109"/>
                    <a:pt x="26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21"/>
                    <a:pt x="42" y="121"/>
                    <a:pt x="42" y="121"/>
                  </a:cubicBezTo>
                  <a:cubicBezTo>
                    <a:pt x="42" y="122"/>
                    <a:pt x="43" y="123"/>
                    <a:pt x="44" y="123"/>
                  </a:cubicBezTo>
                  <a:cubicBezTo>
                    <a:pt x="46" y="123"/>
                    <a:pt x="47" y="122"/>
                    <a:pt x="47" y="121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106"/>
                    <a:pt x="47" y="105"/>
                    <a:pt x="46" y="105"/>
                  </a:cubicBezTo>
                  <a:cubicBezTo>
                    <a:pt x="46" y="104"/>
                    <a:pt x="45" y="104"/>
                    <a:pt x="44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2" y="104"/>
                    <a:pt x="18" y="101"/>
                    <a:pt x="18" y="97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3"/>
                    <a:pt x="18" y="72"/>
                    <a:pt x="18" y="72"/>
                  </a:cubicBezTo>
                  <a:cubicBezTo>
                    <a:pt x="17" y="71"/>
                    <a:pt x="17" y="71"/>
                    <a:pt x="16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5" y="71"/>
                    <a:pt x="4" y="70"/>
                    <a:pt x="4" y="69"/>
                  </a:cubicBezTo>
                  <a:cubicBezTo>
                    <a:pt x="4" y="68"/>
                    <a:pt x="4" y="67"/>
                    <a:pt x="5" y="67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24"/>
                    <a:pt x="42" y="5"/>
                    <a:pt x="66" y="5"/>
                  </a:cubicBezTo>
                  <a:cubicBezTo>
                    <a:pt x="89" y="5"/>
                    <a:pt x="108" y="24"/>
                    <a:pt x="108" y="48"/>
                  </a:cubicBezTo>
                  <a:cubicBezTo>
                    <a:pt x="108" y="60"/>
                    <a:pt x="103" y="71"/>
                    <a:pt x="95" y="79"/>
                  </a:cubicBezTo>
                  <a:cubicBezTo>
                    <a:pt x="94" y="79"/>
                    <a:pt x="94" y="80"/>
                    <a:pt x="94" y="80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2"/>
                    <a:pt x="95" y="123"/>
                    <a:pt x="96" y="123"/>
                  </a:cubicBezTo>
                  <a:cubicBezTo>
                    <a:pt x="98" y="123"/>
                    <a:pt x="99" y="122"/>
                    <a:pt x="99" y="12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7" y="73"/>
                    <a:pt x="113" y="61"/>
                    <a:pt x="113" y="48"/>
                  </a:cubicBezTo>
                  <a:cubicBezTo>
                    <a:pt x="113" y="22"/>
                    <a:pt x="92" y="0"/>
                    <a:pt x="66" y="0"/>
                  </a:cubicBezTo>
                  <a:moveTo>
                    <a:pt x="85" y="44"/>
                  </a:moveTo>
                  <a:cubicBezTo>
                    <a:pt x="84" y="45"/>
                    <a:pt x="84" y="46"/>
                    <a:pt x="85" y="47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5"/>
                    <a:pt x="94" y="55"/>
                  </a:cubicBezTo>
                  <a:cubicBezTo>
                    <a:pt x="95" y="55"/>
                    <a:pt x="95" y="54"/>
                    <a:pt x="96" y="54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4" y="46"/>
                    <a:pt x="104" y="45"/>
                    <a:pt x="103" y="44"/>
                  </a:cubicBezTo>
                  <a:cubicBezTo>
                    <a:pt x="102" y="43"/>
                    <a:pt x="100" y="43"/>
                    <a:pt x="99" y="44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30"/>
                    <a:pt x="82" y="17"/>
                    <a:pt x="66" y="17"/>
                  </a:cubicBezTo>
                  <a:cubicBezTo>
                    <a:pt x="54" y="17"/>
                    <a:pt x="44" y="23"/>
                    <a:pt x="39" y="32"/>
                  </a:cubicBezTo>
                  <a:cubicBezTo>
                    <a:pt x="38" y="33"/>
                    <a:pt x="39" y="35"/>
                    <a:pt x="40" y="36"/>
                  </a:cubicBezTo>
                  <a:cubicBezTo>
                    <a:pt x="41" y="36"/>
                    <a:pt x="43" y="36"/>
                    <a:pt x="43" y="35"/>
                  </a:cubicBezTo>
                  <a:cubicBezTo>
                    <a:pt x="48" y="27"/>
                    <a:pt x="56" y="22"/>
                    <a:pt x="66" y="22"/>
                  </a:cubicBezTo>
                  <a:cubicBezTo>
                    <a:pt x="80" y="22"/>
                    <a:pt x="91" y="33"/>
                    <a:pt x="92" y="47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8" y="43"/>
                    <a:pt x="86" y="43"/>
                    <a:pt x="85" y="44"/>
                  </a:cubicBezTo>
                  <a:moveTo>
                    <a:pt x="91" y="60"/>
                  </a:moveTo>
                  <a:cubicBezTo>
                    <a:pt x="90" y="59"/>
                    <a:pt x="89" y="60"/>
                    <a:pt x="88" y="61"/>
                  </a:cubicBezTo>
                  <a:cubicBezTo>
                    <a:pt x="84" y="68"/>
                    <a:pt x="75" y="74"/>
                    <a:pt x="66" y="74"/>
                  </a:cubicBezTo>
                  <a:cubicBezTo>
                    <a:pt x="52" y="74"/>
                    <a:pt x="40" y="63"/>
                    <a:pt x="40" y="49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3"/>
                    <a:pt x="45" y="53"/>
                    <a:pt x="46" y="52"/>
                  </a:cubicBezTo>
                  <a:cubicBezTo>
                    <a:pt x="47" y="51"/>
                    <a:pt x="47" y="49"/>
                    <a:pt x="46" y="4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0"/>
                    <a:pt x="37" y="40"/>
                    <a:pt x="36" y="41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8" y="49"/>
                    <a:pt x="28" y="51"/>
                    <a:pt x="29" y="52"/>
                  </a:cubicBezTo>
                  <a:cubicBezTo>
                    <a:pt x="29" y="52"/>
                    <a:pt x="30" y="52"/>
                    <a:pt x="30" y="52"/>
                  </a:cubicBezTo>
                  <a:cubicBezTo>
                    <a:pt x="31" y="52"/>
                    <a:pt x="31" y="52"/>
                    <a:pt x="32" y="52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65"/>
                    <a:pt x="49" y="78"/>
                    <a:pt x="66" y="78"/>
                  </a:cubicBezTo>
                  <a:cubicBezTo>
                    <a:pt x="77" y="78"/>
                    <a:pt x="87" y="72"/>
                    <a:pt x="92" y="63"/>
                  </a:cubicBezTo>
                  <a:cubicBezTo>
                    <a:pt x="93" y="62"/>
                    <a:pt x="92" y="60"/>
                    <a:pt x="91" y="60"/>
                  </a:cubicBezTo>
                  <a:moveTo>
                    <a:pt x="66" y="59"/>
                  </a:moveTo>
                  <a:cubicBezTo>
                    <a:pt x="67" y="59"/>
                    <a:pt x="68" y="58"/>
                    <a:pt x="68" y="57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6" y="50"/>
                    <a:pt x="77" y="49"/>
                    <a:pt x="77" y="48"/>
                  </a:cubicBezTo>
                  <a:cubicBezTo>
                    <a:pt x="77" y="46"/>
                    <a:pt x="76" y="45"/>
                    <a:pt x="75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7"/>
                    <a:pt x="67" y="36"/>
                    <a:pt x="66" y="36"/>
                  </a:cubicBezTo>
                  <a:cubicBezTo>
                    <a:pt x="64" y="36"/>
                    <a:pt x="63" y="37"/>
                    <a:pt x="63" y="38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4" y="46"/>
                    <a:pt x="54" y="48"/>
                  </a:cubicBezTo>
                  <a:cubicBezTo>
                    <a:pt x="54" y="49"/>
                    <a:pt x="55" y="50"/>
                    <a:pt x="56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3" y="58"/>
                    <a:pt x="64" y="59"/>
                    <a:pt x="66" y="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94" name="Picture 293">
            <a:extLst>
              <a:ext uri="{FF2B5EF4-FFF2-40B4-BE49-F238E27FC236}">
                <a16:creationId xmlns:a16="http://schemas.microsoft.com/office/drawing/2014/main" id="{F0B566FD-CFCF-4DB3-8F9E-79B68E719D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9507" y="5418306"/>
            <a:ext cx="841519" cy="841248"/>
          </a:xfrm>
          <a:prstGeom prst="rect">
            <a:avLst/>
          </a:prstGeom>
        </p:spPr>
      </p:pic>
      <p:grpSp>
        <p:nvGrpSpPr>
          <p:cNvPr id="297" name="Group 258">
            <a:extLst>
              <a:ext uri="{FF2B5EF4-FFF2-40B4-BE49-F238E27FC236}">
                <a16:creationId xmlns:a16="http://schemas.microsoft.com/office/drawing/2014/main" id="{C8DA148E-B669-4719-BFE6-1CFC9F2BB7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6720" y="5459581"/>
            <a:ext cx="758825" cy="758825"/>
            <a:chOff x="3617" y="3507"/>
            <a:chExt cx="478" cy="478"/>
          </a:xfrm>
        </p:grpSpPr>
        <p:sp>
          <p:nvSpPr>
            <p:cNvPr id="298" name="AutoShape 257">
              <a:extLst>
                <a:ext uri="{FF2B5EF4-FFF2-40B4-BE49-F238E27FC236}">
                  <a16:creationId xmlns:a16="http://schemas.microsoft.com/office/drawing/2014/main" id="{ED8D4DCB-7ADC-43FA-9E32-B7C48F3692D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7" y="350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59">
              <a:extLst>
                <a:ext uri="{FF2B5EF4-FFF2-40B4-BE49-F238E27FC236}">
                  <a16:creationId xmlns:a16="http://schemas.microsoft.com/office/drawing/2014/main" id="{BC1FD955-354A-4242-9CAF-A5DA87AB86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9" y="350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60">
              <a:extLst>
                <a:ext uri="{FF2B5EF4-FFF2-40B4-BE49-F238E27FC236}">
                  <a16:creationId xmlns:a16="http://schemas.microsoft.com/office/drawing/2014/main" id="{D6BB7A4E-4985-4042-BAA0-6936B7169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1" y="3649"/>
              <a:ext cx="113" cy="206"/>
            </a:xfrm>
            <a:custGeom>
              <a:avLst/>
              <a:gdLst>
                <a:gd name="T0" fmla="*/ 31 w 46"/>
                <a:gd name="T1" fmla="*/ 36 h 84"/>
                <a:gd name="T2" fmla="*/ 16 w 46"/>
                <a:gd name="T3" fmla="*/ 45 h 84"/>
                <a:gd name="T4" fmla="*/ 8 w 46"/>
                <a:gd name="T5" fmla="*/ 31 h 84"/>
                <a:gd name="T6" fmla="*/ 15 w 46"/>
                <a:gd name="T7" fmla="*/ 3 h 84"/>
                <a:gd name="T8" fmla="*/ 41 w 46"/>
                <a:gd name="T9" fmla="*/ 14 h 84"/>
                <a:gd name="T10" fmla="*/ 36 w 46"/>
                <a:gd name="T11" fmla="*/ 33 h 84"/>
                <a:gd name="T12" fmla="*/ 8 w 46"/>
                <a:gd name="T13" fmla="*/ 31 h 84"/>
                <a:gd name="T14" fmla="*/ 41 w 46"/>
                <a:gd name="T15" fmla="*/ 53 h 84"/>
                <a:gd name="T16" fmla="*/ 3 w 46"/>
                <a:gd name="T17" fmla="*/ 51 h 84"/>
                <a:gd name="T18" fmla="*/ 41 w 46"/>
                <a:gd name="T19" fmla="*/ 49 h 84"/>
                <a:gd name="T20" fmla="*/ 39 w 46"/>
                <a:gd name="T21" fmla="*/ 80 h 84"/>
                <a:gd name="T22" fmla="*/ 39 w 46"/>
                <a:gd name="T23" fmla="*/ 77 h 84"/>
                <a:gd name="T24" fmla="*/ 39 w 46"/>
                <a:gd name="T25" fmla="*/ 80 h 84"/>
                <a:gd name="T26" fmla="*/ 21 w 46"/>
                <a:gd name="T27" fmla="*/ 78 h 84"/>
                <a:gd name="T28" fmla="*/ 25 w 46"/>
                <a:gd name="T29" fmla="*/ 78 h 84"/>
                <a:gd name="T30" fmla="*/ 7 w 46"/>
                <a:gd name="T31" fmla="*/ 80 h 84"/>
                <a:gd name="T32" fmla="*/ 7 w 46"/>
                <a:gd name="T33" fmla="*/ 77 h 84"/>
                <a:gd name="T34" fmla="*/ 7 w 46"/>
                <a:gd name="T35" fmla="*/ 80 h 84"/>
                <a:gd name="T36" fmla="*/ 0 w 46"/>
                <a:gd name="T37" fmla="*/ 51 h 84"/>
                <a:gd name="T38" fmla="*/ 21 w 46"/>
                <a:gd name="T39" fmla="*/ 57 h 84"/>
                <a:gd name="T40" fmla="*/ 16 w 46"/>
                <a:gd name="T41" fmla="*/ 63 h 84"/>
                <a:gd name="T42" fmla="*/ 6 w 46"/>
                <a:gd name="T43" fmla="*/ 74 h 84"/>
                <a:gd name="T44" fmla="*/ 7 w 46"/>
                <a:gd name="T45" fmla="*/ 84 h 84"/>
                <a:gd name="T46" fmla="*/ 9 w 46"/>
                <a:gd name="T47" fmla="*/ 74 h 84"/>
                <a:gd name="T48" fmla="*/ 16 w 46"/>
                <a:gd name="T49" fmla="*/ 67 h 84"/>
                <a:gd name="T50" fmla="*/ 21 w 46"/>
                <a:gd name="T51" fmla="*/ 74 h 84"/>
                <a:gd name="T52" fmla="*/ 23 w 46"/>
                <a:gd name="T53" fmla="*/ 84 h 84"/>
                <a:gd name="T54" fmla="*/ 25 w 46"/>
                <a:gd name="T55" fmla="*/ 74 h 84"/>
                <a:gd name="T56" fmla="*/ 30 w 46"/>
                <a:gd name="T57" fmla="*/ 67 h 84"/>
                <a:gd name="T58" fmla="*/ 37 w 46"/>
                <a:gd name="T59" fmla="*/ 74 h 84"/>
                <a:gd name="T60" fmla="*/ 39 w 46"/>
                <a:gd name="T61" fmla="*/ 84 h 84"/>
                <a:gd name="T62" fmla="*/ 40 w 46"/>
                <a:gd name="T63" fmla="*/ 74 h 84"/>
                <a:gd name="T64" fmla="*/ 30 w 46"/>
                <a:gd name="T65" fmla="*/ 63 h 84"/>
                <a:gd name="T66" fmla="*/ 25 w 46"/>
                <a:gd name="T67" fmla="*/ 57 h 84"/>
                <a:gd name="T68" fmla="*/ 46 w 46"/>
                <a:gd name="T69" fmla="*/ 51 h 84"/>
                <a:gd name="T70" fmla="*/ 34 w 46"/>
                <a:gd name="T71" fmla="*/ 45 h 84"/>
                <a:gd name="T72" fmla="*/ 36 w 46"/>
                <a:gd name="T73" fmla="*/ 36 h 84"/>
                <a:gd name="T74" fmla="*/ 44 w 46"/>
                <a:gd name="T75" fmla="*/ 14 h 84"/>
                <a:gd name="T76" fmla="*/ 31 w 46"/>
                <a:gd name="T77" fmla="*/ 0 h 84"/>
                <a:gd name="T78" fmla="*/ 2 w 46"/>
                <a:gd name="T79" fmla="*/ 14 h 84"/>
                <a:gd name="T80" fmla="*/ 10 w 46"/>
                <a:gd name="T81" fmla="*/ 36 h 84"/>
                <a:gd name="T82" fmla="*/ 13 w 46"/>
                <a:gd name="T83" fmla="*/ 4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6" h="84">
                  <a:moveTo>
                    <a:pt x="16" y="36"/>
                  </a:moveTo>
                  <a:cubicBezTo>
                    <a:pt x="31" y="36"/>
                    <a:pt x="31" y="36"/>
                    <a:pt x="31" y="3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16" y="45"/>
                    <a:pt x="16" y="45"/>
                    <a:pt x="16" y="45"/>
                  </a:cubicBezTo>
                  <a:lnTo>
                    <a:pt x="16" y="36"/>
                  </a:lnTo>
                  <a:close/>
                  <a:moveTo>
                    <a:pt x="8" y="31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8"/>
                    <a:pt x="10" y="3"/>
                    <a:pt x="15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6" y="3"/>
                    <a:pt x="41" y="8"/>
                    <a:pt x="41" y="14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2"/>
                    <a:pt x="37" y="33"/>
                    <a:pt x="3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9" y="33"/>
                    <a:pt x="8" y="32"/>
                    <a:pt x="8" y="31"/>
                  </a:cubicBezTo>
                  <a:moveTo>
                    <a:pt x="43" y="51"/>
                  </a:moveTo>
                  <a:cubicBezTo>
                    <a:pt x="43" y="52"/>
                    <a:pt x="42" y="53"/>
                    <a:pt x="41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4" y="53"/>
                    <a:pt x="3" y="52"/>
                    <a:pt x="3" y="51"/>
                  </a:cubicBezTo>
                  <a:cubicBezTo>
                    <a:pt x="3" y="50"/>
                    <a:pt x="4" y="49"/>
                    <a:pt x="5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2" y="49"/>
                    <a:pt x="43" y="50"/>
                    <a:pt x="43" y="51"/>
                  </a:cubicBezTo>
                  <a:moveTo>
                    <a:pt x="39" y="80"/>
                  </a:moveTo>
                  <a:cubicBezTo>
                    <a:pt x="38" y="80"/>
                    <a:pt x="37" y="79"/>
                    <a:pt x="37" y="78"/>
                  </a:cubicBezTo>
                  <a:cubicBezTo>
                    <a:pt x="37" y="77"/>
                    <a:pt x="38" y="77"/>
                    <a:pt x="39" y="77"/>
                  </a:cubicBezTo>
                  <a:cubicBezTo>
                    <a:pt x="40" y="77"/>
                    <a:pt x="40" y="77"/>
                    <a:pt x="40" y="78"/>
                  </a:cubicBezTo>
                  <a:cubicBezTo>
                    <a:pt x="40" y="79"/>
                    <a:pt x="40" y="80"/>
                    <a:pt x="39" y="80"/>
                  </a:cubicBezTo>
                  <a:moveTo>
                    <a:pt x="23" y="80"/>
                  </a:moveTo>
                  <a:cubicBezTo>
                    <a:pt x="22" y="80"/>
                    <a:pt x="21" y="79"/>
                    <a:pt x="21" y="78"/>
                  </a:cubicBezTo>
                  <a:cubicBezTo>
                    <a:pt x="21" y="77"/>
                    <a:pt x="22" y="77"/>
                    <a:pt x="23" y="77"/>
                  </a:cubicBezTo>
                  <a:cubicBezTo>
                    <a:pt x="24" y="77"/>
                    <a:pt x="25" y="77"/>
                    <a:pt x="25" y="78"/>
                  </a:cubicBezTo>
                  <a:cubicBezTo>
                    <a:pt x="25" y="79"/>
                    <a:pt x="24" y="80"/>
                    <a:pt x="23" y="80"/>
                  </a:cubicBezTo>
                  <a:moveTo>
                    <a:pt x="7" y="80"/>
                  </a:moveTo>
                  <a:cubicBezTo>
                    <a:pt x="6" y="80"/>
                    <a:pt x="6" y="79"/>
                    <a:pt x="6" y="78"/>
                  </a:cubicBezTo>
                  <a:cubicBezTo>
                    <a:pt x="6" y="77"/>
                    <a:pt x="6" y="77"/>
                    <a:pt x="7" y="77"/>
                  </a:cubicBezTo>
                  <a:cubicBezTo>
                    <a:pt x="8" y="77"/>
                    <a:pt x="9" y="77"/>
                    <a:pt x="9" y="78"/>
                  </a:cubicBezTo>
                  <a:cubicBezTo>
                    <a:pt x="9" y="79"/>
                    <a:pt x="8" y="80"/>
                    <a:pt x="7" y="80"/>
                  </a:cubicBezTo>
                  <a:moveTo>
                    <a:pt x="5" y="45"/>
                  </a:moveTo>
                  <a:cubicBezTo>
                    <a:pt x="2" y="45"/>
                    <a:pt x="0" y="48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1" y="63"/>
                    <a:pt x="21" y="63"/>
                    <a:pt x="21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0" y="63"/>
                    <a:pt x="6" y="68"/>
                    <a:pt x="6" y="73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4" y="74"/>
                    <a:pt x="2" y="76"/>
                    <a:pt x="2" y="78"/>
                  </a:cubicBezTo>
                  <a:cubicBezTo>
                    <a:pt x="2" y="81"/>
                    <a:pt x="5" y="84"/>
                    <a:pt x="7" y="84"/>
                  </a:cubicBezTo>
                  <a:cubicBezTo>
                    <a:pt x="10" y="84"/>
                    <a:pt x="13" y="81"/>
                    <a:pt x="13" y="78"/>
                  </a:cubicBezTo>
                  <a:cubicBezTo>
                    <a:pt x="13" y="76"/>
                    <a:pt x="11" y="74"/>
                    <a:pt x="9" y="74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9" y="70"/>
                    <a:pt x="12" y="67"/>
                    <a:pt x="16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19" y="74"/>
                    <a:pt x="18" y="76"/>
                    <a:pt x="18" y="78"/>
                  </a:cubicBezTo>
                  <a:cubicBezTo>
                    <a:pt x="18" y="81"/>
                    <a:pt x="20" y="84"/>
                    <a:pt x="23" y="84"/>
                  </a:cubicBezTo>
                  <a:cubicBezTo>
                    <a:pt x="26" y="84"/>
                    <a:pt x="28" y="81"/>
                    <a:pt x="28" y="78"/>
                  </a:cubicBezTo>
                  <a:cubicBezTo>
                    <a:pt x="28" y="76"/>
                    <a:pt x="27" y="74"/>
                    <a:pt x="25" y="74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4" y="67"/>
                    <a:pt x="37" y="70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5" y="74"/>
                    <a:pt x="33" y="76"/>
                    <a:pt x="33" y="78"/>
                  </a:cubicBezTo>
                  <a:cubicBezTo>
                    <a:pt x="33" y="81"/>
                    <a:pt x="36" y="84"/>
                    <a:pt x="39" y="84"/>
                  </a:cubicBezTo>
                  <a:cubicBezTo>
                    <a:pt x="41" y="84"/>
                    <a:pt x="44" y="81"/>
                    <a:pt x="44" y="78"/>
                  </a:cubicBezTo>
                  <a:cubicBezTo>
                    <a:pt x="44" y="76"/>
                    <a:pt x="42" y="74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68"/>
                    <a:pt x="36" y="63"/>
                    <a:pt x="30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4" y="57"/>
                    <a:pt x="46" y="54"/>
                    <a:pt x="46" y="51"/>
                  </a:cubicBezTo>
                  <a:cubicBezTo>
                    <a:pt x="46" y="48"/>
                    <a:pt x="44" y="45"/>
                    <a:pt x="41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8" y="36"/>
                    <a:pt x="41" y="34"/>
                    <a:pt x="41" y="32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6"/>
                    <a:pt x="38" y="0"/>
                    <a:pt x="3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8" y="0"/>
                    <a:pt x="2" y="6"/>
                    <a:pt x="2" y="1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4"/>
                    <a:pt x="8" y="36"/>
                    <a:pt x="10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45"/>
                    <a:pt x="13" y="45"/>
                    <a:pt x="13" y="45"/>
                  </a:cubicBezTo>
                  <a:lnTo>
                    <a:pt x="5" y="4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261">
              <a:extLst>
                <a:ext uri="{FF2B5EF4-FFF2-40B4-BE49-F238E27FC236}">
                  <a16:creationId xmlns:a16="http://schemas.microsoft.com/office/drawing/2014/main" id="{0EAB7099-BA04-40F7-827C-0D049AE6F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3" y="3679"/>
              <a:ext cx="7" cy="1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Rectangle 262">
              <a:extLst>
                <a:ext uri="{FF2B5EF4-FFF2-40B4-BE49-F238E27FC236}">
                  <a16:creationId xmlns:a16="http://schemas.microsoft.com/office/drawing/2014/main" id="{180E4217-54A4-40C7-B6A5-24DC5F7BB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3679"/>
              <a:ext cx="7" cy="1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Rectangle 263">
              <a:extLst>
                <a:ext uri="{FF2B5EF4-FFF2-40B4-BE49-F238E27FC236}">
                  <a16:creationId xmlns:a16="http://schemas.microsoft.com/office/drawing/2014/main" id="{6B3245B6-1B9D-44AF-88F4-D8D8958CA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2" y="3679"/>
              <a:ext cx="10" cy="1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4">
              <a:extLst>
                <a:ext uri="{FF2B5EF4-FFF2-40B4-BE49-F238E27FC236}">
                  <a16:creationId xmlns:a16="http://schemas.microsoft.com/office/drawing/2014/main" id="{90A04DB6-2C4F-4CB3-B43F-D274F8478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" y="3598"/>
              <a:ext cx="280" cy="95"/>
            </a:xfrm>
            <a:custGeom>
              <a:avLst/>
              <a:gdLst>
                <a:gd name="T0" fmla="*/ 140 w 280"/>
                <a:gd name="T1" fmla="*/ 0 h 95"/>
                <a:gd name="T2" fmla="*/ 0 w 280"/>
                <a:gd name="T3" fmla="*/ 88 h 95"/>
                <a:gd name="T4" fmla="*/ 5 w 280"/>
                <a:gd name="T5" fmla="*/ 95 h 95"/>
                <a:gd name="T6" fmla="*/ 140 w 280"/>
                <a:gd name="T7" fmla="*/ 9 h 95"/>
                <a:gd name="T8" fmla="*/ 275 w 280"/>
                <a:gd name="T9" fmla="*/ 95 h 95"/>
                <a:gd name="T10" fmla="*/ 280 w 280"/>
                <a:gd name="T11" fmla="*/ 88 h 95"/>
                <a:gd name="T12" fmla="*/ 140 w 280"/>
                <a:gd name="T1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95">
                  <a:moveTo>
                    <a:pt x="140" y="0"/>
                  </a:moveTo>
                  <a:lnTo>
                    <a:pt x="0" y="88"/>
                  </a:lnTo>
                  <a:lnTo>
                    <a:pt x="5" y="95"/>
                  </a:lnTo>
                  <a:lnTo>
                    <a:pt x="140" y="9"/>
                  </a:lnTo>
                  <a:lnTo>
                    <a:pt x="275" y="95"/>
                  </a:lnTo>
                  <a:lnTo>
                    <a:pt x="280" y="88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5">
              <a:extLst>
                <a:ext uri="{FF2B5EF4-FFF2-40B4-BE49-F238E27FC236}">
                  <a16:creationId xmlns:a16="http://schemas.microsoft.com/office/drawing/2014/main" id="{5B78ADD0-DFCF-4F0D-BDC1-D8ED832AD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" y="3688"/>
              <a:ext cx="250" cy="184"/>
            </a:xfrm>
            <a:custGeom>
              <a:avLst/>
              <a:gdLst>
                <a:gd name="T0" fmla="*/ 243 w 250"/>
                <a:gd name="T1" fmla="*/ 174 h 184"/>
                <a:gd name="T2" fmla="*/ 8 w 250"/>
                <a:gd name="T3" fmla="*/ 177 h 184"/>
                <a:gd name="T4" fmla="*/ 8 w 250"/>
                <a:gd name="T5" fmla="*/ 0 h 184"/>
                <a:gd name="T6" fmla="*/ 0 w 250"/>
                <a:gd name="T7" fmla="*/ 0 h 184"/>
                <a:gd name="T8" fmla="*/ 0 w 250"/>
                <a:gd name="T9" fmla="*/ 184 h 184"/>
                <a:gd name="T10" fmla="*/ 250 w 250"/>
                <a:gd name="T11" fmla="*/ 184 h 184"/>
                <a:gd name="T12" fmla="*/ 250 w 250"/>
                <a:gd name="T13" fmla="*/ 0 h 184"/>
                <a:gd name="T14" fmla="*/ 243 w 250"/>
                <a:gd name="T15" fmla="*/ 0 h 184"/>
                <a:gd name="T16" fmla="*/ 243 w 250"/>
                <a:gd name="T17" fmla="*/ 17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184">
                  <a:moveTo>
                    <a:pt x="243" y="174"/>
                  </a:moveTo>
                  <a:lnTo>
                    <a:pt x="8" y="177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4"/>
                  </a:lnTo>
                  <a:lnTo>
                    <a:pt x="250" y="184"/>
                  </a:lnTo>
                  <a:lnTo>
                    <a:pt x="250" y="0"/>
                  </a:lnTo>
                  <a:lnTo>
                    <a:pt x="243" y="0"/>
                  </a:lnTo>
                  <a:lnTo>
                    <a:pt x="243" y="17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0" name="Group 268">
            <a:extLst>
              <a:ext uri="{FF2B5EF4-FFF2-40B4-BE49-F238E27FC236}">
                <a16:creationId xmlns:a16="http://schemas.microsoft.com/office/drawing/2014/main" id="{922A5E7B-0170-44A6-BB3C-9609FB28A9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0111" y="5459581"/>
            <a:ext cx="758825" cy="758825"/>
            <a:chOff x="5171" y="3663"/>
            <a:chExt cx="478" cy="478"/>
          </a:xfrm>
        </p:grpSpPr>
        <p:sp>
          <p:nvSpPr>
            <p:cNvPr id="311" name="AutoShape 267">
              <a:extLst>
                <a:ext uri="{FF2B5EF4-FFF2-40B4-BE49-F238E27FC236}">
                  <a16:creationId xmlns:a16="http://schemas.microsoft.com/office/drawing/2014/main" id="{65867B5B-184D-4D0C-AB66-E73374F5C6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71" y="366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69">
              <a:extLst>
                <a:ext uri="{FF2B5EF4-FFF2-40B4-BE49-F238E27FC236}">
                  <a16:creationId xmlns:a16="http://schemas.microsoft.com/office/drawing/2014/main" id="{460BFEF6-D811-4FE5-9314-63FCB250E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" y="366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70">
              <a:extLst>
                <a:ext uri="{FF2B5EF4-FFF2-40B4-BE49-F238E27FC236}">
                  <a16:creationId xmlns:a16="http://schemas.microsoft.com/office/drawing/2014/main" id="{9542B81F-3DEA-42DF-9948-7197006A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3" y="3813"/>
              <a:ext cx="34" cy="24"/>
            </a:xfrm>
            <a:custGeom>
              <a:avLst/>
              <a:gdLst>
                <a:gd name="T0" fmla="*/ 1 w 14"/>
                <a:gd name="T1" fmla="*/ 0 h 10"/>
                <a:gd name="T2" fmla="*/ 0 w 14"/>
                <a:gd name="T3" fmla="*/ 3 h 10"/>
                <a:gd name="T4" fmla="*/ 7 w 14"/>
                <a:gd name="T5" fmla="*/ 10 h 10"/>
                <a:gd name="T6" fmla="*/ 14 w 14"/>
                <a:gd name="T7" fmla="*/ 3 h 10"/>
                <a:gd name="T8" fmla="*/ 14 w 14"/>
                <a:gd name="T9" fmla="*/ 0 h 10"/>
                <a:gd name="T10" fmla="*/ 10 w 14"/>
                <a:gd name="T11" fmla="*/ 1 h 10"/>
                <a:gd name="T12" fmla="*/ 11 w 14"/>
                <a:gd name="T13" fmla="*/ 3 h 10"/>
                <a:gd name="T14" fmla="*/ 7 w 14"/>
                <a:gd name="T15" fmla="*/ 6 h 10"/>
                <a:gd name="T16" fmla="*/ 4 w 14"/>
                <a:gd name="T17" fmla="*/ 3 h 10"/>
                <a:gd name="T18" fmla="*/ 4 w 14"/>
                <a:gd name="T19" fmla="*/ 1 h 10"/>
                <a:gd name="T20" fmla="*/ 1 w 1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3" y="10"/>
                    <a:pt x="7" y="10"/>
                  </a:cubicBezTo>
                  <a:cubicBezTo>
                    <a:pt x="11" y="10"/>
                    <a:pt x="14" y="7"/>
                    <a:pt x="14" y="3"/>
                  </a:cubicBezTo>
                  <a:cubicBezTo>
                    <a:pt x="14" y="2"/>
                    <a:pt x="14" y="1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1" y="5"/>
                    <a:pt x="9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Rectangle 271">
              <a:extLst>
                <a:ext uri="{FF2B5EF4-FFF2-40B4-BE49-F238E27FC236}">
                  <a16:creationId xmlns:a16="http://schemas.microsoft.com/office/drawing/2014/main" id="{84574FB8-3983-4561-BF7E-C17121305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5" y="3788"/>
              <a:ext cx="10" cy="3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72">
              <a:extLst>
                <a:ext uri="{FF2B5EF4-FFF2-40B4-BE49-F238E27FC236}">
                  <a16:creationId xmlns:a16="http://schemas.microsoft.com/office/drawing/2014/main" id="{EFC50E76-7CA4-4BB1-958D-B1F4AE09C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" y="3813"/>
              <a:ext cx="34" cy="24"/>
            </a:xfrm>
            <a:custGeom>
              <a:avLst/>
              <a:gdLst>
                <a:gd name="T0" fmla="*/ 0 w 14"/>
                <a:gd name="T1" fmla="*/ 0 h 10"/>
                <a:gd name="T2" fmla="*/ 0 w 14"/>
                <a:gd name="T3" fmla="*/ 3 h 10"/>
                <a:gd name="T4" fmla="*/ 7 w 14"/>
                <a:gd name="T5" fmla="*/ 10 h 10"/>
                <a:gd name="T6" fmla="*/ 14 w 14"/>
                <a:gd name="T7" fmla="*/ 3 h 10"/>
                <a:gd name="T8" fmla="*/ 13 w 14"/>
                <a:gd name="T9" fmla="*/ 0 h 10"/>
                <a:gd name="T10" fmla="*/ 10 w 14"/>
                <a:gd name="T11" fmla="*/ 1 h 10"/>
                <a:gd name="T12" fmla="*/ 10 w 14"/>
                <a:gd name="T13" fmla="*/ 3 h 10"/>
                <a:gd name="T14" fmla="*/ 7 w 14"/>
                <a:gd name="T15" fmla="*/ 6 h 10"/>
                <a:gd name="T16" fmla="*/ 3 w 14"/>
                <a:gd name="T17" fmla="*/ 3 h 10"/>
                <a:gd name="T18" fmla="*/ 4 w 14"/>
                <a:gd name="T19" fmla="*/ 1 h 10"/>
                <a:gd name="T20" fmla="*/ 0 w 1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3" y="10"/>
                    <a:pt x="7" y="10"/>
                  </a:cubicBezTo>
                  <a:cubicBezTo>
                    <a:pt x="11" y="10"/>
                    <a:pt x="14" y="7"/>
                    <a:pt x="14" y="3"/>
                  </a:cubicBezTo>
                  <a:cubicBezTo>
                    <a:pt x="14" y="2"/>
                    <a:pt x="14" y="1"/>
                    <a:pt x="1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10" y="2"/>
                    <a:pt x="10" y="3"/>
                  </a:cubicBezTo>
                  <a:cubicBezTo>
                    <a:pt x="10" y="5"/>
                    <a:pt x="9" y="6"/>
                    <a:pt x="7" y="6"/>
                  </a:cubicBezTo>
                  <a:cubicBezTo>
                    <a:pt x="5" y="6"/>
                    <a:pt x="3" y="5"/>
                    <a:pt x="3" y="3"/>
                  </a:cubicBezTo>
                  <a:cubicBezTo>
                    <a:pt x="3" y="2"/>
                    <a:pt x="3" y="2"/>
                    <a:pt x="4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Rectangle 273">
              <a:extLst>
                <a:ext uri="{FF2B5EF4-FFF2-40B4-BE49-F238E27FC236}">
                  <a16:creationId xmlns:a16="http://schemas.microsoft.com/office/drawing/2014/main" id="{58FEB1FA-4244-453F-9801-CB2F1E9E3D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7" y="3788"/>
              <a:ext cx="10" cy="3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Rectangle 274">
              <a:extLst>
                <a:ext uri="{FF2B5EF4-FFF2-40B4-BE49-F238E27FC236}">
                  <a16:creationId xmlns:a16="http://schemas.microsoft.com/office/drawing/2014/main" id="{E8F820D9-0B47-4BE9-8B30-B82A79D3C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5" y="3793"/>
              <a:ext cx="132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75">
              <a:extLst>
                <a:ext uri="{FF2B5EF4-FFF2-40B4-BE49-F238E27FC236}">
                  <a16:creationId xmlns:a16="http://schemas.microsoft.com/office/drawing/2014/main" id="{D23DD113-5B80-4176-BC4A-4EF2BB610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7" y="3793"/>
              <a:ext cx="289" cy="228"/>
            </a:xfrm>
            <a:custGeom>
              <a:avLst/>
              <a:gdLst>
                <a:gd name="T0" fmla="*/ 115 w 118"/>
                <a:gd name="T1" fmla="*/ 86 h 93"/>
                <a:gd name="T2" fmla="*/ 111 w 118"/>
                <a:gd name="T3" fmla="*/ 90 h 93"/>
                <a:gd name="T4" fmla="*/ 7 w 118"/>
                <a:gd name="T5" fmla="*/ 90 h 93"/>
                <a:gd name="T6" fmla="*/ 3 w 118"/>
                <a:gd name="T7" fmla="*/ 86 h 93"/>
                <a:gd name="T8" fmla="*/ 3 w 118"/>
                <a:gd name="T9" fmla="*/ 28 h 93"/>
                <a:gd name="T10" fmla="*/ 115 w 118"/>
                <a:gd name="T11" fmla="*/ 28 h 93"/>
                <a:gd name="T12" fmla="*/ 115 w 118"/>
                <a:gd name="T13" fmla="*/ 86 h 93"/>
                <a:gd name="T14" fmla="*/ 111 w 118"/>
                <a:gd name="T15" fmla="*/ 0 h 93"/>
                <a:gd name="T16" fmla="*/ 98 w 118"/>
                <a:gd name="T17" fmla="*/ 0 h 93"/>
                <a:gd name="T18" fmla="*/ 98 w 118"/>
                <a:gd name="T19" fmla="*/ 3 h 93"/>
                <a:gd name="T20" fmla="*/ 111 w 118"/>
                <a:gd name="T21" fmla="*/ 3 h 93"/>
                <a:gd name="T22" fmla="*/ 115 w 118"/>
                <a:gd name="T23" fmla="*/ 7 h 93"/>
                <a:gd name="T24" fmla="*/ 115 w 118"/>
                <a:gd name="T25" fmla="*/ 25 h 93"/>
                <a:gd name="T26" fmla="*/ 3 w 118"/>
                <a:gd name="T27" fmla="*/ 25 h 93"/>
                <a:gd name="T28" fmla="*/ 3 w 118"/>
                <a:gd name="T29" fmla="*/ 7 h 93"/>
                <a:gd name="T30" fmla="*/ 7 w 118"/>
                <a:gd name="T31" fmla="*/ 3 h 93"/>
                <a:gd name="T32" fmla="*/ 20 w 118"/>
                <a:gd name="T33" fmla="*/ 3 h 93"/>
                <a:gd name="T34" fmla="*/ 20 w 118"/>
                <a:gd name="T35" fmla="*/ 0 h 93"/>
                <a:gd name="T36" fmla="*/ 7 w 118"/>
                <a:gd name="T37" fmla="*/ 0 h 93"/>
                <a:gd name="T38" fmla="*/ 0 w 118"/>
                <a:gd name="T39" fmla="*/ 7 h 93"/>
                <a:gd name="T40" fmla="*/ 0 w 118"/>
                <a:gd name="T41" fmla="*/ 27 h 93"/>
                <a:gd name="T42" fmla="*/ 0 w 118"/>
                <a:gd name="T43" fmla="*/ 28 h 93"/>
                <a:gd name="T44" fmla="*/ 0 w 118"/>
                <a:gd name="T45" fmla="*/ 86 h 93"/>
                <a:gd name="T46" fmla="*/ 7 w 118"/>
                <a:gd name="T47" fmla="*/ 93 h 93"/>
                <a:gd name="T48" fmla="*/ 111 w 118"/>
                <a:gd name="T49" fmla="*/ 93 h 93"/>
                <a:gd name="T50" fmla="*/ 118 w 118"/>
                <a:gd name="T51" fmla="*/ 86 h 93"/>
                <a:gd name="T52" fmla="*/ 118 w 118"/>
                <a:gd name="T53" fmla="*/ 28 h 93"/>
                <a:gd name="T54" fmla="*/ 118 w 118"/>
                <a:gd name="T55" fmla="*/ 27 h 93"/>
                <a:gd name="T56" fmla="*/ 118 w 118"/>
                <a:gd name="T57" fmla="*/ 7 h 93"/>
                <a:gd name="T58" fmla="*/ 111 w 118"/>
                <a:gd name="T5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8" h="93">
                  <a:moveTo>
                    <a:pt x="115" y="86"/>
                  </a:moveTo>
                  <a:cubicBezTo>
                    <a:pt x="115" y="88"/>
                    <a:pt x="113" y="90"/>
                    <a:pt x="111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5" y="90"/>
                    <a:pt x="3" y="88"/>
                    <a:pt x="3" y="8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15" y="28"/>
                    <a:pt x="115" y="28"/>
                    <a:pt x="115" y="28"/>
                  </a:cubicBezTo>
                  <a:lnTo>
                    <a:pt x="115" y="86"/>
                  </a:lnTo>
                  <a:close/>
                  <a:moveTo>
                    <a:pt x="111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3" y="3"/>
                    <a:pt x="115" y="5"/>
                    <a:pt x="115" y="7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0"/>
                    <a:pt x="3" y="93"/>
                    <a:pt x="7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5" y="93"/>
                    <a:pt x="118" y="90"/>
                    <a:pt x="118" y="86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7"/>
                    <a:pt x="118" y="27"/>
                    <a:pt x="118" y="27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3"/>
                    <a:pt x="115" y="0"/>
                    <a:pt x="11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Rectangle 276">
              <a:extLst>
                <a:ext uri="{FF2B5EF4-FFF2-40B4-BE49-F238E27FC236}">
                  <a16:creationId xmlns:a16="http://schemas.microsoft.com/office/drawing/2014/main" id="{67A93770-1063-4694-B3FC-23AD94DB9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5" y="3889"/>
              <a:ext cx="10" cy="2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Rectangle 277">
              <a:extLst>
                <a:ext uri="{FF2B5EF4-FFF2-40B4-BE49-F238E27FC236}">
                  <a16:creationId xmlns:a16="http://schemas.microsoft.com/office/drawing/2014/main" id="{57D58661-8906-47EA-B770-AE73E7118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7" y="3889"/>
              <a:ext cx="7" cy="2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Rectangle 278">
              <a:extLst>
                <a:ext uri="{FF2B5EF4-FFF2-40B4-BE49-F238E27FC236}">
                  <a16:creationId xmlns:a16="http://schemas.microsoft.com/office/drawing/2014/main" id="{65C7C581-6E0D-4862-9BBC-D7BC306873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8" y="3889"/>
              <a:ext cx="8" cy="2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Rectangle 279">
              <a:extLst>
                <a:ext uri="{FF2B5EF4-FFF2-40B4-BE49-F238E27FC236}">
                  <a16:creationId xmlns:a16="http://schemas.microsoft.com/office/drawing/2014/main" id="{676EA5B7-2D9D-44EF-A632-EE75E7E2C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" y="3889"/>
              <a:ext cx="9" cy="29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Rectangle 280">
              <a:extLst>
                <a:ext uri="{FF2B5EF4-FFF2-40B4-BE49-F238E27FC236}">
                  <a16:creationId xmlns:a16="http://schemas.microsoft.com/office/drawing/2014/main" id="{980B0AE4-F755-4564-9DDE-E43159D23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5" y="3960"/>
              <a:ext cx="10" cy="2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Rectangle 281">
              <a:extLst>
                <a:ext uri="{FF2B5EF4-FFF2-40B4-BE49-F238E27FC236}">
                  <a16:creationId xmlns:a16="http://schemas.microsoft.com/office/drawing/2014/main" id="{CEA229B2-5A51-4621-9D9B-C933A3188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7" y="3960"/>
              <a:ext cx="7" cy="2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Rectangle 282">
              <a:extLst>
                <a:ext uri="{FF2B5EF4-FFF2-40B4-BE49-F238E27FC236}">
                  <a16:creationId xmlns:a16="http://schemas.microsoft.com/office/drawing/2014/main" id="{D2C00086-D2CA-43E0-AE6B-9973014D0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8" y="3960"/>
              <a:ext cx="8" cy="2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Rectangle 283">
              <a:extLst>
                <a:ext uri="{FF2B5EF4-FFF2-40B4-BE49-F238E27FC236}">
                  <a16:creationId xmlns:a16="http://schemas.microsoft.com/office/drawing/2014/main" id="{B3EF9331-339B-41CB-ACD1-641C16B80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" y="3960"/>
              <a:ext cx="9" cy="2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Rectangle 284">
              <a:extLst>
                <a:ext uri="{FF2B5EF4-FFF2-40B4-BE49-F238E27FC236}">
                  <a16:creationId xmlns:a16="http://schemas.microsoft.com/office/drawing/2014/main" id="{DF8DEF5D-65D5-4AA3-89DF-6FC2A6FC0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8" y="3935"/>
              <a:ext cx="167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8" name="Group 287">
            <a:extLst>
              <a:ext uri="{FF2B5EF4-FFF2-40B4-BE49-F238E27FC236}">
                <a16:creationId xmlns:a16="http://schemas.microsoft.com/office/drawing/2014/main" id="{9020E0EE-DD82-4949-B2B5-9C4A87DC8C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99287" y="5418306"/>
            <a:ext cx="850900" cy="850900"/>
            <a:chOff x="4512" y="3444"/>
            <a:chExt cx="536" cy="536"/>
          </a:xfrm>
        </p:grpSpPr>
        <p:sp>
          <p:nvSpPr>
            <p:cNvPr id="329" name="AutoShape 286">
              <a:extLst>
                <a:ext uri="{FF2B5EF4-FFF2-40B4-BE49-F238E27FC236}">
                  <a16:creationId xmlns:a16="http://schemas.microsoft.com/office/drawing/2014/main" id="{432D3732-4EB8-48BE-97E8-30EEB495CE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12" y="3444"/>
              <a:ext cx="536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Oval 288">
              <a:extLst>
                <a:ext uri="{FF2B5EF4-FFF2-40B4-BE49-F238E27FC236}">
                  <a16:creationId xmlns:a16="http://schemas.microsoft.com/office/drawing/2014/main" id="{6AE2712F-2012-453B-BBA0-B81FFDA31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2" y="3444"/>
              <a:ext cx="539" cy="53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89">
              <a:extLst>
                <a:ext uri="{FF2B5EF4-FFF2-40B4-BE49-F238E27FC236}">
                  <a16:creationId xmlns:a16="http://schemas.microsoft.com/office/drawing/2014/main" id="{AEE74EBC-D9E2-408A-A11F-EABD9020F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0" y="3462"/>
              <a:ext cx="502" cy="502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290">
              <a:extLst>
                <a:ext uri="{FF2B5EF4-FFF2-40B4-BE49-F238E27FC236}">
                  <a16:creationId xmlns:a16="http://schemas.microsoft.com/office/drawing/2014/main" id="{0426C7B1-1D52-4061-8EB5-4699B3A4A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" y="3617"/>
              <a:ext cx="36" cy="26"/>
            </a:xfrm>
            <a:custGeom>
              <a:avLst/>
              <a:gdLst>
                <a:gd name="T0" fmla="*/ 1 w 14"/>
                <a:gd name="T1" fmla="*/ 0 h 10"/>
                <a:gd name="T2" fmla="*/ 0 w 14"/>
                <a:gd name="T3" fmla="*/ 3 h 10"/>
                <a:gd name="T4" fmla="*/ 7 w 14"/>
                <a:gd name="T5" fmla="*/ 10 h 10"/>
                <a:gd name="T6" fmla="*/ 14 w 14"/>
                <a:gd name="T7" fmla="*/ 3 h 10"/>
                <a:gd name="T8" fmla="*/ 14 w 14"/>
                <a:gd name="T9" fmla="*/ 0 h 10"/>
                <a:gd name="T10" fmla="*/ 10 w 14"/>
                <a:gd name="T11" fmla="*/ 1 h 10"/>
                <a:gd name="T12" fmla="*/ 11 w 14"/>
                <a:gd name="T13" fmla="*/ 3 h 10"/>
                <a:gd name="T14" fmla="*/ 7 w 14"/>
                <a:gd name="T15" fmla="*/ 6 h 10"/>
                <a:gd name="T16" fmla="*/ 4 w 14"/>
                <a:gd name="T17" fmla="*/ 3 h 10"/>
                <a:gd name="T18" fmla="*/ 4 w 14"/>
                <a:gd name="T19" fmla="*/ 1 h 10"/>
                <a:gd name="T20" fmla="*/ 1 w 1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3" y="10"/>
                    <a:pt x="7" y="10"/>
                  </a:cubicBezTo>
                  <a:cubicBezTo>
                    <a:pt x="11" y="10"/>
                    <a:pt x="14" y="7"/>
                    <a:pt x="14" y="3"/>
                  </a:cubicBezTo>
                  <a:cubicBezTo>
                    <a:pt x="14" y="2"/>
                    <a:pt x="14" y="1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1" y="5"/>
                    <a:pt x="9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Rectangle 291">
              <a:extLst>
                <a:ext uri="{FF2B5EF4-FFF2-40B4-BE49-F238E27FC236}">
                  <a16:creationId xmlns:a16="http://schemas.microsoft.com/office/drawing/2014/main" id="{49CE3934-2E2C-49E4-90D5-256D3BDDA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1" y="3591"/>
              <a:ext cx="10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292">
              <a:extLst>
                <a:ext uri="{FF2B5EF4-FFF2-40B4-BE49-F238E27FC236}">
                  <a16:creationId xmlns:a16="http://schemas.microsoft.com/office/drawing/2014/main" id="{AC639CC2-DF23-4F0B-BFDB-BE6300550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9" y="3617"/>
              <a:ext cx="36" cy="26"/>
            </a:xfrm>
            <a:custGeom>
              <a:avLst/>
              <a:gdLst>
                <a:gd name="T0" fmla="*/ 0 w 14"/>
                <a:gd name="T1" fmla="*/ 0 h 10"/>
                <a:gd name="T2" fmla="*/ 0 w 14"/>
                <a:gd name="T3" fmla="*/ 3 h 10"/>
                <a:gd name="T4" fmla="*/ 7 w 14"/>
                <a:gd name="T5" fmla="*/ 10 h 10"/>
                <a:gd name="T6" fmla="*/ 14 w 14"/>
                <a:gd name="T7" fmla="*/ 3 h 10"/>
                <a:gd name="T8" fmla="*/ 13 w 14"/>
                <a:gd name="T9" fmla="*/ 0 h 10"/>
                <a:gd name="T10" fmla="*/ 10 w 14"/>
                <a:gd name="T11" fmla="*/ 1 h 10"/>
                <a:gd name="T12" fmla="*/ 10 w 14"/>
                <a:gd name="T13" fmla="*/ 3 h 10"/>
                <a:gd name="T14" fmla="*/ 7 w 14"/>
                <a:gd name="T15" fmla="*/ 6 h 10"/>
                <a:gd name="T16" fmla="*/ 3 w 14"/>
                <a:gd name="T17" fmla="*/ 3 h 10"/>
                <a:gd name="T18" fmla="*/ 4 w 14"/>
                <a:gd name="T19" fmla="*/ 1 h 10"/>
                <a:gd name="T20" fmla="*/ 0 w 1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3" y="10"/>
                    <a:pt x="7" y="10"/>
                  </a:cubicBezTo>
                  <a:cubicBezTo>
                    <a:pt x="11" y="10"/>
                    <a:pt x="14" y="7"/>
                    <a:pt x="14" y="3"/>
                  </a:cubicBezTo>
                  <a:cubicBezTo>
                    <a:pt x="14" y="2"/>
                    <a:pt x="14" y="1"/>
                    <a:pt x="1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2"/>
                    <a:pt x="10" y="2"/>
                    <a:pt x="10" y="3"/>
                  </a:cubicBezTo>
                  <a:cubicBezTo>
                    <a:pt x="10" y="5"/>
                    <a:pt x="9" y="6"/>
                    <a:pt x="7" y="6"/>
                  </a:cubicBezTo>
                  <a:cubicBezTo>
                    <a:pt x="5" y="6"/>
                    <a:pt x="3" y="5"/>
                    <a:pt x="3" y="3"/>
                  </a:cubicBezTo>
                  <a:cubicBezTo>
                    <a:pt x="3" y="2"/>
                    <a:pt x="3" y="2"/>
                    <a:pt x="4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Rectangle 293">
              <a:extLst>
                <a:ext uri="{FF2B5EF4-FFF2-40B4-BE49-F238E27FC236}">
                  <a16:creationId xmlns:a16="http://schemas.microsoft.com/office/drawing/2014/main" id="{35FEB15A-2307-4012-A692-3204B60F7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1" y="3591"/>
              <a:ext cx="11" cy="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Rectangle 294">
              <a:extLst>
                <a:ext uri="{FF2B5EF4-FFF2-40B4-BE49-F238E27FC236}">
                  <a16:creationId xmlns:a16="http://schemas.microsoft.com/office/drawing/2014/main" id="{DD80024A-F775-487A-8039-444921EFF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1" y="3597"/>
              <a:ext cx="140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295">
              <a:extLst>
                <a:ext uri="{FF2B5EF4-FFF2-40B4-BE49-F238E27FC236}">
                  <a16:creationId xmlns:a16="http://schemas.microsoft.com/office/drawing/2014/main" id="{E53040CF-0113-46E7-A950-F92BBFF4C4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8" y="3597"/>
              <a:ext cx="306" cy="240"/>
            </a:xfrm>
            <a:custGeom>
              <a:avLst/>
              <a:gdLst>
                <a:gd name="T0" fmla="*/ 115 w 118"/>
                <a:gd name="T1" fmla="*/ 86 h 93"/>
                <a:gd name="T2" fmla="*/ 111 w 118"/>
                <a:gd name="T3" fmla="*/ 90 h 93"/>
                <a:gd name="T4" fmla="*/ 7 w 118"/>
                <a:gd name="T5" fmla="*/ 90 h 93"/>
                <a:gd name="T6" fmla="*/ 3 w 118"/>
                <a:gd name="T7" fmla="*/ 86 h 93"/>
                <a:gd name="T8" fmla="*/ 3 w 118"/>
                <a:gd name="T9" fmla="*/ 28 h 93"/>
                <a:gd name="T10" fmla="*/ 115 w 118"/>
                <a:gd name="T11" fmla="*/ 28 h 93"/>
                <a:gd name="T12" fmla="*/ 115 w 118"/>
                <a:gd name="T13" fmla="*/ 86 h 93"/>
                <a:gd name="T14" fmla="*/ 111 w 118"/>
                <a:gd name="T15" fmla="*/ 0 h 93"/>
                <a:gd name="T16" fmla="*/ 98 w 118"/>
                <a:gd name="T17" fmla="*/ 0 h 93"/>
                <a:gd name="T18" fmla="*/ 98 w 118"/>
                <a:gd name="T19" fmla="*/ 3 h 93"/>
                <a:gd name="T20" fmla="*/ 111 w 118"/>
                <a:gd name="T21" fmla="*/ 3 h 93"/>
                <a:gd name="T22" fmla="*/ 115 w 118"/>
                <a:gd name="T23" fmla="*/ 7 h 93"/>
                <a:gd name="T24" fmla="*/ 115 w 118"/>
                <a:gd name="T25" fmla="*/ 25 h 93"/>
                <a:gd name="T26" fmla="*/ 3 w 118"/>
                <a:gd name="T27" fmla="*/ 25 h 93"/>
                <a:gd name="T28" fmla="*/ 3 w 118"/>
                <a:gd name="T29" fmla="*/ 7 h 93"/>
                <a:gd name="T30" fmla="*/ 7 w 118"/>
                <a:gd name="T31" fmla="*/ 3 h 93"/>
                <a:gd name="T32" fmla="*/ 20 w 118"/>
                <a:gd name="T33" fmla="*/ 3 h 93"/>
                <a:gd name="T34" fmla="*/ 20 w 118"/>
                <a:gd name="T35" fmla="*/ 0 h 93"/>
                <a:gd name="T36" fmla="*/ 7 w 118"/>
                <a:gd name="T37" fmla="*/ 0 h 93"/>
                <a:gd name="T38" fmla="*/ 0 w 118"/>
                <a:gd name="T39" fmla="*/ 7 h 93"/>
                <a:gd name="T40" fmla="*/ 0 w 118"/>
                <a:gd name="T41" fmla="*/ 27 h 93"/>
                <a:gd name="T42" fmla="*/ 0 w 118"/>
                <a:gd name="T43" fmla="*/ 28 h 93"/>
                <a:gd name="T44" fmla="*/ 0 w 118"/>
                <a:gd name="T45" fmla="*/ 86 h 93"/>
                <a:gd name="T46" fmla="*/ 7 w 118"/>
                <a:gd name="T47" fmla="*/ 93 h 93"/>
                <a:gd name="T48" fmla="*/ 111 w 118"/>
                <a:gd name="T49" fmla="*/ 93 h 93"/>
                <a:gd name="T50" fmla="*/ 118 w 118"/>
                <a:gd name="T51" fmla="*/ 86 h 93"/>
                <a:gd name="T52" fmla="*/ 118 w 118"/>
                <a:gd name="T53" fmla="*/ 28 h 93"/>
                <a:gd name="T54" fmla="*/ 118 w 118"/>
                <a:gd name="T55" fmla="*/ 27 h 93"/>
                <a:gd name="T56" fmla="*/ 118 w 118"/>
                <a:gd name="T57" fmla="*/ 7 h 93"/>
                <a:gd name="T58" fmla="*/ 111 w 118"/>
                <a:gd name="T5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8" h="93">
                  <a:moveTo>
                    <a:pt x="115" y="86"/>
                  </a:moveTo>
                  <a:cubicBezTo>
                    <a:pt x="115" y="88"/>
                    <a:pt x="113" y="90"/>
                    <a:pt x="111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5" y="90"/>
                    <a:pt x="3" y="88"/>
                    <a:pt x="3" y="8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15" y="28"/>
                    <a:pt x="115" y="28"/>
                    <a:pt x="115" y="28"/>
                  </a:cubicBezTo>
                  <a:lnTo>
                    <a:pt x="115" y="86"/>
                  </a:lnTo>
                  <a:close/>
                  <a:moveTo>
                    <a:pt x="111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3" y="3"/>
                    <a:pt x="115" y="5"/>
                    <a:pt x="115" y="7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5"/>
                    <a:pt x="5" y="3"/>
                    <a:pt x="7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0"/>
                    <a:pt x="3" y="93"/>
                    <a:pt x="7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5" y="93"/>
                    <a:pt x="118" y="90"/>
                    <a:pt x="118" y="86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7"/>
                    <a:pt x="118" y="27"/>
                    <a:pt x="118" y="27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3"/>
                    <a:pt x="115" y="0"/>
                    <a:pt x="11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Rectangle 296">
              <a:extLst>
                <a:ext uri="{FF2B5EF4-FFF2-40B4-BE49-F238E27FC236}">
                  <a16:creationId xmlns:a16="http://schemas.microsoft.com/office/drawing/2014/main" id="{47B609CD-4DE4-4BF3-9DB9-44131B751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1" y="3698"/>
              <a:ext cx="11" cy="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Rectangle 297">
              <a:extLst>
                <a:ext uri="{FF2B5EF4-FFF2-40B4-BE49-F238E27FC236}">
                  <a16:creationId xmlns:a16="http://schemas.microsoft.com/office/drawing/2014/main" id="{D95B3E96-9FBA-499E-9042-F6827004D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5" y="3698"/>
              <a:ext cx="8" cy="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Rectangle 298">
              <a:extLst>
                <a:ext uri="{FF2B5EF4-FFF2-40B4-BE49-F238E27FC236}">
                  <a16:creationId xmlns:a16="http://schemas.microsoft.com/office/drawing/2014/main" id="{B43EC3D8-FF58-4F85-9848-42BCFB9E0A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9" y="3698"/>
              <a:ext cx="8" cy="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Rectangle 299">
              <a:extLst>
                <a:ext uri="{FF2B5EF4-FFF2-40B4-BE49-F238E27FC236}">
                  <a16:creationId xmlns:a16="http://schemas.microsoft.com/office/drawing/2014/main" id="{8795888C-32BD-43AC-88F8-B53C89BC0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" y="3698"/>
              <a:ext cx="10" cy="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Rectangle 300">
              <a:extLst>
                <a:ext uri="{FF2B5EF4-FFF2-40B4-BE49-F238E27FC236}">
                  <a16:creationId xmlns:a16="http://schemas.microsoft.com/office/drawing/2014/main" id="{EC4E1FD2-6ED3-436F-BB85-509AACD0A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1" y="3773"/>
              <a:ext cx="11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Rectangle 301">
              <a:extLst>
                <a:ext uri="{FF2B5EF4-FFF2-40B4-BE49-F238E27FC236}">
                  <a16:creationId xmlns:a16="http://schemas.microsoft.com/office/drawing/2014/main" id="{8169408B-ACBF-4851-8ACF-3C781EE3D2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5" y="3773"/>
              <a:ext cx="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Rectangle 302">
              <a:extLst>
                <a:ext uri="{FF2B5EF4-FFF2-40B4-BE49-F238E27FC236}">
                  <a16:creationId xmlns:a16="http://schemas.microsoft.com/office/drawing/2014/main" id="{5678A99E-EBC5-4A94-968D-A77DD029D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9" y="3773"/>
              <a:ext cx="8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Rectangle 303">
              <a:extLst>
                <a:ext uri="{FF2B5EF4-FFF2-40B4-BE49-F238E27FC236}">
                  <a16:creationId xmlns:a16="http://schemas.microsoft.com/office/drawing/2014/main" id="{4E70F2A0-0E4E-48F4-B3A8-439BDFC026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1" y="3773"/>
              <a:ext cx="10" cy="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304">
              <a:extLst>
                <a:ext uri="{FF2B5EF4-FFF2-40B4-BE49-F238E27FC236}">
                  <a16:creationId xmlns:a16="http://schemas.microsoft.com/office/drawing/2014/main" id="{FF21F71B-3501-432E-BB58-6251DDA85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3" y="3747"/>
              <a:ext cx="176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570645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35ED5D-B63F-414F-B8CB-96959E8FC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554519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rt Time Work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Job Shar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exible Tim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per Clip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per Clip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per Cut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m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umbtac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ea Cu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nci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ncil Li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uler Measu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ras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n Ti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n Li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light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ignatur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il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pass Circ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A5683AAF-07AD-400C-A896-F8E0C0A518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538" y="343694"/>
            <a:ext cx="758825" cy="758825"/>
            <a:chOff x="911" y="370"/>
            <a:chExt cx="478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57EB3FB0-8E04-4CD4-98F4-D1977CCE6B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1" y="37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E540BE3-AA2A-4C15-8F3F-11EF675B0B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" y="37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41AE69B-95FF-4B6F-B9F8-B83C77EBD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3" y="647"/>
              <a:ext cx="29" cy="47"/>
            </a:xfrm>
            <a:custGeom>
              <a:avLst/>
              <a:gdLst>
                <a:gd name="T0" fmla="*/ 3 w 12"/>
                <a:gd name="T1" fmla="*/ 13 h 19"/>
                <a:gd name="T2" fmla="*/ 12 w 12"/>
                <a:gd name="T3" fmla="*/ 3 h 19"/>
                <a:gd name="T4" fmla="*/ 11 w 12"/>
                <a:gd name="T5" fmla="*/ 0 h 19"/>
                <a:gd name="T6" fmla="*/ 0 w 12"/>
                <a:gd name="T7" fmla="*/ 13 h 19"/>
                <a:gd name="T8" fmla="*/ 1 w 12"/>
                <a:gd name="T9" fmla="*/ 19 h 19"/>
                <a:gd name="T10" fmla="*/ 4 w 12"/>
                <a:gd name="T11" fmla="*/ 17 h 19"/>
                <a:gd name="T12" fmla="*/ 3 w 12"/>
                <a:gd name="T1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">
                  <a:moveTo>
                    <a:pt x="3" y="13"/>
                  </a:moveTo>
                  <a:cubicBezTo>
                    <a:pt x="4" y="8"/>
                    <a:pt x="7" y="4"/>
                    <a:pt x="12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1"/>
                    <a:pt x="0" y="7"/>
                    <a:pt x="0" y="13"/>
                  </a:cubicBezTo>
                  <a:cubicBezTo>
                    <a:pt x="0" y="15"/>
                    <a:pt x="0" y="17"/>
                    <a:pt x="1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3" y="15"/>
                    <a:pt x="3" y="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E674DB7-53B9-4B57-A936-07DC42B3C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645"/>
              <a:ext cx="36" cy="61"/>
            </a:xfrm>
            <a:custGeom>
              <a:avLst/>
              <a:gdLst>
                <a:gd name="T0" fmla="*/ 14 w 15"/>
                <a:gd name="T1" fmla="*/ 0 h 25"/>
                <a:gd name="T2" fmla="*/ 11 w 15"/>
                <a:gd name="T3" fmla="*/ 0 h 25"/>
                <a:gd name="T4" fmla="*/ 11 w 15"/>
                <a:gd name="T5" fmla="*/ 13 h 25"/>
                <a:gd name="T6" fmla="*/ 10 w 15"/>
                <a:gd name="T7" fmla="*/ 14 h 25"/>
                <a:gd name="T8" fmla="*/ 0 w 15"/>
                <a:gd name="T9" fmla="*/ 22 h 25"/>
                <a:gd name="T10" fmla="*/ 2 w 15"/>
                <a:gd name="T11" fmla="*/ 25 h 25"/>
                <a:gd name="T12" fmla="*/ 12 w 15"/>
                <a:gd name="T13" fmla="*/ 17 h 25"/>
                <a:gd name="T14" fmla="*/ 12 w 15"/>
                <a:gd name="T15" fmla="*/ 17 h 25"/>
                <a:gd name="T16" fmla="*/ 15 w 15"/>
                <a:gd name="T17" fmla="*/ 15 h 25"/>
                <a:gd name="T18" fmla="*/ 14 w 15"/>
                <a:gd name="T19" fmla="*/ 13 h 25"/>
                <a:gd name="T20" fmla="*/ 14 w 15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5">
                  <a:moveTo>
                    <a:pt x="1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4" y="17"/>
                    <a:pt x="15" y="16"/>
                    <a:pt x="15" y="15"/>
                  </a:cubicBezTo>
                  <a:cubicBezTo>
                    <a:pt x="15" y="14"/>
                    <a:pt x="15" y="14"/>
                    <a:pt x="14" y="1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B0F2836-AFDF-4E90-A0EB-E3A5D40E4B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" y="480"/>
              <a:ext cx="294" cy="260"/>
            </a:xfrm>
            <a:custGeom>
              <a:avLst/>
              <a:gdLst>
                <a:gd name="T0" fmla="*/ 97 w 120"/>
                <a:gd name="T1" fmla="*/ 101 h 106"/>
                <a:gd name="T2" fmla="*/ 94 w 120"/>
                <a:gd name="T3" fmla="*/ 103 h 106"/>
                <a:gd name="T4" fmla="*/ 76 w 120"/>
                <a:gd name="T5" fmla="*/ 83 h 106"/>
                <a:gd name="T6" fmla="*/ 75 w 120"/>
                <a:gd name="T7" fmla="*/ 80 h 106"/>
                <a:gd name="T8" fmla="*/ 94 w 120"/>
                <a:gd name="T9" fmla="*/ 62 h 106"/>
                <a:gd name="T10" fmla="*/ 97 w 120"/>
                <a:gd name="T11" fmla="*/ 61 h 106"/>
                <a:gd name="T12" fmla="*/ 115 w 120"/>
                <a:gd name="T13" fmla="*/ 80 h 106"/>
                <a:gd name="T14" fmla="*/ 116 w 120"/>
                <a:gd name="T15" fmla="*/ 83 h 106"/>
                <a:gd name="T16" fmla="*/ 9 w 120"/>
                <a:gd name="T17" fmla="*/ 92 h 106"/>
                <a:gd name="T18" fmla="*/ 7 w 120"/>
                <a:gd name="T19" fmla="*/ 48 h 106"/>
                <a:gd name="T20" fmla="*/ 47 w 120"/>
                <a:gd name="T21" fmla="*/ 54 h 106"/>
                <a:gd name="T22" fmla="*/ 59 w 120"/>
                <a:gd name="T23" fmla="*/ 58 h 106"/>
                <a:gd name="T24" fmla="*/ 63 w 120"/>
                <a:gd name="T25" fmla="*/ 52 h 106"/>
                <a:gd name="T26" fmla="*/ 103 w 120"/>
                <a:gd name="T27" fmla="*/ 58 h 106"/>
                <a:gd name="T28" fmla="*/ 71 w 120"/>
                <a:gd name="T29" fmla="*/ 82 h 106"/>
                <a:gd name="T30" fmla="*/ 9 w 120"/>
                <a:gd name="T31" fmla="*/ 92 h 106"/>
                <a:gd name="T32" fmla="*/ 59 w 120"/>
                <a:gd name="T33" fmla="*/ 54 h 106"/>
                <a:gd name="T34" fmla="*/ 51 w 120"/>
                <a:gd name="T35" fmla="*/ 55 h 106"/>
                <a:gd name="T36" fmla="*/ 50 w 120"/>
                <a:gd name="T37" fmla="*/ 46 h 106"/>
                <a:gd name="T38" fmla="*/ 59 w 120"/>
                <a:gd name="T39" fmla="*/ 46 h 106"/>
                <a:gd name="T40" fmla="*/ 4 w 120"/>
                <a:gd name="T41" fmla="*/ 19 h 106"/>
                <a:gd name="T42" fmla="*/ 104 w 120"/>
                <a:gd name="T43" fmla="*/ 17 h 106"/>
                <a:gd name="T44" fmla="*/ 106 w 120"/>
                <a:gd name="T45" fmla="*/ 44 h 106"/>
                <a:gd name="T46" fmla="*/ 63 w 120"/>
                <a:gd name="T47" fmla="*/ 48 h 106"/>
                <a:gd name="T48" fmla="*/ 59 w 120"/>
                <a:gd name="T49" fmla="*/ 42 h 106"/>
                <a:gd name="T50" fmla="*/ 47 w 120"/>
                <a:gd name="T51" fmla="*/ 46 h 106"/>
                <a:gd name="T52" fmla="*/ 4 w 120"/>
                <a:gd name="T53" fmla="*/ 44 h 106"/>
                <a:gd name="T54" fmla="*/ 4 w 120"/>
                <a:gd name="T55" fmla="*/ 19 h 106"/>
                <a:gd name="T56" fmla="*/ 37 w 120"/>
                <a:gd name="T57" fmla="*/ 3 h 106"/>
                <a:gd name="T58" fmla="*/ 76 w 120"/>
                <a:gd name="T59" fmla="*/ 6 h 106"/>
                <a:gd name="T60" fmla="*/ 33 w 120"/>
                <a:gd name="T61" fmla="*/ 13 h 106"/>
                <a:gd name="T62" fmla="*/ 106 w 120"/>
                <a:gd name="T63" fmla="*/ 60 h 106"/>
                <a:gd name="T64" fmla="*/ 107 w 120"/>
                <a:gd name="T65" fmla="*/ 47 h 106"/>
                <a:gd name="T66" fmla="*/ 110 w 120"/>
                <a:gd name="T67" fmla="*/ 19 h 106"/>
                <a:gd name="T68" fmla="*/ 80 w 120"/>
                <a:gd name="T69" fmla="*/ 13 h 106"/>
                <a:gd name="T70" fmla="*/ 73 w 120"/>
                <a:gd name="T71" fmla="*/ 0 h 106"/>
                <a:gd name="T72" fmla="*/ 30 w 120"/>
                <a:gd name="T73" fmla="*/ 6 h 106"/>
                <a:gd name="T74" fmla="*/ 6 w 120"/>
                <a:gd name="T75" fmla="*/ 13 h 106"/>
                <a:gd name="T76" fmla="*/ 0 w 120"/>
                <a:gd name="T77" fmla="*/ 44 h 106"/>
                <a:gd name="T78" fmla="*/ 3 w 120"/>
                <a:gd name="T79" fmla="*/ 47 h 106"/>
                <a:gd name="T80" fmla="*/ 9 w 120"/>
                <a:gd name="T81" fmla="*/ 96 h 106"/>
                <a:gd name="T82" fmla="*/ 95 w 120"/>
                <a:gd name="T83" fmla="*/ 106 h 106"/>
                <a:gd name="T84" fmla="*/ 106 w 120"/>
                <a:gd name="T85" fmla="*/ 6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06">
                  <a:moveTo>
                    <a:pt x="97" y="103"/>
                  </a:moveTo>
                  <a:cubicBezTo>
                    <a:pt x="97" y="101"/>
                    <a:pt x="97" y="101"/>
                    <a:pt x="97" y="101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4" y="103"/>
                    <a:pt x="94" y="103"/>
                    <a:pt x="94" y="103"/>
                  </a:cubicBezTo>
                  <a:cubicBezTo>
                    <a:pt x="84" y="102"/>
                    <a:pt x="75" y="94"/>
                    <a:pt x="75" y="83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70"/>
                    <a:pt x="84" y="62"/>
                    <a:pt x="94" y="61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107" y="62"/>
                    <a:pt x="116" y="70"/>
                    <a:pt x="116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83"/>
                    <a:pt x="115" y="83"/>
                    <a:pt x="115" y="83"/>
                  </a:cubicBezTo>
                  <a:cubicBezTo>
                    <a:pt x="116" y="83"/>
                    <a:pt x="116" y="83"/>
                    <a:pt x="116" y="83"/>
                  </a:cubicBezTo>
                  <a:cubicBezTo>
                    <a:pt x="116" y="94"/>
                    <a:pt x="107" y="102"/>
                    <a:pt x="97" y="103"/>
                  </a:cubicBezTo>
                  <a:moveTo>
                    <a:pt x="9" y="92"/>
                  </a:moveTo>
                  <a:cubicBezTo>
                    <a:pt x="8" y="92"/>
                    <a:pt x="7" y="91"/>
                    <a:pt x="7" y="90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20" y="50"/>
                    <a:pt x="34" y="51"/>
                    <a:pt x="47" y="52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6"/>
                    <a:pt x="49" y="58"/>
                    <a:pt x="51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61" y="58"/>
                    <a:pt x="63" y="56"/>
                    <a:pt x="63" y="54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76" y="51"/>
                    <a:pt x="90" y="50"/>
                    <a:pt x="103" y="4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1" y="58"/>
                    <a:pt x="98" y="57"/>
                    <a:pt x="95" y="57"/>
                  </a:cubicBezTo>
                  <a:cubicBezTo>
                    <a:pt x="82" y="57"/>
                    <a:pt x="71" y="68"/>
                    <a:pt x="71" y="82"/>
                  </a:cubicBezTo>
                  <a:cubicBezTo>
                    <a:pt x="71" y="85"/>
                    <a:pt x="72" y="89"/>
                    <a:pt x="73" y="92"/>
                  </a:cubicBezTo>
                  <a:lnTo>
                    <a:pt x="9" y="92"/>
                  </a:lnTo>
                  <a:close/>
                  <a:moveTo>
                    <a:pt x="59" y="46"/>
                  </a:moveTo>
                  <a:cubicBezTo>
                    <a:pt x="59" y="54"/>
                    <a:pt x="59" y="54"/>
                    <a:pt x="59" y="54"/>
                  </a:cubicBezTo>
                  <a:cubicBezTo>
                    <a:pt x="59" y="54"/>
                    <a:pt x="59" y="55"/>
                    <a:pt x="59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0" y="55"/>
                    <a:pt x="50" y="54"/>
                    <a:pt x="50" y="54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1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moveTo>
                    <a:pt x="4" y="19"/>
                  </a:moveTo>
                  <a:cubicBezTo>
                    <a:pt x="4" y="18"/>
                    <a:pt x="5" y="17"/>
                    <a:pt x="6" y="17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105" y="17"/>
                    <a:pt x="106" y="18"/>
                    <a:pt x="106" y="19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92" y="46"/>
                    <a:pt x="77" y="48"/>
                    <a:pt x="63" y="4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4"/>
                    <a:pt x="61" y="42"/>
                    <a:pt x="59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49" y="42"/>
                    <a:pt x="47" y="44"/>
                    <a:pt x="47" y="46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32" y="48"/>
                    <a:pt x="18" y="46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lnTo>
                    <a:pt x="4" y="19"/>
                  </a:lnTo>
                  <a:close/>
                  <a:moveTo>
                    <a:pt x="33" y="6"/>
                  </a:moveTo>
                  <a:cubicBezTo>
                    <a:pt x="33" y="5"/>
                    <a:pt x="35" y="3"/>
                    <a:pt x="37" y="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5" y="3"/>
                    <a:pt x="76" y="5"/>
                    <a:pt x="76" y="6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33" y="13"/>
                    <a:pt x="33" y="13"/>
                    <a:pt x="33" y="13"/>
                  </a:cubicBezTo>
                  <a:lnTo>
                    <a:pt x="33" y="6"/>
                  </a:lnTo>
                  <a:close/>
                  <a:moveTo>
                    <a:pt x="106" y="60"/>
                  </a:move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7" y="47"/>
                  </a:cubicBezTo>
                  <a:cubicBezTo>
                    <a:pt x="108" y="47"/>
                    <a:pt x="110" y="46"/>
                    <a:pt x="110" y="44"/>
                  </a:cubicBezTo>
                  <a:cubicBezTo>
                    <a:pt x="110" y="19"/>
                    <a:pt x="110" y="19"/>
                    <a:pt x="110" y="19"/>
                  </a:cubicBezTo>
                  <a:cubicBezTo>
                    <a:pt x="110" y="16"/>
                    <a:pt x="107" y="13"/>
                    <a:pt x="104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3"/>
                    <a:pt x="77" y="0"/>
                    <a:pt x="7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3" y="0"/>
                    <a:pt x="30" y="3"/>
                    <a:pt x="30" y="6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6"/>
                    <a:pt x="0" y="1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1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3"/>
                    <a:pt x="6" y="96"/>
                    <a:pt x="9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80" y="102"/>
                    <a:pt x="87" y="106"/>
                    <a:pt x="95" y="106"/>
                  </a:cubicBezTo>
                  <a:cubicBezTo>
                    <a:pt x="109" y="106"/>
                    <a:pt x="120" y="95"/>
                    <a:pt x="120" y="82"/>
                  </a:cubicBezTo>
                  <a:cubicBezTo>
                    <a:pt x="120" y="72"/>
                    <a:pt x="114" y="64"/>
                    <a:pt x="106" y="6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F6F3932C-92D5-4F23-86C8-4BC3CE5D0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4" y="598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71EF5C48-0C04-4ABE-AD97-2849AD20C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4" y="627"/>
              <a:ext cx="30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B3C4EF6E-82E0-4A87-9BD3-659D3338E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2" y="495"/>
              <a:ext cx="54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14">
            <a:extLst>
              <a:ext uri="{FF2B5EF4-FFF2-40B4-BE49-F238E27FC236}">
                <a16:creationId xmlns:a16="http://schemas.microsoft.com/office/drawing/2014/main" id="{60D924A8-DE4E-42DA-8FDF-2CD293793B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50" y="302419"/>
            <a:ext cx="841375" cy="841375"/>
            <a:chOff x="282" y="267"/>
            <a:chExt cx="530" cy="530"/>
          </a:xfrm>
        </p:grpSpPr>
        <p:sp>
          <p:nvSpPr>
            <p:cNvPr id="17" name="AutoShape 13">
              <a:extLst>
                <a:ext uri="{FF2B5EF4-FFF2-40B4-BE49-F238E27FC236}">
                  <a16:creationId xmlns:a16="http://schemas.microsoft.com/office/drawing/2014/main" id="{96E83026-E578-46ED-B995-852225E5D4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2" y="26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5">
              <a:extLst>
                <a:ext uri="{FF2B5EF4-FFF2-40B4-BE49-F238E27FC236}">
                  <a16:creationId xmlns:a16="http://schemas.microsoft.com/office/drawing/2014/main" id="{B406AB47-82A9-4EF8-B00B-09D416BB9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" y="26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BE07BF46-A0D4-4BE9-ADF8-C65F6A87C7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" y="28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360601BA-D972-40AB-8AC2-007415352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" y="572"/>
              <a:ext cx="31" cy="48"/>
            </a:xfrm>
            <a:custGeom>
              <a:avLst/>
              <a:gdLst>
                <a:gd name="T0" fmla="*/ 3 w 12"/>
                <a:gd name="T1" fmla="*/ 13 h 19"/>
                <a:gd name="T2" fmla="*/ 12 w 12"/>
                <a:gd name="T3" fmla="*/ 3 h 19"/>
                <a:gd name="T4" fmla="*/ 11 w 12"/>
                <a:gd name="T5" fmla="*/ 0 h 19"/>
                <a:gd name="T6" fmla="*/ 0 w 12"/>
                <a:gd name="T7" fmla="*/ 13 h 19"/>
                <a:gd name="T8" fmla="*/ 1 w 12"/>
                <a:gd name="T9" fmla="*/ 19 h 19"/>
                <a:gd name="T10" fmla="*/ 4 w 12"/>
                <a:gd name="T11" fmla="*/ 17 h 19"/>
                <a:gd name="T12" fmla="*/ 3 w 12"/>
                <a:gd name="T1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">
                  <a:moveTo>
                    <a:pt x="3" y="13"/>
                  </a:moveTo>
                  <a:cubicBezTo>
                    <a:pt x="4" y="8"/>
                    <a:pt x="7" y="4"/>
                    <a:pt x="12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1"/>
                    <a:pt x="0" y="7"/>
                    <a:pt x="0" y="13"/>
                  </a:cubicBezTo>
                  <a:cubicBezTo>
                    <a:pt x="0" y="15"/>
                    <a:pt x="0" y="17"/>
                    <a:pt x="1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3" y="15"/>
                    <a:pt x="3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32C75535-8BCF-4970-BF15-14E769981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" y="569"/>
              <a:ext cx="38" cy="64"/>
            </a:xfrm>
            <a:custGeom>
              <a:avLst/>
              <a:gdLst>
                <a:gd name="T0" fmla="*/ 14 w 15"/>
                <a:gd name="T1" fmla="*/ 0 h 25"/>
                <a:gd name="T2" fmla="*/ 11 w 15"/>
                <a:gd name="T3" fmla="*/ 0 h 25"/>
                <a:gd name="T4" fmla="*/ 11 w 15"/>
                <a:gd name="T5" fmla="*/ 13 h 25"/>
                <a:gd name="T6" fmla="*/ 10 w 15"/>
                <a:gd name="T7" fmla="*/ 14 h 25"/>
                <a:gd name="T8" fmla="*/ 0 w 15"/>
                <a:gd name="T9" fmla="*/ 22 h 25"/>
                <a:gd name="T10" fmla="*/ 2 w 15"/>
                <a:gd name="T11" fmla="*/ 25 h 25"/>
                <a:gd name="T12" fmla="*/ 12 w 15"/>
                <a:gd name="T13" fmla="*/ 17 h 25"/>
                <a:gd name="T14" fmla="*/ 12 w 15"/>
                <a:gd name="T15" fmla="*/ 17 h 25"/>
                <a:gd name="T16" fmla="*/ 15 w 15"/>
                <a:gd name="T17" fmla="*/ 15 h 25"/>
                <a:gd name="T18" fmla="*/ 14 w 15"/>
                <a:gd name="T19" fmla="*/ 13 h 25"/>
                <a:gd name="T20" fmla="*/ 14 w 15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5">
                  <a:moveTo>
                    <a:pt x="1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4" y="17"/>
                    <a:pt x="15" y="16"/>
                    <a:pt x="15" y="15"/>
                  </a:cubicBezTo>
                  <a:cubicBezTo>
                    <a:pt x="15" y="14"/>
                    <a:pt x="15" y="14"/>
                    <a:pt x="14" y="1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7DD9961D-4A10-4A4B-A19F-2A9829F4CD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" y="397"/>
              <a:ext cx="307" cy="272"/>
            </a:xfrm>
            <a:custGeom>
              <a:avLst/>
              <a:gdLst>
                <a:gd name="T0" fmla="*/ 97 w 120"/>
                <a:gd name="T1" fmla="*/ 101 h 106"/>
                <a:gd name="T2" fmla="*/ 94 w 120"/>
                <a:gd name="T3" fmla="*/ 103 h 106"/>
                <a:gd name="T4" fmla="*/ 76 w 120"/>
                <a:gd name="T5" fmla="*/ 83 h 106"/>
                <a:gd name="T6" fmla="*/ 75 w 120"/>
                <a:gd name="T7" fmla="*/ 80 h 106"/>
                <a:gd name="T8" fmla="*/ 94 w 120"/>
                <a:gd name="T9" fmla="*/ 62 h 106"/>
                <a:gd name="T10" fmla="*/ 97 w 120"/>
                <a:gd name="T11" fmla="*/ 61 h 106"/>
                <a:gd name="T12" fmla="*/ 115 w 120"/>
                <a:gd name="T13" fmla="*/ 80 h 106"/>
                <a:gd name="T14" fmla="*/ 116 w 120"/>
                <a:gd name="T15" fmla="*/ 83 h 106"/>
                <a:gd name="T16" fmla="*/ 9 w 120"/>
                <a:gd name="T17" fmla="*/ 92 h 106"/>
                <a:gd name="T18" fmla="*/ 7 w 120"/>
                <a:gd name="T19" fmla="*/ 48 h 106"/>
                <a:gd name="T20" fmla="*/ 47 w 120"/>
                <a:gd name="T21" fmla="*/ 54 h 106"/>
                <a:gd name="T22" fmla="*/ 59 w 120"/>
                <a:gd name="T23" fmla="*/ 58 h 106"/>
                <a:gd name="T24" fmla="*/ 63 w 120"/>
                <a:gd name="T25" fmla="*/ 52 h 106"/>
                <a:gd name="T26" fmla="*/ 103 w 120"/>
                <a:gd name="T27" fmla="*/ 58 h 106"/>
                <a:gd name="T28" fmla="*/ 71 w 120"/>
                <a:gd name="T29" fmla="*/ 82 h 106"/>
                <a:gd name="T30" fmla="*/ 9 w 120"/>
                <a:gd name="T31" fmla="*/ 92 h 106"/>
                <a:gd name="T32" fmla="*/ 59 w 120"/>
                <a:gd name="T33" fmla="*/ 54 h 106"/>
                <a:gd name="T34" fmla="*/ 51 w 120"/>
                <a:gd name="T35" fmla="*/ 55 h 106"/>
                <a:gd name="T36" fmla="*/ 50 w 120"/>
                <a:gd name="T37" fmla="*/ 46 h 106"/>
                <a:gd name="T38" fmla="*/ 59 w 120"/>
                <a:gd name="T39" fmla="*/ 46 h 106"/>
                <a:gd name="T40" fmla="*/ 4 w 120"/>
                <a:gd name="T41" fmla="*/ 19 h 106"/>
                <a:gd name="T42" fmla="*/ 104 w 120"/>
                <a:gd name="T43" fmla="*/ 17 h 106"/>
                <a:gd name="T44" fmla="*/ 106 w 120"/>
                <a:gd name="T45" fmla="*/ 44 h 106"/>
                <a:gd name="T46" fmla="*/ 63 w 120"/>
                <a:gd name="T47" fmla="*/ 48 h 106"/>
                <a:gd name="T48" fmla="*/ 59 w 120"/>
                <a:gd name="T49" fmla="*/ 42 h 106"/>
                <a:gd name="T50" fmla="*/ 47 w 120"/>
                <a:gd name="T51" fmla="*/ 46 h 106"/>
                <a:gd name="T52" fmla="*/ 4 w 120"/>
                <a:gd name="T53" fmla="*/ 44 h 106"/>
                <a:gd name="T54" fmla="*/ 4 w 120"/>
                <a:gd name="T55" fmla="*/ 19 h 106"/>
                <a:gd name="T56" fmla="*/ 37 w 120"/>
                <a:gd name="T57" fmla="*/ 3 h 106"/>
                <a:gd name="T58" fmla="*/ 76 w 120"/>
                <a:gd name="T59" fmla="*/ 6 h 106"/>
                <a:gd name="T60" fmla="*/ 33 w 120"/>
                <a:gd name="T61" fmla="*/ 13 h 106"/>
                <a:gd name="T62" fmla="*/ 106 w 120"/>
                <a:gd name="T63" fmla="*/ 60 h 106"/>
                <a:gd name="T64" fmla="*/ 107 w 120"/>
                <a:gd name="T65" fmla="*/ 47 h 106"/>
                <a:gd name="T66" fmla="*/ 110 w 120"/>
                <a:gd name="T67" fmla="*/ 19 h 106"/>
                <a:gd name="T68" fmla="*/ 80 w 120"/>
                <a:gd name="T69" fmla="*/ 13 h 106"/>
                <a:gd name="T70" fmla="*/ 73 w 120"/>
                <a:gd name="T71" fmla="*/ 0 h 106"/>
                <a:gd name="T72" fmla="*/ 30 w 120"/>
                <a:gd name="T73" fmla="*/ 6 h 106"/>
                <a:gd name="T74" fmla="*/ 6 w 120"/>
                <a:gd name="T75" fmla="*/ 13 h 106"/>
                <a:gd name="T76" fmla="*/ 0 w 120"/>
                <a:gd name="T77" fmla="*/ 44 h 106"/>
                <a:gd name="T78" fmla="*/ 3 w 120"/>
                <a:gd name="T79" fmla="*/ 47 h 106"/>
                <a:gd name="T80" fmla="*/ 9 w 120"/>
                <a:gd name="T81" fmla="*/ 96 h 106"/>
                <a:gd name="T82" fmla="*/ 95 w 120"/>
                <a:gd name="T83" fmla="*/ 106 h 106"/>
                <a:gd name="T84" fmla="*/ 106 w 120"/>
                <a:gd name="T85" fmla="*/ 6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06">
                  <a:moveTo>
                    <a:pt x="97" y="103"/>
                  </a:moveTo>
                  <a:cubicBezTo>
                    <a:pt x="97" y="101"/>
                    <a:pt x="97" y="101"/>
                    <a:pt x="97" y="101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4" y="103"/>
                    <a:pt x="94" y="103"/>
                    <a:pt x="94" y="103"/>
                  </a:cubicBezTo>
                  <a:cubicBezTo>
                    <a:pt x="84" y="102"/>
                    <a:pt x="75" y="94"/>
                    <a:pt x="75" y="83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70"/>
                    <a:pt x="84" y="62"/>
                    <a:pt x="94" y="61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107" y="62"/>
                    <a:pt x="116" y="70"/>
                    <a:pt x="116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83"/>
                    <a:pt x="115" y="83"/>
                    <a:pt x="115" y="83"/>
                  </a:cubicBezTo>
                  <a:cubicBezTo>
                    <a:pt x="116" y="83"/>
                    <a:pt x="116" y="83"/>
                    <a:pt x="116" y="83"/>
                  </a:cubicBezTo>
                  <a:cubicBezTo>
                    <a:pt x="116" y="94"/>
                    <a:pt x="107" y="102"/>
                    <a:pt x="97" y="103"/>
                  </a:cubicBezTo>
                  <a:moveTo>
                    <a:pt x="9" y="92"/>
                  </a:moveTo>
                  <a:cubicBezTo>
                    <a:pt x="8" y="92"/>
                    <a:pt x="7" y="91"/>
                    <a:pt x="7" y="90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20" y="50"/>
                    <a:pt x="34" y="51"/>
                    <a:pt x="47" y="52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6"/>
                    <a:pt x="49" y="58"/>
                    <a:pt x="51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61" y="58"/>
                    <a:pt x="63" y="56"/>
                    <a:pt x="63" y="54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76" y="51"/>
                    <a:pt x="90" y="50"/>
                    <a:pt x="103" y="4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1" y="58"/>
                    <a:pt x="98" y="57"/>
                    <a:pt x="95" y="57"/>
                  </a:cubicBezTo>
                  <a:cubicBezTo>
                    <a:pt x="82" y="57"/>
                    <a:pt x="71" y="68"/>
                    <a:pt x="71" y="82"/>
                  </a:cubicBezTo>
                  <a:cubicBezTo>
                    <a:pt x="71" y="85"/>
                    <a:pt x="72" y="89"/>
                    <a:pt x="73" y="92"/>
                  </a:cubicBezTo>
                  <a:lnTo>
                    <a:pt x="9" y="92"/>
                  </a:lnTo>
                  <a:close/>
                  <a:moveTo>
                    <a:pt x="59" y="46"/>
                  </a:moveTo>
                  <a:cubicBezTo>
                    <a:pt x="59" y="54"/>
                    <a:pt x="59" y="54"/>
                    <a:pt x="59" y="54"/>
                  </a:cubicBezTo>
                  <a:cubicBezTo>
                    <a:pt x="59" y="54"/>
                    <a:pt x="59" y="55"/>
                    <a:pt x="59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0" y="55"/>
                    <a:pt x="50" y="54"/>
                    <a:pt x="50" y="54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1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moveTo>
                    <a:pt x="4" y="19"/>
                  </a:moveTo>
                  <a:cubicBezTo>
                    <a:pt x="4" y="18"/>
                    <a:pt x="5" y="17"/>
                    <a:pt x="6" y="17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105" y="17"/>
                    <a:pt x="106" y="18"/>
                    <a:pt x="106" y="19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92" y="46"/>
                    <a:pt x="77" y="48"/>
                    <a:pt x="63" y="48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4"/>
                    <a:pt x="61" y="42"/>
                    <a:pt x="59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49" y="42"/>
                    <a:pt x="47" y="44"/>
                    <a:pt x="47" y="46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32" y="48"/>
                    <a:pt x="18" y="46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lnTo>
                    <a:pt x="4" y="19"/>
                  </a:lnTo>
                  <a:close/>
                  <a:moveTo>
                    <a:pt x="33" y="6"/>
                  </a:moveTo>
                  <a:cubicBezTo>
                    <a:pt x="33" y="5"/>
                    <a:pt x="35" y="3"/>
                    <a:pt x="37" y="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5" y="3"/>
                    <a:pt x="76" y="5"/>
                    <a:pt x="76" y="6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33" y="13"/>
                    <a:pt x="33" y="13"/>
                    <a:pt x="33" y="13"/>
                  </a:cubicBezTo>
                  <a:lnTo>
                    <a:pt x="33" y="6"/>
                  </a:lnTo>
                  <a:close/>
                  <a:moveTo>
                    <a:pt x="106" y="60"/>
                  </a:move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7" y="47"/>
                  </a:cubicBezTo>
                  <a:cubicBezTo>
                    <a:pt x="108" y="47"/>
                    <a:pt x="110" y="46"/>
                    <a:pt x="110" y="44"/>
                  </a:cubicBezTo>
                  <a:cubicBezTo>
                    <a:pt x="110" y="19"/>
                    <a:pt x="110" y="19"/>
                    <a:pt x="110" y="19"/>
                  </a:cubicBezTo>
                  <a:cubicBezTo>
                    <a:pt x="110" y="16"/>
                    <a:pt x="107" y="13"/>
                    <a:pt x="104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3"/>
                    <a:pt x="77" y="0"/>
                    <a:pt x="7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3" y="0"/>
                    <a:pt x="30" y="3"/>
                    <a:pt x="30" y="6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6"/>
                    <a:pt x="0" y="1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1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3"/>
                    <a:pt x="6" y="96"/>
                    <a:pt x="9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80" y="102"/>
                    <a:pt x="87" y="106"/>
                    <a:pt x="95" y="106"/>
                  </a:cubicBezTo>
                  <a:cubicBezTo>
                    <a:pt x="109" y="106"/>
                    <a:pt x="120" y="95"/>
                    <a:pt x="120" y="82"/>
                  </a:cubicBezTo>
                  <a:cubicBezTo>
                    <a:pt x="120" y="72"/>
                    <a:pt x="114" y="64"/>
                    <a:pt x="106" y="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id="{DE687939-7E87-4006-AAAA-8421D088F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" y="520"/>
              <a:ext cx="10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:a16="http://schemas.microsoft.com/office/drawing/2014/main" id="{22118DEB-0A22-4793-A2AD-940A6C8A5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" y="551"/>
              <a:ext cx="31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:a16="http://schemas.microsoft.com/office/drawing/2014/main" id="{86A98904-EB92-4272-B6CA-5F9F9B3BB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" y="413"/>
              <a:ext cx="57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5">
            <a:extLst>
              <a:ext uri="{FF2B5EF4-FFF2-40B4-BE49-F238E27FC236}">
                <a16:creationId xmlns:a16="http://schemas.microsoft.com/office/drawing/2014/main" id="{71D37B03-04DC-49C4-B874-9EB7D97C90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447" y="343694"/>
            <a:ext cx="758825" cy="758825"/>
            <a:chOff x="2346" y="388"/>
            <a:chExt cx="478" cy="478"/>
          </a:xfrm>
        </p:grpSpPr>
        <p:sp>
          <p:nvSpPr>
            <p:cNvPr id="31" name="AutoShape 24">
              <a:extLst>
                <a:ext uri="{FF2B5EF4-FFF2-40B4-BE49-F238E27FC236}">
                  <a16:creationId xmlns:a16="http://schemas.microsoft.com/office/drawing/2014/main" id="{0F2B7D3C-AACA-452A-8053-F114EA1B42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6" y="3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5CA2A3B3-5BC4-4A76-B736-486B19AF4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8" y="39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>
              <a:extLst>
                <a:ext uri="{FF2B5EF4-FFF2-40B4-BE49-F238E27FC236}">
                  <a16:creationId xmlns:a16="http://schemas.microsoft.com/office/drawing/2014/main" id="{958472B6-242F-4691-BD7B-33BDFC6028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8" y="628"/>
              <a:ext cx="84" cy="84"/>
            </a:xfrm>
            <a:custGeom>
              <a:avLst/>
              <a:gdLst>
                <a:gd name="T0" fmla="*/ 10 w 34"/>
                <a:gd name="T1" fmla="*/ 12 h 34"/>
                <a:gd name="T2" fmla="*/ 10 w 34"/>
                <a:gd name="T3" fmla="*/ 11 h 34"/>
                <a:gd name="T4" fmla="*/ 11 w 34"/>
                <a:gd name="T5" fmla="*/ 10 h 34"/>
                <a:gd name="T6" fmla="*/ 12 w 34"/>
                <a:gd name="T7" fmla="*/ 6 h 34"/>
                <a:gd name="T8" fmla="*/ 15 w 34"/>
                <a:gd name="T9" fmla="*/ 7 h 34"/>
                <a:gd name="T10" fmla="*/ 20 w 34"/>
                <a:gd name="T11" fmla="*/ 9 h 34"/>
                <a:gd name="T12" fmla="*/ 22 w 34"/>
                <a:gd name="T13" fmla="*/ 10 h 34"/>
                <a:gd name="T14" fmla="*/ 24 w 34"/>
                <a:gd name="T15" fmla="*/ 11 h 34"/>
                <a:gd name="T16" fmla="*/ 24 w 34"/>
                <a:gd name="T17" fmla="*/ 13 h 34"/>
                <a:gd name="T18" fmla="*/ 22 w 34"/>
                <a:gd name="T19" fmla="*/ 14 h 34"/>
                <a:gd name="T20" fmla="*/ 19 w 34"/>
                <a:gd name="T21" fmla="*/ 18 h 34"/>
                <a:gd name="T22" fmla="*/ 20 w 34"/>
                <a:gd name="T23" fmla="*/ 22 h 34"/>
                <a:gd name="T24" fmla="*/ 14 w 34"/>
                <a:gd name="T25" fmla="*/ 22 h 34"/>
                <a:gd name="T26" fmla="*/ 15 w 34"/>
                <a:gd name="T27" fmla="*/ 18 h 34"/>
                <a:gd name="T28" fmla="*/ 12 w 34"/>
                <a:gd name="T29" fmla="*/ 14 h 34"/>
                <a:gd name="T30" fmla="*/ 10 w 34"/>
                <a:gd name="T31" fmla="*/ 13 h 34"/>
                <a:gd name="T32" fmla="*/ 21 w 34"/>
                <a:gd name="T33" fmla="*/ 5 h 34"/>
                <a:gd name="T34" fmla="*/ 17 w 34"/>
                <a:gd name="T35" fmla="*/ 4 h 34"/>
                <a:gd name="T36" fmla="*/ 15 w 34"/>
                <a:gd name="T37" fmla="*/ 3 h 34"/>
                <a:gd name="T38" fmla="*/ 21 w 34"/>
                <a:gd name="T39" fmla="*/ 4 h 34"/>
                <a:gd name="T40" fmla="*/ 27 w 34"/>
                <a:gd name="T41" fmla="*/ 22 h 34"/>
                <a:gd name="T42" fmla="*/ 23 w 34"/>
                <a:gd name="T43" fmla="*/ 20 h 34"/>
                <a:gd name="T44" fmla="*/ 27 w 34"/>
                <a:gd name="T45" fmla="*/ 12 h 34"/>
                <a:gd name="T46" fmla="*/ 23 w 34"/>
                <a:gd name="T47" fmla="*/ 2 h 34"/>
                <a:gd name="T48" fmla="*/ 11 w 34"/>
                <a:gd name="T49" fmla="*/ 2 h 34"/>
                <a:gd name="T50" fmla="*/ 7 w 34"/>
                <a:gd name="T51" fmla="*/ 12 h 34"/>
                <a:gd name="T52" fmla="*/ 11 w 34"/>
                <a:gd name="T53" fmla="*/ 20 h 34"/>
                <a:gd name="T54" fmla="*/ 7 w 34"/>
                <a:gd name="T55" fmla="*/ 22 h 34"/>
                <a:gd name="T56" fmla="*/ 1 w 34"/>
                <a:gd name="T57" fmla="*/ 28 h 34"/>
                <a:gd name="T58" fmla="*/ 3 w 34"/>
                <a:gd name="T59" fmla="*/ 34 h 34"/>
                <a:gd name="T60" fmla="*/ 6 w 34"/>
                <a:gd name="T61" fmla="*/ 26 h 34"/>
                <a:gd name="T62" fmla="*/ 12 w 34"/>
                <a:gd name="T63" fmla="*/ 24 h 34"/>
                <a:gd name="T64" fmla="*/ 15 w 34"/>
                <a:gd name="T65" fmla="*/ 30 h 34"/>
                <a:gd name="T66" fmla="*/ 19 w 34"/>
                <a:gd name="T67" fmla="*/ 27 h 34"/>
                <a:gd name="T68" fmla="*/ 27 w 34"/>
                <a:gd name="T69" fmla="*/ 25 h 34"/>
                <a:gd name="T70" fmla="*/ 28 w 34"/>
                <a:gd name="T71" fmla="*/ 26 h 34"/>
                <a:gd name="T72" fmla="*/ 31 w 34"/>
                <a:gd name="T73" fmla="*/ 34 h 34"/>
                <a:gd name="T74" fmla="*/ 33 w 34"/>
                <a:gd name="T75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4">
                  <a:moveTo>
                    <a:pt x="10" y="13"/>
                  </a:moveTo>
                  <a:cubicBezTo>
                    <a:pt x="10" y="13"/>
                    <a:pt x="10" y="12"/>
                    <a:pt x="10" y="12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8"/>
                    <a:pt x="12" y="7"/>
                  </a:cubicBezTo>
                  <a:cubicBezTo>
                    <a:pt x="12" y="7"/>
                    <a:pt x="12" y="6"/>
                    <a:pt x="12" y="6"/>
                  </a:cubicBezTo>
                  <a:cubicBezTo>
                    <a:pt x="13" y="6"/>
                    <a:pt x="13" y="6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8"/>
                    <a:pt x="18" y="8"/>
                    <a:pt x="19" y="8"/>
                  </a:cubicBezTo>
                  <a:cubicBezTo>
                    <a:pt x="20" y="8"/>
                    <a:pt x="20" y="9"/>
                    <a:pt x="20" y="9"/>
                  </a:cubicBezTo>
                  <a:cubicBezTo>
                    <a:pt x="21" y="9"/>
                    <a:pt x="22" y="8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2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7"/>
                    <a:pt x="20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20" y="22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7"/>
                    <a:pt x="12" y="15"/>
                    <a:pt x="12" y="14"/>
                  </a:cubicBezTo>
                  <a:cubicBezTo>
                    <a:pt x="11" y="13"/>
                    <a:pt x="11" y="13"/>
                    <a:pt x="11" y="13"/>
                  </a:cubicBezTo>
                  <a:lnTo>
                    <a:pt x="10" y="13"/>
                  </a:lnTo>
                  <a:close/>
                  <a:moveTo>
                    <a:pt x="21" y="4"/>
                  </a:move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0" y="5"/>
                    <a:pt x="19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9" y="3"/>
                    <a:pt x="20" y="3"/>
                    <a:pt x="21" y="4"/>
                  </a:cubicBezTo>
                  <a:moveTo>
                    <a:pt x="30" y="23"/>
                  </a:moveTo>
                  <a:cubicBezTo>
                    <a:pt x="29" y="22"/>
                    <a:pt x="28" y="22"/>
                    <a:pt x="27" y="22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19"/>
                    <a:pt x="25" y="17"/>
                    <a:pt x="25" y="16"/>
                  </a:cubicBezTo>
                  <a:cubicBezTo>
                    <a:pt x="26" y="15"/>
                    <a:pt x="27" y="14"/>
                    <a:pt x="27" y="12"/>
                  </a:cubicBezTo>
                  <a:cubicBezTo>
                    <a:pt x="27" y="11"/>
                    <a:pt x="27" y="9"/>
                    <a:pt x="26" y="9"/>
                  </a:cubicBezTo>
                  <a:cubicBezTo>
                    <a:pt x="26" y="7"/>
                    <a:pt x="25" y="4"/>
                    <a:pt x="23" y="2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4" y="0"/>
                    <a:pt x="12" y="0"/>
                    <a:pt x="11" y="2"/>
                  </a:cubicBezTo>
                  <a:cubicBezTo>
                    <a:pt x="9" y="4"/>
                    <a:pt x="8" y="7"/>
                    <a:pt x="8" y="9"/>
                  </a:cubicBezTo>
                  <a:cubicBezTo>
                    <a:pt x="7" y="9"/>
                    <a:pt x="7" y="11"/>
                    <a:pt x="7" y="12"/>
                  </a:cubicBezTo>
                  <a:cubicBezTo>
                    <a:pt x="7" y="14"/>
                    <a:pt x="7" y="15"/>
                    <a:pt x="9" y="16"/>
                  </a:cubicBezTo>
                  <a:cubicBezTo>
                    <a:pt x="9" y="17"/>
                    <a:pt x="10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5" y="22"/>
                    <a:pt x="4" y="23"/>
                  </a:cubicBezTo>
                  <a:cubicBezTo>
                    <a:pt x="2" y="24"/>
                    <a:pt x="2" y="26"/>
                    <a:pt x="1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7"/>
                    <a:pt x="5" y="26"/>
                    <a:pt x="6" y="26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8" y="26"/>
                  </a:cubicBezTo>
                  <a:cubicBezTo>
                    <a:pt x="29" y="26"/>
                    <a:pt x="29" y="27"/>
                    <a:pt x="29" y="28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6"/>
                    <a:pt x="31" y="24"/>
                    <a:pt x="30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>
              <a:extLst>
                <a:ext uri="{FF2B5EF4-FFF2-40B4-BE49-F238E27FC236}">
                  <a16:creationId xmlns:a16="http://schemas.microsoft.com/office/drawing/2014/main" id="{7812FEE0-D546-4E1F-9735-D7FE934030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9" y="459"/>
              <a:ext cx="295" cy="292"/>
            </a:xfrm>
            <a:custGeom>
              <a:avLst/>
              <a:gdLst>
                <a:gd name="T0" fmla="*/ 63 w 120"/>
                <a:gd name="T1" fmla="*/ 88 h 119"/>
                <a:gd name="T2" fmla="*/ 117 w 120"/>
                <a:gd name="T3" fmla="*/ 88 h 119"/>
                <a:gd name="T4" fmla="*/ 4 w 120"/>
                <a:gd name="T5" fmla="*/ 98 h 119"/>
                <a:gd name="T6" fmla="*/ 13 w 120"/>
                <a:gd name="T7" fmla="*/ 72 h 119"/>
                <a:gd name="T8" fmla="*/ 33 w 120"/>
                <a:gd name="T9" fmla="*/ 65 h 119"/>
                <a:gd name="T10" fmla="*/ 46 w 120"/>
                <a:gd name="T11" fmla="*/ 79 h 119"/>
                <a:gd name="T12" fmla="*/ 49 w 120"/>
                <a:gd name="T13" fmla="*/ 79 h 119"/>
                <a:gd name="T14" fmla="*/ 62 w 120"/>
                <a:gd name="T15" fmla="*/ 65 h 119"/>
                <a:gd name="T16" fmla="*/ 60 w 120"/>
                <a:gd name="T17" fmla="*/ 88 h 119"/>
                <a:gd name="T18" fmla="*/ 4 w 120"/>
                <a:gd name="T19" fmla="*/ 98 h 119"/>
                <a:gd name="T20" fmla="*/ 28 w 120"/>
                <a:gd name="T21" fmla="*/ 39 h 119"/>
                <a:gd name="T22" fmla="*/ 24 w 120"/>
                <a:gd name="T23" fmla="*/ 34 h 119"/>
                <a:gd name="T24" fmla="*/ 26 w 120"/>
                <a:gd name="T25" fmla="*/ 27 h 119"/>
                <a:gd name="T26" fmla="*/ 29 w 120"/>
                <a:gd name="T27" fmla="*/ 17 h 119"/>
                <a:gd name="T28" fmla="*/ 41 w 120"/>
                <a:gd name="T29" fmla="*/ 15 h 119"/>
                <a:gd name="T30" fmla="*/ 54 w 120"/>
                <a:gd name="T31" fmla="*/ 20 h 119"/>
                <a:gd name="T32" fmla="*/ 66 w 120"/>
                <a:gd name="T33" fmla="*/ 18 h 119"/>
                <a:gd name="T34" fmla="*/ 69 w 120"/>
                <a:gd name="T35" fmla="*/ 27 h 119"/>
                <a:gd name="T36" fmla="*/ 71 w 120"/>
                <a:gd name="T37" fmla="*/ 34 h 119"/>
                <a:gd name="T38" fmla="*/ 67 w 120"/>
                <a:gd name="T39" fmla="*/ 39 h 119"/>
                <a:gd name="T40" fmla="*/ 58 w 120"/>
                <a:gd name="T41" fmla="*/ 53 h 119"/>
                <a:gd name="T42" fmla="*/ 59 w 120"/>
                <a:gd name="T43" fmla="*/ 61 h 119"/>
                <a:gd name="T44" fmla="*/ 48 w 120"/>
                <a:gd name="T45" fmla="*/ 75 h 119"/>
                <a:gd name="T46" fmla="*/ 37 w 120"/>
                <a:gd name="T47" fmla="*/ 61 h 119"/>
                <a:gd name="T48" fmla="*/ 37 w 120"/>
                <a:gd name="T49" fmla="*/ 53 h 119"/>
                <a:gd name="T50" fmla="*/ 48 w 120"/>
                <a:gd name="T51" fmla="*/ 3 h 119"/>
                <a:gd name="T52" fmla="*/ 65 w 120"/>
                <a:gd name="T53" fmla="*/ 15 h 119"/>
                <a:gd name="T54" fmla="*/ 45 w 120"/>
                <a:gd name="T55" fmla="*/ 13 h 119"/>
                <a:gd name="T56" fmla="*/ 33 w 120"/>
                <a:gd name="T57" fmla="*/ 10 h 119"/>
                <a:gd name="T58" fmla="*/ 48 w 120"/>
                <a:gd name="T59" fmla="*/ 3 h 119"/>
                <a:gd name="T60" fmla="*/ 90 w 120"/>
                <a:gd name="T61" fmla="*/ 58 h 119"/>
                <a:gd name="T62" fmla="*/ 63 w 120"/>
                <a:gd name="T63" fmla="*/ 62 h 119"/>
                <a:gd name="T64" fmla="*/ 62 w 120"/>
                <a:gd name="T65" fmla="*/ 60 h 119"/>
                <a:gd name="T66" fmla="*/ 70 w 120"/>
                <a:gd name="T67" fmla="*/ 42 h 119"/>
                <a:gd name="T68" fmla="*/ 71 w 120"/>
                <a:gd name="T69" fmla="*/ 26 h 119"/>
                <a:gd name="T70" fmla="*/ 48 w 120"/>
                <a:gd name="T71" fmla="*/ 0 h 119"/>
                <a:gd name="T72" fmla="*/ 25 w 120"/>
                <a:gd name="T73" fmla="*/ 26 h 119"/>
                <a:gd name="T74" fmla="*/ 26 w 120"/>
                <a:gd name="T75" fmla="*/ 42 h 119"/>
                <a:gd name="T76" fmla="*/ 33 w 120"/>
                <a:gd name="T77" fmla="*/ 61 h 119"/>
                <a:gd name="T78" fmla="*/ 32 w 120"/>
                <a:gd name="T79" fmla="*/ 62 h 119"/>
                <a:gd name="T80" fmla="*/ 11 w 120"/>
                <a:gd name="T81" fmla="*/ 70 h 119"/>
                <a:gd name="T82" fmla="*/ 1 w 120"/>
                <a:gd name="T83" fmla="*/ 98 h 119"/>
                <a:gd name="T84" fmla="*/ 3 w 120"/>
                <a:gd name="T85" fmla="*/ 101 h 119"/>
                <a:gd name="T86" fmla="*/ 90 w 120"/>
                <a:gd name="T8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0" h="119">
                  <a:moveTo>
                    <a:pt x="90" y="115"/>
                  </a:moveTo>
                  <a:cubicBezTo>
                    <a:pt x="75" y="115"/>
                    <a:pt x="63" y="103"/>
                    <a:pt x="63" y="88"/>
                  </a:cubicBezTo>
                  <a:cubicBezTo>
                    <a:pt x="63" y="74"/>
                    <a:pt x="75" y="62"/>
                    <a:pt x="90" y="62"/>
                  </a:cubicBezTo>
                  <a:cubicBezTo>
                    <a:pt x="105" y="62"/>
                    <a:pt x="117" y="74"/>
                    <a:pt x="117" y="88"/>
                  </a:cubicBezTo>
                  <a:cubicBezTo>
                    <a:pt x="117" y="103"/>
                    <a:pt x="105" y="115"/>
                    <a:pt x="90" y="115"/>
                  </a:cubicBezTo>
                  <a:moveTo>
                    <a:pt x="4" y="98"/>
                  </a:moveTo>
                  <a:cubicBezTo>
                    <a:pt x="7" y="81"/>
                    <a:pt x="7" y="81"/>
                    <a:pt x="7" y="81"/>
                  </a:cubicBezTo>
                  <a:cubicBezTo>
                    <a:pt x="8" y="78"/>
                    <a:pt x="10" y="75"/>
                    <a:pt x="13" y="72"/>
                  </a:cubicBezTo>
                  <a:cubicBezTo>
                    <a:pt x="15" y="71"/>
                    <a:pt x="16" y="70"/>
                    <a:pt x="18" y="70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3" y="72"/>
                    <a:pt x="60" y="80"/>
                    <a:pt x="60" y="88"/>
                  </a:cubicBezTo>
                  <a:cubicBezTo>
                    <a:pt x="60" y="92"/>
                    <a:pt x="60" y="95"/>
                    <a:pt x="61" y="98"/>
                  </a:cubicBezTo>
                  <a:lnTo>
                    <a:pt x="4" y="98"/>
                  </a:lnTo>
                  <a:close/>
                  <a:moveTo>
                    <a:pt x="29" y="40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5" y="39"/>
                    <a:pt x="24" y="37"/>
                    <a:pt x="24" y="34"/>
                  </a:cubicBezTo>
                  <a:cubicBezTo>
                    <a:pt x="24" y="31"/>
                    <a:pt x="25" y="29"/>
                    <a:pt x="27" y="28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2"/>
                    <a:pt x="29" y="17"/>
                  </a:cubicBezTo>
                  <a:cubicBezTo>
                    <a:pt x="30" y="15"/>
                    <a:pt x="31" y="14"/>
                    <a:pt x="33" y="14"/>
                  </a:cubicBezTo>
                  <a:cubicBezTo>
                    <a:pt x="35" y="13"/>
                    <a:pt x="38" y="13"/>
                    <a:pt x="41" y="15"/>
                  </a:cubicBezTo>
                  <a:cubicBezTo>
                    <a:pt x="42" y="15"/>
                    <a:pt x="43" y="16"/>
                    <a:pt x="44" y="16"/>
                  </a:cubicBezTo>
                  <a:cubicBezTo>
                    <a:pt x="47" y="18"/>
                    <a:pt x="50" y="19"/>
                    <a:pt x="54" y="20"/>
                  </a:cubicBezTo>
                  <a:cubicBezTo>
                    <a:pt x="56" y="20"/>
                    <a:pt x="57" y="20"/>
                    <a:pt x="58" y="20"/>
                  </a:cubicBezTo>
                  <a:cubicBezTo>
                    <a:pt x="61" y="20"/>
                    <a:pt x="64" y="19"/>
                    <a:pt x="66" y="18"/>
                  </a:cubicBezTo>
                  <a:cubicBezTo>
                    <a:pt x="67" y="23"/>
                    <a:pt x="67" y="27"/>
                    <a:pt x="67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70" y="29"/>
                    <a:pt x="71" y="31"/>
                    <a:pt x="71" y="34"/>
                  </a:cubicBezTo>
                  <a:cubicBezTo>
                    <a:pt x="71" y="37"/>
                    <a:pt x="70" y="39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5" y="46"/>
                    <a:pt x="62" y="50"/>
                    <a:pt x="58" y="53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2"/>
                    <a:pt x="59" y="62"/>
                    <a:pt x="59" y="63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3" y="50"/>
                    <a:pt x="30" y="46"/>
                    <a:pt x="29" y="40"/>
                  </a:cubicBezTo>
                  <a:moveTo>
                    <a:pt x="48" y="3"/>
                  </a:moveTo>
                  <a:cubicBezTo>
                    <a:pt x="53" y="3"/>
                    <a:pt x="58" y="5"/>
                    <a:pt x="61" y="9"/>
                  </a:cubicBezTo>
                  <a:cubicBezTo>
                    <a:pt x="63" y="11"/>
                    <a:pt x="64" y="13"/>
                    <a:pt x="65" y="15"/>
                  </a:cubicBezTo>
                  <a:cubicBezTo>
                    <a:pt x="62" y="16"/>
                    <a:pt x="59" y="17"/>
                    <a:pt x="55" y="16"/>
                  </a:cubicBezTo>
                  <a:cubicBezTo>
                    <a:pt x="51" y="16"/>
                    <a:pt x="48" y="15"/>
                    <a:pt x="45" y="13"/>
                  </a:cubicBezTo>
                  <a:cubicBezTo>
                    <a:pt x="44" y="13"/>
                    <a:pt x="43" y="12"/>
                    <a:pt x="42" y="12"/>
                  </a:cubicBezTo>
                  <a:cubicBezTo>
                    <a:pt x="39" y="10"/>
                    <a:pt x="35" y="10"/>
                    <a:pt x="33" y="10"/>
                  </a:cubicBezTo>
                  <a:cubicBezTo>
                    <a:pt x="33" y="10"/>
                    <a:pt x="34" y="9"/>
                    <a:pt x="34" y="9"/>
                  </a:cubicBezTo>
                  <a:cubicBezTo>
                    <a:pt x="37" y="5"/>
                    <a:pt x="42" y="3"/>
                    <a:pt x="48" y="3"/>
                  </a:cubicBezTo>
                  <a:moveTo>
                    <a:pt x="120" y="88"/>
                  </a:moveTo>
                  <a:cubicBezTo>
                    <a:pt x="120" y="72"/>
                    <a:pt x="107" y="58"/>
                    <a:pt x="90" y="58"/>
                  </a:cubicBezTo>
                  <a:cubicBezTo>
                    <a:pt x="83" y="58"/>
                    <a:pt x="77" y="61"/>
                    <a:pt x="72" y="64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2" y="61"/>
                    <a:pt x="62" y="61"/>
                    <a:pt x="62" y="60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5" y="52"/>
                    <a:pt x="68" y="48"/>
                    <a:pt x="70" y="42"/>
                  </a:cubicBezTo>
                  <a:cubicBezTo>
                    <a:pt x="73" y="41"/>
                    <a:pt x="75" y="38"/>
                    <a:pt x="75" y="34"/>
                  </a:cubicBezTo>
                  <a:cubicBezTo>
                    <a:pt x="75" y="30"/>
                    <a:pt x="73" y="27"/>
                    <a:pt x="71" y="26"/>
                  </a:cubicBezTo>
                  <a:cubicBezTo>
                    <a:pt x="71" y="22"/>
                    <a:pt x="70" y="13"/>
                    <a:pt x="64" y="6"/>
                  </a:cubicBezTo>
                  <a:cubicBezTo>
                    <a:pt x="60" y="2"/>
                    <a:pt x="54" y="0"/>
                    <a:pt x="48" y="0"/>
                  </a:cubicBezTo>
                  <a:cubicBezTo>
                    <a:pt x="41" y="0"/>
                    <a:pt x="36" y="2"/>
                    <a:pt x="32" y="6"/>
                  </a:cubicBezTo>
                  <a:cubicBezTo>
                    <a:pt x="25" y="13"/>
                    <a:pt x="25" y="22"/>
                    <a:pt x="25" y="26"/>
                  </a:cubicBezTo>
                  <a:cubicBezTo>
                    <a:pt x="22" y="27"/>
                    <a:pt x="20" y="30"/>
                    <a:pt x="20" y="34"/>
                  </a:cubicBezTo>
                  <a:cubicBezTo>
                    <a:pt x="20" y="38"/>
                    <a:pt x="23" y="41"/>
                    <a:pt x="26" y="42"/>
                  </a:cubicBezTo>
                  <a:cubicBezTo>
                    <a:pt x="27" y="48"/>
                    <a:pt x="30" y="52"/>
                    <a:pt x="34" y="55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ubicBezTo>
                    <a:pt x="33" y="62"/>
                    <a:pt x="32" y="62"/>
                    <a:pt x="32" y="62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5" y="67"/>
                    <a:pt x="13" y="68"/>
                    <a:pt x="11" y="70"/>
                  </a:cubicBezTo>
                  <a:cubicBezTo>
                    <a:pt x="7" y="72"/>
                    <a:pt x="5" y="76"/>
                    <a:pt x="4" y="81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0" y="99"/>
                    <a:pt x="1" y="100"/>
                    <a:pt x="1" y="100"/>
                  </a:cubicBezTo>
                  <a:cubicBezTo>
                    <a:pt x="2" y="101"/>
                    <a:pt x="2" y="101"/>
                    <a:pt x="3" y="101"/>
                  </a:cubicBezTo>
                  <a:cubicBezTo>
                    <a:pt x="63" y="101"/>
                    <a:pt x="63" y="101"/>
                    <a:pt x="63" y="101"/>
                  </a:cubicBezTo>
                  <a:cubicBezTo>
                    <a:pt x="68" y="112"/>
                    <a:pt x="78" y="119"/>
                    <a:pt x="90" y="119"/>
                  </a:cubicBezTo>
                  <a:cubicBezTo>
                    <a:pt x="107" y="119"/>
                    <a:pt x="120" y="105"/>
                    <a:pt x="120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EBB9B50B-CF6E-494D-8FDC-EB43991B5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7" y="704"/>
              <a:ext cx="71" cy="69"/>
            </a:xfrm>
            <a:custGeom>
              <a:avLst/>
              <a:gdLst>
                <a:gd name="T0" fmla="*/ 25 w 29"/>
                <a:gd name="T1" fmla="*/ 24 h 28"/>
                <a:gd name="T2" fmla="*/ 22 w 29"/>
                <a:gd name="T3" fmla="*/ 24 h 28"/>
                <a:gd name="T4" fmla="*/ 13 w 29"/>
                <a:gd name="T5" fmla="*/ 15 h 28"/>
                <a:gd name="T6" fmla="*/ 15 w 29"/>
                <a:gd name="T7" fmla="*/ 12 h 28"/>
                <a:gd name="T8" fmla="*/ 25 w 29"/>
                <a:gd name="T9" fmla="*/ 21 h 28"/>
                <a:gd name="T10" fmla="*/ 25 w 29"/>
                <a:gd name="T11" fmla="*/ 24 h 28"/>
                <a:gd name="T12" fmla="*/ 27 w 29"/>
                <a:gd name="T13" fmla="*/ 19 h 28"/>
                <a:gd name="T14" fmla="*/ 18 w 29"/>
                <a:gd name="T15" fmla="*/ 9 h 28"/>
                <a:gd name="T16" fmla="*/ 22 w 29"/>
                <a:gd name="T17" fmla="*/ 1 h 28"/>
                <a:gd name="T18" fmla="*/ 19 w 29"/>
                <a:gd name="T19" fmla="*/ 0 h 28"/>
                <a:gd name="T20" fmla="*/ 0 w 29"/>
                <a:gd name="T21" fmla="*/ 18 h 28"/>
                <a:gd name="T22" fmla="*/ 1 w 29"/>
                <a:gd name="T23" fmla="*/ 21 h 28"/>
                <a:gd name="T24" fmla="*/ 10 w 29"/>
                <a:gd name="T25" fmla="*/ 17 h 28"/>
                <a:gd name="T26" fmla="*/ 19 w 29"/>
                <a:gd name="T27" fmla="*/ 26 h 28"/>
                <a:gd name="T28" fmla="*/ 23 w 29"/>
                <a:gd name="T29" fmla="*/ 28 h 28"/>
                <a:gd name="T30" fmla="*/ 27 w 29"/>
                <a:gd name="T31" fmla="*/ 26 h 28"/>
                <a:gd name="T32" fmla="*/ 27 w 29"/>
                <a:gd name="T33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28">
                  <a:moveTo>
                    <a:pt x="25" y="24"/>
                  </a:moveTo>
                  <a:cubicBezTo>
                    <a:pt x="24" y="25"/>
                    <a:pt x="22" y="25"/>
                    <a:pt x="22" y="2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4"/>
                    <a:pt x="14" y="13"/>
                    <a:pt x="15" y="12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2"/>
                    <a:pt x="25" y="23"/>
                    <a:pt x="25" y="24"/>
                  </a:cubicBezTo>
                  <a:moveTo>
                    <a:pt x="27" y="19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9" y="7"/>
                    <a:pt x="21" y="4"/>
                    <a:pt x="22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6" y="8"/>
                    <a:pt x="9" y="15"/>
                    <a:pt x="0" y="18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7" y="19"/>
                    <a:pt x="10" y="1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2" y="28"/>
                    <a:pt x="23" y="28"/>
                  </a:cubicBezTo>
                  <a:cubicBezTo>
                    <a:pt x="25" y="28"/>
                    <a:pt x="26" y="27"/>
                    <a:pt x="27" y="26"/>
                  </a:cubicBezTo>
                  <a:cubicBezTo>
                    <a:pt x="29" y="24"/>
                    <a:pt x="29" y="21"/>
                    <a:pt x="27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32">
            <a:extLst>
              <a:ext uri="{FF2B5EF4-FFF2-40B4-BE49-F238E27FC236}">
                <a16:creationId xmlns:a16="http://schemas.microsoft.com/office/drawing/2014/main" id="{8CEDF22F-5971-4141-B2B5-EB6EF8BCB0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2610" y="302419"/>
            <a:ext cx="842963" cy="841375"/>
            <a:chOff x="1680" y="323"/>
            <a:chExt cx="531" cy="530"/>
          </a:xfrm>
        </p:grpSpPr>
        <p:sp>
          <p:nvSpPr>
            <p:cNvPr id="37" name="AutoShape 31">
              <a:extLst>
                <a:ext uri="{FF2B5EF4-FFF2-40B4-BE49-F238E27FC236}">
                  <a16:creationId xmlns:a16="http://schemas.microsoft.com/office/drawing/2014/main" id="{A0D4E133-ABF3-4C03-A4B9-7D9AE0D69D0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0" y="323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3">
              <a:extLst>
                <a:ext uri="{FF2B5EF4-FFF2-40B4-BE49-F238E27FC236}">
                  <a16:creationId xmlns:a16="http://schemas.microsoft.com/office/drawing/2014/main" id="{429819EE-7984-4464-8790-D9C8FCA47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323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7CE39D36-7ECF-4EDD-A700-D6F87C3D1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8" y="341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51A93C2E-4A73-46DD-A12F-5CB5C3A56B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0" y="589"/>
              <a:ext cx="87" cy="87"/>
            </a:xfrm>
            <a:custGeom>
              <a:avLst/>
              <a:gdLst>
                <a:gd name="T0" fmla="*/ 10 w 34"/>
                <a:gd name="T1" fmla="*/ 12 h 34"/>
                <a:gd name="T2" fmla="*/ 10 w 34"/>
                <a:gd name="T3" fmla="*/ 11 h 34"/>
                <a:gd name="T4" fmla="*/ 11 w 34"/>
                <a:gd name="T5" fmla="*/ 10 h 34"/>
                <a:gd name="T6" fmla="*/ 12 w 34"/>
                <a:gd name="T7" fmla="*/ 6 h 34"/>
                <a:gd name="T8" fmla="*/ 15 w 34"/>
                <a:gd name="T9" fmla="*/ 7 h 34"/>
                <a:gd name="T10" fmla="*/ 20 w 34"/>
                <a:gd name="T11" fmla="*/ 9 h 34"/>
                <a:gd name="T12" fmla="*/ 22 w 34"/>
                <a:gd name="T13" fmla="*/ 10 h 34"/>
                <a:gd name="T14" fmla="*/ 24 w 34"/>
                <a:gd name="T15" fmla="*/ 11 h 34"/>
                <a:gd name="T16" fmla="*/ 24 w 34"/>
                <a:gd name="T17" fmla="*/ 13 h 34"/>
                <a:gd name="T18" fmla="*/ 22 w 34"/>
                <a:gd name="T19" fmla="*/ 14 h 34"/>
                <a:gd name="T20" fmla="*/ 19 w 34"/>
                <a:gd name="T21" fmla="*/ 18 h 34"/>
                <a:gd name="T22" fmla="*/ 20 w 34"/>
                <a:gd name="T23" fmla="*/ 22 h 34"/>
                <a:gd name="T24" fmla="*/ 14 w 34"/>
                <a:gd name="T25" fmla="*/ 22 h 34"/>
                <a:gd name="T26" fmla="*/ 15 w 34"/>
                <a:gd name="T27" fmla="*/ 18 h 34"/>
                <a:gd name="T28" fmla="*/ 12 w 34"/>
                <a:gd name="T29" fmla="*/ 14 h 34"/>
                <a:gd name="T30" fmla="*/ 10 w 34"/>
                <a:gd name="T31" fmla="*/ 13 h 34"/>
                <a:gd name="T32" fmla="*/ 21 w 34"/>
                <a:gd name="T33" fmla="*/ 5 h 34"/>
                <a:gd name="T34" fmla="*/ 17 w 34"/>
                <a:gd name="T35" fmla="*/ 4 h 34"/>
                <a:gd name="T36" fmla="*/ 15 w 34"/>
                <a:gd name="T37" fmla="*/ 3 h 34"/>
                <a:gd name="T38" fmla="*/ 21 w 34"/>
                <a:gd name="T39" fmla="*/ 4 h 34"/>
                <a:gd name="T40" fmla="*/ 27 w 34"/>
                <a:gd name="T41" fmla="*/ 22 h 34"/>
                <a:gd name="T42" fmla="*/ 23 w 34"/>
                <a:gd name="T43" fmla="*/ 20 h 34"/>
                <a:gd name="T44" fmla="*/ 27 w 34"/>
                <a:gd name="T45" fmla="*/ 12 h 34"/>
                <a:gd name="T46" fmla="*/ 23 w 34"/>
                <a:gd name="T47" fmla="*/ 2 h 34"/>
                <a:gd name="T48" fmla="*/ 11 w 34"/>
                <a:gd name="T49" fmla="*/ 2 h 34"/>
                <a:gd name="T50" fmla="*/ 7 w 34"/>
                <a:gd name="T51" fmla="*/ 12 h 34"/>
                <a:gd name="T52" fmla="*/ 11 w 34"/>
                <a:gd name="T53" fmla="*/ 20 h 34"/>
                <a:gd name="T54" fmla="*/ 7 w 34"/>
                <a:gd name="T55" fmla="*/ 22 h 34"/>
                <a:gd name="T56" fmla="*/ 1 w 34"/>
                <a:gd name="T57" fmla="*/ 28 h 34"/>
                <a:gd name="T58" fmla="*/ 3 w 34"/>
                <a:gd name="T59" fmla="*/ 34 h 34"/>
                <a:gd name="T60" fmla="*/ 6 w 34"/>
                <a:gd name="T61" fmla="*/ 26 h 34"/>
                <a:gd name="T62" fmla="*/ 12 w 34"/>
                <a:gd name="T63" fmla="*/ 24 h 34"/>
                <a:gd name="T64" fmla="*/ 15 w 34"/>
                <a:gd name="T65" fmla="*/ 30 h 34"/>
                <a:gd name="T66" fmla="*/ 19 w 34"/>
                <a:gd name="T67" fmla="*/ 27 h 34"/>
                <a:gd name="T68" fmla="*/ 27 w 34"/>
                <a:gd name="T69" fmla="*/ 25 h 34"/>
                <a:gd name="T70" fmla="*/ 28 w 34"/>
                <a:gd name="T71" fmla="*/ 26 h 34"/>
                <a:gd name="T72" fmla="*/ 31 w 34"/>
                <a:gd name="T73" fmla="*/ 34 h 34"/>
                <a:gd name="T74" fmla="*/ 33 w 34"/>
                <a:gd name="T75" fmla="*/ 2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4">
                  <a:moveTo>
                    <a:pt x="10" y="13"/>
                  </a:moveTo>
                  <a:cubicBezTo>
                    <a:pt x="10" y="13"/>
                    <a:pt x="10" y="12"/>
                    <a:pt x="10" y="12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8"/>
                    <a:pt x="12" y="7"/>
                  </a:cubicBezTo>
                  <a:cubicBezTo>
                    <a:pt x="12" y="7"/>
                    <a:pt x="12" y="6"/>
                    <a:pt x="12" y="6"/>
                  </a:cubicBezTo>
                  <a:cubicBezTo>
                    <a:pt x="13" y="6"/>
                    <a:pt x="13" y="6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8"/>
                    <a:pt x="18" y="8"/>
                    <a:pt x="19" y="8"/>
                  </a:cubicBezTo>
                  <a:cubicBezTo>
                    <a:pt x="20" y="8"/>
                    <a:pt x="20" y="9"/>
                    <a:pt x="20" y="9"/>
                  </a:cubicBezTo>
                  <a:cubicBezTo>
                    <a:pt x="21" y="9"/>
                    <a:pt x="22" y="8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2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1" y="17"/>
                    <a:pt x="20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20" y="22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7"/>
                    <a:pt x="12" y="15"/>
                    <a:pt x="12" y="14"/>
                  </a:cubicBezTo>
                  <a:cubicBezTo>
                    <a:pt x="11" y="13"/>
                    <a:pt x="11" y="13"/>
                    <a:pt x="11" y="13"/>
                  </a:cubicBezTo>
                  <a:lnTo>
                    <a:pt x="10" y="13"/>
                  </a:lnTo>
                  <a:close/>
                  <a:moveTo>
                    <a:pt x="21" y="4"/>
                  </a:move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0" y="5"/>
                    <a:pt x="19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9" y="3"/>
                    <a:pt x="20" y="3"/>
                    <a:pt x="21" y="4"/>
                  </a:cubicBezTo>
                  <a:moveTo>
                    <a:pt x="30" y="23"/>
                  </a:moveTo>
                  <a:cubicBezTo>
                    <a:pt x="29" y="22"/>
                    <a:pt x="28" y="22"/>
                    <a:pt x="27" y="22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19"/>
                    <a:pt x="25" y="17"/>
                    <a:pt x="25" y="16"/>
                  </a:cubicBezTo>
                  <a:cubicBezTo>
                    <a:pt x="26" y="15"/>
                    <a:pt x="27" y="14"/>
                    <a:pt x="27" y="12"/>
                  </a:cubicBezTo>
                  <a:cubicBezTo>
                    <a:pt x="27" y="11"/>
                    <a:pt x="27" y="9"/>
                    <a:pt x="26" y="9"/>
                  </a:cubicBezTo>
                  <a:cubicBezTo>
                    <a:pt x="26" y="7"/>
                    <a:pt x="25" y="4"/>
                    <a:pt x="23" y="2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4" y="0"/>
                    <a:pt x="12" y="0"/>
                    <a:pt x="11" y="2"/>
                  </a:cubicBezTo>
                  <a:cubicBezTo>
                    <a:pt x="9" y="4"/>
                    <a:pt x="8" y="7"/>
                    <a:pt x="8" y="9"/>
                  </a:cubicBezTo>
                  <a:cubicBezTo>
                    <a:pt x="7" y="9"/>
                    <a:pt x="7" y="11"/>
                    <a:pt x="7" y="12"/>
                  </a:cubicBezTo>
                  <a:cubicBezTo>
                    <a:pt x="7" y="14"/>
                    <a:pt x="7" y="15"/>
                    <a:pt x="9" y="16"/>
                  </a:cubicBezTo>
                  <a:cubicBezTo>
                    <a:pt x="9" y="17"/>
                    <a:pt x="10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5" y="22"/>
                    <a:pt x="4" y="23"/>
                  </a:cubicBezTo>
                  <a:cubicBezTo>
                    <a:pt x="2" y="24"/>
                    <a:pt x="2" y="26"/>
                    <a:pt x="1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7"/>
                    <a:pt x="5" y="26"/>
                    <a:pt x="6" y="26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8" y="26"/>
                  </a:cubicBezTo>
                  <a:cubicBezTo>
                    <a:pt x="29" y="26"/>
                    <a:pt x="29" y="27"/>
                    <a:pt x="29" y="28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6"/>
                    <a:pt x="31" y="24"/>
                    <a:pt x="30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639C9FA9-AF44-4CA4-8776-2D84B521B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3" y="412"/>
              <a:ext cx="307" cy="305"/>
            </a:xfrm>
            <a:custGeom>
              <a:avLst/>
              <a:gdLst>
                <a:gd name="T0" fmla="*/ 63 w 120"/>
                <a:gd name="T1" fmla="*/ 88 h 119"/>
                <a:gd name="T2" fmla="*/ 117 w 120"/>
                <a:gd name="T3" fmla="*/ 88 h 119"/>
                <a:gd name="T4" fmla="*/ 4 w 120"/>
                <a:gd name="T5" fmla="*/ 98 h 119"/>
                <a:gd name="T6" fmla="*/ 13 w 120"/>
                <a:gd name="T7" fmla="*/ 72 h 119"/>
                <a:gd name="T8" fmla="*/ 33 w 120"/>
                <a:gd name="T9" fmla="*/ 65 h 119"/>
                <a:gd name="T10" fmla="*/ 46 w 120"/>
                <a:gd name="T11" fmla="*/ 79 h 119"/>
                <a:gd name="T12" fmla="*/ 49 w 120"/>
                <a:gd name="T13" fmla="*/ 79 h 119"/>
                <a:gd name="T14" fmla="*/ 62 w 120"/>
                <a:gd name="T15" fmla="*/ 65 h 119"/>
                <a:gd name="T16" fmla="*/ 60 w 120"/>
                <a:gd name="T17" fmla="*/ 88 h 119"/>
                <a:gd name="T18" fmla="*/ 4 w 120"/>
                <a:gd name="T19" fmla="*/ 98 h 119"/>
                <a:gd name="T20" fmla="*/ 28 w 120"/>
                <a:gd name="T21" fmla="*/ 39 h 119"/>
                <a:gd name="T22" fmla="*/ 24 w 120"/>
                <a:gd name="T23" fmla="*/ 34 h 119"/>
                <a:gd name="T24" fmla="*/ 26 w 120"/>
                <a:gd name="T25" fmla="*/ 27 h 119"/>
                <a:gd name="T26" fmla="*/ 29 w 120"/>
                <a:gd name="T27" fmla="*/ 17 h 119"/>
                <a:gd name="T28" fmla="*/ 41 w 120"/>
                <a:gd name="T29" fmla="*/ 15 h 119"/>
                <a:gd name="T30" fmla="*/ 54 w 120"/>
                <a:gd name="T31" fmla="*/ 20 h 119"/>
                <a:gd name="T32" fmla="*/ 66 w 120"/>
                <a:gd name="T33" fmla="*/ 18 h 119"/>
                <a:gd name="T34" fmla="*/ 69 w 120"/>
                <a:gd name="T35" fmla="*/ 27 h 119"/>
                <a:gd name="T36" fmla="*/ 71 w 120"/>
                <a:gd name="T37" fmla="*/ 34 h 119"/>
                <a:gd name="T38" fmla="*/ 67 w 120"/>
                <a:gd name="T39" fmla="*/ 39 h 119"/>
                <a:gd name="T40" fmla="*/ 58 w 120"/>
                <a:gd name="T41" fmla="*/ 53 h 119"/>
                <a:gd name="T42" fmla="*/ 59 w 120"/>
                <a:gd name="T43" fmla="*/ 61 h 119"/>
                <a:gd name="T44" fmla="*/ 48 w 120"/>
                <a:gd name="T45" fmla="*/ 75 h 119"/>
                <a:gd name="T46" fmla="*/ 37 w 120"/>
                <a:gd name="T47" fmla="*/ 61 h 119"/>
                <a:gd name="T48" fmla="*/ 37 w 120"/>
                <a:gd name="T49" fmla="*/ 53 h 119"/>
                <a:gd name="T50" fmla="*/ 48 w 120"/>
                <a:gd name="T51" fmla="*/ 3 h 119"/>
                <a:gd name="T52" fmla="*/ 65 w 120"/>
                <a:gd name="T53" fmla="*/ 15 h 119"/>
                <a:gd name="T54" fmla="*/ 45 w 120"/>
                <a:gd name="T55" fmla="*/ 13 h 119"/>
                <a:gd name="T56" fmla="*/ 33 w 120"/>
                <a:gd name="T57" fmla="*/ 10 h 119"/>
                <a:gd name="T58" fmla="*/ 48 w 120"/>
                <a:gd name="T59" fmla="*/ 3 h 119"/>
                <a:gd name="T60" fmla="*/ 90 w 120"/>
                <a:gd name="T61" fmla="*/ 58 h 119"/>
                <a:gd name="T62" fmla="*/ 63 w 120"/>
                <a:gd name="T63" fmla="*/ 62 h 119"/>
                <a:gd name="T64" fmla="*/ 62 w 120"/>
                <a:gd name="T65" fmla="*/ 60 h 119"/>
                <a:gd name="T66" fmla="*/ 70 w 120"/>
                <a:gd name="T67" fmla="*/ 42 h 119"/>
                <a:gd name="T68" fmla="*/ 71 w 120"/>
                <a:gd name="T69" fmla="*/ 26 h 119"/>
                <a:gd name="T70" fmla="*/ 48 w 120"/>
                <a:gd name="T71" fmla="*/ 0 h 119"/>
                <a:gd name="T72" fmla="*/ 25 w 120"/>
                <a:gd name="T73" fmla="*/ 26 h 119"/>
                <a:gd name="T74" fmla="*/ 26 w 120"/>
                <a:gd name="T75" fmla="*/ 42 h 119"/>
                <a:gd name="T76" fmla="*/ 33 w 120"/>
                <a:gd name="T77" fmla="*/ 61 h 119"/>
                <a:gd name="T78" fmla="*/ 32 w 120"/>
                <a:gd name="T79" fmla="*/ 62 h 119"/>
                <a:gd name="T80" fmla="*/ 11 w 120"/>
                <a:gd name="T81" fmla="*/ 70 h 119"/>
                <a:gd name="T82" fmla="*/ 1 w 120"/>
                <a:gd name="T83" fmla="*/ 98 h 119"/>
                <a:gd name="T84" fmla="*/ 3 w 120"/>
                <a:gd name="T85" fmla="*/ 101 h 119"/>
                <a:gd name="T86" fmla="*/ 90 w 120"/>
                <a:gd name="T8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0" h="119">
                  <a:moveTo>
                    <a:pt x="90" y="115"/>
                  </a:moveTo>
                  <a:cubicBezTo>
                    <a:pt x="75" y="115"/>
                    <a:pt x="63" y="103"/>
                    <a:pt x="63" y="88"/>
                  </a:cubicBezTo>
                  <a:cubicBezTo>
                    <a:pt x="63" y="74"/>
                    <a:pt x="75" y="62"/>
                    <a:pt x="90" y="62"/>
                  </a:cubicBezTo>
                  <a:cubicBezTo>
                    <a:pt x="105" y="62"/>
                    <a:pt x="117" y="74"/>
                    <a:pt x="117" y="88"/>
                  </a:cubicBezTo>
                  <a:cubicBezTo>
                    <a:pt x="117" y="103"/>
                    <a:pt x="105" y="115"/>
                    <a:pt x="90" y="115"/>
                  </a:cubicBezTo>
                  <a:moveTo>
                    <a:pt x="4" y="98"/>
                  </a:moveTo>
                  <a:cubicBezTo>
                    <a:pt x="7" y="81"/>
                    <a:pt x="7" y="81"/>
                    <a:pt x="7" y="81"/>
                  </a:cubicBezTo>
                  <a:cubicBezTo>
                    <a:pt x="8" y="78"/>
                    <a:pt x="10" y="75"/>
                    <a:pt x="13" y="72"/>
                  </a:cubicBezTo>
                  <a:cubicBezTo>
                    <a:pt x="15" y="71"/>
                    <a:pt x="16" y="70"/>
                    <a:pt x="18" y="70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3" y="72"/>
                    <a:pt x="60" y="80"/>
                    <a:pt x="60" y="88"/>
                  </a:cubicBezTo>
                  <a:cubicBezTo>
                    <a:pt x="60" y="92"/>
                    <a:pt x="60" y="95"/>
                    <a:pt x="61" y="98"/>
                  </a:cubicBezTo>
                  <a:lnTo>
                    <a:pt x="4" y="98"/>
                  </a:lnTo>
                  <a:close/>
                  <a:moveTo>
                    <a:pt x="29" y="40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5" y="39"/>
                    <a:pt x="24" y="37"/>
                    <a:pt x="24" y="34"/>
                  </a:cubicBezTo>
                  <a:cubicBezTo>
                    <a:pt x="24" y="31"/>
                    <a:pt x="25" y="29"/>
                    <a:pt x="27" y="28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2"/>
                    <a:pt x="29" y="17"/>
                  </a:cubicBezTo>
                  <a:cubicBezTo>
                    <a:pt x="30" y="15"/>
                    <a:pt x="31" y="14"/>
                    <a:pt x="33" y="14"/>
                  </a:cubicBezTo>
                  <a:cubicBezTo>
                    <a:pt x="35" y="13"/>
                    <a:pt x="38" y="13"/>
                    <a:pt x="41" y="15"/>
                  </a:cubicBezTo>
                  <a:cubicBezTo>
                    <a:pt x="42" y="15"/>
                    <a:pt x="43" y="16"/>
                    <a:pt x="44" y="16"/>
                  </a:cubicBezTo>
                  <a:cubicBezTo>
                    <a:pt x="47" y="18"/>
                    <a:pt x="50" y="19"/>
                    <a:pt x="54" y="20"/>
                  </a:cubicBezTo>
                  <a:cubicBezTo>
                    <a:pt x="56" y="20"/>
                    <a:pt x="57" y="20"/>
                    <a:pt x="58" y="20"/>
                  </a:cubicBezTo>
                  <a:cubicBezTo>
                    <a:pt x="61" y="20"/>
                    <a:pt x="64" y="19"/>
                    <a:pt x="66" y="18"/>
                  </a:cubicBezTo>
                  <a:cubicBezTo>
                    <a:pt x="67" y="23"/>
                    <a:pt x="67" y="27"/>
                    <a:pt x="67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70" y="29"/>
                    <a:pt x="71" y="31"/>
                    <a:pt x="71" y="34"/>
                  </a:cubicBezTo>
                  <a:cubicBezTo>
                    <a:pt x="71" y="37"/>
                    <a:pt x="70" y="39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5" y="46"/>
                    <a:pt x="62" y="50"/>
                    <a:pt x="58" y="53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2"/>
                    <a:pt x="59" y="62"/>
                    <a:pt x="59" y="63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3" y="50"/>
                    <a:pt x="30" y="46"/>
                    <a:pt x="29" y="40"/>
                  </a:cubicBezTo>
                  <a:moveTo>
                    <a:pt x="48" y="3"/>
                  </a:moveTo>
                  <a:cubicBezTo>
                    <a:pt x="53" y="3"/>
                    <a:pt x="58" y="5"/>
                    <a:pt x="61" y="9"/>
                  </a:cubicBezTo>
                  <a:cubicBezTo>
                    <a:pt x="63" y="11"/>
                    <a:pt x="64" y="13"/>
                    <a:pt x="65" y="15"/>
                  </a:cubicBezTo>
                  <a:cubicBezTo>
                    <a:pt x="62" y="16"/>
                    <a:pt x="59" y="17"/>
                    <a:pt x="55" y="16"/>
                  </a:cubicBezTo>
                  <a:cubicBezTo>
                    <a:pt x="51" y="16"/>
                    <a:pt x="48" y="15"/>
                    <a:pt x="45" y="13"/>
                  </a:cubicBezTo>
                  <a:cubicBezTo>
                    <a:pt x="44" y="13"/>
                    <a:pt x="43" y="12"/>
                    <a:pt x="42" y="12"/>
                  </a:cubicBezTo>
                  <a:cubicBezTo>
                    <a:pt x="39" y="10"/>
                    <a:pt x="35" y="10"/>
                    <a:pt x="33" y="10"/>
                  </a:cubicBezTo>
                  <a:cubicBezTo>
                    <a:pt x="33" y="10"/>
                    <a:pt x="34" y="9"/>
                    <a:pt x="34" y="9"/>
                  </a:cubicBezTo>
                  <a:cubicBezTo>
                    <a:pt x="37" y="5"/>
                    <a:pt x="42" y="3"/>
                    <a:pt x="48" y="3"/>
                  </a:cubicBezTo>
                  <a:moveTo>
                    <a:pt x="120" y="88"/>
                  </a:moveTo>
                  <a:cubicBezTo>
                    <a:pt x="120" y="72"/>
                    <a:pt x="107" y="58"/>
                    <a:pt x="90" y="58"/>
                  </a:cubicBezTo>
                  <a:cubicBezTo>
                    <a:pt x="83" y="58"/>
                    <a:pt x="77" y="61"/>
                    <a:pt x="72" y="64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2" y="61"/>
                    <a:pt x="62" y="61"/>
                    <a:pt x="62" y="60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5" y="52"/>
                    <a:pt x="68" y="48"/>
                    <a:pt x="70" y="42"/>
                  </a:cubicBezTo>
                  <a:cubicBezTo>
                    <a:pt x="73" y="41"/>
                    <a:pt x="75" y="38"/>
                    <a:pt x="75" y="34"/>
                  </a:cubicBezTo>
                  <a:cubicBezTo>
                    <a:pt x="75" y="30"/>
                    <a:pt x="73" y="27"/>
                    <a:pt x="71" y="26"/>
                  </a:cubicBezTo>
                  <a:cubicBezTo>
                    <a:pt x="71" y="22"/>
                    <a:pt x="70" y="13"/>
                    <a:pt x="64" y="6"/>
                  </a:cubicBezTo>
                  <a:cubicBezTo>
                    <a:pt x="60" y="2"/>
                    <a:pt x="54" y="0"/>
                    <a:pt x="48" y="0"/>
                  </a:cubicBezTo>
                  <a:cubicBezTo>
                    <a:pt x="41" y="0"/>
                    <a:pt x="36" y="2"/>
                    <a:pt x="32" y="6"/>
                  </a:cubicBezTo>
                  <a:cubicBezTo>
                    <a:pt x="25" y="13"/>
                    <a:pt x="25" y="22"/>
                    <a:pt x="25" y="26"/>
                  </a:cubicBezTo>
                  <a:cubicBezTo>
                    <a:pt x="22" y="27"/>
                    <a:pt x="20" y="30"/>
                    <a:pt x="20" y="34"/>
                  </a:cubicBezTo>
                  <a:cubicBezTo>
                    <a:pt x="20" y="38"/>
                    <a:pt x="23" y="41"/>
                    <a:pt x="26" y="42"/>
                  </a:cubicBezTo>
                  <a:cubicBezTo>
                    <a:pt x="27" y="48"/>
                    <a:pt x="30" y="52"/>
                    <a:pt x="34" y="55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ubicBezTo>
                    <a:pt x="33" y="62"/>
                    <a:pt x="32" y="62"/>
                    <a:pt x="32" y="62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5" y="67"/>
                    <a:pt x="13" y="68"/>
                    <a:pt x="11" y="70"/>
                  </a:cubicBezTo>
                  <a:cubicBezTo>
                    <a:pt x="7" y="72"/>
                    <a:pt x="5" y="76"/>
                    <a:pt x="4" y="81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0" y="99"/>
                    <a:pt x="1" y="100"/>
                    <a:pt x="1" y="100"/>
                  </a:cubicBezTo>
                  <a:cubicBezTo>
                    <a:pt x="2" y="101"/>
                    <a:pt x="2" y="101"/>
                    <a:pt x="3" y="101"/>
                  </a:cubicBezTo>
                  <a:cubicBezTo>
                    <a:pt x="63" y="101"/>
                    <a:pt x="63" y="101"/>
                    <a:pt x="63" y="101"/>
                  </a:cubicBezTo>
                  <a:cubicBezTo>
                    <a:pt x="68" y="112"/>
                    <a:pt x="78" y="119"/>
                    <a:pt x="90" y="119"/>
                  </a:cubicBezTo>
                  <a:cubicBezTo>
                    <a:pt x="107" y="119"/>
                    <a:pt x="120" y="105"/>
                    <a:pt x="120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27FAD44B-A4AD-41B2-86AA-9F0788A00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2" y="669"/>
              <a:ext cx="74" cy="71"/>
            </a:xfrm>
            <a:custGeom>
              <a:avLst/>
              <a:gdLst>
                <a:gd name="T0" fmla="*/ 25 w 29"/>
                <a:gd name="T1" fmla="*/ 24 h 28"/>
                <a:gd name="T2" fmla="*/ 22 w 29"/>
                <a:gd name="T3" fmla="*/ 24 h 28"/>
                <a:gd name="T4" fmla="*/ 13 w 29"/>
                <a:gd name="T5" fmla="*/ 15 h 28"/>
                <a:gd name="T6" fmla="*/ 15 w 29"/>
                <a:gd name="T7" fmla="*/ 12 h 28"/>
                <a:gd name="T8" fmla="*/ 25 w 29"/>
                <a:gd name="T9" fmla="*/ 21 h 28"/>
                <a:gd name="T10" fmla="*/ 25 w 29"/>
                <a:gd name="T11" fmla="*/ 24 h 28"/>
                <a:gd name="T12" fmla="*/ 27 w 29"/>
                <a:gd name="T13" fmla="*/ 19 h 28"/>
                <a:gd name="T14" fmla="*/ 18 w 29"/>
                <a:gd name="T15" fmla="*/ 9 h 28"/>
                <a:gd name="T16" fmla="*/ 22 w 29"/>
                <a:gd name="T17" fmla="*/ 1 h 28"/>
                <a:gd name="T18" fmla="*/ 19 w 29"/>
                <a:gd name="T19" fmla="*/ 0 h 28"/>
                <a:gd name="T20" fmla="*/ 0 w 29"/>
                <a:gd name="T21" fmla="*/ 18 h 28"/>
                <a:gd name="T22" fmla="*/ 1 w 29"/>
                <a:gd name="T23" fmla="*/ 21 h 28"/>
                <a:gd name="T24" fmla="*/ 10 w 29"/>
                <a:gd name="T25" fmla="*/ 17 h 28"/>
                <a:gd name="T26" fmla="*/ 19 w 29"/>
                <a:gd name="T27" fmla="*/ 26 h 28"/>
                <a:gd name="T28" fmla="*/ 23 w 29"/>
                <a:gd name="T29" fmla="*/ 28 h 28"/>
                <a:gd name="T30" fmla="*/ 27 w 29"/>
                <a:gd name="T31" fmla="*/ 26 h 28"/>
                <a:gd name="T32" fmla="*/ 27 w 29"/>
                <a:gd name="T33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28">
                  <a:moveTo>
                    <a:pt x="25" y="24"/>
                  </a:moveTo>
                  <a:cubicBezTo>
                    <a:pt x="24" y="25"/>
                    <a:pt x="22" y="25"/>
                    <a:pt x="22" y="2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4"/>
                    <a:pt x="14" y="13"/>
                    <a:pt x="15" y="12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2"/>
                    <a:pt x="25" y="23"/>
                    <a:pt x="25" y="24"/>
                  </a:cubicBezTo>
                  <a:moveTo>
                    <a:pt x="27" y="19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9" y="7"/>
                    <a:pt x="21" y="4"/>
                    <a:pt x="22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6" y="8"/>
                    <a:pt x="9" y="15"/>
                    <a:pt x="0" y="18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7" y="19"/>
                    <a:pt x="10" y="1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2" y="28"/>
                    <a:pt x="23" y="28"/>
                  </a:cubicBezTo>
                  <a:cubicBezTo>
                    <a:pt x="25" y="28"/>
                    <a:pt x="26" y="27"/>
                    <a:pt x="27" y="26"/>
                  </a:cubicBezTo>
                  <a:cubicBezTo>
                    <a:pt x="29" y="24"/>
                    <a:pt x="29" y="21"/>
                    <a:pt x="27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0">
            <a:extLst>
              <a:ext uri="{FF2B5EF4-FFF2-40B4-BE49-F238E27FC236}">
                <a16:creationId xmlns:a16="http://schemas.microsoft.com/office/drawing/2014/main" id="{DF80ACBC-EC83-41C3-9076-C721C13B65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5374" y="342107"/>
            <a:ext cx="758825" cy="758825"/>
            <a:chOff x="3684" y="383"/>
            <a:chExt cx="478" cy="478"/>
          </a:xfrm>
        </p:grpSpPr>
        <p:sp>
          <p:nvSpPr>
            <p:cNvPr id="48" name="AutoShape 39">
              <a:extLst>
                <a:ext uri="{FF2B5EF4-FFF2-40B4-BE49-F238E27FC236}">
                  <a16:creationId xmlns:a16="http://schemas.microsoft.com/office/drawing/2014/main" id="{6C99B76F-9788-4E61-BD4E-A5764117584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4" y="38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3E554E9D-35A8-4782-8D2D-A9A588B12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" y="38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D1E078FD-885A-4D27-9813-F07A1849E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564"/>
              <a:ext cx="47" cy="79"/>
            </a:xfrm>
            <a:custGeom>
              <a:avLst/>
              <a:gdLst>
                <a:gd name="T0" fmla="*/ 4 w 19"/>
                <a:gd name="T1" fmla="*/ 23 h 32"/>
                <a:gd name="T2" fmla="*/ 19 w 19"/>
                <a:gd name="T3" fmla="*/ 4 h 32"/>
                <a:gd name="T4" fmla="*/ 18 w 19"/>
                <a:gd name="T5" fmla="*/ 0 h 32"/>
                <a:gd name="T6" fmla="*/ 0 w 19"/>
                <a:gd name="T7" fmla="*/ 23 h 32"/>
                <a:gd name="T8" fmla="*/ 2 w 19"/>
                <a:gd name="T9" fmla="*/ 32 h 32"/>
                <a:gd name="T10" fmla="*/ 5 w 19"/>
                <a:gd name="T11" fmla="*/ 31 h 32"/>
                <a:gd name="T12" fmla="*/ 4 w 19"/>
                <a:gd name="T13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2">
                  <a:moveTo>
                    <a:pt x="4" y="23"/>
                  </a:moveTo>
                  <a:cubicBezTo>
                    <a:pt x="4" y="14"/>
                    <a:pt x="10" y="6"/>
                    <a:pt x="19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3"/>
                    <a:pt x="1" y="12"/>
                    <a:pt x="0" y="23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4" y="28"/>
                    <a:pt x="3" y="26"/>
                    <a:pt x="4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2371320B-239C-4F7C-A0AA-286F8FF6F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" y="559"/>
              <a:ext cx="59" cy="106"/>
            </a:xfrm>
            <a:custGeom>
              <a:avLst/>
              <a:gdLst>
                <a:gd name="T0" fmla="*/ 23 w 24"/>
                <a:gd name="T1" fmla="*/ 24 h 43"/>
                <a:gd name="T2" fmla="*/ 23 w 24"/>
                <a:gd name="T3" fmla="*/ 0 h 43"/>
                <a:gd name="T4" fmla="*/ 20 w 24"/>
                <a:gd name="T5" fmla="*/ 0 h 43"/>
                <a:gd name="T6" fmla="*/ 20 w 24"/>
                <a:gd name="T7" fmla="*/ 24 h 43"/>
                <a:gd name="T8" fmla="*/ 19 w 24"/>
                <a:gd name="T9" fmla="*/ 26 h 43"/>
                <a:gd name="T10" fmla="*/ 0 w 24"/>
                <a:gd name="T11" fmla="*/ 40 h 43"/>
                <a:gd name="T12" fmla="*/ 2 w 24"/>
                <a:gd name="T13" fmla="*/ 43 h 43"/>
                <a:gd name="T14" fmla="*/ 21 w 24"/>
                <a:gd name="T15" fmla="*/ 29 h 43"/>
                <a:gd name="T16" fmla="*/ 22 w 24"/>
                <a:gd name="T17" fmla="*/ 29 h 43"/>
                <a:gd name="T18" fmla="*/ 24 w 24"/>
                <a:gd name="T19" fmla="*/ 26 h 43"/>
                <a:gd name="T20" fmla="*/ 23 w 24"/>
                <a:gd name="T2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43">
                  <a:moveTo>
                    <a:pt x="23" y="24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9" y="25"/>
                    <a:pt x="19" y="2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3" y="29"/>
                    <a:pt x="24" y="28"/>
                    <a:pt x="24" y="26"/>
                  </a:cubicBezTo>
                  <a:cubicBezTo>
                    <a:pt x="24" y="25"/>
                    <a:pt x="24" y="24"/>
                    <a:pt x="23" y="2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29770A3B-5589-49F1-B2D9-08EC41E17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4" y="520"/>
              <a:ext cx="208" cy="206"/>
            </a:xfrm>
            <a:custGeom>
              <a:avLst/>
              <a:gdLst>
                <a:gd name="T0" fmla="*/ 44 w 85"/>
                <a:gd name="T1" fmla="*/ 81 h 84"/>
                <a:gd name="T2" fmla="*/ 44 w 85"/>
                <a:gd name="T3" fmla="*/ 77 h 84"/>
                <a:gd name="T4" fmla="*/ 41 w 85"/>
                <a:gd name="T5" fmla="*/ 77 h 84"/>
                <a:gd name="T6" fmla="*/ 41 w 85"/>
                <a:gd name="T7" fmla="*/ 81 h 84"/>
                <a:gd name="T8" fmla="*/ 4 w 85"/>
                <a:gd name="T9" fmla="*/ 44 h 84"/>
                <a:gd name="T10" fmla="*/ 8 w 85"/>
                <a:gd name="T11" fmla="*/ 44 h 84"/>
                <a:gd name="T12" fmla="*/ 8 w 85"/>
                <a:gd name="T13" fmla="*/ 40 h 84"/>
                <a:gd name="T14" fmla="*/ 4 w 85"/>
                <a:gd name="T15" fmla="*/ 40 h 84"/>
                <a:gd name="T16" fmla="*/ 41 w 85"/>
                <a:gd name="T17" fmla="*/ 3 h 84"/>
                <a:gd name="T18" fmla="*/ 41 w 85"/>
                <a:gd name="T19" fmla="*/ 7 h 84"/>
                <a:gd name="T20" fmla="*/ 44 w 85"/>
                <a:gd name="T21" fmla="*/ 7 h 84"/>
                <a:gd name="T22" fmla="*/ 44 w 85"/>
                <a:gd name="T23" fmla="*/ 3 h 84"/>
                <a:gd name="T24" fmla="*/ 82 w 85"/>
                <a:gd name="T25" fmla="*/ 40 h 84"/>
                <a:gd name="T26" fmla="*/ 78 w 85"/>
                <a:gd name="T27" fmla="*/ 40 h 84"/>
                <a:gd name="T28" fmla="*/ 78 w 85"/>
                <a:gd name="T29" fmla="*/ 44 h 84"/>
                <a:gd name="T30" fmla="*/ 82 w 85"/>
                <a:gd name="T31" fmla="*/ 44 h 84"/>
                <a:gd name="T32" fmla="*/ 44 w 85"/>
                <a:gd name="T33" fmla="*/ 81 h 84"/>
                <a:gd name="T34" fmla="*/ 43 w 85"/>
                <a:gd name="T35" fmla="*/ 0 h 84"/>
                <a:gd name="T36" fmla="*/ 0 w 85"/>
                <a:gd name="T37" fmla="*/ 42 h 84"/>
                <a:gd name="T38" fmla="*/ 43 w 85"/>
                <a:gd name="T39" fmla="*/ 84 h 84"/>
                <a:gd name="T40" fmla="*/ 85 w 85"/>
                <a:gd name="T41" fmla="*/ 42 h 84"/>
                <a:gd name="T42" fmla="*/ 43 w 85"/>
                <a:gd name="T4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4">
                  <a:moveTo>
                    <a:pt x="44" y="81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21" y="80"/>
                    <a:pt x="5" y="64"/>
                    <a:pt x="4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20"/>
                    <a:pt x="21" y="4"/>
                    <a:pt x="41" y="3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64" y="4"/>
                    <a:pt x="81" y="20"/>
                    <a:pt x="82" y="40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1" y="64"/>
                    <a:pt x="64" y="80"/>
                    <a:pt x="44" y="81"/>
                  </a:cubicBezTo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3" y="84"/>
                  </a:cubicBezTo>
                  <a:cubicBezTo>
                    <a:pt x="66" y="84"/>
                    <a:pt x="85" y="65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098500C2-5F34-4FBD-9E53-2B02E948DF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7" y="469"/>
              <a:ext cx="329" cy="309"/>
            </a:xfrm>
            <a:custGeom>
              <a:avLst/>
              <a:gdLst>
                <a:gd name="T0" fmla="*/ 121 w 134"/>
                <a:gd name="T1" fmla="*/ 77 h 126"/>
                <a:gd name="T2" fmla="*/ 123 w 134"/>
                <a:gd name="T3" fmla="*/ 77 h 126"/>
                <a:gd name="T4" fmla="*/ 121 w 134"/>
                <a:gd name="T5" fmla="*/ 78 h 126"/>
                <a:gd name="T6" fmla="*/ 121 w 134"/>
                <a:gd name="T7" fmla="*/ 77 h 126"/>
                <a:gd name="T8" fmla="*/ 132 w 134"/>
                <a:gd name="T9" fmla="*/ 73 h 126"/>
                <a:gd name="T10" fmla="*/ 124 w 134"/>
                <a:gd name="T11" fmla="*/ 77 h 126"/>
                <a:gd name="T12" fmla="*/ 125 w 134"/>
                <a:gd name="T13" fmla="*/ 63 h 126"/>
                <a:gd name="T14" fmla="*/ 63 w 134"/>
                <a:gd name="T15" fmla="*/ 0 h 126"/>
                <a:gd name="T16" fmla="*/ 0 w 134"/>
                <a:gd name="T17" fmla="*/ 63 h 126"/>
                <a:gd name="T18" fmla="*/ 63 w 134"/>
                <a:gd name="T19" fmla="*/ 126 h 126"/>
                <a:gd name="T20" fmla="*/ 81 w 134"/>
                <a:gd name="T21" fmla="*/ 123 h 126"/>
                <a:gd name="T22" fmla="*/ 80 w 134"/>
                <a:gd name="T23" fmla="*/ 120 h 126"/>
                <a:gd name="T24" fmla="*/ 63 w 134"/>
                <a:gd name="T25" fmla="*/ 122 h 126"/>
                <a:gd name="T26" fmla="*/ 4 w 134"/>
                <a:gd name="T27" fmla="*/ 63 h 126"/>
                <a:gd name="T28" fmla="*/ 63 w 134"/>
                <a:gd name="T29" fmla="*/ 4 h 126"/>
                <a:gd name="T30" fmla="*/ 122 w 134"/>
                <a:gd name="T31" fmla="*/ 63 h 126"/>
                <a:gd name="T32" fmla="*/ 120 w 134"/>
                <a:gd name="T33" fmla="*/ 76 h 126"/>
                <a:gd name="T34" fmla="*/ 116 w 134"/>
                <a:gd name="T35" fmla="*/ 69 h 126"/>
                <a:gd name="T36" fmla="*/ 113 w 134"/>
                <a:gd name="T37" fmla="*/ 70 h 126"/>
                <a:gd name="T38" fmla="*/ 120 w 134"/>
                <a:gd name="T39" fmla="*/ 82 h 126"/>
                <a:gd name="T40" fmla="*/ 134 w 134"/>
                <a:gd name="T41" fmla="*/ 76 h 126"/>
                <a:gd name="T42" fmla="*/ 132 w 134"/>
                <a:gd name="T43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126">
                  <a:moveTo>
                    <a:pt x="121" y="77"/>
                  </a:moveTo>
                  <a:cubicBezTo>
                    <a:pt x="123" y="77"/>
                    <a:pt x="123" y="77"/>
                    <a:pt x="123" y="77"/>
                  </a:cubicBezTo>
                  <a:cubicBezTo>
                    <a:pt x="121" y="78"/>
                    <a:pt x="121" y="78"/>
                    <a:pt x="121" y="78"/>
                  </a:cubicBezTo>
                  <a:lnTo>
                    <a:pt x="121" y="77"/>
                  </a:lnTo>
                  <a:close/>
                  <a:moveTo>
                    <a:pt x="132" y="73"/>
                  </a:moveTo>
                  <a:cubicBezTo>
                    <a:pt x="124" y="77"/>
                    <a:pt x="124" y="77"/>
                    <a:pt x="124" y="77"/>
                  </a:cubicBezTo>
                  <a:cubicBezTo>
                    <a:pt x="125" y="72"/>
                    <a:pt x="125" y="68"/>
                    <a:pt x="125" y="63"/>
                  </a:cubicBezTo>
                  <a:cubicBezTo>
                    <a:pt x="125" y="29"/>
                    <a:pt x="97" y="0"/>
                    <a:pt x="63" y="0"/>
                  </a:cubicBezTo>
                  <a:cubicBezTo>
                    <a:pt x="28" y="0"/>
                    <a:pt x="0" y="29"/>
                    <a:pt x="0" y="63"/>
                  </a:cubicBezTo>
                  <a:cubicBezTo>
                    <a:pt x="0" y="97"/>
                    <a:pt x="28" y="126"/>
                    <a:pt x="63" y="126"/>
                  </a:cubicBezTo>
                  <a:cubicBezTo>
                    <a:pt x="69" y="126"/>
                    <a:pt x="75" y="125"/>
                    <a:pt x="81" y="123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74" y="121"/>
                    <a:pt x="69" y="122"/>
                    <a:pt x="63" y="122"/>
                  </a:cubicBezTo>
                  <a:cubicBezTo>
                    <a:pt x="30" y="122"/>
                    <a:pt x="4" y="96"/>
                    <a:pt x="4" y="63"/>
                  </a:cubicBezTo>
                  <a:cubicBezTo>
                    <a:pt x="4" y="30"/>
                    <a:pt x="30" y="4"/>
                    <a:pt x="63" y="4"/>
                  </a:cubicBezTo>
                  <a:cubicBezTo>
                    <a:pt x="95" y="4"/>
                    <a:pt x="122" y="30"/>
                    <a:pt x="122" y="63"/>
                  </a:cubicBezTo>
                  <a:cubicBezTo>
                    <a:pt x="122" y="68"/>
                    <a:pt x="121" y="72"/>
                    <a:pt x="120" y="7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34" y="76"/>
                    <a:pt x="134" y="76"/>
                    <a:pt x="134" y="76"/>
                  </a:cubicBezTo>
                  <a:lnTo>
                    <a:pt x="132" y="7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48">
            <a:extLst>
              <a:ext uri="{FF2B5EF4-FFF2-40B4-BE49-F238E27FC236}">
                <a16:creationId xmlns:a16="http://schemas.microsoft.com/office/drawing/2014/main" id="{D4C34AF3-323D-4C46-AFC0-0262595E2C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9537" y="300832"/>
            <a:ext cx="841375" cy="841375"/>
            <a:chOff x="3063" y="295"/>
            <a:chExt cx="530" cy="530"/>
          </a:xfrm>
        </p:grpSpPr>
        <p:sp>
          <p:nvSpPr>
            <p:cNvPr id="55" name="AutoShape 47">
              <a:extLst>
                <a:ext uri="{FF2B5EF4-FFF2-40B4-BE49-F238E27FC236}">
                  <a16:creationId xmlns:a16="http://schemas.microsoft.com/office/drawing/2014/main" id="{F67BDADE-8477-44C2-8785-5E472AB26B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3" y="2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49">
              <a:extLst>
                <a:ext uri="{FF2B5EF4-FFF2-40B4-BE49-F238E27FC236}">
                  <a16:creationId xmlns:a16="http://schemas.microsoft.com/office/drawing/2014/main" id="{2AFA96CE-BC9B-4739-91F0-371C6BF9A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3" y="2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34842026-64F2-439C-9508-BD0C93E4A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1" y="3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EE359E76-EF96-48A6-8646-82AF87768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" y="500"/>
              <a:ext cx="49" cy="82"/>
            </a:xfrm>
            <a:custGeom>
              <a:avLst/>
              <a:gdLst>
                <a:gd name="T0" fmla="*/ 4 w 19"/>
                <a:gd name="T1" fmla="*/ 23 h 32"/>
                <a:gd name="T2" fmla="*/ 19 w 19"/>
                <a:gd name="T3" fmla="*/ 4 h 32"/>
                <a:gd name="T4" fmla="*/ 18 w 19"/>
                <a:gd name="T5" fmla="*/ 0 h 32"/>
                <a:gd name="T6" fmla="*/ 0 w 19"/>
                <a:gd name="T7" fmla="*/ 23 h 32"/>
                <a:gd name="T8" fmla="*/ 2 w 19"/>
                <a:gd name="T9" fmla="*/ 32 h 32"/>
                <a:gd name="T10" fmla="*/ 5 w 19"/>
                <a:gd name="T11" fmla="*/ 31 h 32"/>
                <a:gd name="T12" fmla="*/ 4 w 19"/>
                <a:gd name="T13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2">
                  <a:moveTo>
                    <a:pt x="4" y="23"/>
                  </a:moveTo>
                  <a:cubicBezTo>
                    <a:pt x="4" y="14"/>
                    <a:pt x="10" y="6"/>
                    <a:pt x="19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3"/>
                    <a:pt x="1" y="12"/>
                    <a:pt x="0" y="23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4" y="28"/>
                    <a:pt x="3" y="26"/>
                    <a:pt x="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66CF4777-8C48-4CF8-B442-409AA4E1B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" y="495"/>
              <a:ext cx="61" cy="110"/>
            </a:xfrm>
            <a:custGeom>
              <a:avLst/>
              <a:gdLst>
                <a:gd name="T0" fmla="*/ 23 w 24"/>
                <a:gd name="T1" fmla="*/ 24 h 43"/>
                <a:gd name="T2" fmla="*/ 23 w 24"/>
                <a:gd name="T3" fmla="*/ 0 h 43"/>
                <a:gd name="T4" fmla="*/ 20 w 24"/>
                <a:gd name="T5" fmla="*/ 0 h 43"/>
                <a:gd name="T6" fmla="*/ 20 w 24"/>
                <a:gd name="T7" fmla="*/ 24 h 43"/>
                <a:gd name="T8" fmla="*/ 19 w 24"/>
                <a:gd name="T9" fmla="*/ 26 h 43"/>
                <a:gd name="T10" fmla="*/ 0 w 24"/>
                <a:gd name="T11" fmla="*/ 40 h 43"/>
                <a:gd name="T12" fmla="*/ 2 w 24"/>
                <a:gd name="T13" fmla="*/ 43 h 43"/>
                <a:gd name="T14" fmla="*/ 21 w 24"/>
                <a:gd name="T15" fmla="*/ 29 h 43"/>
                <a:gd name="T16" fmla="*/ 22 w 24"/>
                <a:gd name="T17" fmla="*/ 29 h 43"/>
                <a:gd name="T18" fmla="*/ 24 w 24"/>
                <a:gd name="T19" fmla="*/ 26 h 43"/>
                <a:gd name="T20" fmla="*/ 23 w 24"/>
                <a:gd name="T2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43">
                  <a:moveTo>
                    <a:pt x="23" y="24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9" y="25"/>
                    <a:pt x="19" y="2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3" y="29"/>
                    <a:pt x="24" y="28"/>
                    <a:pt x="24" y="26"/>
                  </a:cubicBezTo>
                  <a:cubicBezTo>
                    <a:pt x="24" y="25"/>
                    <a:pt x="24" y="24"/>
                    <a:pt x="23" y="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02135152-149F-46A0-8891-174C80AB54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4" y="454"/>
              <a:ext cx="218" cy="215"/>
            </a:xfrm>
            <a:custGeom>
              <a:avLst/>
              <a:gdLst>
                <a:gd name="T0" fmla="*/ 44 w 85"/>
                <a:gd name="T1" fmla="*/ 81 h 84"/>
                <a:gd name="T2" fmla="*/ 44 w 85"/>
                <a:gd name="T3" fmla="*/ 77 h 84"/>
                <a:gd name="T4" fmla="*/ 41 w 85"/>
                <a:gd name="T5" fmla="*/ 77 h 84"/>
                <a:gd name="T6" fmla="*/ 41 w 85"/>
                <a:gd name="T7" fmla="*/ 81 h 84"/>
                <a:gd name="T8" fmla="*/ 4 w 85"/>
                <a:gd name="T9" fmla="*/ 44 h 84"/>
                <a:gd name="T10" fmla="*/ 8 w 85"/>
                <a:gd name="T11" fmla="*/ 44 h 84"/>
                <a:gd name="T12" fmla="*/ 8 w 85"/>
                <a:gd name="T13" fmla="*/ 40 h 84"/>
                <a:gd name="T14" fmla="*/ 4 w 85"/>
                <a:gd name="T15" fmla="*/ 40 h 84"/>
                <a:gd name="T16" fmla="*/ 41 w 85"/>
                <a:gd name="T17" fmla="*/ 3 h 84"/>
                <a:gd name="T18" fmla="*/ 41 w 85"/>
                <a:gd name="T19" fmla="*/ 7 h 84"/>
                <a:gd name="T20" fmla="*/ 44 w 85"/>
                <a:gd name="T21" fmla="*/ 7 h 84"/>
                <a:gd name="T22" fmla="*/ 44 w 85"/>
                <a:gd name="T23" fmla="*/ 3 h 84"/>
                <a:gd name="T24" fmla="*/ 82 w 85"/>
                <a:gd name="T25" fmla="*/ 40 h 84"/>
                <a:gd name="T26" fmla="*/ 78 w 85"/>
                <a:gd name="T27" fmla="*/ 40 h 84"/>
                <a:gd name="T28" fmla="*/ 78 w 85"/>
                <a:gd name="T29" fmla="*/ 44 h 84"/>
                <a:gd name="T30" fmla="*/ 82 w 85"/>
                <a:gd name="T31" fmla="*/ 44 h 84"/>
                <a:gd name="T32" fmla="*/ 44 w 85"/>
                <a:gd name="T33" fmla="*/ 81 h 84"/>
                <a:gd name="T34" fmla="*/ 43 w 85"/>
                <a:gd name="T35" fmla="*/ 0 h 84"/>
                <a:gd name="T36" fmla="*/ 0 w 85"/>
                <a:gd name="T37" fmla="*/ 42 h 84"/>
                <a:gd name="T38" fmla="*/ 43 w 85"/>
                <a:gd name="T39" fmla="*/ 84 h 84"/>
                <a:gd name="T40" fmla="*/ 85 w 85"/>
                <a:gd name="T41" fmla="*/ 42 h 84"/>
                <a:gd name="T42" fmla="*/ 43 w 85"/>
                <a:gd name="T4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4">
                  <a:moveTo>
                    <a:pt x="44" y="81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21" y="80"/>
                    <a:pt x="5" y="64"/>
                    <a:pt x="4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20"/>
                    <a:pt x="21" y="4"/>
                    <a:pt x="41" y="3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64" y="4"/>
                    <a:pt x="81" y="20"/>
                    <a:pt x="82" y="40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1" y="64"/>
                    <a:pt x="64" y="80"/>
                    <a:pt x="44" y="81"/>
                  </a:cubicBezTo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3" y="84"/>
                  </a:cubicBezTo>
                  <a:cubicBezTo>
                    <a:pt x="66" y="84"/>
                    <a:pt x="85" y="65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5828FCBE-A762-4511-9EF7-043CAF095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5" y="400"/>
              <a:ext cx="343" cy="322"/>
            </a:xfrm>
            <a:custGeom>
              <a:avLst/>
              <a:gdLst>
                <a:gd name="T0" fmla="*/ 121 w 134"/>
                <a:gd name="T1" fmla="*/ 77 h 126"/>
                <a:gd name="T2" fmla="*/ 123 w 134"/>
                <a:gd name="T3" fmla="*/ 77 h 126"/>
                <a:gd name="T4" fmla="*/ 121 w 134"/>
                <a:gd name="T5" fmla="*/ 78 h 126"/>
                <a:gd name="T6" fmla="*/ 121 w 134"/>
                <a:gd name="T7" fmla="*/ 77 h 126"/>
                <a:gd name="T8" fmla="*/ 132 w 134"/>
                <a:gd name="T9" fmla="*/ 73 h 126"/>
                <a:gd name="T10" fmla="*/ 124 w 134"/>
                <a:gd name="T11" fmla="*/ 77 h 126"/>
                <a:gd name="T12" fmla="*/ 125 w 134"/>
                <a:gd name="T13" fmla="*/ 63 h 126"/>
                <a:gd name="T14" fmla="*/ 63 w 134"/>
                <a:gd name="T15" fmla="*/ 0 h 126"/>
                <a:gd name="T16" fmla="*/ 0 w 134"/>
                <a:gd name="T17" fmla="*/ 63 h 126"/>
                <a:gd name="T18" fmla="*/ 63 w 134"/>
                <a:gd name="T19" fmla="*/ 126 h 126"/>
                <a:gd name="T20" fmla="*/ 81 w 134"/>
                <a:gd name="T21" fmla="*/ 123 h 126"/>
                <a:gd name="T22" fmla="*/ 80 w 134"/>
                <a:gd name="T23" fmla="*/ 120 h 126"/>
                <a:gd name="T24" fmla="*/ 63 w 134"/>
                <a:gd name="T25" fmla="*/ 122 h 126"/>
                <a:gd name="T26" fmla="*/ 4 w 134"/>
                <a:gd name="T27" fmla="*/ 63 h 126"/>
                <a:gd name="T28" fmla="*/ 63 w 134"/>
                <a:gd name="T29" fmla="*/ 4 h 126"/>
                <a:gd name="T30" fmla="*/ 122 w 134"/>
                <a:gd name="T31" fmla="*/ 63 h 126"/>
                <a:gd name="T32" fmla="*/ 120 w 134"/>
                <a:gd name="T33" fmla="*/ 76 h 126"/>
                <a:gd name="T34" fmla="*/ 116 w 134"/>
                <a:gd name="T35" fmla="*/ 69 h 126"/>
                <a:gd name="T36" fmla="*/ 113 w 134"/>
                <a:gd name="T37" fmla="*/ 70 h 126"/>
                <a:gd name="T38" fmla="*/ 120 w 134"/>
                <a:gd name="T39" fmla="*/ 82 h 126"/>
                <a:gd name="T40" fmla="*/ 134 w 134"/>
                <a:gd name="T41" fmla="*/ 76 h 126"/>
                <a:gd name="T42" fmla="*/ 132 w 134"/>
                <a:gd name="T43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126">
                  <a:moveTo>
                    <a:pt x="121" y="77"/>
                  </a:moveTo>
                  <a:cubicBezTo>
                    <a:pt x="123" y="77"/>
                    <a:pt x="123" y="77"/>
                    <a:pt x="123" y="77"/>
                  </a:cubicBezTo>
                  <a:cubicBezTo>
                    <a:pt x="121" y="78"/>
                    <a:pt x="121" y="78"/>
                    <a:pt x="121" y="78"/>
                  </a:cubicBezTo>
                  <a:lnTo>
                    <a:pt x="121" y="77"/>
                  </a:lnTo>
                  <a:close/>
                  <a:moveTo>
                    <a:pt x="132" y="73"/>
                  </a:moveTo>
                  <a:cubicBezTo>
                    <a:pt x="124" y="77"/>
                    <a:pt x="124" y="77"/>
                    <a:pt x="124" y="77"/>
                  </a:cubicBezTo>
                  <a:cubicBezTo>
                    <a:pt x="125" y="72"/>
                    <a:pt x="125" y="68"/>
                    <a:pt x="125" y="63"/>
                  </a:cubicBezTo>
                  <a:cubicBezTo>
                    <a:pt x="125" y="29"/>
                    <a:pt x="97" y="0"/>
                    <a:pt x="63" y="0"/>
                  </a:cubicBezTo>
                  <a:cubicBezTo>
                    <a:pt x="28" y="0"/>
                    <a:pt x="0" y="29"/>
                    <a:pt x="0" y="63"/>
                  </a:cubicBezTo>
                  <a:cubicBezTo>
                    <a:pt x="0" y="97"/>
                    <a:pt x="28" y="126"/>
                    <a:pt x="63" y="126"/>
                  </a:cubicBezTo>
                  <a:cubicBezTo>
                    <a:pt x="69" y="126"/>
                    <a:pt x="75" y="125"/>
                    <a:pt x="81" y="123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74" y="121"/>
                    <a:pt x="69" y="122"/>
                    <a:pt x="63" y="122"/>
                  </a:cubicBezTo>
                  <a:cubicBezTo>
                    <a:pt x="30" y="122"/>
                    <a:pt x="4" y="96"/>
                    <a:pt x="4" y="63"/>
                  </a:cubicBezTo>
                  <a:cubicBezTo>
                    <a:pt x="4" y="30"/>
                    <a:pt x="30" y="4"/>
                    <a:pt x="63" y="4"/>
                  </a:cubicBezTo>
                  <a:cubicBezTo>
                    <a:pt x="95" y="4"/>
                    <a:pt x="122" y="30"/>
                    <a:pt x="122" y="63"/>
                  </a:cubicBezTo>
                  <a:cubicBezTo>
                    <a:pt x="122" y="68"/>
                    <a:pt x="121" y="72"/>
                    <a:pt x="120" y="7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34" y="76"/>
                    <a:pt x="134" y="76"/>
                    <a:pt x="134" y="76"/>
                  </a:cubicBezTo>
                  <a:lnTo>
                    <a:pt x="132" y="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57">
            <a:extLst>
              <a:ext uri="{FF2B5EF4-FFF2-40B4-BE49-F238E27FC236}">
                <a16:creationId xmlns:a16="http://schemas.microsoft.com/office/drawing/2014/main" id="{7399CA1C-4DBD-4E9C-83CC-7D74C307F5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5897" y="346869"/>
            <a:ext cx="758825" cy="758825"/>
            <a:chOff x="5198" y="458"/>
            <a:chExt cx="478" cy="478"/>
          </a:xfrm>
        </p:grpSpPr>
        <p:sp>
          <p:nvSpPr>
            <p:cNvPr id="67" name="AutoShape 56">
              <a:extLst>
                <a:ext uri="{FF2B5EF4-FFF2-40B4-BE49-F238E27FC236}">
                  <a16:creationId xmlns:a16="http://schemas.microsoft.com/office/drawing/2014/main" id="{489F86D4-DB6C-4590-887F-DAE61D9BDE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98" y="45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605B73F-D9BC-4394-9EEA-99E5088AB3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0" y="46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9">
              <a:extLst>
                <a:ext uri="{FF2B5EF4-FFF2-40B4-BE49-F238E27FC236}">
                  <a16:creationId xmlns:a16="http://schemas.microsoft.com/office/drawing/2014/main" id="{98F41151-CDE7-4C50-8362-CF578ABB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" y="556"/>
              <a:ext cx="98" cy="284"/>
            </a:xfrm>
            <a:custGeom>
              <a:avLst/>
              <a:gdLst>
                <a:gd name="T0" fmla="*/ 32 w 98"/>
                <a:gd name="T1" fmla="*/ 5 h 284"/>
                <a:gd name="T2" fmla="*/ 17 w 98"/>
                <a:gd name="T3" fmla="*/ 12 h 284"/>
                <a:gd name="T4" fmla="*/ 8 w 98"/>
                <a:gd name="T5" fmla="*/ 25 h 284"/>
                <a:gd name="T6" fmla="*/ 3 w 98"/>
                <a:gd name="T7" fmla="*/ 42 h 284"/>
                <a:gd name="T8" fmla="*/ 0 w 98"/>
                <a:gd name="T9" fmla="*/ 184 h 284"/>
                <a:gd name="T10" fmla="*/ 5 w 98"/>
                <a:gd name="T11" fmla="*/ 186 h 284"/>
                <a:gd name="T12" fmla="*/ 10 w 98"/>
                <a:gd name="T13" fmla="*/ 181 h 284"/>
                <a:gd name="T14" fmla="*/ 12 w 98"/>
                <a:gd name="T15" fmla="*/ 39 h 284"/>
                <a:gd name="T16" fmla="*/ 17 w 98"/>
                <a:gd name="T17" fmla="*/ 27 h 284"/>
                <a:gd name="T18" fmla="*/ 27 w 98"/>
                <a:gd name="T19" fmla="*/ 17 h 284"/>
                <a:gd name="T20" fmla="*/ 39 w 98"/>
                <a:gd name="T21" fmla="*/ 12 h 284"/>
                <a:gd name="T22" fmla="*/ 54 w 98"/>
                <a:gd name="T23" fmla="*/ 10 h 284"/>
                <a:gd name="T24" fmla="*/ 66 w 98"/>
                <a:gd name="T25" fmla="*/ 15 h 284"/>
                <a:gd name="T26" fmla="*/ 76 w 98"/>
                <a:gd name="T27" fmla="*/ 22 h 284"/>
                <a:gd name="T28" fmla="*/ 84 w 98"/>
                <a:gd name="T29" fmla="*/ 34 h 284"/>
                <a:gd name="T30" fmla="*/ 88 w 98"/>
                <a:gd name="T31" fmla="*/ 47 h 284"/>
                <a:gd name="T32" fmla="*/ 88 w 98"/>
                <a:gd name="T33" fmla="*/ 250 h 284"/>
                <a:gd name="T34" fmla="*/ 84 w 98"/>
                <a:gd name="T35" fmla="*/ 260 h 284"/>
                <a:gd name="T36" fmla="*/ 79 w 98"/>
                <a:gd name="T37" fmla="*/ 267 h 284"/>
                <a:gd name="T38" fmla="*/ 69 w 98"/>
                <a:gd name="T39" fmla="*/ 272 h 284"/>
                <a:gd name="T40" fmla="*/ 59 w 98"/>
                <a:gd name="T41" fmla="*/ 275 h 284"/>
                <a:gd name="T42" fmla="*/ 49 w 98"/>
                <a:gd name="T43" fmla="*/ 272 h 284"/>
                <a:gd name="T44" fmla="*/ 39 w 98"/>
                <a:gd name="T45" fmla="*/ 267 h 284"/>
                <a:gd name="T46" fmla="*/ 32 w 98"/>
                <a:gd name="T47" fmla="*/ 260 h 284"/>
                <a:gd name="T48" fmla="*/ 30 w 98"/>
                <a:gd name="T49" fmla="*/ 250 h 284"/>
                <a:gd name="T50" fmla="*/ 30 w 98"/>
                <a:gd name="T51" fmla="*/ 91 h 284"/>
                <a:gd name="T52" fmla="*/ 37 w 98"/>
                <a:gd name="T53" fmla="*/ 78 h 284"/>
                <a:gd name="T54" fmla="*/ 49 w 98"/>
                <a:gd name="T55" fmla="*/ 74 h 284"/>
                <a:gd name="T56" fmla="*/ 61 w 98"/>
                <a:gd name="T57" fmla="*/ 78 h 284"/>
                <a:gd name="T58" fmla="*/ 69 w 98"/>
                <a:gd name="T59" fmla="*/ 91 h 284"/>
                <a:gd name="T60" fmla="*/ 71 w 98"/>
                <a:gd name="T61" fmla="*/ 181 h 284"/>
                <a:gd name="T62" fmla="*/ 76 w 98"/>
                <a:gd name="T63" fmla="*/ 181 h 284"/>
                <a:gd name="T64" fmla="*/ 79 w 98"/>
                <a:gd name="T65" fmla="*/ 93 h 284"/>
                <a:gd name="T66" fmla="*/ 76 w 98"/>
                <a:gd name="T67" fmla="*/ 83 h 284"/>
                <a:gd name="T68" fmla="*/ 71 w 98"/>
                <a:gd name="T69" fmla="*/ 76 h 284"/>
                <a:gd name="T70" fmla="*/ 61 w 98"/>
                <a:gd name="T71" fmla="*/ 69 h 284"/>
                <a:gd name="T72" fmla="*/ 54 w 98"/>
                <a:gd name="T73" fmla="*/ 66 h 284"/>
                <a:gd name="T74" fmla="*/ 42 w 98"/>
                <a:gd name="T75" fmla="*/ 66 h 284"/>
                <a:gd name="T76" fmla="*/ 35 w 98"/>
                <a:gd name="T77" fmla="*/ 69 h 284"/>
                <a:gd name="T78" fmla="*/ 27 w 98"/>
                <a:gd name="T79" fmla="*/ 76 h 284"/>
                <a:gd name="T80" fmla="*/ 22 w 98"/>
                <a:gd name="T81" fmla="*/ 86 h 284"/>
                <a:gd name="T82" fmla="*/ 20 w 98"/>
                <a:gd name="T83" fmla="*/ 96 h 284"/>
                <a:gd name="T84" fmla="*/ 22 w 98"/>
                <a:gd name="T85" fmla="*/ 255 h 284"/>
                <a:gd name="T86" fmla="*/ 27 w 98"/>
                <a:gd name="T87" fmla="*/ 267 h 284"/>
                <a:gd name="T88" fmla="*/ 37 w 98"/>
                <a:gd name="T89" fmla="*/ 277 h 284"/>
                <a:gd name="T90" fmla="*/ 49 w 98"/>
                <a:gd name="T91" fmla="*/ 282 h 284"/>
                <a:gd name="T92" fmla="*/ 61 w 98"/>
                <a:gd name="T93" fmla="*/ 282 h 284"/>
                <a:gd name="T94" fmla="*/ 76 w 98"/>
                <a:gd name="T95" fmla="*/ 280 h 284"/>
                <a:gd name="T96" fmla="*/ 86 w 98"/>
                <a:gd name="T97" fmla="*/ 272 h 284"/>
                <a:gd name="T98" fmla="*/ 93 w 98"/>
                <a:gd name="T99" fmla="*/ 260 h 284"/>
                <a:gd name="T100" fmla="*/ 98 w 98"/>
                <a:gd name="T101" fmla="*/ 248 h 284"/>
                <a:gd name="T102" fmla="*/ 96 w 98"/>
                <a:gd name="T103" fmla="*/ 42 h 284"/>
                <a:gd name="T104" fmla="*/ 91 w 98"/>
                <a:gd name="T105" fmla="*/ 25 h 284"/>
                <a:gd name="T106" fmla="*/ 81 w 98"/>
                <a:gd name="T107" fmla="*/ 12 h 284"/>
                <a:gd name="T108" fmla="*/ 66 w 98"/>
                <a:gd name="T109" fmla="*/ 5 h 284"/>
                <a:gd name="T110" fmla="*/ 47 w 98"/>
                <a:gd name="T111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8" h="284">
                  <a:moveTo>
                    <a:pt x="47" y="0"/>
                  </a:moveTo>
                  <a:lnTo>
                    <a:pt x="44" y="2"/>
                  </a:lnTo>
                  <a:lnTo>
                    <a:pt x="42" y="2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2" y="5"/>
                  </a:lnTo>
                  <a:lnTo>
                    <a:pt x="30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2" y="10"/>
                  </a:lnTo>
                  <a:lnTo>
                    <a:pt x="20" y="12"/>
                  </a:lnTo>
                  <a:lnTo>
                    <a:pt x="17" y="12"/>
                  </a:lnTo>
                  <a:lnTo>
                    <a:pt x="17" y="15"/>
                  </a:lnTo>
                  <a:lnTo>
                    <a:pt x="15" y="15"/>
                  </a:lnTo>
                  <a:lnTo>
                    <a:pt x="12" y="17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5"/>
                  </a:lnTo>
                  <a:lnTo>
                    <a:pt x="8" y="27"/>
                  </a:lnTo>
                  <a:lnTo>
                    <a:pt x="5" y="29"/>
                  </a:lnTo>
                  <a:lnTo>
                    <a:pt x="5" y="32"/>
                  </a:lnTo>
                  <a:lnTo>
                    <a:pt x="5" y="34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181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3" y="184"/>
                  </a:lnTo>
                  <a:lnTo>
                    <a:pt x="3" y="186"/>
                  </a:lnTo>
                  <a:lnTo>
                    <a:pt x="3" y="186"/>
                  </a:lnTo>
                  <a:lnTo>
                    <a:pt x="3" y="186"/>
                  </a:lnTo>
                  <a:lnTo>
                    <a:pt x="5" y="186"/>
                  </a:lnTo>
                  <a:lnTo>
                    <a:pt x="5" y="186"/>
                  </a:lnTo>
                  <a:lnTo>
                    <a:pt x="5" y="186"/>
                  </a:lnTo>
                  <a:lnTo>
                    <a:pt x="8" y="186"/>
                  </a:lnTo>
                  <a:lnTo>
                    <a:pt x="8" y="186"/>
                  </a:lnTo>
                  <a:lnTo>
                    <a:pt x="8" y="186"/>
                  </a:lnTo>
                  <a:lnTo>
                    <a:pt x="10" y="184"/>
                  </a:lnTo>
                  <a:lnTo>
                    <a:pt x="10" y="184"/>
                  </a:lnTo>
                  <a:lnTo>
                    <a:pt x="10" y="184"/>
                  </a:lnTo>
                  <a:lnTo>
                    <a:pt x="10" y="181"/>
                  </a:lnTo>
                  <a:lnTo>
                    <a:pt x="10" y="52"/>
                  </a:lnTo>
                  <a:lnTo>
                    <a:pt x="10" y="49"/>
                  </a:lnTo>
                  <a:lnTo>
                    <a:pt x="10" y="47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12" y="34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2"/>
                  </a:lnTo>
                  <a:lnTo>
                    <a:pt x="22" y="20"/>
                  </a:lnTo>
                  <a:lnTo>
                    <a:pt x="25" y="20"/>
                  </a:lnTo>
                  <a:lnTo>
                    <a:pt x="25" y="17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5" y="15"/>
                  </a:lnTo>
                  <a:lnTo>
                    <a:pt x="35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7" y="10"/>
                  </a:lnTo>
                  <a:lnTo>
                    <a:pt x="49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7" y="12"/>
                  </a:lnTo>
                  <a:lnTo>
                    <a:pt x="59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4" y="29"/>
                  </a:lnTo>
                  <a:lnTo>
                    <a:pt x="84" y="32"/>
                  </a:lnTo>
                  <a:lnTo>
                    <a:pt x="84" y="34"/>
                  </a:lnTo>
                  <a:lnTo>
                    <a:pt x="86" y="34"/>
                  </a:lnTo>
                  <a:lnTo>
                    <a:pt x="86" y="37"/>
                  </a:lnTo>
                  <a:lnTo>
                    <a:pt x="86" y="39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7"/>
                  </a:lnTo>
                  <a:lnTo>
                    <a:pt x="88" y="49"/>
                  </a:lnTo>
                  <a:lnTo>
                    <a:pt x="88" y="52"/>
                  </a:lnTo>
                  <a:lnTo>
                    <a:pt x="88" y="243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8"/>
                  </a:lnTo>
                  <a:lnTo>
                    <a:pt x="88" y="250"/>
                  </a:lnTo>
                  <a:lnTo>
                    <a:pt x="88" y="250"/>
                  </a:lnTo>
                  <a:lnTo>
                    <a:pt x="88" y="253"/>
                  </a:lnTo>
                  <a:lnTo>
                    <a:pt x="86" y="253"/>
                  </a:lnTo>
                  <a:lnTo>
                    <a:pt x="86" y="255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4" y="260"/>
                  </a:lnTo>
                  <a:lnTo>
                    <a:pt x="84" y="260"/>
                  </a:lnTo>
                  <a:lnTo>
                    <a:pt x="84" y="262"/>
                  </a:lnTo>
                  <a:lnTo>
                    <a:pt x="81" y="262"/>
                  </a:lnTo>
                  <a:lnTo>
                    <a:pt x="81" y="265"/>
                  </a:lnTo>
                  <a:lnTo>
                    <a:pt x="79" y="265"/>
                  </a:lnTo>
                  <a:lnTo>
                    <a:pt x="79" y="267"/>
                  </a:lnTo>
                  <a:lnTo>
                    <a:pt x="79" y="267"/>
                  </a:lnTo>
                  <a:lnTo>
                    <a:pt x="76" y="267"/>
                  </a:lnTo>
                  <a:lnTo>
                    <a:pt x="76" y="270"/>
                  </a:lnTo>
                  <a:lnTo>
                    <a:pt x="74" y="270"/>
                  </a:lnTo>
                  <a:lnTo>
                    <a:pt x="74" y="270"/>
                  </a:lnTo>
                  <a:lnTo>
                    <a:pt x="71" y="272"/>
                  </a:lnTo>
                  <a:lnTo>
                    <a:pt x="71" y="272"/>
                  </a:lnTo>
                  <a:lnTo>
                    <a:pt x="69" y="272"/>
                  </a:lnTo>
                  <a:lnTo>
                    <a:pt x="66" y="272"/>
                  </a:lnTo>
                  <a:lnTo>
                    <a:pt x="66" y="272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1" y="275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7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5"/>
                  </a:lnTo>
                  <a:lnTo>
                    <a:pt x="52" y="272"/>
                  </a:lnTo>
                  <a:lnTo>
                    <a:pt x="49" y="272"/>
                  </a:lnTo>
                  <a:lnTo>
                    <a:pt x="49" y="272"/>
                  </a:lnTo>
                  <a:lnTo>
                    <a:pt x="47" y="272"/>
                  </a:lnTo>
                  <a:lnTo>
                    <a:pt x="44" y="272"/>
                  </a:lnTo>
                  <a:lnTo>
                    <a:pt x="44" y="270"/>
                  </a:lnTo>
                  <a:lnTo>
                    <a:pt x="42" y="270"/>
                  </a:lnTo>
                  <a:lnTo>
                    <a:pt x="42" y="270"/>
                  </a:lnTo>
                  <a:lnTo>
                    <a:pt x="39" y="267"/>
                  </a:lnTo>
                  <a:lnTo>
                    <a:pt x="39" y="267"/>
                  </a:lnTo>
                  <a:lnTo>
                    <a:pt x="39" y="267"/>
                  </a:lnTo>
                  <a:lnTo>
                    <a:pt x="37" y="265"/>
                  </a:lnTo>
                  <a:lnTo>
                    <a:pt x="37" y="265"/>
                  </a:lnTo>
                  <a:lnTo>
                    <a:pt x="35" y="262"/>
                  </a:lnTo>
                  <a:lnTo>
                    <a:pt x="35" y="262"/>
                  </a:lnTo>
                  <a:lnTo>
                    <a:pt x="35" y="260"/>
                  </a:lnTo>
                  <a:lnTo>
                    <a:pt x="32" y="260"/>
                  </a:lnTo>
                  <a:lnTo>
                    <a:pt x="32" y="257"/>
                  </a:lnTo>
                  <a:lnTo>
                    <a:pt x="32" y="257"/>
                  </a:lnTo>
                  <a:lnTo>
                    <a:pt x="30" y="255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0"/>
                  </a:lnTo>
                  <a:lnTo>
                    <a:pt x="30" y="250"/>
                  </a:lnTo>
                  <a:lnTo>
                    <a:pt x="30" y="248"/>
                  </a:lnTo>
                  <a:lnTo>
                    <a:pt x="30" y="245"/>
                  </a:lnTo>
                  <a:lnTo>
                    <a:pt x="27" y="245"/>
                  </a:lnTo>
                  <a:lnTo>
                    <a:pt x="27" y="243"/>
                  </a:lnTo>
                  <a:lnTo>
                    <a:pt x="27" y="96"/>
                  </a:lnTo>
                  <a:lnTo>
                    <a:pt x="30" y="93"/>
                  </a:lnTo>
                  <a:lnTo>
                    <a:pt x="30" y="91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5" y="81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9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4" y="74"/>
                  </a:lnTo>
                  <a:lnTo>
                    <a:pt x="47" y="74"/>
                  </a:lnTo>
                  <a:lnTo>
                    <a:pt x="49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76"/>
                  </a:lnTo>
                  <a:lnTo>
                    <a:pt x="57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78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9" y="88"/>
                  </a:lnTo>
                  <a:lnTo>
                    <a:pt x="69" y="91"/>
                  </a:lnTo>
                  <a:lnTo>
                    <a:pt x="69" y="93"/>
                  </a:lnTo>
                  <a:lnTo>
                    <a:pt x="69" y="9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71" y="181"/>
                  </a:lnTo>
                  <a:lnTo>
                    <a:pt x="71" y="184"/>
                  </a:lnTo>
                  <a:lnTo>
                    <a:pt x="71" y="184"/>
                  </a:lnTo>
                  <a:lnTo>
                    <a:pt x="74" y="184"/>
                  </a:lnTo>
                  <a:lnTo>
                    <a:pt x="74" y="184"/>
                  </a:lnTo>
                  <a:lnTo>
                    <a:pt x="76" y="184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9" y="181"/>
                  </a:lnTo>
                  <a:lnTo>
                    <a:pt x="79" y="179"/>
                  </a:lnTo>
                  <a:lnTo>
                    <a:pt x="79" y="179"/>
                  </a:lnTo>
                  <a:lnTo>
                    <a:pt x="79" y="96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3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4" y="71"/>
                  </a:lnTo>
                  <a:lnTo>
                    <a:pt x="64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2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4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5" y="76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3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0" y="93"/>
                  </a:lnTo>
                  <a:lnTo>
                    <a:pt x="20" y="96"/>
                  </a:lnTo>
                  <a:lnTo>
                    <a:pt x="20" y="243"/>
                  </a:lnTo>
                  <a:lnTo>
                    <a:pt x="20" y="245"/>
                  </a:lnTo>
                  <a:lnTo>
                    <a:pt x="20" y="248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3"/>
                  </a:lnTo>
                  <a:lnTo>
                    <a:pt x="22" y="255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2" y="260"/>
                  </a:lnTo>
                  <a:lnTo>
                    <a:pt x="25" y="262"/>
                  </a:lnTo>
                  <a:lnTo>
                    <a:pt x="25" y="265"/>
                  </a:lnTo>
                  <a:lnTo>
                    <a:pt x="27" y="265"/>
                  </a:lnTo>
                  <a:lnTo>
                    <a:pt x="27" y="267"/>
                  </a:lnTo>
                  <a:lnTo>
                    <a:pt x="27" y="270"/>
                  </a:lnTo>
                  <a:lnTo>
                    <a:pt x="30" y="270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5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9" y="277"/>
                  </a:lnTo>
                  <a:lnTo>
                    <a:pt x="39" y="280"/>
                  </a:lnTo>
                  <a:lnTo>
                    <a:pt x="42" y="280"/>
                  </a:lnTo>
                  <a:lnTo>
                    <a:pt x="44" y="280"/>
                  </a:lnTo>
                  <a:lnTo>
                    <a:pt x="44" y="282"/>
                  </a:lnTo>
                  <a:lnTo>
                    <a:pt x="47" y="282"/>
                  </a:lnTo>
                  <a:lnTo>
                    <a:pt x="49" y="282"/>
                  </a:lnTo>
                  <a:lnTo>
                    <a:pt x="52" y="282"/>
                  </a:lnTo>
                  <a:lnTo>
                    <a:pt x="52" y="282"/>
                  </a:lnTo>
                  <a:lnTo>
                    <a:pt x="54" y="282"/>
                  </a:lnTo>
                  <a:lnTo>
                    <a:pt x="57" y="284"/>
                  </a:lnTo>
                  <a:lnTo>
                    <a:pt x="59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64" y="282"/>
                  </a:lnTo>
                  <a:lnTo>
                    <a:pt x="66" y="282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4" y="280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79" y="277"/>
                  </a:lnTo>
                  <a:lnTo>
                    <a:pt x="81" y="277"/>
                  </a:lnTo>
                  <a:lnTo>
                    <a:pt x="81" y="275"/>
                  </a:lnTo>
                  <a:lnTo>
                    <a:pt x="84" y="275"/>
                  </a:lnTo>
                  <a:lnTo>
                    <a:pt x="84" y="272"/>
                  </a:lnTo>
                  <a:lnTo>
                    <a:pt x="86" y="272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8" y="267"/>
                  </a:lnTo>
                  <a:lnTo>
                    <a:pt x="91" y="265"/>
                  </a:lnTo>
                  <a:lnTo>
                    <a:pt x="91" y="265"/>
                  </a:lnTo>
                  <a:lnTo>
                    <a:pt x="93" y="262"/>
                  </a:lnTo>
                  <a:lnTo>
                    <a:pt x="93" y="260"/>
                  </a:lnTo>
                  <a:lnTo>
                    <a:pt x="93" y="257"/>
                  </a:lnTo>
                  <a:lnTo>
                    <a:pt x="96" y="257"/>
                  </a:lnTo>
                  <a:lnTo>
                    <a:pt x="96" y="255"/>
                  </a:lnTo>
                  <a:lnTo>
                    <a:pt x="96" y="253"/>
                  </a:lnTo>
                  <a:lnTo>
                    <a:pt x="96" y="250"/>
                  </a:lnTo>
                  <a:lnTo>
                    <a:pt x="96" y="250"/>
                  </a:lnTo>
                  <a:lnTo>
                    <a:pt x="98" y="248"/>
                  </a:lnTo>
                  <a:lnTo>
                    <a:pt x="98" y="245"/>
                  </a:lnTo>
                  <a:lnTo>
                    <a:pt x="98" y="243"/>
                  </a:lnTo>
                  <a:lnTo>
                    <a:pt x="98" y="52"/>
                  </a:lnTo>
                  <a:lnTo>
                    <a:pt x="98" y="49"/>
                  </a:lnTo>
                  <a:lnTo>
                    <a:pt x="98" y="47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39"/>
                  </a:lnTo>
                  <a:lnTo>
                    <a:pt x="96" y="37"/>
                  </a:lnTo>
                  <a:lnTo>
                    <a:pt x="93" y="34"/>
                  </a:lnTo>
                  <a:lnTo>
                    <a:pt x="93" y="32"/>
                  </a:lnTo>
                  <a:lnTo>
                    <a:pt x="93" y="29"/>
                  </a:lnTo>
                  <a:lnTo>
                    <a:pt x="91" y="27"/>
                  </a:lnTo>
                  <a:lnTo>
                    <a:pt x="91" y="25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0"/>
                  </a:lnTo>
                  <a:lnTo>
                    <a:pt x="86" y="17"/>
                  </a:lnTo>
                  <a:lnTo>
                    <a:pt x="84" y="15"/>
                  </a:lnTo>
                  <a:lnTo>
                    <a:pt x="81" y="15"/>
                  </a:lnTo>
                  <a:lnTo>
                    <a:pt x="81" y="12"/>
                  </a:lnTo>
                  <a:lnTo>
                    <a:pt x="79" y="12"/>
                  </a:lnTo>
                  <a:lnTo>
                    <a:pt x="76" y="10"/>
                  </a:lnTo>
                  <a:lnTo>
                    <a:pt x="74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69" y="5"/>
                  </a:lnTo>
                  <a:lnTo>
                    <a:pt x="66" y="5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2">
            <a:extLst>
              <a:ext uri="{FF2B5EF4-FFF2-40B4-BE49-F238E27FC236}">
                <a16:creationId xmlns:a16="http://schemas.microsoft.com/office/drawing/2014/main" id="{E8DED00F-75D7-40B7-AA43-5169284EAA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4995" y="305594"/>
            <a:ext cx="841375" cy="841375"/>
            <a:chOff x="4431" y="295"/>
            <a:chExt cx="530" cy="530"/>
          </a:xfrm>
        </p:grpSpPr>
        <p:sp>
          <p:nvSpPr>
            <p:cNvPr id="71" name="AutoShape 61">
              <a:extLst>
                <a:ext uri="{FF2B5EF4-FFF2-40B4-BE49-F238E27FC236}">
                  <a16:creationId xmlns:a16="http://schemas.microsoft.com/office/drawing/2014/main" id="{92370744-FE63-4063-AED4-B165428928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1" y="2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Oval 63">
              <a:extLst>
                <a:ext uri="{FF2B5EF4-FFF2-40B4-BE49-F238E27FC236}">
                  <a16:creationId xmlns:a16="http://schemas.microsoft.com/office/drawing/2014/main" id="{08AF08B0-FE0F-45D8-97DB-4E1B5EDF9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1" y="2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4">
              <a:extLst>
                <a:ext uri="{FF2B5EF4-FFF2-40B4-BE49-F238E27FC236}">
                  <a16:creationId xmlns:a16="http://schemas.microsoft.com/office/drawing/2014/main" id="{A0CA0329-BC0B-41A8-B2EE-D1865F031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9" y="3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5">
              <a:extLst>
                <a:ext uri="{FF2B5EF4-FFF2-40B4-BE49-F238E27FC236}">
                  <a16:creationId xmlns:a16="http://schemas.microsoft.com/office/drawing/2014/main" id="{7DC556AD-78ED-4488-8DF5-649F8668C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6" y="413"/>
              <a:ext cx="102" cy="297"/>
            </a:xfrm>
            <a:custGeom>
              <a:avLst/>
              <a:gdLst>
                <a:gd name="T0" fmla="*/ 33 w 102"/>
                <a:gd name="T1" fmla="*/ 5 h 297"/>
                <a:gd name="T2" fmla="*/ 18 w 102"/>
                <a:gd name="T3" fmla="*/ 12 h 297"/>
                <a:gd name="T4" fmla="*/ 8 w 102"/>
                <a:gd name="T5" fmla="*/ 25 h 297"/>
                <a:gd name="T6" fmla="*/ 3 w 102"/>
                <a:gd name="T7" fmla="*/ 43 h 297"/>
                <a:gd name="T8" fmla="*/ 0 w 102"/>
                <a:gd name="T9" fmla="*/ 192 h 297"/>
                <a:gd name="T10" fmla="*/ 5 w 102"/>
                <a:gd name="T11" fmla="*/ 194 h 297"/>
                <a:gd name="T12" fmla="*/ 10 w 102"/>
                <a:gd name="T13" fmla="*/ 189 h 297"/>
                <a:gd name="T14" fmla="*/ 13 w 102"/>
                <a:gd name="T15" fmla="*/ 41 h 297"/>
                <a:gd name="T16" fmla="*/ 18 w 102"/>
                <a:gd name="T17" fmla="*/ 28 h 297"/>
                <a:gd name="T18" fmla="*/ 28 w 102"/>
                <a:gd name="T19" fmla="*/ 18 h 297"/>
                <a:gd name="T20" fmla="*/ 41 w 102"/>
                <a:gd name="T21" fmla="*/ 12 h 297"/>
                <a:gd name="T22" fmla="*/ 56 w 102"/>
                <a:gd name="T23" fmla="*/ 10 h 297"/>
                <a:gd name="T24" fmla="*/ 69 w 102"/>
                <a:gd name="T25" fmla="*/ 15 h 297"/>
                <a:gd name="T26" fmla="*/ 79 w 102"/>
                <a:gd name="T27" fmla="*/ 23 h 297"/>
                <a:gd name="T28" fmla="*/ 87 w 102"/>
                <a:gd name="T29" fmla="*/ 36 h 297"/>
                <a:gd name="T30" fmla="*/ 92 w 102"/>
                <a:gd name="T31" fmla="*/ 48 h 297"/>
                <a:gd name="T32" fmla="*/ 92 w 102"/>
                <a:gd name="T33" fmla="*/ 261 h 297"/>
                <a:gd name="T34" fmla="*/ 87 w 102"/>
                <a:gd name="T35" fmla="*/ 271 h 297"/>
                <a:gd name="T36" fmla="*/ 82 w 102"/>
                <a:gd name="T37" fmla="*/ 279 h 297"/>
                <a:gd name="T38" fmla="*/ 72 w 102"/>
                <a:gd name="T39" fmla="*/ 284 h 297"/>
                <a:gd name="T40" fmla="*/ 61 w 102"/>
                <a:gd name="T41" fmla="*/ 286 h 297"/>
                <a:gd name="T42" fmla="*/ 51 w 102"/>
                <a:gd name="T43" fmla="*/ 284 h 297"/>
                <a:gd name="T44" fmla="*/ 41 w 102"/>
                <a:gd name="T45" fmla="*/ 279 h 297"/>
                <a:gd name="T46" fmla="*/ 33 w 102"/>
                <a:gd name="T47" fmla="*/ 271 h 297"/>
                <a:gd name="T48" fmla="*/ 31 w 102"/>
                <a:gd name="T49" fmla="*/ 261 h 297"/>
                <a:gd name="T50" fmla="*/ 31 w 102"/>
                <a:gd name="T51" fmla="*/ 94 h 297"/>
                <a:gd name="T52" fmla="*/ 38 w 102"/>
                <a:gd name="T53" fmla="*/ 82 h 297"/>
                <a:gd name="T54" fmla="*/ 51 w 102"/>
                <a:gd name="T55" fmla="*/ 76 h 297"/>
                <a:gd name="T56" fmla="*/ 64 w 102"/>
                <a:gd name="T57" fmla="*/ 82 h 297"/>
                <a:gd name="T58" fmla="*/ 72 w 102"/>
                <a:gd name="T59" fmla="*/ 94 h 297"/>
                <a:gd name="T60" fmla="*/ 74 w 102"/>
                <a:gd name="T61" fmla="*/ 189 h 297"/>
                <a:gd name="T62" fmla="*/ 79 w 102"/>
                <a:gd name="T63" fmla="*/ 189 h 297"/>
                <a:gd name="T64" fmla="*/ 82 w 102"/>
                <a:gd name="T65" fmla="*/ 97 h 297"/>
                <a:gd name="T66" fmla="*/ 79 w 102"/>
                <a:gd name="T67" fmla="*/ 87 h 297"/>
                <a:gd name="T68" fmla="*/ 74 w 102"/>
                <a:gd name="T69" fmla="*/ 79 h 297"/>
                <a:gd name="T70" fmla="*/ 64 w 102"/>
                <a:gd name="T71" fmla="*/ 71 h 297"/>
                <a:gd name="T72" fmla="*/ 56 w 102"/>
                <a:gd name="T73" fmla="*/ 69 h 297"/>
                <a:gd name="T74" fmla="*/ 43 w 102"/>
                <a:gd name="T75" fmla="*/ 69 h 297"/>
                <a:gd name="T76" fmla="*/ 36 w 102"/>
                <a:gd name="T77" fmla="*/ 71 h 297"/>
                <a:gd name="T78" fmla="*/ 28 w 102"/>
                <a:gd name="T79" fmla="*/ 79 h 297"/>
                <a:gd name="T80" fmla="*/ 23 w 102"/>
                <a:gd name="T81" fmla="*/ 89 h 297"/>
                <a:gd name="T82" fmla="*/ 20 w 102"/>
                <a:gd name="T83" fmla="*/ 100 h 297"/>
                <a:gd name="T84" fmla="*/ 23 w 102"/>
                <a:gd name="T85" fmla="*/ 266 h 297"/>
                <a:gd name="T86" fmla="*/ 28 w 102"/>
                <a:gd name="T87" fmla="*/ 279 h 297"/>
                <a:gd name="T88" fmla="*/ 38 w 102"/>
                <a:gd name="T89" fmla="*/ 289 h 297"/>
                <a:gd name="T90" fmla="*/ 51 w 102"/>
                <a:gd name="T91" fmla="*/ 294 h 297"/>
                <a:gd name="T92" fmla="*/ 64 w 102"/>
                <a:gd name="T93" fmla="*/ 294 h 297"/>
                <a:gd name="T94" fmla="*/ 79 w 102"/>
                <a:gd name="T95" fmla="*/ 292 h 297"/>
                <a:gd name="T96" fmla="*/ 90 w 102"/>
                <a:gd name="T97" fmla="*/ 284 h 297"/>
                <a:gd name="T98" fmla="*/ 97 w 102"/>
                <a:gd name="T99" fmla="*/ 271 h 297"/>
                <a:gd name="T100" fmla="*/ 102 w 102"/>
                <a:gd name="T101" fmla="*/ 258 h 297"/>
                <a:gd name="T102" fmla="*/ 100 w 102"/>
                <a:gd name="T103" fmla="*/ 43 h 297"/>
                <a:gd name="T104" fmla="*/ 95 w 102"/>
                <a:gd name="T105" fmla="*/ 25 h 297"/>
                <a:gd name="T106" fmla="*/ 84 w 102"/>
                <a:gd name="T107" fmla="*/ 12 h 297"/>
                <a:gd name="T108" fmla="*/ 69 w 102"/>
                <a:gd name="T109" fmla="*/ 5 h 297"/>
                <a:gd name="T110" fmla="*/ 49 w 102"/>
                <a:gd name="T11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2" h="297">
                  <a:moveTo>
                    <a:pt x="49" y="0"/>
                  </a:moveTo>
                  <a:lnTo>
                    <a:pt x="46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8" y="5"/>
                  </a:lnTo>
                  <a:lnTo>
                    <a:pt x="28" y="7"/>
                  </a:lnTo>
                  <a:lnTo>
                    <a:pt x="26" y="7"/>
                  </a:lnTo>
                  <a:lnTo>
                    <a:pt x="23" y="10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8" y="15"/>
                  </a:lnTo>
                  <a:lnTo>
                    <a:pt x="15" y="15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8" y="25"/>
                  </a:lnTo>
                  <a:lnTo>
                    <a:pt x="8" y="28"/>
                  </a:lnTo>
                  <a:lnTo>
                    <a:pt x="5" y="30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3" y="38"/>
                  </a:lnTo>
                  <a:lnTo>
                    <a:pt x="3" y="41"/>
                  </a:lnTo>
                  <a:lnTo>
                    <a:pt x="3" y="43"/>
                  </a:lnTo>
                  <a:lnTo>
                    <a:pt x="3" y="46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189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3" y="192"/>
                  </a:lnTo>
                  <a:lnTo>
                    <a:pt x="3" y="194"/>
                  </a:lnTo>
                  <a:lnTo>
                    <a:pt x="3" y="194"/>
                  </a:lnTo>
                  <a:lnTo>
                    <a:pt x="3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10" y="192"/>
                  </a:lnTo>
                  <a:lnTo>
                    <a:pt x="10" y="192"/>
                  </a:lnTo>
                  <a:lnTo>
                    <a:pt x="10" y="192"/>
                  </a:lnTo>
                  <a:lnTo>
                    <a:pt x="10" y="189"/>
                  </a:lnTo>
                  <a:lnTo>
                    <a:pt x="10" y="53"/>
                  </a:lnTo>
                  <a:lnTo>
                    <a:pt x="10" y="51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3" y="41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3"/>
                  </a:lnTo>
                  <a:lnTo>
                    <a:pt x="15" y="30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3" y="23"/>
                  </a:lnTo>
                  <a:lnTo>
                    <a:pt x="23" y="20"/>
                  </a:lnTo>
                  <a:lnTo>
                    <a:pt x="26" y="20"/>
                  </a:lnTo>
                  <a:lnTo>
                    <a:pt x="26" y="18"/>
                  </a:lnTo>
                  <a:lnTo>
                    <a:pt x="28" y="18"/>
                  </a:lnTo>
                  <a:lnTo>
                    <a:pt x="31" y="18"/>
                  </a:lnTo>
                  <a:lnTo>
                    <a:pt x="31" y="15"/>
                  </a:lnTo>
                  <a:lnTo>
                    <a:pt x="33" y="15"/>
                  </a:lnTo>
                  <a:lnTo>
                    <a:pt x="36" y="15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9" y="10"/>
                  </a:lnTo>
                  <a:lnTo>
                    <a:pt x="51" y="10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9" y="12"/>
                  </a:lnTo>
                  <a:lnTo>
                    <a:pt x="61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2" y="15"/>
                  </a:lnTo>
                  <a:lnTo>
                    <a:pt x="72" y="18"/>
                  </a:lnTo>
                  <a:lnTo>
                    <a:pt x="74" y="18"/>
                  </a:lnTo>
                  <a:lnTo>
                    <a:pt x="77" y="18"/>
                  </a:lnTo>
                  <a:lnTo>
                    <a:pt x="77" y="20"/>
                  </a:lnTo>
                  <a:lnTo>
                    <a:pt x="79" y="20"/>
                  </a:lnTo>
                  <a:lnTo>
                    <a:pt x="79" y="23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7" y="30"/>
                  </a:lnTo>
                  <a:lnTo>
                    <a:pt x="87" y="33"/>
                  </a:lnTo>
                  <a:lnTo>
                    <a:pt x="87" y="36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41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6"/>
                  </a:lnTo>
                  <a:lnTo>
                    <a:pt x="92" y="48"/>
                  </a:lnTo>
                  <a:lnTo>
                    <a:pt x="92" y="51"/>
                  </a:lnTo>
                  <a:lnTo>
                    <a:pt x="92" y="53"/>
                  </a:lnTo>
                  <a:lnTo>
                    <a:pt x="92" y="253"/>
                  </a:lnTo>
                  <a:lnTo>
                    <a:pt x="92" y="256"/>
                  </a:lnTo>
                  <a:lnTo>
                    <a:pt x="92" y="256"/>
                  </a:lnTo>
                  <a:lnTo>
                    <a:pt x="92" y="258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0" y="266"/>
                  </a:lnTo>
                  <a:lnTo>
                    <a:pt x="90" y="269"/>
                  </a:lnTo>
                  <a:lnTo>
                    <a:pt x="90" y="269"/>
                  </a:lnTo>
                  <a:lnTo>
                    <a:pt x="87" y="271"/>
                  </a:lnTo>
                  <a:lnTo>
                    <a:pt x="87" y="271"/>
                  </a:lnTo>
                  <a:lnTo>
                    <a:pt x="87" y="274"/>
                  </a:lnTo>
                  <a:lnTo>
                    <a:pt x="84" y="274"/>
                  </a:lnTo>
                  <a:lnTo>
                    <a:pt x="84" y="276"/>
                  </a:lnTo>
                  <a:lnTo>
                    <a:pt x="82" y="276"/>
                  </a:lnTo>
                  <a:lnTo>
                    <a:pt x="82" y="279"/>
                  </a:lnTo>
                  <a:lnTo>
                    <a:pt x="82" y="279"/>
                  </a:lnTo>
                  <a:lnTo>
                    <a:pt x="79" y="279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7" y="281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2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64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59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1" y="284"/>
                  </a:lnTo>
                  <a:lnTo>
                    <a:pt x="51" y="284"/>
                  </a:lnTo>
                  <a:lnTo>
                    <a:pt x="49" y="284"/>
                  </a:lnTo>
                  <a:lnTo>
                    <a:pt x="46" y="284"/>
                  </a:lnTo>
                  <a:lnTo>
                    <a:pt x="46" y="281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1" y="279"/>
                  </a:lnTo>
                  <a:lnTo>
                    <a:pt x="41" y="279"/>
                  </a:lnTo>
                  <a:lnTo>
                    <a:pt x="41" y="279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6" y="274"/>
                  </a:lnTo>
                  <a:lnTo>
                    <a:pt x="36" y="274"/>
                  </a:lnTo>
                  <a:lnTo>
                    <a:pt x="36" y="271"/>
                  </a:lnTo>
                  <a:lnTo>
                    <a:pt x="33" y="271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1" y="266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58"/>
                  </a:lnTo>
                  <a:lnTo>
                    <a:pt x="31" y="256"/>
                  </a:lnTo>
                  <a:lnTo>
                    <a:pt x="28" y="256"/>
                  </a:lnTo>
                  <a:lnTo>
                    <a:pt x="28" y="253"/>
                  </a:lnTo>
                  <a:lnTo>
                    <a:pt x="28" y="100"/>
                  </a:lnTo>
                  <a:lnTo>
                    <a:pt x="31" y="97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3" y="87"/>
                  </a:lnTo>
                  <a:lnTo>
                    <a:pt x="33" y="84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6" y="76"/>
                  </a:lnTo>
                  <a:lnTo>
                    <a:pt x="49" y="76"/>
                  </a:lnTo>
                  <a:lnTo>
                    <a:pt x="51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6" y="79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1" y="82"/>
                  </a:lnTo>
                  <a:lnTo>
                    <a:pt x="64" y="8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9" y="87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2" y="92"/>
                  </a:lnTo>
                  <a:lnTo>
                    <a:pt x="72" y="94"/>
                  </a:lnTo>
                  <a:lnTo>
                    <a:pt x="72" y="97"/>
                  </a:lnTo>
                  <a:lnTo>
                    <a:pt x="72" y="100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9" y="192"/>
                  </a:lnTo>
                  <a:lnTo>
                    <a:pt x="79" y="189"/>
                  </a:lnTo>
                  <a:lnTo>
                    <a:pt x="79" y="189"/>
                  </a:lnTo>
                  <a:lnTo>
                    <a:pt x="79" y="189"/>
                  </a:lnTo>
                  <a:lnTo>
                    <a:pt x="82" y="189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00"/>
                  </a:lnTo>
                  <a:lnTo>
                    <a:pt x="82" y="97"/>
                  </a:lnTo>
                  <a:lnTo>
                    <a:pt x="82" y="97"/>
                  </a:lnTo>
                  <a:lnTo>
                    <a:pt x="82" y="94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7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4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6" y="69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38" y="69"/>
                  </a:lnTo>
                  <a:lnTo>
                    <a:pt x="38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6" y="79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0" y="89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100"/>
                  </a:lnTo>
                  <a:lnTo>
                    <a:pt x="20" y="253"/>
                  </a:lnTo>
                  <a:lnTo>
                    <a:pt x="20" y="256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0" y="261"/>
                  </a:lnTo>
                  <a:lnTo>
                    <a:pt x="20" y="263"/>
                  </a:lnTo>
                  <a:lnTo>
                    <a:pt x="23" y="266"/>
                  </a:lnTo>
                  <a:lnTo>
                    <a:pt x="23" y="269"/>
                  </a:lnTo>
                  <a:lnTo>
                    <a:pt x="23" y="269"/>
                  </a:lnTo>
                  <a:lnTo>
                    <a:pt x="23" y="271"/>
                  </a:lnTo>
                  <a:lnTo>
                    <a:pt x="26" y="274"/>
                  </a:lnTo>
                  <a:lnTo>
                    <a:pt x="26" y="276"/>
                  </a:lnTo>
                  <a:lnTo>
                    <a:pt x="28" y="276"/>
                  </a:lnTo>
                  <a:lnTo>
                    <a:pt x="28" y="279"/>
                  </a:lnTo>
                  <a:lnTo>
                    <a:pt x="28" y="281"/>
                  </a:lnTo>
                  <a:lnTo>
                    <a:pt x="31" y="281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8" y="289"/>
                  </a:lnTo>
                  <a:lnTo>
                    <a:pt x="41" y="289"/>
                  </a:lnTo>
                  <a:lnTo>
                    <a:pt x="41" y="292"/>
                  </a:lnTo>
                  <a:lnTo>
                    <a:pt x="43" y="292"/>
                  </a:lnTo>
                  <a:lnTo>
                    <a:pt x="46" y="292"/>
                  </a:lnTo>
                  <a:lnTo>
                    <a:pt x="46" y="294"/>
                  </a:lnTo>
                  <a:lnTo>
                    <a:pt x="49" y="294"/>
                  </a:lnTo>
                  <a:lnTo>
                    <a:pt x="51" y="294"/>
                  </a:lnTo>
                  <a:lnTo>
                    <a:pt x="54" y="294"/>
                  </a:lnTo>
                  <a:lnTo>
                    <a:pt x="54" y="294"/>
                  </a:lnTo>
                  <a:lnTo>
                    <a:pt x="56" y="294"/>
                  </a:lnTo>
                  <a:lnTo>
                    <a:pt x="59" y="297"/>
                  </a:lnTo>
                  <a:lnTo>
                    <a:pt x="61" y="297"/>
                  </a:lnTo>
                  <a:lnTo>
                    <a:pt x="64" y="297"/>
                  </a:lnTo>
                  <a:lnTo>
                    <a:pt x="64" y="294"/>
                  </a:lnTo>
                  <a:lnTo>
                    <a:pt x="67" y="294"/>
                  </a:lnTo>
                  <a:lnTo>
                    <a:pt x="69" y="294"/>
                  </a:lnTo>
                  <a:lnTo>
                    <a:pt x="72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7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82" y="289"/>
                  </a:lnTo>
                  <a:lnTo>
                    <a:pt x="84" y="289"/>
                  </a:lnTo>
                  <a:lnTo>
                    <a:pt x="84" y="286"/>
                  </a:lnTo>
                  <a:lnTo>
                    <a:pt x="87" y="286"/>
                  </a:lnTo>
                  <a:lnTo>
                    <a:pt x="87" y="284"/>
                  </a:lnTo>
                  <a:lnTo>
                    <a:pt x="90" y="284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79"/>
                  </a:lnTo>
                  <a:lnTo>
                    <a:pt x="95" y="276"/>
                  </a:lnTo>
                  <a:lnTo>
                    <a:pt x="95" y="276"/>
                  </a:lnTo>
                  <a:lnTo>
                    <a:pt x="97" y="274"/>
                  </a:lnTo>
                  <a:lnTo>
                    <a:pt x="97" y="271"/>
                  </a:lnTo>
                  <a:lnTo>
                    <a:pt x="97" y="269"/>
                  </a:lnTo>
                  <a:lnTo>
                    <a:pt x="100" y="269"/>
                  </a:lnTo>
                  <a:lnTo>
                    <a:pt x="100" y="266"/>
                  </a:lnTo>
                  <a:lnTo>
                    <a:pt x="100" y="263"/>
                  </a:lnTo>
                  <a:lnTo>
                    <a:pt x="100" y="261"/>
                  </a:lnTo>
                  <a:lnTo>
                    <a:pt x="100" y="261"/>
                  </a:lnTo>
                  <a:lnTo>
                    <a:pt x="102" y="258"/>
                  </a:lnTo>
                  <a:lnTo>
                    <a:pt x="102" y="256"/>
                  </a:lnTo>
                  <a:lnTo>
                    <a:pt x="102" y="253"/>
                  </a:lnTo>
                  <a:lnTo>
                    <a:pt x="102" y="53"/>
                  </a:lnTo>
                  <a:lnTo>
                    <a:pt x="102" y="51"/>
                  </a:lnTo>
                  <a:lnTo>
                    <a:pt x="102" y="48"/>
                  </a:lnTo>
                  <a:lnTo>
                    <a:pt x="100" y="46"/>
                  </a:lnTo>
                  <a:lnTo>
                    <a:pt x="100" y="43"/>
                  </a:lnTo>
                  <a:lnTo>
                    <a:pt x="100" y="41"/>
                  </a:lnTo>
                  <a:lnTo>
                    <a:pt x="100" y="38"/>
                  </a:lnTo>
                  <a:lnTo>
                    <a:pt x="97" y="36"/>
                  </a:lnTo>
                  <a:lnTo>
                    <a:pt x="97" y="33"/>
                  </a:lnTo>
                  <a:lnTo>
                    <a:pt x="97" y="30"/>
                  </a:lnTo>
                  <a:lnTo>
                    <a:pt x="95" y="28"/>
                  </a:lnTo>
                  <a:lnTo>
                    <a:pt x="95" y="25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0" y="20"/>
                  </a:lnTo>
                  <a:lnTo>
                    <a:pt x="90" y="18"/>
                  </a:lnTo>
                  <a:lnTo>
                    <a:pt x="87" y="15"/>
                  </a:lnTo>
                  <a:lnTo>
                    <a:pt x="84" y="15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79" y="10"/>
                  </a:lnTo>
                  <a:lnTo>
                    <a:pt x="77" y="7"/>
                  </a:lnTo>
                  <a:lnTo>
                    <a:pt x="74" y="7"/>
                  </a:lnTo>
                  <a:lnTo>
                    <a:pt x="74" y="5"/>
                  </a:lnTo>
                  <a:lnTo>
                    <a:pt x="72" y="5"/>
                  </a:lnTo>
                  <a:lnTo>
                    <a:pt x="69" y="5"/>
                  </a:lnTo>
                  <a:lnTo>
                    <a:pt x="67" y="2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9" y="2"/>
                  </a:lnTo>
                  <a:lnTo>
                    <a:pt x="56" y="2"/>
                  </a:lnTo>
                  <a:lnTo>
                    <a:pt x="54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68">
            <a:extLst>
              <a:ext uri="{FF2B5EF4-FFF2-40B4-BE49-F238E27FC236}">
                <a16:creationId xmlns:a16="http://schemas.microsoft.com/office/drawing/2014/main" id="{C8940477-C7F4-41D9-BB0B-CD064E6B5A1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538" y="1581945"/>
            <a:ext cx="760413" cy="758825"/>
            <a:chOff x="936" y="1153"/>
            <a:chExt cx="479" cy="478"/>
          </a:xfrm>
        </p:grpSpPr>
        <p:sp>
          <p:nvSpPr>
            <p:cNvPr id="80" name="AutoShape 67">
              <a:extLst>
                <a:ext uri="{FF2B5EF4-FFF2-40B4-BE49-F238E27FC236}">
                  <a16:creationId xmlns:a16="http://schemas.microsoft.com/office/drawing/2014/main" id="{CF31266F-06EC-48D4-BBB7-8013A58D03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6" y="115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F6B327FB-1874-4EBA-A2E2-DA8E5C043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" y="115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5385BCD8-2ED5-48D1-ADE0-9BAA21ED7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" y="1266"/>
              <a:ext cx="231" cy="255"/>
            </a:xfrm>
            <a:custGeom>
              <a:avLst/>
              <a:gdLst>
                <a:gd name="T0" fmla="*/ 231 w 231"/>
                <a:gd name="T1" fmla="*/ 78 h 255"/>
                <a:gd name="T2" fmla="*/ 231 w 231"/>
                <a:gd name="T3" fmla="*/ 61 h 255"/>
                <a:gd name="T4" fmla="*/ 219 w 231"/>
                <a:gd name="T5" fmla="*/ 29 h 255"/>
                <a:gd name="T6" fmla="*/ 197 w 231"/>
                <a:gd name="T7" fmla="*/ 10 h 255"/>
                <a:gd name="T8" fmla="*/ 172 w 231"/>
                <a:gd name="T9" fmla="*/ 0 h 255"/>
                <a:gd name="T10" fmla="*/ 153 w 231"/>
                <a:gd name="T11" fmla="*/ 0 h 255"/>
                <a:gd name="T12" fmla="*/ 121 w 231"/>
                <a:gd name="T13" fmla="*/ 14 h 255"/>
                <a:gd name="T14" fmla="*/ 0 w 231"/>
                <a:gd name="T15" fmla="*/ 137 h 255"/>
                <a:gd name="T16" fmla="*/ 0 w 231"/>
                <a:gd name="T17" fmla="*/ 139 h 255"/>
                <a:gd name="T18" fmla="*/ 5 w 231"/>
                <a:gd name="T19" fmla="*/ 144 h 255"/>
                <a:gd name="T20" fmla="*/ 10 w 231"/>
                <a:gd name="T21" fmla="*/ 142 h 255"/>
                <a:gd name="T22" fmla="*/ 135 w 231"/>
                <a:gd name="T23" fmla="*/ 19 h 255"/>
                <a:gd name="T24" fmla="*/ 153 w 231"/>
                <a:gd name="T25" fmla="*/ 12 h 255"/>
                <a:gd name="T26" fmla="*/ 170 w 231"/>
                <a:gd name="T27" fmla="*/ 12 h 255"/>
                <a:gd name="T28" fmla="*/ 189 w 231"/>
                <a:gd name="T29" fmla="*/ 19 h 255"/>
                <a:gd name="T30" fmla="*/ 204 w 231"/>
                <a:gd name="T31" fmla="*/ 29 h 255"/>
                <a:gd name="T32" fmla="*/ 214 w 231"/>
                <a:gd name="T33" fmla="*/ 46 h 255"/>
                <a:gd name="T34" fmla="*/ 219 w 231"/>
                <a:gd name="T35" fmla="*/ 66 h 255"/>
                <a:gd name="T36" fmla="*/ 219 w 231"/>
                <a:gd name="T37" fmla="*/ 83 h 255"/>
                <a:gd name="T38" fmla="*/ 212 w 231"/>
                <a:gd name="T39" fmla="*/ 103 h 255"/>
                <a:gd name="T40" fmla="*/ 204 w 231"/>
                <a:gd name="T41" fmla="*/ 113 h 255"/>
                <a:gd name="T42" fmla="*/ 76 w 231"/>
                <a:gd name="T43" fmla="*/ 240 h 255"/>
                <a:gd name="T44" fmla="*/ 57 w 231"/>
                <a:gd name="T45" fmla="*/ 242 h 255"/>
                <a:gd name="T46" fmla="*/ 40 w 231"/>
                <a:gd name="T47" fmla="*/ 238 h 255"/>
                <a:gd name="T48" fmla="*/ 27 w 231"/>
                <a:gd name="T49" fmla="*/ 225 h 255"/>
                <a:gd name="T50" fmla="*/ 20 w 231"/>
                <a:gd name="T51" fmla="*/ 211 h 255"/>
                <a:gd name="T52" fmla="*/ 20 w 231"/>
                <a:gd name="T53" fmla="*/ 191 h 255"/>
                <a:gd name="T54" fmla="*/ 30 w 231"/>
                <a:gd name="T55" fmla="*/ 174 h 255"/>
                <a:gd name="T56" fmla="*/ 133 w 231"/>
                <a:gd name="T57" fmla="*/ 71 h 255"/>
                <a:gd name="T58" fmla="*/ 143 w 231"/>
                <a:gd name="T59" fmla="*/ 66 h 255"/>
                <a:gd name="T60" fmla="*/ 145 w 231"/>
                <a:gd name="T61" fmla="*/ 66 h 255"/>
                <a:gd name="T62" fmla="*/ 160 w 231"/>
                <a:gd name="T63" fmla="*/ 73 h 255"/>
                <a:gd name="T64" fmla="*/ 165 w 231"/>
                <a:gd name="T65" fmla="*/ 88 h 255"/>
                <a:gd name="T66" fmla="*/ 165 w 231"/>
                <a:gd name="T67" fmla="*/ 100 h 255"/>
                <a:gd name="T68" fmla="*/ 160 w 231"/>
                <a:gd name="T69" fmla="*/ 108 h 255"/>
                <a:gd name="T70" fmla="*/ 67 w 231"/>
                <a:gd name="T71" fmla="*/ 208 h 255"/>
                <a:gd name="T72" fmla="*/ 72 w 231"/>
                <a:gd name="T73" fmla="*/ 211 h 255"/>
                <a:gd name="T74" fmla="*/ 76 w 231"/>
                <a:gd name="T75" fmla="*/ 208 h 255"/>
                <a:gd name="T76" fmla="*/ 177 w 231"/>
                <a:gd name="T77" fmla="*/ 103 h 255"/>
                <a:gd name="T78" fmla="*/ 177 w 231"/>
                <a:gd name="T79" fmla="*/ 93 h 255"/>
                <a:gd name="T80" fmla="*/ 175 w 231"/>
                <a:gd name="T81" fmla="*/ 73 h 255"/>
                <a:gd name="T82" fmla="*/ 160 w 231"/>
                <a:gd name="T83" fmla="*/ 59 h 255"/>
                <a:gd name="T84" fmla="*/ 143 w 231"/>
                <a:gd name="T85" fmla="*/ 54 h 255"/>
                <a:gd name="T86" fmla="*/ 126 w 231"/>
                <a:gd name="T87" fmla="*/ 59 h 255"/>
                <a:gd name="T88" fmla="*/ 17 w 231"/>
                <a:gd name="T89" fmla="*/ 169 h 255"/>
                <a:gd name="T90" fmla="*/ 8 w 231"/>
                <a:gd name="T91" fmla="*/ 186 h 255"/>
                <a:gd name="T92" fmla="*/ 8 w 231"/>
                <a:gd name="T93" fmla="*/ 201 h 255"/>
                <a:gd name="T94" fmla="*/ 10 w 231"/>
                <a:gd name="T95" fmla="*/ 220 h 255"/>
                <a:gd name="T96" fmla="*/ 17 w 231"/>
                <a:gd name="T97" fmla="*/ 233 h 255"/>
                <a:gd name="T98" fmla="*/ 30 w 231"/>
                <a:gd name="T99" fmla="*/ 247 h 255"/>
                <a:gd name="T100" fmla="*/ 47 w 231"/>
                <a:gd name="T101" fmla="*/ 255 h 255"/>
                <a:gd name="T102" fmla="*/ 67 w 231"/>
                <a:gd name="T103" fmla="*/ 255 h 255"/>
                <a:gd name="T104" fmla="*/ 86 w 231"/>
                <a:gd name="T105" fmla="*/ 247 h 255"/>
                <a:gd name="T106" fmla="*/ 96 w 231"/>
                <a:gd name="T107" fmla="*/ 240 h 255"/>
                <a:gd name="T108" fmla="*/ 229 w 231"/>
                <a:gd name="T109" fmla="*/ 98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1" h="255">
                  <a:moveTo>
                    <a:pt x="231" y="88"/>
                  </a:moveTo>
                  <a:lnTo>
                    <a:pt x="231" y="78"/>
                  </a:lnTo>
                  <a:lnTo>
                    <a:pt x="231" y="71"/>
                  </a:lnTo>
                  <a:lnTo>
                    <a:pt x="231" y="61"/>
                  </a:lnTo>
                  <a:lnTo>
                    <a:pt x="226" y="44"/>
                  </a:lnTo>
                  <a:lnTo>
                    <a:pt x="219" y="29"/>
                  </a:lnTo>
                  <a:lnTo>
                    <a:pt x="209" y="17"/>
                  </a:lnTo>
                  <a:lnTo>
                    <a:pt x="197" y="10"/>
                  </a:lnTo>
                  <a:lnTo>
                    <a:pt x="185" y="2"/>
                  </a:lnTo>
                  <a:lnTo>
                    <a:pt x="172" y="0"/>
                  </a:lnTo>
                  <a:lnTo>
                    <a:pt x="162" y="0"/>
                  </a:lnTo>
                  <a:lnTo>
                    <a:pt x="153" y="0"/>
                  </a:lnTo>
                  <a:lnTo>
                    <a:pt x="133" y="5"/>
                  </a:lnTo>
                  <a:lnTo>
                    <a:pt x="121" y="14"/>
                  </a:lnTo>
                  <a:lnTo>
                    <a:pt x="111" y="19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9"/>
                  </a:lnTo>
                  <a:lnTo>
                    <a:pt x="3" y="142"/>
                  </a:lnTo>
                  <a:lnTo>
                    <a:pt x="5" y="144"/>
                  </a:lnTo>
                  <a:lnTo>
                    <a:pt x="8" y="142"/>
                  </a:lnTo>
                  <a:lnTo>
                    <a:pt x="10" y="142"/>
                  </a:lnTo>
                  <a:lnTo>
                    <a:pt x="128" y="24"/>
                  </a:lnTo>
                  <a:lnTo>
                    <a:pt x="135" y="19"/>
                  </a:lnTo>
                  <a:lnTo>
                    <a:pt x="145" y="14"/>
                  </a:lnTo>
                  <a:lnTo>
                    <a:pt x="153" y="12"/>
                  </a:lnTo>
                  <a:lnTo>
                    <a:pt x="162" y="12"/>
                  </a:lnTo>
                  <a:lnTo>
                    <a:pt x="170" y="12"/>
                  </a:lnTo>
                  <a:lnTo>
                    <a:pt x="180" y="14"/>
                  </a:lnTo>
                  <a:lnTo>
                    <a:pt x="189" y="19"/>
                  </a:lnTo>
                  <a:lnTo>
                    <a:pt x="197" y="24"/>
                  </a:lnTo>
                  <a:lnTo>
                    <a:pt x="204" y="29"/>
                  </a:lnTo>
                  <a:lnTo>
                    <a:pt x="209" y="37"/>
                  </a:lnTo>
                  <a:lnTo>
                    <a:pt x="214" y="46"/>
                  </a:lnTo>
                  <a:lnTo>
                    <a:pt x="219" y="56"/>
                  </a:lnTo>
                  <a:lnTo>
                    <a:pt x="219" y="66"/>
                  </a:lnTo>
                  <a:lnTo>
                    <a:pt x="221" y="73"/>
                  </a:lnTo>
                  <a:lnTo>
                    <a:pt x="219" y="83"/>
                  </a:lnTo>
                  <a:lnTo>
                    <a:pt x="216" y="90"/>
                  </a:lnTo>
                  <a:lnTo>
                    <a:pt x="212" y="103"/>
                  </a:lnTo>
                  <a:lnTo>
                    <a:pt x="207" y="110"/>
                  </a:lnTo>
                  <a:lnTo>
                    <a:pt x="204" y="113"/>
                  </a:lnTo>
                  <a:lnTo>
                    <a:pt x="84" y="235"/>
                  </a:lnTo>
                  <a:lnTo>
                    <a:pt x="76" y="240"/>
                  </a:lnTo>
                  <a:lnTo>
                    <a:pt x="67" y="242"/>
                  </a:lnTo>
                  <a:lnTo>
                    <a:pt x="57" y="242"/>
                  </a:lnTo>
                  <a:lnTo>
                    <a:pt x="47" y="240"/>
                  </a:lnTo>
                  <a:lnTo>
                    <a:pt x="40" y="238"/>
                  </a:lnTo>
                  <a:lnTo>
                    <a:pt x="32" y="233"/>
                  </a:lnTo>
                  <a:lnTo>
                    <a:pt x="27" y="225"/>
                  </a:lnTo>
                  <a:lnTo>
                    <a:pt x="22" y="218"/>
                  </a:lnTo>
                  <a:lnTo>
                    <a:pt x="20" y="211"/>
                  </a:lnTo>
                  <a:lnTo>
                    <a:pt x="17" y="201"/>
                  </a:lnTo>
                  <a:lnTo>
                    <a:pt x="20" y="191"/>
                  </a:lnTo>
                  <a:lnTo>
                    <a:pt x="22" y="184"/>
                  </a:lnTo>
                  <a:lnTo>
                    <a:pt x="30" y="174"/>
                  </a:lnTo>
                  <a:lnTo>
                    <a:pt x="30" y="171"/>
                  </a:lnTo>
                  <a:lnTo>
                    <a:pt x="133" y="71"/>
                  </a:lnTo>
                  <a:lnTo>
                    <a:pt x="138" y="68"/>
                  </a:lnTo>
                  <a:lnTo>
                    <a:pt x="143" y="66"/>
                  </a:lnTo>
                  <a:lnTo>
                    <a:pt x="145" y="66"/>
                  </a:lnTo>
                  <a:lnTo>
                    <a:pt x="145" y="66"/>
                  </a:lnTo>
                  <a:lnTo>
                    <a:pt x="153" y="68"/>
                  </a:lnTo>
                  <a:lnTo>
                    <a:pt x="160" y="73"/>
                  </a:lnTo>
                  <a:lnTo>
                    <a:pt x="162" y="81"/>
                  </a:lnTo>
                  <a:lnTo>
                    <a:pt x="165" y="88"/>
                  </a:lnTo>
                  <a:lnTo>
                    <a:pt x="165" y="90"/>
                  </a:lnTo>
                  <a:lnTo>
                    <a:pt x="165" y="100"/>
                  </a:lnTo>
                  <a:lnTo>
                    <a:pt x="160" y="105"/>
                  </a:lnTo>
                  <a:lnTo>
                    <a:pt x="160" y="108"/>
                  </a:lnTo>
                  <a:lnTo>
                    <a:pt x="67" y="206"/>
                  </a:lnTo>
                  <a:lnTo>
                    <a:pt x="67" y="208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4" y="211"/>
                  </a:lnTo>
                  <a:lnTo>
                    <a:pt x="76" y="208"/>
                  </a:lnTo>
                  <a:lnTo>
                    <a:pt x="172" y="110"/>
                  </a:lnTo>
                  <a:lnTo>
                    <a:pt x="177" y="103"/>
                  </a:lnTo>
                  <a:lnTo>
                    <a:pt x="177" y="93"/>
                  </a:lnTo>
                  <a:lnTo>
                    <a:pt x="177" y="93"/>
                  </a:lnTo>
                  <a:lnTo>
                    <a:pt x="177" y="83"/>
                  </a:lnTo>
                  <a:lnTo>
                    <a:pt x="175" y="73"/>
                  </a:lnTo>
                  <a:lnTo>
                    <a:pt x="167" y="66"/>
                  </a:lnTo>
                  <a:lnTo>
                    <a:pt x="160" y="59"/>
                  </a:lnTo>
                  <a:lnTo>
                    <a:pt x="153" y="56"/>
                  </a:lnTo>
                  <a:lnTo>
                    <a:pt x="143" y="54"/>
                  </a:lnTo>
                  <a:lnTo>
                    <a:pt x="133" y="56"/>
                  </a:lnTo>
                  <a:lnTo>
                    <a:pt x="126" y="59"/>
                  </a:lnTo>
                  <a:lnTo>
                    <a:pt x="118" y="66"/>
                  </a:lnTo>
                  <a:lnTo>
                    <a:pt x="17" y="169"/>
                  </a:lnTo>
                  <a:lnTo>
                    <a:pt x="13" y="176"/>
                  </a:lnTo>
                  <a:lnTo>
                    <a:pt x="8" y="186"/>
                  </a:lnTo>
                  <a:lnTo>
                    <a:pt x="8" y="193"/>
                  </a:lnTo>
                  <a:lnTo>
                    <a:pt x="8" y="201"/>
                  </a:lnTo>
                  <a:lnTo>
                    <a:pt x="8" y="211"/>
                  </a:lnTo>
                  <a:lnTo>
                    <a:pt x="10" y="220"/>
                  </a:lnTo>
                  <a:lnTo>
                    <a:pt x="13" y="228"/>
                  </a:lnTo>
                  <a:lnTo>
                    <a:pt x="17" y="233"/>
                  </a:lnTo>
                  <a:lnTo>
                    <a:pt x="22" y="240"/>
                  </a:lnTo>
                  <a:lnTo>
                    <a:pt x="30" y="247"/>
                  </a:lnTo>
                  <a:lnTo>
                    <a:pt x="37" y="250"/>
                  </a:lnTo>
                  <a:lnTo>
                    <a:pt x="47" y="255"/>
                  </a:lnTo>
                  <a:lnTo>
                    <a:pt x="57" y="255"/>
                  </a:lnTo>
                  <a:lnTo>
                    <a:pt x="67" y="255"/>
                  </a:lnTo>
                  <a:lnTo>
                    <a:pt x="76" y="252"/>
                  </a:lnTo>
                  <a:lnTo>
                    <a:pt x="86" y="247"/>
                  </a:lnTo>
                  <a:lnTo>
                    <a:pt x="94" y="242"/>
                  </a:lnTo>
                  <a:lnTo>
                    <a:pt x="96" y="240"/>
                  </a:lnTo>
                  <a:lnTo>
                    <a:pt x="219" y="113"/>
                  </a:lnTo>
                  <a:lnTo>
                    <a:pt x="229" y="98"/>
                  </a:lnTo>
                  <a:lnTo>
                    <a:pt x="231" y="8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73">
            <a:extLst>
              <a:ext uri="{FF2B5EF4-FFF2-40B4-BE49-F238E27FC236}">
                <a16:creationId xmlns:a16="http://schemas.microsoft.com/office/drawing/2014/main" id="{904A6841-26B2-4A78-9F1A-00D8EF151BD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50" y="1540670"/>
            <a:ext cx="841375" cy="841375"/>
            <a:chOff x="327" y="1050"/>
            <a:chExt cx="530" cy="530"/>
          </a:xfrm>
        </p:grpSpPr>
        <p:sp>
          <p:nvSpPr>
            <p:cNvPr id="84" name="AutoShape 72">
              <a:extLst>
                <a:ext uri="{FF2B5EF4-FFF2-40B4-BE49-F238E27FC236}">
                  <a16:creationId xmlns:a16="http://schemas.microsoft.com/office/drawing/2014/main" id="{82DC9C3A-D27A-4444-9904-DF6A8EEC7C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7" y="105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4">
              <a:extLst>
                <a:ext uri="{FF2B5EF4-FFF2-40B4-BE49-F238E27FC236}">
                  <a16:creationId xmlns:a16="http://schemas.microsoft.com/office/drawing/2014/main" id="{1E234693-E5ED-4D9A-A46B-77F505E51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" y="105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5">
              <a:extLst>
                <a:ext uri="{FF2B5EF4-FFF2-40B4-BE49-F238E27FC236}">
                  <a16:creationId xmlns:a16="http://schemas.microsoft.com/office/drawing/2014/main" id="{BB144F95-D1D8-4E38-8956-C59C255E8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" y="106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6">
              <a:extLst>
                <a:ext uri="{FF2B5EF4-FFF2-40B4-BE49-F238E27FC236}">
                  <a16:creationId xmlns:a16="http://schemas.microsoft.com/office/drawing/2014/main" id="{36CD331F-AE69-4D4A-B933-3394F0151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1183"/>
              <a:ext cx="241" cy="266"/>
            </a:xfrm>
            <a:custGeom>
              <a:avLst/>
              <a:gdLst>
                <a:gd name="T0" fmla="*/ 241 w 241"/>
                <a:gd name="T1" fmla="*/ 82 h 266"/>
                <a:gd name="T2" fmla="*/ 241 w 241"/>
                <a:gd name="T3" fmla="*/ 64 h 266"/>
                <a:gd name="T4" fmla="*/ 228 w 241"/>
                <a:gd name="T5" fmla="*/ 31 h 266"/>
                <a:gd name="T6" fmla="*/ 205 w 241"/>
                <a:gd name="T7" fmla="*/ 10 h 266"/>
                <a:gd name="T8" fmla="*/ 179 w 241"/>
                <a:gd name="T9" fmla="*/ 0 h 266"/>
                <a:gd name="T10" fmla="*/ 159 w 241"/>
                <a:gd name="T11" fmla="*/ 0 h 266"/>
                <a:gd name="T12" fmla="*/ 125 w 241"/>
                <a:gd name="T13" fmla="*/ 15 h 266"/>
                <a:gd name="T14" fmla="*/ 0 w 241"/>
                <a:gd name="T15" fmla="*/ 143 h 266"/>
                <a:gd name="T16" fmla="*/ 0 w 241"/>
                <a:gd name="T17" fmla="*/ 146 h 266"/>
                <a:gd name="T18" fmla="*/ 5 w 241"/>
                <a:gd name="T19" fmla="*/ 151 h 266"/>
                <a:gd name="T20" fmla="*/ 10 w 241"/>
                <a:gd name="T21" fmla="*/ 149 h 266"/>
                <a:gd name="T22" fmla="*/ 141 w 241"/>
                <a:gd name="T23" fmla="*/ 21 h 266"/>
                <a:gd name="T24" fmla="*/ 159 w 241"/>
                <a:gd name="T25" fmla="*/ 13 h 266"/>
                <a:gd name="T26" fmla="*/ 177 w 241"/>
                <a:gd name="T27" fmla="*/ 13 h 266"/>
                <a:gd name="T28" fmla="*/ 197 w 241"/>
                <a:gd name="T29" fmla="*/ 21 h 266"/>
                <a:gd name="T30" fmla="*/ 212 w 241"/>
                <a:gd name="T31" fmla="*/ 31 h 266"/>
                <a:gd name="T32" fmla="*/ 223 w 241"/>
                <a:gd name="T33" fmla="*/ 49 h 266"/>
                <a:gd name="T34" fmla="*/ 228 w 241"/>
                <a:gd name="T35" fmla="*/ 69 h 266"/>
                <a:gd name="T36" fmla="*/ 228 w 241"/>
                <a:gd name="T37" fmla="*/ 87 h 266"/>
                <a:gd name="T38" fmla="*/ 220 w 241"/>
                <a:gd name="T39" fmla="*/ 108 h 266"/>
                <a:gd name="T40" fmla="*/ 212 w 241"/>
                <a:gd name="T41" fmla="*/ 118 h 266"/>
                <a:gd name="T42" fmla="*/ 79 w 241"/>
                <a:gd name="T43" fmla="*/ 251 h 266"/>
                <a:gd name="T44" fmla="*/ 59 w 241"/>
                <a:gd name="T45" fmla="*/ 254 h 266"/>
                <a:gd name="T46" fmla="*/ 41 w 241"/>
                <a:gd name="T47" fmla="*/ 248 h 266"/>
                <a:gd name="T48" fmla="*/ 28 w 241"/>
                <a:gd name="T49" fmla="*/ 236 h 266"/>
                <a:gd name="T50" fmla="*/ 20 w 241"/>
                <a:gd name="T51" fmla="*/ 220 h 266"/>
                <a:gd name="T52" fmla="*/ 20 w 241"/>
                <a:gd name="T53" fmla="*/ 200 h 266"/>
                <a:gd name="T54" fmla="*/ 31 w 241"/>
                <a:gd name="T55" fmla="*/ 182 h 266"/>
                <a:gd name="T56" fmla="*/ 138 w 241"/>
                <a:gd name="T57" fmla="*/ 74 h 266"/>
                <a:gd name="T58" fmla="*/ 148 w 241"/>
                <a:gd name="T59" fmla="*/ 69 h 266"/>
                <a:gd name="T60" fmla="*/ 151 w 241"/>
                <a:gd name="T61" fmla="*/ 69 h 266"/>
                <a:gd name="T62" fmla="*/ 166 w 241"/>
                <a:gd name="T63" fmla="*/ 77 h 266"/>
                <a:gd name="T64" fmla="*/ 171 w 241"/>
                <a:gd name="T65" fmla="*/ 92 h 266"/>
                <a:gd name="T66" fmla="*/ 171 w 241"/>
                <a:gd name="T67" fmla="*/ 105 h 266"/>
                <a:gd name="T68" fmla="*/ 166 w 241"/>
                <a:gd name="T69" fmla="*/ 113 h 266"/>
                <a:gd name="T70" fmla="*/ 69 w 241"/>
                <a:gd name="T71" fmla="*/ 218 h 266"/>
                <a:gd name="T72" fmla="*/ 74 w 241"/>
                <a:gd name="T73" fmla="*/ 220 h 266"/>
                <a:gd name="T74" fmla="*/ 79 w 241"/>
                <a:gd name="T75" fmla="*/ 218 h 266"/>
                <a:gd name="T76" fmla="*/ 184 w 241"/>
                <a:gd name="T77" fmla="*/ 108 h 266"/>
                <a:gd name="T78" fmla="*/ 184 w 241"/>
                <a:gd name="T79" fmla="*/ 97 h 266"/>
                <a:gd name="T80" fmla="*/ 182 w 241"/>
                <a:gd name="T81" fmla="*/ 77 h 266"/>
                <a:gd name="T82" fmla="*/ 166 w 241"/>
                <a:gd name="T83" fmla="*/ 61 h 266"/>
                <a:gd name="T84" fmla="*/ 148 w 241"/>
                <a:gd name="T85" fmla="*/ 56 h 266"/>
                <a:gd name="T86" fmla="*/ 130 w 241"/>
                <a:gd name="T87" fmla="*/ 61 h 266"/>
                <a:gd name="T88" fmla="*/ 18 w 241"/>
                <a:gd name="T89" fmla="*/ 177 h 266"/>
                <a:gd name="T90" fmla="*/ 8 w 241"/>
                <a:gd name="T91" fmla="*/ 195 h 266"/>
                <a:gd name="T92" fmla="*/ 8 w 241"/>
                <a:gd name="T93" fmla="*/ 210 h 266"/>
                <a:gd name="T94" fmla="*/ 10 w 241"/>
                <a:gd name="T95" fmla="*/ 230 h 266"/>
                <a:gd name="T96" fmla="*/ 18 w 241"/>
                <a:gd name="T97" fmla="*/ 243 h 266"/>
                <a:gd name="T98" fmla="*/ 31 w 241"/>
                <a:gd name="T99" fmla="*/ 259 h 266"/>
                <a:gd name="T100" fmla="*/ 48 w 241"/>
                <a:gd name="T101" fmla="*/ 266 h 266"/>
                <a:gd name="T102" fmla="*/ 69 w 241"/>
                <a:gd name="T103" fmla="*/ 266 h 266"/>
                <a:gd name="T104" fmla="*/ 89 w 241"/>
                <a:gd name="T105" fmla="*/ 259 h 266"/>
                <a:gd name="T106" fmla="*/ 100 w 241"/>
                <a:gd name="T107" fmla="*/ 251 h 266"/>
                <a:gd name="T108" fmla="*/ 238 w 241"/>
                <a:gd name="T109" fmla="*/ 102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1" h="266">
                  <a:moveTo>
                    <a:pt x="241" y="92"/>
                  </a:moveTo>
                  <a:lnTo>
                    <a:pt x="241" y="82"/>
                  </a:lnTo>
                  <a:lnTo>
                    <a:pt x="241" y="74"/>
                  </a:lnTo>
                  <a:lnTo>
                    <a:pt x="241" y="64"/>
                  </a:lnTo>
                  <a:lnTo>
                    <a:pt x="235" y="46"/>
                  </a:lnTo>
                  <a:lnTo>
                    <a:pt x="228" y="31"/>
                  </a:lnTo>
                  <a:lnTo>
                    <a:pt x="217" y="18"/>
                  </a:lnTo>
                  <a:lnTo>
                    <a:pt x="205" y="10"/>
                  </a:lnTo>
                  <a:lnTo>
                    <a:pt x="192" y="3"/>
                  </a:lnTo>
                  <a:lnTo>
                    <a:pt x="179" y="0"/>
                  </a:lnTo>
                  <a:lnTo>
                    <a:pt x="169" y="0"/>
                  </a:lnTo>
                  <a:lnTo>
                    <a:pt x="159" y="0"/>
                  </a:lnTo>
                  <a:lnTo>
                    <a:pt x="138" y="5"/>
                  </a:lnTo>
                  <a:lnTo>
                    <a:pt x="125" y="15"/>
                  </a:lnTo>
                  <a:lnTo>
                    <a:pt x="115" y="2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6"/>
                  </a:lnTo>
                  <a:lnTo>
                    <a:pt x="2" y="149"/>
                  </a:lnTo>
                  <a:lnTo>
                    <a:pt x="5" y="151"/>
                  </a:lnTo>
                  <a:lnTo>
                    <a:pt x="8" y="149"/>
                  </a:lnTo>
                  <a:lnTo>
                    <a:pt x="10" y="149"/>
                  </a:lnTo>
                  <a:lnTo>
                    <a:pt x="133" y="26"/>
                  </a:lnTo>
                  <a:lnTo>
                    <a:pt x="141" y="21"/>
                  </a:lnTo>
                  <a:lnTo>
                    <a:pt x="151" y="15"/>
                  </a:lnTo>
                  <a:lnTo>
                    <a:pt x="159" y="13"/>
                  </a:lnTo>
                  <a:lnTo>
                    <a:pt x="169" y="13"/>
                  </a:lnTo>
                  <a:lnTo>
                    <a:pt x="177" y="13"/>
                  </a:lnTo>
                  <a:lnTo>
                    <a:pt x="187" y="15"/>
                  </a:lnTo>
                  <a:lnTo>
                    <a:pt x="197" y="21"/>
                  </a:lnTo>
                  <a:lnTo>
                    <a:pt x="205" y="26"/>
                  </a:lnTo>
                  <a:lnTo>
                    <a:pt x="212" y="31"/>
                  </a:lnTo>
                  <a:lnTo>
                    <a:pt x="217" y="38"/>
                  </a:lnTo>
                  <a:lnTo>
                    <a:pt x="223" y="49"/>
                  </a:lnTo>
                  <a:lnTo>
                    <a:pt x="228" y="59"/>
                  </a:lnTo>
                  <a:lnTo>
                    <a:pt x="228" y="69"/>
                  </a:lnTo>
                  <a:lnTo>
                    <a:pt x="230" y="77"/>
                  </a:lnTo>
                  <a:lnTo>
                    <a:pt x="228" y="87"/>
                  </a:lnTo>
                  <a:lnTo>
                    <a:pt x="225" y="95"/>
                  </a:lnTo>
                  <a:lnTo>
                    <a:pt x="220" y="108"/>
                  </a:lnTo>
                  <a:lnTo>
                    <a:pt x="215" y="115"/>
                  </a:lnTo>
                  <a:lnTo>
                    <a:pt x="212" y="118"/>
                  </a:lnTo>
                  <a:lnTo>
                    <a:pt x="87" y="246"/>
                  </a:lnTo>
                  <a:lnTo>
                    <a:pt x="79" y="251"/>
                  </a:lnTo>
                  <a:lnTo>
                    <a:pt x="69" y="254"/>
                  </a:lnTo>
                  <a:lnTo>
                    <a:pt x="59" y="254"/>
                  </a:lnTo>
                  <a:lnTo>
                    <a:pt x="48" y="251"/>
                  </a:lnTo>
                  <a:lnTo>
                    <a:pt x="41" y="248"/>
                  </a:lnTo>
                  <a:lnTo>
                    <a:pt x="33" y="243"/>
                  </a:lnTo>
                  <a:lnTo>
                    <a:pt x="28" y="236"/>
                  </a:lnTo>
                  <a:lnTo>
                    <a:pt x="23" y="228"/>
                  </a:lnTo>
                  <a:lnTo>
                    <a:pt x="20" y="220"/>
                  </a:lnTo>
                  <a:lnTo>
                    <a:pt x="18" y="210"/>
                  </a:lnTo>
                  <a:lnTo>
                    <a:pt x="20" y="200"/>
                  </a:lnTo>
                  <a:lnTo>
                    <a:pt x="23" y="192"/>
                  </a:lnTo>
                  <a:lnTo>
                    <a:pt x="31" y="182"/>
                  </a:lnTo>
                  <a:lnTo>
                    <a:pt x="31" y="179"/>
                  </a:lnTo>
                  <a:lnTo>
                    <a:pt x="138" y="74"/>
                  </a:lnTo>
                  <a:lnTo>
                    <a:pt x="143" y="72"/>
                  </a:lnTo>
                  <a:lnTo>
                    <a:pt x="148" y="69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9" y="72"/>
                  </a:lnTo>
                  <a:lnTo>
                    <a:pt x="166" y="77"/>
                  </a:lnTo>
                  <a:lnTo>
                    <a:pt x="169" y="85"/>
                  </a:lnTo>
                  <a:lnTo>
                    <a:pt x="171" y="92"/>
                  </a:lnTo>
                  <a:lnTo>
                    <a:pt x="171" y="95"/>
                  </a:lnTo>
                  <a:lnTo>
                    <a:pt x="171" y="105"/>
                  </a:lnTo>
                  <a:lnTo>
                    <a:pt x="166" y="110"/>
                  </a:lnTo>
                  <a:lnTo>
                    <a:pt x="166" y="113"/>
                  </a:lnTo>
                  <a:lnTo>
                    <a:pt x="69" y="215"/>
                  </a:lnTo>
                  <a:lnTo>
                    <a:pt x="69" y="218"/>
                  </a:lnTo>
                  <a:lnTo>
                    <a:pt x="72" y="220"/>
                  </a:lnTo>
                  <a:lnTo>
                    <a:pt x="74" y="220"/>
                  </a:lnTo>
                  <a:lnTo>
                    <a:pt x="77" y="220"/>
                  </a:lnTo>
                  <a:lnTo>
                    <a:pt x="79" y="218"/>
                  </a:lnTo>
                  <a:lnTo>
                    <a:pt x="179" y="115"/>
                  </a:lnTo>
                  <a:lnTo>
                    <a:pt x="184" y="108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87"/>
                  </a:lnTo>
                  <a:lnTo>
                    <a:pt x="182" y="77"/>
                  </a:lnTo>
                  <a:lnTo>
                    <a:pt x="174" y="69"/>
                  </a:lnTo>
                  <a:lnTo>
                    <a:pt x="166" y="61"/>
                  </a:lnTo>
                  <a:lnTo>
                    <a:pt x="159" y="59"/>
                  </a:lnTo>
                  <a:lnTo>
                    <a:pt x="148" y="56"/>
                  </a:lnTo>
                  <a:lnTo>
                    <a:pt x="138" y="59"/>
                  </a:lnTo>
                  <a:lnTo>
                    <a:pt x="130" y="61"/>
                  </a:lnTo>
                  <a:lnTo>
                    <a:pt x="123" y="69"/>
                  </a:lnTo>
                  <a:lnTo>
                    <a:pt x="18" y="177"/>
                  </a:lnTo>
                  <a:lnTo>
                    <a:pt x="13" y="184"/>
                  </a:lnTo>
                  <a:lnTo>
                    <a:pt x="8" y="195"/>
                  </a:lnTo>
                  <a:lnTo>
                    <a:pt x="8" y="202"/>
                  </a:lnTo>
                  <a:lnTo>
                    <a:pt x="8" y="210"/>
                  </a:lnTo>
                  <a:lnTo>
                    <a:pt x="8" y="220"/>
                  </a:lnTo>
                  <a:lnTo>
                    <a:pt x="10" y="230"/>
                  </a:lnTo>
                  <a:lnTo>
                    <a:pt x="13" y="238"/>
                  </a:lnTo>
                  <a:lnTo>
                    <a:pt x="18" y="243"/>
                  </a:lnTo>
                  <a:lnTo>
                    <a:pt x="23" y="251"/>
                  </a:lnTo>
                  <a:lnTo>
                    <a:pt x="31" y="259"/>
                  </a:lnTo>
                  <a:lnTo>
                    <a:pt x="38" y="261"/>
                  </a:lnTo>
                  <a:lnTo>
                    <a:pt x="48" y="266"/>
                  </a:lnTo>
                  <a:lnTo>
                    <a:pt x="59" y="266"/>
                  </a:lnTo>
                  <a:lnTo>
                    <a:pt x="69" y="266"/>
                  </a:lnTo>
                  <a:lnTo>
                    <a:pt x="79" y="264"/>
                  </a:lnTo>
                  <a:lnTo>
                    <a:pt x="89" y="259"/>
                  </a:lnTo>
                  <a:lnTo>
                    <a:pt x="97" y="254"/>
                  </a:lnTo>
                  <a:lnTo>
                    <a:pt x="100" y="251"/>
                  </a:lnTo>
                  <a:lnTo>
                    <a:pt x="228" y="118"/>
                  </a:lnTo>
                  <a:lnTo>
                    <a:pt x="238" y="102"/>
                  </a:lnTo>
                  <a:lnTo>
                    <a:pt x="241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79">
            <a:extLst>
              <a:ext uri="{FF2B5EF4-FFF2-40B4-BE49-F238E27FC236}">
                <a16:creationId xmlns:a16="http://schemas.microsoft.com/office/drawing/2014/main" id="{1BD60535-527A-47BC-990B-0C205CB915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447" y="1579563"/>
            <a:ext cx="758825" cy="758825"/>
            <a:chOff x="2344" y="1174"/>
            <a:chExt cx="478" cy="478"/>
          </a:xfrm>
        </p:grpSpPr>
        <p:sp>
          <p:nvSpPr>
            <p:cNvPr id="93" name="AutoShape 78">
              <a:extLst>
                <a:ext uri="{FF2B5EF4-FFF2-40B4-BE49-F238E27FC236}">
                  <a16:creationId xmlns:a16="http://schemas.microsoft.com/office/drawing/2014/main" id="{04029930-3E4E-47E9-B781-BCBEBC177D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4" y="117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BE7FEA7B-E236-42A5-AD07-B12D52492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" y="117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E105F15A-639B-4953-82F5-E8D9EE1C3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2" y="1282"/>
              <a:ext cx="265" cy="265"/>
            </a:xfrm>
            <a:custGeom>
              <a:avLst/>
              <a:gdLst>
                <a:gd name="T0" fmla="*/ 262 w 265"/>
                <a:gd name="T1" fmla="*/ 56 h 265"/>
                <a:gd name="T2" fmla="*/ 252 w 265"/>
                <a:gd name="T3" fmla="*/ 32 h 265"/>
                <a:gd name="T4" fmla="*/ 235 w 265"/>
                <a:gd name="T5" fmla="*/ 17 h 265"/>
                <a:gd name="T6" fmla="*/ 211 w 265"/>
                <a:gd name="T7" fmla="*/ 5 h 265"/>
                <a:gd name="T8" fmla="*/ 191 w 265"/>
                <a:gd name="T9" fmla="*/ 0 h 265"/>
                <a:gd name="T10" fmla="*/ 164 w 265"/>
                <a:gd name="T11" fmla="*/ 5 h 265"/>
                <a:gd name="T12" fmla="*/ 144 w 265"/>
                <a:gd name="T13" fmla="*/ 22 h 265"/>
                <a:gd name="T14" fmla="*/ 76 w 265"/>
                <a:gd name="T15" fmla="*/ 137 h 265"/>
                <a:gd name="T16" fmla="*/ 78 w 265"/>
                <a:gd name="T17" fmla="*/ 142 h 265"/>
                <a:gd name="T18" fmla="*/ 64 w 265"/>
                <a:gd name="T19" fmla="*/ 194 h 265"/>
                <a:gd name="T20" fmla="*/ 0 w 265"/>
                <a:gd name="T21" fmla="*/ 257 h 265"/>
                <a:gd name="T22" fmla="*/ 100 w 265"/>
                <a:gd name="T23" fmla="*/ 265 h 265"/>
                <a:gd name="T24" fmla="*/ 162 w 265"/>
                <a:gd name="T25" fmla="*/ 189 h 265"/>
                <a:gd name="T26" fmla="*/ 164 w 265"/>
                <a:gd name="T27" fmla="*/ 189 h 265"/>
                <a:gd name="T28" fmla="*/ 164 w 265"/>
                <a:gd name="T29" fmla="*/ 189 h 265"/>
                <a:gd name="T30" fmla="*/ 201 w 265"/>
                <a:gd name="T31" fmla="*/ 130 h 265"/>
                <a:gd name="T32" fmla="*/ 225 w 265"/>
                <a:gd name="T33" fmla="*/ 110 h 265"/>
                <a:gd name="T34" fmla="*/ 255 w 265"/>
                <a:gd name="T35" fmla="*/ 98 h 265"/>
                <a:gd name="T36" fmla="*/ 262 w 265"/>
                <a:gd name="T37" fmla="*/ 83 h 265"/>
                <a:gd name="T38" fmla="*/ 265 w 265"/>
                <a:gd name="T39" fmla="*/ 66 h 265"/>
                <a:gd name="T40" fmla="*/ 78 w 265"/>
                <a:gd name="T41" fmla="*/ 194 h 265"/>
                <a:gd name="T42" fmla="*/ 105 w 265"/>
                <a:gd name="T43" fmla="*/ 189 h 265"/>
                <a:gd name="T44" fmla="*/ 108 w 265"/>
                <a:gd name="T45" fmla="*/ 189 h 265"/>
                <a:gd name="T46" fmla="*/ 103 w 265"/>
                <a:gd name="T47" fmla="*/ 238 h 265"/>
                <a:gd name="T48" fmla="*/ 203 w 265"/>
                <a:gd name="T49" fmla="*/ 113 h 265"/>
                <a:gd name="T50" fmla="*/ 181 w 265"/>
                <a:gd name="T51" fmla="*/ 140 h 265"/>
                <a:gd name="T52" fmla="*/ 159 w 265"/>
                <a:gd name="T53" fmla="*/ 179 h 265"/>
                <a:gd name="T54" fmla="*/ 88 w 265"/>
                <a:gd name="T55" fmla="*/ 137 h 265"/>
                <a:gd name="T56" fmla="*/ 171 w 265"/>
                <a:gd name="T57" fmla="*/ 44 h 265"/>
                <a:gd name="T58" fmla="*/ 154 w 265"/>
                <a:gd name="T59" fmla="*/ 66 h 265"/>
                <a:gd name="T60" fmla="*/ 130 w 265"/>
                <a:gd name="T61" fmla="*/ 108 h 265"/>
                <a:gd name="T62" fmla="*/ 130 w 265"/>
                <a:gd name="T63" fmla="*/ 115 h 265"/>
                <a:gd name="T64" fmla="*/ 120 w 265"/>
                <a:gd name="T65" fmla="*/ 142 h 265"/>
                <a:gd name="T66" fmla="*/ 140 w 265"/>
                <a:gd name="T67" fmla="*/ 154 h 265"/>
                <a:gd name="T68" fmla="*/ 149 w 265"/>
                <a:gd name="T69" fmla="*/ 149 h 265"/>
                <a:gd name="T70" fmla="*/ 164 w 265"/>
                <a:gd name="T71" fmla="*/ 127 h 265"/>
                <a:gd name="T72" fmla="*/ 189 w 265"/>
                <a:gd name="T73" fmla="*/ 86 h 265"/>
                <a:gd name="T74" fmla="*/ 189 w 265"/>
                <a:gd name="T75" fmla="*/ 78 h 265"/>
                <a:gd name="T76" fmla="*/ 250 w 265"/>
                <a:gd name="T77" fmla="*/ 88 h 265"/>
                <a:gd name="T78" fmla="*/ 140 w 265"/>
                <a:gd name="T79" fmla="*/ 110 h 265"/>
                <a:gd name="T80" fmla="*/ 179 w 265"/>
                <a:gd name="T81" fmla="*/ 83 h 265"/>
                <a:gd name="T82" fmla="*/ 140 w 265"/>
                <a:gd name="T83" fmla="*/ 110 h 265"/>
                <a:gd name="T84" fmla="*/ 142 w 265"/>
                <a:gd name="T85" fmla="*/ 147 h 265"/>
                <a:gd name="T86" fmla="*/ 135 w 265"/>
                <a:gd name="T87" fmla="*/ 120 h 265"/>
                <a:gd name="T88" fmla="*/ 167 w 265"/>
                <a:gd name="T89" fmla="*/ 64 h 265"/>
                <a:gd name="T90" fmla="*/ 194 w 265"/>
                <a:gd name="T91" fmla="*/ 56 h 265"/>
                <a:gd name="T92" fmla="*/ 167 w 265"/>
                <a:gd name="T93" fmla="*/ 64 h 265"/>
                <a:gd name="T94" fmla="*/ 159 w 265"/>
                <a:gd name="T95" fmla="*/ 22 h 265"/>
                <a:gd name="T96" fmla="*/ 179 w 265"/>
                <a:gd name="T97" fmla="*/ 12 h 265"/>
                <a:gd name="T98" fmla="*/ 191 w 265"/>
                <a:gd name="T99" fmla="*/ 12 h 265"/>
                <a:gd name="T100" fmla="*/ 211 w 265"/>
                <a:gd name="T101" fmla="*/ 15 h 265"/>
                <a:gd name="T102" fmla="*/ 233 w 265"/>
                <a:gd name="T103" fmla="*/ 27 h 265"/>
                <a:gd name="T104" fmla="*/ 245 w 265"/>
                <a:gd name="T105" fmla="*/ 44 h 265"/>
                <a:gd name="T106" fmla="*/ 252 w 265"/>
                <a:gd name="T107" fmla="*/ 64 h 265"/>
                <a:gd name="T108" fmla="*/ 252 w 265"/>
                <a:gd name="T109" fmla="*/ 7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5" h="265">
                  <a:moveTo>
                    <a:pt x="265" y="66"/>
                  </a:moveTo>
                  <a:lnTo>
                    <a:pt x="262" y="56"/>
                  </a:lnTo>
                  <a:lnTo>
                    <a:pt x="260" y="44"/>
                  </a:lnTo>
                  <a:lnTo>
                    <a:pt x="252" y="32"/>
                  </a:lnTo>
                  <a:lnTo>
                    <a:pt x="245" y="24"/>
                  </a:lnTo>
                  <a:lnTo>
                    <a:pt x="235" y="17"/>
                  </a:lnTo>
                  <a:lnTo>
                    <a:pt x="225" y="10"/>
                  </a:lnTo>
                  <a:lnTo>
                    <a:pt x="211" y="5"/>
                  </a:lnTo>
                  <a:lnTo>
                    <a:pt x="196" y="0"/>
                  </a:lnTo>
                  <a:lnTo>
                    <a:pt x="191" y="0"/>
                  </a:lnTo>
                  <a:lnTo>
                    <a:pt x="179" y="2"/>
                  </a:lnTo>
                  <a:lnTo>
                    <a:pt x="164" y="5"/>
                  </a:lnTo>
                  <a:lnTo>
                    <a:pt x="152" y="15"/>
                  </a:lnTo>
                  <a:lnTo>
                    <a:pt x="144" y="22"/>
                  </a:lnTo>
                  <a:lnTo>
                    <a:pt x="137" y="29"/>
                  </a:lnTo>
                  <a:lnTo>
                    <a:pt x="76" y="137"/>
                  </a:lnTo>
                  <a:lnTo>
                    <a:pt x="76" y="140"/>
                  </a:lnTo>
                  <a:lnTo>
                    <a:pt x="78" y="142"/>
                  </a:lnTo>
                  <a:lnTo>
                    <a:pt x="86" y="157"/>
                  </a:lnTo>
                  <a:lnTo>
                    <a:pt x="64" y="194"/>
                  </a:lnTo>
                  <a:lnTo>
                    <a:pt x="100" y="257"/>
                  </a:lnTo>
                  <a:lnTo>
                    <a:pt x="0" y="257"/>
                  </a:lnTo>
                  <a:lnTo>
                    <a:pt x="0" y="265"/>
                  </a:lnTo>
                  <a:lnTo>
                    <a:pt x="100" y="265"/>
                  </a:lnTo>
                  <a:lnTo>
                    <a:pt x="144" y="189"/>
                  </a:lnTo>
                  <a:lnTo>
                    <a:pt x="162" y="189"/>
                  </a:lnTo>
                  <a:lnTo>
                    <a:pt x="164" y="194"/>
                  </a:lnTo>
                  <a:lnTo>
                    <a:pt x="164" y="189"/>
                  </a:lnTo>
                  <a:lnTo>
                    <a:pt x="164" y="194"/>
                  </a:lnTo>
                  <a:lnTo>
                    <a:pt x="164" y="189"/>
                  </a:lnTo>
                  <a:lnTo>
                    <a:pt x="167" y="186"/>
                  </a:lnTo>
                  <a:lnTo>
                    <a:pt x="201" y="130"/>
                  </a:lnTo>
                  <a:lnTo>
                    <a:pt x="211" y="120"/>
                  </a:lnTo>
                  <a:lnTo>
                    <a:pt x="225" y="110"/>
                  </a:lnTo>
                  <a:lnTo>
                    <a:pt x="243" y="103"/>
                  </a:lnTo>
                  <a:lnTo>
                    <a:pt x="255" y="98"/>
                  </a:lnTo>
                  <a:lnTo>
                    <a:pt x="257" y="95"/>
                  </a:lnTo>
                  <a:lnTo>
                    <a:pt x="262" y="83"/>
                  </a:lnTo>
                  <a:lnTo>
                    <a:pt x="265" y="71"/>
                  </a:lnTo>
                  <a:lnTo>
                    <a:pt x="265" y="66"/>
                  </a:lnTo>
                  <a:close/>
                  <a:moveTo>
                    <a:pt x="103" y="238"/>
                  </a:moveTo>
                  <a:lnTo>
                    <a:pt x="78" y="194"/>
                  </a:lnTo>
                  <a:lnTo>
                    <a:pt x="93" y="169"/>
                  </a:lnTo>
                  <a:lnTo>
                    <a:pt x="105" y="189"/>
                  </a:lnTo>
                  <a:lnTo>
                    <a:pt x="108" y="189"/>
                  </a:lnTo>
                  <a:lnTo>
                    <a:pt x="108" y="189"/>
                  </a:lnTo>
                  <a:lnTo>
                    <a:pt x="130" y="189"/>
                  </a:lnTo>
                  <a:lnTo>
                    <a:pt x="103" y="238"/>
                  </a:lnTo>
                  <a:close/>
                  <a:moveTo>
                    <a:pt x="218" y="103"/>
                  </a:moveTo>
                  <a:lnTo>
                    <a:pt x="203" y="113"/>
                  </a:lnTo>
                  <a:lnTo>
                    <a:pt x="194" y="122"/>
                  </a:lnTo>
                  <a:lnTo>
                    <a:pt x="181" y="140"/>
                  </a:lnTo>
                  <a:lnTo>
                    <a:pt x="179" y="144"/>
                  </a:lnTo>
                  <a:lnTo>
                    <a:pt x="159" y="179"/>
                  </a:lnTo>
                  <a:lnTo>
                    <a:pt x="113" y="179"/>
                  </a:lnTo>
                  <a:lnTo>
                    <a:pt x="88" y="137"/>
                  </a:lnTo>
                  <a:lnTo>
                    <a:pt x="152" y="32"/>
                  </a:lnTo>
                  <a:lnTo>
                    <a:pt x="171" y="44"/>
                  </a:lnTo>
                  <a:lnTo>
                    <a:pt x="159" y="64"/>
                  </a:lnTo>
                  <a:lnTo>
                    <a:pt x="154" y="66"/>
                  </a:lnTo>
                  <a:lnTo>
                    <a:pt x="152" y="68"/>
                  </a:lnTo>
                  <a:lnTo>
                    <a:pt x="130" y="108"/>
                  </a:lnTo>
                  <a:lnTo>
                    <a:pt x="130" y="110"/>
                  </a:lnTo>
                  <a:lnTo>
                    <a:pt x="130" y="115"/>
                  </a:lnTo>
                  <a:lnTo>
                    <a:pt x="118" y="137"/>
                  </a:lnTo>
                  <a:lnTo>
                    <a:pt x="120" y="142"/>
                  </a:lnTo>
                  <a:lnTo>
                    <a:pt x="122" y="144"/>
                  </a:lnTo>
                  <a:lnTo>
                    <a:pt x="140" y="154"/>
                  </a:lnTo>
                  <a:lnTo>
                    <a:pt x="147" y="152"/>
                  </a:lnTo>
                  <a:lnTo>
                    <a:pt x="149" y="149"/>
                  </a:lnTo>
                  <a:lnTo>
                    <a:pt x="159" y="130"/>
                  </a:lnTo>
                  <a:lnTo>
                    <a:pt x="164" y="127"/>
                  </a:lnTo>
                  <a:lnTo>
                    <a:pt x="167" y="125"/>
                  </a:lnTo>
                  <a:lnTo>
                    <a:pt x="189" y="86"/>
                  </a:lnTo>
                  <a:lnTo>
                    <a:pt x="189" y="83"/>
                  </a:lnTo>
                  <a:lnTo>
                    <a:pt x="189" y="78"/>
                  </a:lnTo>
                  <a:lnTo>
                    <a:pt x="201" y="59"/>
                  </a:lnTo>
                  <a:lnTo>
                    <a:pt x="250" y="88"/>
                  </a:lnTo>
                  <a:lnTo>
                    <a:pt x="218" y="103"/>
                  </a:lnTo>
                  <a:close/>
                  <a:moveTo>
                    <a:pt x="140" y="110"/>
                  </a:moveTo>
                  <a:lnTo>
                    <a:pt x="162" y="73"/>
                  </a:lnTo>
                  <a:lnTo>
                    <a:pt x="179" y="83"/>
                  </a:lnTo>
                  <a:lnTo>
                    <a:pt x="157" y="120"/>
                  </a:lnTo>
                  <a:lnTo>
                    <a:pt x="140" y="110"/>
                  </a:lnTo>
                  <a:close/>
                  <a:moveTo>
                    <a:pt x="152" y="130"/>
                  </a:moveTo>
                  <a:lnTo>
                    <a:pt x="142" y="147"/>
                  </a:lnTo>
                  <a:lnTo>
                    <a:pt x="125" y="137"/>
                  </a:lnTo>
                  <a:lnTo>
                    <a:pt x="135" y="120"/>
                  </a:lnTo>
                  <a:lnTo>
                    <a:pt x="152" y="130"/>
                  </a:lnTo>
                  <a:close/>
                  <a:moveTo>
                    <a:pt x="167" y="64"/>
                  </a:moveTo>
                  <a:lnTo>
                    <a:pt x="176" y="46"/>
                  </a:lnTo>
                  <a:lnTo>
                    <a:pt x="194" y="56"/>
                  </a:lnTo>
                  <a:lnTo>
                    <a:pt x="184" y="73"/>
                  </a:lnTo>
                  <a:lnTo>
                    <a:pt x="167" y="64"/>
                  </a:lnTo>
                  <a:close/>
                  <a:moveTo>
                    <a:pt x="252" y="76"/>
                  </a:moveTo>
                  <a:lnTo>
                    <a:pt x="159" y="22"/>
                  </a:lnTo>
                  <a:lnTo>
                    <a:pt x="169" y="15"/>
                  </a:lnTo>
                  <a:lnTo>
                    <a:pt x="179" y="12"/>
                  </a:lnTo>
                  <a:lnTo>
                    <a:pt x="189" y="12"/>
                  </a:lnTo>
                  <a:lnTo>
                    <a:pt x="191" y="12"/>
                  </a:lnTo>
                  <a:lnTo>
                    <a:pt x="198" y="12"/>
                  </a:lnTo>
                  <a:lnTo>
                    <a:pt x="211" y="15"/>
                  </a:lnTo>
                  <a:lnTo>
                    <a:pt x="223" y="22"/>
                  </a:lnTo>
                  <a:lnTo>
                    <a:pt x="233" y="27"/>
                  </a:lnTo>
                  <a:lnTo>
                    <a:pt x="238" y="34"/>
                  </a:lnTo>
                  <a:lnTo>
                    <a:pt x="245" y="44"/>
                  </a:lnTo>
                  <a:lnTo>
                    <a:pt x="250" y="54"/>
                  </a:lnTo>
                  <a:lnTo>
                    <a:pt x="252" y="64"/>
                  </a:lnTo>
                  <a:lnTo>
                    <a:pt x="252" y="68"/>
                  </a:lnTo>
                  <a:lnTo>
                    <a:pt x="252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82">
              <a:extLst>
                <a:ext uri="{FF2B5EF4-FFF2-40B4-BE49-F238E27FC236}">
                  <a16:creationId xmlns:a16="http://schemas.microsoft.com/office/drawing/2014/main" id="{0FF32138-8ED6-4A24-A1D4-5100D920B8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5" y="141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7" name="Group 85">
            <a:extLst>
              <a:ext uri="{FF2B5EF4-FFF2-40B4-BE49-F238E27FC236}">
                <a16:creationId xmlns:a16="http://schemas.microsoft.com/office/drawing/2014/main" id="{B0821DAE-AFBD-4B6C-AC33-50752CE5E09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2610" y="1538288"/>
            <a:ext cx="841375" cy="841375"/>
            <a:chOff x="1689" y="1016"/>
            <a:chExt cx="530" cy="530"/>
          </a:xfrm>
        </p:grpSpPr>
        <p:sp>
          <p:nvSpPr>
            <p:cNvPr id="98" name="AutoShape 84">
              <a:extLst>
                <a:ext uri="{FF2B5EF4-FFF2-40B4-BE49-F238E27FC236}">
                  <a16:creationId xmlns:a16="http://schemas.microsoft.com/office/drawing/2014/main" id="{052357AF-EE8B-4B23-82A5-D7328D4ACA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9" y="101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86">
              <a:extLst>
                <a:ext uri="{FF2B5EF4-FFF2-40B4-BE49-F238E27FC236}">
                  <a16:creationId xmlns:a16="http://schemas.microsoft.com/office/drawing/2014/main" id="{F9F94592-B1A4-454C-BC5C-53EEAE1D4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9" y="101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7">
              <a:extLst>
                <a:ext uri="{FF2B5EF4-FFF2-40B4-BE49-F238E27FC236}">
                  <a16:creationId xmlns:a16="http://schemas.microsoft.com/office/drawing/2014/main" id="{677619CF-7849-4908-9267-9BB20BD0C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7" y="103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8">
              <a:extLst>
                <a:ext uri="{FF2B5EF4-FFF2-40B4-BE49-F238E27FC236}">
                  <a16:creationId xmlns:a16="http://schemas.microsoft.com/office/drawing/2014/main" id="{AC5D1730-4488-4A3D-A1CF-F25894B619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7" y="1144"/>
              <a:ext cx="276" cy="276"/>
            </a:xfrm>
            <a:custGeom>
              <a:avLst/>
              <a:gdLst>
                <a:gd name="T0" fmla="*/ 274 w 276"/>
                <a:gd name="T1" fmla="*/ 59 h 276"/>
                <a:gd name="T2" fmla="*/ 264 w 276"/>
                <a:gd name="T3" fmla="*/ 33 h 276"/>
                <a:gd name="T4" fmla="*/ 246 w 276"/>
                <a:gd name="T5" fmla="*/ 18 h 276"/>
                <a:gd name="T6" fmla="*/ 220 w 276"/>
                <a:gd name="T7" fmla="*/ 5 h 276"/>
                <a:gd name="T8" fmla="*/ 200 w 276"/>
                <a:gd name="T9" fmla="*/ 0 h 276"/>
                <a:gd name="T10" fmla="*/ 171 w 276"/>
                <a:gd name="T11" fmla="*/ 5 h 276"/>
                <a:gd name="T12" fmla="*/ 151 w 276"/>
                <a:gd name="T13" fmla="*/ 23 h 276"/>
                <a:gd name="T14" fmla="*/ 79 w 276"/>
                <a:gd name="T15" fmla="*/ 143 h 276"/>
                <a:gd name="T16" fmla="*/ 82 w 276"/>
                <a:gd name="T17" fmla="*/ 148 h 276"/>
                <a:gd name="T18" fmla="*/ 66 w 276"/>
                <a:gd name="T19" fmla="*/ 202 h 276"/>
                <a:gd name="T20" fmla="*/ 0 w 276"/>
                <a:gd name="T21" fmla="*/ 269 h 276"/>
                <a:gd name="T22" fmla="*/ 105 w 276"/>
                <a:gd name="T23" fmla="*/ 276 h 276"/>
                <a:gd name="T24" fmla="*/ 169 w 276"/>
                <a:gd name="T25" fmla="*/ 197 h 276"/>
                <a:gd name="T26" fmla="*/ 171 w 276"/>
                <a:gd name="T27" fmla="*/ 197 h 276"/>
                <a:gd name="T28" fmla="*/ 171 w 276"/>
                <a:gd name="T29" fmla="*/ 197 h 276"/>
                <a:gd name="T30" fmla="*/ 210 w 276"/>
                <a:gd name="T31" fmla="*/ 136 h 276"/>
                <a:gd name="T32" fmla="*/ 235 w 276"/>
                <a:gd name="T33" fmla="*/ 115 h 276"/>
                <a:gd name="T34" fmla="*/ 266 w 276"/>
                <a:gd name="T35" fmla="*/ 102 h 276"/>
                <a:gd name="T36" fmla="*/ 274 w 276"/>
                <a:gd name="T37" fmla="*/ 87 h 276"/>
                <a:gd name="T38" fmla="*/ 276 w 276"/>
                <a:gd name="T39" fmla="*/ 69 h 276"/>
                <a:gd name="T40" fmla="*/ 82 w 276"/>
                <a:gd name="T41" fmla="*/ 202 h 276"/>
                <a:gd name="T42" fmla="*/ 110 w 276"/>
                <a:gd name="T43" fmla="*/ 197 h 276"/>
                <a:gd name="T44" fmla="*/ 113 w 276"/>
                <a:gd name="T45" fmla="*/ 197 h 276"/>
                <a:gd name="T46" fmla="*/ 107 w 276"/>
                <a:gd name="T47" fmla="*/ 248 h 276"/>
                <a:gd name="T48" fmla="*/ 212 w 276"/>
                <a:gd name="T49" fmla="*/ 118 h 276"/>
                <a:gd name="T50" fmla="*/ 189 w 276"/>
                <a:gd name="T51" fmla="*/ 146 h 276"/>
                <a:gd name="T52" fmla="*/ 166 w 276"/>
                <a:gd name="T53" fmla="*/ 187 h 276"/>
                <a:gd name="T54" fmla="*/ 92 w 276"/>
                <a:gd name="T55" fmla="*/ 143 h 276"/>
                <a:gd name="T56" fmla="*/ 179 w 276"/>
                <a:gd name="T57" fmla="*/ 46 h 276"/>
                <a:gd name="T58" fmla="*/ 161 w 276"/>
                <a:gd name="T59" fmla="*/ 69 h 276"/>
                <a:gd name="T60" fmla="*/ 136 w 276"/>
                <a:gd name="T61" fmla="*/ 113 h 276"/>
                <a:gd name="T62" fmla="*/ 136 w 276"/>
                <a:gd name="T63" fmla="*/ 120 h 276"/>
                <a:gd name="T64" fmla="*/ 125 w 276"/>
                <a:gd name="T65" fmla="*/ 148 h 276"/>
                <a:gd name="T66" fmla="*/ 146 w 276"/>
                <a:gd name="T67" fmla="*/ 161 h 276"/>
                <a:gd name="T68" fmla="*/ 156 w 276"/>
                <a:gd name="T69" fmla="*/ 156 h 276"/>
                <a:gd name="T70" fmla="*/ 171 w 276"/>
                <a:gd name="T71" fmla="*/ 133 h 276"/>
                <a:gd name="T72" fmla="*/ 197 w 276"/>
                <a:gd name="T73" fmla="*/ 90 h 276"/>
                <a:gd name="T74" fmla="*/ 197 w 276"/>
                <a:gd name="T75" fmla="*/ 82 h 276"/>
                <a:gd name="T76" fmla="*/ 261 w 276"/>
                <a:gd name="T77" fmla="*/ 92 h 276"/>
                <a:gd name="T78" fmla="*/ 146 w 276"/>
                <a:gd name="T79" fmla="*/ 115 h 276"/>
                <a:gd name="T80" fmla="*/ 187 w 276"/>
                <a:gd name="T81" fmla="*/ 87 h 276"/>
                <a:gd name="T82" fmla="*/ 146 w 276"/>
                <a:gd name="T83" fmla="*/ 115 h 276"/>
                <a:gd name="T84" fmla="*/ 148 w 276"/>
                <a:gd name="T85" fmla="*/ 154 h 276"/>
                <a:gd name="T86" fmla="*/ 141 w 276"/>
                <a:gd name="T87" fmla="*/ 125 h 276"/>
                <a:gd name="T88" fmla="*/ 174 w 276"/>
                <a:gd name="T89" fmla="*/ 66 h 276"/>
                <a:gd name="T90" fmla="*/ 202 w 276"/>
                <a:gd name="T91" fmla="*/ 59 h 276"/>
                <a:gd name="T92" fmla="*/ 174 w 276"/>
                <a:gd name="T93" fmla="*/ 66 h 276"/>
                <a:gd name="T94" fmla="*/ 166 w 276"/>
                <a:gd name="T95" fmla="*/ 23 h 276"/>
                <a:gd name="T96" fmla="*/ 187 w 276"/>
                <a:gd name="T97" fmla="*/ 13 h 276"/>
                <a:gd name="T98" fmla="*/ 200 w 276"/>
                <a:gd name="T99" fmla="*/ 13 h 276"/>
                <a:gd name="T100" fmla="*/ 220 w 276"/>
                <a:gd name="T101" fmla="*/ 15 h 276"/>
                <a:gd name="T102" fmla="*/ 243 w 276"/>
                <a:gd name="T103" fmla="*/ 28 h 276"/>
                <a:gd name="T104" fmla="*/ 256 w 276"/>
                <a:gd name="T105" fmla="*/ 46 h 276"/>
                <a:gd name="T106" fmla="*/ 264 w 276"/>
                <a:gd name="T107" fmla="*/ 66 h 276"/>
                <a:gd name="T108" fmla="*/ 264 w 276"/>
                <a:gd name="T109" fmla="*/ 7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276">
                  <a:moveTo>
                    <a:pt x="276" y="69"/>
                  </a:moveTo>
                  <a:lnTo>
                    <a:pt x="274" y="59"/>
                  </a:lnTo>
                  <a:lnTo>
                    <a:pt x="271" y="46"/>
                  </a:lnTo>
                  <a:lnTo>
                    <a:pt x="264" y="33"/>
                  </a:lnTo>
                  <a:lnTo>
                    <a:pt x="256" y="26"/>
                  </a:lnTo>
                  <a:lnTo>
                    <a:pt x="246" y="18"/>
                  </a:lnTo>
                  <a:lnTo>
                    <a:pt x="235" y="10"/>
                  </a:lnTo>
                  <a:lnTo>
                    <a:pt x="220" y="5"/>
                  </a:lnTo>
                  <a:lnTo>
                    <a:pt x="205" y="0"/>
                  </a:lnTo>
                  <a:lnTo>
                    <a:pt x="200" y="0"/>
                  </a:lnTo>
                  <a:lnTo>
                    <a:pt x="187" y="2"/>
                  </a:lnTo>
                  <a:lnTo>
                    <a:pt x="171" y="5"/>
                  </a:lnTo>
                  <a:lnTo>
                    <a:pt x="159" y="15"/>
                  </a:lnTo>
                  <a:lnTo>
                    <a:pt x="151" y="23"/>
                  </a:lnTo>
                  <a:lnTo>
                    <a:pt x="143" y="31"/>
                  </a:lnTo>
                  <a:lnTo>
                    <a:pt x="79" y="143"/>
                  </a:lnTo>
                  <a:lnTo>
                    <a:pt x="79" y="146"/>
                  </a:lnTo>
                  <a:lnTo>
                    <a:pt x="82" y="148"/>
                  </a:lnTo>
                  <a:lnTo>
                    <a:pt x="90" y="164"/>
                  </a:lnTo>
                  <a:lnTo>
                    <a:pt x="66" y="202"/>
                  </a:lnTo>
                  <a:lnTo>
                    <a:pt x="105" y="269"/>
                  </a:lnTo>
                  <a:lnTo>
                    <a:pt x="0" y="269"/>
                  </a:lnTo>
                  <a:lnTo>
                    <a:pt x="0" y="276"/>
                  </a:lnTo>
                  <a:lnTo>
                    <a:pt x="105" y="276"/>
                  </a:lnTo>
                  <a:lnTo>
                    <a:pt x="151" y="197"/>
                  </a:lnTo>
                  <a:lnTo>
                    <a:pt x="169" y="197"/>
                  </a:lnTo>
                  <a:lnTo>
                    <a:pt x="171" y="202"/>
                  </a:lnTo>
                  <a:lnTo>
                    <a:pt x="171" y="197"/>
                  </a:lnTo>
                  <a:lnTo>
                    <a:pt x="171" y="202"/>
                  </a:lnTo>
                  <a:lnTo>
                    <a:pt x="171" y="197"/>
                  </a:lnTo>
                  <a:lnTo>
                    <a:pt x="174" y="195"/>
                  </a:lnTo>
                  <a:lnTo>
                    <a:pt x="210" y="136"/>
                  </a:lnTo>
                  <a:lnTo>
                    <a:pt x="220" y="125"/>
                  </a:lnTo>
                  <a:lnTo>
                    <a:pt x="235" y="115"/>
                  </a:lnTo>
                  <a:lnTo>
                    <a:pt x="253" y="107"/>
                  </a:lnTo>
                  <a:lnTo>
                    <a:pt x="266" y="102"/>
                  </a:lnTo>
                  <a:lnTo>
                    <a:pt x="269" y="100"/>
                  </a:lnTo>
                  <a:lnTo>
                    <a:pt x="274" y="87"/>
                  </a:lnTo>
                  <a:lnTo>
                    <a:pt x="276" y="74"/>
                  </a:lnTo>
                  <a:lnTo>
                    <a:pt x="276" y="69"/>
                  </a:lnTo>
                  <a:close/>
                  <a:moveTo>
                    <a:pt x="107" y="248"/>
                  </a:moveTo>
                  <a:lnTo>
                    <a:pt x="82" y="202"/>
                  </a:lnTo>
                  <a:lnTo>
                    <a:pt x="97" y="177"/>
                  </a:lnTo>
                  <a:lnTo>
                    <a:pt x="110" y="197"/>
                  </a:lnTo>
                  <a:lnTo>
                    <a:pt x="113" y="197"/>
                  </a:lnTo>
                  <a:lnTo>
                    <a:pt x="113" y="197"/>
                  </a:lnTo>
                  <a:lnTo>
                    <a:pt x="136" y="197"/>
                  </a:lnTo>
                  <a:lnTo>
                    <a:pt x="107" y="248"/>
                  </a:lnTo>
                  <a:close/>
                  <a:moveTo>
                    <a:pt x="228" y="107"/>
                  </a:moveTo>
                  <a:lnTo>
                    <a:pt x="212" y="118"/>
                  </a:lnTo>
                  <a:lnTo>
                    <a:pt x="202" y="128"/>
                  </a:lnTo>
                  <a:lnTo>
                    <a:pt x="189" y="146"/>
                  </a:lnTo>
                  <a:lnTo>
                    <a:pt x="187" y="151"/>
                  </a:lnTo>
                  <a:lnTo>
                    <a:pt x="166" y="187"/>
                  </a:lnTo>
                  <a:lnTo>
                    <a:pt x="118" y="187"/>
                  </a:lnTo>
                  <a:lnTo>
                    <a:pt x="92" y="143"/>
                  </a:lnTo>
                  <a:lnTo>
                    <a:pt x="159" y="33"/>
                  </a:lnTo>
                  <a:lnTo>
                    <a:pt x="179" y="46"/>
                  </a:lnTo>
                  <a:lnTo>
                    <a:pt x="166" y="66"/>
                  </a:lnTo>
                  <a:lnTo>
                    <a:pt x="161" y="69"/>
                  </a:lnTo>
                  <a:lnTo>
                    <a:pt x="159" y="72"/>
                  </a:lnTo>
                  <a:lnTo>
                    <a:pt x="136" y="113"/>
                  </a:lnTo>
                  <a:lnTo>
                    <a:pt x="136" y="115"/>
                  </a:lnTo>
                  <a:lnTo>
                    <a:pt x="136" y="120"/>
                  </a:lnTo>
                  <a:lnTo>
                    <a:pt x="123" y="143"/>
                  </a:lnTo>
                  <a:lnTo>
                    <a:pt x="125" y="148"/>
                  </a:lnTo>
                  <a:lnTo>
                    <a:pt x="128" y="151"/>
                  </a:lnTo>
                  <a:lnTo>
                    <a:pt x="146" y="161"/>
                  </a:lnTo>
                  <a:lnTo>
                    <a:pt x="154" y="159"/>
                  </a:lnTo>
                  <a:lnTo>
                    <a:pt x="156" y="156"/>
                  </a:lnTo>
                  <a:lnTo>
                    <a:pt x="166" y="136"/>
                  </a:lnTo>
                  <a:lnTo>
                    <a:pt x="171" y="133"/>
                  </a:lnTo>
                  <a:lnTo>
                    <a:pt x="174" y="130"/>
                  </a:lnTo>
                  <a:lnTo>
                    <a:pt x="197" y="90"/>
                  </a:lnTo>
                  <a:lnTo>
                    <a:pt x="197" y="87"/>
                  </a:lnTo>
                  <a:lnTo>
                    <a:pt x="197" y="82"/>
                  </a:lnTo>
                  <a:lnTo>
                    <a:pt x="210" y="61"/>
                  </a:lnTo>
                  <a:lnTo>
                    <a:pt x="261" y="92"/>
                  </a:lnTo>
                  <a:lnTo>
                    <a:pt x="228" y="107"/>
                  </a:lnTo>
                  <a:close/>
                  <a:moveTo>
                    <a:pt x="146" y="115"/>
                  </a:moveTo>
                  <a:lnTo>
                    <a:pt x="169" y="77"/>
                  </a:lnTo>
                  <a:lnTo>
                    <a:pt x="187" y="87"/>
                  </a:lnTo>
                  <a:lnTo>
                    <a:pt x="164" y="125"/>
                  </a:lnTo>
                  <a:lnTo>
                    <a:pt x="146" y="115"/>
                  </a:lnTo>
                  <a:close/>
                  <a:moveTo>
                    <a:pt x="159" y="136"/>
                  </a:moveTo>
                  <a:lnTo>
                    <a:pt x="148" y="154"/>
                  </a:lnTo>
                  <a:lnTo>
                    <a:pt x="130" y="143"/>
                  </a:lnTo>
                  <a:lnTo>
                    <a:pt x="141" y="125"/>
                  </a:lnTo>
                  <a:lnTo>
                    <a:pt x="159" y="136"/>
                  </a:lnTo>
                  <a:close/>
                  <a:moveTo>
                    <a:pt x="174" y="66"/>
                  </a:moveTo>
                  <a:lnTo>
                    <a:pt x="184" y="49"/>
                  </a:lnTo>
                  <a:lnTo>
                    <a:pt x="202" y="59"/>
                  </a:lnTo>
                  <a:lnTo>
                    <a:pt x="192" y="77"/>
                  </a:lnTo>
                  <a:lnTo>
                    <a:pt x="174" y="66"/>
                  </a:lnTo>
                  <a:close/>
                  <a:moveTo>
                    <a:pt x="264" y="79"/>
                  </a:moveTo>
                  <a:lnTo>
                    <a:pt x="166" y="23"/>
                  </a:lnTo>
                  <a:lnTo>
                    <a:pt x="177" y="15"/>
                  </a:lnTo>
                  <a:lnTo>
                    <a:pt x="187" y="13"/>
                  </a:lnTo>
                  <a:lnTo>
                    <a:pt x="197" y="13"/>
                  </a:lnTo>
                  <a:lnTo>
                    <a:pt x="200" y="13"/>
                  </a:lnTo>
                  <a:lnTo>
                    <a:pt x="207" y="13"/>
                  </a:lnTo>
                  <a:lnTo>
                    <a:pt x="220" y="15"/>
                  </a:lnTo>
                  <a:lnTo>
                    <a:pt x="233" y="23"/>
                  </a:lnTo>
                  <a:lnTo>
                    <a:pt x="243" y="28"/>
                  </a:lnTo>
                  <a:lnTo>
                    <a:pt x="248" y="36"/>
                  </a:lnTo>
                  <a:lnTo>
                    <a:pt x="256" y="46"/>
                  </a:lnTo>
                  <a:lnTo>
                    <a:pt x="261" y="5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89">
              <a:extLst>
                <a:ext uri="{FF2B5EF4-FFF2-40B4-BE49-F238E27FC236}">
                  <a16:creationId xmlns:a16="http://schemas.microsoft.com/office/drawing/2014/main" id="{398EDDC2-01D7-4EFB-BF49-E5ADA59A4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128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92">
            <a:extLst>
              <a:ext uri="{FF2B5EF4-FFF2-40B4-BE49-F238E27FC236}">
                <a16:creationId xmlns:a16="http://schemas.microsoft.com/office/drawing/2014/main" id="{F900DE44-05E8-4331-9D0F-D15598C86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5374" y="1579563"/>
            <a:ext cx="758825" cy="758825"/>
            <a:chOff x="3591" y="1140"/>
            <a:chExt cx="478" cy="478"/>
          </a:xfrm>
        </p:grpSpPr>
        <p:sp>
          <p:nvSpPr>
            <p:cNvPr id="108" name="AutoShape 91">
              <a:extLst>
                <a:ext uri="{FF2B5EF4-FFF2-40B4-BE49-F238E27FC236}">
                  <a16:creationId xmlns:a16="http://schemas.microsoft.com/office/drawing/2014/main" id="{016F5AC1-9D6D-403E-BF4B-56191938D7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1" y="114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93">
              <a:extLst>
                <a:ext uri="{FF2B5EF4-FFF2-40B4-BE49-F238E27FC236}">
                  <a16:creationId xmlns:a16="http://schemas.microsoft.com/office/drawing/2014/main" id="{CE5FA3EF-3575-4D6C-ABF6-B4EAFAA4C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3" y="114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4">
              <a:extLst>
                <a:ext uri="{FF2B5EF4-FFF2-40B4-BE49-F238E27FC236}">
                  <a16:creationId xmlns:a16="http://schemas.microsoft.com/office/drawing/2014/main" id="{F41C92FB-CD15-4C5B-A7B5-DE51C1015F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6" y="1248"/>
              <a:ext cx="230" cy="265"/>
            </a:xfrm>
            <a:custGeom>
              <a:avLst/>
              <a:gdLst>
                <a:gd name="T0" fmla="*/ 230 w 230"/>
                <a:gd name="T1" fmla="*/ 265 h 265"/>
                <a:gd name="T2" fmla="*/ 211 w 230"/>
                <a:gd name="T3" fmla="*/ 144 h 265"/>
                <a:gd name="T4" fmla="*/ 152 w 230"/>
                <a:gd name="T5" fmla="*/ 135 h 265"/>
                <a:gd name="T6" fmla="*/ 145 w 230"/>
                <a:gd name="T7" fmla="*/ 120 h 265"/>
                <a:gd name="T8" fmla="*/ 147 w 230"/>
                <a:gd name="T9" fmla="*/ 105 h 265"/>
                <a:gd name="T10" fmla="*/ 169 w 230"/>
                <a:gd name="T11" fmla="*/ 64 h 265"/>
                <a:gd name="T12" fmla="*/ 169 w 230"/>
                <a:gd name="T13" fmla="*/ 49 h 265"/>
                <a:gd name="T14" fmla="*/ 167 w 230"/>
                <a:gd name="T15" fmla="*/ 32 h 265"/>
                <a:gd name="T16" fmla="*/ 162 w 230"/>
                <a:gd name="T17" fmla="*/ 19 h 265"/>
                <a:gd name="T18" fmla="*/ 147 w 230"/>
                <a:gd name="T19" fmla="*/ 10 h 265"/>
                <a:gd name="T20" fmla="*/ 127 w 230"/>
                <a:gd name="T21" fmla="*/ 0 h 265"/>
                <a:gd name="T22" fmla="*/ 103 w 230"/>
                <a:gd name="T23" fmla="*/ 0 h 265"/>
                <a:gd name="T24" fmla="*/ 81 w 230"/>
                <a:gd name="T25" fmla="*/ 10 h 265"/>
                <a:gd name="T26" fmla="*/ 69 w 230"/>
                <a:gd name="T27" fmla="*/ 19 h 265"/>
                <a:gd name="T28" fmla="*/ 64 w 230"/>
                <a:gd name="T29" fmla="*/ 32 h 265"/>
                <a:gd name="T30" fmla="*/ 61 w 230"/>
                <a:gd name="T31" fmla="*/ 49 h 265"/>
                <a:gd name="T32" fmla="*/ 64 w 230"/>
                <a:gd name="T33" fmla="*/ 66 h 265"/>
                <a:gd name="T34" fmla="*/ 74 w 230"/>
                <a:gd name="T35" fmla="*/ 88 h 265"/>
                <a:gd name="T36" fmla="*/ 86 w 230"/>
                <a:gd name="T37" fmla="*/ 120 h 265"/>
                <a:gd name="T38" fmla="*/ 83 w 230"/>
                <a:gd name="T39" fmla="*/ 130 h 265"/>
                <a:gd name="T40" fmla="*/ 20 w 230"/>
                <a:gd name="T41" fmla="*/ 144 h 265"/>
                <a:gd name="T42" fmla="*/ 0 w 230"/>
                <a:gd name="T43" fmla="*/ 265 h 265"/>
                <a:gd name="T44" fmla="*/ 86 w 230"/>
                <a:gd name="T45" fmla="*/ 147 h 265"/>
                <a:gd name="T46" fmla="*/ 98 w 230"/>
                <a:gd name="T47" fmla="*/ 120 h 265"/>
                <a:gd name="T48" fmla="*/ 96 w 230"/>
                <a:gd name="T49" fmla="*/ 103 h 265"/>
                <a:gd name="T50" fmla="*/ 76 w 230"/>
                <a:gd name="T51" fmla="*/ 66 h 265"/>
                <a:gd name="T52" fmla="*/ 74 w 230"/>
                <a:gd name="T53" fmla="*/ 46 h 265"/>
                <a:gd name="T54" fmla="*/ 76 w 230"/>
                <a:gd name="T55" fmla="*/ 32 h 265"/>
                <a:gd name="T56" fmla="*/ 86 w 230"/>
                <a:gd name="T57" fmla="*/ 22 h 265"/>
                <a:gd name="T58" fmla="*/ 103 w 230"/>
                <a:gd name="T59" fmla="*/ 12 h 265"/>
                <a:gd name="T60" fmla="*/ 127 w 230"/>
                <a:gd name="T61" fmla="*/ 12 h 265"/>
                <a:gd name="T62" fmla="*/ 147 w 230"/>
                <a:gd name="T63" fmla="*/ 22 h 265"/>
                <a:gd name="T64" fmla="*/ 154 w 230"/>
                <a:gd name="T65" fmla="*/ 34 h 265"/>
                <a:gd name="T66" fmla="*/ 157 w 230"/>
                <a:gd name="T67" fmla="*/ 49 h 265"/>
                <a:gd name="T68" fmla="*/ 154 w 230"/>
                <a:gd name="T69" fmla="*/ 64 h 265"/>
                <a:gd name="T70" fmla="*/ 132 w 230"/>
                <a:gd name="T71" fmla="*/ 108 h 265"/>
                <a:gd name="T72" fmla="*/ 132 w 230"/>
                <a:gd name="T73" fmla="*/ 120 h 265"/>
                <a:gd name="T74" fmla="*/ 137 w 230"/>
                <a:gd name="T75" fmla="*/ 135 h 265"/>
                <a:gd name="T76" fmla="*/ 147 w 230"/>
                <a:gd name="T77" fmla="*/ 154 h 265"/>
                <a:gd name="T78" fmla="*/ 145 w 230"/>
                <a:gd name="T79" fmla="*/ 176 h 265"/>
                <a:gd name="T80" fmla="*/ 135 w 230"/>
                <a:gd name="T81" fmla="*/ 181 h 265"/>
                <a:gd name="T82" fmla="*/ 115 w 230"/>
                <a:gd name="T83" fmla="*/ 184 h 265"/>
                <a:gd name="T84" fmla="*/ 88 w 230"/>
                <a:gd name="T85" fmla="*/ 179 h 265"/>
                <a:gd name="T86" fmla="*/ 83 w 230"/>
                <a:gd name="T87" fmla="*/ 171 h 265"/>
                <a:gd name="T88" fmla="*/ 86 w 230"/>
                <a:gd name="T89" fmla="*/ 149 h 265"/>
                <a:gd name="T90" fmla="*/ 71 w 230"/>
                <a:gd name="T91" fmla="*/ 157 h 265"/>
                <a:gd name="T92" fmla="*/ 76 w 230"/>
                <a:gd name="T93" fmla="*/ 184 h 265"/>
                <a:gd name="T94" fmla="*/ 91 w 230"/>
                <a:gd name="T95" fmla="*/ 191 h 265"/>
                <a:gd name="T96" fmla="*/ 115 w 230"/>
                <a:gd name="T97" fmla="*/ 196 h 265"/>
                <a:gd name="T98" fmla="*/ 140 w 230"/>
                <a:gd name="T99" fmla="*/ 191 h 265"/>
                <a:gd name="T100" fmla="*/ 157 w 230"/>
                <a:gd name="T101" fmla="*/ 179 h 265"/>
                <a:gd name="T102" fmla="*/ 159 w 230"/>
                <a:gd name="T103" fmla="*/ 171 h 265"/>
                <a:gd name="T104" fmla="*/ 201 w 230"/>
                <a:gd name="T105" fmla="*/ 157 h 265"/>
                <a:gd name="T106" fmla="*/ 12 w 230"/>
                <a:gd name="T107" fmla="*/ 211 h 265"/>
                <a:gd name="T108" fmla="*/ 12 w 230"/>
                <a:gd name="T109" fmla="*/ 223 h 265"/>
                <a:gd name="T110" fmla="*/ 218 w 230"/>
                <a:gd name="T111" fmla="*/ 252 h 265"/>
                <a:gd name="T112" fmla="*/ 12 w 230"/>
                <a:gd name="T113" fmla="*/ 22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0" h="265">
                  <a:moveTo>
                    <a:pt x="0" y="265"/>
                  </a:moveTo>
                  <a:lnTo>
                    <a:pt x="230" y="265"/>
                  </a:lnTo>
                  <a:lnTo>
                    <a:pt x="230" y="216"/>
                  </a:lnTo>
                  <a:lnTo>
                    <a:pt x="211" y="144"/>
                  </a:lnTo>
                  <a:lnTo>
                    <a:pt x="157" y="144"/>
                  </a:lnTo>
                  <a:lnTo>
                    <a:pt x="152" y="135"/>
                  </a:lnTo>
                  <a:lnTo>
                    <a:pt x="145" y="125"/>
                  </a:lnTo>
                  <a:lnTo>
                    <a:pt x="145" y="120"/>
                  </a:lnTo>
                  <a:lnTo>
                    <a:pt x="145" y="115"/>
                  </a:lnTo>
                  <a:lnTo>
                    <a:pt x="147" y="105"/>
                  </a:lnTo>
                  <a:lnTo>
                    <a:pt x="167" y="71"/>
                  </a:lnTo>
                  <a:lnTo>
                    <a:pt x="169" y="64"/>
                  </a:lnTo>
                  <a:lnTo>
                    <a:pt x="169" y="54"/>
                  </a:lnTo>
                  <a:lnTo>
                    <a:pt x="169" y="49"/>
                  </a:lnTo>
                  <a:lnTo>
                    <a:pt x="169" y="39"/>
                  </a:lnTo>
                  <a:lnTo>
                    <a:pt x="167" y="32"/>
                  </a:lnTo>
                  <a:lnTo>
                    <a:pt x="164" y="24"/>
                  </a:lnTo>
                  <a:lnTo>
                    <a:pt x="162" y="19"/>
                  </a:lnTo>
                  <a:lnTo>
                    <a:pt x="157" y="15"/>
                  </a:lnTo>
                  <a:lnTo>
                    <a:pt x="147" y="10"/>
                  </a:lnTo>
                  <a:lnTo>
                    <a:pt x="140" y="5"/>
                  </a:lnTo>
                  <a:lnTo>
                    <a:pt x="127" y="0"/>
                  </a:lnTo>
                  <a:lnTo>
                    <a:pt x="115" y="0"/>
                  </a:lnTo>
                  <a:lnTo>
                    <a:pt x="103" y="0"/>
                  </a:lnTo>
                  <a:lnTo>
                    <a:pt x="91" y="5"/>
                  </a:lnTo>
                  <a:lnTo>
                    <a:pt x="81" y="10"/>
                  </a:lnTo>
                  <a:lnTo>
                    <a:pt x="74" y="15"/>
                  </a:lnTo>
                  <a:lnTo>
                    <a:pt x="69" y="19"/>
                  </a:lnTo>
                  <a:lnTo>
                    <a:pt x="66" y="27"/>
                  </a:lnTo>
                  <a:lnTo>
                    <a:pt x="64" y="32"/>
                  </a:lnTo>
                  <a:lnTo>
                    <a:pt x="61" y="39"/>
                  </a:lnTo>
                  <a:lnTo>
                    <a:pt x="61" y="49"/>
                  </a:lnTo>
                  <a:lnTo>
                    <a:pt x="61" y="59"/>
                  </a:lnTo>
                  <a:lnTo>
                    <a:pt x="64" y="66"/>
                  </a:lnTo>
                  <a:lnTo>
                    <a:pt x="66" y="76"/>
                  </a:lnTo>
                  <a:lnTo>
                    <a:pt x="74" y="88"/>
                  </a:lnTo>
                  <a:lnTo>
                    <a:pt x="86" y="110"/>
                  </a:lnTo>
                  <a:lnTo>
                    <a:pt x="86" y="120"/>
                  </a:lnTo>
                  <a:lnTo>
                    <a:pt x="86" y="125"/>
                  </a:lnTo>
                  <a:lnTo>
                    <a:pt x="83" y="130"/>
                  </a:lnTo>
                  <a:lnTo>
                    <a:pt x="74" y="144"/>
                  </a:lnTo>
                  <a:lnTo>
                    <a:pt x="20" y="144"/>
                  </a:lnTo>
                  <a:lnTo>
                    <a:pt x="0" y="216"/>
                  </a:lnTo>
                  <a:lnTo>
                    <a:pt x="0" y="265"/>
                  </a:lnTo>
                  <a:close/>
                  <a:moveTo>
                    <a:pt x="86" y="149"/>
                  </a:moveTo>
                  <a:lnTo>
                    <a:pt x="86" y="147"/>
                  </a:lnTo>
                  <a:lnTo>
                    <a:pt x="98" y="125"/>
                  </a:lnTo>
                  <a:lnTo>
                    <a:pt x="98" y="120"/>
                  </a:lnTo>
                  <a:lnTo>
                    <a:pt x="98" y="110"/>
                  </a:lnTo>
                  <a:lnTo>
                    <a:pt x="96" y="103"/>
                  </a:lnTo>
                  <a:lnTo>
                    <a:pt x="91" y="95"/>
                  </a:lnTo>
                  <a:lnTo>
                    <a:pt x="76" y="66"/>
                  </a:lnTo>
                  <a:lnTo>
                    <a:pt x="74" y="59"/>
                  </a:lnTo>
                  <a:lnTo>
                    <a:pt x="74" y="46"/>
                  </a:lnTo>
                  <a:lnTo>
                    <a:pt x="74" y="39"/>
                  </a:lnTo>
                  <a:lnTo>
                    <a:pt x="76" y="32"/>
                  </a:lnTo>
                  <a:lnTo>
                    <a:pt x="81" y="27"/>
                  </a:lnTo>
                  <a:lnTo>
                    <a:pt x="86" y="22"/>
                  </a:lnTo>
                  <a:lnTo>
                    <a:pt x="91" y="17"/>
                  </a:lnTo>
                  <a:lnTo>
                    <a:pt x="103" y="12"/>
                  </a:lnTo>
                  <a:lnTo>
                    <a:pt x="118" y="12"/>
                  </a:lnTo>
                  <a:lnTo>
                    <a:pt x="127" y="12"/>
                  </a:lnTo>
                  <a:lnTo>
                    <a:pt x="140" y="17"/>
                  </a:lnTo>
                  <a:lnTo>
                    <a:pt x="147" y="22"/>
                  </a:lnTo>
                  <a:lnTo>
                    <a:pt x="152" y="29"/>
                  </a:lnTo>
                  <a:lnTo>
                    <a:pt x="154" y="34"/>
                  </a:lnTo>
                  <a:lnTo>
                    <a:pt x="157" y="42"/>
                  </a:lnTo>
                  <a:lnTo>
                    <a:pt x="157" y="49"/>
                  </a:lnTo>
                  <a:lnTo>
                    <a:pt x="157" y="56"/>
                  </a:lnTo>
                  <a:lnTo>
                    <a:pt x="154" y="64"/>
                  </a:lnTo>
                  <a:lnTo>
                    <a:pt x="150" y="78"/>
                  </a:lnTo>
                  <a:lnTo>
                    <a:pt x="132" y="108"/>
                  </a:lnTo>
                  <a:lnTo>
                    <a:pt x="132" y="115"/>
                  </a:lnTo>
                  <a:lnTo>
                    <a:pt x="132" y="120"/>
                  </a:lnTo>
                  <a:lnTo>
                    <a:pt x="132" y="127"/>
                  </a:lnTo>
                  <a:lnTo>
                    <a:pt x="137" y="135"/>
                  </a:lnTo>
                  <a:lnTo>
                    <a:pt x="145" y="149"/>
                  </a:lnTo>
                  <a:lnTo>
                    <a:pt x="147" y="154"/>
                  </a:lnTo>
                  <a:lnTo>
                    <a:pt x="147" y="171"/>
                  </a:lnTo>
                  <a:lnTo>
                    <a:pt x="145" y="176"/>
                  </a:lnTo>
                  <a:lnTo>
                    <a:pt x="142" y="179"/>
                  </a:lnTo>
                  <a:lnTo>
                    <a:pt x="135" y="181"/>
                  </a:lnTo>
                  <a:lnTo>
                    <a:pt x="125" y="184"/>
                  </a:lnTo>
                  <a:lnTo>
                    <a:pt x="115" y="184"/>
                  </a:lnTo>
                  <a:lnTo>
                    <a:pt x="101" y="181"/>
                  </a:lnTo>
                  <a:lnTo>
                    <a:pt x="88" y="179"/>
                  </a:lnTo>
                  <a:lnTo>
                    <a:pt x="86" y="174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6" y="149"/>
                  </a:lnTo>
                  <a:close/>
                  <a:moveTo>
                    <a:pt x="29" y="157"/>
                  </a:moveTo>
                  <a:lnTo>
                    <a:pt x="71" y="157"/>
                  </a:lnTo>
                  <a:lnTo>
                    <a:pt x="74" y="176"/>
                  </a:lnTo>
                  <a:lnTo>
                    <a:pt x="76" y="184"/>
                  </a:lnTo>
                  <a:lnTo>
                    <a:pt x="83" y="189"/>
                  </a:lnTo>
                  <a:lnTo>
                    <a:pt x="91" y="191"/>
                  </a:lnTo>
                  <a:lnTo>
                    <a:pt x="108" y="196"/>
                  </a:lnTo>
                  <a:lnTo>
                    <a:pt x="115" y="196"/>
                  </a:lnTo>
                  <a:lnTo>
                    <a:pt x="132" y="194"/>
                  </a:lnTo>
                  <a:lnTo>
                    <a:pt x="140" y="191"/>
                  </a:lnTo>
                  <a:lnTo>
                    <a:pt x="152" y="186"/>
                  </a:lnTo>
                  <a:lnTo>
                    <a:pt x="157" y="179"/>
                  </a:lnTo>
                  <a:lnTo>
                    <a:pt x="159" y="174"/>
                  </a:lnTo>
                  <a:lnTo>
                    <a:pt x="159" y="171"/>
                  </a:lnTo>
                  <a:lnTo>
                    <a:pt x="159" y="157"/>
                  </a:lnTo>
                  <a:lnTo>
                    <a:pt x="201" y="157"/>
                  </a:lnTo>
                  <a:lnTo>
                    <a:pt x="218" y="211"/>
                  </a:lnTo>
                  <a:lnTo>
                    <a:pt x="12" y="211"/>
                  </a:lnTo>
                  <a:lnTo>
                    <a:pt x="29" y="157"/>
                  </a:lnTo>
                  <a:close/>
                  <a:moveTo>
                    <a:pt x="12" y="223"/>
                  </a:moveTo>
                  <a:lnTo>
                    <a:pt x="218" y="223"/>
                  </a:lnTo>
                  <a:lnTo>
                    <a:pt x="218" y="252"/>
                  </a:lnTo>
                  <a:lnTo>
                    <a:pt x="12" y="252"/>
                  </a:lnTo>
                  <a:lnTo>
                    <a:pt x="12" y="22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97">
            <a:extLst>
              <a:ext uri="{FF2B5EF4-FFF2-40B4-BE49-F238E27FC236}">
                <a16:creationId xmlns:a16="http://schemas.microsoft.com/office/drawing/2014/main" id="{1FCA357A-CC1B-4FEA-A340-D3294C78C2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9537" y="1538288"/>
            <a:ext cx="841375" cy="841375"/>
            <a:chOff x="3052" y="1059"/>
            <a:chExt cx="530" cy="530"/>
          </a:xfrm>
        </p:grpSpPr>
        <p:sp>
          <p:nvSpPr>
            <p:cNvPr id="112" name="AutoShape 96">
              <a:extLst>
                <a:ext uri="{FF2B5EF4-FFF2-40B4-BE49-F238E27FC236}">
                  <a16:creationId xmlns:a16="http://schemas.microsoft.com/office/drawing/2014/main" id="{4402A248-9D9A-4C43-9105-7A82D999391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52" y="105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Oval 98">
              <a:extLst>
                <a:ext uri="{FF2B5EF4-FFF2-40B4-BE49-F238E27FC236}">
                  <a16:creationId xmlns:a16="http://schemas.microsoft.com/office/drawing/2014/main" id="{6DE045C0-4EE5-4AEA-B00F-220617361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2" y="105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9">
              <a:extLst>
                <a:ext uri="{FF2B5EF4-FFF2-40B4-BE49-F238E27FC236}">
                  <a16:creationId xmlns:a16="http://schemas.microsoft.com/office/drawing/2014/main" id="{160FDE42-4CE3-4E65-ADF4-D7596AA67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0" y="107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0">
              <a:extLst>
                <a:ext uri="{FF2B5EF4-FFF2-40B4-BE49-F238E27FC236}">
                  <a16:creationId xmlns:a16="http://schemas.microsoft.com/office/drawing/2014/main" id="{D3DFF90D-6F00-43E9-A541-D8B2C4FE0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" y="1187"/>
              <a:ext cx="241" cy="276"/>
            </a:xfrm>
            <a:custGeom>
              <a:avLst/>
              <a:gdLst>
                <a:gd name="T0" fmla="*/ 241 w 241"/>
                <a:gd name="T1" fmla="*/ 276 h 276"/>
                <a:gd name="T2" fmla="*/ 220 w 241"/>
                <a:gd name="T3" fmla="*/ 151 h 276"/>
                <a:gd name="T4" fmla="*/ 159 w 241"/>
                <a:gd name="T5" fmla="*/ 141 h 276"/>
                <a:gd name="T6" fmla="*/ 151 w 241"/>
                <a:gd name="T7" fmla="*/ 125 h 276"/>
                <a:gd name="T8" fmla="*/ 153 w 241"/>
                <a:gd name="T9" fmla="*/ 110 h 276"/>
                <a:gd name="T10" fmla="*/ 177 w 241"/>
                <a:gd name="T11" fmla="*/ 66 h 276"/>
                <a:gd name="T12" fmla="*/ 177 w 241"/>
                <a:gd name="T13" fmla="*/ 51 h 276"/>
                <a:gd name="T14" fmla="*/ 174 w 241"/>
                <a:gd name="T15" fmla="*/ 33 h 276"/>
                <a:gd name="T16" fmla="*/ 169 w 241"/>
                <a:gd name="T17" fmla="*/ 20 h 276"/>
                <a:gd name="T18" fmla="*/ 153 w 241"/>
                <a:gd name="T19" fmla="*/ 10 h 276"/>
                <a:gd name="T20" fmla="*/ 133 w 241"/>
                <a:gd name="T21" fmla="*/ 0 h 276"/>
                <a:gd name="T22" fmla="*/ 107 w 241"/>
                <a:gd name="T23" fmla="*/ 0 h 276"/>
                <a:gd name="T24" fmla="*/ 84 w 241"/>
                <a:gd name="T25" fmla="*/ 10 h 276"/>
                <a:gd name="T26" fmla="*/ 72 w 241"/>
                <a:gd name="T27" fmla="*/ 20 h 276"/>
                <a:gd name="T28" fmla="*/ 66 w 241"/>
                <a:gd name="T29" fmla="*/ 33 h 276"/>
                <a:gd name="T30" fmla="*/ 64 w 241"/>
                <a:gd name="T31" fmla="*/ 51 h 276"/>
                <a:gd name="T32" fmla="*/ 66 w 241"/>
                <a:gd name="T33" fmla="*/ 69 h 276"/>
                <a:gd name="T34" fmla="*/ 77 w 241"/>
                <a:gd name="T35" fmla="*/ 92 h 276"/>
                <a:gd name="T36" fmla="*/ 89 w 241"/>
                <a:gd name="T37" fmla="*/ 125 h 276"/>
                <a:gd name="T38" fmla="*/ 87 w 241"/>
                <a:gd name="T39" fmla="*/ 136 h 276"/>
                <a:gd name="T40" fmla="*/ 20 w 241"/>
                <a:gd name="T41" fmla="*/ 151 h 276"/>
                <a:gd name="T42" fmla="*/ 0 w 241"/>
                <a:gd name="T43" fmla="*/ 276 h 276"/>
                <a:gd name="T44" fmla="*/ 89 w 241"/>
                <a:gd name="T45" fmla="*/ 154 h 276"/>
                <a:gd name="T46" fmla="*/ 102 w 241"/>
                <a:gd name="T47" fmla="*/ 125 h 276"/>
                <a:gd name="T48" fmla="*/ 100 w 241"/>
                <a:gd name="T49" fmla="*/ 107 h 276"/>
                <a:gd name="T50" fmla="*/ 79 w 241"/>
                <a:gd name="T51" fmla="*/ 69 h 276"/>
                <a:gd name="T52" fmla="*/ 77 w 241"/>
                <a:gd name="T53" fmla="*/ 49 h 276"/>
                <a:gd name="T54" fmla="*/ 79 w 241"/>
                <a:gd name="T55" fmla="*/ 33 h 276"/>
                <a:gd name="T56" fmla="*/ 89 w 241"/>
                <a:gd name="T57" fmla="*/ 23 h 276"/>
                <a:gd name="T58" fmla="*/ 107 w 241"/>
                <a:gd name="T59" fmla="*/ 13 h 276"/>
                <a:gd name="T60" fmla="*/ 133 w 241"/>
                <a:gd name="T61" fmla="*/ 13 h 276"/>
                <a:gd name="T62" fmla="*/ 153 w 241"/>
                <a:gd name="T63" fmla="*/ 23 h 276"/>
                <a:gd name="T64" fmla="*/ 161 w 241"/>
                <a:gd name="T65" fmla="*/ 36 h 276"/>
                <a:gd name="T66" fmla="*/ 164 w 241"/>
                <a:gd name="T67" fmla="*/ 51 h 276"/>
                <a:gd name="T68" fmla="*/ 161 w 241"/>
                <a:gd name="T69" fmla="*/ 66 h 276"/>
                <a:gd name="T70" fmla="*/ 138 w 241"/>
                <a:gd name="T71" fmla="*/ 113 h 276"/>
                <a:gd name="T72" fmla="*/ 138 w 241"/>
                <a:gd name="T73" fmla="*/ 125 h 276"/>
                <a:gd name="T74" fmla="*/ 143 w 241"/>
                <a:gd name="T75" fmla="*/ 141 h 276"/>
                <a:gd name="T76" fmla="*/ 153 w 241"/>
                <a:gd name="T77" fmla="*/ 161 h 276"/>
                <a:gd name="T78" fmla="*/ 151 w 241"/>
                <a:gd name="T79" fmla="*/ 184 h 276"/>
                <a:gd name="T80" fmla="*/ 141 w 241"/>
                <a:gd name="T81" fmla="*/ 189 h 276"/>
                <a:gd name="T82" fmla="*/ 120 w 241"/>
                <a:gd name="T83" fmla="*/ 192 h 276"/>
                <a:gd name="T84" fmla="*/ 92 w 241"/>
                <a:gd name="T85" fmla="*/ 187 h 276"/>
                <a:gd name="T86" fmla="*/ 87 w 241"/>
                <a:gd name="T87" fmla="*/ 179 h 276"/>
                <a:gd name="T88" fmla="*/ 89 w 241"/>
                <a:gd name="T89" fmla="*/ 156 h 276"/>
                <a:gd name="T90" fmla="*/ 74 w 241"/>
                <a:gd name="T91" fmla="*/ 164 h 276"/>
                <a:gd name="T92" fmla="*/ 79 w 241"/>
                <a:gd name="T93" fmla="*/ 192 h 276"/>
                <a:gd name="T94" fmla="*/ 95 w 241"/>
                <a:gd name="T95" fmla="*/ 200 h 276"/>
                <a:gd name="T96" fmla="*/ 120 w 241"/>
                <a:gd name="T97" fmla="*/ 205 h 276"/>
                <a:gd name="T98" fmla="*/ 146 w 241"/>
                <a:gd name="T99" fmla="*/ 200 h 276"/>
                <a:gd name="T100" fmla="*/ 164 w 241"/>
                <a:gd name="T101" fmla="*/ 187 h 276"/>
                <a:gd name="T102" fmla="*/ 166 w 241"/>
                <a:gd name="T103" fmla="*/ 179 h 276"/>
                <a:gd name="T104" fmla="*/ 210 w 241"/>
                <a:gd name="T105" fmla="*/ 164 h 276"/>
                <a:gd name="T106" fmla="*/ 13 w 241"/>
                <a:gd name="T107" fmla="*/ 220 h 276"/>
                <a:gd name="T108" fmla="*/ 13 w 241"/>
                <a:gd name="T109" fmla="*/ 233 h 276"/>
                <a:gd name="T110" fmla="*/ 228 w 241"/>
                <a:gd name="T111" fmla="*/ 264 h 276"/>
                <a:gd name="T112" fmla="*/ 13 w 241"/>
                <a:gd name="T113" fmla="*/ 233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1" h="276">
                  <a:moveTo>
                    <a:pt x="0" y="276"/>
                  </a:moveTo>
                  <a:lnTo>
                    <a:pt x="241" y="276"/>
                  </a:lnTo>
                  <a:lnTo>
                    <a:pt x="241" y="225"/>
                  </a:lnTo>
                  <a:lnTo>
                    <a:pt x="220" y="151"/>
                  </a:lnTo>
                  <a:lnTo>
                    <a:pt x="164" y="151"/>
                  </a:lnTo>
                  <a:lnTo>
                    <a:pt x="159" y="141"/>
                  </a:lnTo>
                  <a:lnTo>
                    <a:pt x="151" y="130"/>
                  </a:lnTo>
                  <a:lnTo>
                    <a:pt x="151" y="125"/>
                  </a:lnTo>
                  <a:lnTo>
                    <a:pt x="151" y="120"/>
                  </a:lnTo>
                  <a:lnTo>
                    <a:pt x="153" y="110"/>
                  </a:lnTo>
                  <a:lnTo>
                    <a:pt x="174" y="74"/>
                  </a:lnTo>
                  <a:lnTo>
                    <a:pt x="177" y="66"/>
                  </a:lnTo>
                  <a:lnTo>
                    <a:pt x="177" y="56"/>
                  </a:lnTo>
                  <a:lnTo>
                    <a:pt x="177" y="51"/>
                  </a:lnTo>
                  <a:lnTo>
                    <a:pt x="177" y="41"/>
                  </a:lnTo>
                  <a:lnTo>
                    <a:pt x="174" y="33"/>
                  </a:lnTo>
                  <a:lnTo>
                    <a:pt x="171" y="26"/>
                  </a:lnTo>
                  <a:lnTo>
                    <a:pt x="169" y="20"/>
                  </a:lnTo>
                  <a:lnTo>
                    <a:pt x="164" y="15"/>
                  </a:lnTo>
                  <a:lnTo>
                    <a:pt x="153" y="10"/>
                  </a:lnTo>
                  <a:lnTo>
                    <a:pt x="146" y="5"/>
                  </a:lnTo>
                  <a:lnTo>
                    <a:pt x="133" y="0"/>
                  </a:lnTo>
                  <a:lnTo>
                    <a:pt x="120" y="0"/>
                  </a:lnTo>
                  <a:lnTo>
                    <a:pt x="107" y="0"/>
                  </a:lnTo>
                  <a:lnTo>
                    <a:pt x="95" y="5"/>
                  </a:lnTo>
                  <a:lnTo>
                    <a:pt x="84" y="10"/>
                  </a:lnTo>
                  <a:lnTo>
                    <a:pt x="77" y="15"/>
                  </a:lnTo>
                  <a:lnTo>
                    <a:pt x="72" y="20"/>
                  </a:lnTo>
                  <a:lnTo>
                    <a:pt x="69" y="28"/>
                  </a:lnTo>
                  <a:lnTo>
                    <a:pt x="66" y="33"/>
                  </a:lnTo>
                  <a:lnTo>
                    <a:pt x="64" y="41"/>
                  </a:lnTo>
                  <a:lnTo>
                    <a:pt x="64" y="51"/>
                  </a:lnTo>
                  <a:lnTo>
                    <a:pt x="64" y="61"/>
                  </a:lnTo>
                  <a:lnTo>
                    <a:pt x="66" y="69"/>
                  </a:lnTo>
                  <a:lnTo>
                    <a:pt x="69" y="79"/>
                  </a:lnTo>
                  <a:lnTo>
                    <a:pt x="77" y="92"/>
                  </a:lnTo>
                  <a:lnTo>
                    <a:pt x="89" y="115"/>
                  </a:lnTo>
                  <a:lnTo>
                    <a:pt x="89" y="125"/>
                  </a:lnTo>
                  <a:lnTo>
                    <a:pt x="89" y="130"/>
                  </a:lnTo>
                  <a:lnTo>
                    <a:pt x="87" y="136"/>
                  </a:lnTo>
                  <a:lnTo>
                    <a:pt x="77" y="151"/>
                  </a:lnTo>
                  <a:lnTo>
                    <a:pt x="20" y="151"/>
                  </a:lnTo>
                  <a:lnTo>
                    <a:pt x="0" y="225"/>
                  </a:lnTo>
                  <a:lnTo>
                    <a:pt x="0" y="276"/>
                  </a:lnTo>
                  <a:close/>
                  <a:moveTo>
                    <a:pt x="89" y="156"/>
                  </a:moveTo>
                  <a:lnTo>
                    <a:pt x="89" y="154"/>
                  </a:lnTo>
                  <a:lnTo>
                    <a:pt x="102" y="130"/>
                  </a:lnTo>
                  <a:lnTo>
                    <a:pt x="102" y="125"/>
                  </a:lnTo>
                  <a:lnTo>
                    <a:pt x="102" y="115"/>
                  </a:lnTo>
                  <a:lnTo>
                    <a:pt x="100" y="107"/>
                  </a:lnTo>
                  <a:lnTo>
                    <a:pt x="95" y="100"/>
                  </a:lnTo>
                  <a:lnTo>
                    <a:pt x="79" y="69"/>
                  </a:lnTo>
                  <a:lnTo>
                    <a:pt x="77" y="61"/>
                  </a:lnTo>
                  <a:lnTo>
                    <a:pt x="77" y="49"/>
                  </a:lnTo>
                  <a:lnTo>
                    <a:pt x="77" y="41"/>
                  </a:lnTo>
                  <a:lnTo>
                    <a:pt x="79" y="33"/>
                  </a:lnTo>
                  <a:lnTo>
                    <a:pt x="84" y="28"/>
                  </a:lnTo>
                  <a:lnTo>
                    <a:pt x="89" y="23"/>
                  </a:lnTo>
                  <a:lnTo>
                    <a:pt x="95" y="18"/>
                  </a:lnTo>
                  <a:lnTo>
                    <a:pt x="107" y="13"/>
                  </a:lnTo>
                  <a:lnTo>
                    <a:pt x="123" y="13"/>
                  </a:lnTo>
                  <a:lnTo>
                    <a:pt x="133" y="13"/>
                  </a:lnTo>
                  <a:lnTo>
                    <a:pt x="146" y="18"/>
                  </a:lnTo>
                  <a:lnTo>
                    <a:pt x="153" y="23"/>
                  </a:lnTo>
                  <a:lnTo>
                    <a:pt x="159" y="31"/>
                  </a:lnTo>
                  <a:lnTo>
                    <a:pt x="161" y="36"/>
                  </a:lnTo>
                  <a:lnTo>
                    <a:pt x="164" y="43"/>
                  </a:lnTo>
                  <a:lnTo>
                    <a:pt x="164" y="51"/>
                  </a:lnTo>
                  <a:lnTo>
                    <a:pt x="164" y="59"/>
                  </a:lnTo>
                  <a:lnTo>
                    <a:pt x="161" y="66"/>
                  </a:lnTo>
                  <a:lnTo>
                    <a:pt x="156" y="82"/>
                  </a:lnTo>
                  <a:lnTo>
                    <a:pt x="138" y="113"/>
                  </a:lnTo>
                  <a:lnTo>
                    <a:pt x="138" y="120"/>
                  </a:lnTo>
                  <a:lnTo>
                    <a:pt x="138" y="125"/>
                  </a:lnTo>
                  <a:lnTo>
                    <a:pt x="138" y="133"/>
                  </a:lnTo>
                  <a:lnTo>
                    <a:pt x="143" y="141"/>
                  </a:lnTo>
                  <a:lnTo>
                    <a:pt x="151" y="156"/>
                  </a:lnTo>
                  <a:lnTo>
                    <a:pt x="153" y="161"/>
                  </a:lnTo>
                  <a:lnTo>
                    <a:pt x="153" y="179"/>
                  </a:lnTo>
                  <a:lnTo>
                    <a:pt x="151" y="184"/>
                  </a:lnTo>
                  <a:lnTo>
                    <a:pt x="148" y="187"/>
                  </a:lnTo>
                  <a:lnTo>
                    <a:pt x="141" y="189"/>
                  </a:lnTo>
                  <a:lnTo>
                    <a:pt x="130" y="192"/>
                  </a:lnTo>
                  <a:lnTo>
                    <a:pt x="120" y="192"/>
                  </a:lnTo>
                  <a:lnTo>
                    <a:pt x="105" y="189"/>
                  </a:lnTo>
                  <a:lnTo>
                    <a:pt x="92" y="187"/>
                  </a:lnTo>
                  <a:lnTo>
                    <a:pt x="89" y="182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9" y="156"/>
                  </a:lnTo>
                  <a:close/>
                  <a:moveTo>
                    <a:pt x="31" y="164"/>
                  </a:moveTo>
                  <a:lnTo>
                    <a:pt x="74" y="164"/>
                  </a:lnTo>
                  <a:lnTo>
                    <a:pt x="77" y="184"/>
                  </a:lnTo>
                  <a:lnTo>
                    <a:pt x="79" y="192"/>
                  </a:lnTo>
                  <a:lnTo>
                    <a:pt x="87" y="197"/>
                  </a:lnTo>
                  <a:lnTo>
                    <a:pt x="95" y="200"/>
                  </a:lnTo>
                  <a:lnTo>
                    <a:pt x="112" y="205"/>
                  </a:lnTo>
                  <a:lnTo>
                    <a:pt x="120" y="205"/>
                  </a:lnTo>
                  <a:lnTo>
                    <a:pt x="138" y="202"/>
                  </a:lnTo>
                  <a:lnTo>
                    <a:pt x="146" y="200"/>
                  </a:lnTo>
                  <a:lnTo>
                    <a:pt x="159" y="195"/>
                  </a:lnTo>
                  <a:lnTo>
                    <a:pt x="164" y="187"/>
                  </a:lnTo>
                  <a:lnTo>
                    <a:pt x="166" y="182"/>
                  </a:lnTo>
                  <a:lnTo>
                    <a:pt x="166" y="179"/>
                  </a:lnTo>
                  <a:lnTo>
                    <a:pt x="166" y="164"/>
                  </a:lnTo>
                  <a:lnTo>
                    <a:pt x="210" y="164"/>
                  </a:lnTo>
                  <a:lnTo>
                    <a:pt x="228" y="220"/>
                  </a:lnTo>
                  <a:lnTo>
                    <a:pt x="13" y="220"/>
                  </a:lnTo>
                  <a:lnTo>
                    <a:pt x="31" y="164"/>
                  </a:lnTo>
                  <a:close/>
                  <a:moveTo>
                    <a:pt x="13" y="233"/>
                  </a:moveTo>
                  <a:lnTo>
                    <a:pt x="228" y="233"/>
                  </a:lnTo>
                  <a:lnTo>
                    <a:pt x="228" y="264"/>
                  </a:lnTo>
                  <a:lnTo>
                    <a:pt x="13" y="264"/>
                  </a:lnTo>
                  <a:lnTo>
                    <a:pt x="13" y="2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03">
            <a:extLst>
              <a:ext uri="{FF2B5EF4-FFF2-40B4-BE49-F238E27FC236}">
                <a16:creationId xmlns:a16="http://schemas.microsoft.com/office/drawing/2014/main" id="{2C9FCD0E-06F2-46E0-ABDF-1118EB08BA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5897" y="1579563"/>
            <a:ext cx="758825" cy="758825"/>
            <a:chOff x="5057" y="1123"/>
            <a:chExt cx="478" cy="478"/>
          </a:xfrm>
        </p:grpSpPr>
        <p:sp>
          <p:nvSpPr>
            <p:cNvPr id="121" name="AutoShape 102">
              <a:extLst>
                <a:ext uri="{FF2B5EF4-FFF2-40B4-BE49-F238E27FC236}">
                  <a16:creationId xmlns:a16="http://schemas.microsoft.com/office/drawing/2014/main" id="{202493F8-95CC-4D06-A8F4-5788657A90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7" y="112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4">
              <a:extLst>
                <a:ext uri="{FF2B5EF4-FFF2-40B4-BE49-F238E27FC236}">
                  <a16:creationId xmlns:a16="http://schemas.microsoft.com/office/drawing/2014/main" id="{6AF12EA0-2040-4E4D-98D3-0EADB26C2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9" y="112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5">
              <a:extLst>
                <a:ext uri="{FF2B5EF4-FFF2-40B4-BE49-F238E27FC236}">
                  <a16:creationId xmlns:a16="http://schemas.microsoft.com/office/drawing/2014/main" id="{66850D03-905C-4160-B467-7CA2B78FD5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9" y="1228"/>
              <a:ext cx="216" cy="270"/>
            </a:xfrm>
            <a:custGeom>
              <a:avLst/>
              <a:gdLst>
                <a:gd name="T0" fmla="*/ 35 w 216"/>
                <a:gd name="T1" fmla="*/ 268 h 270"/>
                <a:gd name="T2" fmla="*/ 74 w 216"/>
                <a:gd name="T3" fmla="*/ 236 h 270"/>
                <a:gd name="T4" fmla="*/ 108 w 216"/>
                <a:gd name="T5" fmla="*/ 243 h 270"/>
                <a:gd name="T6" fmla="*/ 155 w 216"/>
                <a:gd name="T7" fmla="*/ 223 h 270"/>
                <a:gd name="T8" fmla="*/ 167 w 216"/>
                <a:gd name="T9" fmla="*/ 194 h 270"/>
                <a:gd name="T10" fmla="*/ 162 w 216"/>
                <a:gd name="T11" fmla="*/ 155 h 270"/>
                <a:gd name="T12" fmla="*/ 179 w 216"/>
                <a:gd name="T13" fmla="*/ 103 h 270"/>
                <a:gd name="T14" fmla="*/ 214 w 216"/>
                <a:gd name="T15" fmla="*/ 81 h 270"/>
                <a:gd name="T16" fmla="*/ 211 w 216"/>
                <a:gd name="T17" fmla="*/ 54 h 270"/>
                <a:gd name="T18" fmla="*/ 184 w 216"/>
                <a:gd name="T19" fmla="*/ 20 h 270"/>
                <a:gd name="T20" fmla="*/ 138 w 216"/>
                <a:gd name="T21" fmla="*/ 0 h 270"/>
                <a:gd name="T22" fmla="*/ 108 w 216"/>
                <a:gd name="T23" fmla="*/ 3 h 270"/>
                <a:gd name="T24" fmla="*/ 89 w 216"/>
                <a:gd name="T25" fmla="*/ 27 h 270"/>
                <a:gd name="T26" fmla="*/ 94 w 216"/>
                <a:gd name="T27" fmla="*/ 52 h 270"/>
                <a:gd name="T28" fmla="*/ 69 w 216"/>
                <a:gd name="T29" fmla="*/ 94 h 270"/>
                <a:gd name="T30" fmla="*/ 27 w 216"/>
                <a:gd name="T31" fmla="*/ 106 h 270"/>
                <a:gd name="T32" fmla="*/ 3 w 216"/>
                <a:gd name="T33" fmla="*/ 138 h 270"/>
                <a:gd name="T34" fmla="*/ 8 w 216"/>
                <a:gd name="T35" fmla="*/ 182 h 270"/>
                <a:gd name="T36" fmla="*/ 35 w 216"/>
                <a:gd name="T37" fmla="*/ 216 h 270"/>
                <a:gd name="T38" fmla="*/ 25 w 216"/>
                <a:gd name="T39" fmla="*/ 268 h 270"/>
                <a:gd name="T40" fmla="*/ 27 w 216"/>
                <a:gd name="T41" fmla="*/ 270 h 270"/>
                <a:gd name="T42" fmla="*/ 101 w 216"/>
                <a:gd name="T43" fmla="*/ 25 h 270"/>
                <a:gd name="T44" fmla="*/ 113 w 216"/>
                <a:gd name="T45" fmla="*/ 13 h 270"/>
                <a:gd name="T46" fmla="*/ 135 w 216"/>
                <a:gd name="T47" fmla="*/ 13 h 270"/>
                <a:gd name="T48" fmla="*/ 177 w 216"/>
                <a:gd name="T49" fmla="*/ 30 h 270"/>
                <a:gd name="T50" fmla="*/ 204 w 216"/>
                <a:gd name="T51" fmla="*/ 64 h 270"/>
                <a:gd name="T52" fmla="*/ 201 w 216"/>
                <a:gd name="T53" fmla="*/ 81 h 270"/>
                <a:gd name="T54" fmla="*/ 182 w 216"/>
                <a:gd name="T55" fmla="*/ 91 h 270"/>
                <a:gd name="T56" fmla="*/ 152 w 216"/>
                <a:gd name="T57" fmla="*/ 86 h 270"/>
                <a:gd name="T58" fmla="*/ 108 w 216"/>
                <a:gd name="T59" fmla="*/ 54 h 270"/>
                <a:gd name="T60" fmla="*/ 98 w 216"/>
                <a:gd name="T61" fmla="*/ 32 h 270"/>
                <a:gd name="T62" fmla="*/ 106 w 216"/>
                <a:gd name="T63" fmla="*/ 69 h 270"/>
                <a:gd name="T64" fmla="*/ 150 w 216"/>
                <a:gd name="T65" fmla="*/ 98 h 270"/>
                <a:gd name="T66" fmla="*/ 128 w 216"/>
                <a:gd name="T67" fmla="*/ 165 h 270"/>
                <a:gd name="T68" fmla="*/ 103 w 216"/>
                <a:gd name="T69" fmla="*/ 165 h 270"/>
                <a:gd name="T70" fmla="*/ 69 w 216"/>
                <a:gd name="T71" fmla="*/ 138 h 270"/>
                <a:gd name="T72" fmla="*/ 69 w 216"/>
                <a:gd name="T73" fmla="*/ 123 h 270"/>
                <a:gd name="T74" fmla="*/ 35 w 216"/>
                <a:gd name="T75" fmla="*/ 199 h 270"/>
                <a:gd name="T76" fmla="*/ 15 w 216"/>
                <a:gd name="T77" fmla="*/ 170 h 270"/>
                <a:gd name="T78" fmla="*/ 13 w 216"/>
                <a:gd name="T79" fmla="*/ 143 h 270"/>
                <a:gd name="T80" fmla="*/ 32 w 216"/>
                <a:gd name="T81" fmla="*/ 116 h 270"/>
                <a:gd name="T82" fmla="*/ 59 w 216"/>
                <a:gd name="T83" fmla="*/ 106 h 270"/>
                <a:gd name="T84" fmla="*/ 57 w 216"/>
                <a:gd name="T85" fmla="*/ 128 h 270"/>
                <a:gd name="T86" fmla="*/ 62 w 216"/>
                <a:gd name="T87" fmla="*/ 147 h 270"/>
                <a:gd name="T88" fmla="*/ 98 w 216"/>
                <a:gd name="T89" fmla="*/ 177 h 270"/>
                <a:gd name="T90" fmla="*/ 123 w 216"/>
                <a:gd name="T91" fmla="*/ 179 h 270"/>
                <a:gd name="T92" fmla="*/ 140 w 216"/>
                <a:gd name="T93" fmla="*/ 167 h 270"/>
                <a:gd name="T94" fmla="*/ 155 w 216"/>
                <a:gd name="T95" fmla="*/ 167 h 270"/>
                <a:gd name="T96" fmla="*/ 155 w 216"/>
                <a:gd name="T97" fmla="*/ 201 h 270"/>
                <a:gd name="T98" fmla="*/ 135 w 216"/>
                <a:gd name="T99" fmla="*/ 226 h 270"/>
                <a:gd name="T100" fmla="*/ 106 w 216"/>
                <a:gd name="T101" fmla="*/ 231 h 270"/>
                <a:gd name="T102" fmla="*/ 67 w 216"/>
                <a:gd name="T103" fmla="*/ 22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270">
                  <a:moveTo>
                    <a:pt x="30" y="270"/>
                  </a:moveTo>
                  <a:lnTo>
                    <a:pt x="32" y="270"/>
                  </a:lnTo>
                  <a:lnTo>
                    <a:pt x="35" y="268"/>
                  </a:lnTo>
                  <a:lnTo>
                    <a:pt x="35" y="268"/>
                  </a:lnTo>
                  <a:lnTo>
                    <a:pt x="57" y="231"/>
                  </a:lnTo>
                  <a:lnTo>
                    <a:pt x="74" y="236"/>
                  </a:lnTo>
                  <a:lnTo>
                    <a:pt x="89" y="241"/>
                  </a:lnTo>
                  <a:lnTo>
                    <a:pt x="101" y="243"/>
                  </a:lnTo>
                  <a:lnTo>
                    <a:pt x="108" y="243"/>
                  </a:lnTo>
                  <a:lnTo>
                    <a:pt x="128" y="241"/>
                  </a:lnTo>
                  <a:lnTo>
                    <a:pt x="145" y="231"/>
                  </a:lnTo>
                  <a:lnTo>
                    <a:pt x="155" y="223"/>
                  </a:lnTo>
                  <a:lnTo>
                    <a:pt x="160" y="216"/>
                  </a:lnTo>
                  <a:lnTo>
                    <a:pt x="165" y="204"/>
                  </a:lnTo>
                  <a:lnTo>
                    <a:pt x="167" y="194"/>
                  </a:lnTo>
                  <a:lnTo>
                    <a:pt x="167" y="187"/>
                  </a:lnTo>
                  <a:lnTo>
                    <a:pt x="167" y="172"/>
                  </a:lnTo>
                  <a:lnTo>
                    <a:pt x="162" y="155"/>
                  </a:lnTo>
                  <a:lnTo>
                    <a:pt x="155" y="140"/>
                  </a:lnTo>
                  <a:lnTo>
                    <a:pt x="170" y="103"/>
                  </a:lnTo>
                  <a:lnTo>
                    <a:pt x="179" y="103"/>
                  </a:lnTo>
                  <a:lnTo>
                    <a:pt x="196" y="98"/>
                  </a:lnTo>
                  <a:lnTo>
                    <a:pt x="209" y="91"/>
                  </a:lnTo>
                  <a:lnTo>
                    <a:pt x="214" y="81"/>
                  </a:lnTo>
                  <a:lnTo>
                    <a:pt x="216" y="71"/>
                  </a:lnTo>
                  <a:lnTo>
                    <a:pt x="214" y="62"/>
                  </a:lnTo>
                  <a:lnTo>
                    <a:pt x="211" y="54"/>
                  </a:lnTo>
                  <a:lnTo>
                    <a:pt x="206" y="42"/>
                  </a:lnTo>
                  <a:lnTo>
                    <a:pt x="196" y="32"/>
                  </a:lnTo>
                  <a:lnTo>
                    <a:pt x="184" y="20"/>
                  </a:lnTo>
                  <a:lnTo>
                    <a:pt x="170" y="13"/>
                  </a:lnTo>
                  <a:lnTo>
                    <a:pt x="152" y="5"/>
                  </a:lnTo>
                  <a:lnTo>
                    <a:pt x="138" y="0"/>
                  </a:lnTo>
                  <a:lnTo>
                    <a:pt x="125" y="0"/>
                  </a:lnTo>
                  <a:lnTo>
                    <a:pt x="118" y="0"/>
                  </a:lnTo>
                  <a:lnTo>
                    <a:pt x="108" y="3"/>
                  </a:lnTo>
                  <a:lnTo>
                    <a:pt x="96" y="10"/>
                  </a:lnTo>
                  <a:lnTo>
                    <a:pt x="91" y="18"/>
                  </a:lnTo>
                  <a:lnTo>
                    <a:pt x="89" y="27"/>
                  </a:lnTo>
                  <a:lnTo>
                    <a:pt x="89" y="30"/>
                  </a:lnTo>
                  <a:lnTo>
                    <a:pt x="91" y="42"/>
                  </a:lnTo>
                  <a:lnTo>
                    <a:pt x="94" y="52"/>
                  </a:lnTo>
                  <a:lnTo>
                    <a:pt x="98" y="62"/>
                  </a:lnTo>
                  <a:lnTo>
                    <a:pt x="76" y="94"/>
                  </a:lnTo>
                  <a:lnTo>
                    <a:pt x="69" y="94"/>
                  </a:lnTo>
                  <a:lnTo>
                    <a:pt x="54" y="96"/>
                  </a:lnTo>
                  <a:lnTo>
                    <a:pt x="37" y="101"/>
                  </a:lnTo>
                  <a:lnTo>
                    <a:pt x="27" y="106"/>
                  </a:lnTo>
                  <a:lnTo>
                    <a:pt x="15" y="116"/>
                  </a:lnTo>
                  <a:lnTo>
                    <a:pt x="8" y="125"/>
                  </a:lnTo>
                  <a:lnTo>
                    <a:pt x="3" y="138"/>
                  </a:lnTo>
                  <a:lnTo>
                    <a:pt x="0" y="152"/>
                  </a:lnTo>
                  <a:lnTo>
                    <a:pt x="3" y="170"/>
                  </a:lnTo>
                  <a:lnTo>
                    <a:pt x="8" y="182"/>
                  </a:lnTo>
                  <a:lnTo>
                    <a:pt x="15" y="194"/>
                  </a:lnTo>
                  <a:lnTo>
                    <a:pt x="25" y="206"/>
                  </a:lnTo>
                  <a:lnTo>
                    <a:pt x="35" y="216"/>
                  </a:lnTo>
                  <a:lnTo>
                    <a:pt x="47" y="223"/>
                  </a:lnTo>
                  <a:lnTo>
                    <a:pt x="25" y="265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25" y="270"/>
                  </a:lnTo>
                  <a:lnTo>
                    <a:pt x="27" y="270"/>
                  </a:lnTo>
                  <a:lnTo>
                    <a:pt x="30" y="270"/>
                  </a:lnTo>
                  <a:lnTo>
                    <a:pt x="30" y="270"/>
                  </a:lnTo>
                  <a:close/>
                  <a:moveTo>
                    <a:pt x="101" y="25"/>
                  </a:moveTo>
                  <a:lnTo>
                    <a:pt x="103" y="20"/>
                  </a:lnTo>
                  <a:lnTo>
                    <a:pt x="106" y="15"/>
                  </a:lnTo>
                  <a:lnTo>
                    <a:pt x="113" y="13"/>
                  </a:lnTo>
                  <a:lnTo>
                    <a:pt x="123" y="10"/>
                  </a:lnTo>
                  <a:lnTo>
                    <a:pt x="125" y="10"/>
                  </a:lnTo>
                  <a:lnTo>
                    <a:pt x="135" y="13"/>
                  </a:lnTo>
                  <a:lnTo>
                    <a:pt x="150" y="15"/>
                  </a:lnTo>
                  <a:lnTo>
                    <a:pt x="165" y="22"/>
                  </a:lnTo>
                  <a:lnTo>
                    <a:pt x="177" y="30"/>
                  </a:lnTo>
                  <a:lnTo>
                    <a:pt x="189" y="42"/>
                  </a:lnTo>
                  <a:lnTo>
                    <a:pt x="199" y="52"/>
                  </a:lnTo>
                  <a:lnTo>
                    <a:pt x="204" y="64"/>
                  </a:lnTo>
                  <a:lnTo>
                    <a:pt x="204" y="71"/>
                  </a:lnTo>
                  <a:lnTo>
                    <a:pt x="204" y="79"/>
                  </a:lnTo>
                  <a:lnTo>
                    <a:pt x="201" y="81"/>
                  </a:lnTo>
                  <a:lnTo>
                    <a:pt x="196" y="86"/>
                  </a:lnTo>
                  <a:lnTo>
                    <a:pt x="192" y="89"/>
                  </a:lnTo>
                  <a:lnTo>
                    <a:pt x="182" y="91"/>
                  </a:lnTo>
                  <a:lnTo>
                    <a:pt x="179" y="91"/>
                  </a:lnTo>
                  <a:lnTo>
                    <a:pt x="165" y="91"/>
                  </a:lnTo>
                  <a:lnTo>
                    <a:pt x="152" y="86"/>
                  </a:lnTo>
                  <a:lnTo>
                    <a:pt x="135" y="79"/>
                  </a:lnTo>
                  <a:lnTo>
                    <a:pt x="120" y="67"/>
                  </a:lnTo>
                  <a:lnTo>
                    <a:pt x="108" y="54"/>
                  </a:lnTo>
                  <a:lnTo>
                    <a:pt x="101" y="42"/>
                  </a:lnTo>
                  <a:lnTo>
                    <a:pt x="98" y="35"/>
                  </a:lnTo>
                  <a:lnTo>
                    <a:pt x="98" y="32"/>
                  </a:lnTo>
                  <a:lnTo>
                    <a:pt x="101" y="25"/>
                  </a:lnTo>
                  <a:close/>
                  <a:moveTo>
                    <a:pt x="69" y="121"/>
                  </a:moveTo>
                  <a:lnTo>
                    <a:pt x="106" y="69"/>
                  </a:lnTo>
                  <a:lnTo>
                    <a:pt x="120" y="81"/>
                  </a:lnTo>
                  <a:lnTo>
                    <a:pt x="133" y="91"/>
                  </a:lnTo>
                  <a:lnTo>
                    <a:pt x="150" y="98"/>
                  </a:lnTo>
                  <a:lnTo>
                    <a:pt x="160" y="101"/>
                  </a:lnTo>
                  <a:lnTo>
                    <a:pt x="130" y="162"/>
                  </a:lnTo>
                  <a:lnTo>
                    <a:pt x="128" y="165"/>
                  </a:lnTo>
                  <a:lnTo>
                    <a:pt x="118" y="167"/>
                  </a:lnTo>
                  <a:lnTo>
                    <a:pt x="116" y="167"/>
                  </a:lnTo>
                  <a:lnTo>
                    <a:pt x="103" y="165"/>
                  </a:lnTo>
                  <a:lnTo>
                    <a:pt x="89" y="160"/>
                  </a:lnTo>
                  <a:lnTo>
                    <a:pt x="79" y="152"/>
                  </a:lnTo>
                  <a:lnTo>
                    <a:pt x="69" y="138"/>
                  </a:lnTo>
                  <a:lnTo>
                    <a:pt x="67" y="133"/>
                  </a:lnTo>
                  <a:lnTo>
                    <a:pt x="67" y="130"/>
                  </a:lnTo>
                  <a:lnTo>
                    <a:pt x="69" y="123"/>
                  </a:lnTo>
                  <a:lnTo>
                    <a:pt x="69" y="121"/>
                  </a:lnTo>
                  <a:close/>
                  <a:moveTo>
                    <a:pt x="42" y="206"/>
                  </a:moveTo>
                  <a:lnTo>
                    <a:pt x="35" y="199"/>
                  </a:lnTo>
                  <a:lnTo>
                    <a:pt x="25" y="187"/>
                  </a:lnTo>
                  <a:lnTo>
                    <a:pt x="20" y="179"/>
                  </a:lnTo>
                  <a:lnTo>
                    <a:pt x="15" y="170"/>
                  </a:lnTo>
                  <a:lnTo>
                    <a:pt x="13" y="157"/>
                  </a:lnTo>
                  <a:lnTo>
                    <a:pt x="13" y="150"/>
                  </a:lnTo>
                  <a:lnTo>
                    <a:pt x="13" y="143"/>
                  </a:lnTo>
                  <a:lnTo>
                    <a:pt x="15" y="133"/>
                  </a:lnTo>
                  <a:lnTo>
                    <a:pt x="22" y="125"/>
                  </a:lnTo>
                  <a:lnTo>
                    <a:pt x="32" y="116"/>
                  </a:lnTo>
                  <a:lnTo>
                    <a:pt x="42" y="111"/>
                  </a:lnTo>
                  <a:lnTo>
                    <a:pt x="54" y="106"/>
                  </a:lnTo>
                  <a:lnTo>
                    <a:pt x="59" y="106"/>
                  </a:lnTo>
                  <a:lnTo>
                    <a:pt x="69" y="103"/>
                  </a:lnTo>
                  <a:lnTo>
                    <a:pt x="59" y="121"/>
                  </a:lnTo>
                  <a:lnTo>
                    <a:pt x="57" y="128"/>
                  </a:lnTo>
                  <a:lnTo>
                    <a:pt x="57" y="133"/>
                  </a:lnTo>
                  <a:lnTo>
                    <a:pt x="57" y="138"/>
                  </a:lnTo>
                  <a:lnTo>
                    <a:pt x="62" y="147"/>
                  </a:lnTo>
                  <a:lnTo>
                    <a:pt x="71" y="160"/>
                  </a:lnTo>
                  <a:lnTo>
                    <a:pt x="84" y="170"/>
                  </a:lnTo>
                  <a:lnTo>
                    <a:pt x="98" y="177"/>
                  </a:lnTo>
                  <a:lnTo>
                    <a:pt x="113" y="179"/>
                  </a:lnTo>
                  <a:lnTo>
                    <a:pt x="116" y="179"/>
                  </a:lnTo>
                  <a:lnTo>
                    <a:pt x="123" y="179"/>
                  </a:lnTo>
                  <a:lnTo>
                    <a:pt x="130" y="174"/>
                  </a:lnTo>
                  <a:lnTo>
                    <a:pt x="135" y="172"/>
                  </a:lnTo>
                  <a:lnTo>
                    <a:pt x="140" y="167"/>
                  </a:lnTo>
                  <a:lnTo>
                    <a:pt x="143" y="162"/>
                  </a:lnTo>
                  <a:lnTo>
                    <a:pt x="147" y="150"/>
                  </a:lnTo>
                  <a:lnTo>
                    <a:pt x="155" y="167"/>
                  </a:lnTo>
                  <a:lnTo>
                    <a:pt x="157" y="177"/>
                  </a:lnTo>
                  <a:lnTo>
                    <a:pt x="157" y="187"/>
                  </a:lnTo>
                  <a:lnTo>
                    <a:pt x="155" y="201"/>
                  </a:lnTo>
                  <a:lnTo>
                    <a:pt x="147" y="216"/>
                  </a:lnTo>
                  <a:lnTo>
                    <a:pt x="143" y="221"/>
                  </a:lnTo>
                  <a:lnTo>
                    <a:pt x="135" y="226"/>
                  </a:lnTo>
                  <a:lnTo>
                    <a:pt x="125" y="228"/>
                  </a:lnTo>
                  <a:lnTo>
                    <a:pt x="116" y="231"/>
                  </a:lnTo>
                  <a:lnTo>
                    <a:pt x="106" y="231"/>
                  </a:lnTo>
                  <a:lnTo>
                    <a:pt x="96" y="231"/>
                  </a:lnTo>
                  <a:lnTo>
                    <a:pt x="81" y="228"/>
                  </a:lnTo>
                  <a:lnTo>
                    <a:pt x="67" y="221"/>
                  </a:lnTo>
                  <a:lnTo>
                    <a:pt x="54" y="216"/>
                  </a:lnTo>
                  <a:lnTo>
                    <a:pt x="42" y="20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Group 108">
            <a:extLst>
              <a:ext uri="{FF2B5EF4-FFF2-40B4-BE49-F238E27FC236}">
                <a16:creationId xmlns:a16="http://schemas.microsoft.com/office/drawing/2014/main" id="{1CFE89F3-6BCA-4229-AFF9-828AD7B54F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4995" y="1538288"/>
            <a:ext cx="841375" cy="841375"/>
            <a:chOff x="4511" y="1059"/>
            <a:chExt cx="530" cy="530"/>
          </a:xfrm>
        </p:grpSpPr>
        <p:sp>
          <p:nvSpPr>
            <p:cNvPr id="125" name="AutoShape 107">
              <a:extLst>
                <a:ext uri="{FF2B5EF4-FFF2-40B4-BE49-F238E27FC236}">
                  <a16:creationId xmlns:a16="http://schemas.microsoft.com/office/drawing/2014/main" id="{6CC4144F-7EE2-4803-B01B-0D0FFE6716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11" y="105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Oval 109">
              <a:extLst>
                <a:ext uri="{FF2B5EF4-FFF2-40B4-BE49-F238E27FC236}">
                  <a16:creationId xmlns:a16="http://schemas.microsoft.com/office/drawing/2014/main" id="{7D09E172-4976-45FB-B558-7C9BCD165E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1" y="105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0">
              <a:extLst>
                <a:ext uri="{FF2B5EF4-FFF2-40B4-BE49-F238E27FC236}">
                  <a16:creationId xmlns:a16="http://schemas.microsoft.com/office/drawing/2014/main" id="{CD7123FB-394E-419C-BEBA-B250CFA83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107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1">
              <a:extLst>
                <a:ext uri="{FF2B5EF4-FFF2-40B4-BE49-F238E27FC236}">
                  <a16:creationId xmlns:a16="http://schemas.microsoft.com/office/drawing/2014/main" id="{1CA96B58-4ED2-486B-A507-0050493DE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5" y="1184"/>
              <a:ext cx="225" cy="282"/>
            </a:xfrm>
            <a:custGeom>
              <a:avLst/>
              <a:gdLst>
                <a:gd name="T0" fmla="*/ 35 w 225"/>
                <a:gd name="T1" fmla="*/ 279 h 282"/>
                <a:gd name="T2" fmla="*/ 76 w 225"/>
                <a:gd name="T3" fmla="*/ 246 h 282"/>
                <a:gd name="T4" fmla="*/ 112 w 225"/>
                <a:gd name="T5" fmla="*/ 254 h 282"/>
                <a:gd name="T6" fmla="*/ 161 w 225"/>
                <a:gd name="T7" fmla="*/ 233 h 282"/>
                <a:gd name="T8" fmla="*/ 174 w 225"/>
                <a:gd name="T9" fmla="*/ 203 h 282"/>
                <a:gd name="T10" fmla="*/ 169 w 225"/>
                <a:gd name="T11" fmla="*/ 162 h 282"/>
                <a:gd name="T12" fmla="*/ 186 w 225"/>
                <a:gd name="T13" fmla="*/ 108 h 282"/>
                <a:gd name="T14" fmla="*/ 222 w 225"/>
                <a:gd name="T15" fmla="*/ 85 h 282"/>
                <a:gd name="T16" fmla="*/ 220 w 225"/>
                <a:gd name="T17" fmla="*/ 57 h 282"/>
                <a:gd name="T18" fmla="*/ 192 w 225"/>
                <a:gd name="T19" fmla="*/ 21 h 282"/>
                <a:gd name="T20" fmla="*/ 143 w 225"/>
                <a:gd name="T21" fmla="*/ 0 h 282"/>
                <a:gd name="T22" fmla="*/ 112 w 225"/>
                <a:gd name="T23" fmla="*/ 3 h 282"/>
                <a:gd name="T24" fmla="*/ 92 w 225"/>
                <a:gd name="T25" fmla="*/ 29 h 282"/>
                <a:gd name="T26" fmla="*/ 97 w 225"/>
                <a:gd name="T27" fmla="*/ 54 h 282"/>
                <a:gd name="T28" fmla="*/ 71 w 225"/>
                <a:gd name="T29" fmla="*/ 98 h 282"/>
                <a:gd name="T30" fmla="*/ 28 w 225"/>
                <a:gd name="T31" fmla="*/ 110 h 282"/>
                <a:gd name="T32" fmla="*/ 2 w 225"/>
                <a:gd name="T33" fmla="*/ 144 h 282"/>
                <a:gd name="T34" fmla="*/ 7 w 225"/>
                <a:gd name="T35" fmla="*/ 190 h 282"/>
                <a:gd name="T36" fmla="*/ 35 w 225"/>
                <a:gd name="T37" fmla="*/ 226 h 282"/>
                <a:gd name="T38" fmla="*/ 25 w 225"/>
                <a:gd name="T39" fmla="*/ 279 h 282"/>
                <a:gd name="T40" fmla="*/ 28 w 225"/>
                <a:gd name="T41" fmla="*/ 282 h 282"/>
                <a:gd name="T42" fmla="*/ 104 w 225"/>
                <a:gd name="T43" fmla="*/ 26 h 282"/>
                <a:gd name="T44" fmla="*/ 117 w 225"/>
                <a:gd name="T45" fmla="*/ 13 h 282"/>
                <a:gd name="T46" fmla="*/ 140 w 225"/>
                <a:gd name="T47" fmla="*/ 13 h 282"/>
                <a:gd name="T48" fmla="*/ 184 w 225"/>
                <a:gd name="T49" fmla="*/ 31 h 282"/>
                <a:gd name="T50" fmla="*/ 212 w 225"/>
                <a:gd name="T51" fmla="*/ 67 h 282"/>
                <a:gd name="T52" fmla="*/ 209 w 225"/>
                <a:gd name="T53" fmla="*/ 85 h 282"/>
                <a:gd name="T54" fmla="*/ 189 w 225"/>
                <a:gd name="T55" fmla="*/ 95 h 282"/>
                <a:gd name="T56" fmla="*/ 158 w 225"/>
                <a:gd name="T57" fmla="*/ 90 h 282"/>
                <a:gd name="T58" fmla="*/ 112 w 225"/>
                <a:gd name="T59" fmla="*/ 57 h 282"/>
                <a:gd name="T60" fmla="*/ 102 w 225"/>
                <a:gd name="T61" fmla="*/ 34 h 282"/>
                <a:gd name="T62" fmla="*/ 110 w 225"/>
                <a:gd name="T63" fmla="*/ 72 h 282"/>
                <a:gd name="T64" fmla="*/ 156 w 225"/>
                <a:gd name="T65" fmla="*/ 103 h 282"/>
                <a:gd name="T66" fmla="*/ 133 w 225"/>
                <a:gd name="T67" fmla="*/ 172 h 282"/>
                <a:gd name="T68" fmla="*/ 107 w 225"/>
                <a:gd name="T69" fmla="*/ 172 h 282"/>
                <a:gd name="T70" fmla="*/ 71 w 225"/>
                <a:gd name="T71" fmla="*/ 144 h 282"/>
                <a:gd name="T72" fmla="*/ 71 w 225"/>
                <a:gd name="T73" fmla="*/ 128 h 282"/>
                <a:gd name="T74" fmla="*/ 35 w 225"/>
                <a:gd name="T75" fmla="*/ 208 h 282"/>
                <a:gd name="T76" fmla="*/ 15 w 225"/>
                <a:gd name="T77" fmla="*/ 177 h 282"/>
                <a:gd name="T78" fmla="*/ 12 w 225"/>
                <a:gd name="T79" fmla="*/ 149 h 282"/>
                <a:gd name="T80" fmla="*/ 33 w 225"/>
                <a:gd name="T81" fmla="*/ 121 h 282"/>
                <a:gd name="T82" fmla="*/ 61 w 225"/>
                <a:gd name="T83" fmla="*/ 110 h 282"/>
                <a:gd name="T84" fmla="*/ 58 w 225"/>
                <a:gd name="T85" fmla="*/ 133 h 282"/>
                <a:gd name="T86" fmla="*/ 64 w 225"/>
                <a:gd name="T87" fmla="*/ 154 h 282"/>
                <a:gd name="T88" fmla="*/ 102 w 225"/>
                <a:gd name="T89" fmla="*/ 185 h 282"/>
                <a:gd name="T90" fmla="*/ 128 w 225"/>
                <a:gd name="T91" fmla="*/ 187 h 282"/>
                <a:gd name="T92" fmla="*/ 145 w 225"/>
                <a:gd name="T93" fmla="*/ 174 h 282"/>
                <a:gd name="T94" fmla="*/ 161 w 225"/>
                <a:gd name="T95" fmla="*/ 174 h 282"/>
                <a:gd name="T96" fmla="*/ 161 w 225"/>
                <a:gd name="T97" fmla="*/ 210 h 282"/>
                <a:gd name="T98" fmla="*/ 140 w 225"/>
                <a:gd name="T99" fmla="*/ 236 h 282"/>
                <a:gd name="T100" fmla="*/ 110 w 225"/>
                <a:gd name="T101" fmla="*/ 241 h 282"/>
                <a:gd name="T102" fmla="*/ 69 w 225"/>
                <a:gd name="T103" fmla="*/ 231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5" h="282">
                  <a:moveTo>
                    <a:pt x="30" y="282"/>
                  </a:moveTo>
                  <a:lnTo>
                    <a:pt x="33" y="282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58" y="241"/>
                  </a:lnTo>
                  <a:lnTo>
                    <a:pt x="76" y="246"/>
                  </a:lnTo>
                  <a:lnTo>
                    <a:pt x="92" y="251"/>
                  </a:lnTo>
                  <a:lnTo>
                    <a:pt x="104" y="254"/>
                  </a:lnTo>
                  <a:lnTo>
                    <a:pt x="112" y="254"/>
                  </a:lnTo>
                  <a:lnTo>
                    <a:pt x="133" y="251"/>
                  </a:lnTo>
                  <a:lnTo>
                    <a:pt x="151" y="241"/>
                  </a:lnTo>
                  <a:lnTo>
                    <a:pt x="161" y="233"/>
                  </a:lnTo>
                  <a:lnTo>
                    <a:pt x="166" y="226"/>
                  </a:lnTo>
                  <a:lnTo>
                    <a:pt x="171" y="213"/>
                  </a:lnTo>
                  <a:lnTo>
                    <a:pt x="174" y="203"/>
                  </a:lnTo>
                  <a:lnTo>
                    <a:pt x="174" y="195"/>
                  </a:lnTo>
                  <a:lnTo>
                    <a:pt x="174" y="180"/>
                  </a:lnTo>
                  <a:lnTo>
                    <a:pt x="169" y="162"/>
                  </a:lnTo>
                  <a:lnTo>
                    <a:pt x="161" y="146"/>
                  </a:lnTo>
                  <a:lnTo>
                    <a:pt x="176" y="108"/>
                  </a:lnTo>
                  <a:lnTo>
                    <a:pt x="186" y="108"/>
                  </a:lnTo>
                  <a:lnTo>
                    <a:pt x="204" y="103"/>
                  </a:lnTo>
                  <a:lnTo>
                    <a:pt x="217" y="95"/>
                  </a:lnTo>
                  <a:lnTo>
                    <a:pt x="222" y="85"/>
                  </a:lnTo>
                  <a:lnTo>
                    <a:pt x="225" y="75"/>
                  </a:lnTo>
                  <a:lnTo>
                    <a:pt x="222" y="64"/>
                  </a:lnTo>
                  <a:lnTo>
                    <a:pt x="220" y="57"/>
                  </a:lnTo>
                  <a:lnTo>
                    <a:pt x="215" y="44"/>
                  </a:lnTo>
                  <a:lnTo>
                    <a:pt x="204" y="34"/>
                  </a:lnTo>
                  <a:lnTo>
                    <a:pt x="192" y="21"/>
                  </a:lnTo>
                  <a:lnTo>
                    <a:pt x="176" y="13"/>
                  </a:lnTo>
                  <a:lnTo>
                    <a:pt x="158" y="5"/>
                  </a:lnTo>
                  <a:lnTo>
                    <a:pt x="143" y="0"/>
                  </a:lnTo>
                  <a:lnTo>
                    <a:pt x="130" y="0"/>
                  </a:lnTo>
                  <a:lnTo>
                    <a:pt x="122" y="0"/>
                  </a:lnTo>
                  <a:lnTo>
                    <a:pt x="112" y="3"/>
                  </a:lnTo>
                  <a:lnTo>
                    <a:pt x="99" y="11"/>
                  </a:lnTo>
                  <a:lnTo>
                    <a:pt x="94" y="18"/>
                  </a:lnTo>
                  <a:lnTo>
                    <a:pt x="92" y="29"/>
                  </a:lnTo>
                  <a:lnTo>
                    <a:pt x="92" y="31"/>
                  </a:lnTo>
                  <a:lnTo>
                    <a:pt x="94" y="44"/>
                  </a:lnTo>
                  <a:lnTo>
                    <a:pt x="97" y="54"/>
                  </a:lnTo>
                  <a:lnTo>
                    <a:pt x="102" y="64"/>
                  </a:lnTo>
                  <a:lnTo>
                    <a:pt x="79" y="98"/>
                  </a:lnTo>
                  <a:lnTo>
                    <a:pt x="71" y="98"/>
                  </a:lnTo>
                  <a:lnTo>
                    <a:pt x="56" y="100"/>
                  </a:lnTo>
                  <a:lnTo>
                    <a:pt x="38" y="105"/>
                  </a:lnTo>
                  <a:lnTo>
                    <a:pt x="28" y="110"/>
                  </a:lnTo>
                  <a:lnTo>
                    <a:pt x="15" y="121"/>
                  </a:lnTo>
                  <a:lnTo>
                    <a:pt x="7" y="131"/>
                  </a:lnTo>
                  <a:lnTo>
                    <a:pt x="2" y="144"/>
                  </a:lnTo>
                  <a:lnTo>
                    <a:pt x="0" y="159"/>
                  </a:lnTo>
                  <a:lnTo>
                    <a:pt x="2" y="177"/>
                  </a:lnTo>
                  <a:lnTo>
                    <a:pt x="7" y="190"/>
                  </a:lnTo>
                  <a:lnTo>
                    <a:pt x="15" y="203"/>
                  </a:lnTo>
                  <a:lnTo>
                    <a:pt x="25" y="215"/>
                  </a:lnTo>
                  <a:lnTo>
                    <a:pt x="35" y="226"/>
                  </a:lnTo>
                  <a:lnTo>
                    <a:pt x="48" y="233"/>
                  </a:lnTo>
                  <a:lnTo>
                    <a:pt x="25" y="277"/>
                  </a:lnTo>
                  <a:lnTo>
                    <a:pt x="25" y="279"/>
                  </a:lnTo>
                  <a:lnTo>
                    <a:pt x="25" y="279"/>
                  </a:lnTo>
                  <a:lnTo>
                    <a:pt x="25" y="282"/>
                  </a:lnTo>
                  <a:lnTo>
                    <a:pt x="28" y="282"/>
                  </a:lnTo>
                  <a:lnTo>
                    <a:pt x="30" y="282"/>
                  </a:lnTo>
                  <a:lnTo>
                    <a:pt x="30" y="282"/>
                  </a:lnTo>
                  <a:close/>
                  <a:moveTo>
                    <a:pt x="104" y="26"/>
                  </a:moveTo>
                  <a:lnTo>
                    <a:pt x="107" y="21"/>
                  </a:lnTo>
                  <a:lnTo>
                    <a:pt x="110" y="16"/>
                  </a:lnTo>
                  <a:lnTo>
                    <a:pt x="117" y="13"/>
                  </a:lnTo>
                  <a:lnTo>
                    <a:pt x="128" y="11"/>
                  </a:lnTo>
                  <a:lnTo>
                    <a:pt x="130" y="11"/>
                  </a:lnTo>
                  <a:lnTo>
                    <a:pt x="140" y="13"/>
                  </a:lnTo>
                  <a:lnTo>
                    <a:pt x="156" y="16"/>
                  </a:lnTo>
                  <a:lnTo>
                    <a:pt x="171" y="23"/>
                  </a:lnTo>
                  <a:lnTo>
                    <a:pt x="184" y="31"/>
                  </a:lnTo>
                  <a:lnTo>
                    <a:pt x="197" y="44"/>
                  </a:lnTo>
                  <a:lnTo>
                    <a:pt x="207" y="54"/>
                  </a:lnTo>
                  <a:lnTo>
                    <a:pt x="212" y="67"/>
                  </a:lnTo>
                  <a:lnTo>
                    <a:pt x="212" y="75"/>
                  </a:lnTo>
                  <a:lnTo>
                    <a:pt x="212" y="82"/>
                  </a:lnTo>
                  <a:lnTo>
                    <a:pt x="209" y="85"/>
                  </a:lnTo>
                  <a:lnTo>
                    <a:pt x="204" y="90"/>
                  </a:lnTo>
                  <a:lnTo>
                    <a:pt x="199" y="93"/>
                  </a:lnTo>
                  <a:lnTo>
                    <a:pt x="189" y="95"/>
                  </a:lnTo>
                  <a:lnTo>
                    <a:pt x="186" y="95"/>
                  </a:lnTo>
                  <a:lnTo>
                    <a:pt x="171" y="95"/>
                  </a:lnTo>
                  <a:lnTo>
                    <a:pt x="158" y="90"/>
                  </a:lnTo>
                  <a:lnTo>
                    <a:pt x="140" y="82"/>
                  </a:lnTo>
                  <a:lnTo>
                    <a:pt x="125" y="69"/>
                  </a:lnTo>
                  <a:lnTo>
                    <a:pt x="112" y="57"/>
                  </a:lnTo>
                  <a:lnTo>
                    <a:pt x="104" y="44"/>
                  </a:lnTo>
                  <a:lnTo>
                    <a:pt x="102" y="36"/>
                  </a:lnTo>
                  <a:lnTo>
                    <a:pt x="102" y="34"/>
                  </a:lnTo>
                  <a:lnTo>
                    <a:pt x="104" y="26"/>
                  </a:lnTo>
                  <a:close/>
                  <a:moveTo>
                    <a:pt x="71" y="126"/>
                  </a:moveTo>
                  <a:lnTo>
                    <a:pt x="110" y="72"/>
                  </a:lnTo>
                  <a:lnTo>
                    <a:pt x="125" y="85"/>
                  </a:lnTo>
                  <a:lnTo>
                    <a:pt x="138" y="95"/>
                  </a:lnTo>
                  <a:lnTo>
                    <a:pt x="156" y="103"/>
                  </a:lnTo>
                  <a:lnTo>
                    <a:pt x="166" y="105"/>
                  </a:lnTo>
                  <a:lnTo>
                    <a:pt x="135" y="169"/>
                  </a:lnTo>
                  <a:lnTo>
                    <a:pt x="133" y="172"/>
                  </a:lnTo>
                  <a:lnTo>
                    <a:pt x="122" y="174"/>
                  </a:lnTo>
                  <a:lnTo>
                    <a:pt x="120" y="174"/>
                  </a:lnTo>
                  <a:lnTo>
                    <a:pt x="107" y="172"/>
                  </a:lnTo>
                  <a:lnTo>
                    <a:pt x="92" y="167"/>
                  </a:lnTo>
                  <a:lnTo>
                    <a:pt x="81" y="159"/>
                  </a:lnTo>
                  <a:lnTo>
                    <a:pt x="71" y="144"/>
                  </a:lnTo>
                  <a:lnTo>
                    <a:pt x="69" y="139"/>
                  </a:lnTo>
                  <a:lnTo>
                    <a:pt x="69" y="136"/>
                  </a:lnTo>
                  <a:lnTo>
                    <a:pt x="71" y="128"/>
                  </a:lnTo>
                  <a:lnTo>
                    <a:pt x="71" y="126"/>
                  </a:lnTo>
                  <a:close/>
                  <a:moveTo>
                    <a:pt x="43" y="215"/>
                  </a:moveTo>
                  <a:lnTo>
                    <a:pt x="35" y="208"/>
                  </a:lnTo>
                  <a:lnTo>
                    <a:pt x="25" y="195"/>
                  </a:lnTo>
                  <a:lnTo>
                    <a:pt x="20" y="187"/>
                  </a:lnTo>
                  <a:lnTo>
                    <a:pt x="15" y="177"/>
                  </a:lnTo>
                  <a:lnTo>
                    <a:pt x="12" y="164"/>
                  </a:lnTo>
                  <a:lnTo>
                    <a:pt x="12" y="157"/>
                  </a:lnTo>
                  <a:lnTo>
                    <a:pt x="12" y="149"/>
                  </a:lnTo>
                  <a:lnTo>
                    <a:pt x="15" y="139"/>
                  </a:lnTo>
                  <a:lnTo>
                    <a:pt x="23" y="131"/>
                  </a:lnTo>
                  <a:lnTo>
                    <a:pt x="33" y="121"/>
                  </a:lnTo>
                  <a:lnTo>
                    <a:pt x="43" y="116"/>
                  </a:lnTo>
                  <a:lnTo>
                    <a:pt x="56" y="110"/>
                  </a:lnTo>
                  <a:lnTo>
                    <a:pt x="61" y="110"/>
                  </a:lnTo>
                  <a:lnTo>
                    <a:pt x="71" y="108"/>
                  </a:lnTo>
                  <a:lnTo>
                    <a:pt x="61" y="126"/>
                  </a:lnTo>
                  <a:lnTo>
                    <a:pt x="58" y="133"/>
                  </a:lnTo>
                  <a:lnTo>
                    <a:pt x="58" y="139"/>
                  </a:lnTo>
                  <a:lnTo>
                    <a:pt x="58" y="144"/>
                  </a:lnTo>
                  <a:lnTo>
                    <a:pt x="64" y="154"/>
                  </a:lnTo>
                  <a:lnTo>
                    <a:pt x="74" y="167"/>
                  </a:lnTo>
                  <a:lnTo>
                    <a:pt x="87" y="177"/>
                  </a:lnTo>
                  <a:lnTo>
                    <a:pt x="102" y="185"/>
                  </a:lnTo>
                  <a:lnTo>
                    <a:pt x="117" y="187"/>
                  </a:lnTo>
                  <a:lnTo>
                    <a:pt x="120" y="187"/>
                  </a:lnTo>
                  <a:lnTo>
                    <a:pt x="128" y="187"/>
                  </a:lnTo>
                  <a:lnTo>
                    <a:pt x="135" y="182"/>
                  </a:lnTo>
                  <a:lnTo>
                    <a:pt x="140" y="180"/>
                  </a:lnTo>
                  <a:lnTo>
                    <a:pt x="145" y="174"/>
                  </a:lnTo>
                  <a:lnTo>
                    <a:pt x="148" y="169"/>
                  </a:lnTo>
                  <a:lnTo>
                    <a:pt x="153" y="157"/>
                  </a:lnTo>
                  <a:lnTo>
                    <a:pt x="161" y="174"/>
                  </a:lnTo>
                  <a:lnTo>
                    <a:pt x="163" y="185"/>
                  </a:lnTo>
                  <a:lnTo>
                    <a:pt x="163" y="195"/>
                  </a:lnTo>
                  <a:lnTo>
                    <a:pt x="161" y="210"/>
                  </a:lnTo>
                  <a:lnTo>
                    <a:pt x="153" y="226"/>
                  </a:lnTo>
                  <a:lnTo>
                    <a:pt x="148" y="231"/>
                  </a:lnTo>
                  <a:lnTo>
                    <a:pt x="140" y="236"/>
                  </a:lnTo>
                  <a:lnTo>
                    <a:pt x="130" y="238"/>
                  </a:lnTo>
                  <a:lnTo>
                    <a:pt x="120" y="241"/>
                  </a:lnTo>
                  <a:lnTo>
                    <a:pt x="110" y="241"/>
                  </a:lnTo>
                  <a:lnTo>
                    <a:pt x="99" y="241"/>
                  </a:lnTo>
                  <a:lnTo>
                    <a:pt x="84" y="238"/>
                  </a:lnTo>
                  <a:lnTo>
                    <a:pt x="69" y="231"/>
                  </a:lnTo>
                  <a:lnTo>
                    <a:pt x="56" y="226"/>
                  </a:lnTo>
                  <a:lnTo>
                    <a:pt x="43" y="2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3" name="Group 114">
            <a:extLst>
              <a:ext uri="{FF2B5EF4-FFF2-40B4-BE49-F238E27FC236}">
                <a16:creationId xmlns:a16="http://schemas.microsoft.com/office/drawing/2014/main" id="{39452244-E130-4513-A682-F9EE3257F4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538" y="2861471"/>
            <a:ext cx="758825" cy="758825"/>
            <a:chOff x="1112" y="2014"/>
            <a:chExt cx="478" cy="478"/>
          </a:xfrm>
        </p:grpSpPr>
        <p:sp>
          <p:nvSpPr>
            <p:cNvPr id="134" name="AutoShape 113">
              <a:extLst>
                <a:ext uri="{FF2B5EF4-FFF2-40B4-BE49-F238E27FC236}">
                  <a16:creationId xmlns:a16="http://schemas.microsoft.com/office/drawing/2014/main" id="{AB28565B-EB6E-4443-A69C-491867EB5E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12" y="201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5">
              <a:extLst>
                <a:ext uri="{FF2B5EF4-FFF2-40B4-BE49-F238E27FC236}">
                  <a16:creationId xmlns:a16="http://schemas.microsoft.com/office/drawing/2014/main" id="{85305570-FC2D-4840-81DF-3890F7761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" y="201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6">
              <a:extLst>
                <a:ext uri="{FF2B5EF4-FFF2-40B4-BE49-F238E27FC236}">
                  <a16:creationId xmlns:a16="http://schemas.microsoft.com/office/drawing/2014/main" id="{4BDC8DA1-EB38-4AE7-BC5E-0B4D93C92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" y="2154"/>
              <a:ext cx="255" cy="220"/>
            </a:xfrm>
            <a:custGeom>
              <a:avLst/>
              <a:gdLst>
                <a:gd name="T0" fmla="*/ 228 w 255"/>
                <a:gd name="T1" fmla="*/ 59 h 220"/>
                <a:gd name="T2" fmla="*/ 236 w 255"/>
                <a:gd name="T3" fmla="*/ 63 h 220"/>
                <a:gd name="T4" fmla="*/ 243 w 255"/>
                <a:gd name="T5" fmla="*/ 71 h 220"/>
                <a:gd name="T6" fmla="*/ 243 w 255"/>
                <a:gd name="T7" fmla="*/ 117 h 220"/>
                <a:gd name="T8" fmla="*/ 241 w 255"/>
                <a:gd name="T9" fmla="*/ 130 h 220"/>
                <a:gd name="T10" fmla="*/ 233 w 255"/>
                <a:gd name="T11" fmla="*/ 139 h 220"/>
                <a:gd name="T12" fmla="*/ 201 w 255"/>
                <a:gd name="T13" fmla="*/ 152 h 220"/>
                <a:gd name="T14" fmla="*/ 47 w 255"/>
                <a:gd name="T15" fmla="*/ 108 h 220"/>
                <a:gd name="T16" fmla="*/ 44 w 255"/>
                <a:gd name="T17" fmla="*/ 59 h 220"/>
                <a:gd name="T18" fmla="*/ 47 w 255"/>
                <a:gd name="T19" fmla="*/ 54 h 220"/>
                <a:gd name="T20" fmla="*/ 91 w 255"/>
                <a:gd name="T21" fmla="*/ 54 h 220"/>
                <a:gd name="T22" fmla="*/ 96 w 255"/>
                <a:gd name="T23" fmla="*/ 56 h 220"/>
                <a:gd name="T24" fmla="*/ 96 w 255"/>
                <a:gd name="T25" fmla="*/ 103 h 220"/>
                <a:gd name="T26" fmla="*/ 94 w 255"/>
                <a:gd name="T27" fmla="*/ 108 h 220"/>
                <a:gd name="T28" fmla="*/ 192 w 255"/>
                <a:gd name="T29" fmla="*/ 10 h 220"/>
                <a:gd name="T30" fmla="*/ 187 w 255"/>
                <a:gd name="T31" fmla="*/ 174 h 220"/>
                <a:gd name="T32" fmla="*/ 172 w 255"/>
                <a:gd name="T33" fmla="*/ 196 h 220"/>
                <a:gd name="T34" fmla="*/ 150 w 255"/>
                <a:gd name="T35" fmla="*/ 208 h 220"/>
                <a:gd name="T36" fmla="*/ 67 w 255"/>
                <a:gd name="T37" fmla="*/ 211 h 220"/>
                <a:gd name="T38" fmla="*/ 42 w 255"/>
                <a:gd name="T39" fmla="*/ 201 h 220"/>
                <a:gd name="T40" fmla="*/ 22 w 255"/>
                <a:gd name="T41" fmla="*/ 184 h 220"/>
                <a:gd name="T42" fmla="*/ 13 w 255"/>
                <a:gd name="T43" fmla="*/ 162 h 220"/>
                <a:gd name="T44" fmla="*/ 49 w 255"/>
                <a:gd name="T45" fmla="*/ 41 h 220"/>
                <a:gd name="T46" fmla="*/ 42 w 255"/>
                <a:gd name="T47" fmla="*/ 44 h 220"/>
                <a:gd name="T48" fmla="*/ 37 w 255"/>
                <a:gd name="T49" fmla="*/ 49 h 220"/>
                <a:gd name="T50" fmla="*/ 35 w 255"/>
                <a:gd name="T51" fmla="*/ 56 h 220"/>
                <a:gd name="T52" fmla="*/ 35 w 255"/>
                <a:gd name="T53" fmla="*/ 108 h 220"/>
                <a:gd name="T54" fmla="*/ 37 w 255"/>
                <a:gd name="T55" fmla="*/ 112 h 220"/>
                <a:gd name="T56" fmla="*/ 44 w 255"/>
                <a:gd name="T57" fmla="*/ 117 h 220"/>
                <a:gd name="T58" fmla="*/ 52 w 255"/>
                <a:gd name="T59" fmla="*/ 120 h 220"/>
                <a:gd name="T60" fmla="*/ 98 w 255"/>
                <a:gd name="T61" fmla="*/ 117 h 220"/>
                <a:gd name="T62" fmla="*/ 103 w 255"/>
                <a:gd name="T63" fmla="*/ 115 h 220"/>
                <a:gd name="T64" fmla="*/ 108 w 255"/>
                <a:gd name="T65" fmla="*/ 108 h 220"/>
                <a:gd name="T66" fmla="*/ 108 w 255"/>
                <a:gd name="T67" fmla="*/ 56 h 220"/>
                <a:gd name="T68" fmla="*/ 106 w 255"/>
                <a:gd name="T69" fmla="*/ 49 h 220"/>
                <a:gd name="T70" fmla="*/ 101 w 255"/>
                <a:gd name="T71" fmla="*/ 44 h 220"/>
                <a:gd name="T72" fmla="*/ 94 w 255"/>
                <a:gd name="T73" fmla="*/ 41 h 220"/>
                <a:gd name="T74" fmla="*/ 5 w 255"/>
                <a:gd name="T75" fmla="*/ 0 h 220"/>
                <a:gd name="T76" fmla="*/ 0 w 255"/>
                <a:gd name="T77" fmla="*/ 2 h 220"/>
                <a:gd name="T78" fmla="*/ 0 w 255"/>
                <a:gd name="T79" fmla="*/ 162 h 220"/>
                <a:gd name="T80" fmla="*/ 5 w 255"/>
                <a:gd name="T81" fmla="*/ 176 h 220"/>
                <a:gd name="T82" fmla="*/ 13 w 255"/>
                <a:gd name="T83" fmla="*/ 191 h 220"/>
                <a:gd name="T84" fmla="*/ 35 w 255"/>
                <a:gd name="T85" fmla="*/ 211 h 220"/>
                <a:gd name="T86" fmla="*/ 49 w 255"/>
                <a:gd name="T87" fmla="*/ 218 h 220"/>
                <a:gd name="T88" fmla="*/ 64 w 255"/>
                <a:gd name="T89" fmla="*/ 220 h 220"/>
                <a:gd name="T90" fmla="*/ 143 w 255"/>
                <a:gd name="T91" fmla="*/ 220 h 220"/>
                <a:gd name="T92" fmla="*/ 170 w 255"/>
                <a:gd name="T93" fmla="*/ 211 h 220"/>
                <a:gd name="T94" fmla="*/ 189 w 255"/>
                <a:gd name="T95" fmla="*/ 193 h 220"/>
                <a:gd name="T96" fmla="*/ 201 w 255"/>
                <a:gd name="T97" fmla="*/ 166 h 220"/>
                <a:gd name="T98" fmla="*/ 233 w 255"/>
                <a:gd name="T99" fmla="*/ 154 h 220"/>
                <a:gd name="T100" fmla="*/ 246 w 255"/>
                <a:gd name="T101" fmla="*/ 144 h 220"/>
                <a:gd name="T102" fmla="*/ 253 w 255"/>
                <a:gd name="T103" fmla="*/ 127 h 220"/>
                <a:gd name="T104" fmla="*/ 255 w 255"/>
                <a:gd name="T105" fmla="*/ 73 h 220"/>
                <a:gd name="T106" fmla="*/ 248 w 255"/>
                <a:gd name="T107" fmla="*/ 61 h 220"/>
                <a:gd name="T108" fmla="*/ 238 w 255"/>
                <a:gd name="T109" fmla="*/ 51 h 220"/>
                <a:gd name="T110" fmla="*/ 223 w 255"/>
                <a:gd name="T111" fmla="*/ 46 h 220"/>
                <a:gd name="T112" fmla="*/ 201 w 255"/>
                <a:gd name="T113" fmla="*/ 2 h 220"/>
                <a:gd name="T114" fmla="*/ 196 w 255"/>
                <a:gd name="T11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5" h="220">
                  <a:moveTo>
                    <a:pt x="201" y="56"/>
                  </a:moveTo>
                  <a:lnTo>
                    <a:pt x="221" y="56"/>
                  </a:lnTo>
                  <a:lnTo>
                    <a:pt x="221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6" y="59"/>
                  </a:lnTo>
                  <a:lnTo>
                    <a:pt x="226" y="59"/>
                  </a:lnTo>
                  <a:lnTo>
                    <a:pt x="228" y="59"/>
                  </a:lnTo>
                  <a:lnTo>
                    <a:pt x="228" y="59"/>
                  </a:lnTo>
                  <a:lnTo>
                    <a:pt x="228" y="59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33" y="61"/>
                  </a:lnTo>
                  <a:lnTo>
                    <a:pt x="233" y="61"/>
                  </a:lnTo>
                  <a:lnTo>
                    <a:pt x="233" y="61"/>
                  </a:lnTo>
                  <a:lnTo>
                    <a:pt x="236" y="61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8" y="63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41" y="68"/>
                  </a:lnTo>
                  <a:lnTo>
                    <a:pt x="241" y="68"/>
                  </a:lnTo>
                  <a:lnTo>
                    <a:pt x="241" y="68"/>
                  </a:lnTo>
                  <a:lnTo>
                    <a:pt x="241" y="71"/>
                  </a:lnTo>
                  <a:lnTo>
                    <a:pt x="243" y="71"/>
                  </a:lnTo>
                  <a:lnTo>
                    <a:pt x="243" y="73"/>
                  </a:lnTo>
                  <a:lnTo>
                    <a:pt x="243" y="73"/>
                  </a:lnTo>
                  <a:lnTo>
                    <a:pt x="243" y="73"/>
                  </a:lnTo>
                  <a:lnTo>
                    <a:pt x="243" y="76"/>
                  </a:lnTo>
                  <a:lnTo>
                    <a:pt x="243" y="76"/>
                  </a:lnTo>
                  <a:lnTo>
                    <a:pt x="243" y="78"/>
                  </a:lnTo>
                  <a:lnTo>
                    <a:pt x="243" y="78"/>
                  </a:lnTo>
                  <a:lnTo>
                    <a:pt x="243" y="115"/>
                  </a:lnTo>
                  <a:lnTo>
                    <a:pt x="243" y="117"/>
                  </a:lnTo>
                  <a:lnTo>
                    <a:pt x="243" y="120"/>
                  </a:lnTo>
                  <a:lnTo>
                    <a:pt x="243" y="120"/>
                  </a:lnTo>
                  <a:lnTo>
                    <a:pt x="243" y="122"/>
                  </a:lnTo>
                  <a:lnTo>
                    <a:pt x="243" y="125"/>
                  </a:lnTo>
                  <a:lnTo>
                    <a:pt x="243" y="125"/>
                  </a:lnTo>
                  <a:lnTo>
                    <a:pt x="241" y="127"/>
                  </a:lnTo>
                  <a:lnTo>
                    <a:pt x="241" y="127"/>
                  </a:lnTo>
                  <a:lnTo>
                    <a:pt x="241" y="130"/>
                  </a:lnTo>
                  <a:lnTo>
                    <a:pt x="241" y="130"/>
                  </a:lnTo>
                  <a:lnTo>
                    <a:pt x="241" y="132"/>
                  </a:lnTo>
                  <a:lnTo>
                    <a:pt x="238" y="132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6" y="137"/>
                  </a:lnTo>
                  <a:lnTo>
                    <a:pt x="236" y="137"/>
                  </a:lnTo>
                  <a:lnTo>
                    <a:pt x="236" y="137"/>
                  </a:lnTo>
                  <a:lnTo>
                    <a:pt x="233" y="139"/>
                  </a:lnTo>
                  <a:lnTo>
                    <a:pt x="233" y="139"/>
                  </a:lnTo>
                  <a:lnTo>
                    <a:pt x="233" y="139"/>
                  </a:lnTo>
                  <a:lnTo>
                    <a:pt x="231" y="142"/>
                  </a:lnTo>
                  <a:lnTo>
                    <a:pt x="231" y="142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3" y="144"/>
                  </a:lnTo>
                  <a:lnTo>
                    <a:pt x="221" y="147"/>
                  </a:lnTo>
                  <a:lnTo>
                    <a:pt x="219" y="147"/>
                  </a:lnTo>
                  <a:lnTo>
                    <a:pt x="201" y="152"/>
                  </a:lnTo>
                  <a:lnTo>
                    <a:pt x="201" y="56"/>
                  </a:lnTo>
                  <a:close/>
                  <a:moveTo>
                    <a:pt x="52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4" y="105"/>
                  </a:lnTo>
                  <a:lnTo>
                    <a:pt x="44" y="103"/>
                  </a:lnTo>
                  <a:lnTo>
                    <a:pt x="44" y="103"/>
                  </a:lnTo>
                  <a:lnTo>
                    <a:pt x="44" y="103"/>
                  </a:lnTo>
                  <a:lnTo>
                    <a:pt x="44" y="103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103"/>
                  </a:lnTo>
                  <a:lnTo>
                    <a:pt x="96" y="103"/>
                  </a:lnTo>
                  <a:lnTo>
                    <a:pt x="96" y="103"/>
                  </a:lnTo>
                  <a:lnTo>
                    <a:pt x="96" y="103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6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52" y="108"/>
                  </a:lnTo>
                  <a:lnTo>
                    <a:pt x="52" y="108"/>
                  </a:lnTo>
                  <a:close/>
                  <a:moveTo>
                    <a:pt x="76" y="10"/>
                  </a:moveTo>
                  <a:lnTo>
                    <a:pt x="192" y="10"/>
                  </a:lnTo>
                  <a:lnTo>
                    <a:pt x="192" y="152"/>
                  </a:lnTo>
                  <a:lnTo>
                    <a:pt x="192" y="157"/>
                  </a:lnTo>
                  <a:lnTo>
                    <a:pt x="189" y="159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6"/>
                  </a:lnTo>
                  <a:lnTo>
                    <a:pt x="189" y="169"/>
                  </a:lnTo>
                  <a:lnTo>
                    <a:pt x="187" y="171"/>
                  </a:lnTo>
                  <a:lnTo>
                    <a:pt x="187" y="174"/>
                  </a:lnTo>
                  <a:lnTo>
                    <a:pt x="184" y="179"/>
                  </a:lnTo>
                  <a:lnTo>
                    <a:pt x="184" y="181"/>
                  </a:lnTo>
                  <a:lnTo>
                    <a:pt x="182" y="184"/>
                  </a:lnTo>
                  <a:lnTo>
                    <a:pt x="179" y="184"/>
                  </a:lnTo>
                  <a:lnTo>
                    <a:pt x="179" y="186"/>
                  </a:lnTo>
                  <a:lnTo>
                    <a:pt x="177" y="188"/>
                  </a:lnTo>
                  <a:lnTo>
                    <a:pt x="174" y="191"/>
                  </a:lnTo>
                  <a:lnTo>
                    <a:pt x="172" y="193"/>
                  </a:lnTo>
                  <a:lnTo>
                    <a:pt x="172" y="196"/>
                  </a:lnTo>
                  <a:lnTo>
                    <a:pt x="170" y="196"/>
                  </a:lnTo>
                  <a:lnTo>
                    <a:pt x="167" y="198"/>
                  </a:lnTo>
                  <a:lnTo>
                    <a:pt x="165" y="201"/>
                  </a:lnTo>
                  <a:lnTo>
                    <a:pt x="162" y="201"/>
                  </a:lnTo>
                  <a:lnTo>
                    <a:pt x="160" y="203"/>
                  </a:lnTo>
                  <a:lnTo>
                    <a:pt x="157" y="206"/>
                  </a:lnTo>
                  <a:lnTo>
                    <a:pt x="155" y="206"/>
                  </a:lnTo>
                  <a:lnTo>
                    <a:pt x="152" y="206"/>
                  </a:lnTo>
                  <a:lnTo>
                    <a:pt x="150" y="208"/>
                  </a:lnTo>
                  <a:lnTo>
                    <a:pt x="145" y="208"/>
                  </a:lnTo>
                  <a:lnTo>
                    <a:pt x="143" y="208"/>
                  </a:lnTo>
                  <a:lnTo>
                    <a:pt x="140" y="211"/>
                  </a:lnTo>
                  <a:lnTo>
                    <a:pt x="138" y="211"/>
                  </a:lnTo>
                  <a:lnTo>
                    <a:pt x="135" y="211"/>
                  </a:lnTo>
                  <a:lnTo>
                    <a:pt x="130" y="211"/>
                  </a:lnTo>
                  <a:lnTo>
                    <a:pt x="71" y="211"/>
                  </a:lnTo>
                  <a:lnTo>
                    <a:pt x="69" y="211"/>
                  </a:lnTo>
                  <a:lnTo>
                    <a:pt x="67" y="211"/>
                  </a:lnTo>
                  <a:lnTo>
                    <a:pt x="64" y="211"/>
                  </a:lnTo>
                  <a:lnTo>
                    <a:pt x="59" y="208"/>
                  </a:lnTo>
                  <a:lnTo>
                    <a:pt x="57" y="208"/>
                  </a:lnTo>
                  <a:lnTo>
                    <a:pt x="54" y="208"/>
                  </a:lnTo>
                  <a:lnTo>
                    <a:pt x="52" y="206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4" y="203"/>
                  </a:lnTo>
                  <a:lnTo>
                    <a:pt x="42" y="201"/>
                  </a:lnTo>
                  <a:lnTo>
                    <a:pt x="40" y="201"/>
                  </a:lnTo>
                  <a:lnTo>
                    <a:pt x="37" y="198"/>
                  </a:lnTo>
                  <a:lnTo>
                    <a:pt x="35" y="196"/>
                  </a:lnTo>
                  <a:lnTo>
                    <a:pt x="32" y="196"/>
                  </a:lnTo>
                  <a:lnTo>
                    <a:pt x="30" y="193"/>
                  </a:lnTo>
                  <a:lnTo>
                    <a:pt x="27" y="191"/>
                  </a:lnTo>
                  <a:lnTo>
                    <a:pt x="25" y="188"/>
                  </a:lnTo>
                  <a:lnTo>
                    <a:pt x="25" y="186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1"/>
                  </a:lnTo>
                  <a:lnTo>
                    <a:pt x="18" y="179"/>
                  </a:lnTo>
                  <a:lnTo>
                    <a:pt x="18" y="174"/>
                  </a:lnTo>
                  <a:lnTo>
                    <a:pt x="15" y="171"/>
                  </a:lnTo>
                  <a:lnTo>
                    <a:pt x="15" y="169"/>
                  </a:lnTo>
                  <a:lnTo>
                    <a:pt x="15" y="166"/>
                  </a:lnTo>
                  <a:lnTo>
                    <a:pt x="13" y="164"/>
                  </a:lnTo>
                  <a:lnTo>
                    <a:pt x="13" y="162"/>
                  </a:lnTo>
                  <a:lnTo>
                    <a:pt x="13" y="159"/>
                  </a:lnTo>
                  <a:lnTo>
                    <a:pt x="13" y="157"/>
                  </a:lnTo>
                  <a:lnTo>
                    <a:pt x="13" y="152"/>
                  </a:lnTo>
                  <a:lnTo>
                    <a:pt x="13" y="10"/>
                  </a:lnTo>
                  <a:lnTo>
                    <a:pt x="67" y="10"/>
                  </a:lnTo>
                  <a:lnTo>
                    <a:pt x="67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4" y="41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7" y="46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5" y="108"/>
                  </a:lnTo>
                  <a:lnTo>
                    <a:pt x="35" y="108"/>
                  </a:lnTo>
                  <a:lnTo>
                    <a:pt x="35" y="108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4" y="117"/>
                  </a:lnTo>
                  <a:lnTo>
                    <a:pt x="44" y="117"/>
                  </a:lnTo>
                  <a:lnTo>
                    <a:pt x="44" y="117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6" y="120"/>
                  </a:lnTo>
                  <a:lnTo>
                    <a:pt x="96" y="120"/>
                  </a:lnTo>
                  <a:lnTo>
                    <a:pt x="96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8" y="110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1"/>
                  </a:lnTo>
                  <a:lnTo>
                    <a:pt x="106" y="51"/>
                  </a:lnTo>
                  <a:lnTo>
                    <a:pt x="106" y="51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3" y="49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101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76" y="41"/>
                  </a:lnTo>
                  <a:lnTo>
                    <a:pt x="76" y="10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52"/>
                  </a:lnTo>
                  <a:lnTo>
                    <a:pt x="0" y="154"/>
                  </a:lnTo>
                  <a:lnTo>
                    <a:pt x="0" y="157"/>
                  </a:lnTo>
                  <a:lnTo>
                    <a:pt x="0" y="157"/>
                  </a:lnTo>
                  <a:lnTo>
                    <a:pt x="0" y="159"/>
                  </a:lnTo>
                  <a:lnTo>
                    <a:pt x="0" y="162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6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3" y="171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6"/>
                  </a:lnTo>
                  <a:lnTo>
                    <a:pt x="5" y="179"/>
                  </a:lnTo>
                  <a:lnTo>
                    <a:pt x="8" y="179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4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0" y="188"/>
                  </a:lnTo>
                  <a:lnTo>
                    <a:pt x="13" y="191"/>
                  </a:lnTo>
                  <a:lnTo>
                    <a:pt x="15" y="193"/>
                  </a:lnTo>
                  <a:lnTo>
                    <a:pt x="18" y="196"/>
                  </a:lnTo>
                  <a:lnTo>
                    <a:pt x="20" y="198"/>
                  </a:lnTo>
                  <a:lnTo>
                    <a:pt x="22" y="201"/>
                  </a:lnTo>
                  <a:lnTo>
                    <a:pt x="25" y="203"/>
                  </a:lnTo>
                  <a:lnTo>
                    <a:pt x="27" y="206"/>
                  </a:lnTo>
                  <a:lnTo>
                    <a:pt x="30" y="208"/>
                  </a:lnTo>
                  <a:lnTo>
                    <a:pt x="32" y="211"/>
                  </a:lnTo>
                  <a:lnTo>
                    <a:pt x="35" y="211"/>
                  </a:lnTo>
                  <a:lnTo>
                    <a:pt x="37" y="213"/>
                  </a:lnTo>
                  <a:lnTo>
                    <a:pt x="37" y="213"/>
                  </a:lnTo>
                  <a:lnTo>
                    <a:pt x="40" y="213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4" y="215"/>
                  </a:lnTo>
                  <a:lnTo>
                    <a:pt x="47" y="218"/>
                  </a:lnTo>
                  <a:lnTo>
                    <a:pt x="47" y="218"/>
                  </a:lnTo>
                  <a:lnTo>
                    <a:pt x="49" y="218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4" y="220"/>
                  </a:lnTo>
                  <a:lnTo>
                    <a:pt x="57" y="220"/>
                  </a:lnTo>
                  <a:lnTo>
                    <a:pt x="57" y="220"/>
                  </a:lnTo>
                  <a:lnTo>
                    <a:pt x="59" y="220"/>
                  </a:lnTo>
                  <a:lnTo>
                    <a:pt x="62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7" y="220"/>
                  </a:lnTo>
                  <a:lnTo>
                    <a:pt x="69" y="220"/>
                  </a:lnTo>
                  <a:lnTo>
                    <a:pt x="71" y="220"/>
                  </a:lnTo>
                  <a:lnTo>
                    <a:pt x="71" y="220"/>
                  </a:lnTo>
                  <a:lnTo>
                    <a:pt x="130" y="220"/>
                  </a:lnTo>
                  <a:lnTo>
                    <a:pt x="135" y="220"/>
                  </a:lnTo>
                  <a:lnTo>
                    <a:pt x="138" y="220"/>
                  </a:lnTo>
                  <a:lnTo>
                    <a:pt x="140" y="220"/>
                  </a:lnTo>
                  <a:lnTo>
                    <a:pt x="143" y="220"/>
                  </a:lnTo>
                  <a:lnTo>
                    <a:pt x="147" y="220"/>
                  </a:lnTo>
                  <a:lnTo>
                    <a:pt x="150" y="218"/>
                  </a:lnTo>
                  <a:lnTo>
                    <a:pt x="152" y="218"/>
                  </a:lnTo>
                  <a:lnTo>
                    <a:pt x="155" y="218"/>
                  </a:lnTo>
                  <a:lnTo>
                    <a:pt x="160" y="215"/>
                  </a:lnTo>
                  <a:lnTo>
                    <a:pt x="162" y="215"/>
                  </a:lnTo>
                  <a:lnTo>
                    <a:pt x="165" y="213"/>
                  </a:lnTo>
                  <a:lnTo>
                    <a:pt x="167" y="213"/>
                  </a:lnTo>
                  <a:lnTo>
                    <a:pt x="170" y="211"/>
                  </a:lnTo>
                  <a:lnTo>
                    <a:pt x="172" y="208"/>
                  </a:lnTo>
                  <a:lnTo>
                    <a:pt x="174" y="208"/>
                  </a:lnTo>
                  <a:lnTo>
                    <a:pt x="177" y="206"/>
                  </a:lnTo>
                  <a:lnTo>
                    <a:pt x="179" y="203"/>
                  </a:lnTo>
                  <a:lnTo>
                    <a:pt x="182" y="201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7" y="196"/>
                  </a:lnTo>
                  <a:lnTo>
                    <a:pt x="189" y="193"/>
                  </a:lnTo>
                  <a:lnTo>
                    <a:pt x="192" y="191"/>
                  </a:lnTo>
                  <a:lnTo>
                    <a:pt x="192" y="188"/>
                  </a:lnTo>
                  <a:lnTo>
                    <a:pt x="194" y="184"/>
                  </a:lnTo>
                  <a:lnTo>
                    <a:pt x="196" y="181"/>
                  </a:lnTo>
                  <a:lnTo>
                    <a:pt x="196" y="179"/>
                  </a:lnTo>
                  <a:lnTo>
                    <a:pt x="196" y="176"/>
                  </a:lnTo>
                  <a:lnTo>
                    <a:pt x="199" y="174"/>
                  </a:lnTo>
                  <a:lnTo>
                    <a:pt x="199" y="171"/>
                  </a:lnTo>
                  <a:lnTo>
                    <a:pt x="201" y="166"/>
                  </a:lnTo>
                  <a:lnTo>
                    <a:pt x="201" y="164"/>
                  </a:lnTo>
                  <a:lnTo>
                    <a:pt x="201" y="164"/>
                  </a:lnTo>
                  <a:lnTo>
                    <a:pt x="221" y="159"/>
                  </a:lnTo>
                  <a:lnTo>
                    <a:pt x="223" y="157"/>
                  </a:lnTo>
                  <a:lnTo>
                    <a:pt x="226" y="157"/>
                  </a:lnTo>
                  <a:lnTo>
                    <a:pt x="226" y="157"/>
                  </a:lnTo>
                  <a:lnTo>
                    <a:pt x="228" y="154"/>
                  </a:lnTo>
                  <a:lnTo>
                    <a:pt x="231" y="154"/>
                  </a:lnTo>
                  <a:lnTo>
                    <a:pt x="233" y="154"/>
                  </a:lnTo>
                  <a:lnTo>
                    <a:pt x="233" y="152"/>
                  </a:lnTo>
                  <a:lnTo>
                    <a:pt x="236" y="152"/>
                  </a:lnTo>
                  <a:lnTo>
                    <a:pt x="236" y="152"/>
                  </a:lnTo>
                  <a:lnTo>
                    <a:pt x="238" y="149"/>
                  </a:lnTo>
                  <a:lnTo>
                    <a:pt x="241" y="149"/>
                  </a:lnTo>
                  <a:lnTo>
                    <a:pt x="241" y="147"/>
                  </a:lnTo>
                  <a:lnTo>
                    <a:pt x="243" y="147"/>
                  </a:lnTo>
                  <a:lnTo>
                    <a:pt x="243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48" y="137"/>
                  </a:lnTo>
                  <a:lnTo>
                    <a:pt x="250" y="137"/>
                  </a:lnTo>
                  <a:lnTo>
                    <a:pt x="250" y="135"/>
                  </a:lnTo>
                  <a:lnTo>
                    <a:pt x="253" y="132"/>
                  </a:lnTo>
                  <a:lnTo>
                    <a:pt x="253" y="130"/>
                  </a:lnTo>
                  <a:lnTo>
                    <a:pt x="253" y="127"/>
                  </a:lnTo>
                  <a:lnTo>
                    <a:pt x="253" y="125"/>
                  </a:lnTo>
                  <a:lnTo>
                    <a:pt x="255" y="122"/>
                  </a:lnTo>
                  <a:lnTo>
                    <a:pt x="255" y="120"/>
                  </a:lnTo>
                  <a:lnTo>
                    <a:pt x="255" y="117"/>
                  </a:lnTo>
                  <a:lnTo>
                    <a:pt x="255" y="115"/>
                  </a:lnTo>
                  <a:lnTo>
                    <a:pt x="255" y="78"/>
                  </a:lnTo>
                  <a:lnTo>
                    <a:pt x="255" y="78"/>
                  </a:lnTo>
                  <a:lnTo>
                    <a:pt x="255" y="76"/>
                  </a:lnTo>
                  <a:lnTo>
                    <a:pt x="255" y="73"/>
                  </a:lnTo>
                  <a:lnTo>
                    <a:pt x="253" y="73"/>
                  </a:lnTo>
                  <a:lnTo>
                    <a:pt x="253" y="71"/>
                  </a:lnTo>
                  <a:lnTo>
                    <a:pt x="253" y="68"/>
                  </a:lnTo>
                  <a:lnTo>
                    <a:pt x="253" y="68"/>
                  </a:lnTo>
                  <a:lnTo>
                    <a:pt x="253" y="66"/>
                  </a:lnTo>
                  <a:lnTo>
                    <a:pt x="250" y="63"/>
                  </a:lnTo>
                  <a:lnTo>
                    <a:pt x="250" y="63"/>
                  </a:lnTo>
                  <a:lnTo>
                    <a:pt x="250" y="61"/>
                  </a:lnTo>
                  <a:lnTo>
                    <a:pt x="248" y="61"/>
                  </a:lnTo>
                  <a:lnTo>
                    <a:pt x="248" y="59"/>
                  </a:lnTo>
                  <a:lnTo>
                    <a:pt x="248" y="59"/>
                  </a:lnTo>
                  <a:lnTo>
                    <a:pt x="246" y="56"/>
                  </a:lnTo>
                  <a:lnTo>
                    <a:pt x="246" y="56"/>
                  </a:lnTo>
                  <a:lnTo>
                    <a:pt x="243" y="54"/>
                  </a:lnTo>
                  <a:lnTo>
                    <a:pt x="243" y="54"/>
                  </a:lnTo>
                  <a:lnTo>
                    <a:pt x="241" y="54"/>
                  </a:lnTo>
                  <a:lnTo>
                    <a:pt x="241" y="51"/>
                  </a:lnTo>
                  <a:lnTo>
                    <a:pt x="238" y="51"/>
                  </a:lnTo>
                  <a:lnTo>
                    <a:pt x="238" y="49"/>
                  </a:lnTo>
                  <a:lnTo>
                    <a:pt x="236" y="49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1" y="46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6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1" y="46"/>
                  </a:lnTo>
                  <a:lnTo>
                    <a:pt x="201" y="46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19">
            <a:extLst>
              <a:ext uri="{FF2B5EF4-FFF2-40B4-BE49-F238E27FC236}">
                <a16:creationId xmlns:a16="http://schemas.microsoft.com/office/drawing/2014/main" id="{0F2D8A31-CB43-4E50-A617-A08BA9C382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5763" y="2820196"/>
            <a:ext cx="842962" cy="841375"/>
            <a:chOff x="197" y="1873"/>
            <a:chExt cx="531" cy="530"/>
          </a:xfrm>
        </p:grpSpPr>
        <p:sp>
          <p:nvSpPr>
            <p:cNvPr id="138" name="AutoShape 118">
              <a:extLst>
                <a:ext uri="{FF2B5EF4-FFF2-40B4-BE49-F238E27FC236}">
                  <a16:creationId xmlns:a16="http://schemas.microsoft.com/office/drawing/2014/main" id="{3EFBBEEF-1FD8-4B4D-BC9D-6E88E8B9CB3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7" y="1873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Oval 120">
              <a:extLst>
                <a:ext uri="{FF2B5EF4-FFF2-40B4-BE49-F238E27FC236}">
                  <a16:creationId xmlns:a16="http://schemas.microsoft.com/office/drawing/2014/main" id="{800C1CE4-E53B-48F5-8376-7D20FD7C6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" y="1873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1">
              <a:extLst>
                <a:ext uri="{FF2B5EF4-FFF2-40B4-BE49-F238E27FC236}">
                  <a16:creationId xmlns:a16="http://schemas.microsoft.com/office/drawing/2014/main" id="{03F8557E-B5BC-45B3-8DEB-657149619A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" y="1891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22">
              <a:extLst>
                <a:ext uri="{FF2B5EF4-FFF2-40B4-BE49-F238E27FC236}">
                  <a16:creationId xmlns:a16="http://schemas.microsoft.com/office/drawing/2014/main" id="{16B62C9C-8B2F-454E-9D9A-2011574153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" y="2034"/>
              <a:ext cx="267" cy="231"/>
            </a:xfrm>
            <a:custGeom>
              <a:avLst/>
              <a:gdLst>
                <a:gd name="T0" fmla="*/ 238 w 267"/>
                <a:gd name="T1" fmla="*/ 62 h 231"/>
                <a:gd name="T2" fmla="*/ 246 w 267"/>
                <a:gd name="T3" fmla="*/ 67 h 231"/>
                <a:gd name="T4" fmla="*/ 254 w 267"/>
                <a:gd name="T5" fmla="*/ 74 h 231"/>
                <a:gd name="T6" fmla="*/ 254 w 267"/>
                <a:gd name="T7" fmla="*/ 123 h 231"/>
                <a:gd name="T8" fmla="*/ 251 w 267"/>
                <a:gd name="T9" fmla="*/ 136 h 231"/>
                <a:gd name="T10" fmla="*/ 244 w 267"/>
                <a:gd name="T11" fmla="*/ 146 h 231"/>
                <a:gd name="T12" fmla="*/ 210 w 267"/>
                <a:gd name="T13" fmla="*/ 159 h 231"/>
                <a:gd name="T14" fmla="*/ 49 w 267"/>
                <a:gd name="T15" fmla="*/ 113 h 231"/>
                <a:gd name="T16" fmla="*/ 46 w 267"/>
                <a:gd name="T17" fmla="*/ 62 h 231"/>
                <a:gd name="T18" fmla="*/ 49 w 267"/>
                <a:gd name="T19" fmla="*/ 57 h 231"/>
                <a:gd name="T20" fmla="*/ 95 w 267"/>
                <a:gd name="T21" fmla="*/ 57 h 231"/>
                <a:gd name="T22" fmla="*/ 100 w 267"/>
                <a:gd name="T23" fmla="*/ 59 h 231"/>
                <a:gd name="T24" fmla="*/ 100 w 267"/>
                <a:gd name="T25" fmla="*/ 108 h 231"/>
                <a:gd name="T26" fmla="*/ 97 w 267"/>
                <a:gd name="T27" fmla="*/ 113 h 231"/>
                <a:gd name="T28" fmla="*/ 200 w 267"/>
                <a:gd name="T29" fmla="*/ 10 h 231"/>
                <a:gd name="T30" fmla="*/ 195 w 267"/>
                <a:gd name="T31" fmla="*/ 182 h 231"/>
                <a:gd name="T32" fmla="*/ 179 w 267"/>
                <a:gd name="T33" fmla="*/ 205 h 231"/>
                <a:gd name="T34" fmla="*/ 156 w 267"/>
                <a:gd name="T35" fmla="*/ 218 h 231"/>
                <a:gd name="T36" fmla="*/ 69 w 267"/>
                <a:gd name="T37" fmla="*/ 220 h 231"/>
                <a:gd name="T38" fmla="*/ 43 w 267"/>
                <a:gd name="T39" fmla="*/ 210 h 231"/>
                <a:gd name="T40" fmla="*/ 23 w 267"/>
                <a:gd name="T41" fmla="*/ 192 h 231"/>
                <a:gd name="T42" fmla="*/ 13 w 267"/>
                <a:gd name="T43" fmla="*/ 169 h 231"/>
                <a:gd name="T44" fmla="*/ 51 w 267"/>
                <a:gd name="T45" fmla="*/ 44 h 231"/>
                <a:gd name="T46" fmla="*/ 43 w 267"/>
                <a:gd name="T47" fmla="*/ 46 h 231"/>
                <a:gd name="T48" fmla="*/ 38 w 267"/>
                <a:gd name="T49" fmla="*/ 51 h 231"/>
                <a:gd name="T50" fmla="*/ 36 w 267"/>
                <a:gd name="T51" fmla="*/ 59 h 231"/>
                <a:gd name="T52" fmla="*/ 36 w 267"/>
                <a:gd name="T53" fmla="*/ 113 h 231"/>
                <a:gd name="T54" fmla="*/ 38 w 267"/>
                <a:gd name="T55" fmla="*/ 118 h 231"/>
                <a:gd name="T56" fmla="*/ 46 w 267"/>
                <a:gd name="T57" fmla="*/ 123 h 231"/>
                <a:gd name="T58" fmla="*/ 54 w 267"/>
                <a:gd name="T59" fmla="*/ 126 h 231"/>
                <a:gd name="T60" fmla="*/ 102 w 267"/>
                <a:gd name="T61" fmla="*/ 123 h 231"/>
                <a:gd name="T62" fmla="*/ 108 w 267"/>
                <a:gd name="T63" fmla="*/ 121 h 231"/>
                <a:gd name="T64" fmla="*/ 113 w 267"/>
                <a:gd name="T65" fmla="*/ 113 h 231"/>
                <a:gd name="T66" fmla="*/ 113 w 267"/>
                <a:gd name="T67" fmla="*/ 59 h 231"/>
                <a:gd name="T68" fmla="*/ 110 w 267"/>
                <a:gd name="T69" fmla="*/ 51 h 231"/>
                <a:gd name="T70" fmla="*/ 105 w 267"/>
                <a:gd name="T71" fmla="*/ 46 h 231"/>
                <a:gd name="T72" fmla="*/ 97 w 267"/>
                <a:gd name="T73" fmla="*/ 44 h 231"/>
                <a:gd name="T74" fmla="*/ 5 w 267"/>
                <a:gd name="T75" fmla="*/ 0 h 231"/>
                <a:gd name="T76" fmla="*/ 0 w 267"/>
                <a:gd name="T77" fmla="*/ 3 h 231"/>
                <a:gd name="T78" fmla="*/ 0 w 267"/>
                <a:gd name="T79" fmla="*/ 169 h 231"/>
                <a:gd name="T80" fmla="*/ 5 w 267"/>
                <a:gd name="T81" fmla="*/ 185 h 231"/>
                <a:gd name="T82" fmla="*/ 13 w 267"/>
                <a:gd name="T83" fmla="*/ 200 h 231"/>
                <a:gd name="T84" fmla="*/ 36 w 267"/>
                <a:gd name="T85" fmla="*/ 220 h 231"/>
                <a:gd name="T86" fmla="*/ 51 w 267"/>
                <a:gd name="T87" fmla="*/ 228 h 231"/>
                <a:gd name="T88" fmla="*/ 67 w 267"/>
                <a:gd name="T89" fmla="*/ 231 h 231"/>
                <a:gd name="T90" fmla="*/ 149 w 267"/>
                <a:gd name="T91" fmla="*/ 231 h 231"/>
                <a:gd name="T92" fmla="*/ 177 w 267"/>
                <a:gd name="T93" fmla="*/ 220 h 231"/>
                <a:gd name="T94" fmla="*/ 197 w 267"/>
                <a:gd name="T95" fmla="*/ 202 h 231"/>
                <a:gd name="T96" fmla="*/ 210 w 267"/>
                <a:gd name="T97" fmla="*/ 174 h 231"/>
                <a:gd name="T98" fmla="*/ 244 w 267"/>
                <a:gd name="T99" fmla="*/ 162 h 231"/>
                <a:gd name="T100" fmla="*/ 256 w 267"/>
                <a:gd name="T101" fmla="*/ 151 h 231"/>
                <a:gd name="T102" fmla="*/ 264 w 267"/>
                <a:gd name="T103" fmla="*/ 133 h 231"/>
                <a:gd name="T104" fmla="*/ 267 w 267"/>
                <a:gd name="T105" fmla="*/ 77 h 231"/>
                <a:gd name="T106" fmla="*/ 259 w 267"/>
                <a:gd name="T107" fmla="*/ 64 h 231"/>
                <a:gd name="T108" fmla="*/ 249 w 267"/>
                <a:gd name="T109" fmla="*/ 54 h 231"/>
                <a:gd name="T110" fmla="*/ 233 w 267"/>
                <a:gd name="T111" fmla="*/ 49 h 231"/>
                <a:gd name="T112" fmla="*/ 210 w 267"/>
                <a:gd name="T113" fmla="*/ 3 h 231"/>
                <a:gd name="T114" fmla="*/ 205 w 267"/>
                <a:gd name="T11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31">
                  <a:moveTo>
                    <a:pt x="210" y="59"/>
                  </a:moveTo>
                  <a:lnTo>
                    <a:pt x="231" y="59"/>
                  </a:lnTo>
                  <a:lnTo>
                    <a:pt x="231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6" y="62"/>
                  </a:lnTo>
                  <a:lnTo>
                    <a:pt x="236" y="62"/>
                  </a:lnTo>
                  <a:lnTo>
                    <a:pt x="238" y="62"/>
                  </a:lnTo>
                  <a:lnTo>
                    <a:pt x="238" y="62"/>
                  </a:lnTo>
                  <a:lnTo>
                    <a:pt x="238" y="62"/>
                  </a:lnTo>
                  <a:lnTo>
                    <a:pt x="241" y="62"/>
                  </a:lnTo>
                  <a:lnTo>
                    <a:pt x="241" y="62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6" y="64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9" y="67"/>
                  </a:lnTo>
                  <a:lnTo>
                    <a:pt x="249" y="69"/>
                  </a:lnTo>
                  <a:lnTo>
                    <a:pt x="249" y="69"/>
                  </a:lnTo>
                  <a:lnTo>
                    <a:pt x="249" y="69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4"/>
                  </a:lnTo>
                  <a:lnTo>
                    <a:pt x="254" y="74"/>
                  </a:lnTo>
                  <a:lnTo>
                    <a:pt x="254" y="77"/>
                  </a:lnTo>
                  <a:lnTo>
                    <a:pt x="254" y="77"/>
                  </a:lnTo>
                  <a:lnTo>
                    <a:pt x="254" y="77"/>
                  </a:lnTo>
                  <a:lnTo>
                    <a:pt x="254" y="80"/>
                  </a:lnTo>
                  <a:lnTo>
                    <a:pt x="254" y="80"/>
                  </a:lnTo>
                  <a:lnTo>
                    <a:pt x="254" y="82"/>
                  </a:lnTo>
                  <a:lnTo>
                    <a:pt x="254" y="82"/>
                  </a:lnTo>
                  <a:lnTo>
                    <a:pt x="254" y="121"/>
                  </a:lnTo>
                  <a:lnTo>
                    <a:pt x="254" y="123"/>
                  </a:lnTo>
                  <a:lnTo>
                    <a:pt x="254" y="126"/>
                  </a:lnTo>
                  <a:lnTo>
                    <a:pt x="254" y="126"/>
                  </a:lnTo>
                  <a:lnTo>
                    <a:pt x="254" y="128"/>
                  </a:lnTo>
                  <a:lnTo>
                    <a:pt x="254" y="131"/>
                  </a:lnTo>
                  <a:lnTo>
                    <a:pt x="254" y="131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6"/>
                  </a:lnTo>
                  <a:lnTo>
                    <a:pt x="251" y="136"/>
                  </a:lnTo>
                  <a:lnTo>
                    <a:pt x="251" y="138"/>
                  </a:lnTo>
                  <a:lnTo>
                    <a:pt x="249" y="138"/>
                  </a:lnTo>
                  <a:lnTo>
                    <a:pt x="249" y="141"/>
                  </a:lnTo>
                  <a:lnTo>
                    <a:pt x="249" y="141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4" y="146"/>
                  </a:lnTo>
                  <a:lnTo>
                    <a:pt x="244" y="146"/>
                  </a:lnTo>
                  <a:lnTo>
                    <a:pt x="244" y="146"/>
                  </a:lnTo>
                  <a:lnTo>
                    <a:pt x="241" y="149"/>
                  </a:lnTo>
                  <a:lnTo>
                    <a:pt x="241" y="149"/>
                  </a:lnTo>
                  <a:lnTo>
                    <a:pt x="238" y="149"/>
                  </a:lnTo>
                  <a:lnTo>
                    <a:pt x="236" y="151"/>
                  </a:lnTo>
                  <a:lnTo>
                    <a:pt x="233" y="151"/>
                  </a:lnTo>
                  <a:lnTo>
                    <a:pt x="231" y="154"/>
                  </a:lnTo>
                  <a:lnTo>
                    <a:pt x="228" y="154"/>
                  </a:lnTo>
                  <a:lnTo>
                    <a:pt x="210" y="159"/>
                  </a:lnTo>
                  <a:lnTo>
                    <a:pt x="210" y="59"/>
                  </a:lnTo>
                  <a:close/>
                  <a:moveTo>
                    <a:pt x="54" y="113"/>
                  </a:move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49" y="113"/>
                  </a:lnTo>
                  <a:lnTo>
                    <a:pt x="49" y="113"/>
                  </a:lnTo>
                  <a:lnTo>
                    <a:pt x="49" y="113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100" y="57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0"/>
                  </a:lnTo>
                  <a:lnTo>
                    <a:pt x="100" y="110"/>
                  </a:lnTo>
                  <a:lnTo>
                    <a:pt x="100" y="110"/>
                  </a:lnTo>
                  <a:lnTo>
                    <a:pt x="100" y="110"/>
                  </a:lnTo>
                  <a:lnTo>
                    <a:pt x="100" y="113"/>
                  </a:lnTo>
                  <a:lnTo>
                    <a:pt x="97" y="113"/>
                  </a:lnTo>
                  <a:lnTo>
                    <a:pt x="97" y="113"/>
                  </a:lnTo>
                  <a:lnTo>
                    <a:pt x="97" y="113"/>
                  </a:lnTo>
                  <a:lnTo>
                    <a:pt x="97" y="113"/>
                  </a:lnTo>
                  <a:lnTo>
                    <a:pt x="97" y="113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  <a:moveTo>
                    <a:pt x="79" y="10"/>
                  </a:moveTo>
                  <a:lnTo>
                    <a:pt x="200" y="10"/>
                  </a:lnTo>
                  <a:lnTo>
                    <a:pt x="200" y="159"/>
                  </a:lnTo>
                  <a:lnTo>
                    <a:pt x="200" y="164"/>
                  </a:lnTo>
                  <a:lnTo>
                    <a:pt x="197" y="167"/>
                  </a:lnTo>
                  <a:lnTo>
                    <a:pt x="197" y="169"/>
                  </a:lnTo>
                  <a:lnTo>
                    <a:pt x="197" y="172"/>
                  </a:lnTo>
                  <a:lnTo>
                    <a:pt x="197" y="174"/>
                  </a:lnTo>
                  <a:lnTo>
                    <a:pt x="197" y="177"/>
                  </a:lnTo>
                  <a:lnTo>
                    <a:pt x="195" y="179"/>
                  </a:lnTo>
                  <a:lnTo>
                    <a:pt x="195" y="182"/>
                  </a:lnTo>
                  <a:lnTo>
                    <a:pt x="192" y="187"/>
                  </a:lnTo>
                  <a:lnTo>
                    <a:pt x="192" y="190"/>
                  </a:lnTo>
                  <a:lnTo>
                    <a:pt x="190" y="192"/>
                  </a:lnTo>
                  <a:lnTo>
                    <a:pt x="187" y="192"/>
                  </a:lnTo>
                  <a:lnTo>
                    <a:pt x="187" y="195"/>
                  </a:lnTo>
                  <a:lnTo>
                    <a:pt x="185" y="197"/>
                  </a:lnTo>
                  <a:lnTo>
                    <a:pt x="182" y="200"/>
                  </a:lnTo>
                  <a:lnTo>
                    <a:pt x="179" y="202"/>
                  </a:lnTo>
                  <a:lnTo>
                    <a:pt x="179" y="205"/>
                  </a:lnTo>
                  <a:lnTo>
                    <a:pt x="177" y="205"/>
                  </a:lnTo>
                  <a:lnTo>
                    <a:pt x="174" y="208"/>
                  </a:lnTo>
                  <a:lnTo>
                    <a:pt x="172" y="210"/>
                  </a:lnTo>
                  <a:lnTo>
                    <a:pt x="169" y="210"/>
                  </a:lnTo>
                  <a:lnTo>
                    <a:pt x="167" y="213"/>
                  </a:lnTo>
                  <a:lnTo>
                    <a:pt x="164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6" y="218"/>
                  </a:lnTo>
                  <a:lnTo>
                    <a:pt x="151" y="218"/>
                  </a:lnTo>
                  <a:lnTo>
                    <a:pt x="149" y="218"/>
                  </a:lnTo>
                  <a:lnTo>
                    <a:pt x="146" y="220"/>
                  </a:lnTo>
                  <a:lnTo>
                    <a:pt x="143" y="220"/>
                  </a:lnTo>
                  <a:lnTo>
                    <a:pt x="141" y="220"/>
                  </a:lnTo>
                  <a:lnTo>
                    <a:pt x="136" y="220"/>
                  </a:lnTo>
                  <a:lnTo>
                    <a:pt x="74" y="220"/>
                  </a:lnTo>
                  <a:lnTo>
                    <a:pt x="72" y="220"/>
                  </a:lnTo>
                  <a:lnTo>
                    <a:pt x="69" y="220"/>
                  </a:lnTo>
                  <a:lnTo>
                    <a:pt x="67" y="220"/>
                  </a:lnTo>
                  <a:lnTo>
                    <a:pt x="61" y="218"/>
                  </a:lnTo>
                  <a:lnTo>
                    <a:pt x="59" y="218"/>
                  </a:lnTo>
                  <a:lnTo>
                    <a:pt x="56" y="218"/>
                  </a:lnTo>
                  <a:lnTo>
                    <a:pt x="54" y="215"/>
                  </a:lnTo>
                  <a:lnTo>
                    <a:pt x="51" y="215"/>
                  </a:lnTo>
                  <a:lnTo>
                    <a:pt x="49" y="215"/>
                  </a:lnTo>
                  <a:lnTo>
                    <a:pt x="46" y="213"/>
                  </a:lnTo>
                  <a:lnTo>
                    <a:pt x="43" y="210"/>
                  </a:lnTo>
                  <a:lnTo>
                    <a:pt x="41" y="210"/>
                  </a:lnTo>
                  <a:lnTo>
                    <a:pt x="38" y="208"/>
                  </a:lnTo>
                  <a:lnTo>
                    <a:pt x="36" y="205"/>
                  </a:lnTo>
                  <a:lnTo>
                    <a:pt x="33" y="205"/>
                  </a:lnTo>
                  <a:lnTo>
                    <a:pt x="31" y="202"/>
                  </a:lnTo>
                  <a:lnTo>
                    <a:pt x="28" y="200"/>
                  </a:lnTo>
                  <a:lnTo>
                    <a:pt x="25" y="197"/>
                  </a:lnTo>
                  <a:lnTo>
                    <a:pt x="25" y="195"/>
                  </a:lnTo>
                  <a:lnTo>
                    <a:pt x="23" y="192"/>
                  </a:lnTo>
                  <a:lnTo>
                    <a:pt x="20" y="192"/>
                  </a:lnTo>
                  <a:lnTo>
                    <a:pt x="20" y="190"/>
                  </a:lnTo>
                  <a:lnTo>
                    <a:pt x="18" y="187"/>
                  </a:lnTo>
                  <a:lnTo>
                    <a:pt x="18" y="182"/>
                  </a:lnTo>
                  <a:lnTo>
                    <a:pt x="15" y="179"/>
                  </a:lnTo>
                  <a:lnTo>
                    <a:pt x="15" y="177"/>
                  </a:lnTo>
                  <a:lnTo>
                    <a:pt x="15" y="174"/>
                  </a:lnTo>
                  <a:lnTo>
                    <a:pt x="13" y="172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4"/>
                  </a:lnTo>
                  <a:lnTo>
                    <a:pt x="13" y="159"/>
                  </a:lnTo>
                  <a:lnTo>
                    <a:pt x="13" y="10"/>
                  </a:lnTo>
                  <a:lnTo>
                    <a:pt x="69" y="10"/>
                  </a:lnTo>
                  <a:lnTo>
                    <a:pt x="69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1" y="46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38" y="49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8" y="115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38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9" y="126"/>
                  </a:lnTo>
                  <a:lnTo>
                    <a:pt x="49" y="126"/>
                  </a:lnTo>
                  <a:lnTo>
                    <a:pt x="49" y="126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100" y="126"/>
                  </a:lnTo>
                  <a:lnTo>
                    <a:pt x="100" y="126"/>
                  </a:lnTo>
                  <a:lnTo>
                    <a:pt x="100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62"/>
                  </a:lnTo>
                  <a:lnTo>
                    <a:pt x="113" y="62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8" y="51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5" y="49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79" y="44"/>
                  </a:lnTo>
                  <a:lnTo>
                    <a:pt x="79" y="10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59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4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2" y="179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5" y="185"/>
                  </a:lnTo>
                  <a:lnTo>
                    <a:pt x="5" y="187"/>
                  </a:lnTo>
                  <a:lnTo>
                    <a:pt x="8" y="187"/>
                  </a:lnTo>
                  <a:lnTo>
                    <a:pt x="8" y="190"/>
                  </a:lnTo>
                  <a:lnTo>
                    <a:pt x="8" y="190"/>
                  </a:lnTo>
                  <a:lnTo>
                    <a:pt x="8" y="192"/>
                  </a:lnTo>
                  <a:lnTo>
                    <a:pt x="10" y="195"/>
                  </a:lnTo>
                  <a:lnTo>
                    <a:pt x="10" y="195"/>
                  </a:lnTo>
                  <a:lnTo>
                    <a:pt x="10" y="197"/>
                  </a:lnTo>
                  <a:lnTo>
                    <a:pt x="13" y="200"/>
                  </a:lnTo>
                  <a:lnTo>
                    <a:pt x="15" y="202"/>
                  </a:lnTo>
                  <a:lnTo>
                    <a:pt x="18" y="205"/>
                  </a:lnTo>
                  <a:lnTo>
                    <a:pt x="20" y="208"/>
                  </a:lnTo>
                  <a:lnTo>
                    <a:pt x="23" y="210"/>
                  </a:lnTo>
                  <a:lnTo>
                    <a:pt x="25" y="213"/>
                  </a:lnTo>
                  <a:lnTo>
                    <a:pt x="28" y="215"/>
                  </a:lnTo>
                  <a:lnTo>
                    <a:pt x="31" y="218"/>
                  </a:lnTo>
                  <a:lnTo>
                    <a:pt x="33" y="220"/>
                  </a:lnTo>
                  <a:lnTo>
                    <a:pt x="36" y="220"/>
                  </a:lnTo>
                  <a:lnTo>
                    <a:pt x="38" y="223"/>
                  </a:lnTo>
                  <a:lnTo>
                    <a:pt x="38" y="223"/>
                  </a:lnTo>
                  <a:lnTo>
                    <a:pt x="41" y="223"/>
                  </a:lnTo>
                  <a:lnTo>
                    <a:pt x="43" y="226"/>
                  </a:lnTo>
                  <a:lnTo>
                    <a:pt x="43" y="226"/>
                  </a:lnTo>
                  <a:lnTo>
                    <a:pt x="46" y="226"/>
                  </a:lnTo>
                  <a:lnTo>
                    <a:pt x="49" y="228"/>
                  </a:lnTo>
                  <a:lnTo>
                    <a:pt x="49" y="228"/>
                  </a:lnTo>
                  <a:lnTo>
                    <a:pt x="51" y="228"/>
                  </a:lnTo>
                  <a:lnTo>
                    <a:pt x="54" y="228"/>
                  </a:lnTo>
                  <a:lnTo>
                    <a:pt x="54" y="228"/>
                  </a:lnTo>
                  <a:lnTo>
                    <a:pt x="56" y="231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61" y="231"/>
                  </a:lnTo>
                  <a:lnTo>
                    <a:pt x="64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9" y="231"/>
                  </a:lnTo>
                  <a:lnTo>
                    <a:pt x="72" y="231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136" y="231"/>
                  </a:lnTo>
                  <a:lnTo>
                    <a:pt x="141" y="231"/>
                  </a:lnTo>
                  <a:lnTo>
                    <a:pt x="143" y="231"/>
                  </a:lnTo>
                  <a:lnTo>
                    <a:pt x="146" y="231"/>
                  </a:lnTo>
                  <a:lnTo>
                    <a:pt x="149" y="231"/>
                  </a:lnTo>
                  <a:lnTo>
                    <a:pt x="154" y="231"/>
                  </a:lnTo>
                  <a:lnTo>
                    <a:pt x="156" y="228"/>
                  </a:lnTo>
                  <a:lnTo>
                    <a:pt x="159" y="228"/>
                  </a:lnTo>
                  <a:lnTo>
                    <a:pt x="161" y="228"/>
                  </a:lnTo>
                  <a:lnTo>
                    <a:pt x="167" y="226"/>
                  </a:lnTo>
                  <a:lnTo>
                    <a:pt x="169" y="226"/>
                  </a:lnTo>
                  <a:lnTo>
                    <a:pt x="172" y="223"/>
                  </a:lnTo>
                  <a:lnTo>
                    <a:pt x="174" y="223"/>
                  </a:lnTo>
                  <a:lnTo>
                    <a:pt x="177" y="220"/>
                  </a:lnTo>
                  <a:lnTo>
                    <a:pt x="179" y="218"/>
                  </a:lnTo>
                  <a:lnTo>
                    <a:pt x="182" y="218"/>
                  </a:lnTo>
                  <a:lnTo>
                    <a:pt x="185" y="215"/>
                  </a:lnTo>
                  <a:lnTo>
                    <a:pt x="187" y="213"/>
                  </a:lnTo>
                  <a:lnTo>
                    <a:pt x="190" y="210"/>
                  </a:lnTo>
                  <a:lnTo>
                    <a:pt x="192" y="208"/>
                  </a:lnTo>
                  <a:lnTo>
                    <a:pt x="192" y="205"/>
                  </a:lnTo>
                  <a:lnTo>
                    <a:pt x="195" y="205"/>
                  </a:lnTo>
                  <a:lnTo>
                    <a:pt x="197" y="202"/>
                  </a:lnTo>
                  <a:lnTo>
                    <a:pt x="200" y="200"/>
                  </a:lnTo>
                  <a:lnTo>
                    <a:pt x="200" y="197"/>
                  </a:lnTo>
                  <a:lnTo>
                    <a:pt x="202" y="192"/>
                  </a:lnTo>
                  <a:lnTo>
                    <a:pt x="205" y="190"/>
                  </a:lnTo>
                  <a:lnTo>
                    <a:pt x="205" y="187"/>
                  </a:lnTo>
                  <a:lnTo>
                    <a:pt x="205" y="185"/>
                  </a:lnTo>
                  <a:lnTo>
                    <a:pt x="208" y="182"/>
                  </a:lnTo>
                  <a:lnTo>
                    <a:pt x="208" y="179"/>
                  </a:lnTo>
                  <a:lnTo>
                    <a:pt x="210" y="174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31" y="167"/>
                  </a:lnTo>
                  <a:lnTo>
                    <a:pt x="233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8" y="162"/>
                  </a:lnTo>
                  <a:lnTo>
                    <a:pt x="241" y="162"/>
                  </a:lnTo>
                  <a:lnTo>
                    <a:pt x="244" y="162"/>
                  </a:lnTo>
                  <a:lnTo>
                    <a:pt x="244" y="159"/>
                  </a:lnTo>
                  <a:lnTo>
                    <a:pt x="246" y="159"/>
                  </a:lnTo>
                  <a:lnTo>
                    <a:pt x="246" y="159"/>
                  </a:lnTo>
                  <a:lnTo>
                    <a:pt x="249" y="156"/>
                  </a:lnTo>
                  <a:lnTo>
                    <a:pt x="251" y="156"/>
                  </a:lnTo>
                  <a:lnTo>
                    <a:pt x="251" y="154"/>
                  </a:lnTo>
                  <a:lnTo>
                    <a:pt x="254" y="154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6" y="149"/>
                  </a:lnTo>
                  <a:lnTo>
                    <a:pt x="259" y="149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62" y="144"/>
                  </a:lnTo>
                  <a:lnTo>
                    <a:pt x="262" y="141"/>
                  </a:lnTo>
                  <a:lnTo>
                    <a:pt x="264" y="138"/>
                  </a:lnTo>
                  <a:lnTo>
                    <a:pt x="264" y="136"/>
                  </a:lnTo>
                  <a:lnTo>
                    <a:pt x="264" y="133"/>
                  </a:lnTo>
                  <a:lnTo>
                    <a:pt x="264" y="131"/>
                  </a:lnTo>
                  <a:lnTo>
                    <a:pt x="267" y="128"/>
                  </a:lnTo>
                  <a:lnTo>
                    <a:pt x="267" y="126"/>
                  </a:lnTo>
                  <a:lnTo>
                    <a:pt x="267" y="123"/>
                  </a:lnTo>
                  <a:lnTo>
                    <a:pt x="267" y="121"/>
                  </a:lnTo>
                  <a:lnTo>
                    <a:pt x="267" y="82"/>
                  </a:lnTo>
                  <a:lnTo>
                    <a:pt x="267" y="82"/>
                  </a:lnTo>
                  <a:lnTo>
                    <a:pt x="267" y="80"/>
                  </a:lnTo>
                  <a:lnTo>
                    <a:pt x="267" y="77"/>
                  </a:lnTo>
                  <a:lnTo>
                    <a:pt x="264" y="77"/>
                  </a:lnTo>
                  <a:lnTo>
                    <a:pt x="264" y="74"/>
                  </a:lnTo>
                  <a:lnTo>
                    <a:pt x="264" y="72"/>
                  </a:lnTo>
                  <a:lnTo>
                    <a:pt x="264" y="72"/>
                  </a:lnTo>
                  <a:lnTo>
                    <a:pt x="264" y="69"/>
                  </a:lnTo>
                  <a:lnTo>
                    <a:pt x="262" y="67"/>
                  </a:lnTo>
                  <a:lnTo>
                    <a:pt x="262" y="67"/>
                  </a:lnTo>
                  <a:lnTo>
                    <a:pt x="262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59" y="62"/>
                  </a:lnTo>
                  <a:lnTo>
                    <a:pt x="256" y="59"/>
                  </a:lnTo>
                  <a:lnTo>
                    <a:pt x="256" y="59"/>
                  </a:lnTo>
                  <a:lnTo>
                    <a:pt x="254" y="57"/>
                  </a:lnTo>
                  <a:lnTo>
                    <a:pt x="254" y="57"/>
                  </a:lnTo>
                  <a:lnTo>
                    <a:pt x="251" y="57"/>
                  </a:lnTo>
                  <a:lnTo>
                    <a:pt x="251" y="54"/>
                  </a:lnTo>
                  <a:lnTo>
                    <a:pt x="249" y="54"/>
                  </a:lnTo>
                  <a:lnTo>
                    <a:pt x="249" y="51"/>
                  </a:lnTo>
                  <a:lnTo>
                    <a:pt x="246" y="51"/>
                  </a:lnTo>
                  <a:lnTo>
                    <a:pt x="244" y="51"/>
                  </a:lnTo>
                  <a:lnTo>
                    <a:pt x="244" y="51"/>
                  </a:lnTo>
                  <a:lnTo>
                    <a:pt x="241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6" y="49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1" y="49"/>
                  </a:lnTo>
                  <a:lnTo>
                    <a:pt x="210" y="49"/>
                  </a:lnTo>
                  <a:lnTo>
                    <a:pt x="210" y="5"/>
                  </a:lnTo>
                  <a:lnTo>
                    <a:pt x="210" y="5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6" name="Group 125">
            <a:extLst>
              <a:ext uri="{FF2B5EF4-FFF2-40B4-BE49-F238E27FC236}">
                <a16:creationId xmlns:a16="http://schemas.microsoft.com/office/drawing/2014/main" id="{D24F634D-F362-4434-A3BB-C2153024765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447" y="2861471"/>
            <a:ext cx="758825" cy="758825"/>
            <a:chOff x="2310" y="1938"/>
            <a:chExt cx="478" cy="478"/>
          </a:xfrm>
        </p:grpSpPr>
        <p:sp>
          <p:nvSpPr>
            <p:cNvPr id="147" name="AutoShape 124">
              <a:extLst>
                <a:ext uri="{FF2B5EF4-FFF2-40B4-BE49-F238E27FC236}">
                  <a16:creationId xmlns:a16="http://schemas.microsoft.com/office/drawing/2014/main" id="{753525C0-567D-4055-A403-15B94FC0EC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10" y="193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6">
              <a:extLst>
                <a:ext uri="{FF2B5EF4-FFF2-40B4-BE49-F238E27FC236}">
                  <a16:creationId xmlns:a16="http://schemas.microsoft.com/office/drawing/2014/main" id="{EA97CBAF-E494-44AA-8F24-97D494BAD3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2" y="194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7">
              <a:extLst>
                <a:ext uri="{FF2B5EF4-FFF2-40B4-BE49-F238E27FC236}">
                  <a16:creationId xmlns:a16="http://schemas.microsoft.com/office/drawing/2014/main" id="{A79ED5D4-509A-4A52-B440-1586C0946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2" y="2051"/>
              <a:ext cx="176" cy="255"/>
            </a:xfrm>
            <a:custGeom>
              <a:avLst/>
              <a:gdLst>
                <a:gd name="T0" fmla="*/ 176 w 176"/>
                <a:gd name="T1" fmla="*/ 46 h 255"/>
                <a:gd name="T2" fmla="*/ 164 w 176"/>
                <a:gd name="T3" fmla="*/ 29 h 255"/>
                <a:gd name="T4" fmla="*/ 140 w 176"/>
                <a:gd name="T5" fmla="*/ 12 h 255"/>
                <a:gd name="T6" fmla="*/ 108 w 176"/>
                <a:gd name="T7" fmla="*/ 0 h 255"/>
                <a:gd name="T8" fmla="*/ 91 w 176"/>
                <a:gd name="T9" fmla="*/ 2 h 255"/>
                <a:gd name="T10" fmla="*/ 81 w 176"/>
                <a:gd name="T11" fmla="*/ 10 h 255"/>
                <a:gd name="T12" fmla="*/ 0 w 176"/>
                <a:gd name="T13" fmla="*/ 152 h 255"/>
                <a:gd name="T14" fmla="*/ 0 w 176"/>
                <a:gd name="T15" fmla="*/ 252 h 255"/>
                <a:gd name="T16" fmla="*/ 5 w 176"/>
                <a:gd name="T17" fmla="*/ 255 h 255"/>
                <a:gd name="T18" fmla="*/ 93 w 176"/>
                <a:gd name="T19" fmla="*/ 206 h 255"/>
                <a:gd name="T20" fmla="*/ 176 w 176"/>
                <a:gd name="T21" fmla="*/ 59 h 255"/>
                <a:gd name="T22" fmla="*/ 83 w 176"/>
                <a:gd name="T23" fmla="*/ 198 h 255"/>
                <a:gd name="T24" fmla="*/ 22 w 176"/>
                <a:gd name="T25" fmla="*/ 215 h 255"/>
                <a:gd name="T26" fmla="*/ 10 w 176"/>
                <a:gd name="T27" fmla="*/ 211 h 255"/>
                <a:gd name="T28" fmla="*/ 10 w 176"/>
                <a:gd name="T29" fmla="*/ 154 h 255"/>
                <a:gd name="T30" fmla="*/ 61 w 176"/>
                <a:gd name="T31" fmla="*/ 78 h 255"/>
                <a:gd name="T32" fmla="*/ 78 w 176"/>
                <a:gd name="T33" fmla="*/ 81 h 255"/>
                <a:gd name="T34" fmla="*/ 37 w 176"/>
                <a:gd name="T35" fmla="*/ 157 h 255"/>
                <a:gd name="T36" fmla="*/ 37 w 176"/>
                <a:gd name="T37" fmla="*/ 157 h 255"/>
                <a:gd name="T38" fmla="*/ 39 w 176"/>
                <a:gd name="T39" fmla="*/ 159 h 255"/>
                <a:gd name="T40" fmla="*/ 42 w 176"/>
                <a:gd name="T41" fmla="*/ 159 h 255"/>
                <a:gd name="T42" fmla="*/ 42 w 176"/>
                <a:gd name="T43" fmla="*/ 157 h 255"/>
                <a:gd name="T44" fmla="*/ 103 w 176"/>
                <a:gd name="T45" fmla="*/ 95 h 255"/>
                <a:gd name="T46" fmla="*/ 66 w 176"/>
                <a:gd name="T47" fmla="*/ 171 h 255"/>
                <a:gd name="T48" fmla="*/ 66 w 176"/>
                <a:gd name="T49" fmla="*/ 171 h 255"/>
                <a:gd name="T50" fmla="*/ 69 w 176"/>
                <a:gd name="T51" fmla="*/ 174 h 255"/>
                <a:gd name="T52" fmla="*/ 71 w 176"/>
                <a:gd name="T53" fmla="*/ 176 h 255"/>
                <a:gd name="T54" fmla="*/ 71 w 176"/>
                <a:gd name="T55" fmla="*/ 174 h 255"/>
                <a:gd name="T56" fmla="*/ 115 w 176"/>
                <a:gd name="T57" fmla="*/ 103 h 255"/>
                <a:gd name="T58" fmla="*/ 127 w 176"/>
                <a:gd name="T59" fmla="*/ 117 h 255"/>
                <a:gd name="T60" fmla="*/ 83 w 176"/>
                <a:gd name="T61" fmla="*/ 198 h 255"/>
                <a:gd name="T62" fmla="*/ 125 w 176"/>
                <a:gd name="T63" fmla="*/ 98 h 255"/>
                <a:gd name="T64" fmla="*/ 93 w 176"/>
                <a:gd name="T65" fmla="*/ 76 h 255"/>
                <a:gd name="T66" fmla="*/ 61 w 176"/>
                <a:gd name="T67" fmla="*/ 66 h 255"/>
                <a:gd name="T68" fmla="*/ 78 w 176"/>
                <a:gd name="T69" fmla="*/ 49 h 255"/>
                <a:gd name="T70" fmla="*/ 98 w 176"/>
                <a:gd name="T71" fmla="*/ 51 h 255"/>
                <a:gd name="T72" fmla="*/ 125 w 176"/>
                <a:gd name="T73" fmla="*/ 66 h 255"/>
                <a:gd name="T74" fmla="*/ 142 w 176"/>
                <a:gd name="T75" fmla="*/ 83 h 255"/>
                <a:gd name="T76" fmla="*/ 135 w 176"/>
                <a:gd name="T77" fmla="*/ 108 h 255"/>
                <a:gd name="T78" fmla="*/ 167 w 176"/>
                <a:gd name="T79" fmla="*/ 56 h 255"/>
                <a:gd name="T80" fmla="*/ 167 w 176"/>
                <a:gd name="T81" fmla="*/ 56 h 255"/>
                <a:gd name="T82" fmla="*/ 152 w 176"/>
                <a:gd name="T83" fmla="*/ 78 h 255"/>
                <a:gd name="T84" fmla="*/ 120 w 176"/>
                <a:gd name="T85" fmla="*/ 51 h 255"/>
                <a:gd name="T86" fmla="*/ 88 w 176"/>
                <a:gd name="T87" fmla="*/ 37 h 255"/>
                <a:gd name="T88" fmla="*/ 93 w 176"/>
                <a:gd name="T89" fmla="*/ 12 h 255"/>
                <a:gd name="T90" fmla="*/ 96 w 176"/>
                <a:gd name="T91" fmla="*/ 14 h 255"/>
                <a:gd name="T92" fmla="*/ 96 w 176"/>
                <a:gd name="T93" fmla="*/ 14 h 255"/>
                <a:gd name="T94" fmla="*/ 100 w 176"/>
                <a:gd name="T95" fmla="*/ 10 h 255"/>
                <a:gd name="T96" fmla="*/ 110 w 176"/>
                <a:gd name="T97" fmla="*/ 12 h 255"/>
                <a:gd name="T98" fmla="*/ 140 w 176"/>
                <a:gd name="T99" fmla="*/ 24 h 255"/>
                <a:gd name="T100" fmla="*/ 162 w 176"/>
                <a:gd name="T101" fmla="*/ 41 h 255"/>
                <a:gd name="T102" fmla="*/ 167 w 176"/>
                <a:gd name="T103" fmla="*/ 5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6" h="255">
                  <a:moveTo>
                    <a:pt x="176" y="54"/>
                  </a:moveTo>
                  <a:lnTo>
                    <a:pt x="176" y="46"/>
                  </a:lnTo>
                  <a:lnTo>
                    <a:pt x="172" y="37"/>
                  </a:lnTo>
                  <a:lnTo>
                    <a:pt x="164" y="29"/>
                  </a:lnTo>
                  <a:lnTo>
                    <a:pt x="152" y="17"/>
                  </a:lnTo>
                  <a:lnTo>
                    <a:pt x="140" y="12"/>
                  </a:lnTo>
                  <a:lnTo>
                    <a:pt x="123" y="5"/>
                  </a:lnTo>
                  <a:lnTo>
                    <a:pt x="108" y="0"/>
                  </a:lnTo>
                  <a:lnTo>
                    <a:pt x="103" y="0"/>
                  </a:lnTo>
                  <a:lnTo>
                    <a:pt x="91" y="2"/>
                  </a:lnTo>
                  <a:lnTo>
                    <a:pt x="86" y="5"/>
                  </a:lnTo>
                  <a:lnTo>
                    <a:pt x="81" y="10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4"/>
                  </a:lnTo>
                  <a:lnTo>
                    <a:pt x="0" y="252"/>
                  </a:lnTo>
                  <a:lnTo>
                    <a:pt x="2" y="255"/>
                  </a:lnTo>
                  <a:lnTo>
                    <a:pt x="5" y="255"/>
                  </a:lnTo>
                  <a:lnTo>
                    <a:pt x="7" y="255"/>
                  </a:lnTo>
                  <a:lnTo>
                    <a:pt x="93" y="206"/>
                  </a:lnTo>
                  <a:lnTo>
                    <a:pt x="93" y="203"/>
                  </a:lnTo>
                  <a:lnTo>
                    <a:pt x="176" y="59"/>
                  </a:lnTo>
                  <a:lnTo>
                    <a:pt x="176" y="54"/>
                  </a:lnTo>
                  <a:close/>
                  <a:moveTo>
                    <a:pt x="83" y="198"/>
                  </a:moveTo>
                  <a:lnTo>
                    <a:pt x="34" y="225"/>
                  </a:lnTo>
                  <a:lnTo>
                    <a:pt x="22" y="215"/>
                  </a:lnTo>
                  <a:lnTo>
                    <a:pt x="12" y="211"/>
                  </a:lnTo>
                  <a:lnTo>
                    <a:pt x="10" y="211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54" y="78"/>
                  </a:lnTo>
                  <a:lnTo>
                    <a:pt x="61" y="78"/>
                  </a:lnTo>
                  <a:lnTo>
                    <a:pt x="69" y="78"/>
                  </a:lnTo>
                  <a:lnTo>
                    <a:pt x="78" y="81"/>
                  </a:lnTo>
                  <a:lnTo>
                    <a:pt x="37" y="154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9" y="157"/>
                  </a:lnTo>
                  <a:lnTo>
                    <a:pt x="39" y="159"/>
                  </a:lnTo>
                  <a:lnTo>
                    <a:pt x="39" y="159"/>
                  </a:lnTo>
                  <a:lnTo>
                    <a:pt x="42" y="159"/>
                  </a:lnTo>
                  <a:lnTo>
                    <a:pt x="42" y="157"/>
                  </a:lnTo>
                  <a:lnTo>
                    <a:pt x="42" y="157"/>
                  </a:lnTo>
                  <a:lnTo>
                    <a:pt x="86" y="86"/>
                  </a:lnTo>
                  <a:lnTo>
                    <a:pt x="103" y="95"/>
                  </a:lnTo>
                  <a:lnTo>
                    <a:pt x="108" y="98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4"/>
                  </a:lnTo>
                  <a:lnTo>
                    <a:pt x="69" y="174"/>
                  </a:lnTo>
                  <a:lnTo>
                    <a:pt x="69" y="176"/>
                  </a:lnTo>
                  <a:lnTo>
                    <a:pt x="71" y="176"/>
                  </a:lnTo>
                  <a:lnTo>
                    <a:pt x="71" y="174"/>
                  </a:lnTo>
                  <a:lnTo>
                    <a:pt x="71" y="174"/>
                  </a:lnTo>
                  <a:lnTo>
                    <a:pt x="74" y="174"/>
                  </a:lnTo>
                  <a:lnTo>
                    <a:pt x="115" y="103"/>
                  </a:lnTo>
                  <a:lnTo>
                    <a:pt x="123" y="113"/>
                  </a:lnTo>
                  <a:lnTo>
                    <a:pt x="127" y="117"/>
                  </a:lnTo>
                  <a:lnTo>
                    <a:pt x="130" y="120"/>
                  </a:lnTo>
                  <a:lnTo>
                    <a:pt x="83" y="198"/>
                  </a:lnTo>
                  <a:close/>
                  <a:moveTo>
                    <a:pt x="135" y="108"/>
                  </a:moveTo>
                  <a:lnTo>
                    <a:pt x="125" y="98"/>
                  </a:lnTo>
                  <a:lnTo>
                    <a:pt x="110" y="86"/>
                  </a:lnTo>
                  <a:lnTo>
                    <a:pt x="93" y="76"/>
                  </a:lnTo>
                  <a:lnTo>
                    <a:pt x="71" y="68"/>
                  </a:lnTo>
                  <a:lnTo>
                    <a:pt x="61" y="66"/>
                  </a:lnTo>
                  <a:lnTo>
                    <a:pt x="74" y="49"/>
                  </a:lnTo>
                  <a:lnTo>
                    <a:pt x="78" y="49"/>
                  </a:lnTo>
                  <a:lnTo>
                    <a:pt x="86" y="49"/>
                  </a:lnTo>
                  <a:lnTo>
                    <a:pt x="98" y="51"/>
                  </a:lnTo>
                  <a:lnTo>
                    <a:pt x="113" y="59"/>
                  </a:lnTo>
                  <a:lnTo>
                    <a:pt x="125" y="66"/>
                  </a:lnTo>
                  <a:lnTo>
                    <a:pt x="137" y="78"/>
                  </a:lnTo>
                  <a:lnTo>
                    <a:pt x="142" y="83"/>
                  </a:lnTo>
                  <a:lnTo>
                    <a:pt x="147" y="90"/>
                  </a:lnTo>
                  <a:lnTo>
                    <a:pt x="135" y="108"/>
                  </a:lnTo>
                  <a:close/>
                  <a:moveTo>
                    <a:pt x="167" y="54"/>
                  </a:moveTo>
                  <a:lnTo>
                    <a:pt x="167" y="56"/>
                  </a:lnTo>
                  <a:lnTo>
                    <a:pt x="167" y="56"/>
                  </a:lnTo>
                  <a:lnTo>
                    <a:pt x="167" y="56"/>
                  </a:lnTo>
                  <a:lnTo>
                    <a:pt x="167" y="59"/>
                  </a:lnTo>
                  <a:lnTo>
                    <a:pt x="152" y="78"/>
                  </a:lnTo>
                  <a:lnTo>
                    <a:pt x="137" y="63"/>
                  </a:lnTo>
                  <a:lnTo>
                    <a:pt x="120" y="51"/>
                  </a:lnTo>
                  <a:lnTo>
                    <a:pt x="103" y="44"/>
                  </a:lnTo>
                  <a:lnTo>
                    <a:pt x="88" y="37"/>
                  </a:lnTo>
                  <a:lnTo>
                    <a:pt x="78" y="37"/>
                  </a:lnTo>
                  <a:lnTo>
                    <a:pt x="93" y="12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2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10" y="12"/>
                  </a:lnTo>
                  <a:lnTo>
                    <a:pt x="123" y="14"/>
                  </a:lnTo>
                  <a:lnTo>
                    <a:pt x="140" y="24"/>
                  </a:lnTo>
                  <a:lnTo>
                    <a:pt x="152" y="32"/>
                  </a:lnTo>
                  <a:lnTo>
                    <a:pt x="162" y="41"/>
                  </a:lnTo>
                  <a:lnTo>
                    <a:pt x="164" y="49"/>
                  </a:lnTo>
                  <a:lnTo>
                    <a:pt x="167" y="54"/>
                  </a:lnTo>
                  <a:lnTo>
                    <a:pt x="167" y="5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28">
              <a:extLst>
                <a:ext uri="{FF2B5EF4-FFF2-40B4-BE49-F238E27FC236}">
                  <a16:creationId xmlns:a16="http://schemas.microsoft.com/office/drawing/2014/main" id="{004E4550-CF20-4CD7-B8FE-C2B9A8390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9" y="221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Rectangle 129">
              <a:extLst>
                <a:ext uri="{FF2B5EF4-FFF2-40B4-BE49-F238E27FC236}">
                  <a16:creationId xmlns:a16="http://schemas.microsoft.com/office/drawing/2014/main" id="{CE988CAC-7590-4C26-8BCC-5CE6B7A2B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6" y="222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32">
            <a:extLst>
              <a:ext uri="{FF2B5EF4-FFF2-40B4-BE49-F238E27FC236}">
                <a16:creationId xmlns:a16="http://schemas.microsoft.com/office/drawing/2014/main" id="{FAFE399B-6B85-444D-B76A-6D7408C09C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2610" y="2820196"/>
            <a:ext cx="841375" cy="841375"/>
            <a:chOff x="1620" y="1892"/>
            <a:chExt cx="530" cy="530"/>
          </a:xfrm>
        </p:grpSpPr>
        <p:sp>
          <p:nvSpPr>
            <p:cNvPr id="153" name="AutoShape 131">
              <a:extLst>
                <a:ext uri="{FF2B5EF4-FFF2-40B4-BE49-F238E27FC236}">
                  <a16:creationId xmlns:a16="http://schemas.microsoft.com/office/drawing/2014/main" id="{ACACB17F-4AB7-4D76-96BC-4D6B3E6088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0" y="189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Oval 133">
              <a:extLst>
                <a:ext uri="{FF2B5EF4-FFF2-40B4-BE49-F238E27FC236}">
                  <a16:creationId xmlns:a16="http://schemas.microsoft.com/office/drawing/2014/main" id="{DF47FB5E-E18F-4612-935E-7FA0A78E3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0" y="189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4">
              <a:extLst>
                <a:ext uri="{FF2B5EF4-FFF2-40B4-BE49-F238E27FC236}">
                  <a16:creationId xmlns:a16="http://schemas.microsoft.com/office/drawing/2014/main" id="{6CE85102-089B-47FF-9B6C-2F91511AEF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8" y="191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5">
              <a:extLst>
                <a:ext uri="{FF2B5EF4-FFF2-40B4-BE49-F238E27FC236}">
                  <a16:creationId xmlns:a16="http://schemas.microsoft.com/office/drawing/2014/main" id="{B41B259B-68FD-4B62-888F-A0B12C879B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4" y="2025"/>
              <a:ext cx="184" cy="266"/>
            </a:xfrm>
            <a:custGeom>
              <a:avLst/>
              <a:gdLst>
                <a:gd name="T0" fmla="*/ 184 w 184"/>
                <a:gd name="T1" fmla="*/ 49 h 266"/>
                <a:gd name="T2" fmla="*/ 172 w 184"/>
                <a:gd name="T3" fmla="*/ 31 h 266"/>
                <a:gd name="T4" fmla="*/ 146 w 184"/>
                <a:gd name="T5" fmla="*/ 13 h 266"/>
                <a:gd name="T6" fmla="*/ 113 w 184"/>
                <a:gd name="T7" fmla="*/ 0 h 266"/>
                <a:gd name="T8" fmla="*/ 95 w 184"/>
                <a:gd name="T9" fmla="*/ 3 h 266"/>
                <a:gd name="T10" fmla="*/ 84 w 184"/>
                <a:gd name="T11" fmla="*/ 10 h 266"/>
                <a:gd name="T12" fmla="*/ 0 w 184"/>
                <a:gd name="T13" fmla="*/ 159 h 266"/>
                <a:gd name="T14" fmla="*/ 0 w 184"/>
                <a:gd name="T15" fmla="*/ 264 h 266"/>
                <a:gd name="T16" fmla="*/ 5 w 184"/>
                <a:gd name="T17" fmla="*/ 266 h 266"/>
                <a:gd name="T18" fmla="*/ 97 w 184"/>
                <a:gd name="T19" fmla="*/ 215 h 266"/>
                <a:gd name="T20" fmla="*/ 184 w 184"/>
                <a:gd name="T21" fmla="*/ 61 h 266"/>
                <a:gd name="T22" fmla="*/ 87 w 184"/>
                <a:gd name="T23" fmla="*/ 207 h 266"/>
                <a:gd name="T24" fmla="*/ 23 w 184"/>
                <a:gd name="T25" fmla="*/ 225 h 266"/>
                <a:gd name="T26" fmla="*/ 10 w 184"/>
                <a:gd name="T27" fmla="*/ 220 h 266"/>
                <a:gd name="T28" fmla="*/ 10 w 184"/>
                <a:gd name="T29" fmla="*/ 161 h 266"/>
                <a:gd name="T30" fmla="*/ 64 w 184"/>
                <a:gd name="T31" fmla="*/ 82 h 266"/>
                <a:gd name="T32" fmla="*/ 82 w 184"/>
                <a:gd name="T33" fmla="*/ 85 h 266"/>
                <a:gd name="T34" fmla="*/ 38 w 184"/>
                <a:gd name="T35" fmla="*/ 164 h 266"/>
                <a:gd name="T36" fmla="*/ 38 w 184"/>
                <a:gd name="T37" fmla="*/ 164 h 266"/>
                <a:gd name="T38" fmla="*/ 41 w 184"/>
                <a:gd name="T39" fmla="*/ 166 h 266"/>
                <a:gd name="T40" fmla="*/ 44 w 184"/>
                <a:gd name="T41" fmla="*/ 166 h 266"/>
                <a:gd name="T42" fmla="*/ 44 w 184"/>
                <a:gd name="T43" fmla="*/ 164 h 266"/>
                <a:gd name="T44" fmla="*/ 108 w 184"/>
                <a:gd name="T45" fmla="*/ 100 h 266"/>
                <a:gd name="T46" fmla="*/ 69 w 184"/>
                <a:gd name="T47" fmla="*/ 179 h 266"/>
                <a:gd name="T48" fmla="*/ 69 w 184"/>
                <a:gd name="T49" fmla="*/ 179 h 266"/>
                <a:gd name="T50" fmla="*/ 72 w 184"/>
                <a:gd name="T51" fmla="*/ 182 h 266"/>
                <a:gd name="T52" fmla="*/ 74 w 184"/>
                <a:gd name="T53" fmla="*/ 184 h 266"/>
                <a:gd name="T54" fmla="*/ 74 w 184"/>
                <a:gd name="T55" fmla="*/ 182 h 266"/>
                <a:gd name="T56" fmla="*/ 120 w 184"/>
                <a:gd name="T57" fmla="*/ 108 h 266"/>
                <a:gd name="T58" fmla="*/ 133 w 184"/>
                <a:gd name="T59" fmla="*/ 123 h 266"/>
                <a:gd name="T60" fmla="*/ 87 w 184"/>
                <a:gd name="T61" fmla="*/ 207 h 266"/>
                <a:gd name="T62" fmla="*/ 131 w 184"/>
                <a:gd name="T63" fmla="*/ 102 h 266"/>
                <a:gd name="T64" fmla="*/ 97 w 184"/>
                <a:gd name="T65" fmla="*/ 79 h 266"/>
                <a:gd name="T66" fmla="*/ 64 w 184"/>
                <a:gd name="T67" fmla="*/ 69 h 266"/>
                <a:gd name="T68" fmla="*/ 82 w 184"/>
                <a:gd name="T69" fmla="*/ 51 h 266"/>
                <a:gd name="T70" fmla="*/ 102 w 184"/>
                <a:gd name="T71" fmla="*/ 54 h 266"/>
                <a:gd name="T72" fmla="*/ 131 w 184"/>
                <a:gd name="T73" fmla="*/ 69 h 266"/>
                <a:gd name="T74" fmla="*/ 149 w 184"/>
                <a:gd name="T75" fmla="*/ 87 h 266"/>
                <a:gd name="T76" fmla="*/ 141 w 184"/>
                <a:gd name="T77" fmla="*/ 113 h 266"/>
                <a:gd name="T78" fmla="*/ 174 w 184"/>
                <a:gd name="T79" fmla="*/ 59 h 266"/>
                <a:gd name="T80" fmla="*/ 174 w 184"/>
                <a:gd name="T81" fmla="*/ 59 h 266"/>
                <a:gd name="T82" fmla="*/ 159 w 184"/>
                <a:gd name="T83" fmla="*/ 82 h 266"/>
                <a:gd name="T84" fmla="*/ 125 w 184"/>
                <a:gd name="T85" fmla="*/ 54 h 266"/>
                <a:gd name="T86" fmla="*/ 92 w 184"/>
                <a:gd name="T87" fmla="*/ 38 h 266"/>
                <a:gd name="T88" fmla="*/ 97 w 184"/>
                <a:gd name="T89" fmla="*/ 13 h 266"/>
                <a:gd name="T90" fmla="*/ 100 w 184"/>
                <a:gd name="T91" fmla="*/ 15 h 266"/>
                <a:gd name="T92" fmla="*/ 100 w 184"/>
                <a:gd name="T93" fmla="*/ 15 h 266"/>
                <a:gd name="T94" fmla="*/ 105 w 184"/>
                <a:gd name="T95" fmla="*/ 10 h 266"/>
                <a:gd name="T96" fmla="*/ 115 w 184"/>
                <a:gd name="T97" fmla="*/ 13 h 266"/>
                <a:gd name="T98" fmla="*/ 146 w 184"/>
                <a:gd name="T99" fmla="*/ 26 h 266"/>
                <a:gd name="T100" fmla="*/ 169 w 184"/>
                <a:gd name="T101" fmla="*/ 44 h 266"/>
                <a:gd name="T102" fmla="*/ 174 w 184"/>
                <a:gd name="T103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4" h="266">
                  <a:moveTo>
                    <a:pt x="184" y="56"/>
                  </a:moveTo>
                  <a:lnTo>
                    <a:pt x="184" y="49"/>
                  </a:lnTo>
                  <a:lnTo>
                    <a:pt x="179" y="38"/>
                  </a:lnTo>
                  <a:lnTo>
                    <a:pt x="172" y="31"/>
                  </a:lnTo>
                  <a:lnTo>
                    <a:pt x="159" y="18"/>
                  </a:lnTo>
                  <a:lnTo>
                    <a:pt x="146" y="13"/>
                  </a:lnTo>
                  <a:lnTo>
                    <a:pt x="128" y="5"/>
                  </a:lnTo>
                  <a:lnTo>
                    <a:pt x="113" y="0"/>
                  </a:lnTo>
                  <a:lnTo>
                    <a:pt x="108" y="0"/>
                  </a:lnTo>
                  <a:lnTo>
                    <a:pt x="95" y="3"/>
                  </a:lnTo>
                  <a:lnTo>
                    <a:pt x="90" y="5"/>
                  </a:lnTo>
                  <a:lnTo>
                    <a:pt x="84" y="10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1"/>
                  </a:lnTo>
                  <a:lnTo>
                    <a:pt x="0" y="264"/>
                  </a:lnTo>
                  <a:lnTo>
                    <a:pt x="3" y="266"/>
                  </a:lnTo>
                  <a:lnTo>
                    <a:pt x="5" y="266"/>
                  </a:lnTo>
                  <a:lnTo>
                    <a:pt x="8" y="266"/>
                  </a:lnTo>
                  <a:lnTo>
                    <a:pt x="97" y="215"/>
                  </a:lnTo>
                  <a:lnTo>
                    <a:pt x="97" y="213"/>
                  </a:lnTo>
                  <a:lnTo>
                    <a:pt x="184" y="61"/>
                  </a:lnTo>
                  <a:lnTo>
                    <a:pt x="184" y="56"/>
                  </a:lnTo>
                  <a:close/>
                  <a:moveTo>
                    <a:pt x="87" y="207"/>
                  </a:moveTo>
                  <a:lnTo>
                    <a:pt x="36" y="236"/>
                  </a:lnTo>
                  <a:lnTo>
                    <a:pt x="23" y="225"/>
                  </a:lnTo>
                  <a:lnTo>
                    <a:pt x="13" y="220"/>
                  </a:lnTo>
                  <a:lnTo>
                    <a:pt x="10" y="220"/>
                  </a:lnTo>
                  <a:lnTo>
                    <a:pt x="10" y="161"/>
                  </a:lnTo>
                  <a:lnTo>
                    <a:pt x="10" y="161"/>
                  </a:lnTo>
                  <a:lnTo>
                    <a:pt x="56" y="82"/>
                  </a:lnTo>
                  <a:lnTo>
                    <a:pt x="64" y="82"/>
                  </a:lnTo>
                  <a:lnTo>
                    <a:pt x="72" y="82"/>
                  </a:lnTo>
                  <a:lnTo>
                    <a:pt x="82" y="85"/>
                  </a:lnTo>
                  <a:lnTo>
                    <a:pt x="38" y="161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41" y="164"/>
                  </a:lnTo>
                  <a:lnTo>
                    <a:pt x="41" y="166"/>
                  </a:lnTo>
                  <a:lnTo>
                    <a:pt x="41" y="166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90" y="90"/>
                  </a:lnTo>
                  <a:lnTo>
                    <a:pt x="108" y="100"/>
                  </a:lnTo>
                  <a:lnTo>
                    <a:pt x="113" y="102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69" y="182"/>
                  </a:lnTo>
                  <a:lnTo>
                    <a:pt x="72" y="182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7" y="182"/>
                  </a:lnTo>
                  <a:lnTo>
                    <a:pt x="120" y="108"/>
                  </a:lnTo>
                  <a:lnTo>
                    <a:pt x="128" y="118"/>
                  </a:lnTo>
                  <a:lnTo>
                    <a:pt x="133" y="123"/>
                  </a:lnTo>
                  <a:lnTo>
                    <a:pt x="136" y="125"/>
                  </a:lnTo>
                  <a:lnTo>
                    <a:pt x="87" y="207"/>
                  </a:lnTo>
                  <a:close/>
                  <a:moveTo>
                    <a:pt x="141" y="113"/>
                  </a:moveTo>
                  <a:lnTo>
                    <a:pt x="131" y="102"/>
                  </a:lnTo>
                  <a:lnTo>
                    <a:pt x="115" y="90"/>
                  </a:lnTo>
                  <a:lnTo>
                    <a:pt x="97" y="79"/>
                  </a:lnTo>
                  <a:lnTo>
                    <a:pt x="74" y="72"/>
                  </a:lnTo>
                  <a:lnTo>
                    <a:pt x="64" y="69"/>
                  </a:lnTo>
                  <a:lnTo>
                    <a:pt x="77" y="51"/>
                  </a:lnTo>
                  <a:lnTo>
                    <a:pt x="82" y="51"/>
                  </a:lnTo>
                  <a:lnTo>
                    <a:pt x="90" y="51"/>
                  </a:lnTo>
                  <a:lnTo>
                    <a:pt x="102" y="54"/>
                  </a:lnTo>
                  <a:lnTo>
                    <a:pt x="118" y="61"/>
                  </a:lnTo>
                  <a:lnTo>
                    <a:pt x="131" y="69"/>
                  </a:lnTo>
                  <a:lnTo>
                    <a:pt x="143" y="82"/>
                  </a:lnTo>
                  <a:lnTo>
                    <a:pt x="149" y="87"/>
                  </a:lnTo>
                  <a:lnTo>
                    <a:pt x="154" y="95"/>
                  </a:lnTo>
                  <a:lnTo>
                    <a:pt x="141" y="113"/>
                  </a:lnTo>
                  <a:close/>
                  <a:moveTo>
                    <a:pt x="174" y="56"/>
                  </a:moveTo>
                  <a:lnTo>
                    <a:pt x="174" y="59"/>
                  </a:lnTo>
                  <a:lnTo>
                    <a:pt x="174" y="59"/>
                  </a:lnTo>
                  <a:lnTo>
                    <a:pt x="174" y="59"/>
                  </a:lnTo>
                  <a:lnTo>
                    <a:pt x="174" y="61"/>
                  </a:lnTo>
                  <a:lnTo>
                    <a:pt x="159" y="82"/>
                  </a:lnTo>
                  <a:lnTo>
                    <a:pt x="143" y="67"/>
                  </a:lnTo>
                  <a:lnTo>
                    <a:pt x="125" y="54"/>
                  </a:lnTo>
                  <a:lnTo>
                    <a:pt x="108" y="46"/>
                  </a:lnTo>
                  <a:lnTo>
                    <a:pt x="92" y="38"/>
                  </a:lnTo>
                  <a:lnTo>
                    <a:pt x="82" y="38"/>
                  </a:lnTo>
                  <a:lnTo>
                    <a:pt x="97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15" y="13"/>
                  </a:lnTo>
                  <a:lnTo>
                    <a:pt x="128" y="15"/>
                  </a:lnTo>
                  <a:lnTo>
                    <a:pt x="146" y="26"/>
                  </a:lnTo>
                  <a:lnTo>
                    <a:pt x="159" y="33"/>
                  </a:lnTo>
                  <a:lnTo>
                    <a:pt x="169" y="44"/>
                  </a:lnTo>
                  <a:lnTo>
                    <a:pt x="172" y="51"/>
                  </a:lnTo>
                  <a:lnTo>
                    <a:pt x="174" y="56"/>
                  </a:lnTo>
                  <a:lnTo>
                    <a:pt x="1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Rectangle 136">
              <a:extLst>
                <a:ext uri="{FF2B5EF4-FFF2-40B4-BE49-F238E27FC236}">
                  <a16:creationId xmlns:a16="http://schemas.microsoft.com/office/drawing/2014/main" id="{300A651F-8BB5-471E-9219-BDE043868A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2" y="219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37">
              <a:extLst>
                <a:ext uri="{FF2B5EF4-FFF2-40B4-BE49-F238E27FC236}">
                  <a16:creationId xmlns:a16="http://schemas.microsoft.com/office/drawing/2014/main" id="{C81A3617-A12B-4161-8510-F26DFCDFC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220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3" name="Group 140">
            <a:extLst>
              <a:ext uri="{FF2B5EF4-FFF2-40B4-BE49-F238E27FC236}">
                <a16:creationId xmlns:a16="http://schemas.microsoft.com/office/drawing/2014/main" id="{1E1EE893-DAE6-4824-854E-1EE950B037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5374" y="2861471"/>
            <a:ext cx="760412" cy="758825"/>
            <a:chOff x="3883" y="1934"/>
            <a:chExt cx="479" cy="478"/>
          </a:xfrm>
        </p:grpSpPr>
        <p:sp>
          <p:nvSpPr>
            <p:cNvPr id="164" name="AutoShape 139">
              <a:extLst>
                <a:ext uri="{FF2B5EF4-FFF2-40B4-BE49-F238E27FC236}">
                  <a16:creationId xmlns:a16="http://schemas.microsoft.com/office/drawing/2014/main" id="{937659AE-F3C3-411D-AA89-533BD6BC71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83" y="193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1">
              <a:extLst>
                <a:ext uri="{FF2B5EF4-FFF2-40B4-BE49-F238E27FC236}">
                  <a16:creationId xmlns:a16="http://schemas.microsoft.com/office/drawing/2014/main" id="{7160588F-E058-40DF-AA52-BD30AA9DB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5" y="193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2">
              <a:extLst>
                <a:ext uri="{FF2B5EF4-FFF2-40B4-BE49-F238E27FC236}">
                  <a16:creationId xmlns:a16="http://schemas.microsoft.com/office/drawing/2014/main" id="{B19CDCD0-5467-4DF8-A445-127B2AFE45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9" y="2030"/>
              <a:ext cx="270" cy="269"/>
            </a:xfrm>
            <a:custGeom>
              <a:avLst/>
              <a:gdLst>
                <a:gd name="T0" fmla="*/ 199 w 270"/>
                <a:gd name="T1" fmla="*/ 103 h 269"/>
                <a:gd name="T2" fmla="*/ 196 w 270"/>
                <a:gd name="T3" fmla="*/ 105 h 269"/>
                <a:gd name="T4" fmla="*/ 199 w 270"/>
                <a:gd name="T5" fmla="*/ 110 h 269"/>
                <a:gd name="T6" fmla="*/ 204 w 270"/>
                <a:gd name="T7" fmla="*/ 110 h 269"/>
                <a:gd name="T8" fmla="*/ 206 w 270"/>
                <a:gd name="T9" fmla="*/ 107 h 269"/>
                <a:gd name="T10" fmla="*/ 206 w 270"/>
                <a:gd name="T11" fmla="*/ 105 h 269"/>
                <a:gd name="T12" fmla="*/ 204 w 270"/>
                <a:gd name="T13" fmla="*/ 103 h 269"/>
                <a:gd name="T14" fmla="*/ 162 w 270"/>
                <a:gd name="T15" fmla="*/ 80 h 269"/>
                <a:gd name="T16" fmla="*/ 159 w 270"/>
                <a:gd name="T17" fmla="*/ 83 h 269"/>
                <a:gd name="T18" fmla="*/ 162 w 270"/>
                <a:gd name="T19" fmla="*/ 88 h 269"/>
                <a:gd name="T20" fmla="*/ 186 w 270"/>
                <a:gd name="T21" fmla="*/ 103 h 269"/>
                <a:gd name="T22" fmla="*/ 191 w 270"/>
                <a:gd name="T23" fmla="*/ 103 h 269"/>
                <a:gd name="T24" fmla="*/ 194 w 270"/>
                <a:gd name="T25" fmla="*/ 98 h 269"/>
                <a:gd name="T26" fmla="*/ 191 w 270"/>
                <a:gd name="T27" fmla="*/ 95 h 269"/>
                <a:gd name="T28" fmla="*/ 164 w 270"/>
                <a:gd name="T29" fmla="*/ 80 h 269"/>
                <a:gd name="T30" fmla="*/ 218 w 270"/>
                <a:gd name="T31" fmla="*/ 71 h 269"/>
                <a:gd name="T32" fmla="*/ 216 w 270"/>
                <a:gd name="T33" fmla="*/ 73 h 269"/>
                <a:gd name="T34" fmla="*/ 218 w 270"/>
                <a:gd name="T35" fmla="*/ 78 h 269"/>
                <a:gd name="T36" fmla="*/ 221 w 270"/>
                <a:gd name="T37" fmla="*/ 78 h 269"/>
                <a:gd name="T38" fmla="*/ 226 w 270"/>
                <a:gd name="T39" fmla="*/ 76 h 269"/>
                <a:gd name="T40" fmla="*/ 226 w 270"/>
                <a:gd name="T41" fmla="*/ 71 h 269"/>
                <a:gd name="T42" fmla="*/ 223 w 270"/>
                <a:gd name="T43" fmla="*/ 68 h 269"/>
                <a:gd name="T44" fmla="*/ 184 w 270"/>
                <a:gd name="T45" fmla="*/ 49 h 269"/>
                <a:gd name="T46" fmla="*/ 179 w 270"/>
                <a:gd name="T47" fmla="*/ 51 h 269"/>
                <a:gd name="T48" fmla="*/ 179 w 270"/>
                <a:gd name="T49" fmla="*/ 56 h 269"/>
                <a:gd name="T50" fmla="*/ 206 w 270"/>
                <a:gd name="T51" fmla="*/ 71 h 269"/>
                <a:gd name="T52" fmla="*/ 211 w 270"/>
                <a:gd name="T53" fmla="*/ 71 h 269"/>
                <a:gd name="T54" fmla="*/ 211 w 270"/>
                <a:gd name="T55" fmla="*/ 66 h 269"/>
                <a:gd name="T56" fmla="*/ 211 w 270"/>
                <a:gd name="T57" fmla="*/ 63 h 269"/>
                <a:gd name="T58" fmla="*/ 184 w 270"/>
                <a:gd name="T59" fmla="*/ 49 h 269"/>
                <a:gd name="T60" fmla="*/ 98 w 270"/>
                <a:gd name="T61" fmla="*/ 198 h 269"/>
                <a:gd name="T62" fmla="*/ 115 w 270"/>
                <a:gd name="T63" fmla="*/ 210 h 269"/>
                <a:gd name="T64" fmla="*/ 125 w 270"/>
                <a:gd name="T65" fmla="*/ 215 h 269"/>
                <a:gd name="T66" fmla="*/ 142 w 270"/>
                <a:gd name="T67" fmla="*/ 225 h 269"/>
                <a:gd name="T68" fmla="*/ 91 w 270"/>
                <a:gd name="T69" fmla="*/ 198 h 269"/>
                <a:gd name="T70" fmla="*/ 152 w 270"/>
                <a:gd name="T71" fmla="*/ 223 h 269"/>
                <a:gd name="T72" fmla="*/ 147 w 270"/>
                <a:gd name="T73" fmla="*/ 206 h 269"/>
                <a:gd name="T74" fmla="*/ 125 w 270"/>
                <a:gd name="T75" fmla="*/ 206 h 269"/>
                <a:gd name="T76" fmla="*/ 164 w 270"/>
                <a:gd name="T77" fmla="*/ 112 h 269"/>
                <a:gd name="T78" fmla="*/ 95 w 270"/>
                <a:gd name="T79" fmla="*/ 191 h 269"/>
                <a:gd name="T80" fmla="*/ 93 w 270"/>
                <a:gd name="T81" fmla="*/ 186 h 269"/>
                <a:gd name="T82" fmla="*/ 95 w 270"/>
                <a:gd name="T83" fmla="*/ 191 h 269"/>
                <a:gd name="T84" fmla="*/ 216 w 270"/>
                <a:gd name="T85" fmla="*/ 110 h 269"/>
                <a:gd name="T86" fmla="*/ 211 w 270"/>
                <a:gd name="T87" fmla="*/ 110 h 269"/>
                <a:gd name="T88" fmla="*/ 211 w 270"/>
                <a:gd name="T89" fmla="*/ 112 h 269"/>
                <a:gd name="T90" fmla="*/ 211 w 270"/>
                <a:gd name="T91" fmla="*/ 117 h 269"/>
                <a:gd name="T92" fmla="*/ 245 w 270"/>
                <a:gd name="T93" fmla="*/ 71 h 269"/>
                <a:gd name="T94" fmla="*/ 233 w 270"/>
                <a:gd name="T95" fmla="*/ 76 h 269"/>
                <a:gd name="T96" fmla="*/ 231 w 270"/>
                <a:gd name="T97" fmla="*/ 78 h 269"/>
                <a:gd name="T98" fmla="*/ 231 w 270"/>
                <a:gd name="T99" fmla="*/ 83 h 269"/>
                <a:gd name="T100" fmla="*/ 231 w 270"/>
                <a:gd name="T101" fmla="*/ 95 h 269"/>
                <a:gd name="T102" fmla="*/ 199 w 270"/>
                <a:gd name="T103" fmla="*/ 7 h 269"/>
                <a:gd name="T104" fmla="*/ 260 w 270"/>
                <a:gd name="T105" fmla="*/ 44 h 269"/>
                <a:gd name="T106" fmla="*/ 199 w 270"/>
                <a:gd name="T107" fmla="*/ 0 h 269"/>
                <a:gd name="T108" fmla="*/ 189 w 270"/>
                <a:gd name="T109" fmla="*/ 4 h 269"/>
                <a:gd name="T110" fmla="*/ 5 w 270"/>
                <a:gd name="T111" fmla="*/ 262 h 269"/>
                <a:gd name="T112" fmla="*/ 0 w 270"/>
                <a:gd name="T113" fmla="*/ 262 h 269"/>
                <a:gd name="T114" fmla="*/ 0 w 270"/>
                <a:gd name="T115" fmla="*/ 267 h 269"/>
                <a:gd name="T116" fmla="*/ 2 w 270"/>
                <a:gd name="T117" fmla="*/ 269 h 269"/>
                <a:gd name="T118" fmla="*/ 162 w 270"/>
                <a:gd name="T119" fmla="*/ 230 h 269"/>
                <a:gd name="T120" fmla="*/ 270 w 270"/>
                <a:gd name="T121" fmla="*/ 46 h 269"/>
                <a:gd name="T122" fmla="*/ 270 w 270"/>
                <a:gd name="T123" fmla="*/ 36 h 269"/>
                <a:gd name="T124" fmla="*/ 204 w 270"/>
                <a:gd name="T1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0" h="269">
                  <a:moveTo>
                    <a:pt x="201" y="100"/>
                  </a:moveTo>
                  <a:lnTo>
                    <a:pt x="201" y="100"/>
                  </a:lnTo>
                  <a:lnTo>
                    <a:pt x="201" y="103"/>
                  </a:lnTo>
                  <a:lnTo>
                    <a:pt x="199" y="103"/>
                  </a:lnTo>
                  <a:lnTo>
                    <a:pt x="199" y="103"/>
                  </a:lnTo>
                  <a:lnTo>
                    <a:pt x="199" y="103"/>
                  </a:lnTo>
                  <a:lnTo>
                    <a:pt x="199" y="103"/>
                  </a:lnTo>
                  <a:lnTo>
                    <a:pt x="199" y="103"/>
                  </a:lnTo>
                  <a:lnTo>
                    <a:pt x="196" y="103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6" y="107"/>
                  </a:lnTo>
                  <a:lnTo>
                    <a:pt x="196" y="107"/>
                  </a:lnTo>
                  <a:lnTo>
                    <a:pt x="196" y="107"/>
                  </a:lnTo>
                  <a:lnTo>
                    <a:pt x="196" y="107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201" y="110"/>
                  </a:lnTo>
                  <a:lnTo>
                    <a:pt x="201" y="110"/>
                  </a:lnTo>
                  <a:lnTo>
                    <a:pt x="201" y="110"/>
                  </a:lnTo>
                  <a:lnTo>
                    <a:pt x="201" y="110"/>
                  </a:lnTo>
                  <a:lnTo>
                    <a:pt x="201" y="110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6" y="110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6" y="105"/>
                  </a:lnTo>
                  <a:lnTo>
                    <a:pt x="206" y="105"/>
                  </a:lnTo>
                  <a:lnTo>
                    <a:pt x="206" y="105"/>
                  </a:lnTo>
                  <a:lnTo>
                    <a:pt x="206" y="105"/>
                  </a:lnTo>
                  <a:lnTo>
                    <a:pt x="206" y="105"/>
                  </a:lnTo>
                  <a:lnTo>
                    <a:pt x="206" y="103"/>
                  </a:lnTo>
                  <a:lnTo>
                    <a:pt x="206" y="103"/>
                  </a:lnTo>
                  <a:lnTo>
                    <a:pt x="206" y="103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4" y="103"/>
                  </a:lnTo>
                  <a:lnTo>
                    <a:pt x="201" y="103"/>
                  </a:lnTo>
                  <a:lnTo>
                    <a:pt x="201" y="100"/>
                  </a:lnTo>
                  <a:lnTo>
                    <a:pt x="201" y="100"/>
                  </a:lnTo>
                  <a:close/>
                  <a:moveTo>
                    <a:pt x="164" y="80"/>
                  </a:moveTo>
                  <a:lnTo>
                    <a:pt x="164" y="80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83"/>
                  </a:lnTo>
                  <a:lnTo>
                    <a:pt x="162" y="83"/>
                  </a:lnTo>
                  <a:lnTo>
                    <a:pt x="162" y="83"/>
                  </a:lnTo>
                  <a:lnTo>
                    <a:pt x="159" y="83"/>
                  </a:lnTo>
                  <a:lnTo>
                    <a:pt x="159" y="83"/>
                  </a:lnTo>
                  <a:lnTo>
                    <a:pt x="159" y="83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8"/>
                  </a:lnTo>
                  <a:lnTo>
                    <a:pt x="159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9" y="103"/>
                  </a:lnTo>
                  <a:lnTo>
                    <a:pt x="189" y="103"/>
                  </a:lnTo>
                  <a:lnTo>
                    <a:pt x="189" y="103"/>
                  </a:lnTo>
                  <a:lnTo>
                    <a:pt x="189" y="103"/>
                  </a:lnTo>
                  <a:lnTo>
                    <a:pt x="191" y="103"/>
                  </a:lnTo>
                  <a:lnTo>
                    <a:pt x="191" y="103"/>
                  </a:lnTo>
                  <a:lnTo>
                    <a:pt x="191" y="103"/>
                  </a:lnTo>
                  <a:lnTo>
                    <a:pt x="191" y="103"/>
                  </a:lnTo>
                  <a:lnTo>
                    <a:pt x="191" y="100"/>
                  </a:lnTo>
                  <a:lnTo>
                    <a:pt x="191" y="100"/>
                  </a:lnTo>
                  <a:lnTo>
                    <a:pt x="191" y="100"/>
                  </a:lnTo>
                  <a:lnTo>
                    <a:pt x="191" y="100"/>
                  </a:lnTo>
                  <a:lnTo>
                    <a:pt x="191" y="100"/>
                  </a:lnTo>
                  <a:lnTo>
                    <a:pt x="194" y="100"/>
                  </a:lnTo>
                  <a:lnTo>
                    <a:pt x="194" y="98"/>
                  </a:lnTo>
                  <a:lnTo>
                    <a:pt x="194" y="98"/>
                  </a:lnTo>
                  <a:lnTo>
                    <a:pt x="191" y="98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91" y="95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64" y="80"/>
                  </a:lnTo>
                  <a:close/>
                  <a:moveTo>
                    <a:pt x="221" y="68"/>
                  </a:moveTo>
                  <a:lnTo>
                    <a:pt x="221" y="68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71"/>
                  </a:lnTo>
                  <a:lnTo>
                    <a:pt x="218" y="71"/>
                  </a:lnTo>
                  <a:lnTo>
                    <a:pt x="218" y="71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6" y="73"/>
                  </a:lnTo>
                  <a:lnTo>
                    <a:pt x="216" y="73"/>
                  </a:lnTo>
                  <a:lnTo>
                    <a:pt x="216" y="73"/>
                  </a:lnTo>
                  <a:lnTo>
                    <a:pt x="216" y="73"/>
                  </a:lnTo>
                  <a:lnTo>
                    <a:pt x="216" y="76"/>
                  </a:lnTo>
                  <a:lnTo>
                    <a:pt x="216" y="76"/>
                  </a:lnTo>
                  <a:lnTo>
                    <a:pt x="216" y="76"/>
                  </a:lnTo>
                  <a:lnTo>
                    <a:pt x="216" y="76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8" y="78"/>
                  </a:lnTo>
                  <a:lnTo>
                    <a:pt x="218" y="78"/>
                  </a:lnTo>
                  <a:lnTo>
                    <a:pt x="218" y="78"/>
                  </a:lnTo>
                  <a:lnTo>
                    <a:pt x="218" y="78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3" y="78"/>
                  </a:lnTo>
                  <a:lnTo>
                    <a:pt x="223" y="78"/>
                  </a:lnTo>
                  <a:lnTo>
                    <a:pt x="223" y="78"/>
                  </a:lnTo>
                  <a:lnTo>
                    <a:pt x="223" y="76"/>
                  </a:lnTo>
                  <a:lnTo>
                    <a:pt x="223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73"/>
                  </a:lnTo>
                  <a:lnTo>
                    <a:pt x="226" y="71"/>
                  </a:lnTo>
                  <a:lnTo>
                    <a:pt x="226" y="71"/>
                  </a:lnTo>
                  <a:lnTo>
                    <a:pt x="226" y="71"/>
                  </a:lnTo>
                  <a:lnTo>
                    <a:pt x="226" y="71"/>
                  </a:lnTo>
                  <a:lnTo>
                    <a:pt x="223" y="71"/>
                  </a:lnTo>
                  <a:lnTo>
                    <a:pt x="223" y="71"/>
                  </a:lnTo>
                  <a:lnTo>
                    <a:pt x="223" y="71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1" y="68"/>
                  </a:lnTo>
                  <a:lnTo>
                    <a:pt x="221" y="68"/>
                  </a:lnTo>
                  <a:lnTo>
                    <a:pt x="221" y="68"/>
                  </a:lnTo>
                  <a:lnTo>
                    <a:pt x="221" y="68"/>
                  </a:lnTo>
                  <a:close/>
                  <a:moveTo>
                    <a:pt x="184" y="49"/>
                  </a:moveTo>
                  <a:lnTo>
                    <a:pt x="184" y="49"/>
                  </a:lnTo>
                  <a:lnTo>
                    <a:pt x="184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51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9" y="56"/>
                  </a:lnTo>
                  <a:lnTo>
                    <a:pt x="179" y="56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206" y="71"/>
                  </a:lnTo>
                  <a:lnTo>
                    <a:pt x="206" y="71"/>
                  </a:lnTo>
                  <a:lnTo>
                    <a:pt x="206" y="71"/>
                  </a:lnTo>
                  <a:lnTo>
                    <a:pt x="206" y="71"/>
                  </a:lnTo>
                  <a:lnTo>
                    <a:pt x="206" y="71"/>
                  </a:lnTo>
                  <a:lnTo>
                    <a:pt x="206" y="71"/>
                  </a:lnTo>
                  <a:lnTo>
                    <a:pt x="208" y="71"/>
                  </a:lnTo>
                  <a:lnTo>
                    <a:pt x="208" y="71"/>
                  </a:lnTo>
                  <a:lnTo>
                    <a:pt x="208" y="71"/>
                  </a:lnTo>
                  <a:lnTo>
                    <a:pt x="211" y="71"/>
                  </a:lnTo>
                  <a:lnTo>
                    <a:pt x="211" y="71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1" y="63"/>
                  </a:lnTo>
                  <a:lnTo>
                    <a:pt x="211" y="63"/>
                  </a:lnTo>
                  <a:lnTo>
                    <a:pt x="211" y="63"/>
                  </a:lnTo>
                  <a:lnTo>
                    <a:pt x="211" y="63"/>
                  </a:lnTo>
                  <a:lnTo>
                    <a:pt x="211" y="63"/>
                  </a:lnTo>
                  <a:lnTo>
                    <a:pt x="211" y="61"/>
                  </a:lnTo>
                  <a:lnTo>
                    <a:pt x="208" y="61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close/>
                  <a:moveTo>
                    <a:pt x="91" y="247"/>
                  </a:moveTo>
                  <a:lnTo>
                    <a:pt x="100" y="252"/>
                  </a:lnTo>
                  <a:lnTo>
                    <a:pt x="91" y="257"/>
                  </a:lnTo>
                  <a:lnTo>
                    <a:pt x="91" y="247"/>
                  </a:lnTo>
                  <a:close/>
                  <a:moveTo>
                    <a:pt x="95" y="198"/>
                  </a:moveTo>
                  <a:lnTo>
                    <a:pt x="95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10" y="196"/>
                  </a:lnTo>
                  <a:lnTo>
                    <a:pt x="113" y="206"/>
                  </a:lnTo>
                  <a:lnTo>
                    <a:pt x="113" y="206"/>
                  </a:lnTo>
                  <a:lnTo>
                    <a:pt x="113" y="208"/>
                  </a:lnTo>
                  <a:lnTo>
                    <a:pt x="113" y="208"/>
                  </a:lnTo>
                  <a:lnTo>
                    <a:pt x="113" y="210"/>
                  </a:lnTo>
                  <a:lnTo>
                    <a:pt x="115" y="210"/>
                  </a:lnTo>
                  <a:lnTo>
                    <a:pt x="115" y="213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2" y="215"/>
                  </a:lnTo>
                  <a:lnTo>
                    <a:pt x="122" y="215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37" y="213"/>
                  </a:lnTo>
                  <a:lnTo>
                    <a:pt x="140" y="220"/>
                  </a:lnTo>
                  <a:lnTo>
                    <a:pt x="142" y="223"/>
                  </a:lnTo>
                  <a:lnTo>
                    <a:pt x="142" y="223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8"/>
                  </a:lnTo>
                  <a:lnTo>
                    <a:pt x="145" y="228"/>
                  </a:lnTo>
                  <a:lnTo>
                    <a:pt x="145" y="228"/>
                  </a:lnTo>
                  <a:lnTo>
                    <a:pt x="110" y="247"/>
                  </a:lnTo>
                  <a:lnTo>
                    <a:pt x="91" y="237"/>
                  </a:lnTo>
                  <a:lnTo>
                    <a:pt x="91" y="198"/>
                  </a:lnTo>
                  <a:lnTo>
                    <a:pt x="93" y="198"/>
                  </a:lnTo>
                  <a:lnTo>
                    <a:pt x="93" y="198"/>
                  </a:lnTo>
                  <a:lnTo>
                    <a:pt x="95" y="198"/>
                  </a:lnTo>
                  <a:lnTo>
                    <a:pt x="95" y="198"/>
                  </a:lnTo>
                  <a:close/>
                  <a:moveTo>
                    <a:pt x="152" y="223"/>
                  </a:moveTo>
                  <a:lnTo>
                    <a:pt x="152" y="223"/>
                  </a:lnTo>
                  <a:lnTo>
                    <a:pt x="152" y="223"/>
                  </a:lnTo>
                  <a:lnTo>
                    <a:pt x="152" y="223"/>
                  </a:lnTo>
                  <a:lnTo>
                    <a:pt x="152" y="223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49" y="220"/>
                  </a:lnTo>
                  <a:lnTo>
                    <a:pt x="149" y="220"/>
                  </a:lnTo>
                  <a:lnTo>
                    <a:pt x="149" y="220"/>
                  </a:lnTo>
                  <a:lnTo>
                    <a:pt x="149" y="220"/>
                  </a:lnTo>
                  <a:lnTo>
                    <a:pt x="147" y="206"/>
                  </a:lnTo>
                  <a:lnTo>
                    <a:pt x="194" y="130"/>
                  </a:lnTo>
                  <a:lnTo>
                    <a:pt x="206" y="137"/>
                  </a:lnTo>
                  <a:lnTo>
                    <a:pt x="154" y="223"/>
                  </a:lnTo>
                  <a:lnTo>
                    <a:pt x="154" y="223"/>
                  </a:lnTo>
                  <a:lnTo>
                    <a:pt x="154" y="223"/>
                  </a:lnTo>
                  <a:lnTo>
                    <a:pt x="154" y="223"/>
                  </a:lnTo>
                  <a:lnTo>
                    <a:pt x="152" y="223"/>
                  </a:lnTo>
                  <a:close/>
                  <a:moveTo>
                    <a:pt x="125" y="206"/>
                  </a:moveTo>
                  <a:lnTo>
                    <a:pt x="122" y="206"/>
                  </a:lnTo>
                  <a:lnTo>
                    <a:pt x="122" y="206"/>
                  </a:lnTo>
                  <a:lnTo>
                    <a:pt x="122" y="206"/>
                  </a:lnTo>
                  <a:lnTo>
                    <a:pt x="122" y="206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18" y="191"/>
                  </a:lnTo>
                  <a:lnTo>
                    <a:pt x="164" y="112"/>
                  </a:lnTo>
                  <a:lnTo>
                    <a:pt x="184" y="125"/>
                  </a:lnTo>
                  <a:lnTo>
                    <a:pt x="137" y="203"/>
                  </a:lnTo>
                  <a:lnTo>
                    <a:pt x="125" y="206"/>
                  </a:lnTo>
                  <a:lnTo>
                    <a:pt x="125" y="206"/>
                  </a:lnTo>
                  <a:lnTo>
                    <a:pt x="125" y="206"/>
                  </a:lnTo>
                  <a:lnTo>
                    <a:pt x="125" y="206"/>
                  </a:lnTo>
                  <a:close/>
                  <a:moveTo>
                    <a:pt x="95" y="191"/>
                  </a:moveTo>
                  <a:lnTo>
                    <a:pt x="95" y="191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8"/>
                  </a:lnTo>
                  <a:lnTo>
                    <a:pt x="93" y="186"/>
                  </a:lnTo>
                  <a:lnTo>
                    <a:pt x="91" y="186"/>
                  </a:lnTo>
                  <a:lnTo>
                    <a:pt x="142" y="100"/>
                  </a:lnTo>
                  <a:lnTo>
                    <a:pt x="157" y="107"/>
                  </a:lnTo>
                  <a:lnTo>
                    <a:pt x="110" y="186"/>
                  </a:lnTo>
                  <a:lnTo>
                    <a:pt x="95" y="188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1"/>
                  </a:lnTo>
                  <a:close/>
                  <a:moveTo>
                    <a:pt x="147" y="93"/>
                  </a:moveTo>
                  <a:lnTo>
                    <a:pt x="162" y="68"/>
                  </a:lnTo>
                  <a:lnTo>
                    <a:pt x="226" y="103"/>
                  </a:lnTo>
                  <a:lnTo>
                    <a:pt x="221" y="112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6" y="120"/>
                  </a:lnTo>
                  <a:lnTo>
                    <a:pt x="211" y="127"/>
                  </a:lnTo>
                  <a:lnTo>
                    <a:pt x="147" y="93"/>
                  </a:lnTo>
                  <a:close/>
                  <a:moveTo>
                    <a:pt x="167" y="61"/>
                  </a:moveTo>
                  <a:lnTo>
                    <a:pt x="181" y="34"/>
                  </a:lnTo>
                  <a:lnTo>
                    <a:pt x="245" y="71"/>
                  </a:lnTo>
                  <a:lnTo>
                    <a:pt x="240" y="78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1" y="76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28" y="78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28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5"/>
                  </a:lnTo>
                  <a:lnTo>
                    <a:pt x="231" y="85"/>
                  </a:lnTo>
                  <a:lnTo>
                    <a:pt x="235" y="88"/>
                  </a:lnTo>
                  <a:lnTo>
                    <a:pt x="231" y="95"/>
                  </a:lnTo>
                  <a:lnTo>
                    <a:pt x="167" y="61"/>
                  </a:lnTo>
                  <a:close/>
                  <a:moveTo>
                    <a:pt x="186" y="27"/>
                  </a:moveTo>
                  <a:lnTo>
                    <a:pt x="196" y="9"/>
                  </a:lnTo>
                  <a:lnTo>
                    <a:pt x="196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9" y="7"/>
                  </a:lnTo>
                  <a:lnTo>
                    <a:pt x="199" y="7"/>
                  </a:lnTo>
                  <a:lnTo>
                    <a:pt x="201" y="7"/>
                  </a:lnTo>
                  <a:lnTo>
                    <a:pt x="201" y="7"/>
                  </a:lnTo>
                  <a:lnTo>
                    <a:pt x="201" y="9"/>
                  </a:lnTo>
                  <a:lnTo>
                    <a:pt x="260" y="41"/>
                  </a:lnTo>
                  <a:lnTo>
                    <a:pt x="260" y="41"/>
                  </a:lnTo>
                  <a:lnTo>
                    <a:pt x="260" y="41"/>
                  </a:lnTo>
                  <a:lnTo>
                    <a:pt x="260" y="41"/>
                  </a:lnTo>
                  <a:lnTo>
                    <a:pt x="260" y="44"/>
                  </a:lnTo>
                  <a:lnTo>
                    <a:pt x="260" y="44"/>
                  </a:lnTo>
                  <a:lnTo>
                    <a:pt x="260" y="44"/>
                  </a:lnTo>
                  <a:lnTo>
                    <a:pt x="260" y="44"/>
                  </a:lnTo>
                  <a:lnTo>
                    <a:pt x="260" y="46"/>
                  </a:lnTo>
                  <a:lnTo>
                    <a:pt x="250" y="63"/>
                  </a:lnTo>
                  <a:lnTo>
                    <a:pt x="186" y="27"/>
                  </a:lnTo>
                  <a:close/>
                  <a:moveTo>
                    <a:pt x="199" y="0"/>
                  </a:moveTo>
                  <a:lnTo>
                    <a:pt x="199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89" y="2"/>
                  </a:lnTo>
                  <a:lnTo>
                    <a:pt x="189" y="4"/>
                  </a:lnTo>
                  <a:lnTo>
                    <a:pt x="189" y="4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83" y="186"/>
                  </a:lnTo>
                  <a:lnTo>
                    <a:pt x="83" y="262"/>
                  </a:lnTo>
                  <a:lnTo>
                    <a:pt x="5" y="262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5" y="269"/>
                  </a:lnTo>
                  <a:lnTo>
                    <a:pt x="86" y="269"/>
                  </a:lnTo>
                  <a:lnTo>
                    <a:pt x="88" y="269"/>
                  </a:lnTo>
                  <a:lnTo>
                    <a:pt x="88" y="269"/>
                  </a:lnTo>
                  <a:lnTo>
                    <a:pt x="88" y="269"/>
                  </a:lnTo>
                  <a:lnTo>
                    <a:pt x="91" y="269"/>
                  </a:lnTo>
                  <a:lnTo>
                    <a:pt x="162" y="230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4" y="228"/>
                  </a:lnTo>
                  <a:lnTo>
                    <a:pt x="270" y="51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0" y="46"/>
                  </a:lnTo>
                  <a:lnTo>
                    <a:pt x="270" y="46"/>
                  </a:lnTo>
                  <a:lnTo>
                    <a:pt x="270" y="44"/>
                  </a:lnTo>
                  <a:lnTo>
                    <a:pt x="270" y="44"/>
                  </a:lnTo>
                  <a:lnTo>
                    <a:pt x="270" y="41"/>
                  </a:lnTo>
                  <a:lnTo>
                    <a:pt x="270" y="41"/>
                  </a:lnTo>
                  <a:lnTo>
                    <a:pt x="270" y="39"/>
                  </a:lnTo>
                  <a:lnTo>
                    <a:pt x="270" y="39"/>
                  </a:lnTo>
                  <a:lnTo>
                    <a:pt x="270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4"/>
                  </a:lnTo>
                  <a:lnTo>
                    <a:pt x="265" y="34"/>
                  </a:lnTo>
                  <a:lnTo>
                    <a:pt x="265" y="31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7" name="Group 145">
            <a:extLst>
              <a:ext uri="{FF2B5EF4-FFF2-40B4-BE49-F238E27FC236}">
                <a16:creationId xmlns:a16="http://schemas.microsoft.com/office/drawing/2014/main" id="{F825BFDF-1AFD-4BB3-871F-66BD7364D9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9537" y="2820196"/>
            <a:ext cx="841375" cy="841375"/>
            <a:chOff x="3032" y="1835"/>
            <a:chExt cx="530" cy="530"/>
          </a:xfrm>
        </p:grpSpPr>
        <p:sp>
          <p:nvSpPr>
            <p:cNvPr id="168" name="AutoShape 144">
              <a:extLst>
                <a:ext uri="{FF2B5EF4-FFF2-40B4-BE49-F238E27FC236}">
                  <a16:creationId xmlns:a16="http://schemas.microsoft.com/office/drawing/2014/main" id="{E4C55F90-338D-4980-B883-78825CABBA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2" y="183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146">
              <a:extLst>
                <a:ext uri="{FF2B5EF4-FFF2-40B4-BE49-F238E27FC236}">
                  <a16:creationId xmlns:a16="http://schemas.microsoft.com/office/drawing/2014/main" id="{D19E6B0D-B5DA-4F5A-BB32-EDF355EC3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" y="183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7">
              <a:extLst>
                <a:ext uri="{FF2B5EF4-FFF2-40B4-BE49-F238E27FC236}">
                  <a16:creationId xmlns:a16="http://schemas.microsoft.com/office/drawing/2014/main" id="{65ED4A20-0B3F-4A46-8D7B-7C2123D7DB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0" y="185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8">
              <a:extLst>
                <a:ext uri="{FF2B5EF4-FFF2-40B4-BE49-F238E27FC236}">
                  <a16:creationId xmlns:a16="http://schemas.microsoft.com/office/drawing/2014/main" id="{282E9ED5-F1CE-478B-9B0F-31CCC05DF9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7" y="1950"/>
              <a:ext cx="282" cy="282"/>
            </a:xfrm>
            <a:custGeom>
              <a:avLst/>
              <a:gdLst>
                <a:gd name="T0" fmla="*/ 208 w 282"/>
                <a:gd name="T1" fmla="*/ 108 h 282"/>
                <a:gd name="T2" fmla="*/ 205 w 282"/>
                <a:gd name="T3" fmla="*/ 110 h 282"/>
                <a:gd name="T4" fmla="*/ 208 w 282"/>
                <a:gd name="T5" fmla="*/ 115 h 282"/>
                <a:gd name="T6" fmla="*/ 213 w 282"/>
                <a:gd name="T7" fmla="*/ 115 h 282"/>
                <a:gd name="T8" fmla="*/ 215 w 282"/>
                <a:gd name="T9" fmla="*/ 113 h 282"/>
                <a:gd name="T10" fmla="*/ 215 w 282"/>
                <a:gd name="T11" fmla="*/ 110 h 282"/>
                <a:gd name="T12" fmla="*/ 213 w 282"/>
                <a:gd name="T13" fmla="*/ 108 h 282"/>
                <a:gd name="T14" fmla="*/ 169 w 282"/>
                <a:gd name="T15" fmla="*/ 85 h 282"/>
                <a:gd name="T16" fmla="*/ 167 w 282"/>
                <a:gd name="T17" fmla="*/ 87 h 282"/>
                <a:gd name="T18" fmla="*/ 169 w 282"/>
                <a:gd name="T19" fmla="*/ 92 h 282"/>
                <a:gd name="T20" fmla="*/ 195 w 282"/>
                <a:gd name="T21" fmla="*/ 108 h 282"/>
                <a:gd name="T22" fmla="*/ 200 w 282"/>
                <a:gd name="T23" fmla="*/ 108 h 282"/>
                <a:gd name="T24" fmla="*/ 203 w 282"/>
                <a:gd name="T25" fmla="*/ 103 h 282"/>
                <a:gd name="T26" fmla="*/ 200 w 282"/>
                <a:gd name="T27" fmla="*/ 100 h 282"/>
                <a:gd name="T28" fmla="*/ 172 w 282"/>
                <a:gd name="T29" fmla="*/ 85 h 282"/>
                <a:gd name="T30" fmla="*/ 228 w 282"/>
                <a:gd name="T31" fmla="*/ 74 h 282"/>
                <a:gd name="T32" fmla="*/ 226 w 282"/>
                <a:gd name="T33" fmla="*/ 77 h 282"/>
                <a:gd name="T34" fmla="*/ 228 w 282"/>
                <a:gd name="T35" fmla="*/ 82 h 282"/>
                <a:gd name="T36" fmla="*/ 231 w 282"/>
                <a:gd name="T37" fmla="*/ 82 h 282"/>
                <a:gd name="T38" fmla="*/ 236 w 282"/>
                <a:gd name="T39" fmla="*/ 79 h 282"/>
                <a:gd name="T40" fmla="*/ 236 w 282"/>
                <a:gd name="T41" fmla="*/ 74 h 282"/>
                <a:gd name="T42" fmla="*/ 233 w 282"/>
                <a:gd name="T43" fmla="*/ 72 h 282"/>
                <a:gd name="T44" fmla="*/ 192 w 282"/>
                <a:gd name="T45" fmla="*/ 51 h 282"/>
                <a:gd name="T46" fmla="*/ 187 w 282"/>
                <a:gd name="T47" fmla="*/ 54 h 282"/>
                <a:gd name="T48" fmla="*/ 187 w 282"/>
                <a:gd name="T49" fmla="*/ 59 h 282"/>
                <a:gd name="T50" fmla="*/ 215 w 282"/>
                <a:gd name="T51" fmla="*/ 74 h 282"/>
                <a:gd name="T52" fmla="*/ 221 w 282"/>
                <a:gd name="T53" fmla="*/ 74 h 282"/>
                <a:gd name="T54" fmla="*/ 221 w 282"/>
                <a:gd name="T55" fmla="*/ 69 h 282"/>
                <a:gd name="T56" fmla="*/ 221 w 282"/>
                <a:gd name="T57" fmla="*/ 67 h 282"/>
                <a:gd name="T58" fmla="*/ 192 w 282"/>
                <a:gd name="T59" fmla="*/ 51 h 282"/>
                <a:gd name="T60" fmla="*/ 103 w 282"/>
                <a:gd name="T61" fmla="*/ 208 h 282"/>
                <a:gd name="T62" fmla="*/ 121 w 282"/>
                <a:gd name="T63" fmla="*/ 220 h 282"/>
                <a:gd name="T64" fmla="*/ 131 w 282"/>
                <a:gd name="T65" fmla="*/ 225 h 282"/>
                <a:gd name="T66" fmla="*/ 149 w 282"/>
                <a:gd name="T67" fmla="*/ 236 h 282"/>
                <a:gd name="T68" fmla="*/ 95 w 282"/>
                <a:gd name="T69" fmla="*/ 208 h 282"/>
                <a:gd name="T70" fmla="*/ 159 w 282"/>
                <a:gd name="T71" fmla="*/ 233 h 282"/>
                <a:gd name="T72" fmla="*/ 154 w 282"/>
                <a:gd name="T73" fmla="*/ 215 h 282"/>
                <a:gd name="T74" fmla="*/ 131 w 282"/>
                <a:gd name="T75" fmla="*/ 215 h 282"/>
                <a:gd name="T76" fmla="*/ 172 w 282"/>
                <a:gd name="T77" fmla="*/ 118 h 282"/>
                <a:gd name="T78" fmla="*/ 100 w 282"/>
                <a:gd name="T79" fmla="*/ 200 h 282"/>
                <a:gd name="T80" fmla="*/ 98 w 282"/>
                <a:gd name="T81" fmla="*/ 195 h 282"/>
                <a:gd name="T82" fmla="*/ 100 w 282"/>
                <a:gd name="T83" fmla="*/ 200 h 282"/>
                <a:gd name="T84" fmla="*/ 226 w 282"/>
                <a:gd name="T85" fmla="*/ 115 h 282"/>
                <a:gd name="T86" fmla="*/ 221 w 282"/>
                <a:gd name="T87" fmla="*/ 115 h 282"/>
                <a:gd name="T88" fmla="*/ 221 w 282"/>
                <a:gd name="T89" fmla="*/ 118 h 282"/>
                <a:gd name="T90" fmla="*/ 221 w 282"/>
                <a:gd name="T91" fmla="*/ 123 h 282"/>
                <a:gd name="T92" fmla="*/ 256 w 282"/>
                <a:gd name="T93" fmla="*/ 74 h 282"/>
                <a:gd name="T94" fmla="*/ 244 w 282"/>
                <a:gd name="T95" fmla="*/ 79 h 282"/>
                <a:gd name="T96" fmla="*/ 241 w 282"/>
                <a:gd name="T97" fmla="*/ 82 h 282"/>
                <a:gd name="T98" fmla="*/ 241 w 282"/>
                <a:gd name="T99" fmla="*/ 87 h 282"/>
                <a:gd name="T100" fmla="*/ 241 w 282"/>
                <a:gd name="T101" fmla="*/ 100 h 282"/>
                <a:gd name="T102" fmla="*/ 208 w 282"/>
                <a:gd name="T103" fmla="*/ 8 h 282"/>
                <a:gd name="T104" fmla="*/ 272 w 282"/>
                <a:gd name="T105" fmla="*/ 46 h 282"/>
                <a:gd name="T106" fmla="*/ 208 w 282"/>
                <a:gd name="T107" fmla="*/ 0 h 282"/>
                <a:gd name="T108" fmla="*/ 198 w 282"/>
                <a:gd name="T109" fmla="*/ 5 h 282"/>
                <a:gd name="T110" fmla="*/ 5 w 282"/>
                <a:gd name="T111" fmla="*/ 274 h 282"/>
                <a:gd name="T112" fmla="*/ 0 w 282"/>
                <a:gd name="T113" fmla="*/ 274 h 282"/>
                <a:gd name="T114" fmla="*/ 0 w 282"/>
                <a:gd name="T115" fmla="*/ 279 h 282"/>
                <a:gd name="T116" fmla="*/ 3 w 282"/>
                <a:gd name="T117" fmla="*/ 282 h 282"/>
                <a:gd name="T118" fmla="*/ 169 w 282"/>
                <a:gd name="T119" fmla="*/ 241 h 282"/>
                <a:gd name="T120" fmla="*/ 282 w 282"/>
                <a:gd name="T121" fmla="*/ 49 h 282"/>
                <a:gd name="T122" fmla="*/ 282 w 282"/>
                <a:gd name="T123" fmla="*/ 39 h 282"/>
                <a:gd name="T124" fmla="*/ 213 w 282"/>
                <a:gd name="T12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2" h="282">
                  <a:moveTo>
                    <a:pt x="210" y="105"/>
                  </a:moveTo>
                  <a:lnTo>
                    <a:pt x="210" y="105"/>
                  </a:lnTo>
                  <a:lnTo>
                    <a:pt x="210" y="108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3"/>
                  </a:lnTo>
                  <a:lnTo>
                    <a:pt x="205" y="113"/>
                  </a:lnTo>
                  <a:lnTo>
                    <a:pt x="205" y="113"/>
                  </a:lnTo>
                  <a:lnTo>
                    <a:pt x="205" y="113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10" y="115"/>
                  </a:lnTo>
                  <a:lnTo>
                    <a:pt x="210" y="115"/>
                  </a:lnTo>
                  <a:lnTo>
                    <a:pt x="210" y="115"/>
                  </a:lnTo>
                  <a:lnTo>
                    <a:pt x="210" y="115"/>
                  </a:lnTo>
                  <a:lnTo>
                    <a:pt x="210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15" y="113"/>
                  </a:lnTo>
                  <a:lnTo>
                    <a:pt x="215" y="110"/>
                  </a:lnTo>
                  <a:lnTo>
                    <a:pt x="215" y="110"/>
                  </a:lnTo>
                  <a:lnTo>
                    <a:pt x="215" y="110"/>
                  </a:lnTo>
                  <a:lnTo>
                    <a:pt x="215" y="110"/>
                  </a:lnTo>
                  <a:lnTo>
                    <a:pt x="215" y="110"/>
                  </a:lnTo>
                  <a:lnTo>
                    <a:pt x="215" y="108"/>
                  </a:lnTo>
                  <a:lnTo>
                    <a:pt x="215" y="108"/>
                  </a:lnTo>
                  <a:lnTo>
                    <a:pt x="215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0" y="108"/>
                  </a:lnTo>
                  <a:lnTo>
                    <a:pt x="210" y="105"/>
                  </a:lnTo>
                  <a:lnTo>
                    <a:pt x="210" y="105"/>
                  </a:lnTo>
                  <a:close/>
                  <a:moveTo>
                    <a:pt x="172" y="85"/>
                  </a:moveTo>
                  <a:lnTo>
                    <a:pt x="172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7"/>
                  </a:lnTo>
                  <a:lnTo>
                    <a:pt x="169" y="87"/>
                  </a:lnTo>
                  <a:lnTo>
                    <a:pt x="169" y="87"/>
                  </a:lnTo>
                  <a:lnTo>
                    <a:pt x="167" y="87"/>
                  </a:lnTo>
                  <a:lnTo>
                    <a:pt x="167" y="87"/>
                  </a:lnTo>
                  <a:lnTo>
                    <a:pt x="167" y="87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2"/>
                  </a:lnTo>
                  <a:lnTo>
                    <a:pt x="167" y="92"/>
                  </a:lnTo>
                  <a:lnTo>
                    <a:pt x="169" y="92"/>
                  </a:lnTo>
                  <a:lnTo>
                    <a:pt x="169" y="92"/>
                  </a:lnTo>
                  <a:lnTo>
                    <a:pt x="169" y="92"/>
                  </a:lnTo>
                  <a:lnTo>
                    <a:pt x="169" y="95"/>
                  </a:lnTo>
                  <a:lnTo>
                    <a:pt x="169" y="95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3" y="105"/>
                  </a:lnTo>
                  <a:lnTo>
                    <a:pt x="203" y="103"/>
                  </a:lnTo>
                  <a:lnTo>
                    <a:pt x="203" y="103"/>
                  </a:lnTo>
                  <a:lnTo>
                    <a:pt x="200" y="103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2" y="85"/>
                  </a:lnTo>
                  <a:lnTo>
                    <a:pt x="172" y="85"/>
                  </a:lnTo>
                  <a:lnTo>
                    <a:pt x="172" y="85"/>
                  </a:lnTo>
                  <a:close/>
                  <a:moveTo>
                    <a:pt x="231" y="72"/>
                  </a:moveTo>
                  <a:lnTo>
                    <a:pt x="231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4"/>
                  </a:lnTo>
                  <a:lnTo>
                    <a:pt x="228" y="74"/>
                  </a:lnTo>
                  <a:lnTo>
                    <a:pt x="228" y="74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6" y="77"/>
                  </a:lnTo>
                  <a:lnTo>
                    <a:pt x="226" y="77"/>
                  </a:lnTo>
                  <a:lnTo>
                    <a:pt x="226" y="77"/>
                  </a:lnTo>
                  <a:lnTo>
                    <a:pt x="226" y="77"/>
                  </a:lnTo>
                  <a:lnTo>
                    <a:pt x="226" y="79"/>
                  </a:lnTo>
                  <a:lnTo>
                    <a:pt x="226" y="79"/>
                  </a:lnTo>
                  <a:lnTo>
                    <a:pt x="226" y="79"/>
                  </a:lnTo>
                  <a:lnTo>
                    <a:pt x="226" y="79"/>
                  </a:lnTo>
                  <a:lnTo>
                    <a:pt x="228" y="79"/>
                  </a:lnTo>
                  <a:lnTo>
                    <a:pt x="228" y="79"/>
                  </a:lnTo>
                  <a:lnTo>
                    <a:pt x="228" y="82"/>
                  </a:lnTo>
                  <a:lnTo>
                    <a:pt x="228" y="82"/>
                  </a:lnTo>
                  <a:lnTo>
                    <a:pt x="228" y="82"/>
                  </a:lnTo>
                  <a:lnTo>
                    <a:pt x="228" y="82"/>
                  </a:lnTo>
                  <a:lnTo>
                    <a:pt x="231" y="82"/>
                  </a:lnTo>
                  <a:lnTo>
                    <a:pt x="231" y="82"/>
                  </a:lnTo>
                  <a:lnTo>
                    <a:pt x="231" y="82"/>
                  </a:lnTo>
                  <a:lnTo>
                    <a:pt x="231" y="82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3" y="82"/>
                  </a:lnTo>
                  <a:lnTo>
                    <a:pt x="233" y="82"/>
                  </a:lnTo>
                  <a:lnTo>
                    <a:pt x="233" y="79"/>
                  </a:lnTo>
                  <a:lnTo>
                    <a:pt x="233" y="79"/>
                  </a:lnTo>
                  <a:lnTo>
                    <a:pt x="236" y="79"/>
                  </a:lnTo>
                  <a:lnTo>
                    <a:pt x="236" y="79"/>
                  </a:lnTo>
                  <a:lnTo>
                    <a:pt x="236" y="79"/>
                  </a:lnTo>
                  <a:lnTo>
                    <a:pt x="236" y="79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2"/>
                  </a:lnTo>
                  <a:lnTo>
                    <a:pt x="233" y="72"/>
                  </a:lnTo>
                  <a:lnTo>
                    <a:pt x="233" y="72"/>
                  </a:lnTo>
                  <a:lnTo>
                    <a:pt x="231" y="72"/>
                  </a:lnTo>
                  <a:lnTo>
                    <a:pt x="231" y="72"/>
                  </a:lnTo>
                  <a:lnTo>
                    <a:pt x="231" y="72"/>
                  </a:lnTo>
                  <a:lnTo>
                    <a:pt x="231" y="72"/>
                  </a:lnTo>
                  <a:close/>
                  <a:moveTo>
                    <a:pt x="192" y="51"/>
                  </a:moveTo>
                  <a:lnTo>
                    <a:pt x="192" y="51"/>
                  </a:lnTo>
                  <a:lnTo>
                    <a:pt x="192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90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9"/>
                  </a:lnTo>
                  <a:lnTo>
                    <a:pt x="187" y="59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21" y="74"/>
                  </a:lnTo>
                  <a:lnTo>
                    <a:pt x="221" y="74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1" y="72"/>
                  </a:lnTo>
                  <a:lnTo>
                    <a:pt x="221" y="69"/>
                  </a:lnTo>
                  <a:lnTo>
                    <a:pt x="221" y="69"/>
                  </a:lnTo>
                  <a:lnTo>
                    <a:pt x="221" y="69"/>
                  </a:lnTo>
                  <a:lnTo>
                    <a:pt x="221" y="69"/>
                  </a:lnTo>
                  <a:lnTo>
                    <a:pt x="221" y="69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4"/>
                  </a:lnTo>
                  <a:lnTo>
                    <a:pt x="218" y="64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2" y="51"/>
                  </a:lnTo>
                  <a:close/>
                  <a:moveTo>
                    <a:pt x="95" y="259"/>
                  </a:moveTo>
                  <a:lnTo>
                    <a:pt x="105" y="264"/>
                  </a:lnTo>
                  <a:lnTo>
                    <a:pt x="95" y="269"/>
                  </a:lnTo>
                  <a:lnTo>
                    <a:pt x="95" y="259"/>
                  </a:lnTo>
                  <a:close/>
                  <a:moveTo>
                    <a:pt x="100" y="208"/>
                  </a:moveTo>
                  <a:lnTo>
                    <a:pt x="100" y="208"/>
                  </a:lnTo>
                  <a:lnTo>
                    <a:pt x="103" y="208"/>
                  </a:lnTo>
                  <a:lnTo>
                    <a:pt x="103" y="208"/>
                  </a:lnTo>
                  <a:lnTo>
                    <a:pt x="105" y="208"/>
                  </a:lnTo>
                  <a:lnTo>
                    <a:pt x="116" y="205"/>
                  </a:lnTo>
                  <a:lnTo>
                    <a:pt x="118" y="215"/>
                  </a:lnTo>
                  <a:lnTo>
                    <a:pt x="118" y="215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20"/>
                  </a:lnTo>
                  <a:lnTo>
                    <a:pt x="121" y="220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3" y="223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31" y="225"/>
                  </a:lnTo>
                  <a:lnTo>
                    <a:pt x="131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44" y="223"/>
                  </a:lnTo>
                  <a:lnTo>
                    <a:pt x="146" y="231"/>
                  </a:lnTo>
                  <a:lnTo>
                    <a:pt x="149" y="233"/>
                  </a:lnTo>
                  <a:lnTo>
                    <a:pt x="149" y="233"/>
                  </a:lnTo>
                  <a:lnTo>
                    <a:pt x="149" y="236"/>
                  </a:lnTo>
                  <a:lnTo>
                    <a:pt x="149" y="236"/>
                  </a:lnTo>
                  <a:lnTo>
                    <a:pt x="149" y="236"/>
                  </a:lnTo>
                  <a:lnTo>
                    <a:pt x="149" y="238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16" y="259"/>
                  </a:lnTo>
                  <a:lnTo>
                    <a:pt x="95" y="248"/>
                  </a:lnTo>
                  <a:lnTo>
                    <a:pt x="95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100" y="208"/>
                  </a:lnTo>
                  <a:lnTo>
                    <a:pt x="100" y="208"/>
                  </a:lnTo>
                  <a:close/>
                  <a:moveTo>
                    <a:pt x="159" y="233"/>
                  </a:moveTo>
                  <a:lnTo>
                    <a:pt x="159" y="233"/>
                  </a:lnTo>
                  <a:lnTo>
                    <a:pt x="159" y="233"/>
                  </a:lnTo>
                  <a:lnTo>
                    <a:pt x="159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4" y="215"/>
                  </a:lnTo>
                  <a:lnTo>
                    <a:pt x="203" y="136"/>
                  </a:lnTo>
                  <a:lnTo>
                    <a:pt x="215" y="14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59" y="233"/>
                  </a:lnTo>
                  <a:close/>
                  <a:moveTo>
                    <a:pt x="131" y="215"/>
                  </a:moveTo>
                  <a:lnTo>
                    <a:pt x="128" y="215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3" y="200"/>
                  </a:lnTo>
                  <a:lnTo>
                    <a:pt x="172" y="118"/>
                  </a:lnTo>
                  <a:lnTo>
                    <a:pt x="192" y="131"/>
                  </a:lnTo>
                  <a:lnTo>
                    <a:pt x="144" y="213"/>
                  </a:lnTo>
                  <a:lnTo>
                    <a:pt x="131" y="215"/>
                  </a:lnTo>
                  <a:lnTo>
                    <a:pt x="131" y="215"/>
                  </a:lnTo>
                  <a:lnTo>
                    <a:pt x="131" y="215"/>
                  </a:lnTo>
                  <a:lnTo>
                    <a:pt x="131" y="215"/>
                  </a:lnTo>
                  <a:close/>
                  <a:moveTo>
                    <a:pt x="100" y="200"/>
                  </a:moveTo>
                  <a:lnTo>
                    <a:pt x="100" y="200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5"/>
                  </a:lnTo>
                  <a:lnTo>
                    <a:pt x="95" y="195"/>
                  </a:lnTo>
                  <a:lnTo>
                    <a:pt x="149" y="105"/>
                  </a:lnTo>
                  <a:lnTo>
                    <a:pt x="164" y="113"/>
                  </a:lnTo>
                  <a:lnTo>
                    <a:pt x="116" y="195"/>
                  </a:lnTo>
                  <a:lnTo>
                    <a:pt x="100" y="197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00" y="200"/>
                  </a:lnTo>
                  <a:close/>
                  <a:moveTo>
                    <a:pt x="154" y="97"/>
                  </a:moveTo>
                  <a:lnTo>
                    <a:pt x="169" y="72"/>
                  </a:lnTo>
                  <a:lnTo>
                    <a:pt x="236" y="108"/>
                  </a:lnTo>
                  <a:lnTo>
                    <a:pt x="231" y="118"/>
                  </a:lnTo>
                  <a:lnTo>
                    <a:pt x="226" y="115"/>
                  </a:lnTo>
                  <a:lnTo>
                    <a:pt x="226" y="115"/>
                  </a:lnTo>
                  <a:lnTo>
                    <a:pt x="226" y="115"/>
                  </a:lnTo>
                  <a:lnTo>
                    <a:pt x="226" y="115"/>
                  </a:lnTo>
                  <a:lnTo>
                    <a:pt x="226" y="115"/>
                  </a:lnTo>
                  <a:lnTo>
                    <a:pt x="223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8"/>
                  </a:lnTo>
                  <a:lnTo>
                    <a:pt x="221" y="118"/>
                  </a:lnTo>
                  <a:lnTo>
                    <a:pt x="221" y="118"/>
                  </a:lnTo>
                  <a:lnTo>
                    <a:pt x="221" y="118"/>
                  </a:lnTo>
                  <a:lnTo>
                    <a:pt x="221" y="118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3"/>
                  </a:lnTo>
                  <a:lnTo>
                    <a:pt x="221" y="123"/>
                  </a:lnTo>
                  <a:lnTo>
                    <a:pt x="221" y="123"/>
                  </a:lnTo>
                  <a:lnTo>
                    <a:pt x="221" y="123"/>
                  </a:lnTo>
                  <a:lnTo>
                    <a:pt x="226" y="126"/>
                  </a:lnTo>
                  <a:lnTo>
                    <a:pt x="221" y="133"/>
                  </a:lnTo>
                  <a:lnTo>
                    <a:pt x="154" y="97"/>
                  </a:lnTo>
                  <a:close/>
                  <a:moveTo>
                    <a:pt x="174" y="64"/>
                  </a:moveTo>
                  <a:lnTo>
                    <a:pt x="190" y="36"/>
                  </a:lnTo>
                  <a:lnTo>
                    <a:pt x="256" y="74"/>
                  </a:lnTo>
                  <a:lnTo>
                    <a:pt x="251" y="82"/>
                  </a:lnTo>
                  <a:lnTo>
                    <a:pt x="246" y="79"/>
                  </a:lnTo>
                  <a:lnTo>
                    <a:pt x="246" y="79"/>
                  </a:lnTo>
                  <a:lnTo>
                    <a:pt x="246" y="79"/>
                  </a:lnTo>
                  <a:lnTo>
                    <a:pt x="246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4" y="79"/>
                  </a:lnTo>
                  <a:lnTo>
                    <a:pt x="244" y="79"/>
                  </a:lnTo>
                  <a:lnTo>
                    <a:pt x="244" y="79"/>
                  </a:lnTo>
                  <a:lnTo>
                    <a:pt x="241" y="79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38" y="82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7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87"/>
                  </a:lnTo>
                  <a:lnTo>
                    <a:pt x="241" y="90"/>
                  </a:lnTo>
                  <a:lnTo>
                    <a:pt x="241" y="90"/>
                  </a:lnTo>
                  <a:lnTo>
                    <a:pt x="246" y="92"/>
                  </a:lnTo>
                  <a:lnTo>
                    <a:pt x="241" y="100"/>
                  </a:lnTo>
                  <a:lnTo>
                    <a:pt x="174" y="64"/>
                  </a:lnTo>
                  <a:close/>
                  <a:moveTo>
                    <a:pt x="195" y="28"/>
                  </a:moveTo>
                  <a:lnTo>
                    <a:pt x="205" y="10"/>
                  </a:lnTo>
                  <a:lnTo>
                    <a:pt x="205" y="10"/>
                  </a:lnTo>
                  <a:lnTo>
                    <a:pt x="208" y="10"/>
                  </a:lnTo>
                  <a:lnTo>
                    <a:pt x="208" y="10"/>
                  </a:lnTo>
                  <a:lnTo>
                    <a:pt x="208" y="8"/>
                  </a:lnTo>
                  <a:lnTo>
                    <a:pt x="208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10"/>
                  </a:lnTo>
                  <a:lnTo>
                    <a:pt x="272" y="44"/>
                  </a:lnTo>
                  <a:lnTo>
                    <a:pt x="272" y="44"/>
                  </a:lnTo>
                  <a:lnTo>
                    <a:pt x="272" y="44"/>
                  </a:lnTo>
                  <a:lnTo>
                    <a:pt x="272" y="44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9"/>
                  </a:lnTo>
                  <a:lnTo>
                    <a:pt x="262" y="67"/>
                  </a:lnTo>
                  <a:lnTo>
                    <a:pt x="195" y="28"/>
                  </a:lnTo>
                  <a:close/>
                  <a:moveTo>
                    <a:pt x="208" y="0"/>
                  </a:moveTo>
                  <a:lnTo>
                    <a:pt x="208" y="0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00" y="3"/>
                  </a:lnTo>
                  <a:lnTo>
                    <a:pt x="200" y="3"/>
                  </a:lnTo>
                  <a:lnTo>
                    <a:pt x="198" y="3"/>
                  </a:lnTo>
                  <a:lnTo>
                    <a:pt x="198" y="5"/>
                  </a:lnTo>
                  <a:lnTo>
                    <a:pt x="198" y="5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5"/>
                  </a:lnTo>
                  <a:lnTo>
                    <a:pt x="87" y="274"/>
                  </a:lnTo>
                  <a:lnTo>
                    <a:pt x="5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9"/>
                  </a:lnTo>
                  <a:lnTo>
                    <a:pt x="0" y="279"/>
                  </a:lnTo>
                  <a:lnTo>
                    <a:pt x="0" y="279"/>
                  </a:lnTo>
                  <a:lnTo>
                    <a:pt x="0" y="279"/>
                  </a:lnTo>
                  <a:lnTo>
                    <a:pt x="0" y="282"/>
                  </a:lnTo>
                  <a:lnTo>
                    <a:pt x="0" y="282"/>
                  </a:lnTo>
                  <a:lnTo>
                    <a:pt x="0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5" y="282"/>
                  </a:lnTo>
                  <a:lnTo>
                    <a:pt x="90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5" y="282"/>
                  </a:lnTo>
                  <a:lnTo>
                    <a:pt x="169" y="241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72" y="238"/>
                  </a:lnTo>
                  <a:lnTo>
                    <a:pt x="282" y="54"/>
                  </a:lnTo>
                  <a:lnTo>
                    <a:pt x="282" y="51"/>
                  </a:lnTo>
                  <a:lnTo>
                    <a:pt x="282" y="51"/>
                  </a:lnTo>
                  <a:lnTo>
                    <a:pt x="282" y="49"/>
                  </a:lnTo>
                  <a:lnTo>
                    <a:pt x="282" y="49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82" y="41"/>
                  </a:lnTo>
                  <a:lnTo>
                    <a:pt x="282" y="41"/>
                  </a:lnTo>
                  <a:lnTo>
                    <a:pt x="282" y="39"/>
                  </a:lnTo>
                  <a:lnTo>
                    <a:pt x="279" y="39"/>
                  </a:lnTo>
                  <a:lnTo>
                    <a:pt x="279" y="39"/>
                  </a:lnTo>
                  <a:lnTo>
                    <a:pt x="279" y="36"/>
                  </a:lnTo>
                  <a:lnTo>
                    <a:pt x="277" y="36"/>
                  </a:lnTo>
                  <a:lnTo>
                    <a:pt x="277" y="33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6" name="Group 151">
            <a:extLst>
              <a:ext uri="{FF2B5EF4-FFF2-40B4-BE49-F238E27FC236}">
                <a16:creationId xmlns:a16="http://schemas.microsoft.com/office/drawing/2014/main" id="{898E7074-D0A8-4200-BA38-E6C6A5514C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5897" y="2861471"/>
            <a:ext cx="760412" cy="758825"/>
            <a:chOff x="5191" y="1958"/>
            <a:chExt cx="479" cy="478"/>
          </a:xfrm>
        </p:grpSpPr>
        <p:sp>
          <p:nvSpPr>
            <p:cNvPr id="177" name="AutoShape 150">
              <a:extLst>
                <a:ext uri="{FF2B5EF4-FFF2-40B4-BE49-F238E27FC236}">
                  <a16:creationId xmlns:a16="http://schemas.microsoft.com/office/drawing/2014/main" id="{77726E55-1426-4042-B531-90DD1821DE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91" y="195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52">
              <a:extLst>
                <a:ext uri="{FF2B5EF4-FFF2-40B4-BE49-F238E27FC236}">
                  <a16:creationId xmlns:a16="http://schemas.microsoft.com/office/drawing/2014/main" id="{C9BCF00D-3635-4045-ADC7-35EDA3C2CE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3" y="196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3">
              <a:extLst>
                <a:ext uri="{FF2B5EF4-FFF2-40B4-BE49-F238E27FC236}">
                  <a16:creationId xmlns:a16="http://schemas.microsoft.com/office/drawing/2014/main" id="{9685DB33-04F7-440E-A971-8C13DE900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" y="2061"/>
              <a:ext cx="241" cy="255"/>
            </a:xfrm>
            <a:custGeom>
              <a:avLst/>
              <a:gdLst>
                <a:gd name="T0" fmla="*/ 241 w 241"/>
                <a:gd name="T1" fmla="*/ 167 h 255"/>
                <a:gd name="T2" fmla="*/ 221 w 241"/>
                <a:gd name="T3" fmla="*/ 47 h 255"/>
                <a:gd name="T4" fmla="*/ 209 w 241"/>
                <a:gd name="T5" fmla="*/ 22 h 255"/>
                <a:gd name="T6" fmla="*/ 175 w 241"/>
                <a:gd name="T7" fmla="*/ 2 h 255"/>
                <a:gd name="T8" fmla="*/ 148 w 241"/>
                <a:gd name="T9" fmla="*/ 2 h 255"/>
                <a:gd name="T10" fmla="*/ 72 w 241"/>
                <a:gd name="T11" fmla="*/ 127 h 255"/>
                <a:gd name="T12" fmla="*/ 0 w 241"/>
                <a:gd name="T13" fmla="*/ 167 h 255"/>
                <a:gd name="T14" fmla="*/ 153 w 241"/>
                <a:gd name="T15" fmla="*/ 12 h 255"/>
                <a:gd name="T16" fmla="*/ 170 w 241"/>
                <a:gd name="T17" fmla="*/ 12 h 255"/>
                <a:gd name="T18" fmla="*/ 207 w 241"/>
                <a:gd name="T19" fmla="*/ 37 h 255"/>
                <a:gd name="T20" fmla="*/ 209 w 241"/>
                <a:gd name="T21" fmla="*/ 49 h 255"/>
                <a:gd name="T22" fmla="*/ 180 w 241"/>
                <a:gd name="T23" fmla="*/ 49 h 255"/>
                <a:gd name="T24" fmla="*/ 140 w 241"/>
                <a:gd name="T25" fmla="*/ 32 h 255"/>
                <a:gd name="T26" fmla="*/ 145 w 241"/>
                <a:gd name="T27" fmla="*/ 42 h 255"/>
                <a:gd name="T28" fmla="*/ 190 w 241"/>
                <a:gd name="T29" fmla="*/ 66 h 255"/>
                <a:gd name="T30" fmla="*/ 185 w 241"/>
                <a:gd name="T31" fmla="*/ 91 h 255"/>
                <a:gd name="T32" fmla="*/ 148 w 241"/>
                <a:gd name="T33" fmla="*/ 64 h 255"/>
                <a:gd name="T34" fmla="*/ 135 w 241"/>
                <a:gd name="T35" fmla="*/ 39 h 255"/>
                <a:gd name="T36" fmla="*/ 133 w 241"/>
                <a:gd name="T37" fmla="*/ 66 h 255"/>
                <a:gd name="T38" fmla="*/ 104 w 241"/>
                <a:gd name="T39" fmla="*/ 130 h 255"/>
                <a:gd name="T40" fmla="*/ 104 w 241"/>
                <a:gd name="T41" fmla="*/ 132 h 255"/>
                <a:gd name="T42" fmla="*/ 106 w 241"/>
                <a:gd name="T43" fmla="*/ 132 h 255"/>
                <a:gd name="T44" fmla="*/ 111 w 241"/>
                <a:gd name="T45" fmla="*/ 132 h 255"/>
                <a:gd name="T46" fmla="*/ 163 w 241"/>
                <a:gd name="T47" fmla="*/ 81 h 255"/>
                <a:gd name="T48" fmla="*/ 128 w 241"/>
                <a:gd name="T49" fmla="*/ 145 h 255"/>
                <a:gd name="T50" fmla="*/ 128 w 241"/>
                <a:gd name="T51" fmla="*/ 147 h 255"/>
                <a:gd name="T52" fmla="*/ 131 w 241"/>
                <a:gd name="T53" fmla="*/ 147 h 255"/>
                <a:gd name="T54" fmla="*/ 133 w 241"/>
                <a:gd name="T55" fmla="*/ 147 h 255"/>
                <a:gd name="T56" fmla="*/ 135 w 241"/>
                <a:gd name="T57" fmla="*/ 145 h 255"/>
                <a:gd name="T58" fmla="*/ 180 w 241"/>
                <a:gd name="T59" fmla="*/ 98 h 255"/>
                <a:gd name="T60" fmla="*/ 84 w 241"/>
                <a:gd name="T61" fmla="*/ 130 h 255"/>
                <a:gd name="T62" fmla="*/ 72 w 241"/>
                <a:gd name="T63" fmla="*/ 208 h 255"/>
                <a:gd name="T64" fmla="*/ 77 w 241"/>
                <a:gd name="T65" fmla="*/ 213 h 255"/>
                <a:gd name="T66" fmla="*/ 229 w 241"/>
                <a:gd name="T67" fmla="*/ 176 h 255"/>
                <a:gd name="T68" fmla="*/ 209 w 241"/>
                <a:gd name="T69" fmla="*/ 230 h 255"/>
                <a:gd name="T70" fmla="*/ 182 w 241"/>
                <a:gd name="T71" fmla="*/ 243 h 255"/>
                <a:gd name="T72" fmla="*/ 175 w 241"/>
                <a:gd name="T73" fmla="*/ 243 h 255"/>
                <a:gd name="T74" fmla="*/ 145 w 241"/>
                <a:gd name="T75" fmla="*/ 211 h 255"/>
                <a:gd name="T76" fmla="*/ 126 w 241"/>
                <a:gd name="T77" fmla="*/ 230 h 255"/>
                <a:gd name="T78" fmla="*/ 96 w 241"/>
                <a:gd name="T79" fmla="*/ 243 h 255"/>
                <a:gd name="T80" fmla="*/ 89 w 241"/>
                <a:gd name="T81" fmla="*/ 243 h 255"/>
                <a:gd name="T82" fmla="*/ 59 w 241"/>
                <a:gd name="T83" fmla="*/ 230 h 255"/>
                <a:gd name="T84" fmla="*/ 40 w 241"/>
                <a:gd name="T85" fmla="*/ 230 h 255"/>
                <a:gd name="T86" fmla="*/ 13 w 241"/>
                <a:gd name="T87" fmla="*/ 24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55">
                  <a:moveTo>
                    <a:pt x="0" y="255"/>
                  </a:moveTo>
                  <a:lnTo>
                    <a:pt x="241" y="255"/>
                  </a:lnTo>
                  <a:lnTo>
                    <a:pt x="241" y="167"/>
                  </a:lnTo>
                  <a:lnTo>
                    <a:pt x="155" y="167"/>
                  </a:lnTo>
                  <a:lnTo>
                    <a:pt x="221" y="49"/>
                  </a:lnTo>
                  <a:lnTo>
                    <a:pt x="221" y="47"/>
                  </a:lnTo>
                  <a:lnTo>
                    <a:pt x="221" y="37"/>
                  </a:lnTo>
                  <a:lnTo>
                    <a:pt x="217" y="29"/>
                  </a:lnTo>
                  <a:lnTo>
                    <a:pt x="209" y="22"/>
                  </a:lnTo>
                  <a:lnTo>
                    <a:pt x="199" y="15"/>
                  </a:lnTo>
                  <a:lnTo>
                    <a:pt x="185" y="7"/>
                  </a:lnTo>
                  <a:lnTo>
                    <a:pt x="175" y="2"/>
                  </a:lnTo>
                  <a:lnTo>
                    <a:pt x="165" y="0"/>
                  </a:lnTo>
                  <a:lnTo>
                    <a:pt x="158" y="0"/>
                  </a:lnTo>
                  <a:lnTo>
                    <a:pt x="148" y="2"/>
                  </a:lnTo>
                  <a:lnTo>
                    <a:pt x="143" y="5"/>
                  </a:lnTo>
                  <a:lnTo>
                    <a:pt x="140" y="7"/>
                  </a:lnTo>
                  <a:lnTo>
                    <a:pt x="72" y="127"/>
                  </a:lnTo>
                  <a:lnTo>
                    <a:pt x="72" y="130"/>
                  </a:lnTo>
                  <a:lnTo>
                    <a:pt x="72" y="167"/>
                  </a:lnTo>
                  <a:lnTo>
                    <a:pt x="0" y="167"/>
                  </a:lnTo>
                  <a:lnTo>
                    <a:pt x="0" y="255"/>
                  </a:lnTo>
                  <a:close/>
                  <a:moveTo>
                    <a:pt x="150" y="15"/>
                  </a:moveTo>
                  <a:lnTo>
                    <a:pt x="153" y="12"/>
                  </a:lnTo>
                  <a:lnTo>
                    <a:pt x="155" y="12"/>
                  </a:lnTo>
                  <a:lnTo>
                    <a:pt x="160" y="12"/>
                  </a:lnTo>
                  <a:lnTo>
                    <a:pt x="170" y="12"/>
                  </a:lnTo>
                  <a:lnTo>
                    <a:pt x="182" y="20"/>
                  </a:lnTo>
                  <a:lnTo>
                    <a:pt x="197" y="27"/>
                  </a:lnTo>
                  <a:lnTo>
                    <a:pt x="207" y="37"/>
                  </a:lnTo>
                  <a:lnTo>
                    <a:pt x="209" y="42"/>
                  </a:lnTo>
                  <a:lnTo>
                    <a:pt x="212" y="47"/>
                  </a:lnTo>
                  <a:lnTo>
                    <a:pt x="209" y="49"/>
                  </a:lnTo>
                  <a:lnTo>
                    <a:pt x="199" y="66"/>
                  </a:lnTo>
                  <a:lnTo>
                    <a:pt x="190" y="56"/>
                  </a:lnTo>
                  <a:lnTo>
                    <a:pt x="180" y="49"/>
                  </a:lnTo>
                  <a:lnTo>
                    <a:pt x="165" y="42"/>
                  </a:lnTo>
                  <a:lnTo>
                    <a:pt x="145" y="34"/>
                  </a:lnTo>
                  <a:lnTo>
                    <a:pt x="140" y="32"/>
                  </a:lnTo>
                  <a:lnTo>
                    <a:pt x="150" y="15"/>
                  </a:lnTo>
                  <a:close/>
                  <a:moveTo>
                    <a:pt x="135" y="39"/>
                  </a:moveTo>
                  <a:lnTo>
                    <a:pt x="145" y="42"/>
                  </a:lnTo>
                  <a:lnTo>
                    <a:pt x="158" y="44"/>
                  </a:lnTo>
                  <a:lnTo>
                    <a:pt x="175" y="54"/>
                  </a:lnTo>
                  <a:lnTo>
                    <a:pt x="190" y="66"/>
                  </a:lnTo>
                  <a:lnTo>
                    <a:pt x="194" y="71"/>
                  </a:lnTo>
                  <a:lnTo>
                    <a:pt x="194" y="73"/>
                  </a:lnTo>
                  <a:lnTo>
                    <a:pt x="185" y="91"/>
                  </a:lnTo>
                  <a:lnTo>
                    <a:pt x="172" y="78"/>
                  </a:lnTo>
                  <a:lnTo>
                    <a:pt x="163" y="71"/>
                  </a:lnTo>
                  <a:lnTo>
                    <a:pt x="148" y="64"/>
                  </a:lnTo>
                  <a:lnTo>
                    <a:pt x="131" y="59"/>
                  </a:lnTo>
                  <a:lnTo>
                    <a:pt x="126" y="56"/>
                  </a:lnTo>
                  <a:lnTo>
                    <a:pt x="135" y="39"/>
                  </a:lnTo>
                  <a:close/>
                  <a:moveTo>
                    <a:pt x="84" y="130"/>
                  </a:moveTo>
                  <a:lnTo>
                    <a:pt x="121" y="64"/>
                  </a:lnTo>
                  <a:lnTo>
                    <a:pt x="133" y="66"/>
                  </a:lnTo>
                  <a:lnTo>
                    <a:pt x="138" y="69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4" y="132"/>
                  </a:lnTo>
                  <a:lnTo>
                    <a:pt x="106" y="132"/>
                  </a:lnTo>
                  <a:lnTo>
                    <a:pt x="106" y="132"/>
                  </a:lnTo>
                  <a:lnTo>
                    <a:pt x="106" y="132"/>
                  </a:lnTo>
                  <a:lnTo>
                    <a:pt x="108" y="132"/>
                  </a:lnTo>
                  <a:lnTo>
                    <a:pt x="108" y="132"/>
                  </a:lnTo>
                  <a:lnTo>
                    <a:pt x="111" y="132"/>
                  </a:lnTo>
                  <a:lnTo>
                    <a:pt x="145" y="71"/>
                  </a:lnTo>
                  <a:lnTo>
                    <a:pt x="158" y="78"/>
                  </a:lnTo>
                  <a:lnTo>
                    <a:pt x="163" y="81"/>
                  </a:lnTo>
                  <a:lnTo>
                    <a:pt x="128" y="142"/>
                  </a:lnTo>
                  <a:lnTo>
                    <a:pt x="128" y="145"/>
                  </a:lnTo>
                  <a:lnTo>
                    <a:pt x="128" y="145"/>
                  </a:lnTo>
                  <a:lnTo>
                    <a:pt x="128" y="145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3" y="147"/>
                  </a:lnTo>
                  <a:lnTo>
                    <a:pt x="133" y="147"/>
                  </a:lnTo>
                  <a:lnTo>
                    <a:pt x="133" y="147"/>
                  </a:lnTo>
                  <a:lnTo>
                    <a:pt x="133" y="147"/>
                  </a:lnTo>
                  <a:lnTo>
                    <a:pt x="133" y="147"/>
                  </a:lnTo>
                  <a:lnTo>
                    <a:pt x="135" y="145"/>
                  </a:lnTo>
                  <a:lnTo>
                    <a:pt x="170" y="86"/>
                  </a:lnTo>
                  <a:lnTo>
                    <a:pt x="180" y="96"/>
                  </a:lnTo>
                  <a:lnTo>
                    <a:pt x="180" y="98"/>
                  </a:lnTo>
                  <a:lnTo>
                    <a:pt x="143" y="164"/>
                  </a:lnTo>
                  <a:lnTo>
                    <a:pt x="84" y="199"/>
                  </a:lnTo>
                  <a:lnTo>
                    <a:pt x="84" y="130"/>
                  </a:lnTo>
                  <a:close/>
                  <a:moveTo>
                    <a:pt x="13" y="176"/>
                  </a:moveTo>
                  <a:lnTo>
                    <a:pt x="72" y="176"/>
                  </a:lnTo>
                  <a:lnTo>
                    <a:pt x="72" y="208"/>
                  </a:lnTo>
                  <a:lnTo>
                    <a:pt x="72" y="211"/>
                  </a:lnTo>
                  <a:lnTo>
                    <a:pt x="77" y="213"/>
                  </a:lnTo>
                  <a:lnTo>
                    <a:pt x="77" y="213"/>
                  </a:lnTo>
                  <a:lnTo>
                    <a:pt x="79" y="213"/>
                  </a:lnTo>
                  <a:lnTo>
                    <a:pt x="143" y="176"/>
                  </a:lnTo>
                  <a:lnTo>
                    <a:pt x="229" y="176"/>
                  </a:lnTo>
                  <a:lnTo>
                    <a:pt x="229" y="243"/>
                  </a:lnTo>
                  <a:lnTo>
                    <a:pt x="209" y="243"/>
                  </a:lnTo>
                  <a:lnTo>
                    <a:pt x="209" y="230"/>
                  </a:lnTo>
                  <a:lnTo>
                    <a:pt x="202" y="230"/>
                  </a:lnTo>
                  <a:lnTo>
                    <a:pt x="202" y="243"/>
                  </a:lnTo>
                  <a:lnTo>
                    <a:pt x="182" y="243"/>
                  </a:lnTo>
                  <a:lnTo>
                    <a:pt x="182" y="230"/>
                  </a:lnTo>
                  <a:lnTo>
                    <a:pt x="175" y="230"/>
                  </a:lnTo>
                  <a:lnTo>
                    <a:pt x="175" y="243"/>
                  </a:lnTo>
                  <a:lnTo>
                    <a:pt x="153" y="243"/>
                  </a:lnTo>
                  <a:lnTo>
                    <a:pt x="153" y="211"/>
                  </a:lnTo>
                  <a:lnTo>
                    <a:pt x="145" y="211"/>
                  </a:lnTo>
                  <a:lnTo>
                    <a:pt x="145" y="243"/>
                  </a:lnTo>
                  <a:lnTo>
                    <a:pt x="126" y="243"/>
                  </a:lnTo>
                  <a:lnTo>
                    <a:pt x="126" y="230"/>
                  </a:lnTo>
                  <a:lnTo>
                    <a:pt x="116" y="230"/>
                  </a:lnTo>
                  <a:lnTo>
                    <a:pt x="116" y="243"/>
                  </a:lnTo>
                  <a:lnTo>
                    <a:pt x="96" y="243"/>
                  </a:lnTo>
                  <a:lnTo>
                    <a:pt x="96" y="230"/>
                  </a:lnTo>
                  <a:lnTo>
                    <a:pt x="89" y="230"/>
                  </a:lnTo>
                  <a:lnTo>
                    <a:pt x="89" y="243"/>
                  </a:lnTo>
                  <a:lnTo>
                    <a:pt x="67" y="243"/>
                  </a:lnTo>
                  <a:lnTo>
                    <a:pt x="67" y="230"/>
                  </a:lnTo>
                  <a:lnTo>
                    <a:pt x="59" y="230"/>
                  </a:lnTo>
                  <a:lnTo>
                    <a:pt x="59" y="243"/>
                  </a:lnTo>
                  <a:lnTo>
                    <a:pt x="40" y="243"/>
                  </a:lnTo>
                  <a:lnTo>
                    <a:pt x="40" y="230"/>
                  </a:lnTo>
                  <a:lnTo>
                    <a:pt x="32" y="230"/>
                  </a:lnTo>
                  <a:lnTo>
                    <a:pt x="32" y="243"/>
                  </a:lnTo>
                  <a:lnTo>
                    <a:pt x="13" y="243"/>
                  </a:lnTo>
                  <a:lnTo>
                    <a:pt x="13" y="1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56">
            <a:extLst>
              <a:ext uri="{FF2B5EF4-FFF2-40B4-BE49-F238E27FC236}">
                <a16:creationId xmlns:a16="http://schemas.microsoft.com/office/drawing/2014/main" id="{CBD82EE7-C86D-4CB3-9117-F84F37A4BA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4995" y="2820196"/>
            <a:ext cx="841375" cy="841375"/>
            <a:chOff x="4420" y="1804"/>
            <a:chExt cx="530" cy="530"/>
          </a:xfrm>
        </p:grpSpPr>
        <p:sp>
          <p:nvSpPr>
            <p:cNvPr id="181" name="AutoShape 155">
              <a:extLst>
                <a:ext uri="{FF2B5EF4-FFF2-40B4-BE49-F238E27FC236}">
                  <a16:creationId xmlns:a16="http://schemas.microsoft.com/office/drawing/2014/main" id="{F84B748F-F778-4E4A-BCE9-5EE06FF9D7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0" y="180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157">
              <a:extLst>
                <a:ext uri="{FF2B5EF4-FFF2-40B4-BE49-F238E27FC236}">
                  <a16:creationId xmlns:a16="http://schemas.microsoft.com/office/drawing/2014/main" id="{FE789D94-DFB9-4CCB-AA30-51F9122E1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0" y="180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58">
              <a:extLst>
                <a:ext uri="{FF2B5EF4-FFF2-40B4-BE49-F238E27FC236}">
                  <a16:creationId xmlns:a16="http://schemas.microsoft.com/office/drawing/2014/main" id="{6C73E212-A03E-4B23-8D9C-E1D26C9935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" y="182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59">
              <a:extLst>
                <a:ext uri="{FF2B5EF4-FFF2-40B4-BE49-F238E27FC236}">
                  <a16:creationId xmlns:a16="http://schemas.microsoft.com/office/drawing/2014/main" id="{2EE77C10-28B4-4917-AC15-746E56CFC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1" y="1927"/>
              <a:ext cx="251" cy="266"/>
            </a:xfrm>
            <a:custGeom>
              <a:avLst/>
              <a:gdLst>
                <a:gd name="T0" fmla="*/ 251 w 251"/>
                <a:gd name="T1" fmla="*/ 174 h 266"/>
                <a:gd name="T2" fmla="*/ 230 w 251"/>
                <a:gd name="T3" fmla="*/ 48 h 266"/>
                <a:gd name="T4" fmla="*/ 217 w 251"/>
                <a:gd name="T5" fmla="*/ 23 h 266"/>
                <a:gd name="T6" fmla="*/ 182 w 251"/>
                <a:gd name="T7" fmla="*/ 2 h 266"/>
                <a:gd name="T8" fmla="*/ 153 w 251"/>
                <a:gd name="T9" fmla="*/ 2 h 266"/>
                <a:gd name="T10" fmla="*/ 74 w 251"/>
                <a:gd name="T11" fmla="*/ 133 h 266"/>
                <a:gd name="T12" fmla="*/ 0 w 251"/>
                <a:gd name="T13" fmla="*/ 174 h 266"/>
                <a:gd name="T14" fmla="*/ 158 w 251"/>
                <a:gd name="T15" fmla="*/ 13 h 266"/>
                <a:gd name="T16" fmla="*/ 176 w 251"/>
                <a:gd name="T17" fmla="*/ 13 h 266"/>
                <a:gd name="T18" fmla="*/ 215 w 251"/>
                <a:gd name="T19" fmla="*/ 38 h 266"/>
                <a:gd name="T20" fmla="*/ 217 w 251"/>
                <a:gd name="T21" fmla="*/ 51 h 266"/>
                <a:gd name="T22" fmla="*/ 187 w 251"/>
                <a:gd name="T23" fmla="*/ 51 h 266"/>
                <a:gd name="T24" fmla="*/ 146 w 251"/>
                <a:gd name="T25" fmla="*/ 33 h 266"/>
                <a:gd name="T26" fmla="*/ 151 w 251"/>
                <a:gd name="T27" fmla="*/ 43 h 266"/>
                <a:gd name="T28" fmla="*/ 197 w 251"/>
                <a:gd name="T29" fmla="*/ 69 h 266"/>
                <a:gd name="T30" fmla="*/ 192 w 251"/>
                <a:gd name="T31" fmla="*/ 95 h 266"/>
                <a:gd name="T32" fmla="*/ 153 w 251"/>
                <a:gd name="T33" fmla="*/ 66 h 266"/>
                <a:gd name="T34" fmla="*/ 141 w 251"/>
                <a:gd name="T35" fmla="*/ 41 h 266"/>
                <a:gd name="T36" fmla="*/ 138 w 251"/>
                <a:gd name="T37" fmla="*/ 69 h 266"/>
                <a:gd name="T38" fmla="*/ 107 w 251"/>
                <a:gd name="T39" fmla="*/ 135 h 266"/>
                <a:gd name="T40" fmla="*/ 107 w 251"/>
                <a:gd name="T41" fmla="*/ 138 h 266"/>
                <a:gd name="T42" fmla="*/ 110 w 251"/>
                <a:gd name="T43" fmla="*/ 138 h 266"/>
                <a:gd name="T44" fmla="*/ 115 w 251"/>
                <a:gd name="T45" fmla="*/ 138 h 266"/>
                <a:gd name="T46" fmla="*/ 169 w 251"/>
                <a:gd name="T47" fmla="*/ 84 h 266"/>
                <a:gd name="T48" fmla="*/ 133 w 251"/>
                <a:gd name="T49" fmla="*/ 151 h 266"/>
                <a:gd name="T50" fmla="*/ 133 w 251"/>
                <a:gd name="T51" fmla="*/ 153 h 266"/>
                <a:gd name="T52" fmla="*/ 135 w 251"/>
                <a:gd name="T53" fmla="*/ 153 h 266"/>
                <a:gd name="T54" fmla="*/ 138 w 251"/>
                <a:gd name="T55" fmla="*/ 153 h 266"/>
                <a:gd name="T56" fmla="*/ 141 w 251"/>
                <a:gd name="T57" fmla="*/ 151 h 266"/>
                <a:gd name="T58" fmla="*/ 187 w 251"/>
                <a:gd name="T59" fmla="*/ 102 h 266"/>
                <a:gd name="T60" fmla="*/ 87 w 251"/>
                <a:gd name="T61" fmla="*/ 135 h 266"/>
                <a:gd name="T62" fmla="*/ 74 w 251"/>
                <a:gd name="T63" fmla="*/ 217 h 266"/>
                <a:gd name="T64" fmla="*/ 79 w 251"/>
                <a:gd name="T65" fmla="*/ 223 h 266"/>
                <a:gd name="T66" fmla="*/ 238 w 251"/>
                <a:gd name="T67" fmla="*/ 184 h 266"/>
                <a:gd name="T68" fmla="*/ 217 w 251"/>
                <a:gd name="T69" fmla="*/ 240 h 266"/>
                <a:gd name="T70" fmla="*/ 189 w 251"/>
                <a:gd name="T71" fmla="*/ 253 h 266"/>
                <a:gd name="T72" fmla="*/ 182 w 251"/>
                <a:gd name="T73" fmla="*/ 253 h 266"/>
                <a:gd name="T74" fmla="*/ 151 w 251"/>
                <a:gd name="T75" fmla="*/ 220 h 266"/>
                <a:gd name="T76" fmla="*/ 130 w 251"/>
                <a:gd name="T77" fmla="*/ 240 h 266"/>
                <a:gd name="T78" fmla="*/ 100 w 251"/>
                <a:gd name="T79" fmla="*/ 253 h 266"/>
                <a:gd name="T80" fmla="*/ 92 w 251"/>
                <a:gd name="T81" fmla="*/ 253 h 266"/>
                <a:gd name="T82" fmla="*/ 61 w 251"/>
                <a:gd name="T83" fmla="*/ 240 h 266"/>
                <a:gd name="T84" fmla="*/ 41 w 251"/>
                <a:gd name="T85" fmla="*/ 240 h 266"/>
                <a:gd name="T86" fmla="*/ 13 w 251"/>
                <a:gd name="T87" fmla="*/ 25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1" h="266">
                  <a:moveTo>
                    <a:pt x="0" y="266"/>
                  </a:moveTo>
                  <a:lnTo>
                    <a:pt x="251" y="266"/>
                  </a:lnTo>
                  <a:lnTo>
                    <a:pt x="251" y="174"/>
                  </a:lnTo>
                  <a:lnTo>
                    <a:pt x="161" y="174"/>
                  </a:lnTo>
                  <a:lnTo>
                    <a:pt x="230" y="51"/>
                  </a:lnTo>
                  <a:lnTo>
                    <a:pt x="230" y="48"/>
                  </a:lnTo>
                  <a:lnTo>
                    <a:pt x="230" y="38"/>
                  </a:lnTo>
                  <a:lnTo>
                    <a:pt x="225" y="31"/>
                  </a:lnTo>
                  <a:lnTo>
                    <a:pt x="217" y="23"/>
                  </a:lnTo>
                  <a:lnTo>
                    <a:pt x="207" y="15"/>
                  </a:lnTo>
                  <a:lnTo>
                    <a:pt x="192" y="7"/>
                  </a:lnTo>
                  <a:lnTo>
                    <a:pt x="182" y="2"/>
                  </a:lnTo>
                  <a:lnTo>
                    <a:pt x="171" y="0"/>
                  </a:lnTo>
                  <a:lnTo>
                    <a:pt x="164" y="0"/>
                  </a:lnTo>
                  <a:lnTo>
                    <a:pt x="153" y="2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74" y="133"/>
                  </a:lnTo>
                  <a:lnTo>
                    <a:pt x="74" y="135"/>
                  </a:lnTo>
                  <a:lnTo>
                    <a:pt x="74" y="174"/>
                  </a:lnTo>
                  <a:lnTo>
                    <a:pt x="0" y="174"/>
                  </a:lnTo>
                  <a:lnTo>
                    <a:pt x="0" y="266"/>
                  </a:lnTo>
                  <a:close/>
                  <a:moveTo>
                    <a:pt x="156" y="15"/>
                  </a:moveTo>
                  <a:lnTo>
                    <a:pt x="158" y="13"/>
                  </a:lnTo>
                  <a:lnTo>
                    <a:pt x="161" y="13"/>
                  </a:lnTo>
                  <a:lnTo>
                    <a:pt x="166" y="13"/>
                  </a:lnTo>
                  <a:lnTo>
                    <a:pt x="176" y="13"/>
                  </a:lnTo>
                  <a:lnTo>
                    <a:pt x="189" y="20"/>
                  </a:lnTo>
                  <a:lnTo>
                    <a:pt x="205" y="28"/>
                  </a:lnTo>
                  <a:lnTo>
                    <a:pt x="215" y="38"/>
                  </a:lnTo>
                  <a:lnTo>
                    <a:pt x="217" y="43"/>
                  </a:lnTo>
                  <a:lnTo>
                    <a:pt x="220" y="48"/>
                  </a:lnTo>
                  <a:lnTo>
                    <a:pt x="217" y="51"/>
                  </a:lnTo>
                  <a:lnTo>
                    <a:pt x="207" y="69"/>
                  </a:lnTo>
                  <a:lnTo>
                    <a:pt x="197" y="59"/>
                  </a:lnTo>
                  <a:lnTo>
                    <a:pt x="187" y="51"/>
                  </a:lnTo>
                  <a:lnTo>
                    <a:pt x="171" y="43"/>
                  </a:lnTo>
                  <a:lnTo>
                    <a:pt x="151" y="36"/>
                  </a:lnTo>
                  <a:lnTo>
                    <a:pt x="146" y="33"/>
                  </a:lnTo>
                  <a:lnTo>
                    <a:pt x="156" y="15"/>
                  </a:lnTo>
                  <a:close/>
                  <a:moveTo>
                    <a:pt x="141" y="41"/>
                  </a:moveTo>
                  <a:lnTo>
                    <a:pt x="151" y="43"/>
                  </a:lnTo>
                  <a:lnTo>
                    <a:pt x="164" y="46"/>
                  </a:lnTo>
                  <a:lnTo>
                    <a:pt x="182" y="56"/>
                  </a:lnTo>
                  <a:lnTo>
                    <a:pt x="197" y="69"/>
                  </a:lnTo>
                  <a:lnTo>
                    <a:pt x="202" y="74"/>
                  </a:lnTo>
                  <a:lnTo>
                    <a:pt x="202" y="77"/>
                  </a:lnTo>
                  <a:lnTo>
                    <a:pt x="192" y="95"/>
                  </a:lnTo>
                  <a:lnTo>
                    <a:pt x="179" y="82"/>
                  </a:lnTo>
                  <a:lnTo>
                    <a:pt x="169" y="74"/>
                  </a:lnTo>
                  <a:lnTo>
                    <a:pt x="153" y="66"/>
                  </a:lnTo>
                  <a:lnTo>
                    <a:pt x="135" y="61"/>
                  </a:lnTo>
                  <a:lnTo>
                    <a:pt x="130" y="59"/>
                  </a:lnTo>
                  <a:lnTo>
                    <a:pt x="141" y="41"/>
                  </a:lnTo>
                  <a:close/>
                  <a:moveTo>
                    <a:pt x="87" y="135"/>
                  </a:moveTo>
                  <a:lnTo>
                    <a:pt x="125" y="66"/>
                  </a:lnTo>
                  <a:lnTo>
                    <a:pt x="138" y="69"/>
                  </a:lnTo>
                  <a:lnTo>
                    <a:pt x="143" y="71"/>
                  </a:lnTo>
                  <a:lnTo>
                    <a:pt x="107" y="135"/>
                  </a:lnTo>
                  <a:lnTo>
                    <a:pt x="107" y="135"/>
                  </a:lnTo>
                  <a:lnTo>
                    <a:pt x="107" y="135"/>
                  </a:lnTo>
                  <a:lnTo>
                    <a:pt x="107" y="135"/>
                  </a:lnTo>
                  <a:lnTo>
                    <a:pt x="107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2" y="138"/>
                  </a:lnTo>
                  <a:lnTo>
                    <a:pt x="112" y="138"/>
                  </a:lnTo>
                  <a:lnTo>
                    <a:pt x="115" y="138"/>
                  </a:lnTo>
                  <a:lnTo>
                    <a:pt x="151" y="74"/>
                  </a:lnTo>
                  <a:lnTo>
                    <a:pt x="164" y="82"/>
                  </a:lnTo>
                  <a:lnTo>
                    <a:pt x="169" y="84"/>
                  </a:lnTo>
                  <a:lnTo>
                    <a:pt x="133" y="148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41" y="151"/>
                  </a:lnTo>
                  <a:lnTo>
                    <a:pt x="176" y="89"/>
                  </a:lnTo>
                  <a:lnTo>
                    <a:pt x="187" y="100"/>
                  </a:lnTo>
                  <a:lnTo>
                    <a:pt x="187" y="102"/>
                  </a:lnTo>
                  <a:lnTo>
                    <a:pt x="148" y="171"/>
                  </a:lnTo>
                  <a:lnTo>
                    <a:pt x="87" y="207"/>
                  </a:lnTo>
                  <a:lnTo>
                    <a:pt x="87" y="135"/>
                  </a:lnTo>
                  <a:close/>
                  <a:moveTo>
                    <a:pt x="13" y="184"/>
                  </a:moveTo>
                  <a:lnTo>
                    <a:pt x="74" y="184"/>
                  </a:lnTo>
                  <a:lnTo>
                    <a:pt x="74" y="217"/>
                  </a:lnTo>
                  <a:lnTo>
                    <a:pt x="74" y="220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2" y="223"/>
                  </a:lnTo>
                  <a:lnTo>
                    <a:pt x="148" y="184"/>
                  </a:lnTo>
                  <a:lnTo>
                    <a:pt x="238" y="184"/>
                  </a:lnTo>
                  <a:lnTo>
                    <a:pt x="238" y="253"/>
                  </a:lnTo>
                  <a:lnTo>
                    <a:pt x="217" y="253"/>
                  </a:lnTo>
                  <a:lnTo>
                    <a:pt x="217" y="240"/>
                  </a:lnTo>
                  <a:lnTo>
                    <a:pt x="210" y="240"/>
                  </a:lnTo>
                  <a:lnTo>
                    <a:pt x="210" y="253"/>
                  </a:lnTo>
                  <a:lnTo>
                    <a:pt x="189" y="253"/>
                  </a:lnTo>
                  <a:lnTo>
                    <a:pt x="189" y="240"/>
                  </a:lnTo>
                  <a:lnTo>
                    <a:pt x="182" y="240"/>
                  </a:lnTo>
                  <a:lnTo>
                    <a:pt x="182" y="253"/>
                  </a:lnTo>
                  <a:lnTo>
                    <a:pt x="158" y="253"/>
                  </a:lnTo>
                  <a:lnTo>
                    <a:pt x="158" y="220"/>
                  </a:lnTo>
                  <a:lnTo>
                    <a:pt x="151" y="220"/>
                  </a:lnTo>
                  <a:lnTo>
                    <a:pt x="151" y="253"/>
                  </a:lnTo>
                  <a:lnTo>
                    <a:pt x="130" y="253"/>
                  </a:lnTo>
                  <a:lnTo>
                    <a:pt x="130" y="240"/>
                  </a:lnTo>
                  <a:lnTo>
                    <a:pt x="120" y="240"/>
                  </a:lnTo>
                  <a:lnTo>
                    <a:pt x="120" y="253"/>
                  </a:lnTo>
                  <a:lnTo>
                    <a:pt x="100" y="253"/>
                  </a:lnTo>
                  <a:lnTo>
                    <a:pt x="100" y="240"/>
                  </a:lnTo>
                  <a:lnTo>
                    <a:pt x="92" y="240"/>
                  </a:lnTo>
                  <a:lnTo>
                    <a:pt x="92" y="253"/>
                  </a:lnTo>
                  <a:lnTo>
                    <a:pt x="69" y="253"/>
                  </a:lnTo>
                  <a:lnTo>
                    <a:pt x="69" y="240"/>
                  </a:lnTo>
                  <a:lnTo>
                    <a:pt x="61" y="240"/>
                  </a:lnTo>
                  <a:lnTo>
                    <a:pt x="61" y="253"/>
                  </a:lnTo>
                  <a:lnTo>
                    <a:pt x="41" y="253"/>
                  </a:lnTo>
                  <a:lnTo>
                    <a:pt x="41" y="240"/>
                  </a:lnTo>
                  <a:lnTo>
                    <a:pt x="33" y="240"/>
                  </a:lnTo>
                  <a:lnTo>
                    <a:pt x="33" y="253"/>
                  </a:lnTo>
                  <a:lnTo>
                    <a:pt x="13" y="253"/>
                  </a:lnTo>
                  <a:lnTo>
                    <a:pt x="13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9" name="Group 162">
            <a:extLst>
              <a:ext uri="{FF2B5EF4-FFF2-40B4-BE49-F238E27FC236}">
                <a16:creationId xmlns:a16="http://schemas.microsoft.com/office/drawing/2014/main" id="{74761142-3628-4EB3-9C30-6BABFD9E88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538" y="4158460"/>
            <a:ext cx="758825" cy="760413"/>
            <a:chOff x="892" y="2664"/>
            <a:chExt cx="478" cy="479"/>
          </a:xfrm>
        </p:grpSpPr>
        <p:sp>
          <p:nvSpPr>
            <p:cNvPr id="190" name="AutoShape 161">
              <a:extLst>
                <a:ext uri="{FF2B5EF4-FFF2-40B4-BE49-F238E27FC236}">
                  <a16:creationId xmlns:a16="http://schemas.microsoft.com/office/drawing/2014/main" id="{8EA73DCB-32CA-4ED1-B387-A8DDF231DE4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2" y="2664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63">
              <a:extLst>
                <a:ext uri="{FF2B5EF4-FFF2-40B4-BE49-F238E27FC236}">
                  <a16:creationId xmlns:a16="http://schemas.microsoft.com/office/drawing/2014/main" id="{38FB3EC4-7AA8-487E-AD91-EE7225ADE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4" y="2666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64">
              <a:extLst>
                <a:ext uri="{FF2B5EF4-FFF2-40B4-BE49-F238E27FC236}">
                  <a16:creationId xmlns:a16="http://schemas.microsoft.com/office/drawing/2014/main" id="{A9E972E6-5D99-4854-80AC-2FCE4FB8E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3028"/>
              <a:ext cx="15" cy="12"/>
            </a:xfrm>
            <a:custGeom>
              <a:avLst/>
              <a:gdLst>
                <a:gd name="T0" fmla="*/ 15 w 15"/>
                <a:gd name="T1" fmla="*/ 4 h 12"/>
                <a:gd name="T2" fmla="*/ 12 w 15"/>
                <a:gd name="T3" fmla="*/ 2 h 12"/>
                <a:gd name="T4" fmla="*/ 12 w 15"/>
                <a:gd name="T5" fmla="*/ 2 h 12"/>
                <a:gd name="T6" fmla="*/ 12 w 15"/>
                <a:gd name="T7" fmla="*/ 0 h 12"/>
                <a:gd name="T8" fmla="*/ 10 w 15"/>
                <a:gd name="T9" fmla="*/ 0 h 12"/>
                <a:gd name="T10" fmla="*/ 10 w 15"/>
                <a:gd name="T11" fmla="*/ 0 h 12"/>
                <a:gd name="T12" fmla="*/ 8 w 15"/>
                <a:gd name="T13" fmla="*/ 0 h 12"/>
                <a:gd name="T14" fmla="*/ 5 w 15"/>
                <a:gd name="T15" fmla="*/ 0 h 12"/>
                <a:gd name="T16" fmla="*/ 5 w 15"/>
                <a:gd name="T17" fmla="*/ 0 h 12"/>
                <a:gd name="T18" fmla="*/ 3 w 15"/>
                <a:gd name="T19" fmla="*/ 0 h 12"/>
                <a:gd name="T20" fmla="*/ 3 w 15"/>
                <a:gd name="T21" fmla="*/ 0 h 12"/>
                <a:gd name="T22" fmla="*/ 0 w 15"/>
                <a:gd name="T23" fmla="*/ 2 h 12"/>
                <a:gd name="T24" fmla="*/ 0 w 15"/>
                <a:gd name="T25" fmla="*/ 2 h 12"/>
                <a:gd name="T26" fmla="*/ 0 w 15"/>
                <a:gd name="T27" fmla="*/ 4 h 12"/>
                <a:gd name="T28" fmla="*/ 0 w 15"/>
                <a:gd name="T29" fmla="*/ 4 h 12"/>
                <a:gd name="T30" fmla="*/ 0 w 15"/>
                <a:gd name="T31" fmla="*/ 7 h 12"/>
                <a:gd name="T32" fmla="*/ 0 w 15"/>
                <a:gd name="T33" fmla="*/ 7 h 12"/>
                <a:gd name="T34" fmla="*/ 0 w 15"/>
                <a:gd name="T35" fmla="*/ 9 h 12"/>
                <a:gd name="T36" fmla="*/ 0 w 15"/>
                <a:gd name="T37" fmla="*/ 9 h 12"/>
                <a:gd name="T38" fmla="*/ 3 w 15"/>
                <a:gd name="T39" fmla="*/ 12 h 12"/>
                <a:gd name="T40" fmla="*/ 3 w 15"/>
                <a:gd name="T41" fmla="*/ 12 h 12"/>
                <a:gd name="T42" fmla="*/ 5 w 15"/>
                <a:gd name="T43" fmla="*/ 12 h 12"/>
                <a:gd name="T44" fmla="*/ 5 w 15"/>
                <a:gd name="T45" fmla="*/ 12 h 12"/>
                <a:gd name="T46" fmla="*/ 8 w 15"/>
                <a:gd name="T47" fmla="*/ 12 h 12"/>
                <a:gd name="T48" fmla="*/ 10 w 15"/>
                <a:gd name="T49" fmla="*/ 12 h 12"/>
                <a:gd name="T50" fmla="*/ 10 w 15"/>
                <a:gd name="T51" fmla="*/ 12 h 12"/>
                <a:gd name="T52" fmla="*/ 12 w 15"/>
                <a:gd name="T53" fmla="*/ 12 h 12"/>
                <a:gd name="T54" fmla="*/ 12 w 15"/>
                <a:gd name="T55" fmla="*/ 9 h 12"/>
                <a:gd name="T56" fmla="*/ 12 w 15"/>
                <a:gd name="T57" fmla="*/ 9 h 12"/>
                <a:gd name="T58" fmla="*/ 15 w 15"/>
                <a:gd name="T59" fmla="*/ 7 h 12"/>
                <a:gd name="T60" fmla="*/ 15 w 15"/>
                <a:gd name="T61" fmla="*/ 7 h 12"/>
                <a:gd name="T62" fmla="*/ 15 w 15"/>
                <a:gd name="T6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15" y="4"/>
                  </a:moveTo>
                  <a:lnTo>
                    <a:pt x="15" y="4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65">
              <a:extLst>
                <a:ext uri="{FF2B5EF4-FFF2-40B4-BE49-F238E27FC236}">
                  <a16:creationId xmlns:a16="http://schemas.microsoft.com/office/drawing/2014/main" id="{26876472-6B3D-4072-98A0-1A8178251D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4" y="2772"/>
              <a:ext cx="248" cy="265"/>
            </a:xfrm>
            <a:custGeom>
              <a:avLst/>
              <a:gdLst>
                <a:gd name="T0" fmla="*/ 248 w 248"/>
                <a:gd name="T1" fmla="*/ 74 h 265"/>
                <a:gd name="T2" fmla="*/ 238 w 248"/>
                <a:gd name="T3" fmla="*/ 59 h 265"/>
                <a:gd name="T4" fmla="*/ 182 w 248"/>
                <a:gd name="T5" fmla="*/ 5 h 265"/>
                <a:gd name="T6" fmla="*/ 164 w 248"/>
                <a:gd name="T7" fmla="*/ 0 h 265"/>
                <a:gd name="T8" fmla="*/ 142 w 248"/>
                <a:gd name="T9" fmla="*/ 3 h 265"/>
                <a:gd name="T10" fmla="*/ 130 w 248"/>
                <a:gd name="T11" fmla="*/ 10 h 265"/>
                <a:gd name="T12" fmla="*/ 37 w 248"/>
                <a:gd name="T13" fmla="*/ 103 h 265"/>
                <a:gd name="T14" fmla="*/ 0 w 248"/>
                <a:gd name="T15" fmla="*/ 175 h 265"/>
                <a:gd name="T16" fmla="*/ 0 w 248"/>
                <a:gd name="T17" fmla="*/ 192 h 265"/>
                <a:gd name="T18" fmla="*/ 10 w 248"/>
                <a:gd name="T19" fmla="*/ 206 h 265"/>
                <a:gd name="T20" fmla="*/ 76 w 248"/>
                <a:gd name="T21" fmla="*/ 265 h 265"/>
                <a:gd name="T22" fmla="*/ 98 w 248"/>
                <a:gd name="T23" fmla="*/ 265 h 265"/>
                <a:gd name="T24" fmla="*/ 115 w 248"/>
                <a:gd name="T25" fmla="*/ 253 h 265"/>
                <a:gd name="T26" fmla="*/ 245 w 248"/>
                <a:gd name="T27" fmla="*/ 120 h 265"/>
                <a:gd name="T28" fmla="*/ 248 w 248"/>
                <a:gd name="T29" fmla="*/ 106 h 265"/>
                <a:gd name="T30" fmla="*/ 44 w 248"/>
                <a:gd name="T31" fmla="*/ 177 h 265"/>
                <a:gd name="T32" fmla="*/ 44 w 248"/>
                <a:gd name="T33" fmla="*/ 118 h 265"/>
                <a:gd name="T34" fmla="*/ 15 w 248"/>
                <a:gd name="T35" fmla="*/ 192 h 265"/>
                <a:gd name="T36" fmla="*/ 37 w 248"/>
                <a:gd name="T37" fmla="*/ 184 h 265"/>
                <a:gd name="T38" fmla="*/ 44 w 248"/>
                <a:gd name="T39" fmla="*/ 189 h 265"/>
                <a:gd name="T40" fmla="*/ 81 w 248"/>
                <a:gd name="T41" fmla="*/ 258 h 265"/>
                <a:gd name="T42" fmla="*/ 52 w 248"/>
                <a:gd name="T43" fmla="*/ 172 h 265"/>
                <a:gd name="T44" fmla="*/ 52 w 248"/>
                <a:gd name="T45" fmla="*/ 111 h 265"/>
                <a:gd name="T46" fmla="*/ 59 w 248"/>
                <a:gd name="T47" fmla="*/ 96 h 265"/>
                <a:gd name="T48" fmla="*/ 172 w 248"/>
                <a:gd name="T49" fmla="*/ 128 h 265"/>
                <a:gd name="T50" fmla="*/ 54 w 248"/>
                <a:gd name="T51" fmla="*/ 179 h 265"/>
                <a:gd name="T52" fmla="*/ 93 w 248"/>
                <a:gd name="T53" fmla="*/ 258 h 265"/>
                <a:gd name="T54" fmla="*/ 179 w 248"/>
                <a:gd name="T55" fmla="*/ 140 h 265"/>
                <a:gd name="T56" fmla="*/ 106 w 248"/>
                <a:gd name="T57" fmla="*/ 52 h 265"/>
                <a:gd name="T58" fmla="*/ 147 w 248"/>
                <a:gd name="T59" fmla="*/ 12 h 265"/>
                <a:gd name="T60" fmla="*/ 172 w 248"/>
                <a:gd name="T61" fmla="*/ 15 h 265"/>
                <a:gd name="T62" fmla="*/ 182 w 248"/>
                <a:gd name="T63" fmla="*/ 20 h 265"/>
                <a:gd name="T64" fmla="*/ 179 w 248"/>
                <a:gd name="T65" fmla="*/ 123 h 265"/>
                <a:gd name="T66" fmla="*/ 233 w 248"/>
                <a:gd name="T67" fmla="*/ 116 h 265"/>
                <a:gd name="T68" fmla="*/ 226 w 248"/>
                <a:gd name="T69" fmla="*/ 128 h 265"/>
                <a:gd name="T70" fmla="*/ 186 w 248"/>
                <a:gd name="T71" fmla="*/ 133 h 265"/>
                <a:gd name="T72" fmla="*/ 233 w 248"/>
                <a:gd name="T73" fmla="*/ 11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8" h="265">
                  <a:moveTo>
                    <a:pt x="248" y="106"/>
                  </a:moveTo>
                  <a:lnTo>
                    <a:pt x="248" y="74"/>
                  </a:lnTo>
                  <a:lnTo>
                    <a:pt x="243" y="64"/>
                  </a:lnTo>
                  <a:lnTo>
                    <a:pt x="238" y="59"/>
                  </a:lnTo>
                  <a:lnTo>
                    <a:pt x="236" y="57"/>
                  </a:lnTo>
                  <a:lnTo>
                    <a:pt x="182" y="5"/>
                  </a:lnTo>
                  <a:lnTo>
                    <a:pt x="174" y="0"/>
                  </a:lnTo>
                  <a:lnTo>
                    <a:pt x="164" y="0"/>
                  </a:lnTo>
                  <a:lnTo>
                    <a:pt x="152" y="0"/>
                  </a:lnTo>
                  <a:lnTo>
                    <a:pt x="142" y="3"/>
                  </a:lnTo>
                  <a:lnTo>
                    <a:pt x="135" y="5"/>
                  </a:lnTo>
                  <a:lnTo>
                    <a:pt x="130" y="10"/>
                  </a:lnTo>
                  <a:lnTo>
                    <a:pt x="44" y="93"/>
                  </a:lnTo>
                  <a:lnTo>
                    <a:pt x="37" y="103"/>
                  </a:lnTo>
                  <a:lnTo>
                    <a:pt x="34" y="111"/>
                  </a:lnTo>
                  <a:lnTo>
                    <a:pt x="0" y="175"/>
                  </a:lnTo>
                  <a:lnTo>
                    <a:pt x="0" y="182"/>
                  </a:lnTo>
                  <a:lnTo>
                    <a:pt x="0" y="192"/>
                  </a:lnTo>
                  <a:lnTo>
                    <a:pt x="8" y="204"/>
                  </a:lnTo>
                  <a:lnTo>
                    <a:pt x="10" y="206"/>
                  </a:lnTo>
                  <a:lnTo>
                    <a:pt x="69" y="263"/>
                  </a:lnTo>
                  <a:lnTo>
                    <a:pt x="76" y="265"/>
                  </a:lnTo>
                  <a:lnTo>
                    <a:pt x="81" y="265"/>
                  </a:lnTo>
                  <a:lnTo>
                    <a:pt x="98" y="265"/>
                  </a:lnTo>
                  <a:lnTo>
                    <a:pt x="108" y="260"/>
                  </a:lnTo>
                  <a:lnTo>
                    <a:pt x="115" y="253"/>
                  </a:lnTo>
                  <a:lnTo>
                    <a:pt x="240" y="130"/>
                  </a:lnTo>
                  <a:lnTo>
                    <a:pt x="245" y="120"/>
                  </a:lnTo>
                  <a:lnTo>
                    <a:pt x="248" y="108"/>
                  </a:lnTo>
                  <a:lnTo>
                    <a:pt x="248" y="106"/>
                  </a:lnTo>
                  <a:close/>
                  <a:moveTo>
                    <a:pt x="44" y="118"/>
                  </a:moveTo>
                  <a:lnTo>
                    <a:pt x="44" y="177"/>
                  </a:lnTo>
                  <a:lnTo>
                    <a:pt x="12" y="177"/>
                  </a:lnTo>
                  <a:lnTo>
                    <a:pt x="44" y="118"/>
                  </a:lnTo>
                  <a:close/>
                  <a:moveTo>
                    <a:pt x="81" y="258"/>
                  </a:moveTo>
                  <a:lnTo>
                    <a:pt x="15" y="192"/>
                  </a:lnTo>
                  <a:lnTo>
                    <a:pt x="10" y="184"/>
                  </a:lnTo>
                  <a:lnTo>
                    <a:pt x="37" y="184"/>
                  </a:lnTo>
                  <a:lnTo>
                    <a:pt x="42" y="184"/>
                  </a:lnTo>
                  <a:lnTo>
                    <a:pt x="44" y="189"/>
                  </a:lnTo>
                  <a:lnTo>
                    <a:pt x="81" y="221"/>
                  </a:lnTo>
                  <a:lnTo>
                    <a:pt x="81" y="258"/>
                  </a:lnTo>
                  <a:close/>
                  <a:moveTo>
                    <a:pt x="54" y="179"/>
                  </a:moveTo>
                  <a:lnTo>
                    <a:pt x="52" y="172"/>
                  </a:lnTo>
                  <a:lnTo>
                    <a:pt x="52" y="165"/>
                  </a:lnTo>
                  <a:lnTo>
                    <a:pt x="52" y="111"/>
                  </a:lnTo>
                  <a:lnTo>
                    <a:pt x="54" y="103"/>
                  </a:lnTo>
                  <a:lnTo>
                    <a:pt x="59" y="96"/>
                  </a:lnTo>
                  <a:lnTo>
                    <a:pt x="101" y="57"/>
                  </a:lnTo>
                  <a:lnTo>
                    <a:pt x="172" y="128"/>
                  </a:lnTo>
                  <a:lnTo>
                    <a:pt x="86" y="211"/>
                  </a:lnTo>
                  <a:lnTo>
                    <a:pt x="54" y="179"/>
                  </a:lnTo>
                  <a:close/>
                  <a:moveTo>
                    <a:pt x="179" y="175"/>
                  </a:moveTo>
                  <a:lnTo>
                    <a:pt x="93" y="258"/>
                  </a:lnTo>
                  <a:lnTo>
                    <a:pt x="93" y="221"/>
                  </a:lnTo>
                  <a:lnTo>
                    <a:pt x="179" y="140"/>
                  </a:lnTo>
                  <a:lnTo>
                    <a:pt x="179" y="175"/>
                  </a:lnTo>
                  <a:close/>
                  <a:moveTo>
                    <a:pt x="106" y="52"/>
                  </a:moveTo>
                  <a:lnTo>
                    <a:pt x="142" y="15"/>
                  </a:lnTo>
                  <a:lnTo>
                    <a:pt x="147" y="12"/>
                  </a:lnTo>
                  <a:lnTo>
                    <a:pt x="152" y="12"/>
                  </a:lnTo>
                  <a:lnTo>
                    <a:pt x="172" y="15"/>
                  </a:lnTo>
                  <a:lnTo>
                    <a:pt x="179" y="17"/>
                  </a:lnTo>
                  <a:lnTo>
                    <a:pt x="182" y="20"/>
                  </a:lnTo>
                  <a:lnTo>
                    <a:pt x="233" y="69"/>
                  </a:lnTo>
                  <a:lnTo>
                    <a:pt x="179" y="123"/>
                  </a:lnTo>
                  <a:lnTo>
                    <a:pt x="106" y="52"/>
                  </a:lnTo>
                  <a:close/>
                  <a:moveTo>
                    <a:pt x="233" y="116"/>
                  </a:moveTo>
                  <a:lnTo>
                    <a:pt x="231" y="120"/>
                  </a:lnTo>
                  <a:lnTo>
                    <a:pt x="226" y="128"/>
                  </a:lnTo>
                  <a:lnTo>
                    <a:pt x="186" y="167"/>
                  </a:lnTo>
                  <a:lnTo>
                    <a:pt x="186" y="133"/>
                  </a:lnTo>
                  <a:lnTo>
                    <a:pt x="236" y="84"/>
                  </a:lnTo>
                  <a:lnTo>
                    <a:pt x="233" y="11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66">
              <a:extLst>
                <a:ext uri="{FF2B5EF4-FFF2-40B4-BE49-F238E27FC236}">
                  <a16:creationId xmlns:a16="http://schemas.microsoft.com/office/drawing/2014/main" id="{E7F577FD-D88F-4A18-8402-606E22C85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023"/>
              <a:ext cx="20" cy="17"/>
            </a:xfrm>
            <a:custGeom>
              <a:avLst/>
              <a:gdLst>
                <a:gd name="T0" fmla="*/ 20 w 20"/>
                <a:gd name="T1" fmla="*/ 5 h 17"/>
                <a:gd name="T2" fmla="*/ 20 w 20"/>
                <a:gd name="T3" fmla="*/ 2 h 17"/>
                <a:gd name="T4" fmla="*/ 17 w 20"/>
                <a:gd name="T5" fmla="*/ 2 h 17"/>
                <a:gd name="T6" fmla="*/ 17 w 20"/>
                <a:gd name="T7" fmla="*/ 0 h 17"/>
                <a:gd name="T8" fmla="*/ 15 w 20"/>
                <a:gd name="T9" fmla="*/ 0 h 17"/>
                <a:gd name="T10" fmla="*/ 12 w 20"/>
                <a:gd name="T11" fmla="*/ 0 h 17"/>
                <a:gd name="T12" fmla="*/ 10 w 20"/>
                <a:gd name="T13" fmla="*/ 0 h 17"/>
                <a:gd name="T14" fmla="*/ 10 w 20"/>
                <a:gd name="T15" fmla="*/ 0 h 17"/>
                <a:gd name="T16" fmla="*/ 8 w 20"/>
                <a:gd name="T17" fmla="*/ 0 h 17"/>
                <a:gd name="T18" fmla="*/ 5 w 20"/>
                <a:gd name="T19" fmla="*/ 0 h 17"/>
                <a:gd name="T20" fmla="*/ 5 w 20"/>
                <a:gd name="T21" fmla="*/ 2 h 17"/>
                <a:gd name="T22" fmla="*/ 3 w 20"/>
                <a:gd name="T23" fmla="*/ 2 h 17"/>
                <a:gd name="T24" fmla="*/ 3 w 20"/>
                <a:gd name="T25" fmla="*/ 5 h 17"/>
                <a:gd name="T26" fmla="*/ 3 w 20"/>
                <a:gd name="T27" fmla="*/ 7 h 17"/>
                <a:gd name="T28" fmla="*/ 0 w 20"/>
                <a:gd name="T29" fmla="*/ 7 h 17"/>
                <a:gd name="T30" fmla="*/ 3 w 20"/>
                <a:gd name="T31" fmla="*/ 9 h 17"/>
                <a:gd name="T32" fmla="*/ 3 w 20"/>
                <a:gd name="T33" fmla="*/ 12 h 17"/>
                <a:gd name="T34" fmla="*/ 3 w 20"/>
                <a:gd name="T35" fmla="*/ 14 h 17"/>
                <a:gd name="T36" fmla="*/ 5 w 20"/>
                <a:gd name="T37" fmla="*/ 14 h 17"/>
                <a:gd name="T38" fmla="*/ 5 w 20"/>
                <a:gd name="T39" fmla="*/ 17 h 17"/>
                <a:gd name="T40" fmla="*/ 8 w 20"/>
                <a:gd name="T41" fmla="*/ 17 h 17"/>
                <a:gd name="T42" fmla="*/ 10 w 20"/>
                <a:gd name="T43" fmla="*/ 17 h 17"/>
                <a:gd name="T44" fmla="*/ 10 w 20"/>
                <a:gd name="T45" fmla="*/ 17 h 17"/>
                <a:gd name="T46" fmla="*/ 12 w 20"/>
                <a:gd name="T47" fmla="*/ 17 h 17"/>
                <a:gd name="T48" fmla="*/ 15 w 20"/>
                <a:gd name="T49" fmla="*/ 17 h 17"/>
                <a:gd name="T50" fmla="*/ 17 w 20"/>
                <a:gd name="T51" fmla="*/ 17 h 17"/>
                <a:gd name="T52" fmla="*/ 17 w 20"/>
                <a:gd name="T53" fmla="*/ 14 h 17"/>
                <a:gd name="T54" fmla="*/ 20 w 20"/>
                <a:gd name="T55" fmla="*/ 14 h 17"/>
                <a:gd name="T56" fmla="*/ 20 w 20"/>
                <a:gd name="T57" fmla="*/ 12 h 17"/>
                <a:gd name="T58" fmla="*/ 20 w 20"/>
                <a:gd name="T59" fmla="*/ 9 h 17"/>
                <a:gd name="T60" fmla="*/ 20 w 20"/>
                <a:gd name="T61" fmla="*/ 7 h 17"/>
                <a:gd name="T62" fmla="*/ 20 w 20"/>
                <a:gd name="T6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17">
                  <a:moveTo>
                    <a:pt x="20" y="5"/>
                  </a:moveTo>
                  <a:lnTo>
                    <a:pt x="20" y="5"/>
                  </a:lnTo>
                  <a:lnTo>
                    <a:pt x="20" y="5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67">
              <a:extLst>
                <a:ext uri="{FF2B5EF4-FFF2-40B4-BE49-F238E27FC236}">
                  <a16:creationId xmlns:a16="http://schemas.microsoft.com/office/drawing/2014/main" id="{91C68348-40B7-4B07-A8BF-6BCFB23DB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" y="3023"/>
              <a:ext cx="19" cy="17"/>
            </a:xfrm>
            <a:custGeom>
              <a:avLst/>
              <a:gdLst>
                <a:gd name="T0" fmla="*/ 19 w 19"/>
                <a:gd name="T1" fmla="*/ 5 h 17"/>
                <a:gd name="T2" fmla="*/ 19 w 19"/>
                <a:gd name="T3" fmla="*/ 2 h 17"/>
                <a:gd name="T4" fmla="*/ 17 w 19"/>
                <a:gd name="T5" fmla="*/ 2 h 17"/>
                <a:gd name="T6" fmla="*/ 17 w 19"/>
                <a:gd name="T7" fmla="*/ 0 h 17"/>
                <a:gd name="T8" fmla="*/ 14 w 19"/>
                <a:gd name="T9" fmla="*/ 0 h 17"/>
                <a:gd name="T10" fmla="*/ 12 w 19"/>
                <a:gd name="T11" fmla="*/ 0 h 17"/>
                <a:gd name="T12" fmla="*/ 9 w 19"/>
                <a:gd name="T13" fmla="*/ 0 h 17"/>
                <a:gd name="T14" fmla="*/ 7 w 19"/>
                <a:gd name="T15" fmla="*/ 0 h 17"/>
                <a:gd name="T16" fmla="*/ 7 w 19"/>
                <a:gd name="T17" fmla="*/ 0 h 17"/>
                <a:gd name="T18" fmla="*/ 5 w 19"/>
                <a:gd name="T19" fmla="*/ 0 h 17"/>
                <a:gd name="T20" fmla="*/ 2 w 19"/>
                <a:gd name="T21" fmla="*/ 2 h 17"/>
                <a:gd name="T22" fmla="*/ 2 w 19"/>
                <a:gd name="T23" fmla="*/ 2 h 17"/>
                <a:gd name="T24" fmla="*/ 2 w 19"/>
                <a:gd name="T25" fmla="*/ 5 h 17"/>
                <a:gd name="T26" fmla="*/ 0 w 19"/>
                <a:gd name="T27" fmla="*/ 7 h 17"/>
                <a:gd name="T28" fmla="*/ 0 w 19"/>
                <a:gd name="T29" fmla="*/ 7 h 17"/>
                <a:gd name="T30" fmla="*/ 0 w 19"/>
                <a:gd name="T31" fmla="*/ 9 h 17"/>
                <a:gd name="T32" fmla="*/ 2 w 19"/>
                <a:gd name="T33" fmla="*/ 12 h 17"/>
                <a:gd name="T34" fmla="*/ 2 w 19"/>
                <a:gd name="T35" fmla="*/ 14 h 17"/>
                <a:gd name="T36" fmla="*/ 2 w 19"/>
                <a:gd name="T37" fmla="*/ 14 h 17"/>
                <a:gd name="T38" fmla="*/ 5 w 19"/>
                <a:gd name="T39" fmla="*/ 17 h 17"/>
                <a:gd name="T40" fmla="*/ 7 w 19"/>
                <a:gd name="T41" fmla="*/ 17 h 17"/>
                <a:gd name="T42" fmla="*/ 7 w 19"/>
                <a:gd name="T43" fmla="*/ 17 h 17"/>
                <a:gd name="T44" fmla="*/ 9 w 19"/>
                <a:gd name="T45" fmla="*/ 17 h 17"/>
                <a:gd name="T46" fmla="*/ 12 w 19"/>
                <a:gd name="T47" fmla="*/ 17 h 17"/>
                <a:gd name="T48" fmla="*/ 14 w 19"/>
                <a:gd name="T49" fmla="*/ 17 h 17"/>
                <a:gd name="T50" fmla="*/ 17 w 19"/>
                <a:gd name="T51" fmla="*/ 17 h 17"/>
                <a:gd name="T52" fmla="*/ 17 w 19"/>
                <a:gd name="T53" fmla="*/ 14 h 17"/>
                <a:gd name="T54" fmla="*/ 19 w 19"/>
                <a:gd name="T55" fmla="*/ 14 h 17"/>
                <a:gd name="T56" fmla="*/ 19 w 19"/>
                <a:gd name="T57" fmla="*/ 12 h 17"/>
                <a:gd name="T58" fmla="*/ 19 w 19"/>
                <a:gd name="T59" fmla="*/ 9 h 17"/>
                <a:gd name="T60" fmla="*/ 19 w 19"/>
                <a:gd name="T61" fmla="*/ 7 h 17"/>
                <a:gd name="T62" fmla="*/ 19 w 19"/>
                <a:gd name="T6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" h="17">
                  <a:moveTo>
                    <a:pt x="19" y="5"/>
                  </a:moveTo>
                  <a:lnTo>
                    <a:pt x="19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68">
              <a:extLst>
                <a:ext uri="{FF2B5EF4-FFF2-40B4-BE49-F238E27FC236}">
                  <a16:creationId xmlns:a16="http://schemas.microsoft.com/office/drawing/2014/main" id="{B2C6AD5B-7D07-4EFA-B702-39A05BAF3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3028"/>
              <a:ext cx="15" cy="12"/>
            </a:xfrm>
            <a:custGeom>
              <a:avLst/>
              <a:gdLst>
                <a:gd name="T0" fmla="*/ 15 w 15"/>
                <a:gd name="T1" fmla="*/ 2 h 12"/>
                <a:gd name="T2" fmla="*/ 15 w 15"/>
                <a:gd name="T3" fmla="*/ 2 h 12"/>
                <a:gd name="T4" fmla="*/ 12 w 15"/>
                <a:gd name="T5" fmla="*/ 0 h 12"/>
                <a:gd name="T6" fmla="*/ 12 w 15"/>
                <a:gd name="T7" fmla="*/ 0 h 12"/>
                <a:gd name="T8" fmla="*/ 10 w 15"/>
                <a:gd name="T9" fmla="*/ 0 h 12"/>
                <a:gd name="T10" fmla="*/ 10 w 15"/>
                <a:gd name="T11" fmla="*/ 0 h 12"/>
                <a:gd name="T12" fmla="*/ 8 w 15"/>
                <a:gd name="T13" fmla="*/ 0 h 12"/>
                <a:gd name="T14" fmla="*/ 8 w 15"/>
                <a:gd name="T15" fmla="*/ 0 h 12"/>
                <a:gd name="T16" fmla="*/ 5 w 15"/>
                <a:gd name="T17" fmla="*/ 0 h 12"/>
                <a:gd name="T18" fmla="*/ 5 w 15"/>
                <a:gd name="T19" fmla="*/ 0 h 12"/>
                <a:gd name="T20" fmla="*/ 3 w 15"/>
                <a:gd name="T21" fmla="*/ 0 h 12"/>
                <a:gd name="T22" fmla="*/ 3 w 15"/>
                <a:gd name="T23" fmla="*/ 2 h 12"/>
                <a:gd name="T24" fmla="*/ 0 w 15"/>
                <a:gd name="T25" fmla="*/ 2 h 12"/>
                <a:gd name="T26" fmla="*/ 0 w 15"/>
                <a:gd name="T27" fmla="*/ 4 h 12"/>
                <a:gd name="T28" fmla="*/ 0 w 15"/>
                <a:gd name="T29" fmla="*/ 4 h 12"/>
                <a:gd name="T30" fmla="*/ 0 w 15"/>
                <a:gd name="T31" fmla="*/ 7 h 12"/>
                <a:gd name="T32" fmla="*/ 0 w 15"/>
                <a:gd name="T33" fmla="*/ 9 h 12"/>
                <a:gd name="T34" fmla="*/ 3 w 15"/>
                <a:gd name="T35" fmla="*/ 9 h 12"/>
                <a:gd name="T36" fmla="*/ 3 w 15"/>
                <a:gd name="T37" fmla="*/ 9 h 12"/>
                <a:gd name="T38" fmla="*/ 5 w 15"/>
                <a:gd name="T39" fmla="*/ 12 h 12"/>
                <a:gd name="T40" fmla="*/ 5 w 15"/>
                <a:gd name="T41" fmla="*/ 12 h 12"/>
                <a:gd name="T42" fmla="*/ 8 w 15"/>
                <a:gd name="T43" fmla="*/ 12 h 12"/>
                <a:gd name="T44" fmla="*/ 8 w 15"/>
                <a:gd name="T45" fmla="*/ 12 h 12"/>
                <a:gd name="T46" fmla="*/ 10 w 15"/>
                <a:gd name="T47" fmla="*/ 12 h 12"/>
                <a:gd name="T48" fmla="*/ 10 w 15"/>
                <a:gd name="T49" fmla="*/ 12 h 12"/>
                <a:gd name="T50" fmla="*/ 12 w 15"/>
                <a:gd name="T51" fmla="*/ 12 h 12"/>
                <a:gd name="T52" fmla="*/ 12 w 15"/>
                <a:gd name="T53" fmla="*/ 9 h 12"/>
                <a:gd name="T54" fmla="*/ 15 w 15"/>
                <a:gd name="T55" fmla="*/ 9 h 12"/>
                <a:gd name="T56" fmla="*/ 15 w 15"/>
                <a:gd name="T57" fmla="*/ 9 h 12"/>
                <a:gd name="T58" fmla="*/ 15 w 15"/>
                <a:gd name="T59" fmla="*/ 7 h 12"/>
                <a:gd name="T60" fmla="*/ 15 w 15"/>
                <a:gd name="T61" fmla="*/ 4 h 12"/>
                <a:gd name="T62" fmla="*/ 15 w 15"/>
                <a:gd name="T6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15" y="4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7" name="Group 171">
            <a:extLst>
              <a:ext uri="{FF2B5EF4-FFF2-40B4-BE49-F238E27FC236}">
                <a16:creationId xmlns:a16="http://schemas.microsoft.com/office/drawing/2014/main" id="{D9D4BD73-6C3F-4C54-91F4-970A81846E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5763" y="4117979"/>
            <a:ext cx="841375" cy="841375"/>
            <a:chOff x="241" y="2656"/>
            <a:chExt cx="530" cy="530"/>
          </a:xfrm>
        </p:grpSpPr>
        <p:sp>
          <p:nvSpPr>
            <p:cNvPr id="198" name="AutoShape 170">
              <a:extLst>
                <a:ext uri="{FF2B5EF4-FFF2-40B4-BE49-F238E27FC236}">
                  <a16:creationId xmlns:a16="http://schemas.microsoft.com/office/drawing/2014/main" id="{74F37BB1-94BE-4592-A0BA-0944A050D5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1" y="265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Oval 172">
              <a:extLst>
                <a:ext uri="{FF2B5EF4-FFF2-40B4-BE49-F238E27FC236}">
                  <a16:creationId xmlns:a16="http://schemas.microsoft.com/office/drawing/2014/main" id="{450FB8E9-7926-498A-91AD-760FED768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" y="265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73">
              <a:extLst>
                <a:ext uri="{FF2B5EF4-FFF2-40B4-BE49-F238E27FC236}">
                  <a16:creationId xmlns:a16="http://schemas.microsoft.com/office/drawing/2014/main" id="{BCE47E26-2783-421E-AA51-1208D54E1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" y="267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74">
              <a:extLst>
                <a:ext uri="{FF2B5EF4-FFF2-40B4-BE49-F238E27FC236}">
                  <a16:creationId xmlns:a16="http://schemas.microsoft.com/office/drawing/2014/main" id="{E93DFB37-5199-4FAE-87D7-257788DF8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" y="3050"/>
              <a:ext cx="16" cy="13"/>
            </a:xfrm>
            <a:custGeom>
              <a:avLst/>
              <a:gdLst>
                <a:gd name="T0" fmla="*/ 16 w 16"/>
                <a:gd name="T1" fmla="*/ 5 h 13"/>
                <a:gd name="T2" fmla="*/ 13 w 16"/>
                <a:gd name="T3" fmla="*/ 3 h 13"/>
                <a:gd name="T4" fmla="*/ 13 w 16"/>
                <a:gd name="T5" fmla="*/ 3 h 13"/>
                <a:gd name="T6" fmla="*/ 13 w 16"/>
                <a:gd name="T7" fmla="*/ 0 h 13"/>
                <a:gd name="T8" fmla="*/ 11 w 16"/>
                <a:gd name="T9" fmla="*/ 0 h 13"/>
                <a:gd name="T10" fmla="*/ 11 w 16"/>
                <a:gd name="T11" fmla="*/ 0 h 13"/>
                <a:gd name="T12" fmla="*/ 8 w 16"/>
                <a:gd name="T13" fmla="*/ 0 h 13"/>
                <a:gd name="T14" fmla="*/ 6 w 16"/>
                <a:gd name="T15" fmla="*/ 0 h 13"/>
                <a:gd name="T16" fmla="*/ 6 w 16"/>
                <a:gd name="T17" fmla="*/ 0 h 13"/>
                <a:gd name="T18" fmla="*/ 3 w 16"/>
                <a:gd name="T19" fmla="*/ 0 h 13"/>
                <a:gd name="T20" fmla="*/ 3 w 16"/>
                <a:gd name="T21" fmla="*/ 0 h 13"/>
                <a:gd name="T22" fmla="*/ 0 w 16"/>
                <a:gd name="T23" fmla="*/ 3 h 13"/>
                <a:gd name="T24" fmla="*/ 0 w 16"/>
                <a:gd name="T25" fmla="*/ 3 h 13"/>
                <a:gd name="T26" fmla="*/ 0 w 16"/>
                <a:gd name="T27" fmla="*/ 5 h 13"/>
                <a:gd name="T28" fmla="*/ 0 w 16"/>
                <a:gd name="T29" fmla="*/ 5 h 13"/>
                <a:gd name="T30" fmla="*/ 0 w 16"/>
                <a:gd name="T31" fmla="*/ 8 h 13"/>
                <a:gd name="T32" fmla="*/ 0 w 16"/>
                <a:gd name="T33" fmla="*/ 8 h 13"/>
                <a:gd name="T34" fmla="*/ 0 w 16"/>
                <a:gd name="T35" fmla="*/ 10 h 13"/>
                <a:gd name="T36" fmla="*/ 0 w 16"/>
                <a:gd name="T37" fmla="*/ 10 h 13"/>
                <a:gd name="T38" fmla="*/ 3 w 16"/>
                <a:gd name="T39" fmla="*/ 13 h 13"/>
                <a:gd name="T40" fmla="*/ 3 w 16"/>
                <a:gd name="T41" fmla="*/ 13 h 13"/>
                <a:gd name="T42" fmla="*/ 6 w 16"/>
                <a:gd name="T43" fmla="*/ 13 h 13"/>
                <a:gd name="T44" fmla="*/ 6 w 16"/>
                <a:gd name="T45" fmla="*/ 13 h 13"/>
                <a:gd name="T46" fmla="*/ 8 w 16"/>
                <a:gd name="T47" fmla="*/ 13 h 13"/>
                <a:gd name="T48" fmla="*/ 11 w 16"/>
                <a:gd name="T49" fmla="*/ 13 h 13"/>
                <a:gd name="T50" fmla="*/ 11 w 16"/>
                <a:gd name="T51" fmla="*/ 13 h 13"/>
                <a:gd name="T52" fmla="*/ 13 w 16"/>
                <a:gd name="T53" fmla="*/ 13 h 13"/>
                <a:gd name="T54" fmla="*/ 13 w 16"/>
                <a:gd name="T55" fmla="*/ 10 h 13"/>
                <a:gd name="T56" fmla="*/ 13 w 16"/>
                <a:gd name="T57" fmla="*/ 10 h 13"/>
                <a:gd name="T58" fmla="*/ 16 w 16"/>
                <a:gd name="T59" fmla="*/ 8 h 13"/>
                <a:gd name="T60" fmla="*/ 16 w 16"/>
                <a:gd name="T61" fmla="*/ 8 h 13"/>
                <a:gd name="T62" fmla="*/ 16 w 16"/>
                <a:gd name="T6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" h="13">
                  <a:moveTo>
                    <a:pt x="16" y="5"/>
                  </a:moveTo>
                  <a:lnTo>
                    <a:pt x="16" y="5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75">
              <a:extLst>
                <a:ext uri="{FF2B5EF4-FFF2-40B4-BE49-F238E27FC236}">
                  <a16:creationId xmlns:a16="http://schemas.microsoft.com/office/drawing/2014/main" id="{11BBD937-D6E9-4656-B9EF-4F92766F3B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" y="2784"/>
              <a:ext cx="258" cy="276"/>
            </a:xfrm>
            <a:custGeom>
              <a:avLst/>
              <a:gdLst>
                <a:gd name="T0" fmla="*/ 258 w 258"/>
                <a:gd name="T1" fmla="*/ 77 h 276"/>
                <a:gd name="T2" fmla="*/ 248 w 258"/>
                <a:gd name="T3" fmla="*/ 61 h 276"/>
                <a:gd name="T4" fmla="*/ 189 w 258"/>
                <a:gd name="T5" fmla="*/ 5 h 276"/>
                <a:gd name="T6" fmla="*/ 171 w 258"/>
                <a:gd name="T7" fmla="*/ 0 h 276"/>
                <a:gd name="T8" fmla="*/ 148 w 258"/>
                <a:gd name="T9" fmla="*/ 2 h 276"/>
                <a:gd name="T10" fmla="*/ 135 w 258"/>
                <a:gd name="T11" fmla="*/ 10 h 276"/>
                <a:gd name="T12" fmla="*/ 38 w 258"/>
                <a:gd name="T13" fmla="*/ 107 h 276"/>
                <a:gd name="T14" fmla="*/ 0 w 258"/>
                <a:gd name="T15" fmla="*/ 182 h 276"/>
                <a:gd name="T16" fmla="*/ 0 w 258"/>
                <a:gd name="T17" fmla="*/ 200 h 276"/>
                <a:gd name="T18" fmla="*/ 10 w 258"/>
                <a:gd name="T19" fmla="*/ 215 h 276"/>
                <a:gd name="T20" fmla="*/ 79 w 258"/>
                <a:gd name="T21" fmla="*/ 276 h 276"/>
                <a:gd name="T22" fmla="*/ 102 w 258"/>
                <a:gd name="T23" fmla="*/ 276 h 276"/>
                <a:gd name="T24" fmla="*/ 120 w 258"/>
                <a:gd name="T25" fmla="*/ 264 h 276"/>
                <a:gd name="T26" fmla="*/ 256 w 258"/>
                <a:gd name="T27" fmla="*/ 125 h 276"/>
                <a:gd name="T28" fmla="*/ 258 w 258"/>
                <a:gd name="T29" fmla="*/ 110 h 276"/>
                <a:gd name="T30" fmla="*/ 46 w 258"/>
                <a:gd name="T31" fmla="*/ 184 h 276"/>
                <a:gd name="T32" fmla="*/ 46 w 258"/>
                <a:gd name="T33" fmla="*/ 123 h 276"/>
                <a:gd name="T34" fmla="*/ 15 w 258"/>
                <a:gd name="T35" fmla="*/ 200 h 276"/>
                <a:gd name="T36" fmla="*/ 38 w 258"/>
                <a:gd name="T37" fmla="*/ 192 h 276"/>
                <a:gd name="T38" fmla="*/ 46 w 258"/>
                <a:gd name="T39" fmla="*/ 197 h 276"/>
                <a:gd name="T40" fmla="*/ 84 w 258"/>
                <a:gd name="T41" fmla="*/ 269 h 276"/>
                <a:gd name="T42" fmla="*/ 54 w 258"/>
                <a:gd name="T43" fmla="*/ 179 h 276"/>
                <a:gd name="T44" fmla="*/ 54 w 258"/>
                <a:gd name="T45" fmla="*/ 115 h 276"/>
                <a:gd name="T46" fmla="*/ 61 w 258"/>
                <a:gd name="T47" fmla="*/ 100 h 276"/>
                <a:gd name="T48" fmla="*/ 179 w 258"/>
                <a:gd name="T49" fmla="*/ 133 h 276"/>
                <a:gd name="T50" fmla="*/ 56 w 258"/>
                <a:gd name="T51" fmla="*/ 187 h 276"/>
                <a:gd name="T52" fmla="*/ 97 w 258"/>
                <a:gd name="T53" fmla="*/ 269 h 276"/>
                <a:gd name="T54" fmla="*/ 187 w 258"/>
                <a:gd name="T55" fmla="*/ 146 h 276"/>
                <a:gd name="T56" fmla="*/ 110 w 258"/>
                <a:gd name="T57" fmla="*/ 54 h 276"/>
                <a:gd name="T58" fmla="*/ 153 w 258"/>
                <a:gd name="T59" fmla="*/ 13 h 276"/>
                <a:gd name="T60" fmla="*/ 179 w 258"/>
                <a:gd name="T61" fmla="*/ 15 h 276"/>
                <a:gd name="T62" fmla="*/ 189 w 258"/>
                <a:gd name="T63" fmla="*/ 20 h 276"/>
                <a:gd name="T64" fmla="*/ 187 w 258"/>
                <a:gd name="T65" fmla="*/ 128 h 276"/>
                <a:gd name="T66" fmla="*/ 243 w 258"/>
                <a:gd name="T67" fmla="*/ 120 h 276"/>
                <a:gd name="T68" fmla="*/ 235 w 258"/>
                <a:gd name="T69" fmla="*/ 133 h 276"/>
                <a:gd name="T70" fmla="*/ 194 w 258"/>
                <a:gd name="T71" fmla="*/ 138 h 276"/>
                <a:gd name="T72" fmla="*/ 243 w 258"/>
                <a:gd name="T73" fmla="*/ 12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276">
                  <a:moveTo>
                    <a:pt x="258" y="110"/>
                  </a:moveTo>
                  <a:lnTo>
                    <a:pt x="258" y="77"/>
                  </a:lnTo>
                  <a:lnTo>
                    <a:pt x="253" y="66"/>
                  </a:lnTo>
                  <a:lnTo>
                    <a:pt x="248" y="61"/>
                  </a:lnTo>
                  <a:lnTo>
                    <a:pt x="246" y="59"/>
                  </a:lnTo>
                  <a:lnTo>
                    <a:pt x="189" y="5"/>
                  </a:lnTo>
                  <a:lnTo>
                    <a:pt x="182" y="0"/>
                  </a:lnTo>
                  <a:lnTo>
                    <a:pt x="171" y="0"/>
                  </a:lnTo>
                  <a:lnTo>
                    <a:pt x="159" y="0"/>
                  </a:lnTo>
                  <a:lnTo>
                    <a:pt x="148" y="2"/>
                  </a:lnTo>
                  <a:lnTo>
                    <a:pt x="141" y="5"/>
                  </a:lnTo>
                  <a:lnTo>
                    <a:pt x="135" y="10"/>
                  </a:lnTo>
                  <a:lnTo>
                    <a:pt x="46" y="97"/>
                  </a:lnTo>
                  <a:lnTo>
                    <a:pt x="38" y="107"/>
                  </a:lnTo>
                  <a:lnTo>
                    <a:pt x="36" y="115"/>
                  </a:lnTo>
                  <a:lnTo>
                    <a:pt x="0" y="182"/>
                  </a:lnTo>
                  <a:lnTo>
                    <a:pt x="0" y="189"/>
                  </a:lnTo>
                  <a:lnTo>
                    <a:pt x="0" y="200"/>
                  </a:lnTo>
                  <a:lnTo>
                    <a:pt x="7" y="212"/>
                  </a:lnTo>
                  <a:lnTo>
                    <a:pt x="10" y="215"/>
                  </a:lnTo>
                  <a:lnTo>
                    <a:pt x="71" y="274"/>
                  </a:lnTo>
                  <a:lnTo>
                    <a:pt x="79" y="276"/>
                  </a:lnTo>
                  <a:lnTo>
                    <a:pt x="84" y="276"/>
                  </a:lnTo>
                  <a:lnTo>
                    <a:pt x="102" y="276"/>
                  </a:lnTo>
                  <a:lnTo>
                    <a:pt x="112" y="271"/>
                  </a:lnTo>
                  <a:lnTo>
                    <a:pt x="120" y="264"/>
                  </a:lnTo>
                  <a:lnTo>
                    <a:pt x="251" y="136"/>
                  </a:lnTo>
                  <a:lnTo>
                    <a:pt x="256" y="125"/>
                  </a:lnTo>
                  <a:lnTo>
                    <a:pt x="258" y="113"/>
                  </a:lnTo>
                  <a:lnTo>
                    <a:pt x="258" y="110"/>
                  </a:lnTo>
                  <a:close/>
                  <a:moveTo>
                    <a:pt x="46" y="123"/>
                  </a:moveTo>
                  <a:lnTo>
                    <a:pt x="46" y="184"/>
                  </a:lnTo>
                  <a:lnTo>
                    <a:pt x="13" y="184"/>
                  </a:lnTo>
                  <a:lnTo>
                    <a:pt x="46" y="123"/>
                  </a:lnTo>
                  <a:close/>
                  <a:moveTo>
                    <a:pt x="84" y="269"/>
                  </a:moveTo>
                  <a:lnTo>
                    <a:pt x="15" y="200"/>
                  </a:lnTo>
                  <a:lnTo>
                    <a:pt x="10" y="192"/>
                  </a:lnTo>
                  <a:lnTo>
                    <a:pt x="38" y="192"/>
                  </a:lnTo>
                  <a:lnTo>
                    <a:pt x="43" y="192"/>
                  </a:lnTo>
                  <a:lnTo>
                    <a:pt x="46" y="197"/>
                  </a:lnTo>
                  <a:lnTo>
                    <a:pt x="84" y="230"/>
                  </a:lnTo>
                  <a:lnTo>
                    <a:pt x="84" y="269"/>
                  </a:lnTo>
                  <a:close/>
                  <a:moveTo>
                    <a:pt x="56" y="187"/>
                  </a:moveTo>
                  <a:lnTo>
                    <a:pt x="54" y="179"/>
                  </a:lnTo>
                  <a:lnTo>
                    <a:pt x="54" y="171"/>
                  </a:lnTo>
                  <a:lnTo>
                    <a:pt x="54" y="115"/>
                  </a:lnTo>
                  <a:lnTo>
                    <a:pt x="56" y="107"/>
                  </a:lnTo>
                  <a:lnTo>
                    <a:pt x="61" y="100"/>
                  </a:lnTo>
                  <a:lnTo>
                    <a:pt x="105" y="59"/>
                  </a:lnTo>
                  <a:lnTo>
                    <a:pt x="179" y="133"/>
                  </a:lnTo>
                  <a:lnTo>
                    <a:pt x="89" y="220"/>
                  </a:lnTo>
                  <a:lnTo>
                    <a:pt x="56" y="187"/>
                  </a:lnTo>
                  <a:close/>
                  <a:moveTo>
                    <a:pt x="187" y="182"/>
                  </a:moveTo>
                  <a:lnTo>
                    <a:pt x="97" y="269"/>
                  </a:lnTo>
                  <a:lnTo>
                    <a:pt x="97" y="230"/>
                  </a:lnTo>
                  <a:lnTo>
                    <a:pt x="187" y="146"/>
                  </a:lnTo>
                  <a:lnTo>
                    <a:pt x="187" y="182"/>
                  </a:lnTo>
                  <a:close/>
                  <a:moveTo>
                    <a:pt x="110" y="54"/>
                  </a:moveTo>
                  <a:lnTo>
                    <a:pt x="148" y="15"/>
                  </a:lnTo>
                  <a:lnTo>
                    <a:pt x="153" y="13"/>
                  </a:lnTo>
                  <a:lnTo>
                    <a:pt x="159" y="13"/>
                  </a:lnTo>
                  <a:lnTo>
                    <a:pt x="179" y="15"/>
                  </a:lnTo>
                  <a:lnTo>
                    <a:pt x="187" y="18"/>
                  </a:lnTo>
                  <a:lnTo>
                    <a:pt x="189" y="20"/>
                  </a:lnTo>
                  <a:lnTo>
                    <a:pt x="243" y="72"/>
                  </a:lnTo>
                  <a:lnTo>
                    <a:pt x="187" y="128"/>
                  </a:lnTo>
                  <a:lnTo>
                    <a:pt x="110" y="54"/>
                  </a:lnTo>
                  <a:close/>
                  <a:moveTo>
                    <a:pt x="243" y="120"/>
                  </a:moveTo>
                  <a:lnTo>
                    <a:pt x="240" y="125"/>
                  </a:lnTo>
                  <a:lnTo>
                    <a:pt x="235" y="133"/>
                  </a:lnTo>
                  <a:lnTo>
                    <a:pt x="194" y="174"/>
                  </a:lnTo>
                  <a:lnTo>
                    <a:pt x="194" y="138"/>
                  </a:lnTo>
                  <a:lnTo>
                    <a:pt x="246" y="87"/>
                  </a:lnTo>
                  <a:lnTo>
                    <a:pt x="243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76">
              <a:extLst>
                <a:ext uri="{FF2B5EF4-FFF2-40B4-BE49-F238E27FC236}">
                  <a16:creationId xmlns:a16="http://schemas.microsoft.com/office/drawing/2014/main" id="{4492F182-CD0F-41FE-A30A-575120CF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" y="3045"/>
              <a:ext cx="20" cy="18"/>
            </a:xfrm>
            <a:custGeom>
              <a:avLst/>
              <a:gdLst>
                <a:gd name="T0" fmla="*/ 20 w 20"/>
                <a:gd name="T1" fmla="*/ 5 h 18"/>
                <a:gd name="T2" fmla="*/ 20 w 20"/>
                <a:gd name="T3" fmla="*/ 3 h 18"/>
                <a:gd name="T4" fmla="*/ 18 w 20"/>
                <a:gd name="T5" fmla="*/ 3 h 18"/>
                <a:gd name="T6" fmla="*/ 18 w 20"/>
                <a:gd name="T7" fmla="*/ 0 h 18"/>
                <a:gd name="T8" fmla="*/ 15 w 20"/>
                <a:gd name="T9" fmla="*/ 0 h 18"/>
                <a:gd name="T10" fmla="*/ 13 w 20"/>
                <a:gd name="T11" fmla="*/ 0 h 18"/>
                <a:gd name="T12" fmla="*/ 10 w 20"/>
                <a:gd name="T13" fmla="*/ 0 h 18"/>
                <a:gd name="T14" fmla="*/ 10 w 20"/>
                <a:gd name="T15" fmla="*/ 0 h 18"/>
                <a:gd name="T16" fmla="*/ 7 w 20"/>
                <a:gd name="T17" fmla="*/ 0 h 18"/>
                <a:gd name="T18" fmla="*/ 5 w 20"/>
                <a:gd name="T19" fmla="*/ 0 h 18"/>
                <a:gd name="T20" fmla="*/ 5 w 20"/>
                <a:gd name="T21" fmla="*/ 3 h 18"/>
                <a:gd name="T22" fmla="*/ 2 w 20"/>
                <a:gd name="T23" fmla="*/ 3 h 18"/>
                <a:gd name="T24" fmla="*/ 2 w 20"/>
                <a:gd name="T25" fmla="*/ 5 h 18"/>
                <a:gd name="T26" fmla="*/ 2 w 20"/>
                <a:gd name="T27" fmla="*/ 8 h 18"/>
                <a:gd name="T28" fmla="*/ 0 w 20"/>
                <a:gd name="T29" fmla="*/ 8 h 18"/>
                <a:gd name="T30" fmla="*/ 2 w 20"/>
                <a:gd name="T31" fmla="*/ 10 h 18"/>
                <a:gd name="T32" fmla="*/ 2 w 20"/>
                <a:gd name="T33" fmla="*/ 13 h 18"/>
                <a:gd name="T34" fmla="*/ 2 w 20"/>
                <a:gd name="T35" fmla="*/ 15 h 18"/>
                <a:gd name="T36" fmla="*/ 5 w 20"/>
                <a:gd name="T37" fmla="*/ 15 h 18"/>
                <a:gd name="T38" fmla="*/ 5 w 20"/>
                <a:gd name="T39" fmla="*/ 18 h 18"/>
                <a:gd name="T40" fmla="*/ 7 w 20"/>
                <a:gd name="T41" fmla="*/ 18 h 18"/>
                <a:gd name="T42" fmla="*/ 10 w 20"/>
                <a:gd name="T43" fmla="*/ 18 h 18"/>
                <a:gd name="T44" fmla="*/ 10 w 20"/>
                <a:gd name="T45" fmla="*/ 18 h 18"/>
                <a:gd name="T46" fmla="*/ 13 w 20"/>
                <a:gd name="T47" fmla="*/ 18 h 18"/>
                <a:gd name="T48" fmla="*/ 15 w 20"/>
                <a:gd name="T49" fmla="*/ 18 h 18"/>
                <a:gd name="T50" fmla="*/ 18 w 20"/>
                <a:gd name="T51" fmla="*/ 18 h 18"/>
                <a:gd name="T52" fmla="*/ 18 w 20"/>
                <a:gd name="T53" fmla="*/ 15 h 18"/>
                <a:gd name="T54" fmla="*/ 20 w 20"/>
                <a:gd name="T55" fmla="*/ 15 h 18"/>
                <a:gd name="T56" fmla="*/ 20 w 20"/>
                <a:gd name="T57" fmla="*/ 13 h 18"/>
                <a:gd name="T58" fmla="*/ 20 w 20"/>
                <a:gd name="T59" fmla="*/ 10 h 18"/>
                <a:gd name="T60" fmla="*/ 20 w 20"/>
                <a:gd name="T61" fmla="*/ 8 h 18"/>
                <a:gd name="T62" fmla="*/ 20 w 20"/>
                <a:gd name="T6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18">
                  <a:moveTo>
                    <a:pt x="20" y="5"/>
                  </a:move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77">
              <a:extLst>
                <a:ext uri="{FF2B5EF4-FFF2-40B4-BE49-F238E27FC236}">
                  <a16:creationId xmlns:a16="http://schemas.microsoft.com/office/drawing/2014/main" id="{6D93DDF7-5F9C-44E7-AE2B-535980A1D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3045"/>
              <a:ext cx="21" cy="18"/>
            </a:xfrm>
            <a:custGeom>
              <a:avLst/>
              <a:gdLst>
                <a:gd name="T0" fmla="*/ 21 w 21"/>
                <a:gd name="T1" fmla="*/ 5 h 18"/>
                <a:gd name="T2" fmla="*/ 21 w 21"/>
                <a:gd name="T3" fmla="*/ 3 h 18"/>
                <a:gd name="T4" fmla="*/ 18 w 21"/>
                <a:gd name="T5" fmla="*/ 3 h 18"/>
                <a:gd name="T6" fmla="*/ 18 w 21"/>
                <a:gd name="T7" fmla="*/ 0 h 18"/>
                <a:gd name="T8" fmla="*/ 16 w 21"/>
                <a:gd name="T9" fmla="*/ 0 h 18"/>
                <a:gd name="T10" fmla="*/ 13 w 21"/>
                <a:gd name="T11" fmla="*/ 0 h 18"/>
                <a:gd name="T12" fmla="*/ 10 w 21"/>
                <a:gd name="T13" fmla="*/ 0 h 18"/>
                <a:gd name="T14" fmla="*/ 8 w 21"/>
                <a:gd name="T15" fmla="*/ 0 h 18"/>
                <a:gd name="T16" fmla="*/ 8 w 21"/>
                <a:gd name="T17" fmla="*/ 0 h 18"/>
                <a:gd name="T18" fmla="*/ 5 w 21"/>
                <a:gd name="T19" fmla="*/ 0 h 18"/>
                <a:gd name="T20" fmla="*/ 3 w 21"/>
                <a:gd name="T21" fmla="*/ 3 h 18"/>
                <a:gd name="T22" fmla="*/ 3 w 21"/>
                <a:gd name="T23" fmla="*/ 3 h 18"/>
                <a:gd name="T24" fmla="*/ 3 w 21"/>
                <a:gd name="T25" fmla="*/ 5 h 18"/>
                <a:gd name="T26" fmla="*/ 0 w 21"/>
                <a:gd name="T27" fmla="*/ 8 h 18"/>
                <a:gd name="T28" fmla="*/ 0 w 21"/>
                <a:gd name="T29" fmla="*/ 8 h 18"/>
                <a:gd name="T30" fmla="*/ 0 w 21"/>
                <a:gd name="T31" fmla="*/ 10 h 18"/>
                <a:gd name="T32" fmla="*/ 3 w 21"/>
                <a:gd name="T33" fmla="*/ 13 h 18"/>
                <a:gd name="T34" fmla="*/ 3 w 21"/>
                <a:gd name="T35" fmla="*/ 15 h 18"/>
                <a:gd name="T36" fmla="*/ 3 w 21"/>
                <a:gd name="T37" fmla="*/ 15 h 18"/>
                <a:gd name="T38" fmla="*/ 5 w 21"/>
                <a:gd name="T39" fmla="*/ 18 h 18"/>
                <a:gd name="T40" fmla="*/ 8 w 21"/>
                <a:gd name="T41" fmla="*/ 18 h 18"/>
                <a:gd name="T42" fmla="*/ 8 w 21"/>
                <a:gd name="T43" fmla="*/ 18 h 18"/>
                <a:gd name="T44" fmla="*/ 10 w 21"/>
                <a:gd name="T45" fmla="*/ 18 h 18"/>
                <a:gd name="T46" fmla="*/ 13 w 21"/>
                <a:gd name="T47" fmla="*/ 18 h 18"/>
                <a:gd name="T48" fmla="*/ 16 w 21"/>
                <a:gd name="T49" fmla="*/ 18 h 18"/>
                <a:gd name="T50" fmla="*/ 18 w 21"/>
                <a:gd name="T51" fmla="*/ 18 h 18"/>
                <a:gd name="T52" fmla="*/ 18 w 21"/>
                <a:gd name="T53" fmla="*/ 15 h 18"/>
                <a:gd name="T54" fmla="*/ 21 w 21"/>
                <a:gd name="T55" fmla="*/ 15 h 18"/>
                <a:gd name="T56" fmla="*/ 21 w 21"/>
                <a:gd name="T57" fmla="*/ 13 h 18"/>
                <a:gd name="T58" fmla="*/ 21 w 21"/>
                <a:gd name="T59" fmla="*/ 10 h 18"/>
                <a:gd name="T60" fmla="*/ 21 w 21"/>
                <a:gd name="T61" fmla="*/ 8 h 18"/>
                <a:gd name="T62" fmla="*/ 21 w 21"/>
                <a:gd name="T6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" h="18">
                  <a:moveTo>
                    <a:pt x="21" y="5"/>
                  </a:moveTo>
                  <a:lnTo>
                    <a:pt x="21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8">
              <a:extLst>
                <a:ext uri="{FF2B5EF4-FFF2-40B4-BE49-F238E27FC236}">
                  <a16:creationId xmlns:a16="http://schemas.microsoft.com/office/drawing/2014/main" id="{673C530D-BAED-4E0B-A5A1-00247A932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" y="3050"/>
              <a:ext cx="15" cy="13"/>
            </a:xfrm>
            <a:custGeom>
              <a:avLst/>
              <a:gdLst>
                <a:gd name="T0" fmla="*/ 15 w 15"/>
                <a:gd name="T1" fmla="*/ 3 h 13"/>
                <a:gd name="T2" fmla="*/ 15 w 15"/>
                <a:gd name="T3" fmla="*/ 3 h 13"/>
                <a:gd name="T4" fmla="*/ 13 w 15"/>
                <a:gd name="T5" fmla="*/ 0 h 13"/>
                <a:gd name="T6" fmla="*/ 13 w 15"/>
                <a:gd name="T7" fmla="*/ 0 h 13"/>
                <a:gd name="T8" fmla="*/ 10 w 15"/>
                <a:gd name="T9" fmla="*/ 0 h 13"/>
                <a:gd name="T10" fmla="*/ 10 w 15"/>
                <a:gd name="T11" fmla="*/ 0 h 13"/>
                <a:gd name="T12" fmla="*/ 7 w 15"/>
                <a:gd name="T13" fmla="*/ 0 h 13"/>
                <a:gd name="T14" fmla="*/ 7 w 15"/>
                <a:gd name="T15" fmla="*/ 0 h 13"/>
                <a:gd name="T16" fmla="*/ 5 w 15"/>
                <a:gd name="T17" fmla="*/ 0 h 13"/>
                <a:gd name="T18" fmla="*/ 5 w 15"/>
                <a:gd name="T19" fmla="*/ 0 h 13"/>
                <a:gd name="T20" fmla="*/ 2 w 15"/>
                <a:gd name="T21" fmla="*/ 0 h 13"/>
                <a:gd name="T22" fmla="*/ 2 w 15"/>
                <a:gd name="T23" fmla="*/ 3 h 13"/>
                <a:gd name="T24" fmla="*/ 0 w 15"/>
                <a:gd name="T25" fmla="*/ 3 h 13"/>
                <a:gd name="T26" fmla="*/ 0 w 15"/>
                <a:gd name="T27" fmla="*/ 5 h 13"/>
                <a:gd name="T28" fmla="*/ 0 w 15"/>
                <a:gd name="T29" fmla="*/ 5 h 13"/>
                <a:gd name="T30" fmla="*/ 0 w 15"/>
                <a:gd name="T31" fmla="*/ 8 h 13"/>
                <a:gd name="T32" fmla="*/ 0 w 15"/>
                <a:gd name="T33" fmla="*/ 10 h 13"/>
                <a:gd name="T34" fmla="*/ 2 w 15"/>
                <a:gd name="T35" fmla="*/ 10 h 13"/>
                <a:gd name="T36" fmla="*/ 2 w 15"/>
                <a:gd name="T37" fmla="*/ 10 h 13"/>
                <a:gd name="T38" fmla="*/ 5 w 15"/>
                <a:gd name="T39" fmla="*/ 13 h 13"/>
                <a:gd name="T40" fmla="*/ 5 w 15"/>
                <a:gd name="T41" fmla="*/ 13 h 13"/>
                <a:gd name="T42" fmla="*/ 7 w 15"/>
                <a:gd name="T43" fmla="*/ 13 h 13"/>
                <a:gd name="T44" fmla="*/ 7 w 15"/>
                <a:gd name="T45" fmla="*/ 13 h 13"/>
                <a:gd name="T46" fmla="*/ 10 w 15"/>
                <a:gd name="T47" fmla="*/ 13 h 13"/>
                <a:gd name="T48" fmla="*/ 10 w 15"/>
                <a:gd name="T49" fmla="*/ 13 h 13"/>
                <a:gd name="T50" fmla="*/ 13 w 15"/>
                <a:gd name="T51" fmla="*/ 13 h 13"/>
                <a:gd name="T52" fmla="*/ 13 w 15"/>
                <a:gd name="T53" fmla="*/ 10 h 13"/>
                <a:gd name="T54" fmla="*/ 15 w 15"/>
                <a:gd name="T55" fmla="*/ 10 h 13"/>
                <a:gd name="T56" fmla="*/ 15 w 15"/>
                <a:gd name="T57" fmla="*/ 10 h 13"/>
                <a:gd name="T58" fmla="*/ 15 w 15"/>
                <a:gd name="T59" fmla="*/ 8 h 13"/>
                <a:gd name="T60" fmla="*/ 15 w 15"/>
                <a:gd name="T61" fmla="*/ 5 h 13"/>
                <a:gd name="T62" fmla="*/ 15 w 15"/>
                <a:gd name="T6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3">
                  <a:moveTo>
                    <a:pt x="15" y="5"/>
                  </a:move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0" name="Group 181">
            <a:extLst>
              <a:ext uri="{FF2B5EF4-FFF2-40B4-BE49-F238E27FC236}">
                <a16:creationId xmlns:a16="http://schemas.microsoft.com/office/drawing/2014/main" id="{ECFDEE4B-F7E3-4E6E-A22F-98AD782F18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447" y="4158460"/>
            <a:ext cx="758825" cy="758825"/>
            <a:chOff x="2346" y="2693"/>
            <a:chExt cx="478" cy="478"/>
          </a:xfrm>
        </p:grpSpPr>
        <p:sp>
          <p:nvSpPr>
            <p:cNvPr id="211" name="AutoShape 180">
              <a:extLst>
                <a:ext uri="{FF2B5EF4-FFF2-40B4-BE49-F238E27FC236}">
                  <a16:creationId xmlns:a16="http://schemas.microsoft.com/office/drawing/2014/main" id="{C4142A7A-A1A0-4C84-965D-545D2497CF5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6" y="26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82">
              <a:extLst>
                <a:ext uri="{FF2B5EF4-FFF2-40B4-BE49-F238E27FC236}">
                  <a16:creationId xmlns:a16="http://schemas.microsoft.com/office/drawing/2014/main" id="{8466D46F-646F-4F18-A7F3-05C3C389BC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8" y="26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83">
              <a:extLst>
                <a:ext uri="{FF2B5EF4-FFF2-40B4-BE49-F238E27FC236}">
                  <a16:creationId xmlns:a16="http://schemas.microsoft.com/office/drawing/2014/main" id="{67DA6723-1801-4B96-B9A6-51AD3705F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3" y="2781"/>
              <a:ext cx="206" cy="304"/>
            </a:xfrm>
            <a:custGeom>
              <a:avLst/>
              <a:gdLst>
                <a:gd name="T0" fmla="*/ 13 w 206"/>
                <a:gd name="T1" fmla="*/ 292 h 304"/>
                <a:gd name="T2" fmla="*/ 13 w 206"/>
                <a:gd name="T3" fmla="*/ 253 h 304"/>
                <a:gd name="T4" fmla="*/ 191 w 206"/>
                <a:gd name="T5" fmla="*/ 253 h 304"/>
                <a:gd name="T6" fmla="*/ 194 w 206"/>
                <a:gd name="T7" fmla="*/ 255 h 304"/>
                <a:gd name="T8" fmla="*/ 194 w 206"/>
                <a:gd name="T9" fmla="*/ 292 h 304"/>
                <a:gd name="T10" fmla="*/ 15 w 206"/>
                <a:gd name="T11" fmla="*/ 294 h 304"/>
                <a:gd name="T12" fmla="*/ 93 w 206"/>
                <a:gd name="T13" fmla="*/ 162 h 304"/>
                <a:gd name="T14" fmla="*/ 84 w 206"/>
                <a:gd name="T15" fmla="*/ 152 h 304"/>
                <a:gd name="T16" fmla="*/ 81 w 206"/>
                <a:gd name="T17" fmla="*/ 138 h 304"/>
                <a:gd name="T18" fmla="*/ 86 w 206"/>
                <a:gd name="T19" fmla="*/ 128 h 304"/>
                <a:gd name="T20" fmla="*/ 96 w 206"/>
                <a:gd name="T21" fmla="*/ 120 h 304"/>
                <a:gd name="T22" fmla="*/ 111 w 206"/>
                <a:gd name="T23" fmla="*/ 120 h 304"/>
                <a:gd name="T24" fmla="*/ 120 w 206"/>
                <a:gd name="T25" fmla="*/ 128 h 304"/>
                <a:gd name="T26" fmla="*/ 125 w 206"/>
                <a:gd name="T27" fmla="*/ 138 h 304"/>
                <a:gd name="T28" fmla="*/ 123 w 206"/>
                <a:gd name="T29" fmla="*/ 152 h 304"/>
                <a:gd name="T30" fmla="*/ 113 w 206"/>
                <a:gd name="T31" fmla="*/ 162 h 304"/>
                <a:gd name="T32" fmla="*/ 101 w 206"/>
                <a:gd name="T33" fmla="*/ 164 h 304"/>
                <a:gd name="T34" fmla="*/ 111 w 206"/>
                <a:gd name="T35" fmla="*/ 174 h 304"/>
                <a:gd name="T36" fmla="*/ 120 w 206"/>
                <a:gd name="T37" fmla="*/ 169 h 304"/>
                <a:gd name="T38" fmla="*/ 128 w 206"/>
                <a:gd name="T39" fmla="*/ 164 h 304"/>
                <a:gd name="T40" fmla="*/ 133 w 206"/>
                <a:gd name="T41" fmla="*/ 157 h 304"/>
                <a:gd name="T42" fmla="*/ 138 w 206"/>
                <a:gd name="T43" fmla="*/ 147 h 304"/>
                <a:gd name="T44" fmla="*/ 138 w 206"/>
                <a:gd name="T45" fmla="*/ 138 h 304"/>
                <a:gd name="T46" fmla="*/ 130 w 206"/>
                <a:gd name="T47" fmla="*/ 120 h 304"/>
                <a:gd name="T48" fmla="*/ 118 w 206"/>
                <a:gd name="T49" fmla="*/ 111 h 304"/>
                <a:gd name="T50" fmla="*/ 174 w 206"/>
                <a:gd name="T51" fmla="*/ 133 h 304"/>
                <a:gd name="T52" fmla="*/ 177 w 206"/>
                <a:gd name="T53" fmla="*/ 142 h 304"/>
                <a:gd name="T54" fmla="*/ 177 w 206"/>
                <a:gd name="T55" fmla="*/ 155 h 304"/>
                <a:gd name="T56" fmla="*/ 66 w 206"/>
                <a:gd name="T57" fmla="*/ 240 h 304"/>
                <a:gd name="T58" fmla="*/ 30 w 206"/>
                <a:gd name="T59" fmla="*/ 155 h 304"/>
                <a:gd name="T60" fmla="*/ 30 w 206"/>
                <a:gd name="T61" fmla="*/ 142 h 304"/>
                <a:gd name="T62" fmla="*/ 32 w 206"/>
                <a:gd name="T63" fmla="*/ 133 h 304"/>
                <a:gd name="T64" fmla="*/ 89 w 206"/>
                <a:gd name="T65" fmla="*/ 111 h 304"/>
                <a:gd name="T66" fmla="*/ 76 w 206"/>
                <a:gd name="T67" fmla="*/ 120 h 304"/>
                <a:gd name="T68" fmla="*/ 69 w 206"/>
                <a:gd name="T69" fmla="*/ 138 h 304"/>
                <a:gd name="T70" fmla="*/ 69 w 206"/>
                <a:gd name="T71" fmla="*/ 147 h 304"/>
                <a:gd name="T72" fmla="*/ 74 w 206"/>
                <a:gd name="T73" fmla="*/ 157 h 304"/>
                <a:gd name="T74" fmla="*/ 79 w 206"/>
                <a:gd name="T75" fmla="*/ 164 h 304"/>
                <a:gd name="T76" fmla="*/ 86 w 206"/>
                <a:gd name="T77" fmla="*/ 169 h 304"/>
                <a:gd name="T78" fmla="*/ 96 w 206"/>
                <a:gd name="T79" fmla="*/ 174 h 304"/>
                <a:gd name="T80" fmla="*/ 103 w 206"/>
                <a:gd name="T81" fmla="*/ 0 h 304"/>
                <a:gd name="T82" fmla="*/ 98 w 206"/>
                <a:gd name="T83" fmla="*/ 0 h 304"/>
                <a:gd name="T84" fmla="*/ 93 w 206"/>
                <a:gd name="T85" fmla="*/ 5 h 304"/>
                <a:gd name="T86" fmla="*/ 20 w 206"/>
                <a:gd name="T87" fmla="*/ 135 h 304"/>
                <a:gd name="T88" fmla="*/ 17 w 206"/>
                <a:gd name="T89" fmla="*/ 150 h 304"/>
                <a:gd name="T90" fmla="*/ 22 w 206"/>
                <a:gd name="T91" fmla="*/ 164 h 304"/>
                <a:gd name="T92" fmla="*/ 10 w 206"/>
                <a:gd name="T93" fmla="*/ 243 h 304"/>
                <a:gd name="T94" fmla="*/ 5 w 206"/>
                <a:gd name="T95" fmla="*/ 245 h 304"/>
                <a:gd name="T96" fmla="*/ 0 w 206"/>
                <a:gd name="T97" fmla="*/ 253 h 304"/>
                <a:gd name="T98" fmla="*/ 3 w 206"/>
                <a:gd name="T99" fmla="*/ 297 h 304"/>
                <a:gd name="T100" fmla="*/ 8 w 206"/>
                <a:gd name="T101" fmla="*/ 302 h 304"/>
                <a:gd name="T102" fmla="*/ 15 w 206"/>
                <a:gd name="T103" fmla="*/ 304 h 304"/>
                <a:gd name="T104" fmla="*/ 199 w 206"/>
                <a:gd name="T105" fmla="*/ 304 h 304"/>
                <a:gd name="T106" fmla="*/ 204 w 206"/>
                <a:gd name="T107" fmla="*/ 297 h 304"/>
                <a:gd name="T108" fmla="*/ 204 w 206"/>
                <a:gd name="T109" fmla="*/ 253 h 304"/>
                <a:gd name="T110" fmla="*/ 201 w 206"/>
                <a:gd name="T111" fmla="*/ 245 h 304"/>
                <a:gd name="T112" fmla="*/ 194 w 206"/>
                <a:gd name="T113" fmla="*/ 240 h 304"/>
                <a:gd name="T114" fmla="*/ 184 w 206"/>
                <a:gd name="T115" fmla="*/ 162 h 304"/>
                <a:gd name="T116" fmla="*/ 189 w 206"/>
                <a:gd name="T117" fmla="*/ 147 h 304"/>
                <a:gd name="T118" fmla="*/ 187 w 206"/>
                <a:gd name="T119" fmla="*/ 133 h 304"/>
                <a:gd name="T120" fmla="*/ 115 w 206"/>
                <a:gd name="T121" fmla="*/ 5 h 304"/>
                <a:gd name="T122" fmla="*/ 111 w 206"/>
                <a:gd name="T123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" h="304">
                  <a:moveTo>
                    <a:pt x="13" y="294"/>
                  </a:move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55"/>
                  </a:lnTo>
                  <a:lnTo>
                    <a:pt x="13" y="255"/>
                  </a:lnTo>
                  <a:lnTo>
                    <a:pt x="13" y="253"/>
                  </a:lnTo>
                  <a:lnTo>
                    <a:pt x="13" y="253"/>
                  </a:lnTo>
                  <a:lnTo>
                    <a:pt x="13" y="253"/>
                  </a:lnTo>
                  <a:lnTo>
                    <a:pt x="13" y="253"/>
                  </a:lnTo>
                  <a:lnTo>
                    <a:pt x="13" y="253"/>
                  </a:lnTo>
                  <a:lnTo>
                    <a:pt x="15" y="253"/>
                  </a:lnTo>
                  <a:lnTo>
                    <a:pt x="15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4" y="253"/>
                  </a:lnTo>
                  <a:lnTo>
                    <a:pt x="194" y="253"/>
                  </a:lnTo>
                  <a:lnTo>
                    <a:pt x="194" y="253"/>
                  </a:lnTo>
                  <a:lnTo>
                    <a:pt x="194" y="253"/>
                  </a:lnTo>
                  <a:lnTo>
                    <a:pt x="194" y="253"/>
                  </a:lnTo>
                  <a:lnTo>
                    <a:pt x="194" y="255"/>
                  </a:lnTo>
                  <a:lnTo>
                    <a:pt x="194" y="255"/>
                  </a:lnTo>
                  <a:lnTo>
                    <a:pt x="194" y="292"/>
                  </a:lnTo>
                  <a:lnTo>
                    <a:pt x="194" y="292"/>
                  </a:lnTo>
                  <a:lnTo>
                    <a:pt x="194" y="292"/>
                  </a:lnTo>
                  <a:lnTo>
                    <a:pt x="194" y="292"/>
                  </a:lnTo>
                  <a:lnTo>
                    <a:pt x="194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1" y="294"/>
                  </a:lnTo>
                  <a:lnTo>
                    <a:pt x="191" y="294"/>
                  </a:lnTo>
                  <a:lnTo>
                    <a:pt x="15" y="294"/>
                  </a:lnTo>
                  <a:lnTo>
                    <a:pt x="15" y="294"/>
                  </a:lnTo>
                  <a:lnTo>
                    <a:pt x="13" y="294"/>
                  </a:lnTo>
                  <a:close/>
                  <a:moveTo>
                    <a:pt x="101" y="164"/>
                  </a:moveTo>
                  <a:lnTo>
                    <a:pt x="98" y="164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1" y="160"/>
                  </a:lnTo>
                  <a:lnTo>
                    <a:pt x="89" y="160"/>
                  </a:lnTo>
                  <a:lnTo>
                    <a:pt x="86" y="157"/>
                  </a:lnTo>
                  <a:lnTo>
                    <a:pt x="86" y="155"/>
                  </a:lnTo>
                  <a:lnTo>
                    <a:pt x="84" y="155"/>
                  </a:lnTo>
                  <a:lnTo>
                    <a:pt x="84" y="152"/>
                  </a:lnTo>
                  <a:lnTo>
                    <a:pt x="81" y="150"/>
                  </a:lnTo>
                  <a:lnTo>
                    <a:pt x="81" y="147"/>
                  </a:lnTo>
                  <a:lnTo>
                    <a:pt x="81" y="145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8"/>
                  </a:lnTo>
                  <a:lnTo>
                    <a:pt x="81" y="138"/>
                  </a:lnTo>
                  <a:lnTo>
                    <a:pt x="81" y="135"/>
                  </a:lnTo>
                  <a:lnTo>
                    <a:pt x="81" y="133"/>
                  </a:lnTo>
                  <a:lnTo>
                    <a:pt x="84" y="130"/>
                  </a:lnTo>
                  <a:lnTo>
                    <a:pt x="84" y="128"/>
                  </a:lnTo>
                  <a:lnTo>
                    <a:pt x="86" y="128"/>
                  </a:lnTo>
                  <a:lnTo>
                    <a:pt x="86" y="125"/>
                  </a:lnTo>
                  <a:lnTo>
                    <a:pt x="89" y="123"/>
                  </a:lnTo>
                  <a:lnTo>
                    <a:pt x="91" y="123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6" y="120"/>
                  </a:lnTo>
                  <a:lnTo>
                    <a:pt x="98" y="118"/>
                  </a:lnTo>
                  <a:lnTo>
                    <a:pt x="101" y="118"/>
                  </a:lnTo>
                  <a:lnTo>
                    <a:pt x="103" y="118"/>
                  </a:lnTo>
                  <a:lnTo>
                    <a:pt x="106" y="118"/>
                  </a:lnTo>
                  <a:lnTo>
                    <a:pt x="108" y="118"/>
                  </a:lnTo>
                  <a:lnTo>
                    <a:pt x="111" y="120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5" y="123"/>
                  </a:lnTo>
                  <a:lnTo>
                    <a:pt x="118" y="123"/>
                  </a:lnTo>
                  <a:lnTo>
                    <a:pt x="120" y="125"/>
                  </a:lnTo>
                  <a:lnTo>
                    <a:pt x="120" y="128"/>
                  </a:lnTo>
                  <a:lnTo>
                    <a:pt x="123" y="128"/>
                  </a:lnTo>
                  <a:lnTo>
                    <a:pt x="123" y="130"/>
                  </a:lnTo>
                  <a:lnTo>
                    <a:pt x="125" y="133"/>
                  </a:lnTo>
                  <a:lnTo>
                    <a:pt x="125" y="135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40"/>
                  </a:lnTo>
                  <a:lnTo>
                    <a:pt x="125" y="142"/>
                  </a:lnTo>
                  <a:lnTo>
                    <a:pt x="125" y="145"/>
                  </a:lnTo>
                  <a:lnTo>
                    <a:pt x="125" y="147"/>
                  </a:lnTo>
                  <a:lnTo>
                    <a:pt x="125" y="150"/>
                  </a:lnTo>
                  <a:lnTo>
                    <a:pt x="123" y="152"/>
                  </a:lnTo>
                  <a:lnTo>
                    <a:pt x="123" y="155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18" y="160"/>
                  </a:lnTo>
                  <a:lnTo>
                    <a:pt x="115" y="160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1" y="162"/>
                  </a:lnTo>
                  <a:lnTo>
                    <a:pt x="108" y="164"/>
                  </a:lnTo>
                  <a:lnTo>
                    <a:pt x="106" y="164"/>
                  </a:lnTo>
                  <a:lnTo>
                    <a:pt x="103" y="164"/>
                  </a:lnTo>
                  <a:lnTo>
                    <a:pt x="101" y="164"/>
                  </a:lnTo>
                  <a:close/>
                  <a:moveTo>
                    <a:pt x="103" y="174"/>
                  </a:moveTo>
                  <a:lnTo>
                    <a:pt x="106" y="174"/>
                  </a:lnTo>
                  <a:lnTo>
                    <a:pt x="106" y="174"/>
                  </a:lnTo>
                  <a:lnTo>
                    <a:pt x="108" y="174"/>
                  </a:lnTo>
                  <a:lnTo>
                    <a:pt x="111" y="174"/>
                  </a:lnTo>
                  <a:lnTo>
                    <a:pt x="111" y="174"/>
                  </a:lnTo>
                  <a:lnTo>
                    <a:pt x="113" y="174"/>
                  </a:lnTo>
                  <a:lnTo>
                    <a:pt x="115" y="174"/>
                  </a:lnTo>
                  <a:lnTo>
                    <a:pt x="115" y="172"/>
                  </a:lnTo>
                  <a:lnTo>
                    <a:pt x="118" y="172"/>
                  </a:lnTo>
                  <a:lnTo>
                    <a:pt x="120" y="172"/>
                  </a:lnTo>
                  <a:lnTo>
                    <a:pt x="120" y="169"/>
                  </a:lnTo>
                  <a:lnTo>
                    <a:pt x="123" y="169"/>
                  </a:lnTo>
                  <a:lnTo>
                    <a:pt x="123" y="169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5" y="155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35" y="150"/>
                  </a:lnTo>
                  <a:lnTo>
                    <a:pt x="138" y="147"/>
                  </a:lnTo>
                  <a:lnTo>
                    <a:pt x="138" y="147"/>
                  </a:lnTo>
                  <a:lnTo>
                    <a:pt x="138" y="145"/>
                  </a:lnTo>
                  <a:lnTo>
                    <a:pt x="138" y="142"/>
                  </a:lnTo>
                  <a:lnTo>
                    <a:pt x="138" y="140"/>
                  </a:lnTo>
                  <a:lnTo>
                    <a:pt x="138" y="140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5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5" y="128"/>
                  </a:lnTo>
                  <a:lnTo>
                    <a:pt x="133" y="123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28" y="118"/>
                  </a:lnTo>
                  <a:lnTo>
                    <a:pt x="125" y="115"/>
                  </a:lnTo>
                  <a:lnTo>
                    <a:pt x="123" y="113"/>
                  </a:lnTo>
                  <a:lnTo>
                    <a:pt x="120" y="111"/>
                  </a:lnTo>
                  <a:lnTo>
                    <a:pt x="118" y="111"/>
                  </a:lnTo>
                  <a:lnTo>
                    <a:pt x="115" y="108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08" y="108"/>
                  </a:lnTo>
                  <a:lnTo>
                    <a:pt x="108" y="15"/>
                  </a:lnTo>
                  <a:lnTo>
                    <a:pt x="174" y="133"/>
                  </a:lnTo>
                  <a:lnTo>
                    <a:pt x="177" y="135"/>
                  </a:lnTo>
                  <a:lnTo>
                    <a:pt x="177" y="138"/>
                  </a:lnTo>
                  <a:lnTo>
                    <a:pt x="177" y="138"/>
                  </a:lnTo>
                  <a:lnTo>
                    <a:pt x="177" y="140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5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7" y="150"/>
                  </a:lnTo>
                  <a:lnTo>
                    <a:pt x="177" y="152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4" y="157"/>
                  </a:lnTo>
                  <a:lnTo>
                    <a:pt x="174" y="157"/>
                  </a:lnTo>
                  <a:lnTo>
                    <a:pt x="174" y="160"/>
                  </a:lnTo>
                  <a:lnTo>
                    <a:pt x="138" y="240"/>
                  </a:lnTo>
                  <a:lnTo>
                    <a:pt x="66" y="240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2" y="157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2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30" y="147"/>
                  </a:lnTo>
                  <a:lnTo>
                    <a:pt x="30" y="145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40"/>
                  </a:lnTo>
                  <a:lnTo>
                    <a:pt x="30" y="138"/>
                  </a:lnTo>
                  <a:lnTo>
                    <a:pt x="30" y="138"/>
                  </a:lnTo>
                  <a:lnTo>
                    <a:pt x="32" y="135"/>
                  </a:lnTo>
                  <a:lnTo>
                    <a:pt x="32" y="133"/>
                  </a:lnTo>
                  <a:lnTo>
                    <a:pt x="98" y="17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1" y="108"/>
                  </a:lnTo>
                  <a:lnTo>
                    <a:pt x="89" y="111"/>
                  </a:lnTo>
                  <a:lnTo>
                    <a:pt x="86" y="111"/>
                  </a:lnTo>
                  <a:lnTo>
                    <a:pt x="84" y="113"/>
                  </a:lnTo>
                  <a:lnTo>
                    <a:pt x="81" y="115"/>
                  </a:lnTo>
                  <a:lnTo>
                    <a:pt x="79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23"/>
                  </a:lnTo>
                  <a:lnTo>
                    <a:pt x="71" y="128"/>
                  </a:lnTo>
                  <a:lnTo>
                    <a:pt x="71" y="130"/>
                  </a:lnTo>
                  <a:lnTo>
                    <a:pt x="71" y="133"/>
                  </a:lnTo>
                  <a:lnTo>
                    <a:pt x="69" y="135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5"/>
                  </a:lnTo>
                  <a:lnTo>
                    <a:pt x="69" y="147"/>
                  </a:lnTo>
                  <a:lnTo>
                    <a:pt x="69" y="147"/>
                  </a:lnTo>
                  <a:lnTo>
                    <a:pt x="71" y="150"/>
                  </a:lnTo>
                  <a:lnTo>
                    <a:pt x="71" y="152"/>
                  </a:lnTo>
                  <a:lnTo>
                    <a:pt x="71" y="152"/>
                  </a:lnTo>
                  <a:lnTo>
                    <a:pt x="71" y="155"/>
                  </a:lnTo>
                  <a:lnTo>
                    <a:pt x="74" y="157"/>
                  </a:lnTo>
                  <a:lnTo>
                    <a:pt x="74" y="157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9" y="164"/>
                  </a:lnTo>
                  <a:lnTo>
                    <a:pt x="79" y="164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4" y="169"/>
                  </a:lnTo>
                  <a:lnTo>
                    <a:pt x="84" y="169"/>
                  </a:lnTo>
                  <a:lnTo>
                    <a:pt x="86" y="169"/>
                  </a:lnTo>
                  <a:lnTo>
                    <a:pt x="86" y="172"/>
                  </a:lnTo>
                  <a:lnTo>
                    <a:pt x="89" y="172"/>
                  </a:lnTo>
                  <a:lnTo>
                    <a:pt x="91" y="172"/>
                  </a:lnTo>
                  <a:lnTo>
                    <a:pt x="91" y="174"/>
                  </a:lnTo>
                  <a:lnTo>
                    <a:pt x="93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8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3" y="174"/>
                  </a:lnTo>
                  <a:close/>
                  <a:moveTo>
                    <a:pt x="103" y="0"/>
                  </a:moveTo>
                  <a:lnTo>
                    <a:pt x="103" y="0"/>
                  </a:lnTo>
                  <a:lnTo>
                    <a:pt x="10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1" y="8"/>
                  </a:lnTo>
                  <a:lnTo>
                    <a:pt x="91" y="10"/>
                  </a:lnTo>
                  <a:lnTo>
                    <a:pt x="22" y="128"/>
                  </a:lnTo>
                  <a:lnTo>
                    <a:pt x="20" y="130"/>
                  </a:lnTo>
                  <a:lnTo>
                    <a:pt x="20" y="133"/>
                  </a:lnTo>
                  <a:lnTo>
                    <a:pt x="20" y="135"/>
                  </a:lnTo>
                  <a:lnTo>
                    <a:pt x="17" y="138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7" y="145"/>
                  </a:lnTo>
                  <a:lnTo>
                    <a:pt x="17" y="147"/>
                  </a:lnTo>
                  <a:lnTo>
                    <a:pt x="17" y="150"/>
                  </a:lnTo>
                  <a:lnTo>
                    <a:pt x="17" y="152"/>
                  </a:lnTo>
                  <a:lnTo>
                    <a:pt x="17" y="155"/>
                  </a:lnTo>
                  <a:lnTo>
                    <a:pt x="20" y="157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54" y="240"/>
                  </a:lnTo>
                  <a:lnTo>
                    <a:pt x="15" y="240"/>
                  </a:lnTo>
                  <a:lnTo>
                    <a:pt x="13" y="240"/>
                  </a:lnTo>
                  <a:lnTo>
                    <a:pt x="13" y="240"/>
                  </a:lnTo>
                  <a:lnTo>
                    <a:pt x="10" y="243"/>
                  </a:lnTo>
                  <a:lnTo>
                    <a:pt x="10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5" y="245"/>
                  </a:lnTo>
                  <a:lnTo>
                    <a:pt x="5" y="245"/>
                  </a:lnTo>
                  <a:lnTo>
                    <a:pt x="5" y="245"/>
                  </a:lnTo>
                  <a:lnTo>
                    <a:pt x="3" y="248"/>
                  </a:lnTo>
                  <a:lnTo>
                    <a:pt x="3" y="248"/>
                  </a:lnTo>
                  <a:lnTo>
                    <a:pt x="3" y="250"/>
                  </a:lnTo>
                  <a:lnTo>
                    <a:pt x="3" y="250"/>
                  </a:lnTo>
                  <a:lnTo>
                    <a:pt x="3" y="253"/>
                  </a:lnTo>
                  <a:lnTo>
                    <a:pt x="0" y="253"/>
                  </a:lnTo>
                  <a:lnTo>
                    <a:pt x="0" y="255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9"/>
                  </a:lnTo>
                  <a:lnTo>
                    <a:pt x="5" y="299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8" y="302"/>
                  </a:lnTo>
                  <a:lnTo>
                    <a:pt x="8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5" y="304"/>
                  </a:lnTo>
                  <a:lnTo>
                    <a:pt x="191" y="304"/>
                  </a:lnTo>
                  <a:lnTo>
                    <a:pt x="194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6" y="304"/>
                  </a:lnTo>
                  <a:lnTo>
                    <a:pt x="199" y="304"/>
                  </a:lnTo>
                  <a:lnTo>
                    <a:pt x="199" y="302"/>
                  </a:lnTo>
                  <a:lnTo>
                    <a:pt x="201" y="302"/>
                  </a:lnTo>
                  <a:lnTo>
                    <a:pt x="201" y="302"/>
                  </a:lnTo>
                  <a:lnTo>
                    <a:pt x="201" y="299"/>
                  </a:lnTo>
                  <a:lnTo>
                    <a:pt x="204" y="299"/>
                  </a:lnTo>
                  <a:lnTo>
                    <a:pt x="204" y="297"/>
                  </a:lnTo>
                  <a:lnTo>
                    <a:pt x="204" y="297"/>
                  </a:lnTo>
                  <a:lnTo>
                    <a:pt x="204" y="294"/>
                  </a:lnTo>
                  <a:lnTo>
                    <a:pt x="204" y="294"/>
                  </a:lnTo>
                  <a:lnTo>
                    <a:pt x="206" y="292"/>
                  </a:lnTo>
                  <a:lnTo>
                    <a:pt x="206" y="253"/>
                  </a:lnTo>
                  <a:lnTo>
                    <a:pt x="204" y="253"/>
                  </a:lnTo>
                  <a:lnTo>
                    <a:pt x="204" y="250"/>
                  </a:lnTo>
                  <a:lnTo>
                    <a:pt x="204" y="250"/>
                  </a:lnTo>
                  <a:lnTo>
                    <a:pt x="204" y="248"/>
                  </a:lnTo>
                  <a:lnTo>
                    <a:pt x="204" y="248"/>
                  </a:lnTo>
                  <a:lnTo>
                    <a:pt x="201" y="245"/>
                  </a:lnTo>
                  <a:lnTo>
                    <a:pt x="201" y="245"/>
                  </a:lnTo>
                  <a:lnTo>
                    <a:pt x="201" y="245"/>
                  </a:lnTo>
                  <a:lnTo>
                    <a:pt x="199" y="243"/>
                  </a:lnTo>
                  <a:lnTo>
                    <a:pt x="199" y="243"/>
                  </a:lnTo>
                  <a:lnTo>
                    <a:pt x="196" y="243"/>
                  </a:lnTo>
                  <a:lnTo>
                    <a:pt x="196" y="243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1" y="240"/>
                  </a:lnTo>
                  <a:lnTo>
                    <a:pt x="150" y="240"/>
                  </a:lnTo>
                  <a:lnTo>
                    <a:pt x="182" y="164"/>
                  </a:lnTo>
                  <a:lnTo>
                    <a:pt x="184" y="164"/>
                  </a:lnTo>
                  <a:lnTo>
                    <a:pt x="184" y="162"/>
                  </a:lnTo>
                  <a:lnTo>
                    <a:pt x="187" y="160"/>
                  </a:lnTo>
                  <a:lnTo>
                    <a:pt x="187" y="157"/>
                  </a:lnTo>
                  <a:lnTo>
                    <a:pt x="187" y="155"/>
                  </a:lnTo>
                  <a:lnTo>
                    <a:pt x="189" y="152"/>
                  </a:lnTo>
                  <a:lnTo>
                    <a:pt x="189" y="150"/>
                  </a:lnTo>
                  <a:lnTo>
                    <a:pt x="189" y="147"/>
                  </a:lnTo>
                  <a:lnTo>
                    <a:pt x="189" y="145"/>
                  </a:lnTo>
                  <a:lnTo>
                    <a:pt x="189" y="142"/>
                  </a:lnTo>
                  <a:lnTo>
                    <a:pt x="189" y="140"/>
                  </a:lnTo>
                  <a:lnTo>
                    <a:pt x="189" y="138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7" y="130"/>
                  </a:lnTo>
                  <a:lnTo>
                    <a:pt x="184" y="128"/>
                  </a:lnTo>
                  <a:lnTo>
                    <a:pt x="118" y="10"/>
                  </a:lnTo>
                  <a:lnTo>
                    <a:pt x="118" y="8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4" name="Group 186">
            <a:extLst>
              <a:ext uri="{FF2B5EF4-FFF2-40B4-BE49-F238E27FC236}">
                <a16:creationId xmlns:a16="http://schemas.microsoft.com/office/drawing/2014/main" id="{4C6C365D-6EB7-474D-850F-847304F2D6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2610" y="4117979"/>
            <a:ext cx="841375" cy="841375"/>
            <a:chOff x="1628" y="2685"/>
            <a:chExt cx="530" cy="530"/>
          </a:xfrm>
        </p:grpSpPr>
        <p:sp>
          <p:nvSpPr>
            <p:cNvPr id="215" name="AutoShape 185">
              <a:extLst>
                <a:ext uri="{FF2B5EF4-FFF2-40B4-BE49-F238E27FC236}">
                  <a16:creationId xmlns:a16="http://schemas.microsoft.com/office/drawing/2014/main" id="{B535336D-E98B-460E-B1C2-D9617E7920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8" y="268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Oval 187">
              <a:extLst>
                <a:ext uri="{FF2B5EF4-FFF2-40B4-BE49-F238E27FC236}">
                  <a16:creationId xmlns:a16="http://schemas.microsoft.com/office/drawing/2014/main" id="{0E0C7110-C75C-47C0-A592-6B034200B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8" y="268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88">
              <a:extLst>
                <a:ext uri="{FF2B5EF4-FFF2-40B4-BE49-F238E27FC236}">
                  <a16:creationId xmlns:a16="http://schemas.microsoft.com/office/drawing/2014/main" id="{4C12E6E3-56D7-4C1F-A7FD-42EF9AB1C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6" y="270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9">
              <a:extLst>
                <a:ext uri="{FF2B5EF4-FFF2-40B4-BE49-F238E27FC236}">
                  <a16:creationId xmlns:a16="http://schemas.microsoft.com/office/drawing/2014/main" id="{34152E60-1393-4FEA-8F2E-02B5B3925E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7" y="2792"/>
              <a:ext cx="215" cy="318"/>
            </a:xfrm>
            <a:custGeom>
              <a:avLst/>
              <a:gdLst>
                <a:gd name="T0" fmla="*/ 12 w 215"/>
                <a:gd name="T1" fmla="*/ 305 h 318"/>
                <a:gd name="T2" fmla="*/ 12 w 215"/>
                <a:gd name="T3" fmla="*/ 264 h 318"/>
                <a:gd name="T4" fmla="*/ 199 w 215"/>
                <a:gd name="T5" fmla="*/ 264 h 318"/>
                <a:gd name="T6" fmla="*/ 202 w 215"/>
                <a:gd name="T7" fmla="*/ 267 h 318"/>
                <a:gd name="T8" fmla="*/ 202 w 215"/>
                <a:gd name="T9" fmla="*/ 305 h 318"/>
                <a:gd name="T10" fmla="*/ 15 w 215"/>
                <a:gd name="T11" fmla="*/ 308 h 318"/>
                <a:gd name="T12" fmla="*/ 97 w 215"/>
                <a:gd name="T13" fmla="*/ 169 h 318"/>
                <a:gd name="T14" fmla="*/ 87 w 215"/>
                <a:gd name="T15" fmla="*/ 159 h 318"/>
                <a:gd name="T16" fmla="*/ 84 w 215"/>
                <a:gd name="T17" fmla="*/ 144 h 318"/>
                <a:gd name="T18" fmla="*/ 89 w 215"/>
                <a:gd name="T19" fmla="*/ 134 h 318"/>
                <a:gd name="T20" fmla="*/ 99 w 215"/>
                <a:gd name="T21" fmla="*/ 126 h 318"/>
                <a:gd name="T22" fmla="*/ 115 w 215"/>
                <a:gd name="T23" fmla="*/ 126 h 318"/>
                <a:gd name="T24" fmla="*/ 125 w 215"/>
                <a:gd name="T25" fmla="*/ 134 h 318"/>
                <a:gd name="T26" fmla="*/ 130 w 215"/>
                <a:gd name="T27" fmla="*/ 144 h 318"/>
                <a:gd name="T28" fmla="*/ 128 w 215"/>
                <a:gd name="T29" fmla="*/ 159 h 318"/>
                <a:gd name="T30" fmla="*/ 117 w 215"/>
                <a:gd name="T31" fmla="*/ 169 h 318"/>
                <a:gd name="T32" fmla="*/ 105 w 215"/>
                <a:gd name="T33" fmla="*/ 172 h 318"/>
                <a:gd name="T34" fmla="*/ 115 w 215"/>
                <a:gd name="T35" fmla="*/ 182 h 318"/>
                <a:gd name="T36" fmla="*/ 125 w 215"/>
                <a:gd name="T37" fmla="*/ 177 h 318"/>
                <a:gd name="T38" fmla="*/ 133 w 215"/>
                <a:gd name="T39" fmla="*/ 172 h 318"/>
                <a:gd name="T40" fmla="*/ 138 w 215"/>
                <a:gd name="T41" fmla="*/ 164 h 318"/>
                <a:gd name="T42" fmla="*/ 143 w 215"/>
                <a:gd name="T43" fmla="*/ 154 h 318"/>
                <a:gd name="T44" fmla="*/ 143 w 215"/>
                <a:gd name="T45" fmla="*/ 144 h 318"/>
                <a:gd name="T46" fmla="*/ 135 w 215"/>
                <a:gd name="T47" fmla="*/ 126 h 318"/>
                <a:gd name="T48" fmla="*/ 123 w 215"/>
                <a:gd name="T49" fmla="*/ 116 h 318"/>
                <a:gd name="T50" fmla="*/ 181 w 215"/>
                <a:gd name="T51" fmla="*/ 139 h 318"/>
                <a:gd name="T52" fmla="*/ 184 w 215"/>
                <a:gd name="T53" fmla="*/ 149 h 318"/>
                <a:gd name="T54" fmla="*/ 184 w 215"/>
                <a:gd name="T55" fmla="*/ 162 h 318"/>
                <a:gd name="T56" fmla="*/ 69 w 215"/>
                <a:gd name="T57" fmla="*/ 251 h 318"/>
                <a:gd name="T58" fmla="*/ 30 w 215"/>
                <a:gd name="T59" fmla="*/ 162 h 318"/>
                <a:gd name="T60" fmla="*/ 30 w 215"/>
                <a:gd name="T61" fmla="*/ 149 h 318"/>
                <a:gd name="T62" fmla="*/ 33 w 215"/>
                <a:gd name="T63" fmla="*/ 139 h 318"/>
                <a:gd name="T64" fmla="*/ 92 w 215"/>
                <a:gd name="T65" fmla="*/ 116 h 318"/>
                <a:gd name="T66" fmla="*/ 79 w 215"/>
                <a:gd name="T67" fmla="*/ 126 h 318"/>
                <a:gd name="T68" fmla="*/ 71 w 215"/>
                <a:gd name="T69" fmla="*/ 144 h 318"/>
                <a:gd name="T70" fmla="*/ 71 w 215"/>
                <a:gd name="T71" fmla="*/ 154 h 318"/>
                <a:gd name="T72" fmla="*/ 76 w 215"/>
                <a:gd name="T73" fmla="*/ 164 h 318"/>
                <a:gd name="T74" fmla="*/ 82 w 215"/>
                <a:gd name="T75" fmla="*/ 172 h 318"/>
                <a:gd name="T76" fmla="*/ 89 w 215"/>
                <a:gd name="T77" fmla="*/ 177 h 318"/>
                <a:gd name="T78" fmla="*/ 99 w 215"/>
                <a:gd name="T79" fmla="*/ 182 h 318"/>
                <a:gd name="T80" fmla="*/ 107 w 215"/>
                <a:gd name="T81" fmla="*/ 0 h 318"/>
                <a:gd name="T82" fmla="*/ 102 w 215"/>
                <a:gd name="T83" fmla="*/ 0 h 318"/>
                <a:gd name="T84" fmla="*/ 97 w 215"/>
                <a:gd name="T85" fmla="*/ 6 h 318"/>
                <a:gd name="T86" fmla="*/ 20 w 215"/>
                <a:gd name="T87" fmla="*/ 141 h 318"/>
                <a:gd name="T88" fmla="*/ 18 w 215"/>
                <a:gd name="T89" fmla="*/ 157 h 318"/>
                <a:gd name="T90" fmla="*/ 23 w 215"/>
                <a:gd name="T91" fmla="*/ 172 h 318"/>
                <a:gd name="T92" fmla="*/ 10 w 215"/>
                <a:gd name="T93" fmla="*/ 254 h 318"/>
                <a:gd name="T94" fmla="*/ 5 w 215"/>
                <a:gd name="T95" fmla="*/ 256 h 318"/>
                <a:gd name="T96" fmla="*/ 0 w 215"/>
                <a:gd name="T97" fmla="*/ 264 h 318"/>
                <a:gd name="T98" fmla="*/ 2 w 215"/>
                <a:gd name="T99" fmla="*/ 310 h 318"/>
                <a:gd name="T100" fmla="*/ 7 w 215"/>
                <a:gd name="T101" fmla="*/ 315 h 318"/>
                <a:gd name="T102" fmla="*/ 15 w 215"/>
                <a:gd name="T103" fmla="*/ 318 h 318"/>
                <a:gd name="T104" fmla="*/ 207 w 215"/>
                <a:gd name="T105" fmla="*/ 318 h 318"/>
                <a:gd name="T106" fmla="*/ 212 w 215"/>
                <a:gd name="T107" fmla="*/ 310 h 318"/>
                <a:gd name="T108" fmla="*/ 212 w 215"/>
                <a:gd name="T109" fmla="*/ 264 h 318"/>
                <a:gd name="T110" fmla="*/ 210 w 215"/>
                <a:gd name="T111" fmla="*/ 256 h 318"/>
                <a:gd name="T112" fmla="*/ 202 w 215"/>
                <a:gd name="T113" fmla="*/ 251 h 318"/>
                <a:gd name="T114" fmla="*/ 192 w 215"/>
                <a:gd name="T115" fmla="*/ 169 h 318"/>
                <a:gd name="T116" fmla="*/ 197 w 215"/>
                <a:gd name="T117" fmla="*/ 154 h 318"/>
                <a:gd name="T118" fmla="*/ 194 w 215"/>
                <a:gd name="T119" fmla="*/ 139 h 318"/>
                <a:gd name="T120" fmla="*/ 120 w 215"/>
                <a:gd name="T121" fmla="*/ 6 h 318"/>
                <a:gd name="T122" fmla="*/ 115 w 215"/>
                <a:gd name="T12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5" h="318">
                  <a:moveTo>
                    <a:pt x="12" y="308"/>
                  </a:moveTo>
                  <a:lnTo>
                    <a:pt x="12" y="305"/>
                  </a:lnTo>
                  <a:lnTo>
                    <a:pt x="12" y="305"/>
                  </a:lnTo>
                  <a:lnTo>
                    <a:pt x="12" y="305"/>
                  </a:lnTo>
                  <a:lnTo>
                    <a:pt x="12" y="305"/>
                  </a:lnTo>
                  <a:lnTo>
                    <a:pt x="12" y="305"/>
                  </a:lnTo>
                  <a:lnTo>
                    <a:pt x="12" y="305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99" y="264"/>
                  </a:lnTo>
                  <a:lnTo>
                    <a:pt x="199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305"/>
                  </a:lnTo>
                  <a:lnTo>
                    <a:pt x="202" y="305"/>
                  </a:lnTo>
                  <a:lnTo>
                    <a:pt x="202" y="305"/>
                  </a:lnTo>
                  <a:lnTo>
                    <a:pt x="202" y="305"/>
                  </a:lnTo>
                  <a:lnTo>
                    <a:pt x="202" y="305"/>
                  </a:lnTo>
                  <a:lnTo>
                    <a:pt x="202" y="305"/>
                  </a:lnTo>
                  <a:lnTo>
                    <a:pt x="202" y="308"/>
                  </a:lnTo>
                  <a:lnTo>
                    <a:pt x="199" y="308"/>
                  </a:lnTo>
                  <a:lnTo>
                    <a:pt x="199" y="308"/>
                  </a:lnTo>
                  <a:lnTo>
                    <a:pt x="15" y="308"/>
                  </a:lnTo>
                  <a:lnTo>
                    <a:pt x="15" y="308"/>
                  </a:lnTo>
                  <a:lnTo>
                    <a:pt x="12" y="308"/>
                  </a:lnTo>
                  <a:close/>
                  <a:moveTo>
                    <a:pt x="105" y="172"/>
                  </a:moveTo>
                  <a:lnTo>
                    <a:pt x="102" y="172"/>
                  </a:lnTo>
                  <a:lnTo>
                    <a:pt x="99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4" y="167"/>
                  </a:lnTo>
                  <a:lnTo>
                    <a:pt x="92" y="167"/>
                  </a:lnTo>
                  <a:lnTo>
                    <a:pt x="89" y="164"/>
                  </a:lnTo>
                  <a:lnTo>
                    <a:pt x="89" y="162"/>
                  </a:lnTo>
                  <a:lnTo>
                    <a:pt x="87" y="162"/>
                  </a:lnTo>
                  <a:lnTo>
                    <a:pt x="87" y="159"/>
                  </a:lnTo>
                  <a:lnTo>
                    <a:pt x="84" y="157"/>
                  </a:lnTo>
                  <a:lnTo>
                    <a:pt x="84" y="154"/>
                  </a:lnTo>
                  <a:lnTo>
                    <a:pt x="84" y="151"/>
                  </a:lnTo>
                  <a:lnTo>
                    <a:pt x="84" y="149"/>
                  </a:lnTo>
                  <a:lnTo>
                    <a:pt x="84" y="146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1"/>
                  </a:lnTo>
                  <a:lnTo>
                    <a:pt x="84" y="139"/>
                  </a:lnTo>
                  <a:lnTo>
                    <a:pt x="87" y="136"/>
                  </a:lnTo>
                  <a:lnTo>
                    <a:pt x="87" y="134"/>
                  </a:lnTo>
                  <a:lnTo>
                    <a:pt x="89" y="134"/>
                  </a:lnTo>
                  <a:lnTo>
                    <a:pt x="89" y="131"/>
                  </a:lnTo>
                  <a:lnTo>
                    <a:pt x="92" y="128"/>
                  </a:lnTo>
                  <a:lnTo>
                    <a:pt x="94" y="128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6"/>
                  </a:lnTo>
                  <a:lnTo>
                    <a:pt x="102" y="123"/>
                  </a:lnTo>
                  <a:lnTo>
                    <a:pt x="105" y="123"/>
                  </a:lnTo>
                  <a:lnTo>
                    <a:pt x="107" y="123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20" y="128"/>
                  </a:lnTo>
                  <a:lnTo>
                    <a:pt x="123" y="128"/>
                  </a:lnTo>
                  <a:lnTo>
                    <a:pt x="125" y="131"/>
                  </a:lnTo>
                  <a:lnTo>
                    <a:pt x="125" y="134"/>
                  </a:lnTo>
                  <a:lnTo>
                    <a:pt x="128" y="134"/>
                  </a:lnTo>
                  <a:lnTo>
                    <a:pt x="128" y="136"/>
                  </a:lnTo>
                  <a:lnTo>
                    <a:pt x="130" y="139"/>
                  </a:lnTo>
                  <a:lnTo>
                    <a:pt x="130" y="141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6"/>
                  </a:lnTo>
                  <a:lnTo>
                    <a:pt x="130" y="149"/>
                  </a:lnTo>
                  <a:lnTo>
                    <a:pt x="130" y="151"/>
                  </a:lnTo>
                  <a:lnTo>
                    <a:pt x="130" y="154"/>
                  </a:lnTo>
                  <a:lnTo>
                    <a:pt x="130" y="157"/>
                  </a:lnTo>
                  <a:lnTo>
                    <a:pt x="128" y="159"/>
                  </a:lnTo>
                  <a:lnTo>
                    <a:pt x="128" y="162"/>
                  </a:lnTo>
                  <a:lnTo>
                    <a:pt x="125" y="162"/>
                  </a:lnTo>
                  <a:lnTo>
                    <a:pt x="125" y="164"/>
                  </a:lnTo>
                  <a:lnTo>
                    <a:pt x="123" y="167"/>
                  </a:lnTo>
                  <a:lnTo>
                    <a:pt x="120" y="167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15" y="169"/>
                  </a:lnTo>
                  <a:lnTo>
                    <a:pt x="112" y="172"/>
                  </a:lnTo>
                  <a:lnTo>
                    <a:pt x="110" y="172"/>
                  </a:lnTo>
                  <a:lnTo>
                    <a:pt x="107" y="172"/>
                  </a:lnTo>
                  <a:lnTo>
                    <a:pt x="105" y="172"/>
                  </a:lnTo>
                  <a:close/>
                  <a:moveTo>
                    <a:pt x="107" y="182"/>
                  </a:moveTo>
                  <a:lnTo>
                    <a:pt x="110" y="182"/>
                  </a:lnTo>
                  <a:lnTo>
                    <a:pt x="110" y="182"/>
                  </a:lnTo>
                  <a:lnTo>
                    <a:pt x="112" y="182"/>
                  </a:lnTo>
                  <a:lnTo>
                    <a:pt x="115" y="182"/>
                  </a:lnTo>
                  <a:lnTo>
                    <a:pt x="115" y="182"/>
                  </a:lnTo>
                  <a:lnTo>
                    <a:pt x="117" y="182"/>
                  </a:lnTo>
                  <a:lnTo>
                    <a:pt x="120" y="182"/>
                  </a:lnTo>
                  <a:lnTo>
                    <a:pt x="120" y="180"/>
                  </a:lnTo>
                  <a:lnTo>
                    <a:pt x="123" y="180"/>
                  </a:lnTo>
                  <a:lnTo>
                    <a:pt x="125" y="180"/>
                  </a:lnTo>
                  <a:lnTo>
                    <a:pt x="125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30" y="175"/>
                  </a:lnTo>
                  <a:lnTo>
                    <a:pt x="130" y="175"/>
                  </a:lnTo>
                  <a:lnTo>
                    <a:pt x="133" y="172"/>
                  </a:lnTo>
                  <a:lnTo>
                    <a:pt x="133" y="172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7"/>
                  </a:lnTo>
                  <a:lnTo>
                    <a:pt x="138" y="167"/>
                  </a:lnTo>
                  <a:lnTo>
                    <a:pt x="138" y="164"/>
                  </a:lnTo>
                  <a:lnTo>
                    <a:pt x="138" y="164"/>
                  </a:lnTo>
                  <a:lnTo>
                    <a:pt x="140" y="162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7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1"/>
                  </a:lnTo>
                  <a:lnTo>
                    <a:pt x="143" y="149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3" y="141"/>
                  </a:lnTo>
                  <a:lnTo>
                    <a:pt x="140" y="139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38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3" y="123"/>
                  </a:lnTo>
                  <a:lnTo>
                    <a:pt x="130" y="121"/>
                  </a:lnTo>
                  <a:lnTo>
                    <a:pt x="128" y="118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0" y="113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2" y="113"/>
                  </a:lnTo>
                  <a:lnTo>
                    <a:pt x="112" y="16"/>
                  </a:lnTo>
                  <a:lnTo>
                    <a:pt x="181" y="139"/>
                  </a:lnTo>
                  <a:lnTo>
                    <a:pt x="184" y="141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4" y="149"/>
                  </a:lnTo>
                  <a:lnTo>
                    <a:pt x="184" y="149"/>
                  </a:lnTo>
                  <a:lnTo>
                    <a:pt x="184" y="151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4" y="157"/>
                  </a:lnTo>
                  <a:lnTo>
                    <a:pt x="184" y="159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1" y="164"/>
                  </a:lnTo>
                  <a:lnTo>
                    <a:pt x="181" y="164"/>
                  </a:lnTo>
                  <a:lnTo>
                    <a:pt x="181" y="167"/>
                  </a:lnTo>
                  <a:lnTo>
                    <a:pt x="143" y="251"/>
                  </a:lnTo>
                  <a:lnTo>
                    <a:pt x="69" y="251"/>
                  </a:lnTo>
                  <a:lnTo>
                    <a:pt x="33" y="167"/>
                  </a:lnTo>
                  <a:lnTo>
                    <a:pt x="33" y="167"/>
                  </a:lnTo>
                  <a:lnTo>
                    <a:pt x="33" y="167"/>
                  </a:lnTo>
                  <a:lnTo>
                    <a:pt x="33" y="164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30" y="159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30" y="154"/>
                  </a:lnTo>
                  <a:lnTo>
                    <a:pt x="30" y="151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30" y="146"/>
                  </a:lnTo>
                  <a:lnTo>
                    <a:pt x="30" y="144"/>
                  </a:lnTo>
                  <a:lnTo>
                    <a:pt x="30" y="144"/>
                  </a:lnTo>
                  <a:lnTo>
                    <a:pt x="33" y="141"/>
                  </a:lnTo>
                  <a:lnTo>
                    <a:pt x="33" y="139"/>
                  </a:lnTo>
                  <a:lnTo>
                    <a:pt x="102" y="18"/>
                  </a:lnTo>
                  <a:lnTo>
                    <a:pt x="102" y="113"/>
                  </a:lnTo>
                  <a:lnTo>
                    <a:pt x="99" y="113"/>
                  </a:lnTo>
                  <a:lnTo>
                    <a:pt x="99" y="113"/>
                  </a:lnTo>
                  <a:lnTo>
                    <a:pt x="94" y="113"/>
                  </a:lnTo>
                  <a:lnTo>
                    <a:pt x="92" y="116"/>
                  </a:lnTo>
                  <a:lnTo>
                    <a:pt x="89" y="116"/>
                  </a:lnTo>
                  <a:lnTo>
                    <a:pt x="87" y="118"/>
                  </a:lnTo>
                  <a:lnTo>
                    <a:pt x="84" y="121"/>
                  </a:lnTo>
                  <a:lnTo>
                    <a:pt x="82" y="123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6" y="128"/>
                  </a:lnTo>
                  <a:lnTo>
                    <a:pt x="74" y="134"/>
                  </a:lnTo>
                  <a:lnTo>
                    <a:pt x="74" y="136"/>
                  </a:lnTo>
                  <a:lnTo>
                    <a:pt x="74" y="139"/>
                  </a:lnTo>
                  <a:lnTo>
                    <a:pt x="71" y="141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49"/>
                  </a:lnTo>
                  <a:lnTo>
                    <a:pt x="71" y="151"/>
                  </a:lnTo>
                  <a:lnTo>
                    <a:pt x="71" y="154"/>
                  </a:lnTo>
                  <a:lnTo>
                    <a:pt x="71" y="154"/>
                  </a:lnTo>
                  <a:lnTo>
                    <a:pt x="74" y="157"/>
                  </a:lnTo>
                  <a:lnTo>
                    <a:pt x="74" y="159"/>
                  </a:lnTo>
                  <a:lnTo>
                    <a:pt x="74" y="159"/>
                  </a:lnTo>
                  <a:lnTo>
                    <a:pt x="74" y="162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7"/>
                  </a:lnTo>
                  <a:lnTo>
                    <a:pt x="79" y="167"/>
                  </a:lnTo>
                  <a:lnTo>
                    <a:pt x="79" y="169"/>
                  </a:lnTo>
                  <a:lnTo>
                    <a:pt x="79" y="169"/>
                  </a:lnTo>
                  <a:lnTo>
                    <a:pt x="82" y="172"/>
                  </a:lnTo>
                  <a:lnTo>
                    <a:pt x="82" y="172"/>
                  </a:lnTo>
                  <a:lnTo>
                    <a:pt x="84" y="175"/>
                  </a:lnTo>
                  <a:lnTo>
                    <a:pt x="84" y="175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9" y="177"/>
                  </a:lnTo>
                  <a:lnTo>
                    <a:pt x="89" y="180"/>
                  </a:lnTo>
                  <a:lnTo>
                    <a:pt x="92" y="180"/>
                  </a:lnTo>
                  <a:lnTo>
                    <a:pt x="94" y="180"/>
                  </a:lnTo>
                  <a:lnTo>
                    <a:pt x="94" y="182"/>
                  </a:lnTo>
                  <a:lnTo>
                    <a:pt x="97" y="182"/>
                  </a:lnTo>
                  <a:lnTo>
                    <a:pt x="99" y="182"/>
                  </a:lnTo>
                  <a:lnTo>
                    <a:pt x="99" y="182"/>
                  </a:lnTo>
                  <a:lnTo>
                    <a:pt x="102" y="182"/>
                  </a:lnTo>
                  <a:lnTo>
                    <a:pt x="105" y="182"/>
                  </a:lnTo>
                  <a:lnTo>
                    <a:pt x="105" y="182"/>
                  </a:lnTo>
                  <a:lnTo>
                    <a:pt x="107" y="182"/>
                  </a:lnTo>
                  <a:close/>
                  <a:moveTo>
                    <a:pt x="107" y="0"/>
                  </a:moveTo>
                  <a:lnTo>
                    <a:pt x="107" y="0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4" y="8"/>
                  </a:lnTo>
                  <a:lnTo>
                    <a:pt x="94" y="11"/>
                  </a:lnTo>
                  <a:lnTo>
                    <a:pt x="23" y="134"/>
                  </a:lnTo>
                  <a:lnTo>
                    <a:pt x="20" y="136"/>
                  </a:lnTo>
                  <a:lnTo>
                    <a:pt x="20" y="139"/>
                  </a:lnTo>
                  <a:lnTo>
                    <a:pt x="20" y="141"/>
                  </a:lnTo>
                  <a:lnTo>
                    <a:pt x="18" y="144"/>
                  </a:lnTo>
                  <a:lnTo>
                    <a:pt x="18" y="146"/>
                  </a:lnTo>
                  <a:lnTo>
                    <a:pt x="18" y="149"/>
                  </a:lnTo>
                  <a:lnTo>
                    <a:pt x="18" y="151"/>
                  </a:lnTo>
                  <a:lnTo>
                    <a:pt x="18" y="154"/>
                  </a:lnTo>
                  <a:lnTo>
                    <a:pt x="18" y="157"/>
                  </a:lnTo>
                  <a:lnTo>
                    <a:pt x="18" y="159"/>
                  </a:lnTo>
                  <a:lnTo>
                    <a:pt x="18" y="162"/>
                  </a:lnTo>
                  <a:lnTo>
                    <a:pt x="20" y="164"/>
                  </a:lnTo>
                  <a:lnTo>
                    <a:pt x="20" y="167"/>
                  </a:lnTo>
                  <a:lnTo>
                    <a:pt x="20" y="169"/>
                  </a:lnTo>
                  <a:lnTo>
                    <a:pt x="23" y="172"/>
                  </a:lnTo>
                  <a:lnTo>
                    <a:pt x="23" y="172"/>
                  </a:lnTo>
                  <a:lnTo>
                    <a:pt x="56" y="251"/>
                  </a:lnTo>
                  <a:lnTo>
                    <a:pt x="15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0" y="254"/>
                  </a:lnTo>
                  <a:lnTo>
                    <a:pt x="10" y="254"/>
                  </a:lnTo>
                  <a:lnTo>
                    <a:pt x="7" y="254"/>
                  </a:lnTo>
                  <a:lnTo>
                    <a:pt x="7" y="254"/>
                  </a:lnTo>
                  <a:lnTo>
                    <a:pt x="5" y="256"/>
                  </a:lnTo>
                  <a:lnTo>
                    <a:pt x="5" y="256"/>
                  </a:lnTo>
                  <a:lnTo>
                    <a:pt x="5" y="256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2" y="264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2" y="308"/>
                  </a:lnTo>
                  <a:lnTo>
                    <a:pt x="2" y="308"/>
                  </a:lnTo>
                  <a:lnTo>
                    <a:pt x="2" y="310"/>
                  </a:lnTo>
                  <a:lnTo>
                    <a:pt x="2" y="310"/>
                  </a:lnTo>
                  <a:lnTo>
                    <a:pt x="2" y="313"/>
                  </a:lnTo>
                  <a:lnTo>
                    <a:pt x="5" y="313"/>
                  </a:lnTo>
                  <a:lnTo>
                    <a:pt x="5" y="315"/>
                  </a:lnTo>
                  <a:lnTo>
                    <a:pt x="5" y="315"/>
                  </a:lnTo>
                  <a:lnTo>
                    <a:pt x="7" y="315"/>
                  </a:lnTo>
                  <a:lnTo>
                    <a:pt x="7" y="318"/>
                  </a:lnTo>
                  <a:lnTo>
                    <a:pt x="10" y="318"/>
                  </a:lnTo>
                  <a:lnTo>
                    <a:pt x="10" y="318"/>
                  </a:lnTo>
                  <a:lnTo>
                    <a:pt x="12" y="318"/>
                  </a:lnTo>
                  <a:lnTo>
                    <a:pt x="12" y="318"/>
                  </a:lnTo>
                  <a:lnTo>
                    <a:pt x="15" y="318"/>
                  </a:lnTo>
                  <a:lnTo>
                    <a:pt x="199" y="318"/>
                  </a:lnTo>
                  <a:lnTo>
                    <a:pt x="202" y="318"/>
                  </a:lnTo>
                  <a:lnTo>
                    <a:pt x="202" y="318"/>
                  </a:lnTo>
                  <a:lnTo>
                    <a:pt x="204" y="318"/>
                  </a:lnTo>
                  <a:lnTo>
                    <a:pt x="204" y="318"/>
                  </a:lnTo>
                  <a:lnTo>
                    <a:pt x="207" y="318"/>
                  </a:lnTo>
                  <a:lnTo>
                    <a:pt x="207" y="315"/>
                  </a:lnTo>
                  <a:lnTo>
                    <a:pt x="210" y="315"/>
                  </a:lnTo>
                  <a:lnTo>
                    <a:pt x="210" y="315"/>
                  </a:lnTo>
                  <a:lnTo>
                    <a:pt x="210" y="313"/>
                  </a:lnTo>
                  <a:lnTo>
                    <a:pt x="212" y="313"/>
                  </a:lnTo>
                  <a:lnTo>
                    <a:pt x="212" y="310"/>
                  </a:lnTo>
                  <a:lnTo>
                    <a:pt x="212" y="310"/>
                  </a:lnTo>
                  <a:lnTo>
                    <a:pt x="212" y="308"/>
                  </a:lnTo>
                  <a:lnTo>
                    <a:pt x="212" y="308"/>
                  </a:lnTo>
                  <a:lnTo>
                    <a:pt x="215" y="305"/>
                  </a:lnTo>
                  <a:lnTo>
                    <a:pt x="215" y="264"/>
                  </a:lnTo>
                  <a:lnTo>
                    <a:pt x="212" y="264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12" y="259"/>
                  </a:lnTo>
                  <a:lnTo>
                    <a:pt x="212" y="259"/>
                  </a:lnTo>
                  <a:lnTo>
                    <a:pt x="210" y="256"/>
                  </a:lnTo>
                  <a:lnTo>
                    <a:pt x="210" y="256"/>
                  </a:lnTo>
                  <a:lnTo>
                    <a:pt x="210" y="256"/>
                  </a:lnTo>
                  <a:lnTo>
                    <a:pt x="207" y="254"/>
                  </a:lnTo>
                  <a:lnTo>
                    <a:pt x="207" y="254"/>
                  </a:lnTo>
                  <a:lnTo>
                    <a:pt x="204" y="254"/>
                  </a:lnTo>
                  <a:lnTo>
                    <a:pt x="204" y="254"/>
                  </a:lnTo>
                  <a:lnTo>
                    <a:pt x="202" y="251"/>
                  </a:lnTo>
                  <a:lnTo>
                    <a:pt x="202" y="251"/>
                  </a:lnTo>
                  <a:lnTo>
                    <a:pt x="199" y="251"/>
                  </a:lnTo>
                  <a:lnTo>
                    <a:pt x="156" y="251"/>
                  </a:lnTo>
                  <a:lnTo>
                    <a:pt x="189" y="172"/>
                  </a:lnTo>
                  <a:lnTo>
                    <a:pt x="192" y="172"/>
                  </a:lnTo>
                  <a:lnTo>
                    <a:pt x="192" y="169"/>
                  </a:lnTo>
                  <a:lnTo>
                    <a:pt x="194" y="167"/>
                  </a:lnTo>
                  <a:lnTo>
                    <a:pt x="194" y="164"/>
                  </a:lnTo>
                  <a:lnTo>
                    <a:pt x="194" y="162"/>
                  </a:lnTo>
                  <a:lnTo>
                    <a:pt x="197" y="159"/>
                  </a:lnTo>
                  <a:lnTo>
                    <a:pt x="197" y="157"/>
                  </a:lnTo>
                  <a:lnTo>
                    <a:pt x="197" y="154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6"/>
                  </a:lnTo>
                  <a:lnTo>
                    <a:pt x="197" y="144"/>
                  </a:lnTo>
                  <a:lnTo>
                    <a:pt x="194" y="141"/>
                  </a:lnTo>
                  <a:lnTo>
                    <a:pt x="194" y="139"/>
                  </a:lnTo>
                  <a:lnTo>
                    <a:pt x="194" y="136"/>
                  </a:lnTo>
                  <a:lnTo>
                    <a:pt x="192" y="134"/>
                  </a:lnTo>
                  <a:lnTo>
                    <a:pt x="123" y="11"/>
                  </a:lnTo>
                  <a:lnTo>
                    <a:pt x="123" y="8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5" y="3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2" name="Picture 221">
            <a:extLst>
              <a:ext uri="{FF2B5EF4-FFF2-40B4-BE49-F238E27FC236}">
                <a16:creationId xmlns:a16="http://schemas.microsoft.com/office/drawing/2014/main" id="{53C2C7E3-C609-4685-8673-5B3CA1CF1D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374" y="4158460"/>
            <a:ext cx="759197" cy="758952"/>
          </a:xfrm>
          <a:prstGeom prst="rect">
            <a:avLst/>
          </a:prstGeom>
        </p:spPr>
      </p:pic>
      <p:grpSp>
        <p:nvGrpSpPr>
          <p:cNvPr id="223" name="Group 192">
            <a:extLst>
              <a:ext uri="{FF2B5EF4-FFF2-40B4-BE49-F238E27FC236}">
                <a16:creationId xmlns:a16="http://schemas.microsoft.com/office/drawing/2014/main" id="{0DE081B5-84A5-41E8-95EE-004AEB23A6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9664" y="4117979"/>
            <a:ext cx="841248" cy="841248"/>
            <a:chOff x="3184" y="2612"/>
            <a:chExt cx="478" cy="478"/>
          </a:xfrm>
        </p:grpSpPr>
        <p:sp>
          <p:nvSpPr>
            <p:cNvPr id="224" name="AutoShape 191">
              <a:extLst>
                <a:ext uri="{FF2B5EF4-FFF2-40B4-BE49-F238E27FC236}">
                  <a16:creationId xmlns:a16="http://schemas.microsoft.com/office/drawing/2014/main" id="{96FD38ED-6A79-40CF-A7E4-5E8E75982F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84" y="261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Oval 193">
              <a:extLst>
                <a:ext uri="{FF2B5EF4-FFF2-40B4-BE49-F238E27FC236}">
                  <a16:creationId xmlns:a16="http://schemas.microsoft.com/office/drawing/2014/main" id="{482CB836-A086-4048-977E-B2E49020B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4" y="2612"/>
              <a:ext cx="480" cy="48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94">
              <a:extLst>
                <a:ext uri="{FF2B5EF4-FFF2-40B4-BE49-F238E27FC236}">
                  <a16:creationId xmlns:a16="http://schemas.microsoft.com/office/drawing/2014/main" id="{A4480312-2AA5-498D-A075-4E04DE1B4E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0" y="2628"/>
              <a:ext cx="448" cy="448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5">
              <a:extLst>
                <a:ext uri="{FF2B5EF4-FFF2-40B4-BE49-F238E27FC236}">
                  <a16:creationId xmlns:a16="http://schemas.microsoft.com/office/drawing/2014/main" id="{03C27579-2CFA-4E81-B8E8-43B53695B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1" y="2711"/>
              <a:ext cx="226" cy="282"/>
            </a:xfrm>
            <a:custGeom>
              <a:avLst/>
              <a:gdLst>
                <a:gd name="T0" fmla="*/ 226 w 226"/>
                <a:gd name="T1" fmla="*/ 0 h 282"/>
                <a:gd name="T2" fmla="*/ 224 w 226"/>
                <a:gd name="T3" fmla="*/ 0 h 282"/>
                <a:gd name="T4" fmla="*/ 60 w 226"/>
                <a:gd name="T5" fmla="*/ 3 h 282"/>
                <a:gd name="T6" fmla="*/ 60 w 226"/>
                <a:gd name="T7" fmla="*/ 97 h 282"/>
                <a:gd name="T8" fmla="*/ 62 w 226"/>
                <a:gd name="T9" fmla="*/ 102 h 282"/>
                <a:gd name="T10" fmla="*/ 85 w 226"/>
                <a:gd name="T11" fmla="*/ 102 h 282"/>
                <a:gd name="T12" fmla="*/ 69 w 226"/>
                <a:gd name="T13" fmla="*/ 185 h 282"/>
                <a:gd name="T14" fmla="*/ 72 w 226"/>
                <a:gd name="T15" fmla="*/ 201 h 282"/>
                <a:gd name="T16" fmla="*/ 81 w 226"/>
                <a:gd name="T17" fmla="*/ 215 h 282"/>
                <a:gd name="T18" fmla="*/ 104 w 226"/>
                <a:gd name="T19" fmla="*/ 238 h 282"/>
                <a:gd name="T20" fmla="*/ 120 w 226"/>
                <a:gd name="T21" fmla="*/ 257 h 282"/>
                <a:gd name="T22" fmla="*/ 127 w 226"/>
                <a:gd name="T23" fmla="*/ 270 h 282"/>
                <a:gd name="T24" fmla="*/ 0 w 226"/>
                <a:gd name="T25" fmla="*/ 277 h 282"/>
                <a:gd name="T26" fmla="*/ 0 w 226"/>
                <a:gd name="T27" fmla="*/ 280 h 282"/>
                <a:gd name="T28" fmla="*/ 0 w 226"/>
                <a:gd name="T29" fmla="*/ 282 h 282"/>
                <a:gd name="T30" fmla="*/ 2 w 226"/>
                <a:gd name="T31" fmla="*/ 282 h 282"/>
                <a:gd name="T32" fmla="*/ 134 w 226"/>
                <a:gd name="T33" fmla="*/ 268 h 282"/>
                <a:gd name="T34" fmla="*/ 125 w 226"/>
                <a:gd name="T35" fmla="*/ 254 h 282"/>
                <a:gd name="T36" fmla="*/ 108 w 226"/>
                <a:gd name="T37" fmla="*/ 233 h 282"/>
                <a:gd name="T38" fmla="*/ 78 w 226"/>
                <a:gd name="T39" fmla="*/ 203 h 282"/>
                <a:gd name="T40" fmla="*/ 76 w 226"/>
                <a:gd name="T41" fmla="*/ 190 h 282"/>
                <a:gd name="T42" fmla="*/ 74 w 226"/>
                <a:gd name="T43" fmla="*/ 180 h 282"/>
                <a:gd name="T44" fmla="*/ 92 w 226"/>
                <a:gd name="T45" fmla="*/ 102 h 282"/>
                <a:gd name="T46" fmla="*/ 194 w 226"/>
                <a:gd name="T47" fmla="*/ 102 h 282"/>
                <a:gd name="T48" fmla="*/ 212 w 226"/>
                <a:gd name="T49" fmla="*/ 187 h 282"/>
                <a:gd name="T50" fmla="*/ 208 w 226"/>
                <a:gd name="T51" fmla="*/ 201 h 282"/>
                <a:gd name="T52" fmla="*/ 199 w 226"/>
                <a:gd name="T53" fmla="*/ 215 h 282"/>
                <a:gd name="T54" fmla="*/ 166 w 226"/>
                <a:gd name="T55" fmla="*/ 247 h 282"/>
                <a:gd name="T56" fmla="*/ 152 w 226"/>
                <a:gd name="T57" fmla="*/ 270 h 282"/>
                <a:gd name="T58" fmla="*/ 152 w 226"/>
                <a:gd name="T59" fmla="*/ 282 h 282"/>
                <a:gd name="T60" fmla="*/ 155 w 226"/>
                <a:gd name="T61" fmla="*/ 280 h 282"/>
                <a:gd name="T62" fmla="*/ 162 w 226"/>
                <a:gd name="T63" fmla="*/ 266 h 282"/>
                <a:gd name="T64" fmla="*/ 171 w 226"/>
                <a:gd name="T65" fmla="*/ 252 h 282"/>
                <a:gd name="T66" fmla="*/ 185 w 226"/>
                <a:gd name="T67" fmla="*/ 236 h 282"/>
                <a:gd name="T68" fmla="*/ 210 w 226"/>
                <a:gd name="T69" fmla="*/ 210 h 282"/>
                <a:gd name="T70" fmla="*/ 215 w 226"/>
                <a:gd name="T71" fmla="*/ 201 h 282"/>
                <a:gd name="T72" fmla="*/ 219 w 226"/>
                <a:gd name="T73" fmla="*/ 190 h 282"/>
                <a:gd name="T74" fmla="*/ 219 w 226"/>
                <a:gd name="T75" fmla="*/ 178 h 282"/>
                <a:gd name="T76" fmla="*/ 201 w 226"/>
                <a:gd name="T77" fmla="*/ 102 h 282"/>
                <a:gd name="T78" fmla="*/ 226 w 226"/>
                <a:gd name="T79" fmla="*/ 100 h 282"/>
                <a:gd name="T80" fmla="*/ 222 w 226"/>
                <a:gd name="T81" fmla="*/ 95 h 282"/>
                <a:gd name="T82" fmla="*/ 67 w 226"/>
                <a:gd name="T83" fmla="*/ 70 h 282"/>
                <a:gd name="T84" fmla="*/ 222 w 226"/>
                <a:gd name="T85" fmla="*/ 95 h 282"/>
                <a:gd name="T86" fmla="*/ 67 w 226"/>
                <a:gd name="T87" fmla="*/ 63 h 282"/>
                <a:gd name="T88" fmla="*/ 222 w 226"/>
                <a:gd name="T89" fmla="*/ 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" h="282">
                  <a:moveTo>
                    <a:pt x="226" y="97"/>
                  </a:moveTo>
                  <a:lnTo>
                    <a:pt x="226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62" y="0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97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85" y="102"/>
                  </a:lnTo>
                  <a:lnTo>
                    <a:pt x="69" y="173"/>
                  </a:lnTo>
                  <a:lnTo>
                    <a:pt x="69" y="185"/>
                  </a:lnTo>
                  <a:lnTo>
                    <a:pt x="69" y="194"/>
                  </a:lnTo>
                  <a:lnTo>
                    <a:pt x="72" y="201"/>
                  </a:lnTo>
                  <a:lnTo>
                    <a:pt x="76" y="208"/>
                  </a:lnTo>
                  <a:lnTo>
                    <a:pt x="81" y="215"/>
                  </a:lnTo>
                  <a:lnTo>
                    <a:pt x="90" y="224"/>
                  </a:lnTo>
                  <a:lnTo>
                    <a:pt x="104" y="238"/>
                  </a:lnTo>
                  <a:lnTo>
                    <a:pt x="113" y="250"/>
                  </a:lnTo>
                  <a:lnTo>
                    <a:pt x="120" y="257"/>
                  </a:lnTo>
                  <a:lnTo>
                    <a:pt x="125" y="264"/>
                  </a:lnTo>
                  <a:lnTo>
                    <a:pt x="127" y="270"/>
                  </a:lnTo>
                  <a:lnTo>
                    <a:pt x="129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2"/>
                  </a:lnTo>
                  <a:lnTo>
                    <a:pt x="2" y="282"/>
                  </a:lnTo>
                  <a:lnTo>
                    <a:pt x="2" y="282"/>
                  </a:lnTo>
                  <a:lnTo>
                    <a:pt x="141" y="282"/>
                  </a:lnTo>
                  <a:lnTo>
                    <a:pt x="134" y="268"/>
                  </a:lnTo>
                  <a:lnTo>
                    <a:pt x="129" y="261"/>
                  </a:lnTo>
                  <a:lnTo>
                    <a:pt x="125" y="254"/>
                  </a:lnTo>
                  <a:lnTo>
                    <a:pt x="120" y="247"/>
                  </a:lnTo>
                  <a:lnTo>
                    <a:pt x="108" y="233"/>
                  </a:lnTo>
                  <a:lnTo>
                    <a:pt x="83" y="208"/>
                  </a:lnTo>
                  <a:lnTo>
                    <a:pt x="78" y="203"/>
                  </a:lnTo>
                  <a:lnTo>
                    <a:pt x="76" y="197"/>
                  </a:lnTo>
                  <a:lnTo>
                    <a:pt x="76" y="190"/>
                  </a:lnTo>
                  <a:lnTo>
                    <a:pt x="74" y="183"/>
                  </a:lnTo>
                  <a:lnTo>
                    <a:pt x="74" y="180"/>
                  </a:lnTo>
                  <a:lnTo>
                    <a:pt x="76" y="171"/>
                  </a:lnTo>
                  <a:lnTo>
                    <a:pt x="92" y="102"/>
                  </a:lnTo>
                  <a:lnTo>
                    <a:pt x="194" y="102"/>
                  </a:lnTo>
                  <a:lnTo>
                    <a:pt x="194" y="102"/>
                  </a:lnTo>
                  <a:lnTo>
                    <a:pt x="212" y="178"/>
                  </a:lnTo>
                  <a:lnTo>
                    <a:pt x="212" y="187"/>
                  </a:lnTo>
                  <a:lnTo>
                    <a:pt x="210" y="194"/>
                  </a:lnTo>
                  <a:lnTo>
                    <a:pt x="208" y="201"/>
                  </a:lnTo>
                  <a:lnTo>
                    <a:pt x="203" y="208"/>
                  </a:lnTo>
                  <a:lnTo>
                    <a:pt x="199" y="215"/>
                  </a:lnTo>
                  <a:lnTo>
                    <a:pt x="173" y="240"/>
                  </a:lnTo>
                  <a:lnTo>
                    <a:pt x="166" y="247"/>
                  </a:lnTo>
                  <a:lnTo>
                    <a:pt x="159" y="257"/>
                  </a:lnTo>
                  <a:lnTo>
                    <a:pt x="152" y="270"/>
                  </a:lnTo>
                  <a:lnTo>
                    <a:pt x="148" y="282"/>
                  </a:lnTo>
                  <a:lnTo>
                    <a:pt x="152" y="282"/>
                  </a:lnTo>
                  <a:lnTo>
                    <a:pt x="155" y="282"/>
                  </a:lnTo>
                  <a:lnTo>
                    <a:pt x="155" y="280"/>
                  </a:lnTo>
                  <a:lnTo>
                    <a:pt x="157" y="275"/>
                  </a:lnTo>
                  <a:lnTo>
                    <a:pt x="162" y="266"/>
                  </a:lnTo>
                  <a:lnTo>
                    <a:pt x="166" y="259"/>
                  </a:lnTo>
                  <a:lnTo>
                    <a:pt x="171" y="252"/>
                  </a:lnTo>
                  <a:lnTo>
                    <a:pt x="180" y="243"/>
                  </a:lnTo>
                  <a:lnTo>
                    <a:pt x="185" y="236"/>
                  </a:lnTo>
                  <a:lnTo>
                    <a:pt x="201" y="222"/>
                  </a:lnTo>
                  <a:lnTo>
                    <a:pt x="210" y="210"/>
                  </a:lnTo>
                  <a:lnTo>
                    <a:pt x="212" y="206"/>
                  </a:lnTo>
                  <a:lnTo>
                    <a:pt x="215" y="201"/>
                  </a:lnTo>
                  <a:lnTo>
                    <a:pt x="217" y="194"/>
                  </a:lnTo>
                  <a:lnTo>
                    <a:pt x="219" y="190"/>
                  </a:lnTo>
                  <a:lnTo>
                    <a:pt x="219" y="187"/>
                  </a:lnTo>
                  <a:lnTo>
                    <a:pt x="219" y="178"/>
                  </a:lnTo>
                  <a:lnTo>
                    <a:pt x="217" y="169"/>
                  </a:lnTo>
                  <a:lnTo>
                    <a:pt x="201" y="102"/>
                  </a:lnTo>
                  <a:lnTo>
                    <a:pt x="226" y="100"/>
                  </a:lnTo>
                  <a:lnTo>
                    <a:pt x="226" y="100"/>
                  </a:lnTo>
                  <a:lnTo>
                    <a:pt x="226" y="97"/>
                  </a:lnTo>
                  <a:close/>
                  <a:moveTo>
                    <a:pt x="222" y="95"/>
                  </a:moveTo>
                  <a:lnTo>
                    <a:pt x="67" y="95"/>
                  </a:lnTo>
                  <a:lnTo>
                    <a:pt x="67" y="70"/>
                  </a:lnTo>
                  <a:lnTo>
                    <a:pt x="222" y="70"/>
                  </a:lnTo>
                  <a:lnTo>
                    <a:pt x="222" y="95"/>
                  </a:lnTo>
                  <a:close/>
                  <a:moveTo>
                    <a:pt x="222" y="63"/>
                  </a:moveTo>
                  <a:lnTo>
                    <a:pt x="67" y="63"/>
                  </a:lnTo>
                  <a:lnTo>
                    <a:pt x="67" y="5"/>
                  </a:lnTo>
                  <a:lnTo>
                    <a:pt x="222" y="5"/>
                  </a:lnTo>
                  <a:lnTo>
                    <a:pt x="222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96">
              <a:extLst>
                <a:ext uri="{FF2B5EF4-FFF2-40B4-BE49-F238E27FC236}">
                  <a16:creationId xmlns:a16="http://schemas.microsoft.com/office/drawing/2014/main" id="{9088CB7E-0336-4C9D-9CAF-CF78FDB8C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6" y="2871"/>
              <a:ext cx="37" cy="122"/>
            </a:xfrm>
            <a:custGeom>
              <a:avLst/>
              <a:gdLst>
                <a:gd name="T0" fmla="*/ 23 w 37"/>
                <a:gd name="T1" fmla="*/ 122 h 122"/>
                <a:gd name="T2" fmla="*/ 23 w 37"/>
                <a:gd name="T3" fmla="*/ 37 h 122"/>
                <a:gd name="T4" fmla="*/ 25 w 37"/>
                <a:gd name="T5" fmla="*/ 34 h 122"/>
                <a:gd name="T6" fmla="*/ 30 w 37"/>
                <a:gd name="T7" fmla="*/ 32 h 122"/>
                <a:gd name="T8" fmla="*/ 32 w 37"/>
                <a:gd name="T9" fmla="*/ 30 h 122"/>
                <a:gd name="T10" fmla="*/ 34 w 37"/>
                <a:gd name="T11" fmla="*/ 27 h 122"/>
                <a:gd name="T12" fmla="*/ 34 w 37"/>
                <a:gd name="T13" fmla="*/ 25 h 122"/>
                <a:gd name="T14" fmla="*/ 37 w 37"/>
                <a:gd name="T15" fmla="*/ 23 h 122"/>
                <a:gd name="T16" fmla="*/ 37 w 37"/>
                <a:gd name="T17" fmla="*/ 16 h 122"/>
                <a:gd name="T18" fmla="*/ 37 w 37"/>
                <a:gd name="T19" fmla="*/ 11 h 122"/>
                <a:gd name="T20" fmla="*/ 34 w 37"/>
                <a:gd name="T21" fmla="*/ 7 h 122"/>
                <a:gd name="T22" fmla="*/ 32 w 37"/>
                <a:gd name="T23" fmla="*/ 4 h 122"/>
                <a:gd name="T24" fmla="*/ 27 w 37"/>
                <a:gd name="T25" fmla="*/ 0 h 122"/>
                <a:gd name="T26" fmla="*/ 20 w 37"/>
                <a:gd name="T27" fmla="*/ 0 h 122"/>
                <a:gd name="T28" fmla="*/ 18 w 37"/>
                <a:gd name="T29" fmla="*/ 0 h 122"/>
                <a:gd name="T30" fmla="*/ 11 w 37"/>
                <a:gd name="T31" fmla="*/ 0 h 122"/>
                <a:gd name="T32" fmla="*/ 9 w 37"/>
                <a:gd name="T33" fmla="*/ 2 h 122"/>
                <a:gd name="T34" fmla="*/ 7 w 37"/>
                <a:gd name="T35" fmla="*/ 4 h 122"/>
                <a:gd name="T36" fmla="*/ 2 w 37"/>
                <a:gd name="T37" fmla="*/ 9 h 122"/>
                <a:gd name="T38" fmla="*/ 0 w 37"/>
                <a:gd name="T39" fmla="*/ 16 h 122"/>
                <a:gd name="T40" fmla="*/ 0 w 37"/>
                <a:gd name="T41" fmla="*/ 16 h 122"/>
                <a:gd name="T42" fmla="*/ 0 w 37"/>
                <a:gd name="T43" fmla="*/ 18 h 122"/>
                <a:gd name="T44" fmla="*/ 2 w 37"/>
                <a:gd name="T45" fmla="*/ 23 h 122"/>
                <a:gd name="T46" fmla="*/ 2 w 37"/>
                <a:gd name="T47" fmla="*/ 27 h 122"/>
                <a:gd name="T48" fmla="*/ 4 w 37"/>
                <a:gd name="T49" fmla="*/ 30 h 122"/>
                <a:gd name="T50" fmla="*/ 9 w 37"/>
                <a:gd name="T51" fmla="*/ 32 h 122"/>
                <a:gd name="T52" fmla="*/ 14 w 37"/>
                <a:gd name="T53" fmla="*/ 34 h 122"/>
                <a:gd name="T54" fmla="*/ 16 w 37"/>
                <a:gd name="T55" fmla="*/ 37 h 122"/>
                <a:gd name="T56" fmla="*/ 16 w 37"/>
                <a:gd name="T57" fmla="*/ 122 h 122"/>
                <a:gd name="T58" fmla="*/ 23 w 37"/>
                <a:gd name="T59" fmla="*/ 122 h 122"/>
                <a:gd name="T60" fmla="*/ 16 w 37"/>
                <a:gd name="T61" fmla="*/ 30 h 122"/>
                <a:gd name="T62" fmla="*/ 11 w 37"/>
                <a:gd name="T63" fmla="*/ 27 h 122"/>
                <a:gd name="T64" fmla="*/ 9 w 37"/>
                <a:gd name="T65" fmla="*/ 25 h 122"/>
                <a:gd name="T66" fmla="*/ 7 w 37"/>
                <a:gd name="T67" fmla="*/ 20 h 122"/>
                <a:gd name="T68" fmla="*/ 7 w 37"/>
                <a:gd name="T69" fmla="*/ 20 h 122"/>
                <a:gd name="T70" fmla="*/ 7 w 37"/>
                <a:gd name="T71" fmla="*/ 18 h 122"/>
                <a:gd name="T72" fmla="*/ 7 w 37"/>
                <a:gd name="T73" fmla="*/ 16 h 122"/>
                <a:gd name="T74" fmla="*/ 9 w 37"/>
                <a:gd name="T75" fmla="*/ 11 h 122"/>
                <a:gd name="T76" fmla="*/ 11 w 37"/>
                <a:gd name="T77" fmla="*/ 9 h 122"/>
                <a:gd name="T78" fmla="*/ 16 w 37"/>
                <a:gd name="T79" fmla="*/ 7 h 122"/>
                <a:gd name="T80" fmla="*/ 18 w 37"/>
                <a:gd name="T81" fmla="*/ 4 h 122"/>
                <a:gd name="T82" fmla="*/ 20 w 37"/>
                <a:gd name="T83" fmla="*/ 4 h 122"/>
                <a:gd name="T84" fmla="*/ 23 w 37"/>
                <a:gd name="T85" fmla="*/ 7 h 122"/>
                <a:gd name="T86" fmla="*/ 25 w 37"/>
                <a:gd name="T87" fmla="*/ 7 h 122"/>
                <a:gd name="T88" fmla="*/ 27 w 37"/>
                <a:gd name="T89" fmla="*/ 9 h 122"/>
                <a:gd name="T90" fmla="*/ 27 w 37"/>
                <a:gd name="T91" fmla="*/ 11 h 122"/>
                <a:gd name="T92" fmla="*/ 30 w 37"/>
                <a:gd name="T93" fmla="*/ 13 h 122"/>
                <a:gd name="T94" fmla="*/ 30 w 37"/>
                <a:gd name="T95" fmla="*/ 18 h 122"/>
                <a:gd name="T96" fmla="*/ 30 w 37"/>
                <a:gd name="T97" fmla="*/ 20 h 122"/>
                <a:gd name="T98" fmla="*/ 30 w 37"/>
                <a:gd name="T99" fmla="*/ 23 h 122"/>
                <a:gd name="T100" fmla="*/ 27 w 37"/>
                <a:gd name="T101" fmla="*/ 25 h 122"/>
                <a:gd name="T102" fmla="*/ 25 w 37"/>
                <a:gd name="T103" fmla="*/ 27 h 122"/>
                <a:gd name="T104" fmla="*/ 23 w 37"/>
                <a:gd name="T105" fmla="*/ 30 h 122"/>
                <a:gd name="T106" fmla="*/ 18 w 37"/>
                <a:gd name="T107" fmla="*/ 30 h 122"/>
                <a:gd name="T108" fmla="*/ 16 w 37"/>
                <a:gd name="T109" fmla="*/ 3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122">
                  <a:moveTo>
                    <a:pt x="23" y="122"/>
                  </a:moveTo>
                  <a:lnTo>
                    <a:pt x="23" y="37"/>
                  </a:lnTo>
                  <a:lnTo>
                    <a:pt x="25" y="34"/>
                  </a:lnTo>
                  <a:lnTo>
                    <a:pt x="30" y="32"/>
                  </a:lnTo>
                  <a:lnTo>
                    <a:pt x="32" y="30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7" y="23"/>
                  </a:lnTo>
                  <a:lnTo>
                    <a:pt x="37" y="16"/>
                  </a:lnTo>
                  <a:lnTo>
                    <a:pt x="37" y="11"/>
                  </a:lnTo>
                  <a:lnTo>
                    <a:pt x="34" y="7"/>
                  </a:lnTo>
                  <a:lnTo>
                    <a:pt x="32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2" y="9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4" y="30"/>
                  </a:lnTo>
                  <a:lnTo>
                    <a:pt x="9" y="32"/>
                  </a:lnTo>
                  <a:lnTo>
                    <a:pt x="14" y="34"/>
                  </a:lnTo>
                  <a:lnTo>
                    <a:pt x="16" y="37"/>
                  </a:lnTo>
                  <a:lnTo>
                    <a:pt x="16" y="122"/>
                  </a:lnTo>
                  <a:lnTo>
                    <a:pt x="23" y="122"/>
                  </a:lnTo>
                  <a:close/>
                  <a:moveTo>
                    <a:pt x="16" y="30"/>
                  </a:moveTo>
                  <a:lnTo>
                    <a:pt x="11" y="27"/>
                  </a:lnTo>
                  <a:lnTo>
                    <a:pt x="9" y="25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6" y="7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30" y="13"/>
                  </a:lnTo>
                  <a:lnTo>
                    <a:pt x="30" y="18"/>
                  </a:lnTo>
                  <a:lnTo>
                    <a:pt x="30" y="20"/>
                  </a:lnTo>
                  <a:lnTo>
                    <a:pt x="30" y="23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3" y="30"/>
                  </a:lnTo>
                  <a:lnTo>
                    <a:pt x="18" y="30"/>
                  </a:lnTo>
                  <a:lnTo>
                    <a:pt x="16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199">
            <a:extLst>
              <a:ext uri="{FF2B5EF4-FFF2-40B4-BE49-F238E27FC236}">
                <a16:creationId xmlns:a16="http://schemas.microsoft.com/office/drawing/2014/main" id="{17B0738E-C627-439B-B36C-82E5D05A37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3408" y="4117979"/>
            <a:ext cx="842962" cy="839788"/>
            <a:chOff x="4415" y="2628"/>
            <a:chExt cx="531" cy="529"/>
          </a:xfrm>
        </p:grpSpPr>
        <p:sp>
          <p:nvSpPr>
            <p:cNvPr id="234" name="AutoShape 198">
              <a:extLst>
                <a:ext uri="{FF2B5EF4-FFF2-40B4-BE49-F238E27FC236}">
                  <a16:creationId xmlns:a16="http://schemas.microsoft.com/office/drawing/2014/main" id="{2A02E344-E3F9-4602-9D75-F082D16A2F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5" y="2628"/>
              <a:ext cx="531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200">
              <a:extLst>
                <a:ext uri="{FF2B5EF4-FFF2-40B4-BE49-F238E27FC236}">
                  <a16:creationId xmlns:a16="http://schemas.microsoft.com/office/drawing/2014/main" id="{4409AE39-1A28-4C74-B3FB-DBBACB26BD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5" y="262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1">
              <a:extLst>
                <a:ext uri="{FF2B5EF4-FFF2-40B4-BE49-F238E27FC236}">
                  <a16:creationId xmlns:a16="http://schemas.microsoft.com/office/drawing/2014/main" id="{07120B16-AB28-4EDF-8BBA-B86DE7A1E2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3" y="2646"/>
              <a:ext cx="498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202">
              <a:extLst>
                <a:ext uri="{FF2B5EF4-FFF2-40B4-BE49-F238E27FC236}">
                  <a16:creationId xmlns:a16="http://schemas.microsoft.com/office/drawing/2014/main" id="{7F9699A7-994F-4B2F-B5BE-D08A299EF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8" y="302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03">
              <a:extLst>
                <a:ext uri="{FF2B5EF4-FFF2-40B4-BE49-F238E27FC236}">
                  <a16:creationId xmlns:a16="http://schemas.microsoft.com/office/drawing/2014/main" id="{059BADDC-7036-4BDA-AA37-DC037F4623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5" y="2748"/>
              <a:ext cx="290" cy="294"/>
            </a:xfrm>
            <a:custGeom>
              <a:avLst/>
              <a:gdLst>
                <a:gd name="T0" fmla="*/ 0 w 290"/>
                <a:gd name="T1" fmla="*/ 284 h 294"/>
                <a:gd name="T2" fmla="*/ 0 w 290"/>
                <a:gd name="T3" fmla="*/ 286 h 294"/>
                <a:gd name="T4" fmla="*/ 0 w 290"/>
                <a:gd name="T5" fmla="*/ 289 h 294"/>
                <a:gd name="T6" fmla="*/ 3 w 290"/>
                <a:gd name="T7" fmla="*/ 289 h 294"/>
                <a:gd name="T8" fmla="*/ 3 w 290"/>
                <a:gd name="T9" fmla="*/ 289 h 294"/>
                <a:gd name="T10" fmla="*/ 3 w 290"/>
                <a:gd name="T11" fmla="*/ 291 h 294"/>
                <a:gd name="T12" fmla="*/ 6 w 290"/>
                <a:gd name="T13" fmla="*/ 291 h 294"/>
                <a:gd name="T14" fmla="*/ 6 w 290"/>
                <a:gd name="T15" fmla="*/ 291 h 294"/>
                <a:gd name="T16" fmla="*/ 8 w 290"/>
                <a:gd name="T17" fmla="*/ 291 h 294"/>
                <a:gd name="T18" fmla="*/ 129 w 290"/>
                <a:gd name="T19" fmla="*/ 263 h 294"/>
                <a:gd name="T20" fmla="*/ 147 w 290"/>
                <a:gd name="T21" fmla="*/ 271 h 294"/>
                <a:gd name="T22" fmla="*/ 170 w 290"/>
                <a:gd name="T23" fmla="*/ 245 h 294"/>
                <a:gd name="T24" fmla="*/ 206 w 290"/>
                <a:gd name="T25" fmla="*/ 222 h 294"/>
                <a:gd name="T26" fmla="*/ 221 w 290"/>
                <a:gd name="T27" fmla="*/ 215 h 294"/>
                <a:gd name="T28" fmla="*/ 288 w 290"/>
                <a:gd name="T29" fmla="*/ 43 h 294"/>
                <a:gd name="T30" fmla="*/ 211 w 290"/>
                <a:gd name="T31" fmla="*/ 0 h 294"/>
                <a:gd name="T32" fmla="*/ 208 w 290"/>
                <a:gd name="T33" fmla="*/ 0 h 294"/>
                <a:gd name="T34" fmla="*/ 190 w 290"/>
                <a:gd name="T35" fmla="*/ 8 h 294"/>
                <a:gd name="T36" fmla="*/ 90 w 290"/>
                <a:gd name="T37" fmla="*/ 171 h 294"/>
                <a:gd name="T38" fmla="*/ 83 w 290"/>
                <a:gd name="T39" fmla="*/ 217 h 294"/>
                <a:gd name="T40" fmla="*/ 80 w 290"/>
                <a:gd name="T41" fmla="*/ 235 h 294"/>
                <a:gd name="T42" fmla="*/ 93 w 290"/>
                <a:gd name="T43" fmla="*/ 245 h 294"/>
                <a:gd name="T44" fmla="*/ 6 w 290"/>
                <a:gd name="T45" fmla="*/ 284 h 294"/>
                <a:gd name="T46" fmla="*/ 6 w 290"/>
                <a:gd name="T47" fmla="*/ 281 h 294"/>
                <a:gd name="T48" fmla="*/ 6 w 290"/>
                <a:gd name="T49" fmla="*/ 286 h 294"/>
                <a:gd name="T50" fmla="*/ 208 w 290"/>
                <a:gd name="T51" fmla="*/ 13 h 294"/>
                <a:gd name="T52" fmla="*/ 275 w 290"/>
                <a:gd name="T53" fmla="*/ 51 h 294"/>
                <a:gd name="T54" fmla="*/ 275 w 290"/>
                <a:gd name="T55" fmla="*/ 59 h 294"/>
                <a:gd name="T56" fmla="*/ 106 w 290"/>
                <a:gd name="T57" fmla="*/ 141 h 294"/>
                <a:gd name="T58" fmla="*/ 101 w 290"/>
                <a:gd name="T59" fmla="*/ 207 h 294"/>
                <a:gd name="T60" fmla="*/ 106 w 290"/>
                <a:gd name="T61" fmla="*/ 171 h 294"/>
                <a:gd name="T62" fmla="*/ 201 w 290"/>
                <a:gd name="T63" fmla="*/ 210 h 294"/>
                <a:gd name="T64" fmla="*/ 162 w 290"/>
                <a:gd name="T65" fmla="*/ 233 h 294"/>
                <a:gd name="T66" fmla="*/ 142 w 290"/>
                <a:gd name="T67" fmla="*/ 256 h 294"/>
                <a:gd name="T68" fmla="*/ 101 w 290"/>
                <a:gd name="T69" fmla="*/ 207 h 294"/>
                <a:gd name="T70" fmla="*/ 121 w 290"/>
                <a:gd name="T71" fmla="*/ 258 h 294"/>
                <a:gd name="T72" fmla="*/ 80 w 290"/>
                <a:gd name="T73" fmla="*/ 28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0" h="294">
                  <a:moveTo>
                    <a:pt x="6" y="286"/>
                  </a:moveTo>
                  <a:lnTo>
                    <a:pt x="0" y="284"/>
                  </a:lnTo>
                  <a:lnTo>
                    <a:pt x="3" y="286"/>
                  </a:lnTo>
                  <a:lnTo>
                    <a:pt x="0" y="286"/>
                  </a:lnTo>
                  <a:lnTo>
                    <a:pt x="3" y="286"/>
                  </a:lnTo>
                  <a:lnTo>
                    <a:pt x="0" y="289"/>
                  </a:lnTo>
                  <a:lnTo>
                    <a:pt x="0" y="289"/>
                  </a:lnTo>
                  <a:lnTo>
                    <a:pt x="3" y="289"/>
                  </a:lnTo>
                  <a:lnTo>
                    <a:pt x="0" y="289"/>
                  </a:lnTo>
                  <a:lnTo>
                    <a:pt x="3" y="289"/>
                  </a:lnTo>
                  <a:lnTo>
                    <a:pt x="0" y="291"/>
                  </a:lnTo>
                  <a:lnTo>
                    <a:pt x="3" y="291"/>
                  </a:lnTo>
                  <a:lnTo>
                    <a:pt x="0" y="294"/>
                  </a:lnTo>
                  <a:lnTo>
                    <a:pt x="6" y="291"/>
                  </a:lnTo>
                  <a:lnTo>
                    <a:pt x="3" y="294"/>
                  </a:lnTo>
                  <a:lnTo>
                    <a:pt x="6" y="291"/>
                  </a:lnTo>
                  <a:lnTo>
                    <a:pt x="6" y="291"/>
                  </a:lnTo>
                  <a:lnTo>
                    <a:pt x="8" y="291"/>
                  </a:lnTo>
                  <a:lnTo>
                    <a:pt x="111" y="291"/>
                  </a:lnTo>
                  <a:lnTo>
                    <a:pt x="129" y="263"/>
                  </a:lnTo>
                  <a:lnTo>
                    <a:pt x="142" y="271"/>
                  </a:lnTo>
                  <a:lnTo>
                    <a:pt x="147" y="271"/>
                  </a:lnTo>
                  <a:lnTo>
                    <a:pt x="149" y="268"/>
                  </a:lnTo>
                  <a:lnTo>
                    <a:pt x="170" y="245"/>
                  </a:lnTo>
                  <a:lnTo>
                    <a:pt x="190" y="230"/>
                  </a:lnTo>
                  <a:lnTo>
                    <a:pt x="206" y="222"/>
                  </a:lnTo>
                  <a:lnTo>
                    <a:pt x="221" y="215"/>
                  </a:lnTo>
                  <a:lnTo>
                    <a:pt x="221" y="215"/>
                  </a:lnTo>
                  <a:lnTo>
                    <a:pt x="290" y="54"/>
                  </a:lnTo>
                  <a:lnTo>
                    <a:pt x="288" y="43"/>
                  </a:lnTo>
                  <a:lnTo>
                    <a:pt x="280" y="36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198" y="3"/>
                  </a:lnTo>
                  <a:lnTo>
                    <a:pt x="190" y="8"/>
                  </a:lnTo>
                  <a:lnTo>
                    <a:pt x="88" y="143"/>
                  </a:lnTo>
                  <a:lnTo>
                    <a:pt x="90" y="171"/>
                  </a:lnTo>
                  <a:lnTo>
                    <a:pt x="90" y="197"/>
                  </a:lnTo>
                  <a:lnTo>
                    <a:pt x="83" y="217"/>
                  </a:lnTo>
                  <a:lnTo>
                    <a:pt x="77" y="233"/>
                  </a:lnTo>
                  <a:lnTo>
                    <a:pt x="80" y="235"/>
                  </a:lnTo>
                  <a:lnTo>
                    <a:pt x="83" y="238"/>
                  </a:lnTo>
                  <a:lnTo>
                    <a:pt x="93" y="245"/>
                  </a:lnTo>
                  <a:lnTo>
                    <a:pt x="70" y="284"/>
                  </a:lnTo>
                  <a:lnTo>
                    <a:pt x="6" y="284"/>
                  </a:lnTo>
                  <a:lnTo>
                    <a:pt x="6" y="281"/>
                  </a:lnTo>
                  <a:lnTo>
                    <a:pt x="6" y="281"/>
                  </a:lnTo>
                  <a:lnTo>
                    <a:pt x="6" y="284"/>
                  </a:lnTo>
                  <a:lnTo>
                    <a:pt x="6" y="286"/>
                  </a:lnTo>
                  <a:close/>
                  <a:moveTo>
                    <a:pt x="206" y="13"/>
                  </a:moveTo>
                  <a:lnTo>
                    <a:pt x="208" y="13"/>
                  </a:lnTo>
                  <a:lnTo>
                    <a:pt x="211" y="13"/>
                  </a:lnTo>
                  <a:lnTo>
                    <a:pt x="275" y="51"/>
                  </a:lnTo>
                  <a:lnTo>
                    <a:pt x="275" y="54"/>
                  </a:lnTo>
                  <a:lnTo>
                    <a:pt x="275" y="59"/>
                  </a:lnTo>
                  <a:lnTo>
                    <a:pt x="213" y="202"/>
                  </a:lnTo>
                  <a:lnTo>
                    <a:pt x="106" y="141"/>
                  </a:lnTo>
                  <a:lnTo>
                    <a:pt x="206" y="13"/>
                  </a:lnTo>
                  <a:close/>
                  <a:moveTo>
                    <a:pt x="101" y="207"/>
                  </a:moveTo>
                  <a:lnTo>
                    <a:pt x="103" y="187"/>
                  </a:lnTo>
                  <a:lnTo>
                    <a:pt x="106" y="171"/>
                  </a:lnTo>
                  <a:lnTo>
                    <a:pt x="103" y="156"/>
                  </a:lnTo>
                  <a:lnTo>
                    <a:pt x="201" y="210"/>
                  </a:lnTo>
                  <a:lnTo>
                    <a:pt x="175" y="222"/>
                  </a:lnTo>
                  <a:lnTo>
                    <a:pt x="162" y="233"/>
                  </a:lnTo>
                  <a:lnTo>
                    <a:pt x="149" y="248"/>
                  </a:lnTo>
                  <a:lnTo>
                    <a:pt x="142" y="256"/>
                  </a:lnTo>
                  <a:lnTo>
                    <a:pt x="93" y="230"/>
                  </a:lnTo>
                  <a:lnTo>
                    <a:pt x="101" y="207"/>
                  </a:lnTo>
                  <a:close/>
                  <a:moveTo>
                    <a:pt x="101" y="248"/>
                  </a:moveTo>
                  <a:lnTo>
                    <a:pt x="121" y="258"/>
                  </a:lnTo>
                  <a:lnTo>
                    <a:pt x="106" y="284"/>
                  </a:lnTo>
                  <a:lnTo>
                    <a:pt x="80" y="284"/>
                  </a:lnTo>
                  <a:lnTo>
                    <a:pt x="101" y="2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9" name="Group 206">
            <a:extLst>
              <a:ext uri="{FF2B5EF4-FFF2-40B4-BE49-F238E27FC236}">
                <a16:creationId xmlns:a16="http://schemas.microsoft.com/office/drawing/2014/main" id="{F44B2CCE-6EE5-484A-8652-B105E868A3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5897" y="4158460"/>
            <a:ext cx="758825" cy="758825"/>
            <a:chOff x="5219" y="2747"/>
            <a:chExt cx="478" cy="478"/>
          </a:xfrm>
        </p:grpSpPr>
        <p:sp>
          <p:nvSpPr>
            <p:cNvPr id="240" name="AutoShape 205">
              <a:extLst>
                <a:ext uri="{FF2B5EF4-FFF2-40B4-BE49-F238E27FC236}">
                  <a16:creationId xmlns:a16="http://schemas.microsoft.com/office/drawing/2014/main" id="{18B4F7F9-47D1-4A53-BB7F-8DB58927AC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19" y="274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7">
              <a:extLst>
                <a:ext uri="{FF2B5EF4-FFF2-40B4-BE49-F238E27FC236}">
                  <a16:creationId xmlns:a16="http://schemas.microsoft.com/office/drawing/2014/main" id="{64312EFA-27CB-4B1E-8D71-6775714AF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1" y="274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Rectangle 208">
              <a:extLst>
                <a:ext uri="{FF2B5EF4-FFF2-40B4-BE49-F238E27FC236}">
                  <a16:creationId xmlns:a16="http://schemas.microsoft.com/office/drawing/2014/main" id="{0D8ABA41-FD05-482B-9112-32FD9B26B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2" y="311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09">
              <a:extLst>
                <a:ext uri="{FF2B5EF4-FFF2-40B4-BE49-F238E27FC236}">
                  <a16:creationId xmlns:a16="http://schemas.microsoft.com/office/drawing/2014/main" id="{377B2E75-7DD9-46F2-829A-5E3EE8464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9" y="2847"/>
              <a:ext cx="278" cy="282"/>
            </a:xfrm>
            <a:custGeom>
              <a:avLst/>
              <a:gdLst>
                <a:gd name="T0" fmla="*/ 0 w 278"/>
                <a:gd name="T1" fmla="*/ 273 h 282"/>
                <a:gd name="T2" fmla="*/ 0 w 278"/>
                <a:gd name="T3" fmla="*/ 275 h 282"/>
                <a:gd name="T4" fmla="*/ 0 w 278"/>
                <a:gd name="T5" fmla="*/ 278 h 282"/>
                <a:gd name="T6" fmla="*/ 3 w 278"/>
                <a:gd name="T7" fmla="*/ 278 h 282"/>
                <a:gd name="T8" fmla="*/ 3 w 278"/>
                <a:gd name="T9" fmla="*/ 278 h 282"/>
                <a:gd name="T10" fmla="*/ 3 w 278"/>
                <a:gd name="T11" fmla="*/ 280 h 282"/>
                <a:gd name="T12" fmla="*/ 5 w 278"/>
                <a:gd name="T13" fmla="*/ 280 h 282"/>
                <a:gd name="T14" fmla="*/ 5 w 278"/>
                <a:gd name="T15" fmla="*/ 280 h 282"/>
                <a:gd name="T16" fmla="*/ 8 w 278"/>
                <a:gd name="T17" fmla="*/ 280 h 282"/>
                <a:gd name="T18" fmla="*/ 123 w 278"/>
                <a:gd name="T19" fmla="*/ 253 h 282"/>
                <a:gd name="T20" fmla="*/ 140 w 278"/>
                <a:gd name="T21" fmla="*/ 260 h 282"/>
                <a:gd name="T22" fmla="*/ 162 w 278"/>
                <a:gd name="T23" fmla="*/ 236 h 282"/>
                <a:gd name="T24" fmla="*/ 197 w 278"/>
                <a:gd name="T25" fmla="*/ 214 h 282"/>
                <a:gd name="T26" fmla="*/ 211 w 278"/>
                <a:gd name="T27" fmla="*/ 206 h 282"/>
                <a:gd name="T28" fmla="*/ 275 w 278"/>
                <a:gd name="T29" fmla="*/ 42 h 282"/>
                <a:gd name="T30" fmla="*/ 202 w 278"/>
                <a:gd name="T31" fmla="*/ 0 h 282"/>
                <a:gd name="T32" fmla="*/ 199 w 278"/>
                <a:gd name="T33" fmla="*/ 0 h 282"/>
                <a:gd name="T34" fmla="*/ 182 w 278"/>
                <a:gd name="T35" fmla="*/ 8 h 282"/>
                <a:gd name="T36" fmla="*/ 86 w 278"/>
                <a:gd name="T37" fmla="*/ 165 h 282"/>
                <a:gd name="T38" fmla="*/ 79 w 278"/>
                <a:gd name="T39" fmla="*/ 209 h 282"/>
                <a:gd name="T40" fmla="*/ 76 w 278"/>
                <a:gd name="T41" fmla="*/ 226 h 282"/>
                <a:gd name="T42" fmla="*/ 89 w 278"/>
                <a:gd name="T43" fmla="*/ 236 h 282"/>
                <a:gd name="T44" fmla="*/ 5 w 278"/>
                <a:gd name="T45" fmla="*/ 273 h 282"/>
                <a:gd name="T46" fmla="*/ 5 w 278"/>
                <a:gd name="T47" fmla="*/ 270 h 282"/>
                <a:gd name="T48" fmla="*/ 5 w 278"/>
                <a:gd name="T49" fmla="*/ 275 h 282"/>
                <a:gd name="T50" fmla="*/ 199 w 278"/>
                <a:gd name="T51" fmla="*/ 13 h 282"/>
                <a:gd name="T52" fmla="*/ 263 w 278"/>
                <a:gd name="T53" fmla="*/ 50 h 282"/>
                <a:gd name="T54" fmla="*/ 263 w 278"/>
                <a:gd name="T55" fmla="*/ 57 h 282"/>
                <a:gd name="T56" fmla="*/ 101 w 278"/>
                <a:gd name="T57" fmla="*/ 135 h 282"/>
                <a:gd name="T58" fmla="*/ 96 w 278"/>
                <a:gd name="T59" fmla="*/ 199 h 282"/>
                <a:gd name="T60" fmla="*/ 101 w 278"/>
                <a:gd name="T61" fmla="*/ 165 h 282"/>
                <a:gd name="T62" fmla="*/ 192 w 278"/>
                <a:gd name="T63" fmla="*/ 202 h 282"/>
                <a:gd name="T64" fmla="*/ 155 w 278"/>
                <a:gd name="T65" fmla="*/ 224 h 282"/>
                <a:gd name="T66" fmla="*/ 135 w 278"/>
                <a:gd name="T67" fmla="*/ 246 h 282"/>
                <a:gd name="T68" fmla="*/ 96 w 278"/>
                <a:gd name="T69" fmla="*/ 199 h 282"/>
                <a:gd name="T70" fmla="*/ 116 w 278"/>
                <a:gd name="T71" fmla="*/ 248 h 282"/>
                <a:gd name="T72" fmla="*/ 76 w 278"/>
                <a:gd name="T73" fmla="*/ 27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8" h="282">
                  <a:moveTo>
                    <a:pt x="5" y="275"/>
                  </a:moveTo>
                  <a:lnTo>
                    <a:pt x="0" y="273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3" y="275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3" y="278"/>
                  </a:lnTo>
                  <a:lnTo>
                    <a:pt x="0" y="278"/>
                  </a:lnTo>
                  <a:lnTo>
                    <a:pt x="3" y="278"/>
                  </a:lnTo>
                  <a:lnTo>
                    <a:pt x="0" y="280"/>
                  </a:lnTo>
                  <a:lnTo>
                    <a:pt x="3" y="280"/>
                  </a:lnTo>
                  <a:lnTo>
                    <a:pt x="0" y="282"/>
                  </a:lnTo>
                  <a:lnTo>
                    <a:pt x="5" y="280"/>
                  </a:lnTo>
                  <a:lnTo>
                    <a:pt x="3" y="282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8" y="280"/>
                  </a:lnTo>
                  <a:lnTo>
                    <a:pt x="106" y="280"/>
                  </a:lnTo>
                  <a:lnTo>
                    <a:pt x="123" y="253"/>
                  </a:lnTo>
                  <a:lnTo>
                    <a:pt x="135" y="260"/>
                  </a:lnTo>
                  <a:lnTo>
                    <a:pt x="140" y="260"/>
                  </a:lnTo>
                  <a:lnTo>
                    <a:pt x="143" y="258"/>
                  </a:lnTo>
                  <a:lnTo>
                    <a:pt x="162" y="236"/>
                  </a:lnTo>
                  <a:lnTo>
                    <a:pt x="182" y="221"/>
                  </a:lnTo>
                  <a:lnTo>
                    <a:pt x="197" y="214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78" y="52"/>
                  </a:lnTo>
                  <a:lnTo>
                    <a:pt x="275" y="42"/>
                  </a:lnTo>
                  <a:lnTo>
                    <a:pt x="268" y="35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9" y="0"/>
                  </a:lnTo>
                  <a:lnTo>
                    <a:pt x="189" y="3"/>
                  </a:lnTo>
                  <a:lnTo>
                    <a:pt x="182" y="8"/>
                  </a:lnTo>
                  <a:lnTo>
                    <a:pt x="84" y="138"/>
                  </a:lnTo>
                  <a:lnTo>
                    <a:pt x="86" y="165"/>
                  </a:lnTo>
                  <a:lnTo>
                    <a:pt x="86" y="189"/>
                  </a:lnTo>
                  <a:lnTo>
                    <a:pt x="79" y="209"/>
                  </a:lnTo>
                  <a:lnTo>
                    <a:pt x="74" y="224"/>
                  </a:lnTo>
                  <a:lnTo>
                    <a:pt x="76" y="226"/>
                  </a:lnTo>
                  <a:lnTo>
                    <a:pt x="79" y="228"/>
                  </a:lnTo>
                  <a:lnTo>
                    <a:pt x="89" y="236"/>
                  </a:lnTo>
                  <a:lnTo>
                    <a:pt x="67" y="273"/>
                  </a:lnTo>
                  <a:lnTo>
                    <a:pt x="5" y="273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3"/>
                  </a:lnTo>
                  <a:lnTo>
                    <a:pt x="5" y="275"/>
                  </a:lnTo>
                  <a:close/>
                  <a:moveTo>
                    <a:pt x="197" y="13"/>
                  </a:moveTo>
                  <a:lnTo>
                    <a:pt x="199" y="13"/>
                  </a:lnTo>
                  <a:lnTo>
                    <a:pt x="202" y="13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7"/>
                  </a:lnTo>
                  <a:lnTo>
                    <a:pt x="204" y="194"/>
                  </a:lnTo>
                  <a:lnTo>
                    <a:pt x="101" y="135"/>
                  </a:lnTo>
                  <a:lnTo>
                    <a:pt x="197" y="13"/>
                  </a:lnTo>
                  <a:close/>
                  <a:moveTo>
                    <a:pt x="96" y="199"/>
                  </a:moveTo>
                  <a:lnTo>
                    <a:pt x="99" y="179"/>
                  </a:lnTo>
                  <a:lnTo>
                    <a:pt x="101" y="165"/>
                  </a:lnTo>
                  <a:lnTo>
                    <a:pt x="99" y="150"/>
                  </a:lnTo>
                  <a:lnTo>
                    <a:pt x="192" y="202"/>
                  </a:lnTo>
                  <a:lnTo>
                    <a:pt x="167" y="214"/>
                  </a:lnTo>
                  <a:lnTo>
                    <a:pt x="155" y="224"/>
                  </a:lnTo>
                  <a:lnTo>
                    <a:pt x="143" y="238"/>
                  </a:lnTo>
                  <a:lnTo>
                    <a:pt x="135" y="246"/>
                  </a:lnTo>
                  <a:lnTo>
                    <a:pt x="89" y="221"/>
                  </a:lnTo>
                  <a:lnTo>
                    <a:pt x="96" y="199"/>
                  </a:lnTo>
                  <a:close/>
                  <a:moveTo>
                    <a:pt x="96" y="238"/>
                  </a:moveTo>
                  <a:lnTo>
                    <a:pt x="116" y="248"/>
                  </a:lnTo>
                  <a:lnTo>
                    <a:pt x="101" y="273"/>
                  </a:lnTo>
                  <a:lnTo>
                    <a:pt x="76" y="273"/>
                  </a:lnTo>
                  <a:lnTo>
                    <a:pt x="96" y="2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8" name="Group 212">
            <a:extLst>
              <a:ext uri="{FF2B5EF4-FFF2-40B4-BE49-F238E27FC236}">
                <a16:creationId xmlns:a16="http://schemas.microsoft.com/office/drawing/2014/main" id="{66C3F3CC-7D90-45EB-9EB2-0EF464BE0D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538" y="5484373"/>
            <a:ext cx="758825" cy="758825"/>
            <a:chOff x="933" y="3438"/>
            <a:chExt cx="478" cy="478"/>
          </a:xfrm>
        </p:grpSpPr>
        <p:sp>
          <p:nvSpPr>
            <p:cNvPr id="249" name="AutoShape 211">
              <a:extLst>
                <a:ext uri="{FF2B5EF4-FFF2-40B4-BE49-F238E27FC236}">
                  <a16:creationId xmlns:a16="http://schemas.microsoft.com/office/drawing/2014/main" id="{BD04F2B2-6300-4466-8F42-345487532C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3" y="343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3">
              <a:extLst>
                <a:ext uri="{FF2B5EF4-FFF2-40B4-BE49-F238E27FC236}">
                  <a16:creationId xmlns:a16="http://schemas.microsoft.com/office/drawing/2014/main" id="{B7A0AA58-3C81-40FF-B63E-1BF0D5F5D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" y="344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4">
              <a:extLst>
                <a:ext uri="{FF2B5EF4-FFF2-40B4-BE49-F238E27FC236}">
                  <a16:creationId xmlns:a16="http://schemas.microsoft.com/office/drawing/2014/main" id="{B399C442-15C8-47E7-8AE6-4BCB38A99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" y="3524"/>
              <a:ext cx="198" cy="311"/>
            </a:xfrm>
            <a:custGeom>
              <a:avLst/>
              <a:gdLst>
                <a:gd name="T0" fmla="*/ 12 w 198"/>
                <a:gd name="T1" fmla="*/ 306 h 311"/>
                <a:gd name="T2" fmla="*/ 32 w 198"/>
                <a:gd name="T3" fmla="*/ 289 h 311"/>
                <a:gd name="T4" fmla="*/ 63 w 198"/>
                <a:gd name="T5" fmla="*/ 265 h 311"/>
                <a:gd name="T6" fmla="*/ 76 w 198"/>
                <a:gd name="T7" fmla="*/ 250 h 311"/>
                <a:gd name="T8" fmla="*/ 127 w 198"/>
                <a:gd name="T9" fmla="*/ 174 h 311"/>
                <a:gd name="T10" fmla="*/ 132 w 198"/>
                <a:gd name="T11" fmla="*/ 169 h 311"/>
                <a:gd name="T12" fmla="*/ 196 w 198"/>
                <a:gd name="T13" fmla="*/ 59 h 311"/>
                <a:gd name="T14" fmla="*/ 198 w 198"/>
                <a:gd name="T15" fmla="*/ 41 h 311"/>
                <a:gd name="T16" fmla="*/ 193 w 198"/>
                <a:gd name="T17" fmla="*/ 27 h 311"/>
                <a:gd name="T18" fmla="*/ 184 w 198"/>
                <a:gd name="T19" fmla="*/ 12 h 311"/>
                <a:gd name="T20" fmla="*/ 171 w 198"/>
                <a:gd name="T21" fmla="*/ 2 h 311"/>
                <a:gd name="T22" fmla="*/ 157 w 198"/>
                <a:gd name="T23" fmla="*/ 0 h 311"/>
                <a:gd name="T24" fmla="*/ 137 w 198"/>
                <a:gd name="T25" fmla="*/ 5 h 311"/>
                <a:gd name="T26" fmla="*/ 122 w 198"/>
                <a:gd name="T27" fmla="*/ 14 h 311"/>
                <a:gd name="T28" fmla="*/ 88 w 198"/>
                <a:gd name="T29" fmla="*/ 17 h 311"/>
                <a:gd name="T30" fmla="*/ 44 w 198"/>
                <a:gd name="T31" fmla="*/ 95 h 311"/>
                <a:gd name="T32" fmla="*/ 44 w 198"/>
                <a:gd name="T33" fmla="*/ 100 h 311"/>
                <a:gd name="T34" fmla="*/ 54 w 198"/>
                <a:gd name="T35" fmla="*/ 105 h 311"/>
                <a:gd name="T36" fmla="*/ 56 w 198"/>
                <a:gd name="T37" fmla="*/ 103 h 311"/>
                <a:gd name="T38" fmla="*/ 59 w 198"/>
                <a:gd name="T39" fmla="*/ 100 h 311"/>
                <a:gd name="T40" fmla="*/ 56 w 198"/>
                <a:gd name="T41" fmla="*/ 98 h 311"/>
                <a:gd name="T42" fmla="*/ 56 w 198"/>
                <a:gd name="T43" fmla="*/ 95 h 311"/>
                <a:gd name="T44" fmla="*/ 93 w 198"/>
                <a:gd name="T45" fmla="*/ 24 h 311"/>
                <a:gd name="T46" fmla="*/ 59 w 198"/>
                <a:gd name="T47" fmla="*/ 130 h 311"/>
                <a:gd name="T48" fmla="*/ 61 w 198"/>
                <a:gd name="T49" fmla="*/ 135 h 311"/>
                <a:gd name="T50" fmla="*/ 17 w 198"/>
                <a:gd name="T51" fmla="*/ 223 h 311"/>
                <a:gd name="T52" fmla="*/ 10 w 198"/>
                <a:gd name="T53" fmla="*/ 255 h 311"/>
                <a:gd name="T54" fmla="*/ 10 w 198"/>
                <a:gd name="T55" fmla="*/ 284 h 311"/>
                <a:gd name="T56" fmla="*/ 2 w 198"/>
                <a:gd name="T57" fmla="*/ 304 h 311"/>
                <a:gd name="T58" fmla="*/ 2 w 198"/>
                <a:gd name="T59" fmla="*/ 304 h 311"/>
                <a:gd name="T60" fmla="*/ 0 w 198"/>
                <a:gd name="T61" fmla="*/ 309 h 311"/>
                <a:gd name="T62" fmla="*/ 2 w 198"/>
                <a:gd name="T63" fmla="*/ 306 h 311"/>
                <a:gd name="T64" fmla="*/ 5 w 198"/>
                <a:gd name="T65" fmla="*/ 306 h 311"/>
                <a:gd name="T66" fmla="*/ 5 w 198"/>
                <a:gd name="T67" fmla="*/ 311 h 311"/>
                <a:gd name="T68" fmla="*/ 7 w 198"/>
                <a:gd name="T69" fmla="*/ 309 h 311"/>
                <a:gd name="T70" fmla="*/ 7 w 198"/>
                <a:gd name="T71" fmla="*/ 311 h 311"/>
                <a:gd name="T72" fmla="*/ 10 w 198"/>
                <a:gd name="T73" fmla="*/ 311 h 311"/>
                <a:gd name="T74" fmla="*/ 10 w 198"/>
                <a:gd name="T75" fmla="*/ 309 h 311"/>
                <a:gd name="T76" fmla="*/ 137 w 198"/>
                <a:gd name="T77" fmla="*/ 19 h 311"/>
                <a:gd name="T78" fmla="*/ 152 w 198"/>
                <a:gd name="T79" fmla="*/ 14 h 311"/>
                <a:gd name="T80" fmla="*/ 162 w 198"/>
                <a:gd name="T81" fmla="*/ 14 h 311"/>
                <a:gd name="T82" fmla="*/ 176 w 198"/>
                <a:gd name="T83" fmla="*/ 22 h 311"/>
                <a:gd name="T84" fmla="*/ 184 w 198"/>
                <a:gd name="T85" fmla="*/ 37 h 311"/>
                <a:gd name="T86" fmla="*/ 184 w 198"/>
                <a:gd name="T87" fmla="*/ 49 h 311"/>
                <a:gd name="T88" fmla="*/ 125 w 198"/>
                <a:gd name="T89" fmla="*/ 157 h 311"/>
                <a:gd name="T90" fmla="*/ 132 w 198"/>
                <a:gd name="T91" fmla="*/ 24 h 311"/>
                <a:gd name="T92" fmla="*/ 110 w 198"/>
                <a:gd name="T93" fmla="*/ 164 h 311"/>
                <a:gd name="T94" fmla="*/ 34 w 198"/>
                <a:gd name="T95" fmla="*/ 218 h 311"/>
                <a:gd name="T96" fmla="*/ 24 w 198"/>
                <a:gd name="T97" fmla="*/ 252 h 311"/>
                <a:gd name="T98" fmla="*/ 29 w 198"/>
                <a:gd name="T99" fmla="*/ 225 h 311"/>
                <a:gd name="T100" fmla="*/ 51 w 198"/>
                <a:gd name="T101" fmla="*/ 257 h 311"/>
                <a:gd name="T102" fmla="*/ 27 w 198"/>
                <a:gd name="T103" fmla="*/ 274 h 311"/>
                <a:gd name="T104" fmla="*/ 24 w 198"/>
                <a:gd name="T105" fmla="*/ 25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311">
                  <a:moveTo>
                    <a:pt x="10" y="309"/>
                  </a:moveTo>
                  <a:lnTo>
                    <a:pt x="12" y="306"/>
                  </a:lnTo>
                  <a:lnTo>
                    <a:pt x="17" y="294"/>
                  </a:lnTo>
                  <a:lnTo>
                    <a:pt x="32" y="289"/>
                  </a:lnTo>
                  <a:lnTo>
                    <a:pt x="46" y="277"/>
                  </a:lnTo>
                  <a:lnTo>
                    <a:pt x="63" y="265"/>
                  </a:lnTo>
                  <a:lnTo>
                    <a:pt x="76" y="252"/>
                  </a:lnTo>
                  <a:lnTo>
                    <a:pt x="76" y="250"/>
                  </a:lnTo>
                  <a:lnTo>
                    <a:pt x="120" y="171"/>
                  </a:lnTo>
                  <a:lnTo>
                    <a:pt x="127" y="174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2" y="169"/>
                  </a:lnTo>
                  <a:lnTo>
                    <a:pt x="196" y="59"/>
                  </a:lnTo>
                  <a:lnTo>
                    <a:pt x="198" y="49"/>
                  </a:lnTo>
                  <a:lnTo>
                    <a:pt x="198" y="41"/>
                  </a:lnTo>
                  <a:lnTo>
                    <a:pt x="196" y="34"/>
                  </a:lnTo>
                  <a:lnTo>
                    <a:pt x="193" y="27"/>
                  </a:lnTo>
                  <a:lnTo>
                    <a:pt x="191" y="17"/>
                  </a:lnTo>
                  <a:lnTo>
                    <a:pt x="184" y="12"/>
                  </a:lnTo>
                  <a:lnTo>
                    <a:pt x="179" y="7"/>
                  </a:lnTo>
                  <a:lnTo>
                    <a:pt x="171" y="2"/>
                  </a:lnTo>
                  <a:lnTo>
                    <a:pt x="164" y="0"/>
                  </a:lnTo>
                  <a:lnTo>
                    <a:pt x="157" y="0"/>
                  </a:lnTo>
                  <a:lnTo>
                    <a:pt x="149" y="0"/>
                  </a:lnTo>
                  <a:lnTo>
                    <a:pt x="137" y="5"/>
                  </a:lnTo>
                  <a:lnTo>
                    <a:pt x="127" y="12"/>
                  </a:lnTo>
                  <a:lnTo>
                    <a:pt x="122" y="14"/>
                  </a:lnTo>
                  <a:lnTo>
                    <a:pt x="90" y="14"/>
                  </a:lnTo>
                  <a:lnTo>
                    <a:pt x="88" y="17"/>
                  </a:lnTo>
                  <a:lnTo>
                    <a:pt x="86" y="17"/>
                  </a:lnTo>
                  <a:lnTo>
                    <a:pt x="44" y="95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54" y="103"/>
                  </a:lnTo>
                  <a:lnTo>
                    <a:pt x="54" y="105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98"/>
                  </a:lnTo>
                  <a:lnTo>
                    <a:pt x="56" y="98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4" y="93"/>
                  </a:lnTo>
                  <a:lnTo>
                    <a:pt x="93" y="24"/>
                  </a:lnTo>
                  <a:lnTo>
                    <a:pt x="117" y="24"/>
                  </a:lnTo>
                  <a:lnTo>
                    <a:pt x="59" y="130"/>
                  </a:lnTo>
                  <a:lnTo>
                    <a:pt x="59" y="132"/>
                  </a:lnTo>
                  <a:lnTo>
                    <a:pt x="61" y="135"/>
                  </a:lnTo>
                  <a:lnTo>
                    <a:pt x="63" y="137"/>
                  </a:lnTo>
                  <a:lnTo>
                    <a:pt x="17" y="223"/>
                  </a:lnTo>
                  <a:lnTo>
                    <a:pt x="12" y="240"/>
                  </a:lnTo>
                  <a:lnTo>
                    <a:pt x="10" y="255"/>
                  </a:lnTo>
                  <a:lnTo>
                    <a:pt x="10" y="269"/>
                  </a:lnTo>
                  <a:lnTo>
                    <a:pt x="10" y="284"/>
                  </a:lnTo>
                  <a:lnTo>
                    <a:pt x="10" y="289"/>
                  </a:lnTo>
                  <a:lnTo>
                    <a:pt x="2" y="304"/>
                  </a:lnTo>
                  <a:lnTo>
                    <a:pt x="2" y="304"/>
                  </a:lnTo>
                  <a:lnTo>
                    <a:pt x="2" y="304"/>
                  </a:lnTo>
                  <a:lnTo>
                    <a:pt x="2" y="306"/>
                  </a:lnTo>
                  <a:lnTo>
                    <a:pt x="0" y="309"/>
                  </a:lnTo>
                  <a:lnTo>
                    <a:pt x="0" y="309"/>
                  </a:lnTo>
                  <a:lnTo>
                    <a:pt x="2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9"/>
                  </a:lnTo>
                  <a:lnTo>
                    <a:pt x="5" y="311"/>
                  </a:lnTo>
                  <a:lnTo>
                    <a:pt x="5" y="309"/>
                  </a:lnTo>
                  <a:lnTo>
                    <a:pt x="7" y="309"/>
                  </a:lnTo>
                  <a:lnTo>
                    <a:pt x="7" y="311"/>
                  </a:lnTo>
                  <a:lnTo>
                    <a:pt x="7" y="311"/>
                  </a:lnTo>
                  <a:lnTo>
                    <a:pt x="7" y="309"/>
                  </a:lnTo>
                  <a:lnTo>
                    <a:pt x="10" y="311"/>
                  </a:lnTo>
                  <a:lnTo>
                    <a:pt x="10" y="311"/>
                  </a:lnTo>
                  <a:lnTo>
                    <a:pt x="10" y="309"/>
                  </a:lnTo>
                  <a:close/>
                  <a:moveTo>
                    <a:pt x="132" y="24"/>
                  </a:moveTo>
                  <a:lnTo>
                    <a:pt x="137" y="19"/>
                  </a:lnTo>
                  <a:lnTo>
                    <a:pt x="144" y="17"/>
                  </a:lnTo>
                  <a:lnTo>
                    <a:pt x="152" y="14"/>
                  </a:lnTo>
                  <a:lnTo>
                    <a:pt x="157" y="14"/>
                  </a:lnTo>
                  <a:lnTo>
                    <a:pt x="162" y="14"/>
                  </a:lnTo>
                  <a:lnTo>
                    <a:pt x="169" y="17"/>
                  </a:lnTo>
                  <a:lnTo>
                    <a:pt x="176" y="22"/>
                  </a:lnTo>
                  <a:lnTo>
                    <a:pt x="179" y="27"/>
                  </a:lnTo>
                  <a:lnTo>
                    <a:pt x="184" y="37"/>
                  </a:lnTo>
                  <a:lnTo>
                    <a:pt x="184" y="44"/>
                  </a:lnTo>
                  <a:lnTo>
                    <a:pt x="184" y="49"/>
                  </a:lnTo>
                  <a:lnTo>
                    <a:pt x="181" y="59"/>
                  </a:lnTo>
                  <a:lnTo>
                    <a:pt x="125" y="157"/>
                  </a:lnTo>
                  <a:lnTo>
                    <a:pt x="73" y="127"/>
                  </a:lnTo>
                  <a:lnTo>
                    <a:pt x="132" y="24"/>
                  </a:lnTo>
                  <a:close/>
                  <a:moveTo>
                    <a:pt x="76" y="144"/>
                  </a:moveTo>
                  <a:lnTo>
                    <a:pt x="110" y="164"/>
                  </a:lnTo>
                  <a:lnTo>
                    <a:pt x="66" y="238"/>
                  </a:lnTo>
                  <a:lnTo>
                    <a:pt x="34" y="218"/>
                  </a:lnTo>
                  <a:lnTo>
                    <a:pt x="76" y="144"/>
                  </a:lnTo>
                  <a:close/>
                  <a:moveTo>
                    <a:pt x="24" y="252"/>
                  </a:moveTo>
                  <a:lnTo>
                    <a:pt x="27" y="238"/>
                  </a:lnTo>
                  <a:lnTo>
                    <a:pt x="29" y="225"/>
                  </a:lnTo>
                  <a:lnTo>
                    <a:pt x="61" y="245"/>
                  </a:lnTo>
                  <a:lnTo>
                    <a:pt x="51" y="257"/>
                  </a:lnTo>
                  <a:lnTo>
                    <a:pt x="36" y="269"/>
                  </a:lnTo>
                  <a:lnTo>
                    <a:pt x="27" y="274"/>
                  </a:lnTo>
                  <a:lnTo>
                    <a:pt x="22" y="277"/>
                  </a:lnTo>
                  <a:lnTo>
                    <a:pt x="24" y="2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215">
              <a:extLst>
                <a:ext uri="{FF2B5EF4-FFF2-40B4-BE49-F238E27FC236}">
                  <a16:creationId xmlns:a16="http://schemas.microsoft.com/office/drawing/2014/main" id="{B0CC712D-C1B0-4624-88B6-41D67AE5A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2" y="361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3" name="Group 218">
            <a:extLst>
              <a:ext uri="{FF2B5EF4-FFF2-40B4-BE49-F238E27FC236}">
                <a16:creationId xmlns:a16="http://schemas.microsoft.com/office/drawing/2014/main" id="{D771FD6A-4318-4BA5-B2C4-499CD59A92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5763" y="5443098"/>
            <a:ext cx="841375" cy="841375"/>
            <a:chOff x="370" y="3453"/>
            <a:chExt cx="530" cy="530"/>
          </a:xfrm>
        </p:grpSpPr>
        <p:sp>
          <p:nvSpPr>
            <p:cNvPr id="254" name="AutoShape 217">
              <a:extLst>
                <a:ext uri="{FF2B5EF4-FFF2-40B4-BE49-F238E27FC236}">
                  <a16:creationId xmlns:a16="http://schemas.microsoft.com/office/drawing/2014/main" id="{E5C4122B-C893-46AD-8FA8-D5AEF85998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0" y="345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Oval 219">
              <a:extLst>
                <a:ext uri="{FF2B5EF4-FFF2-40B4-BE49-F238E27FC236}">
                  <a16:creationId xmlns:a16="http://schemas.microsoft.com/office/drawing/2014/main" id="{BC52117B-9AFB-4E43-A007-B2AAF4C9E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" y="345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20">
              <a:extLst>
                <a:ext uri="{FF2B5EF4-FFF2-40B4-BE49-F238E27FC236}">
                  <a16:creationId xmlns:a16="http://schemas.microsoft.com/office/drawing/2014/main" id="{852FD1EA-D0B6-450E-B9A9-D6EE5CCA4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" y="347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1">
              <a:extLst>
                <a:ext uri="{FF2B5EF4-FFF2-40B4-BE49-F238E27FC236}">
                  <a16:creationId xmlns:a16="http://schemas.microsoft.com/office/drawing/2014/main" id="{D50C1D8E-428E-45CF-BA97-841E4B8BD6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" y="3558"/>
              <a:ext cx="208" cy="325"/>
            </a:xfrm>
            <a:custGeom>
              <a:avLst/>
              <a:gdLst>
                <a:gd name="T0" fmla="*/ 13 w 208"/>
                <a:gd name="T1" fmla="*/ 320 h 325"/>
                <a:gd name="T2" fmla="*/ 33 w 208"/>
                <a:gd name="T3" fmla="*/ 302 h 325"/>
                <a:gd name="T4" fmla="*/ 67 w 208"/>
                <a:gd name="T5" fmla="*/ 276 h 325"/>
                <a:gd name="T6" fmla="*/ 80 w 208"/>
                <a:gd name="T7" fmla="*/ 261 h 325"/>
                <a:gd name="T8" fmla="*/ 133 w 208"/>
                <a:gd name="T9" fmla="*/ 182 h 325"/>
                <a:gd name="T10" fmla="*/ 138 w 208"/>
                <a:gd name="T11" fmla="*/ 177 h 325"/>
                <a:gd name="T12" fmla="*/ 205 w 208"/>
                <a:gd name="T13" fmla="*/ 61 h 325"/>
                <a:gd name="T14" fmla="*/ 208 w 208"/>
                <a:gd name="T15" fmla="*/ 43 h 325"/>
                <a:gd name="T16" fmla="*/ 202 w 208"/>
                <a:gd name="T17" fmla="*/ 28 h 325"/>
                <a:gd name="T18" fmla="*/ 192 w 208"/>
                <a:gd name="T19" fmla="*/ 13 h 325"/>
                <a:gd name="T20" fmla="*/ 179 w 208"/>
                <a:gd name="T21" fmla="*/ 2 h 325"/>
                <a:gd name="T22" fmla="*/ 164 w 208"/>
                <a:gd name="T23" fmla="*/ 0 h 325"/>
                <a:gd name="T24" fmla="*/ 144 w 208"/>
                <a:gd name="T25" fmla="*/ 5 h 325"/>
                <a:gd name="T26" fmla="*/ 128 w 208"/>
                <a:gd name="T27" fmla="*/ 15 h 325"/>
                <a:gd name="T28" fmla="*/ 92 w 208"/>
                <a:gd name="T29" fmla="*/ 18 h 325"/>
                <a:gd name="T30" fmla="*/ 46 w 208"/>
                <a:gd name="T31" fmla="*/ 100 h 325"/>
                <a:gd name="T32" fmla="*/ 46 w 208"/>
                <a:gd name="T33" fmla="*/ 105 h 325"/>
                <a:gd name="T34" fmla="*/ 57 w 208"/>
                <a:gd name="T35" fmla="*/ 110 h 325"/>
                <a:gd name="T36" fmla="*/ 59 w 208"/>
                <a:gd name="T37" fmla="*/ 107 h 325"/>
                <a:gd name="T38" fmla="*/ 62 w 208"/>
                <a:gd name="T39" fmla="*/ 105 h 325"/>
                <a:gd name="T40" fmla="*/ 59 w 208"/>
                <a:gd name="T41" fmla="*/ 102 h 325"/>
                <a:gd name="T42" fmla="*/ 59 w 208"/>
                <a:gd name="T43" fmla="*/ 100 h 325"/>
                <a:gd name="T44" fmla="*/ 97 w 208"/>
                <a:gd name="T45" fmla="*/ 25 h 325"/>
                <a:gd name="T46" fmla="*/ 62 w 208"/>
                <a:gd name="T47" fmla="*/ 136 h 325"/>
                <a:gd name="T48" fmla="*/ 64 w 208"/>
                <a:gd name="T49" fmla="*/ 141 h 325"/>
                <a:gd name="T50" fmla="*/ 18 w 208"/>
                <a:gd name="T51" fmla="*/ 233 h 325"/>
                <a:gd name="T52" fmla="*/ 10 w 208"/>
                <a:gd name="T53" fmla="*/ 266 h 325"/>
                <a:gd name="T54" fmla="*/ 10 w 208"/>
                <a:gd name="T55" fmla="*/ 297 h 325"/>
                <a:gd name="T56" fmla="*/ 3 w 208"/>
                <a:gd name="T57" fmla="*/ 317 h 325"/>
                <a:gd name="T58" fmla="*/ 3 w 208"/>
                <a:gd name="T59" fmla="*/ 317 h 325"/>
                <a:gd name="T60" fmla="*/ 0 w 208"/>
                <a:gd name="T61" fmla="*/ 322 h 325"/>
                <a:gd name="T62" fmla="*/ 3 w 208"/>
                <a:gd name="T63" fmla="*/ 320 h 325"/>
                <a:gd name="T64" fmla="*/ 5 w 208"/>
                <a:gd name="T65" fmla="*/ 320 h 325"/>
                <a:gd name="T66" fmla="*/ 5 w 208"/>
                <a:gd name="T67" fmla="*/ 325 h 325"/>
                <a:gd name="T68" fmla="*/ 8 w 208"/>
                <a:gd name="T69" fmla="*/ 322 h 325"/>
                <a:gd name="T70" fmla="*/ 8 w 208"/>
                <a:gd name="T71" fmla="*/ 325 h 325"/>
                <a:gd name="T72" fmla="*/ 10 w 208"/>
                <a:gd name="T73" fmla="*/ 325 h 325"/>
                <a:gd name="T74" fmla="*/ 10 w 208"/>
                <a:gd name="T75" fmla="*/ 322 h 325"/>
                <a:gd name="T76" fmla="*/ 144 w 208"/>
                <a:gd name="T77" fmla="*/ 20 h 325"/>
                <a:gd name="T78" fmla="*/ 159 w 208"/>
                <a:gd name="T79" fmla="*/ 15 h 325"/>
                <a:gd name="T80" fmla="*/ 169 w 208"/>
                <a:gd name="T81" fmla="*/ 15 h 325"/>
                <a:gd name="T82" fmla="*/ 185 w 208"/>
                <a:gd name="T83" fmla="*/ 23 h 325"/>
                <a:gd name="T84" fmla="*/ 192 w 208"/>
                <a:gd name="T85" fmla="*/ 38 h 325"/>
                <a:gd name="T86" fmla="*/ 192 w 208"/>
                <a:gd name="T87" fmla="*/ 51 h 325"/>
                <a:gd name="T88" fmla="*/ 131 w 208"/>
                <a:gd name="T89" fmla="*/ 164 h 325"/>
                <a:gd name="T90" fmla="*/ 138 w 208"/>
                <a:gd name="T91" fmla="*/ 25 h 325"/>
                <a:gd name="T92" fmla="*/ 115 w 208"/>
                <a:gd name="T93" fmla="*/ 171 h 325"/>
                <a:gd name="T94" fmla="*/ 36 w 208"/>
                <a:gd name="T95" fmla="*/ 228 h 325"/>
                <a:gd name="T96" fmla="*/ 26 w 208"/>
                <a:gd name="T97" fmla="*/ 264 h 325"/>
                <a:gd name="T98" fmla="*/ 31 w 208"/>
                <a:gd name="T99" fmla="*/ 235 h 325"/>
                <a:gd name="T100" fmla="*/ 54 w 208"/>
                <a:gd name="T101" fmla="*/ 269 h 325"/>
                <a:gd name="T102" fmla="*/ 28 w 208"/>
                <a:gd name="T103" fmla="*/ 287 h 325"/>
                <a:gd name="T104" fmla="*/ 26 w 208"/>
                <a:gd name="T105" fmla="*/ 26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8" h="325">
                  <a:moveTo>
                    <a:pt x="10" y="322"/>
                  </a:moveTo>
                  <a:lnTo>
                    <a:pt x="13" y="320"/>
                  </a:lnTo>
                  <a:lnTo>
                    <a:pt x="18" y="307"/>
                  </a:lnTo>
                  <a:lnTo>
                    <a:pt x="33" y="302"/>
                  </a:lnTo>
                  <a:lnTo>
                    <a:pt x="49" y="289"/>
                  </a:lnTo>
                  <a:lnTo>
                    <a:pt x="67" y="276"/>
                  </a:lnTo>
                  <a:lnTo>
                    <a:pt x="80" y="264"/>
                  </a:lnTo>
                  <a:lnTo>
                    <a:pt x="80" y="261"/>
                  </a:lnTo>
                  <a:lnTo>
                    <a:pt x="126" y="179"/>
                  </a:lnTo>
                  <a:lnTo>
                    <a:pt x="133" y="182"/>
                  </a:lnTo>
                  <a:lnTo>
                    <a:pt x="138" y="179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205" y="61"/>
                  </a:lnTo>
                  <a:lnTo>
                    <a:pt x="208" y="51"/>
                  </a:lnTo>
                  <a:lnTo>
                    <a:pt x="208" y="43"/>
                  </a:lnTo>
                  <a:lnTo>
                    <a:pt x="205" y="36"/>
                  </a:lnTo>
                  <a:lnTo>
                    <a:pt x="202" y="28"/>
                  </a:lnTo>
                  <a:lnTo>
                    <a:pt x="200" y="18"/>
                  </a:lnTo>
                  <a:lnTo>
                    <a:pt x="192" y="13"/>
                  </a:lnTo>
                  <a:lnTo>
                    <a:pt x="187" y="8"/>
                  </a:lnTo>
                  <a:lnTo>
                    <a:pt x="179" y="2"/>
                  </a:lnTo>
                  <a:lnTo>
                    <a:pt x="172" y="0"/>
                  </a:lnTo>
                  <a:lnTo>
                    <a:pt x="164" y="0"/>
                  </a:lnTo>
                  <a:lnTo>
                    <a:pt x="156" y="0"/>
                  </a:lnTo>
                  <a:lnTo>
                    <a:pt x="144" y="5"/>
                  </a:lnTo>
                  <a:lnTo>
                    <a:pt x="133" y="13"/>
                  </a:lnTo>
                  <a:lnTo>
                    <a:pt x="128" y="15"/>
                  </a:lnTo>
                  <a:lnTo>
                    <a:pt x="95" y="15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6" y="105"/>
                  </a:lnTo>
                  <a:lnTo>
                    <a:pt x="57" y="107"/>
                  </a:lnTo>
                  <a:lnTo>
                    <a:pt x="57" y="110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62" y="105"/>
                  </a:lnTo>
                  <a:lnTo>
                    <a:pt x="62" y="105"/>
                  </a:lnTo>
                  <a:lnTo>
                    <a:pt x="62" y="102"/>
                  </a:lnTo>
                  <a:lnTo>
                    <a:pt x="59" y="102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7" y="97"/>
                  </a:lnTo>
                  <a:lnTo>
                    <a:pt x="97" y="25"/>
                  </a:lnTo>
                  <a:lnTo>
                    <a:pt x="123" y="25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4" y="141"/>
                  </a:lnTo>
                  <a:lnTo>
                    <a:pt x="67" y="143"/>
                  </a:lnTo>
                  <a:lnTo>
                    <a:pt x="18" y="233"/>
                  </a:lnTo>
                  <a:lnTo>
                    <a:pt x="13" y="251"/>
                  </a:lnTo>
                  <a:lnTo>
                    <a:pt x="10" y="266"/>
                  </a:lnTo>
                  <a:lnTo>
                    <a:pt x="10" y="282"/>
                  </a:lnTo>
                  <a:lnTo>
                    <a:pt x="10" y="297"/>
                  </a:lnTo>
                  <a:lnTo>
                    <a:pt x="10" y="302"/>
                  </a:lnTo>
                  <a:lnTo>
                    <a:pt x="3" y="317"/>
                  </a:lnTo>
                  <a:lnTo>
                    <a:pt x="3" y="317"/>
                  </a:lnTo>
                  <a:lnTo>
                    <a:pt x="3" y="317"/>
                  </a:lnTo>
                  <a:lnTo>
                    <a:pt x="3" y="320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3" y="320"/>
                  </a:lnTo>
                  <a:lnTo>
                    <a:pt x="5" y="320"/>
                  </a:lnTo>
                  <a:lnTo>
                    <a:pt x="5" y="320"/>
                  </a:lnTo>
                  <a:lnTo>
                    <a:pt x="5" y="322"/>
                  </a:lnTo>
                  <a:lnTo>
                    <a:pt x="5" y="325"/>
                  </a:lnTo>
                  <a:lnTo>
                    <a:pt x="5" y="322"/>
                  </a:lnTo>
                  <a:lnTo>
                    <a:pt x="8" y="322"/>
                  </a:lnTo>
                  <a:lnTo>
                    <a:pt x="8" y="325"/>
                  </a:lnTo>
                  <a:lnTo>
                    <a:pt x="8" y="325"/>
                  </a:lnTo>
                  <a:lnTo>
                    <a:pt x="8" y="322"/>
                  </a:lnTo>
                  <a:lnTo>
                    <a:pt x="10" y="325"/>
                  </a:lnTo>
                  <a:lnTo>
                    <a:pt x="10" y="325"/>
                  </a:lnTo>
                  <a:lnTo>
                    <a:pt x="10" y="322"/>
                  </a:lnTo>
                  <a:close/>
                  <a:moveTo>
                    <a:pt x="138" y="25"/>
                  </a:moveTo>
                  <a:lnTo>
                    <a:pt x="144" y="20"/>
                  </a:lnTo>
                  <a:lnTo>
                    <a:pt x="151" y="18"/>
                  </a:lnTo>
                  <a:lnTo>
                    <a:pt x="159" y="15"/>
                  </a:lnTo>
                  <a:lnTo>
                    <a:pt x="164" y="15"/>
                  </a:lnTo>
                  <a:lnTo>
                    <a:pt x="169" y="15"/>
                  </a:lnTo>
                  <a:lnTo>
                    <a:pt x="177" y="18"/>
                  </a:lnTo>
                  <a:lnTo>
                    <a:pt x="185" y="23"/>
                  </a:lnTo>
                  <a:lnTo>
                    <a:pt x="187" y="28"/>
                  </a:lnTo>
                  <a:lnTo>
                    <a:pt x="192" y="38"/>
                  </a:lnTo>
                  <a:lnTo>
                    <a:pt x="192" y="46"/>
                  </a:lnTo>
                  <a:lnTo>
                    <a:pt x="192" y="51"/>
                  </a:lnTo>
                  <a:lnTo>
                    <a:pt x="190" y="61"/>
                  </a:lnTo>
                  <a:lnTo>
                    <a:pt x="131" y="164"/>
                  </a:lnTo>
                  <a:lnTo>
                    <a:pt x="77" y="133"/>
                  </a:lnTo>
                  <a:lnTo>
                    <a:pt x="138" y="25"/>
                  </a:lnTo>
                  <a:close/>
                  <a:moveTo>
                    <a:pt x="80" y="151"/>
                  </a:moveTo>
                  <a:lnTo>
                    <a:pt x="115" y="171"/>
                  </a:lnTo>
                  <a:lnTo>
                    <a:pt x="69" y="248"/>
                  </a:lnTo>
                  <a:lnTo>
                    <a:pt x="36" y="228"/>
                  </a:lnTo>
                  <a:lnTo>
                    <a:pt x="80" y="151"/>
                  </a:lnTo>
                  <a:close/>
                  <a:moveTo>
                    <a:pt x="26" y="264"/>
                  </a:moveTo>
                  <a:lnTo>
                    <a:pt x="28" y="248"/>
                  </a:lnTo>
                  <a:lnTo>
                    <a:pt x="31" y="235"/>
                  </a:lnTo>
                  <a:lnTo>
                    <a:pt x="64" y="256"/>
                  </a:lnTo>
                  <a:lnTo>
                    <a:pt x="54" y="269"/>
                  </a:lnTo>
                  <a:lnTo>
                    <a:pt x="39" y="282"/>
                  </a:lnTo>
                  <a:lnTo>
                    <a:pt x="28" y="287"/>
                  </a:lnTo>
                  <a:lnTo>
                    <a:pt x="23" y="289"/>
                  </a:lnTo>
                  <a:lnTo>
                    <a:pt x="26" y="2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222">
              <a:extLst>
                <a:ext uri="{FF2B5EF4-FFF2-40B4-BE49-F238E27FC236}">
                  <a16:creationId xmlns:a16="http://schemas.microsoft.com/office/drawing/2014/main" id="{8E1A2815-618E-4588-8A1B-C3E017747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" y="365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25">
            <a:extLst>
              <a:ext uri="{FF2B5EF4-FFF2-40B4-BE49-F238E27FC236}">
                <a16:creationId xmlns:a16="http://schemas.microsoft.com/office/drawing/2014/main" id="{E379DC7B-ED54-433E-9CA7-965ECEED0C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08447" y="5479461"/>
            <a:ext cx="758825" cy="758825"/>
            <a:chOff x="2416" y="3559"/>
            <a:chExt cx="478" cy="478"/>
          </a:xfrm>
        </p:grpSpPr>
        <p:sp>
          <p:nvSpPr>
            <p:cNvPr id="264" name="AutoShape 224">
              <a:extLst>
                <a:ext uri="{FF2B5EF4-FFF2-40B4-BE49-F238E27FC236}">
                  <a16:creationId xmlns:a16="http://schemas.microsoft.com/office/drawing/2014/main" id="{55203648-863D-49E7-AE08-2660B13F0C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16" y="355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26">
              <a:extLst>
                <a:ext uri="{FF2B5EF4-FFF2-40B4-BE49-F238E27FC236}">
                  <a16:creationId xmlns:a16="http://schemas.microsoft.com/office/drawing/2014/main" id="{04AFCCA0-621A-430E-B78B-C847FF4E8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8" y="356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27">
              <a:extLst>
                <a:ext uri="{FF2B5EF4-FFF2-40B4-BE49-F238E27FC236}">
                  <a16:creationId xmlns:a16="http://schemas.microsoft.com/office/drawing/2014/main" id="{63FC93AC-2D32-4405-B7B9-B126C7A9B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" y="388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28">
              <a:extLst>
                <a:ext uri="{FF2B5EF4-FFF2-40B4-BE49-F238E27FC236}">
                  <a16:creationId xmlns:a16="http://schemas.microsoft.com/office/drawing/2014/main" id="{4512C565-4866-4E43-AB30-3C736C5BB4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4" y="3655"/>
              <a:ext cx="265" cy="269"/>
            </a:xfrm>
            <a:custGeom>
              <a:avLst/>
              <a:gdLst>
                <a:gd name="T0" fmla="*/ 250 w 265"/>
                <a:gd name="T1" fmla="*/ 27 h 269"/>
                <a:gd name="T2" fmla="*/ 248 w 265"/>
                <a:gd name="T3" fmla="*/ 0 h 269"/>
                <a:gd name="T4" fmla="*/ 219 w 265"/>
                <a:gd name="T5" fmla="*/ 27 h 269"/>
                <a:gd name="T6" fmla="*/ 206 w 265"/>
                <a:gd name="T7" fmla="*/ 34 h 269"/>
                <a:gd name="T8" fmla="*/ 179 w 265"/>
                <a:gd name="T9" fmla="*/ 58 h 269"/>
                <a:gd name="T10" fmla="*/ 182 w 265"/>
                <a:gd name="T11" fmla="*/ 132 h 269"/>
                <a:gd name="T12" fmla="*/ 189 w 265"/>
                <a:gd name="T13" fmla="*/ 78 h 269"/>
                <a:gd name="T14" fmla="*/ 201 w 265"/>
                <a:gd name="T15" fmla="*/ 58 h 269"/>
                <a:gd name="T16" fmla="*/ 224 w 265"/>
                <a:gd name="T17" fmla="*/ 240 h 269"/>
                <a:gd name="T18" fmla="*/ 197 w 265"/>
                <a:gd name="T19" fmla="*/ 252 h 269"/>
                <a:gd name="T20" fmla="*/ 194 w 265"/>
                <a:gd name="T21" fmla="*/ 223 h 269"/>
                <a:gd name="T22" fmla="*/ 177 w 265"/>
                <a:gd name="T23" fmla="*/ 223 h 269"/>
                <a:gd name="T24" fmla="*/ 170 w 265"/>
                <a:gd name="T25" fmla="*/ 247 h 269"/>
                <a:gd name="T26" fmla="*/ 140 w 265"/>
                <a:gd name="T27" fmla="*/ 257 h 269"/>
                <a:gd name="T28" fmla="*/ 155 w 265"/>
                <a:gd name="T29" fmla="*/ 220 h 269"/>
                <a:gd name="T30" fmla="*/ 130 w 265"/>
                <a:gd name="T31" fmla="*/ 213 h 269"/>
                <a:gd name="T32" fmla="*/ 116 w 265"/>
                <a:gd name="T33" fmla="*/ 250 h 269"/>
                <a:gd name="T34" fmla="*/ 86 w 265"/>
                <a:gd name="T35" fmla="*/ 255 h 269"/>
                <a:gd name="T36" fmla="*/ 101 w 265"/>
                <a:gd name="T37" fmla="*/ 220 h 269"/>
                <a:gd name="T38" fmla="*/ 96 w 265"/>
                <a:gd name="T39" fmla="*/ 203 h 269"/>
                <a:gd name="T40" fmla="*/ 72 w 265"/>
                <a:gd name="T41" fmla="*/ 230 h 269"/>
                <a:gd name="T42" fmla="*/ 47 w 265"/>
                <a:gd name="T43" fmla="*/ 257 h 269"/>
                <a:gd name="T44" fmla="*/ 30 w 265"/>
                <a:gd name="T45" fmla="*/ 247 h 269"/>
                <a:gd name="T46" fmla="*/ 35 w 265"/>
                <a:gd name="T47" fmla="*/ 215 h 269"/>
                <a:gd name="T48" fmla="*/ 81 w 265"/>
                <a:gd name="T49" fmla="*/ 193 h 269"/>
                <a:gd name="T50" fmla="*/ 108 w 265"/>
                <a:gd name="T51" fmla="*/ 139 h 269"/>
                <a:gd name="T52" fmla="*/ 89 w 265"/>
                <a:gd name="T53" fmla="*/ 115 h 269"/>
                <a:gd name="T54" fmla="*/ 42 w 265"/>
                <a:gd name="T55" fmla="*/ 149 h 269"/>
                <a:gd name="T56" fmla="*/ 15 w 265"/>
                <a:gd name="T57" fmla="*/ 179 h 269"/>
                <a:gd name="T58" fmla="*/ 0 w 265"/>
                <a:gd name="T59" fmla="*/ 166 h 269"/>
                <a:gd name="T60" fmla="*/ 8 w 265"/>
                <a:gd name="T61" fmla="*/ 198 h 269"/>
                <a:gd name="T62" fmla="*/ 15 w 265"/>
                <a:gd name="T63" fmla="*/ 245 h 269"/>
                <a:gd name="T64" fmla="*/ 40 w 265"/>
                <a:gd name="T65" fmla="*/ 269 h 269"/>
                <a:gd name="T66" fmla="*/ 76 w 265"/>
                <a:gd name="T67" fmla="*/ 264 h 269"/>
                <a:gd name="T68" fmla="*/ 118 w 265"/>
                <a:gd name="T69" fmla="*/ 267 h 269"/>
                <a:gd name="T70" fmla="*/ 152 w 265"/>
                <a:gd name="T71" fmla="*/ 269 h 269"/>
                <a:gd name="T72" fmla="*/ 192 w 265"/>
                <a:gd name="T73" fmla="*/ 264 h 269"/>
                <a:gd name="T74" fmla="*/ 238 w 265"/>
                <a:gd name="T75" fmla="*/ 269 h 269"/>
                <a:gd name="T76" fmla="*/ 248 w 265"/>
                <a:gd name="T77" fmla="*/ 240 h 269"/>
                <a:gd name="T78" fmla="*/ 37 w 265"/>
                <a:gd name="T79" fmla="*/ 186 h 269"/>
                <a:gd name="T80" fmla="*/ 72 w 265"/>
                <a:gd name="T81" fmla="*/ 134 h 269"/>
                <a:gd name="T82" fmla="*/ 96 w 265"/>
                <a:gd name="T83" fmla="*/ 134 h 269"/>
                <a:gd name="T84" fmla="*/ 94 w 265"/>
                <a:gd name="T85" fmla="*/ 156 h 269"/>
                <a:gd name="T86" fmla="*/ 57 w 265"/>
                <a:gd name="T87" fmla="*/ 193 h 269"/>
                <a:gd name="T88" fmla="*/ 37 w 265"/>
                <a:gd name="T89" fmla="*/ 186 h 269"/>
                <a:gd name="T90" fmla="*/ 130 w 265"/>
                <a:gd name="T91" fmla="*/ 228 h 269"/>
                <a:gd name="T92" fmla="*/ 143 w 265"/>
                <a:gd name="T93" fmla="*/ 225 h 269"/>
                <a:gd name="T94" fmla="*/ 145 w 265"/>
                <a:gd name="T95" fmla="*/ 228 h 269"/>
                <a:gd name="T96" fmla="*/ 228 w 265"/>
                <a:gd name="T97" fmla="*/ 7 h 269"/>
                <a:gd name="T98" fmla="*/ 241 w 265"/>
                <a:gd name="T99" fmla="*/ 228 h 269"/>
                <a:gd name="T100" fmla="*/ 253 w 265"/>
                <a:gd name="T101" fmla="*/ 176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5" h="269">
                  <a:moveTo>
                    <a:pt x="265" y="31"/>
                  </a:moveTo>
                  <a:lnTo>
                    <a:pt x="263" y="29"/>
                  </a:lnTo>
                  <a:lnTo>
                    <a:pt x="260" y="27"/>
                  </a:lnTo>
                  <a:lnTo>
                    <a:pt x="258" y="27"/>
                  </a:lnTo>
                  <a:lnTo>
                    <a:pt x="250" y="27"/>
                  </a:lnTo>
                  <a:lnTo>
                    <a:pt x="250" y="2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21" y="0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9" y="27"/>
                  </a:lnTo>
                  <a:lnTo>
                    <a:pt x="209" y="27"/>
                  </a:lnTo>
                  <a:lnTo>
                    <a:pt x="206" y="29"/>
                  </a:lnTo>
                  <a:lnTo>
                    <a:pt x="206" y="31"/>
                  </a:lnTo>
                  <a:lnTo>
                    <a:pt x="206" y="31"/>
                  </a:lnTo>
                  <a:lnTo>
                    <a:pt x="206" y="34"/>
                  </a:lnTo>
                  <a:lnTo>
                    <a:pt x="206" y="44"/>
                  </a:lnTo>
                  <a:lnTo>
                    <a:pt x="197" y="46"/>
                  </a:lnTo>
                  <a:lnTo>
                    <a:pt x="189" y="49"/>
                  </a:lnTo>
                  <a:lnTo>
                    <a:pt x="184" y="54"/>
                  </a:lnTo>
                  <a:lnTo>
                    <a:pt x="179" y="58"/>
                  </a:lnTo>
                  <a:lnTo>
                    <a:pt x="177" y="68"/>
                  </a:lnTo>
                  <a:lnTo>
                    <a:pt x="177" y="78"/>
                  </a:lnTo>
                  <a:lnTo>
                    <a:pt x="177" y="127"/>
                  </a:lnTo>
                  <a:lnTo>
                    <a:pt x="179" y="130"/>
                  </a:lnTo>
                  <a:lnTo>
                    <a:pt x="182" y="132"/>
                  </a:lnTo>
                  <a:lnTo>
                    <a:pt x="184" y="130"/>
                  </a:lnTo>
                  <a:lnTo>
                    <a:pt x="187" y="130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78"/>
                  </a:lnTo>
                  <a:lnTo>
                    <a:pt x="189" y="71"/>
                  </a:lnTo>
                  <a:lnTo>
                    <a:pt x="192" y="66"/>
                  </a:lnTo>
                  <a:lnTo>
                    <a:pt x="194" y="63"/>
                  </a:lnTo>
                  <a:lnTo>
                    <a:pt x="197" y="61"/>
                  </a:lnTo>
                  <a:lnTo>
                    <a:pt x="201" y="58"/>
                  </a:lnTo>
                  <a:lnTo>
                    <a:pt x="206" y="56"/>
                  </a:lnTo>
                  <a:lnTo>
                    <a:pt x="206" y="183"/>
                  </a:lnTo>
                  <a:lnTo>
                    <a:pt x="221" y="237"/>
                  </a:lnTo>
                  <a:lnTo>
                    <a:pt x="224" y="240"/>
                  </a:lnTo>
                  <a:lnTo>
                    <a:pt x="224" y="240"/>
                  </a:lnTo>
                  <a:lnTo>
                    <a:pt x="224" y="240"/>
                  </a:lnTo>
                  <a:lnTo>
                    <a:pt x="228" y="240"/>
                  </a:lnTo>
                  <a:lnTo>
                    <a:pt x="228" y="257"/>
                  </a:lnTo>
                  <a:lnTo>
                    <a:pt x="209" y="257"/>
                  </a:lnTo>
                  <a:lnTo>
                    <a:pt x="197" y="252"/>
                  </a:lnTo>
                  <a:lnTo>
                    <a:pt x="187" y="250"/>
                  </a:lnTo>
                  <a:lnTo>
                    <a:pt x="187" y="247"/>
                  </a:lnTo>
                  <a:lnTo>
                    <a:pt x="192" y="235"/>
                  </a:lnTo>
                  <a:lnTo>
                    <a:pt x="194" y="230"/>
                  </a:lnTo>
                  <a:lnTo>
                    <a:pt x="194" y="223"/>
                  </a:lnTo>
                  <a:lnTo>
                    <a:pt x="192" y="220"/>
                  </a:lnTo>
                  <a:lnTo>
                    <a:pt x="187" y="220"/>
                  </a:lnTo>
                  <a:lnTo>
                    <a:pt x="187" y="218"/>
                  </a:lnTo>
                  <a:lnTo>
                    <a:pt x="182" y="220"/>
                  </a:lnTo>
                  <a:lnTo>
                    <a:pt x="177" y="223"/>
                  </a:lnTo>
                  <a:lnTo>
                    <a:pt x="174" y="225"/>
                  </a:lnTo>
                  <a:lnTo>
                    <a:pt x="172" y="230"/>
                  </a:lnTo>
                  <a:lnTo>
                    <a:pt x="170" y="237"/>
                  </a:lnTo>
                  <a:lnTo>
                    <a:pt x="170" y="240"/>
                  </a:lnTo>
                  <a:lnTo>
                    <a:pt x="170" y="247"/>
                  </a:lnTo>
                  <a:lnTo>
                    <a:pt x="162" y="252"/>
                  </a:lnTo>
                  <a:lnTo>
                    <a:pt x="157" y="255"/>
                  </a:lnTo>
                  <a:lnTo>
                    <a:pt x="152" y="257"/>
                  </a:lnTo>
                  <a:lnTo>
                    <a:pt x="145" y="257"/>
                  </a:lnTo>
                  <a:lnTo>
                    <a:pt x="140" y="257"/>
                  </a:lnTo>
                  <a:lnTo>
                    <a:pt x="150" y="247"/>
                  </a:lnTo>
                  <a:lnTo>
                    <a:pt x="152" y="242"/>
                  </a:lnTo>
                  <a:lnTo>
                    <a:pt x="157" y="232"/>
                  </a:lnTo>
                  <a:lnTo>
                    <a:pt x="157" y="228"/>
                  </a:lnTo>
                  <a:lnTo>
                    <a:pt x="155" y="220"/>
                  </a:lnTo>
                  <a:lnTo>
                    <a:pt x="152" y="215"/>
                  </a:lnTo>
                  <a:lnTo>
                    <a:pt x="148" y="213"/>
                  </a:lnTo>
                  <a:lnTo>
                    <a:pt x="140" y="210"/>
                  </a:lnTo>
                  <a:lnTo>
                    <a:pt x="135" y="210"/>
                  </a:lnTo>
                  <a:lnTo>
                    <a:pt x="130" y="213"/>
                  </a:lnTo>
                  <a:lnTo>
                    <a:pt x="125" y="215"/>
                  </a:lnTo>
                  <a:lnTo>
                    <a:pt x="121" y="223"/>
                  </a:lnTo>
                  <a:lnTo>
                    <a:pt x="116" y="232"/>
                  </a:lnTo>
                  <a:lnTo>
                    <a:pt x="116" y="242"/>
                  </a:lnTo>
                  <a:lnTo>
                    <a:pt x="116" y="250"/>
                  </a:lnTo>
                  <a:lnTo>
                    <a:pt x="118" y="255"/>
                  </a:lnTo>
                  <a:lnTo>
                    <a:pt x="108" y="257"/>
                  </a:lnTo>
                  <a:lnTo>
                    <a:pt x="101" y="257"/>
                  </a:lnTo>
                  <a:lnTo>
                    <a:pt x="91" y="257"/>
                  </a:lnTo>
                  <a:lnTo>
                    <a:pt x="86" y="255"/>
                  </a:lnTo>
                  <a:lnTo>
                    <a:pt x="84" y="252"/>
                  </a:lnTo>
                  <a:lnTo>
                    <a:pt x="81" y="247"/>
                  </a:lnTo>
                  <a:lnTo>
                    <a:pt x="91" y="237"/>
                  </a:lnTo>
                  <a:lnTo>
                    <a:pt x="96" y="230"/>
                  </a:lnTo>
                  <a:lnTo>
                    <a:pt x="101" y="220"/>
                  </a:lnTo>
                  <a:lnTo>
                    <a:pt x="103" y="210"/>
                  </a:lnTo>
                  <a:lnTo>
                    <a:pt x="101" y="208"/>
                  </a:lnTo>
                  <a:lnTo>
                    <a:pt x="101" y="206"/>
                  </a:lnTo>
                  <a:lnTo>
                    <a:pt x="98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89" y="206"/>
                  </a:lnTo>
                  <a:lnTo>
                    <a:pt x="84" y="210"/>
                  </a:lnTo>
                  <a:lnTo>
                    <a:pt x="79" y="215"/>
                  </a:lnTo>
                  <a:lnTo>
                    <a:pt x="72" y="23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59" y="252"/>
                  </a:lnTo>
                  <a:lnTo>
                    <a:pt x="52" y="255"/>
                  </a:lnTo>
                  <a:lnTo>
                    <a:pt x="47" y="257"/>
                  </a:lnTo>
                  <a:lnTo>
                    <a:pt x="40" y="257"/>
                  </a:lnTo>
                  <a:lnTo>
                    <a:pt x="35" y="257"/>
                  </a:lnTo>
                  <a:lnTo>
                    <a:pt x="32" y="255"/>
                  </a:lnTo>
                  <a:lnTo>
                    <a:pt x="32" y="252"/>
                  </a:lnTo>
                  <a:lnTo>
                    <a:pt x="30" y="247"/>
                  </a:lnTo>
                  <a:lnTo>
                    <a:pt x="27" y="240"/>
                  </a:lnTo>
                  <a:lnTo>
                    <a:pt x="27" y="237"/>
                  </a:lnTo>
                  <a:lnTo>
                    <a:pt x="30" y="218"/>
                  </a:lnTo>
                  <a:lnTo>
                    <a:pt x="30" y="213"/>
                  </a:lnTo>
                  <a:lnTo>
                    <a:pt x="35" y="215"/>
                  </a:lnTo>
                  <a:lnTo>
                    <a:pt x="40" y="213"/>
                  </a:lnTo>
                  <a:lnTo>
                    <a:pt x="52" y="210"/>
                  </a:lnTo>
                  <a:lnTo>
                    <a:pt x="64" y="206"/>
                  </a:lnTo>
                  <a:lnTo>
                    <a:pt x="74" y="198"/>
                  </a:lnTo>
                  <a:lnTo>
                    <a:pt x="81" y="193"/>
                  </a:lnTo>
                  <a:lnTo>
                    <a:pt x="94" y="181"/>
                  </a:lnTo>
                  <a:lnTo>
                    <a:pt x="101" y="171"/>
                  </a:lnTo>
                  <a:lnTo>
                    <a:pt x="106" y="156"/>
                  </a:lnTo>
                  <a:lnTo>
                    <a:pt x="108" y="142"/>
                  </a:lnTo>
                  <a:lnTo>
                    <a:pt x="108" y="139"/>
                  </a:lnTo>
                  <a:lnTo>
                    <a:pt x="108" y="132"/>
                  </a:lnTo>
                  <a:lnTo>
                    <a:pt x="106" y="125"/>
                  </a:lnTo>
                  <a:lnTo>
                    <a:pt x="101" y="120"/>
                  </a:lnTo>
                  <a:lnTo>
                    <a:pt x="94" y="117"/>
                  </a:lnTo>
                  <a:lnTo>
                    <a:pt x="89" y="115"/>
                  </a:lnTo>
                  <a:lnTo>
                    <a:pt x="79" y="117"/>
                  </a:lnTo>
                  <a:lnTo>
                    <a:pt x="72" y="122"/>
                  </a:lnTo>
                  <a:lnTo>
                    <a:pt x="64" y="127"/>
                  </a:lnTo>
                  <a:lnTo>
                    <a:pt x="52" y="137"/>
                  </a:lnTo>
                  <a:lnTo>
                    <a:pt x="42" y="149"/>
                  </a:lnTo>
                  <a:lnTo>
                    <a:pt x="35" y="164"/>
                  </a:lnTo>
                  <a:lnTo>
                    <a:pt x="30" y="176"/>
                  </a:lnTo>
                  <a:lnTo>
                    <a:pt x="20" y="198"/>
                  </a:lnTo>
                  <a:lnTo>
                    <a:pt x="15" y="186"/>
                  </a:lnTo>
                  <a:lnTo>
                    <a:pt x="15" y="179"/>
                  </a:lnTo>
                  <a:lnTo>
                    <a:pt x="13" y="164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5" y="161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9"/>
                  </a:lnTo>
                  <a:lnTo>
                    <a:pt x="0" y="181"/>
                  </a:lnTo>
                  <a:lnTo>
                    <a:pt x="3" y="188"/>
                  </a:lnTo>
                  <a:lnTo>
                    <a:pt x="8" y="198"/>
                  </a:lnTo>
                  <a:lnTo>
                    <a:pt x="13" y="206"/>
                  </a:lnTo>
                  <a:lnTo>
                    <a:pt x="18" y="210"/>
                  </a:lnTo>
                  <a:lnTo>
                    <a:pt x="15" y="225"/>
                  </a:lnTo>
                  <a:lnTo>
                    <a:pt x="15" y="235"/>
                  </a:lnTo>
                  <a:lnTo>
                    <a:pt x="15" y="245"/>
                  </a:lnTo>
                  <a:lnTo>
                    <a:pt x="18" y="255"/>
                  </a:lnTo>
                  <a:lnTo>
                    <a:pt x="22" y="262"/>
                  </a:lnTo>
                  <a:lnTo>
                    <a:pt x="30" y="269"/>
                  </a:lnTo>
                  <a:lnTo>
                    <a:pt x="35" y="269"/>
                  </a:lnTo>
                  <a:lnTo>
                    <a:pt x="40" y="269"/>
                  </a:lnTo>
                  <a:lnTo>
                    <a:pt x="47" y="269"/>
                  </a:lnTo>
                  <a:lnTo>
                    <a:pt x="57" y="267"/>
                  </a:lnTo>
                  <a:lnTo>
                    <a:pt x="69" y="259"/>
                  </a:lnTo>
                  <a:lnTo>
                    <a:pt x="72" y="257"/>
                  </a:lnTo>
                  <a:lnTo>
                    <a:pt x="76" y="264"/>
                  </a:lnTo>
                  <a:lnTo>
                    <a:pt x="81" y="267"/>
                  </a:lnTo>
                  <a:lnTo>
                    <a:pt x="86" y="269"/>
                  </a:lnTo>
                  <a:lnTo>
                    <a:pt x="96" y="269"/>
                  </a:lnTo>
                  <a:lnTo>
                    <a:pt x="101" y="269"/>
                  </a:lnTo>
                  <a:lnTo>
                    <a:pt x="118" y="267"/>
                  </a:lnTo>
                  <a:lnTo>
                    <a:pt x="128" y="264"/>
                  </a:lnTo>
                  <a:lnTo>
                    <a:pt x="135" y="269"/>
                  </a:lnTo>
                  <a:lnTo>
                    <a:pt x="143" y="269"/>
                  </a:lnTo>
                  <a:lnTo>
                    <a:pt x="148" y="269"/>
                  </a:lnTo>
                  <a:lnTo>
                    <a:pt x="152" y="269"/>
                  </a:lnTo>
                  <a:lnTo>
                    <a:pt x="165" y="267"/>
                  </a:lnTo>
                  <a:lnTo>
                    <a:pt x="174" y="259"/>
                  </a:lnTo>
                  <a:lnTo>
                    <a:pt x="177" y="257"/>
                  </a:lnTo>
                  <a:lnTo>
                    <a:pt x="184" y="259"/>
                  </a:lnTo>
                  <a:lnTo>
                    <a:pt x="192" y="264"/>
                  </a:lnTo>
                  <a:lnTo>
                    <a:pt x="199" y="267"/>
                  </a:lnTo>
                  <a:lnTo>
                    <a:pt x="211" y="269"/>
                  </a:lnTo>
                  <a:lnTo>
                    <a:pt x="224" y="269"/>
                  </a:lnTo>
                  <a:lnTo>
                    <a:pt x="236" y="269"/>
                  </a:lnTo>
                  <a:lnTo>
                    <a:pt x="238" y="269"/>
                  </a:lnTo>
                  <a:lnTo>
                    <a:pt x="241" y="267"/>
                  </a:lnTo>
                  <a:lnTo>
                    <a:pt x="241" y="264"/>
                  </a:lnTo>
                  <a:lnTo>
                    <a:pt x="241" y="264"/>
                  </a:lnTo>
                  <a:lnTo>
                    <a:pt x="241" y="240"/>
                  </a:lnTo>
                  <a:lnTo>
                    <a:pt x="248" y="240"/>
                  </a:lnTo>
                  <a:lnTo>
                    <a:pt x="250" y="237"/>
                  </a:lnTo>
                  <a:lnTo>
                    <a:pt x="250" y="235"/>
                  </a:lnTo>
                  <a:lnTo>
                    <a:pt x="265" y="181"/>
                  </a:lnTo>
                  <a:lnTo>
                    <a:pt x="265" y="31"/>
                  </a:lnTo>
                  <a:close/>
                  <a:moveTo>
                    <a:pt x="37" y="186"/>
                  </a:moveTo>
                  <a:lnTo>
                    <a:pt x="45" y="171"/>
                  </a:lnTo>
                  <a:lnTo>
                    <a:pt x="52" y="159"/>
                  </a:lnTo>
                  <a:lnTo>
                    <a:pt x="62" y="147"/>
                  </a:lnTo>
                  <a:lnTo>
                    <a:pt x="67" y="142"/>
                  </a:lnTo>
                  <a:lnTo>
                    <a:pt x="72" y="134"/>
                  </a:lnTo>
                  <a:lnTo>
                    <a:pt x="81" y="130"/>
                  </a:lnTo>
                  <a:lnTo>
                    <a:pt x="89" y="130"/>
                  </a:lnTo>
                  <a:lnTo>
                    <a:pt x="91" y="130"/>
                  </a:lnTo>
                  <a:lnTo>
                    <a:pt x="94" y="132"/>
                  </a:lnTo>
                  <a:lnTo>
                    <a:pt x="96" y="134"/>
                  </a:lnTo>
                  <a:lnTo>
                    <a:pt x="96" y="139"/>
                  </a:lnTo>
                  <a:lnTo>
                    <a:pt x="96" y="142"/>
                  </a:lnTo>
                  <a:lnTo>
                    <a:pt x="96" y="144"/>
                  </a:lnTo>
                  <a:lnTo>
                    <a:pt x="96" y="149"/>
                  </a:lnTo>
                  <a:lnTo>
                    <a:pt x="94" y="156"/>
                  </a:lnTo>
                  <a:lnTo>
                    <a:pt x="89" y="164"/>
                  </a:lnTo>
                  <a:lnTo>
                    <a:pt x="84" y="171"/>
                  </a:lnTo>
                  <a:lnTo>
                    <a:pt x="79" y="179"/>
                  </a:lnTo>
                  <a:lnTo>
                    <a:pt x="69" y="186"/>
                  </a:lnTo>
                  <a:lnTo>
                    <a:pt x="57" y="193"/>
                  </a:lnTo>
                  <a:lnTo>
                    <a:pt x="52" y="196"/>
                  </a:lnTo>
                  <a:lnTo>
                    <a:pt x="45" y="201"/>
                  </a:lnTo>
                  <a:lnTo>
                    <a:pt x="37" y="201"/>
                  </a:lnTo>
                  <a:lnTo>
                    <a:pt x="32" y="203"/>
                  </a:lnTo>
                  <a:lnTo>
                    <a:pt x="37" y="186"/>
                  </a:lnTo>
                  <a:close/>
                  <a:moveTo>
                    <a:pt x="135" y="245"/>
                  </a:moveTo>
                  <a:lnTo>
                    <a:pt x="130" y="250"/>
                  </a:lnTo>
                  <a:lnTo>
                    <a:pt x="128" y="240"/>
                  </a:lnTo>
                  <a:lnTo>
                    <a:pt x="128" y="232"/>
                  </a:lnTo>
                  <a:lnTo>
                    <a:pt x="130" y="228"/>
                  </a:lnTo>
                  <a:lnTo>
                    <a:pt x="135" y="225"/>
                  </a:lnTo>
                  <a:lnTo>
                    <a:pt x="138" y="223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3" y="225"/>
                  </a:lnTo>
                  <a:lnTo>
                    <a:pt x="143" y="225"/>
                  </a:lnTo>
                  <a:lnTo>
                    <a:pt x="143" y="225"/>
                  </a:lnTo>
                  <a:lnTo>
                    <a:pt x="143" y="225"/>
                  </a:lnTo>
                  <a:lnTo>
                    <a:pt x="145" y="225"/>
                  </a:lnTo>
                  <a:lnTo>
                    <a:pt x="145" y="228"/>
                  </a:lnTo>
                  <a:lnTo>
                    <a:pt x="145" y="230"/>
                  </a:lnTo>
                  <a:lnTo>
                    <a:pt x="143" y="235"/>
                  </a:lnTo>
                  <a:lnTo>
                    <a:pt x="140" y="240"/>
                  </a:lnTo>
                  <a:lnTo>
                    <a:pt x="135" y="245"/>
                  </a:lnTo>
                  <a:close/>
                  <a:moveTo>
                    <a:pt x="228" y="7"/>
                  </a:moveTo>
                  <a:lnTo>
                    <a:pt x="243" y="7"/>
                  </a:lnTo>
                  <a:lnTo>
                    <a:pt x="243" y="27"/>
                  </a:lnTo>
                  <a:lnTo>
                    <a:pt x="228" y="27"/>
                  </a:lnTo>
                  <a:lnTo>
                    <a:pt x="228" y="7"/>
                  </a:lnTo>
                  <a:close/>
                  <a:moveTo>
                    <a:pt x="241" y="228"/>
                  </a:moveTo>
                  <a:lnTo>
                    <a:pt x="231" y="228"/>
                  </a:lnTo>
                  <a:lnTo>
                    <a:pt x="221" y="188"/>
                  </a:lnTo>
                  <a:lnTo>
                    <a:pt x="250" y="188"/>
                  </a:lnTo>
                  <a:lnTo>
                    <a:pt x="241" y="228"/>
                  </a:lnTo>
                  <a:close/>
                  <a:moveTo>
                    <a:pt x="253" y="176"/>
                  </a:moveTo>
                  <a:lnTo>
                    <a:pt x="219" y="176"/>
                  </a:lnTo>
                  <a:lnTo>
                    <a:pt x="219" y="39"/>
                  </a:lnTo>
                  <a:lnTo>
                    <a:pt x="253" y="39"/>
                  </a:lnTo>
                  <a:lnTo>
                    <a:pt x="253" y="1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8" name="Group 231">
            <a:extLst>
              <a:ext uri="{FF2B5EF4-FFF2-40B4-BE49-F238E27FC236}">
                <a16:creationId xmlns:a16="http://schemas.microsoft.com/office/drawing/2014/main" id="{16F19028-78E9-49C0-B415-788D2657ED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2610" y="5438186"/>
            <a:ext cx="841375" cy="841375"/>
            <a:chOff x="1691" y="3486"/>
            <a:chExt cx="530" cy="530"/>
          </a:xfrm>
        </p:grpSpPr>
        <p:sp>
          <p:nvSpPr>
            <p:cNvPr id="269" name="AutoShape 230">
              <a:extLst>
                <a:ext uri="{FF2B5EF4-FFF2-40B4-BE49-F238E27FC236}">
                  <a16:creationId xmlns:a16="http://schemas.microsoft.com/office/drawing/2014/main" id="{2574D4F4-88DB-4FE7-8171-DDB7B70F34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91" y="348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232">
              <a:extLst>
                <a:ext uri="{FF2B5EF4-FFF2-40B4-BE49-F238E27FC236}">
                  <a16:creationId xmlns:a16="http://schemas.microsoft.com/office/drawing/2014/main" id="{568F55E6-A17F-473B-BCBB-AE0B10997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1" y="348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33">
              <a:extLst>
                <a:ext uri="{FF2B5EF4-FFF2-40B4-BE49-F238E27FC236}">
                  <a16:creationId xmlns:a16="http://schemas.microsoft.com/office/drawing/2014/main" id="{CD3435D1-093C-4B02-86DF-F7602B1AEA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" y="350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234">
              <a:extLst>
                <a:ext uri="{FF2B5EF4-FFF2-40B4-BE49-F238E27FC236}">
                  <a16:creationId xmlns:a16="http://schemas.microsoft.com/office/drawing/2014/main" id="{C4BEB5C6-5B89-4EBF-85EE-7907EC690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4" y="383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5">
              <a:extLst>
                <a:ext uri="{FF2B5EF4-FFF2-40B4-BE49-F238E27FC236}">
                  <a16:creationId xmlns:a16="http://schemas.microsoft.com/office/drawing/2014/main" id="{D8606F9C-5067-4A00-8463-7E231C72C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8" y="3601"/>
              <a:ext cx="277" cy="282"/>
            </a:xfrm>
            <a:custGeom>
              <a:avLst/>
              <a:gdLst>
                <a:gd name="T0" fmla="*/ 261 w 277"/>
                <a:gd name="T1" fmla="*/ 28 h 282"/>
                <a:gd name="T2" fmla="*/ 259 w 277"/>
                <a:gd name="T3" fmla="*/ 0 h 282"/>
                <a:gd name="T4" fmla="*/ 228 w 277"/>
                <a:gd name="T5" fmla="*/ 28 h 282"/>
                <a:gd name="T6" fmla="*/ 215 w 277"/>
                <a:gd name="T7" fmla="*/ 36 h 282"/>
                <a:gd name="T8" fmla="*/ 187 w 277"/>
                <a:gd name="T9" fmla="*/ 62 h 282"/>
                <a:gd name="T10" fmla="*/ 190 w 277"/>
                <a:gd name="T11" fmla="*/ 138 h 282"/>
                <a:gd name="T12" fmla="*/ 197 w 277"/>
                <a:gd name="T13" fmla="*/ 82 h 282"/>
                <a:gd name="T14" fmla="*/ 210 w 277"/>
                <a:gd name="T15" fmla="*/ 62 h 282"/>
                <a:gd name="T16" fmla="*/ 233 w 277"/>
                <a:gd name="T17" fmla="*/ 251 h 282"/>
                <a:gd name="T18" fmla="*/ 205 w 277"/>
                <a:gd name="T19" fmla="*/ 264 h 282"/>
                <a:gd name="T20" fmla="*/ 202 w 277"/>
                <a:gd name="T21" fmla="*/ 233 h 282"/>
                <a:gd name="T22" fmla="*/ 185 w 277"/>
                <a:gd name="T23" fmla="*/ 233 h 282"/>
                <a:gd name="T24" fmla="*/ 177 w 277"/>
                <a:gd name="T25" fmla="*/ 259 h 282"/>
                <a:gd name="T26" fmla="*/ 146 w 277"/>
                <a:gd name="T27" fmla="*/ 269 h 282"/>
                <a:gd name="T28" fmla="*/ 161 w 277"/>
                <a:gd name="T29" fmla="*/ 231 h 282"/>
                <a:gd name="T30" fmla="*/ 136 w 277"/>
                <a:gd name="T31" fmla="*/ 223 h 282"/>
                <a:gd name="T32" fmla="*/ 121 w 277"/>
                <a:gd name="T33" fmla="*/ 261 h 282"/>
                <a:gd name="T34" fmla="*/ 90 w 277"/>
                <a:gd name="T35" fmla="*/ 266 h 282"/>
                <a:gd name="T36" fmla="*/ 105 w 277"/>
                <a:gd name="T37" fmla="*/ 231 h 282"/>
                <a:gd name="T38" fmla="*/ 100 w 277"/>
                <a:gd name="T39" fmla="*/ 213 h 282"/>
                <a:gd name="T40" fmla="*/ 74 w 277"/>
                <a:gd name="T41" fmla="*/ 241 h 282"/>
                <a:gd name="T42" fmla="*/ 49 w 277"/>
                <a:gd name="T43" fmla="*/ 269 h 282"/>
                <a:gd name="T44" fmla="*/ 31 w 277"/>
                <a:gd name="T45" fmla="*/ 259 h 282"/>
                <a:gd name="T46" fmla="*/ 36 w 277"/>
                <a:gd name="T47" fmla="*/ 225 h 282"/>
                <a:gd name="T48" fmla="*/ 85 w 277"/>
                <a:gd name="T49" fmla="*/ 202 h 282"/>
                <a:gd name="T50" fmla="*/ 113 w 277"/>
                <a:gd name="T51" fmla="*/ 146 h 282"/>
                <a:gd name="T52" fmla="*/ 92 w 277"/>
                <a:gd name="T53" fmla="*/ 120 h 282"/>
                <a:gd name="T54" fmla="*/ 44 w 277"/>
                <a:gd name="T55" fmla="*/ 156 h 282"/>
                <a:gd name="T56" fmla="*/ 16 w 277"/>
                <a:gd name="T57" fmla="*/ 187 h 282"/>
                <a:gd name="T58" fmla="*/ 0 w 277"/>
                <a:gd name="T59" fmla="*/ 174 h 282"/>
                <a:gd name="T60" fmla="*/ 8 w 277"/>
                <a:gd name="T61" fmla="*/ 208 h 282"/>
                <a:gd name="T62" fmla="*/ 16 w 277"/>
                <a:gd name="T63" fmla="*/ 256 h 282"/>
                <a:gd name="T64" fmla="*/ 41 w 277"/>
                <a:gd name="T65" fmla="*/ 282 h 282"/>
                <a:gd name="T66" fmla="*/ 80 w 277"/>
                <a:gd name="T67" fmla="*/ 277 h 282"/>
                <a:gd name="T68" fmla="*/ 123 w 277"/>
                <a:gd name="T69" fmla="*/ 279 h 282"/>
                <a:gd name="T70" fmla="*/ 159 w 277"/>
                <a:gd name="T71" fmla="*/ 282 h 282"/>
                <a:gd name="T72" fmla="*/ 200 w 277"/>
                <a:gd name="T73" fmla="*/ 277 h 282"/>
                <a:gd name="T74" fmla="*/ 249 w 277"/>
                <a:gd name="T75" fmla="*/ 282 h 282"/>
                <a:gd name="T76" fmla="*/ 259 w 277"/>
                <a:gd name="T77" fmla="*/ 251 h 282"/>
                <a:gd name="T78" fmla="*/ 39 w 277"/>
                <a:gd name="T79" fmla="*/ 195 h 282"/>
                <a:gd name="T80" fmla="*/ 74 w 277"/>
                <a:gd name="T81" fmla="*/ 141 h 282"/>
                <a:gd name="T82" fmla="*/ 100 w 277"/>
                <a:gd name="T83" fmla="*/ 141 h 282"/>
                <a:gd name="T84" fmla="*/ 97 w 277"/>
                <a:gd name="T85" fmla="*/ 164 h 282"/>
                <a:gd name="T86" fmla="*/ 59 w 277"/>
                <a:gd name="T87" fmla="*/ 202 h 282"/>
                <a:gd name="T88" fmla="*/ 39 w 277"/>
                <a:gd name="T89" fmla="*/ 195 h 282"/>
                <a:gd name="T90" fmla="*/ 136 w 277"/>
                <a:gd name="T91" fmla="*/ 238 h 282"/>
                <a:gd name="T92" fmla="*/ 149 w 277"/>
                <a:gd name="T93" fmla="*/ 236 h 282"/>
                <a:gd name="T94" fmla="*/ 151 w 277"/>
                <a:gd name="T95" fmla="*/ 238 h 282"/>
                <a:gd name="T96" fmla="*/ 238 w 277"/>
                <a:gd name="T97" fmla="*/ 8 h 282"/>
                <a:gd name="T98" fmla="*/ 251 w 277"/>
                <a:gd name="T99" fmla="*/ 238 h 282"/>
                <a:gd name="T100" fmla="*/ 264 w 277"/>
                <a:gd name="T101" fmla="*/ 18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7" h="282">
                  <a:moveTo>
                    <a:pt x="277" y="33"/>
                  </a:moveTo>
                  <a:lnTo>
                    <a:pt x="274" y="31"/>
                  </a:lnTo>
                  <a:lnTo>
                    <a:pt x="272" y="28"/>
                  </a:lnTo>
                  <a:lnTo>
                    <a:pt x="269" y="28"/>
                  </a:lnTo>
                  <a:lnTo>
                    <a:pt x="261" y="28"/>
                  </a:lnTo>
                  <a:lnTo>
                    <a:pt x="261" y="3"/>
                  </a:lnTo>
                  <a:lnTo>
                    <a:pt x="259" y="0"/>
                  </a:lnTo>
                  <a:lnTo>
                    <a:pt x="259" y="0"/>
                  </a:lnTo>
                  <a:lnTo>
                    <a:pt x="259" y="0"/>
                  </a:lnTo>
                  <a:lnTo>
                    <a:pt x="259" y="0"/>
                  </a:lnTo>
                  <a:lnTo>
                    <a:pt x="231" y="0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8" y="28"/>
                  </a:lnTo>
                  <a:lnTo>
                    <a:pt x="218" y="28"/>
                  </a:lnTo>
                  <a:lnTo>
                    <a:pt x="215" y="31"/>
                  </a:lnTo>
                  <a:lnTo>
                    <a:pt x="215" y="33"/>
                  </a:lnTo>
                  <a:lnTo>
                    <a:pt x="215" y="33"/>
                  </a:lnTo>
                  <a:lnTo>
                    <a:pt x="215" y="36"/>
                  </a:lnTo>
                  <a:lnTo>
                    <a:pt x="215" y="46"/>
                  </a:lnTo>
                  <a:lnTo>
                    <a:pt x="205" y="49"/>
                  </a:lnTo>
                  <a:lnTo>
                    <a:pt x="197" y="51"/>
                  </a:lnTo>
                  <a:lnTo>
                    <a:pt x="192" y="56"/>
                  </a:lnTo>
                  <a:lnTo>
                    <a:pt x="187" y="62"/>
                  </a:lnTo>
                  <a:lnTo>
                    <a:pt x="185" y="72"/>
                  </a:lnTo>
                  <a:lnTo>
                    <a:pt x="185" y="82"/>
                  </a:lnTo>
                  <a:lnTo>
                    <a:pt x="185" y="133"/>
                  </a:lnTo>
                  <a:lnTo>
                    <a:pt x="187" y="136"/>
                  </a:lnTo>
                  <a:lnTo>
                    <a:pt x="190" y="138"/>
                  </a:lnTo>
                  <a:lnTo>
                    <a:pt x="192" y="136"/>
                  </a:lnTo>
                  <a:lnTo>
                    <a:pt x="195" y="136"/>
                  </a:lnTo>
                  <a:lnTo>
                    <a:pt x="197" y="131"/>
                  </a:lnTo>
                  <a:lnTo>
                    <a:pt x="197" y="131"/>
                  </a:lnTo>
                  <a:lnTo>
                    <a:pt x="197" y="82"/>
                  </a:lnTo>
                  <a:lnTo>
                    <a:pt x="197" y="74"/>
                  </a:lnTo>
                  <a:lnTo>
                    <a:pt x="200" y="69"/>
                  </a:lnTo>
                  <a:lnTo>
                    <a:pt x="202" y="67"/>
                  </a:lnTo>
                  <a:lnTo>
                    <a:pt x="205" y="64"/>
                  </a:lnTo>
                  <a:lnTo>
                    <a:pt x="210" y="62"/>
                  </a:lnTo>
                  <a:lnTo>
                    <a:pt x="215" y="59"/>
                  </a:lnTo>
                  <a:lnTo>
                    <a:pt x="215" y="192"/>
                  </a:lnTo>
                  <a:lnTo>
                    <a:pt x="231" y="248"/>
                  </a:lnTo>
                  <a:lnTo>
                    <a:pt x="233" y="251"/>
                  </a:lnTo>
                  <a:lnTo>
                    <a:pt x="233" y="251"/>
                  </a:lnTo>
                  <a:lnTo>
                    <a:pt x="233" y="251"/>
                  </a:lnTo>
                  <a:lnTo>
                    <a:pt x="238" y="251"/>
                  </a:lnTo>
                  <a:lnTo>
                    <a:pt x="238" y="269"/>
                  </a:lnTo>
                  <a:lnTo>
                    <a:pt x="218" y="269"/>
                  </a:lnTo>
                  <a:lnTo>
                    <a:pt x="205" y="264"/>
                  </a:lnTo>
                  <a:lnTo>
                    <a:pt x="195" y="261"/>
                  </a:lnTo>
                  <a:lnTo>
                    <a:pt x="195" y="259"/>
                  </a:lnTo>
                  <a:lnTo>
                    <a:pt x="200" y="246"/>
                  </a:lnTo>
                  <a:lnTo>
                    <a:pt x="202" y="241"/>
                  </a:lnTo>
                  <a:lnTo>
                    <a:pt x="202" y="233"/>
                  </a:lnTo>
                  <a:lnTo>
                    <a:pt x="200" y="231"/>
                  </a:lnTo>
                  <a:lnTo>
                    <a:pt x="195" y="231"/>
                  </a:lnTo>
                  <a:lnTo>
                    <a:pt x="195" y="228"/>
                  </a:lnTo>
                  <a:lnTo>
                    <a:pt x="190" y="231"/>
                  </a:lnTo>
                  <a:lnTo>
                    <a:pt x="185" y="233"/>
                  </a:lnTo>
                  <a:lnTo>
                    <a:pt x="182" y="236"/>
                  </a:lnTo>
                  <a:lnTo>
                    <a:pt x="179" y="241"/>
                  </a:lnTo>
                  <a:lnTo>
                    <a:pt x="177" y="248"/>
                  </a:lnTo>
                  <a:lnTo>
                    <a:pt x="177" y="251"/>
                  </a:lnTo>
                  <a:lnTo>
                    <a:pt x="177" y="259"/>
                  </a:lnTo>
                  <a:lnTo>
                    <a:pt x="169" y="264"/>
                  </a:lnTo>
                  <a:lnTo>
                    <a:pt x="164" y="266"/>
                  </a:lnTo>
                  <a:lnTo>
                    <a:pt x="159" y="269"/>
                  </a:lnTo>
                  <a:lnTo>
                    <a:pt x="151" y="269"/>
                  </a:lnTo>
                  <a:lnTo>
                    <a:pt x="146" y="269"/>
                  </a:lnTo>
                  <a:lnTo>
                    <a:pt x="156" y="259"/>
                  </a:lnTo>
                  <a:lnTo>
                    <a:pt x="159" y="254"/>
                  </a:lnTo>
                  <a:lnTo>
                    <a:pt x="164" y="243"/>
                  </a:lnTo>
                  <a:lnTo>
                    <a:pt x="164" y="238"/>
                  </a:lnTo>
                  <a:lnTo>
                    <a:pt x="161" y="231"/>
                  </a:lnTo>
                  <a:lnTo>
                    <a:pt x="159" y="225"/>
                  </a:lnTo>
                  <a:lnTo>
                    <a:pt x="154" y="223"/>
                  </a:lnTo>
                  <a:lnTo>
                    <a:pt x="146" y="220"/>
                  </a:lnTo>
                  <a:lnTo>
                    <a:pt x="141" y="220"/>
                  </a:lnTo>
                  <a:lnTo>
                    <a:pt x="136" y="223"/>
                  </a:lnTo>
                  <a:lnTo>
                    <a:pt x="131" y="225"/>
                  </a:lnTo>
                  <a:lnTo>
                    <a:pt x="126" y="233"/>
                  </a:lnTo>
                  <a:lnTo>
                    <a:pt x="121" y="243"/>
                  </a:lnTo>
                  <a:lnTo>
                    <a:pt x="121" y="254"/>
                  </a:lnTo>
                  <a:lnTo>
                    <a:pt x="121" y="261"/>
                  </a:lnTo>
                  <a:lnTo>
                    <a:pt x="123" y="266"/>
                  </a:lnTo>
                  <a:lnTo>
                    <a:pt x="113" y="269"/>
                  </a:lnTo>
                  <a:lnTo>
                    <a:pt x="105" y="269"/>
                  </a:lnTo>
                  <a:lnTo>
                    <a:pt x="95" y="269"/>
                  </a:lnTo>
                  <a:lnTo>
                    <a:pt x="90" y="266"/>
                  </a:lnTo>
                  <a:lnTo>
                    <a:pt x="87" y="264"/>
                  </a:lnTo>
                  <a:lnTo>
                    <a:pt x="85" y="259"/>
                  </a:lnTo>
                  <a:lnTo>
                    <a:pt x="95" y="248"/>
                  </a:lnTo>
                  <a:lnTo>
                    <a:pt x="100" y="241"/>
                  </a:lnTo>
                  <a:lnTo>
                    <a:pt x="105" y="231"/>
                  </a:lnTo>
                  <a:lnTo>
                    <a:pt x="108" y="220"/>
                  </a:lnTo>
                  <a:lnTo>
                    <a:pt x="105" y="218"/>
                  </a:lnTo>
                  <a:lnTo>
                    <a:pt x="105" y="215"/>
                  </a:lnTo>
                  <a:lnTo>
                    <a:pt x="103" y="213"/>
                  </a:lnTo>
                  <a:lnTo>
                    <a:pt x="100" y="213"/>
                  </a:lnTo>
                  <a:lnTo>
                    <a:pt x="97" y="213"/>
                  </a:lnTo>
                  <a:lnTo>
                    <a:pt x="92" y="215"/>
                  </a:lnTo>
                  <a:lnTo>
                    <a:pt x="87" y="220"/>
                  </a:lnTo>
                  <a:lnTo>
                    <a:pt x="82" y="225"/>
                  </a:lnTo>
                  <a:lnTo>
                    <a:pt x="74" y="241"/>
                  </a:lnTo>
                  <a:lnTo>
                    <a:pt x="72" y="251"/>
                  </a:lnTo>
                  <a:lnTo>
                    <a:pt x="72" y="254"/>
                  </a:lnTo>
                  <a:lnTo>
                    <a:pt x="62" y="264"/>
                  </a:lnTo>
                  <a:lnTo>
                    <a:pt x="54" y="266"/>
                  </a:lnTo>
                  <a:lnTo>
                    <a:pt x="49" y="269"/>
                  </a:lnTo>
                  <a:lnTo>
                    <a:pt x="41" y="269"/>
                  </a:lnTo>
                  <a:lnTo>
                    <a:pt x="36" y="269"/>
                  </a:lnTo>
                  <a:lnTo>
                    <a:pt x="33" y="266"/>
                  </a:lnTo>
                  <a:lnTo>
                    <a:pt x="33" y="264"/>
                  </a:lnTo>
                  <a:lnTo>
                    <a:pt x="31" y="259"/>
                  </a:lnTo>
                  <a:lnTo>
                    <a:pt x="28" y="251"/>
                  </a:lnTo>
                  <a:lnTo>
                    <a:pt x="28" y="248"/>
                  </a:lnTo>
                  <a:lnTo>
                    <a:pt x="31" y="228"/>
                  </a:lnTo>
                  <a:lnTo>
                    <a:pt x="31" y="223"/>
                  </a:lnTo>
                  <a:lnTo>
                    <a:pt x="36" y="225"/>
                  </a:lnTo>
                  <a:lnTo>
                    <a:pt x="41" y="223"/>
                  </a:lnTo>
                  <a:lnTo>
                    <a:pt x="54" y="220"/>
                  </a:lnTo>
                  <a:lnTo>
                    <a:pt x="67" y="215"/>
                  </a:lnTo>
                  <a:lnTo>
                    <a:pt x="77" y="208"/>
                  </a:lnTo>
                  <a:lnTo>
                    <a:pt x="85" y="202"/>
                  </a:lnTo>
                  <a:lnTo>
                    <a:pt x="97" y="190"/>
                  </a:lnTo>
                  <a:lnTo>
                    <a:pt x="105" y="179"/>
                  </a:lnTo>
                  <a:lnTo>
                    <a:pt x="110" y="164"/>
                  </a:lnTo>
                  <a:lnTo>
                    <a:pt x="113" y="149"/>
                  </a:lnTo>
                  <a:lnTo>
                    <a:pt x="113" y="146"/>
                  </a:lnTo>
                  <a:lnTo>
                    <a:pt x="113" y="138"/>
                  </a:lnTo>
                  <a:lnTo>
                    <a:pt x="110" y="131"/>
                  </a:lnTo>
                  <a:lnTo>
                    <a:pt x="105" y="126"/>
                  </a:lnTo>
                  <a:lnTo>
                    <a:pt x="97" y="123"/>
                  </a:lnTo>
                  <a:lnTo>
                    <a:pt x="92" y="120"/>
                  </a:lnTo>
                  <a:lnTo>
                    <a:pt x="82" y="123"/>
                  </a:lnTo>
                  <a:lnTo>
                    <a:pt x="74" y="128"/>
                  </a:lnTo>
                  <a:lnTo>
                    <a:pt x="67" y="133"/>
                  </a:lnTo>
                  <a:lnTo>
                    <a:pt x="54" y="143"/>
                  </a:lnTo>
                  <a:lnTo>
                    <a:pt x="44" y="156"/>
                  </a:lnTo>
                  <a:lnTo>
                    <a:pt x="36" y="172"/>
                  </a:lnTo>
                  <a:lnTo>
                    <a:pt x="31" y="184"/>
                  </a:lnTo>
                  <a:lnTo>
                    <a:pt x="21" y="208"/>
                  </a:lnTo>
                  <a:lnTo>
                    <a:pt x="16" y="195"/>
                  </a:lnTo>
                  <a:lnTo>
                    <a:pt x="16" y="187"/>
                  </a:lnTo>
                  <a:lnTo>
                    <a:pt x="13" y="172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5" y="169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90"/>
                  </a:lnTo>
                  <a:lnTo>
                    <a:pt x="3" y="197"/>
                  </a:lnTo>
                  <a:lnTo>
                    <a:pt x="8" y="208"/>
                  </a:lnTo>
                  <a:lnTo>
                    <a:pt x="13" y="215"/>
                  </a:lnTo>
                  <a:lnTo>
                    <a:pt x="18" y="220"/>
                  </a:lnTo>
                  <a:lnTo>
                    <a:pt x="16" y="236"/>
                  </a:lnTo>
                  <a:lnTo>
                    <a:pt x="16" y="246"/>
                  </a:lnTo>
                  <a:lnTo>
                    <a:pt x="16" y="256"/>
                  </a:lnTo>
                  <a:lnTo>
                    <a:pt x="18" y="266"/>
                  </a:lnTo>
                  <a:lnTo>
                    <a:pt x="23" y="274"/>
                  </a:lnTo>
                  <a:lnTo>
                    <a:pt x="31" y="282"/>
                  </a:lnTo>
                  <a:lnTo>
                    <a:pt x="36" y="282"/>
                  </a:lnTo>
                  <a:lnTo>
                    <a:pt x="41" y="282"/>
                  </a:lnTo>
                  <a:lnTo>
                    <a:pt x="49" y="282"/>
                  </a:lnTo>
                  <a:lnTo>
                    <a:pt x="59" y="279"/>
                  </a:lnTo>
                  <a:lnTo>
                    <a:pt x="72" y="272"/>
                  </a:lnTo>
                  <a:lnTo>
                    <a:pt x="74" y="269"/>
                  </a:lnTo>
                  <a:lnTo>
                    <a:pt x="80" y="277"/>
                  </a:lnTo>
                  <a:lnTo>
                    <a:pt x="85" y="279"/>
                  </a:lnTo>
                  <a:lnTo>
                    <a:pt x="90" y="282"/>
                  </a:lnTo>
                  <a:lnTo>
                    <a:pt x="100" y="282"/>
                  </a:lnTo>
                  <a:lnTo>
                    <a:pt x="105" y="282"/>
                  </a:lnTo>
                  <a:lnTo>
                    <a:pt x="123" y="279"/>
                  </a:lnTo>
                  <a:lnTo>
                    <a:pt x="133" y="277"/>
                  </a:lnTo>
                  <a:lnTo>
                    <a:pt x="141" y="282"/>
                  </a:lnTo>
                  <a:lnTo>
                    <a:pt x="149" y="282"/>
                  </a:lnTo>
                  <a:lnTo>
                    <a:pt x="154" y="282"/>
                  </a:lnTo>
                  <a:lnTo>
                    <a:pt x="159" y="282"/>
                  </a:lnTo>
                  <a:lnTo>
                    <a:pt x="172" y="279"/>
                  </a:lnTo>
                  <a:lnTo>
                    <a:pt x="182" y="272"/>
                  </a:lnTo>
                  <a:lnTo>
                    <a:pt x="185" y="269"/>
                  </a:lnTo>
                  <a:lnTo>
                    <a:pt x="192" y="272"/>
                  </a:lnTo>
                  <a:lnTo>
                    <a:pt x="200" y="277"/>
                  </a:lnTo>
                  <a:lnTo>
                    <a:pt x="208" y="279"/>
                  </a:lnTo>
                  <a:lnTo>
                    <a:pt x="220" y="282"/>
                  </a:lnTo>
                  <a:lnTo>
                    <a:pt x="233" y="282"/>
                  </a:lnTo>
                  <a:lnTo>
                    <a:pt x="246" y="282"/>
                  </a:lnTo>
                  <a:lnTo>
                    <a:pt x="249" y="282"/>
                  </a:lnTo>
                  <a:lnTo>
                    <a:pt x="251" y="279"/>
                  </a:lnTo>
                  <a:lnTo>
                    <a:pt x="251" y="277"/>
                  </a:lnTo>
                  <a:lnTo>
                    <a:pt x="251" y="277"/>
                  </a:lnTo>
                  <a:lnTo>
                    <a:pt x="251" y="251"/>
                  </a:lnTo>
                  <a:lnTo>
                    <a:pt x="259" y="251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77" y="190"/>
                  </a:lnTo>
                  <a:lnTo>
                    <a:pt x="277" y="33"/>
                  </a:lnTo>
                  <a:close/>
                  <a:moveTo>
                    <a:pt x="39" y="195"/>
                  </a:moveTo>
                  <a:lnTo>
                    <a:pt x="46" y="179"/>
                  </a:lnTo>
                  <a:lnTo>
                    <a:pt x="54" y="167"/>
                  </a:lnTo>
                  <a:lnTo>
                    <a:pt x="64" y="154"/>
                  </a:lnTo>
                  <a:lnTo>
                    <a:pt x="69" y="149"/>
                  </a:lnTo>
                  <a:lnTo>
                    <a:pt x="74" y="141"/>
                  </a:lnTo>
                  <a:lnTo>
                    <a:pt x="85" y="136"/>
                  </a:lnTo>
                  <a:lnTo>
                    <a:pt x="92" y="136"/>
                  </a:lnTo>
                  <a:lnTo>
                    <a:pt x="95" y="136"/>
                  </a:lnTo>
                  <a:lnTo>
                    <a:pt x="97" y="138"/>
                  </a:lnTo>
                  <a:lnTo>
                    <a:pt x="100" y="141"/>
                  </a:lnTo>
                  <a:lnTo>
                    <a:pt x="100" y="146"/>
                  </a:lnTo>
                  <a:lnTo>
                    <a:pt x="100" y="149"/>
                  </a:lnTo>
                  <a:lnTo>
                    <a:pt x="100" y="151"/>
                  </a:lnTo>
                  <a:lnTo>
                    <a:pt x="100" y="156"/>
                  </a:lnTo>
                  <a:lnTo>
                    <a:pt x="97" y="164"/>
                  </a:lnTo>
                  <a:lnTo>
                    <a:pt x="92" y="172"/>
                  </a:lnTo>
                  <a:lnTo>
                    <a:pt x="87" y="179"/>
                  </a:lnTo>
                  <a:lnTo>
                    <a:pt x="82" y="187"/>
                  </a:lnTo>
                  <a:lnTo>
                    <a:pt x="72" y="195"/>
                  </a:lnTo>
                  <a:lnTo>
                    <a:pt x="59" y="202"/>
                  </a:lnTo>
                  <a:lnTo>
                    <a:pt x="54" y="205"/>
                  </a:lnTo>
                  <a:lnTo>
                    <a:pt x="46" y="210"/>
                  </a:lnTo>
                  <a:lnTo>
                    <a:pt x="39" y="210"/>
                  </a:lnTo>
                  <a:lnTo>
                    <a:pt x="33" y="213"/>
                  </a:lnTo>
                  <a:lnTo>
                    <a:pt x="39" y="195"/>
                  </a:lnTo>
                  <a:close/>
                  <a:moveTo>
                    <a:pt x="141" y="256"/>
                  </a:moveTo>
                  <a:lnTo>
                    <a:pt x="136" y="261"/>
                  </a:lnTo>
                  <a:lnTo>
                    <a:pt x="133" y="251"/>
                  </a:lnTo>
                  <a:lnTo>
                    <a:pt x="133" y="243"/>
                  </a:lnTo>
                  <a:lnTo>
                    <a:pt x="136" y="238"/>
                  </a:lnTo>
                  <a:lnTo>
                    <a:pt x="141" y="236"/>
                  </a:lnTo>
                  <a:lnTo>
                    <a:pt x="144" y="233"/>
                  </a:lnTo>
                  <a:lnTo>
                    <a:pt x="144" y="233"/>
                  </a:lnTo>
                  <a:lnTo>
                    <a:pt x="149" y="233"/>
                  </a:lnTo>
                  <a:lnTo>
                    <a:pt x="149" y="236"/>
                  </a:lnTo>
                  <a:lnTo>
                    <a:pt x="149" y="236"/>
                  </a:lnTo>
                  <a:lnTo>
                    <a:pt x="149" y="236"/>
                  </a:lnTo>
                  <a:lnTo>
                    <a:pt x="149" y="236"/>
                  </a:lnTo>
                  <a:lnTo>
                    <a:pt x="151" y="236"/>
                  </a:lnTo>
                  <a:lnTo>
                    <a:pt x="151" y="238"/>
                  </a:lnTo>
                  <a:lnTo>
                    <a:pt x="151" y="241"/>
                  </a:lnTo>
                  <a:lnTo>
                    <a:pt x="149" y="246"/>
                  </a:lnTo>
                  <a:lnTo>
                    <a:pt x="146" y="251"/>
                  </a:lnTo>
                  <a:lnTo>
                    <a:pt x="141" y="256"/>
                  </a:lnTo>
                  <a:close/>
                  <a:moveTo>
                    <a:pt x="238" y="8"/>
                  </a:moveTo>
                  <a:lnTo>
                    <a:pt x="254" y="8"/>
                  </a:lnTo>
                  <a:lnTo>
                    <a:pt x="254" y="28"/>
                  </a:lnTo>
                  <a:lnTo>
                    <a:pt x="238" y="28"/>
                  </a:lnTo>
                  <a:lnTo>
                    <a:pt x="238" y="8"/>
                  </a:lnTo>
                  <a:close/>
                  <a:moveTo>
                    <a:pt x="251" y="238"/>
                  </a:moveTo>
                  <a:lnTo>
                    <a:pt x="241" y="238"/>
                  </a:lnTo>
                  <a:lnTo>
                    <a:pt x="231" y="197"/>
                  </a:lnTo>
                  <a:lnTo>
                    <a:pt x="261" y="197"/>
                  </a:lnTo>
                  <a:lnTo>
                    <a:pt x="251" y="238"/>
                  </a:lnTo>
                  <a:close/>
                  <a:moveTo>
                    <a:pt x="264" y="184"/>
                  </a:moveTo>
                  <a:lnTo>
                    <a:pt x="228" y="184"/>
                  </a:lnTo>
                  <a:lnTo>
                    <a:pt x="228" y="41"/>
                  </a:lnTo>
                  <a:lnTo>
                    <a:pt x="264" y="41"/>
                  </a:lnTo>
                  <a:lnTo>
                    <a:pt x="264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38">
            <a:extLst>
              <a:ext uri="{FF2B5EF4-FFF2-40B4-BE49-F238E27FC236}">
                <a16:creationId xmlns:a16="http://schemas.microsoft.com/office/drawing/2014/main" id="{478F6FE6-29C2-413F-95C5-8DFE2C0C26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5374" y="5479461"/>
            <a:ext cx="758825" cy="758825"/>
            <a:chOff x="3799" y="3531"/>
            <a:chExt cx="478" cy="478"/>
          </a:xfrm>
        </p:grpSpPr>
        <p:sp>
          <p:nvSpPr>
            <p:cNvPr id="279" name="AutoShape 237">
              <a:extLst>
                <a:ext uri="{FF2B5EF4-FFF2-40B4-BE49-F238E27FC236}">
                  <a16:creationId xmlns:a16="http://schemas.microsoft.com/office/drawing/2014/main" id="{C6F5C39B-18BD-490E-AC1C-1EA40B77B6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99" y="353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39">
              <a:extLst>
                <a:ext uri="{FF2B5EF4-FFF2-40B4-BE49-F238E27FC236}">
                  <a16:creationId xmlns:a16="http://schemas.microsoft.com/office/drawing/2014/main" id="{E7D5B9D5-CF7A-4B4F-ACBC-6CCC2B5D9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1" y="353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40">
              <a:extLst>
                <a:ext uri="{FF2B5EF4-FFF2-40B4-BE49-F238E27FC236}">
                  <a16:creationId xmlns:a16="http://schemas.microsoft.com/office/drawing/2014/main" id="{AAC95349-D4A0-4CCA-A3C6-D5E535F12B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7" y="3614"/>
              <a:ext cx="284" cy="314"/>
            </a:xfrm>
            <a:custGeom>
              <a:avLst/>
              <a:gdLst>
                <a:gd name="T0" fmla="*/ 103 w 116"/>
                <a:gd name="T1" fmla="*/ 21 h 128"/>
                <a:gd name="T2" fmla="*/ 73 w 116"/>
                <a:gd name="T3" fmla="*/ 60 h 128"/>
                <a:gd name="T4" fmla="*/ 54 w 116"/>
                <a:gd name="T5" fmla="*/ 74 h 128"/>
                <a:gd name="T6" fmla="*/ 67 w 116"/>
                <a:gd name="T7" fmla="*/ 70 h 128"/>
                <a:gd name="T8" fmla="*/ 62 w 116"/>
                <a:gd name="T9" fmla="*/ 78 h 128"/>
                <a:gd name="T10" fmla="*/ 36 w 116"/>
                <a:gd name="T11" fmla="*/ 92 h 128"/>
                <a:gd name="T12" fmla="*/ 24 w 116"/>
                <a:gd name="T13" fmla="*/ 96 h 128"/>
                <a:gd name="T14" fmla="*/ 95 w 116"/>
                <a:gd name="T15" fmla="*/ 17 h 128"/>
                <a:gd name="T16" fmla="*/ 95 w 116"/>
                <a:gd name="T17" fmla="*/ 14 h 128"/>
                <a:gd name="T18" fmla="*/ 91 w 116"/>
                <a:gd name="T19" fmla="*/ 13 h 128"/>
                <a:gd name="T20" fmla="*/ 24 w 116"/>
                <a:gd name="T21" fmla="*/ 85 h 128"/>
                <a:gd name="T22" fmla="*/ 25 w 116"/>
                <a:gd name="T23" fmla="*/ 76 h 128"/>
                <a:gd name="T24" fmla="*/ 28 w 116"/>
                <a:gd name="T25" fmla="*/ 58 h 128"/>
                <a:gd name="T26" fmla="*/ 101 w 116"/>
                <a:gd name="T27" fmla="*/ 5 h 128"/>
                <a:gd name="T28" fmla="*/ 102 w 116"/>
                <a:gd name="T29" fmla="*/ 5 h 128"/>
                <a:gd name="T30" fmla="*/ 110 w 116"/>
                <a:gd name="T31" fmla="*/ 7 h 128"/>
                <a:gd name="T32" fmla="*/ 111 w 116"/>
                <a:gd name="T33" fmla="*/ 10 h 128"/>
                <a:gd name="T34" fmla="*/ 103 w 116"/>
                <a:gd name="T35" fmla="*/ 21 h 128"/>
                <a:gd name="T36" fmla="*/ 113 w 116"/>
                <a:gd name="T37" fmla="*/ 3 h 128"/>
                <a:gd name="T38" fmla="*/ 100 w 116"/>
                <a:gd name="T39" fmla="*/ 0 h 128"/>
                <a:gd name="T40" fmla="*/ 24 w 116"/>
                <a:gd name="T41" fmla="*/ 55 h 128"/>
                <a:gd name="T42" fmla="*/ 20 w 116"/>
                <a:gd name="T43" fmla="*/ 76 h 128"/>
                <a:gd name="T44" fmla="*/ 17 w 116"/>
                <a:gd name="T45" fmla="*/ 96 h 128"/>
                <a:gd name="T46" fmla="*/ 0 w 116"/>
                <a:gd name="T47" fmla="*/ 128 h 128"/>
                <a:gd name="T48" fmla="*/ 10 w 116"/>
                <a:gd name="T49" fmla="*/ 121 h 128"/>
                <a:gd name="T50" fmla="*/ 17 w 116"/>
                <a:gd name="T51" fmla="*/ 106 h 128"/>
                <a:gd name="T52" fmla="*/ 37 w 116"/>
                <a:gd name="T53" fmla="*/ 98 h 128"/>
                <a:gd name="T54" fmla="*/ 67 w 116"/>
                <a:gd name="T55" fmla="*/ 81 h 128"/>
                <a:gd name="T56" fmla="*/ 106 w 116"/>
                <a:gd name="T57" fmla="*/ 25 h 128"/>
                <a:gd name="T58" fmla="*/ 116 w 116"/>
                <a:gd name="T59" fmla="*/ 10 h 128"/>
                <a:gd name="T60" fmla="*/ 113 w 116"/>
                <a:gd name="T61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28">
                  <a:moveTo>
                    <a:pt x="103" y="21"/>
                  </a:moveTo>
                  <a:cubicBezTo>
                    <a:pt x="96" y="29"/>
                    <a:pt x="85" y="40"/>
                    <a:pt x="73" y="60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5" y="73"/>
                    <a:pt x="64" y="75"/>
                    <a:pt x="62" y="78"/>
                  </a:cubicBezTo>
                  <a:cubicBezTo>
                    <a:pt x="57" y="88"/>
                    <a:pt x="46" y="90"/>
                    <a:pt x="36" y="92"/>
                  </a:cubicBezTo>
                  <a:cubicBezTo>
                    <a:pt x="31" y="93"/>
                    <a:pt x="27" y="94"/>
                    <a:pt x="24" y="96"/>
                  </a:cubicBezTo>
                  <a:cubicBezTo>
                    <a:pt x="36" y="76"/>
                    <a:pt x="58" y="48"/>
                    <a:pt x="95" y="17"/>
                  </a:cubicBezTo>
                  <a:cubicBezTo>
                    <a:pt x="96" y="16"/>
                    <a:pt x="96" y="15"/>
                    <a:pt x="95" y="14"/>
                  </a:cubicBezTo>
                  <a:cubicBezTo>
                    <a:pt x="94" y="13"/>
                    <a:pt x="92" y="12"/>
                    <a:pt x="91" y="13"/>
                  </a:cubicBezTo>
                  <a:cubicBezTo>
                    <a:pt x="59" y="41"/>
                    <a:pt x="38" y="66"/>
                    <a:pt x="24" y="85"/>
                  </a:cubicBezTo>
                  <a:cubicBezTo>
                    <a:pt x="25" y="82"/>
                    <a:pt x="25" y="79"/>
                    <a:pt x="25" y="76"/>
                  </a:cubicBezTo>
                  <a:cubicBezTo>
                    <a:pt x="25" y="68"/>
                    <a:pt x="25" y="61"/>
                    <a:pt x="28" y="58"/>
                  </a:cubicBezTo>
                  <a:cubicBezTo>
                    <a:pt x="57" y="25"/>
                    <a:pt x="84" y="6"/>
                    <a:pt x="101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5" y="5"/>
                    <a:pt x="108" y="6"/>
                    <a:pt x="110" y="7"/>
                  </a:cubicBezTo>
                  <a:cubicBezTo>
                    <a:pt x="110" y="8"/>
                    <a:pt x="111" y="9"/>
                    <a:pt x="111" y="10"/>
                  </a:cubicBezTo>
                  <a:cubicBezTo>
                    <a:pt x="111" y="12"/>
                    <a:pt x="107" y="16"/>
                    <a:pt x="103" y="21"/>
                  </a:cubicBezTo>
                  <a:moveTo>
                    <a:pt x="113" y="3"/>
                  </a:moveTo>
                  <a:cubicBezTo>
                    <a:pt x="110" y="1"/>
                    <a:pt x="106" y="0"/>
                    <a:pt x="100" y="0"/>
                  </a:cubicBezTo>
                  <a:cubicBezTo>
                    <a:pt x="83" y="1"/>
                    <a:pt x="54" y="21"/>
                    <a:pt x="24" y="55"/>
                  </a:cubicBezTo>
                  <a:cubicBezTo>
                    <a:pt x="20" y="59"/>
                    <a:pt x="20" y="67"/>
                    <a:pt x="20" y="76"/>
                  </a:cubicBezTo>
                  <a:cubicBezTo>
                    <a:pt x="19" y="83"/>
                    <a:pt x="19" y="91"/>
                    <a:pt x="17" y="96"/>
                  </a:cubicBezTo>
                  <a:cubicBezTo>
                    <a:pt x="6" y="113"/>
                    <a:pt x="0" y="128"/>
                    <a:pt x="0" y="128"/>
                  </a:cubicBezTo>
                  <a:cubicBezTo>
                    <a:pt x="0" y="128"/>
                    <a:pt x="8" y="124"/>
                    <a:pt x="10" y="121"/>
                  </a:cubicBezTo>
                  <a:cubicBezTo>
                    <a:pt x="11" y="117"/>
                    <a:pt x="14" y="112"/>
                    <a:pt x="17" y="106"/>
                  </a:cubicBezTo>
                  <a:cubicBezTo>
                    <a:pt x="20" y="101"/>
                    <a:pt x="28" y="99"/>
                    <a:pt x="37" y="98"/>
                  </a:cubicBezTo>
                  <a:cubicBezTo>
                    <a:pt x="48" y="95"/>
                    <a:pt x="60" y="93"/>
                    <a:pt x="67" y="81"/>
                  </a:cubicBezTo>
                  <a:cubicBezTo>
                    <a:pt x="83" y="50"/>
                    <a:pt x="98" y="34"/>
                    <a:pt x="106" y="25"/>
                  </a:cubicBezTo>
                  <a:cubicBezTo>
                    <a:pt x="112" y="18"/>
                    <a:pt x="116" y="14"/>
                    <a:pt x="116" y="10"/>
                  </a:cubicBezTo>
                  <a:cubicBezTo>
                    <a:pt x="116" y="8"/>
                    <a:pt x="115" y="5"/>
                    <a:pt x="113" y="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243">
            <a:extLst>
              <a:ext uri="{FF2B5EF4-FFF2-40B4-BE49-F238E27FC236}">
                <a16:creationId xmlns:a16="http://schemas.microsoft.com/office/drawing/2014/main" id="{22242E45-2C17-4691-A930-AFAB996515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9664" y="5438186"/>
            <a:ext cx="841375" cy="841375"/>
            <a:chOff x="3099" y="3492"/>
            <a:chExt cx="530" cy="530"/>
          </a:xfrm>
        </p:grpSpPr>
        <p:sp>
          <p:nvSpPr>
            <p:cNvPr id="283" name="AutoShape 242">
              <a:extLst>
                <a:ext uri="{FF2B5EF4-FFF2-40B4-BE49-F238E27FC236}">
                  <a16:creationId xmlns:a16="http://schemas.microsoft.com/office/drawing/2014/main" id="{33F81232-CC9F-4CA4-8575-6FF73AD1600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99" y="349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244">
              <a:extLst>
                <a:ext uri="{FF2B5EF4-FFF2-40B4-BE49-F238E27FC236}">
                  <a16:creationId xmlns:a16="http://schemas.microsoft.com/office/drawing/2014/main" id="{5E197EDF-E125-429B-8248-967C7C7F35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9" y="349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45">
              <a:extLst>
                <a:ext uri="{FF2B5EF4-FFF2-40B4-BE49-F238E27FC236}">
                  <a16:creationId xmlns:a16="http://schemas.microsoft.com/office/drawing/2014/main" id="{66A69747-BC76-4171-BC38-2E98CAD205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7" y="351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46">
              <a:extLst>
                <a:ext uri="{FF2B5EF4-FFF2-40B4-BE49-F238E27FC236}">
                  <a16:creationId xmlns:a16="http://schemas.microsoft.com/office/drawing/2014/main" id="{36FE2BFA-5A06-4DB1-8AAC-CAD4A420C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7" y="3594"/>
              <a:ext cx="297" cy="328"/>
            </a:xfrm>
            <a:custGeom>
              <a:avLst/>
              <a:gdLst>
                <a:gd name="T0" fmla="*/ 103 w 116"/>
                <a:gd name="T1" fmla="*/ 21 h 128"/>
                <a:gd name="T2" fmla="*/ 73 w 116"/>
                <a:gd name="T3" fmla="*/ 60 h 128"/>
                <a:gd name="T4" fmla="*/ 54 w 116"/>
                <a:gd name="T5" fmla="*/ 74 h 128"/>
                <a:gd name="T6" fmla="*/ 67 w 116"/>
                <a:gd name="T7" fmla="*/ 70 h 128"/>
                <a:gd name="T8" fmla="*/ 62 w 116"/>
                <a:gd name="T9" fmla="*/ 78 h 128"/>
                <a:gd name="T10" fmla="*/ 36 w 116"/>
                <a:gd name="T11" fmla="*/ 92 h 128"/>
                <a:gd name="T12" fmla="*/ 24 w 116"/>
                <a:gd name="T13" fmla="*/ 96 h 128"/>
                <a:gd name="T14" fmla="*/ 95 w 116"/>
                <a:gd name="T15" fmla="*/ 17 h 128"/>
                <a:gd name="T16" fmla="*/ 95 w 116"/>
                <a:gd name="T17" fmla="*/ 14 h 128"/>
                <a:gd name="T18" fmla="*/ 91 w 116"/>
                <a:gd name="T19" fmla="*/ 13 h 128"/>
                <a:gd name="T20" fmla="*/ 24 w 116"/>
                <a:gd name="T21" fmla="*/ 85 h 128"/>
                <a:gd name="T22" fmla="*/ 25 w 116"/>
                <a:gd name="T23" fmla="*/ 76 h 128"/>
                <a:gd name="T24" fmla="*/ 28 w 116"/>
                <a:gd name="T25" fmla="*/ 58 h 128"/>
                <a:gd name="T26" fmla="*/ 101 w 116"/>
                <a:gd name="T27" fmla="*/ 5 h 128"/>
                <a:gd name="T28" fmla="*/ 102 w 116"/>
                <a:gd name="T29" fmla="*/ 5 h 128"/>
                <a:gd name="T30" fmla="*/ 110 w 116"/>
                <a:gd name="T31" fmla="*/ 7 h 128"/>
                <a:gd name="T32" fmla="*/ 111 w 116"/>
                <a:gd name="T33" fmla="*/ 10 h 128"/>
                <a:gd name="T34" fmla="*/ 103 w 116"/>
                <a:gd name="T35" fmla="*/ 21 h 128"/>
                <a:gd name="T36" fmla="*/ 113 w 116"/>
                <a:gd name="T37" fmla="*/ 3 h 128"/>
                <a:gd name="T38" fmla="*/ 100 w 116"/>
                <a:gd name="T39" fmla="*/ 0 h 128"/>
                <a:gd name="T40" fmla="*/ 24 w 116"/>
                <a:gd name="T41" fmla="*/ 55 h 128"/>
                <a:gd name="T42" fmla="*/ 20 w 116"/>
                <a:gd name="T43" fmla="*/ 76 h 128"/>
                <a:gd name="T44" fmla="*/ 17 w 116"/>
                <a:gd name="T45" fmla="*/ 96 h 128"/>
                <a:gd name="T46" fmla="*/ 0 w 116"/>
                <a:gd name="T47" fmla="*/ 128 h 128"/>
                <a:gd name="T48" fmla="*/ 10 w 116"/>
                <a:gd name="T49" fmla="*/ 121 h 128"/>
                <a:gd name="T50" fmla="*/ 17 w 116"/>
                <a:gd name="T51" fmla="*/ 106 h 128"/>
                <a:gd name="T52" fmla="*/ 37 w 116"/>
                <a:gd name="T53" fmla="*/ 98 h 128"/>
                <a:gd name="T54" fmla="*/ 67 w 116"/>
                <a:gd name="T55" fmla="*/ 81 h 128"/>
                <a:gd name="T56" fmla="*/ 106 w 116"/>
                <a:gd name="T57" fmla="*/ 25 h 128"/>
                <a:gd name="T58" fmla="*/ 116 w 116"/>
                <a:gd name="T59" fmla="*/ 10 h 128"/>
                <a:gd name="T60" fmla="*/ 113 w 116"/>
                <a:gd name="T61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6" h="128">
                  <a:moveTo>
                    <a:pt x="103" y="21"/>
                  </a:moveTo>
                  <a:cubicBezTo>
                    <a:pt x="96" y="29"/>
                    <a:pt x="85" y="40"/>
                    <a:pt x="73" y="60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5" y="73"/>
                    <a:pt x="64" y="75"/>
                    <a:pt x="62" y="78"/>
                  </a:cubicBezTo>
                  <a:cubicBezTo>
                    <a:pt x="57" y="88"/>
                    <a:pt x="46" y="90"/>
                    <a:pt x="36" y="92"/>
                  </a:cubicBezTo>
                  <a:cubicBezTo>
                    <a:pt x="31" y="93"/>
                    <a:pt x="27" y="94"/>
                    <a:pt x="24" y="96"/>
                  </a:cubicBezTo>
                  <a:cubicBezTo>
                    <a:pt x="36" y="76"/>
                    <a:pt x="58" y="48"/>
                    <a:pt x="95" y="17"/>
                  </a:cubicBezTo>
                  <a:cubicBezTo>
                    <a:pt x="96" y="16"/>
                    <a:pt x="96" y="15"/>
                    <a:pt x="95" y="14"/>
                  </a:cubicBezTo>
                  <a:cubicBezTo>
                    <a:pt x="94" y="13"/>
                    <a:pt x="92" y="12"/>
                    <a:pt x="91" y="13"/>
                  </a:cubicBezTo>
                  <a:cubicBezTo>
                    <a:pt x="59" y="41"/>
                    <a:pt x="38" y="66"/>
                    <a:pt x="24" y="85"/>
                  </a:cubicBezTo>
                  <a:cubicBezTo>
                    <a:pt x="25" y="82"/>
                    <a:pt x="25" y="79"/>
                    <a:pt x="25" y="76"/>
                  </a:cubicBezTo>
                  <a:cubicBezTo>
                    <a:pt x="25" y="68"/>
                    <a:pt x="25" y="61"/>
                    <a:pt x="28" y="58"/>
                  </a:cubicBezTo>
                  <a:cubicBezTo>
                    <a:pt x="57" y="25"/>
                    <a:pt x="84" y="6"/>
                    <a:pt x="101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5" y="5"/>
                    <a:pt x="108" y="6"/>
                    <a:pt x="110" y="7"/>
                  </a:cubicBezTo>
                  <a:cubicBezTo>
                    <a:pt x="110" y="8"/>
                    <a:pt x="111" y="9"/>
                    <a:pt x="111" y="10"/>
                  </a:cubicBezTo>
                  <a:cubicBezTo>
                    <a:pt x="111" y="12"/>
                    <a:pt x="107" y="16"/>
                    <a:pt x="103" y="21"/>
                  </a:cubicBezTo>
                  <a:moveTo>
                    <a:pt x="113" y="3"/>
                  </a:moveTo>
                  <a:cubicBezTo>
                    <a:pt x="110" y="1"/>
                    <a:pt x="106" y="0"/>
                    <a:pt x="100" y="0"/>
                  </a:cubicBezTo>
                  <a:cubicBezTo>
                    <a:pt x="83" y="1"/>
                    <a:pt x="54" y="21"/>
                    <a:pt x="24" y="55"/>
                  </a:cubicBezTo>
                  <a:cubicBezTo>
                    <a:pt x="20" y="59"/>
                    <a:pt x="20" y="67"/>
                    <a:pt x="20" y="76"/>
                  </a:cubicBezTo>
                  <a:cubicBezTo>
                    <a:pt x="19" y="83"/>
                    <a:pt x="19" y="91"/>
                    <a:pt x="17" y="96"/>
                  </a:cubicBezTo>
                  <a:cubicBezTo>
                    <a:pt x="6" y="113"/>
                    <a:pt x="0" y="128"/>
                    <a:pt x="0" y="128"/>
                  </a:cubicBezTo>
                  <a:cubicBezTo>
                    <a:pt x="0" y="128"/>
                    <a:pt x="8" y="124"/>
                    <a:pt x="10" y="121"/>
                  </a:cubicBezTo>
                  <a:cubicBezTo>
                    <a:pt x="11" y="117"/>
                    <a:pt x="14" y="112"/>
                    <a:pt x="17" y="106"/>
                  </a:cubicBezTo>
                  <a:cubicBezTo>
                    <a:pt x="20" y="101"/>
                    <a:pt x="28" y="99"/>
                    <a:pt x="37" y="98"/>
                  </a:cubicBezTo>
                  <a:cubicBezTo>
                    <a:pt x="48" y="95"/>
                    <a:pt x="60" y="93"/>
                    <a:pt x="67" y="81"/>
                  </a:cubicBezTo>
                  <a:cubicBezTo>
                    <a:pt x="83" y="50"/>
                    <a:pt x="98" y="34"/>
                    <a:pt x="106" y="25"/>
                  </a:cubicBezTo>
                  <a:cubicBezTo>
                    <a:pt x="112" y="18"/>
                    <a:pt x="116" y="14"/>
                    <a:pt x="116" y="10"/>
                  </a:cubicBezTo>
                  <a:cubicBezTo>
                    <a:pt x="116" y="8"/>
                    <a:pt x="115" y="5"/>
                    <a:pt x="113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1" name="Group 249">
            <a:extLst>
              <a:ext uri="{FF2B5EF4-FFF2-40B4-BE49-F238E27FC236}">
                <a16:creationId xmlns:a16="http://schemas.microsoft.com/office/drawing/2014/main" id="{76733C45-6389-40A8-B65C-A3AB917546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5897" y="5479461"/>
            <a:ext cx="760413" cy="758825"/>
            <a:chOff x="5218" y="3653"/>
            <a:chExt cx="479" cy="478"/>
          </a:xfrm>
        </p:grpSpPr>
        <p:sp>
          <p:nvSpPr>
            <p:cNvPr id="292" name="AutoShape 248">
              <a:extLst>
                <a:ext uri="{FF2B5EF4-FFF2-40B4-BE49-F238E27FC236}">
                  <a16:creationId xmlns:a16="http://schemas.microsoft.com/office/drawing/2014/main" id="{B8B5043B-ECDD-4C88-A43F-0C923A3F9A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18" y="365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50">
              <a:extLst>
                <a:ext uri="{FF2B5EF4-FFF2-40B4-BE49-F238E27FC236}">
                  <a16:creationId xmlns:a16="http://schemas.microsoft.com/office/drawing/2014/main" id="{EC7A5750-B443-463A-9622-6E875A3A87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0" y="365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Rectangle 251">
              <a:extLst>
                <a:ext uri="{FF2B5EF4-FFF2-40B4-BE49-F238E27FC236}">
                  <a16:creationId xmlns:a16="http://schemas.microsoft.com/office/drawing/2014/main" id="{7933B531-917B-4CB9-BFC5-AAB5B5FD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2" y="389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52">
              <a:extLst>
                <a:ext uri="{FF2B5EF4-FFF2-40B4-BE49-F238E27FC236}">
                  <a16:creationId xmlns:a16="http://schemas.microsoft.com/office/drawing/2014/main" id="{C95B8BAC-CAEC-457A-98E9-5B13FC6D4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6" y="3744"/>
              <a:ext cx="246" cy="299"/>
            </a:xfrm>
            <a:custGeom>
              <a:avLst/>
              <a:gdLst>
                <a:gd name="T0" fmla="*/ 246 w 246"/>
                <a:gd name="T1" fmla="*/ 152 h 299"/>
                <a:gd name="T2" fmla="*/ 243 w 246"/>
                <a:gd name="T3" fmla="*/ 152 h 299"/>
                <a:gd name="T4" fmla="*/ 216 w 246"/>
                <a:gd name="T5" fmla="*/ 152 h 299"/>
                <a:gd name="T6" fmla="*/ 211 w 246"/>
                <a:gd name="T7" fmla="*/ 73 h 299"/>
                <a:gd name="T8" fmla="*/ 211 w 246"/>
                <a:gd name="T9" fmla="*/ 51 h 299"/>
                <a:gd name="T10" fmla="*/ 189 w 246"/>
                <a:gd name="T11" fmla="*/ 29 h 299"/>
                <a:gd name="T12" fmla="*/ 170 w 246"/>
                <a:gd name="T13" fmla="*/ 0 h 299"/>
                <a:gd name="T14" fmla="*/ 150 w 246"/>
                <a:gd name="T15" fmla="*/ 41 h 299"/>
                <a:gd name="T16" fmla="*/ 143 w 246"/>
                <a:gd name="T17" fmla="*/ 63 h 299"/>
                <a:gd name="T18" fmla="*/ 155 w 246"/>
                <a:gd name="T19" fmla="*/ 90 h 299"/>
                <a:gd name="T20" fmla="*/ 111 w 246"/>
                <a:gd name="T21" fmla="*/ 152 h 299"/>
                <a:gd name="T22" fmla="*/ 108 w 246"/>
                <a:gd name="T23" fmla="*/ 154 h 299"/>
                <a:gd name="T24" fmla="*/ 111 w 246"/>
                <a:gd name="T25" fmla="*/ 159 h 299"/>
                <a:gd name="T26" fmla="*/ 135 w 246"/>
                <a:gd name="T27" fmla="*/ 159 h 299"/>
                <a:gd name="T28" fmla="*/ 93 w 246"/>
                <a:gd name="T29" fmla="*/ 208 h 299"/>
                <a:gd name="T30" fmla="*/ 37 w 246"/>
                <a:gd name="T31" fmla="*/ 220 h 299"/>
                <a:gd name="T32" fmla="*/ 3 w 246"/>
                <a:gd name="T33" fmla="*/ 242 h 299"/>
                <a:gd name="T34" fmla="*/ 0 w 246"/>
                <a:gd name="T35" fmla="*/ 262 h 299"/>
                <a:gd name="T36" fmla="*/ 20 w 246"/>
                <a:gd name="T37" fmla="*/ 279 h 299"/>
                <a:gd name="T38" fmla="*/ 64 w 246"/>
                <a:gd name="T39" fmla="*/ 294 h 299"/>
                <a:gd name="T40" fmla="*/ 120 w 246"/>
                <a:gd name="T41" fmla="*/ 299 h 299"/>
                <a:gd name="T42" fmla="*/ 182 w 246"/>
                <a:gd name="T43" fmla="*/ 291 h 299"/>
                <a:gd name="T44" fmla="*/ 182 w 246"/>
                <a:gd name="T45" fmla="*/ 287 h 299"/>
                <a:gd name="T46" fmla="*/ 179 w 246"/>
                <a:gd name="T47" fmla="*/ 287 h 299"/>
                <a:gd name="T48" fmla="*/ 177 w 246"/>
                <a:gd name="T49" fmla="*/ 284 h 299"/>
                <a:gd name="T50" fmla="*/ 147 w 246"/>
                <a:gd name="T51" fmla="*/ 289 h 299"/>
                <a:gd name="T52" fmla="*/ 96 w 246"/>
                <a:gd name="T53" fmla="*/ 289 h 299"/>
                <a:gd name="T54" fmla="*/ 39 w 246"/>
                <a:gd name="T55" fmla="*/ 279 h 299"/>
                <a:gd name="T56" fmla="*/ 12 w 246"/>
                <a:gd name="T57" fmla="*/ 262 h 299"/>
                <a:gd name="T58" fmla="*/ 10 w 246"/>
                <a:gd name="T59" fmla="*/ 250 h 299"/>
                <a:gd name="T60" fmla="*/ 22 w 246"/>
                <a:gd name="T61" fmla="*/ 237 h 299"/>
                <a:gd name="T62" fmla="*/ 69 w 246"/>
                <a:gd name="T63" fmla="*/ 220 h 299"/>
                <a:gd name="T64" fmla="*/ 113 w 246"/>
                <a:gd name="T65" fmla="*/ 245 h 299"/>
                <a:gd name="T66" fmla="*/ 120 w 246"/>
                <a:gd name="T67" fmla="*/ 252 h 299"/>
                <a:gd name="T68" fmla="*/ 128 w 246"/>
                <a:gd name="T69" fmla="*/ 247 h 299"/>
                <a:gd name="T70" fmla="*/ 177 w 246"/>
                <a:gd name="T71" fmla="*/ 223 h 299"/>
                <a:gd name="T72" fmla="*/ 221 w 246"/>
                <a:gd name="T73" fmla="*/ 240 h 299"/>
                <a:gd name="T74" fmla="*/ 241 w 246"/>
                <a:gd name="T75" fmla="*/ 245 h 299"/>
                <a:gd name="T76" fmla="*/ 219 w 246"/>
                <a:gd name="T77" fmla="*/ 159 h 299"/>
                <a:gd name="T78" fmla="*/ 246 w 246"/>
                <a:gd name="T79" fmla="*/ 157 h 299"/>
                <a:gd name="T80" fmla="*/ 157 w 246"/>
                <a:gd name="T81" fmla="*/ 59 h 299"/>
                <a:gd name="T82" fmla="*/ 165 w 246"/>
                <a:gd name="T83" fmla="*/ 46 h 299"/>
                <a:gd name="T84" fmla="*/ 177 w 246"/>
                <a:gd name="T85" fmla="*/ 41 h 299"/>
                <a:gd name="T86" fmla="*/ 192 w 246"/>
                <a:gd name="T87" fmla="*/ 49 h 299"/>
                <a:gd name="T88" fmla="*/ 199 w 246"/>
                <a:gd name="T89" fmla="*/ 63 h 299"/>
                <a:gd name="T90" fmla="*/ 194 w 246"/>
                <a:gd name="T91" fmla="*/ 78 h 299"/>
                <a:gd name="T92" fmla="*/ 179 w 246"/>
                <a:gd name="T93" fmla="*/ 85 h 299"/>
                <a:gd name="T94" fmla="*/ 167 w 246"/>
                <a:gd name="T95" fmla="*/ 83 h 299"/>
                <a:gd name="T96" fmla="*/ 157 w 246"/>
                <a:gd name="T97" fmla="*/ 73 h 299"/>
                <a:gd name="T98" fmla="*/ 157 w 246"/>
                <a:gd name="T99" fmla="*/ 59 h 299"/>
                <a:gd name="T100" fmla="*/ 184 w 246"/>
                <a:gd name="T101" fmla="*/ 98 h 299"/>
                <a:gd name="T102" fmla="*/ 182 w 246"/>
                <a:gd name="T103" fmla="*/ 152 h 299"/>
                <a:gd name="T104" fmla="*/ 179 w 246"/>
                <a:gd name="T105" fmla="*/ 132 h 299"/>
                <a:gd name="T106" fmla="*/ 177 w 246"/>
                <a:gd name="T107" fmla="*/ 132 h 299"/>
                <a:gd name="T108" fmla="*/ 172 w 246"/>
                <a:gd name="T109" fmla="*/ 135 h 299"/>
                <a:gd name="T110" fmla="*/ 152 w 246"/>
                <a:gd name="T111" fmla="*/ 152 h 299"/>
                <a:gd name="T112" fmla="*/ 209 w 246"/>
                <a:gd name="T113" fmla="*/ 223 h 299"/>
                <a:gd name="T114" fmla="*/ 155 w 246"/>
                <a:gd name="T115" fmla="*/ 211 h 299"/>
                <a:gd name="T116" fmla="*/ 172 w 246"/>
                <a:gd name="T117" fmla="*/ 159 h 299"/>
                <a:gd name="T118" fmla="*/ 179 w 246"/>
                <a:gd name="T119" fmla="*/ 179 h 299"/>
                <a:gd name="T120" fmla="*/ 182 w 246"/>
                <a:gd name="T121" fmla="*/ 174 h 299"/>
                <a:gd name="T122" fmla="*/ 182 w 246"/>
                <a:gd name="T123" fmla="*/ 15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6" h="299">
                  <a:moveTo>
                    <a:pt x="246" y="157"/>
                  </a:moveTo>
                  <a:lnTo>
                    <a:pt x="246" y="154"/>
                  </a:lnTo>
                  <a:lnTo>
                    <a:pt x="246" y="152"/>
                  </a:lnTo>
                  <a:lnTo>
                    <a:pt x="246" y="152"/>
                  </a:lnTo>
                  <a:lnTo>
                    <a:pt x="243" y="152"/>
                  </a:lnTo>
                  <a:lnTo>
                    <a:pt x="243" y="152"/>
                  </a:lnTo>
                  <a:lnTo>
                    <a:pt x="243" y="152"/>
                  </a:lnTo>
                  <a:lnTo>
                    <a:pt x="243" y="152"/>
                  </a:lnTo>
                  <a:lnTo>
                    <a:pt x="216" y="152"/>
                  </a:lnTo>
                  <a:lnTo>
                    <a:pt x="202" y="90"/>
                  </a:lnTo>
                  <a:lnTo>
                    <a:pt x="209" y="83"/>
                  </a:lnTo>
                  <a:lnTo>
                    <a:pt x="211" y="73"/>
                  </a:lnTo>
                  <a:lnTo>
                    <a:pt x="214" y="68"/>
                  </a:lnTo>
                  <a:lnTo>
                    <a:pt x="214" y="63"/>
                  </a:lnTo>
                  <a:lnTo>
                    <a:pt x="211" y="51"/>
                  </a:lnTo>
                  <a:lnTo>
                    <a:pt x="204" y="41"/>
                  </a:lnTo>
                  <a:lnTo>
                    <a:pt x="199" y="34"/>
                  </a:lnTo>
                  <a:lnTo>
                    <a:pt x="189" y="29"/>
                  </a:lnTo>
                  <a:lnTo>
                    <a:pt x="184" y="29"/>
                  </a:lnTo>
                  <a:lnTo>
                    <a:pt x="184" y="0"/>
                  </a:lnTo>
                  <a:lnTo>
                    <a:pt x="170" y="0"/>
                  </a:lnTo>
                  <a:lnTo>
                    <a:pt x="170" y="29"/>
                  </a:lnTo>
                  <a:lnTo>
                    <a:pt x="160" y="34"/>
                  </a:lnTo>
                  <a:lnTo>
                    <a:pt x="150" y="41"/>
                  </a:lnTo>
                  <a:lnTo>
                    <a:pt x="145" y="49"/>
                  </a:lnTo>
                  <a:lnTo>
                    <a:pt x="143" y="61"/>
                  </a:lnTo>
                  <a:lnTo>
                    <a:pt x="143" y="63"/>
                  </a:lnTo>
                  <a:lnTo>
                    <a:pt x="143" y="73"/>
                  </a:lnTo>
                  <a:lnTo>
                    <a:pt x="147" y="83"/>
                  </a:lnTo>
                  <a:lnTo>
                    <a:pt x="155" y="90"/>
                  </a:lnTo>
                  <a:lnTo>
                    <a:pt x="138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8" y="157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3" y="159"/>
                  </a:lnTo>
                  <a:lnTo>
                    <a:pt x="113" y="159"/>
                  </a:lnTo>
                  <a:lnTo>
                    <a:pt x="135" y="159"/>
                  </a:lnTo>
                  <a:lnTo>
                    <a:pt x="123" y="208"/>
                  </a:lnTo>
                  <a:lnTo>
                    <a:pt x="116" y="208"/>
                  </a:lnTo>
                  <a:lnTo>
                    <a:pt x="93" y="208"/>
                  </a:lnTo>
                  <a:lnTo>
                    <a:pt x="66" y="213"/>
                  </a:lnTo>
                  <a:lnTo>
                    <a:pt x="52" y="215"/>
                  </a:lnTo>
                  <a:lnTo>
                    <a:pt x="37" y="220"/>
                  </a:lnTo>
                  <a:lnTo>
                    <a:pt x="25" y="225"/>
                  </a:lnTo>
                  <a:lnTo>
                    <a:pt x="10" y="235"/>
                  </a:lnTo>
                  <a:lnTo>
                    <a:pt x="3" y="242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0" y="262"/>
                  </a:lnTo>
                  <a:lnTo>
                    <a:pt x="5" y="269"/>
                  </a:lnTo>
                  <a:lnTo>
                    <a:pt x="15" y="277"/>
                  </a:lnTo>
                  <a:lnTo>
                    <a:pt x="20" y="279"/>
                  </a:lnTo>
                  <a:lnTo>
                    <a:pt x="32" y="287"/>
                  </a:lnTo>
                  <a:lnTo>
                    <a:pt x="44" y="289"/>
                  </a:lnTo>
                  <a:lnTo>
                    <a:pt x="64" y="294"/>
                  </a:lnTo>
                  <a:lnTo>
                    <a:pt x="84" y="299"/>
                  </a:lnTo>
                  <a:lnTo>
                    <a:pt x="108" y="299"/>
                  </a:lnTo>
                  <a:lnTo>
                    <a:pt x="120" y="299"/>
                  </a:lnTo>
                  <a:lnTo>
                    <a:pt x="143" y="299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89"/>
                  </a:lnTo>
                  <a:lnTo>
                    <a:pt x="182" y="287"/>
                  </a:lnTo>
                  <a:lnTo>
                    <a:pt x="182" y="287"/>
                  </a:lnTo>
                  <a:lnTo>
                    <a:pt x="179" y="287"/>
                  </a:lnTo>
                  <a:lnTo>
                    <a:pt x="179" y="287"/>
                  </a:lnTo>
                  <a:lnTo>
                    <a:pt x="179" y="287"/>
                  </a:lnTo>
                  <a:lnTo>
                    <a:pt x="179" y="287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62" y="287"/>
                  </a:lnTo>
                  <a:lnTo>
                    <a:pt x="147" y="289"/>
                  </a:lnTo>
                  <a:lnTo>
                    <a:pt x="125" y="291"/>
                  </a:lnTo>
                  <a:lnTo>
                    <a:pt x="120" y="291"/>
                  </a:lnTo>
                  <a:lnTo>
                    <a:pt x="96" y="289"/>
                  </a:lnTo>
                  <a:lnTo>
                    <a:pt x="71" y="287"/>
                  </a:lnTo>
                  <a:lnTo>
                    <a:pt x="57" y="284"/>
                  </a:lnTo>
                  <a:lnTo>
                    <a:pt x="39" y="279"/>
                  </a:lnTo>
                  <a:lnTo>
                    <a:pt x="25" y="272"/>
                  </a:lnTo>
                  <a:lnTo>
                    <a:pt x="17" y="267"/>
                  </a:lnTo>
                  <a:lnTo>
                    <a:pt x="12" y="262"/>
                  </a:lnTo>
                  <a:lnTo>
                    <a:pt x="10" y="257"/>
                  </a:lnTo>
                  <a:lnTo>
                    <a:pt x="7" y="255"/>
                  </a:lnTo>
                  <a:lnTo>
                    <a:pt x="10" y="250"/>
                  </a:lnTo>
                  <a:lnTo>
                    <a:pt x="12" y="245"/>
                  </a:lnTo>
                  <a:lnTo>
                    <a:pt x="15" y="242"/>
                  </a:lnTo>
                  <a:lnTo>
                    <a:pt x="22" y="237"/>
                  </a:lnTo>
                  <a:lnTo>
                    <a:pt x="30" y="233"/>
                  </a:lnTo>
                  <a:lnTo>
                    <a:pt x="47" y="228"/>
                  </a:lnTo>
                  <a:lnTo>
                    <a:pt x="69" y="220"/>
                  </a:lnTo>
                  <a:lnTo>
                    <a:pt x="89" y="218"/>
                  </a:lnTo>
                  <a:lnTo>
                    <a:pt x="120" y="218"/>
                  </a:lnTo>
                  <a:lnTo>
                    <a:pt x="113" y="245"/>
                  </a:lnTo>
                  <a:lnTo>
                    <a:pt x="116" y="250"/>
                  </a:lnTo>
                  <a:lnTo>
                    <a:pt x="118" y="252"/>
                  </a:lnTo>
                  <a:lnTo>
                    <a:pt x="120" y="252"/>
                  </a:lnTo>
                  <a:lnTo>
                    <a:pt x="125" y="250"/>
                  </a:lnTo>
                  <a:lnTo>
                    <a:pt x="128" y="247"/>
                  </a:lnTo>
                  <a:lnTo>
                    <a:pt x="128" y="247"/>
                  </a:lnTo>
                  <a:lnTo>
                    <a:pt x="135" y="218"/>
                  </a:lnTo>
                  <a:lnTo>
                    <a:pt x="157" y="220"/>
                  </a:lnTo>
                  <a:lnTo>
                    <a:pt x="177" y="223"/>
                  </a:lnTo>
                  <a:lnTo>
                    <a:pt x="199" y="228"/>
                  </a:lnTo>
                  <a:lnTo>
                    <a:pt x="214" y="235"/>
                  </a:lnTo>
                  <a:lnTo>
                    <a:pt x="221" y="240"/>
                  </a:lnTo>
                  <a:lnTo>
                    <a:pt x="233" y="252"/>
                  </a:lnTo>
                  <a:lnTo>
                    <a:pt x="238" y="250"/>
                  </a:lnTo>
                  <a:lnTo>
                    <a:pt x="241" y="245"/>
                  </a:lnTo>
                  <a:lnTo>
                    <a:pt x="243" y="245"/>
                  </a:lnTo>
                  <a:lnTo>
                    <a:pt x="241" y="242"/>
                  </a:lnTo>
                  <a:lnTo>
                    <a:pt x="219" y="159"/>
                  </a:lnTo>
                  <a:lnTo>
                    <a:pt x="243" y="159"/>
                  </a:lnTo>
                  <a:lnTo>
                    <a:pt x="246" y="157"/>
                  </a:lnTo>
                  <a:lnTo>
                    <a:pt x="246" y="157"/>
                  </a:lnTo>
                  <a:lnTo>
                    <a:pt x="246" y="157"/>
                  </a:lnTo>
                  <a:lnTo>
                    <a:pt x="246" y="157"/>
                  </a:lnTo>
                  <a:close/>
                  <a:moveTo>
                    <a:pt x="157" y="59"/>
                  </a:moveTo>
                  <a:lnTo>
                    <a:pt x="157" y="56"/>
                  </a:lnTo>
                  <a:lnTo>
                    <a:pt x="160" y="51"/>
                  </a:lnTo>
                  <a:lnTo>
                    <a:pt x="165" y="46"/>
                  </a:lnTo>
                  <a:lnTo>
                    <a:pt x="170" y="44"/>
                  </a:lnTo>
                  <a:lnTo>
                    <a:pt x="175" y="44"/>
                  </a:lnTo>
                  <a:lnTo>
                    <a:pt x="177" y="41"/>
                  </a:lnTo>
                  <a:lnTo>
                    <a:pt x="184" y="44"/>
                  </a:lnTo>
                  <a:lnTo>
                    <a:pt x="189" y="46"/>
                  </a:lnTo>
                  <a:lnTo>
                    <a:pt x="192" y="49"/>
                  </a:lnTo>
                  <a:lnTo>
                    <a:pt x="197" y="54"/>
                  </a:lnTo>
                  <a:lnTo>
                    <a:pt x="199" y="59"/>
                  </a:lnTo>
                  <a:lnTo>
                    <a:pt x="199" y="63"/>
                  </a:lnTo>
                  <a:lnTo>
                    <a:pt x="199" y="68"/>
                  </a:lnTo>
                  <a:lnTo>
                    <a:pt x="197" y="73"/>
                  </a:lnTo>
                  <a:lnTo>
                    <a:pt x="194" y="78"/>
                  </a:lnTo>
                  <a:lnTo>
                    <a:pt x="189" y="81"/>
                  </a:lnTo>
                  <a:lnTo>
                    <a:pt x="187" y="83"/>
                  </a:lnTo>
                  <a:lnTo>
                    <a:pt x="179" y="85"/>
                  </a:lnTo>
                  <a:lnTo>
                    <a:pt x="177" y="85"/>
                  </a:lnTo>
                  <a:lnTo>
                    <a:pt x="172" y="83"/>
                  </a:lnTo>
                  <a:lnTo>
                    <a:pt x="167" y="83"/>
                  </a:lnTo>
                  <a:lnTo>
                    <a:pt x="165" y="81"/>
                  </a:lnTo>
                  <a:lnTo>
                    <a:pt x="162" y="78"/>
                  </a:lnTo>
                  <a:lnTo>
                    <a:pt x="157" y="73"/>
                  </a:lnTo>
                  <a:lnTo>
                    <a:pt x="157" y="68"/>
                  </a:lnTo>
                  <a:lnTo>
                    <a:pt x="157" y="63"/>
                  </a:lnTo>
                  <a:lnTo>
                    <a:pt x="157" y="59"/>
                  </a:lnTo>
                  <a:close/>
                  <a:moveTo>
                    <a:pt x="167" y="98"/>
                  </a:moveTo>
                  <a:lnTo>
                    <a:pt x="177" y="100"/>
                  </a:lnTo>
                  <a:lnTo>
                    <a:pt x="184" y="98"/>
                  </a:lnTo>
                  <a:lnTo>
                    <a:pt x="187" y="98"/>
                  </a:lnTo>
                  <a:lnTo>
                    <a:pt x="202" y="152"/>
                  </a:lnTo>
                  <a:lnTo>
                    <a:pt x="182" y="152"/>
                  </a:lnTo>
                  <a:lnTo>
                    <a:pt x="182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5" y="132"/>
                  </a:lnTo>
                  <a:lnTo>
                    <a:pt x="175" y="135"/>
                  </a:lnTo>
                  <a:lnTo>
                    <a:pt x="172" y="135"/>
                  </a:lnTo>
                  <a:lnTo>
                    <a:pt x="172" y="137"/>
                  </a:lnTo>
                  <a:lnTo>
                    <a:pt x="172" y="152"/>
                  </a:lnTo>
                  <a:lnTo>
                    <a:pt x="152" y="152"/>
                  </a:lnTo>
                  <a:lnTo>
                    <a:pt x="167" y="98"/>
                  </a:lnTo>
                  <a:close/>
                  <a:moveTo>
                    <a:pt x="224" y="230"/>
                  </a:moveTo>
                  <a:lnTo>
                    <a:pt x="209" y="223"/>
                  </a:lnTo>
                  <a:lnTo>
                    <a:pt x="192" y="218"/>
                  </a:lnTo>
                  <a:lnTo>
                    <a:pt x="175" y="213"/>
                  </a:lnTo>
                  <a:lnTo>
                    <a:pt x="155" y="211"/>
                  </a:lnTo>
                  <a:lnTo>
                    <a:pt x="138" y="208"/>
                  </a:lnTo>
                  <a:lnTo>
                    <a:pt x="150" y="159"/>
                  </a:lnTo>
                  <a:lnTo>
                    <a:pt x="172" y="159"/>
                  </a:lnTo>
                  <a:lnTo>
                    <a:pt x="175" y="176"/>
                  </a:lnTo>
                  <a:lnTo>
                    <a:pt x="177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82" y="176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59"/>
                  </a:lnTo>
                  <a:lnTo>
                    <a:pt x="204" y="159"/>
                  </a:lnTo>
                  <a:lnTo>
                    <a:pt x="224" y="2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Rectangle 253">
              <a:extLst>
                <a:ext uri="{FF2B5EF4-FFF2-40B4-BE49-F238E27FC236}">
                  <a16:creationId xmlns:a16="http://schemas.microsoft.com/office/drawing/2014/main" id="{8881C382-AE76-45A9-B85D-E08D39321D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2" y="390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Rectangle 254">
              <a:extLst>
                <a:ext uri="{FF2B5EF4-FFF2-40B4-BE49-F238E27FC236}">
                  <a16:creationId xmlns:a16="http://schemas.microsoft.com/office/drawing/2014/main" id="{133E196B-73F9-43D9-BC25-3C0EDB460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1" y="387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Rectangle 255">
              <a:extLst>
                <a:ext uri="{FF2B5EF4-FFF2-40B4-BE49-F238E27FC236}">
                  <a16:creationId xmlns:a16="http://schemas.microsoft.com/office/drawing/2014/main" id="{77C0979F-20D8-4D08-8BE5-59B51729AF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" y="403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Rectangle 256">
              <a:extLst>
                <a:ext uri="{FF2B5EF4-FFF2-40B4-BE49-F238E27FC236}">
                  <a16:creationId xmlns:a16="http://schemas.microsoft.com/office/drawing/2014/main" id="{6616CFCC-CCA1-40CC-8686-23B96536C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4" y="390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257">
              <a:extLst>
                <a:ext uri="{FF2B5EF4-FFF2-40B4-BE49-F238E27FC236}">
                  <a16:creationId xmlns:a16="http://schemas.microsoft.com/office/drawing/2014/main" id="{2233B068-1A32-477A-9BA3-C0A84CF1C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" y="403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258">
              <a:extLst>
                <a:ext uri="{FF2B5EF4-FFF2-40B4-BE49-F238E27FC236}">
                  <a16:creationId xmlns:a16="http://schemas.microsoft.com/office/drawing/2014/main" id="{63D619E4-6BA7-4B7E-AA34-9BB8C9A8D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4" y="389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261">
            <a:extLst>
              <a:ext uri="{FF2B5EF4-FFF2-40B4-BE49-F238E27FC236}">
                <a16:creationId xmlns:a16="http://schemas.microsoft.com/office/drawing/2014/main" id="{031FFA71-3F45-446C-85D9-8AEEB97BD2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3408" y="5438186"/>
            <a:ext cx="841375" cy="841375"/>
            <a:chOff x="4377" y="3394"/>
            <a:chExt cx="530" cy="530"/>
          </a:xfrm>
        </p:grpSpPr>
        <p:sp>
          <p:nvSpPr>
            <p:cNvPr id="303" name="AutoShape 260">
              <a:extLst>
                <a:ext uri="{FF2B5EF4-FFF2-40B4-BE49-F238E27FC236}">
                  <a16:creationId xmlns:a16="http://schemas.microsoft.com/office/drawing/2014/main" id="{E9AED7E7-6306-49A2-B3F9-555DA8AEF52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7" y="33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262">
              <a:extLst>
                <a:ext uri="{FF2B5EF4-FFF2-40B4-BE49-F238E27FC236}">
                  <a16:creationId xmlns:a16="http://schemas.microsoft.com/office/drawing/2014/main" id="{CFBAC100-58F8-401D-BF3F-113DDD555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" y="33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3">
              <a:extLst>
                <a:ext uri="{FF2B5EF4-FFF2-40B4-BE49-F238E27FC236}">
                  <a16:creationId xmlns:a16="http://schemas.microsoft.com/office/drawing/2014/main" id="{4F7A9846-2427-49CF-9832-DF0527D439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5" y="34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Rectangle 264">
              <a:extLst>
                <a:ext uri="{FF2B5EF4-FFF2-40B4-BE49-F238E27FC236}">
                  <a16:creationId xmlns:a16="http://schemas.microsoft.com/office/drawing/2014/main" id="{BEBC5ECB-4D90-4129-9672-D87542421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" y="366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65">
              <a:extLst>
                <a:ext uri="{FF2B5EF4-FFF2-40B4-BE49-F238E27FC236}">
                  <a16:creationId xmlns:a16="http://schemas.microsoft.com/office/drawing/2014/main" id="{A9380A30-4436-46C5-90AA-26E06FD76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5" y="3504"/>
              <a:ext cx="256" cy="312"/>
            </a:xfrm>
            <a:custGeom>
              <a:avLst/>
              <a:gdLst>
                <a:gd name="T0" fmla="*/ 256 w 256"/>
                <a:gd name="T1" fmla="*/ 159 h 312"/>
                <a:gd name="T2" fmla="*/ 253 w 256"/>
                <a:gd name="T3" fmla="*/ 159 h 312"/>
                <a:gd name="T4" fmla="*/ 225 w 256"/>
                <a:gd name="T5" fmla="*/ 159 h 312"/>
                <a:gd name="T6" fmla="*/ 220 w 256"/>
                <a:gd name="T7" fmla="*/ 77 h 312"/>
                <a:gd name="T8" fmla="*/ 220 w 256"/>
                <a:gd name="T9" fmla="*/ 54 h 312"/>
                <a:gd name="T10" fmla="*/ 197 w 256"/>
                <a:gd name="T11" fmla="*/ 31 h 312"/>
                <a:gd name="T12" fmla="*/ 177 w 256"/>
                <a:gd name="T13" fmla="*/ 0 h 312"/>
                <a:gd name="T14" fmla="*/ 156 w 256"/>
                <a:gd name="T15" fmla="*/ 44 h 312"/>
                <a:gd name="T16" fmla="*/ 148 w 256"/>
                <a:gd name="T17" fmla="*/ 67 h 312"/>
                <a:gd name="T18" fmla="*/ 161 w 256"/>
                <a:gd name="T19" fmla="*/ 95 h 312"/>
                <a:gd name="T20" fmla="*/ 115 w 256"/>
                <a:gd name="T21" fmla="*/ 159 h 312"/>
                <a:gd name="T22" fmla="*/ 113 w 256"/>
                <a:gd name="T23" fmla="*/ 161 h 312"/>
                <a:gd name="T24" fmla="*/ 115 w 256"/>
                <a:gd name="T25" fmla="*/ 166 h 312"/>
                <a:gd name="T26" fmla="*/ 141 w 256"/>
                <a:gd name="T27" fmla="*/ 166 h 312"/>
                <a:gd name="T28" fmla="*/ 97 w 256"/>
                <a:gd name="T29" fmla="*/ 218 h 312"/>
                <a:gd name="T30" fmla="*/ 38 w 256"/>
                <a:gd name="T31" fmla="*/ 230 h 312"/>
                <a:gd name="T32" fmla="*/ 2 w 256"/>
                <a:gd name="T33" fmla="*/ 253 h 312"/>
                <a:gd name="T34" fmla="*/ 0 w 256"/>
                <a:gd name="T35" fmla="*/ 274 h 312"/>
                <a:gd name="T36" fmla="*/ 20 w 256"/>
                <a:gd name="T37" fmla="*/ 292 h 312"/>
                <a:gd name="T38" fmla="*/ 66 w 256"/>
                <a:gd name="T39" fmla="*/ 307 h 312"/>
                <a:gd name="T40" fmla="*/ 125 w 256"/>
                <a:gd name="T41" fmla="*/ 312 h 312"/>
                <a:gd name="T42" fmla="*/ 189 w 256"/>
                <a:gd name="T43" fmla="*/ 305 h 312"/>
                <a:gd name="T44" fmla="*/ 189 w 256"/>
                <a:gd name="T45" fmla="*/ 300 h 312"/>
                <a:gd name="T46" fmla="*/ 187 w 256"/>
                <a:gd name="T47" fmla="*/ 300 h 312"/>
                <a:gd name="T48" fmla="*/ 184 w 256"/>
                <a:gd name="T49" fmla="*/ 297 h 312"/>
                <a:gd name="T50" fmla="*/ 154 w 256"/>
                <a:gd name="T51" fmla="*/ 302 h 312"/>
                <a:gd name="T52" fmla="*/ 100 w 256"/>
                <a:gd name="T53" fmla="*/ 302 h 312"/>
                <a:gd name="T54" fmla="*/ 41 w 256"/>
                <a:gd name="T55" fmla="*/ 292 h 312"/>
                <a:gd name="T56" fmla="*/ 13 w 256"/>
                <a:gd name="T57" fmla="*/ 274 h 312"/>
                <a:gd name="T58" fmla="*/ 10 w 256"/>
                <a:gd name="T59" fmla="*/ 261 h 312"/>
                <a:gd name="T60" fmla="*/ 23 w 256"/>
                <a:gd name="T61" fmla="*/ 248 h 312"/>
                <a:gd name="T62" fmla="*/ 72 w 256"/>
                <a:gd name="T63" fmla="*/ 230 h 312"/>
                <a:gd name="T64" fmla="*/ 118 w 256"/>
                <a:gd name="T65" fmla="*/ 256 h 312"/>
                <a:gd name="T66" fmla="*/ 125 w 256"/>
                <a:gd name="T67" fmla="*/ 264 h 312"/>
                <a:gd name="T68" fmla="*/ 133 w 256"/>
                <a:gd name="T69" fmla="*/ 259 h 312"/>
                <a:gd name="T70" fmla="*/ 184 w 256"/>
                <a:gd name="T71" fmla="*/ 233 h 312"/>
                <a:gd name="T72" fmla="*/ 230 w 256"/>
                <a:gd name="T73" fmla="*/ 251 h 312"/>
                <a:gd name="T74" fmla="*/ 251 w 256"/>
                <a:gd name="T75" fmla="*/ 256 h 312"/>
                <a:gd name="T76" fmla="*/ 228 w 256"/>
                <a:gd name="T77" fmla="*/ 166 h 312"/>
                <a:gd name="T78" fmla="*/ 256 w 256"/>
                <a:gd name="T79" fmla="*/ 164 h 312"/>
                <a:gd name="T80" fmla="*/ 164 w 256"/>
                <a:gd name="T81" fmla="*/ 61 h 312"/>
                <a:gd name="T82" fmla="*/ 171 w 256"/>
                <a:gd name="T83" fmla="*/ 49 h 312"/>
                <a:gd name="T84" fmla="*/ 184 w 256"/>
                <a:gd name="T85" fmla="*/ 44 h 312"/>
                <a:gd name="T86" fmla="*/ 200 w 256"/>
                <a:gd name="T87" fmla="*/ 51 h 312"/>
                <a:gd name="T88" fmla="*/ 207 w 256"/>
                <a:gd name="T89" fmla="*/ 67 h 312"/>
                <a:gd name="T90" fmla="*/ 202 w 256"/>
                <a:gd name="T91" fmla="*/ 82 h 312"/>
                <a:gd name="T92" fmla="*/ 187 w 256"/>
                <a:gd name="T93" fmla="*/ 90 h 312"/>
                <a:gd name="T94" fmla="*/ 174 w 256"/>
                <a:gd name="T95" fmla="*/ 87 h 312"/>
                <a:gd name="T96" fmla="*/ 164 w 256"/>
                <a:gd name="T97" fmla="*/ 77 h 312"/>
                <a:gd name="T98" fmla="*/ 164 w 256"/>
                <a:gd name="T99" fmla="*/ 61 h 312"/>
                <a:gd name="T100" fmla="*/ 192 w 256"/>
                <a:gd name="T101" fmla="*/ 102 h 312"/>
                <a:gd name="T102" fmla="*/ 189 w 256"/>
                <a:gd name="T103" fmla="*/ 159 h 312"/>
                <a:gd name="T104" fmla="*/ 187 w 256"/>
                <a:gd name="T105" fmla="*/ 138 h 312"/>
                <a:gd name="T106" fmla="*/ 184 w 256"/>
                <a:gd name="T107" fmla="*/ 138 h 312"/>
                <a:gd name="T108" fmla="*/ 179 w 256"/>
                <a:gd name="T109" fmla="*/ 141 h 312"/>
                <a:gd name="T110" fmla="*/ 159 w 256"/>
                <a:gd name="T111" fmla="*/ 159 h 312"/>
                <a:gd name="T112" fmla="*/ 218 w 256"/>
                <a:gd name="T113" fmla="*/ 233 h 312"/>
                <a:gd name="T114" fmla="*/ 161 w 256"/>
                <a:gd name="T115" fmla="*/ 220 h 312"/>
                <a:gd name="T116" fmla="*/ 179 w 256"/>
                <a:gd name="T117" fmla="*/ 166 h 312"/>
                <a:gd name="T118" fmla="*/ 187 w 256"/>
                <a:gd name="T119" fmla="*/ 187 h 312"/>
                <a:gd name="T120" fmla="*/ 189 w 256"/>
                <a:gd name="T121" fmla="*/ 182 h 312"/>
                <a:gd name="T122" fmla="*/ 189 w 256"/>
                <a:gd name="T123" fmla="*/ 16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12">
                  <a:moveTo>
                    <a:pt x="256" y="164"/>
                  </a:moveTo>
                  <a:lnTo>
                    <a:pt x="256" y="161"/>
                  </a:lnTo>
                  <a:lnTo>
                    <a:pt x="256" y="159"/>
                  </a:lnTo>
                  <a:lnTo>
                    <a:pt x="256" y="159"/>
                  </a:lnTo>
                  <a:lnTo>
                    <a:pt x="253" y="159"/>
                  </a:lnTo>
                  <a:lnTo>
                    <a:pt x="253" y="159"/>
                  </a:lnTo>
                  <a:lnTo>
                    <a:pt x="253" y="159"/>
                  </a:lnTo>
                  <a:lnTo>
                    <a:pt x="253" y="159"/>
                  </a:lnTo>
                  <a:lnTo>
                    <a:pt x="225" y="159"/>
                  </a:lnTo>
                  <a:lnTo>
                    <a:pt x="210" y="95"/>
                  </a:lnTo>
                  <a:lnTo>
                    <a:pt x="218" y="87"/>
                  </a:lnTo>
                  <a:lnTo>
                    <a:pt x="220" y="77"/>
                  </a:lnTo>
                  <a:lnTo>
                    <a:pt x="223" y="72"/>
                  </a:lnTo>
                  <a:lnTo>
                    <a:pt x="223" y="67"/>
                  </a:lnTo>
                  <a:lnTo>
                    <a:pt x="220" y="54"/>
                  </a:lnTo>
                  <a:lnTo>
                    <a:pt x="212" y="44"/>
                  </a:lnTo>
                  <a:lnTo>
                    <a:pt x="207" y="36"/>
                  </a:lnTo>
                  <a:lnTo>
                    <a:pt x="197" y="31"/>
                  </a:lnTo>
                  <a:lnTo>
                    <a:pt x="192" y="31"/>
                  </a:lnTo>
                  <a:lnTo>
                    <a:pt x="192" y="0"/>
                  </a:lnTo>
                  <a:lnTo>
                    <a:pt x="177" y="0"/>
                  </a:lnTo>
                  <a:lnTo>
                    <a:pt x="177" y="31"/>
                  </a:lnTo>
                  <a:lnTo>
                    <a:pt x="166" y="36"/>
                  </a:lnTo>
                  <a:lnTo>
                    <a:pt x="156" y="44"/>
                  </a:lnTo>
                  <a:lnTo>
                    <a:pt x="151" y="51"/>
                  </a:lnTo>
                  <a:lnTo>
                    <a:pt x="148" y="64"/>
                  </a:lnTo>
                  <a:lnTo>
                    <a:pt x="148" y="67"/>
                  </a:lnTo>
                  <a:lnTo>
                    <a:pt x="148" y="77"/>
                  </a:lnTo>
                  <a:lnTo>
                    <a:pt x="154" y="87"/>
                  </a:lnTo>
                  <a:lnTo>
                    <a:pt x="161" y="95"/>
                  </a:lnTo>
                  <a:lnTo>
                    <a:pt x="143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64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41" y="166"/>
                  </a:lnTo>
                  <a:lnTo>
                    <a:pt x="128" y="218"/>
                  </a:lnTo>
                  <a:lnTo>
                    <a:pt x="120" y="218"/>
                  </a:lnTo>
                  <a:lnTo>
                    <a:pt x="97" y="218"/>
                  </a:lnTo>
                  <a:lnTo>
                    <a:pt x="69" y="223"/>
                  </a:lnTo>
                  <a:lnTo>
                    <a:pt x="54" y="225"/>
                  </a:lnTo>
                  <a:lnTo>
                    <a:pt x="38" y="230"/>
                  </a:lnTo>
                  <a:lnTo>
                    <a:pt x="26" y="236"/>
                  </a:lnTo>
                  <a:lnTo>
                    <a:pt x="10" y="246"/>
                  </a:lnTo>
                  <a:lnTo>
                    <a:pt x="2" y="253"/>
                  </a:lnTo>
                  <a:lnTo>
                    <a:pt x="0" y="264"/>
                  </a:lnTo>
                  <a:lnTo>
                    <a:pt x="0" y="266"/>
                  </a:lnTo>
                  <a:lnTo>
                    <a:pt x="0" y="274"/>
                  </a:lnTo>
                  <a:lnTo>
                    <a:pt x="5" y="282"/>
                  </a:lnTo>
                  <a:lnTo>
                    <a:pt x="15" y="289"/>
                  </a:lnTo>
                  <a:lnTo>
                    <a:pt x="20" y="292"/>
                  </a:lnTo>
                  <a:lnTo>
                    <a:pt x="33" y="300"/>
                  </a:lnTo>
                  <a:lnTo>
                    <a:pt x="46" y="302"/>
                  </a:lnTo>
                  <a:lnTo>
                    <a:pt x="66" y="307"/>
                  </a:lnTo>
                  <a:lnTo>
                    <a:pt x="87" y="312"/>
                  </a:lnTo>
                  <a:lnTo>
                    <a:pt x="113" y="312"/>
                  </a:lnTo>
                  <a:lnTo>
                    <a:pt x="125" y="312"/>
                  </a:lnTo>
                  <a:lnTo>
                    <a:pt x="148" y="312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89" y="302"/>
                  </a:lnTo>
                  <a:lnTo>
                    <a:pt x="189" y="300"/>
                  </a:lnTo>
                  <a:lnTo>
                    <a:pt x="189" y="300"/>
                  </a:lnTo>
                  <a:lnTo>
                    <a:pt x="187" y="300"/>
                  </a:lnTo>
                  <a:lnTo>
                    <a:pt x="187" y="300"/>
                  </a:lnTo>
                  <a:lnTo>
                    <a:pt x="187" y="300"/>
                  </a:lnTo>
                  <a:lnTo>
                    <a:pt x="187" y="300"/>
                  </a:lnTo>
                  <a:lnTo>
                    <a:pt x="184" y="297"/>
                  </a:lnTo>
                  <a:lnTo>
                    <a:pt x="184" y="297"/>
                  </a:lnTo>
                  <a:lnTo>
                    <a:pt x="184" y="297"/>
                  </a:lnTo>
                  <a:lnTo>
                    <a:pt x="169" y="300"/>
                  </a:lnTo>
                  <a:lnTo>
                    <a:pt x="154" y="302"/>
                  </a:lnTo>
                  <a:lnTo>
                    <a:pt x="130" y="305"/>
                  </a:lnTo>
                  <a:lnTo>
                    <a:pt x="125" y="305"/>
                  </a:lnTo>
                  <a:lnTo>
                    <a:pt x="100" y="302"/>
                  </a:lnTo>
                  <a:lnTo>
                    <a:pt x="74" y="300"/>
                  </a:lnTo>
                  <a:lnTo>
                    <a:pt x="59" y="297"/>
                  </a:lnTo>
                  <a:lnTo>
                    <a:pt x="41" y="292"/>
                  </a:lnTo>
                  <a:lnTo>
                    <a:pt x="26" y="284"/>
                  </a:lnTo>
                  <a:lnTo>
                    <a:pt x="18" y="279"/>
                  </a:lnTo>
                  <a:lnTo>
                    <a:pt x="13" y="274"/>
                  </a:lnTo>
                  <a:lnTo>
                    <a:pt x="10" y="269"/>
                  </a:lnTo>
                  <a:lnTo>
                    <a:pt x="8" y="266"/>
                  </a:lnTo>
                  <a:lnTo>
                    <a:pt x="10" y="261"/>
                  </a:lnTo>
                  <a:lnTo>
                    <a:pt x="13" y="256"/>
                  </a:lnTo>
                  <a:lnTo>
                    <a:pt x="15" y="253"/>
                  </a:lnTo>
                  <a:lnTo>
                    <a:pt x="23" y="248"/>
                  </a:lnTo>
                  <a:lnTo>
                    <a:pt x="31" y="243"/>
                  </a:lnTo>
                  <a:lnTo>
                    <a:pt x="49" y="238"/>
                  </a:lnTo>
                  <a:lnTo>
                    <a:pt x="72" y="230"/>
                  </a:lnTo>
                  <a:lnTo>
                    <a:pt x="92" y="228"/>
                  </a:lnTo>
                  <a:lnTo>
                    <a:pt x="125" y="228"/>
                  </a:lnTo>
                  <a:lnTo>
                    <a:pt x="118" y="256"/>
                  </a:lnTo>
                  <a:lnTo>
                    <a:pt x="120" y="261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30" y="261"/>
                  </a:lnTo>
                  <a:lnTo>
                    <a:pt x="133" y="259"/>
                  </a:lnTo>
                  <a:lnTo>
                    <a:pt x="133" y="259"/>
                  </a:lnTo>
                  <a:lnTo>
                    <a:pt x="141" y="228"/>
                  </a:lnTo>
                  <a:lnTo>
                    <a:pt x="164" y="230"/>
                  </a:lnTo>
                  <a:lnTo>
                    <a:pt x="184" y="233"/>
                  </a:lnTo>
                  <a:lnTo>
                    <a:pt x="207" y="238"/>
                  </a:lnTo>
                  <a:lnTo>
                    <a:pt x="223" y="246"/>
                  </a:lnTo>
                  <a:lnTo>
                    <a:pt x="230" y="251"/>
                  </a:lnTo>
                  <a:lnTo>
                    <a:pt x="243" y="264"/>
                  </a:lnTo>
                  <a:lnTo>
                    <a:pt x="248" y="261"/>
                  </a:lnTo>
                  <a:lnTo>
                    <a:pt x="251" y="256"/>
                  </a:lnTo>
                  <a:lnTo>
                    <a:pt x="253" y="256"/>
                  </a:lnTo>
                  <a:lnTo>
                    <a:pt x="251" y="253"/>
                  </a:lnTo>
                  <a:lnTo>
                    <a:pt x="228" y="166"/>
                  </a:lnTo>
                  <a:lnTo>
                    <a:pt x="253" y="166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6" y="164"/>
                  </a:lnTo>
                  <a:close/>
                  <a:moveTo>
                    <a:pt x="164" y="61"/>
                  </a:moveTo>
                  <a:lnTo>
                    <a:pt x="164" y="59"/>
                  </a:lnTo>
                  <a:lnTo>
                    <a:pt x="166" y="54"/>
                  </a:lnTo>
                  <a:lnTo>
                    <a:pt x="171" y="49"/>
                  </a:lnTo>
                  <a:lnTo>
                    <a:pt x="177" y="46"/>
                  </a:lnTo>
                  <a:lnTo>
                    <a:pt x="182" y="46"/>
                  </a:lnTo>
                  <a:lnTo>
                    <a:pt x="184" y="44"/>
                  </a:lnTo>
                  <a:lnTo>
                    <a:pt x="192" y="46"/>
                  </a:lnTo>
                  <a:lnTo>
                    <a:pt x="197" y="49"/>
                  </a:lnTo>
                  <a:lnTo>
                    <a:pt x="200" y="51"/>
                  </a:lnTo>
                  <a:lnTo>
                    <a:pt x="205" y="56"/>
                  </a:lnTo>
                  <a:lnTo>
                    <a:pt x="207" y="61"/>
                  </a:lnTo>
                  <a:lnTo>
                    <a:pt x="207" y="67"/>
                  </a:lnTo>
                  <a:lnTo>
                    <a:pt x="207" y="72"/>
                  </a:lnTo>
                  <a:lnTo>
                    <a:pt x="205" y="77"/>
                  </a:lnTo>
                  <a:lnTo>
                    <a:pt x="202" y="82"/>
                  </a:lnTo>
                  <a:lnTo>
                    <a:pt x="197" y="84"/>
                  </a:lnTo>
                  <a:lnTo>
                    <a:pt x="195" y="87"/>
                  </a:lnTo>
                  <a:lnTo>
                    <a:pt x="187" y="90"/>
                  </a:lnTo>
                  <a:lnTo>
                    <a:pt x="184" y="90"/>
                  </a:lnTo>
                  <a:lnTo>
                    <a:pt x="179" y="87"/>
                  </a:lnTo>
                  <a:lnTo>
                    <a:pt x="174" y="87"/>
                  </a:lnTo>
                  <a:lnTo>
                    <a:pt x="171" y="84"/>
                  </a:lnTo>
                  <a:lnTo>
                    <a:pt x="169" y="82"/>
                  </a:lnTo>
                  <a:lnTo>
                    <a:pt x="164" y="77"/>
                  </a:lnTo>
                  <a:lnTo>
                    <a:pt x="164" y="72"/>
                  </a:lnTo>
                  <a:lnTo>
                    <a:pt x="164" y="67"/>
                  </a:lnTo>
                  <a:lnTo>
                    <a:pt x="164" y="61"/>
                  </a:lnTo>
                  <a:close/>
                  <a:moveTo>
                    <a:pt x="174" y="102"/>
                  </a:moveTo>
                  <a:lnTo>
                    <a:pt x="184" y="105"/>
                  </a:lnTo>
                  <a:lnTo>
                    <a:pt x="192" y="102"/>
                  </a:lnTo>
                  <a:lnTo>
                    <a:pt x="195" y="102"/>
                  </a:lnTo>
                  <a:lnTo>
                    <a:pt x="210" y="159"/>
                  </a:lnTo>
                  <a:lnTo>
                    <a:pt x="189" y="159"/>
                  </a:lnTo>
                  <a:lnTo>
                    <a:pt x="189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4" y="138"/>
                  </a:lnTo>
                  <a:lnTo>
                    <a:pt x="184" y="138"/>
                  </a:lnTo>
                  <a:lnTo>
                    <a:pt x="182" y="138"/>
                  </a:lnTo>
                  <a:lnTo>
                    <a:pt x="182" y="141"/>
                  </a:lnTo>
                  <a:lnTo>
                    <a:pt x="179" y="141"/>
                  </a:lnTo>
                  <a:lnTo>
                    <a:pt x="179" y="143"/>
                  </a:lnTo>
                  <a:lnTo>
                    <a:pt x="179" y="159"/>
                  </a:lnTo>
                  <a:lnTo>
                    <a:pt x="159" y="159"/>
                  </a:lnTo>
                  <a:lnTo>
                    <a:pt x="174" y="102"/>
                  </a:lnTo>
                  <a:close/>
                  <a:moveTo>
                    <a:pt x="233" y="241"/>
                  </a:moveTo>
                  <a:lnTo>
                    <a:pt x="218" y="233"/>
                  </a:lnTo>
                  <a:lnTo>
                    <a:pt x="200" y="228"/>
                  </a:lnTo>
                  <a:lnTo>
                    <a:pt x="182" y="223"/>
                  </a:lnTo>
                  <a:lnTo>
                    <a:pt x="161" y="220"/>
                  </a:lnTo>
                  <a:lnTo>
                    <a:pt x="143" y="218"/>
                  </a:lnTo>
                  <a:lnTo>
                    <a:pt x="156" y="166"/>
                  </a:lnTo>
                  <a:lnTo>
                    <a:pt x="179" y="166"/>
                  </a:lnTo>
                  <a:lnTo>
                    <a:pt x="182" y="184"/>
                  </a:lnTo>
                  <a:lnTo>
                    <a:pt x="184" y="187"/>
                  </a:lnTo>
                  <a:lnTo>
                    <a:pt x="187" y="187"/>
                  </a:lnTo>
                  <a:lnTo>
                    <a:pt x="187" y="187"/>
                  </a:lnTo>
                  <a:lnTo>
                    <a:pt x="189" y="184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66"/>
                  </a:lnTo>
                  <a:lnTo>
                    <a:pt x="212" y="166"/>
                  </a:lnTo>
                  <a:lnTo>
                    <a:pt x="233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Rectangle 266">
              <a:extLst>
                <a:ext uri="{FF2B5EF4-FFF2-40B4-BE49-F238E27FC236}">
                  <a16:creationId xmlns:a16="http://schemas.microsoft.com/office/drawing/2014/main" id="{B5A7E24E-3245-4B11-923D-2B12D757E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" y="366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267">
              <a:extLst>
                <a:ext uri="{FF2B5EF4-FFF2-40B4-BE49-F238E27FC236}">
                  <a16:creationId xmlns:a16="http://schemas.microsoft.com/office/drawing/2014/main" id="{2BF64834-8402-4DCD-8C74-D5EA80A24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" y="3640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Rectangle 268">
              <a:extLst>
                <a:ext uri="{FF2B5EF4-FFF2-40B4-BE49-F238E27FC236}">
                  <a16:creationId xmlns:a16="http://schemas.microsoft.com/office/drawing/2014/main" id="{A282FBFC-AE8E-4783-8638-66345DC2C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7" y="380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Rectangle 269">
              <a:extLst>
                <a:ext uri="{FF2B5EF4-FFF2-40B4-BE49-F238E27FC236}">
                  <a16:creationId xmlns:a16="http://schemas.microsoft.com/office/drawing/2014/main" id="{4FC70095-291A-4B70-8AC1-87092C077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" y="366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Rectangle 270">
              <a:extLst>
                <a:ext uri="{FF2B5EF4-FFF2-40B4-BE49-F238E27FC236}">
                  <a16:creationId xmlns:a16="http://schemas.microsoft.com/office/drawing/2014/main" id="{9A91361E-0077-4FBB-B0E6-989026175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7" y="381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271">
              <a:extLst>
                <a:ext uri="{FF2B5EF4-FFF2-40B4-BE49-F238E27FC236}">
                  <a16:creationId xmlns:a16="http://schemas.microsoft.com/office/drawing/2014/main" id="{FD91AB38-638A-4ED7-8742-FCBFE36A82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4" y="366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902251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68D35F-2643-422D-9C91-69B9F00ED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0167519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u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int Brus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iangle Ruler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iangle Ruler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int Brush &amp; Palet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issors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issors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ut on the Dotted Lin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ote Pa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D Card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D Card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efcase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efcase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efcase 3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iefcase 4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nt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nt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nter Tray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redder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5948F9A9-E842-4610-ABA1-93B2FE5C88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724" y="357983"/>
            <a:ext cx="749300" cy="750887"/>
            <a:chOff x="939" y="395"/>
            <a:chExt cx="472" cy="473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1366A675-55B4-44E9-A6E0-467E7141C50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9" y="395"/>
              <a:ext cx="472" cy="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03E121B-1FA3-4E98-A379-A9F54891E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" y="397"/>
              <a:ext cx="470" cy="471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E11DB3B5-6FE5-47F9-87EF-8FF8C681F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" y="606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17879916-8849-4618-9129-64427C6702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608"/>
              <a:ext cx="108" cy="112"/>
            </a:xfrm>
            <a:custGeom>
              <a:avLst/>
              <a:gdLst>
                <a:gd name="T0" fmla="*/ 41 w 108"/>
                <a:gd name="T1" fmla="*/ 112 h 112"/>
                <a:gd name="T2" fmla="*/ 43 w 108"/>
                <a:gd name="T3" fmla="*/ 110 h 112"/>
                <a:gd name="T4" fmla="*/ 43 w 108"/>
                <a:gd name="T5" fmla="*/ 110 h 112"/>
                <a:gd name="T6" fmla="*/ 106 w 108"/>
                <a:gd name="T7" fmla="*/ 47 h 112"/>
                <a:gd name="T8" fmla="*/ 108 w 108"/>
                <a:gd name="T9" fmla="*/ 44 h 112"/>
                <a:gd name="T10" fmla="*/ 108 w 108"/>
                <a:gd name="T11" fmla="*/ 44 h 112"/>
                <a:gd name="T12" fmla="*/ 108 w 108"/>
                <a:gd name="T13" fmla="*/ 42 h 112"/>
                <a:gd name="T14" fmla="*/ 108 w 108"/>
                <a:gd name="T15" fmla="*/ 42 h 112"/>
                <a:gd name="T16" fmla="*/ 108 w 108"/>
                <a:gd name="T17" fmla="*/ 39 h 112"/>
                <a:gd name="T18" fmla="*/ 67 w 108"/>
                <a:gd name="T19" fmla="*/ 0 h 112"/>
                <a:gd name="T20" fmla="*/ 67 w 108"/>
                <a:gd name="T21" fmla="*/ 0 h 112"/>
                <a:gd name="T22" fmla="*/ 65 w 108"/>
                <a:gd name="T23" fmla="*/ 0 h 112"/>
                <a:gd name="T24" fmla="*/ 65 w 108"/>
                <a:gd name="T25" fmla="*/ 0 h 112"/>
                <a:gd name="T26" fmla="*/ 65 w 108"/>
                <a:gd name="T27" fmla="*/ 0 h 112"/>
                <a:gd name="T28" fmla="*/ 62 w 108"/>
                <a:gd name="T29" fmla="*/ 0 h 112"/>
                <a:gd name="T30" fmla="*/ 0 w 108"/>
                <a:gd name="T31" fmla="*/ 66 h 112"/>
                <a:gd name="T32" fmla="*/ 0 w 108"/>
                <a:gd name="T33" fmla="*/ 68 h 112"/>
                <a:gd name="T34" fmla="*/ 0 w 108"/>
                <a:gd name="T35" fmla="*/ 71 h 112"/>
                <a:gd name="T36" fmla="*/ 0 w 108"/>
                <a:gd name="T37" fmla="*/ 71 h 112"/>
                <a:gd name="T38" fmla="*/ 0 w 108"/>
                <a:gd name="T39" fmla="*/ 71 h 112"/>
                <a:gd name="T40" fmla="*/ 41 w 108"/>
                <a:gd name="T41" fmla="*/ 112 h 112"/>
                <a:gd name="T42" fmla="*/ 41 w 108"/>
                <a:gd name="T43" fmla="*/ 112 h 112"/>
                <a:gd name="T44" fmla="*/ 41 w 108"/>
                <a:gd name="T45" fmla="*/ 112 h 112"/>
                <a:gd name="T46" fmla="*/ 9 w 108"/>
                <a:gd name="T47" fmla="*/ 68 h 112"/>
                <a:gd name="T48" fmla="*/ 67 w 108"/>
                <a:gd name="T49" fmla="*/ 10 h 112"/>
                <a:gd name="T50" fmla="*/ 99 w 108"/>
                <a:gd name="T51" fmla="*/ 42 h 112"/>
                <a:gd name="T52" fmla="*/ 41 w 108"/>
                <a:gd name="T53" fmla="*/ 102 h 112"/>
                <a:gd name="T54" fmla="*/ 9 w 108"/>
                <a:gd name="T55" fmla="*/ 6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8" h="112">
                  <a:moveTo>
                    <a:pt x="41" y="112"/>
                  </a:moveTo>
                  <a:lnTo>
                    <a:pt x="43" y="110"/>
                  </a:lnTo>
                  <a:lnTo>
                    <a:pt x="43" y="110"/>
                  </a:lnTo>
                  <a:lnTo>
                    <a:pt x="106" y="47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3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close/>
                  <a:moveTo>
                    <a:pt x="9" y="68"/>
                  </a:moveTo>
                  <a:lnTo>
                    <a:pt x="67" y="10"/>
                  </a:lnTo>
                  <a:lnTo>
                    <a:pt x="99" y="42"/>
                  </a:lnTo>
                  <a:lnTo>
                    <a:pt x="41" y="102"/>
                  </a:lnTo>
                  <a:lnTo>
                    <a:pt x="9" y="6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AE9EABBA-EBE7-463B-B5AC-6DA5F71F7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" y="72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9B8533A4-951B-46F7-A323-21594ADC79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" y="499"/>
              <a:ext cx="261" cy="267"/>
            </a:xfrm>
            <a:custGeom>
              <a:avLst/>
              <a:gdLst>
                <a:gd name="T0" fmla="*/ 261 w 261"/>
                <a:gd name="T1" fmla="*/ 153 h 267"/>
                <a:gd name="T2" fmla="*/ 254 w 261"/>
                <a:gd name="T3" fmla="*/ 134 h 267"/>
                <a:gd name="T4" fmla="*/ 189 w 261"/>
                <a:gd name="T5" fmla="*/ 66 h 267"/>
                <a:gd name="T6" fmla="*/ 167 w 261"/>
                <a:gd name="T7" fmla="*/ 54 h 267"/>
                <a:gd name="T8" fmla="*/ 150 w 261"/>
                <a:gd name="T9" fmla="*/ 51 h 267"/>
                <a:gd name="T10" fmla="*/ 131 w 261"/>
                <a:gd name="T11" fmla="*/ 56 h 267"/>
                <a:gd name="T12" fmla="*/ 94 w 261"/>
                <a:gd name="T13" fmla="*/ 29 h 267"/>
                <a:gd name="T14" fmla="*/ 92 w 261"/>
                <a:gd name="T15" fmla="*/ 27 h 267"/>
                <a:gd name="T16" fmla="*/ 77 w 261"/>
                <a:gd name="T17" fmla="*/ 42 h 267"/>
                <a:gd name="T18" fmla="*/ 46 w 261"/>
                <a:gd name="T19" fmla="*/ 17 h 267"/>
                <a:gd name="T20" fmla="*/ 17 w 261"/>
                <a:gd name="T21" fmla="*/ 0 h 267"/>
                <a:gd name="T22" fmla="*/ 7 w 261"/>
                <a:gd name="T23" fmla="*/ 32 h 267"/>
                <a:gd name="T24" fmla="*/ 29 w 261"/>
                <a:gd name="T25" fmla="*/ 66 h 267"/>
                <a:gd name="T26" fmla="*/ 27 w 261"/>
                <a:gd name="T27" fmla="*/ 90 h 267"/>
                <a:gd name="T28" fmla="*/ 29 w 261"/>
                <a:gd name="T29" fmla="*/ 100 h 267"/>
                <a:gd name="T30" fmla="*/ 51 w 261"/>
                <a:gd name="T31" fmla="*/ 146 h 267"/>
                <a:gd name="T32" fmla="*/ 51 w 261"/>
                <a:gd name="T33" fmla="*/ 165 h 267"/>
                <a:gd name="T34" fmla="*/ 58 w 261"/>
                <a:gd name="T35" fmla="*/ 185 h 267"/>
                <a:gd name="T36" fmla="*/ 77 w 261"/>
                <a:gd name="T37" fmla="*/ 209 h 267"/>
                <a:gd name="T38" fmla="*/ 136 w 261"/>
                <a:gd name="T39" fmla="*/ 265 h 267"/>
                <a:gd name="T40" fmla="*/ 148 w 261"/>
                <a:gd name="T41" fmla="*/ 267 h 267"/>
                <a:gd name="T42" fmla="*/ 165 w 261"/>
                <a:gd name="T43" fmla="*/ 262 h 267"/>
                <a:gd name="T44" fmla="*/ 257 w 261"/>
                <a:gd name="T45" fmla="*/ 168 h 267"/>
                <a:gd name="T46" fmla="*/ 92 w 261"/>
                <a:gd name="T47" fmla="*/ 44 h 267"/>
                <a:gd name="T48" fmla="*/ 102 w 261"/>
                <a:gd name="T49" fmla="*/ 80 h 267"/>
                <a:gd name="T50" fmla="*/ 92 w 261"/>
                <a:gd name="T51" fmla="*/ 44 h 267"/>
                <a:gd name="T52" fmla="*/ 82 w 261"/>
                <a:gd name="T53" fmla="*/ 100 h 267"/>
                <a:gd name="T54" fmla="*/ 73 w 261"/>
                <a:gd name="T55" fmla="*/ 63 h 267"/>
                <a:gd name="T56" fmla="*/ 29 w 261"/>
                <a:gd name="T57" fmla="*/ 54 h 267"/>
                <a:gd name="T58" fmla="*/ 10 w 261"/>
                <a:gd name="T59" fmla="*/ 20 h 267"/>
                <a:gd name="T60" fmla="*/ 41 w 261"/>
                <a:gd name="T61" fmla="*/ 25 h 267"/>
                <a:gd name="T62" fmla="*/ 70 w 261"/>
                <a:gd name="T63" fmla="*/ 46 h 267"/>
                <a:gd name="T64" fmla="*/ 29 w 261"/>
                <a:gd name="T65" fmla="*/ 54 h 267"/>
                <a:gd name="T66" fmla="*/ 56 w 261"/>
                <a:gd name="T67" fmla="*/ 83 h 267"/>
                <a:gd name="T68" fmla="*/ 63 w 261"/>
                <a:gd name="T69" fmla="*/ 117 h 267"/>
                <a:gd name="T70" fmla="*/ 247 w 261"/>
                <a:gd name="T71" fmla="*/ 156 h 267"/>
                <a:gd name="T72" fmla="*/ 245 w 261"/>
                <a:gd name="T73" fmla="*/ 163 h 267"/>
                <a:gd name="T74" fmla="*/ 153 w 261"/>
                <a:gd name="T75" fmla="*/ 253 h 267"/>
                <a:gd name="T76" fmla="*/ 143 w 261"/>
                <a:gd name="T77" fmla="*/ 253 h 267"/>
                <a:gd name="T78" fmla="*/ 136 w 261"/>
                <a:gd name="T79" fmla="*/ 248 h 267"/>
                <a:gd name="T80" fmla="*/ 68 w 261"/>
                <a:gd name="T81" fmla="*/ 175 h 267"/>
                <a:gd name="T82" fmla="*/ 63 w 261"/>
                <a:gd name="T83" fmla="*/ 156 h 267"/>
                <a:gd name="T84" fmla="*/ 65 w 261"/>
                <a:gd name="T85" fmla="*/ 139 h 267"/>
                <a:gd name="T86" fmla="*/ 126 w 261"/>
                <a:gd name="T87" fmla="*/ 73 h 267"/>
                <a:gd name="T88" fmla="*/ 145 w 261"/>
                <a:gd name="T89" fmla="*/ 66 h 267"/>
                <a:gd name="T90" fmla="*/ 160 w 261"/>
                <a:gd name="T91" fmla="*/ 66 h 267"/>
                <a:gd name="T92" fmla="*/ 179 w 261"/>
                <a:gd name="T93" fmla="*/ 76 h 267"/>
                <a:gd name="T94" fmla="*/ 196 w 261"/>
                <a:gd name="T95" fmla="*/ 90 h 267"/>
                <a:gd name="T96" fmla="*/ 247 w 261"/>
                <a:gd name="T97" fmla="*/ 146 h 267"/>
                <a:gd name="T98" fmla="*/ 247 w 261"/>
                <a:gd name="T99" fmla="*/ 15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1" h="267">
                  <a:moveTo>
                    <a:pt x="261" y="158"/>
                  </a:moveTo>
                  <a:lnTo>
                    <a:pt x="261" y="153"/>
                  </a:lnTo>
                  <a:lnTo>
                    <a:pt x="261" y="143"/>
                  </a:lnTo>
                  <a:lnTo>
                    <a:pt x="254" y="134"/>
                  </a:lnTo>
                  <a:lnTo>
                    <a:pt x="252" y="131"/>
                  </a:lnTo>
                  <a:lnTo>
                    <a:pt x="189" y="66"/>
                  </a:lnTo>
                  <a:lnTo>
                    <a:pt x="177" y="59"/>
                  </a:lnTo>
                  <a:lnTo>
                    <a:pt x="167" y="54"/>
                  </a:lnTo>
                  <a:lnTo>
                    <a:pt x="160" y="54"/>
                  </a:lnTo>
                  <a:lnTo>
                    <a:pt x="150" y="51"/>
                  </a:lnTo>
                  <a:lnTo>
                    <a:pt x="140" y="54"/>
                  </a:lnTo>
                  <a:lnTo>
                    <a:pt x="131" y="56"/>
                  </a:lnTo>
                  <a:lnTo>
                    <a:pt x="126" y="5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2" y="27"/>
                  </a:lnTo>
                  <a:lnTo>
                    <a:pt x="87" y="29"/>
                  </a:lnTo>
                  <a:lnTo>
                    <a:pt x="77" y="42"/>
                  </a:lnTo>
                  <a:lnTo>
                    <a:pt x="61" y="27"/>
                  </a:lnTo>
                  <a:lnTo>
                    <a:pt x="46" y="17"/>
                  </a:lnTo>
                  <a:lnTo>
                    <a:pt x="22" y="5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7" y="32"/>
                  </a:lnTo>
                  <a:lnTo>
                    <a:pt x="19" y="51"/>
                  </a:lnTo>
                  <a:lnTo>
                    <a:pt x="29" y="66"/>
                  </a:lnTo>
                  <a:lnTo>
                    <a:pt x="39" y="80"/>
                  </a:lnTo>
                  <a:lnTo>
                    <a:pt x="27" y="90"/>
                  </a:lnTo>
                  <a:lnTo>
                    <a:pt x="27" y="95"/>
                  </a:lnTo>
                  <a:lnTo>
                    <a:pt x="29" y="100"/>
                  </a:lnTo>
                  <a:lnTo>
                    <a:pt x="56" y="129"/>
                  </a:lnTo>
                  <a:lnTo>
                    <a:pt x="51" y="146"/>
                  </a:lnTo>
                  <a:lnTo>
                    <a:pt x="51" y="158"/>
                  </a:lnTo>
                  <a:lnTo>
                    <a:pt x="51" y="165"/>
                  </a:lnTo>
                  <a:lnTo>
                    <a:pt x="53" y="173"/>
                  </a:lnTo>
                  <a:lnTo>
                    <a:pt x="58" y="185"/>
                  </a:lnTo>
                  <a:lnTo>
                    <a:pt x="68" y="199"/>
                  </a:lnTo>
                  <a:lnTo>
                    <a:pt x="77" y="209"/>
                  </a:lnTo>
                  <a:lnTo>
                    <a:pt x="131" y="262"/>
                  </a:lnTo>
                  <a:lnTo>
                    <a:pt x="136" y="265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57" y="265"/>
                  </a:lnTo>
                  <a:lnTo>
                    <a:pt x="165" y="262"/>
                  </a:lnTo>
                  <a:lnTo>
                    <a:pt x="169" y="257"/>
                  </a:lnTo>
                  <a:lnTo>
                    <a:pt x="257" y="168"/>
                  </a:lnTo>
                  <a:lnTo>
                    <a:pt x="261" y="158"/>
                  </a:lnTo>
                  <a:close/>
                  <a:moveTo>
                    <a:pt x="92" y="44"/>
                  </a:moveTo>
                  <a:lnTo>
                    <a:pt x="114" y="66"/>
                  </a:lnTo>
                  <a:lnTo>
                    <a:pt x="102" y="80"/>
                  </a:lnTo>
                  <a:lnTo>
                    <a:pt x="80" y="56"/>
                  </a:lnTo>
                  <a:lnTo>
                    <a:pt x="92" y="44"/>
                  </a:lnTo>
                  <a:close/>
                  <a:moveTo>
                    <a:pt x="97" y="85"/>
                  </a:moveTo>
                  <a:lnTo>
                    <a:pt x="82" y="100"/>
                  </a:lnTo>
                  <a:lnTo>
                    <a:pt x="61" y="76"/>
                  </a:lnTo>
                  <a:lnTo>
                    <a:pt x="73" y="63"/>
                  </a:lnTo>
                  <a:lnTo>
                    <a:pt x="97" y="85"/>
                  </a:lnTo>
                  <a:close/>
                  <a:moveTo>
                    <a:pt x="29" y="54"/>
                  </a:moveTo>
                  <a:lnTo>
                    <a:pt x="15" y="29"/>
                  </a:lnTo>
                  <a:lnTo>
                    <a:pt x="10" y="20"/>
                  </a:lnTo>
                  <a:lnTo>
                    <a:pt x="17" y="12"/>
                  </a:lnTo>
                  <a:lnTo>
                    <a:pt x="41" y="25"/>
                  </a:lnTo>
                  <a:lnTo>
                    <a:pt x="63" y="39"/>
                  </a:lnTo>
                  <a:lnTo>
                    <a:pt x="70" y="46"/>
                  </a:lnTo>
                  <a:lnTo>
                    <a:pt x="46" y="73"/>
                  </a:lnTo>
                  <a:lnTo>
                    <a:pt x="29" y="54"/>
                  </a:lnTo>
                  <a:close/>
                  <a:moveTo>
                    <a:pt x="41" y="95"/>
                  </a:moveTo>
                  <a:lnTo>
                    <a:pt x="56" y="83"/>
                  </a:lnTo>
                  <a:lnTo>
                    <a:pt x="77" y="105"/>
                  </a:lnTo>
                  <a:lnTo>
                    <a:pt x="63" y="117"/>
                  </a:lnTo>
                  <a:lnTo>
                    <a:pt x="41" y="95"/>
                  </a:lnTo>
                  <a:close/>
                  <a:moveTo>
                    <a:pt x="247" y="156"/>
                  </a:moveTo>
                  <a:lnTo>
                    <a:pt x="245" y="160"/>
                  </a:lnTo>
                  <a:lnTo>
                    <a:pt x="245" y="163"/>
                  </a:lnTo>
                  <a:lnTo>
                    <a:pt x="157" y="250"/>
                  </a:lnTo>
                  <a:lnTo>
                    <a:pt x="153" y="253"/>
                  </a:lnTo>
                  <a:lnTo>
                    <a:pt x="148" y="253"/>
                  </a:lnTo>
                  <a:lnTo>
                    <a:pt x="143" y="253"/>
                  </a:lnTo>
                  <a:lnTo>
                    <a:pt x="138" y="250"/>
                  </a:lnTo>
                  <a:lnTo>
                    <a:pt x="136" y="248"/>
                  </a:lnTo>
                  <a:lnTo>
                    <a:pt x="75" y="187"/>
                  </a:lnTo>
                  <a:lnTo>
                    <a:pt x="68" y="175"/>
                  </a:lnTo>
                  <a:lnTo>
                    <a:pt x="65" y="163"/>
                  </a:lnTo>
                  <a:lnTo>
                    <a:pt x="63" y="156"/>
                  </a:lnTo>
                  <a:lnTo>
                    <a:pt x="63" y="148"/>
                  </a:lnTo>
                  <a:lnTo>
                    <a:pt x="65" y="139"/>
                  </a:lnTo>
                  <a:lnTo>
                    <a:pt x="70" y="129"/>
                  </a:lnTo>
                  <a:lnTo>
                    <a:pt x="126" y="73"/>
                  </a:lnTo>
                  <a:lnTo>
                    <a:pt x="136" y="68"/>
                  </a:lnTo>
                  <a:lnTo>
                    <a:pt x="145" y="66"/>
                  </a:lnTo>
                  <a:lnTo>
                    <a:pt x="153" y="66"/>
                  </a:lnTo>
                  <a:lnTo>
                    <a:pt x="160" y="66"/>
                  </a:lnTo>
                  <a:lnTo>
                    <a:pt x="169" y="71"/>
                  </a:lnTo>
                  <a:lnTo>
                    <a:pt x="179" y="76"/>
                  </a:lnTo>
                  <a:lnTo>
                    <a:pt x="186" y="83"/>
                  </a:lnTo>
                  <a:lnTo>
                    <a:pt x="196" y="90"/>
                  </a:lnTo>
                  <a:lnTo>
                    <a:pt x="245" y="141"/>
                  </a:lnTo>
                  <a:lnTo>
                    <a:pt x="247" y="146"/>
                  </a:lnTo>
                  <a:lnTo>
                    <a:pt x="249" y="151"/>
                  </a:lnTo>
                  <a:lnTo>
                    <a:pt x="247" y="1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261C79B6-6EDE-42BF-BD28-C0A2D86CE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" y="638"/>
              <a:ext cx="68" cy="106"/>
            </a:xfrm>
            <a:custGeom>
              <a:avLst/>
              <a:gdLst>
                <a:gd name="T0" fmla="*/ 68 w 68"/>
                <a:gd name="T1" fmla="*/ 75 h 106"/>
                <a:gd name="T2" fmla="*/ 65 w 68"/>
                <a:gd name="T3" fmla="*/ 65 h 106"/>
                <a:gd name="T4" fmla="*/ 63 w 68"/>
                <a:gd name="T5" fmla="*/ 58 h 106"/>
                <a:gd name="T6" fmla="*/ 58 w 68"/>
                <a:gd name="T7" fmla="*/ 48 h 106"/>
                <a:gd name="T8" fmla="*/ 46 w 68"/>
                <a:gd name="T9" fmla="*/ 29 h 106"/>
                <a:gd name="T10" fmla="*/ 44 w 68"/>
                <a:gd name="T11" fmla="*/ 21 h 106"/>
                <a:gd name="T12" fmla="*/ 41 w 68"/>
                <a:gd name="T13" fmla="*/ 14 h 106"/>
                <a:gd name="T14" fmla="*/ 39 w 68"/>
                <a:gd name="T15" fmla="*/ 2 h 106"/>
                <a:gd name="T16" fmla="*/ 36 w 68"/>
                <a:gd name="T17" fmla="*/ 0 h 106"/>
                <a:gd name="T18" fmla="*/ 36 w 68"/>
                <a:gd name="T19" fmla="*/ 0 h 106"/>
                <a:gd name="T20" fmla="*/ 34 w 68"/>
                <a:gd name="T21" fmla="*/ 0 h 106"/>
                <a:gd name="T22" fmla="*/ 34 w 68"/>
                <a:gd name="T23" fmla="*/ 0 h 106"/>
                <a:gd name="T24" fmla="*/ 34 w 68"/>
                <a:gd name="T25" fmla="*/ 0 h 106"/>
                <a:gd name="T26" fmla="*/ 29 w 68"/>
                <a:gd name="T27" fmla="*/ 0 h 106"/>
                <a:gd name="T28" fmla="*/ 29 w 68"/>
                <a:gd name="T29" fmla="*/ 2 h 106"/>
                <a:gd name="T30" fmla="*/ 27 w 68"/>
                <a:gd name="T31" fmla="*/ 7 h 106"/>
                <a:gd name="T32" fmla="*/ 27 w 68"/>
                <a:gd name="T33" fmla="*/ 14 h 106"/>
                <a:gd name="T34" fmla="*/ 24 w 68"/>
                <a:gd name="T35" fmla="*/ 21 h 106"/>
                <a:gd name="T36" fmla="*/ 19 w 68"/>
                <a:gd name="T37" fmla="*/ 34 h 106"/>
                <a:gd name="T38" fmla="*/ 2 w 68"/>
                <a:gd name="T39" fmla="*/ 60 h 106"/>
                <a:gd name="T40" fmla="*/ 0 w 68"/>
                <a:gd name="T41" fmla="*/ 68 h 106"/>
                <a:gd name="T42" fmla="*/ 0 w 68"/>
                <a:gd name="T43" fmla="*/ 72 h 106"/>
                <a:gd name="T44" fmla="*/ 2 w 68"/>
                <a:gd name="T45" fmla="*/ 84 h 106"/>
                <a:gd name="T46" fmla="*/ 5 w 68"/>
                <a:gd name="T47" fmla="*/ 92 h 106"/>
                <a:gd name="T48" fmla="*/ 10 w 68"/>
                <a:gd name="T49" fmla="*/ 97 h 106"/>
                <a:gd name="T50" fmla="*/ 17 w 68"/>
                <a:gd name="T51" fmla="*/ 101 h 106"/>
                <a:gd name="T52" fmla="*/ 27 w 68"/>
                <a:gd name="T53" fmla="*/ 106 h 106"/>
                <a:gd name="T54" fmla="*/ 31 w 68"/>
                <a:gd name="T55" fmla="*/ 106 h 106"/>
                <a:gd name="T56" fmla="*/ 41 w 68"/>
                <a:gd name="T57" fmla="*/ 106 h 106"/>
                <a:gd name="T58" fmla="*/ 51 w 68"/>
                <a:gd name="T59" fmla="*/ 101 h 106"/>
                <a:gd name="T60" fmla="*/ 58 w 68"/>
                <a:gd name="T61" fmla="*/ 97 h 106"/>
                <a:gd name="T62" fmla="*/ 63 w 68"/>
                <a:gd name="T63" fmla="*/ 89 h 106"/>
                <a:gd name="T64" fmla="*/ 65 w 68"/>
                <a:gd name="T65" fmla="*/ 82 h 106"/>
                <a:gd name="T66" fmla="*/ 68 w 68"/>
                <a:gd name="T67" fmla="*/ 75 h 106"/>
                <a:gd name="T68" fmla="*/ 53 w 68"/>
                <a:gd name="T69" fmla="*/ 80 h 106"/>
                <a:gd name="T70" fmla="*/ 51 w 68"/>
                <a:gd name="T71" fmla="*/ 82 h 106"/>
                <a:gd name="T72" fmla="*/ 51 w 68"/>
                <a:gd name="T73" fmla="*/ 87 h 106"/>
                <a:gd name="T74" fmla="*/ 46 w 68"/>
                <a:gd name="T75" fmla="*/ 89 h 106"/>
                <a:gd name="T76" fmla="*/ 41 w 68"/>
                <a:gd name="T77" fmla="*/ 92 h 106"/>
                <a:gd name="T78" fmla="*/ 34 w 68"/>
                <a:gd name="T79" fmla="*/ 94 h 106"/>
                <a:gd name="T80" fmla="*/ 29 w 68"/>
                <a:gd name="T81" fmla="*/ 94 h 106"/>
                <a:gd name="T82" fmla="*/ 27 w 68"/>
                <a:gd name="T83" fmla="*/ 92 h 106"/>
                <a:gd name="T84" fmla="*/ 22 w 68"/>
                <a:gd name="T85" fmla="*/ 92 h 106"/>
                <a:gd name="T86" fmla="*/ 19 w 68"/>
                <a:gd name="T87" fmla="*/ 89 h 106"/>
                <a:gd name="T88" fmla="*/ 17 w 68"/>
                <a:gd name="T89" fmla="*/ 84 h 106"/>
                <a:gd name="T90" fmla="*/ 15 w 68"/>
                <a:gd name="T91" fmla="*/ 80 h 106"/>
                <a:gd name="T92" fmla="*/ 12 w 68"/>
                <a:gd name="T93" fmla="*/ 72 h 106"/>
                <a:gd name="T94" fmla="*/ 15 w 68"/>
                <a:gd name="T95" fmla="*/ 68 h 106"/>
                <a:gd name="T96" fmla="*/ 17 w 68"/>
                <a:gd name="T97" fmla="*/ 63 h 106"/>
                <a:gd name="T98" fmla="*/ 19 w 68"/>
                <a:gd name="T99" fmla="*/ 55 h 106"/>
                <a:gd name="T100" fmla="*/ 34 w 68"/>
                <a:gd name="T101" fmla="*/ 34 h 106"/>
                <a:gd name="T102" fmla="*/ 53 w 68"/>
                <a:gd name="T103" fmla="*/ 65 h 106"/>
                <a:gd name="T104" fmla="*/ 53 w 68"/>
                <a:gd name="T105" fmla="*/ 75 h 106"/>
                <a:gd name="T106" fmla="*/ 53 w 68"/>
                <a:gd name="T107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" h="106">
                  <a:moveTo>
                    <a:pt x="68" y="75"/>
                  </a:moveTo>
                  <a:lnTo>
                    <a:pt x="65" y="65"/>
                  </a:lnTo>
                  <a:lnTo>
                    <a:pt x="63" y="58"/>
                  </a:lnTo>
                  <a:lnTo>
                    <a:pt x="58" y="48"/>
                  </a:lnTo>
                  <a:lnTo>
                    <a:pt x="46" y="29"/>
                  </a:lnTo>
                  <a:lnTo>
                    <a:pt x="44" y="21"/>
                  </a:lnTo>
                  <a:lnTo>
                    <a:pt x="41" y="14"/>
                  </a:lnTo>
                  <a:lnTo>
                    <a:pt x="39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7" y="7"/>
                  </a:lnTo>
                  <a:lnTo>
                    <a:pt x="27" y="14"/>
                  </a:lnTo>
                  <a:lnTo>
                    <a:pt x="24" y="21"/>
                  </a:lnTo>
                  <a:lnTo>
                    <a:pt x="19" y="34"/>
                  </a:lnTo>
                  <a:lnTo>
                    <a:pt x="2" y="60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84"/>
                  </a:lnTo>
                  <a:lnTo>
                    <a:pt x="5" y="92"/>
                  </a:lnTo>
                  <a:lnTo>
                    <a:pt x="10" y="97"/>
                  </a:lnTo>
                  <a:lnTo>
                    <a:pt x="17" y="101"/>
                  </a:lnTo>
                  <a:lnTo>
                    <a:pt x="27" y="106"/>
                  </a:lnTo>
                  <a:lnTo>
                    <a:pt x="31" y="106"/>
                  </a:lnTo>
                  <a:lnTo>
                    <a:pt x="41" y="106"/>
                  </a:lnTo>
                  <a:lnTo>
                    <a:pt x="51" y="101"/>
                  </a:lnTo>
                  <a:lnTo>
                    <a:pt x="58" y="97"/>
                  </a:lnTo>
                  <a:lnTo>
                    <a:pt x="63" y="89"/>
                  </a:lnTo>
                  <a:lnTo>
                    <a:pt x="65" y="82"/>
                  </a:lnTo>
                  <a:lnTo>
                    <a:pt x="68" y="75"/>
                  </a:lnTo>
                  <a:close/>
                  <a:moveTo>
                    <a:pt x="53" y="80"/>
                  </a:moveTo>
                  <a:lnTo>
                    <a:pt x="51" y="82"/>
                  </a:lnTo>
                  <a:lnTo>
                    <a:pt x="51" y="87"/>
                  </a:lnTo>
                  <a:lnTo>
                    <a:pt x="46" y="89"/>
                  </a:lnTo>
                  <a:lnTo>
                    <a:pt x="41" y="92"/>
                  </a:lnTo>
                  <a:lnTo>
                    <a:pt x="34" y="94"/>
                  </a:lnTo>
                  <a:lnTo>
                    <a:pt x="29" y="94"/>
                  </a:lnTo>
                  <a:lnTo>
                    <a:pt x="27" y="92"/>
                  </a:lnTo>
                  <a:lnTo>
                    <a:pt x="22" y="92"/>
                  </a:lnTo>
                  <a:lnTo>
                    <a:pt x="19" y="89"/>
                  </a:lnTo>
                  <a:lnTo>
                    <a:pt x="17" y="84"/>
                  </a:lnTo>
                  <a:lnTo>
                    <a:pt x="15" y="80"/>
                  </a:lnTo>
                  <a:lnTo>
                    <a:pt x="12" y="72"/>
                  </a:lnTo>
                  <a:lnTo>
                    <a:pt x="15" y="68"/>
                  </a:lnTo>
                  <a:lnTo>
                    <a:pt x="17" y="63"/>
                  </a:lnTo>
                  <a:lnTo>
                    <a:pt x="19" y="55"/>
                  </a:lnTo>
                  <a:lnTo>
                    <a:pt x="34" y="34"/>
                  </a:lnTo>
                  <a:lnTo>
                    <a:pt x="53" y="65"/>
                  </a:lnTo>
                  <a:lnTo>
                    <a:pt x="53" y="75"/>
                  </a:lnTo>
                  <a:lnTo>
                    <a:pt x="53" y="8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88025DBF-6A96-4DBE-981A-C8F73507F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" y="606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161B6182-17B7-4149-BC60-226266ADA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7" y="608"/>
              <a:ext cx="108" cy="112"/>
            </a:xfrm>
            <a:custGeom>
              <a:avLst/>
              <a:gdLst>
                <a:gd name="T0" fmla="*/ 41 w 108"/>
                <a:gd name="T1" fmla="*/ 112 h 112"/>
                <a:gd name="T2" fmla="*/ 43 w 108"/>
                <a:gd name="T3" fmla="*/ 110 h 112"/>
                <a:gd name="T4" fmla="*/ 43 w 108"/>
                <a:gd name="T5" fmla="*/ 110 h 112"/>
                <a:gd name="T6" fmla="*/ 106 w 108"/>
                <a:gd name="T7" fmla="*/ 47 h 112"/>
                <a:gd name="T8" fmla="*/ 108 w 108"/>
                <a:gd name="T9" fmla="*/ 44 h 112"/>
                <a:gd name="T10" fmla="*/ 108 w 108"/>
                <a:gd name="T11" fmla="*/ 44 h 112"/>
                <a:gd name="T12" fmla="*/ 108 w 108"/>
                <a:gd name="T13" fmla="*/ 42 h 112"/>
                <a:gd name="T14" fmla="*/ 108 w 108"/>
                <a:gd name="T15" fmla="*/ 42 h 112"/>
                <a:gd name="T16" fmla="*/ 108 w 108"/>
                <a:gd name="T17" fmla="*/ 39 h 112"/>
                <a:gd name="T18" fmla="*/ 67 w 108"/>
                <a:gd name="T19" fmla="*/ 0 h 112"/>
                <a:gd name="T20" fmla="*/ 67 w 108"/>
                <a:gd name="T21" fmla="*/ 0 h 112"/>
                <a:gd name="T22" fmla="*/ 65 w 108"/>
                <a:gd name="T23" fmla="*/ 0 h 112"/>
                <a:gd name="T24" fmla="*/ 65 w 108"/>
                <a:gd name="T25" fmla="*/ 0 h 112"/>
                <a:gd name="T26" fmla="*/ 65 w 108"/>
                <a:gd name="T27" fmla="*/ 0 h 112"/>
                <a:gd name="T28" fmla="*/ 62 w 108"/>
                <a:gd name="T29" fmla="*/ 0 h 112"/>
                <a:gd name="T30" fmla="*/ 0 w 108"/>
                <a:gd name="T31" fmla="*/ 66 h 112"/>
                <a:gd name="T32" fmla="*/ 0 w 108"/>
                <a:gd name="T33" fmla="*/ 68 h 112"/>
                <a:gd name="T34" fmla="*/ 0 w 108"/>
                <a:gd name="T35" fmla="*/ 71 h 112"/>
                <a:gd name="T36" fmla="*/ 0 w 108"/>
                <a:gd name="T37" fmla="*/ 71 h 112"/>
                <a:gd name="T38" fmla="*/ 0 w 108"/>
                <a:gd name="T39" fmla="*/ 71 h 112"/>
                <a:gd name="T40" fmla="*/ 41 w 108"/>
                <a:gd name="T41" fmla="*/ 112 h 112"/>
                <a:gd name="T42" fmla="*/ 41 w 108"/>
                <a:gd name="T43" fmla="*/ 112 h 112"/>
                <a:gd name="T44" fmla="*/ 41 w 108"/>
                <a:gd name="T45" fmla="*/ 112 h 112"/>
                <a:gd name="T46" fmla="*/ 9 w 108"/>
                <a:gd name="T47" fmla="*/ 68 h 112"/>
                <a:gd name="T48" fmla="*/ 67 w 108"/>
                <a:gd name="T49" fmla="*/ 10 h 112"/>
                <a:gd name="T50" fmla="*/ 99 w 108"/>
                <a:gd name="T51" fmla="*/ 42 h 112"/>
                <a:gd name="T52" fmla="*/ 41 w 108"/>
                <a:gd name="T53" fmla="*/ 102 h 112"/>
                <a:gd name="T54" fmla="*/ 9 w 108"/>
                <a:gd name="T55" fmla="*/ 6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8" h="112">
                  <a:moveTo>
                    <a:pt x="41" y="112"/>
                  </a:moveTo>
                  <a:lnTo>
                    <a:pt x="43" y="110"/>
                  </a:lnTo>
                  <a:lnTo>
                    <a:pt x="43" y="110"/>
                  </a:lnTo>
                  <a:lnTo>
                    <a:pt x="106" y="47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3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close/>
                  <a:moveTo>
                    <a:pt x="9" y="68"/>
                  </a:moveTo>
                  <a:lnTo>
                    <a:pt x="67" y="10"/>
                  </a:lnTo>
                  <a:lnTo>
                    <a:pt x="99" y="42"/>
                  </a:lnTo>
                  <a:lnTo>
                    <a:pt x="41" y="102"/>
                  </a:lnTo>
                  <a:lnTo>
                    <a:pt x="9" y="6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857ED6F1-3714-457F-B032-2B4AE644D2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8" y="72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6810AE38-F3C1-4443-8A54-C8D76051B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" y="499"/>
              <a:ext cx="261" cy="267"/>
            </a:xfrm>
            <a:custGeom>
              <a:avLst/>
              <a:gdLst>
                <a:gd name="T0" fmla="*/ 261 w 261"/>
                <a:gd name="T1" fmla="*/ 153 h 267"/>
                <a:gd name="T2" fmla="*/ 254 w 261"/>
                <a:gd name="T3" fmla="*/ 134 h 267"/>
                <a:gd name="T4" fmla="*/ 189 w 261"/>
                <a:gd name="T5" fmla="*/ 66 h 267"/>
                <a:gd name="T6" fmla="*/ 167 w 261"/>
                <a:gd name="T7" fmla="*/ 54 h 267"/>
                <a:gd name="T8" fmla="*/ 150 w 261"/>
                <a:gd name="T9" fmla="*/ 51 h 267"/>
                <a:gd name="T10" fmla="*/ 131 w 261"/>
                <a:gd name="T11" fmla="*/ 56 h 267"/>
                <a:gd name="T12" fmla="*/ 94 w 261"/>
                <a:gd name="T13" fmla="*/ 29 h 267"/>
                <a:gd name="T14" fmla="*/ 92 w 261"/>
                <a:gd name="T15" fmla="*/ 27 h 267"/>
                <a:gd name="T16" fmla="*/ 77 w 261"/>
                <a:gd name="T17" fmla="*/ 42 h 267"/>
                <a:gd name="T18" fmla="*/ 46 w 261"/>
                <a:gd name="T19" fmla="*/ 17 h 267"/>
                <a:gd name="T20" fmla="*/ 17 w 261"/>
                <a:gd name="T21" fmla="*/ 0 h 267"/>
                <a:gd name="T22" fmla="*/ 7 w 261"/>
                <a:gd name="T23" fmla="*/ 32 h 267"/>
                <a:gd name="T24" fmla="*/ 29 w 261"/>
                <a:gd name="T25" fmla="*/ 66 h 267"/>
                <a:gd name="T26" fmla="*/ 27 w 261"/>
                <a:gd name="T27" fmla="*/ 90 h 267"/>
                <a:gd name="T28" fmla="*/ 29 w 261"/>
                <a:gd name="T29" fmla="*/ 100 h 267"/>
                <a:gd name="T30" fmla="*/ 51 w 261"/>
                <a:gd name="T31" fmla="*/ 146 h 267"/>
                <a:gd name="T32" fmla="*/ 51 w 261"/>
                <a:gd name="T33" fmla="*/ 165 h 267"/>
                <a:gd name="T34" fmla="*/ 58 w 261"/>
                <a:gd name="T35" fmla="*/ 185 h 267"/>
                <a:gd name="T36" fmla="*/ 77 w 261"/>
                <a:gd name="T37" fmla="*/ 209 h 267"/>
                <a:gd name="T38" fmla="*/ 136 w 261"/>
                <a:gd name="T39" fmla="*/ 265 h 267"/>
                <a:gd name="T40" fmla="*/ 148 w 261"/>
                <a:gd name="T41" fmla="*/ 267 h 267"/>
                <a:gd name="T42" fmla="*/ 165 w 261"/>
                <a:gd name="T43" fmla="*/ 262 h 267"/>
                <a:gd name="T44" fmla="*/ 257 w 261"/>
                <a:gd name="T45" fmla="*/ 168 h 267"/>
                <a:gd name="T46" fmla="*/ 92 w 261"/>
                <a:gd name="T47" fmla="*/ 44 h 267"/>
                <a:gd name="T48" fmla="*/ 102 w 261"/>
                <a:gd name="T49" fmla="*/ 80 h 267"/>
                <a:gd name="T50" fmla="*/ 92 w 261"/>
                <a:gd name="T51" fmla="*/ 44 h 267"/>
                <a:gd name="T52" fmla="*/ 82 w 261"/>
                <a:gd name="T53" fmla="*/ 100 h 267"/>
                <a:gd name="T54" fmla="*/ 73 w 261"/>
                <a:gd name="T55" fmla="*/ 63 h 267"/>
                <a:gd name="T56" fmla="*/ 29 w 261"/>
                <a:gd name="T57" fmla="*/ 54 h 267"/>
                <a:gd name="T58" fmla="*/ 10 w 261"/>
                <a:gd name="T59" fmla="*/ 20 h 267"/>
                <a:gd name="T60" fmla="*/ 41 w 261"/>
                <a:gd name="T61" fmla="*/ 25 h 267"/>
                <a:gd name="T62" fmla="*/ 70 w 261"/>
                <a:gd name="T63" fmla="*/ 46 h 267"/>
                <a:gd name="T64" fmla="*/ 29 w 261"/>
                <a:gd name="T65" fmla="*/ 54 h 267"/>
                <a:gd name="T66" fmla="*/ 56 w 261"/>
                <a:gd name="T67" fmla="*/ 83 h 267"/>
                <a:gd name="T68" fmla="*/ 63 w 261"/>
                <a:gd name="T69" fmla="*/ 117 h 267"/>
                <a:gd name="T70" fmla="*/ 247 w 261"/>
                <a:gd name="T71" fmla="*/ 156 h 267"/>
                <a:gd name="T72" fmla="*/ 245 w 261"/>
                <a:gd name="T73" fmla="*/ 163 h 267"/>
                <a:gd name="T74" fmla="*/ 153 w 261"/>
                <a:gd name="T75" fmla="*/ 253 h 267"/>
                <a:gd name="T76" fmla="*/ 143 w 261"/>
                <a:gd name="T77" fmla="*/ 253 h 267"/>
                <a:gd name="T78" fmla="*/ 136 w 261"/>
                <a:gd name="T79" fmla="*/ 248 h 267"/>
                <a:gd name="T80" fmla="*/ 68 w 261"/>
                <a:gd name="T81" fmla="*/ 175 h 267"/>
                <a:gd name="T82" fmla="*/ 63 w 261"/>
                <a:gd name="T83" fmla="*/ 156 h 267"/>
                <a:gd name="T84" fmla="*/ 65 w 261"/>
                <a:gd name="T85" fmla="*/ 139 h 267"/>
                <a:gd name="T86" fmla="*/ 126 w 261"/>
                <a:gd name="T87" fmla="*/ 73 h 267"/>
                <a:gd name="T88" fmla="*/ 145 w 261"/>
                <a:gd name="T89" fmla="*/ 66 h 267"/>
                <a:gd name="T90" fmla="*/ 160 w 261"/>
                <a:gd name="T91" fmla="*/ 66 h 267"/>
                <a:gd name="T92" fmla="*/ 179 w 261"/>
                <a:gd name="T93" fmla="*/ 76 h 267"/>
                <a:gd name="T94" fmla="*/ 196 w 261"/>
                <a:gd name="T95" fmla="*/ 90 h 267"/>
                <a:gd name="T96" fmla="*/ 247 w 261"/>
                <a:gd name="T97" fmla="*/ 146 h 267"/>
                <a:gd name="T98" fmla="*/ 247 w 261"/>
                <a:gd name="T99" fmla="*/ 15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1" h="267">
                  <a:moveTo>
                    <a:pt x="261" y="158"/>
                  </a:moveTo>
                  <a:lnTo>
                    <a:pt x="261" y="153"/>
                  </a:lnTo>
                  <a:lnTo>
                    <a:pt x="261" y="143"/>
                  </a:lnTo>
                  <a:lnTo>
                    <a:pt x="254" y="134"/>
                  </a:lnTo>
                  <a:lnTo>
                    <a:pt x="252" y="131"/>
                  </a:lnTo>
                  <a:lnTo>
                    <a:pt x="189" y="66"/>
                  </a:lnTo>
                  <a:lnTo>
                    <a:pt x="177" y="59"/>
                  </a:lnTo>
                  <a:lnTo>
                    <a:pt x="167" y="54"/>
                  </a:lnTo>
                  <a:lnTo>
                    <a:pt x="160" y="54"/>
                  </a:lnTo>
                  <a:lnTo>
                    <a:pt x="150" y="51"/>
                  </a:lnTo>
                  <a:lnTo>
                    <a:pt x="140" y="54"/>
                  </a:lnTo>
                  <a:lnTo>
                    <a:pt x="131" y="56"/>
                  </a:lnTo>
                  <a:lnTo>
                    <a:pt x="126" y="5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2" y="27"/>
                  </a:lnTo>
                  <a:lnTo>
                    <a:pt x="87" y="29"/>
                  </a:lnTo>
                  <a:lnTo>
                    <a:pt x="77" y="42"/>
                  </a:lnTo>
                  <a:lnTo>
                    <a:pt x="61" y="27"/>
                  </a:lnTo>
                  <a:lnTo>
                    <a:pt x="46" y="17"/>
                  </a:lnTo>
                  <a:lnTo>
                    <a:pt x="22" y="5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7" y="32"/>
                  </a:lnTo>
                  <a:lnTo>
                    <a:pt x="19" y="51"/>
                  </a:lnTo>
                  <a:lnTo>
                    <a:pt x="29" y="66"/>
                  </a:lnTo>
                  <a:lnTo>
                    <a:pt x="39" y="80"/>
                  </a:lnTo>
                  <a:lnTo>
                    <a:pt x="27" y="90"/>
                  </a:lnTo>
                  <a:lnTo>
                    <a:pt x="27" y="95"/>
                  </a:lnTo>
                  <a:lnTo>
                    <a:pt x="29" y="100"/>
                  </a:lnTo>
                  <a:lnTo>
                    <a:pt x="56" y="129"/>
                  </a:lnTo>
                  <a:lnTo>
                    <a:pt x="51" y="146"/>
                  </a:lnTo>
                  <a:lnTo>
                    <a:pt x="51" y="158"/>
                  </a:lnTo>
                  <a:lnTo>
                    <a:pt x="51" y="165"/>
                  </a:lnTo>
                  <a:lnTo>
                    <a:pt x="53" y="173"/>
                  </a:lnTo>
                  <a:lnTo>
                    <a:pt x="58" y="185"/>
                  </a:lnTo>
                  <a:lnTo>
                    <a:pt x="68" y="199"/>
                  </a:lnTo>
                  <a:lnTo>
                    <a:pt x="77" y="209"/>
                  </a:lnTo>
                  <a:lnTo>
                    <a:pt x="131" y="262"/>
                  </a:lnTo>
                  <a:lnTo>
                    <a:pt x="136" y="265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57" y="265"/>
                  </a:lnTo>
                  <a:lnTo>
                    <a:pt x="165" y="262"/>
                  </a:lnTo>
                  <a:lnTo>
                    <a:pt x="169" y="257"/>
                  </a:lnTo>
                  <a:lnTo>
                    <a:pt x="257" y="168"/>
                  </a:lnTo>
                  <a:lnTo>
                    <a:pt x="261" y="158"/>
                  </a:lnTo>
                  <a:close/>
                  <a:moveTo>
                    <a:pt x="92" y="44"/>
                  </a:moveTo>
                  <a:lnTo>
                    <a:pt x="114" y="66"/>
                  </a:lnTo>
                  <a:lnTo>
                    <a:pt x="102" y="80"/>
                  </a:lnTo>
                  <a:lnTo>
                    <a:pt x="80" y="56"/>
                  </a:lnTo>
                  <a:lnTo>
                    <a:pt x="92" y="44"/>
                  </a:lnTo>
                  <a:close/>
                  <a:moveTo>
                    <a:pt x="97" y="85"/>
                  </a:moveTo>
                  <a:lnTo>
                    <a:pt x="82" y="100"/>
                  </a:lnTo>
                  <a:lnTo>
                    <a:pt x="61" y="76"/>
                  </a:lnTo>
                  <a:lnTo>
                    <a:pt x="73" y="63"/>
                  </a:lnTo>
                  <a:lnTo>
                    <a:pt x="97" y="85"/>
                  </a:lnTo>
                  <a:close/>
                  <a:moveTo>
                    <a:pt x="29" y="54"/>
                  </a:moveTo>
                  <a:lnTo>
                    <a:pt x="15" y="29"/>
                  </a:lnTo>
                  <a:lnTo>
                    <a:pt x="10" y="20"/>
                  </a:lnTo>
                  <a:lnTo>
                    <a:pt x="17" y="12"/>
                  </a:lnTo>
                  <a:lnTo>
                    <a:pt x="41" y="25"/>
                  </a:lnTo>
                  <a:lnTo>
                    <a:pt x="63" y="39"/>
                  </a:lnTo>
                  <a:lnTo>
                    <a:pt x="70" y="46"/>
                  </a:lnTo>
                  <a:lnTo>
                    <a:pt x="46" y="73"/>
                  </a:lnTo>
                  <a:lnTo>
                    <a:pt x="29" y="54"/>
                  </a:lnTo>
                  <a:close/>
                  <a:moveTo>
                    <a:pt x="41" y="95"/>
                  </a:moveTo>
                  <a:lnTo>
                    <a:pt x="56" y="83"/>
                  </a:lnTo>
                  <a:lnTo>
                    <a:pt x="77" y="105"/>
                  </a:lnTo>
                  <a:lnTo>
                    <a:pt x="63" y="117"/>
                  </a:lnTo>
                  <a:lnTo>
                    <a:pt x="41" y="95"/>
                  </a:lnTo>
                  <a:close/>
                  <a:moveTo>
                    <a:pt x="247" y="156"/>
                  </a:moveTo>
                  <a:lnTo>
                    <a:pt x="245" y="160"/>
                  </a:lnTo>
                  <a:lnTo>
                    <a:pt x="245" y="163"/>
                  </a:lnTo>
                  <a:lnTo>
                    <a:pt x="157" y="250"/>
                  </a:lnTo>
                  <a:lnTo>
                    <a:pt x="153" y="253"/>
                  </a:lnTo>
                  <a:lnTo>
                    <a:pt x="148" y="253"/>
                  </a:lnTo>
                  <a:lnTo>
                    <a:pt x="143" y="253"/>
                  </a:lnTo>
                  <a:lnTo>
                    <a:pt x="138" y="250"/>
                  </a:lnTo>
                  <a:lnTo>
                    <a:pt x="136" y="248"/>
                  </a:lnTo>
                  <a:lnTo>
                    <a:pt x="75" y="187"/>
                  </a:lnTo>
                  <a:lnTo>
                    <a:pt x="68" y="175"/>
                  </a:lnTo>
                  <a:lnTo>
                    <a:pt x="65" y="163"/>
                  </a:lnTo>
                  <a:lnTo>
                    <a:pt x="63" y="156"/>
                  </a:lnTo>
                  <a:lnTo>
                    <a:pt x="63" y="148"/>
                  </a:lnTo>
                  <a:lnTo>
                    <a:pt x="65" y="139"/>
                  </a:lnTo>
                  <a:lnTo>
                    <a:pt x="70" y="129"/>
                  </a:lnTo>
                  <a:lnTo>
                    <a:pt x="126" y="73"/>
                  </a:lnTo>
                  <a:lnTo>
                    <a:pt x="136" y="68"/>
                  </a:lnTo>
                  <a:lnTo>
                    <a:pt x="145" y="66"/>
                  </a:lnTo>
                  <a:lnTo>
                    <a:pt x="153" y="66"/>
                  </a:lnTo>
                  <a:lnTo>
                    <a:pt x="160" y="66"/>
                  </a:lnTo>
                  <a:lnTo>
                    <a:pt x="169" y="71"/>
                  </a:lnTo>
                  <a:lnTo>
                    <a:pt x="179" y="76"/>
                  </a:lnTo>
                  <a:lnTo>
                    <a:pt x="186" y="83"/>
                  </a:lnTo>
                  <a:lnTo>
                    <a:pt x="196" y="90"/>
                  </a:lnTo>
                  <a:lnTo>
                    <a:pt x="245" y="141"/>
                  </a:lnTo>
                  <a:lnTo>
                    <a:pt x="247" y="146"/>
                  </a:lnTo>
                  <a:lnTo>
                    <a:pt x="249" y="151"/>
                  </a:lnTo>
                  <a:lnTo>
                    <a:pt x="247" y="1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2F9EF087-481B-4879-8DC2-E029D0D14A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" y="638"/>
              <a:ext cx="68" cy="106"/>
            </a:xfrm>
            <a:custGeom>
              <a:avLst/>
              <a:gdLst>
                <a:gd name="T0" fmla="*/ 68 w 68"/>
                <a:gd name="T1" fmla="*/ 75 h 106"/>
                <a:gd name="T2" fmla="*/ 65 w 68"/>
                <a:gd name="T3" fmla="*/ 65 h 106"/>
                <a:gd name="T4" fmla="*/ 63 w 68"/>
                <a:gd name="T5" fmla="*/ 58 h 106"/>
                <a:gd name="T6" fmla="*/ 58 w 68"/>
                <a:gd name="T7" fmla="*/ 48 h 106"/>
                <a:gd name="T8" fmla="*/ 46 w 68"/>
                <a:gd name="T9" fmla="*/ 29 h 106"/>
                <a:gd name="T10" fmla="*/ 44 w 68"/>
                <a:gd name="T11" fmla="*/ 21 h 106"/>
                <a:gd name="T12" fmla="*/ 41 w 68"/>
                <a:gd name="T13" fmla="*/ 14 h 106"/>
                <a:gd name="T14" fmla="*/ 39 w 68"/>
                <a:gd name="T15" fmla="*/ 2 h 106"/>
                <a:gd name="T16" fmla="*/ 36 w 68"/>
                <a:gd name="T17" fmla="*/ 0 h 106"/>
                <a:gd name="T18" fmla="*/ 36 w 68"/>
                <a:gd name="T19" fmla="*/ 0 h 106"/>
                <a:gd name="T20" fmla="*/ 34 w 68"/>
                <a:gd name="T21" fmla="*/ 0 h 106"/>
                <a:gd name="T22" fmla="*/ 34 w 68"/>
                <a:gd name="T23" fmla="*/ 0 h 106"/>
                <a:gd name="T24" fmla="*/ 34 w 68"/>
                <a:gd name="T25" fmla="*/ 0 h 106"/>
                <a:gd name="T26" fmla="*/ 29 w 68"/>
                <a:gd name="T27" fmla="*/ 0 h 106"/>
                <a:gd name="T28" fmla="*/ 29 w 68"/>
                <a:gd name="T29" fmla="*/ 2 h 106"/>
                <a:gd name="T30" fmla="*/ 27 w 68"/>
                <a:gd name="T31" fmla="*/ 7 h 106"/>
                <a:gd name="T32" fmla="*/ 27 w 68"/>
                <a:gd name="T33" fmla="*/ 14 h 106"/>
                <a:gd name="T34" fmla="*/ 24 w 68"/>
                <a:gd name="T35" fmla="*/ 21 h 106"/>
                <a:gd name="T36" fmla="*/ 19 w 68"/>
                <a:gd name="T37" fmla="*/ 34 h 106"/>
                <a:gd name="T38" fmla="*/ 2 w 68"/>
                <a:gd name="T39" fmla="*/ 60 h 106"/>
                <a:gd name="T40" fmla="*/ 0 w 68"/>
                <a:gd name="T41" fmla="*/ 68 h 106"/>
                <a:gd name="T42" fmla="*/ 0 w 68"/>
                <a:gd name="T43" fmla="*/ 72 h 106"/>
                <a:gd name="T44" fmla="*/ 2 w 68"/>
                <a:gd name="T45" fmla="*/ 84 h 106"/>
                <a:gd name="T46" fmla="*/ 5 w 68"/>
                <a:gd name="T47" fmla="*/ 92 h 106"/>
                <a:gd name="T48" fmla="*/ 10 w 68"/>
                <a:gd name="T49" fmla="*/ 97 h 106"/>
                <a:gd name="T50" fmla="*/ 17 w 68"/>
                <a:gd name="T51" fmla="*/ 101 h 106"/>
                <a:gd name="T52" fmla="*/ 27 w 68"/>
                <a:gd name="T53" fmla="*/ 106 h 106"/>
                <a:gd name="T54" fmla="*/ 31 w 68"/>
                <a:gd name="T55" fmla="*/ 106 h 106"/>
                <a:gd name="T56" fmla="*/ 41 w 68"/>
                <a:gd name="T57" fmla="*/ 106 h 106"/>
                <a:gd name="T58" fmla="*/ 51 w 68"/>
                <a:gd name="T59" fmla="*/ 101 h 106"/>
                <a:gd name="T60" fmla="*/ 58 w 68"/>
                <a:gd name="T61" fmla="*/ 97 h 106"/>
                <a:gd name="T62" fmla="*/ 63 w 68"/>
                <a:gd name="T63" fmla="*/ 89 h 106"/>
                <a:gd name="T64" fmla="*/ 65 w 68"/>
                <a:gd name="T65" fmla="*/ 82 h 106"/>
                <a:gd name="T66" fmla="*/ 68 w 68"/>
                <a:gd name="T67" fmla="*/ 75 h 106"/>
                <a:gd name="T68" fmla="*/ 53 w 68"/>
                <a:gd name="T69" fmla="*/ 80 h 106"/>
                <a:gd name="T70" fmla="*/ 51 w 68"/>
                <a:gd name="T71" fmla="*/ 82 h 106"/>
                <a:gd name="T72" fmla="*/ 51 w 68"/>
                <a:gd name="T73" fmla="*/ 87 h 106"/>
                <a:gd name="T74" fmla="*/ 46 w 68"/>
                <a:gd name="T75" fmla="*/ 89 h 106"/>
                <a:gd name="T76" fmla="*/ 41 w 68"/>
                <a:gd name="T77" fmla="*/ 92 h 106"/>
                <a:gd name="T78" fmla="*/ 34 w 68"/>
                <a:gd name="T79" fmla="*/ 94 h 106"/>
                <a:gd name="T80" fmla="*/ 29 w 68"/>
                <a:gd name="T81" fmla="*/ 94 h 106"/>
                <a:gd name="T82" fmla="*/ 27 w 68"/>
                <a:gd name="T83" fmla="*/ 92 h 106"/>
                <a:gd name="T84" fmla="*/ 22 w 68"/>
                <a:gd name="T85" fmla="*/ 92 h 106"/>
                <a:gd name="T86" fmla="*/ 19 w 68"/>
                <a:gd name="T87" fmla="*/ 89 h 106"/>
                <a:gd name="T88" fmla="*/ 17 w 68"/>
                <a:gd name="T89" fmla="*/ 84 h 106"/>
                <a:gd name="T90" fmla="*/ 15 w 68"/>
                <a:gd name="T91" fmla="*/ 80 h 106"/>
                <a:gd name="T92" fmla="*/ 12 w 68"/>
                <a:gd name="T93" fmla="*/ 72 h 106"/>
                <a:gd name="T94" fmla="*/ 15 w 68"/>
                <a:gd name="T95" fmla="*/ 68 h 106"/>
                <a:gd name="T96" fmla="*/ 17 w 68"/>
                <a:gd name="T97" fmla="*/ 63 h 106"/>
                <a:gd name="T98" fmla="*/ 19 w 68"/>
                <a:gd name="T99" fmla="*/ 55 h 106"/>
                <a:gd name="T100" fmla="*/ 34 w 68"/>
                <a:gd name="T101" fmla="*/ 34 h 106"/>
                <a:gd name="T102" fmla="*/ 53 w 68"/>
                <a:gd name="T103" fmla="*/ 65 h 106"/>
                <a:gd name="T104" fmla="*/ 53 w 68"/>
                <a:gd name="T105" fmla="*/ 75 h 106"/>
                <a:gd name="T106" fmla="*/ 53 w 68"/>
                <a:gd name="T107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" h="106">
                  <a:moveTo>
                    <a:pt x="68" y="75"/>
                  </a:moveTo>
                  <a:lnTo>
                    <a:pt x="65" y="65"/>
                  </a:lnTo>
                  <a:lnTo>
                    <a:pt x="63" y="58"/>
                  </a:lnTo>
                  <a:lnTo>
                    <a:pt x="58" y="48"/>
                  </a:lnTo>
                  <a:lnTo>
                    <a:pt x="46" y="29"/>
                  </a:lnTo>
                  <a:lnTo>
                    <a:pt x="44" y="21"/>
                  </a:lnTo>
                  <a:lnTo>
                    <a:pt x="41" y="14"/>
                  </a:lnTo>
                  <a:lnTo>
                    <a:pt x="39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7" y="7"/>
                  </a:lnTo>
                  <a:lnTo>
                    <a:pt x="27" y="14"/>
                  </a:lnTo>
                  <a:lnTo>
                    <a:pt x="24" y="21"/>
                  </a:lnTo>
                  <a:lnTo>
                    <a:pt x="19" y="34"/>
                  </a:lnTo>
                  <a:lnTo>
                    <a:pt x="2" y="60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84"/>
                  </a:lnTo>
                  <a:lnTo>
                    <a:pt x="5" y="92"/>
                  </a:lnTo>
                  <a:lnTo>
                    <a:pt x="10" y="97"/>
                  </a:lnTo>
                  <a:lnTo>
                    <a:pt x="17" y="101"/>
                  </a:lnTo>
                  <a:lnTo>
                    <a:pt x="27" y="106"/>
                  </a:lnTo>
                  <a:lnTo>
                    <a:pt x="31" y="106"/>
                  </a:lnTo>
                  <a:lnTo>
                    <a:pt x="41" y="106"/>
                  </a:lnTo>
                  <a:lnTo>
                    <a:pt x="51" y="101"/>
                  </a:lnTo>
                  <a:lnTo>
                    <a:pt x="58" y="97"/>
                  </a:lnTo>
                  <a:lnTo>
                    <a:pt x="63" y="89"/>
                  </a:lnTo>
                  <a:lnTo>
                    <a:pt x="65" y="82"/>
                  </a:lnTo>
                  <a:lnTo>
                    <a:pt x="68" y="75"/>
                  </a:lnTo>
                  <a:close/>
                  <a:moveTo>
                    <a:pt x="53" y="80"/>
                  </a:moveTo>
                  <a:lnTo>
                    <a:pt x="51" y="82"/>
                  </a:lnTo>
                  <a:lnTo>
                    <a:pt x="51" y="87"/>
                  </a:lnTo>
                  <a:lnTo>
                    <a:pt x="46" y="89"/>
                  </a:lnTo>
                  <a:lnTo>
                    <a:pt x="41" y="92"/>
                  </a:lnTo>
                  <a:lnTo>
                    <a:pt x="34" y="94"/>
                  </a:lnTo>
                  <a:lnTo>
                    <a:pt x="29" y="94"/>
                  </a:lnTo>
                  <a:lnTo>
                    <a:pt x="27" y="92"/>
                  </a:lnTo>
                  <a:lnTo>
                    <a:pt x="22" y="92"/>
                  </a:lnTo>
                  <a:lnTo>
                    <a:pt x="19" y="89"/>
                  </a:lnTo>
                  <a:lnTo>
                    <a:pt x="17" y="84"/>
                  </a:lnTo>
                  <a:lnTo>
                    <a:pt x="15" y="80"/>
                  </a:lnTo>
                  <a:lnTo>
                    <a:pt x="12" y="72"/>
                  </a:lnTo>
                  <a:lnTo>
                    <a:pt x="15" y="68"/>
                  </a:lnTo>
                  <a:lnTo>
                    <a:pt x="17" y="63"/>
                  </a:lnTo>
                  <a:lnTo>
                    <a:pt x="19" y="55"/>
                  </a:lnTo>
                  <a:lnTo>
                    <a:pt x="34" y="34"/>
                  </a:lnTo>
                  <a:lnTo>
                    <a:pt x="53" y="65"/>
                  </a:lnTo>
                  <a:lnTo>
                    <a:pt x="53" y="75"/>
                  </a:lnTo>
                  <a:lnTo>
                    <a:pt x="53" y="8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4B8F295B-3ED5-4196-BE36-371478D7F4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575" y="312739"/>
            <a:ext cx="841375" cy="841375"/>
            <a:chOff x="266" y="245"/>
            <a:chExt cx="530" cy="530"/>
          </a:xfrm>
        </p:grpSpPr>
        <p:sp>
          <p:nvSpPr>
            <p:cNvPr id="21" name="AutoShape 17">
              <a:extLst>
                <a:ext uri="{FF2B5EF4-FFF2-40B4-BE49-F238E27FC236}">
                  <a16:creationId xmlns:a16="http://schemas.microsoft.com/office/drawing/2014/main" id="{3A72FADF-24BB-4618-9D62-1EC777AAC0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6" y="24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9">
              <a:extLst>
                <a:ext uri="{FF2B5EF4-FFF2-40B4-BE49-F238E27FC236}">
                  <a16:creationId xmlns:a16="http://schemas.microsoft.com/office/drawing/2014/main" id="{B39F9CD2-AB15-4A1D-A640-FA7A4CC2C4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" y="24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C1961CFC-4088-46B0-B2A9-210CC4861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" y="26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:a16="http://schemas.microsoft.com/office/drawing/2014/main" id="{7BD0336F-01C9-4240-826C-0ADD2C9F4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" y="48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E55D0142-5A4B-4017-A513-8F928DA17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" y="486"/>
              <a:ext cx="115" cy="117"/>
            </a:xfrm>
            <a:custGeom>
              <a:avLst/>
              <a:gdLst>
                <a:gd name="T0" fmla="*/ 43 w 115"/>
                <a:gd name="T1" fmla="*/ 117 h 117"/>
                <a:gd name="T2" fmla="*/ 46 w 115"/>
                <a:gd name="T3" fmla="*/ 115 h 117"/>
                <a:gd name="T4" fmla="*/ 46 w 115"/>
                <a:gd name="T5" fmla="*/ 115 h 117"/>
                <a:gd name="T6" fmla="*/ 113 w 115"/>
                <a:gd name="T7" fmla="*/ 48 h 117"/>
                <a:gd name="T8" fmla="*/ 115 w 115"/>
                <a:gd name="T9" fmla="*/ 46 h 117"/>
                <a:gd name="T10" fmla="*/ 115 w 115"/>
                <a:gd name="T11" fmla="*/ 46 h 117"/>
                <a:gd name="T12" fmla="*/ 115 w 115"/>
                <a:gd name="T13" fmla="*/ 43 h 117"/>
                <a:gd name="T14" fmla="*/ 115 w 115"/>
                <a:gd name="T15" fmla="*/ 43 h 117"/>
                <a:gd name="T16" fmla="*/ 115 w 115"/>
                <a:gd name="T17" fmla="*/ 41 h 117"/>
                <a:gd name="T18" fmla="*/ 72 w 115"/>
                <a:gd name="T19" fmla="*/ 0 h 117"/>
                <a:gd name="T20" fmla="*/ 72 w 115"/>
                <a:gd name="T21" fmla="*/ 0 h 117"/>
                <a:gd name="T22" fmla="*/ 69 w 115"/>
                <a:gd name="T23" fmla="*/ 0 h 117"/>
                <a:gd name="T24" fmla="*/ 69 w 115"/>
                <a:gd name="T25" fmla="*/ 0 h 117"/>
                <a:gd name="T26" fmla="*/ 69 w 115"/>
                <a:gd name="T27" fmla="*/ 0 h 117"/>
                <a:gd name="T28" fmla="*/ 67 w 115"/>
                <a:gd name="T29" fmla="*/ 0 h 117"/>
                <a:gd name="T30" fmla="*/ 0 w 115"/>
                <a:gd name="T31" fmla="*/ 69 h 117"/>
                <a:gd name="T32" fmla="*/ 0 w 115"/>
                <a:gd name="T33" fmla="*/ 71 h 117"/>
                <a:gd name="T34" fmla="*/ 0 w 115"/>
                <a:gd name="T35" fmla="*/ 74 h 117"/>
                <a:gd name="T36" fmla="*/ 0 w 115"/>
                <a:gd name="T37" fmla="*/ 74 h 117"/>
                <a:gd name="T38" fmla="*/ 0 w 115"/>
                <a:gd name="T39" fmla="*/ 74 h 117"/>
                <a:gd name="T40" fmla="*/ 43 w 115"/>
                <a:gd name="T41" fmla="*/ 117 h 117"/>
                <a:gd name="T42" fmla="*/ 43 w 115"/>
                <a:gd name="T43" fmla="*/ 117 h 117"/>
                <a:gd name="T44" fmla="*/ 43 w 115"/>
                <a:gd name="T45" fmla="*/ 117 h 117"/>
                <a:gd name="T46" fmla="*/ 10 w 115"/>
                <a:gd name="T47" fmla="*/ 71 h 117"/>
                <a:gd name="T48" fmla="*/ 72 w 115"/>
                <a:gd name="T49" fmla="*/ 10 h 117"/>
                <a:gd name="T50" fmla="*/ 105 w 115"/>
                <a:gd name="T51" fmla="*/ 43 h 117"/>
                <a:gd name="T52" fmla="*/ 43 w 115"/>
                <a:gd name="T53" fmla="*/ 107 h 117"/>
                <a:gd name="T54" fmla="*/ 10 w 115"/>
                <a:gd name="T55" fmla="*/ 7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5" h="117">
                  <a:moveTo>
                    <a:pt x="43" y="117"/>
                  </a:moveTo>
                  <a:lnTo>
                    <a:pt x="46" y="115"/>
                  </a:lnTo>
                  <a:lnTo>
                    <a:pt x="46" y="115"/>
                  </a:lnTo>
                  <a:lnTo>
                    <a:pt x="113" y="48"/>
                  </a:lnTo>
                  <a:lnTo>
                    <a:pt x="115" y="46"/>
                  </a:lnTo>
                  <a:lnTo>
                    <a:pt x="115" y="46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1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7"/>
                  </a:lnTo>
                  <a:close/>
                  <a:moveTo>
                    <a:pt x="10" y="71"/>
                  </a:moveTo>
                  <a:lnTo>
                    <a:pt x="72" y="10"/>
                  </a:lnTo>
                  <a:lnTo>
                    <a:pt x="105" y="43"/>
                  </a:lnTo>
                  <a:lnTo>
                    <a:pt x="43" y="107"/>
                  </a:lnTo>
                  <a:lnTo>
                    <a:pt x="1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3">
              <a:extLst>
                <a:ext uri="{FF2B5EF4-FFF2-40B4-BE49-F238E27FC236}">
                  <a16:creationId xmlns:a16="http://schemas.microsoft.com/office/drawing/2014/main" id="{923726FD-C6BA-4210-B5D4-4F39C67D04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" y="606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00C2B19F-02A4-49F6-A1BE-EB8B6B12E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" y="370"/>
              <a:ext cx="277" cy="282"/>
            </a:xfrm>
            <a:custGeom>
              <a:avLst/>
              <a:gdLst>
                <a:gd name="T0" fmla="*/ 277 w 277"/>
                <a:gd name="T1" fmla="*/ 162 h 282"/>
                <a:gd name="T2" fmla="*/ 269 w 277"/>
                <a:gd name="T3" fmla="*/ 141 h 282"/>
                <a:gd name="T4" fmla="*/ 200 w 277"/>
                <a:gd name="T5" fmla="*/ 69 h 282"/>
                <a:gd name="T6" fmla="*/ 177 w 277"/>
                <a:gd name="T7" fmla="*/ 57 h 282"/>
                <a:gd name="T8" fmla="*/ 159 w 277"/>
                <a:gd name="T9" fmla="*/ 54 h 282"/>
                <a:gd name="T10" fmla="*/ 139 w 277"/>
                <a:gd name="T11" fmla="*/ 59 h 282"/>
                <a:gd name="T12" fmla="*/ 100 w 277"/>
                <a:gd name="T13" fmla="*/ 31 h 282"/>
                <a:gd name="T14" fmla="*/ 98 w 277"/>
                <a:gd name="T15" fmla="*/ 29 h 282"/>
                <a:gd name="T16" fmla="*/ 82 w 277"/>
                <a:gd name="T17" fmla="*/ 44 h 282"/>
                <a:gd name="T18" fmla="*/ 49 w 277"/>
                <a:gd name="T19" fmla="*/ 18 h 282"/>
                <a:gd name="T20" fmla="*/ 18 w 277"/>
                <a:gd name="T21" fmla="*/ 0 h 282"/>
                <a:gd name="T22" fmla="*/ 8 w 277"/>
                <a:gd name="T23" fmla="*/ 34 h 282"/>
                <a:gd name="T24" fmla="*/ 31 w 277"/>
                <a:gd name="T25" fmla="*/ 69 h 282"/>
                <a:gd name="T26" fmla="*/ 28 w 277"/>
                <a:gd name="T27" fmla="*/ 95 h 282"/>
                <a:gd name="T28" fmla="*/ 31 w 277"/>
                <a:gd name="T29" fmla="*/ 105 h 282"/>
                <a:gd name="T30" fmla="*/ 54 w 277"/>
                <a:gd name="T31" fmla="*/ 154 h 282"/>
                <a:gd name="T32" fmla="*/ 54 w 277"/>
                <a:gd name="T33" fmla="*/ 174 h 282"/>
                <a:gd name="T34" fmla="*/ 62 w 277"/>
                <a:gd name="T35" fmla="*/ 195 h 282"/>
                <a:gd name="T36" fmla="*/ 82 w 277"/>
                <a:gd name="T37" fmla="*/ 221 h 282"/>
                <a:gd name="T38" fmla="*/ 144 w 277"/>
                <a:gd name="T39" fmla="*/ 279 h 282"/>
                <a:gd name="T40" fmla="*/ 156 w 277"/>
                <a:gd name="T41" fmla="*/ 282 h 282"/>
                <a:gd name="T42" fmla="*/ 174 w 277"/>
                <a:gd name="T43" fmla="*/ 277 h 282"/>
                <a:gd name="T44" fmla="*/ 272 w 277"/>
                <a:gd name="T45" fmla="*/ 177 h 282"/>
                <a:gd name="T46" fmla="*/ 98 w 277"/>
                <a:gd name="T47" fmla="*/ 46 h 282"/>
                <a:gd name="T48" fmla="*/ 108 w 277"/>
                <a:gd name="T49" fmla="*/ 85 h 282"/>
                <a:gd name="T50" fmla="*/ 98 w 277"/>
                <a:gd name="T51" fmla="*/ 46 h 282"/>
                <a:gd name="T52" fmla="*/ 87 w 277"/>
                <a:gd name="T53" fmla="*/ 105 h 282"/>
                <a:gd name="T54" fmla="*/ 77 w 277"/>
                <a:gd name="T55" fmla="*/ 67 h 282"/>
                <a:gd name="T56" fmla="*/ 31 w 277"/>
                <a:gd name="T57" fmla="*/ 57 h 282"/>
                <a:gd name="T58" fmla="*/ 11 w 277"/>
                <a:gd name="T59" fmla="*/ 21 h 282"/>
                <a:gd name="T60" fmla="*/ 44 w 277"/>
                <a:gd name="T61" fmla="*/ 26 h 282"/>
                <a:gd name="T62" fmla="*/ 75 w 277"/>
                <a:gd name="T63" fmla="*/ 49 h 282"/>
                <a:gd name="T64" fmla="*/ 31 w 277"/>
                <a:gd name="T65" fmla="*/ 57 h 282"/>
                <a:gd name="T66" fmla="*/ 59 w 277"/>
                <a:gd name="T67" fmla="*/ 87 h 282"/>
                <a:gd name="T68" fmla="*/ 67 w 277"/>
                <a:gd name="T69" fmla="*/ 123 h 282"/>
                <a:gd name="T70" fmla="*/ 261 w 277"/>
                <a:gd name="T71" fmla="*/ 164 h 282"/>
                <a:gd name="T72" fmla="*/ 259 w 277"/>
                <a:gd name="T73" fmla="*/ 172 h 282"/>
                <a:gd name="T74" fmla="*/ 162 w 277"/>
                <a:gd name="T75" fmla="*/ 267 h 282"/>
                <a:gd name="T76" fmla="*/ 151 w 277"/>
                <a:gd name="T77" fmla="*/ 267 h 282"/>
                <a:gd name="T78" fmla="*/ 144 w 277"/>
                <a:gd name="T79" fmla="*/ 262 h 282"/>
                <a:gd name="T80" fmla="*/ 72 w 277"/>
                <a:gd name="T81" fmla="*/ 185 h 282"/>
                <a:gd name="T82" fmla="*/ 67 w 277"/>
                <a:gd name="T83" fmla="*/ 164 h 282"/>
                <a:gd name="T84" fmla="*/ 69 w 277"/>
                <a:gd name="T85" fmla="*/ 146 h 282"/>
                <a:gd name="T86" fmla="*/ 133 w 277"/>
                <a:gd name="T87" fmla="*/ 77 h 282"/>
                <a:gd name="T88" fmla="*/ 154 w 277"/>
                <a:gd name="T89" fmla="*/ 69 h 282"/>
                <a:gd name="T90" fmla="*/ 169 w 277"/>
                <a:gd name="T91" fmla="*/ 69 h 282"/>
                <a:gd name="T92" fmla="*/ 190 w 277"/>
                <a:gd name="T93" fmla="*/ 80 h 282"/>
                <a:gd name="T94" fmla="*/ 208 w 277"/>
                <a:gd name="T95" fmla="*/ 95 h 282"/>
                <a:gd name="T96" fmla="*/ 261 w 277"/>
                <a:gd name="T97" fmla="*/ 154 h 282"/>
                <a:gd name="T98" fmla="*/ 261 w 277"/>
                <a:gd name="T99" fmla="*/ 16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7" h="282">
                  <a:moveTo>
                    <a:pt x="277" y="167"/>
                  </a:moveTo>
                  <a:lnTo>
                    <a:pt x="277" y="162"/>
                  </a:lnTo>
                  <a:lnTo>
                    <a:pt x="277" y="151"/>
                  </a:lnTo>
                  <a:lnTo>
                    <a:pt x="269" y="141"/>
                  </a:lnTo>
                  <a:lnTo>
                    <a:pt x="267" y="139"/>
                  </a:lnTo>
                  <a:lnTo>
                    <a:pt x="200" y="69"/>
                  </a:lnTo>
                  <a:lnTo>
                    <a:pt x="187" y="62"/>
                  </a:lnTo>
                  <a:lnTo>
                    <a:pt x="177" y="57"/>
                  </a:lnTo>
                  <a:lnTo>
                    <a:pt x="169" y="57"/>
                  </a:lnTo>
                  <a:lnTo>
                    <a:pt x="159" y="54"/>
                  </a:lnTo>
                  <a:lnTo>
                    <a:pt x="149" y="57"/>
                  </a:lnTo>
                  <a:lnTo>
                    <a:pt x="139" y="59"/>
                  </a:lnTo>
                  <a:lnTo>
                    <a:pt x="133" y="62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92" y="31"/>
                  </a:lnTo>
                  <a:lnTo>
                    <a:pt x="82" y="44"/>
                  </a:lnTo>
                  <a:lnTo>
                    <a:pt x="64" y="29"/>
                  </a:lnTo>
                  <a:lnTo>
                    <a:pt x="49" y="18"/>
                  </a:lnTo>
                  <a:lnTo>
                    <a:pt x="23" y="5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8" y="34"/>
                  </a:lnTo>
                  <a:lnTo>
                    <a:pt x="21" y="54"/>
                  </a:lnTo>
                  <a:lnTo>
                    <a:pt x="31" y="69"/>
                  </a:lnTo>
                  <a:lnTo>
                    <a:pt x="41" y="85"/>
                  </a:lnTo>
                  <a:lnTo>
                    <a:pt x="28" y="95"/>
                  </a:lnTo>
                  <a:lnTo>
                    <a:pt x="28" y="100"/>
                  </a:lnTo>
                  <a:lnTo>
                    <a:pt x="31" y="105"/>
                  </a:lnTo>
                  <a:lnTo>
                    <a:pt x="59" y="136"/>
                  </a:lnTo>
                  <a:lnTo>
                    <a:pt x="54" y="154"/>
                  </a:lnTo>
                  <a:lnTo>
                    <a:pt x="54" y="167"/>
                  </a:lnTo>
                  <a:lnTo>
                    <a:pt x="54" y="174"/>
                  </a:lnTo>
                  <a:lnTo>
                    <a:pt x="57" y="182"/>
                  </a:lnTo>
                  <a:lnTo>
                    <a:pt x="62" y="195"/>
                  </a:lnTo>
                  <a:lnTo>
                    <a:pt x="72" y="210"/>
                  </a:lnTo>
                  <a:lnTo>
                    <a:pt x="82" y="221"/>
                  </a:lnTo>
                  <a:lnTo>
                    <a:pt x="139" y="277"/>
                  </a:lnTo>
                  <a:lnTo>
                    <a:pt x="144" y="279"/>
                  </a:lnTo>
                  <a:lnTo>
                    <a:pt x="156" y="282"/>
                  </a:lnTo>
                  <a:lnTo>
                    <a:pt x="156" y="282"/>
                  </a:lnTo>
                  <a:lnTo>
                    <a:pt x="167" y="279"/>
                  </a:lnTo>
                  <a:lnTo>
                    <a:pt x="174" y="277"/>
                  </a:lnTo>
                  <a:lnTo>
                    <a:pt x="180" y="272"/>
                  </a:lnTo>
                  <a:lnTo>
                    <a:pt x="272" y="177"/>
                  </a:lnTo>
                  <a:lnTo>
                    <a:pt x="277" y="167"/>
                  </a:lnTo>
                  <a:close/>
                  <a:moveTo>
                    <a:pt x="98" y="46"/>
                  </a:moveTo>
                  <a:lnTo>
                    <a:pt x="121" y="69"/>
                  </a:lnTo>
                  <a:lnTo>
                    <a:pt x="108" y="85"/>
                  </a:lnTo>
                  <a:lnTo>
                    <a:pt x="85" y="59"/>
                  </a:lnTo>
                  <a:lnTo>
                    <a:pt x="98" y="46"/>
                  </a:lnTo>
                  <a:close/>
                  <a:moveTo>
                    <a:pt x="103" y="90"/>
                  </a:moveTo>
                  <a:lnTo>
                    <a:pt x="87" y="105"/>
                  </a:lnTo>
                  <a:lnTo>
                    <a:pt x="64" y="80"/>
                  </a:lnTo>
                  <a:lnTo>
                    <a:pt x="77" y="67"/>
                  </a:lnTo>
                  <a:lnTo>
                    <a:pt x="103" y="90"/>
                  </a:lnTo>
                  <a:close/>
                  <a:moveTo>
                    <a:pt x="31" y="57"/>
                  </a:moveTo>
                  <a:lnTo>
                    <a:pt x="16" y="31"/>
                  </a:lnTo>
                  <a:lnTo>
                    <a:pt x="11" y="21"/>
                  </a:lnTo>
                  <a:lnTo>
                    <a:pt x="18" y="13"/>
                  </a:lnTo>
                  <a:lnTo>
                    <a:pt x="44" y="26"/>
                  </a:lnTo>
                  <a:lnTo>
                    <a:pt x="67" y="41"/>
                  </a:lnTo>
                  <a:lnTo>
                    <a:pt x="75" y="49"/>
                  </a:lnTo>
                  <a:lnTo>
                    <a:pt x="49" y="77"/>
                  </a:lnTo>
                  <a:lnTo>
                    <a:pt x="31" y="57"/>
                  </a:lnTo>
                  <a:close/>
                  <a:moveTo>
                    <a:pt x="44" y="100"/>
                  </a:moveTo>
                  <a:lnTo>
                    <a:pt x="59" y="87"/>
                  </a:lnTo>
                  <a:lnTo>
                    <a:pt x="82" y="110"/>
                  </a:lnTo>
                  <a:lnTo>
                    <a:pt x="67" y="123"/>
                  </a:lnTo>
                  <a:lnTo>
                    <a:pt x="44" y="100"/>
                  </a:lnTo>
                  <a:close/>
                  <a:moveTo>
                    <a:pt x="261" y="164"/>
                  </a:moveTo>
                  <a:lnTo>
                    <a:pt x="259" y="169"/>
                  </a:lnTo>
                  <a:lnTo>
                    <a:pt x="259" y="172"/>
                  </a:lnTo>
                  <a:lnTo>
                    <a:pt x="167" y="264"/>
                  </a:lnTo>
                  <a:lnTo>
                    <a:pt x="162" y="267"/>
                  </a:lnTo>
                  <a:lnTo>
                    <a:pt x="156" y="267"/>
                  </a:lnTo>
                  <a:lnTo>
                    <a:pt x="151" y="267"/>
                  </a:lnTo>
                  <a:lnTo>
                    <a:pt x="146" y="264"/>
                  </a:lnTo>
                  <a:lnTo>
                    <a:pt x="144" y="262"/>
                  </a:lnTo>
                  <a:lnTo>
                    <a:pt x="80" y="198"/>
                  </a:lnTo>
                  <a:lnTo>
                    <a:pt x="72" y="185"/>
                  </a:lnTo>
                  <a:lnTo>
                    <a:pt x="69" y="172"/>
                  </a:lnTo>
                  <a:lnTo>
                    <a:pt x="67" y="164"/>
                  </a:lnTo>
                  <a:lnTo>
                    <a:pt x="67" y="157"/>
                  </a:lnTo>
                  <a:lnTo>
                    <a:pt x="69" y="146"/>
                  </a:lnTo>
                  <a:lnTo>
                    <a:pt x="75" y="136"/>
                  </a:lnTo>
                  <a:lnTo>
                    <a:pt x="133" y="77"/>
                  </a:lnTo>
                  <a:lnTo>
                    <a:pt x="144" y="72"/>
                  </a:lnTo>
                  <a:lnTo>
                    <a:pt x="154" y="69"/>
                  </a:lnTo>
                  <a:lnTo>
                    <a:pt x="162" y="69"/>
                  </a:lnTo>
                  <a:lnTo>
                    <a:pt x="169" y="69"/>
                  </a:lnTo>
                  <a:lnTo>
                    <a:pt x="180" y="75"/>
                  </a:lnTo>
                  <a:lnTo>
                    <a:pt x="190" y="80"/>
                  </a:lnTo>
                  <a:lnTo>
                    <a:pt x="197" y="87"/>
                  </a:lnTo>
                  <a:lnTo>
                    <a:pt x="208" y="95"/>
                  </a:lnTo>
                  <a:lnTo>
                    <a:pt x="259" y="149"/>
                  </a:lnTo>
                  <a:lnTo>
                    <a:pt x="261" y="154"/>
                  </a:lnTo>
                  <a:lnTo>
                    <a:pt x="264" y="159"/>
                  </a:lnTo>
                  <a:lnTo>
                    <a:pt x="261" y="1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CBC9ACBA-F0D4-419C-BB88-FD4A0E9355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" y="516"/>
              <a:ext cx="71" cy="113"/>
            </a:xfrm>
            <a:custGeom>
              <a:avLst/>
              <a:gdLst>
                <a:gd name="T0" fmla="*/ 71 w 71"/>
                <a:gd name="T1" fmla="*/ 80 h 113"/>
                <a:gd name="T2" fmla="*/ 69 w 71"/>
                <a:gd name="T3" fmla="*/ 69 h 113"/>
                <a:gd name="T4" fmla="*/ 66 w 71"/>
                <a:gd name="T5" fmla="*/ 62 h 113"/>
                <a:gd name="T6" fmla="*/ 61 w 71"/>
                <a:gd name="T7" fmla="*/ 52 h 113"/>
                <a:gd name="T8" fmla="*/ 48 w 71"/>
                <a:gd name="T9" fmla="*/ 31 h 113"/>
                <a:gd name="T10" fmla="*/ 46 w 71"/>
                <a:gd name="T11" fmla="*/ 23 h 113"/>
                <a:gd name="T12" fmla="*/ 43 w 71"/>
                <a:gd name="T13" fmla="*/ 16 h 113"/>
                <a:gd name="T14" fmla="*/ 41 w 71"/>
                <a:gd name="T15" fmla="*/ 3 h 113"/>
                <a:gd name="T16" fmla="*/ 38 w 71"/>
                <a:gd name="T17" fmla="*/ 0 h 113"/>
                <a:gd name="T18" fmla="*/ 38 w 71"/>
                <a:gd name="T19" fmla="*/ 0 h 113"/>
                <a:gd name="T20" fmla="*/ 35 w 71"/>
                <a:gd name="T21" fmla="*/ 0 h 113"/>
                <a:gd name="T22" fmla="*/ 35 w 71"/>
                <a:gd name="T23" fmla="*/ 0 h 113"/>
                <a:gd name="T24" fmla="*/ 35 w 71"/>
                <a:gd name="T25" fmla="*/ 0 h 113"/>
                <a:gd name="T26" fmla="*/ 30 w 71"/>
                <a:gd name="T27" fmla="*/ 0 h 113"/>
                <a:gd name="T28" fmla="*/ 30 w 71"/>
                <a:gd name="T29" fmla="*/ 3 h 113"/>
                <a:gd name="T30" fmla="*/ 28 w 71"/>
                <a:gd name="T31" fmla="*/ 8 h 113"/>
                <a:gd name="T32" fmla="*/ 28 w 71"/>
                <a:gd name="T33" fmla="*/ 16 h 113"/>
                <a:gd name="T34" fmla="*/ 25 w 71"/>
                <a:gd name="T35" fmla="*/ 23 h 113"/>
                <a:gd name="T36" fmla="*/ 20 w 71"/>
                <a:gd name="T37" fmla="*/ 36 h 113"/>
                <a:gd name="T38" fmla="*/ 2 w 71"/>
                <a:gd name="T39" fmla="*/ 64 h 113"/>
                <a:gd name="T40" fmla="*/ 0 w 71"/>
                <a:gd name="T41" fmla="*/ 72 h 113"/>
                <a:gd name="T42" fmla="*/ 0 w 71"/>
                <a:gd name="T43" fmla="*/ 77 h 113"/>
                <a:gd name="T44" fmla="*/ 2 w 71"/>
                <a:gd name="T45" fmla="*/ 90 h 113"/>
                <a:gd name="T46" fmla="*/ 5 w 71"/>
                <a:gd name="T47" fmla="*/ 98 h 113"/>
                <a:gd name="T48" fmla="*/ 10 w 71"/>
                <a:gd name="T49" fmla="*/ 103 h 113"/>
                <a:gd name="T50" fmla="*/ 17 w 71"/>
                <a:gd name="T51" fmla="*/ 108 h 113"/>
                <a:gd name="T52" fmla="*/ 28 w 71"/>
                <a:gd name="T53" fmla="*/ 113 h 113"/>
                <a:gd name="T54" fmla="*/ 33 w 71"/>
                <a:gd name="T55" fmla="*/ 113 h 113"/>
                <a:gd name="T56" fmla="*/ 43 w 71"/>
                <a:gd name="T57" fmla="*/ 113 h 113"/>
                <a:gd name="T58" fmla="*/ 53 w 71"/>
                <a:gd name="T59" fmla="*/ 108 h 113"/>
                <a:gd name="T60" fmla="*/ 61 w 71"/>
                <a:gd name="T61" fmla="*/ 103 h 113"/>
                <a:gd name="T62" fmla="*/ 66 w 71"/>
                <a:gd name="T63" fmla="*/ 95 h 113"/>
                <a:gd name="T64" fmla="*/ 69 w 71"/>
                <a:gd name="T65" fmla="*/ 87 h 113"/>
                <a:gd name="T66" fmla="*/ 71 w 71"/>
                <a:gd name="T67" fmla="*/ 80 h 113"/>
                <a:gd name="T68" fmla="*/ 56 w 71"/>
                <a:gd name="T69" fmla="*/ 85 h 113"/>
                <a:gd name="T70" fmla="*/ 53 w 71"/>
                <a:gd name="T71" fmla="*/ 87 h 113"/>
                <a:gd name="T72" fmla="*/ 53 w 71"/>
                <a:gd name="T73" fmla="*/ 92 h 113"/>
                <a:gd name="T74" fmla="*/ 48 w 71"/>
                <a:gd name="T75" fmla="*/ 95 h 113"/>
                <a:gd name="T76" fmla="*/ 43 w 71"/>
                <a:gd name="T77" fmla="*/ 98 h 113"/>
                <a:gd name="T78" fmla="*/ 35 w 71"/>
                <a:gd name="T79" fmla="*/ 100 h 113"/>
                <a:gd name="T80" fmla="*/ 30 w 71"/>
                <a:gd name="T81" fmla="*/ 100 h 113"/>
                <a:gd name="T82" fmla="*/ 28 w 71"/>
                <a:gd name="T83" fmla="*/ 98 h 113"/>
                <a:gd name="T84" fmla="*/ 23 w 71"/>
                <a:gd name="T85" fmla="*/ 98 h 113"/>
                <a:gd name="T86" fmla="*/ 20 w 71"/>
                <a:gd name="T87" fmla="*/ 95 h 113"/>
                <a:gd name="T88" fmla="*/ 17 w 71"/>
                <a:gd name="T89" fmla="*/ 90 h 113"/>
                <a:gd name="T90" fmla="*/ 15 w 71"/>
                <a:gd name="T91" fmla="*/ 85 h 113"/>
                <a:gd name="T92" fmla="*/ 12 w 71"/>
                <a:gd name="T93" fmla="*/ 77 h 113"/>
                <a:gd name="T94" fmla="*/ 15 w 71"/>
                <a:gd name="T95" fmla="*/ 72 h 113"/>
                <a:gd name="T96" fmla="*/ 17 w 71"/>
                <a:gd name="T97" fmla="*/ 67 h 113"/>
                <a:gd name="T98" fmla="*/ 20 w 71"/>
                <a:gd name="T99" fmla="*/ 59 h 113"/>
                <a:gd name="T100" fmla="*/ 35 w 71"/>
                <a:gd name="T101" fmla="*/ 36 h 113"/>
                <a:gd name="T102" fmla="*/ 56 w 71"/>
                <a:gd name="T103" fmla="*/ 69 h 113"/>
                <a:gd name="T104" fmla="*/ 56 w 71"/>
                <a:gd name="T105" fmla="*/ 80 h 113"/>
                <a:gd name="T106" fmla="*/ 56 w 71"/>
                <a:gd name="T107" fmla="*/ 8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113">
                  <a:moveTo>
                    <a:pt x="71" y="80"/>
                  </a:moveTo>
                  <a:lnTo>
                    <a:pt x="69" y="69"/>
                  </a:lnTo>
                  <a:lnTo>
                    <a:pt x="66" y="62"/>
                  </a:lnTo>
                  <a:lnTo>
                    <a:pt x="61" y="52"/>
                  </a:lnTo>
                  <a:lnTo>
                    <a:pt x="48" y="31"/>
                  </a:lnTo>
                  <a:lnTo>
                    <a:pt x="46" y="23"/>
                  </a:lnTo>
                  <a:lnTo>
                    <a:pt x="43" y="16"/>
                  </a:lnTo>
                  <a:lnTo>
                    <a:pt x="41" y="3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0" y="0"/>
                  </a:lnTo>
                  <a:lnTo>
                    <a:pt x="30" y="3"/>
                  </a:lnTo>
                  <a:lnTo>
                    <a:pt x="28" y="8"/>
                  </a:lnTo>
                  <a:lnTo>
                    <a:pt x="28" y="16"/>
                  </a:lnTo>
                  <a:lnTo>
                    <a:pt x="25" y="23"/>
                  </a:lnTo>
                  <a:lnTo>
                    <a:pt x="20" y="36"/>
                  </a:lnTo>
                  <a:lnTo>
                    <a:pt x="2" y="64"/>
                  </a:lnTo>
                  <a:lnTo>
                    <a:pt x="0" y="72"/>
                  </a:lnTo>
                  <a:lnTo>
                    <a:pt x="0" y="77"/>
                  </a:lnTo>
                  <a:lnTo>
                    <a:pt x="2" y="90"/>
                  </a:lnTo>
                  <a:lnTo>
                    <a:pt x="5" y="98"/>
                  </a:lnTo>
                  <a:lnTo>
                    <a:pt x="10" y="103"/>
                  </a:lnTo>
                  <a:lnTo>
                    <a:pt x="17" y="108"/>
                  </a:lnTo>
                  <a:lnTo>
                    <a:pt x="28" y="113"/>
                  </a:lnTo>
                  <a:lnTo>
                    <a:pt x="33" y="113"/>
                  </a:lnTo>
                  <a:lnTo>
                    <a:pt x="43" y="113"/>
                  </a:lnTo>
                  <a:lnTo>
                    <a:pt x="53" y="108"/>
                  </a:lnTo>
                  <a:lnTo>
                    <a:pt x="61" y="103"/>
                  </a:lnTo>
                  <a:lnTo>
                    <a:pt x="66" y="95"/>
                  </a:lnTo>
                  <a:lnTo>
                    <a:pt x="69" y="87"/>
                  </a:lnTo>
                  <a:lnTo>
                    <a:pt x="71" y="80"/>
                  </a:lnTo>
                  <a:close/>
                  <a:moveTo>
                    <a:pt x="56" y="85"/>
                  </a:moveTo>
                  <a:lnTo>
                    <a:pt x="53" y="87"/>
                  </a:lnTo>
                  <a:lnTo>
                    <a:pt x="53" y="92"/>
                  </a:lnTo>
                  <a:lnTo>
                    <a:pt x="48" y="95"/>
                  </a:lnTo>
                  <a:lnTo>
                    <a:pt x="43" y="98"/>
                  </a:lnTo>
                  <a:lnTo>
                    <a:pt x="35" y="100"/>
                  </a:lnTo>
                  <a:lnTo>
                    <a:pt x="30" y="100"/>
                  </a:lnTo>
                  <a:lnTo>
                    <a:pt x="28" y="98"/>
                  </a:lnTo>
                  <a:lnTo>
                    <a:pt x="23" y="98"/>
                  </a:lnTo>
                  <a:lnTo>
                    <a:pt x="20" y="95"/>
                  </a:lnTo>
                  <a:lnTo>
                    <a:pt x="17" y="90"/>
                  </a:lnTo>
                  <a:lnTo>
                    <a:pt x="15" y="85"/>
                  </a:lnTo>
                  <a:lnTo>
                    <a:pt x="12" y="77"/>
                  </a:lnTo>
                  <a:lnTo>
                    <a:pt x="15" y="72"/>
                  </a:lnTo>
                  <a:lnTo>
                    <a:pt x="17" y="67"/>
                  </a:lnTo>
                  <a:lnTo>
                    <a:pt x="20" y="59"/>
                  </a:lnTo>
                  <a:lnTo>
                    <a:pt x="35" y="36"/>
                  </a:lnTo>
                  <a:lnTo>
                    <a:pt x="56" y="69"/>
                  </a:lnTo>
                  <a:lnTo>
                    <a:pt x="56" y="80"/>
                  </a:lnTo>
                  <a:lnTo>
                    <a:pt x="56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8">
            <a:extLst>
              <a:ext uri="{FF2B5EF4-FFF2-40B4-BE49-F238E27FC236}">
                <a16:creationId xmlns:a16="http://schemas.microsoft.com/office/drawing/2014/main" id="{0BA0F0A6-3818-44E0-A9F4-C10B22F545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4263" y="357983"/>
            <a:ext cx="758825" cy="758825"/>
            <a:chOff x="2343" y="354"/>
            <a:chExt cx="478" cy="478"/>
          </a:xfrm>
        </p:grpSpPr>
        <p:sp>
          <p:nvSpPr>
            <p:cNvPr id="34" name="AutoShape 27">
              <a:extLst>
                <a:ext uri="{FF2B5EF4-FFF2-40B4-BE49-F238E27FC236}">
                  <a16:creationId xmlns:a16="http://schemas.microsoft.com/office/drawing/2014/main" id="{621A8CA3-24A9-4AE5-B902-199650EB39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3" y="35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>
              <a:extLst>
                <a:ext uri="{FF2B5EF4-FFF2-40B4-BE49-F238E27FC236}">
                  <a16:creationId xmlns:a16="http://schemas.microsoft.com/office/drawing/2014/main" id="{4F66D663-FFB3-459C-BC7F-29451A02A3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35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30">
              <a:extLst>
                <a:ext uri="{FF2B5EF4-FFF2-40B4-BE49-F238E27FC236}">
                  <a16:creationId xmlns:a16="http://schemas.microsoft.com/office/drawing/2014/main" id="{F6C6859A-BCD6-432E-8A85-2EB97D229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7" y="56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1">
              <a:extLst>
                <a:ext uri="{FF2B5EF4-FFF2-40B4-BE49-F238E27FC236}">
                  <a16:creationId xmlns:a16="http://schemas.microsoft.com/office/drawing/2014/main" id="{0CE131EC-1EED-4346-AF6E-EAD4ABA9A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9" y="58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32">
              <a:extLst>
                <a:ext uri="{FF2B5EF4-FFF2-40B4-BE49-F238E27FC236}">
                  <a16:creationId xmlns:a16="http://schemas.microsoft.com/office/drawing/2014/main" id="{191EBFD7-D470-4FEC-924E-EF6A5D365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6" y="58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3">
              <a:extLst>
                <a:ext uri="{FF2B5EF4-FFF2-40B4-BE49-F238E27FC236}">
                  <a16:creationId xmlns:a16="http://schemas.microsoft.com/office/drawing/2014/main" id="{AF612A33-4C3D-401C-AF1F-C652D6F29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4" y="45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38E57C1A-3617-42A0-8DE4-923D2C1B0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3" y="454"/>
              <a:ext cx="240" cy="280"/>
            </a:xfrm>
            <a:custGeom>
              <a:avLst/>
              <a:gdLst>
                <a:gd name="T0" fmla="*/ 228 w 240"/>
                <a:gd name="T1" fmla="*/ 192 h 280"/>
                <a:gd name="T2" fmla="*/ 211 w 240"/>
                <a:gd name="T3" fmla="*/ 15 h 280"/>
                <a:gd name="T4" fmla="*/ 208 w 240"/>
                <a:gd name="T5" fmla="*/ 0 h 280"/>
                <a:gd name="T6" fmla="*/ 201 w 240"/>
                <a:gd name="T7" fmla="*/ 3 h 280"/>
                <a:gd name="T8" fmla="*/ 162 w 240"/>
                <a:gd name="T9" fmla="*/ 42 h 280"/>
                <a:gd name="T10" fmla="*/ 113 w 240"/>
                <a:gd name="T11" fmla="*/ 5 h 280"/>
                <a:gd name="T12" fmla="*/ 12 w 240"/>
                <a:gd name="T13" fmla="*/ 192 h 280"/>
                <a:gd name="T14" fmla="*/ 52 w 240"/>
                <a:gd name="T15" fmla="*/ 204 h 280"/>
                <a:gd name="T16" fmla="*/ 64 w 240"/>
                <a:gd name="T17" fmla="*/ 204 h 280"/>
                <a:gd name="T18" fmla="*/ 128 w 240"/>
                <a:gd name="T19" fmla="*/ 280 h 280"/>
                <a:gd name="T20" fmla="*/ 196 w 240"/>
                <a:gd name="T21" fmla="*/ 280 h 280"/>
                <a:gd name="T22" fmla="*/ 240 w 240"/>
                <a:gd name="T23" fmla="*/ 204 h 280"/>
                <a:gd name="T24" fmla="*/ 194 w 240"/>
                <a:gd name="T25" fmla="*/ 18 h 280"/>
                <a:gd name="T26" fmla="*/ 189 w 240"/>
                <a:gd name="T27" fmla="*/ 57 h 280"/>
                <a:gd name="T28" fmla="*/ 155 w 240"/>
                <a:gd name="T29" fmla="*/ 67 h 280"/>
                <a:gd name="T30" fmla="*/ 150 w 240"/>
                <a:gd name="T31" fmla="*/ 74 h 280"/>
                <a:gd name="T32" fmla="*/ 137 w 240"/>
                <a:gd name="T33" fmla="*/ 99 h 280"/>
                <a:gd name="T34" fmla="*/ 152 w 240"/>
                <a:gd name="T35" fmla="*/ 135 h 280"/>
                <a:gd name="T36" fmla="*/ 132 w 240"/>
                <a:gd name="T37" fmla="*/ 155 h 280"/>
                <a:gd name="T38" fmla="*/ 103 w 240"/>
                <a:gd name="T39" fmla="*/ 162 h 280"/>
                <a:gd name="T40" fmla="*/ 115 w 240"/>
                <a:gd name="T41" fmla="*/ 118 h 280"/>
                <a:gd name="T42" fmla="*/ 155 w 240"/>
                <a:gd name="T43" fmla="*/ 118 h 280"/>
                <a:gd name="T44" fmla="*/ 152 w 240"/>
                <a:gd name="T45" fmla="*/ 52 h 280"/>
                <a:gd name="T46" fmla="*/ 108 w 240"/>
                <a:gd name="T47" fmla="*/ 113 h 280"/>
                <a:gd name="T48" fmla="*/ 88 w 240"/>
                <a:gd name="T49" fmla="*/ 152 h 280"/>
                <a:gd name="T50" fmla="*/ 69 w 240"/>
                <a:gd name="T51" fmla="*/ 152 h 280"/>
                <a:gd name="T52" fmla="*/ 54 w 240"/>
                <a:gd name="T53" fmla="*/ 135 h 280"/>
                <a:gd name="T54" fmla="*/ 54 w 240"/>
                <a:gd name="T55" fmla="*/ 118 h 280"/>
                <a:gd name="T56" fmla="*/ 61 w 240"/>
                <a:gd name="T57" fmla="*/ 106 h 280"/>
                <a:gd name="T58" fmla="*/ 71 w 240"/>
                <a:gd name="T59" fmla="*/ 103 h 280"/>
                <a:gd name="T60" fmla="*/ 76 w 240"/>
                <a:gd name="T61" fmla="*/ 108 h 280"/>
                <a:gd name="T62" fmla="*/ 76 w 240"/>
                <a:gd name="T63" fmla="*/ 111 h 280"/>
                <a:gd name="T64" fmla="*/ 76 w 240"/>
                <a:gd name="T65" fmla="*/ 123 h 280"/>
                <a:gd name="T66" fmla="*/ 79 w 240"/>
                <a:gd name="T67" fmla="*/ 126 h 280"/>
                <a:gd name="T68" fmla="*/ 81 w 240"/>
                <a:gd name="T69" fmla="*/ 126 h 280"/>
                <a:gd name="T70" fmla="*/ 83 w 240"/>
                <a:gd name="T71" fmla="*/ 123 h 280"/>
                <a:gd name="T72" fmla="*/ 79 w 240"/>
                <a:gd name="T73" fmla="*/ 99 h 280"/>
                <a:gd name="T74" fmla="*/ 59 w 240"/>
                <a:gd name="T75" fmla="*/ 99 h 280"/>
                <a:gd name="T76" fmla="*/ 47 w 240"/>
                <a:gd name="T77" fmla="*/ 116 h 280"/>
                <a:gd name="T78" fmla="*/ 49 w 240"/>
                <a:gd name="T79" fmla="*/ 138 h 280"/>
                <a:gd name="T80" fmla="*/ 71 w 240"/>
                <a:gd name="T81" fmla="*/ 162 h 280"/>
                <a:gd name="T82" fmla="*/ 118 w 240"/>
                <a:gd name="T83" fmla="*/ 170 h 280"/>
                <a:gd name="T84" fmla="*/ 157 w 240"/>
                <a:gd name="T85" fmla="*/ 140 h 280"/>
                <a:gd name="T86" fmla="*/ 162 w 240"/>
                <a:gd name="T87" fmla="*/ 116 h 280"/>
                <a:gd name="T88" fmla="*/ 216 w 240"/>
                <a:gd name="T89" fmla="*/ 5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0" h="280">
                  <a:moveTo>
                    <a:pt x="240" y="204"/>
                  </a:moveTo>
                  <a:lnTo>
                    <a:pt x="240" y="192"/>
                  </a:lnTo>
                  <a:lnTo>
                    <a:pt x="228" y="192"/>
                  </a:lnTo>
                  <a:lnTo>
                    <a:pt x="228" y="42"/>
                  </a:lnTo>
                  <a:lnTo>
                    <a:pt x="204" y="42"/>
                  </a:lnTo>
                  <a:lnTo>
                    <a:pt x="211" y="15"/>
                  </a:lnTo>
                  <a:lnTo>
                    <a:pt x="211" y="8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1" y="3"/>
                  </a:lnTo>
                  <a:lnTo>
                    <a:pt x="189" y="10"/>
                  </a:lnTo>
                  <a:lnTo>
                    <a:pt x="174" y="25"/>
                  </a:lnTo>
                  <a:lnTo>
                    <a:pt x="162" y="42"/>
                  </a:lnTo>
                  <a:lnTo>
                    <a:pt x="128" y="42"/>
                  </a:lnTo>
                  <a:lnTo>
                    <a:pt x="128" y="5"/>
                  </a:lnTo>
                  <a:lnTo>
                    <a:pt x="113" y="5"/>
                  </a:lnTo>
                  <a:lnTo>
                    <a:pt x="113" y="42"/>
                  </a:lnTo>
                  <a:lnTo>
                    <a:pt x="12" y="42"/>
                  </a:lnTo>
                  <a:lnTo>
                    <a:pt x="12" y="192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52" y="204"/>
                  </a:lnTo>
                  <a:lnTo>
                    <a:pt x="32" y="280"/>
                  </a:lnTo>
                  <a:lnTo>
                    <a:pt x="44" y="280"/>
                  </a:lnTo>
                  <a:lnTo>
                    <a:pt x="64" y="204"/>
                  </a:lnTo>
                  <a:lnTo>
                    <a:pt x="113" y="204"/>
                  </a:lnTo>
                  <a:lnTo>
                    <a:pt x="113" y="280"/>
                  </a:lnTo>
                  <a:lnTo>
                    <a:pt x="128" y="280"/>
                  </a:lnTo>
                  <a:lnTo>
                    <a:pt x="128" y="204"/>
                  </a:lnTo>
                  <a:lnTo>
                    <a:pt x="177" y="204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189" y="204"/>
                  </a:lnTo>
                  <a:lnTo>
                    <a:pt x="240" y="204"/>
                  </a:lnTo>
                  <a:close/>
                  <a:moveTo>
                    <a:pt x="167" y="47"/>
                  </a:moveTo>
                  <a:lnTo>
                    <a:pt x="179" y="32"/>
                  </a:lnTo>
                  <a:lnTo>
                    <a:pt x="194" y="18"/>
                  </a:lnTo>
                  <a:lnTo>
                    <a:pt x="204" y="8"/>
                  </a:lnTo>
                  <a:lnTo>
                    <a:pt x="196" y="37"/>
                  </a:lnTo>
                  <a:lnTo>
                    <a:pt x="189" y="57"/>
                  </a:lnTo>
                  <a:lnTo>
                    <a:pt x="182" y="74"/>
                  </a:lnTo>
                  <a:lnTo>
                    <a:pt x="177" y="81"/>
                  </a:lnTo>
                  <a:lnTo>
                    <a:pt x="155" y="67"/>
                  </a:lnTo>
                  <a:lnTo>
                    <a:pt x="167" y="47"/>
                  </a:lnTo>
                  <a:close/>
                  <a:moveTo>
                    <a:pt x="137" y="99"/>
                  </a:moveTo>
                  <a:lnTo>
                    <a:pt x="150" y="74"/>
                  </a:lnTo>
                  <a:lnTo>
                    <a:pt x="172" y="86"/>
                  </a:lnTo>
                  <a:lnTo>
                    <a:pt x="157" y="111"/>
                  </a:lnTo>
                  <a:lnTo>
                    <a:pt x="137" y="99"/>
                  </a:lnTo>
                  <a:close/>
                  <a:moveTo>
                    <a:pt x="155" y="118"/>
                  </a:moveTo>
                  <a:lnTo>
                    <a:pt x="155" y="128"/>
                  </a:lnTo>
                  <a:lnTo>
                    <a:pt x="152" y="135"/>
                  </a:lnTo>
                  <a:lnTo>
                    <a:pt x="147" y="145"/>
                  </a:lnTo>
                  <a:lnTo>
                    <a:pt x="142" y="150"/>
                  </a:lnTo>
                  <a:lnTo>
                    <a:pt x="132" y="155"/>
                  </a:lnTo>
                  <a:lnTo>
                    <a:pt x="123" y="160"/>
                  </a:lnTo>
                  <a:lnTo>
                    <a:pt x="110" y="162"/>
                  </a:lnTo>
                  <a:lnTo>
                    <a:pt x="103" y="162"/>
                  </a:lnTo>
                  <a:lnTo>
                    <a:pt x="88" y="162"/>
                  </a:lnTo>
                  <a:lnTo>
                    <a:pt x="101" y="148"/>
                  </a:lnTo>
                  <a:lnTo>
                    <a:pt x="115" y="118"/>
                  </a:lnTo>
                  <a:lnTo>
                    <a:pt x="120" y="111"/>
                  </a:lnTo>
                  <a:lnTo>
                    <a:pt x="132" y="103"/>
                  </a:lnTo>
                  <a:lnTo>
                    <a:pt x="155" y="118"/>
                  </a:lnTo>
                  <a:close/>
                  <a:moveTo>
                    <a:pt x="25" y="192"/>
                  </a:moveTo>
                  <a:lnTo>
                    <a:pt x="25" y="52"/>
                  </a:lnTo>
                  <a:lnTo>
                    <a:pt x="152" y="52"/>
                  </a:lnTo>
                  <a:lnTo>
                    <a:pt x="130" y="99"/>
                  </a:lnTo>
                  <a:lnTo>
                    <a:pt x="115" y="103"/>
                  </a:lnTo>
                  <a:lnTo>
                    <a:pt x="108" y="113"/>
                  </a:lnTo>
                  <a:lnTo>
                    <a:pt x="101" y="126"/>
                  </a:lnTo>
                  <a:lnTo>
                    <a:pt x="93" y="145"/>
                  </a:lnTo>
                  <a:lnTo>
                    <a:pt x="88" y="152"/>
                  </a:lnTo>
                  <a:lnTo>
                    <a:pt x="83" y="155"/>
                  </a:lnTo>
                  <a:lnTo>
                    <a:pt x="79" y="160"/>
                  </a:lnTo>
                  <a:lnTo>
                    <a:pt x="69" y="152"/>
                  </a:lnTo>
                  <a:lnTo>
                    <a:pt x="61" y="148"/>
                  </a:lnTo>
                  <a:lnTo>
                    <a:pt x="59" y="140"/>
                  </a:lnTo>
                  <a:lnTo>
                    <a:pt x="54" y="135"/>
                  </a:lnTo>
                  <a:lnTo>
                    <a:pt x="54" y="126"/>
                  </a:lnTo>
                  <a:lnTo>
                    <a:pt x="54" y="123"/>
                  </a:lnTo>
                  <a:lnTo>
                    <a:pt x="54" y="118"/>
                  </a:lnTo>
                  <a:lnTo>
                    <a:pt x="56" y="111"/>
                  </a:lnTo>
                  <a:lnTo>
                    <a:pt x="59" y="106"/>
                  </a:lnTo>
                  <a:lnTo>
                    <a:pt x="61" y="106"/>
                  </a:lnTo>
                  <a:lnTo>
                    <a:pt x="64" y="103"/>
                  </a:lnTo>
                  <a:lnTo>
                    <a:pt x="69" y="103"/>
                  </a:lnTo>
                  <a:lnTo>
                    <a:pt x="71" y="103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6" y="116"/>
                  </a:lnTo>
                  <a:lnTo>
                    <a:pt x="76" y="121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6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81" y="126"/>
                  </a:lnTo>
                  <a:lnTo>
                    <a:pt x="81" y="126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6" y="116"/>
                  </a:lnTo>
                  <a:lnTo>
                    <a:pt x="83" y="106"/>
                  </a:lnTo>
                  <a:lnTo>
                    <a:pt x="79" y="99"/>
                  </a:lnTo>
                  <a:lnTo>
                    <a:pt x="71" y="96"/>
                  </a:lnTo>
                  <a:lnTo>
                    <a:pt x="69" y="96"/>
                  </a:lnTo>
                  <a:lnTo>
                    <a:pt x="59" y="99"/>
                  </a:lnTo>
                  <a:lnTo>
                    <a:pt x="54" y="103"/>
                  </a:lnTo>
                  <a:lnTo>
                    <a:pt x="49" y="108"/>
                  </a:lnTo>
                  <a:lnTo>
                    <a:pt x="47" y="116"/>
                  </a:lnTo>
                  <a:lnTo>
                    <a:pt x="47" y="121"/>
                  </a:lnTo>
                  <a:lnTo>
                    <a:pt x="47" y="123"/>
                  </a:lnTo>
                  <a:lnTo>
                    <a:pt x="49" y="138"/>
                  </a:lnTo>
                  <a:lnTo>
                    <a:pt x="56" y="150"/>
                  </a:lnTo>
                  <a:lnTo>
                    <a:pt x="64" y="157"/>
                  </a:lnTo>
                  <a:lnTo>
                    <a:pt x="71" y="162"/>
                  </a:lnTo>
                  <a:lnTo>
                    <a:pt x="88" y="170"/>
                  </a:lnTo>
                  <a:lnTo>
                    <a:pt x="101" y="170"/>
                  </a:lnTo>
                  <a:lnTo>
                    <a:pt x="118" y="170"/>
                  </a:lnTo>
                  <a:lnTo>
                    <a:pt x="135" y="162"/>
                  </a:lnTo>
                  <a:lnTo>
                    <a:pt x="150" y="152"/>
                  </a:lnTo>
                  <a:lnTo>
                    <a:pt x="157" y="140"/>
                  </a:lnTo>
                  <a:lnTo>
                    <a:pt x="162" y="128"/>
                  </a:lnTo>
                  <a:lnTo>
                    <a:pt x="162" y="121"/>
                  </a:lnTo>
                  <a:lnTo>
                    <a:pt x="162" y="116"/>
                  </a:lnTo>
                  <a:lnTo>
                    <a:pt x="194" y="67"/>
                  </a:lnTo>
                  <a:lnTo>
                    <a:pt x="199" y="52"/>
                  </a:lnTo>
                  <a:lnTo>
                    <a:pt x="216" y="52"/>
                  </a:lnTo>
                  <a:lnTo>
                    <a:pt x="216" y="192"/>
                  </a:lnTo>
                  <a:lnTo>
                    <a:pt x="25" y="19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Group 37">
            <a:extLst>
              <a:ext uri="{FF2B5EF4-FFF2-40B4-BE49-F238E27FC236}">
                <a16:creationId xmlns:a16="http://schemas.microsoft.com/office/drawing/2014/main" id="{17832C97-CA8B-49BF-980D-53B6624AF1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9304" y="316708"/>
            <a:ext cx="841375" cy="841375"/>
            <a:chOff x="1641" y="239"/>
            <a:chExt cx="530" cy="530"/>
          </a:xfrm>
        </p:grpSpPr>
        <p:sp>
          <p:nvSpPr>
            <p:cNvPr id="42" name="AutoShape 36">
              <a:extLst>
                <a:ext uri="{FF2B5EF4-FFF2-40B4-BE49-F238E27FC236}">
                  <a16:creationId xmlns:a16="http://schemas.microsoft.com/office/drawing/2014/main" id="{FE6A2389-B584-4650-9C13-581EC88141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1" y="23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8">
              <a:extLst>
                <a:ext uri="{FF2B5EF4-FFF2-40B4-BE49-F238E27FC236}">
                  <a16:creationId xmlns:a16="http://schemas.microsoft.com/office/drawing/2014/main" id="{4DF108E3-185A-4804-9CB1-21574B9A5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1" y="23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629D675E-2BD7-4126-BCE8-A28FD829AF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9" y="25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0">
              <a:extLst>
                <a:ext uri="{FF2B5EF4-FFF2-40B4-BE49-F238E27FC236}">
                  <a16:creationId xmlns:a16="http://schemas.microsoft.com/office/drawing/2014/main" id="{C3F3C34B-F699-44F8-AFD7-6D4EEAA29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" y="47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41">
              <a:extLst>
                <a:ext uri="{FF2B5EF4-FFF2-40B4-BE49-F238E27FC236}">
                  <a16:creationId xmlns:a16="http://schemas.microsoft.com/office/drawing/2014/main" id="{27B3585A-B491-4A69-BC47-1593046A2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49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2">
              <a:extLst>
                <a:ext uri="{FF2B5EF4-FFF2-40B4-BE49-F238E27FC236}">
                  <a16:creationId xmlns:a16="http://schemas.microsoft.com/office/drawing/2014/main" id="{46454826-46E3-4D61-B177-B347E325F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9" y="49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43">
              <a:extLst>
                <a:ext uri="{FF2B5EF4-FFF2-40B4-BE49-F238E27FC236}">
                  <a16:creationId xmlns:a16="http://schemas.microsoft.com/office/drawing/2014/main" id="{1615A33A-BC76-477C-92C6-88918AEB7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2" y="35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DF893F7E-641F-47FB-91FA-DD65FEA82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2" y="359"/>
              <a:ext cx="251" cy="292"/>
            </a:xfrm>
            <a:custGeom>
              <a:avLst/>
              <a:gdLst>
                <a:gd name="T0" fmla="*/ 238 w 251"/>
                <a:gd name="T1" fmla="*/ 200 h 292"/>
                <a:gd name="T2" fmla="*/ 220 w 251"/>
                <a:gd name="T3" fmla="*/ 16 h 292"/>
                <a:gd name="T4" fmla="*/ 217 w 251"/>
                <a:gd name="T5" fmla="*/ 0 h 292"/>
                <a:gd name="T6" fmla="*/ 210 w 251"/>
                <a:gd name="T7" fmla="*/ 3 h 292"/>
                <a:gd name="T8" fmla="*/ 169 w 251"/>
                <a:gd name="T9" fmla="*/ 44 h 292"/>
                <a:gd name="T10" fmla="*/ 117 w 251"/>
                <a:gd name="T11" fmla="*/ 5 h 292"/>
                <a:gd name="T12" fmla="*/ 13 w 251"/>
                <a:gd name="T13" fmla="*/ 200 h 292"/>
                <a:gd name="T14" fmla="*/ 53 w 251"/>
                <a:gd name="T15" fmla="*/ 213 h 292"/>
                <a:gd name="T16" fmla="*/ 66 w 251"/>
                <a:gd name="T17" fmla="*/ 213 h 292"/>
                <a:gd name="T18" fmla="*/ 133 w 251"/>
                <a:gd name="T19" fmla="*/ 292 h 292"/>
                <a:gd name="T20" fmla="*/ 205 w 251"/>
                <a:gd name="T21" fmla="*/ 292 h 292"/>
                <a:gd name="T22" fmla="*/ 251 w 251"/>
                <a:gd name="T23" fmla="*/ 213 h 292"/>
                <a:gd name="T24" fmla="*/ 202 w 251"/>
                <a:gd name="T25" fmla="*/ 18 h 292"/>
                <a:gd name="T26" fmla="*/ 197 w 251"/>
                <a:gd name="T27" fmla="*/ 59 h 292"/>
                <a:gd name="T28" fmla="*/ 161 w 251"/>
                <a:gd name="T29" fmla="*/ 69 h 292"/>
                <a:gd name="T30" fmla="*/ 156 w 251"/>
                <a:gd name="T31" fmla="*/ 77 h 292"/>
                <a:gd name="T32" fmla="*/ 143 w 251"/>
                <a:gd name="T33" fmla="*/ 103 h 292"/>
                <a:gd name="T34" fmla="*/ 158 w 251"/>
                <a:gd name="T35" fmla="*/ 141 h 292"/>
                <a:gd name="T36" fmla="*/ 138 w 251"/>
                <a:gd name="T37" fmla="*/ 162 h 292"/>
                <a:gd name="T38" fmla="*/ 107 w 251"/>
                <a:gd name="T39" fmla="*/ 169 h 292"/>
                <a:gd name="T40" fmla="*/ 120 w 251"/>
                <a:gd name="T41" fmla="*/ 123 h 292"/>
                <a:gd name="T42" fmla="*/ 161 w 251"/>
                <a:gd name="T43" fmla="*/ 123 h 292"/>
                <a:gd name="T44" fmla="*/ 158 w 251"/>
                <a:gd name="T45" fmla="*/ 54 h 292"/>
                <a:gd name="T46" fmla="*/ 112 w 251"/>
                <a:gd name="T47" fmla="*/ 118 h 292"/>
                <a:gd name="T48" fmla="*/ 92 w 251"/>
                <a:gd name="T49" fmla="*/ 159 h 292"/>
                <a:gd name="T50" fmla="*/ 71 w 251"/>
                <a:gd name="T51" fmla="*/ 159 h 292"/>
                <a:gd name="T52" fmla="*/ 56 w 251"/>
                <a:gd name="T53" fmla="*/ 141 h 292"/>
                <a:gd name="T54" fmla="*/ 56 w 251"/>
                <a:gd name="T55" fmla="*/ 123 h 292"/>
                <a:gd name="T56" fmla="*/ 64 w 251"/>
                <a:gd name="T57" fmla="*/ 110 h 292"/>
                <a:gd name="T58" fmla="*/ 74 w 251"/>
                <a:gd name="T59" fmla="*/ 108 h 292"/>
                <a:gd name="T60" fmla="*/ 79 w 251"/>
                <a:gd name="T61" fmla="*/ 113 h 292"/>
                <a:gd name="T62" fmla="*/ 79 w 251"/>
                <a:gd name="T63" fmla="*/ 115 h 292"/>
                <a:gd name="T64" fmla="*/ 79 w 251"/>
                <a:gd name="T65" fmla="*/ 128 h 292"/>
                <a:gd name="T66" fmla="*/ 82 w 251"/>
                <a:gd name="T67" fmla="*/ 131 h 292"/>
                <a:gd name="T68" fmla="*/ 84 w 251"/>
                <a:gd name="T69" fmla="*/ 131 h 292"/>
                <a:gd name="T70" fmla="*/ 87 w 251"/>
                <a:gd name="T71" fmla="*/ 128 h 292"/>
                <a:gd name="T72" fmla="*/ 82 w 251"/>
                <a:gd name="T73" fmla="*/ 103 h 292"/>
                <a:gd name="T74" fmla="*/ 61 w 251"/>
                <a:gd name="T75" fmla="*/ 103 h 292"/>
                <a:gd name="T76" fmla="*/ 48 w 251"/>
                <a:gd name="T77" fmla="*/ 121 h 292"/>
                <a:gd name="T78" fmla="*/ 51 w 251"/>
                <a:gd name="T79" fmla="*/ 144 h 292"/>
                <a:gd name="T80" fmla="*/ 74 w 251"/>
                <a:gd name="T81" fmla="*/ 169 h 292"/>
                <a:gd name="T82" fmla="*/ 123 w 251"/>
                <a:gd name="T83" fmla="*/ 177 h 292"/>
                <a:gd name="T84" fmla="*/ 164 w 251"/>
                <a:gd name="T85" fmla="*/ 146 h 292"/>
                <a:gd name="T86" fmla="*/ 169 w 251"/>
                <a:gd name="T87" fmla="*/ 121 h 292"/>
                <a:gd name="T88" fmla="*/ 225 w 251"/>
                <a:gd name="T89" fmla="*/ 54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1" h="292">
                  <a:moveTo>
                    <a:pt x="251" y="213"/>
                  </a:moveTo>
                  <a:lnTo>
                    <a:pt x="251" y="200"/>
                  </a:lnTo>
                  <a:lnTo>
                    <a:pt x="238" y="200"/>
                  </a:lnTo>
                  <a:lnTo>
                    <a:pt x="238" y="44"/>
                  </a:lnTo>
                  <a:lnTo>
                    <a:pt x="212" y="44"/>
                  </a:lnTo>
                  <a:lnTo>
                    <a:pt x="220" y="16"/>
                  </a:lnTo>
                  <a:lnTo>
                    <a:pt x="220" y="8"/>
                  </a:lnTo>
                  <a:lnTo>
                    <a:pt x="217" y="0"/>
                  </a:lnTo>
                  <a:lnTo>
                    <a:pt x="217" y="0"/>
                  </a:lnTo>
                  <a:lnTo>
                    <a:pt x="217" y="0"/>
                  </a:lnTo>
                  <a:lnTo>
                    <a:pt x="215" y="0"/>
                  </a:lnTo>
                  <a:lnTo>
                    <a:pt x="210" y="3"/>
                  </a:lnTo>
                  <a:lnTo>
                    <a:pt x="197" y="10"/>
                  </a:lnTo>
                  <a:lnTo>
                    <a:pt x="182" y="26"/>
                  </a:lnTo>
                  <a:lnTo>
                    <a:pt x="169" y="44"/>
                  </a:lnTo>
                  <a:lnTo>
                    <a:pt x="133" y="44"/>
                  </a:lnTo>
                  <a:lnTo>
                    <a:pt x="133" y="5"/>
                  </a:lnTo>
                  <a:lnTo>
                    <a:pt x="117" y="5"/>
                  </a:lnTo>
                  <a:lnTo>
                    <a:pt x="117" y="44"/>
                  </a:lnTo>
                  <a:lnTo>
                    <a:pt x="13" y="44"/>
                  </a:lnTo>
                  <a:lnTo>
                    <a:pt x="13" y="200"/>
                  </a:lnTo>
                  <a:lnTo>
                    <a:pt x="0" y="200"/>
                  </a:lnTo>
                  <a:lnTo>
                    <a:pt x="0" y="213"/>
                  </a:lnTo>
                  <a:lnTo>
                    <a:pt x="53" y="213"/>
                  </a:lnTo>
                  <a:lnTo>
                    <a:pt x="33" y="292"/>
                  </a:lnTo>
                  <a:lnTo>
                    <a:pt x="46" y="292"/>
                  </a:lnTo>
                  <a:lnTo>
                    <a:pt x="66" y="213"/>
                  </a:lnTo>
                  <a:lnTo>
                    <a:pt x="117" y="213"/>
                  </a:lnTo>
                  <a:lnTo>
                    <a:pt x="117" y="292"/>
                  </a:lnTo>
                  <a:lnTo>
                    <a:pt x="133" y="292"/>
                  </a:lnTo>
                  <a:lnTo>
                    <a:pt x="133" y="213"/>
                  </a:lnTo>
                  <a:lnTo>
                    <a:pt x="184" y="213"/>
                  </a:lnTo>
                  <a:lnTo>
                    <a:pt x="205" y="292"/>
                  </a:lnTo>
                  <a:lnTo>
                    <a:pt x="217" y="292"/>
                  </a:lnTo>
                  <a:lnTo>
                    <a:pt x="197" y="213"/>
                  </a:lnTo>
                  <a:lnTo>
                    <a:pt x="251" y="213"/>
                  </a:lnTo>
                  <a:close/>
                  <a:moveTo>
                    <a:pt x="174" y="49"/>
                  </a:moveTo>
                  <a:lnTo>
                    <a:pt x="187" y="34"/>
                  </a:lnTo>
                  <a:lnTo>
                    <a:pt x="202" y="18"/>
                  </a:lnTo>
                  <a:lnTo>
                    <a:pt x="212" y="8"/>
                  </a:lnTo>
                  <a:lnTo>
                    <a:pt x="205" y="39"/>
                  </a:lnTo>
                  <a:lnTo>
                    <a:pt x="197" y="59"/>
                  </a:lnTo>
                  <a:lnTo>
                    <a:pt x="189" y="77"/>
                  </a:lnTo>
                  <a:lnTo>
                    <a:pt x="184" y="85"/>
                  </a:lnTo>
                  <a:lnTo>
                    <a:pt x="161" y="69"/>
                  </a:lnTo>
                  <a:lnTo>
                    <a:pt x="174" y="49"/>
                  </a:lnTo>
                  <a:close/>
                  <a:moveTo>
                    <a:pt x="143" y="103"/>
                  </a:moveTo>
                  <a:lnTo>
                    <a:pt x="156" y="77"/>
                  </a:lnTo>
                  <a:lnTo>
                    <a:pt x="179" y="90"/>
                  </a:lnTo>
                  <a:lnTo>
                    <a:pt x="164" y="115"/>
                  </a:lnTo>
                  <a:lnTo>
                    <a:pt x="143" y="103"/>
                  </a:lnTo>
                  <a:close/>
                  <a:moveTo>
                    <a:pt x="161" y="123"/>
                  </a:moveTo>
                  <a:lnTo>
                    <a:pt x="161" y="133"/>
                  </a:lnTo>
                  <a:lnTo>
                    <a:pt x="158" y="141"/>
                  </a:lnTo>
                  <a:lnTo>
                    <a:pt x="153" y="151"/>
                  </a:lnTo>
                  <a:lnTo>
                    <a:pt x="148" y="156"/>
                  </a:lnTo>
                  <a:lnTo>
                    <a:pt x="138" y="162"/>
                  </a:lnTo>
                  <a:lnTo>
                    <a:pt x="128" y="167"/>
                  </a:lnTo>
                  <a:lnTo>
                    <a:pt x="115" y="169"/>
                  </a:lnTo>
                  <a:lnTo>
                    <a:pt x="107" y="169"/>
                  </a:lnTo>
                  <a:lnTo>
                    <a:pt x="92" y="169"/>
                  </a:lnTo>
                  <a:lnTo>
                    <a:pt x="105" y="154"/>
                  </a:lnTo>
                  <a:lnTo>
                    <a:pt x="120" y="123"/>
                  </a:lnTo>
                  <a:lnTo>
                    <a:pt x="125" y="115"/>
                  </a:lnTo>
                  <a:lnTo>
                    <a:pt x="138" y="108"/>
                  </a:lnTo>
                  <a:lnTo>
                    <a:pt x="161" y="123"/>
                  </a:lnTo>
                  <a:close/>
                  <a:moveTo>
                    <a:pt x="25" y="200"/>
                  </a:moveTo>
                  <a:lnTo>
                    <a:pt x="25" y="54"/>
                  </a:lnTo>
                  <a:lnTo>
                    <a:pt x="158" y="54"/>
                  </a:lnTo>
                  <a:lnTo>
                    <a:pt x="135" y="103"/>
                  </a:lnTo>
                  <a:lnTo>
                    <a:pt x="120" y="108"/>
                  </a:lnTo>
                  <a:lnTo>
                    <a:pt x="112" y="118"/>
                  </a:lnTo>
                  <a:lnTo>
                    <a:pt x="105" y="131"/>
                  </a:lnTo>
                  <a:lnTo>
                    <a:pt x="97" y="151"/>
                  </a:lnTo>
                  <a:lnTo>
                    <a:pt x="92" y="159"/>
                  </a:lnTo>
                  <a:lnTo>
                    <a:pt x="87" y="162"/>
                  </a:lnTo>
                  <a:lnTo>
                    <a:pt x="82" y="167"/>
                  </a:lnTo>
                  <a:lnTo>
                    <a:pt x="71" y="159"/>
                  </a:lnTo>
                  <a:lnTo>
                    <a:pt x="64" y="154"/>
                  </a:lnTo>
                  <a:lnTo>
                    <a:pt x="61" y="146"/>
                  </a:lnTo>
                  <a:lnTo>
                    <a:pt x="56" y="141"/>
                  </a:lnTo>
                  <a:lnTo>
                    <a:pt x="56" y="131"/>
                  </a:lnTo>
                  <a:lnTo>
                    <a:pt x="56" y="128"/>
                  </a:lnTo>
                  <a:lnTo>
                    <a:pt x="56" y="123"/>
                  </a:lnTo>
                  <a:lnTo>
                    <a:pt x="59" y="115"/>
                  </a:lnTo>
                  <a:lnTo>
                    <a:pt x="61" y="110"/>
                  </a:lnTo>
                  <a:lnTo>
                    <a:pt x="64" y="110"/>
                  </a:lnTo>
                  <a:lnTo>
                    <a:pt x="66" y="108"/>
                  </a:lnTo>
                  <a:lnTo>
                    <a:pt x="71" y="108"/>
                  </a:lnTo>
                  <a:lnTo>
                    <a:pt x="74" y="108"/>
                  </a:lnTo>
                  <a:lnTo>
                    <a:pt x="79" y="110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21"/>
                  </a:lnTo>
                  <a:lnTo>
                    <a:pt x="79" y="126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31"/>
                  </a:lnTo>
                  <a:lnTo>
                    <a:pt x="82" y="131"/>
                  </a:lnTo>
                  <a:lnTo>
                    <a:pt x="82" y="131"/>
                  </a:lnTo>
                  <a:lnTo>
                    <a:pt x="82" y="131"/>
                  </a:lnTo>
                  <a:lnTo>
                    <a:pt x="84" y="131"/>
                  </a:lnTo>
                  <a:lnTo>
                    <a:pt x="84" y="131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9" y="121"/>
                  </a:lnTo>
                  <a:lnTo>
                    <a:pt x="87" y="110"/>
                  </a:lnTo>
                  <a:lnTo>
                    <a:pt x="82" y="103"/>
                  </a:lnTo>
                  <a:lnTo>
                    <a:pt x="74" y="100"/>
                  </a:lnTo>
                  <a:lnTo>
                    <a:pt x="71" y="100"/>
                  </a:lnTo>
                  <a:lnTo>
                    <a:pt x="61" y="103"/>
                  </a:lnTo>
                  <a:lnTo>
                    <a:pt x="56" y="108"/>
                  </a:lnTo>
                  <a:lnTo>
                    <a:pt x="51" y="113"/>
                  </a:lnTo>
                  <a:lnTo>
                    <a:pt x="48" y="121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1" y="144"/>
                  </a:lnTo>
                  <a:lnTo>
                    <a:pt x="59" y="156"/>
                  </a:lnTo>
                  <a:lnTo>
                    <a:pt x="66" y="164"/>
                  </a:lnTo>
                  <a:lnTo>
                    <a:pt x="74" y="169"/>
                  </a:lnTo>
                  <a:lnTo>
                    <a:pt x="92" y="177"/>
                  </a:lnTo>
                  <a:lnTo>
                    <a:pt x="105" y="177"/>
                  </a:lnTo>
                  <a:lnTo>
                    <a:pt x="123" y="177"/>
                  </a:lnTo>
                  <a:lnTo>
                    <a:pt x="141" y="169"/>
                  </a:lnTo>
                  <a:lnTo>
                    <a:pt x="156" y="159"/>
                  </a:lnTo>
                  <a:lnTo>
                    <a:pt x="164" y="146"/>
                  </a:lnTo>
                  <a:lnTo>
                    <a:pt x="169" y="133"/>
                  </a:lnTo>
                  <a:lnTo>
                    <a:pt x="169" y="126"/>
                  </a:lnTo>
                  <a:lnTo>
                    <a:pt x="169" y="121"/>
                  </a:lnTo>
                  <a:lnTo>
                    <a:pt x="202" y="69"/>
                  </a:lnTo>
                  <a:lnTo>
                    <a:pt x="207" y="54"/>
                  </a:lnTo>
                  <a:lnTo>
                    <a:pt x="225" y="54"/>
                  </a:lnTo>
                  <a:lnTo>
                    <a:pt x="225" y="200"/>
                  </a:lnTo>
                  <a:lnTo>
                    <a:pt x="25" y="2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47">
            <a:extLst>
              <a:ext uri="{FF2B5EF4-FFF2-40B4-BE49-F238E27FC236}">
                <a16:creationId xmlns:a16="http://schemas.microsoft.com/office/drawing/2014/main" id="{92BADA84-459F-4797-8EA5-929218459C5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667" y="357983"/>
            <a:ext cx="758825" cy="758825"/>
            <a:chOff x="3695" y="360"/>
            <a:chExt cx="478" cy="478"/>
          </a:xfrm>
        </p:grpSpPr>
        <p:sp>
          <p:nvSpPr>
            <p:cNvPr id="55" name="AutoShape 46">
              <a:extLst>
                <a:ext uri="{FF2B5EF4-FFF2-40B4-BE49-F238E27FC236}">
                  <a16:creationId xmlns:a16="http://schemas.microsoft.com/office/drawing/2014/main" id="{C04FA802-D4D9-417A-93C4-E104E9BC3C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95" y="36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8">
              <a:extLst>
                <a:ext uri="{FF2B5EF4-FFF2-40B4-BE49-F238E27FC236}">
                  <a16:creationId xmlns:a16="http://schemas.microsoft.com/office/drawing/2014/main" id="{91FA9CF1-6543-4DB2-B1D6-E5D6881586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7" y="36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DDA48CFB-6032-4B08-8545-0ECDDAAF8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8" y="465"/>
              <a:ext cx="294" cy="270"/>
            </a:xfrm>
            <a:custGeom>
              <a:avLst/>
              <a:gdLst>
                <a:gd name="T0" fmla="*/ 54 w 294"/>
                <a:gd name="T1" fmla="*/ 216 h 270"/>
                <a:gd name="T2" fmla="*/ 22 w 294"/>
                <a:gd name="T3" fmla="*/ 258 h 270"/>
                <a:gd name="T4" fmla="*/ 15 w 294"/>
                <a:gd name="T5" fmla="*/ 255 h 270"/>
                <a:gd name="T6" fmla="*/ 12 w 294"/>
                <a:gd name="T7" fmla="*/ 248 h 270"/>
                <a:gd name="T8" fmla="*/ 10 w 294"/>
                <a:gd name="T9" fmla="*/ 18 h 270"/>
                <a:gd name="T10" fmla="*/ 12 w 294"/>
                <a:gd name="T11" fmla="*/ 10 h 270"/>
                <a:gd name="T12" fmla="*/ 15 w 294"/>
                <a:gd name="T13" fmla="*/ 10 h 270"/>
                <a:gd name="T14" fmla="*/ 17 w 294"/>
                <a:gd name="T15" fmla="*/ 13 h 270"/>
                <a:gd name="T16" fmla="*/ 22 w 294"/>
                <a:gd name="T17" fmla="*/ 54 h 270"/>
                <a:gd name="T18" fmla="*/ 22 w 294"/>
                <a:gd name="T19" fmla="*/ 59 h 270"/>
                <a:gd name="T20" fmla="*/ 27 w 294"/>
                <a:gd name="T21" fmla="*/ 62 h 270"/>
                <a:gd name="T22" fmla="*/ 49 w 294"/>
                <a:gd name="T23" fmla="*/ 42 h 270"/>
                <a:gd name="T24" fmla="*/ 51 w 294"/>
                <a:gd name="T25" fmla="*/ 84 h 270"/>
                <a:gd name="T26" fmla="*/ 54 w 294"/>
                <a:gd name="T27" fmla="*/ 86 h 270"/>
                <a:gd name="T28" fmla="*/ 56 w 294"/>
                <a:gd name="T29" fmla="*/ 89 h 270"/>
                <a:gd name="T30" fmla="*/ 98 w 294"/>
                <a:gd name="T31" fmla="*/ 86 h 270"/>
                <a:gd name="T32" fmla="*/ 81 w 294"/>
                <a:gd name="T33" fmla="*/ 111 h 270"/>
                <a:gd name="T34" fmla="*/ 83 w 294"/>
                <a:gd name="T35" fmla="*/ 113 h 270"/>
                <a:gd name="T36" fmla="*/ 88 w 294"/>
                <a:gd name="T37" fmla="*/ 116 h 270"/>
                <a:gd name="T38" fmla="*/ 110 w 294"/>
                <a:gd name="T39" fmla="*/ 133 h 270"/>
                <a:gd name="T40" fmla="*/ 110 w 294"/>
                <a:gd name="T41" fmla="*/ 138 h 270"/>
                <a:gd name="T42" fmla="*/ 113 w 294"/>
                <a:gd name="T43" fmla="*/ 140 h 270"/>
                <a:gd name="T44" fmla="*/ 118 w 294"/>
                <a:gd name="T45" fmla="*/ 140 h 270"/>
                <a:gd name="T46" fmla="*/ 140 w 294"/>
                <a:gd name="T47" fmla="*/ 160 h 270"/>
                <a:gd name="T48" fmla="*/ 140 w 294"/>
                <a:gd name="T49" fmla="*/ 165 h 270"/>
                <a:gd name="T50" fmla="*/ 142 w 294"/>
                <a:gd name="T51" fmla="*/ 167 h 270"/>
                <a:gd name="T52" fmla="*/ 147 w 294"/>
                <a:gd name="T53" fmla="*/ 167 h 270"/>
                <a:gd name="T54" fmla="*/ 167 w 294"/>
                <a:gd name="T55" fmla="*/ 187 h 270"/>
                <a:gd name="T56" fmla="*/ 169 w 294"/>
                <a:gd name="T57" fmla="*/ 192 h 270"/>
                <a:gd name="T58" fmla="*/ 172 w 294"/>
                <a:gd name="T59" fmla="*/ 194 h 270"/>
                <a:gd name="T60" fmla="*/ 194 w 294"/>
                <a:gd name="T61" fmla="*/ 174 h 270"/>
                <a:gd name="T62" fmla="*/ 191 w 294"/>
                <a:gd name="T63" fmla="*/ 214 h 270"/>
                <a:gd name="T64" fmla="*/ 191 w 294"/>
                <a:gd name="T65" fmla="*/ 219 h 270"/>
                <a:gd name="T66" fmla="*/ 196 w 294"/>
                <a:gd name="T67" fmla="*/ 219 h 270"/>
                <a:gd name="T68" fmla="*/ 240 w 294"/>
                <a:gd name="T69" fmla="*/ 216 h 270"/>
                <a:gd name="T70" fmla="*/ 218 w 294"/>
                <a:gd name="T71" fmla="*/ 241 h 270"/>
                <a:gd name="T72" fmla="*/ 223 w 294"/>
                <a:gd name="T73" fmla="*/ 246 h 270"/>
                <a:gd name="T74" fmla="*/ 228 w 294"/>
                <a:gd name="T75" fmla="*/ 246 h 270"/>
                <a:gd name="T76" fmla="*/ 282 w 294"/>
                <a:gd name="T77" fmla="*/ 255 h 270"/>
                <a:gd name="T78" fmla="*/ 284 w 294"/>
                <a:gd name="T79" fmla="*/ 258 h 270"/>
                <a:gd name="T80" fmla="*/ 279 w 294"/>
                <a:gd name="T81" fmla="*/ 260 h 270"/>
                <a:gd name="T82" fmla="*/ 24 w 294"/>
                <a:gd name="T83" fmla="*/ 260 h 270"/>
                <a:gd name="T84" fmla="*/ 7 w 294"/>
                <a:gd name="T85" fmla="*/ 0 h 270"/>
                <a:gd name="T86" fmla="*/ 2 w 294"/>
                <a:gd name="T87" fmla="*/ 5 h 270"/>
                <a:gd name="T88" fmla="*/ 0 w 294"/>
                <a:gd name="T89" fmla="*/ 15 h 270"/>
                <a:gd name="T90" fmla="*/ 0 w 294"/>
                <a:gd name="T91" fmla="*/ 246 h 270"/>
                <a:gd name="T92" fmla="*/ 2 w 294"/>
                <a:gd name="T93" fmla="*/ 253 h 270"/>
                <a:gd name="T94" fmla="*/ 5 w 294"/>
                <a:gd name="T95" fmla="*/ 258 h 270"/>
                <a:gd name="T96" fmla="*/ 10 w 294"/>
                <a:gd name="T97" fmla="*/ 263 h 270"/>
                <a:gd name="T98" fmla="*/ 17 w 294"/>
                <a:gd name="T99" fmla="*/ 268 h 270"/>
                <a:gd name="T100" fmla="*/ 22 w 294"/>
                <a:gd name="T101" fmla="*/ 270 h 270"/>
                <a:gd name="T102" fmla="*/ 277 w 294"/>
                <a:gd name="T103" fmla="*/ 270 h 270"/>
                <a:gd name="T104" fmla="*/ 287 w 294"/>
                <a:gd name="T105" fmla="*/ 270 h 270"/>
                <a:gd name="T106" fmla="*/ 292 w 294"/>
                <a:gd name="T107" fmla="*/ 265 h 270"/>
                <a:gd name="T108" fmla="*/ 294 w 294"/>
                <a:gd name="T109" fmla="*/ 260 h 270"/>
                <a:gd name="T110" fmla="*/ 294 w 294"/>
                <a:gd name="T111" fmla="*/ 255 h 270"/>
                <a:gd name="T112" fmla="*/ 289 w 294"/>
                <a:gd name="T113" fmla="*/ 248 h 270"/>
                <a:gd name="T114" fmla="*/ 27 w 294"/>
                <a:gd name="T115" fmla="*/ 5 h 270"/>
                <a:gd name="T116" fmla="*/ 17 w 294"/>
                <a:gd name="T11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4" h="270">
                  <a:moveTo>
                    <a:pt x="66" y="130"/>
                  </a:moveTo>
                  <a:lnTo>
                    <a:pt x="145" y="204"/>
                  </a:lnTo>
                  <a:lnTo>
                    <a:pt x="66" y="204"/>
                  </a:lnTo>
                  <a:lnTo>
                    <a:pt x="66" y="130"/>
                  </a:lnTo>
                  <a:close/>
                  <a:moveTo>
                    <a:pt x="54" y="216"/>
                  </a:moveTo>
                  <a:lnTo>
                    <a:pt x="172" y="216"/>
                  </a:lnTo>
                  <a:lnTo>
                    <a:pt x="54" y="106"/>
                  </a:lnTo>
                  <a:lnTo>
                    <a:pt x="54" y="216"/>
                  </a:lnTo>
                  <a:close/>
                  <a:moveTo>
                    <a:pt x="24" y="260"/>
                  </a:moveTo>
                  <a:lnTo>
                    <a:pt x="22" y="258"/>
                  </a:lnTo>
                  <a:lnTo>
                    <a:pt x="22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17" y="255"/>
                  </a:lnTo>
                  <a:lnTo>
                    <a:pt x="15" y="255"/>
                  </a:lnTo>
                  <a:lnTo>
                    <a:pt x="15" y="253"/>
                  </a:lnTo>
                  <a:lnTo>
                    <a:pt x="15" y="250"/>
                  </a:lnTo>
                  <a:lnTo>
                    <a:pt x="12" y="250"/>
                  </a:lnTo>
                  <a:lnTo>
                    <a:pt x="12" y="248"/>
                  </a:lnTo>
                  <a:lnTo>
                    <a:pt x="12" y="248"/>
                  </a:lnTo>
                  <a:lnTo>
                    <a:pt x="10" y="246"/>
                  </a:lnTo>
                  <a:lnTo>
                    <a:pt x="10" y="243"/>
                  </a:lnTo>
                  <a:lnTo>
                    <a:pt x="10" y="241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20" y="15"/>
                  </a:lnTo>
                  <a:lnTo>
                    <a:pt x="42" y="35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2" y="59"/>
                  </a:lnTo>
                  <a:lnTo>
                    <a:pt x="49" y="42"/>
                  </a:lnTo>
                  <a:lnTo>
                    <a:pt x="69" y="62"/>
                  </a:lnTo>
                  <a:lnTo>
                    <a:pt x="51" y="79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4" y="86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61" y="86"/>
                  </a:lnTo>
                  <a:lnTo>
                    <a:pt x="78" y="67"/>
                  </a:lnTo>
                  <a:lnTo>
                    <a:pt x="98" y="8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1" y="113"/>
                  </a:lnTo>
                  <a:lnTo>
                    <a:pt x="81" y="113"/>
                  </a:lnTo>
                  <a:lnTo>
                    <a:pt x="81" y="113"/>
                  </a:lnTo>
                  <a:lnTo>
                    <a:pt x="83" y="113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8" y="116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105" y="94"/>
                  </a:lnTo>
                  <a:lnTo>
                    <a:pt x="127" y="11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08" y="135"/>
                  </a:lnTo>
                  <a:lnTo>
                    <a:pt x="108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3" y="140"/>
                  </a:lnTo>
                  <a:lnTo>
                    <a:pt x="113" y="143"/>
                  </a:lnTo>
                  <a:lnTo>
                    <a:pt x="115" y="143"/>
                  </a:lnTo>
                  <a:lnTo>
                    <a:pt x="115" y="143"/>
                  </a:lnTo>
                  <a:lnTo>
                    <a:pt x="118" y="140"/>
                  </a:lnTo>
                  <a:lnTo>
                    <a:pt x="118" y="140"/>
                  </a:lnTo>
                  <a:lnTo>
                    <a:pt x="118" y="140"/>
                  </a:lnTo>
                  <a:lnTo>
                    <a:pt x="135" y="121"/>
                  </a:lnTo>
                  <a:lnTo>
                    <a:pt x="157" y="140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7" y="160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5"/>
                  </a:lnTo>
                  <a:lnTo>
                    <a:pt x="140" y="165"/>
                  </a:lnTo>
                  <a:lnTo>
                    <a:pt x="140" y="165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5" y="167"/>
                  </a:lnTo>
                  <a:lnTo>
                    <a:pt x="145" y="167"/>
                  </a:lnTo>
                  <a:lnTo>
                    <a:pt x="145" y="167"/>
                  </a:lnTo>
                  <a:lnTo>
                    <a:pt x="147" y="167"/>
                  </a:lnTo>
                  <a:lnTo>
                    <a:pt x="147" y="167"/>
                  </a:lnTo>
                  <a:lnTo>
                    <a:pt x="164" y="147"/>
                  </a:lnTo>
                  <a:lnTo>
                    <a:pt x="186" y="167"/>
                  </a:lnTo>
                  <a:lnTo>
                    <a:pt x="169" y="187"/>
                  </a:lnTo>
                  <a:lnTo>
                    <a:pt x="167" y="187"/>
                  </a:lnTo>
                  <a:lnTo>
                    <a:pt x="167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76" y="194"/>
                  </a:lnTo>
                  <a:lnTo>
                    <a:pt x="176" y="192"/>
                  </a:lnTo>
                  <a:lnTo>
                    <a:pt x="194" y="174"/>
                  </a:lnTo>
                  <a:lnTo>
                    <a:pt x="211" y="189"/>
                  </a:lnTo>
                  <a:lnTo>
                    <a:pt x="191" y="211"/>
                  </a:lnTo>
                  <a:lnTo>
                    <a:pt x="191" y="211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4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4" y="219"/>
                  </a:lnTo>
                  <a:lnTo>
                    <a:pt x="194" y="219"/>
                  </a:lnTo>
                  <a:lnTo>
                    <a:pt x="194" y="219"/>
                  </a:lnTo>
                  <a:lnTo>
                    <a:pt x="196" y="221"/>
                  </a:lnTo>
                  <a:lnTo>
                    <a:pt x="196" y="219"/>
                  </a:lnTo>
                  <a:lnTo>
                    <a:pt x="199" y="219"/>
                  </a:lnTo>
                  <a:lnTo>
                    <a:pt x="199" y="219"/>
                  </a:lnTo>
                  <a:lnTo>
                    <a:pt x="199" y="219"/>
                  </a:lnTo>
                  <a:lnTo>
                    <a:pt x="218" y="197"/>
                  </a:lnTo>
                  <a:lnTo>
                    <a:pt x="240" y="216"/>
                  </a:lnTo>
                  <a:lnTo>
                    <a:pt x="221" y="238"/>
                  </a:lnTo>
                  <a:lnTo>
                    <a:pt x="221" y="238"/>
                  </a:lnTo>
                  <a:lnTo>
                    <a:pt x="221" y="238"/>
                  </a:lnTo>
                  <a:lnTo>
                    <a:pt x="218" y="241"/>
                  </a:lnTo>
                  <a:lnTo>
                    <a:pt x="218" y="241"/>
                  </a:lnTo>
                  <a:lnTo>
                    <a:pt x="221" y="243"/>
                  </a:lnTo>
                  <a:lnTo>
                    <a:pt x="221" y="243"/>
                  </a:lnTo>
                  <a:lnTo>
                    <a:pt x="221" y="243"/>
                  </a:lnTo>
                  <a:lnTo>
                    <a:pt x="221" y="246"/>
                  </a:lnTo>
                  <a:lnTo>
                    <a:pt x="223" y="246"/>
                  </a:lnTo>
                  <a:lnTo>
                    <a:pt x="223" y="246"/>
                  </a:lnTo>
                  <a:lnTo>
                    <a:pt x="223" y="246"/>
                  </a:lnTo>
                  <a:lnTo>
                    <a:pt x="225" y="246"/>
                  </a:lnTo>
                  <a:lnTo>
                    <a:pt x="225" y="246"/>
                  </a:lnTo>
                  <a:lnTo>
                    <a:pt x="228" y="246"/>
                  </a:lnTo>
                  <a:lnTo>
                    <a:pt x="228" y="246"/>
                  </a:lnTo>
                  <a:lnTo>
                    <a:pt x="228" y="246"/>
                  </a:lnTo>
                  <a:lnTo>
                    <a:pt x="248" y="223"/>
                  </a:lnTo>
                  <a:lnTo>
                    <a:pt x="279" y="253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8"/>
                  </a:lnTo>
                  <a:lnTo>
                    <a:pt x="284" y="258"/>
                  </a:lnTo>
                  <a:lnTo>
                    <a:pt x="284" y="258"/>
                  </a:lnTo>
                  <a:lnTo>
                    <a:pt x="284" y="258"/>
                  </a:lnTo>
                  <a:lnTo>
                    <a:pt x="282" y="258"/>
                  </a:lnTo>
                  <a:lnTo>
                    <a:pt x="282" y="260"/>
                  </a:lnTo>
                  <a:lnTo>
                    <a:pt x="282" y="260"/>
                  </a:lnTo>
                  <a:lnTo>
                    <a:pt x="279" y="260"/>
                  </a:lnTo>
                  <a:lnTo>
                    <a:pt x="279" y="260"/>
                  </a:lnTo>
                  <a:lnTo>
                    <a:pt x="277" y="260"/>
                  </a:lnTo>
                  <a:lnTo>
                    <a:pt x="29" y="260"/>
                  </a:lnTo>
                  <a:lnTo>
                    <a:pt x="27" y="260"/>
                  </a:lnTo>
                  <a:lnTo>
                    <a:pt x="24" y="260"/>
                  </a:lnTo>
                  <a:close/>
                  <a:moveTo>
                    <a:pt x="12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41"/>
                  </a:lnTo>
                  <a:lnTo>
                    <a:pt x="0" y="243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53"/>
                  </a:lnTo>
                  <a:lnTo>
                    <a:pt x="2" y="253"/>
                  </a:lnTo>
                  <a:lnTo>
                    <a:pt x="2" y="255"/>
                  </a:lnTo>
                  <a:lnTo>
                    <a:pt x="5" y="255"/>
                  </a:lnTo>
                  <a:lnTo>
                    <a:pt x="5" y="258"/>
                  </a:lnTo>
                  <a:lnTo>
                    <a:pt x="5" y="258"/>
                  </a:lnTo>
                  <a:lnTo>
                    <a:pt x="7" y="260"/>
                  </a:lnTo>
                  <a:lnTo>
                    <a:pt x="7" y="260"/>
                  </a:lnTo>
                  <a:lnTo>
                    <a:pt x="7" y="263"/>
                  </a:lnTo>
                  <a:lnTo>
                    <a:pt x="10" y="263"/>
                  </a:lnTo>
                  <a:lnTo>
                    <a:pt x="10" y="263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5" y="265"/>
                  </a:lnTo>
                  <a:lnTo>
                    <a:pt x="15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20" y="268"/>
                  </a:lnTo>
                  <a:lnTo>
                    <a:pt x="20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4" y="270"/>
                  </a:lnTo>
                  <a:lnTo>
                    <a:pt x="24" y="270"/>
                  </a:lnTo>
                  <a:lnTo>
                    <a:pt x="27" y="270"/>
                  </a:lnTo>
                  <a:lnTo>
                    <a:pt x="29" y="270"/>
                  </a:lnTo>
                  <a:lnTo>
                    <a:pt x="277" y="270"/>
                  </a:lnTo>
                  <a:lnTo>
                    <a:pt x="279" y="270"/>
                  </a:lnTo>
                  <a:lnTo>
                    <a:pt x="282" y="270"/>
                  </a:lnTo>
                  <a:lnTo>
                    <a:pt x="282" y="270"/>
                  </a:lnTo>
                  <a:lnTo>
                    <a:pt x="284" y="270"/>
                  </a:lnTo>
                  <a:lnTo>
                    <a:pt x="287" y="270"/>
                  </a:lnTo>
                  <a:lnTo>
                    <a:pt x="287" y="268"/>
                  </a:lnTo>
                  <a:lnTo>
                    <a:pt x="289" y="268"/>
                  </a:lnTo>
                  <a:lnTo>
                    <a:pt x="289" y="268"/>
                  </a:lnTo>
                  <a:lnTo>
                    <a:pt x="289" y="268"/>
                  </a:lnTo>
                  <a:lnTo>
                    <a:pt x="292" y="265"/>
                  </a:lnTo>
                  <a:lnTo>
                    <a:pt x="292" y="265"/>
                  </a:lnTo>
                  <a:lnTo>
                    <a:pt x="292" y="265"/>
                  </a:lnTo>
                  <a:lnTo>
                    <a:pt x="294" y="263"/>
                  </a:lnTo>
                  <a:lnTo>
                    <a:pt x="294" y="263"/>
                  </a:lnTo>
                  <a:lnTo>
                    <a:pt x="294" y="260"/>
                  </a:lnTo>
                  <a:lnTo>
                    <a:pt x="294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4" y="255"/>
                  </a:lnTo>
                  <a:lnTo>
                    <a:pt x="294" y="255"/>
                  </a:lnTo>
                  <a:lnTo>
                    <a:pt x="294" y="253"/>
                  </a:lnTo>
                  <a:lnTo>
                    <a:pt x="292" y="253"/>
                  </a:lnTo>
                  <a:lnTo>
                    <a:pt x="292" y="250"/>
                  </a:lnTo>
                  <a:lnTo>
                    <a:pt x="292" y="250"/>
                  </a:lnTo>
                  <a:lnTo>
                    <a:pt x="289" y="248"/>
                  </a:lnTo>
                  <a:lnTo>
                    <a:pt x="289" y="246"/>
                  </a:lnTo>
                  <a:lnTo>
                    <a:pt x="287" y="246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8" name="Group 52">
            <a:extLst>
              <a:ext uri="{FF2B5EF4-FFF2-40B4-BE49-F238E27FC236}">
                <a16:creationId xmlns:a16="http://schemas.microsoft.com/office/drawing/2014/main" id="{7896274C-EE5B-4D59-A8D2-F05D861B94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7354" y="316708"/>
            <a:ext cx="841375" cy="841375"/>
            <a:chOff x="3080" y="302"/>
            <a:chExt cx="530" cy="530"/>
          </a:xfrm>
        </p:grpSpPr>
        <p:sp>
          <p:nvSpPr>
            <p:cNvPr id="59" name="AutoShape 51">
              <a:extLst>
                <a:ext uri="{FF2B5EF4-FFF2-40B4-BE49-F238E27FC236}">
                  <a16:creationId xmlns:a16="http://schemas.microsoft.com/office/drawing/2014/main" id="{3C8F9180-CC11-4B8B-A63F-FFDD5292A8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80" y="30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3">
              <a:extLst>
                <a:ext uri="{FF2B5EF4-FFF2-40B4-BE49-F238E27FC236}">
                  <a16:creationId xmlns:a16="http://schemas.microsoft.com/office/drawing/2014/main" id="{FB2E14D3-407D-4EDF-93D0-64DF74555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0" y="30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061CF9D6-9990-4543-A746-E326CBFB0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8" y="32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58A5B9AF-F16B-4201-86E4-C1E8B3927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3" y="427"/>
              <a:ext cx="307" cy="282"/>
            </a:xfrm>
            <a:custGeom>
              <a:avLst/>
              <a:gdLst>
                <a:gd name="T0" fmla="*/ 56 w 307"/>
                <a:gd name="T1" fmla="*/ 226 h 282"/>
                <a:gd name="T2" fmla="*/ 23 w 307"/>
                <a:gd name="T3" fmla="*/ 269 h 282"/>
                <a:gd name="T4" fmla="*/ 15 w 307"/>
                <a:gd name="T5" fmla="*/ 267 h 282"/>
                <a:gd name="T6" fmla="*/ 13 w 307"/>
                <a:gd name="T7" fmla="*/ 259 h 282"/>
                <a:gd name="T8" fmla="*/ 10 w 307"/>
                <a:gd name="T9" fmla="*/ 18 h 282"/>
                <a:gd name="T10" fmla="*/ 13 w 307"/>
                <a:gd name="T11" fmla="*/ 11 h 282"/>
                <a:gd name="T12" fmla="*/ 15 w 307"/>
                <a:gd name="T13" fmla="*/ 11 h 282"/>
                <a:gd name="T14" fmla="*/ 18 w 307"/>
                <a:gd name="T15" fmla="*/ 13 h 282"/>
                <a:gd name="T16" fmla="*/ 23 w 307"/>
                <a:gd name="T17" fmla="*/ 57 h 282"/>
                <a:gd name="T18" fmla="*/ 23 w 307"/>
                <a:gd name="T19" fmla="*/ 62 h 282"/>
                <a:gd name="T20" fmla="*/ 28 w 307"/>
                <a:gd name="T21" fmla="*/ 64 h 282"/>
                <a:gd name="T22" fmla="*/ 51 w 307"/>
                <a:gd name="T23" fmla="*/ 44 h 282"/>
                <a:gd name="T24" fmla="*/ 54 w 307"/>
                <a:gd name="T25" fmla="*/ 87 h 282"/>
                <a:gd name="T26" fmla="*/ 56 w 307"/>
                <a:gd name="T27" fmla="*/ 90 h 282"/>
                <a:gd name="T28" fmla="*/ 59 w 307"/>
                <a:gd name="T29" fmla="*/ 93 h 282"/>
                <a:gd name="T30" fmla="*/ 102 w 307"/>
                <a:gd name="T31" fmla="*/ 90 h 282"/>
                <a:gd name="T32" fmla="*/ 84 w 307"/>
                <a:gd name="T33" fmla="*/ 116 h 282"/>
                <a:gd name="T34" fmla="*/ 87 w 307"/>
                <a:gd name="T35" fmla="*/ 118 h 282"/>
                <a:gd name="T36" fmla="*/ 92 w 307"/>
                <a:gd name="T37" fmla="*/ 121 h 282"/>
                <a:gd name="T38" fmla="*/ 115 w 307"/>
                <a:gd name="T39" fmla="*/ 139 h 282"/>
                <a:gd name="T40" fmla="*/ 115 w 307"/>
                <a:gd name="T41" fmla="*/ 144 h 282"/>
                <a:gd name="T42" fmla="*/ 118 w 307"/>
                <a:gd name="T43" fmla="*/ 146 h 282"/>
                <a:gd name="T44" fmla="*/ 123 w 307"/>
                <a:gd name="T45" fmla="*/ 146 h 282"/>
                <a:gd name="T46" fmla="*/ 146 w 307"/>
                <a:gd name="T47" fmla="*/ 167 h 282"/>
                <a:gd name="T48" fmla="*/ 146 w 307"/>
                <a:gd name="T49" fmla="*/ 172 h 282"/>
                <a:gd name="T50" fmla="*/ 148 w 307"/>
                <a:gd name="T51" fmla="*/ 174 h 282"/>
                <a:gd name="T52" fmla="*/ 153 w 307"/>
                <a:gd name="T53" fmla="*/ 174 h 282"/>
                <a:gd name="T54" fmla="*/ 174 w 307"/>
                <a:gd name="T55" fmla="*/ 195 h 282"/>
                <a:gd name="T56" fmla="*/ 176 w 307"/>
                <a:gd name="T57" fmla="*/ 200 h 282"/>
                <a:gd name="T58" fmla="*/ 179 w 307"/>
                <a:gd name="T59" fmla="*/ 203 h 282"/>
                <a:gd name="T60" fmla="*/ 202 w 307"/>
                <a:gd name="T61" fmla="*/ 182 h 282"/>
                <a:gd name="T62" fmla="*/ 200 w 307"/>
                <a:gd name="T63" fmla="*/ 223 h 282"/>
                <a:gd name="T64" fmla="*/ 200 w 307"/>
                <a:gd name="T65" fmla="*/ 228 h 282"/>
                <a:gd name="T66" fmla="*/ 205 w 307"/>
                <a:gd name="T67" fmla="*/ 228 h 282"/>
                <a:gd name="T68" fmla="*/ 251 w 307"/>
                <a:gd name="T69" fmla="*/ 226 h 282"/>
                <a:gd name="T70" fmla="*/ 228 w 307"/>
                <a:gd name="T71" fmla="*/ 251 h 282"/>
                <a:gd name="T72" fmla="*/ 233 w 307"/>
                <a:gd name="T73" fmla="*/ 256 h 282"/>
                <a:gd name="T74" fmla="*/ 238 w 307"/>
                <a:gd name="T75" fmla="*/ 256 h 282"/>
                <a:gd name="T76" fmla="*/ 294 w 307"/>
                <a:gd name="T77" fmla="*/ 267 h 282"/>
                <a:gd name="T78" fmla="*/ 297 w 307"/>
                <a:gd name="T79" fmla="*/ 269 h 282"/>
                <a:gd name="T80" fmla="*/ 292 w 307"/>
                <a:gd name="T81" fmla="*/ 272 h 282"/>
                <a:gd name="T82" fmla="*/ 25 w 307"/>
                <a:gd name="T83" fmla="*/ 272 h 282"/>
                <a:gd name="T84" fmla="*/ 7 w 307"/>
                <a:gd name="T85" fmla="*/ 0 h 282"/>
                <a:gd name="T86" fmla="*/ 2 w 307"/>
                <a:gd name="T87" fmla="*/ 5 h 282"/>
                <a:gd name="T88" fmla="*/ 0 w 307"/>
                <a:gd name="T89" fmla="*/ 16 h 282"/>
                <a:gd name="T90" fmla="*/ 0 w 307"/>
                <a:gd name="T91" fmla="*/ 256 h 282"/>
                <a:gd name="T92" fmla="*/ 2 w 307"/>
                <a:gd name="T93" fmla="*/ 264 h 282"/>
                <a:gd name="T94" fmla="*/ 5 w 307"/>
                <a:gd name="T95" fmla="*/ 269 h 282"/>
                <a:gd name="T96" fmla="*/ 10 w 307"/>
                <a:gd name="T97" fmla="*/ 274 h 282"/>
                <a:gd name="T98" fmla="*/ 18 w 307"/>
                <a:gd name="T99" fmla="*/ 279 h 282"/>
                <a:gd name="T100" fmla="*/ 23 w 307"/>
                <a:gd name="T101" fmla="*/ 282 h 282"/>
                <a:gd name="T102" fmla="*/ 289 w 307"/>
                <a:gd name="T103" fmla="*/ 282 h 282"/>
                <a:gd name="T104" fmla="*/ 299 w 307"/>
                <a:gd name="T105" fmla="*/ 282 h 282"/>
                <a:gd name="T106" fmla="*/ 304 w 307"/>
                <a:gd name="T107" fmla="*/ 277 h 282"/>
                <a:gd name="T108" fmla="*/ 307 w 307"/>
                <a:gd name="T109" fmla="*/ 272 h 282"/>
                <a:gd name="T110" fmla="*/ 307 w 307"/>
                <a:gd name="T111" fmla="*/ 267 h 282"/>
                <a:gd name="T112" fmla="*/ 302 w 307"/>
                <a:gd name="T113" fmla="*/ 259 h 282"/>
                <a:gd name="T114" fmla="*/ 28 w 307"/>
                <a:gd name="T115" fmla="*/ 5 h 282"/>
                <a:gd name="T116" fmla="*/ 18 w 307"/>
                <a:gd name="T117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7" h="282">
                  <a:moveTo>
                    <a:pt x="69" y="136"/>
                  </a:moveTo>
                  <a:lnTo>
                    <a:pt x="151" y="213"/>
                  </a:lnTo>
                  <a:lnTo>
                    <a:pt x="69" y="213"/>
                  </a:lnTo>
                  <a:lnTo>
                    <a:pt x="69" y="136"/>
                  </a:lnTo>
                  <a:close/>
                  <a:moveTo>
                    <a:pt x="56" y="226"/>
                  </a:moveTo>
                  <a:lnTo>
                    <a:pt x="179" y="226"/>
                  </a:lnTo>
                  <a:lnTo>
                    <a:pt x="56" y="110"/>
                  </a:lnTo>
                  <a:lnTo>
                    <a:pt x="56" y="226"/>
                  </a:lnTo>
                  <a:close/>
                  <a:moveTo>
                    <a:pt x="25" y="272"/>
                  </a:moveTo>
                  <a:lnTo>
                    <a:pt x="23" y="269"/>
                  </a:lnTo>
                  <a:lnTo>
                    <a:pt x="23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18" y="267"/>
                  </a:lnTo>
                  <a:lnTo>
                    <a:pt x="15" y="267"/>
                  </a:lnTo>
                  <a:lnTo>
                    <a:pt x="15" y="264"/>
                  </a:lnTo>
                  <a:lnTo>
                    <a:pt x="15" y="262"/>
                  </a:lnTo>
                  <a:lnTo>
                    <a:pt x="13" y="262"/>
                  </a:lnTo>
                  <a:lnTo>
                    <a:pt x="13" y="259"/>
                  </a:lnTo>
                  <a:lnTo>
                    <a:pt x="13" y="259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1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6"/>
                  </a:lnTo>
                  <a:lnTo>
                    <a:pt x="43" y="36"/>
                  </a:lnTo>
                  <a:lnTo>
                    <a:pt x="25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3" y="62"/>
                  </a:lnTo>
                  <a:lnTo>
                    <a:pt x="51" y="44"/>
                  </a:lnTo>
                  <a:lnTo>
                    <a:pt x="71" y="64"/>
                  </a:lnTo>
                  <a:lnTo>
                    <a:pt x="54" y="82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4" y="90"/>
                  </a:lnTo>
                  <a:lnTo>
                    <a:pt x="82" y="69"/>
                  </a:lnTo>
                  <a:lnTo>
                    <a:pt x="102" y="9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4" y="113"/>
                  </a:lnTo>
                  <a:lnTo>
                    <a:pt x="84" y="113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7" y="118"/>
                  </a:lnTo>
                  <a:lnTo>
                    <a:pt x="87" y="121"/>
                  </a:lnTo>
                  <a:lnTo>
                    <a:pt x="87" y="121"/>
                  </a:lnTo>
                  <a:lnTo>
                    <a:pt x="89" y="121"/>
                  </a:lnTo>
                  <a:lnTo>
                    <a:pt x="89" y="121"/>
                  </a:lnTo>
                  <a:lnTo>
                    <a:pt x="92" y="121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110" y="98"/>
                  </a:lnTo>
                  <a:lnTo>
                    <a:pt x="133" y="118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41"/>
                  </a:lnTo>
                  <a:lnTo>
                    <a:pt x="112" y="141"/>
                  </a:lnTo>
                  <a:lnTo>
                    <a:pt x="112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8" y="146"/>
                  </a:lnTo>
                  <a:lnTo>
                    <a:pt x="118" y="149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41" y="126"/>
                  </a:lnTo>
                  <a:lnTo>
                    <a:pt x="164" y="146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3" y="167"/>
                  </a:lnTo>
                  <a:lnTo>
                    <a:pt x="143" y="169"/>
                  </a:lnTo>
                  <a:lnTo>
                    <a:pt x="143" y="169"/>
                  </a:lnTo>
                  <a:lnTo>
                    <a:pt x="143" y="172"/>
                  </a:lnTo>
                  <a:lnTo>
                    <a:pt x="146" y="172"/>
                  </a:lnTo>
                  <a:lnTo>
                    <a:pt x="146" y="172"/>
                  </a:lnTo>
                  <a:lnTo>
                    <a:pt x="146" y="174"/>
                  </a:lnTo>
                  <a:lnTo>
                    <a:pt x="146" y="174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71" y="154"/>
                  </a:lnTo>
                  <a:lnTo>
                    <a:pt x="194" y="174"/>
                  </a:lnTo>
                  <a:lnTo>
                    <a:pt x="176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200"/>
                  </a:lnTo>
                  <a:lnTo>
                    <a:pt x="176" y="200"/>
                  </a:lnTo>
                  <a:lnTo>
                    <a:pt x="176" y="203"/>
                  </a:lnTo>
                  <a:lnTo>
                    <a:pt x="176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4" y="203"/>
                  </a:lnTo>
                  <a:lnTo>
                    <a:pt x="184" y="200"/>
                  </a:lnTo>
                  <a:lnTo>
                    <a:pt x="202" y="182"/>
                  </a:lnTo>
                  <a:lnTo>
                    <a:pt x="220" y="198"/>
                  </a:lnTo>
                  <a:lnTo>
                    <a:pt x="200" y="221"/>
                  </a:lnTo>
                  <a:lnTo>
                    <a:pt x="200" y="221"/>
                  </a:lnTo>
                  <a:lnTo>
                    <a:pt x="200" y="223"/>
                  </a:lnTo>
                  <a:lnTo>
                    <a:pt x="200" y="223"/>
                  </a:lnTo>
                  <a:lnTo>
                    <a:pt x="200" y="223"/>
                  </a:lnTo>
                  <a:lnTo>
                    <a:pt x="200" y="226"/>
                  </a:lnTo>
                  <a:lnTo>
                    <a:pt x="200" y="226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205" y="231"/>
                  </a:lnTo>
                  <a:lnTo>
                    <a:pt x="205" y="228"/>
                  </a:lnTo>
                  <a:lnTo>
                    <a:pt x="207" y="228"/>
                  </a:lnTo>
                  <a:lnTo>
                    <a:pt x="207" y="228"/>
                  </a:lnTo>
                  <a:lnTo>
                    <a:pt x="207" y="228"/>
                  </a:lnTo>
                  <a:lnTo>
                    <a:pt x="228" y="205"/>
                  </a:lnTo>
                  <a:lnTo>
                    <a:pt x="251" y="226"/>
                  </a:lnTo>
                  <a:lnTo>
                    <a:pt x="230" y="249"/>
                  </a:lnTo>
                  <a:lnTo>
                    <a:pt x="230" y="249"/>
                  </a:lnTo>
                  <a:lnTo>
                    <a:pt x="230" y="249"/>
                  </a:lnTo>
                  <a:lnTo>
                    <a:pt x="228" y="251"/>
                  </a:lnTo>
                  <a:lnTo>
                    <a:pt x="228" y="251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6"/>
                  </a:lnTo>
                  <a:lnTo>
                    <a:pt x="233" y="256"/>
                  </a:lnTo>
                  <a:lnTo>
                    <a:pt x="233" y="256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5" y="256"/>
                  </a:lnTo>
                  <a:lnTo>
                    <a:pt x="238" y="256"/>
                  </a:lnTo>
                  <a:lnTo>
                    <a:pt x="238" y="256"/>
                  </a:lnTo>
                  <a:lnTo>
                    <a:pt x="238" y="256"/>
                  </a:lnTo>
                  <a:lnTo>
                    <a:pt x="258" y="233"/>
                  </a:lnTo>
                  <a:lnTo>
                    <a:pt x="292" y="264"/>
                  </a:lnTo>
                  <a:lnTo>
                    <a:pt x="294" y="267"/>
                  </a:lnTo>
                  <a:lnTo>
                    <a:pt x="294" y="267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7" y="269"/>
                  </a:lnTo>
                  <a:lnTo>
                    <a:pt x="297" y="269"/>
                  </a:lnTo>
                  <a:lnTo>
                    <a:pt x="297" y="269"/>
                  </a:lnTo>
                  <a:lnTo>
                    <a:pt x="294" y="269"/>
                  </a:lnTo>
                  <a:lnTo>
                    <a:pt x="294" y="272"/>
                  </a:lnTo>
                  <a:lnTo>
                    <a:pt x="294" y="272"/>
                  </a:lnTo>
                  <a:lnTo>
                    <a:pt x="292" y="272"/>
                  </a:lnTo>
                  <a:lnTo>
                    <a:pt x="292" y="272"/>
                  </a:lnTo>
                  <a:lnTo>
                    <a:pt x="289" y="272"/>
                  </a:lnTo>
                  <a:lnTo>
                    <a:pt x="31" y="272"/>
                  </a:lnTo>
                  <a:lnTo>
                    <a:pt x="28" y="272"/>
                  </a:lnTo>
                  <a:lnTo>
                    <a:pt x="25" y="272"/>
                  </a:lnTo>
                  <a:close/>
                  <a:moveTo>
                    <a:pt x="13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51"/>
                  </a:lnTo>
                  <a:lnTo>
                    <a:pt x="0" y="254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62"/>
                  </a:lnTo>
                  <a:lnTo>
                    <a:pt x="2" y="262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2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7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5" y="277"/>
                  </a:lnTo>
                  <a:lnTo>
                    <a:pt x="15" y="279"/>
                  </a:lnTo>
                  <a:lnTo>
                    <a:pt x="18" y="279"/>
                  </a:lnTo>
                  <a:lnTo>
                    <a:pt x="18" y="279"/>
                  </a:lnTo>
                  <a:lnTo>
                    <a:pt x="20" y="279"/>
                  </a:lnTo>
                  <a:lnTo>
                    <a:pt x="20" y="282"/>
                  </a:lnTo>
                  <a:lnTo>
                    <a:pt x="23" y="282"/>
                  </a:lnTo>
                  <a:lnTo>
                    <a:pt x="23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8" y="282"/>
                  </a:lnTo>
                  <a:lnTo>
                    <a:pt x="31" y="282"/>
                  </a:lnTo>
                  <a:lnTo>
                    <a:pt x="289" y="282"/>
                  </a:lnTo>
                  <a:lnTo>
                    <a:pt x="292" y="282"/>
                  </a:lnTo>
                  <a:lnTo>
                    <a:pt x="294" y="282"/>
                  </a:lnTo>
                  <a:lnTo>
                    <a:pt x="294" y="282"/>
                  </a:lnTo>
                  <a:lnTo>
                    <a:pt x="297" y="282"/>
                  </a:lnTo>
                  <a:lnTo>
                    <a:pt x="299" y="282"/>
                  </a:lnTo>
                  <a:lnTo>
                    <a:pt x="299" y="279"/>
                  </a:lnTo>
                  <a:lnTo>
                    <a:pt x="302" y="279"/>
                  </a:lnTo>
                  <a:lnTo>
                    <a:pt x="302" y="279"/>
                  </a:lnTo>
                  <a:lnTo>
                    <a:pt x="302" y="279"/>
                  </a:lnTo>
                  <a:lnTo>
                    <a:pt x="304" y="277"/>
                  </a:lnTo>
                  <a:lnTo>
                    <a:pt x="304" y="277"/>
                  </a:lnTo>
                  <a:lnTo>
                    <a:pt x="304" y="277"/>
                  </a:lnTo>
                  <a:lnTo>
                    <a:pt x="307" y="274"/>
                  </a:lnTo>
                  <a:lnTo>
                    <a:pt x="307" y="274"/>
                  </a:lnTo>
                  <a:lnTo>
                    <a:pt x="307" y="272"/>
                  </a:lnTo>
                  <a:lnTo>
                    <a:pt x="307" y="272"/>
                  </a:lnTo>
                  <a:lnTo>
                    <a:pt x="307" y="269"/>
                  </a:lnTo>
                  <a:lnTo>
                    <a:pt x="307" y="269"/>
                  </a:lnTo>
                  <a:lnTo>
                    <a:pt x="307" y="267"/>
                  </a:lnTo>
                  <a:lnTo>
                    <a:pt x="307" y="267"/>
                  </a:lnTo>
                  <a:lnTo>
                    <a:pt x="307" y="264"/>
                  </a:lnTo>
                  <a:lnTo>
                    <a:pt x="304" y="264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2" y="259"/>
                  </a:lnTo>
                  <a:lnTo>
                    <a:pt x="302" y="256"/>
                  </a:lnTo>
                  <a:lnTo>
                    <a:pt x="299" y="256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58">
            <a:extLst>
              <a:ext uri="{FF2B5EF4-FFF2-40B4-BE49-F238E27FC236}">
                <a16:creationId xmlns:a16="http://schemas.microsoft.com/office/drawing/2014/main" id="{618CE803-4476-4A7D-A7F4-7D194EE1C2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75600" y="357983"/>
            <a:ext cx="758825" cy="758825"/>
            <a:chOff x="5091" y="416"/>
            <a:chExt cx="478" cy="478"/>
          </a:xfrm>
        </p:grpSpPr>
        <p:sp>
          <p:nvSpPr>
            <p:cNvPr id="68" name="AutoShape 57">
              <a:extLst>
                <a:ext uri="{FF2B5EF4-FFF2-40B4-BE49-F238E27FC236}">
                  <a16:creationId xmlns:a16="http://schemas.microsoft.com/office/drawing/2014/main" id="{1F9A5490-C311-419B-842E-0AE917E759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91" y="41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9">
              <a:extLst>
                <a:ext uri="{FF2B5EF4-FFF2-40B4-BE49-F238E27FC236}">
                  <a16:creationId xmlns:a16="http://schemas.microsoft.com/office/drawing/2014/main" id="{45132094-C04B-4970-A343-4E2BD86320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3" y="41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0">
              <a:extLst>
                <a:ext uri="{FF2B5EF4-FFF2-40B4-BE49-F238E27FC236}">
                  <a16:creationId xmlns:a16="http://schemas.microsoft.com/office/drawing/2014/main" id="{546FC219-07E5-4B78-8B3D-0E1785293C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9" y="529"/>
              <a:ext cx="245" cy="255"/>
            </a:xfrm>
            <a:custGeom>
              <a:avLst/>
              <a:gdLst>
                <a:gd name="T0" fmla="*/ 71 w 245"/>
                <a:gd name="T1" fmla="*/ 201 h 255"/>
                <a:gd name="T2" fmla="*/ 63 w 245"/>
                <a:gd name="T3" fmla="*/ 198 h 255"/>
                <a:gd name="T4" fmla="*/ 58 w 245"/>
                <a:gd name="T5" fmla="*/ 196 h 255"/>
                <a:gd name="T6" fmla="*/ 54 w 245"/>
                <a:gd name="T7" fmla="*/ 191 h 255"/>
                <a:gd name="T8" fmla="*/ 51 w 245"/>
                <a:gd name="T9" fmla="*/ 184 h 255"/>
                <a:gd name="T10" fmla="*/ 49 w 245"/>
                <a:gd name="T11" fmla="*/ 176 h 255"/>
                <a:gd name="T12" fmla="*/ 49 w 245"/>
                <a:gd name="T13" fmla="*/ 169 h 255"/>
                <a:gd name="T14" fmla="*/ 51 w 245"/>
                <a:gd name="T15" fmla="*/ 162 h 255"/>
                <a:gd name="T16" fmla="*/ 54 w 245"/>
                <a:gd name="T17" fmla="*/ 157 h 255"/>
                <a:gd name="T18" fmla="*/ 58 w 245"/>
                <a:gd name="T19" fmla="*/ 152 h 255"/>
                <a:gd name="T20" fmla="*/ 66 w 245"/>
                <a:gd name="T21" fmla="*/ 147 h 255"/>
                <a:gd name="T22" fmla="*/ 71 w 245"/>
                <a:gd name="T23" fmla="*/ 147 h 255"/>
                <a:gd name="T24" fmla="*/ 78 w 245"/>
                <a:gd name="T25" fmla="*/ 144 h 255"/>
                <a:gd name="T26" fmla="*/ 85 w 245"/>
                <a:gd name="T27" fmla="*/ 147 h 255"/>
                <a:gd name="T28" fmla="*/ 90 w 245"/>
                <a:gd name="T29" fmla="*/ 149 h 255"/>
                <a:gd name="T30" fmla="*/ 98 w 245"/>
                <a:gd name="T31" fmla="*/ 154 h 255"/>
                <a:gd name="T32" fmla="*/ 100 w 245"/>
                <a:gd name="T33" fmla="*/ 159 h 255"/>
                <a:gd name="T34" fmla="*/ 103 w 245"/>
                <a:gd name="T35" fmla="*/ 166 h 255"/>
                <a:gd name="T36" fmla="*/ 105 w 245"/>
                <a:gd name="T37" fmla="*/ 171 h 255"/>
                <a:gd name="T38" fmla="*/ 105 w 245"/>
                <a:gd name="T39" fmla="*/ 179 h 255"/>
                <a:gd name="T40" fmla="*/ 103 w 245"/>
                <a:gd name="T41" fmla="*/ 186 h 255"/>
                <a:gd name="T42" fmla="*/ 98 w 245"/>
                <a:gd name="T43" fmla="*/ 191 h 255"/>
                <a:gd name="T44" fmla="*/ 93 w 245"/>
                <a:gd name="T45" fmla="*/ 196 h 255"/>
                <a:gd name="T46" fmla="*/ 88 w 245"/>
                <a:gd name="T47" fmla="*/ 201 h 255"/>
                <a:gd name="T48" fmla="*/ 81 w 245"/>
                <a:gd name="T49" fmla="*/ 203 h 255"/>
                <a:gd name="T50" fmla="*/ 76 w 245"/>
                <a:gd name="T51" fmla="*/ 137 h 255"/>
                <a:gd name="T52" fmla="*/ 66 w 245"/>
                <a:gd name="T53" fmla="*/ 139 h 255"/>
                <a:gd name="T54" fmla="*/ 58 w 245"/>
                <a:gd name="T55" fmla="*/ 142 h 255"/>
                <a:gd name="T56" fmla="*/ 51 w 245"/>
                <a:gd name="T57" fmla="*/ 147 h 255"/>
                <a:gd name="T58" fmla="*/ 46 w 245"/>
                <a:gd name="T59" fmla="*/ 154 h 255"/>
                <a:gd name="T60" fmla="*/ 44 w 245"/>
                <a:gd name="T61" fmla="*/ 164 h 255"/>
                <a:gd name="T62" fmla="*/ 41 w 245"/>
                <a:gd name="T63" fmla="*/ 171 h 255"/>
                <a:gd name="T64" fmla="*/ 41 w 245"/>
                <a:gd name="T65" fmla="*/ 181 h 255"/>
                <a:gd name="T66" fmla="*/ 46 w 245"/>
                <a:gd name="T67" fmla="*/ 189 h 255"/>
                <a:gd name="T68" fmla="*/ 49 w 245"/>
                <a:gd name="T69" fmla="*/ 196 h 255"/>
                <a:gd name="T70" fmla="*/ 56 w 245"/>
                <a:gd name="T71" fmla="*/ 203 h 255"/>
                <a:gd name="T72" fmla="*/ 63 w 245"/>
                <a:gd name="T73" fmla="*/ 208 h 255"/>
                <a:gd name="T74" fmla="*/ 71 w 245"/>
                <a:gd name="T75" fmla="*/ 211 h 255"/>
                <a:gd name="T76" fmla="*/ 81 w 245"/>
                <a:gd name="T77" fmla="*/ 211 h 255"/>
                <a:gd name="T78" fmla="*/ 90 w 245"/>
                <a:gd name="T79" fmla="*/ 208 h 255"/>
                <a:gd name="T80" fmla="*/ 98 w 245"/>
                <a:gd name="T81" fmla="*/ 203 h 255"/>
                <a:gd name="T82" fmla="*/ 103 w 245"/>
                <a:gd name="T83" fmla="*/ 198 h 255"/>
                <a:gd name="T84" fmla="*/ 108 w 245"/>
                <a:gd name="T85" fmla="*/ 191 h 255"/>
                <a:gd name="T86" fmla="*/ 110 w 245"/>
                <a:gd name="T87" fmla="*/ 184 h 255"/>
                <a:gd name="T88" fmla="*/ 112 w 245"/>
                <a:gd name="T89" fmla="*/ 174 h 255"/>
                <a:gd name="T90" fmla="*/ 110 w 245"/>
                <a:gd name="T91" fmla="*/ 164 h 255"/>
                <a:gd name="T92" fmla="*/ 108 w 245"/>
                <a:gd name="T93" fmla="*/ 157 h 255"/>
                <a:gd name="T94" fmla="*/ 103 w 245"/>
                <a:gd name="T95" fmla="*/ 149 h 255"/>
                <a:gd name="T96" fmla="*/ 98 w 245"/>
                <a:gd name="T97" fmla="*/ 144 h 255"/>
                <a:gd name="T98" fmla="*/ 90 w 245"/>
                <a:gd name="T99" fmla="*/ 139 h 255"/>
                <a:gd name="T100" fmla="*/ 81 w 245"/>
                <a:gd name="T101" fmla="*/ 137 h 255"/>
                <a:gd name="T102" fmla="*/ 233 w 245"/>
                <a:gd name="T103" fmla="*/ 247 h 255"/>
                <a:gd name="T104" fmla="*/ 2 w 245"/>
                <a:gd name="T105" fmla="*/ 0 h 255"/>
                <a:gd name="T106" fmla="*/ 0 w 245"/>
                <a:gd name="T107" fmla="*/ 2 h 255"/>
                <a:gd name="T108" fmla="*/ 0 w 245"/>
                <a:gd name="T109" fmla="*/ 252 h 255"/>
                <a:gd name="T110" fmla="*/ 2 w 245"/>
                <a:gd name="T111" fmla="*/ 255 h 255"/>
                <a:gd name="T112" fmla="*/ 242 w 245"/>
                <a:gd name="T113" fmla="*/ 255 h 255"/>
                <a:gd name="T114" fmla="*/ 245 w 245"/>
                <a:gd name="T115" fmla="*/ 252 h 255"/>
                <a:gd name="T116" fmla="*/ 245 w 245"/>
                <a:gd name="T117" fmla="*/ 250 h 255"/>
                <a:gd name="T118" fmla="*/ 5 w 245"/>
                <a:gd name="T119" fmla="*/ 2 h 255"/>
                <a:gd name="T120" fmla="*/ 2 w 245"/>
                <a:gd name="T121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5" h="255">
                  <a:moveTo>
                    <a:pt x="76" y="203"/>
                  </a:moveTo>
                  <a:lnTo>
                    <a:pt x="73" y="203"/>
                  </a:lnTo>
                  <a:lnTo>
                    <a:pt x="73" y="203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68" y="201"/>
                  </a:lnTo>
                  <a:lnTo>
                    <a:pt x="68" y="201"/>
                  </a:lnTo>
                  <a:lnTo>
                    <a:pt x="66" y="201"/>
                  </a:lnTo>
                  <a:lnTo>
                    <a:pt x="66" y="201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1" y="198"/>
                  </a:lnTo>
                  <a:lnTo>
                    <a:pt x="61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3"/>
                  </a:lnTo>
                  <a:lnTo>
                    <a:pt x="56" y="193"/>
                  </a:lnTo>
                  <a:lnTo>
                    <a:pt x="56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51" y="181"/>
                  </a:lnTo>
                  <a:lnTo>
                    <a:pt x="49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4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69"/>
                  </a:lnTo>
                  <a:lnTo>
                    <a:pt x="49" y="169"/>
                  </a:lnTo>
                  <a:lnTo>
                    <a:pt x="51" y="166"/>
                  </a:lnTo>
                  <a:lnTo>
                    <a:pt x="51" y="166"/>
                  </a:lnTo>
                  <a:lnTo>
                    <a:pt x="51" y="164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6" y="157"/>
                  </a:lnTo>
                  <a:lnTo>
                    <a:pt x="56" y="154"/>
                  </a:lnTo>
                  <a:lnTo>
                    <a:pt x="58" y="154"/>
                  </a:lnTo>
                  <a:lnTo>
                    <a:pt x="58" y="152"/>
                  </a:lnTo>
                  <a:lnTo>
                    <a:pt x="58" y="152"/>
                  </a:lnTo>
                  <a:lnTo>
                    <a:pt x="61" y="152"/>
                  </a:lnTo>
                  <a:lnTo>
                    <a:pt x="61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6" y="147"/>
                  </a:lnTo>
                  <a:lnTo>
                    <a:pt x="66" y="147"/>
                  </a:lnTo>
                  <a:lnTo>
                    <a:pt x="68" y="147"/>
                  </a:lnTo>
                  <a:lnTo>
                    <a:pt x="68" y="147"/>
                  </a:lnTo>
                  <a:lnTo>
                    <a:pt x="71" y="147"/>
                  </a:lnTo>
                  <a:lnTo>
                    <a:pt x="71" y="147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6" y="144"/>
                  </a:lnTo>
                  <a:lnTo>
                    <a:pt x="78" y="144"/>
                  </a:lnTo>
                  <a:lnTo>
                    <a:pt x="78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3" y="149"/>
                  </a:lnTo>
                  <a:lnTo>
                    <a:pt x="93" y="152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8" y="157"/>
                  </a:lnTo>
                  <a:lnTo>
                    <a:pt x="100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3" y="159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4"/>
                  </a:lnTo>
                  <a:lnTo>
                    <a:pt x="103" y="166"/>
                  </a:lnTo>
                  <a:lnTo>
                    <a:pt x="105" y="166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4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81"/>
                  </a:lnTo>
                  <a:lnTo>
                    <a:pt x="103" y="181"/>
                  </a:lnTo>
                  <a:lnTo>
                    <a:pt x="103" y="184"/>
                  </a:lnTo>
                  <a:lnTo>
                    <a:pt x="103" y="186"/>
                  </a:lnTo>
                  <a:lnTo>
                    <a:pt x="103" y="186"/>
                  </a:lnTo>
                  <a:lnTo>
                    <a:pt x="103" y="189"/>
                  </a:lnTo>
                  <a:lnTo>
                    <a:pt x="100" y="189"/>
                  </a:lnTo>
                  <a:lnTo>
                    <a:pt x="100" y="191"/>
                  </a:lnTo>
                  <a:lnTo>
                    <a:pt x="100" y="191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3" y="196"/>
                  </a:lnTo>
                  <a:lnTo>
                    <a:pt x="93" y="198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1" y="203"/>
                  </a:lnTo>
                  <a:lnTo>
                    <a:pt x="81" y="203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76" y="203"/>
                  </a:lnTo>
                  <a:close/>
                  <a:moveTo>
                    <a:pt x="76" y="137"/>
                  </a:moveTo>
                  <a:lnTo>
                    <a:pt x="73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68" y="139"/>
                  </a:lnTo>
                  <a:lnTo>
                    <a:pt x="66" y="139"/>
                  </a:lnTo>
                  <a:lnTo>
                    <a:pt x="66" y="139"/>
                  </a:lnTo>
                  <a:lnTo>
                    <a:pt x="63" y="139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58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4" y="147"/>
                  </a:lnTo>
                  <a:lnTo>
                    <a:pt x="54" y="147"/>
                  </a:lnTo>
                  <a:lnTo>
                    <a:pt x="51" y="147"/>
                  </a:lnTo>
                  <a:lnTo>
                    <a:pt x="51" y="149"/>
                  </a:lnTo>
                  <a:lnTo>
                    <a:pt x="49" y="152"/>
                  </a:lnTo>
                  <a:lnTo>
                    <a:pt x="49" y="152"/>
                  </a:lnTo>
                  <a:lnTo>
                    <a:pt x="49" y="154"/>
                  </a:lnTo>
                  <a:lnTo>
                    <a:pt x="46" y="154"/>
                  </a:lnTo>
                  <a:lnTo>
                    <a:pt x="46" y="157"/>
                  </a:lnTo>
                  <a:lnTo>
                    <a:pt x="46" y="159"/>
                  </a:lnTo>
                  <a:lnTo>
                    <a:pt x="44" y="159"/>
                  </a:lnTo>
                  <a:lnTo>
                    <a:pt x="44" y="162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1" y="166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71"/>
                  </a:lnTo>
                  <a:lnTo>
                    <a:pt x="41" y="174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9"/>
                  </a:lnTo>
                  <a:lnTo>
                    <a:pt x="41" y="181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44" y="186"/>
                  </a:lnTo>
                  <a:lnTo>
                    <a:pt x="44" y="189"/>
                  </a:lnTo>
                  <a:lnTo>
                    <a:pt x="46" y="189"/>
                  </a:lnTo>
                  <a:lnTo>
                    <a:pt x="46" y="191"/>
                  </a:lnTo>
                  <a:lnTo>
                    <a:pt x="46" y="193"/>
                  </a:lnTo>
                  <a:lnTo>
                    <a:pt x="49" y="193"/>
                  </a:lnTo>
                  <a:lnTo>
                    <a:pt x="49" y="196"/>
                  </a:lnTo>
                  <a:lnTo>
                    <a:pt x="49" y="196"/>
                  </a:lnTo>
                  <a:lnTo>
                    <a:pt x="51" y="198"/>
                  </a:lnTo>
                  <a:lnTo>
                    <a:pt x="51" y="198"/>
                  </a:lnTo>
                  <a:lnTo>
                    <a:pt x="54" y="201"/>
                  </a:lnTo>
                  <a:lnTo>
                    <a:pt x="54" y="201"/>
                  </a:lnTo>
                  <a:lnTo>
                    <a:pt x="56" y="203"/>
                  </a:lnTo>
                  <a:lnTo>
                    <a:pt x="58" y="203"/>
                  </a:lnTo>
                  <a:lnTo>
                    <a:pt x="58" y="206"/>
                  </a:lnTo>
                  <a:lnTo>
                    <a:pt x="61" y="206"/>
                  </a:lnTo>
                  <a:lnTo>
                    <a:pt x="61" y="206"/>
                  </a:lnTo>
                  <a:lnTo>
                    <a:pt x="63" y="208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8" y="208"/>
                  </a:lnTo>
                  <a:lnTo>
                    <a:pt x="71" y="211"/>
                  </a:lnTo>
                  <a:lnTo>
                    <a:pt x="71" y="211"/>
                  </a:lnTo>
                  <a:lnTo>
                    <a:pt x="73" y="211"/>
                  </a:lnTo>
                  <a:lnTo>
                    <a:pt x="76" y="211"/>
                  </a:lnTo>
                  <a:lnTo>
                    <a:pt x="78" y="211"/>
                  </a:lnTo>
                  <a:lnTo>
                    <a:pt x="78" y="211"/>
                  </a:lnTo>
                  <a:lnTo>
                    <a:pt x="81" y="211"/>
                  </a:lnTo>
                  <a:lnTo>
                    <a:pt x="83" y="211"/>
                  </a:lnTo>
                  <a:lnTo>
                    <a:pt x="83" y="211"/>
                  </a:lnTo>
                  <a:lnTo>
                    <a:pt x="85" y="208"/>
                  </a:lnTo>
                  <a:lnTo>
                    <a:pt x="88" y="208"/>
                  </a:lnTo>
                  <a:lnTo>
                    <a:pt x="90" y="208"/>
                  </a:lnTo>
                  <a:lnTo>
                    <a:pt x="90" y="208"/>
                  </a:lnTo>
                  <a:lnTo>
                    <a:pt x="93" y="206"/>
                  </a:lnTo>
                  <a:lnTo>
                    <a:pt x="93" y="206"/>
                  </a:lnTo>
                  <a:lnTo>
                    <a:pt x="95" y="206"/>
                  </a:lnTo>
                  <a:lnTo>
                    <a:pt x="98" y="203"/>
                  </a:lnTo>
                  <a:lnTo>
                    <a:pt x="98" y="203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3"/>
                  </a:lnTo>
                  <a:lnTo>
                    <a:pt x="108" y="193"/>
                  </a:lnTo>
                  <a:lnTo>
                    <a:pt x="108" y="191"/>
                  </a:lnTo>
                  <a:lnTo>
                    <a:pt x="110" y="189"/>
                  </a:lnTo>
                  <a:lnTo>
                    <a:pt x="110" y="189"/>
                  </a:lnTo>
                  <a:lnTo>
                    <a:pt x="110" y="186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12" y="181"/>
                  </a:lnTo>
                  <a:lnTo>
                    <a:pt x="112" y="179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4"/>
                  </a:lnTo>
                  <a:lnTo>
                    <a:pt x="112" y="171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6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2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8" y="157"/>
                  </a:lnTo>
                  <a:lnTo>
                    <a:pt x="108" y="154"/>
                  </a:lnTo>
                  <a:lnTo>
                    <a:pt x="105" y="154"/>
                  </a:lnTo>
                  <a:lnTo>
                    <a:pt x="105" y="152"/>
                  </a:lnTo>
                  <a:lnTo>
                    <a:pt x="105" y="152"/>
                  </a:lnTo>
                  <a:lnTo>
                    <a:pt x="103" y="149"/>
                  </a:lnTo>
                  <a:lnTo>
                    <a:pt x="103" y="147"/>
                  </a:lnTo>
                  <a:lnTo>
                    <a:pt x="100" y="147"/>
                  </a:lnTo>
                  <a:lnTo>
                    <a:pt x="100" y="147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5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88" y="139"/>
                  </a:lnTo>
                  <a:lnTo>
                    <a:pt x="85" y="139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1" y="137"/>
                  </a:lnTo>
                  <a:lnTo>
                    <a:pt x="78" y="137"/>
                  </a:lnTo>
                  <a:lnTo>
                    <a:pt x="78" y="137"/>
                  </a:lnTo>
                  <a:lnTo>
                    <a:pt x="76" y="137"/>
                  </a:lnTo>
                  <a:close/>
                  <a:moveTo>
                    <a:pt x="7" y="12"/>
                  </a:moveTo>
                  <a:lnTo>
                    <a:pt x="233" y="247"/>
                  </a:lnTo>
                  <a:lnTo>
                    <a:pt x="7" y="247"/>
                  </a:lnTo>
                  <a:lnTo>
                    <a:pt x="7" y="12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50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2" y="255"/>
                  </a:lnTo>
                  <a:lnTo>
                    <a:pt x="2" y="255"/>
                  </a:lnTo>
                  <a:lnTo>
                    <a:pt x="2" y="255"/>
                  </a:lnTo>
                  <a:lnTo>
                    <a:pt x="242" y="255"/>
                  </a:lnTo>
                  <a:lnTo>
                    <a:pt x="242" y="255"/>
                  </a:lnTo>
                  <a:lnTo>
                    <a:pt x="242" y="255"/>
                  </a:lnTo>
                  <a:lnTo>
                    <a:pt x="242" y="255"/>
                  </a:lnTo>
                  <a:lnTo>
                    <a:pt x="245" y="255"/>
                  </a:lnTo>
                  <a:lnTo>
                    <a:pt x="245" y="252"/>
                  </a:lnTo>
                  <a:lnTo>
                    <a:pt x="245" y="252"/>
                  </a:lnTo>
                  <a:lnTo>
                    <a:pt x="245" y="252"/>
                  </a:lnTo>
                  <a:lnTo>
                    <a:pt x="245" y="252"/>
                  </a:lnTo>
                  <a:lnTo>
                    <a:pt x="245" y="252"/>
                  </a:lnTo>
                  <a:lnTo>
                    <a:pt x="245" y="250"/>
                  </a:lnTo>
                  <a:lnTo>
                    <a:pt x="245" y="250"/>
                  </a:lnTo>
                  <a:lnTo>
                    <a:pt x="245" y="250"/>
                  </a:lnTo>
                  <a:lnTo>
                    <a:pt x="245" y="250"/>
                  </a:lnTo>
                  <a:lnTo>
                    <a:pt x="245" y="250"/>
                  </a:lnTo>
                  <a:lnTo>
                    <a:pt x="245" y="247"/>
                  </a:lnTo>
                  <a:lnTo>
                    <a:pt x="245" y="247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63">
            <a:extLst>
              <a:ext uri="{FF2B5EF4-FFF2-40B4-BE49-F238E27FC236}">
                <a16:creationId xmlns:a16="http://schemas.microsoft.com/office/drawing/2014/main" id="{874BFD1E-F3F3-4423-9CE4-E9863CF43C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3042" y="316708"/>
            <a:ext cx="841375" cy="841375"/>
            <a:chOff x="4450" y="216"/>
            <a:chExt cx="530" cy="530"/>
          </a:xfrm>
        </p:grpSpPr>
        <p:sp>
          <p:nvSpPr>
            <p:cNvPr id="72" name="AutoShape 62">
              <a:extLst>
                <a:ext uri="{FF2B5EF4-FFF2-40B4-BE49-F238E27FC236}">
                  <a16:creationId xmlns:a16="http://schemas.microsoft.com/office/drawing/2014/main" id="{7FD9DACB-522E-43BD-BE25-FC30F57A42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50" y="21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C8167CCF-8F81-4E7F-A363-7172281A3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0" y="21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5">
              <a:extLst>
                <a:ext uri="{FF2B5EF4-FFF2-40B4-BE49-F238E27FC236}">
                  <a16:creationId xmlns:a16="http://schemas.microsoft.com/office/drawing/2014/main" id="{9B7B3C17-FC40-4E80-8513-3414D88E91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8" y="23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6">
              <a:extLst>
                <a:ext uri="{FF2B5EF4-FFF2-40B4-BE49-F238E27FC236}">
                  <a16:creationId xmlns:a16="http://schemas.microsoft.com/office/drawing/2014/main" id="{3C3BFDF9-FAA0-42BF-A2A0-F09267DCC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8" y="349"/>
              <a:ext cx="256" cy="266"/>
            </a:xfrm>
            <a:custGeom>
              <a:avLst/>
              <a:gdLst>
                <a:gd name="T0" fmla="*/ 74 w 256"/>
                <a:gd name="T1" fmla="*/ 210 h 266"/>
                <a:gd name="T2" fmla="*/ 67 w 256"/>
                <a:gd name="T3" fmla="*/ 207 h 266"/>
                <a:gd name="T4" fmla="*/ 62 w 256"/>
                <a:gd name="T5" fmla="*/ 205 h 266"/>
                <a:gd name="T6" fmla="*/ 56 w 256"/>
                <a:gd name="T7" fmla="*/ 200 h 266"/>
                <a:gd name="T8" fmla="*/ 54 w 256"/>
                <a:gd name="T9" fmla="*/ 192 h 266"/>
                <a:gd name="T10" fmla="*/ 51 w 256"/>
                <a:gd name="T11" fmla="*/ 184 h 266"/>
                <a:gd name="T12" fmla="*/ 51 w 256"/>
                <a:gd name="T13" fmla="*/ 177 h 266"/>
                <a:gd name="T14" fmla="*/ 54 w 256"/>
                <a:gd name="T15" fmla="*/ 169 h 266"/>
                <a:gd name="T16" fmla="*/ 56 w 256"/>
                <a:gd name="T17" fmla="*/ 164 h 266"/>
                <a:gd name="T18" fmla="*/ 62 w 256"/>
                <a:gd name="T19" fmla="*/ 159 h 266"/>
                <a:gd name="T20" fmla="*/ 69 w 256"/>
                <a:gd name="T21" fmla="*/ 154 h 266"/>
                <a:gd name="T22" fmla="*/ 74 w 256"/>
                <a:gd name="T23" fmla="*/ 154 h 266"/>
                <a:gd name="T24" fmla="*/ 82 w 256"/>
                <a:gd name="T25" fmla="*/ 151 h 266"/>
                <a:gd name="T26" fmla="*/ 90 w 256"/>
                <a:gd name="T27" fmla="*/ 154 h 266"/>
                <a:gd name="T28" fmla="*/ 95 w 256"/>
                <a:gd name="T29" fmla="*/ 156 h 266"/>
                <a:gd name="T30" fmla="*/ 103 w 256"/>
                <a:gd name="T31" fmla="*/ 161 h 266"/>
                <a:gd name="T32" fmla="*/ 105 w 256"/>
                <a:gd name="T33" fmla="*/ 166 h 266"/>
                <a:gd name="T34" fmla="*/ 108 w 256"/>
                <a:gd name="T35" fmla="*/ 174 h 266"/>
                <a:gd name="T36" fmla="*/ 110 w 256"/>
                <a:gd name="T37" fmla="*/ 179 h 266"/>
                <a:gd name="T38" fmla="*/ 110 w 256"/>
                <a:gd name="T39" fmla="*/ 187 h 266"/>
                <a:gd name="T40" fmla="*/ 108 w 256"/>
                <a:gd name="T41" fmla="*/ 195 h 266"/>
                <a:gd name="T42" fmla="*/ 103 w 256"/>
                <a:gd name="T43" fmla="*/ 200 h 266"/>
                <a:gd name="T44" fmla="*/ 97 w 256"/>
                <a:gd name="T45" fmla="*/ 205 h 266"/>
                <a:gd name="T46" fmla="*/ 92 w 256"/>
                <a:gd name="T47" fmla="*/ 210 h 266"/>
                <a:gd name="T48" fmla="*/ 85 w 256"/>
                <a:gd name="T49" fmla="*/ 213 h 266"/>
                <a:gd name="T50" fmla="*/ 80 w 256"/>
                <a:gd name="T51" fmla="*/ 143 h 266"/>
                <a:gd name="T52" fmla="*/ 69 w 256"/>
                <a:gd name="T53" fmla="*/ 146 h 266"/>
                <a:gd name="T54" fmla="*/ 62 w 256"/>
                <a:gd name="T55" fmla="*/ 149 h 266"/>
                <a:gd name="T56" fmla="*/ 54 w 256"/>
                <a:gd name="T57" fmla="*/ 154 h 266"/>
                <a:gd name="T58" fmla="*/ 49 w 256"/>
                <a:gd name="T59" fmla="*/ 161 h 266"/>
                <a:gd name="T60" fmla="*/ 46 w 256"/>
                <a:gd name="T61" fmla="*/ 172 h 266"/>
                <a:gd name="T62" fmla="*/ 44 w 256"/>
                <a:gd name="T63" fmla="*/ 179 h 266"/>
                <a:gd name="T64" fmla="*/ 44 w 256"/>
                <a:gd name="T65" fmla="*/ 190 h 266"/>
                <a:gd name="T66" fmla="*/ 49 w 256"/>
                <a:gd name="T67" fmla="*/ 197 h 266"/>
                <a:gd name="T68" fmla="*/ 51 w 256"/>
                <a:gd name="T69" fmla="*/ 205 h 266"/>
                <a:gd name="T70" fmla="*/ 59 w 256"/>
                <a:gd name="T71" fmla="*/ 213 h 266"/>
                <a:gd name="T72" fmla="*/ 67 w 256"/>
                <a:gd name="T73" fmla="*/ 218 h 266"/>
                <a:gd name="T74" fmla="*/ 74 w 256"/>
                <a:gd name="T75" fmla="*/ 220 h 266"/>
                <a:gd name="T76" fmla="*/ 85 w 256"/>
                <a:gd name="T77" fmla="*/ 220 h 266"/>
                <a:gd name="T78" fmla="*/ 95 w 256"/>
                <a:gd name="T79" fmla="*/ 218 h 266"/>
                <a:gd name="T80" fmla="*/ 103 w 256"/>
                <a:gd name="T81" fmla="*/ 213 h 266"/>
                <a:gd name="T82" fmla="*/ 108 w 256"/>
                <a:gd name="T83" fmla="*/ 207 h 266"/>
                <a:gd name="T84" fmla="*/ 113 w 256"/>
                <a:gd name="T85" fmla="*/ 200 h 266"/>
                <a:gd name="T86" fmla="*/ 115 w 256"/>
                <a:gd name="T87" fmla="*/ 192 h 266"/>
                <a:gd name="T88" fmla="*/ 118 w 256"/>
                <a:gd name="T89" fmla="*/ 182 h 266"/>
                <a:gd name="T90" fmla="*/ 115 w 256"/>
                <a:gd name="T91" fmla="*/ 172 h 266"/>
                <a:gd name="T92" fmla="*/ 113 w 256"/>
                <a:gd name="T93" fmla="*/ 164 h 266"/>
                <a:gd name="T94" fmla="*/ 108 w 256"/>
                <a:gd name="T95" fmla="*/ 156 h 266"/>
                <a:gd name="T96" fmla="*/ 103 w 256"/>
                <a:gd name="T97" fmla="*/ 151 h 266"/>
                <a:gd name="T98" fmla="*/ 95 w 256"/>
                <a:gd name="T99" fmla="*/ 146 h 266"/>
                <a:gd name="T100" fmla="*/ 85 w 256"/>
                <a:gd name="T101" fmla="*/ 143 h 266"/>
                <a:gd name="T102" fmla="*/ 243 w 256"/>
                <a:gd name="T103" fmla="*/ 259 h 266"/>
                <a:gd name="T104" fmla="*/ 3 w 256"/>
                <a:gd name="T105" fmla="*/ 0 h 266"/>
                <a:gd name="T106" fmla="*/ 0 w 256"/>
                <a:gd name="T107" fmla="*/ 3 h 266"/>
                <a:gd name="T108" fmla="*/ 0 w 256"/>
                <a:gd name="T109" fmla="*/ 264 h 266"/>
                <a:gd name="T110" fmla="*/ 3 w 256"/>
                <a:gd name="T111" fmla="*/ 266 h 266"/>
                <a:gd name="T112" fmla="*/ 254 w 256"/>
                <a:gd name="T113" fmla="*/ 266 h 266"/>
                <a:gd name="T114" fmla="*/ 256 w 256"/>
                <a:gd name="T115" fmla="*/ 264 h 266"/>
                <a:gd name="T116" fmla="*/ 256 w 256"/>
                <a:gd name="T117" fmla="*/ 261 h 266"/>
                <a:gd name="T118" fmla="*/ 5 w 256"/>
                <a:gd name="T119" fmla="*/ 3 h 266"/>
                <a:gd name="T120" fmla="*/ 3 w 256"/>
                <a:gd name="T12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266">
                  <a:moveTo>
                    <a:pt x="80" y="213"/>
                  </a:moveTo>
                  <a:lnTo>
                    <a:pt x="77" y="213"/>
                  </a:lnTo>
                  <a:lnTo>
                    <a:pt x="77" y="213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4" y="207"/>
                  </a:lnTo>
                  <a:lnTo>
                    <a:pt x="64" y="205"/>
                  </a:lnTo>
                  <a:lnTo>
                    <a:pt x="62" y="205"/>
                  </a:lnTo>
                  <a:lnTo>
                    <a:pt x="62" y="205"/>
                  </a:lnTo>
                  <a:lnTo>
                    <a:pt x="62" y="202"/>
                  </a:lnTo>
                  <a:lnTo>
                    <a:pt x="59" y="202"/>
                  </a:lnTo>
                  <a:lnTo>
                    <a:pt x="59" y="200"/>
                  </a:lnTo>
                  <a:lnTo>
                    <a:pt x="56" y="200"/>
                  </a:lnTo>
                  <a:lnTo>
                    <a:pt x="56" y="200"/>
                  </a:lnTo>
                  <a:lnTo>
                    <a:pt x="56" y="197"/>
                  </a:lnTo>
                  <a:lnTo>
                    <a:pt x="56" y="197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2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2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4" y="174"/>
                  </a:lnTo>
                  <a:lnTo>
                    <a:pt x="54" y="174"/>
                  </a:lnTo>
                  <a:lnTo>
                    <a:pt x="54" y="172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9" y="164"/>
                  </a:lnTo>
                  <a:lnTo>
                    <a:pt x="59" y="161"/>
                  </a:lnTo>
                  <a:lnTo>
                    <a:pt x="62" y="161"/>
                  </a:lnTo>
                  <a:lnTo>
                    <a:pt x="62" y="159"/>
                  </a:lnTo>
                  <a:lnTo>
                    <a:pt x="62" y="159"/>
                  </a:lnTo>
                  <a:lnTo>
                    <a:pt x="64" y="159"/>
                  </a:lnTo>
                  <a:lnTo>
                    <a:pt x="64" y="156"/>
                  </a:lnTo>
                  <a:lnTo>
                    <a:pt x="67" y="156"/>
                  </a:lnTo>
                  <a:lnTo>
                    <a:pt x="67" y="156"/>
                  </a:lnTo>
                  <a:lnTo>
                    <a:pt x="69" y="154"/>
                  </a:lnTo>
                  <a:lnTo>
                    <a:pt x="69" y="154"/>
                  </a:lnTo>
                  <a:lnTo>
                    <a:pt x="72" y="154"/>
                  </a:lnTo>
                  <a:lnTo>
                    <a:pt x="72" y="154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77" y="151"/>
                  </a:lnTo>
                  <a:lnTo>
                    <a:pt x="77" y="151"/>
                  </a:lnTo>
                  <a:lnTo>
                    <a:pt x="80" y="151"/>
                  </a:lnTo>
                  <a:lnTo>
                    <a:pt x="82" y="151"/>
                  </a:lnTo>
                  <a:lnTo>
                    <a:pt x="82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5" y="156"/>
                  </a:lnTo>
                  <a:lnTo>
                    <a:pt x="95" y="156"/>
                  </a:lnTo>
                  <a:lnTo>
                    <a:pt x="97" y="156"/>
                  </a:lnTo>
                  <a:lnTo>
                    <a:pt x="97" y="159"/>
                  </a:lnTo>
                  <a:lnTo>
                    <a:pt x="100" y="159"/>
                  </a:lnTo>
                  <a:lnTo>
                    <a:pt x="100" y="159"/>
                  </a:lnTo>
                  <a:lnTo>
                    <a:pt x="103" y="161"/>
                  </a:lnTo>
                  <a:lnTo>
                    <a:pt x="103" y="161"/>
                  </a:lnTo>
                  <a:lnTo>
                    <a:pt x="103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6"/>
                  </a:lnTo>
                  <a:lnTo>
                    <a:pt x="108" y="166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10" y="174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82"/>
                  </a:lnTo>
                  <a:lnTo>
                    <a:pt x="110" y="184"/>
                  </a:lnTo>
                  <a:lnTo>
                    <a:pt x="110" y="184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90"/>
                  </a:lnTo>
                  <a:lnTo>
                    <a:pt x="108" y="190"/>
                  </a:lnTo>
                  <a:lnTo>
                    <a:pt x="108" y="192"/>
                  </a:lnTo>
                  <a:lnTo>
                    <a:pt x="108" y="195"/>
                  </a:lnTo>
                  <a:lnTo>
                    <a:pt x="108" y="195"/>
                  </a:lnTo>
                  <a:lnTo>
                    <a:pt x="108" y="197"/>
                  </a:lnTo>
                  <a:lnTo>
                    <a:pt x="105" y="197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3" y="200"/>
                  </a:lnTo>
                  <a:lnTo>
                    <a:pt x="103" y="202"/>
                  </a:lnTo>
                  <a:lnTo>
                    <a:pt x="103" y="202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97" y="205"/>
                  </a:lnTo>
                  <a:lnTo>
                    <a:pt x="97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2" y="210"/>
                  </a:lnTo>
                  <a:lnTo>
                    <a:pt x="92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87" y="210"/>
                  </a:lnTo>
                  <a:lnTo>
                    <a:pt x="87" y="210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2" y="213"/>
                  </a:lnTo>
                  <a:lnTo>
                    <a:pt x="82" y="213"/>
                  </a:lnTo>
                  <a:lnTo>
                    <a:pt x="80" y="213"/>
                  </a:lnTo>
                  <a:close/>
                  <a:moveTo>
                    <a:pt x="80" y="143"/>
                  </a:moveTo>
                  <a:lnTo>
                    <a:pt x="77" y="143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2" y="146"/>
                  </a:lnTo>
                  <a:lnTo>
                    <a:pt x="69" y="146"/>
                  </a:lnTo>
                  <a:lnTo>
                    <a:pt x="69" y="146"/>
                  </a:lnTo>
                  <a:lnTo>
                    <a:pt x="67" y="146"/>
                  </a:lnTo>
                  <a:lnTo>
                    <a:pt x="64" y="149"/>
                  </a:lnTo>
                  <a:lnTo>
                    <a:pt x="64" y="149"/>
                  </a:lnTo>
                  <a:lnTo>
                    <a:pt x="62" y="149"/>
                  </a:lnTo>
                  <a:lnTo>
                    <a:pt x="62" y="151"/>
                  </a:lnTo>
                  <a:lnTo>
                    <a:pt x="59" y="151"/>
                  </a:lnTo>
                  <a:lnTo>
                    <a:pt x="56" y="154"/>
                  </a:lnTo>
                  <a:lnTo>
                    <a:pt x="56" y="154"/>
                  </a:lnTo>
                  <a:lnTo>
                    <a:pt x="54" y="154"/>
                  </a:lnTo>
                  <a:lnTo>
                    <a:pt x="54" y="156"/>
                  </a:lnTo>
                  <a:lnTo>
                    <a:pt x="51" y="159"/>
                  </a:lnTo>
                  <a:lnTo>
                    <a:pt x="51" y="159"/>
                  </a:lnTo>
                  <a:lnTo>
                    <a:pt x="51" y="161"/>
                  </a:lnTo>
                  <a:lnTo>
                    <a:pt x="49" y="161"/>
                  </a:lnTo>
                  <a:lnTo>
                    <a:pt x="49" y="164"/>
                  </a:lnTo>
                  <a:lnTo>
                    <a:pt x="49" y="166"/>
                  </a:lnTo>
                  <a:lnTo>
                    <a:pt x="46" y="166"/>
                  </a:lnTo>
                  <a:lnTo>
                    <a:pt x="46" y="169"/>
                  </a:lnTo>
                  <a:lnTo>
                    <a:pt x="46" y="172"/>
                  </a:lnTo>
                  <a:lnTo>
                    <a:pt x="46" y="172"/>
                  </a:lnTo>
                  <a:lnTo>
                    <a:pt x="44" y="174"/>
                  </a:lnTo>
                  <a:lnTo>
                    <a:pt x="44" y="177"/>
                  </a:lnTo>
                  <a:lnTo>
                    <a:pt x="44" y="177"/>
                  </a:lnTo>
                  <a:lnTo>
                    <a:pt x="44" y="179"/>
                  </a:lnTo>
                  <a:lnTo>
                    <a:pt x="44" y="182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44" y="187"/>
                  </a:lnTo>
                  <a:lnTo>
                    <a:pt x="44" y="190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9" y="197"/>
                  </a:lnTo>
                  <a:lnTo>
                    <a:pt x="49" y="200"/>
                  </a:lnTo>
                  <a:lnTo>
                    <a:pt x="49" y="202"/>
                  </a:lnTo>
                  <a:lnTo>
                    <a:pt x="51" y="202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6" y="210"/>
                  </a:lnTo>
                  <a:lnTo>
                    <a:pt x="56" y="210"/>
                  </a:lnTo>
                  <a:lnTo>
                    <a:pt x="59" y="213"/>
                  </a:lnTo>
                  <a:lnTo>
                    <a:pt x="62" y="213"/>
                  </a:lnTo>
                  <a:lnTo>
                    <a:pt x="62" y="215"/>
                  </a:lnTo>
                  <a:lnTo>
                    <a:pt x="64" y="215"/>
                  </a:lnTo>
                  <a:lnTo>
                    <a:pt x="64" y="215"/>
                  </a:lnTo>
                  <a:lnTo>
                    <a:pt x="67" y="218"/>
                  </a:lnTo>
                  <a:lnTo>
                    <a:pt x="69" y="218"/>
                  </a:lnTo>
                  <a:lnTo>
                    <a:pt x="69" y="218"/>
                  </a:lnTo>
                  <a:lnTo>
                    <a:pt x="72" y="218"/>
                  </a:lnTo>
                  <a:lnTo>
                    <a:pt x="74" y="220"/>
                  </a:lnTo>
                  <a:lnTo>
                    <a:pt x="74" y="220"/>
                  </a:lnTo>
                  <a:lnTo>
                    <a:pt x="77" y="220"/>
                  </a:lnTo>
                  <a:lnTo>
                    <a:pt x="80" y="220"/>
                  </a:lnTo>
                  <a:lnTo>
                    <a:pt x="82" y="220"/>
                  </a:lnTo>
                  <a:lnTo>
                    <a:pt x="82" y="220"/>
                  </a:lnTo>
                  <a:lnTo>
                    <a:pt x="85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90" y="218"/>
                  </a:lnTo>
                  <a:lnTo>
                    <a:pt x="92" y="218"/>
                  </a:lnTo>
                  <a:lnTo>
                    <a:pt x="95" y="218"/>
                  </a:lnTo>
                  <a:lnTo>
                    <a:pt x="95" y="218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100" y="215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5" y="210"/>
                  </a:lnTo>
                  <a:lnTo>
                    <a:pt x="105" y="210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0" y="202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197"/>
                  </a:lnTo>
                  <a:lnTo>
                    <a:pt x="115" y="197"/>
                  </a:lnTo>
                  <a:lnTo>
                    <a:pt x="115" y="195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8" y="190"/>
                  </a:lnTo>
                  <a:lnTo>
                    <a:pt x="118" y="187"/>
                  </a:lnTo>
                  <a:lnTo>
                    <a:pt x="118" y="184"/>
                  </a:lnTo>
                  <a:lnTo>
                    <a:pt x="118" y="184"/>
                  </a:lnTo>
                  <a:lnTo>
                    <a:pt x="118" y="182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8" y="174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5" y="169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3" y="164"/>
                  </a:lnTo>
                  <a:lnTo>
                    <a:pt x="113" y="161"/>
                  </a:lnTo>
                  <a:lnTo>
                    <a:pt x="110" y="161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8" y="156"/>
                  </a:lnTo>
                  <a:lnTo>
                    <a:pt x="108" y="154"/>
                  </a:lnTo>
                  <a:lnTo>
                    <a:pt x="105" y="154"/>
                  </a:lnTo>
                  <a:lnTo>
                    <a:pt x="105" y="154"/>
                  </a:lnTo>
                  <a:lnTo>
                    <a:pt x="103" y="151"/>
                  </a:lnTo>
                  <a:lnTo>
                    <a:pt x="103" y="151"/>
                  </a:lnTo>
                  <a:lnTo>
                    <a:pt x="100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5" y="146"/>
                  </a:lnTo>
                  <a:lnTo>
                    <a:pt x="95" y="146"/>
                  </a:lnTo>
                  <a:lnTo>
                    <a:pt x="92" y="146"/>
                  </a:lnTo>
                  <a:lnTo>
                    <a:pt x="90" y="146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5" y="143"/>
                  </a:lnTo>
                  <a:lnTo>
                    <a:pt x="82" y="143"/>
                  </a:lnTo>
                  <a:lnTo>
                    <a:pt x="82" y="143"/>
                  </a:lnTo>
                  <a:lnTo>
                    <a:pt x="80" y="143"/>
                  </a:lnTo>
                  <a:close/>
                  <a:moveTo>
                    <a:pt x="8" y="13"/>
                  </a:moveTo>
                  <a:lnTo>
                    <a:pt x="243" y="259"/>
                  </a:lnTo>
                  <a:lnTo>
                    <a:pt x="8" y="259"/>
                  </a:lnTo>
                  <a:lnTo>
                    <a:pt x="8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261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0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6" y="266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59"/>
                  </a:lnTo>
                  <a:lnTo>
                    <a:pt x="256" y="259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0" name="Group 69">
            <a:extLst>
              <a:ext uri="{FF2B5EF4-FFF2-40B4-BE49-F238E27FC236}">
                <a16:creationId xmlns:a16="http://schemas.microsoft.com/office/drawing/2014/main" id="{B3A51699-2132-4530-A66F-0AD489BC6C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9724" y="1594798"/>
            <a:ext cx="758825" cy="760412"/>
            <a:chOff x="961" y="1077"/>
            <a:chExt cx="478" cy="479"/>
          </a:xfrm>
        </p:grpSpPr>
        <p:sp>
          <p:nvSpPr>
            <p:cNvPr id="81" name="AutoShape 68">
              <a:extLst>
                <a:ext uri="{FF2B5EF4-FFF2-40B4-BE49-F238E27FC236}">
                  <a16:creationId xmlns:a16="http://schemas.microsoft.com/office/drawing/2014/main" id="{F01216A8-DBCB-4D65-9C70-0B4D6FEA8C7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1" y="1077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8FA4BD5A-D252-45C2-AA90-A9B22F50F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" y="1079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A67CC231-BBD5-4911-82B6-FDA063ECA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9" y="1158"/>
              <a:ext cx="284" cy="319"/>
            </a:xfrm>
            <a:custGeom>
              <a:avLst/>
              <a:gdLst>
                <a:gd name="T0" fmla="*/ 120 w 284"/>
                <a:gd name="T1" fmla="*/ 251 h 319"/>
                <a:gd name="T2" fmla="*/ 140 w 284"/>
                <a:gd name="T3" fmla="*/ 256 h 319"/>
                <a:gd name="T4" fmla="*/ 123 w 284"/>
                <a:gd name="T5" fmla="*/ 236 h 319"/>
                <a:gd name="T6" fmla="*/ 115 w 284"/>
                <a:gd name="T7" fmla="*/ 275 h 319"/>
                <a:gd name="T8" fmla="*/ 152 w 284"/>
                <a:gd name="T9" fmla="*/ 256 h 319"/>
                <a:gd name="T10" fmla="*/ 177 w 284"/>
                <a:gd name="T11" fmla="*/ 248 h 319"/>
                <a:gd name="T12" fmla="*/ 179 w 284"/>
                <a:gd name="T13" fmla="*/ 226 h 319"/>
                <a:gd name="T14" fmla="*/ 196 w 284"/>
                <a:gd name="T15" fmla="*/ 241 h 319"/>
                <a:gd name="T16" fmla="*/ 167 w 284"/>
                <a:gd name="T17" fmla="*/ 224 h 319"/>
                <a:gd name="T18" fmla="*/ 181 w 284"/>
                <a:gd name="T19" fmla="*/ 260 h 319"/>
                <a:gd name="T20" fmla="*/ 201 w 284"/>
                <a:gd name="T21" fmla="*/ 224 h 319"/>
                <a:gd name="T22" fmla="*/ 66 w 284"/>
                <a:gd name="T23" fmla="*/ 243 h 319"/>
                <a:gd name="T24" fmla="*/ 78 w 284"/>
                <a:gd name="T25" fmla="*/ 226 h 319"/>
                <a:gd name="T26" fmla="*/ 83 w 284"/>
                <a:gd name="T27" fmla="*/ 246 h 319"/>
                <a:gd name="T28" fmla="*/ 54 w 284"/>
                <a:gd name="T29" fmla="*/ 236 h 319"/>
                <a:gd name="T30" fmla="*/ 86 w 284"/>
                <a:gd name="T31" fmla="*/ 258 h 319"/>
                <a:gd name="T32" fmla="*/ 86 w 284"/>
                <a:gd name="T33" fmla="*/ 216 h 319"/>
                <a:gd name="T34" fmla="*/ 39 w 284"/>
                <a:gd name="T35" fmla="*/ 182 h 319"/>
                <a:gd name="T36" fmla="*/ 61 w 284"/>
                <a:gd name="T37" fmla="*/ 174 h 319"/>
                <a:gd name="T38" fmla="*/ 54 w 284"/>
                <a:gd name="T39" fmla="*/ 197 h 319"/>
                <a:gd name="T40" fmla="*/ 32 w 284"/>
                <a:gd name="T41" fmla="*/ 194 h 319"/>
                <a:gd name="T42" fmla="*/ 71 w 284"/>
                <a:gd name="T43" fmla="*/ 194 h 319"/>
                <a:gd name="T44" fmla="*/ 49 w 284"/>
                <a:gd name="T45" fmla="*/ 162 h 319"/>
                <a:gd name="T46" fmla="*/ 78 w 284"/>
                <a:gd name="T47" fmla="*/ 116 h 319"/>
                <a:gd name="T48" fmla="*/ 98 w 284"/>
                <a:gd name="T49" fmla="*/ 120 h 319"/>
                <a:gd name="T50" fmla="*/ 81 w 284"/>
                <a:gd name="T51" fmla="*/ 101 h 319"/>
                <a:gd name="T52" fmla="*/ 76 w 284"/>
                <a:gd name="T53" fmla="*/ 140 h 319"/>
                <a:gd name="T54" fmla="*/ 108 w 284"/>
                <a:gd name="T55" fmla="*/ 120 h 319"/>
                <a:gd name="T56" fmla="*/ 267 w 284"/>
                <a:gd name="T57" fmla="*/ 155 h 319"/>
                <a:gd name="T58" fmla="*/ 206 w 284"/>
                <a:gd name="T59" fmla="*/ 84 h 319"/>
                <a:gd name="T60" fmla="*/ 277 w 284"/>
                <a:gd name="T61" fmla="*/ 167 h 319"/>
                <a:gd name="T62" fmla="*/ 228 w 284"/>
                <a:gd name="T63" fmla="*/ 71 h 319"/>
                <a:gd name="T64" fmla="*/ 71 w 284"/>
                <a:gd name="T65" fmla="*/ 295 h 319"/>
                <a:gd name="T66" fmla="*/ 25 w 284"/>
                <a:gd name="T67" fmla="*/ 246 h 319"/>
                <a:gd name="T68" fmla="*/ 10 w 284"/>
                <a:gd name="T69" fmla="*/ 177 h 319"/>
                <a:gd name="T70" fmla="*/ 37 w 284"/>
                <a:gd name="T71" fmla="*/ 111 h 319"/>
                <a:gd name="T72" fmla="*/ 93 w 284"/>
                <a:gd name="T73" fmla="*/ 74 h 319"/>
                <a:gd name="T74" fmla="*/ 137 w 284"/>
                <a:gd name="T75" fmla="*/ 74 h 319"/>
                <a:gd name="T76" fmla="*/ 147 w 284"/>
                <a:gd name="T77" fmla="*/ 162 h 319"/>
                <a:gd name="T78" fmla="*/ 189 w 284"/>
                <a:gd name="T79" fmla="*/ 179 h 319"/>
                <a:gd name="T80" fmla="*/ 248 w 284"/>
                <a:gd name="T81" fmla="*/ 194 h 319"/>
                <a:gd name="T82" fmla="*/ 223 w 284"/>
                <a:gd name="T83" fmla="*/ 260 h 319"/>
                <a:gd name="T84" fmla="*/ 169 w 284"/>
                <a:gd name="T85" fmla="*/ 302 h 319"/>
                <a:gd name="T86" fmla="*/ 101 w 284"/>
                <a:gd name="T87" fmla="*/ 61 h 319"/>
                <a:gd name="T88" fmla="*/ 34 w 284"/>
                <a:gd name="T89" fmla="*/ 98 h 319"/>
                <a:gd name="T90" fmla="*/ 0 w 284"/>
                <a:gd name="T91" fmla="*/ 165 h 319"/>
                <a:gd name="T92" fmla="*/ 10 w 284"/>
                <a:gd name="T93" fmla="*/ 241 h 319"/>
                <a:gd name="T94" fmla="*/ 59 w 284"/>
                <a:gd name="T95" fmla="*/ 297 h 319"/>
                <a:gd name="T96" fmla="*/ 132 w 284"/>
                <a:gd name="T97" fmla="*/ 319 h 319"/>
                <a:gd name="T98" fmla="*/ 204 w 284"/>
                <a:gd name="T99" fmla="*/ 295 h 319"/>
                <a:gd name="T100" fmla="*/ 250 w 284"/>
                <a:gd name="T101" fmla="*/ 236 h 319"/>
                <a:gd name="T102" fmla="*/ 255 w 284"/>
                <a:gd name="T103" fmla="*/ 177 h 319"/>
                <a:gd name="T104" fmla="*/ 179 w 284"/>
                <a:gd name="T105" fmla="*/ 170 h 319"/>
                <a:gd name="T106" fmla="*/ 152 w 284"/>
                <a:gd name="T107" fmla="*/ 140 h 319"/>
                <a:gd name="T108" fmla="*/ 140 w 284"/>
                <a:gd name="T109" fmla="*/ 61 h 319"/>
                <a:gd name="T110" fmla="*/ 172 w 284"/>
                <a:gd name="T111" fmla="*/ 49 h 319"/>
                <a:gd name="T112" fmla="*/ 184 w 284"/>
                <a:gd name="T113" fmla="*/ 27 h 319"/>
                <a:gd name="T114" fmla="*/ 159 w 284"/>
                <a:gd name="T115" fmla="*/ 3 h 319"/>
                <a:gd name="T116" fmla="*/ 162 w 284"/>
                <a:gd name="T117" fmla="*/ 52 h 319"/>
                <a:gd name="T118" fmla="*/ 221 w 284"/>
                <a:gd name="T119" fmla="*/ 64 h 319"/>
                <a:gd name="T120" fmla="*/ 191 w 284"/>
                <a:gd name="T121" fmla="*/ 2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4" h="319">
                  <a:moveTo>
                    <a:pt x="128" y="270"/>
                  </a:moveTo>
                  <a:lnTo>
                    <a:pt x="125" y="268"/>
                  </a:lnTo>
                  <a:lnTo>
                    <a:pt x="125" y="268"/>
                  </a:lnTo>
                  <a:lnTo>
                    <a:pt x="125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0" y="265"/>
                  </a:lnTo>
                  <a:lnTo>
                    <a:pt x="120" y="265"/>
                  </a:lnTo>
                  <a:lnTo>
                    <a:pt x="120" y="265"/>
                  </a:lnTo>
                  <a:lnTo>
                    <a:pt x="118" y="263"/>
                  </a:lnTo>
                  <a:lnTo>
                    <a:pt x="118" y="263"/>
                  </a:lnTo>
                  <a:lnTo>
                    <a:pt x="118" y="263"/>
                  </a:lnTo>
                  <a:lnTo>
                    <a:pt x="118" y="260"/>
                  </a:lnTo>
                  <a:lnTo>
                    <a:pt x="118" y="260"/>
                  </a:lnTo>
                  <a:lnTo>
                    <a:pt x="118" y="258"/>
                  </a:lnTo>
                  <a:lnTo>
                    <a:pt x="118" y="258"/>
                  </a:lnTo>
                  <a:lnTo>
                    <a:pt x="118" y="256"/>
                  </a:lnTo>
                  <a:lnTo>
                    <a:pt x="118" y="256"/>
                  </a:lnTo>
                  <a:lnTo>
                    <a:pt x="118" y="253"/>
                  </a:lnTo>
                  <a:lnTo>
                    <a:pt x="118" y="253"/>
                  </a:lnTo>
                  <a:lnTo>
                    <a:pt x="118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48"/>
                  </a:lnTo>
                  <a:lnTo>
                    <a:pt x="123" y="248"/>
                  </a:lnTo>
                  <a:lnTo>
                    <a:pt x="123" y="248"/>
                  </a:lnTo>
                  <a:lnTo>
                    <a:pt x="123" y="246"/>
                  </a:lnTo>
                  <a:lnTo>
                    <a:pt x="125" y="246"/>
                  </a:lnTo>
                  <a:lnTo>
                    <a:pt x="125" y="246"/>
                  </a:lnTo>
                  <a:lnTo>
                    <a:pt x="128" y="246"/>
                  </a:lnTo>
                  <a:lnTo>
                    <a:pt x="128" y="246"/>
                  </a:lnTo>
                  <a:lnTo>
                    <a:pt x="130" y="246"/>
                  </a:lnTo>
                  <a:lnTo>
                    <a:pt x="130" y="246"/>
                  </a:lnTo>
                  <a:lnTo>
                    <a:pt x="132" y="246"/>
                  </a:lnTo>
                  <a:lnTo>
                    <a:pt x="132" y="246"/>
                  </a:lnTo>
                  <a:lnTo>
                    <a:pt x="132" y="246"/>
                  </a:lnTo>
                  <a:lnTo>
                    <a:pt x="135" y="246"/>
                  </a:lnTo>
                  <a:lnTo>
                    <a:pt x="135" y="248"/>
                  </a:lnTo>
                  <a:lnTo>
                    <a:pt x="135" y="248"/>
                  </a:lnTo>
                  <a:lnTo>
                    <a:pt x="137" y="248"/>
                  </a:lnTo>
                  <a:lnTo>
                    <a:pt x="137" y="248"/>
                  </a:lnTo>
                  <a:lnTo>
                    <a:pt x="137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3"/>
                  </a:lnTo>
                  <a:lnTo>
                    <a:pt x="140" y="253"/>
                  </a:lnTo>
                  <a:lnTo>
                    <a:pt x="140" y="256"/>
                  </a:lnTo>
                  <a:lnTo>
                    <a:pt x="140" y="256"/>
                  </a:lnTo>
                  <a:lnTo>
                    <a:pt x="140" y="256"/>
                  </a:lnTo>
                  <a:lnTo>
                    <a:pt x="140" y="258"/>
                  </a:lnTo>
                  <a:lnTo>
                    <a:pt x="140" y="258"/>
                  </a:lnTo>
                  <a:lnTo>
                    <a:pt x="140" y="260"/>
                  </a:lnTo>
                  <a:lnTo>
                    <a:pt x="140" y="260"/>
                  </a:lnTo>
                  <a:lnTo>
                    <a:pt x="140" y="263"/>
                  </a:lnTo>
                  <a:lnTo>
                    <a:pt x="140" y="263"/>
                  </a:lnTo>
                  <a:lnTo>
                    <a:pt x="140" y="265"/>
                  </a:lnTo>
                  <a:lnTo>
                    <a:pt x="137" y="265"/>
                  </a:lnTo>
                  <a:lnTo>
                    <a:pt x="137" y="265"/>
                  </a:lnTo>
                  <a:lnTo>
                    <a:pt x="137" y="268"/>
                  </a:lnTo>
                  <a:lnTo>
                    <a:pt x="135" y="268"/>
                  </a:lnTo>
                  <a:lnTo>
                    <a:pt x="135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28" y="270"/>
                  </a:lnTo>
                  <a:lnTo>
                    <a:pt x="128" y="270"/>
                  </a:lnTo>
                  <a:close/>
                  <a:moveTo>
                    <a:pt x="128" y="236"/>
                  </a:moveTo>
                  <a:lnTo>
                    <a:pt x="125" y="236"/>
                  </a:lnTo>
                  <a:lnTo>
                    <a:pt x="123" y="236"/>
                  </a:lnTo>
                  <a:lnTo>
                    <a:pt x="120" y="236"/>
                  </a:lnTo>
                  <a:lnTo>
                    <a:pt x="118" y="238"/>
                  </a:lnTo>
                  <a:lnTo>
                    <a:pt x="118" y="238"/>
                  </a:lnTo>
                  <a:lnTo>
                    <a:pt x="115" y="241"/>
                  </a:lnTo>
                  <a:lnTo>
                    <a:pt x="113" y="241"/>
                  </a:lnTo>
                  <a:lnTo>
                    <a:pt x="113" y="243"/>
                  </a:lnTo>
                  <a:lnTo>
                    <a:pt x="110" y="246"/>
                  </a:lnTo>
                  <a:lnTo>
                    <a:pt x="110" y="246"/>
                  </a:lnTo>
                  <a:lnTo>
                    <a:pt x="108" y="248"/>
                  </a:lnTo>
                  <a:lnTo>
                    <a:pt x="108" y="251"/>
                  </a:lnTo>
                  <a:lnTo>
                    <a:pt x="108" y="253"/>
                  </a:lnTo>
                  <a:lnTo>
                    <a:pt x="108" y="256"/>
                  </a:lnTo>
                  <a:lnTo>
                    <a:pt x="108" y="258"/>
                  </a:lnTo>
                  <a:lnTo>
                    <a:pt x="108" y="258"/>
                  </a:lnTo>
                  <a:lnTo>
                    <a:pt x="108" y="260"/>
                  </a:lnTo>
                  <a:lnTo>
                    <a:pt x="108" y="263"/>
                  </a:lnTo>
                  <a:lnTo>
                    <a:pt x="108" y="265"/>
                  </a:lnTo>
                  <a:lnTo>
                    <a:pt x="108" y="268"/>
                  </a:lnTo>
                  <a:lnTo>
                    <a:pt x="110" y="268"/>
                  </a:lnTo>
                  <a:lnTo>
                    <a:pt x="110" y="270"/>
                  </a:lnTo>
                  <a:lnTo>
                    <a:pt x="113" y="273"/>
                  </a:lnTo>
                  <a:lnTo>
                    <a:pt x="113" y="273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8" y="278"/>
                  </a:lnTo>
                  <a:lnTo>
                    <a:pt x="120" y="278"/>
                  </a:lnTo>
                  <a:lnTo>
                    <a:pt x="123" y="278"/>
                  </a:lnTo>
                  <a:lnTo>
                    <a:pt x="123" y="280"/>
                  </a:lnTo>
                  <a:lnTo>
                    <a:pt x="125" y="280"/>
                  </a:lnTo>
                  <a:lnTo>
                    <a:pt x="128" y="280"/>
                  </a:lnTo>
                  <a:lnTo>
                    <a:pt x="130" y="280"/>
                  </a:lnTo>
                  <a:lnTo>
                    <a:pt x="130" y="280"/>
                  </a:lnTo>
                  <a:lnTo>
                    <a:pt x="132" y="280"/>
                  </a:lnTo>
                  <a:lnTo>
                    <a:pt x="135" y="280"/>
                  </a:lnTo>
                  <a:lnTo>
                    <a:pt x="137" y="278"/>
                  </a:lnTo>
                  <a:lnTo>
                    <a:pt x="140" y="278"/>
                  </a:lnTo>
                  <a:lnTo>
                    <a:pt x="142" y="278"/>
                  </a:lnTo>
                  <a:lnTo>
                    <a:pt x="142" y="275"/>
                  </a:lnTo>
                  <a:lnTo>
                    <a:pt x="145" y="273"/>
                  </a:lnTo>
                  <a:lnTo>
                    <a:pt x="147" y="273"/>
                  </a:lnTo>
                  <a:lnTo>
                    <a:pt x="147" y="270"/>
                  </a:lnTo>
                  <a:lnTo>
                    <a:pt x="150" y="268"/>
                  </a:lnTo>
                  <a:lnTo>
                    <a:pt x="150" y="265"/>
                  </a:lnTo>
                  <a:lnTo>
                    <a:pt x="150" y="265"/>
                  </a:lnTo>
                  <a:lnTo>
                    <a:pt x="152" y="263"/>
                  </a:lnTo>
                  <a:lnTo>
                    <a:pt x="152" y="260"/>
                  </a:lnTo>
                  <a:lnTo>
                    <a:pt x="152" y="258"/>
                  </a:lnTo>
                  <a:lnTo>
                    <a:pt x="152" y="256"/>
                  </a:lnTo>
                  <a:lnTo>
                    <a:pt x="152" y="253"/>
                  </a:lnTo>
                  <a:lnTo>
                    <a:pt x="150" y="251"/>
                  </a:lnTo>
                  <a:lnTo>
                    <a:pt x="150" y="251"/>
                  </a:lnTo>
                  <a:lnTo>
                    <a:pt x="150" y="248"/>
                  </a:lnTo>
                  <a:lnTo>
                    <a:pt x="147" y="246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37" y="236"/>
                  </a:lnTo>
                  <a:lnTo>
                    <a:pt x="135" y="236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28" y="236"/>
                  </a:lnTo>
                  <a:close/>
                  <a:moveTo>
                    <a:pt x="181" y="251"/>
                  </a:moveTo>
                  <a:lnTo>
                    <a:pt x="181" y="251"/>
                  </a:lnTo>
                  <a:lnTo>
                    <a:pt x="181" y="248"/>
                  </a:lnTo>
                  <a:lnTo>
                    <a:pt x="179" y="248"/>
                  </a:lnTo>
                  <a:lnTo>
                    <a:pt x="179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3"/>
                  </a:lnTo>
                  <a:lnTo>
                    <a:pt x="174" y="243"/>
                  </a:lnTo>
                  <a:lnTo>
                    <a:pt x="172" y="241"/>
                  </a:lnTo>
                  <a:lnTo>
                    <a:pt x="172" y="241"/>
                  </a:lnTo>
                  <a:lnTo>
                    <a:pt x="172" y="241"/>
                  </a:lnTo>
                  <a:lnTo>
                    <a:pt x="172" y="238"/>
                  </a:lnTo>
                  <a:lnTo>
                    <a:pt x="172" y="238"/>
                  </a:lnTo>
                  <a:lnTo>
                    <a:pt x="172" y="236"/>
                  </a:lnTo>
                  <a:lnTo>
                    <a:pt x="172" y="236"/>
                  </a:lnTo>
                  <a:lnTo>
                    <a:pt x="172" y="233"/>
                  </a:lnTo>
                  <a:lnTo>
                    <a:pt x="172" y="233"/>
                  </a:lnTo>
                  <a:lnTo>
                    <a:pt x="174" y="231"/>
                  </a:lnTo>
                  <a:lnTo>
                    <a:pt x="174" y="231"/>
                  </a:lnTo>
                  <a:lnTo>
                    <a:pt x="174" y="231"/>
                  </a:lnTo>
                  <a:lnTo>
                    <a:pt x="177" y="229"/>
                  </a:lnTo>
                  <a:lnTo>
                    <a:pt x="177" y="229"/>
                  </a:lnTo>
                  <a:lnTo>
                    <a:pt x="177" y="229"/>
                  </a:lnTo>
                  <a:lnTo>
                    <a:pt x="179" y="226"/>
                  </a:lnTo>
                  <a:lnTo>
                    <a:pt x="179" y="226"/>
                  </a:lnTo>
                  <a:lnTo>
                    <a:pt x="181" y="226"/>
                  </a:lnTo>
                  <a:lnTo>
                    <a:pt x="181" y="226"/>
                  </a:lnTo>
                  <a:lnTo>
                    <a:pt x="181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6" y="226"/>
                  </a:lnTo>
                  <a:lnTo>
                    <a:pt x="186" y="226"/>
                  </a:lnTo>
                  <a:lnTo>
                    <a:pt x="189" y="226"/>
                  </a:lnTo>
                  <a:lnTo>
                    <a:pt x="189" y="226"/>
                  </a:lnTo>
                  <a:lnTo>
                    <a:pt x="189" y="229"/>
                  </a:lnTo>
                  <a:lnTo>
                    <a:pt x="191" y="229"/>
                  </a:lnTo>
                  <a:lnTo>
                    <a:pt x="191" y="229"/>
                  </a:lnTo>
                  <a:lnTo>
                    <a:pt x="191" y="229"/>
                  </a:lnTo>
                  <a:lnTo>
                    <a:pt x="194" y="231"/>
                  </a:lnTo>
                  <a:lnTo>
                    <a:pt x="194" y="231"/>
                  </a:lnTo>
                  <a:lnTo>
                    <a:pt x="194" y="231"/>
                  </a:lnTo>
                  <a:lnTo>
                    <a:pt x="194" y="233"/>
                  </a:lnTo>
                  <a:lnTo>
                    <a:pt x="194" y="233"/>
                  </a:lnTo>
                  <a:lnTo>
                    <a:pt x="196" y="236"/>
                  </a:lnTo>
                  <a:lnTo>
                    <a:pt x="196" y="236"/>
                  </a:lnTo>
                  <a:lnTo>
                    <a:pt x="196" y="236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6" y="241"/>
                  </a:lnTo>
                  <a:lnTo>
                    <a:pt x="194" y="241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4" y="246"/>
                  </a:lnTo>
                  <a:lnTo>
                    <a:pt x="194" y="246"/>
                  </a:lnTo>
                  <a:lnTo>
                    <a:pt x="191" y="246"/>
                  </a:lnTo>
                  <a:lnTo>
                    <a:pt x="191" y="248"/>
                  </a:lnTo>
                  <a:lnTo>
                    <a:pt x="191" y="248"/>
                  </a:lnTo>
                  <a:lnTo>
                    <a:pt x="189" y="248"/>
                  </a:lnTo>
                  <a:lnTo>
                    <a:pt x="189" y="248"/>
                  </a:lnTo>
                  <a:lnTo>
                    <a:pt x="186" y="248"/>
                  </a:lnTo>
                  <a:lnTo>
                    <a:pt x="186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1" y="251"/>
                  </a:lnTo>
                  <a:close/>
                  <a:moveTo>
                    <a:pt x="181" y="216"/>
                  </a:moveTo>
                  <a:lnTo>
                    <a:pt x="179" y="216"/>
                  </a:lnTo>
                  <a:lnTo>
                    <a:pt x="177" y="216"/>
                  </a:lnTo>
                  <a:lnTo>
                    <a:pt x="177" y="216"/>
                  </a:lnTo>
                  <a:lnTo>
                    <a:pt x="174" y="219"/>
                  </a:lnTo>
                  <a:lnTo>
                    <a:pt x="172" y="219"/>
                  </a:lnTo>
                  <a:lnTo>
                    <a:pt x="169" y="221"/>
                  </a:lnTo>
                  <a:lnTo>
                    <a:pt x="169" y="221"/>
                  </a:lnTo>
                  <a:lnTo>
                    <a:pt x="167" y="224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9"/>
                  </a:lnTo>
                  <a:lnTo>
                    <a:pt x="162" y="231"/>
                  </a:lnTo>
                  <a:lnTo>
                    <a:pt x="162" y="233"/>
                  </a:lnTo>
                  <a:lnTo>
                    <a:pt x="162" y="236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41"/>
                  </a:lnTo>
                  <a:lnTo>
                    <a:pt x="162" y="243"/>
                  </a:lnTo>
                  <a:lnTo>
                    <a:pt x="162" y="246"/>
                  </a:lnTo>
                  <a:lnTo>
                    <a:pt x="164" y="248"/>
                  </a:lnTo>
                  <a:lnTo>
                    <a:pt x="164" y="248"/>
                  </a:lnTo>
                  <a:lnTo>
                    <a:pt x="164" y="251"/>
                  </a:lnTo>
                  <a:lnTo>
                    <a:pt x="167" y="253"/>
                  </a:lnTo>
                  <a:lnTo>
                    <a:pt x="169" y="253"/>
                  </a:lnTo>
                  <a:lnTo>
                    <a:pt x="169" y="256"/>
                  </a:lnTo>
                  <a:lnTo>
                    <a:pt x="172" y="256"/>
                  </a:lnTo>
                  <a:lnTo>
                    <a:pt x="172" y="258"/>
                  </a:lnTo>
                  <a:lnTo>
                    <a:pt x="174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9" y="260"/>
                  </a:lnTo>
                  <a:lnTo>
                    <a:pt x="181" y="260"/>
                  </a:lnTo>
                  <a:lnTo>
                    <a:pt x="184" y="260"/>
                  </a:lnTo>
                  <a:lnTo>
                    <a:pt x="186" y="260"/>
                  </a:lnTo>
                  <a:lnTo>
                    <a:pt x="186" y="260"/>
                  </a:lnTo>
                  <a:lnTo>
                    <a:pt x="189" y="260"/>
                  </a:lnTo>
                  <a:lnTo>
                    <a:pt x="191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9" y="256"/>
                  </a:lnTo>
                  <a:lnTo>
                    <a:pt x="199" y="253"/>
                  </a:lnTo>
                  <a:lnTo>
                    <a:pt x="201" y="253"/>
                  </a:lnTo>
                  <a:lnTo>
                    <a:pt x="201" y="251"/>
                  </a:lnTo>
                  <a:lnTo>
                    <a:pt x="204" y="248"/>
                  </a:lnTo>
                  <a:lnTo>
                    <a:pt x="204" y="246"/>
                  </a:lnTo>
                  <a:lnTo>
                    <a:pt x="206" y="246"/>
                  </a:lnTo>
                  <a:lnTo>
                    <a:pt x="206" y="243"/>
                  </a:lnTo>
                  <a:lnTo>
                    <a:pt x="206" y="241"/>
                  </a:lnTo>
                  <a:lnTo>
                    <a:pt x="206" y="238"/>
                  </a:lnTo>
                  <a:lnTo>
                    <a:pt x="206" y="236"/>
                  </a:lnTo>
                  <a:lnTo>
                    <a:pt x="206" y="233"/>
                  </a:lnTo>
                  <a:lnTo>
                    <a:pt x="206" y="231"/>
                  </a:lnTo>
                  <a:lnTo>
                    <a:pt x="204" y="231"/>
                  </a:lnTo>
                  <a:lnTo>
                    <a:pt x="204" y="229"/>
                  </a:lnTo>
                  <a:lnTo>
                    <a:pt x="204" y="226"/>
                  </a:lnTo>
                  <a:lnTo>
                    <a:pt x="201" y="224"/>
                  </a:lnTo>
                  <a:lnTo>
                    <a:pt x="201" y="224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6" y="219"/>
                  </a:lnTo>
                  <a:lnTo>
                    <a:pt x="194" y="219"/>
                  </a:lnTo>
                  <a:lnTo>
                    <a:pt x="194" y="219"/>
                  </a:lnTo>
                  <a:lnTo>
                    <a:pt x="191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6" y="216"/>
                  </a:lnTo>
                  <a:lnTo>
                    <a:pt x="184" y="216"/>
                  </a:lnTo>
                  <a:lnTo>
                    <a:pt x="181" y="216"/>
                  </a:lnTo>
                  <a:close/>
                  <a:moveTo>
                    <a:pt x="74" y="248"/>
                  </a:moveTo>
                  <a:lnTo>
                    <a:pt x="74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6"/>
                  </a:lnTo>
                  <a:lnTo>
                    <a:pt x="66" y="246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4" y="233"/>
                  </a:lnTo>
                  <a:lnTo>
                    <a:pt x="66" y="233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29"/>
                  </a:lnTo>
                  <a:lnTo>
                    <a:pt x="69" y="229"/>
                  </a:lnTo>
                  <a:lnTo>
                    <a:pt x="69" y="229"/>
                  </a:lnTo>
                  <a:lnTo>
                    <a:pt x="69" y="229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6" y="229"/>
                  </a:lnTo>
                  <a:lnTo>
                    <a:pt x="86" y="231"/>
                  </a:lnTo>
                  <a:lnTo>
                    <a:pt x="86" y="231"/>
                  </a:lnTo>
                  <a:lnTo>
                    <a:pt x="86" y="233"/>
                  </a:lnTo>
                  <a:lnTo>
                    <a:pt x="86" y="233"/>
                  </a:lnTo>
                  <a:lnTo>
                    <a:pt x="88" y="233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6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78" y="248"/>
                  </a:lnTo>
                  <a:lnTo>
                    <a:pt x="78" y="248"/>
                  </a:lnTo>
                  <a:lnTo>
                    <a:pt x="76" y="248"/>
                  </a:lnTo>
                  <a:lnTo>
                    <a:pt x="76" y="248"/>
                  </a:lnTo>
                  <a:lnTo>
                    <a:pt x="76" y="248"/>
                  </a:lnTo>
                  <a:lnTo>
                    <a:pt x="74" y="248"/>
                  </a:lnTo>
                  <a:close/>
                  <a:moveTo>
                    <a:pt x="74" y="216"/>
                  </a:moveTo>
                  <a:lnTo>
                    <a:pt x="71" y="216"/>
                  </a:lnTo>
                  <a:lnTo>
                    <a:pt x="69" y="216"/>
                  </a:lnTo>
                  <a:lnTo>
                    <a:pt x="69" y="216"/>
                  </a:lnTo>
                  <a:lnTo>
                    <a:pt x="66" y="216"/>
                  </a:lnTo>
                  <a:lnTo>
                    <a:pt x="64" y="219"/>
                  </a:lnTo>
                  <a:lnTo>
                    <a:pt x="61" y="219"/>
                  </a:lnTo>
                  <a:lnTo>
                    <a:pt x="61" y="221"/>
                  </a:lnTo>
                  <a:lnTo>
                    <a:pt x="59" y="224"/>
                  </a:lnTo>
                  <a:lnTo>
                    <a:pt x="56" y="224"/>
                  </a:lnTo>
                  <a:lnTo>
                    <a:pt x="56" y="226"/>
                  </a:lnTo>
                  <a:lnTo>
                    <a:pt x="56" y="229"/>
                  </a:lnTo>
                  <a:lnTo>
                    <a:pt x="54" y="231"/>
                  </a:lnTo>
                  <a:lnTo>
                    <a:pt x="54" y="233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4" y="238"/>
                  </a:lnTo>
                  <a:lnTo>
                    <a:pt x="54" y="241"/>
                  </a:lnTo>
                  <a:lnTo>
                    <a:pt x="54" y="243"/>
                  </a:lnTo>
                  <a:lnTo>
                    <a:pt x="54" y="246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51"/>
                  </a:lnTo>
                  <a:lnTo>
                    <a:pt x="59" y="253"/>
                  </a:lnTo>
                  <a:lnTo>
                    <a:pt x="61" y="253"/>
                  </a:lnTo>
                  <a:lnTo>
                    <a:pt x="61" y="256"/>
                  </a:lnTo>
                  <a:lnTo>
                    <a:pt x="64" y="256"/>
                  </a:lnTo>
                  <a:lnTo>
                    <a:pt x="64" y="258"/>
                  </a:lnTo>
                  <a:lnTo>
                    <a:pt x="66" y="258"/>
                  </a:lnTo>
                  <a:lnTo>
                    <a:pt x="69" y="258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4" y="260"/>
                  </a:lnTo>
                  <a:lnTo>
                    <a:pt x="76" y="260"/>
                  </a:lnTo>
                  <a:lnTo>
                    <a:pt x="78" y="260"/>
                  </a:lnTo>
                  <a:lnTo>
                    <a:pt x="81" y="260"/>
                  </a:lnTo>
                  <a:lnTo>
                    <a:pt x="81" y="258"/>
                  </a:lnTo>
                  <a:lnTo>
                    <a:pt x="83" y="258"/>
                  </a:lnTo>
                  <a:lnTo>
                    <a:pt x="86" y="258"/>
                  </a:lnTo>
                  <a:lnTo>
                    <a:pt x="88" y="256"/>
                  </a:lnTo>
                  <a:lnTo>
                    <a:pt x="91" y="256"/>
                  </a:lnTo>
                  <a:lnTo>
                    <a:pt x="91" y="253"/>
                  </a:lnTo>
                  <a:lnTo>
                    <a:pt x="93" y="253"/>
                  </a:lnTo>
                  <a:lnTo>
                    <a:pt x="93" y="251"/>
                  </a:lnTo>
                  <a:lnTo>
                    <a:pt x="96" y="248"/>
                  </a:lnTo>
                  <a:lnTo>
                    <a:pt x="96" y="246"/>
                  </a:lnTo>
                  <a:lnTo>
                    <a:pt x="98" y="243"/>
                  </a:lnTo>
                  <a:lnTo>
                    <a:pt x="98" y="243"/>
                  </a:lnTo>
                  <a:lnTo>
                    <a:pt x="98" y="241"/>
                  </a:lnTo>
                  <a:lnTo>
                    <a:pt x="98" y="238"/>
                  </a:lnTo>
                  <a:lnTo>
                    <a:pt x="98" y="236"/>
                  </a:lnTo>
                  <a:lnTo>
                    <a:pt x="98" y="233"/>
                  </a:lnTo>
                  <a:lnTo>
                    <a:pt x="98" y="231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26"/>
                  </a:lnTo>
                  <a:lnTo>
                    <a:pt x="93" y="224"/>
                  </a:lnTo>
                  <a:lnTo>
                    <a:pt x="93" y="224"/>
                  </a:lnTo>
                  <a:lnTo>
                    <a:pt x="91" y="221"/>
                  </a:lnTo>
                  <a:lnTo>
                    <a:pt x="91" y="221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6" y="216"/>
                  </a:lnTo>
                  <a:lnTo>
                    <a:pt x="83" y="216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78" y="216"/>
                  </a:lnTo>
                  <a:lnTo>
                    <a:pt x="76" y="214"/>
                  </a:lnTo>
                  <a:lnTo>
                    <a:pt x="74" y="216"/>
                  </a:lnTo>
                  <a:close/>
                  <a:moveTo>
                    <a:pt x="49" y="197"/>
                  </a:moveTo>
                  <a:lnTo>
                    <a:pt x="49" y="197"/>
                  </a:lnTo>
                  <a:lnTo>
                    <a:pt x="49" y="194"/>
                  </a:lnTo>
                  <a:lnTo>
                    <a:pt x="47" y="194"/>
                  </a:lnTo>
                  <a:lnTo>
                    <a:pt x="47" y="194"/>
                  </a:lnTo>
                  <a:lnTo>
                    <a:pt x="44" y="194"/>
                  </a:lnTo>
                  <a:lnTo>
                    <a:pt x="44" y="194"/>
                  </a:lnTo>
                  <a:lnTo>
                    <a:pt x="44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2" y="189"/>
                  </a:lnTo>
                  <a:lnTo>
                    <a:pt x="42" y="189"/>
                  </a:lnTo>
                  <a:lnTo>
                    <a:pt x="42" y="189"/>
                  </a:lnTo>
                  <a:lnTo>
                    <a:pt x="42" y="187"/>
                  </a:lnTo>
                  <a:lnTo>
                    <a:pt x="39" y="187"/>
                  </a:lnTo>
                  <a:lnTo>
                    <a:pt x="39" y="184"/>
                  </a:lnTo>
                  <a:lnTo>
                    <a:pt x="39" y="184"/>
                  </a:lnTo>
                  <a:lnTo>
                    <a:pt x="39" y="182"/>
                  </a:lnTo>
                  <a:lnTo>
                    <a:pt x="42" y="182"/>
                  </a:lnTo>
                  <a:lnTo>
                    <a:pt x="42" y="179"/>
                  </a:lnTo>
                  <a:lnTo>
                    <a:pt x="42" y="179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4" y="177"/>
                  </a:lnTo>
                  <a:lnTo>
                    <a:pt x="44" y="174"/>
                  </a:lnTo>
                  <a:lnTo>
                    <a:pt x="44" y="174"/>
                  </a:lnTo>
                  <a:lnTo>
                    <a:pt x="47" y="174"/>
                  </a:lnTo>
                  <a:lnTo>
                    <a:pt x="47" y="172"/>
                  </a:lnTo>
                  <a:lnTo>
                    <a:pt x="47" y="172"/>
                  </a:lnTo>
                  <a:lnTo>
                    <a:pt x="49" y="172"/>
                  </a:lnTo>
                  <a:lnTo>
                    <a:pt x="49" y="172"/>
                  </a:lnTo>
                  <a:lnTo>
                    <a:pt x="52" y="172"/>
                  </a:lnTo>
                  <a:lnTo>
                    <a:pt x="52" y="172"/>
                  </a:lnTo>
                  <a:lnTo>
                    <a:pt x="54" y="172"/>
                  </a:lnTo>
                  <a:lnTo>
                    <a:pt x="54" y="172"/>
                  </a:lnTo>
                  <a:lnTo>
                    <a:pt x="56" y="172"/>
                  </a:lnTo>
                  <a:lnTo>
                    <a:pt x="56" y="172"/>
                  </a:lnTo>
                  <a:lnTo>
                    <a:pt x="56" y="172"/>
                  </a:lnTo>
                  <a:lnTo>
                    <a:pt x="59" y="174"/>
                  </a:lnTo>
                  <a:lnTo>
                    <a:pt x="59" y="174"/>
                  </a:lnTo>
                  <a:lnTo>
                    <a:pt x="59" y="174"/>
                  </a:lnTo>
                  <a:lnTo>
                    <a:pt x="61" y="174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4" y="179"/>
                  </a:lnTo>
                  <a:lnTo>
                    <a:pt x="64" y="179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4" y="184"/>
                  </a:lnTo>
                  <a:lnTo>
                    <a:pt x="64" y="187"/>
                  </a:lnTo>
                  <a:lnTo>
                    <a:pt x="64" y="187"/>
                  </a:lnTo>
                  <a:lnTo>
                    <a:pt x="64" y="189"/>
                  </a:lnTo>
                  <a:lnTo>
                    <a:pt x="61" y="189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59" y="194"/>
                  </a:lnTo>
                  <a:lnTo>
                    <a:pt x="59" y="194"/>
                  </a:lnTo>
                  <a:lnTo>
                    <a:pt x="56" y="194"/>
                  </a:lnTo>
                  <a:lnTo>
                    <a:pt x="56" y="194"/>
                  </a:lnTo>
                  <a:lnTo>
                    <a:pt x="56" y="197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49" y="197"/>
                  </a:lnTo>
                  <a:close/>
                  <a:moveTo>
                    <a:pt x="49" y="162"/>
                  </a:moveTo>
                  <a:lnTo>
                    <a:pt x="49" y="162"/>
                  </a:lnTo>
                  <a:lnTo>
                    <a:pt x="47" y="162"/>
                  </a:lnTo>
                  <a:lnTo>
                    <a:pt x="44" y="162"/>
                  </a:lnTo>
                  <a:lnTo>
                    <a:pt x="42" y="165"/>
                  </a:lnTo>
                  <a:lnTo>
                    <a:pt x="39" y="165"/>
                  </a:lnTo>
                  <a:lnTo>
                    <a:pt x="39" y="167"/>
                  </a:lnTo>
                  <a:lnTo>
                    <a:pt x="37" y="167"/>
                  </a:lnTo>
                  <a:lnTo>
                    <a:pt x="34" y="170"/>
                  </a:lnTo>
                  <a:lnTo>
                    <a:pt x="34" y="172"/>
                  </a:lnTo>
                  <a:lnTo>
                    <a:pt x="32" y="172"/>
                  </a:lnTo>
                  <a:lnTo>
                    <a:pt x="32" y="174"/>
                  </a:lnTo>
                  <a:lnTo>
                    <a:pt x="32" y="177"/>
                  </a:lnTo>
                  <a:lnTo>
                    <a:pt x="29" y="179"/>
                  </a:lnTo>
                  <a:lnTo>
                    <a:pt x="29" y="182"/>
                  </a:lnTo>
                  <a:lnTo>
                    <a:pt x="29" y="184"/>
                  </a:lnTo>
                  <a:lnTo>
                    <a:pt x="29" y="187"/>
                  </a:lnTo>
                  <a:lnTo>
                    <a:pt x="29" y="187"/>
                  </a:lnTo>
                  <a:lnTo>
                    <a:pt x="29" y="189"/>
                  </a:lnTo>
                  <a:lnTo>
                    <a:pt x="32" y="192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4" y="197"/>
                  </a:lnTo>
                  <a:lnTo>
                    <a:pt x="34" y="199"/>
                  </a:lnTo>
                  <a:lnTo>
                    <a:pt x="37" y="199"/>
                  </a:lnTo>
                  <a:lnTo>
                    <a:pt x="37" y="202"/>
                  </a:lnTo>
                  <a:lnTo>
                    <a:pt x="39" y="202"/>
                  </a:lnTo>
                  <a:lnTo>
                    <a:pt x="42" y="204"/>
                  </a:lnTo>
                  <a:lnTo>
                    <a:pt x="42" y="204"/>
                  </a:lnTo>
                  <a:lnTo>
                    <a:pt x="44" y="204"/>
                  </a:lnTo>
                  <a:lnTo>
                    <a:pt x="47" y="206"/>
                  </a:lnTo>
                  <a:lnTo>
                    <a:pt x="49" y="206"/>
                  </a:lnTo>
                  <a:lnTo>
                    <a:pt x="49" y="206"/>
                  </a:lnTo>
                  <a:lnTo>
                    <a:pt x="52" y="206"/>
                  </a:lnTo>
                  <a:lnTo>
                    <a:pt x="54" y="206"/>
                  </a:lnTo>
                  <a:lnTo>
                    <a:pt x="56" y="206"/>
                  </a:lnTo>
                  <a:lnTo>
                    <a:pt x="59" y="206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4" y="204"/>
                  </a:lnTo>
                  <a:lnTo>
                    <a:pt x="66" y="202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71" y="197"/>
                  </a:lnTo>
                  <a:lnTo>
                    <a:pt x="71" y="194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4" y="189"/>
                  </a:lnTo>
                  <a:lnTo>
                    <a:pt x="74" y="187"/>
                  </a:lnTo>
                  <a:lnTo>
                    <a:pt x="74" y="184"/>
                  </a:lnTo>
                  <a:lnTo>
                    <a:pt x="74" y="182"/>
                  </a:lnTo>
                  <a:lnTo>
                    <a:pt x="74" y="179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1" y="174"/>
                  </a:lnTo>
                  <a:lnTo>
                    <a:pt x="71" y="172"/>
                  </a:lnTo>
                  <a:lnTo>
                    <a:pt x="71" y="172"/>
                  </a:lnTo>
                  <a:lnTo>
                    <a:pt x="69" y="170"/>
                  </a:lnTo>
                  <a:lnTo>
                    <a:pt x="69" y="167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4" y="165"/>
                  </a:lnTo>
                  <a:lnTo>
                    <a:pt x="61" y="165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6" y="162"/>
                  </a:lnTo>
                  <a:lnTo>
                    <a:pt x="54" y="162"/>
                  </a:lnTo>
                  <a:lnTo>
                    <a:pt x="52" y="162"/>
                  </a:lnTo>
                  <a:lnTo>
                    <a:pt x="49" y="162"/>
                  </a:lnTo>
                  <a:close/>
                  <a:moveTo>
                    <a:pt x="86" y="133"/>
                  </a:moveTo>
                  <a:lnTo>
                    <a:pt x="83" y="133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1" y="133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81" y="113"/>
                  </a:lnTo>
                  <a:lnTo>
                    <a:pt x="81" y="113"/>
                  </a:lnTo>
                  <a:lnTo>
                    <a:pt x="81" y="113"/>
                  </a:lnTo>
                  <a:lnTo>
                    <a:pt x="83" y="113"/>
                  </a:lnTo>
                  <a:lnTo>
                    <a:pt x="83" y="113"/>
                  </a:lnTo>
                  <a:lnTo>
                    <a:pt x="83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8" y="111"/>
                  </a:lnTo>
                  <a:lnTo>
                    <a:pt x="88" y="111"/>
                  </a:lnTo>
                  <a:lnTo>
                    <a:pt x="88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6" y="113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8" y="116"/>
                  </a:lnTo>
                  <a:lnTo>
                    <a:pt x="98" y="118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3" y="130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6" y="133"/>
                  </a:lnTo>
                  <a:close/>
                  <a:moveTo>
                    <a:pt x="86" y="101"/>
                  </a:moveTo>
                  <a:lnTo>
                    <a:pt x="83" y="101"/>
                  </a:lnTo>
                  <a:lnTo>
                    <a:pt x="81" y="101"/>
                  </a:lnTo>
                  <a:lnTo>
                    <a:pt x="78" y="103"/>
                  </a:lnTo>
                  <a:lnTo>
                    <a:pt x="78" y="103"/>
                  </a:lnTo>
                  <a:lnTo>
                    <a:pt x="76" y="103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1" y="108"/>
                  </a:lnTo>
                  <a:lnTo>
                    <a:pt x="69" y="111"/>
                  </a:lnTo>
                  <a:lnTo>
                    <a:pt x="69" y="111"/>
                  </a:lnTo>
                  <a:lnTo>
                    <a:pt x="69" y="113"/>
                  </a:lnTo>
                  <a:lnTo>
                    <a:pt x="66" y="116"/>
                  </a:lnTo>
                  <a:lnTo>
                    <a:pt x="66" y="118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3"/>
                  </a:lnTo>
                  <a:lnTo>
                    <a:pt x="66" y="125"/>
                  </a:lnTo>
                  <a:lnTo>
                    <a:pt x="66" y="128"/>
                  </a:lnTo>
                  <a:lnTo>
                    <a:pt x="66" y="130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5"/>
                  </a:lnTo>
                  <a:lnTo>
                    <a:pt x="71" y="138"/>
                  </a:lnTo>
                  <a:lnTo>
                    <a:pt x="74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8" y="143"/>
                  </a:lnTo>
                  <a:lnTo>
                    <a:pt x="81" y="143"/>
                  </a:lnTo>
                  <a:lnTo>
                    <a:pt x="81" y="143"/>
                  </a:lnTo>
                  <a:lnTo>
                    <a:pt x="83" y="143"/>
                  </a:lnTo>
                  <a:lnTo>
                    <a:pt x="86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91" y="143"/>
                  </a:lnTo>
                  <a:lnTo>
                    <a:pt x="93" y="143"/>
                  </a:lnTo>
                  <a:lnTo>
                    <a:pt x="96" y="143"/>
                  </a:lnTo>
                  <a:lnTo>
                    <a:pt x="98" y="143"/>
                  </a:lnTo>
                  <a:lnTo>
                    <a:pt x="98" y="140"/>
                  </a:lnTo>
                  <a:lnTo>
                    <a:pt x="101" y="140"/>
                  </a:lnTo>
                  <a:lnTo>
                    <a:pt x="103" y="138"/>
                  </a:lnTo>
                  <a:lnTo>
                    <a:pt x="103" y="138"/>
                  </a:lnTo>
                  <a:lnTo>
                    <a:pt x="105" y="135"/>
                  </a:lnTo>
                  <a:lnTo>
                    <a:pt x="105" y="133"/>
                  </a:lnTo>
                  <a:lnTo>
                    <a:pt x="108" y="130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0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3"/>
                  </a:lnTo>
                  <a:lnTo>
                    <a:pt x="105" y="111"/>
                  </a:lnTo>
                  <a:lnTo>
                    <a:pt x="105" y="111"/>
                  </a:lnTo>
                  <a:lnTo>
                    <a:pt x="103" y="108"/>
                  </a:lnTo>
                  <a:lnTo>
                    <a:pt x="103" y="106"/>
                  </a:lnTo>
                  <a:lnTo>
                    <a:pt x="101" y="106"/>
                  </a:lnTo>
                  <a:lnTo>
                    <a:pt x="101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6" y="101"/>
                  </a:lnTo>
                  <a:lnTo>
                    <a:pt x="93" y="101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6" y="101"/>
                  </a:lnTo>
                  <a:close/>
                  <a:moveTo>
                    <a:pt x="272" y="157"/>
                  </a:moveTo>
                  <a:lnTo>
                    <a:pt x="270" y="157"/>
                  </a:lnTo>
                  <a:lnTo>
                    <a:pt x="270" y="157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67" y="155"/>
                  </a:lnTo>
                  <a:lnTo>
                    <a:pt x="267" y="155"/>
                  </a:lnTo>
                  <a:lnTo>
                    <a:pt x="216" y="88"/>
                  </a:lnTo>
                  <a:lnTo>
                    <a:pt x="226" y="84"/>
                  </a:lnTo>
                  <a:lnTo>
                    <a:pt x="272" y="147"/>
                  </a:lnTo>
                  <a:lnTo>
                    <a:pt x="275" y="150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7"/>
                  </a:lnTo>
                  <a:lnTo>
                    <a:pt x="275" y="157"/>
                  </a:lnTo>
                  <a:lnTo>
                    <a:pt x="272" y="157"/>
                  </a:lnTo>
                  <a:lnTo>
                    <a:pt x="272" y="157"/>
                  </a:lnTo>
                  <a:lnTo>
                    <a:pt x="272" y="157"/>
                  </a:lnTo>
                  <a:close/>
                  <a:moveTo>
                    <a:pt x="226" y="71"/>
                  </a:moveTo>
                  <a:lnTo>
                    <a:pt x="223" y="71"/>
                  </a:lnTo>
                  <a:lnTo>
                    <a:pt x="223" y="71"/>
                  </a:lnTo>
                  <a:lnTo>
                    <a:pt x="223" y="71"/>
                  </a:lnTo>
                  <a:lnTo>
                    <a:pt x="206" y="84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91"/>
                  </a:lnTo>
                  <a:lnTo>
                    <a:pt x="204" y="91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5"/>
                  </a:lnTo>
                  <a:lnTo>
                    <a:pt x="265" y="165"/>
                  </a:lnTo>
                  <a:lnTo>
                    <a:pt x="265" y="165"/>
                  </a:lnTo>
                  <a:lnTo>
                    <a:pt x="265" y="167"/>
                  </a:lnTo>
                  <a:lnTo>
                    <a:pt x="267" y="167"/>
                  </a:lnTo>
                  <a:lnTo>
                    <a:pt x="267" y="167"/>
                  </a:lnTo>
                  <a:lnTo>
                    <a:pt x="270" y="167"/>
                  </a:lnTo>
                  <a:lnTo>
                    <a:pt x="270" y="167"/>
                  </a:lnTo>
                  <a:lnTo>
                    <a:pt x="272" y="167"/>
                  </a:lnTo>
                  <a:lnTo>
                    <a:pt x="275" y="167"/>
                  </a:lnTo>
                  <a:lnTo>
                    <a:pt x="275" y="167"/>
                  </a:lnTo>
                  <a:lnTo>
                    <a:pt x="277" y="167"/>
                  </a:lnTo>
                  <a:lnTo>
                    <a:pt x="280" y="165"/>
                  </a:lnTo>
                  <a:lnTo>
                    <a:pt x="280" y="165"/>
                  </a:lnTo>
                  <a:lnTo>
                    <a:pt x="280" y="165"/>
                  </a:lnTo>
                  <a:lnTo>
                    <a:pt x="282" y="162"/>
                  </a:lnTo>
                  <a:lnTo>
                    <a:pt x="282" y="162"/>
                  </a:lnTo>
                  <a:lnTo>
                    <a:pt x="284" y="160"/>
                  </a:lnTo>
                  <a:lnTo>
                    <a:pt x="284" y="160"/>
                  </a:lnTo>
                  <a:lnTo>
                    <a:pt x="284" y="160"/>
                  </a:lnTo>
                  <a:lnTo>
                    <a:pt x="284" y="157"/>
                  </a:lnTo>
                  <a:lnTo>
                    <a:pt x="284" y="157"/>
                  </a:lnTo>
                  <a:lnTo>
                    <a:pt x="284" y="155"/>
                  </a:lnTo>
                  <a:lnTo>
                    <a:pt x="284" y="152"/>
                  </a:lnTo>
                  <a:lnTo>
                    <a:pt x="284" y="152"/>
                  </a:lnTo>
                  <a:lnTo>
                    <a:pt x="284" y="150"/>
                  </a:lnTo>
                  <a:lnTo>
                    <a:pt x="284" y="147"/>
                  </a:lnTo>
                  <a:lnTo>
                    <a:pt x="284" y="145"/>
                  </a:lnTo>
                  <a:lnTo>
                    <a:pt x="282" y="145"/>
                  </a:lnTo>
                  <a:lnTo>
                    <a:pt x="282" y="143"/>
                  </a:lnTo>
                  <a:lnTo>
                    <a:pt x="230" y="74"/>
                  </a:lnTo>
                  <a:lnTo>
                    <a:pt x="230" y="71"/>
                  </a:lnTo>
                  <a:lnTo>
                    <a:pt x="228" y="71"/>
                  </a:lnTo>
                  <a:lnTo>
                    <a:pt x="228" y="71"/>
                  </a:lnTo>
                  <a:lnTo>
                    <a:pt x="228" y="71"/>
                  </a:lnTo>
                  <a:lnTo>
                    <a:pt x="228" y="71"/>
                  </a:lnTo>
                  <a:lnTo>
                    <a:pt x="228" y="71"/>
                  </a:lnTo>
                  <a:lnTo>
                    <a:pt x="226" y="71"/>
                  </a:lnTo>
                  <a:lnTo>
                    <a:pt x="226" y="71"/>
                  </a:lnTo>
                  <a:lnTo>
                    <a:pt x="226" y="71"/>
                  </a:lnTo>
                  <a:close/>
                  <a:moveTo>
                    <a:pt x="125" y="310"/>
                  </a:moveTo>
                  <a:lnTo>
                    <a:pt x="123" y="307"/>
                  </a:lnTo>
                  <a:lnTo>
                    <a:pt x="120" y="307"/>
                  </a:lnTo>
                  <a:lnTo>
                    <a:pt x="115" y="307"/>
                  </a:lnTo>
                  <a:lnTo>
                    <a:pt x="113" y="307"/>
                  </a:lnTo>
                  <a:lnTo>
                    <a:pt x="110" y="307"/>
                  </a:lnTo>
                  <a:lnTo>
                    <a:pt x="108" y="307"/>
                  </a:lnTo>
                  <a:lnTo>
                    <a:pt x="105" y="307"/>
                  </a:lnTo>
                  <a:lnTo>
                    <a:pt x="101" y="305"/>
                  </a:lnTo>
                  <a:lnTo>
                    <a:pt x="98" y="305"/>
                  </a:lnTo>
                  <a:lnTo>
                    <a:pt x="96" y="305"/>
                  </a:lnTo>
                  <a:lnTo>
                    <a:pt x="93" y="302"/>
                  </a:lnTo>
                  <a:lnTo>
                    <a:pt x="91" y="302"/>
                  </a:lnTo>
                  <a:lnTo>
                    <a:pt x="88" y="302"/>
                  </a:lnTo>
                  <a:lnTo>
                    <a:pt x="86" y="300"/>
                  </a:lnTo>
                  <a:lnTo>
                    <a:pt x="83" y="300"/>
                  </a:lnTo>
                  <a:lnTo>
                    <a:pt x="78" y="297"/>
                  </a:lnTo>
                  <a:lnTo>
                    <a:pt x="76" y="297"/>
                  </a:lnTo>
                  <a:lnTo>
                    <a:pt x="74" y="295"/>
                  </a:lnTo>
                  <a:lnTo>
                    <a:pt x="71" y="295"/>
                  </a:lnTo>
                  <a:lnTo>
                    <a:pt x="69" y="292"/>
                  </a:lnTo>
                  <a:lnTo>
                    <a:pt x="66" y="290"/>
                  </a:lnTo>
                  <a:lnTo>
                    <a:pt x="64" y="290"/>
                  </a:lnTo>
                  <a:lnTo>
                    <a:pt x="61" y="287"/>
                  </a:lnTo>
                  <a:lnTo>
                    <a:pt x="59" y="285"/>
                  </a:lnTo>
                  <a:lnTo>
                    <a:pt x="56" y="285"/>
                  </a:lnTo>
                  <a:lnTo>
                    <a:pt x="54" y="283"/>
                  </a:lnTo>
                  <a:lnTo>
                    <a:pt x="54" y="280"/>
                  </a:lnTo>
                  <a:lnTo>
                    <a:pt x="52" y="280"/>
                  </a:lnTo>
                  <a:lnTo>
                    <a:pt x="49" y="278"/>
                  </a:lnTo>
                  <a:lnTo>
                    <a:pt x="47" y="275"/>
                  </a:lnTo>
                  <a:lnTo>
                    <a:pt x="44" y="273"/>
                  </a:lnTo>
                  <a:lnTo>
                    <a:pt x="42" y="270"/>
                  </a:lnTo>
                  <a:lnTo>
                    <a:pt x="39" y="268"/>
                  </a:lnTo>
                  <a:lnTo>
                    <a:pt x="39" y="268"/>
                  </a:lnTo>
                  <a:lnTo>
                    <a:pt x="37" y="265"/>
                  </a:lnTo>
                  <a:lnTo>
                    <a:pt x="34" y="263"/>
                  </a:lnTo>
                  <a:lnTo>
                    <a:pt x="32" y="260"/>
                  </a:lnTo>
                  <a:lnTo>
                    <a:pt x="32" y="258"/>
                  </a:lnTo>
                  <a:lnTo>
                    <a:pt x="29" y="256"/>
                  </a:lnTo>
                  <a:lnTo>
                    <a:pt x="27" y="253"/>
                  </a:lnTo>
                  <a:lnTo>
                    <a:pt x="27" y="251"/>
                  </a:lnTo>
                  <a:lnTo>
                    <a:pt x="25" y="248"/>
                  </a:lnTo>
                  <a:lnTo>
                    <a:pt x="25" y="246"/>
                  </a:lnTo>
                  <a:lnTo>
                    <a:pt x="22" y="243"/>
                  </a:lnTo>
                  <a:lnTo>
                    <a:pt x="22" y="241"/>
                  </a:lnTo>
                  <a:lnTo>
                    <a:pt x="20" y="238"/>
                  </a:lnTo>
                  <a:lnTo>
                    <a:pt x="20" y="236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5" y="226"/>
                  </a:lnTo>
                  <a:lnTo>
                    <a:pt x="15" y="224"/>
                  </a:lnTo>
                  <a:lnTo>
                    <a:pt x="15" y="221"/>
                  </a:lnTo>
                  <a:lnTo>
                    <a:pt x="12" y="219"/>
                  </a:lnTo>
                  <a:lnTo>
                    <a:pt x="12" y="216"/>
                  </a:lnTo>
                  <a:lnTo>
                    <a:pt x="12" y="211"/>
                  </a:lnTo>
                  <a:lnTo>
                    <a:pt x="12" y="209"/>
                  </a:lnTo>
                  <a:lnTo>
                    <a:pt x="10" y="206"/>
                  </a:lnTo>
                  <a:lnTo>
                    <a:pt x="10" y="204"/>
                  </a:lnTo>
                  <a:lnTo>
                    <a:pt x="10" y="199"/>
                  </a:lnTo>
                  <a:lnTo>
                    <a:pt x="10" y="197"/>
                  </a:lnTo>
                  <a:lnTo>
                    <a:pt x="10" y="194"/>
                  </a:lnTo>
                  <a:lnTo>
                    <a:pt x="10" y="192"/>
                  </a:lnTo>
                  <a:lnTo>
                    <a:pt x="10" y="189"/>
                  </a:lnTo>
                  <a:lnTo>
                    <a:pt x="10" y="184"/>
                  </a:lnTo>
                  <a:lnTo>
                    <a:pt x="10" y="182"/>
                  </a:lnTo>
                  <a:lnTo>
                    <a:pt x="10" y="179"/>
                  </a:lnTo>
                  <a:lnTo>
                    <a:pt x="10" y="177"/>
                  </a:lnTo>
                  <a:lnTo>
                    <a:pt x="10" y="172"/>
                  </a:lnTo>
                  <a:lnTo>
                    <a:pt x="10" y="170"/>
                  </a:lnTo>
                  <a:lnTo>
                    <a:pt x="12" y="167"/>
                  </a:lnTo>
                  <a:lnTo>
                    <a:pt x="12" y="165"/>
                  </a:lnTo>
                  <a:lnTo>
                    <a:pt x="12" y="160"/>
                  </a:lnTo>
                  <a:lnTo>
                    <a:pt x="12" y="157"/>
                  </a:lnTo>
                  <a:lnTo>
                    <a:pt x="15" y="155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47"/>
                  </a:lnTo>
                  <a:lnTo>
                    <a:pt x="17" y="145"/>
                  </a:lnTo>
                  <a:lnTo>
                    <a:pt x="20" y="140"/>
                  </a:lnTo>
                  <a:lnTo>
                    <a:pt x="20" y="138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5" y="130"/>
                  </a:lnTo>
                  <a:lnTo>
                    <a:pt x="25" y="128"/>
                  </a:lnTo>
                  <a:lnTo>
                    <a:pt x="27" y="125"/>
                  </a:lnTo>
                  <a:lnTo>
                    <a:pt x="27" y="123"/>
                  </a:lnTo>
                  <a:lnTo>
                    <a:pt x="29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4" y="113"/>
                  </a:lnTo>
                  <a:lnTo>
                    <a:pt x="37" y="111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42" y="106"/>
                  </a:lnTo>
                  <a:lnTo>
                    <a:pt x="44" y="103"/>
                  </a:lnTo>
                  <a:lnTo>
                    <a:pt x="47" y="101"/>
                  </a:lnTo>
                  <a:lnTo>
                    <a:pt x="49" y="98"/>
                  </a:lnTo>
                  <a:lnTo>
                    <a:pt x="52" y="96"/>
                  </a:lnTo>
                  <a:lnTo>
                    <a:pt x="54" y="96"/>
                  </a:lnTo>
                  <a:lnTo>
                    <a:pt x="54" y="93"/>
                  </a:lnTo>
                  <a:lnTo>
                    <a:pt x="56" y="91"/>
                  </a:lnTo>
                  <a:lnTo>
                    <a:pt x="59" y="91"/>
                  </a:lnTo>
                  <a:lnTo>
                    <a:pt x="61" y="88"/>
                  </a:lnTo>
                  <a:lnTo>
                    <a:pt x="64" y="86"/>
                  </a:lnTo>
                  <a:lnTo>
                    <a:pt x="66" y="86"/>
                  </a:lnTo>
                  <a:lnTo>
                    <a:pt x="69" y="84"/>
                  </a:lnTo>
                  <a:lnTo>
                    <a:pt x="71" y="81"/>
                  </a:lnTo>
                  <a:lnTo>
                    <a:pt x="74" y="81"/>
                  </a:lnTo>
                  <a:lnTo>
                    <a:pt x="76" y="79"/>
                  </a:lnTo>
                  <a:lnTo>
                    <a:pt x="78" y="79"/>
                  </a:lnTo>
                  <a:lnTo>
                    <a:pt x="83" y="76"/>
                  </a:lnTo>
                  <a:lnTo>
                    <a:pt x="86" y="76"/>
                  </a:lnTo>
                  <a:lnTo>
                    <a:pt x="88" y="74"/>
                  </a:lnTo>
                  <a:lnTo>
                    <a:pt x="91" y="74"/>
                  </a:lnTo>
                  <a:lnTo>
                    <a:pt x="93" y="74"/>
                  </a:lnTo>
                  <a:lnTo>
                    <a:pt x="96" y="71"/>
                  </a:lnTo>
                  <a:lnTo>
                    <a:pt x="98" y="71"/>
                  </a:lnTo>
                  <a:lnTo>
                    <a:pt x="101" y="71"/>
                  </a:lnTo>
                  <a:lnTo>
                    <a:pt x="105" y="71"/>
                  </a:lnTo>
                  <a:lnTo>
                    <a:pt x="108" y="69"/>
                  </a:lnTo>
                  <a:lnTo>
                    <a:pt x="110" y="69"/>
                  </a:lnTo>
                  <a:lnTo>
                    <a:pt x="113" y="69"/>
                  </a:lnTo>
                  <a:lnTo>
                    <a:pt x="115" y="69"/>
                  </a:lnTo>
                  <a:lnTo>
                    <a:pt x="120" y="69"/>
                  </a:lnTo>
                  <a:lnTo>
                    <a:pt x="123" y="69"/>
                  </a:lnTo>
                  <a:lnTo>
                    <a:pt x="125" y="69"/>
                  </a:lnTo>
                  <a:lnTo>
                    <a:pt x="128" y="69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35" y="69"/>
                  </a:lnTo>
                  <a:lnTo>
                    <a:pt x="135" y="69"/>
                  </a:lnTo>
                  <a:lnTo>
                    <a:pt x="135" y="71"/>
                  </a:lnTo>
                  <a:lnTo>
                    <a:pt x="135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4"/>
                  </a:lnTo>
                  <a:lnTo>
                    <a:pt x="137" y="74"/>
                  </a:lnTo>
                  <a:lnTo>
                    <a:pt x="140" y="76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101"/>
                  </a:lnTo>
                  <a:lnTo>
                    <a:pt x="140" y="106"/>
                  </a:lnTo>
                  <a:lnTo>
                    <a:pt x="140" y="113"/>
                  </a:lnTo>
                  <a:lnTo>
                    <a:pt x="140" y="120"/>
                  </a:lnTo>
                  <a:lnTo>
                    <a:pt x="140" y="130"/>
                  </a:lnTo>
                  <a:lnTo>
                    <a:pt x="140" y="135"/>
                  </a:lnTo>
                  <a:lnTo>
                    <a:pt x="140" y="138"/>
                  </a:lnTo>
                  <a:lnTo>
                    <a:pt x="142" y="143"/>
                  </a:lnTo>
                  <a:lnTo>
                    <a:pt x="142" y="145"/>
                  </a:lnTo>
                  <a:lnTo>
                    <a:pt x="142" y="150"/>
                  </a:lnTo>
                  <a:lnTo>
                    <a:pt x="142" y="152"/>
                  </a:lnTo>
                  <a:lnTo>
                    <a:pt x="145" y="157"/>
                  </a:lnTo>
                  <a:lnTo>
                    <a:pt x="145" y="160"/>
                  </a:lnTo>
                  <a:lnTo>
                    <a:pt x="145" y="160"/>
                  </a:lnTo>
                  <a:lnTo>
                    <a:pt x="145" y="162"/>
                  </a:lnTo>
                  <a:lnTo>
                    <a:pt x="147" y="162"/>
                  </a:lnTo>
                  <a:lnTo>
                    <a:pt x="147" y="165"/>
                  </a:lnTo>
                  <a:lnTo>
                    <a:pt x="147" y="167"/>
                  </a:lnTo>
                  <a:lnTo>
                    <a:pt x="150" y="167"/>
                  </a:lnTo>
                  <a:lnTo>
                    <a:pt x="150" y="170"/>
                  </a:lnTo>
                  <a:lnTo>
                    <a:pt x="150" y="170"/>
                  </a:lnTo>
                  <a:lnTo>
                    <a:pt x="152" y="172"/>
                  </a:lnTo>
                  <a:lnTo>
                    <a:pt x="152" y="172"/>
                  </a:lnTo>
                  <a:lnTo>
                    <a:pt x="154" y="172"/>
                  </a:lnTo>
                  <a:lnTo>
                    <a:pt x="154" y="174"/>
                  </a:lnTo>
                  <a:lnTo>
                    <a:pt x="157" y="174"/>
                  </a:lnTo>
                  <a:lnTo>
                    <a:pt x="159" y="177"/>
                  </a:lnTo>
                  <a:lnTo>
                    <a:pt x="159" y="177"/>
                  </a:lnTo>
                  <a:lnTo>
                    <a:pt x="162" y="177"/>
                  </a:lnTo>
                  <a:lnTo>
                    <a:pt x="164" y="177"/>
                  </a:lnTo>
                  <a:lnTo>
                    <a:pt x="167" y="179"/>
                  </a:lnTo>
                  <a:lnTo>
                    <a:pt x="169" y="179"/>
                  </a:lnTo>
                  <a:lnTo>
                    <a:pt x="169" y="179"/>
                  </a:lnTo>
                  <a:lnTo>
                    <a:pt x="172" y="179"/>
                  </a:lnTo>
                  <a:lnTo>
                    <a:pt x="174" y="179"/>
                  </a:lnTo>
                  <a:lnTo>
                    <a:pt x="177" y="179"/>
                  </a:lnTo>
                  <a:lnTo>
                    <a:pt x="179" y="179"/>
                  </a:lnTo>
                  <a:lnTo>
                    <a:pt x="184" y="179"/>
                  </a:lnTo>
                  <a:lnTo>
                    <a:pt x="186" y="179"/>
                  </a:lnTo>
                  <a:lnTo>
                    <a:pt x="189" y="179"/>
                  </a:lnTo>
                  <a:lnTo>
                    <a:pt x="196" y="179"/>
                  </a:lnTo>
                  <a:lnTo>
                    <a:pt x="201" y="179"/>
                  </a:lnTo>
                  <a:lnTo>
                    <a:pt x="208" y="179"/>
                  </a:lnTo>
                  <a:lnTo>
                    <a:pt x="213" y="179"/>
                  </a:lnTo>
                  <a:lnTo>
                    <a:pt x="218" y="177"/>
                  </a:lnTo>
                  <a:lnTo>
                    <a:pt x="223" y="177"/>
                  </a:lnTo>
                  <a:lnTo>
                    <a:pt x="228" y="177"/>
                  </a:lnTo>
                  <a:lnTo>
                    <a:pt x="233" y="177"/>
                  </a:lnTo>
                  <a:lnTo>
                    <a:pt x="235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0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5" y="179"/>
                  </a:lnTo>
                  <a:lnTo>
                    <a:pt x="245" y="182"/>
                  </a:lnTo>
                  <a:lnTo>
                    <a:pt x="248" y="182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48" y="184"/>
                  </a:lnTo>
                  <a:lnTo>
                    <a:pt x="248" y="187"/>
                  </a:lnTo>
                  <a:lnTo>
                    <a:pt x="248" y="189"/>
                  </a:lnTo>
                  <a:lnTo>
                    <a:pt x="248" y="192"/>
                  </a:lnTo>
                  <a:lnTo>
                    <a:pt x="248" y="194"/>
                  </a:lnTo>
                  <a:lnTo>
                    <a:pt x="248" y="197"/>
                  </a:lnTo>
                  <a:lnTo>
                    <a:pt x="248" y="199"/>
                  </a:lnTo>
                  <a:lnTo>
                    <a:pt x="248" y="204"/>
                  </a:lnTo>
                  <a:lnTo>
                    <a:pt x="248" y="206"/>
                  </a:lnTo>
                  <a:lnTo>
                    <a:pt x="245" y="209"/>
                  </a:lnTo>
                  <a:lnTo>
                    <a:pt x="245" y="211"/>
                  </a:lnTo>
                  <a:lnTo>
                    <a:pt x="245" y="216"/>
                  </a:lnTo>
                  <a:lnTo>
                    <a:pt x="245" y="219"/>
                  </a:lnTo>
                  <a:lnTo>
                    <a:pt x="243" y="221"/>
                  </a:lnTo>
                  <a:lnTo>
                    <a:pt x="243" y="224"/>
                  </a:lnTo>
                  <a:lnTo>
                    <a:pt x="243" y="226"/>
                  </a:lnTo>
                  <a:lnTo>
                    <a:pt x="240" y="229"/>
                  </a:lnTo>
                  <a:lnTo>
                    <a:pt x="240" y="231"/>
                  </a:lnTo>
                  <a:lnTo>
                    <a:pt x="238" y="236"/>
                  </a:lnTo>
                  <a:lnTo>
                    <a:pt x="238" y="238"/>
                  </a:lnTo>
                  <a:lnTo>
                    <a:pt x="235" y="241"/>
                  </a:lnTo>
                  <a:lnTo>
                    <a:pt x="235" y="243"/>
                  </a:lnTo>
                  <a:lnTo>
                    <a:pt x="233" y="246"/>
                  </a:lnTo>
                  <a:lnTo>
                    <a:pt x="233" y="248"/>
                  </a:lnTo>
                  <a:lnTo>
                    <a:pt x="230" y="251"/>
                  </a:lnTo>
                  <a:lnTo>
                    <a:pt x="228" y="253"/>
                  </a:lnTo>
                  <a:lnTo>
                    <a:pt x="228" y="256"/>
                  </a:lnTo>
                  <a:lnTo>
                    <a:pt x="226" y="258"/>
                  </a:lnTo>
                  <a:lnTo>
                    <a:pt x="223" y="260"/>
                  </a:lnTo>
                  <a:lnTo>
                    <a:pt x="223" y="263"/>
                  </a:lnTo>
                  <a:lnTo>
                    <a:pt x="221" y="265"/>
                  </a:lnTo>
                  <a:lnTo>
                    <a:pt x="218" y="268"/>
                  </a:lnTo>
                  <a:lnTo>
                    <a:pt x="216" y="268"/>
                  </a:lnTo>
                  <a:lnTo>
                    <a:pt x="216" y="270"/>
                  </a:lnTo>
                  <a:lnTo>
                    <a:pt x="213" y="273"/>
                  </a:lnTo>
                  <a:lnTo>
                    <a:pt x="211" y="275"/>
                  </a:lnTo>
                  <a:lnTo>
                    <a:pt x="208" y="278"/>
                  </a:lnTo>
                  <a:lnTo>
                    <a:pt x="206" y="280"/>
                  </a:lnTo>
                  <a:lnTo>
                    <a:pt x="204" y="280"/>
                  </a:lnTo>
                  <a:lnTo>
                    <a:pt x="201" y="283"/>
                  </a:lnTo>
                  <a:lnTo>
                    <a:pt x="201" y="285"/>
                  </a:lnTo>
                  <a:lnTo>
                    <a:pt x="199" y="285"/>
                  </a:lnTo>
                  <a:lnTo>
                    <a:pt x="196" y="287"/>
                  </a:lnTo>
                  <a:lnTo>
                    <a:pt x="194" y="290"/>
                  </a:lnTo>
                  <a:lnTo>
                    <a:pt x="191" y="290"/>
                  </a:lnTo>
                  <a:lnTo>
                    <a:pt x="189" y="292"/>
                  </a:lnTo>
                  <a:lnTo>
                    <a:pt x="186" y="295"/>
                  </a:lnTo>
                  <a:lnTo>
                    <a:pt x="184" y="295"/>
                  </a:lnTo>
                  <a:lnTo>
                    <a:pt x="181" y="297"/>
                  </a:lnTo>
                  <a:lnTo>
                    <a:pt x="177" y="297"/>
                  </a:lnTo>
                  <a:lnTo>
                    <a:pt x="174" y="300"/>
                  </a:lnTo>
                  <a:lnTo>
                    <a:pt x="172" y="300"/>
                  </a:lnTo>
                  <a:lnTo>
                    <a:pt x="169" y="302"/>
                  </a:lnTo>
                  <a:lnTo>
                    <a:pt x="167" y="302"/>
                  </a:lnTo>
                  <a:lnTo>
                    <a:pt x="164" y="302"/>
                  </a:lnTo>
                  <a:lnTo>
                    <a:pt x="162" y="305"/>
                  </a:lnTo>
                  <a:lnTo>
                    <a:pt x="159" y="305"/>
                  </a:lnTo>
                  <a:lnTo>
                    <a:pt x="154" y="305"/>
                  </a:lnTo>
                  <a:lnTo>
                    <a:pt x="152" y="307"/>
                  </a:lnTo>
                  <a:lnTo>
                    <a:pt x="150" y="307"/>
                  </a:lnTo>
                  <a:lnTo>
                    <a:pt x="147" y="307"/>
                  </a:lnTo>
                  <a:lnTo>
                    <a:pt x="145" y="307"/>
                  </a:lnTo>
                  <a:lnTo>
                    <a:pt x="140" y="307"/>
                  </a:lnTo>
                  <a:lnTo>
                    <a:pt x="137" y="307"/>
                  </a:lnTo>
                  <a:lnTo>
                    <a:pt x="135" y="307"/>
                  </a:lnTo>
                  <a:lnTo>
                    <a:pt x="132" y="310"/>
                  </a:lnTo>
                  <a:lnTo>
                    <a:pt x="128" y="310"/>
                  </a:lnTo>
                  <a:lnTo>
                    <a:pt x="125" y="310"/>
                  </a:lnTo>
                  <a:close/>
                  <a:moveTo>
                    <a:pt x="125" y="57"/>
                  </a:moveTo>
                  <a:lnTo>
                    <a:pt x="123" y="57"/>
                  </a:lnTo>
                  <a:lnTo>
                    <a:pt x="118" y="57"/>
                  </a:lnTo>
                  <a:lnTo>
                    <a:pt x="115" y="57"/>
                  </a:lnTo>
                  <a:lnTo>
                    <a:pt x="113" y="59"/>
                  </a:lnTo>
                  <a:lnTo>
                    <a:pt x="108" y="59"/>
                  </a:lnTo>
                  <a:lnTo>
                    <a:pt x="105" y="59"/>
                  </a:lnTo>
                  <a:lnTo>
                    <a:pt x="103" y="59"/>
                  </a:lnTo>
                  <a:lnTo>
                    <a:pt x="101" y="61"/>
                  </a:lnTo>
                  <a:lnTo>
                    <a:pt x="96" y="61"/>
                  </a:lnTo>
                  <a:lnTo>
                    <a:pt x="93" y="61"/>
                  </a:lnTo>
                  <a:lnTo>
                    <a:pt x="91" y="64"/>
                  </a:lnTo>
                  <a:lnTo>
                    <a:pt x="88" y="64"/>
                  </a:lnTo>
                  <a:lnTo>
                    <a:pt x="83" y="64"/>
                  </a:lnTo>
                  <a:lnTo>
                    <a:pt x="81" y="66"/>
                  </a:lnTo>
                  <a:lnTo>
                    <a:pt x="78" y="66"/>
                  </a:lnTo>
                  <a:lnTo>
                    <a:pt x="76" y="69"/>
                  </a:lnTo>
                  <a:lnTo>
                    <a:pt x="74" y="71"/>
                  </a:lnTo>
                  <a:lnTo>
                    <a:pt x="69" y="71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1" y="76"/>
                  </a:lnTo>
                  <a:lnTo>
                    <a:pt x="59" y="79"/>
                  </a:lnTo>
                  <a:lnTo>
                    <a:pt x="56" y="79"/>
                  </a:lnTo>
                  <a:lnTo>
                    <a:pt x="54" y="81"/>
                  </a:lnTo>
                  <a:lnTo>
                    <a:pt x="52" y="84"/>
                  </a:lnTo>
                  <a:lnTo>
                    <a:pt x="49" y="86"/>
                  </a:lnTo>
                  <a:lnTo>
                    <a:pt x="47" y="86"/>
                  </a:lnTo>
                  <a:lnTo>
                    <a:pt x="44" y="88"/>
                  </a:lnTo>
                  <a:lnTo>
                    <a:pt x="42" y="91"/>
                  </a:lnTo>
                  <a:lnTo>
                    <a:pt x="39" y="93"/>
                  </a:lnTo>
                  <a:lnTo>
                    <a:pt x="37" y="96"/>
                  </a:lnTo>
                  <a:lnTo>
                    <a:pt x="34" y="98"/>
                  </a:lnTo>
                  <a:lnTo>
                    <a:pt x="32" y="101"/>
                  </a:lnTo>
                  <a:lnTo>
                    <a:pt x="29" y="103"/>
                  </a:lnTo>
                  <a:lnTo>
                    <a:pt x="29" y="106"/>
                  </a:lnTo>
                  <a:lnTo>
                    <a:pt x="27" y="108"/>
                  </a:lnTo>
                  <a:lnTo>
                    <a:pt x="25" y="111"/>
                  </a:lnTo>
                  <a:lnTo>
                    <a:pt x="22" y="113"/>
                  </a:lnTo>
                  <a:lnTo>
                    <a:pt x="22" y="116"/>
                  </a:lnTo>
                  <a:lnTo>
                    <a:pt x="20" y="118"/>
                  </a:lnTo>
                  <a:lnTo>
                    <a:pt x="17" y="120"/>
                  </a:lnTo>
                  <a:lnTo>
                    <a:pt x="17" y="123"/>
                  </a:lnTo>
                  <a:lnTo>
                    <a:pt x="15" y="125"/>
                  </a:lnTo>
                  <a:lnTo>
                    <a:pt x="12" y="128"/>
                  </a:lnTo>
                  <a:lnTo>
                    <a:pt x="12" y="130"/>
                  </a:lnTo>
                  <a:lnTo>
                    <a:pt x="10" y="135"/>
                  </a:lnTo>
                  <a:lnTo>
                    <a:pt x="10" y="138"/>
                  </a:lnTo>
                  <a:lnTo>
                    <a:pt x="7" y="140"/>
                  </a:lnTo>
                  <a:lnTo>
                    <a:pt x="7" y="143"/>
                  </a:lnTo>
                  <a:lnTo>
                    <a:pt x="5" y="145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5"/>
                  </a:lnTo>
                  <a:lnTo>
                    <a:pt x="2" y="160"/>
                  </a:lnTo>
                  <a:lnTo>
                    <a:pt x="2" y="162"/>
                  </a:lnTo>
                  <a:lnTo>
                    <a:pt x="0" y="165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9"/>
                  </a:lnTo>
                  <a:lnTo>
                    <a:pt x="0" y="192"/>
                  </a:lnTo>
                  <a:lnTo>
                    <a:pt x="0" y="194"/>
                  </a:lnTo>
                  <a:lnTo>
                    <a:pt x="0" y="199"/>
                  </a:lnTo>
                  <a:lnTo>
                    <a:pt x="0" y="202"/>
                  </a:lnTo>
                  <a:lnTo>
                    <a:pt x="0" y="204"/>
                  </a:lnTo>
                  <a:lnTo>
                    <a:pt x="0" y="209"/>
                  </a:lnTo>
                  <a:lnTo>
                    <a:pt x="0" y="211"/>
                  </a:lnTo>
                  <a:lnTo>
                    <a:pt x="2" y="214"/>
                  </a:lnTo>
                  <a:lnTo>
                    <a:pt x="2" y="219"/>
                  </a:lnTo>
                  <a:lnTo>
                    <a:pt x="2" y="221"/>
                  </a:lnTo>
                  <a:lnTo>
                    <a:pt x="5" y="224"/>
                  </a:lnTo>
                  <a:lnTo>
                    <a:pt x="5" y="226"/>
                  </a:lnTo>
                  <a:lnTo>
                    <a:pt x="5" y="231"/>
                  </a:lnTo>
                  <a:lnTo>
                    <a:pt x="7" y="233"/>
                  </a:lnTo>
                  <a:lnTo>
                    <a:pt x="7" y="236"/>
                  </a:lnTo>
                  <a:lnTo>
                    <a:pt x="10" y="238"/>
                  </a:lnTo>
                  <a:lnTo>
                    <a:pt x="10" y="241"/>
                  </a:lnTo>
                  <a:lnTo>
                    <a:pt x="12" y="246"/>
                  </a:lnTo>
                  <a:lnTo>
                    <a:pt x="12" y="248"/>
                  </a:lnTo>
                  <a:lnTo>
                    <a:pt x="15" y="251"/>
                  </a:lnTo>
                  <a:lnTo>
                    <a:pt x="17" y="253"/>
                  </a:lnTo>
                  <a:lnTo>
                    <a:pt x="17" y="256"/>
                  </a:lnTo>
                  <a:lnTo>
                    <a:pt x="20" y="258"/>
                  </a:lnTo>
                  <a:lnTo>
                    <a:pt x="22" y="260"/>
                  </a:lnTo>
                  <a:lnTo>
                    <a:pt x="22" y="263"/>
                  </a:lnTo>
                  <a:lnTo>
                    <a:pt x="25" y="265"/>
                  </a:lnTo>
                  <a:lnTo>
                    <a:pt x="27" y="268"/>
                  </a:lnTo>
                  <a:lnTo>
                    <a:pt x="29" y="270"/>
                  </a:lnTo>
                  <a:lnTo>
                    <a:pt x="29" y="273"/>
                  </a:lnTo>
                  <a:lnTo>
                    <a:pt x="32" y="275"/>
                  </a:lnTo>
                  <a:lnTo>
                    <a:pt x="34" y="278"/>
                  </a:lnTo>
                  <a:lnTo>
                    <a:pt x="37" y="280"/>
                  </a:lnTo>
                  <a:lnTo>
                    <a:pt x="39" y="283"/>
                  </a:lnTo>
                  <a:lnTo>
                    <a:pt x="42" y="285"/>
                  </a:lnTo>
                  <a:lnTo>
                    <a:pt x="44" y="287"/>
                  </a:lnTo>
                  <a:lnTo>
                    <a:pt x="47" y="290"/>
                  </a:lnTo>
                  <a:lnTo>
                    <a:pt x="49" y="290"/>
                  </a:lnTo>
                  <a:lnTo>
                    <a:pt x="52" y="292"/>
                  </a:lnTo>
                  <a:lnTo>
                    <a:pt x="54" y="295"/>
                  </a:lnTo>
                  <a:lnTo>
                    <a:pt x="56" y="297"/>
                  </a:lnTo>
                  <a:lnTo>
                    <a:pt x="59" y="297"/>
                  </a:lnTo>
                  <a:lnTo>
                    <a:pt x="61" y="300"/>
                  </a:lnTo>
                  <a:lnTo>
                    <a:pt x="64" y="302"/>
                  </a:lnTo>
                  <a:lnTo>
                    <a:pt x="66" y="302"/>
                  </a:lnTo>
                  <a:lnTo>
                    <a:pt x="69" y="305"/>
                  </a:lnTo>
                  <a:lnTo>
                    <a:pt x="74" y="307"/>
                  </a:lnTo>
                  <a:lnTo>
                    <a:pt x="76" y="307"/>
                  </a:lnTo>
                  <a:lnTo>
                    <a:pt x="78" y="310"/>
                  </a:lnTo>
                  <a:lnTo>
                    <a:pt x="81" y="310"/>
                  </a:lnTo>
                  <a:lnTo>
                    <a:pt x="83" y="312"/>
                  </a:lnTo>
                  <a:lnTo>
                    <a:pt x="88" y="312"/>
                  </a:lnTo>
                  <a:lnTo>
                    <a:pt x="91" y="312"/>
                  </a:lnTo>
                  <a:lnTo>
                    <a:pt x="93" y="315"/>
                  </a:lnTo>
                  <a:lnTo>
                    <a:pt x="96" y="315"/>
                  </a:lnTo>
                  <a:lnTo>
                    <a:pt x="101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8" y="317"/>
                  </a:lnTo>
                  <a:lnTo>
                    <a:pt x="113" y="317"/>
                  </a:lnTo>
                  <a:lnTo>
                    <a:pt x="115" y="319"/>
                  </a:lnTo>
                  <a:lnTo>
                    <a:pt x="118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8" y="319"/>
                  </a:lnTo>
                  <a:lnTo>
                    <a:pt x="132" y="319"/>
                  </a:lnTo>
                  <a:lnTo>
                    <a:pt x="135" y="319"/>
                  </a:lnTo>
                  <a:lnTo>
                    <a:pt x="140" y="319"/>
                  </a:lnTo>
                  <a:lnTo>
                    <a:pt x="142" y="319"/>
                  </a:lnTo>
                  <a:lnTo>
                    <a:pt x="145" y="317"/>
                  </a:lnTo>
                  <a:lnTo>
                    <a:pt x="147" y="317"/>
                  </a:lnTo>
                  <a:lnTo>
                    <a:pt x="152" y="317"/>
                  </a:lnTo>
                  <a:lnTo>
                    <a:pt x="154" y="317"/>
                  </a:lnTo>
                  <a:lnTo>
                    <a:pt x="157" y="315"/>
                  </a:lnTo>
                  <a:lnTo>
                    <a:pt x="162" y="315"/>
                  </a:lnTo>
                  <a:lnTo>
                    <a:pt x="164" y="315"/>
                  </a:lnTo>
                  <a:lnTo>
                    <a:pt x="167" y="312"/>
                  </a:lnTo>
                  <a:lnTo>
                    <a:pt x="169" y="312"/>
                  </a:lnTo>
                  <a:lnTo>
                    <a:pt x="174" y="312"/>
                  </a:lnTo>
                  <a:lnTo>
                    <a:pt x="177" y="310"/>
                  </a:lnTo>
                  <a:lnTo>
                    <a:pt x="179" y="310"/>
                  </a:lnTo>
                  <a:lnTo>
                    <a:pt x="181" y="307"/>
                  </a:lnTo>
                  <a:lnTo>
                    <a:pt x="184" y="307"/>
                  </a:lnTo>
                  <a:lnTo>
                    <a:pt x="186" y="305"/>
                  </a:lnTo>
                  <a:lnTo>
                    <a:pt x="191" y="302"/>
                  </a:lnTo>
                  <a:lnTo>
                    <a:pt x="194" y="302"/>
                  </a:lnTo>
                  <a:lnTo>
                    <a:pt x="196" y="300"/>
                  </a:lnTo>
                  <a:lnTo>
                    <a:pt x="199" y="297"/>
                  </a:lnTo>
                  <a:lnTo>
                    <a:pt x="201" y="297"/>
                  </a:lnTo>
                  <a:lnTo>
                    <a:pt x="204" y="295"/>
                  </a:lnTo>
                  <a:lnTo>
                    <a:pt x="206" y="292"/>
                  </a:lnTo>
                  <a:lnTo>
                    <a:pt x="208" y="290"/>
                  </a:lnTo>
                  <a:lnTo>
                    <a:pt x="211" y="290"/>
                  </a:lnTo>
                  <a:lnTo>
                    <a:pt x="213" y="287"/>
                  </a:lnTo>
                  <a:lnTo>
                    <a:pt x="216" y="285"/>
                  </a:lnTo>
                  <a:lnTo>
                    <a:pt x="218" y="283"/>
                  </a:lnTo>
                  <a:lnTo>
                    <a:pt x="221" y="280"/>
                  </a:lnTo>
                  <a:lnTo>
                    <a:pt x="223" y="278"/>
                  </a:lnTo>
                  <a:lnTo>
                    <a:pt x="226" y="275"/>
                  </a:lnTo>
                  <a:lnTo>
                    <a:pt x="226" y="273"/>
                  </a:lnTo>
                  <a:lnTo>
                    <a:pt x="228" y="270"/>
                  </a:lnTo>
                  <a:lnTo>
                    <a:pt x="230" y="268"/>
                  </a:lnTo>
                  <a:lnTo>
                    <a:pt x="233" y="265"/>
                  </a:lnTo>
                  <a:lnTo>
                    <a:pt x="235" y="263"/>
                  </a:lnTo>
                  <a:lnTo>
                    <a:pt x="235" y="260"/>
                  </a:lnTo>
                  <a:lnTo>
                    <a:pt x="238" y="258"/>
                  </a:lnTo>
                  <a:lnTo>
                    <a:pt x="240" y="256"/>
                  </a:lnTo>
                  <a:lnTo>
                    <a:pt x="240" y="253"/>
                  </a:lnTo>
                  <a:lnTo>
                    <a:pt x="243" y="251"/>
                  </a:lnTo>
                  <a:lnTo>
                    <a:pt x="245" y="248"/>
                  </a:lnTo>
                  <a:lnTo>
                    <a:pt x="245" y="246"/>
                  </a:lnTo>
                  <a:lnTo>
                    <a:pt x="248" y="241"/>
                  </a:lnTo>
                  <a:lnTo>
                    <a:pt x="248" y="238"/>
                  </a:lnTo>
                  <a:lnTo>
                    <a:pt x="250" y="236"/>
                  </a:lnTo>
                  <a:lnTo>
                    <a:pt x="250" y="233"/>
                  </a:lnTo>
                  <a:lnTo>
                    <a:pt x="253" y="231"/>
                  </a:lnTo>
                  <a:lnTo>
                    <a:pt x="253" y="226"/>
                  </a:lnTo>
                  <a:lnTo>
                    <a:pt x="253" y="224"/>
                  </a:lnTo>
                  <a:lnTo>
                    <a:pt x="255" y="221"/>
                  </a:lnTo>
                  <a:lnTo>
                    <a:pt x="255" y="219"/>
                  </a:lnTo>
                  <a:lnTo>
                    <a:pt x="255" y="214"/>
                  </a:lnTo>
                  <a:lnTo>
                    <a:pt x="257" y="211"/>
                  </a:lnTo>
                  <a:lnTo>
                    <a:pt x="257" y="209"/>
                  </a:lnTo>
                  <a:lnTo>
                    <a:pt x="257" y="204"/>
                  </a:lnTo>
                  <a:lnTo>
                    <a:pt x="257" y="202"/>
                  </a:lnTo>
                  <a:lnTo>
                    <a:pt x="257" y="199"/>
                  </a:lnTo>
                  <a:lnTo>
                    <a:pt x="257" y="194"/>
                  </a:lnTo>
                  <a:lnTo>
                    <a:pt x="257" y="192"/>
                  </a:lnTo>
                  <a:lnTo>
                    <a:pt x="257" y="189"/>
                  </a:lnTo>
                  <a:lnTo>
                    <a:pt x="257" y="184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5" y="177"/>
                  </a:lnTo>
                  <a:lnTo>
                    <a:pt x="255" y="177"/>
                  </a:lnTo>
                  <a:lnTo>
                    <a:pt x="255" y="177"/>
                  </a:lnTo>
                  <a:lnTo>
                    <a:pt x="255" y="174"/>
                  </a:lnTo>
                  <a:lnTo>
                    <a:pt x="253" y="174"/>
                  </a:lnTo>
                  <a:lnTo>
                    <a:pt x="253" y="174"/>
                  </a:lnTo>
                  <a:lnTo>
                    <a:pt x="253" y="172"/>
                  </a:lnTo>
                  <a:lnTo>
                    <a:pt x="250" y="172"/>
                  </a:lnTo>
                  <a:lnTo>
                    <a:pt x="250" y="172"/>
                  </a:lnTo>
                  <a:lnTo>
                    <a:pt x="250" y="172"/>
                  </a:lnTo>
                  <a:lnTo>
                    <a:pt x="248" y="170"/>
                  </a:lnTo>
                  <a:lnTo>
                    <a:pt x="245" y="170"/>
                  </a:lnTo>
                  <a:lnTo>
                    <a:pt x="243" y="167"/>
                  </a:lnTo>
                  <a:lnTo>
                    <a:pt x="240" y="167"/>
                  </a:lnTo>
                  <a:lnTo>
                    <a:pt x="235" y="167"/>
                  </a:lnTo>
                  <a:lnTo>
                    <a:pt x="233" y="167"/>
                  </a:lnTo>
                  <a:lnTo>
                    <a:pt x="228" y="167"/>
                  </a:lnTo>
                  <a:lnTo>
                    <a:pt x="223" y="167"/>
                  </a:lnTo>
                  <a:lnTo>
                    <a:pt x="218" y="167"/>
                  </a:lnTo>
                  <a:lnTo>
                    <a:pt x="213" y="167"/>
                  </a:lnTo>
                  <a:lnTo>
                    <a:pt x="206" y="167"/>
                  </a:lnTo>
                  <a:lnTo>
                    <a:pt x="201" y="170"/>
                  </a:lnTo>
                  <a:lnTo>
                    <a:pt x="194" y="170"/>
                  </a:lnTo>
                  <a:lnTo>
                    <a:pt x="189" y="170"/>
                  </a:lnTo>
                  <a:lnTo>
                    <a:pt x="186" y="170"/>
                  </a:lnTo>
                  <a:lnTo>
                    <a:pt x="184" y="170"/>
                  </a:lnTo>
                  <a:lnTo>
                    <a:pt x="179" y="170"/>
                  </a:lnTo>
                  <a:lnTo>
                    <a:pt x="174" y="170"/>
                  </a:lnTo>
                  <a:lnTo>
                    <a:pt x="172" y="170"/>
                  </a:lnTo>
                  <a:lnTo>
                    <a:pt x="169" y="170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2" y="167"/>
                  </a:lnTo>
                  <a:lnTo>
                    <a:pt x="162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4" y="160"/>
                  </a:lnTo>
                  <a:lnTo>
                    <a:pt x="154" y="157"/>
                  </a:lnTo>
                  <a:lnTo>
                    <a:pt x="154" y="155"/>
                  </a:lnTo>
                  <a:lnTo>
                    <a:pt x="152" y="152"/>
                  </a:lnTo>
                  <a:lnTo>
                    <a:pt x="152" y="150"/>
                  </a:lnTo>
                  <a:lnTo>
                    <a:pt x="152" y="145"/>
                  </a:lnTo>
                  <a:lnTo>
                    <a:pt x="152" y="143"/>
                  </a:lnTo>
                  <a:lnTo>
                    <a:pt x="152" y="140"/>
                  </a:lnTo>
                  <a:lnTo>
                    <a:pt x="152" y="135"/>
                  </a:lnTo>
                  <a:lnTo>
                    <a:pt x="152" y="133"/>
                  </a:lnTo>
                  <a:lnTo>
                    <a:pt x="152" y="128"/>
                  </a:lnTo>
                  <a:lnTo>
                    <a:pt x="152" y="120"/>
                  </a:lnTo>
                  <a:lnTo>
                    <a:pt x="152" y="113"/>
                  </a:lnTo>
                  <a:lnTo>
                    <a:pt x="152" y="106"/>
                  </a:lnTo>
                  <a:lnTo>
                    <a:pt x="152" y="98"/>
                  </a:lnTo>
                  <a:lnTo>
                    <a:pt x="152" y="93"/>
                  </a:lnTo>
                  <a:lnTo>
                    <a:pt x="152" y="91"/>
                  </a:lnTo>
                  <a:lnTo>
                    <a:pt x="152" y="86"/>
                  </a:lnTo>
                  <a:lnTo>
                    <a:pt x="150" y="84"/>
                  </a:lnTo>
                  <a:lnTo>
                    <a:pt x="150" y="81"/>
                  </a:lnTo>
                  <a:lnTo>
                    <a:pt x="150" y="79"/>
                  </a:lnTo>
                  <a:lnTo>
                    <a:pt x="150" y="74"/>
                  </a:lnTo>
                  <a:lnTo>
                    <a:pt x="147" y="71"/>
                  </a:lnTo>
                  <a:lnTo>
                    <a:pt x="147" y="69"/>
                  </a:lnTo>
                  <a:lnTo>
                    <a:pt x="147" y="69"/>
                  </a:lnTo>
                  <a:lnTo>
                    <a:pt x="147" y="66"/>
                  </a:lnTo>
                  <a:lnTo>
                    <a:pt x="145" y="66"/>
                  </a:lnTo>
                  <a:lnTo>
                    <a:pt x="145" y="64"/>
                  </a:lnTo>
                  <a:lnTo>
                    <a:pt x="145" y="64"/>
                  </a:lnTo>
                  <a:lnTo>
                    <a:pt x="142" y="64"/>
                  </a:lnTo>
                  <a:lnTo>
                    <a:pt x="142" y="61"/>
                  </a:lnTo>
                  <a:lnTo>
                    <a:pt x="140" y="61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5" y="59"/>
                  </a:lnTo>
                  <a:lnTo>
                    <a:pt x="132" y="57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5" y="57"/>
                  </a:lnTo>
                  <a:close/>
                  <a:moveTo>
                    <a:pt x="199" y="71"/>
                  </a:moveTo>
                  <a:lnTo>
                    <a:pt x="199" y="71"/>
                  </a:lnTo>
                  <a:lnTo>
                    <a:pt x="194" y="71"/>
                  </a:lnTo>
                  <a:lnTo>
                    <a:pt x="191" y="69"/>
                  </a:lnTo>
                  <a:lnTo>
                    <a:pt x="189" y="69"/>
                  </a:lnTo>
                  <a:lnTo>
                    <a:pt x="186" y="66"/>
                  </a:lnTo>
                  <a:lnTo>
                    <a:pt x="186" y="66"/>
                  </a:lnTo>
                  <a:lnTo>
                    <a:pt x="184" y="64"/>
                  </a:lnTo>
                  <a:lnTo>
                    <a:pt x="184" y="64"/>
                  </a:lnTo>
                  <a:lnTo>
                    <a:pt x="181" y="61"/>
                  </a:lnTo>
                  <a:lnTo>
                    <a:pt x="179" y="61"/>
                  </a:lnTo>
                  <a:lnTo>
                    <a:pt x="179" y="59"/>
                  </a:lnTo>
                  <a:lnTo>
                    <a:pt x="177" y="57"/>
                  </a:lnTo>
                  <a:lnTo>
                    <a:pt x="174" y="57"/>
                  </a:lnTo>
                  <a:lnTo>
                    <a:pt x="174" y="54"/>
                  </a:lnTo>
                  <a:lnTo>
                    <a:pt x="172" y="52"/>
                  </a:lnTo>
                  <a:lnTo>
                    <a:pt x="172" y="49"/>
                  </a:lnTo>
                  <a:lnTo>
                    <a:pt x="169" y="47"/>
                  </a:lnTo>
                  <a:lnTo>
                    <a:pt x="169" y="44"/>
                  </a:lnTo>
                  <a:lnTo>
                    <a:pt x="167" y="42"/>
                  </a:lnTo>
                  <a:lnTo>
                    <a:pt x="167" y="39"/>
                  </a:lnTo>
                  <a:lnTo>
                    <a:pt x="167" y="34"/>
                  </a:lnTo>
                  <a:lnTo>
                    <a:pt x="164" y="32"/>
                  </a:lnTo>
                  <a:lnTo>
                    <a:pt x="164" y="30"/>
                  </a:lnTo>
                  <a:lnTo>
                    <a:pt x="164" y="25"/>
                  </a:lnTo>
                  <a:lnTo>
                    <a:pt x="164" y="22"/>
                  </a:lnTo>
                  <a:lnTo>
                    <a:pt x="164" y="17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2"/>
                  </a:lnTo>
                  <a:lnTo>
                    <a:pt x="164" y="12"/>
                  </a:lnTo>
                  <a:lnTo>
                    <a:pt x="164" y="12"/>
                  </a:lnTo>
                  <a:lnTo>
                    <a:pt x="167" y="15"/>
                  </a:lnTo>
                  <a:lnTo>
                    <a:pt x="169" y="15"/>
                  </a:lnTo>
                  <a:lnTo>
                    <a:pt x="172" y="20"/>
                  </a:lnTo>
                  <a:lnTo>
                    <a:pt x="174" y="20"/>
                  </a:lnTo>
                  <a:lnTo>
                    <a:pt x="174" y="22"/>
                  </a:lnTo>
                  <a:lnTo>
                    <a:pt x="177" y="22"/>
                  </a:lnTo>
                  <a:lnTo>
                    <a:pt x="179" y="25"/>
                  </a:lnTo>
                  <a:lnTo>
                    <a:pt x="181" y="25"/>
                  </a:lnTo>
                  <a:lnTo>
                    <a:pt x="184" y="27"/>
                  </a:lnTo>
                  <a:lnTo>
                    <a:pt x="186" y="30"/>
                  </a:lnTo>
                  <a:lnTo>
                    <a:pt x="191" y="32"/>
                  </a:lnTo>
                  <a:lnTo>
                    <a:pt x="194" y="32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9" y="37"/>
                  </a:lnTo>
                  <a:lnTo>
                    <a:pt x="201" y="37"/>
                  </a:lnTo>
                  <a:lnTo>
                    <a:pt x="201" y="39"/>
                  </a:lnTo>
                  <a:lnTo>
                    <a:pt x="204" y="42"/>
                  </a:lnTo>
                  <a:lnTo>
                    <a:pt x="206" y="44"/>
                  </a:lnTo>
                  <a:lnTo>
                    <a:pt x="206" y="47"/>
                  </a:lnTo>
                  <a:lnTo>
                    <a:pt x="208" y="49"/>
                  </a:lnTo>
                  <a:lnTo>
                    <a:pt x="208" y="52"/>
                  </a:lnTo>
                  <a:lnTo>
                    <a:pt x="208" y="57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01" y="74"/>
                  </a:lnTo>
                  <a:lnTo>
                    <a:pt x="199" y="71"/>
                  </a:lnTo>
                  <a:close/>
                  <a:moveTo>
                    <a:pt x="162" y="0"/>
                  </a:moveTo>
                  <a:lnTo>
                    <a:pt x="162" y="0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9" y="0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57" y="3"/>
                  </a:lnTo>
                  <a:lnTo>
                    <a:pt x="157" y="3"/>
                  </a:lnTo>
                  <a:lnTo>
                    <a:pt x="157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7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4" y="15"/>
                  </a:lnTo>
                  <a:lnTo>
                    <a:pt x="152" y="17"/>
                  </a:lnTo>
                  <a:lnTo>
                    <a:pt x="154" y="20"/>
                  </a:lnTo>
                  <a:lnTo>
                    <a:pt x="154" y="22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4" y="30"/>
                  </a:lnTo>
                  <a:lnTo>
                    <a:pt x="154" y="32"/>
                  </a:lnTo>
                  <a:lnTo>
                    <a:pt x="154" y="34"/>
                  </a:lnTo>
                  <a:lnTo>
                    <a:pt x="154" y="37"/>
                  </a:lnTo>
                  <a:lnTo>
                    <a:pt x="157" y="39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9"/>
                  </a:lnTo>
                  <a:lnTo>
                    <a:pt x="162" y="52"/>
                  </a:lnTo>
                  <a:lnTo>
                    <a:pt x="162" y="54"/>
                  </a:lnTo>
                  <a:lnTo>
                    <a:pt x="164" y="59"/>
                  </a:lnTo>
                  <a:lnTo>
                    <a:pt x="167" y="61"/>
                  </a:lnTo>
                  <a:lnTo>
                    <a:pt x="169" y="64"/>
                  </a:lnTo>
                  <a:lnTo>
                    <a:pt x="169" y="66"/>
                  </a:lnTo>
                  <a:lnTo>
                    <a:pt x="172" y="69"/>
                  </a:lnTo>
                  <a:lnTo>
                    <a:pt x="174" y="69"/>
                  </a:lnTo>
                  <a:lnTo>
                    <a:pt x="177" y="71"/>
                  </a:lnTo>
                  <a:lnTo>
                    <a:pt x="179" y="74"/>
                  </a:lnTo>
                  <a:lnTo>
                    <a:pt x="181" y="74"/>
                  </a:lnTo>
                  <a:lnTo>
                    <a:pt x="184" y="76"/>
                  </a:lnTo>
                  <a:lnTo>
                    <a:pt x="186" y="79"/>
                  </a:lnTo>
                  <a:lnTo>
                    <a:pt x="189" y="79"/>
                  </a:lnTo>
                  <a:lnTo>
                    <a:pt x="189" y="79"/>
                  </a:lnTo>
                  <a:lnTo>
                    <a:pt x="191" y="81"/>
                  </a:lnTo>
                  <a:lnTo>
                    <a:pt x="194" y="81"/>
                  </a:lnTo>
                  <a:lnTo>
                    <a:pt x="196" y="81"/>
                  </a:lnTo>
                  <a:lnTo>
                    <a:pt x="199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4" y="84"/>
                  </a:lnTo>
                  <a:lnTo>
                    <a:pt x="221" y="69"/>
                  </a:lnTo>
                  <a:lnTo>
                    <a:pt x="221" y="66"/>
                  </a:lnTo>
                  <a:lnTo>
                    <a:pt x="221" y="64"/>
                  </a:lnTo>
                  <a:lnTo>
                    <a:pt x="221" y="61"/>
                  </a:lnTo>
                  <a:lnTo>
                    <a:pt x="221" y="59"/>
                  </a:lnTo>
                  <a:lnTo>
                    <a:pt x="221" y="57"/>
                  </a:lnTo>
                  <a:lnTo>
                    <a:pt x="218" y="54"/>
                  </a:lnTo>
                  <a:lnTo>
                    <a:pt x="218" y="52"/>
                  </a:lnTo>
                  <a:lnTo>
                    <a:pt x="218" y="49"/>
                  </a:lnTo>
                  <a:lnTo>
                    <a:pt x="218" y="47"/>
                  </a:lnTo>
                  <a:lnTo>
                    <a:pt x="216" y="44"/>
                  </a:lnTo>
                  <a:lnTo>
                    <a:pt x="216" y="42"/>
                  </a:lnTo>
                  <a:lnTo>
                    <a:pt x="216" y="39"/>
                  </a:lnTo>
                  <a:lnTo>
                    <a:pt x="213" y="39"/>
                  </a:lnTo>
                  <a:lnTo>
                    <a:pt x="213" y="37"/>
                  </a:lnTo>
                  <a:lnTo>
                    <a:pt x="213" y="34"/>
                  </a:lnTo>
                  <a:lnTo>
                    <a:pt x="211" y="34"/>
                  </a:lnTo>
                  <a:lnTo>
                    <a:pt x="211" y="32"/>
                  </a:lnTo>
                  <a:lnTo>
                    <a:pt x="208" y="32"/>
                  </a:lnTo>
                  <a:lnTo>
                    <a:pt x="208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4" y="27"/>
                  </a:lnTo>
                  <a:lnTo>
                    <a:pt x="201" y="25"/>
                  </a:lnTo>
                  <a:lnTo>
                    <a:pt x="199" y="22"/>
                  </a:lnTo>
                  <a:lnTo>
                    <a:pt x="196" y="22"/>
                  </a:lnTo>
                  <a:lnTo>
                    <a:pt x="191" y="20"/>
                  </a:lnTo>
                  <a:lnTo>
                    <a:pt x="186" y="17"/>
                  </a:lnTo>
                  <a:lnTo>
                    <a:pt x="186" y="17"/>
                  </a:lnTo>
                  <a:lnTo>
                    <a:pt x="184" y="15"/>
                  </a:lnTo>
                  <a:lnTo>
                    <a:pt x="184" y="15"/>
                  </a:lnTo>
                  <a:lnTo>
                    <a:pt x="181" y="15"/>
                  </a:lnTo>
                  <a:lnTo>
                    <a:pt x="179" y="12"/>
                  </a:lnTo>
                  <a:lnTo>
                    <a:pt x="177" y="10"/>
                  </a:lnTo>
                  <a:lnTo>
                    <a:pt x="177" y="7"/>
                  </a:lnTo>
                  <a:lnTo>
                    <a:pt x="174" y="5"/>
                  </a:lnTo>
                  <a:lnTo>
                    <a:pt x="172" y="5"/>
                  </a:lnTo>
                  <a:lnTo>
                    <a:pt x="172" y="3"/>
                  </a:lnTo>
                  <a:lnTo>
                    <a:pt x="169" y="3"/>
                  </a:lnTo>
                  <a:lnTo>
                    <a:pt x="169" y="3"/>
                  </a:lnTo>
                  <a:lnTo>
                    <a:pt x="167" y="3"/>
                  </a:lnTo>
                  <a:lnTo>
                    <a:pt x="167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74">
            <a:extLst>
              <a:ext uri="{FF2B5EF4-FFF2-40B4-BE49-F238E27FC236}">
                <a16:creationId xmlns:a16="http://schemas.microsoft.com/office/drawing/2014/main" id="{C6FBE561-9510-43DD-AFFC-D13F8B58AB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575" y="1554317"/>
            <a:ext cx="841375" cy="841375"/>
            <a:chOff x="277" y="1061"/>
            <a:chExt cx="530" cy="530"/>
          </a:xfrm>
        </p:grpSpPr>
        <p:sp>
          <p:nvSpPr>
            <p:cNvPr id="85" name="AutoShape 73">
              <a:extLst>
                <a:ext uri="{FF2B5EF4-FFF2-40B4-BE49-F238E27FC236}">
                  <a16:creationId xmlns:a16="http://schemas.microsoft.com/office/drawing/2014/main" id="{D93A7DFC-93EB-445B-A1EF-15ECC59022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7" y="10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75">
              <a:extLst>
                <a:ext uri="{FF2B5EF4-FFF2-40B4-BE49-F238E27FC236}">
                  <a16:creationId xmlns:a16="http://schemas.microsoft.com/office/drawing/2014/main" id="{9557C5BB-FA13-40ED-97F6-2A3918C24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" y="106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6">
              <a:extLst>
                <a:ext uri="{FF2B5EF4-FFF2-40B4-BE49-F238E27FC236}">
                  <a16:creationId xmlns:a16="http://schemas.microsoft.com/office/drawing/2014/main" id="{7BE87CF0-82BA-405E-8E1A-6BF650383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" y="107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7">
              <a:extLst>
                <a:ext uri="{FF2B5EF4-FFF2-40B4-BE49-F238E27FC236}">
                  <a16:creationId xmlns:a16="http://schemas.microsoft.com/office/drawing/2014/main" id="{DDEFD4D5-102F-4615-93CE-688CBC92AC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" y="1161"/>
              <a:ext cx="297" cy="333"/>
            </a:xfrm>
            <a:custGeom>
              <a:avLst/>
              <a:gdLst>
                <a:gd name="T0" fmla="*/ 125 w 297"/>
                <a:gd name="T1" fmla="*/ 261 h 333"/>
                <a:gd name="T2" fmla="*/ 146 w 297"/>
                <a:gd name="T3" fmla="*/ 266 h 333"/>
                <a:gd name="T4" fmla="*/ 128 w 297"/>
                <a:gd name="T5" fmla="*/ 246 h 333"/>
                <a:gd name="T6" fmla="*/ 120 w 297"/>
                <a:gd name="T7" fmla="*/ 287 h 333"/>
                <a:gd name="T8" fmla="*/ 158 w 297"/>
                <a:gd name="T9" fmla="*/ 266 h 333"/>
                <a:gd name="T10" fmla="*/ 184 w 297"/>
                <a:gd name="T11" fmla="*/ 258 h 333"/>
                <a:gd name="T12" fmla="*/ 187 w 297"/>
                <a:gd name="T13" fmla="*/ 235 h 333"/>
                <a:gd name="T14" fmla="*/ 205 w 297"/>
                <a:gd name="T15" fmla="*/ 251 h 333"/>
                <a:gd name="T16" fmla="*/ 174 w 297"/>
                <a:gd name="T17" fmla="*/ 233 h 333"/>
                <a:gd name="T18" fmla="*/ 189 w 297"/>
                <a:gd name="T19" fmla="*/ 271 h 333"/>
                <a:gd name="T20" fmla="*/ 210 w 297"/>
                <a:gd name="T21" fmla="*/ 233 h 333"/>
                <a:gd name="T22" fmla="*/ 69 w 297"/>
                <a:gd name="T23" fmla="*/ 253 h 333"/>
                <a:gd name="T24" fmla="*/ 82 w 297"/>
                <a:gd name="T25" fmla="*/ 235 h 333"/>
                <a:gd name="T26" fmla="*/ 87 w 297"/>
                <a:gd name="T27" fmla="*/ 256 h 333"/>
                <a:gd name="T28" fmla="*/ 56 w 297"/>
                <a:gd name="T29" fmla="*/ 246 h 333"/>
                <a:gd name="T30" fmla="*/ 89 w 297"/>
                <a:gd name="T31" fmla="*/ 269 h 333"/>
                <a:gd name="T32" fmla="*/ 89 w 297"/>
                <a:gd name="T33" fmla="*/ 225 h 333"/>
                <a:gd name="T34" fmla="*/ 41 w 297"/>
                <a:gd name="T35" fmla="*/ 189 h 333"/>
                <a:gd name="T36" fmla="*/ 64 w 297"/>
                <a:gd name="T37" fmla="*/ 182 h 333"/>
                <a:gd name="T38" fmla="*/ 56 w 297"/>
                <a:gd name="T39" fmla="*/ 205 h 333"/>
                <a:gd name="T40" fmla="*/ 33 w 297"/>
                <a:gd name="T41" fmla="*/ 202 h 333"/>
                <a:gd name="T42" fmla="*/ 74 w 297"/>
                <a:gd name="T43" fmla="*/ 202 h 333"/>
                <a:gd name="T44" fmla="*/ 51 w 297"/>
                <a:gd name="T45" fmla="*/ 169 h 333"/>
                <a:gd name="T46" fmla="*/ 82 w 297"/>
                <a:gd name="T47" fmla="*/ 120 h 333"/>
                <a:gd name="T48" fmla="*/ 102 w 297"/>
                <a:gd name="T49" fmla="*/ 125 h 333"/>
                <a:gd name="T50" fmla="*/ 84 w 297"/>
                <a:gd name="T51" fmla="*/ 105 h 333"/>
                <a:gd name="T52" fmla="*/ 79 w 297"/>
                <a:gd name="T53" fmla="*/ 146 h 333"/>
                <a:gd name="T54" fmla="*/ 112 w 297"/>
                <a:gd name="T55" fmla="*/ 125 h 333"/>
                <a:gd name="T56" fmla="*/ 279 w 297"/>
                <a:gd name="T57" fmla="*/ 161 h 333"/>
                <a:gd name="T58" fmla="*/ 215 w 297"/>
                <a:gd name="T59" fmla="*/ 87 h 333"/>
                <a:gd name="T60" fmla="*/ 289 w 297"/>
                <a:gd name="T61" fmla="*/ 174 h 333"/>
                <a:gd name="T62" fmla="*/ 238 w 297"/>
                <a:gd name="T63" fmla="*/ 74 h 333"/>
                <a:gd name="T64" fmla="*/ 74 w 297"/>
                <a:gd name="T65" fmla="*/ 307 h 333"/>
                <a:gd name="T66" fmla="*/ 25 w 297"/>
                <a:gd name="T67" fmla="*/ 256 h 333"/>
                <a:gd name="T68" fmla="*/ 10 w 297"/>
                <a:gd name="T69" fmla="*/ 184 h 333"/>
                <a:gd name="T70" fmla="*/ 38 w 297"/>
                <a:gd name="T71" fmla="*/ 115 h 333"/>
                <a:gd name="T72" fmla="*/ 97 w 297"/>
                <a:gd name="T73" fmla="*/ 77 h 333"/>
                <a:gd name="T74" fmla="*/ 143 w 297"/>
                <a:gd name="T75" fmla="*/ 77 h 333"/>
                <a:gd name="T76" fmla="*/ 153 w 297"/>
                <a:gd name="T77" fmla="*/ 169 h 333"/>
                <a:gd name="T78" fmla="*/ 197 w 297"/>
                <a:gd name="T79" fmla="*/ 187 h 333"/>
                <a:gd name="T80" fmla="*/ 258 w 297"/>
                <a:gd name="T81" fmla="*/ 202 h 333"/>
                <a:gd name="T82" fmla="*/ 233 w 297"/>
                <a:gd name="T83" fmla="*/ 271 h 333"/>
                <a:gd name="T84" fmla="*/ 176 w 297"/>
                <a:gd name="T85" fmla="*/ 315 h 333"/>
                <a:gd name="T86" fmla="*/ 105 w 297"/>
                <a:gd name="T87" fmla="*/ 64 h 333"/>
                <a:gd name="T88" fmla="*/ 36 w 297"/>
                <a:gd name="T89" fmla="*/ 102 h 333"/>
                <a:gd name="T90" fmla="*/ 0 w 297"/>
                <a:gd name="T91" fmla="*/ 171 h 333"/>
                <a:gd name="T92" fmla="*/ 10 w 297"/>
                <a:gd name="T93" fmla="*/ 251 h 333"/>
                <a:gd name="T94" fmla="*/ 61 w 297"/>
                <a:gd name="T95" fmla="*/ 310 h 333"/>
                <a:gd name="T96" fmla="*/ 138 w 297"/>
                <a:gd name="T97" fmla="*/ 333 h 333"/>
                <a:gd name="T98" fmla="*/ 212 w 297"/>
                <a:gd name="T99" fmla="*/ 307 h 333"/>
                <a:gd name="T100" fmla="*/ 261 w 297"/>
                <a:gd name="T101" fmla="*/ 246 h 333"/>
                <a:gd name="T102" fmla="*/ 266 w 297"/>
                <a:gd name="T103" fmla="*/ 184 h 333"/>
                <a:gd name="T104" fmla="*/ 187 w 297"/>
                <a:gd name="T105" fmla="*/ 176 h 333"/>
                <a:gd name="T106" fmla="*/ 158 w 297"/>
                <a:gd name="T107" fmla="*/ 146 h 333"/>
                <a:gd name="T108" fmla="*/ 146 w 297"/>
                <a:gd name="T109" fmla="*/ 64 h 333"/>
                <a:gd name="T110" fmla="*/ 179 w 297"/>
                <a:gd name="T111" fmla="*/ 51 h 333"/>
                <a:gd name="T112" fmla="*/ 192 w 297"/>
                <a:gd name="T113" fmla="*/ 28 h 333"/>
                <a:gd name="T114" fmla="*/ 166 w 297"/>
                <a:gd name="T115" fmla="*/ 2 h 333"/>
                <a:gd name="T116" fmla="*/ 169 w 297"/>
                <a:gd name="T117" fmla="*/ 54 h 333"/>
                <a:gd name="T118" fmla="*/ 230 w 297"/>
                <a:gd name="T119" fmla="*/ 66 h 333"/>
                <a:gd name="T120" fmla="*/ 199 w 297"/>
                <a:gd name="T121" fmla="*/ 2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333">
                  <a:moveTo>
                    <a:pt x="133" y="281"/>
                  </a:moveTo>
                  <a:lnTo>
                    <a:pt x="130" y="279"/>
                  </a:lnTo>
                  <a:lnTo>
                    <a:pt x="130" y="279"/>
                  </a:lnTo>
                  <a:lnTo>
                    <a:pt x="130" y="279"/>
                  </a:lnTo>
                  <a:lnTo>
                    <a:pt x="128" y="279"/>
                  </a:lnTo>
                  <a:lnTo>
                    <a:pt x="128" y="279"/>
                  </a:lnTo>
                  <a:lnTo>
                    <a:pt x="128" y="279"/>
                  </a:lnTo>
                  <a:lnTo>
                    <a:pt x="125" y="276"/>
                  </a:lnTo>
                  <a:lnTo>
                    <a:pt x="125" y="276"/>
                  </a:lnTo>
                  <a:lnTo>
                    <a:pt x="125" y="276"/>
                  </a:lnTo>
                  <a:lnTo>
                    <a:pt x="123" y="274"/>
                  </a:lnTo>
                  <a:lnTo>
                    <a:pt x="123" y="274"/>
                  </a:lnTo>
                  <a:lnTo>
                    <a:pt x="123" y="274"/>
                  </a:lnTo>
                  <a:lnTo>
                    <a:pt x="123" y="271"/>
                  </a:lnTo>
                  <a:lnTo>
                    <a:pt x="123" y="271"/>
                  </a:lnTo>
                  <a:lnTo>
                    <a:pt x="123" y="269"/>
                  </a:lnTo>
                  <a:lnTo>
                    <a:pt x="123" y="269"/>
                  </a:lnTo>
                  <a:lnTo>
                    <a:pt x="123" y="266"/>
                  </a:lnTo>
                  <a:lnTo>
                    <a:pt x="123" y="266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5" y="261"/>
                  </a:lnTo>
                  <a:lnTo>
                    <a:pt x="125" y="261"/>
                  </a:lnTo>
                  <a:lnTo>
                    <a:pt x="125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3" y="256"/>
                  </a:lnTo>
                  <a:lnTo>
                    <a:pt x="133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40" y="256"/>
                  </a:lnTo>
                  <a:lnTo>
                    <a:pt x="140" y="258"/>
                  </a:lnTo>
                  <a:lnTo>
                    <a:pt x="140" y="258"/>
                  </a:lnTo>
                  <a:lnTo>
                    <a:pt x="143" y="258"/>
                  </a:lnTo>
                  <a:lnTo>
                    <a:pt x="143" y="258"/>
                  </a:lnTo>
                  <a:lnTo>
                    <a:pt x="143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6"/>
                  </a:lnTo>
                  <a:lnTo>
                    <a:pt x="146" y="266"/>
                  </a:lnTo>
                  <a:lnTo>
                    <a:pt x="146" y="266"/>
                  </a:lnTo>
                  <a:lnTo>
                    <a:pt x="146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6" y="271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6"/>
                  </a:lnTo>
                  <a:lnTo>
                    <a:pt x="143" y="276"/>
                  </a:lnTo>
                  <a:lnTo>
                    <a:pt x="143" y="276"/>
                  </a:lnTo>
                  <a:lnTo>
                    <a:pt x="143" y="279"/>
                  </a:lnTo>
                  <a:lnTo>
                    <a:pt x="140" y="279"/>
                  </a:lnTo>
                  <a:lnTo>
                    <a:pt x="140" y="279"/>
                  </a:lnTo>
                  <a:lnTo>
                    <a:pt x="138" y="279"/>
                  </a:lnTo>
                  <a:lnTo>
                    <a:pt x="138" y="279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3" y="281"/>
                  </a:lnTo>
                  <a:lnTo>
                    <a:pt x="133" y="281"/>
                  </a:lnTo>
                  <a:close/>
                  <a:moveTo>
                    <a:pt x="133" y="246"/>
                  </a:moveTo>
                  <a:lnTo>
                    <a:pt x="130" y="246"/>
                  </a:lnTo>
                  <a:lnTo>
                    <a:pt x="128" y="246"/>
                  </a:lnTo>
                  <a:lnTo>
                    <a:pt x="125" y="246"/>
                  </a:lnTo>
                  <a:lnTo>
                    <a:pt x="123" y="248"/>
                  </a:lnTo>
                  <a:lnTo>
                    <a:pt x="123" y="248"/>
                  </a:lnTo>
                  <a:lnTo>
                    <a:pt x="120" y="251"/>
                  </a:lnTo>
                  <a:lnTo>
                    <a:pt x="117" y="251"/>
                  </a:lnTo>
                  <a:lnTo>
                    <a:pt x="117" y="253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2" y="258"/>
                  </a:lnTo>
                  <a:lnTo>
                    <a:pt x="112" y="261"/>
                  </a:lnTo>
                  <a:lnTo>
                    <a:pt x="112" y="263"/>
                  </a:lnTo>
                  <a:lnTo>
                    <a:pt x="112" y="266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12" y="271"/>
                  </a:lnTo>
                  <a:lnTo>
                    <a:pt x="112" y="274"/>
                  </a:lnTo>
                  <a:lnTo>
                    <a:pt x="112" y="276"/>
                  </a:lnTo>
                  <a:lnTo>
                    <a:pt x="112" y="279"/>
                  </a:lnTo>
                  <a:lnTo>
                    <a:pt x="115" y="279"/>
                  </a:lnTo>
                  <a:lnTo>
                    <a:pt x="115" y="281"/>
                  </a:lnTo>
                  <a:lnTo>
                    <a:pt x="117" y="284"/>
                  </a:lnTo>
                  <a:lnTo>
                    <a:pt x="117" y="284"/>
                  </a:lnTo>
                  <a:lnTo>
                    <a:pt x="120" y="287"/>
                  </a:lnTo>
                  <a:lnTo>
                    <a:pt x="120" y="287"/>
                  </a:lnTo>
                  <a:lnTo>
                    <a:pt x="123" y="289"/>
                  </a:lnTo>
                  <a:lnTo>
                    <a:pt x="125" y="289"/>
                  </a:lnTo>
                  <a:lnTo>
                    <a:pt x="128" y="289"/>
                  </a:lnTo>
                  <a:lnTo>
                    <a:pt x="128" y="292"/>
                  </a:lnTo>
                  <a:lnTo>
                    <a:pt x="130" y="292"/>
                  </a:lnTo>
                  <a:lnTo>
                    <a:pt x="133" y="292"/>
                  </a:lnTo>
                  <a:lnTo>
                    <a:pt x="135" y="292"/>
                  </a:lnTo>
                  <a:lnTo>
                    <a:pt x="135" y="292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3" y="289"/>
                  </a:lnTo>
                  <a:lnTo>
                    <a:pt x="146" y="289"/>
                  </a:lnTo>
                  <a:lnTo>
                    <a:pt x="148" y="289"/>
                  </a:lnTo>
                  <a:lnTo>
                    <a:pt x="148" y="287"/>
                  </a:lnTo>
                  <a:lnTo>
                    <a:pt x="151" y="284"/>
                  </a:lnTo>
                  <a:lnTo>
                    <a:pt x="153" y="284"/>
                  </a:lnTo>
                  <a:lnTo>
                    <a:pt x="153" y="281"/>
                  </a:lnTo>
                  <a:lnTo>
                    <a:pt x="156" y="279"/>
                  </a:lnTo>
                  <a:lnTo>
                    <a:pt x="156" y="276"/>
                  </a:lnTo>
                  <a:lnTo>
                    <a:pt x="156" y="276"/>
                  </a:lnTo>
                  <a:lnTo>
                    <a:pt x="158" y="274"/>
                  </a:lnTo>
                  <a:lnTo>
                    <a:pt x="158" y="271"/>
                  </a:lnTo>
                  <a:lnTo>
                    <a:pt x="158" y="269"/>
                  </a:lnTo>
                  <a:lnTo>
                    <a:pt x="158" y="266"/>
                  </a:lnTo>
                  <a:lnTo>
                    <a:pt x="158" y="263"/>
                  </a:lnTo>
                  <a:lnTo>
                    <a:pt x="156" y="261"/>
                  </a:lnTo>
                  <a:lnTo>
                    <a:pt x="156" y="261"/>
                  </a:lnTo>
                  <a:lnTo>
                    <a:pt x="156" y="258"/>
                  </a:lnTo>
                  <a:lnTo>
                    <a:pt x="153" y="256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1" y="251"/>
                  </a:lnTo>
                  <a:lnTo>
                    <a:pt x="151" y="251"/>
                  </a:lnTo>
                  <a:lnTo>
                    <a:pt x="148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3" y="246"/>
                  </a:lnTo>
                  <a:lnTo>
                    <a:pt x="140" y="246"/>
                  </a:lnTo>
                  <a:lnTo>
                    <a:pt x="138" y="246"/>
                  </a:lnTo>
                  <a:lnTo>
                    <a:pt x="135" y="246"/>
                  </a:lnTo>
                  <a:lnTo>
                    <a:pt x="135" y="246"/>
                  </a:lnTo>
                  <a:lnTo>
                    <a:pt x="133" y="246"/>
                  </a:lnTo>
                  <a:close/>
                  <a:moveTo>
                    <a:pt x="189" y="261"/>
                  </a:moveTo>
                  <a:lnTo>
                    <a:pt x="189" y="261"/>
                  </a:lnTo>
                  <a:lnTo>
                    <a:pt x="189" y="258"/>
                  </a:lnTo>
                  <a:lnTo>
                    <a:pt x="187" y="258"/>
                  </a:lnTo>
                  <a:lnTo>
                    <a:pt x="187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1" y="256"/>
                  </a:lnTo>
                  <a:lnTo>
                    <a:pt x="181" y="256"/>
                  </a:lnTo>
                  <a:lnTo>
                    <a:pt x="181" y="256"/>
                  </a:lnTo>
                  <a:lnTo>
                    <a:pt x="181" y="253"/>
                  </a:lnTo>
                  <a:lnTo>
                    <a:pt x="181" y="253"/>
                  </a:lnTo>
                  <a:lnTo>
                    <a:pt x="179" y="251"/>
                  </a:lnTo>
                  <a:lnTo>
                    <a:pt x="179" y="251"/>
                  </a:lnTo>
                  <a:lnTo>
                    <a:pt x="179" y="251"/>
                  </a:lnTo>
                  <a:lnTo>
                    <a:pt x="179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9" y="246"/>
                  </a:lnTo>
                  <a:lnTo>
                    <a:pt x="179" y="243"/>
                  </a:lnTo>
                  <a:lnTo>
                    <a:pt x="179" y="243"/>
                  </a:lnTo>
                  <a:lnTo>
                    <a:pt x="181" y="240"/>
                  </a:lnTo>
                  <a:lnTo>
                    <a:pt x="181" y="240"/>
                  </a:lnTo>
                  <a:lnTo>
                    <a:pt x="181" y="240"/>
                  </a:lnTo>
                  <a:lnTo>
                    <a:pt x="184" y="238"/>
                  </a:lnTo>
                  <a:lnTo>
                    <a:pt x="184" y="238"/>
                  </a:lnTo>
                  <a:lnTo>
                    <a:pt x="184" y="238"/>
                  </a:lnTo>
                  <a:lnTo>
                    <a:pt x="187" y="235"/>
                  </a:lnTo>
                  <a:lnTo>
                    <a:pt x="187" y="235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92" y="235"/>
                  </a:lnTo>
                  <a:lnTo>
                    <a:pt x="192" y="235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202" y="240"/>
                  </a:lnTo>
                  <a:lnTo>
                    <a:pt x="202" y="240"/>
                  </a:lnTo>
                  <a:lnTo>
                    <a:pt x="202" y="240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5" y="246"/>
                  </a:lnTo>
                  <a:lnTo>
                    <a:pt x="205" y="246"/>
                  </a:lnTo>
                  <a:lnTo>
                    <a:pt x="205" y="246"/>
                  </a:lnTo>
                  <a:lnTo>
                    <a:pt x="205" y="248"/>
                  </a:lnTo>
                  <a:lnTo>
                    <a:pt x="205" y="248"/>
                  </a:lnTo>
                  <a:lnTo>
                    <a:pt x="205" y="251"/>
                  </a:lnTo>
                  <a:lnTo>
                    <a:pt x="202" y="251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202" y="256"/>
                  </a:lnTo>
                  <a:lnTo>
                    <a:pt x="202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8"/>
                  </a:lnTo>
                  <a:lnTo>
                    <a:pt x="194" y="258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1"/>
                  </a:lnTo>
                  <a:lnTo>
                    <a:pt x="189" y="261"/>
                  </a:lnTo>
                  <a:close/>
                  <a:moveTo>
                    <a:pt x="189" y="225"/>
                  </a:moveTo>
                  <a:lnTo>
                    <a:pt x="187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1" y="228"/>
                  </a:lnTo>
                  <a:lnTo>
                    <a:pt x="179" y="228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4" y="233"/>
                  </a:lnTo>
                  <a:lnTo>
                    <a:pt x="171" y="235"/>
                  </a:lnTo>
                  <a:lnTo>
                    <a:pt x="171" y="235"/>
                  </a:lnTo>
                  <a:lnTo>
                    <a:pt x="171" y="238"/>
                  </a:lnTo>
                  <a:lnTo>
                    <a:pt x="169" y="240"/>
                  </a:lnTo>
                  <a:lnTo>
                    <a:pt x="169" y="243"/>
                  </a:lnTo>
                  <a:lnTo>
                    <a:pt x="169" y="246"/>
                  </a:lnTo>
                  <a:lnTo>
                    <a:pt x="169" y="248"/>
                  </a:lnTo>
                  <a:lnTo>
                    <a:pt x="169" y="248"/>
                  </a:lnTo>
                  <a:lnTo>
                    <a:pt x="169" y="251"/>
                  </a:lnTo>
                  <a:lnTo>
                    <a:pt x="169" y="253"/>
                  </a:lnTo>
                  <a:lnTo>
                    <a:pt x="169" y="256"/>
                  </a:lnTo>
                  <a:lnTo>
                    <a:pt x="171" y="258"/>
                  </a:lnTo>
                  <a:lnTo>
                    <a:pt x="171" y="258"/>
                  </a:lnTo>
                  <a:lnTo>
                    <a:pt x="171" y="261"/>
                  </a:lnTo>
                  <a:lnTo>
                    <a:pt x="174" y="263"/>
                  </a:lnTo>
                  <a:lnTo>
                    <a:pt x="176" y="263"/>
                  </a:lnTo>
                  <a:lnTo>
                    <a:pt x="176" y="266"/>
                  </a:lnTo>
                  <a:lnTo>
                    <a:pt x="179" y="266"/>
                  </a:lnTo>
                  <a:lnTo>
                    <a:pt x="179" y="269"/>
                  </a:lnTo>
                  <a:lnTo>
                    <a:pt x="181" y="269"/>
                  </a:lnTo>
                  <a:lnTo>
                    <a:pt x="184" y="269"/>
                  </a:lnTo>
                  <a:lnTo>
                    <a:pt x="184" y="271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2" y="271"/>
                  </a:lnTo>
                  <a:lnTo>
                    <a:pt x="194" y="271"/>
                  </a:lnTo>
                  <a:lnTo>
                    <a:pt x="194" y="271"/>
                  </a:lnTo>
                  <a:lnTo>
                    <a:pt x="197" y="271"/>
                  </a:lnTo>
                  <a:lnTo>
                    <a:pt x="199" y="269"/>
                  </a:lnTo>
                  <a:lnTo>
                    <a:pt x="202" y="269"/>
                  </a:lnTo>
                  <a:lnTo>
                    <a:pt x="205" y="269"/>
                  </a:lnTo>
                  <a:lnTo>
                    <a:pt x="207" y="266"/>
                  </a:lnTo>
                  <a:lnTo>
                    <a:pt x="207" y="263"/>
                  </a:lnTo>
                  <a:lnTo>
                    <a:pt x="210" y="263"/>
                  </a:lnTo>
                  <a:lnTo>
                    <a:pt x="210" y="261"/>
                  </a:lnTo>
                  <a:lnTo>
                    <a:pt x="212" y="258"/>
                  </a:lnTo>
                  <a:lnTo>
                    <a:pt x="212" y="256"/>
                  </a:lnTo>
                  <a:lnTo>
                    <a:pt x="215" y="256"/>
                  </a:lnTo>
                  <a:lnTo>
                    <a:pt x="215" y="253"/>
                  </a:lnTo>
                  <a:lnTo>
                    <a:pt x="215" y="251"/>
                  </a:lnTo>
                  <a:lnTo>
                    <a:pt x="215" y="248"/>
                  </a:lnTo>
                  <a:lnTo>
                    <a:pt x="215" y="246"/>
                  </a:lnTo>
                  <a:lnTo>
                    <a:pt x="215" y="243"/>
                  </a:lnTo>
                  <a:lnTo>
                    <a:pt x="215" y="240"/>
                  </a:lnTo>
                  <a:lnTo>
                    <a:pt x="212" y="240"/>
                  </a:lnTo>
                  <a:lnTo>
                    <a:pt x="212" y="238"/>
                  </a:lnTo>
                  <a:lnTo>
                    <a:pt x="212" y="235"/>
                  </a:lnTo>
                  <a:lnTo>
                    <a:pt x="210" y="233"/>
                  </a:lnTo>
                  <a:lnTo>
                    <a:pt x="210" y="233"/>
                  </a:lnTo>
                  <a:lnTo>
                    <a:pt x="207" y="230"/>
                  </a:lnTo>
                  <a:lnTo>
                    <a:pt x="207" y="230"/>
                  </a:lnTo>
                  <a:lnTo>
                    <a:pt x="205" y="228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199" y="225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4" y="225"/>
                  </a:lnTo>
                  <a:lnTo>
                    <a:pt x="192" y="225"/>
                  </a:lnTo>
                  <a:lnTo>
                    <a:pt x="189" y="225"/>
                  </a:lnTo>
                  <a:close/>
                  <a:moveTo>
                    <a:pt x="76" y="258"/>
                  </a:moveTo>
                  <a:lnTo>
                    <a:pt x="76" y="258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3"/>
                  </a:lnTo>
                  <a:lnTo>
                    <a:pt x="69" y="243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38"/>
                  </a:lnTo>
                  <a:lnTo>
                    <a:pt x="71" y="238"/>
                  </a:lnTo>
                  <a:lnTo>
                    <a:pt x="71" y="238"/>
                  </a:lnTo>
                  <a:lnTo>
                    <a:pt x="71" y="238"/>
                  </a:lnTo>
                  <a:lnTo>
                    <a:pt x="74" y="235"/>
                  </a:lnTo>
                  <a:lnTo>
                    <a:pt x="74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82" y="235"/>
                  </a:lnTo>
                  <a:lnTo>
                    <a:pt x="82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9" y="238"/>
                  </a:lnTo>
                  <a:lnTo>
                    <a:pt x="89" y="240"/>
                  </a:lnTo>
                  <a:lnTo>
                    <a:pt x="89" y="240"/>
                  </a:lnTo>
                  <a:lnTo>
                    <a:pt x="89" y="243"/>
                  </a:lnTo>
                  <a:lnTo>
                    <a:pt x="89" y="243"/>
                  </a:lnTo>
                  <a:lnTo>
                    <a:pt x="92" y="243"/>
                  </a:lnTo>
                  <a:lnTo>
                    <a:pt x="92" y="246"/>
                  </a:lnTo>
                  <a:lnTo>
                    <a:pt x="92" y="246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51"/>
                  </a:lnTo>
                  <a:lnTo>
                    <a:pt x="92" y="251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6"/>
                  </a:lnTo>
                  <a:lnTo>
                    <a:pt x="87" y="256"/>
                  </a:lnTo>
                  <a:lnTo>
                    <a:pt x="87" y="256"/>
                  </a:lnTo>
                  <a:lnTo>
                    <a:pt x="87" y="258"/>
                  </a:lnTo>
                  <a:lnTo>
                    <a:pt x="84" y="258"/>
                  </a:lnTo>
                  <a:lnTo>
                    <a:pt x="84" y="258"/>
                  </a:lnTo>
                  <a:lnTo>
                    <a:pt x="82" y="258"/>
                  </a:lnTo>
                  <a:lnTo>
                    <a:pt x="82" y="258"/>
                  </a:lnTo>
                  <a:lnTo>
                    <a:pt x="79" y="258"/>
                  </a:lnTo>
                  <a:lnTo>
                    <a:pt x="79" y="258"/>
                  </a:lnTo>
                  <a:lnTo>
                    <a:pt x="79" y="258"/>
                  </a:lnTo>
                  <a:lnTo>
                    <a:pt x="76" y="258"/>
                  </a:lnTo>
                  <a:close/>
                  <a:moveTo>
                    <a:pt x="76" y="225"/>
                  </a:moveTo>
                  <a:lnTo>
                    <a:pt x="74" y="225"/>
                  </a:lnTo>
                  <a:lnTo>
                    <a:pt x="71" y="225"/>
                  </a:lnTo>
                  <a:lnTo>
                    <a:pt x="71" y="225"/>
                  </a:lnTo>
                  <a:lnTo>
                    <a:pt x="69" y="225"/>
                  </a:lnTo>
                  <a:lnTo>
                    <a:pt x="66" y="228"/>
                  </a:lnTo>
                  <a:lnTo>
                    <a:pt x="64" y="228"/>
                  </a:lnTo>
                  <a:lnTo>
                    <a:pt x="64" y="230"/>
                  </a:lnTo>
                  <a:lnTo>
                    <a:pt x="61" y="233"/>
                  </a:lnTo>
                  <a:lnTo>
                    <a:pt x="59" y="233"/>
                  </a:lnTo>
                  <a:lnTo>
                    <a:pt x="59" y="235"/>
                  </a:lnTo>
                  <a:lnTo>
                    <a:pt x="59" y="238"/>
                  </a:lnTo>
                  <a:lnTo>
                    <a:pt x="56" y="240"/>
                  </a:lnTo>
                  <a:lnTo>
                    <a:pt x="56" y="243"/>
                  </a:lnTo>
                  <a:lnTo>
                    <a:pt x="56" y="246"/>
                  </a:lnTo>
                  <a:lnTo>
                    <a:pt x="56" y="246"/>
                  </a:lnTo>
                  <a:lnTo>
                    <a:pt x="56" y="248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6" y="256"/>
                  </a:lnTo>
                  <a:lnTo>
                    <a:pt x="59" y="258"/>
                  </a:lnTo>
                  <a:lnTo>
                    <a:pt x="59" y="258"/>
                  </a:lnTo>
                  <a:lnTo>
                    <a:pt x="59" y="261"/>
                  </a:lnTo>
                  <a:lnTo>
                    <a:pt x="61" y="263"/>
                  </a:lnTo>
                  <a:lnTo>
                    <a:pt x="64" y="263"/>
                  </a:lnTo>
                  <a:lnTo>
                    <a:pt x="64" y="266"/>
                  </a:lnTo>
                  <a:lnTo>
                    <a:pt x="66" y="266"/>
                  </a:lnTo>
                  <a:lnTo>
                    <a:pt x="66" y="269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74" y="269"/>
                  </a:lnTo>
                  <a:lnTo>
                    <a:pt x="74" y="271"/>
                  </a:lnTo>
                  <a:lnTo>
                    <a:pt x="76" y="271"/>
                  </a:lnTo>
                  <a:lnTo>
                    <a:pt x="79" y="271"/>
                  </a:lnTo>
                  <a:lnTo>
                    <a:pt x="82" y="271"/>
                  </a:lnTo>
                  <a:lnTo>
                    <a:pt x="84" y="271"/>
                  </a:lnTo>
                  <a:lnTo>
                    <a:pt x="84" y="269"/>
                  </a:lnTo>
                  <a:lnTo>
                    <a:pt x="87" y="269"/>
                  </a:lnTo>
                  <a:lnTo>
                    <a:pt x="89" y="269"/>
                  </a:lnTo>
                  <a:lnTo>
                    <a:pt x="92" y="266"/>
                  </a:lnTo>
                  <a:lnTo>
                    <a:pt x="94" y="266"/>
                  </a:lnTo>
                  <a:lnTo>
                    <a:pt x="94" y="263"/>
                  </a:lnTo>
                  <a:lnTo>
                    <a:pt x="97" y="263"/>
                  </a:lnTo>
                  <a:lnTo>
                    <a:pt x="97" y="261"/>
                  </a:lnTo>
                  <a:lnTo>
                    <a:pt x="100" y="258"/>
                  </a:lnTo>
                  <a:lnTo>
                    <a:pt x="100" y="256"/>
                  </a:lnTo>
                  <a:lnTo>
                    <a:pt x="102" y="253"/>
                  </a:lnTo>
                  <a:lnTo>
                    <a:pt x="102" y="253"/>
                  </a:lnTo>
                  <a:lnTo>
                    <a:pt x="102" y="251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2" y="243"/>
                  </a:lnTo>
                  <a:lnTo>
                    <a:pt x="102" y="240"/>
                  </a:lnTo>
                  <a:lnTo>
                    <a:pt x="100" y="238"/>
                  </a:lnTo>
                  <a:lnTo>
                    <a:pt x="100" y="238"/>
                  </a:lnTo>
                  <a:lnTo>
                    <a:pt x="100" y="235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2" y="228"/>
                  </a:lnTo>
                  <a:lnTo>
                    <a:pt x="92" y="228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79" y="223"/>
                  </a:lnTo>
                  <a:lnTo>
                    <a:pt x="76" y="225"/>
                  </a:lnTo>
                  <a:close/>
                  <a:moveTo>
                    <a:pt x="51" y="205"/>
                  </a:moveTo>
                  <a:lnTo>
                    <a:pt x="51" y="205"/>
                  </a:lnTo>
                  <a:lnTo>
                    <a:pt x="51" y="202"/>
                  </a:lnTo>
                  <a:lnTo>
                    <a:pt x="48" y="202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6" y="199"/>
                  </a:lnTo>
                  <a:lnTo>
                    <a:pt x="46" y="199"/>
                  </a:lnTo>
                  <a:lnTo>
                    <a:pt x="43" y="199"/>
                  </a:lnTo>
                  <a:lnTo>
                    <a:pt x="43" y="197"/>
                  </a:lnTo>
                  <a:lnTo>
                    <a:pt x="43" y="197"/>
                  </a:lnTo>
                  <a:lnTo>
                    <a:pt x="43" y="197"/>
                  </a:lnTo>
                  <a:lnTo>
                    <a:pt x="43" y="194"/>
                  </a:lnTo>
                  <a:lnTo>
                    <a:pt x="41" y="194"/>
                  </a:lnTo>
                  <a:lnTo>
                    <a:pt x="41" y="192"/>
                  </a:lnTo>
                  <a:lnTo>
                    <a:pt x="41" y="192"/>
                  </a:lnTo>
                  <a:lnTo>
                    <a:pt x="41" y="189"/>
                  </a:lnTo>
                  <a:lnTo>
                    <a:pt x="43" y="189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6" y="184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4" y="184"/>
                  </a:lnTo>
                  <a:lnTo>
                    <a:pt x="64" y="184"/>
                  </a:lnTo>
                  <a:lnTo>
                    <a:pt x="66" y="187"/>
                  </a:lnTo>
                  <a:lnTo>
                    <a:pt x="66" y="187"/>
                  </a:lnTo>
                  <a:lnTo>
                    <a:pt x="66" y="189"/>
                  </a:lnTo>
                  <a:lnTo>
                    <a:pt x="66" y="189"/>
                  </a:lnTo>
                  <a:lnTo>
                    <a:pt x="66" y="189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7"/>
                  </a:lnTo>
                  <a:lnTo>
                    <a:pt x="64" y="197"/>
                  </a:lnTo>
                  <a:lnTo>
                    <a:pt x="64" y="199"/>
                  </a:lnTo>
                  <a:lnTo>
                    <a:pt x="64" y="199"/>
                  </a:lnTo>
                  <a:lnTo>
                    <a:pt x="64" y="199"/>
                  </a:lnTo>
                  <a:lnTo>
                    <a:pt x="61" y="202"/>
                  </a:lnTo>
                  <a:lnTo>
                    <a:pt x="61" y="202"/>
                  </a:lnTo>
                  <a:lnTo>
                    <a:pt x="59" y="202"/>
                  </a:lnTo>
                  <a:lnTo>
                    <a:pt x="59" y="202"/>
                  </a:lnTo>
                  <a:lnTo>
                    <a:pt x="59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3" y="205"/>
                  </a:lnTo>
                  <a:lnTo>
                    <a:pt x="53" y="205"/>
                  </a:lnTo>
                  <a:lnTo>
                    <a:pt x="51" y="205"/>
                  </a:lnTo>
                  <a:close/>
                  <a:moveTo>
                    <a:pt x="51" y="169"/>
                  </a:moveTo>
                  <a:lnTo>
                    <a:pt x="51" y="169"/>
                  </a:lnTo>
                  <a:lnTo>
                    <a:pt x="48" y="169"/>
                  </a:lnTo>
                  <a:lnTo>
                    <a:pt x="46" y="169"/>
                  </a:lnTo>
                  <a:lnTo>
                    <a:pt x="43" y="171"/>
                  </a:lnTo>
                  <a:lnTo>
                    <a:pt x="41" y="171"/>
                  </a:lnTo>
                  <a:lnTo>
                    <a:pt x="41" y="174"/>
                  </a:lnTo>
                  <a:lnTo>
                    <a:pt x="38" y="174"/>
                  </a:lnTo>
                  <a:lnTo>
                    <a:pt x="36" y="176"/>
                  </a:lnTo>
                  <a:lnTo>
                    <a:pt x="36" y="179"/>
                  </a:lnTo>
                  <a:lnTo>
                    <a:pt x="33" y="179"/>
                  </a:lnTo>
                  <a:lnTo>
                    <a:pt x="33" y="182"/>
                  </a:lnTo>
                  <a:lnTo>
                    <a:pt x="33" y="184"/>
                  </a:lnTo>
                  <a:lnTo>
                    <a:pt x="30" y="187"/>
                  </a:lnTo>
                  <a:lnTo>
                    <a:pt x="30" y="189"/>
                  </a:lnTo>
                  <a:lnTo>
                    <a:pt x="30" y="192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30" y="197"/>
                  </a:lnTo>
                  <a:lnTo>
                    <a:pt x="33" y="199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6" y="205"/>
                  </a:lnTo>
                  <a:lnTo>
                    <a:pt x="36" y="207"/>
                  </a:lnTo>
                  <a:lnTo>
                    <a:pt x="38" y="207"/>
                  </a:lnTo>
                  <a:lnTo>
                    <a:pt x="38" y="210"/>
                  </a:lnTo>
                  <a:lnTo>
                    <a:pt x="41" y="210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6" y="212"/>
                  </a:lnTo>
                  <a:lnTo>
                    <a:pt x="48" y="215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3" y="215"/>
                  </a:lnTo>
                  <a:lnTo>
                    <a:pt x="56" y="215"/>
                  </a:lnTo>
                  <a:lnTo>
                    <a:pt x="59" y="215"/>
                  </a:lnTo>
                  <a:lnTo>
                    <a:pt x="61" y="215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6" y="212"/>
                  </a:lnTo>
                  <a:lnTo>
                    <a:pt x="69" y="210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4" y="205"/>
                  </a:lnTo>
                  <a:lnTo>
                    <a:pt x="74" y="202"/>
                  </a:lnTo>
                  <a:lnTo>
                    <a:pt x="76" y="199"/>
                  </a:lnTo>
                  <a:lnTo>
                    <a:pt x="76" y="199"/>
                  </a:lnTo>
                  <a:lnTo>
                    <a:pt x="76" y="197"/>
                  </a:lnTo>
                  <a:lnTo>
                    <a:pt x="76" y="194"/>
                  </a:lnTo>
                  <a:lnTo>
                    <a:pt x="76" y="192"/>
                  </a:lnTo>
                  <a:lnTo>
                    <a:pt x="76" y="189"/>
                  </a:lnTo>
                  <a:lnTo>
                    <a:pt x="76" y="187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4" y="182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1" y="176"/>
                  </a:lnTo>
                  <a:lnTo>
                    <a:pt x="71" y="174"/>
                  </a:lnTo>
                  <a:lnTo>
                    <a:pt x="69" y="174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4" y="171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59" y="169"/>
                  </a:lnTo>
                  <a:lnTo>
                    <a:pt x="56" y="169"/>
                  </a:lnTo>
                  <a:lnTo>
                    <a:pt x="53" y="169"/>
                  </a:lnTo>
                  <a:lnTo>
                    <a:pt x="51" y="169"/>
                  </a:lnTo>
                  <a:close/>
                  <a:moveTo>
                    <a:pt x="89" y="138"/>
                  </a:move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4" y="138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82" y="135"/>
                  </a:lnTo>
                  <a:lnTo>
                    <a:pt x="82" y="135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79" y="130"/>
                  </a:lnTo>
                  <a:lnTo>
                    <a:pt x="79" y="130"/>
                  </a:lnTo>
                  <a:lnTo>
                    <a:pt x="79" y="130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9" y="123"/>
                  </a:lnTo>
                  <a:lnTo>
                    <a:pt x="82" y="123"/>
                  </a:lnTo>
                  <a:lnTo>
                    <a:pt x="82" y="123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7" y="118"/>
                  </a:lnTo>
                  <a:lnTo>
                    <a:pt x="87" y="118"/>
                  </a:lnTo>
                  <a:lnTo>
                    <a:pt x="87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7" y="118"/>
                  </a:lnTo>
                  <a:lnTo>
                    <a:pt x="97" y="118"/>
                  </a:lnTo>
                  <a:lnTo>
                    <a:pt x="97" y="118"/>
                  </a:lnTo>
                  <a:lnTo>
                    <a:pt x="100" y="118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2" y="120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5"/>
                  </a:lnTo>
                  <a:lnTo>
                    <a:pt x="102" y="125"/>
                  </a:lnTo>
                  <a:lnTo>
                    <a:pt x="102" y="125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2" y="130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5"/>
                  </a:lnTo>
                  <a:lnTo>
                    <a:pt x="97" y="135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89" y="138"/>
                  </a:lnTo>
                  <a:lnTo>
                    <a:pt x="89" y="138"/>
                  </a:lnTo>
                  <a:close/>
                  <a:moveTo>
                    <a:pt x="89" y="105"/>
                  </a:moveTo>
                  <a:lnTo>
                    <a:pt x="87" y="105"/>
                  </a:lnTo>
                  <a:lnTo>
                    <a:pt x="84" y="105"/>
                  </a:lnTo>
                  <a:lnTo>
                    <a:pt x="82" y="107"/>
                  </a:lnTo>
                  <a:lnTo>
                    <a:pt x="82" y="107"/>
                  </a:lnTo>
                  <a:lnTo>
                    <a:pt x="79" y="107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4" y="112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8"/>
                  </a:lnTo>
                  <a:lnTo>
                    <a:pt x="69" y="120"/>
                  </a:lnTo>
                  <a:lnTo>
                    <a:pt x="69" y="123"/>
                  </a:lnTo>
                  <a:lnTo>
                    <a:pt x="69" y="125"/>
                  </a:lnTo>
                  <a:lnTo>
                    <a:pt x="69" y="125"/>
                  </a:lnTo>
                  <a:lnTo>
                    <a:pt x="69" y="128"/>
                  </a:lnTo>
                  <a:lnTo>
                    <a:pt x="69" y="130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8"/>
                  </a:lnTo>
                  <a:lnTo>
                    <a:pt x="71" y="138"/>
                  </a:lnTo>
                  <a:lnTo>
                    <a:pt x="71" y="141"/>
                  </a:lnTo>
                  <a:lnTo>
                    <a:pt x="74" y="141"/>
                  </a:lnTo>
                  <a:lnTo>
                    <a:pt x="74" y="143"/>
                  </a:lnTo>
                  <a:lnTo>
                    <a:pt x="76" y="146"/>
                  </a:lnTo>
                  <a:lnTo>
                    <a:pt x="79" y="146"/>
                  </a:lnTo>
                  <a:lnTo>
                    <a:pt x="79" y="146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7" y="148"/>
                  </a:lnTo>
                  <a:lnTo>
                    <a:pt x="89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4" y="148"/>
                  </a:lnTo>
                  <a:lnTo>
                    <a:pt x="97" y="148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46"/>
                  </a:lnTo>
                  <a:lnTo>
                    <a:pt x="105" y="146"/>
                  </a:lnTo>
                  <a:lnTo>
                    <a:pt x="107" y="143"/>
                  </a:lnTo>
                  <a:lnTo>
                    <a:pt x="107" y="143"/>
                  </a:lnTo>
                  <a:lnTo>
                    <a:pt x="110" y="141"/>
                  </a:lnTo>
                  <a:lnTo>
                    <a:pt x="110" y="138"/>
                  </a:lnTo>
                  <a:lnTo>
                    <a:pt x="112" y="135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2" y="130"/>
                  </a:lnTo>
                  <a:lnTo>
                    <a:pt x="112" y="128"/>
                  </a:lnTo>
                  <a:lnTo>
                    <a:pt x="112" y="125"/>
                  </a:lnTo>
                  <a:lnTo>
                    <a:pt x="112" y="123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18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07" y="112"/>
                  </a:lnTo>
                  <a:lnTo>
                    <a:pt x="107" y="110"/>
                  </a:lnTo>
                  <a:lnTo>
                    <a:pt x="105" y="110"/>
                  </a:lnTo>
                  <a:lnTo>
                    <a:pt x="105" y="107"/>
                  </a:lnTo>
                  <a:lnTo>
                    <a:pt x="102" y="107"/>
                  </a:lnTo>
                  <a:lnTo>
                    <a:pt x="100" y="107"/>
                  </a:lnTo>
                  <a:lnTo>
                    <a:pt x="100" y="105"/>
                  </a:lnTo>
                  <a:lnTo>
                    <a:pt x="97" y="105"/>
                  </a:lnTo>
                  <a:lnTo>
                    <a:pt x="94" y="105"/>
                  </a:lnTo>
                  <a:lnTo>
                    <a:pt x="92" y="105"/>
                  </a:lnTo>
                  <a:lnTo>
                    <a:pt x="92" y="105"/>
                  </a:lnTo>
                  <a:lnTo>
                    <a:pt x="89" y="105"/>
                  </a:lnTo>
                  <a:close/>
                  <a:moveTo>
                    <a:pt x="284" y="164"/>
                  </a:moveTo>
                  <a:lnTo>
                    <a:pt x="281" y="164"/>
                  </a:lnTo>
                  <a:lnTo>
                    <a:pt x="281" y="164"/>
                  </a:lnTo>
                  <a:lnTo>
                    <a:pt x="281" y="161"/>
                  </a:lnTo>
                  <a:lnTo>
                    <a:pt x="281" y="161"/>
                  </a:lnTo>
                  <a:lnTo>
                    <a:pt x="279" y="161"/>
                  </a:lnTo>
                  <a:lnTo>
                    <a:pt x="279" y="161"/>
                  </a:lnTo>
                  <a:lnTo>
                    <a:pt x="225" y="92"/>
                  </a:lnTo>
                  <a:lnTo>
                    <a:pt x="235" y="87"/>
                  </a:lnTo>
                  <a:lnTo>
                    <a:pt x="284" y="153"/>
                  </a:lnTo>
                  <a:lnTo>
                    <a:pt x="286" y="156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61"/>
                  </a:lnTo>
                  <a:lnTo>
                    <a:pt x="286" y="161"/>
                  </a:lnTo>
                  <a:lnTo>
                    <a:pt x="286" y="161"/>
                  </a:lnTo>
                  <a:lnTo>
                    <a:pt x="286" y="161"/>
                  </a:lnTo>
                  <a:lnTo>
                    <a:pt x="286" y="161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4" y="164"/>
                  </a:lnTo>
                  <a:lnTo>
                    <a:pt x="284" y="164"/>
                  </a:lnTo>
                  <a:lnTo>
                    <a:pt x="284" y="164"/>
                  </a:lnTo>
                  <a:close/>
                  <a:moveTo>
                    <a:pt x="235" y="74"/>
                  </a:move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15" y="87"/>
                  </a:lnTo>
                  <a:lnTo>
                    <a:pt x="212" y="89"/>
                  </a:lnTo>
                  <a:lnTo>
                    <a:pt x="212" y="89"/>
                  </a:lnTo>
                  <a:lnTo>
                    <a:pt x="212" y="89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9"/>
                  </a:lnTo>
                  <a:lnTo>
                    <a:pt x="274" y="169"/>
                  </a:lnTo>
                  <a:lnTo>
                    <a:pt x="274" y="171"/>
                  </a:lnTo>
                  <a:lnTo>
                    <a:pt x="276" y="171"/>
                  </a:lnTo>
                  <a:lnTo>
                    <a:pt x="276" y="171"/>
                  </a:lnTo>
                  <a:lnTo>
                    <a:pt x="276" y="174"/>
                  </a:lnTo>
                  <a:lnTo>
                    <a:pt x="279" y="174"/>
                  </a:lnTo>
                  <a:lnTo>
                    <a:pt x="279" y="174"/>
                  </a:lnTo>
                  <a:lnTo>
                    <a:pt x="281" y="174"/>
                  </a:lnTo>
                  <a:lnTo>
                    <a:pt x="281" y="174"/>
                  </a:lnTo>
                  <a:lnTo>
                    <a:pt x="284" y="174"/>
                  </a:lnTo>
                  <a:lnTo>
                    <a:pt x="286" y="174"/>
                  </a:lnTo>
                  <a:lnTo>
                    <a:pt x="286" y="174"/>
                  </a:lnTo>
                  <a:lnTo>
                    <a:pt x="289" y="174"/>
                  </a:lnTo>
                  <a:lnTo>
                    <a:pt x="292" y="171"/>
                  </a:lnTo>
                  <a:lnTo>
                    <a:pt x="292" y="171"/>
                  </a:lnTo>
                  <a:lnTo>
                    <a:pt x="292" y="171"/>
                  </a:lnTo>
                  <a:lnTo>
                    <a:pt x="294" y="169"/>
                  </a:lnTo>
                  <a:lnTo>
                    <a:pt x="294" y="169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1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6"/>
                  </a:lnTo>
                  <a:lnTo>
                    <a:pt x="297" y="153"/>
                  </a:lnTo>
                  <a:lnTo>
                    <a:pt x="297" y="151"/>
                  </a:lnTo>
                  <a:lnTo>
                    <a:pt x="294" y="151"/>
                  </a:lnTo>
                  <a:lnTo>
                    <a:pt x="294" y="148"/>
                  </a:lnTo>
                  <a:lnTo>
                    <a:pt x="240" y="77"/>
                  </a:lnTo>
                  <a:lnTo>
                    <a:pt x="240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5" y="74"/>
                  </a:lnTo>
                  <a:lnTo>
                    <a:pt x="235" y="74"/>
                  </a:lnTo>
                  <a:lnTo>
                    <a:pt x="235" y="74"/>
                  </a:lnTo>
                  <a:close/>
                  <a:moveTo>
                    <a:pt x="130" y="322"/>
                  </a:moveTo>
                  <a:lnTo>
                    <a:pt x="128" y="320"/>
                  </a:lnTo>
                  <a:lnTo>
                    <a:pt x="125" y="320"/>
                  </a:lnTo>
                  <a:lnTo>
                    <a:pt x="120" y="320"/>
                  </a:lnTo>
                  <a:lnTo>
                    <a:pt x="117" y="320"/>
                  </a:lnTo>
                  <a:lnTo>
                    <a:pt x="115" y="320"/>
                  </a:lnTo>
                  <a:lnTo>
                    <a:pt x="112" y="320"/>
                  </a:lnTo>
                  <a:lnTo>
                    <a:pt x="110" y="320"/>
                  </a:lnTo>
                  <a:lnTo>
                    <a:pt x="105" y="317"/>
                  </a:lnTo>
                  <a:lnTo>
                    <a:pt x="102" y="317"/>
                  </a:lnTo>
                  <a:lnTo>
                    <a:pt x="100" y="317"/>
                  </a:lnTo>
                  <a:lnTo>
                    <a:pt x="97" y="315"/>
                  </a:lnTo>
                  <a:lnTo>
                    <a:pt x="94" y="315"/>
                  </a:lnTo>
                  <a:lnTo>
                    <a:pt x="92" y="315"/>
                  </a:lnTo>
                  <a:lnTo>
                    <a:pt x="89" y="312"/>
                  </a:lnTo>
                  <a:lnTo>
                    <a:pt x="87" y="312"/>
                  </a:lnTo>
                  <a:lnTo>
                    <a:pt x="82" y="310"/>
                  </a:lnTo>
                  <a:lnTo>
                    <a:pt x="79" y="310"/>
                  </a:lnTo>
                  <a:lnTo>
                    <a:pt x="76" y="307"/>
                  </a:lnTo>
                  <a:lnTo>
                    <a:pt x="74" y="307"/>
                  </a:lnTo>
                  <a:lnTo>
                    <a:pt x="71" y="304"/>
                  </a:lnTo>
                  <a:lnTo>
                    <a:pt x="69" y="302"/>
                  </a:lnTo>
                  <a:lnTo>
                    <a:pt x="66" y="302"/>
                  </a:lnTo>
                  <a:lnTo>
                    <a:pt x="64" y="299"/>
                  </a:lnTo>
                  <a:lnTo>
                    <a:pt x="61" y="297"/>
                  </a:lnTo>
                  <a:lnTo>
                    <a:pt x="59" y="297"/>
                  </a:lnTo>
                  <a:lnTo>
                    <a:pt x="56" y="294"/>
                  </a:lnTo>
                  <a:lnTo>
                    <a:pt x="56" y="292"/>
                  </a:lnTo>
                  <a:lnTo>
                    <a:pt x="53" y="292"/>
                  </a:lnTo>
                  <a:lnTo>
                    <a:pt x="51" y="289"/>
                  </a:lnTo>
                  <a:lnTo>
                    <a:pt x="48" y="287"/>
                  </a:lnTo>
                  <a:lnTo>
                    <a:pt x="46" y="284"/>
                  </a:lnTo>
                  <a:lnTo>
                    <a:pt x="43" y="281"/>
                  </a:lnTo>
                  <a:lnTo>
                    <a:pt x="41" y="279"/>
                  </a:lnTo>
                  <a:lnTo>
                    <a:pt x="41" y="279"/>
                  </a:lnTo>
                  <a:lnTo>
                    <a:pt x="38" y="276"/>
                  </a:lnTo>
                  <a:lnTo>
                    <a:pt x="36" y="274"/>
                  </a:lnTo>
                  <a:lnTo>
                    <a:pt x="33" y="271"/>
                  </a:lnTo>
                  <a:lnTo>
                    <a:pt x="33" y="269"/>
                  </a:lnTo>
                  <a:lnTo>
                    <a:pt x="30" y="266"/>
                  </a:lnTo>
                  <a:lnTo>
                    <a:pt x="28" y="263"/>
                  </a:lnTo>
                  <a:lnTo>
                    <a:pt x="28" y="261"/>
                  </a:lnTo>
                  <a:lnTo>
                    <a:pt x="25" y="258"/>
                  </a:lnTo>
                  <a:lnTo>
                    <a:pt x="25" y="256"/>
                  </a:lnTo>
                  <a:lnTo>
                    <a:pt x="23" y="253"/>
                  </a:lnTo>
                  <a:lnTo>
                    <a:pt x="23" y="251"/>
                  </a:lnTo>
                  <a:lnTo>
                    <a:pt x="20" y="248"/>
                  </a:lnTo>
                  <a:lnTo>
                    <a:pt x="20" y="246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5" y="235"/>
                  </a:lnTo>
                  <a:lnTo>
                    <a:pt x="15" y="233"/>
                  </a:lnTo>
                  <a:lnTo>
                    <a:pt x="15" y="230"/>
                  </a:lnTo>
                  <a:lnTo>
                    <a:pt x="12" y="228"/>
                  </a:lnTo>
                  <a:lnTo>
                    <a:pt x="12" y="225"/>
                  </a:lnTo>
                  <a:lnTo>
                    <a:pt x="12" y="220"/>
                  </a:lnTo>
                  <a:lnTo>
                    <a:pt x="12" y="217"/>
                  </a:lnTo>
                  <a:lnTo>
                    <a:pt x="10" y="215"/>
                  </a:lnTo>
                  <a:lnTo>
                    <a:pt x="10" y="212"/>
                  </a:lnTo>
                  <a:lnTo>
                    <a:pt x="10" y="207"/>
                  </a:lnTo>
                  <a:lnTo>
                    <a:pt x="10" y="205"/>
                  </a:lnTo>
                  <a:lnTo>
                    <a:pt x="10" y="202"/>
                  </a:lnTo>
                  <a:lnTo>
                    <a:pt x="10" y="199"/>
                  </a:lnTo>
                  <a:lnTo>
                    <a:pt x="10" y="197"/>
                  </a:lnTo>
                  <a:lnTo>
                    <a:pt x="10" y="192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0" y="184"/>
                  </a:lnTo>
                  <a:lnTo>
                    <a:pt x="10" y="179"/>
                  </a:lnTo>
                  <a:lnTo>
                    <a:pt x="10" y="176"/>
                  </a:lnTo>
                  <a:lnTo>
                    <a:pt x="12" y="174"/>
                  </a:lnTo>
                  <a:lnTo>
                    <a:pt x="12" y="171"/>
                  </a:lnTo>
                  <a:lnTo>
                    <a:pt x="12" y="166"/>
                  </a:lnTo>
                  <a:lnTo>
                    <a:pt x="12" y="164"/>
                  </a:lnTo>
                  <a:lnTo>
                    <a:pt x="15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8" y="153"/>
                  </a:lnTo>
                  <a:lnTo>
                    <a:pt x="18" y="151"/>
                  </a:lnTo>
                  <a:lnTo>
                    <a:pt x="20" y="146"/>
                  </a:lnTo>
                  <a:lnTo>
                    <a:pt x="20" y="143"/>
                  </a:lnTo>
                  <a:lnTo>
                    <a:pt x="23" y="141"/>
                  </a:lnTo>
                  <a:lnTo>
                    <a:pt x="23" y="138"/>
                  </a:lnTo>
                  <a:lnTo>
                    <a:pt x="25" y="135"/>
                  </a:lnTo>
                  <a:lnTo>
                    <a:pt x="25" y="133"/>
                  </a:lnTo>
                  <a:lnTo>
                    <a:pt x="28" y="130"/>
                  </a:lnTo>
                  <a:lnTo>
                    <a:pt x="28" y="128"/>
                  </a:lnTo>
                  <a:lnTo>
                    <a:pt x="30" y="125"/>
                  </a:lnTo>
                  <a:lnTo>
                    <a:pt x="33" y="123"/>
                  </a:lnTo>
                  <a:lnTo>
                    <a:pt x="33" y="120"/>
                  </a:lnTo>
                  <a:lnTo>
                    <a:pt x="36" y="118"/>
                  </a:lnTo>
                  <a:lnTo>
                    <a:pt x="38" y="115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3" y="110"/>
                  </a:lnTo>
                  <a:lnTo>
                    <a:pt x="46" y="107"/>
                  </a:lnTo>
                  <a:lnTo>
                    <a:pt x="48" y="105"/>
                  </a:lnTo>
                  <a:lnTo>
                    <a:pt x="51" y="102"/>
                  </a:lnTo>
                  <a:lnTo>
                    <a:pt x="53" y="100"/>
                  </a:lnTo>
                  <a:lnTo>
                    <a:pt x="56" y="100"/>
                  </a:lnTo>
                  <a:lnTo>
                    <a:pt x="56" y="97"/>
                  </a:lnTo>
                  <a:lnTo>
                    <a:pt x="59" y="94"/>
                  </a:lnTo>
                  <a:lnTo>
                    <a:pt x="61" y="94"/>
                  </a:lnTo>
                  <a:lnTo>
                    <a:pt x="64" y="92"/>
                  </a:lnTo>
                  <a:lnTo>
                    <a:pt x="66" y="89"/>
                  </a:lnTo>
                  <a:lnTo>
                    <a:pt x="69" y="89"/>
                  </a:lnTo>
                  <a:lnTo>
                    <a:pt x="71" y="87"/>
                  </a:lnTo>
                  <a:lnTo>
                    <a:pt x="74" y="84"/>
                  </a:lnTo>
                  <a:lnTo>
                    <a:pt x="76" y="84"/>
                  </a:lnTo>
                  <a:lnTo>
                    <a:pt x="79" y="82"/>
                  </a:lnTo>
                  <a:lnTo>
                    <a:pt x="82" y="82"/>
                  </a:lnTo>
                  <a:lnTo>
                    <a:pt x="87" y="79"/>
                  </a:lnTo>
                  <a:lnTo>
                    <a:pt x="89" y="79"/>
                  </a:lnTo>
                  <a:lnTo>
                    <a:pt x="92" y="77"/>
                  </a:lnTo>
                  <a:lnTo>
                    <a:pt x="94" y="77"/>
                  </a:lnTo>
                  <a:lnTo>
                    <a:pt x="97" y="77"/>
                  </a:lnTo>
                  <a:lnTo>
                    <a:pt x="100" y="74"/>
                  </a:lnTo>
                  <a:lnTo>
                    <a:pt x="102" y="74"/>
                  </a:lnTo>
                  <a:lnTo>
                    <a:pt x="105" y="74"/>
                  </a:lnTo>
                  <a:lnTo>
                    <a:pt x="110" y="74"/>
                  </a:lnTo>
                  <a:lnTo>
                    <a:pt x="112" y="71"/>
                  </a:lnTo>
                  <a:lnTo>
                    <a:pt x="115" y="71"/>
                  </a:lnTo>
                  <a:lnTo>
                    <a:pt x="117" y="71"/>
                  </a:lnTo>
                  <a:lnTo>
                    <a:pt x="120" y="71"/>
                  </a:lnTo>
                  <a:lnTo>
                    <a:pt x="125" y="71"/>
                  </a:lnTo>
                  <a:lnTo>
                    <a:pt x="128" y="71"/>
                  </a:lnTo>
                  <a:lnTo>
                    <a:pt x="130" y="71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1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40" y="71"/>
                  </a:lnTo>
                  <a:lnTo>
                    <a:pt x="140" y="71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3" y="74"/>
                  </a:lnTo>
                  <a:lnTo>
                    <a:pt x="143" y="74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6" y="79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6" y="87"/>
                  </a:lnTo>
                  <a:lnTo>
                    <a:pt x="146" y="92"/>
                  </a:lnTo>
                  <a:lnTo>
                    <a:pt x="146" y="94"/>
                  </a:lnTo>
                  <a:lnTo>
                    <a:pt x="146" y="97"/>
                  </a:lnTo>
                  <a:lnTo>
                    <a:pt x="146" y="105"/>
                  </a:lnTo>
                  <a:lnTo>
                    <a:pt x="146" y="110"/>
                  </a:lnTo>
                  <a:lnTo>
                    <a:pt x="146" y="118"/>
                  </a:lnTo>
                  <a:lnTo>
                    <a:pt x="146" y="125"/>
                  </a:lnTo>
                  <a:lnTo>
                    <a:pt x="146" y="135"/>
                  </a:lnTo>
                  <a:lnTo>
                    <a:pt x="146" y="141"/>
                  </a:lnTo>
                  <a:lnTo>
                    <a:pt x="146" y="143"/>
                  </a:lnTo>
                  <a:lnTo>
                    <a:pt x="148" y="148"/>
                  </a:lnTo>
                  <a:lnTo>
                    <a:pt x="148" y="151"/>
                  </a:lnTo>
                  <a:lnTo>
                    <a:pt x="148" y="156"/>
                  </a:lnTo>
                  <a:lnTo>
                    <a:pt x="148" y="158"/>
                  </a:lnTo>
                  <a:lnTo>
                    <a:pt x="151" y="164"/>
                  </a:lnTo>
                  <a:lnTo>
                    <a:pt x="151" y="166"/>
                  </a:lnTo>
                  <a:lnTo>
                    <a:pt x="151" y="166"/>
                  </a:lnTo>
                  <a:lnTo>
                    <a:pt x="151" y="169"/>
                  </a:lnTo>
                  <a:lnTo>
                    <a:pt x="153" y="169"/>
                  </a:lnTo>
                  <a:lnTo>
                    <a:pt x="153" y="171"/>
                  </a:lnTo>
                  <a:lnTo>
                    <a:pt x="153" y="174"/>
                  </a:lnTo>
                  <a:lnTo>
                    <a:pt x="156" y="174"/>
                  </a:lnTo>
                  <a:lnTo>
                    <a:pt x="156" y="176"/>
                  </a:lnTo>
                  <a:lnTo>
                    <a:pt x="156" y="176"/>
                  </a:lnTo>
                  <a:lnTo>
                    <a:pt x="158" y="179"/>
                  </a:lnTo>
                  <a:lnTo>
                    <a:pt x="158" y="179"/>
                  </a:lnTo>
                  <a:lnTo>
                    <a:pt x="161" y="179"/>
                  </a:lnTo>
                  <a:lnTo>
                    <a:pt x="161" y="182"/>
                  </a:lnTo>
                  <a:lnTo>
                    <a:pt x="164" y="182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9" y="184"/>
                  </a:lnTo>
                  <a:lnTo>
                    <a:pt x="171" y="184"/>
                  </a:lnTo>
                  <a:lnTo>
                    <a:pt x="174" y="187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9" y="187"/>
                  </a:lnTo>
                  <a:lnTo>
                    <a:pt x="181" y="187"/>
                  </a:lnTo>
                  <a:lnTo>
                    <a:pt x="184" y="187"/>
                  </a:lnTo>
                  <a:lnTo>
                    <a:pt x="187" y="187"/>
                  </a:lnTo>
                  <a:lnTo>
                    <a:pt x="192" y="187"/>
                  </a:lnTo>
                  <a:lnTo>
                    <a:pt x="194" y="187"/>
                  </a:lnTo>
                  <a:lnTo>
                    <a:pt x="197" y="187"/>
                  </a:lnTo>
                  <a:lnTo>
                    <a:pt x="205" y="187"/>
                  </a:lnTo>
                  <a:lnTo>
                    <a:pt x="210" y="187"/>
                  </a:lnTo>
                  <a:lnTo>
                    <a:pt x="217" y="187"/>
                  </a:lnTo>
                  <a:lnTo>
                    <a:pt x="222" y="187"/>
                  </a:lnTo>
                  <a:lnTo>
                    <a:pt x="228" y="184"/>
                  </a:lnTo>
                  <a:lnTo>
                    <a:pt x="233" y="184"/>
                  </a:lnTo>
                  <a:lnTo>
                    <a:pt x="238" y="184"/>
                  </a:lnTo>
                  <a:lnTo>
                    <a:pt x="243" y="184"/>
                  </a:lnTo>
                  <a:lnTo>
                    <a:pt x="245" y="184"/>
                  </a:lnTo>
                  <a:lnTo>
                    <a:pt x="248" y="184"/>
                  </a:lnTo>
                  <a:lnTo>
                    <a:pt x="251" y="184"/>
                  </a:lnTo>
                  <a:lnTo>
                    <a:pt x="251" y="187"/>
                  </a:lnTo>
                  <a:lnTo>
                    <a:pt x="253" y="187"/>
                  </a:lnTo>
                  <a:lnTo>
                    <a:pt x="253" y="187"/>
                  </a:lnTo>
                  <a:lnTo>
                    <a:pt x="256" y="187"/>
                  </a:lnTo>
                  <a:lnTo>
                    <a:pt x="256" y="189"/>
                  </a:lnTo>
                  <a:lnTo>
                    <a:pt x="258" y="189"/>
                  </a:lnTo>
                  <a:lnTo>
                    <a:pt x="258" y="189"/>
                  </a:lnTo>
                  <a:lnTo>
                    <a:pt x="258" y="192"/>
                  </a:lnTo>
                  <a:lnTo>
                    <a:pt x="258" y="192"/>
                  </a:lnTo>
                  <a:lnTo>
                    <a:pt x="258" y="194"/>
                  </a:lnTo>
                  <a:lnTo>
                    <a:pt x="258" y="197"/>
                  </a:lnTo>
                  <a:lnTo>
                    <a:pt x="258" y="199"/>
                  </a:lnTo>
                  <a:lnTo>
                    <a:pt x="258" y="202"/>
                  </a:lnTo>
                  <a:lnTo>
                    <a:pt x="258" y="205"/>
                  </a:lnTo>
                  <a:lnTo>
                    <a:pt x="258" y="207"/>
                  </a:lnTo>
                  <a:lnTo>
                    <a:pt x="258" y="212"/>
                  </a:lnTo>
                  <a:lnTo>
                    <a:pt x="258" y="215"/>
                  </a:lnTo>
                  <a:lnTo>
                    <a:pt x="256" y="217"/>
                  </a:lnTo>
                  <a:lnTo>
                    <a:pt x="256" y="220"/>
                  </a:lnTo>
                  <a:lnTo>
                    <a:pt x="256" y="225"/>
                  </a:lnTo>
                  <a:lnTo>
                    <a:pt x="256" y="228"/>
                  </a:lnTo>
                  <a:lnTo>
                    <a:pt x="253" y="230"/>
                  </a:lnTo>
                  <a:lnTo>
                    <a:pt x="253" y="233"/>
                  </a:lnTo>
                  <a:lnTo>
                    <a:pt x="253" y="235"/>
                  </a:lnTo>
                  <a:lnTo>
                    <a:pt x="251" y="238"/>
                  </a:lnTo>
                  <a:lnTo>
                    <a:pt x="251" y="240"/>
                  </a:lnTo>
                  <a:lnTo>
                    <a:pt x="248" y="246"/>
                  </a:lnTo>
                  <a:lnTo>
                    <a:pt x="248" y="248"/>
                  </a:lnTo>
                  <a:lnTo>
                    <a:pt x="245" y="251"/>
                  </a:lnTo>
                  <a:lnTo>
                    <a:pt x="245" y="253"/>
                  </a:lnTo>
                  <a:lnTo>
                    <a:pt x="243" y="256"/>
                  </a:lnTo>
                  <a:lnTo>
                    <a:pt x="243" y="258"/>
                  </a:lnTo>
                  <a:lnTo>
                    <a:pt x="240" y="261"/>
                  </a:lnTo>
                  <a:lnTo>
                    <a:pt x="238" y="263"/>
                  </a:lnTo>
                  <a:lnTo>
                    <a:pt x="238" y="266"/>
                  </a:lnTo>
                  <a:lnTo>
                    <a:pt x="235" y="269"/>
                  </a:lnTo>
                  <a:lnTo>
                    <a:pt x="233" y="271"/>
                  </a:lnTo>
                  <a:lnTo>
                    <a:pt x="233" y="274"/>
                  </a:lnTo>
                  <a:lnTo>
                    <a:pt x="230" y="276"/>
                  </a:lnTo>
                  <a:lnTo>
                    <a:pt x="228" y="279"/>
                  </a:lnTo>
                  <a:lnTo>
                    <a:pt x="225" y="279"/>
                  </a:lnTo>
                  <a:lnTo>
                    <a:pt x="225" y="281"/>
                  </a:lnTo>
                  <a:lnTo>
                    <a:pt x="222" y="284"/>
                  </a:lnTo>
                  <a:lnTo>
                    <a:pt x="220" y="287"/>
                  </a:lnTo>
                  <a:lnTo>
                    <a:pt x="217" y="289"/>
                  </a:lnTo>
                  <a:lnTo>
                    <a:pt x="215" y="292"/>
                  </a:lnTo>
                  <a:lnTo>
                    <a:pt x="212" y="292"/>
                  </a:lnTo>
                  <a:lnTo>
                    <a:pt x="210" y="294"/>
                  </a:lnTo>
                  <a:lnTo>
                    <a:pt x="210" y="297"/>
                  </a:lnTo>
                  <a:lnTo>
                    <a:pt x="207" y="297"/>
                  </a:lnTo>
                  <a:lnTo>
                    <a:pt x="205" y="299"/>
                  </a:lnTo>
                  <a:lnTo>
                    <a:pt x="202" y="302"/>
                  </a:lnTo>
                  <a:lnTo>
                    <a:pt x="199" y="302"/>
                  </a:lnTo>
                  <a:lnTo>
                    <a:pt x="197" y="304"/>
                  </a:lnTo>
                  <a:lnTo>
                    <a:pt x="194" y="307"/>
                  </a:lnTo>
                  <a:lnTo>
                    <a:pt x="192" y="307"/>
                  </a:lnTo>
                  <a:lnTo>
                    <a:pt x="189" y="310"/>
                  </a:lnTo>
                  <a:lnTo>
                    <a:pt x="184" y="310"/>
                  </a:lnTo>
                  <a:lnTo>
                    <a:pt x="181" y="312"/>
                  </a:lnTo>
                  <a:lnTo>
                    <a:pt x="179" y="312"/>
                  </a:lnTo>
                  <a:lnTo>
                    <a:pt x="176" y="315"/>
                  </a:lnTo>
                  <a:lnTo>
                    <a:pt x="174" y="315"/>
                  </a:lnTo>
                  <a:lnTo>
                    <a:pt x="171" y="315"/>
                  </a:lnTo>
                  <a:lnTo>
                    <a:pt x="169" y="317"/>
                  </a:lnTo>
                  <a:lnTo>
                    <a:pt x="166" y="317"/>
                  </a:lnTo>
                  <a:lnTo>
                    <a:pt x="161" y="317"/>
                  </a:lnTo>
                  <a:lnTo>
                    <a:pt x="158" y="320"/>
                  </a:lnTo>
                  <a:lnTo>
                    <a:pt x="156" y="320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46" y="320"/>
                  </a:lnTo>
                  <a:lnTo>
                    <a:pt x="143" y="320"/>
                  </a:lnTo>
                  <a:lnTo>
                    <a:pt x="140" y="320"/>
                  </a:lnTo>
                  <a:lnTo>
                    <a:pt x="138" y="322"/>
                  </a:lnTo>
                  <a:lnTo>
                    <a:pt x="133" y="322"/>
                  </a:lnTo>
                  <a:lnTo>
                    <a:pt x="130" y="322"/>
                  </a:lnTo>
                  <a:close/>
                  <a:moveTo>
                    <a:pt x="130" y="59"/>
                  </a:moveTo>
                  <a:lnTo>
                    <a:pt x="128" y="59"/>
                  </a:lnTo>
                  <a:lnTo>
                    <a:pt x="123" y="59"/>
                  </a:lnTo>
                  <a:lnTo>
                    <a:pt x="120" y="59"/>
                  </a:lnTo>
                  <a:lnTo>
                    <a:pt x="117" y="61"/>
                  </a:lnTo>
                  <a:lnTo>
                    <a:pt x="112" y="61"/>
                  </a:lnTo>
                  <a:lnTo>
                    <a:pt x="110" y="61"/>
                  </a:lnTo>
                  <a:lnTo>
                    <a:pt x="107" y="61"/>
                  </a:lnTo>
                  <a:lnTo>
                    <a:pt x="105" y="64"/>
                  </a:lnTo>
                  <a:lnTo>
                    <a:pt x="100" y="64"/>
                  </a:lnTo>
                  <a:lnTo>
                    <a:pt x="97" y="64"/>
                  </a:lnTo>
                  <a:lnTo>
                    <a:pt x="94" y="66"/>
                  </a:lnTo>
                  <a:lnTo>
                    <a:pt x="92" y="66"/>
                  </a:lnTo>
                  <a:lnTo>
                    <a:pt x="87" y="66"/>
                  </a:lnTo>
                  <a:lnTo>
                    <a:pt x="84" y="69"/>
                  </a:lnTo>
                  <a:lnTo>
                    <a:pt x="82" y="69"/>
                  </a:lnTo>
                  <a:lnTo>
                    <a:pt x="79" y="71"/>
                  </a:lnTo>
                  <a:lnTo>
                    <a:pt x="76" y="74"/>
                  </a:lnTo>
                  <a:lnTo>
                    <a:pt x="71" y="74"/>
                  </a:lnTo>
                  <a:lnTo>
                    <a:pt x="69" y="77"/>
                  </a:lnTo>
                  <a:lnTo>
                    <a:pt x="66" y="77"/>
                  </a:lnTo>
                  <a:lnTo>
                    <a:pt x="64" y="79"/>
                  </a:lnTo>
                  <a:lnTo>
                    <a:pt x="61" y="82"/>
                  </a:lnTo>
                  <a:lnTo>
                    <a:pt x="59" y="82"/>
                  </a:lnTo>
                  <a:lnTo>
                    <a:pt x="56" y="84"/>
                  </a:lnTo>
                  <a:lnTo>
                    <a:pt x="53" y="87"/>
                  </a:lnTo>
                  <a:lnTo>
                    <a:pt x="51" y="89"/>
                  </a:lnTo>
                  <a:lnTo>
                    <a:pt x="48" y="89"/>
                  </a:lnTo>
                  <a:lnTo>
                    <a:pt x="46" y="92"/>
                  </a:lnTo>
                  <a:lnTo>
                    <a:pt x="43" y="94"/>
                  </a:lnTo>
                  <a:lnTo>
                    <a:pt x="41" y="97"/>
                  </a:lnTo>
                  <a:lnTo>
                    <a:pt x="38" y="100"/>
                  </a:lnTo>
                  <a:lnTo>
                    <a:pt x="36" y="102"/>
                  </a:lnTo>
                  <a:lnTo>
                    <a:pt x="33" y="105"/>
                  </a:lnTo>
                  <a:lnTo>
                    <a:pt x="30" y="107"/>
                  </a:lnTo>
                  <a:lnTo>
                    <a:pt x="30" y="110"/>
                  </a:lnTo>
                  <a:lnTo>
                    <a:pt x="28" y="112"/>
                  </a:lnTo>
                  <a:lnTo>
                    <a:pt x="25" y="115"/>
                  </a:lnTo>
                  <a:lnTo>
                    <a:pt x="23" y="118"/>
                  </a:lnTo>
                  <a:lnTo>
                    <a:pt x="23" y="120"/>
                  </a:lnTo>
                  <a:lnTo>
                    <a:pt x="20" y="123"/>
                  </a:lnTo>
                  <a:lnTo>
                    <a:pt x="18" y="125"/>
                  </a:lnTo>
                  <a:lnTo>
                    <a:pt x="18" y="128"/>
                  </a:lnTo>
                  <a:lnTo>
                    <a:pt x="15" y="130"/>
                  </a:lnTo>
                  <a:lnTo>
                    <a:pt x="12" y="133"/>
                  </a:lnTo>
                  <a:lnTo>
                    <a:pt x="12" y="135"/>
                  </a:lnTo>
                  <a:lnTo>
                    <a:pt x="10" y="141"/>
                  </a:lnTo>
                  <a:lnTo>
                    <a:pt x="10" y="143"/>
                  </a:lnTo>
                  <a:lnTo>
                    <a:pt x="7" y="146"/>
                  </a:lnTo>
                  <a:lnTo>
                    <a:pt x="7" y="148"/>
                  </a:lnTo>
                  <a:lnTo>
                    <a:pt x="5" y="151"/>
                  </a:lnTo>
                  <a:lnTo>
                    <a:pt x="5" y="156"/>
                  </a:lnTo>
                  <a:lnTo>
                    <a:pt x="5" y="158"/>
                  </a:lnTo>
                  <a:lnTo>
                    <a:pt x="2" y="161"/>
                  </a:lnTo>
                  <a:lnTo>
                    <a:pt x="2" y="166"/>
                  </a:lnTo>
                  <a:lnTo>
                    <a:pt x="2" y="169"/>
                  </a:lnTo>
                  <a:lnTo>
                    <a:pt x="0" y="171"/>
                  </a:lnTo>
                  <a:lnTo>
                    <a:pt x="0" y="174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9"/>
                  </a:lnTo>
                  <a:lnTo>
                    <a:pt x="0" y="192"/>
                  </a:lnTo>
                  <a:lnTo>
                    <a:pt x="0" y="197"/>
                  </a:lnTo>
                  <a:lnTo>
                    <a:pt x="0" y="199"/>
                  </a:lnTo>
                  <a:lnTo>
                    <a:pt x="0" y="202"/>
                  </a:lnTo>
                  <a:lnTo>
                    <a:pt x="0" y="207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0" y="217"/>
                  </a:lnTo>
                  <a:lnTo>
                    <a:pt x="0" y="220"/>
                  </a:lnTo>
                  <a:lnTo>
                    <a:pt x="2" y="223"/>
                  </a:lnTo>
                  <a:lnTo>
                    <a:pt x="2" y="228"/>
                  </a:lnTo>
                  <a:lnTo>
                    <a:pt x="2" y="230"/>
                  </a:lnTo>
                  <a:lnTo>
                    <a:pt x="5" y="233"/>
                  </a:lnTo>
                  <a:lnTo>
                    <a:pt x="5" y="235"/>
                  </a:lnTo>
                  <a:lnTo>
                    <a:pt x="5" y="240"/>
                  </a:lnTo>
                  <a:lnTo>
                    <a:pt x="7" y="243"/>
                  </a:lnTo>
                  <a:lnTo>
                    <a:pt x="7" y="246"/>
                  </a:lnTo>
                  <a:lnTo>
                    <a:pt x="10" y="248"/>
                  </a:lnTo>
                  <a:lnTo>
                    <a:pt x="10" y="251"/>
                  </a:lnTo>
                  <a:lnTo>
                    <a:pt x="12" y="256"/>
                  </a:lnTo>
                  <a:lnTo>
                    <a:pt x="12" y="258"/>
                  </a:lnTo>
                  <a:lnTo>
                    <a:pt x="15" y="261"/>
                  </a:lnTo>
                  <a:lnTo>
                    <a:pt x="18" y="263"/>
                  </a:lnTo>
                  <a:lnTo>
                    <a:pt x="18" y="266"/>
                  </a:lnTo>
                  <a:lnTo>
                    <a:pt x="20" y="269"/>
                  </a:lnTo>
                  <a:lnTo>
                    <a:pt x="23" y="271"/>
                  </a:lnTo>
                  <a:lnTo>
                    <a:pt x="23" y="274"/>
                  </a:lnTo>
                  <a:lnTo>
                    <a:pt x="25" y="276"/>
                  </a:lnTo>
                  <a:lnTo>
                    <a:pt x="28" y="279"/>
                  </a:lnTo>
                  <a:lnTo>
                    <a:pt x="30" y="281"/>
                  </a:lnTo>
                  <a:lnTo>
                    <a:pt x="30" y="284"/>
                  </a:lnTo>
                  <a:lnTo>
                    <a:pt x="33" y="287"/>
                  </a:lnTo>
                  <a:lnTo>
                    <a:pt x="36" y="289"/>
                  </a:lnTo>
                  <a:lnTo>
                    <a:pt x="38" y="292"/>
                  </a:lnTo>
                  <a:lnTo>
                    <a:pt x="41" y="294"/>
                  </a:lnTo>
                  <a:lnTo>
                    <a:pt x="43" y="297"/>
                  </a:lnTo>
                  <a:lnTo>
                    <a:pt x="46" y="299"/>
                  </a:lnTo>
                  <a:lnTo>
                    <a:pt x="48" y="302"/>
                  </a:lnTo>
                  <a:lnTo>
                    <a:pt x="51" y="302"/>
                  </a:lnTo>
                  <a:lnTo>
                    <a:pt x="53" y="304"/>
                  </a:lnTo>
                  <a:lnTo>
                    <a:pt x="56" y="307"/>
                  </a:lnTo>
                  <a:lnTo>
                    <a:pt x="59" y="310"/>
                  </a:lnTo>
                  <a:lnTo>
                    <a:pt x="61" y="310"/>
                  </a:lnTo>
                  <a:lnTo>
                    <a:pt x="64" y="312"/>
                  </a:lnTo>
                  <a:lnTo>
                    <a:pt x="66" y="315"/>
                  </a:lnTo>
                  <a:lnTo>
                    <a:pt x="69" y="315"/>
                  </a:lnTo>
                  <a:lnTo>
                    <a:pt x="71" y="317"/>
                  </a:lnTo>
                  <a:lnTo>
                    <a:pt x="76" y="320"/>
                  </a:lnTo>
                  <a:lnTo>
                    <a:pt x="79" y="320"/>
                  </a:lnTo>
                  <a:lnTo>
                    <a:pt x="82" y="322"/>
                  </a:lnTo>
                  <a:lnTo>
                    <a:pt x="84" y="322"/>
                  </a:lnTo>
                  <a:lnTo>
                    <a:pt x="87" y="325"/>
                  </a:lnTo>
                  <a:lnTo>
                    <a:pt x="92" y="325"/>
                  </a:lnTo>
                  <a:lnTo>
                    <a:pt x="94" y="325"/>
                  </a:lnTo>
                  <a:lnTo>
                    <a:pt x="97" y="327"/>
                  </a:lnTo>
                  <a:lnTo>
                    <a:pt x="100" y="327"/>
                  </a:lnTo>
                  <a:lnTo>
                    <a:pt x="105" y="327"/>
                  </a:lnTo>
                  <a:lnTo>
                    <a:pt x="107" y="330"/>
                  </a:lnTo>
                  <a:lnTo>
                    <a:pt x="110" y="330"/>
                  </a:lnTo>
                  <a:lnTo>
                    <a:pt x="112" y="330"/>
                  </a:lnTo>
                  <a:lnTo>
                    <a:pt x="117" y="330"/>
                  </a:lnTo>
                  <a:lnTo>
                    <a:pt x="120" y="333"/>
                  </a:lnTo>
                  <a:lnTo>
                    <a:pt x="123" y="333"/>
                  </a:lnTo>
                  <a:lnTo>
                    <a:pt x="128" y="333"/>
                  </a:lnTo>
                  <a:lnTo>
                    <a:pt x="130" y="333"/>
                  </a:lnTo>
                  <a:lnTo>
                    <a:pt x="133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6" y="333"/>
                  </a:lnTo>
                  <a:lnTo>
                    <a:pt x="148" y="333"/>
                  </a:lnTo>
                  <a:lnTo>
                    <a:pt x="151" y="330"/>
                  </a:lnTo>
                  <a:lnTo>
                    <a:pt x="153" y="330"/>
                  </a:lnTo>
                  <a:lnTo>
                    <a:pt x="158" y="330"/>
                  </a:lnTo>
                  <a:lnTo>
                    <a:pt x="161" y="330"/>
                  </a:lnTo>
                  <a:lnTo>
                    <a:pt x="164" y="327"/>
                  </a:lnTo>
                  <a:lnTo>
                    <a:pt x="169" y="327"/>
                  </a:lnTo>
                  <a:lnTo>
                    <a:pt x="171" y="327"/>
                  </a:lnTo>
                  <a:lnTo>
                    <a:pt x="174" y="325"/>
                  </a:lnTo>
                  <a:lnTo>
                    <a:pt x="176" y="325"/>
                  </a:lnTo>
                  <a:lnTo>
                    <a:pt x="181" y="325"/>
                  </a:lnTo>
                  <a:lnTo>
                    <a:pt x="184" y="322"/>
                  </a:lnTo>
                  <a:lnTo>
                    <a:pt x="187" y="322"/>
                  </a:lnTo>
                  <a:lnTo>
                    <a:pt x="189" y="320"/>
                  </a:lnTo>
                  <a:lnTo>
                    <a:pt x="192" y="320"/>
                  </a:lnTo>
                  <a:lnTo>
                    <a:pt x="194" y="317"/>
                  </a:lnTo>
                  <a:lnTo>
                    <a:pt x="199" y="315"/>
                  </a:lnTo>
                  <a:lnTo>
                    <a:pt x="202" y="315"/>
                  </a:lnTo>
                  <a:lnTo>
                    <a:pt x="205" y="312"/>
                  </a:lnTo>
                  <a:lnTo>
                    <a:pt x="207" y="310"/>
                  </a:lnTo>
                  <a:lnTo>
                    <a:pt x="210" y="310"/>
                  </a:lnTo>
                  <a:lnTo>
                    <a:pt x="212" y="307"/>
                  </a:lnTo>
                  <a:lnTo>
                    <a:pt x="215" y="304"/>
                  </a:lnTo>
                  <a:lnTo>
                    <a:pt x="217" y="302"/>
                  </a:lnTo>
                  <a:lnTo>
                    <a:pt x="220" y="302"/>
                  </a:lnTo>
                  <a:lnTo>
                    <a:pt x="222" y="299"/>
                  </a:lnTo>
                  <a:lnTo>
                    <a:pt x="225" y="297"/>
                  </a:lnTo>
                  <a:lnTo>
                    <a:pt x="228" y="294"/>
                  </a:lnTo>
                  <a:lnTo>
                    <a:pt x="230" y="292"/>
                  </a:lnTo>
                  <a:lnTo>
                    <a:pt x="233" y="289"/>
                  </a:lnTo>
                  <a:lnTo>
                    <a:pt x="235" y="287"/>
                  </a:lnTo>
                  <a:lnTo>
                    <a:pt x="235" y="284"/>
                  </a:lnTo>
                  <a:lnTo>
                    <a:pt x="238" y="281"/>
                  </a:lnTo>
                  <a:lnTo>
                    <a:pt x="240" y="279"/>
                  </a:lnTo>
                  <a:lnTo>
                    <a:pt x="243" y="276"/>
                  </a:lnTo>
                  <a:lnTo>
                    <a:pt x="245" y="274"/>
                  </a:lnTo>
                  <a:lnTo>
                    <a:pt x="245" y="271"/>
                  </a:lnTo>
                  <a:lnTo>
                    <a:pt x="248" y="269"/>
                  </a:lnTo>
                  <a:lnTo>
                    <a:pt x="251" y="266"/>
                  </a:lnTo>
                  <a:lnTo>
                    <a:pt x="251" y="263"/>
                  </a:lnTo>
                  <a:lnTo>
                    <a:pt x="253" y="261"/>
                  </a:lnTo>
                  <a:lnTo>
                    <a:pt x="256" y="258"/>
                  </a:lnTo>
                  <a:lnTo>
                    <a:pt x="256" y="256"/>
                  </a:lnTo>
                  <a:lnTo>
                    <a:pt x="258" y="251"/>
                  </a:lnTo>
                  <a:lnTo>
                    <a:pt x="258" y="248"/>
                  </a:lnTo>
                  <a:lnTo>
                    <a:pt x="261" y="246"/>
                  </a:lnTo>
                  <a:lnTo>
                    <a:pt x="261" y="243"/>
                  </a:lnTo>
                  <a:lnTo>
                    <a:pt x="263" y="240"/>
                  </a:lnTo>
                  <a:lnTo>
                    <a:pt x="263" y="235"/>
                  </a:lnTo>
                  <a:lnTo>
                    <a:pt x="263" y="233"/>
                  </a:lnTo>
                  <a:lnTo>
                    <a:pt x="266" y="230"/>
                  </a:lnTo>
                  <a:lnTo>
                    <a:pt x="266" y="228"/>
                  </a:lnTo>
                  <a:lnTo>
                    <a:pt x="266" y="223"/>
                  </a:lnTo>
                  <a:lnTo>
                    <a:pt x="269" y="220"/>
                  </a:lnTo>
                  <a:lnTo>
                    <a:pt x="269" y="217"/>
                  </a:lnTo>
                  <a:lnTo>
                    <a:pt x="269" y="212"/>
                  </a:lnTo>
                  <a:lnTo>
                    <a:pt x="269" y="210"/>
                  </a:lnTo>
                  <a:lnTo>
                    <a:pt x="269" y="207"/>
                  </a:lnTo>
                  <a:lnTo>
                    <a:pt x="269" y="202"/>
                  </a:lnTo>
                  <a:lnTo>
                    <a:pt x="269" y="199"/>
                  </a:lnTo>
                  <a:lnTo>
                    <a:pt x="269" y="197"/>
                  </a:lnTo>
                  <a:lnTo>
                    <a:pt x="269" y="192"/>
                  </a:lnTo>
                  <a:lnTo>
                    <a:pt x="269" y="189"/>
                  </a:lnTo>
                  <a:lnTo>
                    <a:pt x="269" y="189"/>
                  </a:lnTo>
                  <a:lnTo>
                    <a:pt x="269" y="189"/>
                  </a:lnTo>
                  <a:lnTo>
                    <a:pt x="269" y="187"/>
                  </a:lnTo>
                  <a:lnTo>
                    <a:pt x="269" y="187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6" y="184"/>
                  </a:lnTo>
                  <a:lnTo>
                    <a:pt x="266" y="182"/>
                  </a:lnTo>
                  <a:lnTo>
                    <a:pt x="263" y="182"/>
                  </a:lnTo>
                  <a:lnTo>
                    <a:pt x="263" y="182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61" y="179"/>
                  </a:lnTo>
                  <a:lnTo>
                    <a:pt x="261" y="179"/>
                  </a:lnTo>
                  <a:lnTo>
                    <a:pt x="258" y="176"/>
                  </a:lnTo>
                  <a:lnTo>
                    <a:pt x="256" y="176"/>
                  </a:lnTo>
                  <a:lnTo>
                    <a:pt x="253" y="174"/>
                  </a:lnTo>
                  <a:lnTo>
                    <a:pt x="251" y="174"/>
                  </a:lnTo>
                  <a:lnTo>
                    <a:pt x="245" y="174"/>
                  </a:lnTo>
                  <a:lnTo>
                    <a:pt x="243" y="174"/>
                  </a:lnTo>
                  <a:lnTo>
                    <a:pt x="238" y="174"/>
                  </a:lnTo>
                  <a:lnTo>
                    <a:pt x="233" y="174"/>
                  </a:lnTo>
                  <a:lnTo>
                    <a:pt x="228" y="174"/>
                  </a:lnTo>
                  <a:lnTo>
                    <a:pt x="222" y="174"/>
                  </a:lnTo>
                  <a:lnTo>
                    <a:pt x="215" y="174"/>
                  </a:lnTo>
                  <a:lnTo>
                    <a:pt x="210" y="176"/>
                  </a:lnTo>
                  <a:lnTo>
                    <a:pt x="202" y="176"/>
                  </a:lnTo>
                  <a:lnTo>
                    <a:pt x="197" y="176"/>
                  </a:lnTo>
                  <a:lnTo>
                    <a:pt x="194" y="176"/>
                  </a:lnTo>
                  <a:lnTo>
                    <a:pt x="192" y="176"/>
                  </a:lnTo>
                  <a:lnTo>
                    <a:pt x="187" y="176"/>
                  </a:lnTo>
                  <a:lnTo>
                    <a:pt x="181" y="176"/>
                  </a:lnTo>
                  <a:lnTo>
                    <a:pt x="179" y="176"/>
                  </a:lnTo>
                  <a:lnTo>
                    <a:pt x="176" y="176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69" y="174"/>
                  </a:lnTo>
                  <a:lnTo>
                    <a:pt x="169" y="171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6" y="169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66"/>
                  </a:lnTo>
                  <a:lnTo>
                    <a:pt x="164" y="166"/>
                  </a:lnTo>
                  <a:lnTo>
                    <a:pt x="161" y="166"/>
                  </a:lnTo>
                  <a:lnTo>
                    <a:pt x="161" y="164"/>
                  </a:lnTo>
                  <a:lnTo>
                    <a:pt x="161" y="161"/>
                  </a:lnTo>
                  <a:lnTo>
                    <a:pt x="158" y="158"/>
                  </a:lnTo>
                  <a:lnTo>
                    <a:pt x="158" y="156"/>
                  </a:lnTo>
                  <a:lnTo>
                    <a:pt x="158" y="151"/>
                  </a:lnTo>
                  <a:lnTo>
                    <a:pt x="158" y="148"/>
                  </a:lnTo>
                  <a:lnTo>
                    <a:pt x="158" y="146"/>
                  </a:lnTo>
                  <a:lnTo>
                    <a:pt x="158" y="141"/>
                  </a:lnTo>
                  <a:lnTo>
                    <a:pt x="158" y="138"/>
                  </a:lnTo>
                  <a:lnTo>
                    <a:pt x="158" y="133"/>
                  </a:lnTo>
                  <a:lnTo>
                    <a:pt x="158" y="125"/>
                  </a:lnTo>
                  <a:lnTo>
                    <a:pt x="158" y="118"/>
                  </a:lnTo>
                  <a:lnTo>
                    <a:pt x="158" y="110"/>
                  </a:lnTo>
                  <a:lnTo>
                    <a:pt x="158" y="102"/>
                  </a:lnTo>
                  <a:lnTo>
                    <a:pt x="158" y="97"/>
                  </a:lnTo>
                  <a:lnTo>
                    <a:pt x="158" y="94"/>
                  </a:lnTo>
                  <a:lnTo>
                    <a:pt x="158" y="89"/>
                  </a:lnTo>
                  <a:lnTo>
                    <a:pt x="156" y="87"/>
                  </a:lnTo>
                  <a:lnTo>
                    <a:pt x="156" y="84"/>
                  </a:lnTo>
                  <a:lnTo>
                    <a:pt x="156" y="82"/>
                  </a:lnTo>
                  <a:lnTo>
                    <a:pt x="156" y="77"/>
                  </a:lnTo>
                  <a:lnTo>
                    <a:pt x="153" y="74"/>
                  </a:lnTo>
                  <a:lnTo>
                    <a:pt x="153" y="71"/>
                  </a:lnTo>
                  <a:lnTo>
                    <a:pt x="153" y="71"/>
                  </a:lnTo>
                  <a:lnTo>
                    <a:pt x="153" y="69"/>
                  </a:lnTo>
                  <a:lnTo>
                    <a:pt x="151" y="69"/>
                  </a:lnTo>
                  <a:lnTo>
                    <a:pt x="151" y="66"/>
                  </a:lnTo>
                  <a:lnTo>
                    <a:pt x="151" y="66"/>
                  </a:lnTo>
                  <a:lnTo>
                    <a:pt x="148" y="66"/>
                  </a:lnTo>
                  <a:lnTo>
                    <a:pt x="148" y="64"/>
                  </a:lnTo>
                  <a:lnTo>
                    <a:pt x="146" y="64"/>
                  </a:lnTo>
                  <a:lnTo>
                    <a:pt x="143" y="61"/>
                  </a:lnTo>
                  <a:lnTo>
                    <a:pt x="143" y="61"/>
                  </a:lnTo>
                  <a:lnTo>
                    <a:pt x="140" y="61"/>
                  </a:lnTo>
                  <a:lnTo>
                    <a:pt x="138" y="59"/>
                  </a:lnTo>
                  <a:lnTo>
                    <a:pt x="135" y="59"/>
                  </a:lnTo>
                  <a:lnTo>
                    <a:pt x="133" y="59"/>
                  </a:lnTo>
                  <a:lnTo>
                    <a:pt x="130" y="59"/>
                  </a:lnTo>
                  <a:close/>
                  <a:moveTo>
                    <a:pt x="207" y="74"/>
                  </a:moveTo>
                  <a:lnTo>
                    <a:pt x="207" y="74"/>
                  </a:lnTo>
                  <a:lnTo>
                    <a:pt x="202" y="74"/>
                  </a:lnTo>
                  <a:lnTo>
                    <a:pt x="199" y="71"/>
                  </a:lnTo>
                  <a:lnTo>
                    <a:pt x="197" y="71"/>
                  </a:lnTo>
                  <a:lnTo>
                    <a:pt x="194" y="69"/>
                  </a:lnTo>
                  <a:lnTo>
                    <a:pt x="194" y="69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89" y="64"/>
                  </a:lnTo>
                  <a:lnTo>
                    <a:pt x="187" y="64"/>
                  </a:lnTo>
                  <a:lnTo>
                    <a:pt x="187" y="61"/>
                  </a:lnTo>
                  <a:lnTo>
                    <a:pt x="184" y="59"/>
                  </a:lnTo>
                  <a:lnTo>
                    <a:pt x="181" y="59"/>
                  </a:lnTo>
                  <a:lnTo>
                    <a:pt x="181" y="56"/>
                  </a:lnTo>
                  <a:lnTo>
                    <a:pt x="179" y="54"/>
                  </a:lnTo>
                  <a:lnTo>
                    <a:pt x="179" y="51"/>
                  </a:lnTo>
                  <a:lnTo>
                    <a:pt x="176" y="48"/>
                  </a:lnTo>
                  <a:lnTo>
                    <a:pt x="176" y="46"/>
                  </a:lnTo>
                  <a:lnTo>
                    <a:pt x="174" y="43"/>
                  </a:lnTo>
                  <a:lnTo>
                    <a:pt x="174" y="41"/>
                  </a:lnTo>
                  <a:lnTo>
                    <a:pt x="174" y="36"/>
                  </a:lnTo>
                  <a:lnTo>
                    <a:pt x="171" y="33"/>
                  </a:lnTo>
                  <a:lnTo>
                    <a:pt x="171" y="30"/>
                  </a:lnTo>
                  <a:lnTo>
                    <a:pt x="171" y="25"/>
                  </a:lnTo>
                  <a:lnTo>
                    <a:pt x="171" y="23"/>
                  </a:lnTo>
                  <a:lnTo>
                    <a:pt x="171" y="18"/>
                  </a:lnTo>
                  <a:lnTo>
                    <a:pt x="171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4" y="15"/>
                  </a:lnTo>
                  <a:lnTo>
                    <a:pt x="176" y="15"/>
                  </a:lnTo>
                  <a:lnTo>
                    <a:pt x="179" y="20"/>
                  </a:lnTo>
                  <a:lnTo>
                    <a:pt x="181" y="20"/>
                  </a:lnTo>
                  <a:lnTo>
                    <a:pt x="181" y="23"/>
                  </a:lnTo>
                  <a:lnTo>
                    <a:pt x="184" y="23"/>
                  </a:lnTo>
                  <a:lnTo>
                    <a:pt x="187" y="25"/>
                  </a:lnTo>
                  <a:lnTo>
                    <a:pt x="189" y="25"/>
                  </a:lnTo>
                  <a:lnTo>
                    <a:pt x="192" y="28"/>
                  </a:lnTo>
                  <a:lnTo>
                    <a:pt x="194" y="30"/>
                  </a:lnTo>
                  <a:lnTo>
                    <a:pt x="199" y="33"/>
                  </a:lnTo>
                  <a:lnTo>
                    <a:pt x="202" y="33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7" y="38"/>
                  </a:lnTo>
                  <a:lnTo>
                    <a:pt x="210" y="38"/>
                  </a:lnTo>
                  <a:lnTo>
                    <a:pt x="210" y="41"/>
                  </a:lnTo>
                  <a:lnTo>
                    <a:pt x="212" y="43"/>
                  </a:lnTo>
                  <a:lnTo>
                    <a:pt x="215" y="46"/>
                  </a:lnTo>
                  <a:lnTo>
                    <a:pt x="215" y="48"/>
                  </a:lnTo>
                  <a:lnTo>
                    <a:pt x="217" y="51"/>
                  </a:lnTo>
                  <a:lnTo>
                    <a:pt x="217" y="54"/>
                  </a:lnTo>
                  <a:lnTo>
                    <a:pt x="217" y="59"/>
                  </a:lnTo>
                  <a:lnTo>
                    <a:pt x="220" y="64"/>
                  </a:lnTo>
                  <a:lnTo>
                    <a:pt x="220" y="66"/>
                  </a:lnTo>
                  <a:lnTo>
                    <a:pt x="210" y="77"/>
                  </a:lnTo>
                  <a:lnTo>
                    <a:pt x="207" y="74"/>
                  </a:lnTo>
                  <a:close/>
                  <a:moveTo>
                    <a:pt x="169" y="0"/>
                  </a:moveTo>
                  <a:lnTo>
                    <a:pt x="169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5"/>
                  </a:lnTo>
                  <a:lnTo>
                    <a:pt x="161" y="5"/>
                  </a:lnTo>
                  <a:lnTo>
                    <a:pt x="161" y="7"/>
                  </a:lnTo>
                  <a:lnTo>
                    <a:pt x="161" y="7"/>
                  </a:lnTo>
                  <a:lnTo>
                    <a:pt x="161" y="10"/>
                  </a:lnTo>
                  <a:lnTo>
                    <a:pt x="161" y="13"/>
                  </a:lnTo>
                  <a:lnTo>
                    <a:pt x="161" y="15"/>
                  </a:lnTo>
                  <a:lnTo>
                    <a:pt x="158" y="18"/>
                  </a:lnTo>
                  <a:lnTo>
                    <a:pt x="161" y="20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8"/>
                  </a:lnTo>
                  <a:lnTo>
                    <a:pt x="161" y="30"/>
                  </a:lnTo>
                  <a:lnTo>
                    <a:pt x="161" y="33"/>
                  </a:lnTo>
                  <a:lnTo>
                    <a:pt x="161" y="36"/>
                  </a:lnTo>
                  <a:lnTo>
                    <a:pt x="161" y="38"/>
                  </a:lnTo>
                  <a:lnTo>
                    <a:pt x="164" y="41"/>
                  </a:lnTo>
                  <a:lnTo>
                    <a:pt x="164" y="43"/>
                  </a:lnTo>
                  <a:lnTo>
                    <a:pt x="164" y="46"/>
                  </a:lnTo>
                  <a:lnTo>
                    <a:pt x="166" y="51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71" y="61"/>
                  </a:lnTo>
                  <a:lnTo>
                    <a:pt x="174" y="64"/>
                  </a:lnTo>
                  <a:lnTo>
                    <a:pt x="176" y="66"/>
                  </a:lnTo>
                  <a:lnTo>
                    <a:pt x="176" y="69"/>
                  </a:lnTo>
                  <a:lnTo>
                    <a:pt x="179" y="71"/>
                  </a:lnTo>
                  <a:lnTo>
                    <a:pt x="181" y="71"/>
                  </a:lnTo>
                  <a:lnTo>
                    <a:pt x="184" y="74"/>
                  </a:lnTo>
                  <a:lnTo>
                    <a:pt x="187" y="77"/>
                  </a:lnTo>
                  <a:lnTo>
                    <a:pt x="189" y="77"/>
                  </a:lnTo>
                  <a:lnTo>
                    <a:pt x="192" y="79"/>
                  </a:lnTo>
                  <a:lnTo>
                    <a:pt x="194" y="82"/>
                  </a:lnTo>
                  <a:lnTo>
                    <a:pt x="197" y="82"/>
                  </a:lnTo>
                  <a:lnTo>
                    <a:pt x="197" y="82"/>
                  </a:lnTo>
                  <a:lnTo>
                    <a:pt x="199" y="84"/>
                  </a:lnTo>
                  <a:lnTo>
                    <a:pt x="202" y="84"/>
                  </a:lnTo>
                  <a:lnTo>
                    <a:pt x="205" y="84"/>
                  </a:lnTo>
                  <a:lnTo>
                    <a:pt x="207" y="87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12" y="87"/>
                  </a:lnTo>
                  <a:lnTo>
                    <a:pt x="230" y="71"/>
                  </a:lnTo>
                  <a:lnTo>
                    <a:pt x="230" y="69"/>
                  </a:lnTo>
                  <a:lnTo>
                    <a:pt x="230" y="66"/>
                  </a:lnTo>
                  <a:lnTo>
                    <a:pt x="230" y="64"/>
                  </a:lnTo>
                  <a:lnTo>
                    <a:pt x="230" y="61"/>
                  </a:lnTo>
                  <a:lnTo>
                    <a:pt x="230" y="59"/>
                  </a:lnTo>
                  <a:lnTo>
                    <a:pt x="228" y="56"/>
                  </a:lnTo>
                  <a:lnTo>
                    <a:pt x="228" y="54"/>
                  </a:lnTo>
                  <a:lnTo>
                    <a:pt x="228" y="51"/>
                  </a:lnTo>
                  <a:lnTo>
                    <a:pt x="228" y="48"/>
                  </a:lnTo>
                  <a:lnTo>
                    <a:pt x="225" y="46"/>
                  </a:lnTo>
                  <a:lnTo>
                    <a:pt x="225" y="43"/>
                  </a:lnTo>
                  <a:lnTo>
                    <a:pt x="225" y="41"/>
                  </a:lnTo>
                  <a:lnTo>
                    <a:pt x="222" y="41"/>
                  </a:lnTo>
                  <a:lnTo>
                    <a:pt x="222" y="38"/>
                  </a:lnTo>
                  <a:lnTo>
                    <a:pt x="222" y="36"/>
                  </a:lnTo>
                  <a:lnTo>
                    <a:pt x="220" y="36"/>
                  </a:lnTo>
                  <a:lnTo>
                    <a:pt x="220" y="33"/>
                  </a:lnTo>
                  <a:lnTo>
                    <a:pt x="217" y="33"/>
                  </a:lnTo>
                  <a:lnTo>
                    <a:pt x="217" y="30"/>
                  </a:lnTo>
                  <a:lnTo>
                    <a:pt x="215" y="30"/>
                  </a:lnTo>
                  <a:lnTo>
                    <a:pt x="215" y="30"/>
                  </a:lnTo>
                  <a:lnTo>
                    <a:pt x="212" y="28"/>
                  </a:lnTo>
                  <a:lnTo>
                    <a:pt x="210" y="25"/>
                  </a:lnTo>
                  <a:lnTo>
                    <a:pt x="207" y="23"/>
                  </a:lnTo>
                  <a:lnTo>
                    <a:pt x="205" y="23"/>
                  </a:lnTo>
                  <a:lnTo>
                    <a:pt x="199" y="20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89" y="15"/>
                  </a:lnTo>
                  <a:lnTo>
                    <a:pt x="187" y="13"/>
                  </a:lnTo>
                  <a:lnTo>
                    <a:pt x="184" y="10"/>
                  </a:lnTo>
                  <a:lnTo>
                    <a:pt x="184" y="7"/>
                  </a:lnTo>
                  <a:lnTo>
                    <a:pt x="181" y="5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76" y="2"/>
                  </a:lnTo>
                  <a:lnTo>
                    <a:pt x="176" y="2"/>
                  </a:lnTo>
                  <a:lnTo>
                    <a:pt x="174" y="2"/>
                  </a:lnTo>
                  <a:lnTo>
                    <a:pt x="174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80">
            <a:extLst>
              <a:ext uri="{FF2B5EF4-FFF2-40B4-BE49-F238E27FC236}">
                <a16:creationId xmlns:a16="http://schemas.microsoft.com/office/drawing/2014/main" id="{3DA0AD4E-9F5D-4F10-A574-E1B6FA91E3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4263" y="1594798"/>
            <a:ext cx="760412" cy="758825"/>
            <a:chOff x="2357" y="1118"/>
            <a:chExt cx="479" cy="478"/>
          </a:xfrm>
        </p:grpSpPr>
        <p:sp>
          <p:nvSpPr>
            <p:cNvPr id="94" name="AutoShape 79">
              <a:extLst>
                <a:ext uri="{FF2B5EF4-FFF2-40B4-BE49-F238E27FC236}">
                  <a16:creationId xmlns:a16="http://schemas.microsoft.com/office/drawing/2014/main" id="{F401BE5A-E394-4D1C-B436-BFBA1C0F20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57" y="111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ADF41425-9ADA-4828-AB50-702B4C0DF0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" y="112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0F2F4EEA-4AC7-49BE-98F2-D6A8D3D79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0" y="1216"/>
              <a:ext cx="255" cy="284"/>
            </a:xfrm>
            <a:custGeom>
              <a:avLst/>
              <a:gdLst>
                <a:gd name="T0" fmla="*/ 123 w 255"/>
                <a:gd name="T1" fmla="*/ 145 h 284"/>
                <a:gd name="T2" fmla="*/ 125 w 255"/>
                <a:gd name="T3" fmla="*/ 154 h 284"/>
                <a:gd name="T4" fmla="*/ 138 w 255"/>
                <a:gd name="T5" fmla="*/ 157 h 284"/>
                <a:gd name="T6" fmla="*/ 142 w 255"/>
                <a:gd name="T7" fmla="*/ 147 h 284"/>
                <a:gd name="T8" fmla="*/ 138 w 255"/>
                <a:gd name="T9" fmla="*/ 137 h 284"/>
                <a:gd name="T10" fmla="*/ 34 w 255"/>
                <a:gd name="T11" fmla="*/ 270 h 284"/>
                <a:gd name="T12" fmla="*/ 20 w 255"/>
                <a:gd name="T13" fmla="*/ 257 h 284"/>
                <a:gd name="T14" fmla="*/ 12 w 255"/>
                <a:gd name="T15" fmla="*/ 238 h 284"/>
                <a:gd name="T16" fmla="*/ 20 w 255"/>
                <a:gd name="T17" fmla="*/ 218 h 284"/>
                <a:gd name="T18" fmla="*/ 34 w 255"/>
                <a:gd name="T19" fmla="*/ 204 h 284"/>
                <a:gd name="T20" fmla="*/ 54 w 255"/>
                <a:gd name="T21" fmla="*/ 204 h 284"/>
                <a:gd name="T22" fmla="*/ 71 w 255"/>
                <a:gd name="T23" fmla="*/ 213 h 284"/>
                <a:gd name="T24" fmla="*/ 81 w 255"/>
                <a:gd name="T25" fmla="*/ 230 h 284"/>
                <a:gd name="T26" fmla="*/ 79 w 255"/>
                <a:gd name="T27" fmla="*/ 250 h 284"/>
                <a:gd name="T28" fmla="*/ 66 w 255"/>
                <a:gd name="T29" fmla="*/ 267 h 284"/>
                <a:gd name="T30" fmla="*/ 47 w 255"/>
                <a:gd name="T31" fmla="*/ 272 h 284"/>
                <a:gd name="T32" fmla="*/ 189 w 255"/>
                <a:gd name="T33" fmla="*/ 267 h 284"/>
                <a:gd name="T34" fmla="*/ 177 w 255"/>
                <a:gd name="T35" fmla="*/ 253 h 284"/>
                <a:gd name="T36" fmla="*/ 174 w 255"/>
                <a:gd name="T37" fmla="*/ 233 h 284"/>
                <a:gd name="T38" fmla="*/ 182 w 255"/>
                <a:gd name="T39" fmla="*/ 213 h 284"/>
                <a:gd name="T40" fmla="*/ 199 w 255"/>
                <a:gd name="T41" fmla="*/ 204 h 284"/>
                <a:gd name="T42" fmla="*/ 221 w 255"/>
                <a:gd name="T43" fmla="*/ 204 h 284"/>
                <a:gd name="T44" fmla="*/ 236 w 255"/>
                <a:gd name="T45" fmla="*/ 216 h 284"/>
                <a:gd name="T46" fmla="*/ 243 w 255"/>
                <a:gd name="T47" fmla="*/ 235 h 284"/>
                <a:gd name="T48" fmla="*/ 238 w 255"/>
                <a:gd name="T49" fmla="*/ 255 h 284"/>
                <a:gd name="T50" fmla="*/ 224 w 255"/>
                <a:gd name="T51" fmla="*/ 270 h 284"/>
                <a:gd name="T52" fmla="*/ 93 w 255"/>
                <a:gd name="T53" fmla="*/ 228 h 284"/>
                <a:gd name="T54" fmla="*/ 86 w 255"/>
                <a:gd name="T55" fmla="*/ 211 h 284"/>
                <a:gd name="T56" fmla="*/ 44 w 255"/>
                <a:gd name="T57" fmla="*/ 0 h 284"/>
                <a:gd name="T58" fmla="*/ 20 w 255"/>
                <a:gd name="T59" fmla="*/ 25 h 284"/>
                <a:gd name="T60" fmla="*/ 15 w 255"/>
                <a:gd name="T61" fmla="*/ 49 h 284"/>
                <a:gd name="T62" fmla="*/ 25 w 255"/>
                <a:gd name="T63" fmla="*/ 74 h 284"/>
                <a:gd name="T64" fmla="*/ 47 w 255"/>
                <a:gd name="T65" fmla="*/ 189 h 284"/>
                <a:gd name="T66" fmla="*/ 22 w 255"/>
                <a:gd name="T67" fmla="*/ 196 h 284"/>
                <a:gd name="T68" fmla="*/ 5 w 255"/>
                <a:gd name="T69" fmla="*/ 218 h 284"/>
                <a:gd name="T70" fmla="*/ 0 w 255"/>
                <a:gd name="T71" fmla="*/ 248 h 284"/>
                <a:gd name="T72" fmla="*/ 15 w 255"/>
                <a:gd name="T73" fmla="*/ 272 h 284"/>
                <a:gd name="T74" fmla="*/ 37 w 255"/>
                <a:gd name="T75" fmla="*/ 284 h 284"/>
                <a:gd name="T76" fmla="*/ 69 w 255"/>
                <a:gd name="T77" fmla="*/ 280 h 284"/>
                <a:gd name="T78" fmla="*/ 170 w 255"/>
                <a:gd name="T79" fmla="*/ 265 h 284"/>
                <a:gd name="T80" fmla="*/ 194 w 255"/>
                <a:gd name="T81" fmla="*/ 284 h 284"/>
                <a:gd name="T82" fmla="*/ 224 w 255"/>
                <a:gd name="T83" fmla="*/ 282 h 284"/>
                <a:gd name="T84" fmla="*/ 246 w 255"/>
                <a:gd name="T85" fmla="*/ 265 h 284"/>
                <a:gd name="T86" fmla="*/ 255 w 255"/>
                <a:gd name="T87" fmla="*/ 240 h 284"/>
                <a:gd name="T88" fmla="*/ 248 w 255"/>
                <a:gd name="T89" fmla="*/ 211 h 284"/>
                <a:gd name="T90" fmla="*/ 226 w 255"/>
                <a:gd name="T91" fmla="*/ 194 h 284"/>
                <a:gd name="T92" fmla="*/ 197 w 255"/>
                <a:gd name="T93" fmla="*/ 191 h 284"/>
                <a:gd name="T94" fmla="*/ 170 w 255"/>
                <a:gd name="T95" fmla="*/ 208 h 284"/>
                <a:gd name="T96" fmla="*/ 162 w 255"/>
                <a:gd name="T97" fmla="*/ 226 h 284"/>
                <a:gd name="T98" fmla="*/ 29 w 255"/>
                <a:gd name="T99" fmla="*/ 54 h 284"/>
                <a:gd name="T100" fmla="*/ 29 w 255"/>
                <a:gd name="T101" fmla="*/ 32 h 284"/>
                <a:gd name="T102" fmla="*/ 44 w 255"/>
                <a:gd name="T103" fmla="*/ 15 h 284"/>
                <a:gd name="T104" fmla="*/ 47 w 255"/>
                <a:gd name="T105" fmla="*/ 0 h 284"/>
                <a:gd name="T106" fmla="*/ 147 w 255"/>
                <a:gd name="T107" fmla="*/ 105 h 284"/>
                <a:gd name="T108" fmla="*/ 224 w 255"/>
                <a:gd name="T109" fmla="*/ 32 h 284"/>
                <a:gd name="T110" fmla="*/ 226 w 255"/>
                <a:gd name="T111" fmla="*/ 49 h 284"/>
                <a:gd name="T112" fmla="*/ 177 w 255"/>
                <a:gd name="T113" fmla="*/ 145 h 284"/>
                <a:gd name="T114" fmla="*/ 238 w 255"/>
                <a:gd name="T115" fmla="*/ 54 h 284"/>
                <a:gd name="T116" fmla="*/ 238 w 255"/>
                <a:gd name="T117" fmla="*/ 29 h 284"/>
                <a:gd name="T118" fmla="*/ 214 w 255"/>
                <a:gd name="T11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84">
                  <a:moveTo>
                    <a:pt x="133" y="137"/>
                  </a:move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5" y="140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5" y="142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7"/>
                  </a:lnTo>
                  <a:lnTo>
                    <a:pt x="123" y="147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5" y="152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8" y="154"/>
                  </a:lnTo>
                  <a:lnTo>
                    <a:pt x="128" y="157"/>
                  </a:lnTo>
                  <a:lnTo>
                    <a:pt x="128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2" y="154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42" y="150"/>
                  </a:lnTo>
                  <a:lnTo>
                    <a:pt x="142" y="150"/>
                  </a:lnTo>
                  <a:lnTo>
                    <a:pt x="142" y="150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5"/>
                  </a:lnTo>
                  <a:lnTo>
                    <a:pt x="142" y="145"/>
                  </a:lnTo>
                  <a:lnTo>
                    <a:pt x="142" y="145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0" y="142"/>
                  </a:lnTo>
                  <a:lnTo>
                    <a:pt x="140" y="140"/>
                  </a:lnTo>
                  <a:lnTo>
                    <a:pt x="140" y="140"/>
                  </a:lnTo>
                  <a:lnTo>
                    <a:pt x="138" y="140"/>
                  </a:lnTo>
                  <a:lnTo>
                    <a:pt x="138" y="140"/>
                  </a:lnTo>
                  <a:lnTo>
                    <a:pt x="138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3" y="137"/>
                  </a:lnTo>
                  <a:lnTo>
                    <a:pt x="133" y="137"/>
                  </a:lnTo>
                  <a:close/>
                  <a:moveTo>
                    <a:pt x="44" y="272"/>
                  </a:moveTo>
                  <a:lnTo>
                    <a:pt x="42" y="272"/>
                  </a:lnTo>
                  <a:lnTo>
                    <a:pt x="39" y="272"/>
                  </a:lnTo>
                  <a:lnTo>
                    <a:pt x="39" y="272"/>
                  </a:lnTo>
                  <a:lnTo>
                    <a:pt x="37" y="270"/>
                  </a:lnTo>
                  <a:lnTo>
                    <a:pt x="34" y="270"/>
                  </a:lnTo>
                  <a:lnTo>
                    <a:pt x="34" y="270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7" y="265"/>
                  </a:lnTo>
                  <a:lnTo>
                    <a:pt x="25" y="265"/>
                  </a:lnTo>
                  <a:lnTo>
                    <a:pt x="25" y="262"/>
                  </a:lnTo>
                  <a:lnTo>
                    <a:pt x="22" y="262"/>
                  </a:lnTo>
                  <a:lnTo>
                    <a:pt x="22" y="260"/>
                  </a:lnTo>
                  <a:lnTo>
                    <a:pt x="20" y="260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3"/>
                  </a:lnTo>
                  <a:lnTo>
                    <a:pt x="15" y="250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5" y="245"/>
                  </a:lnTo>
                  <a:lnTo>
                    <a:pt x="12" y="245"/>
                  </a:lnTo>
                  <a:lnTo>
                    <a:pt x="12" y="243"/>
                  </a:lnTo>
                  <a:lnTo>
                    <a:pt x="12" y="240"/>
                  </a:lnTo>
                  <a:lnTo>
                    <a:pt x="12" y="238"/>
                  </a:lnTo>
                  <a:lnTo>
                    <a:pt x="12" y="238"/>
                  </a:lnTo>
                  <a:lnTo>
                    <a:pt x="12" y="235"/>
                  </a:lnTo>
                  <a:lnTo>
                    <a:pt x="12" y="233"/>
                  </a:lnTo>
                  <a:lnTo>
                    <a:pt x="12" y="233"/>
                  </a:lnTo>
                  <a:lnTo>
                    <a:pt x="12" y="230"/>
                  </a:lnTo>
                  <a:lnTo>
                    <a:pt x="15" y="228"/>
                  </a:lnTo>
                  <a:lnTo>
                    <a:pt x="15" y="226"/>
                  </a:lnTo>
                  <a:lnTo>
                    <a:pt x="15" y="226"/>
                  </a:lnTo>
                  <a:lnTo>
                    <a:pt x="15" y="223"/>
                  </a:lnTo>
                  <a:lnTo>
                    <a:pt x="17" y="221"/>
                  </a:lnTo>
                  <a:lnTo>
                    <a:pt x="17" y="221"/>
                  </a:lnTo>
                  <a:lnTo>
                    <a:pt x="17" y="218"/>
                  </a:lnTo>
                  <a:lnTo>
                    <a:pt x="20" y="218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2" y="213"/>
                  </a:lnTo>
                  <a:lnTo>
                    <a:pt x="22" y="213"/>
                  </a:lnTo>
                  <a:lnTo>
                    <a:pt x="25" y="211"/>
                  </a:lnTo>
                  <a:lnTo>
                    <a:pt x="25" y="211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29" y="206"/>
                  </a:lnTo>
                  <a:lnTo>
                    <a:pt x="32" y="206"/>
                  </a:lnTo>
                  <a:lnTo>
                    <a:pt x="32" y="206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7" y="204"/>
                  </a:lnTo>
                  <a:lnTo>
                    <a:pt x="39" y="204"/>
                  </a:lnTo>
                  <a:lnTo>
                    <a:pt x="39" y="204"/>
                  </a:lnTo>
                  <a:lnTo>
                    <a:pt x="42" y="201"/>
                  </a:lnTo>
                  <a:lnTo>
                    <a:pt x="44" y="201"/>
                  </a:lnTo>
                  <a:lnTo>
                    <a:pt x="47" y="201"/>
                  </a:lnTo>
                  <a:lnTo>
                    <a:pt x="47" y="201"/>
                  </a:lnTo>
                  <a:lnTo>
                    <a:pt x="49" y="201"/>
                  </a:lnTo>
                  <a:lnTo>
                    <a:pt x="52" y="201"/>
                  </a:lnTo>
                  <a:lnTo>
                    <a:pt x="52" y="201"/>
                  </a:lnTo>
                  <a:lnTo>
                    <a:pt x="54" y="204"/>
                  </a:lnTo>
                  <a:lnTo>
                    <a:pt x="56" y="204"/>
                  </a:lnTo>
                  <a:lnTo>
                    <a:pt x="56" y="204"/>
                  </a:lnTo>
                  <a:lnTo>
                    <a:pt x="59" y="204"/>
                  </a:lnTo>
                  <a:lnTo>
                    <a:pt x="61" y="204"/>
                  </a:lnTo>
                  <a:lnTo>
                    <a:pt x="61" y="206"/>
                  </a:lnTo>
                  <a:lnTo>
                    <a:pt x="64" y="206"/>
                  </a:lnTo>
                  <a:lnTo>
                    <a:pt x="66" y="206"/>
                  </a:lnTo>
                  <a:lnTo>
                    <a:pt x="66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71" y="211"/>
                  </a:lnTo>
                  <a:lnTo>
                    <a:pt x="71" y="213"/>
                  </a:lnTo>
                  <a:lnTo>
                    <a:pt x="74" y="213"/>
                  </a:lnTo>
                  <a:lnTo>
                    <a:pt x="74" y="216"/>
                  </a:lnTo>
                  <a:lnTo>
                    <a:pt x="76" y="216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3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81" y="228"/>
                  </a:lnTo>
                  <a:lnTo>
                    <a:pt x="81" y="230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81" y="235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40"/>
                  </a:lnTo>
                  <a:lnTo>
                    <a:pt x="81" y="243"/>
                  </a:lnTo>
                  <a:lnTo>
                    <a:pt x="81" y="245"/>
                  </a:lnTo>
                  <a:lnTo>
                    <a:pt x="81" y="245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53"/>
                  </a:lnTo>
                  <a:lnTo>
                    <a:pt x="79" y="255"/>
                  </a:lnTo>
                  <a:lnTo>
                    <a:pt x="76" y="255"/>
                  </a:lnTo>
                  <a:lnTo>
                    <a:pt x="76" y="257"/>
                  </a:lnTo>
                  <a:lnTo>
                    <a:pt x="76" y="257"/>
                  </a:lnTo>
                  <a:lnTo>
                    <a:pt x="74" y="260"/>
                  </a:lnTo>
                  <a:lnTo>
                    <a:pt x="74" y="260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4" y="267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59" y="270"/>
                  </a:lnTo>
                  <a:lnTo>
                    <a:pt x="56" y="270"/>
                  </a:lnTo>
                  <a:lnTo>
                    <a:pt x="56" y="272"/>
                  </a:lnTo>
                  <a:lnTo>
                    <a:pt x="54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49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4" y="272"/>
                  </a:lnTo>
                  <a:close/>
                  <a:moveTo>
                    <a:pt x="204" y="272"/>
                  </a:moveTo>
                  <a:lnTo>
                    <a:pt x="204" y="272"/>
                  </a:lnTo>
                  <a:lnTo>
                    <a:pt x="201" y="272"/>
                  </a:lnTo>
                  <a:lnTo>
                    <a:pt x="199" y="272"/>
                  </a:lnTo>
                  <a:lnTo>
                    <a:pt x="199" y="270"/>
                  </a:lnTo>
                  <a:lnTo>
                    <a:pt x="197" y="270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2" y="267"/>
                  </a:lnTo>
                  <a:lnTo>
                    <a:pt x="189" y="267"/>
                  </a:lnTo>
                  <a:lnTo>
                    <a:pt x="189" y="267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2" y="260"/>
                  </a:lnTo>
                  <a:lnTo>
                    <a:pt x="182" y="260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5"/>
                  </a:lnTo>
                  <a:lnTo>
                    <a:pt x="177" y="255"/>
                  </a:lnTo>
                  <a:lnTo>
                    <a:pt x="177" y="253"/>
                  </a:lnTo>
                  <a:lnTo>
                    <a:pt x="177" y="250"/>
                  </a:lnTo>
                  <a:lnTo>
                    <a:pt x="174" y="250"/>
                  </a:lnTo>
                  <a:lnTo>
                    <a:pt x="174" y="248"/>
                  </a:lnTo>
                  <a:lnTo>
                    <a:pt x="174" y="245"/>
                  </a:lnTo>
                  <a:lnTo>
                    <a:pt x="174" y="245"/>
                  </a:lnTo>
                  <a:lnTo>
                    <a:pt x="174" y="243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4" y="235"/>
                  </a:lnTo>
                  <a:lnTo>
                    <a:pt x="174" y="233"/>
                  </a:lnTo>
                  <a:lnTo>
                    <a:pt x="174" y="233"/>
                  </a:lnTo>
                  <a:lnTo>
                    <a:pt x="174" y="230"/>
                  </a:lnTo>
                  <a:lnTo>
                    <a:pt x="174" y="228"/>
                  </a:lnTo>
                  <a:lnTo>
                    <a:pt x="174" y="226"/>
                  </a:lnTo>
                  <a:lnTo>
                    <a:pt x="174" y="226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6"/>
                  </a:lnTo>
                  <a:lnTo>
                    <a:pt x="182" y="216"/>
                  </a:lnTo>
                  <a:lnTo>
                    <a:pt x="182" y="213"/>
                  </a:lnTo>
                  <a:lnTo>
                    <a:pt x="184" y="213"/>
                  </a:lnTo>
                  <a:lnTo>
                    <a:pt x="184" y="211"/>
                  </a:lnTo>
                  <a:lnTo>
                    <a:pt x="187" y="211"/>
                  </a:lnTo>
                  <a:lnTo>
                    <a:pt x="187" y="208"/>
                  </a:lnTo>
                  <a:lnTo>
                    <a:pt x="189" y="208"/>
                  </a:lnTo>
                  <a:lnTo>
                    <a:pt x="189" y="206"/>
                  </a:lnTo>
                  <a:lnTo>
                    <a:pt x="192" y="206"/>
                  </a:lnTo>
                  <a:lnTo>
                    <a:pt x="194" y="206"/>
                  </a:lnTo>
                  <a:lnTo>
                    <a:pt x="194" y="204"/>
                  </a:lnTo>
                  <a:lnTo>
                    <a:pt x="197" y="204"/>
                  </a:lnTo>
                  <a:lnTo>
                    <a:pt x="199" y="204"/>
                  </a:lnTo>
                  <a:lnTo>
                    <a:pt x="199" y="204"/>
                  </a:lnTo>
                  <a:lnTo>
                    <a:pt x="201" y="204"/>
                  </a:lnTo>
                  <a:lnTo>
                    <a:pt x="204" y="201"/>
                  </a:lnTo>
                  <a:lnTo>
                    <a:pt x="204" y="201"/>
                  </a:lnTo>
                  <a:lnTo>
                    <a:pt x="206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11" y="201"/>
                  </a:lnTo>
                  <a:lnTo>
                    <a:pt x="214" y="201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9" y="204"/>
                  </a:lnTo>
                  <a:lnTo>
                    <a:pt x="221" y="204"/>
                  </a:lnTo>
                  <a:lnTo>
                    <a:pt x="221" y="204"/>
                  </a:lnTo>
                  <a:lnTo>
                    <a:pt x="224" y="206"/>
                  </a:lnTo>
                  <a:lnTo>
                    <a:pt x="224" y="206"/>
                  </a:lnTo>
                  <a:lnTo>
                    <a:pt x="226" y="206"/>
                  </a:lnTo>
                  <a:lnTo>
                    <a:pt x="228" y="208"/>
                  </a:lnTo>
                  <a:lnTo>
                    <a:pt x="228" y="208"/>
                  </a:lnTo>
                  <a:lnTo>
                    <a:pt x="231" y="211"/>
                  </a:lnTo>
                  <a:lnTo>
                    <a:pt x="231" y="211"/>
                  </a:lnTo>
                  <a:lnTo>
                    <a:pt x="233" y="213"/>
                  </a:lnTo>
                  <a:lnTo>
                    <a:pt x="233" y="213"/>
                  </a:lnTo>
                  <a:lnTo>
                    <a:pt x="236" y="216"/>
                  </a:lnTo>
                  <a:lnTo>
                    <a:pt x="236" y="216"/>
                  </a:lnTo>
                  <a:lnTo>
                    <a:pt x="236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41" y="223"/>
                  </a:lnTo>
                  <a:lnTo>
                    <a:pt x="241" y="226"/>
                  </a:lnTo>
                  <a:lnTo>
                    <a:pt x="241" y="226"/>
                  </a:lnTo>
                  <a:lnTo>
                    <a:pt x="241" y="228"/>
                  </a:lnTo>
                  <a:lnTo>
                    <a:pt x="243" y="230"/>
                  </a:lnTo>
                  <a:lnTo>
                    <a:pt x="243" y="233"/>
                  </a:lnTo>
                  <a:lnTo>
                    <a:pt x="243" y="233"/>
                  </a:lnTo>
                  <a:lnTo>
                    <a:pt x="243" y="235"/>
                  </a:lnTo>
                  <a:lnTo>
                    <a:pt x="243" y="238"/>
                  </a:lnTo>
                  <a:lnTo>
                    <a:pt x="243" y="238"/>
                  </a:lnTo>
                  <a:lnTo>
                    <a:pt x="243" y="240"/>
                  </a:lnTo>
                  <a:lnTo>
                    <a:pt x="243" y="243"/>
                  </a:lnTo>
                  <a:lnTo>
                    <a:pt x="243" y="245"/>
                  </a:lnTo>
                  <a:lnTo>
                    <a:pt x="241" y="245"/>
                  </a:lnTo>
                  <a:lnTo>
                    <a:pt x="241" y="248"/>
                  </a:lnTo>
                  <a:lnTo>
                    <a:pt x="241" y="250"/>
                  </a:lnTo>
                  <a:lnTo>
                    <a:pt x="241" y="250"/>
                  </a:lnTo>
                  <a:lnTo>
                    <a:pt x="238" y="253"/>
                  </a:lnTo>
                  <a:lnTo>
                    <a:pt x="238" y="255"/>
                  </a:lnTo>
                  <a:lnTo>
                    <a:pt x="238" y="255"/>
                  </a:lnTo>
                  <a:lnTo>
                    <a:pt x="236" y="257"/>
                  </a:lnTo>
                  <a:lnTo>
                    <a:pt x="236" y="257"/>
                  </a:lnTo>
                  <a:lnTo>
                    <a:pt x="236" y="260"/>
                  </a:lnTo>
                  <a:lnTo>
                    <a:pt x="233" y="260"/>
                  </a:lnTo>
                  <a:lnTo>
                    <a:pt x="233" y="262"/>
                  </a:lnTo>
                  <a:lnTo>
                    <a:pt x="231" y="262"/>
                  </a:lnTo>
                  <a:lnTo>
                    <a:pt x="231" y="265"/>
                  </a:lnTo>
                  <a:lnTo>
                    <a:pt x="228" y="265"/>
                  </a:lnTo>
                  <a:lnTo>
                    <a:pt x="228" y="267"/>
                  </a:lnTo>
                  <a:lnTo>
                    <a:pt x="226" y="267"/>
                  </a:lnTo>
                  <a:lnTo>
                    <a:pt x="224" y="267"/>
                  </a:lnTo>
                  <a:lnTo>
                    <a:pt x="224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19" y="270"/>
                  </a:lnTo>
                  <a:lnTo>
                    <a:pt x="216" y="272"/>
                  </a:lnTo>
                  <a:lnTo>
                    <a:pt x="216" y="272"/>
                  </a:lnTo>
                  <a:lnTo>
                    <a:pt x="214" y="272"/>
                  </a:lnTo>
                  <a:lnTo>
                    <a:pt x="211" y="272"/>
                  </a:lnTo>
                  <a:lnTo>
                    <a:pt x="209" y="272"/>
                  </a:lnTo>
                  <a:lnTo>
                    <a:pt x="209" y="272"/>
                  </a:lnTo>
                  <a:lnTo>
                    <a:pt x="206" y="272"/>
                  </a:lnTo>
                  <a:lnTo>
                    <a:pt x="204" y="272"/>
                  </a:lnTo>
                  <a:close/>
                  <a:moveTo>
                    <a:pt x="93" y="228"/>
                  </a:moveTo>
                  <a:lnTo>
                    <a:pt x="93" y="226"/>
                  </a:lnTo>
                  <a:lnTo>
                    <a:pt x="93" y="226"/>
                  </a:lnTo>
                  <a:lnTo>
                    <a:pt x="93" y="223"/>
                  </a:lnTo>
                  <a:lnTo>
                    <a:pt x="91" y="221"/>
                  </a:lnTo>
                  <a:lnTo>
                    <a:pt x="91" y="221"/>
                  </a:lnTo>
                  <a:lnTo>
                    <a:pt x="91" y="218"/>
                  </a:lnTo>
                  <a:lnTo>
                    <a:pt x="91" y="216"/>
                  </a:lnTo>
                  <a:lnTo>
                    <a:pt x="88" y="216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1"/>
                  </a:lnTo>
                  <a:lnTo>
                    <a:pt x="86" y="211"/>
                  </a:lnTo>
                  <a:lnTo>
                    <a:pt x="86" y="208"/>
                  </a:lnTo>
                  <a:lnTo>
                    <a:pt x="84" y="208"/>
                  </a:lnTo>
                  <a:lnTo>
                    <a:pt x="84" y="206"/>
                  </a:lnTo>
                  <a:lnTo>
                    <a:pt x="84" y="206"/>
                  </a:lnTo>
                  <a:lnTo>
                    <a:pt x="81" y="204"/>
                  </a:lnTo>
                  <a:lnTo>
                    <a:pt x="101" y="174"/>
                  </a:lnTo>
                  <a:lnTo>
                    <a:pt x="120" y="199"/>
                  </a:lnTo>
                  <a:lnTo>
                    <a:pt x="93" y="233"/>
                  </a:lnTo>
                  <a:lnTo>
                    <a:pt x="93" y="228"/>
                  </a:lnTo>
                  <a:close/>
                  <a:moveTo>
                    <a:pt x="47" y="0"/>
                  </a:move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7" y="5"/>
                  </a:lnTo>
                  <a:lnTo>
                    <a:pt x="34" y="7"/>
                  </a:lnTo>
                  <a:lnTo>
                    <a:pt x="32" y="10"/>
                  </a:lnTo>
                  <a:lnTo>
                    <a:pt x="29" y="12"/>
                  </a:lnTo>
                  <a:lnTo>
                    <a:pt x="27" y="15"/>
                  </a:lnTo>
                  <a:lnTo>
                    <a:pt x="25" y="17"/>
                  </a:lnTo>
                  <a:lnTo>
                    <a:pt x="25" y="20"/>
                  </a:lnTo>
                  <a:lnTo>
                    <a:pt x="22" y="22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9"/>
                  </a:lnTo>
                  <a:lnTo>
                    <a:pt x="17" y="32"/>
                  </a:lnTo>
                  <a:lnTo>
                    <a:pt x="17" y="34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5" y="47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7" y="52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6"/>
                  </a:lnTo>
                  <a:lnTo>
                    <a:pt x="17" y="59"/>
                  </a:lnTo>
                  <a:lnTo>
                    <a:pt x="20" y="61"/>
                  </a:lnTo>
                  <a:lnTo>
                    <a:pt x="20" y="64"/>
                  </a:lnTo>
                  <a:lnTo>
                    <a:pt x="20" y="66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5" y="71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93" y="164"/>
                  </a:lnTo>
                  <a:lnTo>
                    <a:pt x="71" y="196"/>
                  </a:lnTo>
                  <a:lnTo>
                    <a:pt x="69" y="194"/>
                  </a:lnTo>
                  <a:lnTo>
                    <a:pt x="66" y="194"/>
                  </a:lnTo>
                  <a:lnTo>
                    <a:pt x="64" y="191"/>
                  </a:lnTo>
                  <a:lnTo>
                    <a:pt x="61" y="191"/>
                  </a:lnTo>
                  <a:lnTo>
                    <a:pt x="59" y="191"/>
                  </a:lnTo>
                  <a:lnTo>
                    <a:pt x="56" y="189"/>
                  </a:lnTo>
                  <a:lnTo>
                    <a:pt x="54" y="189"/>
                  </a:lnTo>
                  <a:lnTo>
                    <a:pt x="49" y="189"/>
                  </a:lnTo>
                  <a:lnTo>
                    <a:pt x="47" y="189"/>
                  </a:lnTo>
                  <a:lnTo>
                    <a:pt x="44" y="189"/>
                  </a:lnTo>
                  <a:lnTo>
                    <a:pt x="42" y="189"/>
                  </a:lnTo>
                  <a:lnTo>
                    <a:pt x="39" y="189"/>
                  </a:lnTo>
                  <a:lnTo>
                    <a:pt x="37" y="189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2" y="191"/>
                  </a:lnTo>
                  <a:lnTo>
                    <a:pt x="29" y="194"/>
                  </a:lnTo>
                  <a:lnTo>
                    <a:pt x="27" y="194"/>
                  </a:lnTo>
                  <a:lnTo>
                    <a:pt x="25" y="194"/>
                  </a:lnTo>
                  <a:lnTo>
                    <a:pt x="22" y="196"/>
                  </a:lnTo>
                  <a:lnTo>
                    <a:pt x="22" y="196"/>
                  </a:lnTo>
                  <a:lnTo>
                    <a:pt x="20" y="199"/>
                  </a:lnTo>
                  <a:lnTo>
                    <a:pt x="17" y="201"/>
                  </a:lnTo>
                  <a:lnTo>
                    <a:pt x="15" y="201"/>
                  </a:lnTo>
                  <a:lnTo>
                    <a:pt x="15" y="204"/>
                  </a:lnTo>
                  <a:lnTo>
                    <a:pt x="12" y="204"/>
                  </a:lnTo>
                  <a:lnTo>
                    <a:pt x="10" y="206"/>
                  </a:lnTo>
                  <a:lnTo>
                    <a:pt x="10" y="208"/>
                  </a:lnTo>
                  <a:lnTo>
                    <a:pt x="7" y="211"/>
                  </a:lnTo>
                  <a:lnTo>
                    <a:pt x="7" y="213"/>
                  </a:lnTo>
                  <a:lnTo>
                    <a:pt x="5" y="213"/>
                  </a:lnTo>
                  <a:lnTo>
                    <a:pt x="5" y="216"/>
                  </a:lnTo>
                  <a:lnTo>
                    <a:pt x="5" y="218"/>
                  </a:lnTo>
                  <a:lnTo>
                    <a:pt x="2" y="221"/>
                  </a:lnTo>
                  <a:lnTo>
                    <a:pt x="2" y="223"/>
                  </a:lnTo>
                  <a:lnTo>
                    <a:pt x="2" y="226"/>
                  </a:lnTo>
                  <a:lnTo>
                    <a:pt x="0" y="228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8"/>
                  </a:lnTo>
                  <a:lnTo>
                    <a:pt x="0" y="240"/>
                  </a:lnTo>
                  <a:lnTo>
                    <a:pt x="0" y="243"/>
                  </a:lnTo>
                  <a:lnTo>
                    <a:pt x="0" y="245"/>
                  </a:lnTo>
                  <a:lnTo>
                    <a:pt x="0" y="248"/>
                  </a:lnTo>
                  <a:lnTo>
                    <a:pt x="2" y="250"/>
                  </a:lnTo>
                  <a:lnTo>
                    <a:pt x="2" y="253"/>
                  </a:lnTo>
                  <a:lnTo>
                    <a:pt x="2" y="253"/>
                  </a:lnTo>
                  <a:lnTo>
                    <a:pt x="5" y="255"/>
                  </a:lnTo>
                  <a:lnTo>
                    <a:pt x="5" y="257"/>
                  </a:lnTo>
                  <a:lnTo>
                    <a:pt x="5" y="260"/>
                  </a:lnTo>
                  <a:lnTo>
                    <a:pt x="7" y="262"/>
                  </a:lnTo>
                  <a:lnTo>
                    <a:pt x="7" y="265"/>
                  </a:lnTo>
                  <a:lnTo>
                    <a:pt x="10" y="265"/>
                  </a:lnTo>
                  <a:lnTo>
                    <a:pt x="10" y="267"/>
                  </a:lnTo>
                  <a:lnTo>
                    <a:pt x="12" y="270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7" y="275"/>
                  </a:lnTo>
                  <a:lnTo>
                    <a:pt x="20" y="275"/>
                  </a:lnTo>
                  <a:lnTo>
                    <a:pt x="22" y="277"/>
                  </a:lnTo>
                  <a:lnTo>
                    <a:pt x="22" y="280"/>
                  </a:lnTo>
                  <a:lnTo>
                    <a:pt x="25" y="280"/>
                  </a:lnTo>
                  <a:lnTo>
                    <a:pt x="27" y="280"/>
                  </a:lnTo>
                  <a:lnTo>
                    <a:pt x="29" y="282"/>
                  </a:lnTo>
                  <a:lnTo>
                    <a:pt x="32" y="282"/>
                  </a:lnTo>
                  <a:lnTo>
                    <a:pt x="34" y="282"/>
                  </a:lnTo>
                  <a:lnTo>
                    <a:pt x="34" y="284"/>
                  </a:lnTo>
                  <a:lnTo>
                    <a:pt x="37" y="284"/>
                  </a:lnTo>
                  <a:lnTo>
                    <a:pt x="39" y="284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7" y="284"/>
                  </a:lnTo>
                  <a:lnTo>
                    <a:pt x="49" y="284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9" y="284"/>
                  </a:lnTo>
                  <a:lnTo>
                    <a:pt x="61" y="284"/>
                  </a:lnTo>
                  <a:lnTo>
                    <a:pt x="64" y="282"/>
                  </a:lnTo>
                  <a:lnTo>
                    <a:pt x="66" y="282"/>
                  </a:lnTo>
                  <a:lnTo>
                    <a:pt x="69" y="280"/>
                  </a:lnTo>
                  <a:lnTo>
                    <a:pt x="71" y="280"/>
                  </a:lnTo>
                  <a:lnTo>
                    <a:pt x="74" y="277"/>
                  </a:lnTo>
                  <a:lnTo>
                    <a:pt x="76" y="275"/>
                  </a:lnTo>
                  <a:lnTo>
                    <a:pt x="79" y="275"/>
                  </a:lnTo>
                  <a:lnTo>
                    <a:pt x="79" y="272"/>
                  </a:lnTo>
                  <a:lnTo>
                    <a:pt x="81" y="270"/>
                  </a:lnTo>
                  <a:lnTo>
                    <a:pt x="84" y="267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128" y="208"/>
                  </a:lnTo>
                  <a:lnTo>
                    <a:pt x="170" y="265"/>
                  </a:lnTo>
                  <a:lnTo>
                    <a:pt x="170" y="265"/>
                  </a:lnTo>
                  <a:lnTo>
                    <a:pt x="170" y="265"/>
                  </a:lnTo>
                  <a:lnTo>
                    <a:pt x="172" y="267"/>
                  </a:lnTo>
                  <a:lnTo>
                    <a:pt x="174" y="270"/>
                  </a:lnTo>
                  <a:lnTo>
                    <a:pt x="174" y="272"/>
                  </a:lnTo>
                  <a:lnTo>
                    <a:pt x="177" y="275"/>
                  </a:lnTo>
                  <a:lnTo>
                    <a:pt x="179" y="275"/>
                  </a:lnTo>
                  <a:lnTo>
                    <a:pt x="182" y="277"/>
                  </a:lnTo>
                  <a:lnTo>
                    <a:pt x="184" y="280"/>
                  </a:lnTo>
                  <a:lnTo>
                    <a:pt x="187" y="280"/>
                  </a:lnTo>
                  <a:lnTo>
                    <a:pt x="189" y="282"/>
                  </a:lnTo>
                  <a:lnTo>
                    <a:pt x="192" y="282"/>
                  </a:lnTo>
                  <a:lnTo>
                    <a:pt x="194" y="284"/>
                  </a:lnTo>
                  <a:lnTo>
                    <a:pt x="197" y="284"/>
                  </a:lnTo>
                  <a:lnTo>
                    <a:pt x="199" y="284"/>
                  </a:lnTo>
                  <a:lnTo>
                    <a:pt x="201" y="284"/>
                  </a:lnTo>
                  <a:lnTo>
                    <a:pt x="206" y="284"/>
                  </a:lnTo>
                  <a:lnTo>
                    <a:pt x="209" y="284"/>
                  </a:lnTo>
                  <a:lnTo>
                    <a:pt x="211" y="284"/>
                  </a:lnTo>
                  <a:lnTo>
                    <a:pt x="214" y="284"/>
                  </a:lnTo>
                  <a:lnTo>
                    <a:pt x="216" y="284"/>
                  </a:lnTo>
                  <a:lnTo>
                    <a:pt x="219" y="284"/>
                  </a:lnTo>
                  <a:lnTo>
                    <a:pt x="221" y="284"/>
                  </a:lnTo>
                  <a:lnTo>
                    <a:pt x="221" y="282"/>
                  </a:lnTo>
                  <a:lnTo>
                    <a:pt x="224" y="282"/>
                  </a:lnTo>
                  <a:lnTo>
                    <a:pt x="226" y="282"/>
                  </a:lnTo>
                  <a:lnTo>
                    <a:pt x="228" y="280"/>
                  </a:lnTo>
                  <a:lnTo>
                    <a:pt x="231" y="280"/>
                  </a:lnTo>
                  <a:lnTo>
                    <a:pt x="233" y="280"/>
                  </a:lnTo>
                  <a:lnTo>
                    <a:pt x="233" y="277"/>
                  </a:lnTo>
                  <a:lnTo>
                    <a:pt x="236" y="275"/>
                  </a:lnTo>
                  <a:lnTo>
                    <a:pt x="238" y="275"/>
                  </a:lnTo>
                  <a:lnTo>
                    <a:pt x="241" y="272"/>
                  </a:lnTo>
                  <a:lnTo>
                    <a:pt x="241" y="272"/>
                  </a:lnTo>
                  <a:lnTo>
                    <a:pt x="243" y="270"/>
                  </a:lnTo>
                  <a:lnTo>
                    <a:pt x="246" y="267"/>
                  </a:lnTo>
                  <a:lnTo>
                    <a:pt x="246" y="265"/>
                  </a:lnTo>
                  <a:lnTo>
                    <a:pt x="248" y="265"/>
                  </a:lnTo>
                  <a:lnTo>
                    <a:pt x="248" y="262"/>
                  </a:lnTo>
                  <a:lnTo>
                    <a:pt x="251" y="260"/>
                  </a:lnTo>
                  <a:lnTo>
                    <a:pt x="251" y="257"/>
                  </a:lnTo>
                  <a:lnTo>
                    <a:pt x="251" y="255"/>
                  </a:lnTo>
                  <a:lnTo>
                    <a:pt x="253" y="253"/>
                  </a:lnTo>
                  <a:lnTo>
                    <a:pt x="253" y="253"/>
                  </a:lnTo>
                  <a:lnTo>
                    <a:pt x="253" y="250"/>
                  </a:lnTo>
                  <a:lnTo>
                    <a:pt x="255" y="248"/>
                  </a:lnTo>
                  <a:lnTo>
                    <a:pt x="255" y="245"/>
                  </a:lnTo>
                  <a:lnTo>
                    <a:pt x="255" y="243"/>
                  </a:lnTo>
                  <a:lnTo>
                    <a:pt x="255" y="240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0"/>
                  </a:lnTo>
                  <a:lnTo>
                    <a:pt x="255" y="228"/>
                  </a:lnTo>
                  <a:lnTo>
                    <a:pt x="253" y="226"/>
                  </a:lnTo>
                  <a:lnTo>
                    <a:pt x="253" y="223"/>
                  </a:lnTo>
                  <a:lnTo>
                    <a:pt x="253" y="221"/>
                  </a:lnTo>
                  <a:lnTo>
                    <a:pt x="251" y="218"/>
                  </a:lnTo>
                  <a:lnTo>
                    <a:pt x="251" y="216"/>
                  </a:lnTo>
                  <a:lnTo>
                    <a:pt x="251" y="213"/>
                  </a:lnTo>
                  <a:lnTo>
                    <a:pt x="248" y="213"/>
                  </a:lnTo>
                  <a:lnTo>
                    <a:pt x="248" y="211"/>
                  </a:lnTo>
                  <a:lnTo>
                    <a:pt x="246" y="208"/>
                  </a:lnTo>
                  <a:lnTo>
                    <a:pt x="246" y="206"/>
                  </a:lnTo>
                  <a:lnTo>
                    <a:pt x="243" y="204"/>
                  </a:lnTo>
                  <a:lnTo>
                    <a:pt x="241" y="204"/>
                  </a:lnTo>
                  <a:lnTo>
                    <a:pt x="241" y="201"/>
                  </a:lnTo>
                  <a:lnTo>
                    <a:pt x="238" y="201"/>
                  </a:lnTo>
                  <a:lnTo>
                    <a:pt x="236" y="199"/>
                  </a:lnTo>
                  <a:lnTo>
                    <a:pt x="233" y="196"/>
                  </a:lnTo>
                  <a:lnTo>
                    <a:pt x="233" y="196"/>
                  </a:lnTo>
                  <a:lnTo>
                    <a:pt x="231" y="194"/>
                  </a:lnTo>
                  <a:lnTo>
                    <a:pt x="228" y="194"/>
                  </a:lnTo>
                  <a:lnTo>
                    <a:pt x="226" y="194"/>
                  </a:lnTo>
                  <a:lnTo>
                    <a:pt x="224" y="191"/>
                  </a:lnTo>
                  <a:lnTo>
                    <a:pt x="221" y="191"/>
                  </a:lnTo>
                  <a:lnTo>
                    <a:pt x="221" y="191"/>
                  </a:lnTo>
                  <a:lnTo>
                    <a:pt x="219" y="189"/>
                  </a:lnTo>
                  <a:lnTo>
                    <a:pt x="216" y="189"/>
                  </a:lnTo>
                  <a:lnTo>
                    <a:pt x="214" y="189"/>
                  </a:lnTo>
                  <a:lnTo>
                    <a:pt x="211" y="189"/>
                  </a:lnTo>
                  <a:lnTo>
                    <a:pt x="209" y="189"/>
                  </a:lnTo>
                  <a:lnTo>
                    <a:pt x="206" y="189"/>
                  </a:lnTo>
                  <a:lnTo>
                    <a:pt x="201" y="189"/>
                  </a:lnTo>
                  <a:lnTo>
                    <a:pt x="199" y="189"/>
                  </a:lnTo>
                  <a:lnTo>
                    <a:pt x="197" y="191"/>
                  </a:lnTo>
                  <a:lnTo>
                    <a:pt x="194" y="191"/>
                  </a:lnTo>
                  <a:lnTo>
                    <a:pt x="192" y="191"/>
                  </a:lnTo>
                  <a:lnTo>
                    <a:pt x="189" y="194"/>
                  </a:lnTo>
                  <a:lnTo>
                    <a:pt x="187" y="194"/>
                  </a:lnTo>
                  <a:lnTo>
                    <a:pt x="184" y="196"/>
                  </a:lnTo>
                  <a:lnTo>
                    <a:pt x="165" y="167"/>
                  </a:lnTo>
                  <a:lnTo>
                    <a:pt x="157" y="177"/>
                  </a:lnTo>
                  <a:lnTo>
                    <a:pt x="174" y="204"/>
                  </a:lnTo>
                  <a:lnTo>
                    <a:pt x="172" y="204"/>
                  </a:lnTo>
                  <a:lnTo>
                    <a:pt x="172" y="206"/>
                  </a:lnTo>
                  <a:lnTo>
                    <a:pt x="172" y="208"/>
                  </a:lnTo>
                  <a:lnTo>
                    <a:pt x="170" y="208"/>
                  </a:lnTo>
                  <a:lnTo>
                    <a:pt x="170" y="211"/>
                  </a:lnTo>
                  <a:lnTo>
                    <a:pt x="167" y="211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67" y="216"/>
                  </a:lnTo>
                  <a:lnTo>
                    <a:pt x="165" y="216"/>
                  </a:lnTo>
                  <a:lnTo>
                    <a:pt x="165" y="218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2" y="223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2" y="228"/>
                  </a:lnTo>
                  <a:lnTo>
                    <a:pt x="160" y="233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2"/>
                  </a:lnTo>
                  <a:lnTo>
                    <a:pt x="29" y="49"/>
                  </a:lnTo>
                  <a:lnTo>
                    <a:pt x="27" y="47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32" y="32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7" y="25"/>
                  </a:lnTo>
                  <a:lnTo>
                    <a:pt x="37" y="22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118" y="120"/>
                  </a:lnTo>
                  <a:lnTo>
                    <a:pt x="125" y="110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  <a:moveTo>
                    <a:pt x="209" y="0"/>
                  </a:moveTo>
                  <a:lnTo>
                    <a:pt x="209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6" y="2"/>
                  </a:lnTo>
                  <a:lnTo>
                    <a:pt x="204" y="2"/>
                  </a:lnTo>
                  <a:lnTo>
                    <a:pt x="140" y="96"/>
                  </a:lnTo>
                  <a:lnTo>
                    <a:pt x="147" y="105"/>
                  </a:lnTo>
                  <a:lnTo>
                    <a:pt x="211" y="15"/>
                  </a:lnTo>
                  <a:lnTo>
                    <a:pt x="214" y="17"/>
                  </a:lnTo>
                  <a:lnTo>
                    <a:pt x="214" y="17"/>
                  </a:lnTo>
                  <a:lnTo>
                    <a:pt x="216" y="20"/>
                  </a:lnTo>
                  <a:lnTo>
                    <a:pt x="216" y="20"/>
                  </a:lnTo>
                  <a:lnTo>
                    <a:pt x="219" y="22"/>
                  </a:lnTo>
                  <a:lnTo>
                    <a:pt x="221" y="25"/>
                  </a:lnTo>
                  <a:lnTo>
                    <a:pt x="221" y="25"/>
                  </a:lnTo>
                  <a:lnTo>
                    <a:pt x="221" y="27"/>
                  </a:lnTo>
                  <a:lnTo>
                    <a:pt x="224" y="27"/>
                  </a:lnTo>
                  <a:lnTo>
                    <a:pt x="224" y="29"/>
                  </a:lnTo>
                  <a:lnTo>
                    <a:pt x="224" y="32"/>
                  </a:lnTo>
                  <a:lnTo>
                    <a:pt x="226" y="32"/>
                  </a:lnTo>
                  <a:lnTo>
                    <a:pt x="226" y="34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9"/>
                  </a:lnTo>
                  <a:lnTo>
                    <a:pt x="226" y="42"/>
                  </a:lnTo>
                  <a:lnTo>
                    <a:pt x="228" y="42"/>
                  </a:lnTo>
                  <a:lnTo>
                    <a:pt x="228" y="44"/>
                  </a:lnTo>
                  <a:lnTo>
                    <a:pt x="228" y="44"/>
                  </a:lnTo>
                  <a:lnTo>
                    <a:pt x="228" y="47"/>
                  </a:lnTo>
                  <a:lnTo>
                    <a:pt x="228" y="49"/>
                  </a:lnTo>
                  <a:lnTo>
                    <a:pt x="226" y="49"/>
                  </a:lnTo>
                  <a:lnTo>
                    <a:pt x="226" y="52"/>
                  </a:lnTo>
                  <a:lnTo>
                    <a:pt x="226" y="54"/>
                  </a:lnTo>
                  <a:lnTo>
                    <a:pt x="226" y="56"/>
                  </a:lnTo>
                  <a:lnTo>
                    <a:pt x="224" y="59"/>
                  </a:lnTo>
                  <a:lnTo>
                    <a:pt x="224" y="59"/>
                  </a:lnTo>
                  <a:lnTo>
                    <a:pt x="224" y="61"/>
                  </a:lnTo>
                  <a:lnTo>
                    <a:pt x="224" y="61"/>
                  </a:lnTo>
                  <a:lnTo>
                    <a:pt x="221" y="64"/>
                  </a:lnTo>
                  <a:lnTo>
                    <a:pt x="221" y="66"/>
                  </a:lnTo>
                  <a:lnTo>
                    <a:pt x="221" y="66"/>
                  </a:lnTo>
                  <a:lnTo>
                    <a:pt x="167" y="135"/>
                  </a:lnTo>
                  <a:lnTo>
                    <a:pt x="177" y="145"/>
                  </a:lnTo>
                  <a:lnTo>
                    <a:pt x="228" y="74"/>
                  </a:lnTo>
                  <a:lnTo>
                    <a:pt x="231" y="74"/>
                  </a:lnTo>
                  <a:lnTo>
                    <a:pt x="231" y="71"/>
                  </a:lnTo>
                  <a:lnTo>
                    <a:pt x="233" y="69"/>
                  </a:lnTo>
                  <a:lnTo>
                    <a:pt x="233" y="69"/>
                  </a:lnTo>
                  <a:lnTo>
                    <a:pt x="236" y="66"/>
                  </a:lnTo>
                  <a:lnTo>
                    <a:pt x="236" y="64"/>
                  </a:lnTo>
                  <a:lnTo>
                    <a:pt x="236" y="61"/>
                  </a:lnTo>
                  <a:lnTo>
                    <a:pt x="238" y="59"/>
                  </a:lnTo>
                  <a:lnTo>
                    <a:pt x="238" y="56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2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7"/>
                  </a:lnTo>
                  <a:lnTo>
                    <a:pt x="241" y="44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39"/>
                  </a:lnTo>
                  <a:lnTo>
                    <a:pt x="238" y="37"/>
                  </a:lnTo>
                  <a:lnTo>
                    <a:pt x="238" y="34"/>
                  </a:lnTo>
                  <a:lnTo>
                    <a:pt x="238" y="32"/>
                  </a:lnTo>
                  <a:lnTo>
                    <a:pt x="238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3" y="22"/>
                  </a:lnTo>
                  <a:lnTo>
                    <a:pt x="231" y="20"/>
                  </a:lnTo>
                  <a:lnTo>
                    <a:pt x="231" y="17"/>
                  </a:lnTo>
                  <a:lnTo>
                    <a:pt x="228" y="15"/>
                  </a:lnTo>
                  <a:lnTo>
                    <a:pt x="226" y="12"/>
                  </a:lnTo>
                  <a:lnTo>
                    <a:pt x="224" y="10"/>
                  </a:lnTo>
                  <a:lnTo>
                    <a:pt x="221" y="7"/>
                  </a:lnTo>
                  <a:lnTo>
                    <a:pt x="219" y="5"/>
                  </a:lnTo>
                  <a:lnTo>
                    <a:pt x="216" y="2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7" name="Group 85">
            <a:extLst>
              <a:ext uri="{FF2B5EF4-FFF2-40B4-BE49-F238E27FC236}">
                <a16:creationId xmlns:a16="http://schemas.microsoft.com/office/drawing/2014/main" id="{9D16C086-2F16-4F82-9642-9AF44BCF13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9304" y="1554317"/>
            <a:ext cx="841375" cy="841375"/>
            <a:chOff x="1655" y="1041"/>
            <a:chExt cx="530" cy="530"/>
          </a:xfrm>
        </p:grpSpPr>
        <p:sp>
          <p:nvSpPr>
            <p:cNvPr id="98" name="AutoShape 84">
              <a:extLst>
                <a:ext uri="{FF2B5EF4-FFF2-40B4-BE49-F238E27FC236}">
                  <a16:creationId xmlns:a16="http://schemas.microsoft.com/office/drawing/2014/main" id="{A8F8DEE6-DB22-4501-B344-8913261C16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55" y="104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86">
              <a:extLst>
                <a:ext uri="{FF2B5EF4-FFF2-40B4-BE49-F238E27FC236}">
                  <a16:creationId xmlns:a16="http://schemas.microsoft.com/office/drawing/2014/main" id="{52FD7414-3144-4F33-90AD-779305975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5" y="104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7">
              <a:extLst>
                <a:ext uri="{FF2B5EF4-FFF2-40B4-BE49-F238E27FC236}">
                  <a16:creationId xmlns:a16="http://schemas.microsoft.com/office/drawing/2014/main" id="{545D43F8-8DD5-45B9-9019-AD4E58A07F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3" y="105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8">
              <a:extLst>
                <a:ext uri="{FF2B5EF4-FFF2-40B4-BE49-F238E27FC236}">
                  <a16:creationId xmlns:a16="http://schemas.microsoft.com/office/drawing/2014/main" id="{E25042FA-CC8E-402C-952A-F865ACC13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8" y="1159"/>
              <a:ext cx="266" cy="297"/>
            </a:xfrm>
            <a:custGeom>
              <a:avLst/>
              <a:gdLst>
                <a:gd name="T0" fmla="*/ 128 w 266"/>
                <a:gd name="T1" fmla="*/ 151 h 297"/>
                <a:gd name="T2" fmla="*/ 131 w 266"/>
                <a:gd name="T3" fmla="*/ 161 h 297"/>
                <a:gd name="T4" fmla="*/ 143 w 266"/>
                <a:gd name="T5" fmla="*/ 164 h 297"/>
                <a:gd name="T6" fmla="*/ 149 w 266"/>
                <a:gd name="T7" fmla="*/ 153 h 297"/>
                <a:gd name="T8" fmla="*/ 143 w 266"/>
                <a:gd name="T9" fmla="*/ 143 h 297"/>
                <a:gd name="T10" fmla="*/ 36 w 266"/>
                <a:gd name="T11" fmla="*/ 281 h 297"/>
                <a:gd name="T12" fmla="*/ 21 w 266"/>
                <a:gd name="T13" fmla="*/ 269 h 297"/>
                <a:gd name="T14" fmla="*/ 13 w 266"/>
                <a:gd name="T15" fmla="*/ 248 h 297"/>
                <a:gd name="T16" fmla="*/ 21 w 266"/>
                <a:gd name="T17" fmla="*/ 228 h 297"/>
                <a:gd name="T18" fmla="*/ 36 w 266"/>
                <a:gd name="T19" fmla="*/ 212 h 297"/>
                <a:gd name="T20" fmla="*/ 56 w 266"/>
                <a:gd name="T21" fmla="*/ 212 h 297"/>
                <a:gd name="T22" fmla="*/ 74 w 266"/>
                <a:gd name="T23" fmla="*/ 222 h 297"/>
                <a:gd name="T24" fmla="*/ 85 w 266"/>
                <a:gd name="T25" fmla="*/ 240 h 297"/>
                <a:gd name="T26" fmla="*/ 82 w 266"/>
                <a:gd name="T27" fmla="*/ 261 h 297"/>
                <a:gd name="T28" fmla="*/ 69 w 266"/>
                <a:gd name="T29" fmla="*/ 279 h 297"/>
                <a:gd name="T30" fmla="*/ 49 w 266"/>
                <a:gd name="T31" fmla="*/ 284 h 297"/>
                <a:gd name="T32" fmla="*/ 197 w 266"/>
                <a:gd name="T33" fmla="*/ 279 h 297"/>
                <a:gd name="T34" fmla="*/ 184 w 266"/>
                <a:gd name="T35" fmla="*/ 263 h 297"/>
                <a:gd name="T36" fmla="*/ 182 w 266"/>
                <a:gd name="T37" fmla="*/ 243 h 297"/>
                <a:gd name="T38" fmla="*/ 190 w 266"/>
                <a:gd name="T39" fmla="*/ 222 h 297"/>
                <a:gd name="T40" fmla="*/ 207 w 266"/>
                <a:gd name="T41" fmla="*/ 212 h 297"/>
                <a:gd name="T42" fmla="*/ 230 w 266"/>
                <a:gd name="T43" fmla="*/ 212 h 297"/>
                <a:gd name="T44" fmla="*/ 246 w 266"/>
                <a:gd name="T45" fmla="*/ 225 h 297"/>
                <a:gd name="T46" fmla="*/ 254 w 266"/>
                <a:gd name="T47" fmla="*/ 245 h 297"/>
                <a:gd name="T48" fmla="*/ 248 w 266"/>
                <a:gd name="T49" fmla="*/ 266 h 297"/>
                <a:gd name="T50" fmla="*/ 233 w 266"/>
                <a:gd name="T51" fmla="*/ 281 h 297"/>
                <a:gd name="T52" fmla="*/ 97 w 266"/>
                <a:gd name="T53" fmla="*/ 238 h 297"/>
                <a:gd name="T54" fmla="*/ 90 w 266"/>
                <a:gd name="T55" fmla="*/ 220 h 297"/>
                <a:gd name="T56" fmla="*/ 46 w 266"/>
                <a:gd name="T57" fmla="*/ 0 h 297"/>
                <a:gd name="T58" fmla="*/ 21 w 266"/>
                <a:gd name="T59" fmla="*/ 25 h 297"/>
                <a:gd name="T60" fmla="*/ 15 w 266"/>
                <a:gd name="T61" fmla="*/ 51 h 297"/>
                <a:gd name="T62" fmla="*/ 26 w 266"/>
                <a:gd name="T63" fmla="*/ 76 h 297"/>
                <a:gd name="T64" fmla="*/ 49 w 266"/>
                <a:gd name="T65" fmla="*/ 197 h 297"/>
                <a:gd name="T66" fmla="*/ 23 w 266"/>
                <a:gd name="T67" fmla="*/ 205 h 297"/>
                <a:gd name="T68" fmla="*/ 5 w 266"/>
                <a:gd name="T69" fmla="*/ 228 h 297"/>
                <a:gd name="T70" fmla="*/ 0 w 266"/>
                <a:gd name="T71" fmla="*/ 258 h 297"/>
                <a:gd name="T72" fmla="*/ 15 w 266"/>
                <a:gd name="T73" fmla="*/ 284 h 297"/>
                <a:gd name="T74" fmla="*/ 38 w 266"/>
                <a:gd name="T75" fmla="*/ 297 h 297"/>
                <a:gd name="T76" fmla="*/ 72 w 266"/>
                <a:gd name="T77" fmla="*/ 292 h 297"/>
                <a:gd name="T78" fmla="*/ 177 w 266"/>
                <a:gd name="T79" fmla="*/ 276 h 297"/>
                <a:gd name="T80" fmla="*/ 202 w 266"/>
                <a:gd name="T81" fmla="*/ 297 h 297"/>
                <a:gd name="T82" fmla="*/ 233 w 266"/>
                <a:gd name="T83" fmla="*/ 294 h 297"/>
                <a:gd name="T84" fmla="*/ 256 w 266"/>
                <a:gd name="T85" fmla="*/ 276 h 297"/>
                <a:gd name="T86" fmla="*/ 266 w 266"/>
                <a:gd name="T87" fmla="*/ 251 h 297"/>
                <a:gd name="T88" fmla="*/ 259 w 266"/>
                <a:gd name="T89" fmla="*/ 220 h 297"/>
                <a:gd name="T90" fmla="*/ 236 w 266"/>
                <a:gd name="T91" fmla="*/ 202 h 297"/>
                <a:gd name="T92" fmla="*/ 205 w 266"/>
                <a:gd name="T93" fmla="*/ 199 h 297"/>
                <a:gd name="T94" fmla="*/ 177 w 266"/>
                <a:gd name="T95" fmla="*/ 217 h 297"/>
                <a:gd name="T96" fmla="*/ 169 w 266"/>
                <a:gd name="T97" fmla="*/ 235 h 297"/>
                <a:gd name="T98" fmla="*/ 31 w 266"/>
                <a:gd name="T99" fmla="*/ 56 h 297"/>
                <a:gd name="T100" fmla="*/ 31 w 266"/>
                <a:gd name="T101" fmla="*/ 33 h 297"/>
                <a:gd name="T102" fmla="*/ 46 w 266"/>
                <a:gd name="T103" fmla="*/ 15 h 297"/>
                <a:gd name="T104" fmla="*/ 49 w 266"/>
                <a:gd name="T105" fmla="*/ 0 h 297"/>
                <a:gd name="T106" fmla="*/ 154 w 266"/>
                <a:gd name="T107" fmla="*/ 110 h 297"/>
                <a:gd name="T108" fmla="*/ 233 w 266"/>
                <a:gd name="T109" fmla="*/ 33 h 297"/>
                <a:gd name="T110" fmla="*/ 236 w 266"/>
                <a:gd name="T111" fmla="*/ 51 h 297"/>
                <a:gd name="T112" fmla="*/ 184 w 266"/>
                <a:gd name="T113" fmla="*/ 151 h 297"/>
                <a:gd name="T114" fmla="*/ 248 w 266"/>
                <a:gd name="T115" fmla="*/ 56 h 297"/>
                <a:gd name="T116" fmla="*/ 248 w 266"/>
                <a:gd name="T117" fmla="*/ 30 h 297"/>
                <a:gd name="T118" fmla="*/ 223 w 266"/>
                <a:gd name="T11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6" h="297">
                  <a:moveTo>
                    <a:pt x="138" y="143"/>
                  </a:moveTo>
                  <a:lnTo>
                    <a:pt x="136" y="143"/>
                  </a:lnTo>
                  <a:lnTo>
                    <a:pt x="136" y="143"/>
                  </a:lnTo>
                  <a:lnTo>
                    <a:pt x="136" y="143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1" y="146"/>
                  </a:lnTo>
                  <a:lnTo>
                    <a:pt x="131" y="148"/>
                  </a:lnTo>
                  <a:lnTo>
                    <a:pt x="131" y="148"/>
                  </a:lnTo>
                  <a:lnTo>
                    <a:pt x="131" y="148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8"/>
                  </a:lnTo>
                  <a:lnTo>
                    <a:pt x="131" y="158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33" y="161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38" y="164"/>
                  </a:lnTo>
                  <a:lnTo>
                    <a:pt x="141" y="164"/>
                  </a:lnTo>
                  <a:lnTo>
                    <a:pt x="141" y="164"/>
                  </a:lnTo>
                  <a:lnTo>
                    <a:pt x="141" y="164"/>
                  </a:lnTo>
                  <a:lnTo>
                    <a:pt x="143" y="164"/>
                  </a:lnTo>
                  <a:lnTo>
                    <a:pt x="143" y="164"/>
                  </a:lnTo>
                  <a:lnTo>
                    <a:pt x="143" y="164"/>
                  </a:lnTo>
                  <a:lnTo>
                    <a:pt x="146" y="161"/>
                  </a:lnTo>
                  <a:lnTo>
                    <a:pt x="146" y="161"/>
                  </a:lnTo>
                  <a:lnTo>
                    <a:pt x="146" y="161"/>
                  </a:lnTo>
                  <a:lnTo>
                    <a:pt x="149" y="161"/>
                  </a:lnTo>
                  <a:lnTo>
                    <a:pt x="149" y="158"/>
                  </a:lnTo>
                  <a:lnTo>
                    <a:pt x="149" y="158"/>
                  </a:lnTo>
                  <a:lnTo>
                    <a:pt x="149" y="156"/>
                  </a:lnTo>
                  <a:lnTo>
                    <a:pt x="149" y="156"/>
                  </a:lnTo>
                  <a:lnTo>
                    <a:pt x="149" y="156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49" y="148"/>
                  </a:lnTo>
                  <a:lnTo>
                    <a:pt x="149" y="148"/>
                  </a:lnTo>
                  <a:lnTo>
                    <a:pt x="146" y="148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3"/>
                  </a:lnTo>
                  <a:lnTo>
                    <a:pt x="141" y="143"/>
                  </a:lnTo>
                  <a:lnTo>
                    <a:pt x="141" y="143"/>
                  </a:lnTo>
                  <a:lnTo>
                    <a:pt x="141" y="143"/>
                  </a:lnTo>
                  <a:lnTo>
                    <a:pt x="138" y="143"/>
                  </a:lnTo>
                  <a:lnTo>
                    <a:pt x="138" y="143"/>
                  </a:lnTo>
                  <a:close/>
                  <a:moveTo>
                    <a:pt x="46" y="284"/>
                  </a:moveTo>
                  <a:lnTo>
                    <a:pt x="44" y="284"/>
                  </a:lnTo>
                  <a:lnTo>
                    <a:pt x="41" y="284"/>
                  </a:lnTo>
                  <a:lnTo>
                    <a:pt x="41" y="284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81"/>
                  </a:lnTo>
                  <a:lnTo>
                    <a:pt x="33" y="281"/>
                  </a:lnTo>
                  <a:lnTo>
                    <a:pt x="33" y="279"/>
                  </a:lnTo>
                  <a:lnTo>
                    <a:pt x="31" y="279"/>
                  </a:lnTo>
                  <a:lnTo>
                    <a:pt x="28" y="279"/>
                  </a:lnTo>
                  <a:lnTo>
                    <a:pt x="28" y="276"/>
                  </a:lnTo>
                  <a:lnTo>
                    <a:pt x="26" y="276"/>
                  </a:lnTo>
                  <a:lnTo>
                    <a:pt x="26" y="274"/>
                  </a:lnTo>
                  <a:lnTo>
                    <a:pt x="23" y="274"/>
                  </a:lnTo>
                  <a:lnTo>
                    <a:pt x="23" y="271"/>
                  </a:lnTo>
                  <a:lnTo>
                    <a:pt x="21" y="271"/>
                  </a:lnTo>
                  <a:lnTo>
                    <a:pt x="21" y="269"/>
                  </a:lnTo>
                  <a:lnTo>
                    <a:pt x="21" y="269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3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3" y="256"/>
                  </a:lnTo>
                  <a:lnTo>
                    <a:pt x="13" y="253"/>
                  </a:lnTo>
                  <a:lnTo>
                    <a:pt x="13" y="251"/>
                  </a:lnTo>
                  <a:lnTo>
                    <a:pt x="13" y="248"/>
                  </a:lnTo>
                  <a:lnTo>
                    <a:pt x="13" y="248"/>
                  </a:lnTo>
                  <a:lnTo>
                    <a:pt x="13" y="245"/>
                  </a:lnTo>
                  <a:lnTo>
                    <a:pt x="13" y="243"/>
                  </a:lnTo>
                  <a:lnTo>
                    <a:pt x="13" y="243"/>
                  </a:lnTo>
                  <a:lnTo>
                    <a:pt x="13" y="240"/>
                  </a:lnTo>
                  <a:lnTo>
                    <a:pt x="15" y="238"/>
                  </a:lnTo>
                  <a:lnTo>
                    <a:pt x="15" y="235"/>
                  </a:lnTo>
                  <a:lnTo>
                    <a:pt x="15" y="235"/>
                  </a:lnTo>
                  <a:lnTo>
                    <a:pt x="15" y="233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8"/>
                  </a:lnTo>
                  <a:lnTo>
                    <a:pt x="21" y="228"/>
                  </a:lnTo>
                  <a:lnTo>
                    <a:pt x="21" y="225"/>
                  </a:lnTo>
                  <a:lnTo>
                    <a:pt x="21" y="225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6" y="220"/>
                  </a:lnTo>
                  <a:lnTo>
                    <a:pt x="26" y="220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31" y="215"/>
                  </a:lnTo>
                  <a:lnTo>
                    <a:pt x="33" y="215"/>
                  </a:lnTo>
                  <a:lnTo>
                    <a:pt x="33" y="215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8" y="212"/>
                  </a:lnTo>
                  <a:lnTo>
                    <a:pt x="41" y="212"/>
                  </a:lnTo>
                  <a:lnTo>
                    <a:pt x="41" y="212"/>
                  </a:lnTo>
                  <a:lnTo>
                    <a:pt x="44" y="210"/>
                  </a:lnTo>
                  <a:lnTo>
                    <a:pt x="46" y="210"/>
                  </a:lnTo>
                  <a:lnTo>
                    <a:pt x="49" y="210"/>
                  </a:lnTo>
                  <a:lnTo>
                    <a:pt x="49" y="210"/>
                  </a:lnTo>
                  <a:lnTo>
                    <a:pt x="51" y="210"/>
                  </a:lnTo>
                  <a:lnTo>
                    <a:pt x="54" y="210"/>
                  </a:lnTo>
                  <a:lnTo>
                    <a:pt x="54" y="210"/>
                  </a:lnTo>
                  <a:lnTo>
                    <a:pt x="56" y="212"/>
                  </a:lnTo>
                  <a:lnTo>
                    <a:pt x="59" y="212"/>
                  </a:lnTo>
                  <a:lnTo>
                    <a:pt x="59" y="212"/>
                  </a:lnTo>
                  <a:lnTo>
                    <a:pt x="61" y="212"/>
                  </a:lnTo>
                  <a:lnTo>
                    <a:pt x="64" y="212"/>
                  </a:lnTo>
                  <a:lnTo>
                    <a:pt x="64" y="215"/>
                  </a:lnTo>
                  <a:lnTo>
                    <a:pt x="67" y="215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2" y="217"/>
                  </a:lnTo>
                  <a:lnTo>
                    <a:pt x="72" y="220"/>
                  </a:lnTo>
                  <a:lnTo>
                    <a:pt x="74" y="220"/>
                  </a:lnTo>
                  <a:lnTo>
                    <a:pt x="74" y="222"/>
                  </a:lnTo>
                  <a:lnTo>
                    <a:pt x="77" y="222"/>
                  </a:lnTo>
                  <a:lnTo>
                    <a:pt x="77" y="225"/>
                  </a:lnTo>
                  <a:lnTo>
                    <a:pt x="79" y="225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82" y="230"/>
                  </a:lnTo>
                  <a:lnTo>
                    <a:pt x="82" y="230"/>
                  </a:lnTo>
                  <a:lnTo>
                    <a:pt x="82" y="233"/>
                  </a:lnTo>
                  <a:lnTo>
                    <a:pt x="85" y="235"/>
                  </a:lnTo>
                  <a:lnTo>
                    <a:pt x="85" y="235"/>
                  </a:lnTo>
                  <a:lnTo>
                    <a:pt x="85" y="238"/>
                  </a:lnTo>
                  <a:lnTo>
                    <a:pt x="85" y="240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5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5" y="251"/>
                  </a:lnTo>
                  <a:lnTo>
                    <a:pt x="85" y="253"/>
                  </a:lnTo>
                  <a:lnTo>
                    <a:pt x="85" y="256"/>
                  </a:lnTo>
                  <a:lnTo>
                    <a:pt x="85" y="256"/>
                  </a:lnTo>
                  <a:lnTo>
                    <a:pt x="85" y="258"/>
                  </a:lnTo>
                  <a:lnTo>
                    <a:pt x="85" y="261"/>
                  </a:lnTo>
                  <a:lnTo>
                    <a:pt x="82" y="261"/>
                  </a:lnTo>
                  <a:lnTo>
                    <a:pt x="82" y="263"/>
                  </a:lnTo>
                  <a:lnTo>
                    <a:pt x="82" y="266"/>
                  </a:lnTo>
                  <a:lnTo>
                    <a:pt x="79" y="266"/>
                  </a:lnTo>
                  <a:lnTo>
                    <a:pt x="79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7" y="271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7" y="279"/>
                  </a:lnTo>
                  <a:lnTo>
                    <a:pt x="64" y="281"/>
                  </a:lnTo>
                  <a:lnTo>
                    <a:pt x="64" y="281"/>
                  </a:lnTo>
                  <a:lnTo>
                    <a:pt x="61" y="281"/>
                  </a:lnTo>
                  <a:lnTo>
                    <a:pt x="59" y="281"/>
                  </a:lnTo>
                  <a:lnTo>
                    <a:pt x="59" y="284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4"/>
                  </a:lnTo>
                  <a:lnTo>
                    <a:pt x="51" y="284"/>
                  </a:lnTo>
                  <a:lnTo>
                    <a:pt x="49" y="284"/>
                  </a:lnTo>
                  <a:lnTo>
                    <a:pt x="49" y="284"/>
                  </a:lnTo>
                  <a:lnTo>
                    <a:pt x="46" y="284"/>
                  </a:lnTo>
                  <a:close/>
                  <a:moveTo>
                    <a:pt x="213" y="284"/>
                  </a:moveTo>
                  <a:lnTo>
                    <a:pt x="213" y="284"/>
                  </a:lnTo>
                  <a:lnTo>
                    <a:pt x="210" y="284"/>
                  </a:lnTo>
                  <a:lnTo>
                    <a:pt x="207" y="284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0" y="279"/>
                  </a:lnTo>
                  <a:lnTo>
                    <a:pt x="197" y="279"/>
                  </a:lnTo>
                  <a:lnTo>
                    <a:pt x="197" y="279"/>
                  </a:lnTo>
                  <a:lnTo>
                    <a:pt x="195" y="276"/>
                  </a:lnTo>
                  <a:lnTo>
                    <a:pt x="195" y="276"/>
                  </a:lnTo>
                  <a:lnTo>
                    <a:pt x="192" y="274"/>
                  </a:lnTo>
                  <a:lnTo>
                    <a:pt x="192" y="274"/>
                  </a:lnTo>
                  <a:lnTo>
                    <a:pt x="190" y="271"/>
                  </a:lnTo>
                  <a:lnTo>
                    <a:pt x="190" y="271"/>
                  </a:lnTo>
                  <a:lnTo>
                    <a:pt x="187" y="269"/>
                  </a:lnTo>
                  <a:lnTo>
                    <a:pt x="187" y="269"/>
                  </a:lnTo>
                  <a:lnTo>
                    <a:pt x="187" y="266"/>
                  </a:lnTo>
                  <a:lnTo>
                    <a:pt x="184" y="266"/>
                  </a:lnTo>
                  <a:lnTo>
                    <a:pt x="184" y="263"/>
                  </a:lnTo>
                  <a:lnTo>
                    <a:pt x="184" y="261"/>
                  </a:lnTo>
                  <a:lnTo>
                    <a:pt x="182" y="261"/>
                  </a:lnTo>
                  <a:lnTo>
                    <a:pt x="182" y="258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3"/>
                  </a:lnTo>
                  <a:lnTo>
                    <a:pt x="182" y="251"/>
                  </a:lnTo>
                  <a:lnTo>
                    <a:pt x="182" y="248"/>
                  </a:lnTo>
                  <a:lnTo>
                    <a:pt x="182" y="248"/>
                  </a:lnTo>
                  <a:lnTo>
                    <a:pt x="182" y="245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0"/>
                  </a:lnTo>
                  <a:lnTo>
                    <a:pt x="182" y="238"/>
                  </a:lnTo>
                  <a:lnTo>
                    <a:pt x="182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0"/>
                  </a:lnTo>
                  <a:lnTo>
                    <a:pt x="184" y="230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5"/>
                  </a:lnTo>
                  <a:lnTo>
                    <a:pt x="190" y="225"/>
                  </a:lnTo>
                  <a:lnTo>
                    <a:pt x="190" y="222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5" y="220"/>
                  </a:lnTo>
                  <a:lnTo>
                    <a:pt x="195" y="217"/>
                  </a:lnTo>
                  <a:lnTo>
                    <a:pt x="197" y="217"/>
                  </a:lnTo>
                  <a:lnTo>
                    <a:pt x="197" y="215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2" y="212"/>
                  </a:lnTo>
                  <a:lnTo>
                    <a:pt x="205" y="212"/>
                  </a:lnTo>
                  <a:lnTo>
                    <a:pt x="207" y="212"/>
                  </a:lnTo>
                  <a:lnTo>
                    <a:pt x="207" y="212"/>
                  </a:lnTo>
                  <a:lnTo>
                    <a:pt x="210" y="212"/>
                  </a:lnTo>
                  <a:lnTo>
                    <a:pt x="213" y="210"/>
                  </a:lnTo>
                  <a:lnTo>
                    <a:pt x="213" y="210"/>
                  </a:lnTo>
                  <a:lnTo>
                    <a:pt x="215" y="210"/>
                  </a:lnTo>
                  <a:lnTo>
                    <a:pt x="218" y="210"/>
                  </a:lnTo>
                  <a:lnTo>
                    <a:pt x="218" y="210"/>
                  </a:lnTo>
                  <a:lnTo>
                    <a:pt x="220" y="210"/>
                  </a:lnTo>
                  <a:lnTo>
                    <a:pt x="223" y="210"/>
                  </a:lnTo>
                  <a:lnTo>
                    <a:pt x="225" y="212"/>
                  </a:lnTo>
                  <a:lnTo>
                    <a:pt x="225" y="212"/>
                  </a:lnTo>
                  <a:lnTo>
                    <a:pt x="228" y="212"/>
                  </a:lnTo>
                  <a:lnTo>
                    <a:pt x="230" y="212"/>
                  </a:lnTo>
                  <a:lnTo>
                    <a:pt x="230" y="212"/>
                  </a:lnTo>
                  <a:lnTo>
                    <a:pt x="233" y="215"/>
                  </a:lnTo>
                  <a:lnTo>
                    <a:pt x="233" y="215"/>
                  </a:lnTo>
                  <a:lnTo>
                    <a:pt x="236" y="215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41" y="220"/>
                  </a:lnTo>
                  <a:lnTo>
                    <a:pt x="241" y="220"/>
                  </a:lnTo>
                  <a:lnTo>
                    <a:pt x="243" y="222"/>
                  </a:lnTo>
                  <a:lnTo>
                    <a:pt x="243" y="222"/>
                  </a:lnTo>
                  <a:lnTo>
                    <a:pt x="246" y="225"/>
                  </a:lnTo>
                  <a:lnTo>
                    <a:pt x="246" y="225"/>
                  </a:lnTo>
                  <a:lnTo>
                    <a:pt x="246" y="228"/>
                  </a:lnTo>
                  <a:lnTo>
                    <a:pt x="248" y="228"/>
                  </a:lnTo>
                  <a:lnTo>
                    <a:pt x="248" y="230"/>
                  </a:lnTo>
                  <a:lnTo>
                    <a:pt x="248" y="230"/>
                  </a:lnTo>
                  <a:lnTo>
                    <a:pt x="251" y="233"/>
                  </a:lnTo>
                  <a:lnTo>
                    <a:pt x="251" y="235"/>
                  </a:lnTo>
                  <a:lnTo>
                    <a:pt x="251" y="235"/>
                  </a:lnTo>
                  <a:lnTo>
                    <a:pt x="251" y="238"/>
                  </a:lnTo>
                  <a:lnTo>
                    <a:pt x="254" y="240"/>
                  </a:lnTo>
                  <a:lnTo>
                    <a:pt x="254" y="243"/>
                  </a:lnTo>
                  <a:lnTo>
                    <a:pt x="254" y="243"/>
                  </a:lnTo>
                  <a:lnTo>
                    <a:pt x="254" y="245"/>
                  </a:lnTo>
                  <a:lnTo>
                    <a:pt x="254" y="248"/>
                  </a:lnTo>
                  <a:lnTo>
                    <a:pt x="254" y="248"/>
                  </a:lnTo>
                  <a:lnTo>
                    <a:pt x="254" y="251"/>
                  </a:lnTo>
                  <a:lnTo>
                    <a:pt x="254" y="253"/>
                  </a:lnTo>
                  <a:lnTo>
                    <a:pt x="254" y="256"/>
                  </a:lnTo>
                  <a:lnTo>
                    <a:pt x="251" y="256"/>
                  </a:lnTo>
                  <a:lnTo>
                    <a:pt x="251" y="258"/>
                  </a:lnTo>
                  <a:lnTo>
                    <a:pt x="251" y="261"/>
                  </a:lnTo>
                  <a:lnTo>
                    <a:pt x="251" y="261"/>
                  </a:lnTo>
                  <a:lnTo>
                    <a:pt x="248" y="263"/>
                  </a:lnTo>
                  <a:lnTo>
                    <a:pt x="248" y="266"/>
                  </a:lnTo>
                  <a:lnTo>
                    <a:pt x="248" y="266"/>
                  </a:lnTo>
                  <a:lnTo>
                    <a:pt x="246" y="269"/>
                  </a:lnTo>
                  <a:lnTo>
                    <a:pt x="246" y="269"/>
                  </a:lnTo>
                  <a:lnTo>
                    <a:pt x="246" y="271"/>
                  </a:lnTo>
                  <a:lnTo>
                    <a:pt x="243" y="271"/>
                  </a:lnTo>
                  <a:lnTo>
                    <a:pt x="243" y="274"/>
                  </a:lnTo>
                  <a:lnTo>
                    <a:pt x="241" y="274"/>
                  </a:lnTo>
                  <a:lnTo>
                    <a:pt x="241" y="276"/>
                  </a:lnTo>
                  <a:lnTo>
                    <a:pt x="238" y="276"/>
                  </a:lnTo>
                  <a:lnTo>
                    <a:pt x="238" y="279"/>
                  </a:lnTo>
                  <a:lnTo>
                    <a:pt x="236" y="279"/>
                  </a:lnTo>
                  <a:lnTo>
                    <a:pt x="233" y="279"/>
                  </a:lnTo>
                  <a:lnTo>
                    <a:pt x="233" y="281"/>
                  </a:lnTo>
                  <a:lnTo>
                    <a:pt x="230" y="281"/>
                  </a:lnTo>
                  <a:lnTo>
                    <a:pt x="230" y="281"/>
                  </a:lnTo>
                  <a:lnTo>
                    <a:pt x="228" y="281"/>
                  </a:lnTo>
                  <a:lnTo>
                    <a:pt x="225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0" y="284"/>
                  </a:lnTo>
                  <a:lnTo>
                    <a:pt x="218" y="284"/>
                  </a:lnTo>
                  <a:lnTo>
                    <a:pt x="218" y="284"/>
                  </a:lnTo>
                  <a:lnTo>
                    <a:pt x="215" y="284"/>
                  </a:lnTo>
                  <a:lnTo>
                    <a:pt x="213" y="284"/>
                  </a:lnTo>
                  <a:close/>
                  <a:moveTo>
                    <a:pt x="97" y="238"/>
                  </a:moveTo>
                  <a:lnTo>
                    <a:pt x="97" y="235"/>
                  </a:lnTo>
                  <a:lnTo>
                    <a:pt x="97" y="235"/>
                  </a:lnTo>
                  <a:lnTo>
                    <a:pt x="97" y="233"/>
                  </a:lnTo>
                  <a:lnTo>
                    <a:pt x="95" y="230"/>
                  </a:lnTo>
                  <a:lnTo>
                    <a:pt x="95" y="230"/>
                  </a:lnTo>
                  <a:lnTo>
                    <a:pt x="95" y="228"/>
                  </a:lnTo>
                  <a:lnTo>
                    <a:pt x="95" y="225"/>
                  </a:lnTo>
                  <a:lnTo>
                    <a:pt x="92" y="225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0"/>
                  </a:lnTo>
                  <a:lnTo>
                    <a:pt x="90" y="220"/>
                  </a:lnTo>
                  <a:lnTo>
                    <a:pt x="90" y="217"/>
                  </a:lnTo>
                  <a:lnTo>
                    <a:pt x="87" y="217"/>
                  </a:lnTo>
                  <a:lnTo>
                    <a:pt x="87" y="215"/>
                  </a:lnTo>
                  <a:lnTo>
                    <a:pt x="87" y="215"/>
                  </a:lnTo>
                  <a:lnTo>
                    <a:pt x="85" y="212"/>
                  </a:lnTo>
                  <a:lnTo>
                    <a:pt x="105" y="181"/>
                  </a:lnTo>
                  <a:lnTo>
                    <a:pt x="125" y="207"/>
                  </a:lnTo>
                  <a:lnTo>
                    <a:pt x="97" y="243"/>
                  </a:lnTo>
                  <a:lnTo>
                    <a:pt x="97" y="238"/>
                  </a:lnTo>
                  <a:close/>
                  <a:moveTo>
                    <a:pt x="49" y="0"/>
                  </a:move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1" y="2"/>
                  </a:lnTo>
                  <a:lnTo>
                    <a:pt x="38" y="5"/>
                  </a:lnTo>
                  <a:lnTo>
                    <a:pt x="36" y="7"/>
                  </a:lnTo>
                  <a:lnTo>
                    <a:pt x="33" y="10"/>
                  </a:lnTo>
                  <a:lnTo>
                    <a:pt x="31" y="12"/>
                  </a:lnTo>
                  <a:lnTo>
                    <a:pt x="28" y="15"/>
                  </a:lnTo>
                  <a:lnTo>
                    <a:pt x="26" y="18"/>
                  </a:lnTo>
                  <a:lnTo>
                    <a:pt x="26" y="20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8"/>
                  </a:lnTo>
                  <a:lnTo>
                    <a:pt x="21" y="30"/>
                  </a:lnTo>
                  <a:lnTo>
                    <a:pt x="18" y="33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8" y="53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9"/>
                  </a:lnTo>
                  <a:lnTo>
                    <a:pt x="18" y="61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97" y="171"/>
                  </a:lnTo>
                  <a:lnTo>
                    <a:pt x="74" y="205"/>
                  </a:lnTo>
                  <a:lnTo>
                    <a:pt x="72" y="202"/>
                  </a:lnTo>
                  <a:lnTo>
                    <a:pt x="69" y="202"/>
                  </a:lnTo>
                  <a:lnTo>
                    <a:pt x="67" y="199"/>
                  </a:lnTo>
                  <a:lnTo>
                    <a:pt x="64" y="199"/>
                  </a:lnTo>
                  <a:lnTo>
                    <a:pt x="61" y="199"/>
                  </a:lnTo>
                  <a:lnTo>
                    <a:pt x="59" y="197"/>
                  </a:lnTo>
                  <a:lnTo>
                    <a:pt x="56" y="197"/>
                  </a:lnTo>
                  <a:lnTo>
                    <a:pt x="51" y="197"/>
                  </a:lnTo>
                  <a:lnTo>
                    <a:pt x="49" y="197"/>
                  </a:lnTo>
                  <a:lnTo>
                    <a:pt x="46" y="197"/>
                  </a:lnTo>
                  <a:lnTo>
                    <a:pt x="44" y="197"/>
                  </a:lnTo>
                  <a:lnTo>
                    <a:pt x="41" y="197"/>
                  </a:lnTo>
                  <a:lnTo>
                    <a:pt x="38" y="197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3" y="199"/>
                  </a:lnTo>
                  <a:lnTo>
                    <a:pt x="31" y="202"/>
                  </a:lnTo>
                  <a:lnTo>
                    <a:pt x="28" y="202"/>
                  </a:lnTo>
                  <a:lnTo>
                    <a:pt x="26" y="202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1" y="207"/>
                  </a:lnTo>
                  <a:lnTo>
                    <a:pt x="18" y="210"/>
                  </a:lnTo>
                  <a:lnTo>
                    <a:pt x="15" y="210"/>
                  </a:lnTo>
                  <a:lnTo>
                    <a:pt x="15" y="212"/>
                  </a:lnTo>
                  <a:lnTo>
                    <a:pt x="13" y="212"/>
                  </a:lnTo>
                  <a:lnTo>
                    <a:pt x="10" y="215"/>
                  </a:lnTo>
                  <a:lnTo>
                    <a:pt x="10" y="217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5" y="222"/>
                  </a:lnTo>
                  <a:lnTo>
                    <a:pt x="5" y="225"/>
                  </a:lnTo>
                  <a:lnTo>
                    <a:pt x="5" y="228"/>
                  </a:lnTo>
                  <a:lnTo>
                    <a:pt x="3" y="230"/>
                  </a:lnTo>
                  <a:lnTo>
                    <a:pt x="3" y="233"/>
                  </a:lnTo>
                  <a:lnTo>
                    <a:pt x="3" y="235"/>
                  </a:lnTo>
                  <a:lnTo>
                    <a:pt x="0" y="238"/>
                  </a:lnTo>
                  <a:lnTo>
                    <a:pt x="0" y="240"/>
                  </a:lnTo>
                  <a:lnTo>
                    <a:pt x="0" y="243"/>
                  </a:lnTo>
                  <a:lnTo>
                    <a:pt x="0" y="245"/>
                  </a:lnTo>
                  <a:lnTo>
                    <a:pt x="0" y="248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256"/>
                  </a:lnTo>
                  <a:lnTo>
                    <a:pt x="0" y="258"/>
                  </a:lnTo>
                  <a:lnTo>
                    <a:pt x="3" y="261"/>
                  </a:lnTo>
                  <a:lnTo>
                    <a:pt x="3" y="263"/>
                  </a:lnTo>
                  <a:lnTo>
                    <a:pt x="3" y="263"/>
                  </a:lnTo>
                  <a:lnTo>
                    <a:pt x="5" y="266"/>
                  </a:lnTo>
                  <a:lnTo>
                    <a:pt x="5" y="269"/>
                  </a:lnTo>
                  <a:lnTo>
                    <a:pt x="5" y="271"/>
                  </a:lnTo>
                  <a:lnTo>
                    <a:pt x="8" y="274"/>
                  </a:lnTo>
                  <a:lnTo>
                    <a:pt x="8" y="276"/>
                  </a:lnTo>
                  <a:lnTo>
                    <a:pt x="10" y="276"/>
                  </a:lnTo>
                  <a:lnTo>
                    <a:pt x="10" y="279"/>
                  </a:lnTo>
                  <a:lnTo>
                    <a:pt x="13" y="281"/>
                  </a:lnTo>
                  <a:lnTo>
                    <a:pt x="15" y="284"/>
                  </a:lnTo>
                  <a:lnTo>
                    <a:pt x="15" y="284"/>
                  </a:lnTo>
                  <a:lnTo>
                    <a:pt x="18" y="286"/>
                  </a:lnTo>
                  <a:lnTo>
                    <a:pt x="21" y="286"/>
                  </a:lnTo>
                  <a:lnTo>
                    <a:pt x="23" y="289"/>
                  </a:lnTo>
                  <a:lnTo>
                    <a:pt x="23" y="292"/>
                  </a:lnTo>
                  <a:lnTo>
                    <a:pt x="26" y="292"/>
                  </a:lnTo>
                  <a:lnTo>
                    <a:pt x="28" y="292"/>
                  </a:lnTo>
                  <a:lnTo>
                    <a:pt x="31" y="294"/>
                  </a:lnTo>
                  <a:lnTo>
                    <a:pt x="33" y="294"/>
                  </a:lnTo>
                  <a:lnTo>
                    <a:pt x="36" y="294"/>
                  </a:lnTo>
                  <a:lnTo>
                    <a:pt x="36" y="297"/>
                  </a:lnTo>
                  <a:lnTo>
                    <a:pt x="38" y="297"/>
                  </a:lnTo>
                  <a:lnTo>
                    <a:pt x="41" y="297"/>
                  </a:lnTo>
                  <a:lnTo>
                    <a:pt x="44" y="297"/>
                  </a:lnTo>
                  <a:lnTo>
                    <a:pt x="46" y="297"/>
                  </a:lnTo>
                  <a:lnTo>
                    <a:pt x="49" y="297"/>
                  </a:lnTo>
                  <a:lnTo>
                    <a:pt x="51" y="297"/>
                  </a:lnTo>
                  <a:lnTo>
                    <a:pt x="56" y="297"/>
                  </a:lnTo>
                  <a:lnTo>
                    <a:pt x="59" y="297"/>
                  </a:lnTo>
                  <a:lnTo>
                    <a:pt x="61" y="297"/>
                  </a:lnTo>
                  <a:lnTo>
                    <a:pt x="64" y="297"/>
                  </a:lnTo>
                  <a:lnTo>
                    <a:pt x="67" y="294"/>
                  </a:lnTo>
                  <a:lnTo>
                    <a:pt x="69" y="294"/>
                  </a:lnTo>
                  <a:lnTo>
                    <a:pt x="72" y="292"/>
                  </a:lnTo>
                  <a:lnTo>
                    <a:pt x="74" y="292"/>
                  </a:lnTo>
                  <a:lnTo>
                    <a:pt x="77" y="289"/>
                  </a:lnTo>
                  <a:lnTo>
                    <a:pt x="79" y="286"/>
                  </a:lnTo>
                  <a:lnTo>
                    <a:pt x="82" y="286"/>
                  </a:lnTo>
                  <a:lnTo>
                    <a:pt x="82" y="284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90" y="276"/>
                  </a:lnTo>
                  <a:lnTo>
                    <a:pt x="90" y="276"/>
                  </a:lnTo>
                  <a:lnTo>
                    <a:pt x="133" y="217"/>
                  </a:lnTo>
                  <a:lnTo>
                    <a:pt x="177" y="276"/>
                  </a:lnTo>
                  <a:lnTo>
                    <a:pt x="177" y="276"/>
                  </a:lnTo>
                  <a:lnTo>
                    <a:pt x="177" y="276"/>
                  </a:lnTo>
                  <a:lnTo>
                    <a:pt x="179" y="279"/>
                  </a:lnTo>
                  <a:lnTo>
                    <a:pt x="182" y="281"/>
                  </a:lnTo>
                  <a:lnTo>
                    <a:pt x="182" y="284"/>
                  </a:lnTo>
                  <a:lnTo>
                    <a:pt x="184" y="286"/>
                  </a:lnTo>
                  <a:lnTo>
                    <a:pt x="187" y="286"/>
                  </a:lnTo>
                  <a:lnTo>
                    <a:pt x="190" y="289"/>
                  </a:lnTo>
                  <a:lnTo>
                    <a:pt x="192" y="292"/>
                  </a:lnTo>
                  <a:lnTo>
                    <a:pt x="195" y="292"/>
                  </a:lnTo>
                  <a:lnTo>
                    <a:pt x="197" y="294"/>
                  </a:lnTo>
                  <a:lnTo>
                    <a:pt x="200" y="294"/>
                  </a:lnTo>
                  <a:lnTo>
                    <a:pt x="202" y="297"/>
                  </a:lnTo>
                  <a:lnTo>
                    <a:pt x="205" y="297"/>
                  </a:lnTo>
                  <a:lnTo>
                    <a:pt x="207" y="297"/>
                  </a:lnTo>
                  <a:lnTo>
                    <a:pt x="210" y="297"/>
                  </a:lnTo>
                  <a:lnTo>
                    <a:pt x="215" y="297"/>
                  </a:lnTo>
                  <a:lnTo>
                    <a:pt x="218" y="297"/>
                  </a:lnTo>
                  <a:lnTo>
                    <a:pt x="220" y="297"/>
                  </a:lnTo>
                  <a:lnTo>
                    <a:pt x="223" y="297"/>
                  </a:lnTo>
                  <a:lnTo>
                    <a:pt x="225" y="297"/>
                  </a:lnTo>
                  <a:lnTo>
                    <a:pt x="228" y="297"/>
                  </a:lnTo>
                  <a:lnTo>
                    <a:pt x="230" y="297"/>
                  </a:lnTo>
                  <a:lnTo>
                    <a:pt x="230" y="294"/>
                  </a:lnTo>
                  <a:lnTo>
                    <a:pt x="233" y="294"/>
                  </a:lnTo>
                  <a:lnTo>
                    <a:pt x="236" y="294"/>
                  </a:lnTo>
                  <a:lnTo>
                    <a:pt x="238" y="292"/>
                  </a:lnTo>
                  <a:lnTo>
                    <a:pt x="241" y="292"/>
                  </a:lnTo>
                  <a:lnTo>
                    <a:pt x="243" y="292"/>
                  </a:lnTo>
                  <a:lnTo>
                    <a:pt x="243" y="289"/>
                  </a:lnTo>
                  <a:lnTo>
                    <a:pt x="246" y="286"/>
                  </a:lnTo>
                  <a:lnTo>
                    <a:pt x="248" y="286"/>
                  </a:lnTo>
                  <a:lnTo>
                    <a:pt x="251" y="284"/>
                  </a:lnTo>
                  <a:lnTo>
                    <a:pt x="251" y="284"/>
                  </a:lnTo>
                  <a:lnTo>
                    <a:pt x="254" y="281"/>
                  </a:lnTo>
                  <a:lnTo>
                    <a:pt x="256" y="279"/>
                  </a:lnTo>
                  <a:lnTo>
                    <a:pt x="256" y="276"/>
                  </a:lnTo>
                  <a:lnTo>
                    <a:pt x="259" y="276"/>
                  </a:lnTo>
                  <a:lnTo>
                    <a:pt x="259" y="274"/>
                  </a:lnTo>
                  <a:lnTo>
                    <a:pt x="261" y="271"/>
                  </a:lnTo>
                  <a:lnTo>
                    <a:pt x="261" y="269"/>
                  </a:lnTo>
                  <a:lnTo>
                    <a:pt x="261" y="266"/>
                  </a:lnTo>
                  <a:lnTo>
                    <a:pt x="264" y="263"/>
                  </a:lnTo>
                  <a:lnTo>
                    <a:pt x="264" y="263"/>
                  </a:lnTo>
                  <a:lnTo>
                    <a:pt x="264" y="261"/>
                  </a:lnTo>
                  <a:lnTo>
                    <a:pt x="266" y="258"/>
                  </a:lnTo>
                  <a:lnTo>
                    <a:pt x="266" y="256"/>
                  </a:lnTo>
                  <a:lnTo>
                    <a:pt x="266" y="253"/>
                  </a:lnTo>
                  <a:lnTo>
                    <a:pt x="266" y="251"/>
                  </a:lnTo>
                  <a:lnTo>
                    <a:pt x="266" y="245"/>
                  </a:lnTo>
                  <a:lnTo>
                    <a:pt x="266" y="243"/>
                  </a:lnTo>
                  <a:lnTo>
                    <a:pt x="266" y="240"/>
                  </a:lnTo>
                  <a:lnTo>
                    <a:pt x="266" y="238"/>
                  </a:lnTo>
                  <a:lnTo>
                    <a:pt x="264" y="235"/>
                  </a:lnTo>
                  <a:lnTo>
                    <a:pt x="264" y="233"/>
                  </a:lnTo>
                  <a:lnTo>
                    <a:pt x="264" y="230"/>
                  </a:lnTo>
                  <a:lnTo>
                    <a:pt x="261" y="228"/>
                  </a:lnTo>
                  <a:lnTo>
                    <a:pt x="261" y="225"/>
                  </a:lnTo>
                  <a:lnTo>
                    <a:pt x="261" y="222"/>
                  </a:lnTo>
                  <a:lnTo>
                    <a:pt x="259" y="222"/>
                  </a:lnTo>
                  <a:lnTo>
                    <a:pt x="259" y="220"/>
                  </a:lnTo>
                  <a:lnTo>
                    <a:pt x="256" y="217"/>
                  </a:lnTo>
                  <a:lnTo>
                    <a:pt x="256" y="215"/>
                  </a:lnTo>
                  <a:lnTo>
                    <a:pt x="254" y="212"/>
                  </a:lnTo>
                  <a:lnTo>
                    <a:pt x="251" y="212"/>
                  </a:lnTo>
                  <a:lnTo>
                    <a:pt x="251" y="210"/>
                  </a:lnTo>
                  <a:lnTo>
                    <a:pt x="248" y="210"/>
                  </a:lnTo>
                  <a:lnTo>
                    <a:pt x="246" y="207"/>
                  </a:lnTo>
                  <a:lnTo>
                    <a:pt x="243" y="205"/>
                  </a:lnTo>
                  <a:lnTo>
                    <a:pt x="243" y="205"/>
                  </a:lnTo>
                  <a:lnTo>
                    <a:pt x="241" y="202"/>
                  </a:lnTo>
                  <a:lnTo>
                    <a:pt x="238" y="202"/>
                  </a:lnTo>
                  <a:lnTo>
                    <a:pt x="236" y="202"/>
                  </a:lnTo>
                  <a:lnTo>
                    <a:pt x="233" y="199"/>
                  </a:lnTo>
                  <a:lnTo>
                    <a:pt x="230" y="199"/>
                  </a:lnTo>
                  <a:lnTo>
                    <a:pt x="230" y="199"/>
                  </a:lnTo>
                  <a:lnTo>
                    <a:pt x="228" y="197"/>
                  </a:lnTo>
                  <a:lnTo>
                    <a:pt x="225" y="197"/>
                  </a:lnTo>
                  <a:lnTo>
                    <a:pt x="223" y="197"/>
                  </a:lnTo>
                  <a:lnTo>
                    <a:pt x="220" y="197"/>
                  </a:lnTo>
                  <a:lnTo>
                    <a:pt x="218" y="197"/>
                  </a:lnTo>
                  <a:lnTo>
                    <a:pt x="215" y="197"/>
                  </a:lnTo>
                  <a:lnTo>
                    <a:pt x="210" y="197"/>
                  </a:lnTo>
                  <a:lnTo>
                    <a:pt x="207" y="197"/>
                  </a:lnTo>
                  <a:lnTo>
                    <a:pt x="205" y="199"/>
                  </a:lnTo>
                  <a:lnTo>
                    <a:pt x="202" y="199"/>
                  </a:lnTo>
                  <a:lnTo>
                    <a:pt x="200" y="199"/>
                  </a:lnTo>
                  <a:lnTo>
                    <a:pt x="197" y="202"/>
                  </a:lnTo>
                  <a:lnTo>
                    <a:pt x="195" y="202"/>
                  </a:lnTo>
                  <a:lnTo>
                    <a:pt x="192" y="205"/>
                  </a:lnTo>
                  <a:lnTo>
                    <a:pt x="172" y="174"/>
                  </a:lnTo>
                  <a:lnTo>
                    <a:pt x="164" y="184"/>
                  </a:lnTo>
                  <a:lnTo>
                    <a:pt x="182" y="212"/>
                  </a:lnTo>
                  <a:lnTo>
                    <a:pt x="179" y="212"/>
                  </a:lnTo>
                  <a:lnTo>
                    <a:pt x="179" y="215"/>
                  </a:lnTo>
                  <a:lnTo>
                    <a:pt x="179" y="217"/>
                  </a:lnTo>
                  <a:lnTo>
                    <a:pt x="177" y="217"/>
                  </a:lnTo>
                  <a:lnTo>
                    <a:pt x="177" y="220"/>
                  </a:lnTo>
                  <a:lnTo>
                    <a:pt x="174" y="220"/>
                  </a:lnTo>
                  <a:lnTo>
                    <a:pt x="174" y="222"/>
                  </a:lnTo>
                  <a:lnTo>
                    <a:pt x="174" y="222"/>
                  </a:lnTo>
                  <a:lnTo>
                    <a:pt x="174" y="225"/>
                  </a:lnTo>
                  <a:lnTo>
                    <a:pt x="172" y="225"/>
                  </a:lnTo>
                  <a:lnTo>
                    <a:pt x="172" y="228"/>
                  </a:lnTo>
                  <a:lnTo>
                    <a:pt x="172" y="230"/>
                  </a:lnTo>
                  <a:lnTo>
                    <a:pt x="172" y="230"/>
                  </a:lnTo>
                  <a:lnTo>
                    <a:pt x="169" y="233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9" y="238"/>
                  </a:lnTo>
                  <a:lnTo>
                    <a:pt x="166" y="243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3" y="64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1" y="59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28" y="48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3" y="30"/>
                  </a:lnTo>
                  <a:lnTo>
                    <a:pt x="33" y="28"/>
                  </a:lnTo>
                  <a:lnTo>
                    <a:pt x="36" y="28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5"/>
                  </a:lnTo>
                  <a:lnTo>
                    <a:pt x="123" y="125"/>
                  </a:lnTo>
                  <a:lnTo>
                    <a:pt x="131" y="115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close/>
                  <a:moveTo>
                    <a:pt x="218" y="0"/>
                  </a:move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2"/>
                  </a:lnTo>
                  <a:lnTo>
                    <a:pt x="213" y="2"/>
                  </a:lnTo>
                  <a:lnTo>
                    <a:pt x="146" y="100"/>
                  </a:lnTo>
                  <a:lnTo>
                    <a:pt x="154" y="110"/>
                  </a:lnTo>
                  <a:lnTo>
                    <a:pt x="220" y="15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5" y="20"/>
                  </a:lnTo>
                  <a:lnTo>
                    <a:pt x="225" y="20"/>
                  </a:lnTo>
                  <a:lnTo>
                    <a:pt x="228" y="23"/>
                  </a:lnTo>
                  <a:lnTo>
                    <a:pt x="230" y="25"/>
                  </a:lnTo>
                  <a:lnTo>
                    <a:pt x="230" y="25"/>
                  </a:lnTo>
                  <a:lnTo>
                    <a:pt x="230" y="28"/>
                  </a:lnTo>
                  <a:lnTo>
                    <a:pt x="233" y="28"/>
                  </a:lnTo>
                  <a:lnTo>
                    <a:pt x="233" y="30"/>
                  </a:lnTo>
                  <a:lnTo>
                    <a:pt x="233" y="33"/>
                  </a:lnTo>
                  <a:lnTo>
                    <a:pt x="236" y="33"/>
                  </a:lnTo>
                  <a:lnTo>
                    <a:pt x="236" y="36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36" y="41"/>
                  </a:lnTo>
                  <a:lnTo>
                    <a:pt x="236" y="43"/>
                  </a:lnTo>
                  <a:lnTo>
                    <a:pt x="238" y="43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38" y="48"/>
                  </a:lnTo>
                  <a:lnTo>
                    <a:pt x="238" y="51"/>
                  </a:lnTo>
                  <a:lnTo>
                    <a:pt x="236" y="51"/>
                  </a:lnTo>
                  <a:lnTo>
                    <a:pt x="236" y="53"/>
                  </a:lnTo>
                  <a:lnTo>
                    <a:pt x="236" y="56"/>
                  </a:lnTo>
                  <a:lnTo>
                    <a:pt x="236" y="59"/>
                  </a:lnTo>
                  <a:lnTo>
                    <a:pt x="233" y="61"/>
                  </a:lnTo>
                  <a:lnTo>
                    <a:pt x="233" y="61"/>
                  </a:lnTo>
                  <a:lnTo>
                    <a:pt x="233" y="64"/>
                  </a:lnTo>
                  <a:lnTo>
                    <a:pt x="233" y="64"/>
                  </a:lnTo>
                  <a:lnTo>
                    <a:pt x="230" y="66"/>
                  </a:lnTo>
                  <a:lnTo>
                    <a:pt x="230" y="69"/>
                  </a:lnTo>
                  <a:lnTo>
                    <a:pt x="230" y="69"/>
                  </a:lnTo>
                  <a:lnTo>
                    <a:pt x="174" y="140"/>
                  </a:lnTo>
                  <a:lnTo>
                    <a:pt x="184" y="151"/>
                  </a:lnTo>
                  <a:lnTo>
                    <a:pt x="238" y="76"/>
                  </a:lnTo>
                  <a:lnTo>
                    <a:pt x="241" y="76"/>
                  </a:lnTo>
                  <a:lnTo>
                    <a:pt x="241" y="74"/>
                  </a:lnTo>
                  <a:lnTo>
                    <a:pt x="243" y="71"/>
                  </a:lnTo>
                  <a:lnTo>
                    <a:pt x="243" y="71"/>
                  </a:lnTo>
                  <a:lnTo>
                    <a:pt x="246" y="69"/>
                  </a:lnTo>
                  <a:lnTo>
                    <a:pt x="246" y="66"/>
                  </a:lnTo>
                  <a:lnTo>
                    <a:pt x="246" y="64"/>
                  </a:lnTo>
                  <a:lnTo>
                    <a:pt x="248" y="61"/>
                  </a:lnTo>
                  <a:lnTo>
                    <a:pt x="248" y="59"/>
                  </a:lnTo>
                  <a:lnTo>
                    <a:pt x="248" y="56"/>
                  </a:lnTo>
                  <a:lnTo>
                    <a:pt x="248" y="56"/>
                  </a:lnTo>
                  <a:lnTo>
                    <a:pt x="248" y="53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51" y="48"/>
                  </a:lnTo>
                  <a:lnTo>
                    <a:pt x="251" y="46"/>
                  </a:lnTo>
                  <a:lnTo>
                    <a:pt x="251" y="43"/>
                  </a:lnTo>
                  <a:lnTo>
                    <a:pt x="251" y="43"/>
                  </a:lnTo>
                  <a:lnTo>
                    <a:pt x="251" y="41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48" y="33"/>
                  </a:lnTo>
                  <a:lnTo>
                    <a:pt x="248" y="30"/>
                  </a:lnTo>
                  <a:lnTo>
                    <a:pt x="246" y="28"/>
                  </a:lnTo>
                  <a:lnTo>
                    <a:pt x="246" y="25"/>
                  </a:lnTo>
                  <a:lnTo>
                    <a:pt x="243" y="23"/>
                  </a:lnTo>
                  <a:lnTo>
                    <a:pt x="241" y="20"/>
                  </a:lnTo>
                  <a:lnTo>
                    <a:pt x="241" y="18"/>
                  </a:lnTo>
                  <a:lnTo>
                    <a:pt x="238" y="15"/>
                  </a:lnTo>
                  <a:lnTo>
                    <a:pt x="236" y="12"/>
                  </a:lnTo>
                  <a:lnTo>
                    <a:pt x="233" y="10"/>
                  </a:lnTo>
                  <a:lnTo>
                    <a:pt x="230" y="7"/>
                  </a:lnTo>
                  <a:lnTo>
                    <a:pt x="228" y="5"/>
                  </a:lnTo>
                  <a:lnTo>
                    <a:pt x="225" y="2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91">
            <a:extLst>
              <a:ext uri="{FF2B5EF4-FFF2-40B4-BE49-F238E27FC236}">
                <a16:creationId xmlns:a16="http://schemas.microsoft.com/office/drawing/2014/main" id="{DC2327DA-78D2-46C9-84F3-A6686112AC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667" y="1594798"/>
            <a:ext cx="758825" cy="758825"/>
            <a:chOff x="3752" y="1130"/>
            <a:chExt cx="478" cy="478"/>
          </a:xfrm>
        </p:grpSpPr>
        <p:sp>
          <p:nvSpPr>
            <p:cNvPr id="107" name="AutoShape 90">
              <a:extLst>
                <a:ext uri="{FF2B5EF4-FFF2-40B4-BE49-F238E27FC236}">
                  <a16:creationId xmlns:a16="http://schemas.microsoft.com/office/drawing/2014/main" id="{6A9E04D8-87DA-4501-A4E8-D9BFF0B411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52" y="113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2">
              <a:extLst>
                <a:ext uri="{FF2B5EF4-FFF2-40B4-BE49-F238E27FC236}">
                  <a16:creationId xmlns:a16="http://schemas.microsoft.com/office/drawing/2014/main" id="{BC77CB80-1DCD-4F81-82AD-AF67E5130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4" y="113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93">
              <a:extLst>
                <a:ext uri="{FF2B5EF4-FFF2-40B4-BE49-F238E27FC236}">
                  <a16:creationId xmlns:a16="http://schemas.microsoft.com/office/drawing/2014/main" id="{87B38114-ADF8-42FE-B0F9-DE154213B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5" y="1230"/>
              <a:ext cx="292" cy="260"/>
            </a:xfrm>
            <a:custGeom>
              <a:avLst/>
              <a:gdLst>
                <a:gd name="T0" fmla="*/ 285 w 292"/>
                <a:gd name="T1" fmla="*/ 157 h 260"/>
                <a:gd name="T2" fmla="*/ 260 w 292"/>
                <a:gd name="T3" fmla="*/ 135 h 260"/>
                <a:gd name="T4" fmla="*/ 201 w 292"/>
                <a:gd name="T5" fmla="*/ 118 h 260"/>
                <a:gd name="T6" fmla="*/ 152 w 292"/>
                <a:gd name="T7" fmla="*/ 69 h 260"/>
                <a:gd name="T8" fmla="*/ 162 w 292"/>
                <a:gd name="T9" fmla="*/ 47 h 260"/>
                <a:gd name="T10" fmla="*/ 157 w 292"/>
                <a:gd name="T11" fmla="*/ 25 h 260"/>
                <a:gd name="T12" fmla="*/ 135 w 292"/>
                <a:gd name="T13" fmla="*/ 3 h 260"/>
                <a:gd name="T14" fmla="*/ 120 w 292"/>
                <a:gd name="T15" fmla="*/ 0 h 260"/>
                <a:gd name="T16" fmla="*/ 98 w 292"/>
                <a:gd name="T17" fmla="*/ 8 h 260"/>
                <a:gd name="T18" fmla="*/ 83 w 292"/>
                <a:gd name="T19" fmla="*/ 25 h 260"/>
                <a:gd name="T20" fmla="*/ 79 w 292"/>
                <a:gd name="T21" fmla="*/ 47 h 260"/>
                <a:gd name="T22" fmla="*/ 98 w 292"/>
                <a:gd name="T23" fmla="*/ 76 h 260"/>
                <a:gd name="T24" fmla="*/ 66 w 292"/>
                <a:gd name="T25" fmla="*/ 140 h 260"/>
                <a:gd name="T26" fmla="*/ 37 w 292"/>
                <a:gd name="T27" fmla="*/ 135 h 260"/>
                <a:gd name="T28" fmla="*/ 15 w 292"/>
                <a:gd name="T29" fmla="*/ 145 h 260"/>
                <a:gd name="T30" fmla="*/ 3 w 292"/>
                <a:gd name="T31" fmla="*/ 162 h 260"/>
                <a:gd name="T32" fmla="*/ 3 w 292"/>
                <a:gd name="T33" fmla="*/ 182 h 260"/>
                <a:gd name="T34" fmla="*/ 10 w 292"/>
                <a:gd name="T35" fmla="*/ 202 h 260"/>
                <a:gd name="T36" fmla="*/ 34 w 292"/>
                <a:gd name="T37" fmla="*/ 216 h 260"/>
                <a:gd name="T38" fmla="*/ 64 w 292"/>
                <a:gd name="T39" fmla="*/ 211 h 260"/>
                <a:gd name="T40" fmla="*/ 83 w 292"/>
                <a:gd name="T41" fmla="*/ 189 h 260"/>
                <a:gd name="T42" fmla="*/ 157 w 292"/>
                <a:gd name="T43" fmla="*/ 216 h 260"/>
                <a:gd name="T44" fmla="*/ 204 w 292"/>
                <a:gd name="T45" fmla="*/ 255 h 260"/>
                <a:gd name="T46" fmla="*/ 235 w 292"/>
                <a:gd name="T47" fmla="*/ 260 h 260"/>
                <a:gd name="T48" fmla="*/ 292 w 292"/>
                <a:gd name="T49" fmla="*/ 182 h 260"/>
                <a:gd name="T50" fmla="*/ 61 w 292"/>
                <a:gd name="T51" fmla="*/ 197 h 260"/>
                <a:gd name="T52" fmla="*/ 44 w 292"/>
                <a:gd name="T53" fmla="*/ 202 h 260"/>
                <a:gd name="T54" fmla="*/ 22 w 292"/>
                <a:gd name="T55" fmla="*/ 192 h 260"/>
                <a:gd name="T56" fmla="*/ 17 w 292"/>
                <a:gd name="T57" fmla="*/ 170 h 260"/>
                <a:gd name="T58" fmla="*/ 30 w 292"/>
                <a:gd name="T59" fmla="*/ 152 h 260"/>
                <a:gd name="T60" fmla="*/ 57 w 292"/>
                <a:gd name="T61" fmla="*/ 152 h 260"/>
                <a:gd name="T62" fmla="*/ 69 w 292"/>
                <a:gd name="T63" fmla="*/ 170 h 260"/>
                <a:gd name="T64" fmla="*/ 106 w 292"/>
                <a:gd name="T65" fmla="*/ 64 h 260"/>
                <a:gd name="T66" fmla="*/ 93 w 292"/>
                <a:gd name="T67" fmla="*/ 40 h 260"/>
                <a:gd name="T68" fmla="*/ 101 w 292"/>
                <a:gd name="T69" fmla="*/ 23 h 260"/>
                <a:gd name="T70" fmla="*/ 120 w 292"/>
                <a:gd name="T71" fmla="*/ 15 h 260"/>
                <a:gd name="T72" fmla="*/ 135 w 292"/>
                <a:gd name="T73" fmla="*/ 20 h 260"/>
                <a:gd name="T74" fmla="*/ 147 w 292"/>
                <a:gd name="T75" fmla="*/ 47 h 260"/>
                <a:gd name="T76" fmla="*/ 135 w 292"/>
                <a:gd name="T77" fmla="*/ 64 h 260"/>
                <a:gd name="T78" fmla="*/ 115 w 292"/>
                <a:gd name="T79" fmla="*/ 69 h 260"/>
                <a:gd name="T80" fmla="*/ 130 w 292"/>
                <a:gd name="T81" fmla="*/ 84 h 260"/>
                <a:gd name="T82" fmla="*/ 115 w 292"/>
                <a:gd name="T83" fmla="*/ 84 h 260"/>
                <a:gd name="T84" fmla="*/ 79 w 292"/>
                <a:gd name="T85" fmla="*/ 152 h 260"/>
                <a:gd name="T86" fmla="*/ 194 w 292"/>
                <a:gd name="T87" fmla="*/ 128 h 260"/>
                <a:gd name="T88" fmla="*/ 240 w 292"/>
                <a:gd name="T89" fmla="*/ 138 h 260"/>
                <a:gd name="T90" fmla="*/ 272 w 292"/>
                <a:gd name="T91" fmla="*/ 157 h 260"/>
                <a:gd name="T92" fmla="*/ 83 w 292"/>
                <a:gd name="T93" fmla="*/ 170 h 260"/>
                <a:gd name="T94" fmla="*/ 216 w 292"/>
                <a:gd name="T95" fmla="*/ 248 h 260"/>
                <a:gd name="T96" fmla="*/ 186 w 292"/>
                <a:gd name="T97" fmla="*/ 231 h 260"/>
                <a:gd name="T98" fmla="*/ 142 w 292"/>
                <a:gd name="T99" fmla="*/ 182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60">
                  <a:moveTo>
                    <a:pt x="292" y="182"/>
                  </a:moveTo>
                  <a:lnTo>
                    <a:pt x="292" y="170"/>
                  </a:lnTo>
                  <a:lnTo>
                    <a:pt x="289" y="165"/>
                  </a:lnTo>
                  <a:lnTo>
                    <a:pt x="285" y="157"/>
                  </a:lnTo>
                  <a:lnTo>
                    <a:pt x="282" y="152"/>
                  </a:lnTo>
                  <a:lnTo>
                    <a:pt x="277" y="148"/>
                  </a:lnTo>
                  <a:lnTo>
                    <a:pt x="267" y="140"/>
                  </a:lnTo>
                  <a:lnTo>
                    <a:pt x="260" y="135"/>
                  </a:lnTo>
                  <a:lnTo>
                    <a:pt x="248" y="130"/>
                  </a:lnTo>
                  <a:lnTo>
                    <a:pt x="233" y="126"/>
                  </a:lnTo>
                  <a:lnTo>
                    <a:pt x="216" y="121"/>
                  </a:lnTo>
                  <a:lnTo>
                    <a:pt x="201" y="118"/>
                  </a:lnTo>
                  <a:lnTo>
                    <a:pt x="186" y="118"/>
                  </a:lnTo>
                  <a:lnTo>
                    <a:pt x="169" y="116"/>
                  </a:lnTo>
                  <a:lnTo>
                    <a:pt x="145" y="76"/>
                  </a:lnTo>
                  <a:lnTo>
                    <a:pt x="152" y="69"/>
                  </a:lnTo>
                  <a:lnTo>
                    <a:pt x="157" y="62"/>
                  </a:lnTo>
                  <a:lnTo>
                    <a:pt x="159" y="59"/>
                  </a:lnTo>
                  <a:lnTo>
                    <a:pt x="162" y="52"/>
                  </a:lnTo>
                  <a:lnTo>
                    <a:pt x="162" y="47"/>
                  </a:lnTo>
                  <a:lnTo>
                    <a:pt x="162" y="45"/>
                  </a:lnTo>
                  <a:lnTo>
                    <a:pt x="162" y="37"/>
                  </a:lnTo>
                  <a:lnTo>
                    <a:pt x="159" y="32"/>
                  </a:lnTo>
                  <a:lnTo>
                    <a:pt x="157" y="25"/>
                  </a:lnTo>
                  <a:lnTo>
                    <a:pt x="152" y="20"/>
                  </a:lnTo>
                  <a:lnTo>
                    <a:pt x="147" y="13"/>
                  </a:lnTo>
                  <a:lnTo>
                    <a:pt x="140" y="8"/>
                  </a:lnTo>
                  <a:lnTo>
                    <a:pt x="135" y="3"/>
                  </a:lnTo>
                  <a:lnTo>
                    <a:pt x="130" y="3"/>
                  </a:lnTo>
                  <a:lnTo>
                    <a:pt x="128" y="0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18" y="0"/>
                  </a:lnTo>
                  <a:lnTo>
                    <a:pt x="113" y="0"/>
                  </a:lnTo>
                  <a:lnTo>
                    <a:pt x="106" y="3"/>
                  </a:lnTo>
                  <a:lnTo>
                    <a:pt x="98" y="8"/>
                  </a:lnTo>
                  <a:lnTo>
                    <a:pt x="93" y="13"/>
                  </a:lnTo>
                  <a:lnTo>
                    <a:pt x="88" y="15"/>
                  </a:lnTo>
                  <a:lnTo>
                    <a:pt x="86" y="20"/>
                  </a:lnTo>
                  <a:lnTo>
                    <a:pt x="83" y="25"/>
                  </a:lnTo>
                  <a:lnTo>
                    <a:pt x="81" y="27"/>
                  </a:lnTo>
                  <a:lnTo>
                    <a:pt x="79" y="37"/>
                  </a:lnTo>
                  <a:lnTo>
                    <a:pt x="79" y="40"/>
                  </a:lnTo>
                  <a:lnTo>
                    <a:pt x="79" y="47"/>
                  </a:lnTo>
                  <a:lnTo>
                    <a:pt x="83" y="59"/>
                  </a:lnTo>
                  <a:lnTo>
                    <a:pt x="88" y="67"/>
                  </a:lnTo>
                  <a:lnTo>
                    <a:pt x="93" y="74"/>
                  </a:lnTo>
                  <a:lnTo>
                    <a:pt x="98" y="76"/>
                  </a:lnTo>
                  <a:lnTo>
                    <a:pt x="103" y="79"/>
                  </a:lnTo>
                  <a:lnTo>
                    <a:pt x="125" y="118"/>
                  </a:lnTo>
                  <a:lnTo>
                    <a:pt x="110" y="143"/>
                  </a:lnTo>
                  <a:lnTo>
                    <a:pt x="66" y="140"/>
                  </a:lnTo>
                  <a:lnTo>
                    <a:pt x="57" y="138"/>
                  </a:lnTo>
                  <a:lnTo>
                    <a:pt x="49" y="135"/>
                  </a:lnTo>
                  <a:lnTo>
                    <a:pt x="44" y="135"/>
                  </a:lnTo>
                  <a:lnTo>
                    <a:pt x="37" y="135"/>
                  </a:lnTo>
                  <a:lnTo>
                    <a:pt x="30" y="138"/>
                  </a:lnTo>
                  <a:lnTo>
                    <a:pt x="22" y="140"/>
                  </a:lnTo>
                  <a:lnTo>
                    <a:pt x="17" y="143"/>
                  </a:lnTo>
                  <a:lnTo>
                    <a:pt x="15" y="145"/>
                  </a:lnTo>
                  <a:lnTo>
                    <a:pt x="10" y="150"/>
                  </a:lnTo>
                  <a:lnTo>
                    <a:pt x="7" y="155"/>
                  </a:lnTo>
                  <a:lnTo>
                    <a:pt x="5" y="157"/>
                  </a:lnTo>
                  <a:lnTo>
                    <a:pt x="3" y="162"/>
                  </a:lnTo>
                  <a:lnTo>
                    <a:pt x="3" y="167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3" y="182"/>
                  </a:lnTo>
                  <a:lnTo>
                    <a:pt x="3" y="189"/>
                  </a:lnTo>
                  <a:lnTo>
                    <a:pt x="5" y="194"/>
                  </a:lnTo>
                  <a:lnTo>
                    <a:pt x="7" y="199"/>
                  </a:lnTo>
                  <a:lnTo>
                    <a:pt x="10" y="202"/>
                  </a:lnTo>
                  <a:lnTo>
                    <a:pt x="15" y="206"/>
                  </a:lnTo>
                  <a:lnTo>
                    <a:pt x="20" y="209"/>
                  </a:lnTo>
                  <a:lnTo>
                    <a:pt x="27" y="214"/>
                  </a:lnTo>
                  <a:lnTo>
                    <a:pt x="34" y="216"/>
                  </a:lnTo>
                  <a:lnTo>
                    <a:pt x="42" y="216"/>
                  </a:lnTo>
                  <a:lnTo>
                    <a:pt x="49" y="216"/>
                  </a:lnTo>
                  <a:lnTo>
                    <a:pt x="57" y="214"/>
                  </a:lnTo>
                  <a:lnTo>
                    <a:pt x="64" y="211"/>
                  </a:lnTo>
                  <a:lnTo>
                    <a:pt x="69" y="206"/>
                  </a:lnTo>
                  <a:lnTo>
                    <a:pt x="76" y="202"/>
                  </a:lnTo>
                  <a:lnTo>
                    <a:pt x="81" y="194"/>
                  </a:lnTo>
                  <a:lnTo>
                    <a:pt x="83" y="189"/>
                  </a:lnTo>
                  <a:lnTo>
                    <a:pt x="83" y="182"/>
                  </a:lnTo>
                  <a:lnTo>
                    <a:pt x="130" y="182"/>
                  </a:lnTo>
                  <a:lnTo>
                    <a:pt x="147" y="204"/>
                  </a:lnTo>
                  <a:lnTo>
                    <a:pt x="157" y="216"/>
                  </a:lnTo>
                  <a:lnTo>
                    <a:pt x="167" y="226"/>
                  </a:lnTo>
                  <a:lnTo>
                    <a:pt x="177" y="236"/>
                  </a:lnTo>
                  <a:lnTo>
                    <a:pt x="194" y="248"/>
                  </a:lnTo>
                  <a:lnTo>
                    <a:pt x="204" y="255"/>
                  </a:lnTo>
                  <a:lnTo>
                    <a:pt x="213" y="258"/>
                  </a:lnTo>
                  <a:lnTo>
                    <a:pt x="221" y="260"/>
                  </a:lnTo>
                  <a:lnTo>
                    <a:pt x="226" y="260"/>
                  </a:lnTo>
                  <a:lnTo>
                    <a:pt x="235" y="260"/>
                  </a:lnTo>
                  <a:lnTo>
                    <a:pt x="243" y="258"/>
                  </a:lnTo>
                  <a:lnTo>
                    <a:pt x="250" y="255"/>
                  </a:lnTo>
                  <a:lnTo>
                    <a:pt x="206" y="182"/>
                  </a:lnTo>
                  <a:lnTo>
                    <a:pt x="292" y="182"/>
                  </a:lnTo>
                  <a:close/>
                  <a:moveTo>
                    <a:pt x="69" y="182"/>
                  </a:moveTo>
                  <a:lnTo>
                    <a:pt x="66" y="187"/>
                  </a:lnTo>
                  <a:lnTo>
                    <a:pt x="64" y="192"/>
                  </a:lnTo>
                  <a:lnTo>
                    <a:pt x="61" y="197"/>
                  </a:lnTo>
                  <a:lnTo>
                    <a:pt x="57" y="199"/>
                  </a:lnTo>
                  <a:lnTo>
                    <a:pt x="49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37" y="202"/>
                  </a:lnTo>
                  <a:lnTo>
                    <a:pt x="30" y="199"/>
                  </a:lnTo>
                  <a:lnTo>
                    <a:pt x="25" y="197"/>
                  </a:lnTo>
                  <a:lnTo>
                    <a:pt x="22" y="192"/>
                  </a:lnTo>
                  <a:lnTo>
                    <a:pt x="17" y="187"/>
                  </a:lnTo>
                  <a:lnTo>
                    <a:pt x="17" y="182"/>
                  </a:lnTo>
                  <a:lnTo>
                    <a:pt x="15" y="175"/>
                  </a:lnTo>
                  <a:lnTo>
                    <a:pt x="17" y="170"/>
                  </a:lnTo>
                  <a:lnTo>
                    <a:pt x="20" y="162"/>
                  </a:lnTo>
                  <a:lnTo>
                    <a:pt x="20" y="160"/>
                  </a:lnTo>
                  <a:lnTo>
                    <a:pt x="22" y="157"/>
                  </a:lnTo>
                  <a:lnTo>
                    <a:pt x="30" y="152"/>
                  </a:lnTo>
                  <a:lnTo>
                    <a:pt x="37" y="150"/>
                  </a:lnTo>
                  <a:lnTo>
                    <a:pt x="44" y="150"/>
                  </a:lnTo>
                  <a:lnTo>
                    <a:pt x="49" y="150"/>
                  </a:lnTo>
                  <a:lnTo>
                    <a:pt x="57" y="152"/>
                  </a:lnTo>
                  <a:lnTo>
                    <a:pt x="61" y="157"/>
                  </a:lnTo>
                  <a:lnTo>
                    <a:pt x="66" y="162"/>
                  </a:lnTo>
                  <a:lnTo>
                    <a:pt x="69" y="165"/>
                  </a:lnTo>
                  <a:lnTo>
                    <a:pt x="69" y="170"/>
                  </a:lnTo>
                  <a:lnTo>
                    <a:pt x="69" y="177"/>
                  </a:lnTo>
                  <a:lnTo>
                    <a:pt x="69" y="182"/>
                  </a:lnTo>
                  <a:close/>
                  <a:moveTo>
                    <a:pt x="110" y="69"/>
                  </a:moveTo>
                  <a:lnTo>
                    <a:pt x="106" y="64"/>
                  </a:lnTo>
                  <a:lnTo>
                    <a:pt x="101" y="59"/>
                  </a:lnTo>
                  <a:lnTo>
                    <a:pt x="98" y="54"/>
                  </a:lnTo>
                  <a:lnTo>
                    <a:pt x="93" y="47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35"/>
                  </a:lnTo>
                  <a:lnTo>
                    <a:pt x="96" y="30"/>
                  </a:lnTo>
                  <a:lnTo>
                    <a:pt x="101" y="23"/>
                  </a:lnTo>
                  <a:lnTo>
                    <a:pt x="106" y="20"/>
                  </a:lnTo>
                  <a:lnTo>
                    <a:pt x="110" y="18"/>
                  </a:lnTo>
                  <a:lnTo>
                    <a:pt x="118" y="15"/>
                  </a:lnTo>
                  <a:lnTo>
                    <a:pt x="120" y="15"/>
                  </a:lnTo>
                  <a:lnTo>
                    <a:pt x="125" y="15"/>
                  </a:lnTo>
                  <a:lnTo>
                    <a:pt x="128" y="15"/>
                  </a:lnTo>
                  <a:lnTo>
                    <a:pt x="133" y="18"/>
                  </a:lnTo>
                  <a:lnTo>
                    <a:pt x="135" y="20"/>
                  </a:lnTo>
                  <a:lnTo>
                    <a:pt x="140" y="27"/>
                  </a:lnTo>
                  <a:lnTo>
                    <a:pt x="145" y="32"/>
                  </a:lnTo>
                  <a:lnTo>
                    <a:pt x="147" y="40"/>
                  </a:lnTo>
                  <a:lnTo>
                    <a:pt x="147" y="47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0" y="59"/>
                  </a:lnTo>
                  <a:lnTo>
                    <a:pt x="135" y="64"/>
                  </a:lnTo>
                  <a:lnTo>
                    <a:pt x="130" y="67"/>
                  </a:lnTo>
                  <a:lnTo>
                    <a:pt x="123" y="69"/>
                  </a:lnTo>
                  <a:lnTo>
                    <a:pt x="120" y="69"/>
                  </a:lnTo>
                  <a:lnTo>
                    <a:pt x="115" y="69"/>
                  </a:lnTo>
                  <a:lnTo>
                    <a:pt x="110" y="69"/>
                  </a:lnTo>
                  <a:close/>
                  <a:moveTo>
                    <a:pt x="115" y="84"/>
                  </a:moveTo>
                  <a:lnTo>
                    <a:pt x="125" y="84"/>
                  </a:lnTo>
                  <a:lnTo>
                    <a:pt x="130" y="84"/>
                  </a:lnTo>
                  <a:lnTo>
                    <a:pt x="137" y="81"/>
                  </a:lnTo>
                  <a:lnTo>
                    <a:pt x="157" y="116"/>
                  </a:lnTo>
                  <a:lnTo>
                    <a:pt x="133" y="113"/>
                  </a:lnTo>
                  <a:lnTo>
                    <a:pt x="115" y="84"/>
                  </a:lnTo>
                  <a:close/>
                  <a:moveTo>
                    <a:pt x="83" y="170"/>
                  </a:moveTo>
                  <a:lnTo>
                    <a:pt x="81" y="162"/>
                  </a:lnTo>
                  <a:lnTo>
                    <a:pt x="79" y="155"/>
                  </a:lnTo>
                  <a:lnTo>
                    <a:pt x="79" y="152"/>
                  </a:lnTo>
                  <a:lnTo>
                    <a:pt x="118" y="152"/>
                  </a:lnTo>
                  <a:lnTo>
                    <a:pt x="133" y="123"/>
                  </a:lnTo>
                  <a:lnTo>
                    <a:pt x="167" y="126"/>
                  </a:lnTo>
                  <a:lnTo>
                    <a:pt x="194" y="128"/>
                  </a:lnTo>
                  <a:lnTo>
                    <a:pt x="206" y="130"/>
                  </a:lnTo>
                  <a:lnTo>
                    <a:pt x="223" y="133"/>
                  </a:lnTo>
                  <a:lnTo>
                    <a:pt x="233" y="135"/>
                  </a:lnTo>
                  <a:lnTo>
                    <a:pt x="240" y="138"/>
                  </a:lnTo>
                  <a:lnTo>
                    <a:pt x="248" y="140"/>
                  </a:lnTo>
                  <a:lnTo>
                    <a:pt x="255" y="145"/>
                  </a:lnTo>
                  <a:lnTo>
                    <a:pt x="265" y="150"/>
                  </a:lnTo>
                  <a:lnTo>
                    <a:pt x="272" y="157"/>
                  </a:lnTo>
                  <a:lnTo>
                    <a:pt x="277" y="162"/>
                  </a:lnTo>
                  <a:lnTo>
                    <a:pt x="280" y="167"/>
                  </a:lnTo>
                  <a:lnTo>
                    <a:pt x="280" y="170"/>
                  </a:lnTo>
                  <a:lnTo>
                    <a:pt x="83" y="170"/>
                  </a:lnTo>
                  <a:close/>
                  <a:moveTo>
                    <a:pt x="235" y="251"/>
                  </a:moveTo>
                  <a:lnTo>
                    <a:pt x="226" y="251"/>
                  </a:lnTo>
                  <a:lnTo>
                    <a:pt x="221" y="251"/>
                  </a:lnTo>
                  <a:lnTo>
                    <a:pt x="216" y="248"/>
                  </a:lnTo>
                  <a:lnTo>
                    <a:pt x="211" y="246"/>
                  </a:lnTo>
                  <a:lnTo>
                    <a:pt x="206" y="243"/>
                  </a:lnTo>
                  <a:lnTo>
                    <a:pt x="199" y="241"/>
                  </a:lnTo>
                  <a:lnTo>
                    <a:pt x="186" y="231"/>
                  </a:lnTo>
                  <a:lnTo>
                    <a:pt x="179" y="224"/>
                  </a:lnTo>
                  <a:lnTo>
                    <a:pt x="169" y="216"/>
                  </a:lnTo>
                  <a:lnTo>
                    <a:pt x="157" y="199"/>
                  </a:lnTo>
                  <a:lnTo>
                    <a:pt x="142" y="182"/>
                  </a:lnTo>
                  <a:lnTo>
                    <a:pt x="194" y="182"/>
                  </a:lnTo>
                  <a:lnTo>
                    <a:pt x="235" y="25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4">
              <a:extLst>
                <a:ext uri="{FF2B5EF4-FFF2-40B4-BE49-F238E27FC236}">
                  <a16:creationId xmlns:a16="http://schemas.microsoft.com/office/drawing/2014/main" id="{237F655D-32DE-4F21-820F-345E7BC41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1370"/>
              <a:ext cx="15" cy="12"/>
            </a:xfrm>
            <a:custGeom>
              <a:avLst/>
              <a:gdLst>
                <a:gd name="T0" fmla="*/ 2 w 15"/>
                <a:gd name="T1" fmla="*/ 10 h 12"/>
                <a:gd name="T2" fmla="*/ 5 w 15"/>
                <a:gd name="T3" fmla="*/ 12 h 12"/>
                <a:gd name="T4" fmla="*/ 5 w 15"/>
                <a:gd name="T5" fmla="*/ 12 h 12"/>
                <a:gd name="T6" fmla="*/ 10 w 15"/>
                <a:gd name="T7" fmla="*/ 12 h 12"/>
                <a:gd name="T8" fmla="*/ 12 w 15"/>
                <a:gd name="T9" fmla="*/ 10 h 12"/>
                <a:gd name="T10" fmla="*/ 12 w 15"/>
                <a:gd name="T11" fmla="*/ 8 h 12"/>
                <a:gd name="T12" fmla="*/ 15 w 15"/>
                <a:gd name="T13" fmla="*/ 5 h 12"/>
                <a:gd name="T14" fmla="*/ 12 w 15"/>
                <a:gd name="T15" fmla="*/ 3 h 12"/>
                <a:gd name="T16" fmla="*/ 10 w 15"/>
                <a:gd name="T17" fmla="*/ 0 h 12"/>
                <a:gd name="T18" fmla="*/ 7 w 15"/>
                <a:gd name="T19" fmla="*/ 0 h 12"/>
                <a:gd name="T20" fmla="*/ 2 w 15"/>
                <a:gd name="T21" fmla="*/ 0 h 12"/>
                <a:gd name="T22" fmla="*/ 0 w 15"/>
                <a:gd name="T23" fmla="*/ 3 h 12"/>
                <a:gd name="T24" fmla="*/ 0 w 15"/>
                <a:gd name="T25" fmla="*/ 5 h 12"/>
                <a:gd name="T26" fmla="*/ 0 w 15"/>
                <a:gd name="T27" fmla="*/ 5 h 12"/>
                <a:gd name="T28" fmla="*/ 0 w 15"/>
                <a:gd name="T29" fmla="*/ 8 h 12"/>
                <a:gd name="T30" fmla="*/ 2 w 15"/>
                <a:gd name="T31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2">
                  <a:moveTo>
                    <a:pt x="2" y="10"/>
                  </a:moveTo>
                  <a:lnTo>
                    <a:pt x="5" y="12"/>
                  </a:lnTo>
                  <a:lnTo>
                    <a:pt x="5" y="12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97">
            <a:extLst>
              <a:ext uri="{FF2B5EF4-FFF2-40B4-BE49-F238E27FC236}">
                <a16:creationId xmlns:a16="http://schemas.microsoft.com/office/drawing/2014/main" id="{83395167-8CAA-436E-82ED-8867F9C09B2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7354" y="1554317"/>
            <a:ext cx="841375" cy="841375"/>
            <a:chOff x="3029" y="1097"/>
            <a:chExt cx="530" cy="530"/>
          </a:xfrm>
        </p:grpSpPr>
        <p:sp>
          <p:nvSpPr>
            <p:cNvPr id="112" name="AutoShape 96">
              <a:extLst>
                <a:ext uri="{FF2B5EF4-FFF2-40B4-BE49-F238E27FC236}">
                  <a16:creationId xmlns:a16="http://schemas.microsoft.com/office/drawing/2014/main" id="{8213C14D-A0D6-4648-8B0D-C8136B4738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9" y="109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Oval 98">
              <a:extLst>
                <a:ext uri="{FF2B5EF4-FFF2-40B4-BE49-F238E27FC236}">
                  <a16:creationId xmlns:a16="http://schemas.microsoft.com/office/drawing/2014/main" id="{FC9C5FF1-A36E-497B-B7CC-472BF002A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9" y="109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9">
              <a:extLst>
                <a:ext uri="{FF2B5EF4-FFF2-40B4-BE49-F238E27FC236}">
                  <a16:creationId xmlns:a16="http://schemas.microsoft.com/office/drawing/2014/main" id="{0B173F9D-F3AE-43CA-84E5-FA0FEEE442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7" y="111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0">
              <a:extLst>
                <a:ext uri="{FF2B5EF4-FFF2-40B4-BE49-F238E27FC236}">
                  <a16:creationId xmlns:a16="http://schemas.microsoft.com/office/drawing/2014/main" id="{C7B35E07-767B-4D4D-858D-7BDE6E524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1217"/>
              <a:ext cx="304" cy="272"/>
            </a:xfrm>
            <a:custGeom>
              <a:avLst/>
              <a:gdLst>
                <a:gd name="T0" fmla="*/ 297 w 304"/>
                <a:gd name="T1" fmla="*/ 164 h 272"/>
                <a:gd name="T2" fmla="*/ 271 w 304"/>
                <a:gd name="T3" fmla="*/ 141 h 272"/>
                <a:gd name="T4" fmla="*/ 210 w 304"/>
                <a:gd name="T5" fmla="*/ 123 h 272"/>
                <a:gd name="T6" fmla="*/ 158 w 304"/>
                <a:gd name="T7" fmla="*/ 72 h 272"/>
                <a:gd name="T8" fmla="*/ 169 w 304"/>
                <a:gd name="T9" fmla="*/ 49 h 272"/>
                <a:gd name="T10" fmla="*/ 163 w 304"/>
                <a:gd name="T11" fmla="*/ 26 h 272"/>
                <a:gd name="T12" fmla="*/ 140 w 304"/>
                <a:gd name="T13" fmla="*/ 3 h 272"/>
                <a:gd name="T14" fmla="*/ 125 w 304"/>
                <a:gd name="T15" fmla="*/ 0 h 272"/>
                <a:gd name="T16" fmla="*/ 102 w 304"/>
                <a:gd name="T17" fmla="*/ 8 h 272"/>
                <a:gd name="T18" fmla="*/ 87 w 304"/>
                <a:gd name="T19" fmla="*/ 26 h 272"/>
                <a:gd name="T20" fmla="*/ 81 w 304"/>
                <a:gd name="T21" fmla="*/ 49 h 272"/>
                <a:gd name="T22" fmla="*/ 102 w 304"/>
                <a:gd name="T23" fmla="*/ 80 h 272"/>
                <a:gd name="T24" fmla="*/ 69 w 304"/>
                <a:gd name="T25" fmla="*/ 146 h 272"/>
                <a:gd name="T26" fmla="*/ 38 w 304"/>
                <a:gd name="T27" fmla="*/ 141 h 272"/>
                <a:gd name="T28" fmla="*/ 15 w 304"/>
                <a:gd name="T29" fmla="*/ 151 h 272"/>
                <a:gd name="T30" fmla="*/ 2 w 304"/>
                <a:gd name="T31" fmla="*/ 169 h 272"/>
                <a:gd name="T32" fmla="*/ 2 w 304"/>
                <a:gd name="T33" fmla="*/ 190 h 272"/>
                <a:gd name="T34" fmla="*/ 10 w 304"/>
                <a:gd name="T35" fmla="*/ 210 h 272"/>
                <a:gd name="T36" fmla="*/ 35 w 304"/>
                <a:gd name="T37" fmla="*/ 226 h 272"/>
                <a:gd name="T38" fmla="*/ 66 w 304"/>
                <a:gd name="T39" fmla="*/ 220 h 272"/>
                <a:gd name="T40" fmla="*/ 87 w 304"/>
                <a:gd name="T41" fmla="*/ 197 h 272"/>
                <a:gd name="T42" fmla="*/ 163 w 304"/>
                <a:gd name="T43" fmla="*/ 226 h 272"/>
                <a:gd name="T44" fmla="*/ 212 w 304"/>
                <a:gd name="T45" fmla="*/ 267 h 272"/>
                <a:gd name="T46" fmla="*/ 245 w 304"/>
                <a:gd name="T47" fmla="*/ 272 h 272"/>
                <a:gd name="T48" fmla="*/ 304 w 304"/>
                <a:gd name="T49" fmla="*/ 190 h 272"/>
                <a:gd name="T50" fmla="*/ 64 w 304"/>
                <a:gd name="T51" fmla="*/ 205 h 272"/>
                <a:gd name="T52" fmla="*/ 46 w 304"/>
                <a:gd name="T53" fmla="*/ 210 h 272"/>
                <a:gd name="T54" fmla="*/ 23 w 304"/>
                <a:gd name="T55" fmla="*/ 200 h 272"/>
                <a:gd name="T56" fmla="*/ 17 w 304"/>
                <a:gd name="T57" fmla="*/ 177 h 272"/>
                <a:gd name="T58" fmla="*/ 30 w 304"/>
                <a:gd name="T59" fmla="*/ 159 h 272"/>
                <a:gd name="T60" fmla="*/ 58 w 304"/>
                <a:gd name="T61" fmla="*/ 159 h 272"/>
                <a:gd name="T62" fmla="*/ 71 w 304"/>
                <a:gd name="T63" fmla="*/ 177 h 272"/>
                <a:gd name="T64" fmla="*/ 110 w 304"/>
                <a:gd name="T65" fmla="*/ 67 h 272"/>
                <a:gd name="T66" fmla="*/ 97 w 304"/>
                <a:gd name="T67" fmla="*/ 41 h 272"/>
                <a:gd name="T68" fmla="*/ 105 w 304"/>
                <a:gd name="T69" fmla="*/ 23 h 272"/>
                <a:gd name="T70" fmla="*/ 125 w 304"/>
                <a:gd name="T71" fmla="*/ 16 h 272"/>
                <a:gd name="T72" fmla="*/ 140 w 304"/>
                <a:gd name="T73" fmla="*/ 21 h 272"/>
                <a:gd name="T74" fmla="*/ 153 w 304"/>
                <a:gd name="T75" fmla="*/ 49 h 272"/>
                <a:gd name="T76" fmla="*/ 140 w 304"/>
                <a:gd name="T77" fmla="*/ 67 h 272"/>
                <a:gd name="T78" fmla="*/ 120 w 304"/>
                <a:gd name="T79" fmla="*/ 72 h 272"/>
                <a:gd name="T80" fmla="*/ 135 w 304"/>
                <a:gd name="T81" fmla="*/ 87 h 272"/>
                <a:gd name="T82" fmla="*/ 120 w 304"/>
                <a:gd name="T83" fmla="*/ 87 h 272"/>
                <a:gd name="T84" fmla="*/ 81 w 304"/>
                <a:gd name="T85" fmla="*/ 159 h 272"/>
                <a:gd name="T86" fmla="*/ 202 w 304"/>
                <a:gd name="T87" fmla="*/ 133 h 272"/>
                <a:gd name="T88" fmla="*/ 250 w 304"/>
                <a:gd name="T89" fmla="*/ 144 h 272"/>
                <a:gd name="T90" fmla="*/ 284 w 304"/>
                <a:gd name="T91" fmla="*/ 164 h 272"/>
                <a:gd name="T92" fmla="*/ 87 w 304"/>
                <a:gd name="T93" fmla="*/ 177 h 272"/>
                <a:gd name="T94" fmla="*/ 225 w 304"/>
                <a:gd name="T95" fmla="*/ 259 h 272"/>
                <a:gd name="T96" fmla="*/ 194 w 304"/>
                <a:gd name="T97" fmla="*/ 241 h 272"/>
                <a:gd name="T98" fmla="*/ 148 w 304"/>
                <a:gd name="T99" fmla="*/ 19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4" h="272">
                  <a:moveTo>
                    <a:pt x="304" y="190"/>
                  </a:moveTo>
                  <a:lnTo>
                    <a:pt x="304" y="177"/>
                  </a:lnTo>
                  <a:lnTo>
                    <a:pt x="302" y="172"/>
                  </a:lnTo>
                  <a:lnTo>
                    <a:pt x="297" y="164"/>
                  </a:lnTo>
                  <a:lnTo>
                    <a:pt x="294" y="159"/>
                  </a:lnTo>
                  <a:lnTo>
                    <a:pt x="289" y="154"/>
                  </a:lnTo>
                  <a:lnTo>
                    <a:pt x="279" y="146"/>
                  </a:lnTo>
                  <a:lnTo>
                    <a:pt x="271" y="141"/>
                  </a:lnTo>
                  <a:lnTo>
                    <a:pt x="258" y="136"/>
                  </a:lnTo>
                  <a:lnTo>
                    <a:pt x="243" y="131"/>
                  </a:lnTo>
                  <a:lnTo>
                    <a:pt x="225" y="126"/>
                  </a:lnTo>
                  <a:lnTo>
                    <a:pt x="210" y="123"/>
                  </a:lnTo>
                  <a:lnTo>
                    <a:pt x="194" y="123"/>
                  </a:lnTo>
                  <a:lnTo>
                    <a:pt x="176" y="121"/>
                  </a:lnTo>
                  <a:lnTo>
                    <a:pt x="151" y="80"/>
                  </a:lnTo>
                  <a:lnTo>
                    <a:pt x="158" y="72"/>
                  </a:lnTo>
                  <a:lnTo>
                    <a:pt x="163" y="64"/>
                  </a:lnTo>
                  <a:lnTo>
                    <a:pt x="166" y="62"/>
                  </a:lnTo>
                  <a:lnTo>
                    <a:pt x="169" y="54"/>
                  </a:lnTo>
                  <a:lnTo>
                    <a:pt x="169" y="49"/>
                  </a:lnTo>
                  <a:lnTo>
                    <a:pt x="169" y="46"/>
                  </a:lnTo>
                  <a:lnTo>
                    <a:pt x="169" y="39"/>
                  </a:lnTo>
                  <a:lnTo>
                    <a:pt x="166" y="34"/>
                  </a:lnTo>
                  <a:lnTo>
                    <a:pt x="163" y="26"/>
                  </a:lnTo>
                  <a:lnTo>
                    <a:pt x="158" y="21"/>
                  </a:lnTo>
                  <a:lnTo>
                    <a:pt x="153" y="13"/>
                  </a:lnTo>
                  <a:lnTo>
                    <a:pt x="145" y="8"/>
                  </a:lnTo>
                  <a:lnTo>
                    <a:pt x="140" y="3"/>
                  </a:lnTo>
                  <a:lnTo>
                    <a:pt x="135" y="3"/>
                  </a:lnTo>
                  <a:lnTo>
                    <a:pt x="133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2" y="0"/>
                  </a:lnTo>
                  <a:lnTo>
                    <a:pt x="117" y="0"/>
                  </a:lnTo>
                  <a:lnTo>
                    <a:pt x="110" y="3"/>
                  </a:lnTo>
                  <a:lnTo>
                    <a:pt x="102" y="8"/>
                  </a:lnTo>
                  <a:lnTo>
                    <a:pt x="97" y="13"/>
                  </a:lnTo>
                  <a:lnTo>
                    <a:pt x="92" y="16"/>
                  </a:lnTo>
                  <a:lnTo>
                    <a:pt x="89" y="21"/>
                  </a:lnTo>
                  <a:lnTo>
                    <a:pt x="87" y="26"/>
                  </a:lnTo>
                  <a:lnTo>
                    <a:pt x="84" y="28"/>
                  </a:lnTo>
                  <a:lnTo>
                    <a:pt x="81" y="39"/>
                  </a:lnTo>
                  <a:lnTo>
                    <a:pt x="81" y="41"/>
                  </a:lnTo>
                  <a:lnTo>
                    <a:pt x="81" y="49"/>
                  </a:lnTo>
                  <a:lnTo>
                    <a:pt x="87" y="62"/>
                  </a:lnTo>
                  <a:lnTo>
                    <a:pt x="92" y="69"/>
                  </a:lnTo>
                  <a:lnTo>
                    <a:pt x="97" y="77"/>
                  </a:lnTo>
                  <a:lnTo>
                    <a:pt x="102" y="80"/>
                  </a:lnTo>
                  <a:lnTo>
                    <a:pt x="107" y="82"/>
                  </a:lnTo>
                  <a:lnTo>
                    <a:pt x="130" y="123"/>
                  </a:lnTo>
                  <a:lnTo>
                    <a:pt x="115" y="149"/>
                  </a:lnTo>
                  <a:lnTo>
                    <a:pt x="69" y="146"/>
                  </a:lnTo>
                  <a:lnTo>
                    <a:pt x="58" y="144"/>
                  </a:lnTo>
                  <a:lnTo>
                    <a:pt x="51" y="141"/>
                  </a:lnTo>
                  <a:lnTo>
                    <a:pt x="46" y="141"/>
                  </a:lnTo>
                  <a:lnTo>
                    <a:pt x="38" y="141"/>
                  </a:lnTo>
                  <a:lnTo>
                    <a:pt x="30" y="144"/>
                  </a:lnTo>
                  <a:lnTo>
                    <a:pt x="23" y="146"/>
                  </a:lnTo>
                  <a:lnTo>
                    <a:pt x="17" y="149"/>
                  </a:lnTo>
                  <a:lnTo>
                    <a:pt x="15" y="151"/>
                  </a:lnTo>
                  <a:lnTo>
                    <a:pt x="10" y="156"/>
                  </a:lnTo>
                  <a:lnTo>
                    <a:pt x="7" y="162"/>
                  </a:lnTo>
                  <a:lnTo>
                    <a:pt x="5" y="164"/>
                  </a:lnTo>
                  <a:lnTo>
                    <a:pt x="2" y="169"/>
                  </a:lnTo>
                  <a:lnTo>
                    <a:pt x="2" y="174"/>
                  </a:lnTo>
                  <a:lnTo>
                    <a:pt x="0" y="182"/>
                  </a:lnTo>
                  <a:lnTo>
                    <a:pt x="0" y="185"/>
                  </a:lnTo>
                  <a:lnTo>
                    <a:pt x="2" y="190"/>
                  </a:lnTo>
                  <a:lnTo>
                    <a:pt x="2" y="197"/>
                  </a:lnTo>
                  <a:lnTo>
                    <a:pt x="5" y="203"/>
                  </a:lnTo>
                  <a:lnTo>
                    <a:pt x="7" y="208"/>
                  </a:lnTo>
                  <a:lnTo>
                    <a:pt x="10" y="210"/>
                  </a:lnTo>
                  <a:lnTo>
                    <a:pt x="15" y="215"/>
                  </a:lnTo>
                  <a:lnTo>
                    <a:pt x="20" y="218"/>
                  </a:lnTo>
                  <a:lnTo>
                    <a:pt x="28" y="223"/>
                  </a:lnTo>
                  <a:lnTo>
                    <a:pt x="35" y="226"/>
                  </a:lnTo>
                  <a:lnTo>
                    <a:pt x="43" y="226"/>
                  </a:lnTo>
                  <a:lnTo>
                    <a:pt x="51" y="226"/>
                  </a:lnTo>
                  <a:lnTo>
                    <a:pt x="58" y="223"/>
                  </a:lnTo>
                  <a:lnTo>
                    <a:pt x="66" y="220"/>
                  </a:lnTo>
                  <a:lnTo>
                    <a:pt x="71" y="215"/>
                  </a:lnTo>
                  <a:lnTo>
                    <a:pt x="79" y="210"/>
                  </a:lnTo>
                  <a:lnTo>
                    <a:pt x="84" y="203"/>
                  </a:lnTo>
                  <a:lnTo>
                    <a:pt x="87" y="197"/>
                  </a:lnTo>
                  <a:lnTo>
                    <a:pt x="87" y="190"/>
                  </a:lnTo>
                  <a:lnTo>
                    <a:pt x="135" y="190"/>
                  </a:lnTo>
                  <a:lnTo>
                    <a:pt x="153" y="213"/>
                  </a:lnTo>
                  <a:lnTo>
                    <a:pt x="163" y="226"/>
                  </a:lnTo>
                  <a:lnTo>
                    <a:pt x="174" y="236"/>
                  </a:lnTo>
                  <a:lnTo>
                    <a:pt x="184" y="246"/>
                  </a:lnTo>
                  <a:lnTo>
                    <a:pt x="202" y="259"/>
                  </a:lnTo>
                  <a:lnTo>
                    <a:pt x="212" y="267"/>
                  </a:lnTo>
                  <a:lnTo>
                    <a:pt x="222" y="269"/>
                  </a:lnTo>
                  <a:lnTo>
                    <a:pt x="230" y="272"/>
                  </a:lnTo>
                  <a:lnTo>
                    <a:pt x="235" y="272"/>
                  </a:lnTo>
                  <a:lnTo>
                    <a:pt x="245" y="272"/>
                  </a:lnTo>
                  <a:lnTo>
                    <a:pt x="253" y="269"/>
                  </a:lnTo>
                  <a:lnTo>
                    <a:pt x="261" y="267"/>
                  </a:lnTo>
                  <a:lnTo>
                    <a:pt x="215" y="190"/>
                  </a:lnTo>
                  <a:lnTo>
                    <a:pt x="304" y="190"/>
                  </a:lnTo>
                  <a:close/>
                  <a:moveTo>
                    <a:pt x="71" y="190"/>
                  </a:moveTo>
                  <a:lnTo>
                    <a:pt x="69" y="195"/>
                  </a:lnTo>
                  <a:lnTo>
                    <a:pt x="66" y="200"/>
                  </a:lnTo>
                  <a:lnTo>
                    <a:pt x="64" y="205"/>
                  </a:lnTo>
                  <a:lnTo>
                    <a:pt x="58" y="208"/>
                  </a:lnTo>
                  <a:lnTo>
                    <a:pt x="51" y="210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38" y="210"/>
                  </a:lnTo>
                  <a:lnTo>
                    <a:pt x="30" y="208"/>
                  </a:lnTo>
                  <a:lnTo>
                    <a:pt x="25" y="205"/>
                  </a:lnTo>
                  <a:lnTo>
                    <a:pt x="23" y="200"/>
                  </a:lnTo>
                  <a:lnTo>
                    <a:pt x="17" y="195"/>
                  </a:lnTo>
                  <a:lnTo>
                    <a:pt x="17" y="190"/>
                  </a:lnTo>
                  <a:lnTo>
                    <a:pt x="15" y="182"/>
                  </a:lnTo>
                  <a:lnTo>
                    <a:pt x="17" y="177"/>
                  </a:lnTo>
                  <a:lnTo>
                    <a:pt x="20" y="169"/>
                  </a:lnTo>
                  <a:lnTo>
                    <a:pt x="20" y="167"/>
                  </a:lnTo>
                  <a:lnTo>
                    <a:pt x="23" y="164"/>
                  </a:lnTo>
                  <a:lnTo>
                    <a:pt x="30" y="159"/>
                  </a:lnTo>
                  <a:lnTo>
                    <a:pt x="38" y="156"/>
                  </a:lnTo>
                  <a:lnTo>
                    <a:pt x="46" y="156"/>
                  </a:lnTo>
                  <a:lnTo>
                    <a:pt x="51" y="156"/>
                  </a:lnTo>
                  <a:lnTo>
                    <a:pt x="58" y="159"/>
                  </a:lnTo>
                  <a:lnTo>
                    <a:pt x="64" y="164"/>
                  </a:lnTo>
                  <a:lnTo>
                    <a:pt x="69" y="169"/>
                  </a:lnTo>
                  <a:lnTo>
                    <a:pt x="71" y="172"/>
                  </a:lnTo>
                  <a:lnTo>
                    <a:pt x="71" y="177"/>
                  </a:lnTo>
                  <a:lnTo>
                    <a:pt x="71" y="185"/>
                  </a:lnTo>
                  <a:lnTo>
                    <a:pt x="71" y="190"/>
                  </a:lnTo>
                  <a:close/>
                  <a:moveTo>
                    <a:pt x="115" y="72"/>
                  </a:moveTo>
                  <a:lnTo>
                    <a:pt x="110" y="67"/>
                  </a:lnTo>
                  <a:lnTo>
                    <a:pt x="105" y="62"/>
                  </a:lnTo>
                  <a:lnTo>
                    <a:pt x="102" y="57"/>
                  </a:lnTo>
                  <a:lnTo>
                    <a:pt x="97" y="49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36"/>
                  </a:lnTo>
                  <a:lnTo>
                    <a:pt x="99" y="31"/>
                  </a:lnTo>
                  <a:lnTo>
                    <a:pt x="105" y="23"/>
                  </a:lnTo>
                  <a:lnTo>
                    <a:pt x="110" y="21"/>
                  </a:lnTo>
                  <a:lnTo>
                    <a:pt x="115" y="18"/>
                  </a:lnTo>
                  <a:lnTo>
                    <a:pt x="122" y="16"/>
                  </a:lnTo>
                  <a:lnTo>
                    <a:pt x="125" y="16"/>
                  </a:lnTo>
                  <a:lnTo>
                    <a:pt x="130" y="16"/>
                  </a:lnTo>
                  <a:lnTo>
                    <a:pt x="133" y="16"/>
                  </a:lnTo>
                  <a:lnTo>
                    <a:pt x="138" y="18"/>
                  </a:lnTo>
                  <a:lnTo>
                    <a:pt x="140" y="21"/>
                  </a:lnTo>
                  <a:lnTo>
                    <a:pt x="145" y="28"/>
                  </a:lnTo>
                  <a:lnTo>
                    <a:pt x="151" y="34"/>
                  </a:lnTo>
                  <a:lnTo>
                    <a:pt x="153" y="41"/>
                  </a:lnTo>
                  <a:lnTo>
                    <a:pt x="153" y="49"/>
                  </a:lnTo>
                  <a:lnTo>
                    <a:pt x="153" y="51"/>
                  </a:lnTo>
                  <a:lnTo>
                    <a:pt x="151" y="57"/>
                  </a:lnTo>
                  <a:lnTo>
                    <a:pt x="145" y="62"/>
                  </a:lnTo>
                  <a:lnTo>
                    <a:pt x="140" y="67"/>
                  </a:lnTo>
                  <a:lnTo>
                    <a:pt x="135" y="69"/>
                  </a:lnTo>
                  <a:lnTo>
                    <a:pt x="128" y="72"/>
                  </a:lnTo>
                  <a:lnTo>
                    <a:pt x="125" y="72"/>
                  </a:lnTo>
                  <a:lnTo>
                    <a:pt x="120" y="72"/>
                  </a:lnTo>
                  <a:lnTo>
                    <a:pt x="115" y="72"/>
                  </a:lnTo>
                  <a:close/>
                  <a:moveTo>
                    <a:pt x="120" y="87"/>
                  </a:moveTo>
                  <a:lnTo>
                    <a:pt x="130" y="87"/>
                  </a:lnTo>
                  <a:lnTo>
                    <a:pt x="135" y="87"/>
                  </a:lnTo>
                  <a:lnTo>
                    <a:pt x="143" y="85"/>
                  </a:lnTo>
                  <a:lnTo>
                    <a:pt x="163" y="121"/>
                  </a:lnTo>
                  <a:lnTo>
                    <a:pt x="138" y="118"/>
                  </a:lnTo>
                  <a:lnTo>
                    <a:pt x="120" y="87"/>
                  </a:lnTo>
                  <a:close/>
                  <a:moveTo>
                    <a:pt x="87" y="177"/>
                  </a:moveTo>
                  <a:lnTo>
                    <a:pt x="84" y="169"/>
                  </a:lnTo>
                  <a:lnTo>
                    <a:pt x="81" y="162"/>
                  </a:lnTo>
                  <a:lnTo>
                    <a:pt x="81" y="159"/>
                  </a:lnTo>
                  <a:lnTo>
                    <a:pt x="122" y="159"/>
                  </a:lnTo>
                  <a:lnTo>
                    <a:pt x="138" y="128"/>
                  </a:lnTo>
                  <a:lnTo>
                    <a:pt x="174" y="131"/>
                  </a:lnTo>
                  <a:lnTo>
                    <a:pt x="202" y="133"/>
                  </a:lnTo>
                  <a:lnTo>
                    <a:pt x="215" y="136"/>
                  </a:lnTo>
                  <a:lnTo>
                    <a:pt x="233" y="138"/>
                  </a:lnTo>
                  <a:lnTo>
                    <a:pt x="243" y="141"/>
                  </a:lnTo>
                  <a:lnTo>
                    <a:pt x="250" y="144"/>
                  </a:lnTo>
                  <a:lnTo>
                    <a:pt x="258" y="146"/>
                  </a:lnTo>
                  <a:lnTo>
                    <a:pt x="266" y="151"/>
                  </a:lnTo>
                  <a:lnTo>
                    <a:pt x="276" y="156"/>
                  </a:lnTo>
                  <a:lnTo>
                    <a:pt x="284" y="164"/>
                  </a:lnTo>
                  <a:lnTo>
                    <a:pt x="289" y="169"/>
                  </a:lnTo>
                  <a:lnTo>
                    <a:pt x="291" y="174"/>
                  </a:lnTo>
                  <a:lnTo>
                    <a:pt x="291" y="177"/>
                  </a:lnTo>
                  <a:lnTo>
                    <a:pt x="87" y="177"/>
                  </a:lnTo>
                  <a:close/>
                  <a:moveTo>
                    <a:pt x="245" y="261"/>
                  </a:moveTo>
                  <a:lnTo>
                    <a:pt x="235" y="261"/>
                  </a:lnTo>
                  <a:lnTo>
                    <a:pt x="230" y="261"/>
                  </a:lnTo>
                  <a:lnTo>
                    <a:pt x="225" y="259"/>
                  </a:lnTo>
                  <a:lnTo>
                    <a:pt x="220" y="256"/>
                  </a:lnTo>
                  <a:lnTo>
                    <a:pt x="215" y="254"/>
                  </a:lnTo>
                  <a:lnTo>
                    <a:pt x="207" y="251"/>
                  </a:lnTo>
                  <a:lnTo>
                    <a:pt x="194" y="241"/>
                  </a:lnTo>
                  <a:lnTo>
                    <a:pt x="186" y="233"/>
                  </a:lnTo>
                  <a:lnTo>
                    <a:pt x="176" y="226"/>
                  </a:lnTo>
                  <a:lnTo>
                    <a:pt x="163" y="208"/>
                  </a:lnTo>
                  <a:lnTo>
                    <a:pt x="148" y="190"/>
                  </a:lnTo>
                  <a:lnTo>
                    <a:pt x="202" y="190"/>
                  </a:lnTo>
                  <a:lnTo>
                    <a:pt x="245" y="2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1">
              <a:extLst>
                <a:ext uri="{FF2B5EF4-FFF2-40B4-BE49-F238E27FC236}">
                  <a16:creationId xmlns:a16="http://schemas.microsoft.com/office/drawing/2014/main" id="{8E20D499-B152-4D1E-A306-C5086DF3A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" y="1363"/>
              <a:ext cx="16" cy="13"/>
            </a:xfrm>
            <a:custGeom>
              <a:avLst/>
              <a:gdLst>
                <a:gd name="T0" fmla="*/ 3 w 16"/>
                <a:gd name="T1" fmla="*/ 10 h 13"/>
                <a:gd name="T2" fmla="*/ 6 w 16"/>
                <a:gd name="T3" fmla="*/ 13 h 13"/>
                <a:gd name="T4" fmla="*/ 6 w 16"/>
                <a:gd name="T5" fmla="*/ 13 h 13"/>
                <a:gd name="T6" fmla="*/ 11 w 16"/>
                <a:gd name="T7" fmla="*/ 13 h 13"/>
                <a:gd name="T8" fmla="*/ 13 w 16"/>
                <a:gd name="T9" fmla="*/ 10 h 13"/>
                <a:gd name="T10" fmla="*/ 13 w 16"/>
                <a:gd name="T11" fmla="*/ 8 h 13"/>
                <a:gd name="T12" fmla="*/ 16 w 16"/>
                <a:gd name="T13" fmla="*/ 5 h 13"/>
                <a:gd name="T14" fmla="*/ 13 w 16"/>
                <a:gd name="T15" fmla="*/ 3 h 13"/>
                <a:gd name="T16" fmla="*/ 11 w 16"/>
                <a:gd name="T17" fmla="*/ 0 h 13"/>
                <a:gd name="T18" fmla="*/ 8 w 16"/>
                <a:gd name="T19" fmla="*/ 0 h 13"/>
                <a:gd name="T20" fmla="*/ 3 w 16"/>
                <a:gd name="T21" fmla="*/ 0 h 13"/>
                <a:gd name="T22" fmla="*/ 0 w 16"/>
                <a:gd name="T23" fmla="*/ 3 h 13"/>
                <a:gd name="T24" fmla="*/ 0 w 16"/>
                <a:gd name="T25" fmla="*/ 5 h 13"/>
                <a:gd name="T26" fmla="*/ 0 w 16"/>
                <a:gd name="T27" fmla="*/ 5 h 13"/>
                <a:gd name="T28" fmla="*/ 0 w 16"/>
                <a:gd name="T29" fmla="*/ 8 h 13"/>
                <a:gd name="T30" fmla="*/ 3 w 16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13">
                  <a:moveTo>
                    <a:pt x="3" y="10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11" y="13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1" name="Group 104">
            <a:extLst>
              <a:ext uri="{FF2B5EF4-FFF2-40B4-BE49-F238E27FC236}">
                <a16:creationId xmlns:a16="http://schemas.microsoft.com/office/drawing/2014/main" id="{3E8554A9-F8C7-442E-AED4-9726F63F71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1082" y="1594798"/>
            <a:ext cx="758825" cy="758825"/>
            <a:chOff x="1014" y="1993"/>
            <a:chExt cx="478" cy="478"/>
          </a:xfrm>
        </p:grpSpPr>
        <p:sp>
          <p:nvSpPr>
            <p:cNvPr id="122" name="AutoShape 103">
              <a:extLst>
                <a:ext uri="{FF2B5EF4-FFF2-40B4-BE49-F238E27FC236}">
                  <a16:creationId xmlns:a16="http://schemas.microsoft.com/office/drawing/2014/main" id="{2648E675-B64C-4804-9D80-1AB2C48E2DB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14" y="199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5">
              <a:extLst>
                <a:ext uri="{FF2B5EF4-FFF2-40B4-BE49-F238E27FC236}">
                  <a16:creationId xmlns:a16="http://schemas.microsoft.com/office/drawing/2014/main" id="{85E0D295-057F-4C2E-9CBF-07CD9D389C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6" y="199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6">
              <a:extLst>
                <a:ext uri="{FF2B5EF4-FFF2-40B4-BE49-F238E27FC236}">
                  <a16:creationId xmlns:a16="http://schemas.microsoft.com/office/drawing/2014/main" id="{9DBA1A70-9B8F-4A4F-8884-3B6327DCA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0" y="2216"/>
              <a:ext cx="49" cy="49"/>
            </a:xfrm>
            <a:custGeom>
              <a:avLst/>
              <a:gdLst>
                <a:gd name="T0" fmla="*/ 17 w 20"/>
                <a:gd name="T1" fmla="*/ 3 h 20"/>
                <a:gd name="T2" fmla="*/ 10 w 20"/>
                <a:gd name="T3" fmla="*/ 0 h 20"/>
                <a:gd name="T4" fmla="*/ 3 w 20"/>
                <a:gd name="T5" fmla="*/ 3 h 20"/>
                <a:gd name="T6" fmla="*/ 0 w 20"/>
                <a:gd name="T7" fmla="*/ 10 h 20"/>
                <a:gd name="T8" fmla="*/ 3 w 20"/>
                <a:gd name="T9" fmla="*/ 17 h 20"/>
                <a:gd name="T10" fmla="*/ 10 w 20"/>
                <a:gd name="T11" fmla="*/ 20 h 20"/>
                <a:gd name="T12" fmla="*/ 17 w 20"/>
                <a:gd name="T13" fmla="*/ 17 h 20"/>
                <a:gd name="T14" fmla="*/ 20 w 20"/>
                <a:gd name="T15" fmla="*/ 10 h 20"/>
                <a:gd name="T16" fmla="*/ 17 w 20"/>
                <a:gd name="T17" fmla="*/ 3 h 20"/>
                <a:gd name="T18" fmla="*/ 16 w 20"/>
                <a:gd name="T19" fmla="*/ 12 h 20"/>
                <a:gd name="T20" fmla="*/ 15 w 20"/>
                <a:gd name="T21" fmla="*/ 13 h 20"/>
                <a:gd name="T22" fmla="*/ 14 w 20"/>
                <a:gd name="T23" fmla="*/ 14 h 20"/>
                <a:gd name="T24" fmla="*/ 13 w 20"/>
                <a:gd name="T25" fmla="*/ 15 h 20"/>
                <a:gd name="T26" fmla="*/ 13 w 20"/>
                <a:gd name="T27" fmla="*/ 15 h 20"/>
                <a:gd name="T28" fmla="*/ 11 w 20"/>
                <a:gd name="T29" fmla="*/ 16 h 20"/>
                <a:gd name="T30" fmla="*/ 10 w 20"/>
                <a:gd name="T31" fmla="*/ 16 h 20"/>
                <a:gd name="T32" fmla="*/ 9 w 20"/>
                <a:gd name="T33" fmla="*/ 16 h 20"/>
                <a:gd name="T34" fmla="*/ 7 w 20"/>
                <a:gd name="T35" fmla="*/ 15 h 20"/>
                <a:gd name="T36" fmla="*/ 7 w 20"/>
                <a:gd name="T37" fmla="*/ 15 h 20"/>
                <a:gd name="T38" fmla="*/ 6 w 20"/>
                <a:gd name="T39" fmla="*/ 14 h 20"/>
                <a:gd name="T40" fmla="*/ 5 w 20"/>
                <a:gd name="T41" fmla="*/ 13 h 20"/>
                <a:gd name="T42" fmla="*/ 5 w 20"/>
                <a:gd name="T43" fmla="*/ 13 h 20"/>
                <a:gd name="T44" fmla="*/ 4 w 20"/>
                <a:gd name="T45" fmla="*/ 11 h 20"/>
                <a:gd name="T46" fmla="*/ 4 w 20"/>
                <a:gd name="T47" fmla="*/ 11 h 20"/>
                <a:gd name="T48" fmla="*/ 4 w 20"/>
                <a:gd name="T49" fmla="*/ 10 h 20"/>
                <a:gd name="T50" fmla="*/ 6 w 20"/>
                <a:gd name="T51" fmla="*/ 5 h 20"/>
                <a:gd name="T52" fmla="*/ 10 w 20"/>
                <a:gd name="T53" fmla="*/ 4 h 20"/>
                <a:gd name="T54" fmla="*/ 11 w 20"/>
                <a:gd name="T55" fmla="*/ 4 h 20"/>
                <a:gd name="T56" fmla="*/ 12 w 20"/>
                <a:gd name="T57" fmla="*/ 4 h 20"/>
                <a:gd name="T58" fmla="*/ 13 w 20"/>
                <a:gd name="T59" fmla="*/ 4 h 20"/>
                <a:gd name="T60" fmla="*/ 14 w 20"/>
                <a:gd name="T61" fmla="*/ 5 h 20"/>
                <a:gd name="T62" fmla="*/ 14 w 20"/>
                <a:gd name="T63" fmla="*/ 5 h 20"/>
                <a:gd name="T64" fmla="*/ 15 w 20"/>
                <a:gd name="T65" fmla="*/ 7 h 20"/>
                <a:gd name="T66" fmla="*/ 16 w 20"/>
                <a:gd name="T67" fmla="*/ 7 h 20"/>
                <a:gd name="T68" fmla="*/ 16 w 20"/>
                <a:gd name="T69" fmla="*/ 9 h 20"/>
                <a:gd name="T70" fmla="*/ 16 w 20"/>
                <a:gd name="T71" fmla="*/ 10 h 20"/>
                <a:gd name="T72" fmla="*/ 16 w 20"/>
                <a:gd name="T73" fmla="*/ 11 h 20"/>
                <a:gd name="T74" fmla="*/ 16 w 20"/>
                <a:gd name="T75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" h="20">
                  <a:moveTo>
                    <a:pt x="17" y="3"/>
                  </a:moveTo>
                  <a:cubicBezTo>
                    <a:pt x="15" y="1"/>
                    <a:pt x="13" y="0"/>
                    <a:pt x="10" y="0"/>
                  </a:cubicBezTo>
                  <a:cubicBezTo>
                    <a:pt x="7" y="0"/>
                    <a:pt x="5" y="1"/>
                    <a:pt x="3" y="3"/>
                  </a:cubicBezTo>
                  <a:cubicBezTo>
                    <a:pt x="1" y="4"/>
                    <a:pt x="0" y="7"/>
                    <a:pt x="0" y="10"/>
                  </a:cubicBezTo>
                  <a:cubicBezTo>
                    <a:pt x="0" y="12"/>
                    <a:pt x="1" y="15"/>
                    <a:pt x="3" y="17"/>
                  </a:cubicBezTo>
                  <a:cubicBezTo>
                    <a:pt x="5" y="19"/>
                    <a:pt x="7" y="20"/>
                    <a:pt x="10" y="20"/>
                  </a:cubicBezTo>
                  <a:cubicBezTo>
                    <a:pt x="13" y="20"/>
                    <a:pt x="15" y="19"/>
                    <a:pt x="17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7"/>
                    <a:pt x="19" y="4"/>
                    <a:pt x="17" y="3"/>
                  </a:cubicBezTo>
                  <a:close/>
                  <a:moveTo>
                    <a:pt x="16" y="12"/>
                  </a:moveTo>
                  <a:cubicBezTo>
                    <a:pt x="16" y="13"/>
                    <a:pt x="15" y="13"/>
                    <a:pt x="15" y="13"/>
                  </a:cubicBezTo>
                  <a:cubicBezTo>
                    <a:pt x="15" y="13"/>
                    <a:pt x="15" y="14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2" y="16"/>
                    <a:pt x="11" y="16"/>
                  </a:cubicBezTo>
                  <a:cubicBezTo>
                    <a:pt x="11" y="16"/>
                    <a:pt x="11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6" y="14"/>
                    <a:pt x="6" y="14"/>
                  </a:cubicBezTo>
                  <a:cubicBezTo>
                    <a:pt x="6" y="14"/>
                    <a:pt x="5" y="14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2"/>
                    <a:pt x="4" y="12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8"/>
                    <a:pt x="5" y="6"/>
                    <a:pt x="6" y="5"/>
                  </a:cubicBezTo>
                  <a:cubicBezTo>
                    <a:pt x="7" y="4"/>
                    <a:pt x="8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5" y="6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8"/>
                    <a:pt x="16" y="9"/>
                  </a:cubicBezTo>
                  <a:cubicBezTo>
                    <a:pt x="16" y="9"/>
                    <a:pt x="16" y="9"/>
                    <a:pt x="16" y="10"/>
                  </a:cubicBezTo>
                  <a:cubicBezTo>
                    <a:pt x="16" y="10"/>
                    <a:pt x="16" y="11"/>
                    <a:pt x="16" y="11"/>
                  </a:cubicBezTo>
                  <a:cubicBezTo>
                    <a:pt x="16" y="11"/>
                    <a:pt x="16" y="12"/>
                    <a:pt x="16" y="1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7">
              <a:extLst>
                <a:ext uri="{FF2B5EF4-FFF2-40B4-BE49-F238E27FC236}">
                  <a16:creationId xmlns:a16="http://schemas.microsoft.com/office/drawing/2014/main" id="{C0F0A822-70C1-41EA-9EAE-B6DE80F8AC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7" y="2231"/>
              <a:ext cx="15" cy="17"/>
            </a:xfrm>
            <a:custGeom>
              <a:avLst/>
              <a:gdLst>
                <a:gd name="T0" fmla="*/ 0 w 6"/>
                <a:gd name="T1" fmla="*/ 4 h 7"/>
                <a:gd name="T2" fmla="*/ 3 w 6"/>
                <a:gd name="T3" fmla="*/ 7 h 7"/>
                <a:gd name="T4" fmla="*/ 6 w 6"/>
                <a:gd name="T5" fmla="*/ 4 h 7"/>
                <a:gd name="T6" fmla="*/ 3 w 6"/>
                <a:gd name="T7" fmla="*/ 0 h 7"/>
                <a:gd name="T8" fmla="*/ 0 w 6"/>
                <a:gd name="T9" fmla="*/ 4 h 7"/>
                <a:gd name="T10" fmla="*/ 3 w 6"/>
                <a:gd name="T11" fmla="*/ 2 h 7"/>
                <a:gd name="T12" fmla="*/ 5 w 6"/>
                <a:gd name="T13" fmla="*/ 4 h 7"/>
                <a:gd name="T14" fmla="*/ 3 w 6"/>
                <a:gd name="T15" fmla="*/ 6 h 7"/>
                <a:gd name="T16" fmla="*/ 1 w 6"/>
                <a:gd name="T17" fmla="*/ 4 h 7"/>
                <a:gd name="T18" fmla="*/ 3 w 6"/>
                <a:gd name="T1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0" y="4"/>
                  </a:moveTo>
                  <a:cubicBezTo>
                    <a:pt x="0" y="5"/>
                    <a:pt x="1" y="7"/>
                    <a:pt x="3" y="7"/>
                  </a:cubicBezTo>
                  <a:cubicBezTo>
                    <a:pt x="5" y="7"/>
                    <a:pt x="6" y="5"/>
                    <a:pt x="6" y="4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lose/>
                  <a:moveTo>
                    <a:pt x="3" y="2"/>
                  </a:moveTo>
                  <a:cubicBezTo>
                    <a:pt x="4" y="2"/>
                    <a:pt x="5" y="3"/>
                    <a:pt x="5" y="4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3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8">
              <a:extLst>
                <a:ext uri="{FF2B5EF4-FFF2-40B4-BE49-F238E27FC236}">
                  <a16:creationId xmlns:a16="http://schemas.microsoft.com/office/drawing/2014/main" id="{EC4ADDB7-E912-4CA0-ADCC-308A27182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8" y="2103"/>
              <a:ext cx="52" cy="49"/>
            </a:xfrm>
            <a:custGeom>
              <a:avLst/>
              <a:gdLst>
                <a:gd name="T0" fmla="*/ 11 w 21"/>
                <a:gd name="T1" fmla="*/ 0 h 20"/>
                <a:gd name="T2" fmla="*/ 7 w 21"/>
                <a:gd name="T3" fmla="*/ 1 h 20"/>
                <a:gd name="T4" fmla="*/ 2 w 21"/>
                <a:gd name="T5" fmla="*/ 6 h 20"/>
                <a:gd name="T6" fmla="*/ 1 w 21"/>
                <a:gd name="T7" fmla="*/ 14 h 20"/>
                <a:gd name="T8" fmla="*/ 11 w 21"/>
                <a:gd name="T9" fmla="*/ 20 h 20"/>
                <a:gd name="T10" fmla="*/ 14 w 21"/>
                <a:gd name="T11" fmla="*/ 19 h 20"/>
                <a:gd name="T12" fmla="*/ 20 w 21"/>
                <a:gd name="T13" fmla="*/ 14 h 20"/>
                <a:gd name="T14" fmla="*/ 20 w 21"/>
                <a:gd name="T15" fmla="*/ 7 h 20"/>
                <a:gd name="T16" fmla="*/ 11 w 21"/>
                <a:gd name="T17" fmla="*/ 0 h 20"/>
                <a:gd name="T18" fmla="*/ 16 w 21"/>
                <a:gd name="T19" fmla="*/ 13 h 20"/>
                <a:gd name="T20" fmla="*/ 16 w 21"/>
                <a:gd name="T21" fmla="*/ 13 h 20"/>
                <a:gd name="T22" fmla="*/ 13 w 21"/>
                <a:gd name="T23" fmla="*/ 16 h 20"/>
                <a:gd name="T24" fmla="*/ 11 w 21"/>
                <a:gd name="T25" fmla="*/ 16 h 20"/>
                <a:gd name="T26" fmla="*/ 5 w 21"/>
                <a:gd name="T27" fmla="*/ 12 h 20"/>
                <a:gd name="T28" fmla="*/ 5 w 21"/>
                <a:gd name="T29" fmla="*/ 8 h 20"/>
                <a:gd name="T30" fmla="*/ 9 w 21"/>
                <a:gd name="T31" fmla="*/ 4 h 20"/>
                <a:gd name="T32" fmla="*/ 11 w 21"/>
                <a:gd name="T33" fmla="*/ 4 h 20"/>
                <a:gd name="T34" fmla="*/ 17 w 21"/>
                <a:gd name="T35" fmla="*/ 8 h 20"/>
                <a:gd name="T36" fmla="*/ 16 w 21"/>
                <a:gd name="T3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cubicBezTo>
                    <a:pt x="10" y="0"/>
                    <a:pt x="8" y="0"/>
                    <a:pt x="7" y="1"/>
                  </a:cubicBezTo>
                  <a:cubicBezTo>
                    <a:pt x="5" y="2"/>
                    <a:pt x="3" y="4"/>
                    <a:pt x="2" y="6"/>
                  </a:cubicBezTo>
                  <a:cubicBezTo>
                    <a:pt x="0" y="8"/>
                    <a:pt x="0" y="11"/>
                    <a:pt x="1" y="14"/>
                  </a:cubicBezTo>
                  <a:cubicBezTo>
                    <a:pt x="3" y="17"/>
                    <a:pt x="6" y="20"/>
                    <a:pt x="11" y="20"/>
                  </a:cubicBezTo>
                  <a:cubicBezTo>
                    <a:pt x="12" y="20"/>
                    <a:pt x="13" y="20"/>
                    <a:pt x="14" y="19"/>
                  </a:cubicBezTo>
                  <a:cubicBezTo>
                    <a:pt x="17" y="19"/>
                    <a:pt x="19" y="17"/>
                    <a:pt x="20" y="14"/>
                  </a:cubicBezTo>
                  <a:cubicBezTo>
                    <a:pt x="21" y="12"/>
                    <a:pt x="21" y="9"/>
                    <a:pt x="20" y="7"/>
                  </a:cubicBezTo>
                  <a:cubicBezTo>
                    <a:pt x="19" y="3"/>
                    <a:pt x="15" y="0"/>
                    <a:pt x="11" y="0"/>
                  </a:cubicBezTo>
                  <a:close/>
                  <a:moveTo>
                    <a:pt x="16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4" y="15"/>
                    <a:pt x="13" y="16"/>
                  </a:cubicBezTo>
                  <a:cubicBezTo>
                    <a:pt x="12" y="16"/>
                    <a:pt x="11" y="16"/>
                    <a:pt x="11" y="16"/>
                  </a:cubicBezTo>
                  <a:cubicBezTo>
                    <a:pt x="8" y="16"/>
                    <a:pt x="6" y="15"/>
                    <a:pt x="5" y="12"/>
                  </a:cubicBezTo>
                  <a:cubicBezTo>
                    <a:pt x="4" y="11"/>
                    <a:pt x="4" y="9"/>
                    <a:pt x="5" y="8"/>
                  </a:cubicBezTo>
                  <a:cubicBezTo>
                    <a:pt x="6" y="6"/>
                    <a:pt x="7" y="5"/>
                    <a:pt x="9" y="4"/>
                  </a:cubicBezTo>
                  <a:cubicBezTo>
                    <a:pt x="9" y="4"/>
                    <a:pt x="10" y="4"/>
                    <a:pt x="11" y="4"/>
                  </a:cubicBezTo>
                  <a:cubicBezTo>
                    <a:pt x="13" y="4"/>
                    <a:pt x="16" y="6"/>
                    <a:pt x="17" y="8"/>
                  </a:cubicBezTo>
                  <a:cubicBezTo>
                    <a:pt x="17" y="10"/>
                    <a:pt x="17" y="11"/>
                    <a:pt x="16" y="13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9">
              <a:extLst>
                <a:ext uri="{FF2B5EF4-FFF2-40B4-BE49-F238E27FC236}">
                  <a16:creationId xmlns:a16="http://schemas.microsoft.com/office/drawing/2014/main" id="{7F612469-7755-4725-9CF1-4A68583D0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" y="2321"/>
              <a:ext cx="37" cy="8"/>
            </a:xfrm>
            <a:custGeom>
              <a:avLst/>
              <a:gdLst>
                <a:gd name="T0" fmla="*/ 13 w 15"/>
                <a:gd name="T1" fmla="*/ 0 h 3"/>
                <a:gd name="T2" fmla="*/ 2 w 15"/>
                <a:gd name="T3" fmla="*/ 0 h 3"/>
                <a:gd name="T4" fmla="*/ 0 w 15"/>
                <a:gd name="T5" fmla="*/ 1 h 3"/>
                <a:gd name="T6" fmla="*/ 2 w 15"/>
                <a:gd name="T7" fmla="*/ 3 h 3"/>
                <a:gd name="T8" fmla="*/ 13 w 15"/>
                <a:gd name="T9" fmla="*/ 3 h 3"/>
                <a:gd name="T10" fmla="*/ 15 w 15"/>
                <a:gd name="T11" fmla="*/ 1 h 3"/>
                <a:gd name="T12" fmla="*/ 13 w 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5" y="3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0">
              <a:extLst>
                <a:ext uri="{FF2B5EF4-FFF2-40B4-BE49-F238E27FC236}">
                  <a16:creationId xmlns:a16="http://schemas.microsoft.com/office/drawing/2014/main" id="{FA8AB376-7776-4221-9FAF-57AB3B315A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3" y="2079"/>
              <a:ext cx="343" cy="309"/>
            </a:xfrm>
            <a:custGeom>
              <a:avLst/>
              <a:gdLst>
                <a:gd name="T0" fmla="*/ 138 w 140"/>
                <a:gd name="T1" fmla="*/ 78 h 126"/>
                <a:gd name="T2" fmla="*/ 119 w 140"/>
                <a:gd name="T3" fmla="*/ 53 h 126"/>
                <a:gd name="T4" fmla="*/ 73 w 140"/>
                <a:gd name="T5" fmla="*/ 36 h 126"/>
                <a:gd name="T6" fmla="*/ 63 w 140"/>
                <a:gd name="T7" fmla="*/ 1 h 126"/>
                <a:gd name="T8" fmla="*/ 35 w 140"/>
                <a:gd name="T9" fmla="*/ 11 h 126"/>
                <a:gd name="T10" fmla="*/ 45 w 140"/>
                <a:gd name="T11" fmla="*/ 39 h 126"/>
                <a:gd name="T12" fmla="*/ 59 w 140"/>
                <a:gd name="T13" fmla="*/ 40 h 126"/>
                <a:gd name="T14" fmla="*/ 58 w 140"/>
                <a:gd name="T15" fmla="*/ 51 h 126"/>
                <a:gd name="T16" fmla="*/ 56 w 140"/>
                <a:gd name="T17" fmla="*/ 55 h 126"/>
                <a:gd name="T18" fmla="*/ 56 w 140"/>
                <a:gd name="T19" fmla="*/ 56 h 126"/>
                <a:gd name="T20" fmla="*/ 52 w 140"/>
                <a:gd name="T21" fmla="*/ 59 h 126"/>
                <a:gd name="T22" fmla="*/ 43 w 140"/>
                <a:gd name="T23" fmla="*/ 63 h 126"/>
                <a:gd name="T24" fmla="*/ 36 w 140"/>
                <a:gd name="T25" fmla="*/ 51 h 126"/>
                <a:gd name="T26" fmla="*/ 6 w 140"/>
                <a:gd name="T27" fmla="*/ 51 h 126"/>
                <a:gd name="T28" fmla="*/ 6 w 140"/>
                <a:gd name="T29" fmla="*/ 80 h 126"/>
                <a:gd name="T30" fmla="*/ 35 w 140"/>
                <a:gd name="T31" fmla="*/ 81 h 126"/>
                <a:gd name="T32" fmla="*/ 61 w 140"/>
                <a:gd name="T33" fmla="*/ 78 h 126"/>
                <a:gd name="T34" fmla="*/ 95 w 140"/>
                <a:gd name="T35" fmla="*/ 126 h 126"/>
                <a:gd name="T36" fmla="*/ 104 w 140"/>
                <a:gd name="T37" fmla="*/ 124 h 126"/>
                <a:gd name="T38" fmla="*/ 88 w 140"/>
                <a:gd name="T39" fmla="*/ 78 h 126"/>
                <a:gd name="T40" fmla="*/ 136 w 140"/>
                <a:gd name="T41" fmla="*/ 74 h 126"/>
                <a:gd name="T42" fmla="*/ 87 w 140"/>
                <a:gd name="T43" fmla="*/ 75 h 126"/>
                <a:gd name="T44" fmla="*/ 119 w 140"/>
                <a:gd name="T45" fmla="*/ 57 h 126"/>
                <a:gd name="T46" fmla="*/ 32 w 140"/>
                <a:gd name="T47" fmla="*/ 78 h 126"/>
                <a:gd name="T48" fmla="*/ 9 w 140"/>
                <a:gd name="T49" fmla="*/ 78 h 126"/>
                <a:gd name="T50" fmla="*/ 9 w 140"/>
                <a:gd name="T51" fmla="*/ 54 h 126"/>
                <a:gd name="T52" fmla="*/ 33 w 140"/>
                <a:gd name="T53" fmla="*/ 54 h 126"/>
                <a:gd name="T54" fmla="*/ 43 w 140"/>
                <a:gd name="T55" fmla="*/ 67 h 126"/>
                <a:gd name="T56" fmla="*/ 56 w 140"/>
                <a:gd name="T57" fmla="*/ 61 h 126"/>
                <a:gd name="T58" fmla="*/ 60 w 140"/>
                <a:gd name="T59" fmla="*/ 75 h 126"/>
                <a:gd name="T60" fmla="*/ 99 w 140"/>
                <a:gd name="T61" fmla="*/ 122 h 126"/>
                <a:gd name="T62" fmla="*/ 78 w 140"/>
                <a:gd name="T63" fmla="*/ 112 h 126"/>
                <a:gd name="T64" fmla="*/ 61 w 140"/>
                <a:gd name="T65" fmla="*/ 54 h 126"/>
                <a:gd name="T66" fmla="*/ 63 w 140"/>
                <a:gd name="T67" fmla="*/ 40 h 126"/>
                <a:gd name="T68" fmla="*/ 57 w 140"/>
                <a:gd name="T69" fmla="*/ 37 h 126"/>
                <a:gd name="T70" fmla="*/ 38 w 140"/>
                <a:gd name="T71" fmla="*/ 26 h 126"/>
                <a:gd name="T72" fmla="*/ 54 w 140"/>
                <a:gd name="T73" fmla="*/ 3 h 126"/>
                <a:gd name="T74" fmla="*/ 70 w 140"/>
                <a:gd name="T75" fmla="*/ 26 h 126"/>
                <a:gd name="T76" fmla="*/ 100 w 140"/>
                <a:gd name="T77" fmla="*/ 12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" h="126">
                  <a:moveTo>
                    <a:pt x="88" y="78"/>
                  </a:moveTo>
                  <a:cubicBezTo>
                    <a:pt x="138" y="78"/>
                    <a:pt x="138" y="78"/>
                    <a:pt x="138" y="78"/>
                  </a:cubicBezTo>
                  <a:cubicBezTo>
                    <a:pt x="139" y="78"/>
                    <a:pt x="140" y="77"/>
                    <a:pt x="140" y="76"/>
                  </a:cubicBezTo>
                  <a:cubicBezTo>
                    <a:pt x="140" y="66"/>
                    <a:pt x="131" y="53"/>
                    <a:pt x="11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2" y="33"/>
                    <a:pt x="72" y="30"/>
                    <a:pt x="73" y="27"/>
                  </a:cubicBezTo>
                  <a:cubicBezTo>
                    <a:pt x="77" y="17"/>
                    <a:pt x="72" y="6"/>
                    <a:pt x="63" y="1"/>
                  </a:cubicBezTo>
                  <a:cubicBezTo>
                    <a:pt x="60" y="0"/>
                    <a:pt x="57" y="0"/>
                    <a:pt x="54" y="0"/>
                  </a:cubicBezTo>
                  <a:cubicBezTo>
                    <a:pt x="46" y="0"/>
                    <a:pt x="38" y="4"/>
                    <a:pt x="35" y="11"/>
                  </a:cubicBezTo>
                  <a:cubicBezTo>
                    <a:pt x="32" y="16"/>
                    <a:pt x="32" y="22"/>
                    <a:pt x="34" y="27"/>
                  </a:cubicBezTo>
                  <a:cubicBezTo>
                    <a:pt x="36" y="32"/>
                    <a:pt x="40" y="36"/>
                    <a:pt x="45" y="39"/>
                  </a:cubicBezTo>
                  <a:cubicBezTo>
                    <a:pt x="49" y="41"/>
                    <a:pt x="53" y="41"/>
                    <a:pt x="58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0" y="44"/>
                    <a:pt x="59" y="48"/>
                    <a:pt x="58" y="51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3"/>
                    <a:pt x="57" y="54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6"/>
                    <a:pt x="54" y="57"/>
                    <a:pt x="53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49" y="61"/>
                    <a:pt x="46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1" y="58"/>
                    <a:pt x="39" y="54"/>
                    <a:pt x="36" y="51"/>
                  </a:cubicBezTo>
                  <a:cubicBezTo>
                    <a:pt x="32" y="47"/>
                    <a:pt x="27" y="45"/>
                    <a:pt x="21" y="45"/>
                  </a:cubicBezTo>
                  <a:cubicBezTo>
                    <a:pt x="16" y="45"/>
                    <a:pt x="10" y="47"/>
                    <a:pt x="6" y="51"/>
                  </a:cubicBezTo>
                  <a:cubicBezTo>
                    <a:pt x="2" y="55"/>
                    <a:pt x="0" y="60"/>
                    <a:pt x="0" y="66"/>
                  </a:cubicBezTo>
                  <a:cubicBezTo>
                    <a:pt x="0" y="71"/>
                    <a:pt x="2" y="76"/>
                    <a:pt x="6" y="80"/>
                  </a:cubicBezTo>
                  <a:cubicBezTo>
                    <a:pt x="10" y="84"/>
                    <a:pt x="15" y="86"/>
                    <a:pt x="21" y="86"/>
                  </a:cubicBezTo>
                  <a:cubicBezTo>
                    <a:pt x="26" y="86"/>
                    <a:pt x="31" y="85"/>
                    <a:pt x="35" y="81"/>
                  </a:cubicBezTo>
                  <a:cubicBezTo>
                    <a:pt x="37" y="79"/>
                    <a:pt x="40" y="78"/>
                    <a:pt x="43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7" y="121"/>
                    <a:pt x="86" y="126"/>
                    <a:pt x="95" y="126"/>
                  </a:cubicBezTo>
                  <a:cubicBezTo>
                    <a:pt x="98" y="126"/>
                    <a:pt x="101" y="126"/>
                    <a:pt x="103" y="125"/>
                  </a:cubicBezTo>
                  <a:cubicBezTo>
                    <a:pt x="104" y="125"/>
                    <a:pt x="104" y="125"/>
                    <a:pt x="104" y="124"/>
                  </a:cubicBezTo>
                  <a:cubicBezTo>
                    <a:pt x="105" y="124"/>
                    <a:pt x="105" y="123"/>
                    <a:pt x="104" y="123"/>
                  </a:cubicBezTo>
                  <a:lnTo>
                    <a:pt x="88" y="78"/>
                  </a:lnTo>
                  <a:close/>
                  <a:moveTo>
                    <a:pt x="119" y="57"/>
                  </a:moveTo>
                  <a:cubicBezTo>
                    <a:pt x="127" y="57"/>
                    <a:pt x="134" y="66"/>
                    <a:pt x="136" y="74"/>
                  </a:cubicBezTo>
                  <a:cubicBezTo>
                    <a:pt x="136" y="75"/>
                    <a:pt x="136" y="75"/>
                    <a:pt x="136" y="75"/>
                  </a:cubicBezTo>
                  <a:cubicBezTo>
                    <a:pt x="87" y="75"/>
                    <a:pt x="87" y="75"/>
                    <a:pt x="87" y="75"/>
                  </a:cubicBezTo>
                  <a:cubicBezTo>
                    <a:pt x="81" y="57"/>
                    <a:pt x="81" y="57"/>
                    <a:pt x="81" y="57"/>
                  </a:cubicBezTo>
                  <a:lnTo>
                    <a:pt x="119" y="57"/>
                  </a:lnTo>
                  <a:close/>
                  <a:moveTo>
                    <a:pt x="43" y="75"/>
                  </a:moveTo>
                  <a:cubicBezTo>
                    <a:pt x="39" y="75"/>
                    <a:pt x="35" y="76"/>
                    <a:pt x="32" y="78"/>
                  </a:cubicBezTo>
                  <a:cubicBezTo>
                    <a:pt x="29" y="81"/>
                    <a:pt x="25" y="83"/>
                    <a:pt x="21" y="83"/>
                  </a:cubicBezTo>
                  <a:cubicBezTo>
                    <a:pt x="17" y="83"/>
                    <a:pt x="12" y="81"/>
                    <a:pt x="9" y="78"/>
                  </a:cubicBezTo>
                  <a:cubicBezTo>
                    <a:pt x="6" y="74"/>
                    <a:pt x="4" y="70"/>
                    <a:pt x="4" y="66"/>
                  </a:cubicBezTo>
                  <a:cubicBezTo>
                    <a:pt x="4" y="61"/>
                    <a:pt x="6" y="57"/>
                    <a:pt x="9" y="54"/>
                  </a:cubicBezTo>
                  <a:cubicBezTo>
                    <a:pt x="12" y="51"/>
                    <a:pt x="17" y="49"/>
                    <a:pt x="21" y="49"/>
                  </a:cubicBezTo>
                  <a:cubicBezTo>
                    <a:pt x="26" y="49"/>
                    <a:pt x="30" y="51"/>
                    <a:pt x="33" y="54"/>
                  </a:cubicBezTo>
                  <a:cubicBezTo>
                    <a:pt x="36" y="56"/>
                    <a:pt x="37" y="59"/>
                    <a:pt x="38" y="63"/>
                  </a:cubicBezTo>
                  <a:cubicBezTo>
                    <a:pt x="38" y="66"/>
                    <a:pt x="41" y="67"/>
                    <a:pt x="43" y="67"/>
                  </a:cubicBezTo>
                  <a:cubicBezTo>
                    <a:pt x="47" y="67"/>
                    <a:pt x="51" y="65"/>
                    <a:pt x="54" y="62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0" y="75"/>
                    <a:pt x="60" y="75"/>
                    <a:pt x="60" y="75"/>
                  </a:cubicBezTo>
                  <a:lnTo>
                    <a:pt x="43" y="75"/>
                  </a:lnTo>
                  <a:close/>
                  <a:moveTo>
                    <a:pt x="99" y="122"/>
                  </a:moveTo>
                  <a:cubicBezTo>
                    <a:pt x="98" y="123"/>
                    <a:pt x="97" y="123"/>
                    <a:pt x="95" y="123"/>
                  </a:cubicBezTo>
                  <a:cubicBezTo>
                    <a:pt x="88" y="123"/>
                    <a:pt x="80" y="119"/>
                    <a:pt x="78" y="112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59"/>
                    <a:pt x="60" y="56"/>
                    <a:pt x="61" y="54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3" y="48"/>
                    <a:pt x="64" y="44"/>
                    <a:pt x="63" y="40"/>
                  </a:cubicBezTo>
                  <a:cubicBezTo>
                    <a:pt x="62" y="38"/>
                    <a:pt x="60" y="37"/>
                    <a:pt x="58" y="37"/>
                  </a:cubicBezTo>
                  <a:cubicBezTo>
                    <a:pt x="58" y="37"/>
                    <a:pt x="57" y="37"/>
                    <a:pt x="57" y="37"/>
                  </a:cubicBezTo>
                  <a:cubicBezTo>
                    <a:pt x="54" y="37"/>
                    <a:pt x="50" y="37"/>
                    <a:pt x="46" y="35"/>
                  </a:cubicBezTo>
                  <a:cubicBezTo>
                    <a:pt x="42" y="34"/>
                    <a:pt x="39" y="30"/>
                    <a:pt x="38" y="26"/>
                  </a:cubicBezTo>
                  <a:cubicBezTo>
                    <a:pt x="36" y="22"/>
                    <a:pt x="36" y="17"/>
                    <a:pt x="38" y="13"/>
                  </a:cubicBezTo>
                  <a:cubicBezTo>
                    <a:pt x="41" y="7"/>
                    <a:pt x="47" y="3"/>
                    <a:pt x="54" y="3"/>
                  </a:cubicBezTo>
                  <a:cubicBezTo>
                    <a:pt x="56" y="3"/>
                    <a:pt x="59" y="4"/>
                    <a:pt x="61" y="5"/>
                  </a:cubicBezTo>
                  <a:cubicBezTo>
                    <a:pt x="69" y="9"/>
                    <a:pt x="73" y="18"/>
                    <a:pt x="70" y="26"/>
                  </a:cubicBezTo>
                  <a:cubicBezTo>
                    <a:pt x="68" y="30"/>
                    <a:pt x="68" y="34"/>
                    <a:pt x="70" y="37"/>
                  </a:cubicBezTo>
                  <a:cubicBezTo>
                    <a:pt x="100" y="122"/>
                    <a:pt x="100" y="122"/>
                    <a:pt x="100" y="122"/>
                  </a:cubicBezTo>
                  <a:lnTo>
                    <a:pt x="99" y="1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1">
              <a:extLst>
                <a:ext uri="{FF2B5EF4-FFF2-40B4-BE49-F238E27FC236}">
                  <a16:creationId xmlns:a16="http://schemas.microsoft.com/office/drawing/2014/main" id="{7EB38D94-5300-4A12-AE4B-3B50692B4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" y="2321"/>
              <a:ext cx="37" cy="8"/>
            </a:xfrm>
            <a:custGeom>
              <a:avLst/>
              <a:gdLst>
                <a:gd name="T0" fmla="*/ 13 w 15"/>
                <a:gd name="T1" fmla="*/ 0 h 3"/>
                <a:gd name="T2" fmla="*/ 2 w 15"/>
                <a:gd name="T3" fmla="*/ 0 h 3"/>
                <a:gd name="T4" fmla="*/ 0 w 15"/>
                <a:gd name="T5" fmla="*/ 1 h 3"/>
                <a:gd name="T6" fmla="*/ 2 w 15"/>
                <a:gd name="T7" fmla="*/ 3 h 3"/>
                <a:gd name="T8" fmla="*/ 13 w 15"/>
                <a:gd name="T9" fmla="*/ 3 h 3"/>
                <a:gd name="T10" fmla="*/ 15 w 15"/>
                <a:gd name="T11" fmla="*/ 1 h 3"/>
                <a:gd name="T12" fmla="*/ 13 w 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5" y="3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0" name="Group 114">
            <a:extLst>
              <a:ext uri="{FF2B5EF4-FFF2-40B4-BE49-F238E27FC236}">
                <a16:creationId xmlns:a16="http://schemas.microsoft.com/office/drawing/2014/main" id="{05CBE2EB-D5D7-4358-913D-86C72C0B12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0933" y="1554317"/>
            <a:ext cx="841375" cy="841375"/>
            <a:chOff x="298" y="1883"/>
            <a:chExt cx="530" cy="530"/>
          </a:xfrm>
        </p:grpSpPr>
        <p:sp>
          <p:nvSpPr>
            <p:cNvPr id="131" name="AutoShape 113">
              <a:extLst>
                <a:ext uri="{FF2B5EF4-FFF2-40B4-BE49-F238E27FC236}">
                  <a16:creationId xmlns:a16="http://schemas.microsoft.com/office/drawing/2014/main" id="{78FD2844-1D65-4211-8543-DF52A0B52E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" y="18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Oval 115">
              <a:extLst>
                <a:ext uri="{FF2B5EF4-FFF2-40B4-BE49-F238E27FC236}">
                  <a16:creationId xmlns:a16="http://schemas.microsoft.com/office/drawing/2014/main" id="{BE3B6090-159F-47F8-81F9-045E7C50B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" y="18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6">
              <a:extLst>
                <a:ext uri="{FF2B5EF4-FFF2-40B4-BE49-F238E27FC236}">
                  <a16:creationId xmlns:a16="http://schemas.microsoft.com/office/drawing/2014/main" id="{9A8F1AB9-1D5A-4F8D-8FF8-350E070BC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19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7">
              <a:extLst>
                <a:ext uri="{FF2B5EF4-FFF2-40B4-BE49-F238E27FC236}">
                  <a16:creationId xmlns:a16="http://schemas.microsoft.com/office/drawing/2014/main" id="{7D3F89F5-FE6C-4A56-8D52-7F511098F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" y="2131"/>
              <a:ext cx="51" cy="51"/>
            </a:xfrm>
            <a:custGeom>
              <a:avLst/>
              <a:gdLst>
                <a:gd name="T0" fmla="*/ 17 w 20"/>
                <a:gd name="T1" fmla="*/ 3 h 20"/>
                <a:gd name="T2" fmla="*/ 10 w 20"/>
                <a:gd name="T3" fmla="*/ 0 h 20"/>
                <a:gd name="T4" fmla="*/ 3 w 20"/>
                <a:gd name="T5" fmla="*/ 3 h 20"/>
                <a:gd name="T6" fmla="*/ 0 w 20"/>
                <a:gd name="T7" fmla="*/ 10 h 20"/>
                <a:gd name="T8" fmla="*/ 3 w 20"/>
                <a:gd name="T9" fmla="*/ 17 h 20"/>
                <a:gd name="T10" fmla="*/ 10 w 20"/>
                <a:gd name="T11" fmla="*/ 20 h 20"/>
                <a:gd name="T12" fmla="*/ 17 w 20"/>
                <a:gd name="T13" fmla="*/ 17 h 20"/>
                <a:gd name="T14" fmla="*/ 20 w 20"/>
                <a:gd name="T15" fmla="*/ 10 h 20"/>
                <a:gd name="T16" fmla="*/ 17 w 20"/>
                <a:gd name="T17" fmla="*/ 3 h 20"/>
                <a:gd name="T18" fmla="*/ 16 w 20"/>
                <a:gd name="T19" fmla="*/ 12 h 20"/>
                <a:gd name="T20" fmla="*/ 15 w 20"/>
                <a:gd name="T21" fmla="*/ 13 h 20"/>
                <a:gd name="T22" fmla="*/ 14 w 20"/>
                <a:gd name="T23" fmla="*/ 14 h 20"/>
                <a:gd name="T24" fmla="*/ 13 w 20"/>
                <a:gd name="T25" fmla="*/ 15 h 20"/>
                <a:gd name="T26" fmla="*/ 13 w 20"/>
                <a:gd name="T27" fmla="*/ 15 h 20"/>
                <a:gd name="T28" fmla="*/ 11 w 20"/>
                <a:gd name="T29" fmla="*/ 16 h 20"/>
                <a:gd name="T30" fmla="*/ 10 w 20"/>
                <a:gd name="T31" fmla="*/ 16 h 20"/>
                <a:gd name="T32" fmla="*/ 9 w 20"/>
                <a:gd name="T33" fmla="*/ 16 h 20"/>
                <a:gd name="T34" fmla="*/ 7 w 20"/>
                <a:gd name="T35" fmla="*/ 15 h 20"/>
                <a:gd name="T36" fmla="*/ 7 w 20"/>
                <a:gd name="T37" fmla="*/ 15 h 20"/>
                <a:gd name="T38" fmla="*/ 6 w 20"/>
                <a:gd name="T39" fmla="*/ 14 h 20"/>
                <a:gd name="T40" fmla="*/ 5 w 20"/>
                <a:gd name="T41" fmla="*/ 13 h 20"/>
                <a:gd name="T42" fmla="*/ 5 w 20"/>
                <a:gd name="T43" fmla="*/ 13 h 20"/>
                <a:gd name="T44" fmla="*/ 4 w 20"/>
                <a:gd name="T45" fmla="*/ 11 h 20"/>
                <a:gd name="T46" fmla="*/ 4 w 20"/>
                <a:gd name="T47" fmla="*/ 11 h 20"/>
                <a:gd name="T48" fmla="*/ 4 w 20"/>
                <a:gd name="T49" fmla="*/ 10 h 20"/>
                <a:gd name="T50" fmla="*/ 6 w 20"/>
                <a:gd name="T51" fmla="*/ 5 h 20"/>
                <a:gd name="T52" fmla="*/ 10 w 20"/>
                <a:gd name="T53" fmla="*/ 4 h 20"/>
                <a:gd name="T54" fmla="*/ 11 w 20"/>
                <a:gd name="T55" fmla="*/ 4 h 20"/>
                <a:gd name="T56" fmla="*/ 12 w 20"/>
                <a:gd name="T57" fmla="*/ 4 h 20"/>
                <a:gd name="T58" fmla="*/ 13 w 20"/>
                <a:gd name="T59" fmla="*/ 4 h 20"/>
                <a:gd name="T60" fmla="*/ 14 w 20"/>
                <a:gd name="T61" fmla="*/ 5 h 20"/>
                <a:gd name="T62" fmla="*/ 14 w 20"/>
                <a:gd name="T63" fmla="*/ 5 h 20"/>
                <a:gd name="T64" fmla="*/ 15 w 20"/>
                <a:gd name="T65" fmla="*/ 7 h 20"/>
                <a:gd name="T66" fmla="*/ 16 w 20"/>
                <a:gd name="T67" fmla="*/ 7 h 20"/>
                <a:gd name="T68" fmla="*/ 16 w 20"/>
                <a:gd name="T69" fmla="*/ 9 h 20"/>
                <a:gd name="T70" fmla="*/ 16 w 20"/>
                <a:gd name="T71" fmla="*/ 10 h 20"/>
                <a:gd name="T72" fmla="*/ 16 w 20"/>
                <a:gd name="T73" fmla="*/ 11 h 20"/>
                <a:gd name="T74" fmla="*/ 16 w 20"/>
                <a:gd name="T75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" h="20">
                  <a:moveTo>
                    <a:pt x="17" y="3"/>
                  </a:moveTo>
                  <a:cubicBezTo>
                    <a:pt x="15" y="1"/>
                    <a:pt x="13" y="0"/>
                    <a:pt x="10" y="0"/>
                  </a:cubicBezTo>
                  <a:cubicBezTo>
                    <a:pt x="7" y="0"/>
                    <a:pt x="5" y="1"/>
                    <a:pt x="3" y="3"/>
                  </a:cubicBezTo>
                  <a:cubicBezTo>
                    <a:pt x="1" y="4"/>
                    <a:pt x="0" y="7"/>
                    <a:pt x="0" y="10"/>
                  </a:cubicBezTo>
                  <a:cubicBezTo>
                    <a:pt x="0" y="12"/>
                    <a:pt x="1" y="15"/>
                    <a:pt x="3" y="17"/>
                  </a:cubicBezTo>
                  <a:cubicBezTo>
                    <a:pt x="5" y="19"/>
                    <a:pt x="7" y="20"/>
                    <a:pt x="10" y="20"/>
                  </a:cubicBezTo>
                  <a:cubicBezTo>
                    <a:pt x="13" y="20"/>
                    <a:pt x="15" y="19"/>
                    <a:pt x="17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7"/>
                    <a:pt x="19" y="4"/>
                    <a:pt x="17" y="3"/>
                  </a:cubicBezTo>
                  <a:close/>
                  <a:moveTo>
                    <a:pt x="16" y="12"/>
                  </a:moveTo>
                  <a:cubicBezTo>
                    <a:pt x="16" y="13"/>
                    <a:pt x="15" y="13"/>
                    <a:pt x="15" y="13"/>
                  </a:cubicBezTo>
                  <a:cubicBezTo>
                    <a:pt x="15" y="13"/>
                    <a:pt x="15" y="14"/>
                    <a:pt x="14" y="14"/>
                  </a:cubicBezTo>
                  <a:cubicBezTo>
                    <a:pt x="14" y="14"/>
                    <a:pt x="14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2" y="16"/>
                    <a:pt x="11" y="16"/>
                  </a:cubicBezTo>
                  <a:cubicBezTo>
                    <a:pt x="11" y="16"/>
                    <a:pt x="11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6" y="14"/>
                    <a:pt x="6" y="14"/>
                  </a:cubicBezTo>
                  <a:cubicBezTo>
                    <a:pt x="6" y="14"/>
                    <a:pt x="5" y="14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2"/>
                    <a:pt x="4" y="12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8"/>
                    <a:pt x="5" y="6"/>
                    <a:pt x="6" y="5"/>
                  </a:cubicBezTo>
                  <a:cubicBezTo>
                    <a:pt x="7" y="4"/>
                    <a:pt x="8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5" y="6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8"/>
                    <a:pt x="16" y="9"/>
                  </a:cubicBezTo>
                  <a:cubicBezTo>
                    <a:pt x="16" y="9"/>
                    <a:pt x="16" y="9"/>
                    <a:pt x="16" y="10"/>
                  </a:cubicBezTo>
                  <a:cubicBezTo>
                    <a:pt x="16" y="10"/>
                    <a:pt x="16" y="11"/>
                    <a:pt x="16" y="11"/>
                  </a:cubicBezTo>
                  <a:cubicBezTo>
                    <a:pt x="16" y="11"/>
                    <a:pt x="16" y="12"/>
                    <a:pt x="16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8">
              <a:extLst>
                <a:ext uri="{FF2B5EF4-FFF2-40B4-BE49-F238E27FC236}">
                  <a16:creationId xmlns:a16="http://schemas.microsoft.com/office/drawing/2014/main" id="{B3AD4E69-A201-4D05-B2EA-9958E257C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" y="2147"/>
              <a:ext cx="16" cy="18"/>
            </a:xfrm>
            <a:custGeom>
              <a:avLst/>
              <a:gdLst>
                <a:gd name="T0" fmla="*/ 0 w 6"/>
                <a:gd name="T1" fmla="*/ 4 h 7"/>
                <a:gd name="T2" fmla="*/ 3 w 6"/>
                <a:gd name="T3" fmla="*/ 7 h 7"/>
                <a:gd name="T4" fmla="*/ 6 w 6"/>
                <a:gd name="T5" fmla="*/ 4 h 7"/>
                <a:gd name="T6" fmla="*/ 3 w 6"/>
                <a:gd name="T7" fmla="*/ 0 h 7"/>
                <a:gd name="T8" fmla="*/ 0 w 6"/>
                <a:gd name="T9" fmla="*/ 4 h 7"/>
                <a:gd name="T10" fmla="*/ 3 w 6"/>
                <a:gd name="T11" fmla="*/ 2 h 7"/>
                <a:gd name="T12" fmla="*/ 5 w 6"/>
                <a:gd name="T13" fmla="*/ 4 h 7"/>
                <a:gd name="T14" fmla="*/ 3 w 6"/>
                <a:gd name="T15" fmla="*/ 6 h 7"/>
                <a:gd name="T16" fmla="*/ 1 w 6"/>
                <a:gd name="T17" fmla="*/ 4 h 7"/>
                <a:gd name="T18" fmla="*/ 3 w 6"/>
                <a:gd name="T1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0" y="4"/>
                  </a:moveTo>
                  <a:cubicBezTo>
                    <a:pt x="0" y="5"/>
                    <a:pt x="1" y="7"/>
                    <a:pt x="3" y="7"/>
                  </a:cubicBezTo>
                  <a:cubicBezTo>
                    <a:pt x="5" y="7"/>
                    <a:pt x="6" y="5"/>
                    <a:pt x="6" y="4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lose/>
                  <a:moveTo>
                    <a:pt x="3" y="2"/>
                  </a:moveTo>
                  <a:cubicBezTo>
                    <a:pt x="4" y="2"/>
                    <a:pt x="5" y="3"/>
                    <a:pt x="5" y="4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3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9">
              <a:extLst>
                <a:ext uri="{FF2B5EF4-FFF2-40B4-BE49-F238E27FC236}">
                  <a16:creationId xmlns:a16="http://schemas.microsoft.com/office/drawing/2014/main" id="{7EC2BBEF-5DA1-4741-A0F5-6A83651FC5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" y="2013"/>
              <a:ext cx="54" cy="52"/>
            </a:xfrm>
            <a:custGeom>
              <a:avLst/>
              <a:gdLst>
                <a:gd name="T0" fmla="*/ 11 w 21"/>
                <a:gd name="T1" fmla="*/ 0 h 20"/>
                <a:gd name="T2" fmla="*/ 7 w 21"/>
                <a:gd name="T3" fmla="*/ 1 h 20"/>
                <a:gd name="T4" fmla="*/ 2 w 21"/>
                <a:gd name="T5" fmla="*/ 6 h 20"/>
                <a:gd name="T6" fmla="*/ 1 w 21"/>
                <a:gd name="T7" fmla="*/ 14 h 20"/>
                <a:gd name="T8" fmla="*/ 11 w 21"/>
                <a:gd name="T9" fmla="*/ 20 h 20"/>
                <a:gd name="T10" fmla="*/ 14 w 21"/>
                <a:gd name="T11" fmla="*/ 19 h 20"/>
                <a:gd name="T12" fmla="*/ 20 w 21"/>
                <a:gd name="T13" fmla="*/ 14 h 20"/>
                <a:gd name="T14" fmla="*/ 20 w 21"/>
                <a:gd name="T15" fmla="*/ 7 h 20"/>
                <a:gd name="T16" fmla="*/ 11 w 21"/>
                <a:gd name="T17" fmla="*/ 0 h 20"/>
                <a:gd name="T18" fmla="*/ 16 w 21"/>
                <a:gd name="T19" fmla="*/ 13 h 20"/>
                <a:gd name="T20" fmla="*/ 16 w 21"/>
                <a:gd name="T21" fmla="*/ 13 h 20"/>
                <a:gd name="T22" fmla="*/ 13 w 21"/>
                <a:gd name="T23" fmla="*/ 16 h 20"/>
                <a:gd name="T24" fmla="*/ 11 w 21"/>
                <a:gd name="T25" fmla="*/ 16 h 20"/>
                <a:gd name="T26" fmla="*/ 5 w 21"/>
                <a:gd name="T27" fmla="*/ 12 h 20"/>
                <a:gd name="T28" fmla="*/ 5 w 21"/>
                <a:gd name="T29" fmla="*/ 8 h 20"/>
                <a:gd name="T30" fmla="*/ 9 w 21"/>
                <a:gd name="T31" fmla="*/ 4 h 20"/>
                <a:gd name="T32" fmla="*/ 11 w 21"/>
                <a:gd name="T33" fmla="*/ 4 h 20"/>
                <a:gd name="T34" fmla="*/ 17 w 21"/>
                <a:gd name="T35" fmla="*/ 8 h 20"/>
                <a:gd name="T36" fmla="*/ 16 w 21"/>
                <a:gd name="T3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cubicBezTo>
                    <a:pt x="10" y="0"/>
                    <a:pt x="8" y="0"/>
                    <a:pt x="7" y="1"/>
                  </a:cubicBezTo>
                  <a:cubicBezTo>
                    <a:pt x="5" y="2"/>
                    <a:pt x="3" y="4"/>
                    <a:pt x="2" y="6"/>
                  </a:cubicBezTo>
                  <a:cubicBezTo>
                    <a:pt x="0" y="8"/>
                    <a:pt x="0" y="11"/>
                    <a:pt x="1" y="14"/>
                  </a:cubicBezTo>
                  <a:cubicBezTo>
                    <a:pt x="3" y="17"/>
                    <a:pt x="6" y="20"/>
                    <a:pt x="11" y="20"/>
                  </a:cubicBezTo>
                  <a:cubicBezTo>
                    <a:pt x="12" y="20"/>
                    <a:pt x="13" y="20"/>
                    <a:pt x="14" y="19"/>
                  </a:cubicBezTo>
                  <a:cubicBezTo>
                    <a:pt x="17" y="19"/>
                    <a:pt x="19" y="17"/>
                    <a:pt x="20" y="14"/>
                  </a:cubicBezTo>
                  <a:cubicBezTo>
                    <a:pt x="21" y="12"/>
                    <a:pt x="21" y="9"/>
                    <a:pt x="20" y="7"/>
                  </a:cubicBezTo>
                  <a:cubicBezTo>
                    <a:pt x="19" y="3"/>
                    <a:pt x="15" y="0"/>
                    <a:pt x="11" y="0"/>
                  </a:cubicBezTo>
                  <a:close/>
                  <a:moveTo>
                    <a:pt x="16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4" y="15"/>
                    <a:pt x="13" y="16"/>
                  </a:cubicBezTo>
                  <a:cubicBezTo>
                    <a:pt x="12" y="16"/>
                    <a:pt x="11" y="16"/>
                    <a:pt x="11" y="16"/>
                  </a:cubicBezTo>
                  <a:cubicBezTo>
                    <a:pt x="8" y="16"/>
                    <a:pt x="6" y="15"/>
                    <a:pt x="5" y="12"/>
                  </a:cubicBezTo>
                  <a:cubicBezTo>
                    <a:pt x="4" y="11"/>
                    <a:pt x="4" y="9"/>
                    <a:pt x="5" y="8"/>
                  </a:cubicBezTo>
                  <a:cubicBezTo>
                    <a:pt x="6" y="6"/>
                    <a:pt x="7" y="5"/>
                    <a:pt x="9" y="4"/>
                  </a:cubicBezTo>
                  <a:cubicBezTo>
                    <a:pt x="9" y="4"/>
                    <a:pt x="10" y="4"/>
                    <a:pt x="11" y="4"/>
                  </a:cubicBezTo>
                  <a:cubicBezTo>
                    <a:pt x="13" y="4"/>
                    <a:pt x="16" y="6"/>
                    <a:pt x="17" y="8"/>
                  </a:cubicBezTo>
                  <a:cubicBezTo>
                    <a:pt x="17" y="10"/>
                    <a:pt x="17" y="11"/>
                    <a:pt x="16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0">
              <a:extLst>
                <a:ext uri="{FF2B5EF4-FFF2-40B4-BE49-F238E27FC236}">
                  <a16:creationId xmlns:a16="http://schemas.microsoft.com/office/drawing/2014/main" id="{0C471833-B3AB-4639-B2CF-11A2F2FD2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" y="2241"/>
              <a:ext cx="38" cy="8"/>
            </a:xfrm>
            <a:custGeom>
              <a:avLst/>
              <a:gdLst>
                <a:gd name="T0" fmla="*/ 13 w 15"/>
                <a:gd name="T1" fmla="*/ 0 h 3"/>
                <a:gd name="T2" fmla="*/ 2 w 15"/>
                <a:gd name="T3" fmla="*/ 0 h 3"/>
                <a:gd name="T4" fmla="*/ 0 w 15"/>
                <a:gd name="T5" fmla="*/ 1 h 3"/>
                <a:gd name="T6" fmla="*/ 2 w 15"/>
                <a:gd name="T7" fmla="*/ 3 h 3"/>
                <a:gd name="T8" fmla="*/ 13 w 15"/>
                <a:gd name="T9" fmla="*/ 3 h 3"/>
                <a:gd name="T10" fmla="*/ 15 w 15"/>
                <a:gd name="T11" fmla="*/ 1 h 3"/>
                <a:gd name="T12" fmla="*/ 13 w 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5" y="3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1">
              <a:extLst>
                <a:ext uri="{FF2B5EF4-FFF2-40B4-BE49-F238E27FC236}">
                  <a16:creationId xmlns:a16="http://schemas.microsoft.com/office/drawing/2014/main" id="{B33485B7-6A78-41C0-858A-53E104176C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" y="1988"/>
              <a:ext cx="358" cy="322"/>
            </a:xfrm>
            <a:custGeom>
              <a:avLst/>
              <a:gdLst>
                <a:gd name="T0" fmla="*/ 138 w 140"/>
                <a:gd name="T1" fmla="*/ 78 h 126"/>
                <a:gd name="T2" fmla="*/ 119 w 140"/>
                <a:gd name="T3" fmla="*/ 53 h 126"/>
                <a:gd name="T4" fmla="*/ 73 w 140"/>
                <a:gd name="T5" fmla="*/ 36 h 126"/>
                <a:gd name="T6" fmla="*/ 63 w 140"/>
                <a:gd name="T7" fmla="*/ 1 h 126"/>
                <a:gd name="T8" fmla="*/ 35 w 140"/>
                <a:gd name="T9" fmla="*/ 11 h 126"/>
                <a:gd name="T10" fmla="*/ 45 w 140"/>
                <a:gd name="T11" fmla="*/ 39 h 126"/>
                <a:gd name="T12" fmla="*/ 59 w 140"/>
                <a:gd name="T13" fmla="*/ 40 h 126"/>
                <a:gd name="T14" fmla="*/ 58 w 140"/>
                <a:gd name="T15" fmla="*/ 51 h 126"/>
                <a:gd name="T16" fmla="*/ 56 w 140"/>
                <a:gd name="T17" fmla="*/ 55 h 126"/>
                <a:gd name="T18" fmla="*/ 56 w 140"/>
                <a:gd name="T19" fmla="*/ 56 h 126"/>
                <a:gd name="T20" fmla="*/ 52 w 140"/>
                <a:gd name="T21" fmla="*/ 59 h 126"/>
                <a:gd name="T22" fmla="*/ 43 w 140"/>
                <a:gd name="T23" fmla="*/ 63 h 126"/>
                <a:gd name="T24" fmla="*/ 36 w 140"/>
                <a:gd name="T25" fmla="*/ 51 h 126"/>
                <a:gd name="T26" fmla="*/ 6 w 140"/>
                <a:gd name="T27" fmla="*/ 51 h 126"/>
                <a:gd name="T28" fmla="*/ 6 w 140"/>
                <a:gd name="T29" fmla="*/ 80 h 126"/>
                <a:gd name="T30" fmla="*/ 35 w 140"/>
                <a:gd name="T31" fmla="*/ 81 h 126"/>
                <a:gd name="T32" fmla="*/ 61 w 140"/>
                <a:gd name="T33" fmla="*/ 78 h 126"/>
                <a:gd name="T34" fmla="*/ 95 w 140"/>
                <a:gd name="T35" fmla="*/ 126 h 126"/>
                <a:gd name="T36" fmla="*/ 104 w 140"/>
                <a:gd name="T37" fmla="*/ 124 h 126"/>
                <a:gd name="T38" fmla="*/ 88 w 140"/>
                <a:gd name="T39" fmla="*/ 78 h 126"/>
                <a:gd name="T40" fmla="*/ 136 w 140"/>
                <a:gd name="T41" fmla="*/ 74 h 126"/>
                <a:gd name="T42" fmla="*/ 87 w 140"/>
                <a:gd name="T43" fmla="*/ 75 h 126"/>
                <a:gd name="T44" fmla="*/ 119 w 140"/>
                <a:gd name="T45" fmla="*/ 57 h 126"/>
                <a:gd name="T46" fmla="*/ 32 w 140"/>
                <a:gd name="T47" fmla="*/ 78 h 126"/>
                <a:gd name="T48" fmla="*/ 9 w 140"/>
                <a:gd name="T49" fmla="*/ 78 h 126"/>
                <a:gd name="T50" fmla="*/ 9 w 140"/>
                <a:gd name="T51" fmla="*/ 54 h 126"/>
                <a:gd name="T52" fmla="*/ 33 w 140"/>
                <a:gd name="T53" fmla="*/ 54 h 126"/>
                <a:gd name="T54" fmla="*/ 43 w 140"/>
                <a:gd name="T55" fmla="*/ 67 h 126"/>
                <a:gd name="T56" fmla="*/ 56 w 140"/>
                <a:gd name="T57" fmla="*/ 61 h 126"/>
                <a:gd name="T58" fmla="*/ 60 w 140"/>
                <a:gd name="T59" fmla="*/ 75 h 126"/>
                <a:gd name="T60" fmla="*/ 99 w 140"/>
                <a:gd name="T61" fmla="*/ 122 h 126"/>
                <a:gd name="T62" fmla="*/ 78 w 140"/>
                <a:gd name="T63" fmla="*/ 112 h 126"/>
                <a:gd name="T64" fmla="*/ 61 w 140"/>
                <a:gd name="T65" fmla="*/ 54 h 126"/>
                <a:gd name="T66" fmla="*/ 63 w 140"/>
                <a:gd name="T67" fmla="*/ 40 h 126"/>
                <a:gd name="T68" fmla="*/ 57 w 140"/>
                <a:gd name="T69" fmla="*/ 37 h 126"/>
                <a:gd name="T70" fmla="*/ 38 w 140"/>
                <a:gd name="T71" fmla="*/ 26 h 126"/>
                <a:gd name="T72" fmla="*/ 54 w 140"/>
                <a:gd name="T73" fmla="*/ 3 h 126"/>
                <a:gd name="T74" fmla="*/ 70 w 140"/>
                <a:gd name="T75" fmla="*/ 26 h 126"/>
                <a:gd name="T76" fmla="*/ 100 w 140"/>
                <a:gd name="T77" fmla="*/ 12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" h="126">
                  <a:moveTo>
                    <a:pt x="88" y="78"/>
                  </a:moveTo>
                  <a:cubicBezTo>
                    <a:pt x="138" y="78"/>
                    <a:pt x="138" y="78"/>
                    <a:pt x="138" y="78"/>
                  </a:cubicBezTo>
                  <a:cubicBezTo>
                    <a:pt x="139" y="78"/>
                    <a:pt x="140" y="77"/>
                    <a:pt x="140" y="76"/>
                  </a:cubicBezTo>
                  <a:cubicBezTo>
                    <a:pt x="140" y="66"/>
                    <a:pt x="131" y="53"/>
                    <a:pt x="11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2" y="33"/>
                    <a:pt x="72" y="30"/>
                    <a:pt x="73" y="27"/>
                  </a:cubicBezTo>
                  <a:cubicBezTo>
                    <a:pt x="77" y="17"/>
                    <a:pt x="72" y="6"/>
                    <a:pt x="63" y="1"/>
                  </a:cubicBezTo>
                  <a:cubicBezTo>
                    <a:pt x="60" y="0"/>
                    <a:pt x="57" y="0"/>
                    <a:pt x="54" y="0"/>
                  </a:cubicBezTo>
                  <a:cubicBezTo>
                    <a:pt x="46" y="0"/>
                    <a:pt x="38" y="4"/>
                    <a:pt x="35" y="11"/>
                  </a:cubicBezTo>
                  <a:cubicBezTo>
                    <a:pt x="32" y="16"/>
                    <a:pt x="32" y="22"/>
                    <a:pt x="34" y="27"/>
                  </a:cubicBezTo>
                  <a:cubicBezTo>
                    <a:pt x="36" y="32"/>
                    <a:pt x="40" y="36"/>
                    <a:pt x="45" y="39"/>
                  </a:cubicBezTo>
                  <a:cubicBezTo>
                    <a:pt x="49" y="41"/>
                    <a:pt x="53" y="41"/>
                    <a:pt x="58" y="40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0" y="44"/>
                    <a:pt x="59" y="48"/>
                    <a:pt x="58" y="51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3"/>
                    <a:pt x="57" y="54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6"/>
                    <a:pt x="54" y="57"/>
                    <a:pt x="53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49" y="61"/>
                    <a:pt x="46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1" y="58"/>
                    <a:pt x="39" y="54"/>
                    <a:pt x="36" y="51"/>
                  </a:cubicBezTo>
                  <a:cubicBezTo>
                    <a:pt x="32" y="47"/>
                    <a:pt x="27" y="45"/>
                    <a:pt x="21" y="45"/>
                  </a:cubicBezTo>
                  <a:cubicBezTo>
                    <a:pt x="16" y="45"/>
                    <a:pt x="10" y="47"/>
                    <a:pt x="6" y="51"/>
                  </a:cubicBezTo>
                  <a:cubicBezTo>
                    <a:pt x="2" y="55"/>
                    <a:pt x="0" y="60"/>
                    <a:pt x="0" y="66"/>
                  </a:cubicBezTo>
                  <a:cubicBezTo>
                    <a:pt x="0" y="71"/>
                    <a:pt x="2" y="76"/>
                    <a:pt x="6" y="80"/>
                  </a:cubicBezTo>
                  <a:cubicBezTo>
                    <a:pt x="10" y="84"/>
                    <a:pt x="15" y="86"/>
                    <a:pt x="21" y="86"/>
                  </a:cubicBezTo>
                  <a:cubicBezTo>
                    <a:pt x="26" y="86"/>
                    <a:pt x="31" y="85"/>
                    <a:pt x="35" y="81"/>
                  </a:cubicBezTo>
                  <a:cubicBezTo>
                    <a:pt x="37" y="79"/>
                    <a:pt x="40" y="78"/>
                    <a:pt x="43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7" y="121"/>
                    <a:pt x="86" y="126"/>
                    <a:pt x="95" y="126"/>
                  </a:cubicBezTo>
                  <a:cubicBezTo>
                    <a:pt x="98" y="126"/>
                    <a:pt x="101" y="126"/>
                    <a:pt x="103" y="125"/>
                  </a:cubicBezTo>
                  <a:cubicBezTo>
                    <a:pt x="104" y="125"/>
                    <a:pt x="104" y="125"/>
                    <a:pt x="104" y="124"/>
                  </a:cubicBezTo>
                  <a:cubicBezTo>
                    <a:pt x="105" y="124"/>
                    <a:pt x="105" y="123"/>
                    <a:pt x="104" y="123"/>
                  </a:cubicBezTo>
                  <a:lnTo>
                    <a:pt x="88" y="78"/>
                  </a:lnTo>
                  <a:close/>
                  <a:moveTo>
                    <a:pt x="119" y="57"/>
                  </a:moveTo>
                  <a:cubicBezTo>
                    <a:pt x="127" y="57"/>
                    <a:pt x="134" y="66"/>
                    <a:pt x="136" y="74"/>
                  </a:cubicBezTo>
                  <a:cubicBezTo>
                    <a:pt x="136" y="75"/>
                    <a:pt x="136" y="75"/>
                    <a:pt x="136" y="75"/>
                  </a:cubicBezTo>
                  <a:cubicBezTo>
                    <a:pt x="87" y="75"/>
                    <a:pt x="87" y="75"/>
                    <a:pt x="87" y="75"/>
                  </a:cubicBezTo>
                  <a:cubicBezTo>
                    <a:pt x="81" y="57"/>
                    <a:pt x="81" y="57"/>
                    <a:pt x="81" y="57"/>
                  </a:cubicBezTo>
                  <a:lnTo>
                    <a:pt x="119" y="57"/>
                  </a:lnTo>
                  <a:close/>
                  <a:moveTo>
                    <a:pt x="43" y="75"/>
                  </a:moveTo>
                  <a:cubicBezTo>
                    <a:pt x="39" y="75"/>
                    <a:pt x="35" y="76"/>
                    <a:pt x="32" y="78"/>
                  </a:cubicBezTo>
                  <a:cubicBezTo>
                    <a:pt x="29" y="81"/>
                    <a:pt x="25" y="83"/>
                    <a:pt x="21" y="83"/>
                  </a:cubicBezTo>
                  <a:cubicBezTo>
                    <a:pt x="17" y="83"/>
                    <a:pt x="12" y="81"/>
                    <a:pt x="9" y="78"/>
                  </a:cubicBezTo>
                  <a:cubicBezTo>
                    <a:pt x="6" y="74"/>
                    <a:pt x="4" y="70"/>
                    <a:pt x="4" y="66"/>
                  </a:cubicBezTo>
                  <a:cubicBezTo>
                    <a:pt x="4" y="61"/>
                    <a:pt x="6" y="57"/>
                    <a:pt x="9" y="54"/>
                  </a:cubicBezTo>
                  <a:cubicBezTo>
                    <a:pt x="12" y="51"/>
                    <a:pt x="17" y="49"/>
                    <a:pt x="21" y="49"/>
                  </a:cubicBezTo>
                  <a:cubicBezTo>
                    <a:pt x="26" y="49"/>
                    <a:pt x="30" y="51"/>
                    <a:pt x="33" y="54"/>
                  </a:cubicBezTo>
                  <a:cubicBezTo>
                    <a:pt x="36" y="56"/>
                    <a:pt x="37" y="59"/>
                    <a:pt x="38" y="63"/>
                  </a:cubicBezTo>
                  <a:cubicBezTo>
                    <a:pt x="38" y="66"/>
                    <a:pt x="41" y="67"/>
                    <a:pt x="43" y="67"/>
                  </a:cubicBezTo>
                  <a:cubicBezTo>
                    <a:pt x="47" y="67"/>
                    <a:pt x="51" y="65"/>
                    <a:pt x="54" y="62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0" y="75"/>
                    <a:pt x="60" y="75"/>
                    <a:pt x="60" y="75"/>
                  </a:cubicBezTo>
                  <a:lnTo>
                    <a:pt x="43" y="75"/>
                  </a:lnTo>
                  <a:close/>
                  <a:moveTo>
                    <a:pt x="99" y="122"/>
                  </a:moveTo>
                  <a:cubicBezTo>
                    <a:pt x="98" y="123"/>
                    <a:pt x="97" y="123"/>
                    <a:pt x="95" y="123"/>
                  </a:cubicBezTo>
                  <a:cubicBezTo>
                    <a:pt x="88" y="123"/>
                    <a:pt x="80" y="119"/>
                    <a:pt x="78" y="112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59"/>
                    <a:pt x="60" y="56"/>
                    <a:pt x="61" y="54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3" y="48"/>
                    <a:pt x="64" y="44"/>
                    <a:pt x="63" y="40"/>
                  </a:cubicBezTo>
                  <a:cubicBezTo>
                    <a:pt x="62" y="38"/>
                    <a:pt x="60" y="37"/>
                    <a:pt x="58" y="37"/>
                  </a:cubicBezTo>
                  <a:cubicBezTo>
                    <a:pt x="58" y="37"/>
                    <a:pt x="57" y="37"/>
                    <a:pt x="57" y="37"/>
                  </a:cubicBezTo>
                  <a:cubicBezTo>
                    <a:pt x="54" y="37"/>
                    <a:pt x="50" y="37"/>
                    <a:pt x="46" y="35"/>
                  </a:cubicBezTo>
                  <a:cubicBezTo>
                    <a:pt x="42" y="34"/>
                    <a:pt x="39" y="30"/>
                    <a:pt x="38" y="26"/>
                  </a:cubicBezTo>
                  <a:cubicBezTo>
                    <a:pt x="36" y="22"/>
                    <a:pt x="36" y="17"/>
                    <a:pt x="38" y="13"/>
                  </a:cubicBezTo>
                  <a:cubicBezTo>
                    <a:pt x="41" y="7"/>
                    <a:pt x="47" y="3"/>
                    <a:pt x="54" y="3"/>
                  </a:cubicBezTo>
                  <a:cubicBezTo>
                    <a:pt x="56" y="3"/>
                    <a:pt x="59" y="4"/>
                    <a:pt x="61" y="5"/>
                  </a:cubicBezTo>
                  <a:cubicBezTo>
                    <a:pt x="69" y="9"/>
                    <a:pt x="73" y="18"/>
                    <a:pt x="70" y="26"/>
                  </a:cubicBezTo>
                  <a:cubicBezTo>
                    <a:pt x="68" y="30"/>
                    <a:pt x="68" y="34"/>
                    <a:pt x="70" y="37"/>
                  </a:cubicBezTo>
                  <a:cubicBezTo>
                    <a:pt x="100" y="122"/>
                    <a:pt x="100" y="122"/>
                    <a:pt x="100" y="122"/>
                  </a:cubicBezTo>
                  <a:lnTo>
                    <a:pt x="99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2">
              <a:extLst>
                <a:ext uri="{FF2B5EF4-FFF2-40B4-BE49-F238E27FC236}">
                  <a16:creationId xmlns:a16="http://schemas.microsoft.com/office/drawing/2014/main" id="{31F0B206-9A27-40AC-A188-E27A1C048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" y="2241"/>
              <a:ext cx="38" cy="8"/>
            </a:xfrm>
            <a:custGeom>
              <a:avLst/>
              <a:gdLst>
                <a:gd name="T0" fmla="*/ 13 w 15"/>
                <a:gd name="T1" fmla="*/ 0 h 3"/>
                <a:gd name="T2" fmla="*/ 2 w 15"/>
                <a:gd name="T3" fmla="*/ 0 h 3"/>
                <a:gd name="T4" fmla="*/ 0 w 15"/>
                <a:gd name="T5" fmla="*/ 1 h 3"/>
                <a:gd name="T6" fmla="*/ 2 w 15"/>
                <a:gd name="T7" fmla="*/ 3 h 3"/>
                <a:gd name="T8" fmla="*/ 13 w 15"/>
                <a:gd name="T9" fmla="*/ 3 h 3"/>
                <a:gd name="T10" fmla="*/ 15 w 15"/>
                <a:gd name="T11" fmla="*/ 1 h 3"/>
                <a:gd name="T12" fmla="*/ 13 w 1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5" y="3"/>
                    <a:pt x="15" y="1"/>
                  </a:cubicBezTo>
                  <a:cubicBezTo>
                    <a:pt x="15" y="0"/>
                    <a:pt x="14" y="0"/>
                    <a:pt x="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4" name="Group 125">
            <a:extLst>
              <a:ext uri="{FF2B5EF4-FFF2-40B4-BE49-F238E27FC236}">
                <a16:creationId xmlns:a16="http://schemas.microsoft.com/office/drawing/2014/main" id="{31E4C477-94F8-4C4F-A42D-095DEF7C0F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5850" y="2857501"/>
            <a:ext cx="758825" cy="758825"/>
            <a:chOff x="2188" y="1943"/>
            <a:chExt cx="478" cy="478"/>
          </a:xfrm>
        </p:grpSpPr>
        <p:sp>
          <p:nvSpPr>
            <p:cNvPr id="145" name="AutoShape 124">
              <a:extLst>
                <a:ext uri="{FF2B5EF4-FFF2-40B4-BE49-F238E27FC236}">
                  <a16:creationId xmlns:a16="http://schemas.microsoft.com/office/drawing/2014/main" id="{C2FBE6E9-832D-489D-9AE5-3A51151980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88" y="194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6">
              <a:extLst>
                <a:ext uri="{FF2B5EF4-FFF2-40B4-BE49-F238E27FC236}">
                  <a16:creationId xmlns:a16="http://schemas.microsoft.com/office/drawing/2014/main" id="{7317731D-7341-4216-A2E3-B9493684B4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0" y="194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27">
              <a:extLst>
                <a:ext uri="{FF2B5EF4-FFF2-40B4-BE49-F238E27FC236}">
                  <a16:creationId xmlns:a16="http://schemas.microsoft.com/office/drawing/2014/main" id="{44607A86-3BCA-4A0B-BF11-8253F4AAA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3" y="2240"/>
              <a:ext cx="49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8">
              <a:extLst>
                <a:ext uri="{FF2B5EF4-FFF2-40B4-BE49-F238E27FC236}">
                  <a16:creationId xmlns:a16="http://schemas.microsoft.com/office/drawing/2014/main" id="{60D0494A-1017-4A91-A3A4-ACCC83E4F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2191"/>
              <a:ext cx="88" cy="93"/>
            </a:xfrm>
            <a:custGeom>
              <a:avLst/>
              <a:gdLst>
                <a:gd name="T0" fmla="*/ 59 w 88"/>
                <a:gd name="T1" fmla="*/ 4 h 93"/>
                <a:gd name="T2" fmla="*/ 44 w 88"/>
                <a:gd name="T3" fmla="*/ 0 h 93"/>
                <a:gd name="T4" fmla="*/ 29 w 88"/>
                <a:gd name="T5" fmla="*/ 4 h 93"/>
                <a:gd name="T6" fmla="*/ 19 w 88"/>
                <a:gd name="T7" fmla="*/ 17 h 93"/>
                <a:gd name="T8" fmla="*/ 17 w 88"/>
                <a:gd name="T9" fmla="*/ 27 h 93"/>
                <a:gd name="T10" fmla="*/ 22 w 88"/>
                <a:gd name="T11" fmla="*/ 44 h 93"/>
                <a:gd name="T12" fmla="*/ 12 w 88"/>
                <a:gd name="T13" fmla="*/ 54 h 93"/>
                <a:gd name="T14" fmla="*/ 0 w 88"/>
                <a:gd name="T15" fmla="*/ 63 h 93"/>
                <a:gd name="T16" fmla="*/ 0 w 88"/>
                <a:gd name="T17" fmla="*/ 71 h 93"/>
                <a:gd name="T18" fmla="*/ 7 w 88"/>
                <a:gd name="T19" fmla="*/ 93 h 93"/>
                <a:gd name="T20" fmla="*/ 10 w 88"/>
                <a:gd name="T21" fmla="*/ 63 h 93"/>
                <a:gd name="T22" fmla="*/ 22 w 88"/>
                <a:gd name="T23" fmla="*/ 56 h 93"/>
                <a:gd name="T24" fmla="*/ 34 w 88"/>
                <a:gd name="T25" fmla="*/ 54 h 93"/>
                <a:gd name="T26" fmla="*/ 29 w 88"/>
                <a:gd name="T27" fmla="*/ 41 h 93"/>
                <a:gd name="T28" fmla="*/ 24 w 88"/>
                <a:gd name="T29" fmla="*/ 31 h 93"/>
                <a:gd name="T30" fmla="*/ 24 w 88"/>
                <a:gd name="T31" fmla="*/ 22 h 93"/>
                <a:gd name="T32" fmla="*/ 32 w 88"/>
                <a:gd name="T33" fmla="*/ 12 h 93"/>
                <a:gd name="T34" fmla="*/ 44 w 88"/>
                <a:gd name="T35" fmla="*/ 7 h 93"/>
                <a:gd name="T36" fmla="*/ 46 w 88"/>
                <a:gd name="T37" fmla="*/ 7 h 93"/>
                <a:gd name="T38" fmla="*/ 59 w 88"/>
                <a:gd name="T39" fmla="*/ 12 h 93"/>
                <a:gd name="T40" fmla="*/ 64 w 88"/>
                <a:gd name="T41" fmla="*/ 19 h 93"/>
                <a:gd name="T42" fmla="*/ 64 w 88"/>
                <a:gd name="T43" fmla="*/ 27 h 93"/>
                <a:gd name="T44" fmla="*/ 61 w 88"/>
                <a:gd name="T45" fmla="*/ 39 h 93"/>
                <a:gd name="T46" fmla="*/ 54 w 88"/>
                <a:gd name="T47" fmla="*/ 54 h 93"/>
                <a:gd name="T48" fmla="*/ 76 w 88"/>
                <a:gd name="T49" fmla="*/ 61 h 93"/>
                <a:gd name="T50" fmla="*/ 81 w 88"/>
                <a:gd name="T51" fmla="*/ 68 h 93"/>
                <a:gd name="T52" fmla="*/ 81 w 88"/>
                <a:gd name="T53" fmla="*/ 93 h 93"/>
                <a:gd name="T54" fmla="*/ 86 w 88"/>
                <a:gd name="T55" fmla="*/ 63 h 93"/>
                <a:gd name="T56" fmla="*/ 81 w 88"/>
                <a:gd name="T57" fmla="*/ 56 h 93"/>
                <a:gd name="T58" fmla="*/ 64 w 88"/>
                <a:gd name="T59" fmla="*/ 49 h 93"/>
                <a:gd name="T60" fmla="*/ 71 w 88"/>
                <a:gd name="T61" fmla="*/ 27 h 93"/>
                <a:gd name="T62" fmla="*/ 66 w 88"/>
                <a:gd name="T63" fmla="*/ 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8" h="93">
                  <a:moveTo>
                    <a:pt x="66" y="9"/>
                  </a:moveTo>
                  <a:lnTo>
                    <a:pt x="59" y="4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2"/>
                  </a:lnTo>
                  <a:lnTo>
                    <a:pt x="29" y="4"/>
                  </a:lnTo>
                  <a:lnTo>
                    <a:pt x="24" y="7"/>
                  </a:lnTo>
                  <a:lnTo>
                    <a:pt x="19" y="17"/>
                  </a:lnTo>
                  <a:lnTo>
                    <a:pt x="17" y="24"/>
                  </a:lnTo>
                  <a:lnTo>
                    <a:pt x="17" y="27"/>
                  </a:lnTo>
                  <a:lnTo>
                    <a:pt x="17" y="39"/>
                  </a:lnTo>
                  <a:lnTo>
                    <a:pt x="22" y="44"/>
                  </a:lnTo>
                  <a:lnTo>
                    <a:pt x="24" y="49"/>
                  </a:lnTo>
                  <a:lnTo>
                    <a:pt x="12" y="54"/>
                  </a:lnTo>
                  <a:lnTo>
                    <a:pt x="5" y="58"/>
                  </a:lnTo>
                  <a:lnTo>
                    <a:pt x="0" y="63"/>
                  </a:lnTo>
                  <a:lnTo>
                    <a:pt x="0" y="68"/>
                  </a:lnTo>
                  <a:lnTo>
                    <a:pt x="0" y="71"/>
                  </a:lnTo>
                  <a:lnTo>
                    <a:pt x="0" y="93"/>
                  </a:lnTo>
                  <a:lnTo>
                    <a:pt x="7" y="93"/>
                  </a:lnTo>
                  <a:lnTo>
                    <a:pt x="7" y="66"/>
                  </a:lnTo>
                  <a:lnTo>
                    <a:pt x="10" y="63"/>
                  </a:lnTo>
                  <a:lnTo>
                    <a:pt x="14" y="58"/>
                  </a:lnTo>
                  <a:lnTo>
                    <a:pt x="22" y="56"/>
                  </a:lnTo>
                  <a:lnTo>
                    <a:pt x="27" y="54"/>
                  </a:lnTo>
                  <a:lnTo>
                    <a:pt x="34" y="54"/>
                  </a:lnTo>
                  <a:lnTo>
                    <a:pt x="34" y="46"/>
                  </a:lnTo>
                  <a:lnTo>
                    <a:pt x="29" y="41"/>
                  </a:lnTo>
                  <a:lnTo>
                    <a:pt x="24" y="36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2"/>
                  </a:lnTo>
                  <a:lnTo>
                    <a:pt x="27" y="17"/>
                  </a:lnTo>
                  <a:lnTo>
                    <a:pt x="32" y="12"/>
                  </a:lnTo>
                  <a:lnTo>
                    <a:pt x="37" y="9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6" y="7"/>
                  </a:lnTo>
                  <a:lnTo>
                    <a:pt x="54" y="9"/>
                  </a:lnTo>
                  <a:lnTo>
                    <a:pt x="59" y="12"/>
                  </a:lnTo>
                  <a:lnTo>
                    <a:pt x="61" y="17"/>
                  </a:lnTo>
                  <a:lnTo>
                    <a:pt x="64" y="19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34"/>
                  </a:lnTo>
                  <a:lnTo>
                    <a:pt x="61" y="39"/>
                  </a:lnTo>
                  <a:lnTo>
                    <a:pt x="54" y="46"/>
                  </a:lnTo>
                  <a:lnTo>
                    <a:pt x="54" y="54"/>
                  </a:lnTo>
                  <a:lnTo>
                    <a:pt x="68" y="56"/>
                  </a:lnTo>
                  <a:lnTo>
                    <a:pt x="76" y="61"/>
                  </a:lnTo>
                  <a:lnTo>
                    <a:pt x="78" y="66"/>
                  </a:lnTo>
                  <a:lnTo>
                    <a:pt x="81" y="68"/>
                  </a:lnTo>
                  <a:lnTo>
                    <a:pt x="81" y="71"/>
                  </a:lnTo>
                  <a:lnTo>
                    <a:pt x="81" y="93"/>
                  </a:lnTo>
                  <a:lnTo>
                    <a:pt x="88" y="93"/>
                  </a:lnTo>
                  <a:lnTo>
                    <a:pt x="86" y="63"/>
                  </a:lnTo>
                  <a:lnTo>
                    <a:pt x="83" y="58"/>
                  </a:lnTo>
                  <a:lnTo>
                    <a:pt x="81" y="56"/>
                  </a:lnTo>
                  <a:lnTo>
                    <a:pt x="76" y="51"/>
                  </a:lnTo>
                  <a:lnTo>
                    <a:pt x="64" y="49"/>
                  </a:lnTo>
                  <a:lnTo>
                    <a:pt x="71" y="34"/>
                  </a:lnTo>
                  <a:lnTo>
                    <a:pt x="71" y="27"/>
                  </a:lnTo>
                  <a:lnTo>
                    <a:pt x="68" y="17"/>
                  </a:lnTo>
                  <a:lnTo>
                    <a:pt x="66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29">
              <a:extLst>
                <a:ext uri="{FF2B5EF4-FFF2-40B4-BE49-F238E27FC236}">
                  <a16:creationId xmlns:a16="http://schemas.microsoft.com/office/drawing/2014/main" id="{CA08D30B-D8AA-44B3-88DC-3FE226726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3" y="2208"/>
              <a:ext cx="56" cy="1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0">
              <a:extLst>
                <a:ext uri="{FF2B5EF4-FFF2-40B4-BE49-F238E27FC236}">
                  <a16:creationId xmlns:a16="http://schemas.microsoft.com/office/drawing/2014/main" id="{B298318C-EF06-400B-9ECE-BBA734F6F1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8" y="2048"/>
              <a:ext cx="240" cy="270"/>
            </a:xfrm>
            <a:custGeom>
              <a:avLst/>
              <a:gdLst>
                <a:gd name="T0" fmla="*/ 93 w 240"/>
                <a:gd name="T1" fmla="*/ 42 h 270"/>
                <a:gd name="T2" fmla="*/ 0 w 240"/>
                <a:gd name="T3" fmla="*/ 96 h 270"/>
                <a:gd name="T4" fmla="*/ 240 w 240"/>
                <a:gd name="T5" fmla="*/ 270 h 270"/>
                <a:gd name="T6" fmla="*/ 147 w 240"/>
                <a:gd name="T7" fmla="*/ 96 h 270"/>
                <a:gd name="T8" fmla="*/ 147 w 240"/>
                <a:gd name="T9" fmla="*/ 40 h 270"/>
                <a:gd name="T10" fmla="*/ 147 w 240"/>
                <a:gd name="T11" fmla="*/ 37 h 270"/>
                <a:gd name="T12" fmla="*/ 147 w 240"/>
                <a:gd name="T13" fmla="*/ 37 h 270"/>
                <a:gd name="T14" fmla="*/ 145 w 240"/>
                <a:gd name="T15" fmla="*/ 0 h 270"/>
                <a:gd name="T16" fmla="*/ 93 w 240"/>
                <a:gd name="T17" fmla="*/ 0 h 270"/>
                <a:gd name="T18" fmla="*/ 91 w 240"/>
                <a:gd name="T19" fmla="*/ 5 h 270"/>
                <a:gd name="T20" fmla="*/ 93 w 240"/>
                <a:gd name="T21" fmla="*/ 40 h 270"/>
                <a:gd name="T22" fmla="*/ 137 w 240"/>
                <a:gd name="T23" fmla="*/ 10 h 270"/>
                <a:gd name="T24" fmla="*/ 103 w 240"/>
                <a:gd name="T25" fmla="*/ 30 h 270"/>
                <a:gd name="T26" fmla="*/ 101 w 240"/>
                <a:gd name="T27" fmla="*/ 42 h 270"/>
                <a:gd name="T28" fmla="*/ 140 w 240"/>
                <a:gd name="T29" fmla="*/ 69 h 270"/>
                <a:gd name="T30" fmla="*/ 120 w 240"/>
                <a:gd name="T31" fmla="*/ 57 h 270"/>
                <a:gd name="T32" fmla="*/ 106 w 240"/>
                <a:gd name="T33" fmla="*/ 64 h 270"/>
                <a:gd name="T34" fmla="*/ 101 w 240"/>
                <a:gd name="T35" fmla="*/ 42 h 270"/>
                <a:gd name="T36" fmla="*/ 128 w 240"/>
                <a:gd name="T37" fmla="*/ 81 h 270"/>
                <a:gd name="T38" fmla="*/ 120 w 240"/>
                <a:gd name="T39" fmla="*/ 86 h 270"/>
                <a:gd name="T40" fmla="*/ 113 w 240"/>
                <a:gd name="T41" fmla="*/ 81 h 270"/>
                <a:gd name="T42" fmla="*/ 110 w 240"/>
                <a:gd name="T43" fmla="*/ 74 h 270"/>
                <a:gd name="T44" fmla="*/ 113 w 240"/>
                <a:gd name="T45" fmla="*/ 67 h 270"/>
                <a:gd name="T46" fmla="*/ 120 w 240"/>
                <a:gd name="T47" fmla="*/ 64 h 270"/>
                <a:gd name="T48" fmla="*/ 130 w 240"/>
                <a:gd name="T49" fmla="*/ 69 h 270"/>
                <a:gd name="T50" fmla="*/ 130 w 240"/>
                <a:gd name="T51" fmla="*/ 76 h 270"/>
                <a:gd name="T52" fmla="*/ 110 w 240"/>
                <a:gd name="T53" fmla="*/ 91 h 270"/>
                <a:gd name="T54" fmla="*/ 120 w 240"/>
                <a:gd name="T55" fmla="*/ 94 h 270"/>
                <a:gd name="T56" fmla="*/ 135 w 240"/>
                <a:gd name="T57" fmla="*/ 86 h 270"/>
                <a:gd name="T58" fmla="*/ 140 w 240"/>
                <a:gd name="T59" fmla="*/ 113 h 270"/>
                <a:gd name="T60" fmla="*/ 101 w 240"/>
                <a:gd name="T61" fmla="*/ 81 h 270"/>
                <a:gd name="T62" fmla="*/ 101 w 240"/>
                <a:gd name="T63" fmla="*/ 118 h 270"/>
                <a:gd name="T64" fmla="*/ 145 w 240"/>
                <a:gd name="T65" fmla="*/ 118 h 270"/>
                <a:gd name="T66" fmla="*/ 147 w 240"/>
                <a:gd name="T67" fmla="*/ 113 h 270"/>
                <a:gd name="T68" fmla="*/ 228 w 240"/>
                <a:gd name="T69" fmla="*/ 106 h 270"/>
                <a:gd name="T70" fmla="*/ 12 w 240"/>
                <a:gd name="T71" fmla="*/ 260 h 270"/>
                <a:gd name="T72" fmla="*/ 93 w 240"/>
                <a:gd name="T73" fmla="*/ 106 h 270"/>
                <a:gd name="T74" fmla="*/ 98 w 240"/>
                <a:gd name="T75" fmla="*/ 118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0" h="270">
                  <a:moveTo>
                    <a:pt x="93" y="40"/>
                  </a:moveTo>
                  <a:lnTo>
                    <a:pt x="93" y="42"/>
                  </a:lnTo>
                  <a:lnTo>
                    <a:pt x="93" y="96"/>
                  </a:lnTo>
                  <a:lnTo>
                    <a:pt x="0" y="96"/>
                  </a:lnTo>
                  <a:lnTo>
                    <a:pt x="0" y="270"/>
                  </a:lnTo>
                  <a:lnTo>
                    <a:pt x="240" y="270"/>
                  </a:lnTo>
                  <a:lnTo>
                    <a:pt x="240" y="96"/>
                  </a:lnTo>
                  <a:lnTo>
                    <a:pt x="147" y="96"/>
                  </a:lnTo>
                  <a:lnTo>
                    <a:pt x="147" y="42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93" y="0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93" y="37"/>
                  </a:lnTo>
                  <a:lnTo>
                    <a:pt x="93" y="40"/>
                  </a:lnTo>
                  <a:close/>
                  <a:moveTo>
                    <a:pt x="103" y="10"/>
                  </a:moveTo>
                  <a:lnTo>
                    <a:pt x="137" y="10"/>
                  </a:lnTo>
                  <a:lnTo>
                    <a:pt x="137" y="30"/>
                  </a:lnTo>
                  <a:lnTo>
                    <a:pt x="103" y="30"/>
                  </a:lnTo>
                  <a:lnTo>
                    <a:pt x="103" y="10"/>
                  </a:lnTo>
                  <a:close/>
                  <a:moveTo>
                    <a:pt x="101" y="42"/>
                  </a:moveTo>
                  <a:lnTo>
                    <a:pt x="140" y="42"/>
                  </a:lnTo>
                  <a:lnTo>
                    <a:pt x="140" y="69"/>
                  </a:lnTo>
                  <a:lnTo>
                    <a:pt x="125" y="57"/>
                  </a:lnTo>
                  <a:lnTo>
                    <a:pt x="120" y="57"/>
                  </a:lnTo>
                  <a:lnTo>
                    <a:pt x="113" y="59"/>
                  </a:lnTo>
                  <a:lnTo>
                    <a:pt x="106" y="64"/>
                  </a:lnTo>
                  <a:lnTo>
                    <a:pt x="101" y="69"/>
                  </a:lnTo>
                  <a:lnTo>
                    <a:pt x="101" y="42"/>
                  </a:lnTo>
                  <a:close/>
                  <a:moveTo>
                    <a:pt x="130" y="76"/>
                  </a:moveTo>
                  <a:lnTo>
                    <a:pt x="128" y="81"/>
                  </a:lnTo>
                  <a:lnTo>
                    <a:pt x="125" y="84"/>
                  </a:lnTo>
                  <a:lnTo>
                    <a:pt x="120" y="86"/>
                  </a:lnTo>
                  <a:lnTo>
                    <a:pt x="115" y="84"/>
                  </a:lnTo>
                  <a:lnTo>
                    <a:pt x="113" y="81"/>
                  </a:lnTo>
                  <a:lnTo>
                    <a:pt x="110" y="76"/>
                  </a:lnTo>
                  <a:lnTo>
                    <a:pt x="110" y="74"/>
                  </a:lnTo>
                  <a:lnTo>
                    <a:pt x="110" y="69"/>
                  </a:lnTo>
                  <a:lnTo>
                    <a:pt x="113" y="67"/>
                  </a:lnTo>
                  <a:lnTo>
                    <a:pt x="118" y="64"/>
                  </a:lnTo>
                  <a:lnTo>
                    <a:pt x="120" y="64"/>
                  </a:lnTo>
                  <a:lnTo>
                    <a:pt x="125" y="67"/>
                  </a:lnTo>
                  <a:lnTo>
                    <a:pt x="130" y="69"/>
                  </a:lnTo>
                  <a:lnTo>
                    <a:pt x="130" y="74"/>
                  </a:lnTo>
                  <a:lnTo>
                    <a:pt x="130" y="76"/>
                  </a:lnTo>
                  <a:close/>
                  <a:moveTo>
                    <a:pt x="101" y="81"/>
                  </a:moveTo>
                  <a:lnTo>
                    <a:pt x="110" y="91"/>
                  </a:lnTo>
                  <a:lnTo>
                    <a:pt x="118" y="94"/>
                  </a:lnTo>
                  <a:lnTo>
                    <a:pt x="120" y="94"/>
                  </a:lnTo>
                  <a:lnTo>
                    <a:pt x="130" y="91"/>
                  </a:lnTo>
                  <a:lnTo>
                    <a:pt x="135" y="86"/>
                  </a:lnTo>
                  <a:lnTo>
                    <a:pt x="140" y="81"/>
                  </a:lnTo>
                  <a:lnTo>
                    <a:pt x="140" y="113"/>
                  </a:lnTo>
                  <a:lnTo>
                    <a:pt x="101" y="113"/>
                  </a:lnTo>
                  <a:lnTo>
                    <a:pt x="101" y="81"/>
                  </a:lnTo>
                  <a:close/>
                  <a:moveTo>
                    <a:pt x="98" y="118"/>
                  </a:moveTo>
                  <a:lnTo>
                    <a:pt x="101" y="118"/>
                  </a:lnTo>
                  <a:lnTo>
                    <a:pt x="101" y="118"/>
                  </a:lnTo>
                  <a:lnTo>
                    <a:pt x="145" y="118"/>
                  </a:lnTo>
                  <a:lnTo>
                    <a:pt x="145" y="116"/>
                  </a:lnTo>
                  <a:lnTo>
                    <a:pt x="147" y="113"/>
                  </a:lnTo>
                  <a:lnTo>
                    <a:pt x="147" y="106"/>
                  </a:lnTo>
                  <a:lnTo>
                    <a:pt x="228" y="106"/>
                  </a:lnTo>
                  <a:lnTo>
                    <a:pt x="228" y="260"/>
                  </a:lnTo>
                  <a:lnTo>
                    <a:pt x="12" y="260"/>
                  </a:lnTo>
                  <a:lnTo>
                    <a:pt x="12" y="106"/>
                  </a:lnTo>
                  <a:lnTo>
                    <a:pt x="93" y="106"/>
                  </a:lnTo>
                  <a:lnTo>
                    <a:pt x="96" y="118"/>
                  </a:lnTo>
                  <a:lnTo>
                    <a:pt x="98" y="1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1">
              <a:extLst>
                <a:ext uri="{FF2B5EF4-FFF2-40B4-BE49-F238E27FC236}">
                  <a16:creationId xmlns:a16="http://schemas.microsoft.com/office/drawing/2014/main" id="{79D87E96-D4C3-468B-8B63-4F89292BD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257"/>
              <a:ext cx="10" cy="27"/>
            </a:xfrm>
            <a:custGeom>
              <a:avLst/>
              <a:gdLst>
                <a:gd name="T0" fmla="*/ 7 w 10"/>
                <a:gd name="T1" fmla="*/ 27 h 27"/>
                <a:gd name="T2" fmla="*/ 7 w 10"/>
                <a:gd name="T3" fmla="*/ 24 h 27"/>
                <a:gd name="T4" fmla="*/ 7 w 10"/>
                <a:gd name="T5" fmla="*/ 24 h 27"/>
                <a:gd name="T6" fmla="*/ 7 w 10"/>
                <a:gd name="T7" fmla="*/ 7 h 27"/>
                <a:gd name="T8" fmla="*/ 10 w 10"/>
                <a:gd name="T9" fmla="*/ 5 h 27"/>
                <a:gd name="T10" fmla="*/ 7 w 10"/>
                <a:gd name="T11" fmla="*/ 2 h 27"/>
                <a:gd name="T12" fmla="*/ 7 w 10"/>
                <a:gd name="T13" fmla="*/ 0 h 27"/>
                <a:gd name="T14" fmla="*/ 5 w 10"/>
                <a:gd name="T15" fmla="*/ 0 h 27"/>
                <a:gd name="T16" fmla="*/ 2 w 10"/>
                <a:gd name="T17" fmla="*/ 2 h 27"/>
                <a:gd name="T18" fmla="*/ 0 w 10"/>
                <a:gd name="T19" fmla="*/ 2 h 27"/>
                <a:gd name="T20" fmla="*/ 0 w 10"/>
                <a:gd name="T21" fmla="*/ 2 h 27"/>
                <a:gd name="T22" fmla="*/ 0 w 10"/>
                <a:gd name="T23" fmla="*/ 5 h 27"/>
                <a:gd name="T24" fmla="*/ 0 w 10"/>
                <a:gd name="T25" fmla="*/ 10 h 27"/>
                <a:gd name="T26" fmla="*/ 0 w 10"/>
                <a:gd name="T27" fmla="*/ 24 h 27"/>
                <a:gd name="T28" fmla="*/ 2 w 10"/>
                <a:gd name="T29" fmla="*/ 27 h 27"/>
                <a:gd name="T30" fmla="*/ 2 w 10"/>
                <a:gd name="T31" fmla="*/ 27 h 27"/>
                <a:gd name="T32" fmla="*/ 2 w 10"/>
                <a:gd name="T33" fmla="*/ 27 h 27"/>
                <a:gd name="T34" fmla="*/ 5 w 10"/>
                <a:gd name="T35" fmla="*/ 27 h 27"/>
                <a:gd name="T36" fmla="*/ 5 w 10"/>
                <a:gd name="T37" fmla="*/ 27 h 27"/>
                <a:gd name="T38" fmla="*/ 7 w 10"/>
                <a:gd name="T39" fmla="*/ 27 h 27"/>
                <a:gd name="T40" fmla="*/ 7 w 10"/>
                <a:gd name="T41" fmla="*/ 27 h 27"/>
                <a:gd name="T42" fmla="*/ 7 w 10"/>
                <a:gd name="T4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7">
                  <a:moveTo>
                    <a:pt x="7" y="27"/>
                  </a:moveTo>
                  <a:lnTo>
                    <a:pt x="7" y="24"/>
                  </a:lnTo>
                  <a:lnTo>
                    <a:pt x="7" y="24"/>
                  </a:lnTo>
                  <a:lnTo>
                    <a:pt x="7" y="7"/>
                  </a:lnTo>
                  <a:lnTo>
                    <a:pt x="10" y="5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24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34">
            <a:extLst>
              <a:ext uri="{FF2B5EF4-FFF2-40B4-BE49-F238E27FC236}">
                <a16:creationId xmlns:a16="http://schemas.microsoft.com/office/drawing/2014/main" id="{C5371590-D9B0-46E4-B6F5-572903F859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9304" y="2816226"/>
            <a:ext cx="841375" cy="841375"/>
            <a:chOff x="1639" y="1883"/>
            <a:chExt cx="530" cy="530"/>
          </a:xfrm>
        </p:grpSpPr>
        <p:sp>
          <p:nvSpPr>
            <p:cNvPr id="153" name="AutoShape 133">
              <a:extLst>
                <a:ext uri="{FF2B5EF4-FFF2-40B4-BE49-F238E27FC236}">
                  <a16:creationId xmlns:a16="http://schemas.microsoft.com/office/drawing/2014/main" id="{7B71E36B-46E9-4C7A-BF59-04333E61E14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9" y="18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Oval 135">
              <a:extLst>
                <a:ext uri="{FF2B5EF4-FFF2-40B4-BE49-F238E27FC236}">
                  <a16:creationId xmlns:a16="http://schemas.microsoft.com/office/drawing/2014/main" id="{57F4772C-F14E-47AA-967B-4913228041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9" y="18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6">
              <a:extLst>
                <a:ext uri="{FF2B5EF4-FFF2-40B4-BE49-F238E27FC236}">
                  <a16:creationId xmlns:a16="http://schemas.microsoft.com/office/drawing/2014/main" id="{B712E09F-8611-4411-9591-00C9A23E2D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" y="19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37">
              <a:extLst>
                <a:ext uri="{FF2B5EF4-FFF2-40B4-BE49-F238E27FC236}">
                  <a16:creationId xmlns:a16="http://schemas.microsoft.com/office/drawing/2014/main" id="{1FAC75D8-22F4-47AE-8139-05E5E1822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1" y="2208"/>
              <a:ext cx="51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8">
              <a:extLst>
                <a:ext uri="{FF2B5EF4-FFF2-40B4-BE49-F238E27FC236}">
                  <a16:creationId xmlns:a16="http://schemas.microsoft.com/office/drawing/2014/main" id="{D67A427E-C4F5-4A3D-B02F-0ECC6874E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2157"/>
              <a:ext cx="92" cy="97"/>
            </a:xfrm>
            <a:custGeom>
              <a:avLst/>
              <a:gdLst>
                <a:gd name="T0" fmla="*/ 62 w 92"/>
                <a:gd name="T1" fmla="*/ 5 h 97"/>
                <a:gd name="T2" fmla="*/ 46 w 92"/>
                <a:gd name="T3" fmla="*/ 0 h 97"/>
                <a:gd name="T4" fmla="*/ 31 w 92"/>
                <a:gd name="T5" fmla="*/ 5 h 97"/>
                <a:gd name="T6" fmla="*/ 21 w 92"/>
                <a:gd name="T7" fmla="*/ 18 h 97"/>
                <a:gd name="T8" fmla="*/ 18 w 92"/>
                <a:gd name="T9" fmla="*/ 28 h 97"/>
                <a:gd name="T10" fmla="*/ 23 w 92"/>
                <a:gd name="T11" fmla="*/ 46 h 97"/>
                <a:gd name="T12" fmla="*/ 13 w 92"/>
                <a:gd name="T13" fmla="*/ 56 h 97"/>
                <a:gd name="T14" fmla="*/ 0 w 92"/>
                <a:gd name="T15" fmla="*/ 66 h 97"/>
                <a:gd name="T16" fmla="*/ 0 w 92"/>
                <a:gd name="T17" fmla="*/ 74 h 97"/>
                <a:gd name="T18" fmla="*/ 8 w 92"/>
                <a:gd name="T19" fmla="*/ 97 h 97"/>
                <a:gd name="T20" fmla="*/ 10 w 92"/>
                <a:gd name="T21" fmla="*/ 66 h 97"/>
                <a:gd name="T22" fmla="*/ 23 w 92"/>
                <a:gd name="T23" fmla="*/ 59 h 97"/>
                <a:gd name="T24" fmla="*/ 36 w 92"/>
                <a:gd name="T25" fmla="*/ 56 h 97"/>
                <a:gd name="T26" fmla="*/ 31 w 92"/>
                <a:gd name="T27" fmla="*/ 43 h 97"/>
                <a:gd name="T28" fmla="*/ 26 w 92"/>
                <a:gd name="T29" fmla="*/ 33 h 97"/>
                <a:gd name="T30" fmla="*/ 26 w 92"/>
                <a:gd name="T31" fmla="*/ 23 h 97"/>
                <a:gd name="T32" fmla="*/ 34 w 92"/>
                <a:gd name="T33" fmla="*/ 13 h 97"/>
                <a:gd name="T34" fmla="*/ 46 w 92"/>
                <a:gd name="T35" fmla="*/ 8 h 97"/>
                <a:gd name="T36" fmla="*/ 49 w 92"/>
                <a:gd name="T37" fmla="*/ 8 h 97"/>
                <a:gd name="T38" fmla="*/ 62 w 92"/>
                <a:gd name="T39" fmla="*/ 13 h 97"/>
                <a:gd name="T40" fmla="*/ 67 w 92"/>
                <a:gd name="T41" fmla="*/ 20 h 97"/>
                <a:gd name="T42" fmla="*/ 67 w 92"/>
                <a:gd name="T43" fmla="*/ 28 h 97"/>
                <a:gd name="T44" fmla="*/ 64 w 92"/>
                <a:gd name="T45" fmla="*/ 41 h 97"/>
                <a:gd name="T46" fmla="*/ 57 w 92"/>
                <a:gd name="T47" fmla="*/ 56 h 97"/>
                <a:gd name="T48" fmla="*/ 80 w 92"/>
                <a:gd name="T49" fmla="*/ 64 h 97"/>
                <a:gd name="T50" fmla="*/ 85 w 92"/>
                <a:gd name="T51" fmla="*/ 72 h 97"/>
                <a:gd name="T52" fmla="*/ 85 w 92"/>
                <a:gd name="T53" fmla="*/ 97 h 97"/>
                <a:gd name="T54" fmla="*/ 90 w 92"/>
                <a:gd name="T55" fmla="*/ 66 h 97"/>
                <a:gd name="T56" fmla="*/ 85 w 92"/>
                <a:gd name="T57" fmla="*/ 59 h 97"/>
                <a:gd name="T58" fmla="*/ 67 w 92"/>
                <a:gd name="T59" fmla="*/ 51 h 97"/>
                <a:gd name="T60" fmla="*/ 74 w 92"/>
                <a:gd name="T61" fmla="*/ 28 h 97"/>
                <a:gd name="T62" fmla="*/ 69 w 92"/>
                <a:gd name="T63" fmla="*/ 1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97">
                  <a:moveTo>
                    <a:pt x="69" y="10"/>
                  </a:moveTo>
                  <a:lnTo>
                    <a:pt x="62" y="5"/>
                  </a:lnTo>
                  <a:lnTo>
                    <a:pt x="54" y="2"/>
                  </a:lnTo>
                  <a:lnTo>
                    <a:pt x="46" y="0"/>
                  </a:lnTo>
                  <a:lnTo>
                    <a:pt x="39" y="2"/>
                  </a:lnTo>
                  <a:lnTo>
                    <a:pt x="31" y="5"/>
                  </a:lnTo>
                  <a:lnTo>
                    <a:pt x="26" y="8"/>
                  </a:lnTo>
                  <a:lnTo>
                    <a:pt x="21" y="18"/>
                  </a:lnTo>
                  <a:lnTo>
                    <a:pt x="18" y="25"/>
                  </a:lnTo>
                  <a:lnTo>
                    <a:pt x="18" y="28"/>
                  </a:lnTo>
                  <a:lnTo>
                    <a:pt x="18" y="41"/>
                  </a:lnTo>
                  <a:lnTo>
                    <a:pt x="23" y="46"/>
                  </a:lnTo>
                  <a:lnTo>
                    <a:pt x="26" y="51"/>
                  </a:lnTo>
                  <a:lnTo>
                    <a:pt x="13" y="56"/>
                  </a:lnTo>
                  <a:lnTo>
                    <a:pt x="5" y="61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97"/>
                  </a:lnTo>
                  <a:lnTo>
                    <a:pt x="8" y="97"/>
                  </a:lnTo>
                  <a:lnTo>
                    <a:pt x="8" y="69"/>
                  </a:lnTo>
                  <a:lnTo>
                    <a:pt x="10" y="66"/>
                  </a:lnTo>
                  <a:lnTo>
                    <a:pt x="16" y="61"/>
                  </a:lnTo>
                  <a:lnTo>
                    <a:pt x="23" y="59"/>
                  </a:lnTo>
                  <a:lnTo>
                    <a:pt x="28" y="56"/>
                  </a:lnTo>
                  <a:lnTo>
                    <a:pt x="36" y="56"/>
                  </a:lnTo>
                  <a:lnTo>
                    <a:pt x="36" y="49"/>
                  </a:lnTo>
                  <a:lnTo>
                    <a:pt x="31" y="43"/>
                  </a:lnTo>
                  <a:lnTo>
                    <a:pt x="26" y="38"/>
                  </a:lnTo>
                  <a:lnTo>
                    <a:pt x="26" y="33"/>
                  </a:lnTo>
                  <a:lnTo>
                    <a:pt x="26" y="28"/>
                  </a:lnTo>
                  <a:lnTo>
                    <a:pt x="26" y="23"/>
                  </a:lnTo>
                  <a:lnTo>
                    <a:pt x="28" y="18"/>
                  </a:lnTo>
                  <a:lnTo>
                    <a:pt x="34" y="13"/>
                  </a:lnTo>
                  <a:lnTo>
                    <a:pt x="39" y="10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9" y="8"/>
                  </a:lnTo>
                  <a:lnTo>
                    <a:pt x="57" y="10"/>
                  </a:lnTo>
                  <a:lnTo>
                    <a:pt x="62" y="13"/>
                  </a:lnTo>
                  <a:lnTo>
                    <a:pt x="64" y="18"/>
                  </a:lnTo>
                  <a:lnTo>
                    <a:pt x="67" y="20"/>
                  </a:lnTo>
                  <a:lnTo>
                    <a:pt x="67" y="25"/>
                  </a:lnTo>
                  <a:lnTo>
                    <a:pt x="67" y="28"/>
                  </a:lnTo>
                  <a:lnTo>
                    <a:pt x="67" y="36"/>
                  </a:lnTo>
                  <a:lnTo>
                    <a:pt x="64" y="41"/>
                  </a:lnTo>
                  <a:lnTo>
                    <a:pt x="57" y="49"/>
                  </a:lnTo>
                  <a:lnTo>
                    <a:pt x="57" y="56"/>
                  </a:lnTo>
                  <a:lnTo>
                    <a:pt x="72" y="59"/>
                  </a:lnTo>
                  <a:lnTo>
                    <a:pt x="80" y="64"/>
                  </a:lnTo>
                  <a:lnTo>
                    <a:pt x="82" y="69"/>
                  </a:lnTo>
                  <a:lnTo>
                    <a:pt x="85" y="72"/>
                  </a:lnTo>
                  <a:lnTo>
                    <a:pt x="85" y="74"/>
                  </a:lnTo>
                  <a:lnTo>
                    <a:pt x="85" y="97"/>
                  </a:lnTo>
                  <a:lnTo>
                    <a:pt x="92" y="97"/>
                  </a:lnTo>
                  <a:lnTo>
                    <a:pt x="90" y="66"/>
                  </a:lnTo>
                  <a:lnTo>
                    <a:pt x="87" y="61"/>
                  </a:lnTo>
                  <a:lnTo>
                    <a:pt x="85" y="59"/>
                  </a:lnTo>
                  <a:lnTo>
                    <a:pt x="80" y="54"/>
                  </a:lnTo>
                  <a:lnTo>
                    <a:pt x="67" y="51"/>
                  </a:lnTo>
                  <a:lnTo>
                    <a:pt x="74" y="36"/>
                  </a:lnTo>
                  <a:lnTo>
                    <a:pt x="74" y="28"/>
                  </a:lnTo>
                  <a:lnTo>
                    <a:pt x="72" y="18"/>
                  </a:lnTo>
                  <a:lnTo>
                    <a:pt x="69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39">
              <a:extLst>
                <a:ext uri="{FF2B5EF4-FFF2-40B4-BE49-F238E27FC236}">
                  <a16:creationId xmlns:a16="http://schemas.microsoft.com/office/drawing/2014/main" id="{6F5AEA80-5C1A-4BD3-9625-746B3EF3F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1" y="2175"/>
              <a:ext cx="59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0">
              <a:extLst>
                <a:ext uri="{FF2B5EF4-FFF2-40B4-BE49-F238E27FC236}">
                  <a16:creationId xmlns:a16="http://schemas.microsoft.com/office/drawing/2014/main" id="{5D30305E-F707-4A9B-AA1A-DAA321618E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2008"/>
              <a:ext cx="251" cy="282"/>
            </a:xfrm>
            <a:custGeom>
              <a:avLst/>
              <a:gdLst>
                <a:gd name="T0" fmla="*/ 97 w 251"/>
                <a:gd name="T1" fmla="*/ 44 h 282"/>
                <a:gd name="T2" fmla="*/ 0 w 251"/>
                <a:gd name="T3" fmla="*/ 100 h 282"/>
                <a:gd name="T4" fmla="*/ 251 w 251"/>
                <a:gd name="T5" fmla="*/ 282 h 282"/>
                <a:gd name="T6" fmla="*/ 153 w 251"/>
                <a:gd name="T7" fmla="*/ 100 h 282"/>
                <a:gd name="T8" fmla="*/ 153 w 251"/>
                <a:gd name="T9" fmla="*/ 41 h 282"/>
                <a:gd name="T10" fmla="*/ 153 w 251"/>
                <a:gd name="T11" fmla="*/ 39 h 282"/>
                <a:gd name="T12" fmla="*/ 153 w 251"/>
                <a:gd name="T13" fmla="*/ 39 h 282"/>
                <a:gd name="T14" fmla="*/ 151 w 251"/>
                <a:gd name="T15" fmla="*/ 0 h 282"/>
                <a:gd name="T16" fmla="*/ 97 w 251"/>
                <a:gd name="T17" fmla="*/ 0 h 282"/>
                <a:gd name="T18" fmla="*/ 94 w 251"/>
                <a:gd name="T19" fmla="*/ 5 h 282"/>
                <a:gd name="T20" fmla="*/ 97 w 251"/>
                <a:gd name="T21" fmla="*/ 41 h 282"/>
                <a:gd name="T22" fmla="*/ 143 w 251"/>
                <a:gd name="T23" fmla="*/ 11 h 282"/>
                <a:gd name="T24" fmla="*/ 107 w 251"/>
                <a:gd name="T25" fmla="*/ 31 h 282"/>
                <a:gd name="T26" fmla="*/ 105 w 251"/>
                <a:gd name="T27" fmla="*/ 44 h 282"/>
                <a:gd name="T28" fmla="*/ 146 w 251"/>
                <a:gd name="T29" fmla="*/ 72 h 282"/>
                <a:gd name="T30" fmla="*/ 125 w 251"/>
                <a:gd name="T31" fmla="*/ 59 h 282"/>
                <a:gd name="T32" fmla="*/ 110 w 251"/>
                <a:gd name="T33" fmla="*/ 67 h 282"/>
                <a:gd name="T34" fmla="*/ 105 w 251"/>
                <a:gd name="T35" fmla="*/ 44 h 282"/>
                <a:gd name="T36" fmla="*/ 133 w 251"/>
                <a:gd name="T37" fmla="*/ 85 h 282"/>
                <a:gd name="T38" fmla="*/ 125 w 251"/>
                <a:gd name="T39" fmla="*/ 90 h 282"/>
                <a:gd name="T40" fmla="*/ 117 w 251"/>
                <a:gd name="T41" fmla="*/ 85 h 282"/>
                <a:gd name="T42" fmla="*/ 115 w 251"/>
                <a:gd name="T43" fmla="*/ 77 h 282"/>
                <a:gd name="T44" fmla="*/ 117 w 251"/>
                <a:gd name="T45" fmla="*/ 69 h 282"/>
                <a:gd name="T46" fmla="*/ 125 w 251"/>
                <a:gd name="T47" fmla="*/ 67 h 282"/>
                <a:gd name="T48" fmla="*/ 135 w 251"/>
                <a:gd name="T49" fmla="*/ 72 h 282"/>
                <a:gd name="T50" fmla="*/ 135 w 251"/>
                <a:gd name="T51" fmla="*/ 80 h 282"/>
                <a:gd name="T52" fmla="*/ 115 w 251"/>
                <a:gd name="T53" fmla="*/ 95 h 282"/>
                <a:gd name="T54" fmla="*/ 125 w 251"/>
                <a:gd name="T55" fmla="*/ 98 h 282"/>
                <a:gd name="T56" fmla="*/ 141 w 251"/>
                <a:gd name="T57" fmla="*/ 90 h 282"/>
                <a:gd name="T58" fmla="*/ 146 w 251"/>
                <a:gd name="T59" fmla="*/ 118 h 282"/>
                <a:gd name="T60" fmla="*/ 105 w 251"/>
                <a:gd name="T61" fmla="*/ 85 h 282"/>
                <a:gd name="T62" fmla="*/ 105 w 251"/>
                <a:gd name="T63" fmla="*/ 123 h 282"/>
                <a:gd name="T64" fmla="*/ 151 w 251"/>
                <a:gd name="T65" fmla="*/ 123 h 282"/>
                <a:gd name="T66" fmla="*/ 153 w 251"/>
                <a:gd name="T67" fmla="*/ 118 h 282"/>
                <a:gd name="T68" fmla="*/ 238 w 251"/>
                <a:gd name="T69" fmla="*/ 110 h 282"/>
                <a:gd name="T70" fmla="*/ 13 w 251"/>
                <a:gd name="T71" fmla="*/ 272 h 282"/>
                <a:gd name="T72" fmla="*/ 97 w 251"/>
                <a:gd name="T73" fmla="*/ 110 h 282"/>
                <a:gd name="T74" fmla="*/ 102 w 251"/>
                <a:gd name="T75" fmla="*/ 12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1" h="282">
                  <a:moveTo>
                    <a:pt x="97" y="41"/>
                  </a:moveTo>
                  <a:lnTo>
                    <a:pt x="97" y="44"/>
                  </a:lnTo>
                  <a:lnTo>
                    <a:pt x="97" y="100"/>
                  </a:lnTo>
                  <a:lnTo>
                    <a:pt x="0" y="100"/>
                  </a:lnTo>
                  <a:lnTo>
                    <a:pt x="0" y="282"/>
                  </a:lnTo>
                  <a:lnTo>
                    <a:pt x="251" y="282"/>
                  </a:lnTo>
                  <a:lnTo>
                    <a:pt x="251" y="100"/>
                  </a:lnTo>
                  <a:lnTo>
                    <a:pt x="153" y="100"/>
                  </a:lnTo>
                  <a:lnTo>
                    <a:pt x="153" y="44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3" y="3"/>
                  </a:lnTo>
                  <a:lnTo>
                    <a:pt x="151" y="0"/>
                  </a:lnTo>
                  <a:lnTo>
                    <a:pt x="148" y="0"/>
                  </a:lnTo>
                  <a:lnTo>
                    <a:pt x="97" y="0"/>
                  </a:lnTo>
                  <a:lnTo>
                    <a:pt x="97" y="5"/>
                  </a:lnTo>
                  <a:lnTo>
                    <a:pt x="94" y="5"/>
                  </a:lnTo>
                  <a:lnTo>
                    <a:pt x="97" y="39"/>
                  </a:lnTo>
                  <a:lnTo>
                    <a:pt x="97" y="41"/>
                  </a:lnTo>
                  <a:close/>
                  <a:moveTo>
                    <a:pt x="107" y="11"/>
                  </a:moveTo>
                  <a:lnTo>
                    <a:pt x="143" y="11"/>
                  </a:lnTo>
                  <a:lnTo>
                    <a:pt x="143" y="31"/>
                  </a:lnTo>
                  <a:lnTo>
                    <a:pt x="107" y="31"/>
                  </a:lnTo>
                  <a:lnTo>
                    <a:pt x="107" y="11"/>
                  </a:lnTo>
                  <a:close/>
                  <a:moveTo>
                    <a:pt x="105" y="44"/>
                  </a:moveTo>
                  <a:lnTo>
                    <a:pt x="146" y="44"/>
                  </a:lnTo>
                  <a:lnTo>
                    <a:pt x="146" y="72"/>
                  </a:lnTo>
                  <a:lnTo>
                    <a:pt x="130" y="59"/>
                  </a:lnTo>
                  <a:lnTo>
                    <a:pt x="125" y="59"/>
                  </a:lnTo>
                  <a:lnTo>
                    <a:pt x="117" y="62"/>
                  </a:lnTo>
                  <a:lnTo>
                    <a:pt x="110" y="67"/>
                  </a:lnTo>
                  <a:lnTo>
                    <a:pt x="105" y="72"/>
                  </a:lnTo>
                  <a:lnTo>
                    <a:pt x="105" y="44"/>
                  </a:lnTo>
                  <a:close/>
                  <a:moveTo>
                    <a:pt x="135" y="80"/>
                  </a:moveTo>
                  <a:lnTo>
                    <a:pt x="133" y="85"/>
                  </a:lnTo>
                  <a:lnTo>
                    <a:pt x="130" y="87"/>
                  </a:lnTo>
                  <a:lnTo>
                    <a:pt x="125" y="90"/>
                  </a:lnTo>
                  <a:lnTo>
                    <a:pt x="120" y="87"/>
                  </a:lnTo>
                  <a:lnTo>
                    <a:pt x="117" y="85"/>
                  </a:lnTo>
                  <a:lnTo>
                    <a:pt x="115" y="80"/>
                  </a:lnTo>
                  <a:lnTo>
                    <a:pt x="115" y="77"/>
                  </a:lnTo>
                  <a:lnTo>
                    <a:pt x="115" y="72"/>
                  </a:lnTo>
                  <a:lnTo>
                    <a:pt x="117" y="69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30" y="69"/>
                  </a:lnTo>
                  <a:lnTo>
                    <a:pt x="135" y="72"/>
                  </a:lnTo>
                  <a:lnTo>
                    <a:pt x="135" y="77"/>
                  </a:lnTo>
                  <a:lnTo>
                    <a:pt x="135" y="80"/>
                  </a:lnTo>
                  <a:close/>
                  <a:moveTo>
                    <a:pt x="105" y="85"/>
                  </a:moveTo>
                  <a:lnTo>
                    <a:pt x="115" y="95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35" y="95"/>
                  </a:lnTo>
                  <a:lnTo>
                    <a:pt x="141" y="90"/>
                  </a:lnTo>
                  <a:lnTo>
                    <a:pt x="146" y="85"/>
                  </a:lnTo>
                  <a:lnTo>
                    <a:pt x="146" y="118"/>
                  </a:lnTo>
                  <a:lnTo>
                    <a:pt x="105" y="118"/>
                  </a:lnTo>
                  <a:lnTo>
                    <a:pt x="105" y="85"/>
                  </a:lnTo>
                  <a:close/>
                  <a:moveTo>
                    <a:pt x="102" y="123"/>
                  </a:moveTo>
                  <a:lnTo>
                    <a:pt x="105" y="123"/>
                  </a:lnTo>
                  <a:lnTo>
                    <a:pt x="105" y="123"/>
                  </a:lnTo>
                  <a:lnTo>
                    <a:pt x="151" y="123"/>
                  </a:lnTo>
                  <a:lnTo>
                    <a:pt x="151" y="121"/>
                  </a:lnTo>
                  <a:lnTo>
                    <a:pt x="153" y="118"/>
                  </a:lnTo>
                  <a:lnTo>
                    <a:pt x="153" y="110"/>
                  </a:lnTo>
                  <a:lnTo>
                    <a:pt x="238" y="110"/>
                  </a:lnTo>
                  <a:lnTo>
                    <a:pt x="238" y="272"/>
                  </a:lnTo>
                  <a:lnTo>
                    <a:pt x="13" y="272"/>
                  </a:lnTo>
                  <a:lnTo>
                    <a:pt x="13" y="110"/>
                  </a:lnTo>
                  <a:lnTo>
                    <a:pt x="97" y="110"/>
                  </a:lnTo>
                  <a:lnTo>
                    <a:pt x="100" y="123"/>
                  </a:lnTo>
                  <a:lnTo>
                    <a:pt x="102" y="1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1">
              <a:extLst>
                <a:ext uri="{FF2B5EF4-FFF2-40B4-BE49-F238E27FC236}">
                  <a16:creationId xmlns:a16="http://schemas.microsoft.com/office/drawing/2014/main" id="{C2979447-EE88-4325-9DFB-598D9B19E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4" y="2226"/>
              <a:ext cx="10" cy="28"/>
            </a:xfrm>
            <a:custGeom>
              <a:avLst/>
              <a:gdLst>
                <a:gd name="T0" fmla="*/ 8 w 10"/>
                <a:gd name="T1" fmla="*/ 28 h 28"/>
                <a:gd name="T2" fmla="*/ 8 w 10"/>
                <a:gd name="T3" fmla="*/ 26 h 28"/>
                <a:gd name="T4" fmla="*/ 8 w 10"/>
                <a:gd name="T5" fmla="*/ 26 h 28"/>
                <a:gd name="T6" fmla="*/ 8 w 10"/>
                <a:gd name="T7" fmla="*/ 8 h 28"/>
                <a:gd name="T8" fmla="*/ 10 w 10"/>
                <a:gd name="T9" fmla="*/ 5 h 28"/>
                <a:gd name="T10" fmla="*/ 8 w 10"/>
                <a:gd name="T11" fmla="*/ 3 h 28"/>
                <a:gd name="T12" fmla="*/ 8 w 10"/>
                <a:gd name="T13" fmla="*/ 0 h 28"/>
                <a:gd name="T14" fmla="*/ 5 w 10"/>
                <a:gd name="T15" fmla="*/ 0 h 28"/>
                <a:gd name="T16" fmla="*/ 3 w 10"/>
                <a:gd name="T17" fmla="*/ 3 h 28"/>
                <a:gd name="T18" fmla="*/ 0 w 10"/>
                <a:gd name="T19" fmla="*/ 3 h 28"/>
                <a:gd name="T20" fmla="*/ 0 w 10"/>
                <a:gd name="T21" fmla="*/ 3 h 28"/>
                <a:gd name="T22" fmla="*/ 0 w 10"/>
                <a:gd name="T23" fmla="*/ 5 h 28"/>
                <a:gd name="T24" fmla="*/ 0 w 10"/>
                <a:gd name="T25" fmla="*/ 10 h 28"/>
                <a:gd name="T26" fmla="*/ 0 w 10"/>
                <a:gd name="T27" fmla="*/ 26 h 28"/>
                <a:gd name="T28" fmla="*/ 3 w 10"/>
                <a:gd name="T29" fmla="*/ 28 h 28"/>
                <a:gd name="T30" fmla="*/ 3 w 10"/>
                <a:gd name="T31" fmla="*/ 28 h 28"/>
                <a:gd name="T32" fmla="*/ 3 w 10"/>
                <a:gd name="T33" fmla="*/ 28 h 28"/>
                <a:gd name="T34" fmla="*/ 5 w 10"/>
                <a:gd name="T35" fmla="*/ 28 h 28"/>
                <a:gd name="T36" fmla="*/ 5 w 10"/>
                <a:gd name="T37" fmla="*/ 28 h 28"/>
                <a:gd name="T38" fmla="*/ 8 w 10"/>
                <a:gd name="T39" fmla="*/ 28 h 28"/>
                <a:gd name="T40" fmla="*/ 8 w 10"/>
                <a:gd name="T41" fmla="*/ 28 h 28"/>
                <a:gd name="T42" fmla="*/ 8 w 10"/>
                <a:gd name="T4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8">
                  <a:moveTo>
                    <a:pt x="8" y="28"/>
                  </a:moveTo>
                  <a:lnTo>
                    <a:pt x="8" y="26"/>
                  </a:lnTo>
                  <a:lnTo>
                    <a:pt x="8" y="26"/>
                  </a:lnTo>
                  <a:lnTo>
                    <a:pt x="8" y="8"/>
                  </a:lnTo>
                  <a:lnTo>
                    <a:pt x="10" y="5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26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5" name="Group 144">
            <a:extLst>
              <a:ext uri="{FF2B5EF4-FFF2-40B4-BE49-F238E27FC236}">
                <a16:creationId xmlns:a16="http://schemas.microsoft.com/office/drawing/2014/main" id="{C91455D7-8470-4F6C-BD88-8F9F2582EB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667" y="2857501"/>
            <a:ext cx="758825" cy="758825"/>
            <a:chOff x="3769" y="1899"/>
            <a:chExt cx="478" cy="478"/>
          </a:xfrm>
        </p:grpSpPr>
        <p:sp>
          <p:nvSpPr>
            <p:cNvPr id="166" name="AutoShape 143">
              <a:extLst>
                <a:ext uri="{FF2B5EF4-FFF2-40B4-BE49-F238E27FC236}">
                  <a16:creationId xmlns:a16="http://schemas.microsoft.com/office/drawing/2014/main" id="{98C9E1A1-4AF4-4804-8C38-44CB6D5EAD9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69" y="189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5">
              <a:extLst>
                <a:ext uri="{FF2B5EF4-FFF2-40B4-BE49-F238E27FC236}">
                  <a16:creationId xmlns:a16="http://schemas.microsoft.com/office/drawing/2014/main" id="{7F2AB2FF-C2B0-46EB-AF76-EFB5BF2C19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" y="190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6">
              <a:extLst>
                <a:ext uri="{FF2B5EF4-FFF2-40B4-BE49-F238E27FC236}">
                  <a16:creationId xmlns:a16="http://schemas.microsoft.com/office/drawing/2014/main" id="{AB0A898D-718E-4680-8800-BC3A5A5E7F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9" y="1992"/>
              <a:ext cx="201" cy="294"/>
            </a:xfrm>
            <a:custGeom>
              <a:avLst/>
              <a:gdLst>
                <a:gd name="T0" fmla="*/ 59 w 201"/>
                <a:gd name="T1" fmla="*/ 199 h 294"/>
                <a:gd name="T2" fmla="*/ 68 w 201"/>
                <a:gd name="T3" fmla="*/ 189 h 294"/>
                <a:gd name="T4" fmla="*/ 86 w 201"/>
                <a:gd name="T5" fmla="*/ 182 h 294"/>
                <a:gd name="T6" fmla="*/ 90 w 201"/>
                <a:gd name="T7" fmla="*/ 177 h 294"/>
                <a:gd name="T8" fmla="*/ 90 w 201"/>
                <a:gd name="T9" fmla="*/ 167 h 294"/>
                <a:gd name="T10" fmla="*/ 86 w 201"/>
                <a:gd name="T11" fmla="*/ 159 h 294"/>
                <a:gd name="T12" fmla="*/ 83 w 201"/>
                <a:gd name="T13" fmla="*/ 140 h 294"/>
                <a:gd name="T14" fmla="*/ 86 w 201"/>
                <a:gd name="T15" fmla="*/ 128 h 294"/>
                <a:gd name="T16" fmla="*/ 95 w 201"/>
                <a:gd name="T17" fmla="*/ 123 h 294"/>
                <a:gd name="T18" fmla="*/ 108 w 201"/>
                <a:gd name="T19" fmla="*/ 125 h 294"/>
                <a:gd name="T20" fmla="*/ 115 w 201"/>
                <a:gd name="T21" fmla="*/ 133 h 294"/>
                <a:gd name="T22" fmla="*/ 117 w 201"/>
                <a:gd name="T23" fmla="*/ 150 h 294"/>
                <a:gd name="T24" fmla="*/ 112 w 201"/>
                <a:gd name="T25" fmla="*/ 162 h 294"/>
                <a:gd name="T26" fmla="*/ 108 w 201"/>
                <a:gd name="T27" fmla="*/ 172 h 294"/>
                <a:gd name="T28" fmla="*/ 110 w 201"/>
                <a:gd name="T29" fmla="*/ 179 h 294"/>
                <a:gd name="T30" fmla="*/ 117 w 201"/>
                <a:gd name="T31" fmla="*/ 184 h 294"/>
                <a:gd name="T32" fmla="*/ 137 w 201"/>
                <a:gd name="T33" fmla="*/ 194 h 294"/>
                <a:gd name="T34" fmla="*/ 144 w 201"/>
                <a:gd name="T35" fmla="*/ 209 h 294"/>
                <a:gd name="T36" fmla="*/ 83 w 201"/>
                <a:gd name="T37" fmla="*/ 115 h 294"/>
                <a:gd name="T38" fmla="*/ 73 w 201"/>
                <a:gd name="T39" fmla="*/ 130 h 294"/>
                <a:gd name="T40" fmla="*/ 71 w 201"/>
                <a:gd name="T41" fmla="*/ 145 h 294"/>
                <a:gd name="T42" fmla="*/ 73 w 201"/>
                <a:gd name="T43" fmla="*/ 159 h 294"/>
                <a:gd name="T44" fmla="*/ 81 w 201"/>
                <a:gd name="T45" fmla="*/ 169 h 294"/>
                <a:gd name="T46" fmla="*/ 78 w 201"/>
                <a:gd name="T47" fmla="*/ 174 h 294"/>
                <a:gd name="T48" fmla="*/ 59 w 201"/>
                <a:gd name="T49" fmla="*/ 184 h 294"/>
                <a:gd name="T50" fmla="*/ 49 w 201"/>
                <a:gd name="T51" fmla="*/ 196 h 294"/>
                <a:gd name="T52" fmla="*/ 44 w 201"/>
                <a:gd name="T53" fmla="*/ 213 h 294"/>
                <a:gd name="T54" fmla="*/ 46 w 201"/>
                <a:gd name="T55" fmla="*/ 218 h 294"/>
                <a:gd name="T56" fmla="*/ 152 w 201"/>
                <a:gd name="T57" fmla="*/ 218 h 294"/>
                <a:gd name="T58" fmla="*/ 157 w 201"/>
                <a:gd name="T59" fmla="*/ 216 h 294"/>
                <a:gd name="T60" fmla="*/ 154 w 201"/>
                <a:gd name="T61" fmla="*/ 201 h 294"/>
                <a:gd name="T62" fmla="*/ 144 w 201"/>
                <a:gd name="T63" fmla="*/ 186 h 294"/>
                <a:gd name="T64" fmla="*/ 127 w 201"/>
                <a:gd name="T65" fmla="*/ 177 h 294"/>
                <a:gd name="T66" fmla="*/ 117 w 201"/>
                <a:gd name="T67" fmla="*/ 172 h 294"/>
                <a:gd name="T68" fmla="*/ 125 w 201"/>
                <a:gd name="T69" fmla="*/ 162 h 294"/>
                <a:gd name="T70" fmla="*/ 127 w 201"/>
                <a:gd name="T71" fmla="*/ 150 h 294"/>
                <a:gd name="T72" fmla="*/ 127 w 201"/>
                <a:gd name="T73" fmla="*/ 135 h 294"/>
                <a:gd name="T74" fmla="*/ 120 w 201"/>
                <a:gd name="T75" fmla="*/ 120 h 294"/>
                <a:gd name="T76" fmla="*/ 103 w 201"/>
                <a:gd name="T77" fmla="*/ 113 h 294"/>
                <a:gd name="T78" fmla="*/ 14 w 201"/>
                <a:gd name="T79" fmla="*/ 280 h 294"/>
                <a:gd name="T80" fmla="*/ 188 w 201"/>
                <a:gd name="T81" fmla="*/ 93 h 294"/>
                <a:gd name="T82" fmla="*/ 184 w 201"/>
                <a:gd name="T83" fmla="*/ 280 h 294"/>
                <a:gd name="T84" fmla="*/ 12 w 201"/>
                <a:gd name="T85" fmla="*/ 69 h 294"/>
                <a:gd name="T86" fmla="*/ 17 w 201"/>
                <a:gd name="T87" fmla="*/ 59 h 294"/>
                <a:gd name="T88" fmla="*/ 181 w 201"/>
                <a:gd name="T89" fmla="*/ 59 h 294"/>
                <a:gd name="T90" fmla="*/ 188 w 201"/>
                <a:gd name="T91" fmla="*/ 66 h 294"/>
                <a:gd name="T92" fmla="*/ 81 w 201"/>
                <a:gd name="T93" fmla="*/ 0 h 294"/>
                <a:gd name="T94" fmla="*/ 14 w 201"/>
                <a:gd name="T95" fmla="*/ 47 h 294"/>
                <a:gd name="T96" fmla="*/ 7 w 201"/>
                <a:gd name="T97" fmla="*/ 54 h 294"/>
                <a:gd name="T98" fmla="*/ 0 w 201"/>
                <a:gd name="T99" fmla="*/ 64 h 294"/>
                <a:gd name="T100" fmla="*/ 0 w 201"/>
                <a:gd name="T101" fmla="*/ 275 h 294"/>
                <a:gd name="T102" fmla="*/ 5 w 201"/>
                <a:gd name="T103" fmla="*/ 285 h 294"/>
                <a:gd name="T104" fmla="*/ 14 w 201"/>
                <a:gd name="T105" fmla="*/ 292 h 294"/>
                <a:gd name="T106" fmla="*/ 179 w 201"/>
                <a:gd name="T107" fmla="*/ 294 h 294"/>
                <a:gd name="T108" fmla="*/ 188 w 201"/>
                <a:gd name="T109" fmla="*/ 289 h 294"/>
                <a:gd name="T110" fmla="*/ 196 w 201"/>
                <a:gd name="T111" fmla="*/ 282 h 294"/>
                <a:gd name="T112" fmla="*/ 201 w 201"/>
                <a:gd name="T113" fmla="*/ 272 h 294"/>
                <a:gd name="T114" fmla="*/ 198 w 201"/>
                <a:gd name="T115" fmla="*/ 59 h 294"/>
                <a:gd name="T116" fmla="*/ 191 w 201"/>
                <a:gd name="T117" fmla="*/ 49 h 294"/>
                <a:gd name="T118" fmla="*/ 181 w 201"/>
                <a:gd name="T119" fmla="*/ 47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1" h="294">
                  <a:moveTo>
                    <a:pt x="46" y="255"/>
                  </a:moveTo>
                  <a:lnTo>
                    <a:pt x="149" y="255"/>
                  </a:lnTo>
                  <a:lnTo>
                    <a:pt x="149" y="243"/>
                  </a:lnTo>
                  <a:lnTo>
                    <a:pt x="46" y="243"/>
                  </a:lnTo>
                  <a:lnTo>
                    <a:pt x="46" y="255"/>
                  </a:lnTo>
                  <a:close/>
                  <a:moveTo>
                    <a:pt x="56" y="206"/>
                  </a:moveTo>
                  <a:lnTo>
                    <a:pt x="56" y="204"/>
                  </a:lnTo>
                  <a:lnTo>
                    <a:pt x="56" y="204"/>
                  </a:lnTo>
                  <a:lnTo>
                    <a:pt x="59" y="201"/>
                  </a:lnTo>
                  <a:lnTo>
                    <a:pt x="59" y="199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4"/>
                  </a:lnTo>
                  <a:lnTo>
                    <a:pt x="63" y="194"/>
                  </a:lnTo>
                  <a:lnTo>
                    <a:pt x="63" y="194"/>
                  </a:lnTo>
                  <a:lnTo>
                    <a:pt x="63" y="191"/>
                  </a:lnTo>
                  <a:lnTo>
                    <a:pt x="66" y="191"/>
                  </a:lnTo>
                  <a:lnTo>
                    <a:pt x="66" y="191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71" y="186"/>
                  </a:lnTo>
                  <a:lnTo>
                    <a:pt x="73" y="186"/>
                  </a:lnTo>
                  <a:lnTo>
                    <a:pt x="76" y="186"/>
                  </a:lnTo>
                  <a:lnTo>
                    <a:pt x="78" y="186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8" y="182"/>
                  </a:lnTo>
                  <a:lnTo>
                    <a:pt x="88" y="182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90" y="174"/>
                  </a:lnTo>
                  <a:lnTo>
                    <a:pt x="93" y="174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0" y="164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8" y="162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6" y="157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3" y="147"/>
                  </a:lnTo>
                  <a:lnTo>
                    <a:pt x="81" y="145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3" y="140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0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8" y="128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5" y="123"/>
                  </a:lnTo>
                  <a:lnTo>
                    <a:pt x="98" y="123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3"/>
                  </a:lnTo>
                  <a:lnTo>
                    <a:pt x="103" y="123"/>
                  </a:lnTo>
                  <a:lnTo>
                    <a:pt x="103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5"/>
                  </a:lnTo>
                  <a:lnTo>
                    <a:pt x="110" y="125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40"/>
                  </a:lnTo>
                  <a:lnTo>
                    <a:pt x="117" y="142"/>
                  </a:lnTo>
                  <a:lnTo>
                    <a:pt x="117" y="145"/>
                  </a:lnTo>
                  <a:lnTo>
                    <a:pt x="117" y="147"/>
                  </a:lnTo>
                  <a:lnTo>
                    <a:pt x="117" y="150"/>
                  </a:lnTo>
                  <a:lnTo>
                    <a:pt x="117" y="152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2" y="159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08" y="167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7"/>
                  </a:lnTo>
                  <a:lnTo>
                    <a:pt x="108" y="177"/>
                  </a:lnTo>
                  <a:lnTo>
                    <a:pt x="110" y="177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15" y="182"/>
                  </a:lnTo>
                  <a:lnTo>
                    <a:pt x="115" y="184"/>
                  </a:lnTo>
                  <a:lnTo>
                    <a:pt x="115" y="184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20" y="184"/>
                  </a:lnTo>
                  <a:lnTo>
                    <a:pt x="122" y="186"/>
                  </a:lnTo>
                  <a:lnTo>
                    <a:pt x="125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30" y="189"/>
                  </a:lnTo>
                  <a:lnTo>
                    <a:pt x="132" y="189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7" y="194"/>
                  </a:lnTo>
                  <a:lnTo>
                    <a:pt x="137" y="194"/>
                  </a:lnTo>
                  <a:lnTo>
                    <a:pt x="137" y="194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42" y="199"/>
                  </a:lnTo>
                  <a:lnTo>
                    <a:pt x="142" y="201"/>
                  </a:lnTo>
                  <a:lnTo>
                    <a:pt x="142" y="204"/>
                  </a:lnTo>
                  <a:lnTo>
                    <a:pt x="144" y="204"/>
                  </a:lnTo>
                  <a:lnTo>
                    <a:pt x="144" y="206"/>
                  </a:lnTo>
                  <a:lnTo>
                    <a:pt x="144" y="209"/>
                  </a:lnTo>
                  <a:lnTo>
                    <a:pt x="56" y="209"/>
                  </a:lnTo>
                  <a:lnTo>
                    <a:pt x="56" y="206"/>
                  </a:lnTo>
                  <a:close/>
                  <a:moveTo>
                    <a:pt x="98" y="113"/>
                  </a:moveTo>
                  <a:lnTo>
                    <a:pt x="95" y="113"/>
                  </a:lnTo>
                  <a:lnTo>
                    <a:pt x="93" y="113"/>
                  </a:lnTo>
                  <a:lnTo>
                    <a:pt x="90" y="113"/>
                  </a:lnTo>
                  <a:lnTo>
                    <a:pt x="88" y="113"/>
                  </a:lnTo>
                  <a:lnTo>
                    <a:pt x="88" y="115"/>
                  </a:lnTo>
                  <a:lnTo>
                    <a:pt x="86" y="115"/>
                  </a:lnTo>
                  <a:lnTo>
                    <a:pt x="83" y="115"/>
                  </a:lnTo>
                  <a:lnTo>
                    <a:pt x="83" y="118"/>
                  </a:lnTo>
                  <a:lnTo>
                    <a:pt x="81" y="118"/>
                  </a:lnTo>
                  <a:lnTo>
                    <a:pt x="81" y="120"/>
                  </a:lnTo>
                  <a:lnTo>
                    <a:pt x="78" y="120"/>
                  </a:lnTo>
                  <a:lnTo>
                    <a:pt x="78" y="123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3" y="128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5"/>
                  </a:lnTo>
                  <a:lnTo>
                    <a:pt x="71" y="145"/>
                  </a:lnTo>
                  <a:lnTo>
                    <a:pt x="71" y="147"/>
                  </a:lnTo>
                  <a:lnTo>
                    <a:pt x="71" y="147"/>
                  </a:lnTo>
                  <a:lnTo>
                    <a:pt x="71" y="150"/>
                  </a:lnTo>
                  <a:lnTo>
                    <a:pt x="73" y="152"/>
                  </a:lnTo>
                  <a:lnTo>
                    <a:pt x="73" y="152"/>
                  </a:lnTo>
                  <a:lnTo>
                    <a:pt x="73" y="155"/>
                  </a:lnTo>
                  <a:lnTo>
                    <a:pt x="73" y="155"/>
                  </a:lnTo>
                  <a:lnTo>
                    <a:pt x="73" y="157"/>
                  </a:lnTo>
                  <a:lnTo>
                    <a:pt x="73" y="157"/>
                  </a:lnTo>
                  <a:lnTo>
                    <a:pt x="73" y="159"/>
                  </a:lnTo>
                  <a:lnTo>
                    <a:pt x="76" y="159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6" y="164"/>
                  </a:lnTo>
                  <a:lnTo>
                    <a:pt x="78" y="164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72"/>
                  </a:lnTo>
                  <a:lnTo>
                    <a:pt x="81" y="172"/>
                  </a:lnTo>
                  <a:lnTo>
                    <a:pt x="81" y="172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78" y="174"/>
                  </a:lnTo>
                  <a:lnTo>
                    <a:pt x="78" y="174"/>
                  </a:lnTo>
                  <a:lnTo>
                    <a:pt x="76" y="174"/>
                  </a:lnTo>
                  <a:lnTo>
                    <a:pt x="73" y="177"/>
                  </a:lnTo>
                  <a:lnTo>
                    <a:pt x="71" y="177"/>
                  </a:lnTo>
                  <a:lnTo>
                    <a:pt x="68" y="177"/>
                  </a:lnTo>
                  <a:lnTo>
                    <a:pt x="68" y="179"/>
                  </a:lnTo>
                  <a:lnTo>
                    <a:pt x="66" y="179"/>
                  </a:lnTo>
                  <a:lnTo>
                    <a:pt x="63" y="179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59" y="184"/>
                  </a:lnTo>
                  <a:lnTo>
                    <a:pt x="59" y="184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1" y="194"/>
                  </a:lnTo>
                  <a:lnTo>
                    <a:pt x="49" y="194"/>
                  </a:lnTo>
                  <a:lnTo>
                    <a:pt x="49" y="196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46" y="201"/>
                  </a:lnTo>
                  <a:lnTo>
                    <a:pt x="46" y="201"/>
                  </a:lnTo>
                  <a:lnTo>
                    <a:pt x="46" y="204"/>
                  </a:lnTo>
                  <a:lnTo>
                    <a:pt x="46" y="206"/>
                  </a:lnTo>
                  <a:lnTo>
                    <a:pt x="46" y="206"/>
                  </a:lnTo>
                  <a:lnTo>
                    <a:pt x="46" y="209"/>
                  </a:lnTo>
                  <a:lnTo>
                    <a:pt x="44" y="211"/>
                  </a:lnTo>
                  <a:lnTo>
                    <a:pt x="44" y="213"/>
                  </a:lnTo>
                  <a:lnTo>
                    <a:pt x="44" y="213"/>
                  </a:lnTo>
                  <a:lnTo>
                    <a:pt x="44" y="216"/>
                  </a:lnTo>
                  <a:lnTo>
                    <a:pt x="44" y="216"/>
                  </a:lnTo>
                  <a:lnTo>
                    <a:pt x="44" y="216"/>
                  </a:lnTo>
                  <a:lnTo>
                    <a:pt x="44" y="216"/>
                  </a:lnTo>
                  <a:lnTo>
                    <a:pt x="46" y="216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6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57" y="211"/>
                  </a:lnTo>
                  <a:lnTo>
                    <a:pt x="154" y="209"/>
                  </a:lnTo>
                  <a:lnTo>
                    <a:pt x="154" y="206"/>
                  </a:lnTo>
                  <a:lnTo>
                    <a:pt x="154" y="206"/>
                  </a:lnTo>
                  <a:lnTo>
                    <a:pt x="154" y="204"/>
                  </a:lnTo>
                  <a:lnTo>
                    <a:pt x="154" y="201"/>
                  </a:lnTo>
                  <a:lnTo>
                    <a:pt x="154" y="201"/>
                  </a:lnTo>
                  <a:lnTo>
                    <a:pt x="152" y="199"/>
                  </a:lnTo>
                  <a:lnTo>
                    <a:pt x="152" y="199"/>
                  </a:lnTo>
                  <a:lnTo>
                    <a:pt x="152" y="196"/>
                  </a:lnTo>
                  <a:lnTo>
                    <a:pt x="149" y="194"/>
                  </a:lnTo>
                  <a:lnTo>
                    <a:pt x="149" y="194"/>
                  </a:lnTo>
                  <a:lnTo>
                    <a:pt x="149" y="191"/>
                  </a:lnTo>
                  <a:lnTo>
                    <a:pt x="147" y="191"/>
                  </a:lnTo>
                  <a:lnTo>
                    <a:pt x="147" y="189"/>
                  </a:lnTo>
                  <a:lnTo>
                    <a:pt x="147" y="189"/>
                  </a:lnTo>
                  <a:lnTo>
                    <a:pt x="144" y="186"/>
                  </a:lnTo>
                  <a:lnTo>
                    <a:pt x="144" y="186"/>
                  </a:lnTo>
                  <a:lnTo>
                    <a:pt x="142" y="184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79"/>
                  </a:lnTo>
                  <a:lnTo>
                    <a:pt x="135" y="179"/>
                  </a:lnTo>
                  <a:lnTo>
                    <a:pt x="132" y="179"/>
                  </a:lnTo>
                  <a:lnTo>
                    <a:pt x="130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4"/>
                  </a:lnTo>
                  <a:lnTo>
                    <a:pt x="122" y="174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17" y="172"/>
                  </a:lnTo>
                  <a:lnTo>
                    <a:pt x="117" y="172"/>
                  </a:lnTo>
                  <a:lnTo>
                    <a:pt x="117" y="172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7" y="155"/>
                  </a:lnTo>
                  <a:lnTo>
                    <a:pt x="127" y="155"/>
                  </a:lnTo>
                  <a:lnTo>
                    <a:pt x="127" y="152"/>
                  </a:lnTo>
                  <a:lnTo>
                    <a:pt x="127" y="152"/>
                  </a:lnTo>
                  <a:lnTo>
                    <a:pt x="127" y="150"/>
                  </a:lnTo>
                  <a:lnTo>
                    <a:pt x="127" y="147"/>
                  </a:lnTo>
                  <a:lnTo>
                    <a:pt x="127" y="147"/>
                  </a:lnTo>
                  <a:lnTo>
                    <a:pt x="127" y="145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7" y="140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7" y="135"/>
                  </a:lnTo>
                  <a:lnTo>
                    <a:pt x="127" y="133"/>
                  </a:lnTo>
                  <a:lnTo>
                    <a:pt x="127" y="133"/>
                  </a:lnTo>
                  <a:lnTo>
                    <a:pt x="125" y="130"/>
                  </a:lnTo>
                  <a:lnTo>
                    <a:pt x="125" y="130"/>
                  </a:lnTo>
                  <a:lnTo>
                    <a:pt x="125" y="128"/>
                  </a:lnTo>
                  <a:lnTo>
                    <a:pt x="125" y="125"/>
                  </a:lnTo>
                  <a:lnTo>
                    <a:pt x="122" y="125"/>
                  </a:lnTo>
                  <a:lnTo>
                    <a:pt x="122" y="123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15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0" y="113"/>
                  </a:lnTo>
                  <a:lnTo>
                    <a:pt x="108" y="113"/>
                  </a:lnTo>
                  <a:lnTo>
                    <a:pt x="105" y="113"/>
                  </a:lnTo>
                  <a:lnTo>
                    <a:pt x="103" y="113"/>
                  </a:lnTo>
                  <a:lnTo>
                    <a:pt x="103" y="113"/>
                  </a:lnTo>
                  <a:lnTo>
                    <a:pt x="100" y="113"/>
                  </a:lnTo>
                  <a:lnTo>
                    <a:pt x="98" y="113"/>
                  </a:lnTo>
                  <a:close/>
                  <a:moveTo>
                    <a:pt x="22" y="282"/>
                  </a:moveTo>
                  <a:lnTo>
                    <a:pt x="19" y="282"/>
                  </a:lnTo>
                  <a:lnTo>
                    <a:pt x="19" y="282"/>
                  </a:lnTo>
                  <a:lnTo>
                    <a:pt x="19" y="282"/>
                  </a:lnTo>
                  <a:lnTo>
                    <a:pt x="17" y="280"/>
                  </a:lnTo>
                  <a:lnTo>
                    <a:pt x="17" y="280"/>
                  </a:lnTo>
                  <a:lnTo>
                    <a:pt x="17" y="280"/>
                  </a:lnTo>
                  <a:lnTo>
                    <a:pt x="14" y="280"/>
                  </a:lnTo>
                  <a:lnTo>
                    <a:pt x="14" y="277"/>
                  </a:lnTo>
                  <a:lnTo>
                    <a:pt x="14" y="277"/>
                  </a:lnTo>
                  <a:lnTo>
                    <a:pt x="12" y="277"/>
                  </a:lnTo>
                  <a:lnTo>
                    <a:pt x="12" y="275"/>
                  </a:lnTo>
                  <a:lnTo>
                    <a:pt x="12" y="275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0"/>
                  </a:lnTo>
                  <a:lnTo>
                    <a:pt x="12" y="93"/>
                  </a:lnTo>
                  <a:lnTo>
                    <a:pt x="188" y="93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5"/>
                  </a:lnTo>
                  <a:lnTo>
                    <a:pt x="188" y="275"/>
                  </a:lnTo>
                  <a:lnTo>
                    <a:pt x="188" y="277"/>
                  </a:lnTo>
                  <a:lnTo>
                    <a:pt x="186" y="277"/>
                  </a:lnTo>
                  <a:lnTo>
                    <a:pt x="186" y="277"/>
                  </a:lnTo>
                  <a:lnTo>
                    <a:pt x="186" y="280"/>
                  </a:lnTo>
                  <a:lnTo>
                    <a:pt x="184" y="280"/>
                  </a:lnTo>
                  <a:lnTo>
                    <a:pt x="184" y="280"/>
                  </a:lnTo>
                  <a:lnTo>
                    <a:pt x="184" y="280"/>
                  </a:lnTo>
                  <a:lnTo>
                    <a:pt x="181" y="282"/>
                  </a:lnTo>
                  <a:lnTo>
                    <a:pt x="181" y="282"/>
                  </a:lnTo>
                  <a:lnTo>
                    <a:pt x="179" y="282"/>
                  </a:lnTo>
                  <a:lnTo>
                    <a:pt x="179" y="282"/>
                  </a:lnTo>
                  <a:lnTo>
                    <a:pt x="179" y="282"/>
                  </a:lnTo>
                  <a:lnTo>
                    <a:pt x="22" y="282"/>
                  </a:lnTo>
                  <a:lnTo>
                    <a:pt x="22" y="282"/>
                  </a:lnTo>
                  <a:close/>
                  <a:moveTo>
                    <a:pt x="12" y="69"/>
                  </a:move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179" y="57"/>
                  </a:lnTo>
                  <a:lnTo>
                    <a:pt x="179" y="57"/>
                  </a:lnTo>
                  <a:lnTo>
                    <a:pt x="179" y="57"/>
                  </a:lnTo>
                  <a:lnTo>
                    <a:pt x="181" y="59"/>
                  </a:lnTo>
                  <a:lnTo>
                    <a:pt x="181" y="59"/>
                  </a:lnTo>
                  <a:lnTo>
                    <a:pt x="184" y="59"/>
                  </a:lnTo>
                  <a:lnTo>
                    <a:pt x="184" y="59"/>
                  </a:lnTo>
                  <a:lnTo>
                    <a:pt x="184" y="59"/>
                  </a:lnTo>
                  <a:lnTo>
                    <a:pt x="186" y="61"/>
                  </a:lnTo>
                  <a:lnTo>
                    <a:pt x="186" y="61"/>
                  </a:lnTo>
                  <a:lnTo>
                    <a:pt x="186" y="61"/>
                  </a:lnTo>
                  <a:lnTo>
                    <a:pt x="188" y="64"/>
                  </a:lnTo>
                  <a:lnTo>
                    <a:pt x="188" y="64"/>
                  </a:lnTo>
                  <a:lnTo>
                    <a:pt x="188" y="66"/>
                  </a:lnTo>
                  <a:lnTo>
                    <a:pt x="188" y="66"/>
                  </a:lnTo>
                  <a:lnTo>
                    <a:pt x="188" y="66"/>
                  </a:lnTo>
                  <a:lnTo>
                    <a:pt x="188" y="69"/>
                  </a:lnTo>
                  <a:lnTo>
                    <a:pt x="188" y="81"/>
                  </a:lnTo>
                  <a:lnTo>
                    <a:pt x="12" y="81"/>
                  </a:lnTo>
                  <a:lnTo>
                    <a:pt x="12" y="69"/>
                  </a:lnTo>
                  <a:close/>
                  <a:moveTo>
                    <a:pt x="120" y="0"/>
                  </a:moveTo>
                  <a:lnTo>
                    <a:pt x="120" y="47"/>
                  </a:lnTo>
                  <a:lnTo>
                    <a:pt x="81" y="47"/>
                  </a:lnTo>
                  <a:lnTo>
                    <a:pt x="81" y="0"/>
                  </a:lnTo>
                  <a:lnTo>
                    <a:pt x="71" y="0"/>
                  </a:lnTo>
                  <a:lnTo>
                    <a:pt x="71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0" y="49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0" y="270"/>
                  </a:lnTo>
                  <a:lnTo>
                    <a:pt x="0" y="272"/>
                  </a:lnTo>
                  <a:lnTo>
                    <a:pt x="0" y="272"/>
                  </a:lnTo>
                  <a:lnTo>
                    <a:pt x="0" y="275"/>
                  </a:lnTo>
                  <a:lnTo>
                    <a:pt x="0" y="275"/>
                  </a:lnTo>
                  <a:lnTo>
                    <a:pt x="0" y="277"/>
                  </a:lnTo>
                  <a:lnTo>
                    <a:pt x="2" y="277"/>
                  </a:lnTo>
                  <a:lnTo>
                    <a:pt x="2" y="280"/>
                  </a:lnTo>
                  <a:lnTo>
                    <a:pt x="2" y="280"/>
                  </a:lnTo>
                  <a:lnTo>
                    <a:pt x="2" y="280"/>
                  </a:lnTo>
                  <a:lnTo>
                    <a:pt x="2" y="282"/>
                  </a:lnTo>
                  <a:lnTo>
                    <a:pt x="5" y="282"/>
                  </a:lnTo>
                  <a:lnTo>
                    <a:pt x="5" y="285"/>
                  </a:lnTo>
                  <a:lnTo>
                    <a:pt x="5" y="285"/>
                  </a:lnTo>
                  <a:lnTo>
                    <a:pt x="5" y="285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10" y="287"/>
                  </a:lnTo>
                  <a:lnTo>
                    <a:pt x="10" y="289"/>
                  </a:lnTo>
                  <a:lnTo>
                    <a:pt x="10" y="289"/>
                  </a:lnTo>
                  <a:lnTo>
                    <a:pt x="12" y="289"/>
                  </a:lnTo>
                  <a:lnTo>
                    <a:pt x="12" y="289"/>
                  </a:lnTo>
                  <a:lnTo>
                    <a:pt x="12" y="292"/>
                  </a:lnTo>
                  <a:lnTo>
                    <a:pt x="14" y="292"/>
                  </a:lnTo>
                  <a:lnTo>
                    <a:pt x="14" y="292"/>
                  </a:lnTo>
                  <a:lnTo>
                    <a:pt x="17" y="292"/>
                  </a:lnTo>
                  <a:lnTo>
                    <a:pt x="17" y="292"/>
                  </a:lnTo>
                  <a:lnTo>
                    <a:pt x="19" y="292"/>
                  </a:lnTo>
                  <a:lnTo>
                    <a:pt x="19" y="292"/>
                  </a:lnTo>
                  <a:lnTo>
                    <a:pt x="19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81" y="294"/>
                  </a:lnTo>
                  <a:lnTo>
                    <a:pt x="181" y="292"/>
                  </a:lnTo>
                  <a:lnTo>
                    <a:pt x="181" y="292"/>
                  </a:lnTo>
                  <a:lnTo>
                    <a:pt x="184" y="292"/>
                  </a:lnTo>
                  <a:lnTo>
                    <a:pt x="184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8" y="292"/>
                  </a:lnTo>
                  <a:lnTo>
                    <a:pt x="188" y="289"/>
                  </a:lnTo>
                  <a:lnTo>
                    <a:pt x="188" y="289"/>
                  </a:lnTo>
                  <a:lnTo>
                    <a:pt x="191" y="289"/>
                  </a:lnTo>
                  <a:lnTo>
                    <a:pt x="191" y="289"/>
                  </a:lnTo>
                  <a:lnTo>
                    <a:pt x="191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6" y="285"/>
                  </a:lnTo>
                  <a:lnTo>
                    <a:pt x="196" y="285"/>
                  </a:lnTo>
                  <a:lnTo>
                    <a:pt x="196" y="285"/>
                  </a:lnTo>
                  <a:lnTo>
                    <a:pt x="196" y="282"/>
                  </a:lnTo>
                  <a:lnTo>
                    <a:pt x="198" y="282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198" y="277"/>
                  </a:lnTo>
                  <a:lnTo>
                    <a:pt x="201" y="277"/>
                  </a:lnTo>
                  <a:lnTo>
                    <a:pt x="201" y="275"/>
                  </a:lnTo>
                  <a:lnTo>
                    <a:pt x="201" y="275"/>
                  </a:lnTo>
                  <a:lnTo>
                    <a:pt x="201" y="272"/>
                  </a:lnTo>
                  <a:lnTo>
                    <a:pt x="201" y="272"/>
                  </a:lnTo>
                  <a:lnTo>
                    <a:pt x="201" y="66"/>
                  </a:lnTo>
                  <a:lnTo>
                    <a:pt x="201" y="66"/>
                  </a:lnTo>
                  <a:lnTo>
                    <a:pt x="201" y="66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196" y="57"/>
                  </a:lnTo>
                  <a:lnTo>
                    <a:pt x="196" y="57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3" y="52"/>
                  </a:lnTo>
                  <a:lnTo>
                    <a:pt x="193" y="52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1" y="47"/>
                  </a:lnTo>
                  <a:lnTo>
                    <a:pt x="181" y="47"/>
                  </a:lnTo>
                  <a:lnTo>
                    <a:pt x="181" y="47"/>
                  </a:lnTo>
                  <a:lnTo>
                    <a:pt x="179" y="47"/>
                  </a:lnTo>
                  <a:lnTo>
                    <a:pt x="179" y="47"/>
                  </a:lnTo>
                  <a:lnTo>
                    <a:pt x="130" y="47"/>
                  </a:lnTo>
                  <a:lnTo>
                    <a:pt x="130" y="0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" name="Group 149">
            <a:extLst>
              <a:ext uri="{FF2B5EF4-FFF2-40B4-BE49-F238E27FC236}">
                <a16:creationId xmlns:a16="http://schemas.microsoft.com/office/drawing/2014/main" id="{3C4FE56C-0347-4050-9ED1-649456B3C0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7354" y="2816226"/>
            <a:ext cx="841375" cy="839788"/>
            <a:chOff x="3023" y="1824"/>
            <a:chExt cx="530" cy="529"/>
          </a:xfrm>
        </p:grpSpPr>
        <p:sp>
          <p:nvSpPr>
            <p:cNvPr id="170" name="AutoShape 148">
              <a:extLst>
                <a:ext uri="{FF2B5EF4-FFF2-40B4-BE49-F238E27FC236}">
                  <a16:creationId xmlns:a16="http://schemas.microsoft.com/office/drawing/2014/main" id="{F3718409-3D09-406E-94B7-AB3FC9289A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3" y="182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150">
              <a:extLst>
                <a:ext uri="{FF2B5EF4-FFF2-40B4-BE49-F238E27FC236}">
                  <a16:creationId xmlns:a16="http://schemas.microsoft.com/office/drawing/2014/main" id="{8CEDF61F-A893-41BB-A017-C43E3F0324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3" y="182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51">
              <a:extLst>
                <a:ext uri="{FF2B5EF4-FFF2-40B4-BE49-F238E27FC236}">
                  <a16:creationId xmlns:a16="http://schemas.microsoft.com/office/drawing/2014/main" id="{3E31A51D-B02A-4C28-AE21-BBA3E73C7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1" y="184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52">
              <a:extLst>
                <a:ext uri="{FF2B5EF4-FFF2-40B4-BE49-F238E27FC236}">
                  <a16:creationId xmlns:a16="http://schemas.microsoft.com/office/drawing/2014/main" id="{F8FD0B4A-A778-4B3B-918D-83DBCFD8CE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4" y="1936"/>
              <a:ext cx="210" cy="307"/>
            </a:xfrm>
            <a:custGeom>
              <a:avLst/>
              <a:gdLst>
                <a:gd name="T0" fmla="*/ 62 w 210"/>
                <a:gd name="T1" fmla="*/ 207 h 307"/>
                <a:gd name="T2" fmla="*/ 72 w 210"/>
                <a:gd name="T3" fmla="*/ 197 h 307"/>
                <a:gd name="T4" fmla="*/ 90 w 210"/>
                <a:gd name="T5" fmla="*/ 189 h 307"/>
                <a:gd name="T6" fmla="*/ 95 w 210"/>
                <a:gd name="T7" fmla="*/ 184 h 307"/>
                <a:gd name="T8" fmla="*/ 95 w 210"/>
                <a:gd name="T9" fmla="*/ 174 h 307"/>
                <a:gd name="T10" fmla="*/ 90 w 210"/>
                <a:gd name="T11" fmla="*/ 166 h 307"/>
                <a:gd name="T12" fmla="*/ 87 w 210"/>
                <a:gd name="T13" fmla="*/ 146 h 307"/>
                <a:gd name="T14" fmla="*/ 90 w 210"/>
                <a:gd name="T15" fmla="*/ 133 h 307"/>
                <a:gd name="T16" fmla="*/ 100 w 210"/>
                <a:gd name="T17" fmla="*/ 128 h 307"/>
                <a:gd name="T18" fmla="*/ 113 w 210"/>
                <a:gd name="T19" fmla="*/ 131 h 307"/>
                <a:gd name="T20" fmla="*/ 121 w 210"/>
                <a:gd name="T21" fmla="*/ 138 h 307"/>
                <a:gd name="T22" fmla="*/ 123 w 210"/>
                <a:gd name="T23" fmla="*/ 156 h 307"/>
                <a:gd name="T24" fmla="*/ 118 w 210"/>
                <a:gd name="T25" fmla="*/ 169 h 307"/>
                <a:gd name="T26" fmla="*/ 113 w 210"/>
                <a:gd name="T27" fmla="*/ 179 h 307"/>
                <a:gd name="T28" fmla="*/ 115 w 210"/>
                <a:gd name="T29" fmla="*/ 187 h 307"/>
                <a:gd name="T30" fmla="*/ 123 w 210"/>
                <a:gd name="T31" fmla="*/ 192 h 307"/>
                <a:gd name="T32" fmla="*/ 144 w 210"/>
                <a:gd name="T33" fmla="*/ 202 h 307"/>
                <a:gd name="T34" fmla="*/ 151 w 210"/>
                <a:gd name="T35" fmla="*/ 218 h 307"/>
                <a:gd name="T36" fmla="*/ 87 w 210"/>
                <a:gd name="T37" fmla="*/ 120 h 307"/>
                <a:gd name="T38" fmla="*/ 77 w 210"/>
                <a:gd name="T39" fmla="*/ 136 h 307"/>
                <a:gd name="T40" fmla="*/ 74 w 210"/>
                <a:gd name="T41" fmla="*/ 151 h 307"/>
                <a:gd name="T42" fmla="*/ 77 w 210"/>
                <a:gd name="T43" fmla="*/ 166 h 307"/>
                <a:gd name="T44" fmla="*/ 85 w 210"/>
                <a:gd name="T45" fmla="*/ 177 h 307"/>
                <a:gd name="T46" fmla="*/ 82 w 210"/>
                <a:gd name="T47" fmla="*/ 182 h 307"/>
                <a:gd name="T48" fmla="*/ 62 w 210"/>
                <a:gd name="T49" fmla="*/ 192 h 307"/>
                <a:gd name="T50" fmla="*/ 51 w 210"/>
                <a:gd name="T51" fmla="*/ 205 h 307"/>
                <a:gd name="T52" fmla="*/ 46 w 210"/>
                <a:gd name="T53" fmla="*/ 223 h 307"/>
                <a:gd name="T54" fmla="*/ 49 w 210"/>
                <a:gd name="T55" fmla="*/ 228 h 307"/>
                <a:gd name="T56" fmla="*/ 159 w 210"/>
                <a:gd name="T57" fmla="*/ 228 h 307"/>
                <a:gd name="T58" fmla="*/ 164 w 210"/>
                <a:gd name="T59" fmla="*/ 225 h 307"/>
                <a:gd name="T60" fmla="*/ 162 w 210"/>
                <a:gd name="T61" fmla="*/ 210 h 307"/>
                <a:gd name="T62" fmla="*/ 151 w 210"/>
                <a:gd name="T63" fmla="*/ 195 h 307"/>
                <a:gd name="T64" fmla="*/ 133 w 210"/>
                <a:gd name="T65" fmla="*/ 184 h 307"/>
                <a:gd name="T66" fmla="*/ 123 w 210"/>
                <a:gd name="T67" fmla="*/ 179 h 307"/>
                <a:gd name="T68" fmla="*/ 131 w 210"/>
                <a:gd name="T69" fmla="*/ 169 h 307"/>
                <a:gd name="T70" fmla="*/ 133 w 210"/>
                <a:gd name="T71" fmla="*/ 156 h 307"/>
                <a:gd name="T72" fmla="*/ 133 w 210"/>
                <a:gd name="T73" fmla="*/ 141 h 307"/>
                <a:gd name="T74" fmla="*/ 126 w 210"/>
                <a:gd name="T75" fmla="*/ 126 h 307"/>
                <a:gd name="T76" fmla="*/ 108 w 210"/>
                <a:gd name="T77" fmla="*/ 118 h 307"/>
                <a:gd name="T78" fmla="*/ 16 w 210"/>
                <a:gd name="T79" fmla="*/ 292 h 307"/>
                <a:gd name="T80" fmla="*/ 197 w 210"/>
                <a:gd name="T81" fmla="*/ 97 h 307"/>
                <a:gd name="T82" fmla="*/ 192 w 210"/>
                <a:gd name="T83" fmla="*/ 292 h 307"/>
                <a:gd name="T84" fmla="*/ 13 w 210"/>
                <a:gd name="T85" fmla="*/ 72 h 307"/>
                <a:gd name="T86" fmla="*/ 18 w 210"/>
                <a:gd name="T87" fmla="*/ 62 h 307"/>
                <a:gd name="T88" fmla="*/ 190 w 210"/>
                <a:gd name="T89" fmla="*/ 62 h 307"/>
                <a:gd name="T90" fmla="*/ 197 w 210"/>
                <a:gd name="T91" fmla="*/ 69 h 307"/>
                <a:gd name="T92" fmla="*/ 85 w 210"/>
                <a:gd name="T93" fmla="*/ 0 h 307"/>
                <a:gd name="T94" fmla="*/ 16 w 210"/>
                <a:gd name="T95" fmla="*/ 49 h 307"/>
                <a:gd name="T96" fmla="*/ 8 w 210"/>
                <a:gd name="T97" fmla="*/ 57 h 307"/>
                <a:gd name="T98" fmla="*/ 0 w 210"/>
                <a:gd name="T99" fmla="*/ 67 h 307"/>
                <a:gd name="T100" fmla="*/ 0 w 210"/>
                <a:gd name="T101" fmla="*/ 287 h 307"/>
                <a:gd name="T102" fmla="*/ 5 w 210"/>
                <a:gd name="T103" fmla="*/ 297 h 307"/>
                <a:gd name="T104" fmla="*/ 16 w 210"/>
                <a:gd name="T105" fmla="*/ 305 h 307"/>
                <a:gd name="T106" fmla="*/ 187 w 210"/>
                <a:gd name="T107" fmla="*/ 307 h 307"/>
                <a:gd name="T108" fmla="*/ 197 w 210"/>
                <a:gd name="T109" fmla="*/ 302 h 307"/>
                <a:gd name="T110" fmla="*/ 205 w 210"/>
                <a:gd name="T111" fmla="*/ 294 h 307"/>
                <a:gd name="T112" fmla="*/ 210 w 210"/>
                <a:gd name="T113" fmla="*/ 284 h 307"/>
                <a:gd name="T114" fmla="*/ 208 w 210"/>
                <a:gd name="T115" fmla="*/ 62 h 307"/>
                <a:gd name="T116" fmla="*/ 200 w 210"/>
                <a:gd name="T117" fmla="*/ 51 h 307"/>
                <a:gd name="T118" fmla="*/ 190 w 210"/>
                <a:gd name="T119" fmla="*/ 4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0" h="307">
                  <a:moveTo>
                    <a:pt x="49" y="266"/>
                  </a:moveTo>
                  <a:lnTo>
                    <a:pt x="156" y="266"/>
                  </a:lnTo>
                  <a:lnTo>
                    <a:pt x="156" y="253"/>
                  </a:lnTo>
                  <a:lnTo>
                    <a:pt x="49" y="253"/>
                  </a:lnTo>
                  <a:lnTo>
                    <a:pt x="49" y="266"/>
                  </a:lnTo>
                  <a:close/>
                  <a:moveTo>
                    <a:pt x="59" y="215"/>
                  </a:moveTo>
                  <a:lnTo>
                    <a:pt x="59" y="212"/>
                  </a:lnTo>
                  <a:lnTo>
                    <a:pt x="59" y="212"/>
                  </a:lnTo>
                  <a:lnTo>
                    <a:pt x="62" y="210"/>
                  </a:lnTo>
                  <a:lnTo>
                    <a:pt x="62" y="207"/>
                  </a:lnTo>
                  <a:lnTo>
                    <a:pt x="64" y="205"/>
                  </a:lnTo>
                  <a:lnTo>
                    <a:pt x="64" y="205"/>
                  </a:lnTo>
                  <a:lnTo>
                    <a:pt x="64" y="205"/>
                  </a:lnTo>
                  <a:lnTo>
                    <a:pt x="64" y="202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00"/>
                  </a:lnTo>
                  <a:lnTo>
                    <a:pt x="69" y="200"/>
                  </a:lnTo>
                  <a:lnTo>
                    <a:pt x="69" y="200"/>
                  </a:lnTo>
                  <a:lnTo>
                    <a:pt x="72" y="197"/>
                  </a:lnTo>
                  <a:lnTo>
                    <a:pt x="72" y="197"/>
                  </a:lnTo>
                  <a:lnTo>
                    <a:pt x="74" y="195"/>
                  </a:lnTo>
                  <a:lnTo>
                    <a:pt x="77" y="195"/>
                  </a:lnTo>
                  <a:lnTo>
                    <a:pt x="80" y="195"/>
                  </a:lnTo>
                  <a:lnTo>
                    <a:pt x="82" y="195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2" y="189"/>
                  </a:lnTo>
                  <a:lnTo>
                    <a:pt x="92" y="189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5" y="182"/>
                  </a:lnTo>
                  <a:lnTo>
                    <a:pt x="97" y="182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4"/>
                  </a:lnTo>
                  <a:lnTo>
                    <a:pt x="87" y="161"/>
                  </a:lnTo>
                  <a:lnTo>
                    <a:pt x="87" y="161"/>
                  </a:lnTo>
                  <a:lnTo>
                    <a:pt x="87" y="159"/>
                  </a:lnTo>
                  <a:lnTo>
                    <a:pt x="87" y="156"/>
                  </a:lnTo>
                  <a:lnTo>
                    <a:pt x="87" y="154"/>
                  </a:lnTo>
                  <a:lnTo>
                    <a:pt x="85" y="151"/>
                  </a:lnTo>
                  <a:lnTo>
                    <a:pt x="85" y="149"/>
                  </a:lnTo>
                  <a:lnTo>
                    <a:pt x="85" y="146"/>
                  </a:lnTo>
                  <a:lnTo>
                    <a:pt x="87" y="146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6"/>
                  </a:lnTo>
                  <a:lnTo>
                    <a:pt x="90" y="136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2" y="133"/>
                  </a:lnTo>
                  <a:lnTo>
                    <a:pt x="92" y="131"/>
                  </a:lnTo>
                  <a:lnTo>
                    <a:pt x="92" y="131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100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3" y="128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1"/>
                  </a:lnTo>
                  <a:lnTo>
                    <a:pt x="115" y="131"/>
                  </a:lnTo>
                  <a:lnTo>
                    <a:pt x="118" y="133"/>
                  </a:lnTo>
                  <a:lnTo>
                    <a:pt x="118" y="133"/>
                  </a:lnTo>
                  <a:lnTo>
                    <a:pt x="118" y="133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3" y="141"/>
                  </a:lnTo>
                  <a:lnTo>
                    <a:pt x="123" y="141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3" y="146"/>
                  </a:lnTo>
                  <a:lnTo>
                    <a:pt x="123" y="149"/>
                  </a:lnTo>
                  <a:lnTo>
                    <a:pt x="123" y="151"/>
                  </a:lnTo>
                  <a:lnTo>
                    <a:pt x="123" y="154"/>
                  </a:lnTo>
                  <a:lnTo>
                    <a:pt x="123" y="156"/>
                  </a:lnTo>
                  <a:lnTo>
                    <a:pt x="123" y="159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1" y="164"/>
                  </a:lnTo>
                  <a:lnTo>
                    <a:pt x="121" y="166"/>
                  </a:lnTo>
                  <a:lnTo>
                    <a:pt x="118" y="166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8" y="169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3" y="174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79"/>
                  </a:lnTo>
                  <a:lnTo>
                    <a:pt x="113" y="179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5" y="184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8" y="189"/>
                  </a:lnTo>
                  <a:lnTo>
                    <a:pt x="118" y="189"/>
                  </a:lnTo>
                  <a:lnTo>
                    <a:pt x="118" y="189"/>
                  </a:lnTo>
                  <a:lnTo>
                    <a:pt x="118" y="189"/>
                  </a:lnTo>
                  <a:lnTo>
                    <a:pt x="121" y="189"/>
                  </a:lnTo>
                  <a:lnTo>
                    <a:pt x="121" y="192"/>
                  </a:lnTo>
                  <a:lnTo>
                    <a:pt x="121" y="192"/>
                  </a:lnTo>
                  <a:lnTo>
                    <a:pt x="123" y="192"/>
                  </a:lnTo>
                  <a:lnTo>
                    <a:pt x="123" y="192"/>
                  </a:lnTo>
                  <a:lnTo>
                    <a:pt x="126" y="192"/>
                  </a:lnTo>
                  <a:lnTo>
                    <a:pt x="128" y="195"/>
                  </a:lnTo>
                  <a:lnTo>
                    <a:pt x="131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6" y="197"/>
                  </a:lnTo>
                  <a:lnTo>
                    <a:pt x="138" y="197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4" y="202"/>
                  </a:lnTo>
                  <a:lnTo>
                    <a:pt x="144" y="202"/>
                  </a:lnTo>
                  <a:lnTo>
                    <a:pt x="144" y="202"/>
                  </a:lnTo>
                  <a:lnTo>
                    <a:pt x="146" y="205"/>
                  </a:lnTo>
                  <a:lnTo>
                    <a:pt x="146" y="205"/>
                  </a:lnTo>
                  <a:lnTo>
                    <a:pt x="149" y="207"/>
                  </a:lnTo>
                  <a:lnTo>
                    <a:pt x="149" y="210"/>
                  </a:lnTo>
                  <a:lnTo>
                    <a:pt x="149" y="212"/>
                  </a:lnTo>
                  <a:lnTo>
                    <a:pt x="151" y="212"/>
                  </a:lnTo>
                  <a:lnTo>
                    <a:pt x="151" y="215"/>
                  </a:lnTo>
                  <a:lnTo>
                    <a:pt x="151" y="218"/>
                  </a:lnTo>
                  <a:lnTo>
                    <a:pt x="59" y="218"/>
                  </a:lnTo>
                  <a:lnTo>
                    <a:pt x="59" y="215"/>
                  </a:lnTo>
                  <a:close/>
                  <a:moveTo>
                    <a:pt x="103" y="118"/>
                  </a:moveTo>
                  <a:lnTo>
                    <a:pt x="100" y="118"/>
                  </a:lnTo>
                  <a:lnTo>
                    <a:pt x="97" y="118"/>
                  </a:lnTo>
                  <a:lnTo>
                    <a:pt x="95" y="118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0" y="120"/>
                  </a:lnTo>
                  <a:lnTo>
                    <a:pt x="87" y="120"/>
                  </a:lnTo>
                  <a:lnTo>
                    <a:pt x="87" y="123"/>
                  </a:lnTo>
                  <a:lnTo>
                    <a:pt x="85" y="123"/>
                  </a:lnTo>
                  <a:lnTo>
                    <a:pt x="85" y="126"/>
                  </a:lnTo>
                  <a:lnTo>
                    <a:pt x="82" y="126"/>
                  </a:lnTo>
                  <a:lnTo>
                    <a:pt x="82" y="128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7" y="133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41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74" y="156"/>
                  </a:lnTo>
                  <a:lnTo>
                    <a:pt x="77" y="159"/>
                  </a:lnTo>
                  <a:lnTo>
                    <a:pt x="77" y="15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7" y="166"/>
                  </a:lnTo>
                  <a:lnTo>
                    <a:pt x="80" y="166"/>
                  </a:lnTo>
                  <a:lnTo>
                    <a:pt x="80" y="169"/>
                  </a:lnTo>
                  <a:lnTo>
                    <a:pt x="80" y="169"/>
                  </a:lnTo>
                  <a:lnTo>
                    <a:pt x="80" y="172"/>
                  </a:lnTo>
                  <a:lnTo>
                    <a:pt x="82" y="172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2"/>
                  </a:lnTo>
                  <a:lnTo>
                    <a:pt x="85" y="182"/>
                  </a:lnTo>
                  <a:lnTo>
                    <a:pt x="85" y="182"/>
                  </a:lnTo>
                  <a:lnTo>
                    <a:pt x="82" y="182"/>
                  </a:lnTo>
                  <a:lnTo>
                    <a:pt x="82" y="182"/>
                  </a:lnTo>
                  <a:lnTo>
                    <a:pt x="80" y="182"/>
                  </a:lnTo>
                  <a:lnTo>
                    <a:pt x="77" y="184"/>
                  </a:lnTo>
                  <a:lnTo>
                    <a:pt x="74" y="184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69" y="187"/>
                  </a:lnTo>
                  <a:lnTo>
                    <a:pt x="67" y="187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7" y="197"/>
                  </a:lnTo>
                  <a:lnTo>
                    <a:pt x="57" y="197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2"/>
                  </a:lnTo>
                  <a:lnTo>
                    <a:pt x="51" y="202"/>
                  </a:lnTo>
                  <a:lnTo>
                    <a:pt x="51" y="205"/>
                  </a:lnTo>
                  <a:lnTo>
                    <a:pt x="51" y="207"/>
                  </a:lnTo>
                  <a:lnTo>
                    <a:pt x="51" y="207"/>
                  </a:lnTo>
                  <a:lnTo>
                    <a:pt x="49" y="210"/>
                  </a:lnTo>
                  <a:lnTo>
                    <a:pt x="49" y="210"/>
                  </a:lnTo>
                  <a:lnTo>
                    <a:pt x="49" y="212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9" y="218"/>
                  </a:lnTo>
                  <a:lnTo>
                    <a:pt x="46" y="220"/>
                  </a:lnTo>
                  <a:lnTo>
                    <a:pt x="46" y="223"/>
                  </a:lnTo>
                  <a:lnTo>
                    <a:pt x="46" y="223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49" y="225"/>
                  </a:lnTo>
                  <a:lnTo>
                    <a:pt x="49" y="228"/>
                  </a:lnTo>
                  <a:lnTo>
                    <a:pt x="49" y="228"/>
                  </a:lnTo>
                  <a:lnTo>
                    <a:pt x="49" y="228"/>
                  </a:lnTo>
                  <a:lnTo>
                    <a:pt x="49" y="228"/>
                  </a:lnTo>
                  <a:lnTo>
                    <a:pt x="49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59" y="228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2" y="228"/>
                  </a:lnTo>
                  <a:lnTo>
                    <a:pt x="162" y="225"/>
                  </a:lnTo>
                  <a:lnTo>
                    <a:pt x="164" y="225"/>
                  </a:lnTo>
                  <a:lnTo>
                    <a:pt x="164" y="225"/>
                  </a:lnTo>
                  <a:lnTo>
                    <a:pt x="164" y="225"/>
                  </a:lnTo>
                  <a:lnTo>
                    <a:pt x="164" y="225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0"/>
                  </a:lnTo>
                  <a:lnTo>
                    <a:pt x="162" y="218"/>
                  </a:lnTo>
                  <a:lnTo>
                    <a:pt x="162" y="215"/>
                  </a:lnTo>
                  <a:lnTo>
                    <a:pt x="162" y="215"/>
                  </a:lnTo>
                  <a:lnTo>
                    <a:pt x="162" y="212"/>
                  </a:lnTo>
                  <a:lnTo>
                    <a:pt x="162" y="210"/>
                  </a:lnTo>
                  <a:lnTo>
                    <a:pt x="162" y="210"/>
                  </a:lnTo>
                  <a:lnTo>
                    <a:pt x="159" y="207"/>
                  </a:lnTo>
                  <a:lnTo>
                    <a:pt x="159" y="207"/>
                  </a:lnTo>
                  <a:lnTo>
                    <a:pt x="159" y="205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6" y="200"/>
                  </a:lnTo>
                  <a:lnTo>
                    <a:pt x="154" y="200"/>
                  </a:lnTo>
                  <a:lnTo>
                    <a:pt x="154" y="197"/>
                  </a:lnTo>
                  <a:lnTo>
                    <a:pt x="154" y="197"/>
                  </a:lnTo>
                  <a:lnTo>
                    <a:pt x="151" y="195"/>
                  </a:lnTo>
                  <a:lnTo>
                    <a:pt x="151" y="195"/>
                  </a:lnTo>
                  <a:lnTo>
                    <a:pt x="149" y="192"/>
                  </a:lnTo>
                  <a:lnTo>
                    <a:pt x="146" y="192"/>
                  </a:lnTo>
                  <a:lnTo>
                    <a:pt x="146" y="189"/>
                  </a:lnTo>
                  <a:lnTo>
                    <a:pt x="144" y="189"/>
                  </a:lnTo>
                  <a:lnTo>
                    <a:pt x="144" y="187"/>
                  </a:lnTo>
                  <a:lnTo>
                    <a:pt x="141" y="187"/>
                  </a:lnTo>
                  <a:lnTo>
                    <a:pt x="138" y="187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1" y="184"/>
                  </a:lnTo>
                  <a:lnTo>
                    <a:pt x="131" y="182"/>
                  </a:lnTo>
                  <a:lnTo>
                    <a:pt x="128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26" y="174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28" y="172"/>
                  </a:lnTo>
                  <a:lnTo>
                    <a:pt x="128" y="172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6"/>
                  </a:lnTo>
                  <a:lnTo>
                    <a:pt x="131" y="166"/>
                  </a:lnTo>
                  <a:lnTo>
                    <a:pt x="131" y="164"/>
                  </a:lnTo>
                  <a:lnTo>
                    <a:pt x="131" y="164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6"/>
                  </a:lnTo>
                  <a:lnTo>
                    <a:pt x="133" y="154"/>
                  </a:lnTo>
                  <a:lnTo>
                    <a:pt x="133" y="154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49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1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1" y="136"/>
                  </a:lnTo>
                  <a:lnTo>
                    <a:pt x="131" y="136"/>
                  </a:lnTo>
                  <a:lnTo>
                    <a:pt x="131" y="133"/>
                  </a:lnTo>
                  <a:lnTo>
                    <a:pt x="131" y="131"/>
                  </a:lnTo>
                  <a:lnTo>
                    <a:pt x="128" y="131"/>
                  </a:lnTo>
                  <a:lnTo>
                    <a:pt x="128" y="128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1" y="120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5" y="118"/>
                  </a:lnTo>
                  <a:lnTo>
                    <a:pt x="113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5" y="118"/>
                  </a:lnTo>
                  <a:lnTo>
                    <a:pt x="103" y="118"/>
                  </a:lnTo>
                  <a:close/>
                  <a:moveTo>
                    <a:pt x="23" y="294"/>
                  </a:moveTo>
                  <a:lnTo>
                    <a:pt x="21" y="294"/>
                  </a:lnTo>
                  <a:lnTo>
                    <a:pt x="21" y="294"/>
                  </a:lnTo>
                  <a:lnTo>
                    <a:pt x="21" y="294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6" y="292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3" y="289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4"/>
                  </a:lnTo>
                  <a:lnTo>
                    <a:pt x="13" y="284"/>
                  </a:lnTo>
                  <a:lnTo>
                    <a:pt x="13" y="281"/>
                  </a:lnTo>
                  <a:lnTo>
                    <a:pt x="13" y="97"/>
                  </a:lnTo>
                  <a:lnTo>
                    <a:pt x="197" y="97"/>
                  </a:lnTo>
                  <a:lnTo>
                    <a:pt x="197" y="281"/>
                  </a:lnTo>
                  <a:lnTo>
                    <a:pt x="197" y="284"/>
                  </a:lnTo>
                  <a:lnTo>
                    <a:pt x="197" y="284"/>
                  </a:lnTo>
                  <a:lnTo>
                    <a:pt x="197" y="287"/>
                  </a:lnTo>
                  <a:lnTo>
                    <a:pt x="197" y="287"/>
                  </a:lnTo>
                  <a:lnTo>
                    <a:pt x="197" y="289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5" y="292"/>
                  </a:lnTo>
                  <a:lnTo>
                    <a:pt x="192" y="292"/>
                  </a:lnTo>
                  <a:lnTo>
                    <a:pt x="192" y="292"/>
                  </a:lnTo>
                  <a:lnTo>
                    <a:pt x="192" y="292"/>
                  </a:lnTo>
                  <a:lnTo>
                    <a:pt x="190" y="294"/>
                  </a:lnTo>
                  <a:lnTo>
                    <a:pt x="190" y="294"/>
                  </a:lnTo>
                  <a:lnTo>
                    <a:pt x="187" y="294"/>
                  </a:lnTo>
                  <a:lnTo>
                    <a:pt x="187" y="294"/>
                  </a:lnTo>
                  <a:lnTo>
                    <a:pt x="187" y="294"/>
                  </a:lnTo>
                  <a:lnTo>
                    <a:pt x="23" y="294"/>
                  </a:lnTo>
                  <a:lnTo>
                    <a:pt x="23" y="294"/>
                  </a:lnTo>
                  <a:close/>
                  <a:moveTo>
                    <a:pt x="13" y="72"/>
                  </a:move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187" y="59"/>
                  </a:lnTo>
                  <a:lnTo>
                    <a:pt x="187" y="59"/>
                  </a:lnTo>
                  <a:lnTo>
                    <a:pt x="187" y="59"/>
                  </a:lnTo>
                  <a:lnTo>
                    <a:pt x="190" y="62"/>
                  </a:lnTo>
                  <a:lnTo>
                    <a:pt x="190" y="62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5" y="64"/>
                  </a:lnTo>
                  <a:lnTo>
                    <a:pt x="195" y="64"/>
                  </a:lnTo>
                  <a:lnTo>
                    <a:pt x="195" y="64"/>
                  </a:lnTo>
                  <a:lnTo>
                    <a:pt x="197" y="67"/>
                  </a:lnTo>
                  <a:lnTo>
                    <a:pt x="197" y="67"/>
                  </a:lnTo>
                  <a:lnTo>
                    <a:pt x="197" y="69"/>
                  </a:lnTo>
                  <a:lnTo>
                    <a:pt x="197" y="69"/>
                  </a:lnTo>
                  <a:lnTo>
                    <a:pt x="197" y="69"/>
                  </a:lnTo>
                  <a:lnTo>
                    <a:pt x="197" y="72"/>
                  </a:lnTo>
                  <a:lnTo>
                    <a:pt x="197" y="85"/>
                  </a:lnTo>
                  <a:lnTo>
                    <a:pt x="13" y="85"/>
                  </a:lnTo>
                  <a:lnTo>
                    <a:pt x="13" y="72"/>
                  </a:lnTo>
                  <a:close/>
                  <a:moveTo>
                    <a:pt x="126" y="0"/>
                  </a:moveTo>
                  <a:lnTo>
                    <a:pt x="126" y="49"/>
                  </a:lnTo>
                  <a:lnTo>
                    <a:pt x="85" y="49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74" y="49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0" y="51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281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0" y="289"/>
                  </a:lnTo>
                  <a:lnTo>
                    <a:pt x="3" y="289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4"/>
                  </a:lnTo>
                  <a:lnTo>
                    <a:pt x="5" y="294"/>
                  </a:lnTo>
                  <a:lnTo>
                    <a:pt x="5" y="297"/>
                  </a:lnTo>
                  <a:lnTo>
                    <a:pt x="5" y="297"/>
                  </a:lnTo>
                  <a:lnTo>
                    <a:pt x="5" y="297"/>
                  </a:lnTo>
                  <a:lnTo>
                    <a:pt x="8" y="299"/>
                  </a:lnTo>
                  <a:lnTo>
                    <a:pt x="8" y="299"/>
                  </a:lnTo>
                  <a:lnTo>
                    <a:pt x="8" y="299"/>
                  </a:lnTo>
                  <a:lnTo>
                    <a:pt x="10" y="299"/>
                  </a:lnTo>
                  <a:lnTo>
                    <a:pt x="10" y="302"/>
                  </a:lnTo>
                  <a:lnTo>
                    <a:pt x="10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3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8" y="305"/>
                  </a:lnTo>
                  <a:lnTo>
                    <a:pt x="18" y="305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1" y="307"/>
                  </a:lnTo>
                  <a:lnTo>
                    <a:pt x="23" y="307"/>
                  </a:lnTo>
                  <a:lnTo>
                    <a:pt x="23" y="307"/>
                  </a:lnTo>
                  <a:lnTo>
                    <a:pt x="187" y="307"/>
                  </a:lnTo>
                  <a:lnTo>
                    <a:pt x="187" y="307"/>
                  </a:lnTo>
                  <a:lnTo>
                    <a:pt x="190" y="307"/>
                  </a:lnTo>
                  <a:lnTo>
                    <a:pt x="190" y="305"/>
                  </a:lnTo>
                  <a:lnTo>
                    <a:pt x="190" y="305"/>
                  </a:lnTo>
                  <a:lnTo>
                    <a:pt x="192" y="305"/>
                  </a:lnTo>
                  <a:lnTo>
                    <a:pt x="192" y="305"/>
                  </a:lnTo>
                  <a:lnTo>
                    <a:pt x="195" y="305"/>
                  </a:lnTo>
                  <a:lnTo>
                    <a:pt x="195" y="305"/>
                  </a:lnTo>
                  <a:lnTo>
                    <a:pt x="197" y="305"/>
                  </a:lnTo>
                  <a:lnTo>
                    <a:pt x="197" y="302"/>
                  </a:lnTo>
                  <a:lnTo>
                    <a:pt x="197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299"/>
                  </a:lnTo>
                  <a:lnTo>
                    <a:pt x="202" y="299"/>
                  </a:lnTo>
                  <a:lnTo>
                    <a:pt x="202" y="299"/>
                  </a:lnTo>
                  <a:lnTo>
                    <a:pt x="202" y="299"/>
                  </a:lnTo>
                  <a:lnTo>
                    <a:pt x="205" y="297"/>
                  </a:lnTo>
                  <a:lnTo>
                    <a:pt x="205" y="297"/>
                  </a:lnTo>
                  <a:lnTo>
                    <a:pt x="205" y="297"/>
                  </a:lnTo>
                  <a:lnTo>
                    <a:pt x="205" y="294"/>
                  </a:lnTo>
                  <a:lnTo>
                    <a:pt x="208" y="294"/>
                  </a:lnTo>
                  <a:lnTo>
                    <a:pt x="208" y="292"/>
                  </a:lnTo>
                  <a:lnTo>
                    <a:pt x="208" y="292"/>
                  </a:lnTo>
                  <a:lnTo>
                    <a:pt x="208" y="292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0" y="287"/>
                  </a:lnTo>
                  <a:lnTo>
                    <a:pt x="210" y="287"/>
                  </a:lnTo>
                  <a:lnTo>
                    <a:pt x="210" y="284"/>
                  </a:lnTo>
                  <a:lnTo>
                    <a:pt x="210" y="284"/>
                  </a:lnTo>
                  <a:lnTo>
                    <a:pt x="210" y="69"/>
                  </a:lnTo>
                  <a:lnTo>
                    <a:pt x="210" y="69"/>
                  </a:lnTo>
                  <a:lnTo>
                    <a:pt x="210" y="69"/>
                  </a:lnTo>
                  <a:lnTo>
                    <a:pt x="210" y="67"/>
                  </a:lnTo>
                  <a:lnTo>
                    <a:pt x="210" y="67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5" y="59"/>
                  </a:lnTo>
                  <a:lnTo>
                    <a:pt x="205" y="59"/>
                  </a:lnTo>
                  <a:lnTo>
                    <a:pt x="205" y="57"/>
                  </a:lnTo>
                  <a:lnTo>
                    <a:pt x="205" y="57"/>
                  </a:lnTo>
                  <a:lnTo>
                    <a:pt x="202" y="57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1"/>
                  </a:lnTo>
                  <a:lnTo>
                    <a:pt x="197" y="51"/>
                  </a:lnTo>
                  <a:lnTo>
                    <a:pt x="197" y="51"/>
                  </a:lnTo>
                  <a:lnTo>
                    <a:pt x="197" y="51"/>
                  </a:lnTo>
                  <a:lnTo>
                    <a:pt x="195" y="49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92" y="49"/>
                  </a:lnTo>
                  <a:lnTo>
                    <a:pt x="190" y="49"/>
                  </a:lnTo>
                  <a:lnTo>
                    <a:pt x="190" y="49"/>
                  </a:lnTo>
                  <a:lnTo>
                    <a:pt x="190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36" y="49"/>
                  </a:lnTo>
                  <a:lnTo>
                    <a:pt x="13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55">
            <a:extLst>
              <a:ext uri="{FF2B5EF4-FFF2-40B4-BE49-F238E27FC236}">
                <a16:creationId xmlns:a16="http://schemas.microsoft.com/office/drawing/2014/main" id="{F54F6A30-C010-4B4F-A073-80AE6ACB69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8136" y="2857501"/>
            <a:ext cx="760413" cy="758825"/>
            <a:chOff x="764" y="1938"/>
            <a:chExt cx="479" cy="478"/>
          </a:xfrm>
        </p:grpSpPr>
        <p:sp>
          <p:nvSpPr>
            <p:cNvPr id="179" name="AutoShape 154">
              <a:extLst>
                <a:ext uri="{FF2B5EF4-FFF2-40B4-BE49-F238E27FC236}">
                  <a16:creationId xmlns:a16="http://schemas.microsoft.com/office/drawing/2014/main" id="{9688CE78-9D1D-4D72-9E1F-B85EEA3EF8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64" y="193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6">
              <a:extLst>
                <a:ext uri="{FF2B5EF4-FFF2-40B4-BE49-F238E27FC236}">
                  <a16:creationId xmlns:a16="http://schemas.microsoft.com/office/drawing/2014/main" id="{ECB42429-1B08-4658-A2D9-6C313C51F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" y="194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7">
              <a:extLst>
                <a:ext uri="{FF2B5EF4-FFF2-40B4-BE49-F238E27FC236}">
                  <a16:creationId xmlns:a16="http://schemas.microsoft.com/office/drawing/2014/main" id="{8BE07B96-F84E-4081-ADC5-FF17A53A7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" y="2041"/>
              <a:ext cx="182" cy="275"/>
            </a:xfrm>
            <a:custGeom>
              <a:avLst/>
              <a:gdLst>
                <a:gd name="T0" fmla="*/ 177 w 182"/>
                <a:gd name="T1" fmla="*/ 37 h 275"/>
                <a:gd name="T2" fmla="*/ 145 w 182"/>
                <a:gd name="T3" fmla="*/ 27 h 275"/>
                <a:gd name="T4" fmla="*/ 133 w 182"/>
                <a:gd name="T5" fmla="*/ 5 h 275"/>
                <a:gd name="T6" fmla="*/ 123 w 182"/>
                <a:gd name="T7" fmla="*/ 0 h 275"/>
                <a:gd name="T8" fmla="*/ 113 w 182"/>
                <a:gd name="T9" fmla="*/ 5 h 275"/>
                <a:gd name="T10" fmla="*/ 101 w 182"/>
                <a:gd name="T11" fmla="*/ 20 h 275"/>
                <a:gd name="T12" fmla="*/ 86 w 182"/>
                <a:gd name="T13" fmla="*/ 37 h 275"/>
                <a:gd name="T14" fmla="*/ 74 w 182"/>
                <a:gd name="T15" fmla="*/ 7 h 275"/>
                <a:gd name="T16" fmla="*/ 61 w 182"/>
                <a:gd name="T17" fmla="*/ 0 h 275"/>
                <a:gd name="T18" fmla="*/ 54 w 182"/>
                <a:gd name="T19" fmla="*/ 2 h 275"/>
                <a:gd name="T20" fmla="*/ 39 w 182"/>
                <a:gd name="T21" fmla="*/ 20 h 275"/>
                <a:gd name="T22" fmla="*/ 7 w 182"/>
                <a:gd name="T23" fmla="*/ 37 h 275"/>
                <a:gd name="T24" fmla="*/ 0 w 182"/>
                <a:gd name="T25" fmla="*/ 42 h 275"/>
                <a:gd name="T26" fmla="*/ 2 w 182"/>
                <a:gd name="T27" fmla="*/ 272 h 275"/>
                <a:gd name="T28" fmla="*/ 7 w 182"/>
                <a:gd name="T29" fmla="*/ 275 h 275"/>
                <a:gd name="T30" fmla="*/ 182 w 182"/>
                <a:gd name="T31" fmla="*/ 267 h 275"/>
                <a:gd name="T32" fmla="*/ 108 w 182"/>
                <a:gd name="T33" fmla="*/ 27 h 275"/>
                <a:gd name="T34" fmla="*/ 118 w 182"/>
                <a:gd name="T35" fmla="*/ 12 h 275"/>
                <a:gd name="T36" fmla="*/ 125 w 182"/>
                <a:gd name="T37" fmla="*/ 10 h 275"/>
                <a:gd name="T38" fmla="*/ 133 w 182"/>
                <a:gd name="T39" fmla="*/ 17 h 275"/>
                <a:gd name="T40" fmla="*/ 137 w 182"/>
                <a:gd name="T41" fmla="*/ 37 h 275"/>
                <a:gd name="T42" fmla="*/ 47 w 182"/>
                <a:gd name="T43" fmla="*/ 24 h 275"/>
                <a:gd name="T44" fmla="*/ 56 w 182"/>
                <a:gd name="T45" fmla="*/ 12 h 275"/>
                <a:gd name="T46" fmla="*/ 61 w 182"/>
                <a:gd name="T47" fmla="*/ 10 h 275"/>
                <a:gd name="T48" fmla="*/ 69 w 182"/>
                <a:gd name="T49" fmla="*/ 17 h 275"/>
                <a:gd name="T50" fmla="*/ 76 w 182"/>
                <a:gd name="T51" fmla="*/ 37 h 275"/>
                <a:gd name="T52" fmla="*/ 15 w 182"/>
                <a:gd name="T53" fmla="*/ 51 h 275"/>
                <a:gd name="T54" fmla="*/ 37 w 182"/>
                <a:gd name="T55" fmla="*/ 69 h 275"/>
                <a:gd name="T56" fmla="*/ 51 w 182"/>
                <a:gd name="T57" fmla="*/ 86 h 275"/>
                <a:gd name="T58" fmla="*/ 59 w 182"/>
                <a:gd name="T59" fmla="*/ 91 h 275"/>
                <a:gd name="T60" fmla="*/ 64 w 182"/>
                <a:gd name="T61" fmla="*/ 88 h 275"/>
                <a:gd name="T62" fmla="*/ 66 w 182"/>
                <a:gd name="T63" fmla="*/ 78 h 275"/>
                <a:gd name="T64" fmla="*/ 56 w 182"/>
                <a:gd name="T65" fmla="*/ 76 h 275"/>
                <a:gd name="T66" fmla="*/ 49 w 182"/>
                <a:gd name="T67" fmla="*/ 71 h 275"/>
                <a:gd name="T68" fmla="*/ 44 w 182"/>
                <a:gd name="T69" fmla="*/ 51 h 275"/>
                <a:gd name="T70" fmla="*/ 101 w 182"/>
                <a:gd name="T71" fmla="*/ 69 h 275"/>
                <a:gd name="T72" fmla="*/ 113 w 182"/>
                <a:gd name="T73" fmla="*/ 86 h 275"/>
                <a:gd name="T74" fmla="*/ 120 w 182"/>
                <a:gd name="T75" fmla="*/ 91 h 275"/>
                <a:gd name="T76" fmla="*/ 128 w 182"/>
                <a:gd name="T77" fmla="*/ 88 h 275"/>
                <a:gd name="T78" fmla="*/ 128 w 182"/>
                <a:gd name="T79" fmla="*/ 81 h 275"/>
                <a:gd name="T80" fmla="*/ 123 w 182"/>
                <a:gd name="T81" fmla="*/ 76 h 275"/>
                <a:gd name="T82" fmla="*/ 115 w 182"/>
                <a:gd name="T83" fmla="*/ 76 h 275"/>
                <a:gd name="T84" fmla="*/ 108 w 182"/>
                <a:gd name="T85" fmla="*/ 56 h 275"/>
                <a:gd name="T86" fmla="*/ 167 w 182"/>
                <a:gd name="T87" fmla="*/ 120 h 275"/>
                <a:gd name="T88" fmla="*/ 167 w 182"/>
                <a:gd name="T89" fmla="*/ 260 h 275"/>
                <a:gd name="T90" fmla="*/ 167 w 182"/>
                <a:gd name="T91" fmla="*/ 221 h 275"/>
                <a:gd name="T92" fmla="*/ 15 w 182"/>
                <a:gd name="T93" fmla="*/ 211 h 275"/>
                <a:gd name="T94" fmla="*/ 167 w 182"/>
                <a:gd name="T95" fmla="*/ 211 h 275"/>
                <a:gd name="T96" fmla="*/ 15 w 182"/>
                <a:gd name="T97" fmla="*/ 127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2" h="275">
                  <a:moveTo>
                    <a:pt x="182" y="42"/>
                  </a:moveTo>
                  <a:lnTo>
                    <a:pt x="179" y="39"/>
                  </a:lnTo>
                  <a:lnTo>
                    <a:pt x="177" y="37"/>
                  </a:lnTo>
                  <a:lnTo>
                    <a:pt x="174" y="37"/>
                  </a:lnTo>
                  <a:lnTo>
                    <a:pt x="147" y="37"/>
                  </a:lnTo>
                  <a:lnTo>
                    <a:pt x="145" y="27"/>
                  </a:lnTo>
                  <a:lnTo>
                    <a:pt x="140" y="15"/>
                  </a:lnTo>
                  <a:lnTo>
                    <a:pt x="135" y="7"/>
                  </a:lnTo>
                  <a:lnTo>
                    <a:pt x="133" y="5"/>
                  </a:lnTo>
                  <a:lnTo>
                    <a:pt x="128" y="2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18" y="2"/>
                  </a:lnTo>
                  <a:lnTo>
                    <a:pt x="115" y="2"/>
                  </a:lnTo>
                  <a:lnTo>
                    <a:pt x="113" y="5"/>
                  </a:lnTo>
                  <a:lnTo>
                    <a:pt x="108" y="10"/>
                  </a:lnTo>
                  <a:lnTo>
                    <a:pt x="103" y="15"/>
                  </a:lnTo>
                  <a:lnTo>
                    <a:pt x="101" y="20"/>
                  </a:lnTo>
                  <a:lnTo>
                    <a:pt x="98" y="29"/>
                  </a:lnTo>
                  <a:lnTo>
                    <a:pt x="96" y="37"/>
                  </a:lnTo>
                  <a:lnTo>
                    <a:pt x="86" y="37"/>
                  </a:lnTo>
                  <a:lnTo>
                    <a:pt x="83" y="27"/>
                  </a:lnTo>
                  <a:lnTo>
                    <a:pt x="78" y="17"/>
                  </a:lnTo>
                  <a:lnTo>
                    <a:pt x="74" y="7"/>
                  </a:lnTo>
                  <a:lnTo>
                    <a:pt x="69" y="2"/>
                  </a:lnTo>
                  <a:lnTo>
                    <a:pt x="64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47" y="5"/>
                  </a:lnTo>
                  <a:lnTo>
                    <a:pt x="42" y="12"/>
                  </a:lnTo>
                  <a:lnTo>
                    <a:pt x="39" y="20"/>
                  </a:lnTo>
                  <a:lnTo>
                    <a:pt x="34" y="29"/>
                  </a:lnTo>
                  <a:lnTo>
                    <a:pt x="34" y="37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2" y="39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5" y="272"/>
                  </a:lnTo>
                  <a:lnTo>
                    <a:pt x="5" y="275"/>
                  </a:lnTo>
                  <a:lnTo>
                    <a:pt x="7" y="275"/>
                  </a:lnTo>
                  <a:lnTo>
                    <a:pt x="177" y="272"/>
                  </a:lnTo>
                  <a:lnTo>
                    <a:pt x="179" y="272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42"/>
                  </a:lnTo>
                  <a:close/>
                  <a:moveTo>
                    <a:pt x="108" y="27"/>
                  </a:moveTo>
                  <a:lnTo>
                    <a:pt x="113" y="20"/>
                  </a:lnTo>
                  <a:lnTo>
                    <a:pt x="115" y="15"/>
                  </a:lnTo>
                  <a:lnTo>
                    <a:pt x="118" y="12"/>
                  </a:lnTo>
                  <a:lnTo>
                    <a:pt x="120" y="10"/>
                  </a:lnTo>
                  <a:lnTo>
                    <a:pt x="123" y="10"/>
                  </a:lnTo>
                  <a:lnTo>
                    <a:pt x="125" y="10"/>
                  </a:lnTo>
                  <a:lnTo>
                    <a:pt x="128" y="12"/>
                  </a:lnTo>
                  <a:lnTo>
                    <a:pt x="130" y="15"/>
                  </a:lnTo>
                  <a:lnTo>
                    <a:pt x="133" y="17"/>
                  </a:lnTo>
                  <a:lnTo>
                    <a:pt x="135" y="27"/>
                  </a:lnTo>
                  <a:lnTo>
                    <a:pt x="137" y="34"/>
                  </a:lnTo>
                  <a:lnTo>
                    <a:pt x="137" y="37"/>
                  </a:lnTo>
                  <a:lnTo>
                    <a:pt x="105" y="37"/>
                  </a:lnTo>
                  <a:lnTo>
                    <a:pt x="108" y="27"/>
                  </a:lnTo>
                  <a:close/>
                  <a:moveTo>
                    <a:pt x="47" y="24"/>
                  </a:moveTo>
                  <a:lnTo>
                    <a:pt x="49" y="20"/>
                  </a:lnTo>
                  <a:lnTo>
                    <a:pt x="51" y="15"/>
                  </a:lnTo>
                  <a:lnTo>
                    <a:pt x="56" y="12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1" y="10"/>
                  </a:lnTo>
                  <a:lnTo>
                    <a:pt x="66" y="12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22"/>
                  </a:lnTo>
                  <a:lnTo>
                    <a:pt x="74" y="29"/>
                  </a:lnTo>
                  <a:lnTo>
                    <a:pt x="76" y="37"/>
                  </a:lnTo>
                  <a:lnTo>
                    <a:pt x="44" y="37"/>
                  </a:lnTo>
                  <a:lnTo>
                    <a:pt x="47" y="24"/>
                  </a:lnTo>
                  <a:close/>
                  <a:moveTo>
                    <a:pt x="15" y="51"/>
                  </a:moveTo>
                  <a:lnTo>
                    <a:pt x="34" y="51"/>
                  </a:lnTo>
                  <a:lnTo>
                    <a:pt x="37" y="61"/>
                  </a:lnTo>
                  <a:lnTo>
                    <a:pt x="37" y="69"/>
                  </a:lnTo>
                  <a:lnTo>
                    <a:pt x="42" y="78"/>
                  </a:lnTo>
                  <a:lnTo>
                    <a:pt x="47" y="83"/>
                  </a:lnTo>
                  <a:lnTo>
                    <a:pt x="51" y="86"/>
                  </a:lnTo>
                  <a:lnTo>
                    <a:pt x="54" y="88"/>
                  </a:lnTo>
                  <a:lnTo>
                    <a:pt x="56" y="88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61" y="91"/>
                  </a:lnTo>
                  <a:lnTo>
                    <a:pt x="64" y="88"/>
                  </a:lnTo>
                  <a:lnTo>
                    <a:pt x="66" y="86"/>
                  </a:lnTo>
                  <a:lnTo>
                    <a:pt x="66" y="83"/>
                  </a:lnTo>
                  <a:lnTo>
                    <a:pt x="66" y="78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1" y="73"/>
                  </a:lnTo>
                  <a:lnTo>
                    <a:pt x="49" y="71"/>
                  </a:lnTo>
                  <a:lnTo>
                    <a:pt x="47" y="66"/>
                  </a:lnTo>
                  <a:lnTo>
                    <a:pt x="44" y="59"/>
                  </a:lnTo>
                  <a:lnTo>
                    <a:pt x="44" y="51"/>
                  </a:lnTo>
                  <a:lnTo>
                    <a:pt x="96" y="51"/>
                  </a:lnTo>
                  <a:lnTo>
                    <a:pt x="98" y="61"/>
                  </a:lnTo>
                  <a:lnTo>
                    <a:pt x="101" y="69"/>
                  </a:lnTo>
                  <a:lnTo>
                    <a:pt x="103" y="76"/>
                  </a:lnTo>
                  <a:lnTo>
                    <a:pt x="110" y="83"/>
                  </a:lnTo>
                  <a:lnTo>
                    <a:pt x="113" y="86"/>
                  </a:lnTo>
                  <a:lnTo>
                    <a:pt x="115" y="88"/>
                  </a:lnTo>
                  <a:lnTo>
                    <a:pt x="118" y="88"/>
                  </a:lnTo>
                  <a:lnTo>
                    <a:pt x="120" y="91"/>
                  </a:lnTo>
                  <a:lnTo>
                    <a:pt x="123" y="91"/>
                  </a:lnTo>
                  <a:lnTo>
                    <a:pt x="125" y="91"/>
                  </a:lnTo>
                  <a:lnTo>
                    <a:pt x="128" y="88"/>
                  </a:lnTo>
                  <a:lnTo>
                    <a:pt x="128" y="86"/>
                  </a:lnTo>
                  <a:lnTo>
                    <a:pt x="130" y="83"/>
                  </a:lnTo>
                  <a:lnTo>
                    <a:pt x="128" y="81"/>
                  </a:lnTo>
                  <a:lnTo>
                    <a:pt x="125" y="78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0" y="76"/>
                  </a:lnTo>
                  <a:lnTo>
                    <a:pt x="118" y="78"/>
                  </a:lnTo>
                  <a:lnTo>
                    <a:pt x="115" y="76"/>
                  </a:lnTo>
                  <a:lnTo>
                    <a:pt x="113" y="71"/>
                  </a:lnTo>
                  <a:lnTo>
                    <a:pt x="110" y="66"/>
                  </a:lnTo>
                  <a:lnTo>
                    <a:pt x="108" y="56"/>
                  </a:lnTo>
                  <a:lnTo>
                    <a:pt x="105" y="51"/>
                  </a:lnTo>
                  <a:lnTo>
                    <a:pt x="167" y="51"/>
                  </a:lnTo>
                  <a:lnTo>
                    <a:pt x="167" y="120"/>
                  </a:lnTo>
                  <a:lnTo>
                    <a:pt x="15" y="120"/>
                  </a:lnTo>
                  <a:lnTo>
                    <a:pt x="15" y="51"/>
                  </a:lnTo>
                  <a:close/>
                  <a:moveTo>
                    <a:pt x="167" y="260"/>
                  </a:moveTo>
                  <a:lnTo>
                    <a:pt x="15" y="260"/>
                  </a:lnTo>
                  <a:lnTo>
                    <a:pt x="15" y="221"/>
                  </a:lnTo>
                  <a:lnTo>
                    <a:pt x="167" y="221"/>
                  </a:lnTo>
                  <a:lnTo>
                    <a:pt x="167" y="260"/>
                  </a:lnTo>
                  <a:close/>
                  <a:moveTo>
                    <a:pt x="167" y="211"/>
                  </a:moveTo>
                  <a:lnTo>
                    <a:pt x="15" y="211"/>
                  </a:lnTo>
                  <a:lnTo>
                    <a:pt x="15" y="174"/>
                  </a:lnTo>
                  <a:lnTo>
                    <a:pt x="167" y="174"/>
                  </a:lnTo>
                  <a:lnTo>
                    <a:pt x="167" y="211"/>
                  </a:lnTo>
                  <a:close/>
                  <a:moveTo>
                    <a:pt x="167" y="164"/>
                  </a:moveTo>
                  <a:lnTo>
                    <a:pt x="15" y="164"/>
                  </a:lnTo>
                  <a:lnTo>
                    <a:pt x="15" y="127"/>
                  </a:lnTo>
                  <a:lnTo>
                    <a:pt x="167" y="127"/>
                  </a:lnTo>
                  <a:lnTo>
                    <a:pt x="167" y="16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60">
            <a:extLst>
              <a:ext uri="{FF2B5EF4-FFF2-40B4-BE49-F238E27FC236}">
                <a16:creationId xmlns:a16="http://schemas.microsoft.com/office/drawing/2014/main" id="{394DF72A-C8C4-4C54-B59D-83070B4F61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575" y="2816226"/>
            <a:ext cx="841375" cy="841375"/>
            <a:chOff x="276" y="1835"/>
            <a:chExt cx="530" cy="530"/>
          </a:xfrm>
        </p:grpSpPr>
        <p:sp>
          <p:nvSpPr>
            <p:cNvPr id="183" name="AutoShape 159">
              <a:extLst>
                <a:ext uri="{FF2B5EF4-FFF2-40B4-BE49-F238E27FC236}">
                  <a16:creationId xmlns:a16="http://schemas.microsoft.com/office/drawing/2014/main" id="{9F94E22A-5368-4286-96E7-14ACB6C135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6" y="183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161">
              <a:extLst>
                <a:ext uri="{FF2B5EF4-FFF2-40B4-BE49-F238E27FC236}">
                  <a16:creationId xmlns:a16="http://schemas.microsoft.com/office/drawing/2014/main" id="{79D9EA5D-64E1-46A6-A173-ED82D4838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" y="183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2">
              <a:extLst>
                <a:ext uri="{FF2B5EF4-FFF2-40B4-BE49-F238E27FC236}">
                  <a16:creationId xmlns:a16="http://schemas.microsoft.com/office/drawing/2014/main" id="{A91ED6C1-9557-4098-BBA0-3F37D30364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" y="185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3">
              <a:extLst>
                <a:ext uri="{FF2B5EF4-FFF2-40B4-BE49-F238E27FC236}">
                  <a16:creationId xmlns:a16="http://schemas.microsoft.com/office/drawing/2014/main" id="{FA13E857-B049-4449-8A9F-8E8D57247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" y="1958"/>
              <a:ext cx="190" cy="287"/>
            </a:xfrm>
            <a:custGeom>
              <a:avLst/>
              <a:gdLst>
                <a:gd name="T0" fmla="*/ 185 w 190"/>
                <a:gd name="T1" fmla="*/ 38 h 287"/>
                <a:gd name="T2" fmla="*/ 152 w 190"/>
                <a:gd name="T3" fmla="*/ 28 h 287"/>
                <a:gd name="T4" fmla="*/ 139 w 190"/>
                <a:gd name="T5" fmla="*/ 5 h 287"/>
                <a:gd name="T6" fmla="*/ 128 w 190"/>
                <a:gd name="T7" fmla="*/ 0 h 287"/>
                <a:gd name="T8" fmla="*/ 118 w 190"/>
                <a:gd name="T9" fmla="*/ 5 h 287"/>
                <a:gd name="T10" fmla="*/ 105 w 190"/>
                <a:gd name="T11" fmla="*/ 20 h 287"/>
                <a:gd name="T12" fmla="*/ 90 w 190"/>
                <a:gd name="T13" fmla="*/ 38 h 287"/>
                <a:gd name="T14" fmla="*/ 77 w 190"/>
                <a:gd name="T15" fmla="*/ 7 h 287"/>
                <a:gd name="T16" fmla="*/ 64 w 190"/>
                <a:gd name="T17" fmla="*/ 0 h 287"/>
                <a:gd name="T18" fmla="*/ 57 w 190"/>
                <a:gd name="T19" fmla="*/ 2 h 287"/>
                <a:gd name="T20" fmla="*/ 41 w 190"/>
                <a:gd name="T21" fmla="*/ 20 h 287"/>
                <a:gd name="T22" fmla="*/ 8 w 190"/>
                <a:gd name="T23" fmla="*/ 38 h 287"/>
                <a:gd name="T24" fmla="*/ 0 w 190"/>
                <a:gd name="T25" fmla="*/ 43 h 287"/>
                <a:gd name="T26" fmla="*/ 3 w 190"/>
                <a:gd name="T27" fmla="*/ 284 h 287"/>
                <a:gd name="T28" fmla="*/ 8 w 190"/>
                <a:gd name="T29" fmla="*/ 287 h 287"/>
                <a:gd name="T30" fmla="*/ 190 w 190"/>
                <a:gd name="T31" fmla="*/ 279 h 287"/>
                <a:gd name="T32" fmla="*/ 113 w 190"/>
                <a:gd name="T33" fmla="*/ 28 h 287"/>
                <a:gd name="T34" fmla="*/ 123 w 190"/>
                <a:gd name="T35" fmla="*/ 13 h 287"/>
                <a:gd name="T36" fmla="*/ 131 w 190"/>
                <a:gd name="T37" fmla="*/ 10 h 287"/>
                <a:gd name="T38" fmla="*/ 139 w 190"/>
                <a:gd name="T39" fmla="*/ 18 h 287"/>
                <a:gd name="T40" fmla="*/ 144 w 190"/>
                <a:gd name="T41" fmla="*/ 38 h 287"/>
                <a:gd name="T42" fmla="*/ 49 w 190"/>
                <a:gd name="T43" fmla="*/ 25 h 287"/>
                <a:gd name="T44" fmla="*/ 59 w 190"/>
                <a:gd name="T45" fmla="*/ 13 h 287"/>
                <a:gd name="T46" fmla="*/ 64 w 190"/>
                <a:gd name="T47" fmla="*/ 10 h 287"/>
                <a:gd name="T48" fmla="*/ 72 w 190"/>
                <a:gd name="T49" fmla="*/ 18 h 287"/>
                <a:gd name="T50" fmla="*/ 80 w 190"/>
                <a:gd name="T51" fmla="*/ 38 h 287"/>
                <a:gd name="T52" fmla="*/ 16 w 190"/>
                <a:gd name="T53" fmla="*/ 54 h 287"/>
                <a:gd name="T54" fmla="*/ 39 w 190"/>
                <a:gd name="T55" fmla="*/ 71 h 287"/>
                <a:gd name="T56" fmla="*/ 54 w 190"/>
                <a:gd name="T57" fmla="*/ 89 h 287"/>
                <a:gd name="T58" fmla="*/ 62 w 190"/>
                <a:gd name="T59" fmla="*/ 95 h 287"/>
                <a:gd name="T60" fmla="*/ 67 w 190"/>
                <a:gd name="T61" fmla="*/ 92 h 287"/>
                <a:gd name="T62" fmla="*/ 70 w 190"/>
                <a:gd name="T63" fmla="*/ 82 h 287"/>
                <a:gd name="T64" fmla="*/ 59 w 190"/>
                <a:gd name="T65" fmla="*/ 79 h 287"/>
                <a:gd name="T66" fmla="*/ 52 w 190"/>
                <a:gd name="T67" fmla="*/ 74 h 287"/>
                <a:gd name="T68" fmla="*/ 47 w 190"/>
                <a:gd name="T69" fmla="*/ 54 h 287"/>
                <a:gd name="T70" fmla="*/ 105 w 190"/>
                <a:gd name="T71" fmla="*/ 71 h 287"/>
                <a:gd name="T72" fmla="*/ 118 w 190"/>
                <a:gd name="T73" fmla="*/ 89 h 287"/>
                <a:gd name="T74" fmla="*/ 126 w 190"/>
                <a:gd name="T75" fmla="*/ 95 h 287"/>
                <a:gd name="T76" fmla="*/ 134 w 190"/>
                <a:gd name="T77" fmla="*/ 92 h 287"/>
                <a:gd name="T78" fmla="*/ 134 w 190"/>
                <a:gd name="T79" fmla="*/ 84 h 287"/>
                <a:gd name="T80" fmla="*/ 128 w 190"/>
                <a:gd name="T81" fmla="*/ 79 h 287"/>
                <a:gd name="T82" fmla="*/ 121 w 190"/>
                <a:gd name="T83" fmla="*/ 79 h 287"/>
                <a:gd name="T84" fmla="*/ 113 w 190"/>
                <a:gd name="T85" fmla="*/ 59 h 287"/>
                <a:gd name="T86" fmla="*/ 175 w 190"/>
                <a:gd name="T87" fmla="*/ 125 h 287"/>
                <a:gd name="T88" fmla="*/ 175 w 190"/>
                <a:gd name="T89" fmla="*/ 271 h 287"/>
                <a:gd name="T90" fmla="*/ 175 w 190"/>
                <a:gd name="T91" fmla="*/ 230 h 287"/>
                <a:gd name="T92" fmla="*/ 16 w 190"/>
                <a:gd name="T93" fmla="*/ 220 h 287"/>
                <a:gd name="T94" fmla="*/ 175 w 190"/>
                <a:gd name="T95" fmla="*/ 220 h 287"/>
                <a:gd name="T96" fmla="*/ 16 w 190"/>
                <a:gd name="T97" fmla="*/ 133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0" h="287">
                  <a:moveTo>
                    <a:pt x="190" y="43"/>
                  </a:moveTo>
                  <a:lnTo>
                    <a:pt x="187" y="41"/>
                  </a:lnTo>
                  <a:lnTo>
                    <a:pt x="185" y="38"/>
                  </a:lnTo>
                  <a:lnTo>
                    <a:pt x="182" y="38"/>
                  </a:lnTo>
                  <a:lnTo>
                    <a:pt x="154" y="38"/>
                  </a:lnTo>
                  <a:lnTo>
                    <a:pt x="152" y="28"/>
                  </a:lnTo>
                  <a:lnTo>
                    <a:pt x="146" y="15"/>
                  </a:lnTo>
                  <a:lnTo>
                    <a:pt x="141" y="7"/>
                  </a:lnTo>
                  <a:lnTo>
                    <a:pt x="139" y="5"/>
                  </a:lnTo>
                  <a:lnTo>
                    <a:pt x="134" y="2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18" y="5"/>
                  </a:lnTo>
                  <a:lnTo>
                    <a:pt x="113" y="10"/>
                  </a:lnTo>
                  <a:lnTo>
                    <a:pt x="108" y="15"/>
                  </a:lnTo>
                  <a:lnTo>
                    <a:pt x="105" y="20"/>
                  </a:lnTo>
                  <a:lnTo>
                    <a:pt x="103" y="31"/>
                  </a:lnTo>
                  <a:lnTo>
                    <a:pt x="100" y="38"/>
                  </a:lnTo>
                  <a:lnTo>
                    <a:pt x="90" y="38"/>
                  </a:lnTo>
                  <a:lnTo>
                    <a:pt x="87" y="28"/>
                  </a:lnTo>
                  <a:lnTo>
                    <a:pt x="82" y="18"/>
                  </a:lnTo>
                  <a:lnTo>
                    <a:pt x="77" y="7"/>
                  </a:lnTo>
                  <a:lnTo>
                    <a:pt x="72" y="2"/>
                  </a:lnTo>
                  <a:lnTo>
                    <a:pt x="67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49" y="5"/>
                  </a:lnTo>
                  <a:lnTo>
                    <a:pt x="44" y="13"/>
                  </a:lnTo>
                  <a:lnTo>
                    <a:pt x="41" y="20"/>
                  </a:lnTo>
                  <a:lnTo>
                    <a:pt x="36" y="31"/>
                  </a:lnTo>
                  <a:lnTo>
                    <a:pt x="36" y="38"/>
                  </a:lnTo>
                  <a:lnTo>
                    <a:pt x="8" y="38"/>
                  </a:lnTo>
                  <a:lnTo>
                    <a:pt x="6" y="38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281"/>
                  </a:lnTo>
                  <a:lnTo>
                    <a:pt x="3" y="284"/>
                  </a:lnTo>
                  <a:lnTo>
                    <a:pt x="6" y="284"/>
                  </a:lnTo>
                  <a:lnTo>
                    <a:pt x="6" y="287"/>
                  </a:lnTo>
                  <a:lnTo>
                    <a:pt x="8" y="287"/>
                  </a:lnTo>
                  <a:lnTo>
                    <a:pt x="185" y="284"/>
                  </a:lnTo>
                  <a:lnTo>
                    <a:pt x="187" y="284"/>
                  </a:lnTo>
                  <a:lnTo>
                    <a:pt x="190" y="279"/>
                  </a:lnTo>
                  <a:lnTo>
                    <a:pt x="190" y="279"/>
                  </a:lnTo>
                  <a:lnTo>
                    <a:pt x="190" y="43"/>
                  </a:lnTo>
                  <a:close/>
                  <a:moveTo>
                    <a:pt x="113" y="28"/>
                  </a:moveTo>
                  <a:lnTo>
                    <a:pt x="118" y="20"/>
                  </a:lnTo>
                  <a:lnTo>
                    <a:pt x="121" y="15"/>
                  </a:lnTo>
                  <a:lnTo>
                    <a:pt x="123" y="13"/>
                  </a:lnTo>
                  <a:lnTo>
                    <a:pt x="126" y="10"/>
                  </a:lnTo>
                  <a:lnTo>
                    <a:pt x="128" y="10"/>
                  </a:lnTo>
                  <a:lnTo>
                    <a:pt x="131" y="10"/>
                  </a:lnTo>
                  <a:lnTo>
                    <a:pt x="134" y="13"/>
                  </a:lnTo>
                  <a:lnTo>
                    <a:pt x="136" y="15"/>
                  </a:lnTo>
                  <a:lnTo>
                    <a:pt x="139" y="18"/>
                  </a:lnTo>
                  <a:lnTo>
                    <a:pt x="141" y="28"/>
                  </a:lnTo>
                  <a:lnTo>
                    <a:pt x="144" y="36"/>
                  </a:lnTo>
                  <a:lnTo>
                    <a:pt x="144" y="38"/>
                  </a:lnTo>
                  <a:lnTo>
                    <a:pt x="111" y="38"/>
                  </a:lnTo>
                  <a:lnTo>
                    <a:pt x="113" y="28"/>
                  </a:lnTo>
                  <a:close/>
                  <a:moveTo>
                    <a:pt x="49" y="25"/>
                  </a:moveTo>
                  <a:lnTo>
                    <a:pt x="52" y="20"/>
                  </a:lnTo>
                  <a:lnTo>
                    <a:pt x="54" y="15"/>
                  </a:lnTo>
                  <a:lnTo>
                    <a:pt x="59" y="13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70" y="13"/>
                  </a:lnTo>
                  <a:lnTo>
                    <a:pt x="72" y="15"/>
                  </a:lnTo>
                  <a:lnTo>
                    <a:pt x="72" y="18"/>
                  </a:lnTo>
                  <a:lnTo>
                    <a:pt x="75" y="23"/>
                  </a:lnTo>
                  <a:lnTo>
                    <a:pt x="77" y="31"/>
                  </a:lnTo>
                  <a:lnTo>
                    <a:pt x="80" y="38"/>
                  </a:lnTo>
                  <a:lnTo>
                    <a:pt x="47" y="38"/>
                  </a:lnTo>
                  <a:lnTo>
                    <a:pt x="49" y="25"/>
                  </a:lnTo>
                  <a:close/>
                  <a:moveTo>
                    <a:pt x="16" y="54"/>
                  </a:moveTo>
                  <a:lnTo>
                    <a:pt x="36" y="54"/>
                  </a:lnTo>
                  <a:lnTo>
                    <a:pt x="39" y="64"/>
                  </a:lnTo>
                  <a:lnTo>
                    <a:pt x="39" y="71"/>
                  </a:lnTo>
                  <a:lnTo>
                    <a:pt x="44" y="82"/>
                  </a:lnTo>
                  <a:lnTo>
                    <a:pt x="49" y="87"/>
                  </a:lnTo>
                  <a:lnTo>
                    <a:pt x="54" y="89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4" y="95"/>
                  </a:lnTo>
                  <a:lnTo>
                    <a:pt x="67" y="92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70" y="82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59" y="79"/>
                  </a:lnTo>
                  <a:lnTo>
                    <a:pt x="59" y="82"/>
                  </a:lnTo>
                  <a:lnTo>
                    <a:pt x="54" y="77"/>
                  </a:lnTo>
                  <a:lnTo>
                    <a:pt x="52" y="74"/>
                  </a:lnTo>
                  <a:lnTo>
                    <a:pt x="49" y="69"/>
                  </a:lnTo>
                  <a:lnTo>
                    <a:pt x="47" y="61"/>
                  </a:lnTo>
                  <a:lnTo>
                    <a:pt x="47" y="54"/>
                  </a:lnTo>
                  <a:lnTo>
                    <a:pt x="100" y="54"/>
                  </a:lnTo>
                  <a:lnTo>
                    <a:pt x="103" y="64"/>
                  </a:lnTo>
                  <a:lnTo>
                    <a:pt x="105" y="71"/>
                  </a:lnTo>
                  <a:lnTo>
                    <a:pt x="108" y="79"/>
                  </a:lnTo>
                  <a:lnTo>
                    <a:pt x="116" y="87"/>
                  </a:lnTo>
                  <a:lnTo>
                    <a:pt x="118" y="89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6" y="95"/>
                  </a:lnTo>
                  <a:lnTo>
                    <a:pt x="128" y="95"/>
                  </a:lnTo>
                  <a:lnTo>
                    <a:pt x="131" y="95"/>
                  </a:lnTo>
                  <a:lnTo>
                    <a:pt x="134" y="92"/>
                  </a:lnTo>
                  <a:lnTo>
                    <a:pt x="134" y="89"/>
                  </a:lnTo>
                  <a:lnTo>
                    <a:pt x="136" y="87"/>
                  </a:lnTo>
                  <a:lnTo>
                    <a:pt x="134" y="84"/>
                  </a:lnTo>
                  <a:lnTo>
                    <a:pt x="131" y="82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6" y="79"/>
                  </a:lnTo>
                  <a:lnTo>
                    <a:pt x="123" y="82"/>
                  </a:lnTo>
                  <a:lnTo>
                    <a:pt x="121" y="79"/>
                  </a:lnTo>
                  <a:lnTo>
                    <a:pt x="118" y="74"/>
                  </a:lnTo>
                  <a:lnTo>
                    <a:pt x="116" y="69"/>
                  </a:lnTo>
                  <a:lnTo>
                    <a:pt x="113" y="59"/>
                  </a:lnTo>
                  <a:lnTo>
                    <a:pt x="111" y="54"/>
                  </a:lnTo>
                  <a:lnTo>
                    <a:pt x="175" y="54"/>
                  </a:lnTo>
                  <a:lnTo>
                    <a:pt x="175" y="125"/>
                  </a:lnTo>
                  <a:lnTo>
                    <a:pt x="16" y="125"/>
                  </a:lnTo>
                  <a:lnTo>
                    <a:pt x="16" y="54"/>
                  </a:lnTo>
                  <a:close/>
                  <a:moveTo>
                    <a:pt x="175" y="271"/>
                  </a:moveTo>
                  <a:lnTo>
                    <a:pt x="16" y="271"/>
                  </a:lnTo>
                  <a:lnTo>
                    <a:pt x="16" y="230"/>
                  </a:lnTo>
                  <a:lnTo>
                    <a:pt x="175" y="230"/>
                  </a:lnTo>
                  <a:lnTo>
                    <a:pt x="175" y="271"/>
                  </a:lnTo>
                  <a:close/>
                  <a:moveTo>
                    <a:pt x="175" y="220"/>
                  </a:moveTo>
                  <a:lnTo>
                    <a:pt x="16" y="220"/>
                  </a:lnTo>
                  <a:lnTo>
                    <a:pt x="16" y="182"/>
                  </a:lnTo>
                  <a:lnTo>
                    <a:pt x="175" y="182"/>
                  </a:lnTo>
                  <a:lnTo>
                    <a:pt x="175" y="220"/>
                  </a:lnTo>
                  <a:close/>
                  <a:moveTo>
                    <a:pt x="175" y="171"/>
                  </a:moveTo>
                  <a:lnTo>
                    <a:pt x="16" y="171"/>
                  </a:lnTo>
                  <a:lnTo>
                    <a:pt x="16" y="133"/>
                  </a:lnTo>
                  <a:lnTo>
                    <a:pt x="175" y="133"/>
                  </a:lnTo>
                  <a:lnTo>
                    <a:pt x="175" y="1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1" name="Group 166">
            <a:extLst>
              <a:ext uri="{FF2B5EF4-FFF2-40B4-BE49-F238E27FC236}">
                <a16:creationId xmlns:a16="http://schemas.microsoft.com/office/drawing/2014/main" id="{05C9B731-844C-49B5-8D2D-0874C6C5C2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1082" y="2857501"/>
            <a:ext cx="758825" cy="758825"/>
            <a:chOff x="5117" y="1886"/>
            <a:chExt cx="478" cy="478"/>
          </a:xfrm>
        </p:grpSpPr>
        <p:sp>
          <p:nvSpPr>
            <p:cNvPr id="192" name="AutoShape 165">
              <a:extLst>
                <a:ext uri="{FF2B5EF4-FFF2-40B4-BE49-F238E27FC236}">
                  <a16:creationId xmlns:a16="http://schemas.microsoft.com/office/drawing/2014/main" id="{EAB7242C-8339-4DD7-B283-2DFB0E12A8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17" y="18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67">
              <a:extLst>
                <a:ext uri="{FF2B5EF4-FFF2-40B4-BE49-F238E27FC236}">
                  <a16:creationId xmlns:a16="http://schemas.microsoft.com/office/drawing/2014/main" id="{64D48BB6-1728-42AF-BE9C-3F1A4D2D8E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9" y="18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68">
              <a:extLst>
                <a:ext uri="{FF2B5EF4-FFF2-40B4-BE49-F238E27FC236}">
                  <a16:creationId xmlns:a16="http://schemas.microsoft.com/office/drawing/2014/main" id="{A81110C8-07CA-4BF9-ACF9-926500BEA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7" y="2018"/>
              <a:ext cx="260" cy="216"/>
            </a:xfrm>
            <a:custGeom>
              <a:avLst/>
              <a:gdLst>
                <a:gd name="T0" fmla="*/ 189 w 260"/>
                <a:gd name="T1" fmla="*/ 155 h 216"/>
                <a:gd name="T2" fmla="*/ 196 w 260"/>
                <a:gd name="T3" fmla="*/ 165 h 216"/>
                <a:gd name="T4" fmla="*/ 199 w 260"/>
                <a:gd name="T5" fmla="*/ 157 h 216"/>
                <a:gd name="T6" fmla="*/ 245 w 260"/>
                <a:gd name="T7" fmla="*/ 125 h 216"/>
                <a:gd name="T8" fmla="*/ 248 w 260"/>
                <a:gd name="T9" fmla="*/ 199 h 216"/>
                <a:gd name="T10" fmla="*/ 243 w 260"/>
                <a:gd name="T11" fmla="*/ 204 h 216"/>
                <a:gd name="T12" fmla="*/ 17 w 260"/>
                <a:gd name="T13" fmla="*/ 204 h 216"/>
                <a:gd name="T14" fmla="*/ 13 w 260"/>
                <a:gd name="T15" fmla="*/ 199 h 216"/>
                <a:gd name="T16" fmla="*/ 17 w 260"/>
                <a:gd name="T17" fmla="*/ 125 h 216"/>
                <a:gd name="T18" fmla="*/ 62 w 260"/>
                <a:gd name="T19" fmla="*/ 160 h 216"/>
                <a:gd name="T20" fmla="*/ 64 w 260"/>
                <a:gd name="T21" fmla="*/ 165 h 216"/>
                <a:gd name="T22" fmla="*/ 98 w 260"/>
                <a:gd name="T23" fmla="*/ 165 h 216"/>
                <a:gd name="T24" fmla="*/ 101 w 260"/>
                <a:gd name="T25" fmla="*/ 162 h 216"/>
                <a:gd name="T26" fmla="*/ 157 w 260"/>
                <a:gd name="T27" fmla="*/ 155 h 216"/>
                <a:gd name="T28" fmla="*/ 160 w 260"/>
                <a:gd name="T29" fmla="*/ 162 h 216"/>
                <a:gd name="T30" fmla="*/ 165 w 260"/>
                <a:gd name="T31" fmla="*/ 165 h 216"/>
                <a:gd name="T32" fmla="*/ 13 w 260"/>
                <a:gd name="T33" fmla="*/ 113 h 216"/>
                <a:gd name="T34" fmla="*/ 10 w 260"/>
                <a:gd name="T35" fmla="*/ 106 h 216"/>
                <a:gd name="T36" fmla="*/ 13 w 260"/>
                <a:gd name="T37" fmla="*/ 44 h 216"/>
                <a:gd name="T38" fmla="*/ 20 w 260"/>
                <a:gd name="T39" fmla="*/ 42 h 216"/>
                <a:gd name="T40" fmla="*/ 245 w 260"/>
                <a:gd name="T41" fmla="*/ 44 h 216"/>
                <a:gd name="T42" fmla="*/ 250 w 260"/>
                <a:gd name="T43" fmla="*/ 49 h 216"/>
                <a:gd name="T44" fmla="*/ 248 w 260"/>
                <a:gd name="T45" fmla="*/ 111 h 216"/>
                <a:gd name="T46" fmla="*/ 243 w 260"/>
                <a:gd name="T47" fmla="*/ 116 h 216"/>
                <a:gd name="T48" fmla="*/ 194 w 260"/>
                <a:gd name="T49" fmla="*/ 113 h 216"/>
                <a:gd name="T50" fmla="*/ 96 w 260"/>
                <a:gd name="T51" fmla="*/ 116 h 216"/>
                <a:gd name="T52" fmla="*/ 86 w 260"/>
                <a:gd name="T53" fmla="*/ 18 h 216"/>
                <a:gd name="T54" fmla="*/ 91 w 260"/>
                <a:gd name="T55" fmla="*/ 13 h 216"/>
                <a:gd name="T56" fmla="*/ 167 w 260"/>
                <a:gd name="T57" fmla="*/ 13 h 216"/>
                <a:gd name="T58" fmla="*/ 172 w 260"/>
                <a:gd name="T59" fmla="*/ 13 h 216"/>
                <a:gd name="T60" fmla="*/ 174 w 260"/>
                <a:gd name="T61" fmla="*/ 20 h 216"/>
                <a:gd name="T62" fmla="*/ 91 w 260"/>
                <a:gd name="T63" fmla="*/ 0 h 216"/>
                <a:gd name="T64" fmla="*/ 84 w 260"/>
                <a:gd name="T65" fmla="*/ 5 h 216"/>
                <a:gd name="T66" fmla="*/ 79 w 260"/>
                <a:gd name="T67" fmla="*/ 10 h 216"/>
                <a:gd name="T68" fmla="*/ 76 w 260"/>
                <a:gd name="T69" fmla="*/ 15 h 216"/>
                <a:gd name="T70" fmla="*/ 17 w 260"/>
                <a:gd name="T71" fmla="*/ 32 h 216"/>
                <a:gd name="T72" fmla="*/ 10 w 260"/>
                <a:gd name="T73" fmla="*/ 35 h 216"/>
                <a:gd name="T74" fmla="*/ 3 w 260"/>
                <a:gd name="T75" fmla="*/ 40 h 216"/>
                <a:gd name="T76" fmla="*/ 0 w 260"/>
                <a:gd name="T77" fmla="*/ 47 h 216"/>
                <a:gd name="T78" fmla="*/ 0 w 260"/>
                <a:gd name="T79" fmla="*/ 199 h 216"/>
                <a:gd name="T80" fmla="*/ 3 w 260"/>
                <a:gd name="T81" fmla="*/ 206 h 216"/>
                <a:gd name="T82" fmla="*/ 8 w 260"/>
                <a:gd name="T83" fmla="*/ 211 h 216"/>
                <a:gd name="T84" fmla="*/ 13 w 260"/>
                <a:gd name="T85" fmla="*/ 216 h 216"/>
                <a:gd name="T86" fmla="*/ 243 w 260"/>
                <a:gd name="T87" fmla="*/ 216 h 216"/>
                <a:gd name="T88" fmla="*/ 250 w 260"/>
                <a:gd name="T89" fmla="*/ 214 h 216"/>
                <a:gd name="T90" fmla="*/ 255 w 260"/>
                <a:gd name="T91" fmla="*/ 209 h 216"/>
                <a:gd name="T92" fmla="*/ 260 w 260"/>
                <a:gd name="T93" fmla="*/ 204 h 216"/>
                <a:gd name="T94" fmla="*/ 260 w 260"/>
                <a:gd name="T95" fmla="*/ 49 h 216"/>
                <a:gd name="T96" fmla="*/ 258 w 260"/>
                <a:gd name="T97" fmla="*/ 42 h 216"/>
                <a:gd name="T98" fmla="*/ 253 w 260"/>
                <a:gd name="T99" fmla="*/ 35 h 216"/>
                <a:gd name="T100" fmla="*/ 248 w 260"/>
                <a:gd name="T101" fmla="*/ 32 h 216"/>
                <a:gd name="T102" fmla="*/ 184 w 260"/>
                <a:gd name="T103" fmla="*/ 20 h 216"/>
                <a:gd name="T104" fmla="*/ 184 w 260"/>
                <a:gd name="T105" fmla="*/ 13 h 216"/>
                <a:gd name="T106" fmla="*/ 179 w 260"/>
                <a:gd name="T107" fmla="*/ 5 h 216"/>
                <a:gd name="T108" fmla="*/ 174 w 260"/>
                <a:gd name="T109" fmla="*/ 3 h 216"/>
                <a:gd name="T110" fmla="*/ 93 w 260"/>
                <a:gd name="T11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0" h="216">
                  <a:moveTo>
                    <a:pt x="71" y="125"/>
                  </a:moveTo>
                  <a:lnTo>
                    <a:pt x="91" y="125"/>
                  </a:lnTo>
                  <a:lnTo>
                    <a:pt x="91" y="155"/>
                  </a:lnTo>
                  <a:lnTo>
                    <a:pt x="71" y="155"/>
                  </a:lnTo>
                  <a:lnTo>
                    <a:pt x="71" y="125"/>
                  </a:lnTo>
                  <a:close/>
                  <a:moveTo>
                    <a:pt x="167" y="125"/>
                  </a:moveTo>
                  <a:lnTo>
                    <a:pt x="189" y="125"/>
                  </a:lnTo>
                  <a:lnTo>
                    <a:pt x="189" y="155"/>
                  </a:lnTo>
                  <a:lnTo>
                    <a:pt x="167" y="155"/>
                  </a:lnTo>
                  <a:lnTo>
                    <a:pt x="167" y="125"/>
                  </a:lnTo>
                  <a:close/>
                  <a:moveTo>
                    <a:pt x="192" y="165"/>
                  </a:moveTo>
                  <a:lnTo>
                    <a:pt x="194" y="165"/>
                  </a:lnTo>
                  <a:lnTo>
                    <a:pt x="194" y="165"/>
                  </a:lnTo>
                  <a:lnTo>
                    <a:pt x="194" y="165"/>
                  </a:lnTo>
                  <a:lnTo>
                    <a:pt x="196" y="165"/>
                  </a:lnTo>
                  <a:lnTo>
                    <a:pt x="196" y="165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6" y="162"/>
                  </a:lnTo>
                  <a:lnTo>
                    <a:pt x="199" y="162"/>
                  </a:lnTo>
                  <a:lnTo>
                    <a:pt x="199" y="160"/>
                  </a:lnTo>
                  <a:lnTo>
                    <a:pt x="199" y="160"/>
                  </a:lnTo>
                  <a:lnTo>
                    <a:pt x="199" y="160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9" y="155"/>
                  </a:lnTo>
                  <a:lnTo>
                    <a:pt x="199" y="125"/>
                  </a:lnTo>
                  <a:lnTo>
                    <a:pt x="241" y="125"/>
                  </a:lnTo>
                  <a:lnTo>
                    <a:pt x="243" y="125"/>
                  </a:lnTo>
                  <a:lnTo>
                    <a:pt x="243" y="125"/>
                  </a:lnTo>
                  <a:lnTo>
                    <a:pt x="245" y="125"/>
                  </a:lnTo>
                  <a:lnTo>
                    <a:pt x="248" y="125"/>
                  </a:lnTo>
                  <a:lnTo>
                    <a:pt x="250" y="125"/>
                  </a:lnTo>
                  <a:lnTo>
                    <a:pt x="250" y="196"/>
                  </a:lnTo>
                  <a:lnTo>
                    <a:pt x="250" y="196"/>
                  </a:lnTo>
                  <a:lnTo>
                    <a:pt x="250" y="199"/>
                  </a:lnTo>
                  <a:lnTo>
                    <a:pt x="250" y="199"/>
                  </a:lnTo>
                  <a:lnTo>
                    <a:pt x="248" y="199"/>
                  </a:lnTo>
                  <a:lnTo>
                    <a:pt x="248" y="199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45" y="204"/>
                  </a:lnTo>
                  <a:lnTo>
                    <a:pt x="245" y="204"/>
                  </a:lnTo>
                  <a:lnTo>
                    <a:pt x="245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0" y="204"/>
                  </a:lnTo>
                  <a:lnTo>
                    <a:pt x="20" y="204"/>
                  </a:lnTo>
                  <a:lnTo>
                    <a:pt x="17" y="204"/>
                  </a:lnTo>
                  <a:lnTo>
                    <a:pt x="17" y="204"/>
                  </a:lnTo>
                  <a:lnTo>
                    <a:pt x="17" y="204"/>
                  </a:lnTo>
                  <a:lnTo>
                    <a:pt x="15" y="204"/>
                  </a:lnTo>
                  <a:lnTo>
                    <a:pt x="15" y="204"/>
                  </a:lnTo>
                  <a:lnTo>
                    <a:pt x="15" y="204"/>
                  </a:lnTo>
                  <a:lnTo>
                    <a:pt x="13" y="201"/>
                  </a:lnTo>
                  <a:lnTo>
                    <a:pt x="13" y="201"/>
                  </a:lnTo>
                  <a:lnTo>
                    <a:pt x="13" y="201"/>
                  </a:lnTo>
                  <a:lnTo>
                    <a:pt x="13" y="199"/>
                  </a:lnTo>
                  <a:lnTo>
                    <a:pt x="13" y="199"/>
                  </a:lnTo>
                  <a:lnTo>
                    <a:pt x="10" y="199"/>
                  </a:lnTo>
                  <a:lnTo>
                    <a:pt x="10" y="199"/>
                  </a:lnTo>
                  <a:lnTo>
                    <a:pt x="10" y="196"/>
                  </a:lnTo>
                  <a:lnTo>
                    <a:pt x="10" y="196"/>
                  </a:lnTo>
                  <a:lnTo>
                    <a:pt x="10" y="125"/>
                  </a:lnTo>
                  <a:lnTo>
                    <a:pt x="13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7" y="125"/>
                  </a:lnTo>
                  <a:lnTo>
                    <a:pt x="20" y="125"/>
                  </a:lnTo>
                  <a:lnTo>
                    <a:pt x="62" y="125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4" y="165"/>
                  </a:lnTo>
                  <a:lnTo>
                    <a:pt x="64" y="165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5"/>
                  </a:lnTo>
                  <a:lnTo>
                    <a:pt x="66" y="165"/>
                  </a:lnTo>
                  <a:lnTo>
                    <a:pt x="66" y="165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101" y="165"/>
                  </a:lnTo>
                  <a:lnTo>
                    <a:pt x="101" y="162"/>
                  </a:lnTo>
                  <a:lnTo>
                    <a:pt x="101" y="162"/>
                  </a:lnTo>
                  <a:lnTo>
                    <a:pt x="101" y="162"/>
                  </a:lnTo>
                  <a:lnTo>
                    <a:pt x="101" y="162"/>
                  </a:lnTo>
                  <a:lnTo>
                    <a:pt x="101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25"/>
                  </a:lnTo>
                  <a:lnTo>
                    <a:pt x="157" y="125"/>
                  </a:lnTo>
                  <a:lnTo>
                    <a:pt x="157" y="155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60" y="162"/>
                  </a:lnTo>
                  <a:lnTo>
                    <a:pt x="160" y="162"/>
                  </a:lnTo>
                  <a:lnTo>
                    <a:pt x="160" y="162"/>
                  </a:lnTo>
                  <a:lnTo>
                    <a:pt x="160" y="162"/>
                  </a:lnTo>
                  <a:lnTo>
                    <a:pt x="162" y="162"/>
                  </a:lnTo>
                  <a:lnTo>
                    <a:pt x="162" y="165"/>
                  </a:lnTo>
                  <a:lnTo>
                    <a:pt x="162" y="165"/>
                  </a:lnTo>
                  <a:lnTo>
                    <a:pt x="162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92" y="165"/>
                  </a:lnTo>
                  <a:close/>
                  <a:moveTo>
                    <a:pt x="17" y="116"/>
                  </a:moveTo>
                  <a:lnTo>
                    <a:pt x="17" y="116"/>
                  </a:lnTo>
                  <a:lnTo>
                    <a:pt x="17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3" y="113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52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3" y="42"/>
                  </a:lnTo>
                  <a:lnTo>
                    <a:pt x="243" y="42"/>
                  </a:lnTo>
                  <a:lnTo>
                    <a:pt x="243" y="42"/>
                  </a:lnTo>
                  <a:lnTo>
                    <a:pt x="245" y="44"/>
                  </a:lnTo>
                  <a:lnTo>
                    <a:pt x="245" y="44"/>
                  </a:lnTo>
                  <a:lnTo>
                    <a:pt x="245" y="44"/>
                  </a:lnTo>
                  <a:lnTo>
                    <a:pt x="248" y="44"/>
                  </a:lnTo>
                  <a:lnTo>
                    <a:pt x="248" y="44"/>
                  </a:lnTo>
                  <a:lnTo>
                    <a:pt x="248" y="47"/>
                  </a:lnTo>
                  <a:lnTo>
                    <a:pt x="248" y="47"/>
                  </a:lnTo>
                  <a:lnTo>
                    <a:pt x="248" y="47"/>
                  </a:lnTo>
                  <a:lnTo>
                    <a:pt x="250" y="49"/>
                  </a:lnTo>
                  <a:lnTo>
                    <a:pt x="250" y="49"/>
                  </a:lnTo>
                  <a:lnTo>
                    <a:pt x="250" y="49"/>
                  </a:lnTo>
                  <a:lnTo>
                    <a:pt x="250" y="52"/>
                  </a:lnTo>
                  <a:lnTo>
                    <a:pt x="250" y="106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3" y="113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4" y="113"/>
                  </a:lnTo>
                  <a:lnTo>
                    <a:pt x="194" y="113"/>
                  </a:lnTo>
                  <a:lnTo>
                    <a:pt x="194" y="113"/>
                  </a:lnTo>
                  <a:lnTo>
                    <a:pt x="192" y="113"/>
                  </a:lnTo>
                  <a:lnTo>
                    <a:pt x="165" y="113"/>
                  </a:lnTo>
                  <a:lnTo>
                    <a:pt x="165" y="113"/>
                  </a:lnTo>
                  <a:lnTo>
                    <a:pt x="162" y="113"/>
                  </a:lnTo>
                  <a:lnTo>
                    <a:pt x="162" y="113"/>
                  </a:lnTo>
                  <a:lnTo>
                    <a:pt x="162" y="116"/>
                  </a:lnTo>
                  <a:lnTo>
                    <a:pt x="162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7" y="116"/>
                  </a:lnTo>
                  <a:close/>
                  <a:moveTo>
                    <a:pt x="86" y="20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9" y="18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72" y="13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4" y="32"/>
                  </a:lnTo>
                  <a:lnTo>
                    <a:pt x="86" y="32"/>
                  </a:lnTo>
                  <a:lnTo>
                    <a:pt x="86" y="20"/>
                  </a:lnTo>
                  <a:close/>
                  <a:moveTo>
                    <a:pt x="93" y="0"/>
                  </a:moveTo>
                  <a:lnTo>
                    <a:pt x="93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9" y="0"/>
                  </a:lnTo>
                  <a:lnTo>
                    <a:pt x="89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20"/>
                  </a:lnTo>
                  <a:lnTo>
                    <a:pt x="76" y="32"/>
                  </a:lnTo>
                  <a:lnTo>
                    <a:pt x="20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0" y="32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3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11"/>
                  </a:lnTo>
                  <a:lnTo>
                    <a:pt x="5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4"/>
                  </a:lnTo>
                  <a:lnTo>
                    <a:pt x="10" y="214"/>
                  </a:lnTo>
                  <a:lnTo>
                    <a:pt x="10" y="214"/>
                  </a:lnTo>
                  <a:lnTo>
                    <a:pt x="10" y="214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7" y="216"/>
                  </a:lnTo>
                  <a:lnTo>
                    <a:pt x="17" y="216"/>
                  </a:lnTo>
                  <a:lnTo>
                    <a:pt x="17" y="216"/>
                  </a:lnTo>
                  <a:lnTo>
                    <a:pt x="20" y="216"/>
                  </a:lnTo>
                  <a:lnTo>
                    <a:pt x="241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8" y="216"/>
                  </a:lnTo>
                  <a:lnTo>
                    <a:pt x="248" y="214"/>
                  </a:lnTo>
                  <a:lnTo>
                    <a:pt x="248" y="214"/>
                  </a:lnTo>
                  <a:lnTo>
                    <a:pt x="250" y="214"/>
                  </a:lnTo>
                  <a:lnTo>
                    <a:pt x="250" y="214"/>
                  </a:lnTo>
                  <a:lnTo>
                    <a:pt x="250" y="214"/>
                  </a:lnTo>
                  <a:lnTo>
                    <a:pt x="253" y="214"/>
                  </a:lnTo>
                  <a:lnTo>
                    <a:pt x="253" y="211"/>
                  </a:lnTo>
                  <a:lnTo>
                    <a:pt x="253" y="211"/>
                  </a:lnTo>
                  <a:lnTo>
                    <a:pt x="255" y="211"/>
                  </a:lnTo>
                  <a:lnTo>
                    <a:pt x="255" y="211"/>
                  </a:lnTo>
                  <a:lnTo>
                    <a:pt x="255" y="209"/>
                  </a:lnTo>
                  <a:lnTo>
                    <a:pt x="255" y="209"/>
                  </a:lnTo>
                  <a:lnTo>
                    <a:pt x="258" y="209"/>
                  </a:lnTo>
                  <a:lnTo>
                    <a:pt x="258" y="206"/>
                  </a:lnTo>
                  <a:lnTo>
                    <a:pt x="258" y="206"/>
                  </a:lnTo>
                  <a:lnTo>
                    <a:pt x="258" y="206"/>
                  </a:lnTo>
                  <a:lnTo>
                    <a:pt x="260" y="204"/>
                  </a:lnTo>
                  <a:lnTo>
                    <a:pt x="260" y="204"/>
                  </a:lnTo>
                  <a:lnTo>
                    <a:pt x="260" y="204"/>
                  </a:lnTo>
                  <a:lnTo>
                    <a:pt x="260" y="201"/>
                  </a:lnTo>
                  <a:lnTo>
                    <a:pt x="260" y="201"/>
                  </a:lnTo>
                  <a:lnTo>
                    <a:pt x="260" y="199"/>
                  </a:lnTo>
                  <a:lnTo>
                    <a:pt x="260" y="199"/>
                  </a:lnTo>
                  <a:lnTo>
                    <a:pt x="260" y="199"/>
                  </a:lnTo>
                  <a:lnTo>
                    <a:pt x="260" y="196"/>
                  </a:lnTo>
                  <a:lnTo>
                    <a:pt x="260" y="49"/>
                  </a:lnTo>
                  <a:lnTo>
                    <a:pt x="260" y="49"/>
                  </a:lnTo>
                  <a:lnTo>
                    <a:pt x="260" y="47"/>
                  </a:lnTo>
                  <a:lnTo>
                    <a:pt x="260" y="47"/>
                  </a:lnTo>
                  <a:lnTo>
                    <a:pt x="260" y="47"/>
                  </a:lnTo>
                  <a:lnTo>
                    <a:pt x="260" y="44"/>
                  </a:lnTo>
                  <a:lnTo>
                    <a:pt x="260" y="44"/>
                  </a:lnTo>
                  <a:lnTo>
                    <a:pt x="260" y="44"/>
                  </a:lnTo>
                  <a:lnTo>
                    <a:pt x="260" y="42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8" y="40"/>
                  </a:lnTo>
                  <a:lnTo>
                    <a:pt x="258" y="40"/>
                  </a:lnTo>
                  <a:lnTo>
                    <a:pt x="255" y="40"/>
                  </a:lnTo>
                  <a:lnTo>
                    <a:pt x="255" y="37"/>
                  </a:lnTo>
                  <a:lnTo>
                    <a:pt x="255" y="37"/>
                  </a:lnTo>
                  <a:lnTo>
                    <a:pt x="255" y="37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0" y="35"/>
                  </a:lnTo>
                  <a:lnTo>
                    <a:pt x="250" y="35"/>
                  </a:lnTo>
                  <a:lnTo>
                    <a:pt x="250" y="32"/>
                  </a:lnTo>
                  <a:lnTo>
                    <a:pt x="248" y="32"/>
                  </a:lnTo>
                  <a:lnTo>
                    <a:pt x="248" y="32"/>
                  </a:lnTo>
                  <a:lnTo>
                    <a:pt x="248" y="32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3" y="32"/>
                  </a:lnTo>
                  <a:lnTo>
                    <a:pt x="243" y="32"/>
                  </a:lnTo>
                  <a:lnTo>
                    <a:pt x="243" y="32"/>
                  </a:lnTo>
                  <a:lnTo>
                    <a:pt x="241" y="32"/>
                  </a:lnTo>
                  <a:lnTo>
                    <a:pt x="184" y="32"/>
                  </a:lnTo>
                  <a:lnTo>
                    <a:pt x="184" y="20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5"/>
                  </a:lnTo>
                  <a:lnTo>
                    <a:pt x="184" y="15"/>
                  </a:lnTo>
                  <a:lnTo>
                    <a:pt x="184" y="15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77" y="5"/>
                  </a:lnTo>
                  <a:lnTo>
                    <a:pt x="177" y="5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2" y="3"/>
                  </a:lnTo>
                  <a:lnTo>
                    <a:pt x="172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5" name="Group 171">
            <a:extLst>
              <a:ext uri="{FF2B5EF4-FFF2-40B4-BE49-F238E27FC236}">
                <a16:creationId xmlns:a16="http://schemas.microsoft.com/office/drawing/2014/main" id="{0DFE5297-46FC-45EC-B7E6-8B3F097AD6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0933" y="2816226"/>
            <a:ext cx="841375" cy="841375"/>
            <a:chOff x="4376" y="1828"/>
            <a:chExt cx="530" cy="530"/>
          </a:xfrm>
        </p:grpSpPr>
        <p:sp>
          <p:nvSpPr>
            <p:cNvPr id="196" name="AutoShape 170">
              <a:extLst>
                <a:ext uri="{FF2B5EF4-FFF2-40B4-BE49-F238E27FC236}">
                  <a16:creationId xmlns:a16="http://schemas.microsoft.com/office/drawing/2014/main" id="{61F4777F-54A9-460F-8CCD-A53BA21A022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6" y="182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Oval 172">
              <a:extLst>
                <a:ext uri="{FF2B5EF4-FFF2-40B4-BE49-F238E27FC236}">
                  <a16:creationId xmlns:a16="http://schemas.microsoft.com/office/drawing/2014/main" id="{AD35184E-33D1-49BF-A36E-DC479E8DE1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" y="182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73">
              <a:extLst>
                <a:ext uri="{FF2B5EF4-FFF2-40B4-BE49-F238E27FC236}">
                  <a16:creationId xmlns:a16="http://schemas.microsoft.com/office/drawing/2014/main" id="{6702E330-4B5A-4DFD-911E-89A18C4C9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4" y="184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74">
              <a:extLst>
                <a:ext uri="{FF2B5EF4-FFF2-40B4-BE49-F238E27FC236}">
                  <a16:creationId xmlns:a16="http://schemas.microsoft.com/office/drawing/2014/main" id="{C9E4314B-72E3-4442-8A1B-CB205AC8FB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6" y="1982"/>
              <a:ext cx="272" cy="225"/>
            </a:xfrm>
            <a:custGeom>
              <a:avLst/>
              <a:gdLst>
                <a:gd name="T0" fmla="*/ 198 w 272"/>
                <a:gd name="T1" fmla="*/ 161 h 225"/>
                <a:gd name="T2" fmla="*/ 205 w 272"/>
                <a:gd name="T3" fmla="*/ 171 h 225"/>
                <a:gd name="T4" fmla="*/ 208 w 272"/>
                <a:gd name="T5" fmla="*/ 163 h 225"/>
                <a:gd name="T6" fmla="*/ 257 w 272"/>
                <a:gd name="T7" fmla="*/ 130 h 225"/>
                <a:gd name="T8" fmla="*/ 259 w 272"/>
                <a:gd name="T9" fmla="*/ 207 h 225"/>
                <a:gd name="T10" fmla="*/ 254 w 272"/>
                <a:gd name="T11" fmla="*/ 212 h 225"/>
                <a:gd name="T12" fmla="*/ 18 w 272"/>
                <a:gd name="T13" fmla="*/ 212 h 225"/>
                <a:gd name="T14" fmla="*/ 13 w 272"/>
                <a:gd name="T15" fmla="*/ 207 h 225"/>
                <a:gd name="T16" fmla="*/ 18 w 272"/>
                <a:gd name="T17" fmla="*/ 130 h 225"/>
                <a:gd name="T18" fmla="*/ 64 w 272"/>
                <a:gd name="T19" fmla="*/ 166 h 225"/>
                <a:gd name="T20" fmla="*/ 67 w 272"/>
                <a:gd name="T21" fmla="*/ 171 h 225"/>
                <a:gd name="T22" fmla="*/ 103 w 272"/>
                <a:gd name="T23" fmla="*/ 171 h 225"/>
                <a:gd name="T24" fmla="*/ 105 w 272"/>
                <a:gd name="T25" fmla="*/ 169 h 225"/>
                <a:gd name="T26" fmla="*/ 164 w 272"/>
                <a:gd name="T27" fmla="*/ 161 h 225"/>
                <a:gd name="T28" fmla="*/ 167 w 272"/>
                <a:gd name="T29" fmla="*/ 169 h 225"/>
                <a:gd name="T30" fmla="*/ 172 w 272"/>
                <a:gd name="T31" fmla="*/ 171 h 225"/>
                <a:gd name="T32" fmla="*/ 13 w 272"/>
                <a:gd name="T33" fmla="*/ 117 h 225"/>
                <a:gd name="T34" fmla="*/ 11 w 272"/>
                <a:gd name="T35" fmla="*/ 110 h 225"/>
                <a:gd name="T36" fmla="*/ 13 w 272"/>
                <a:gd name="T37" fmla="*/ 46 h 225"/>
                <a:gd name="T38" fmla="*/ 21 w 272"/>
                <a:gd name="T39" fmla="*/ 43 h 225"/>
                <a:gd name="T40" fmla="*/ 257 w 272"/>
                <a:gd name="T41" fmla="*/ 46 h 225"/>
                <a:gd name="T42" fmla="*/ 262 w 272"/>
                <a:gd name="T43" fmla="*/ 51 h 225"/>
                <a:gd name="T44" fmla="*/ 259 w 272"/>
                <a:gd name="T45" fmla="*/ 115 h 225"/>
                <a:gd name="T46" fmla="*/ 254 w 272"/>
                <a:gd name="T47" fmla="*/ 120 h 225"/>
                <a:gd name="T48" fmla="*/ 203 w 272"/>
                <a:gd name="T49" fmla="*/ 117 h 225"/>
                <a:gd name="T50" fmla="*/ 100 w 272"/>
                <a:gd name="T51" fmla="*/ 120 h 225"/>
                <a:gd name="T52" fmla="*/ 90 w 272"/>
                <a:gd name="T53" fmla="*/ 17 h 225"/>
                <a:gd name="T54" fmla="*/ 95 w 272"/>
                <a:gd name="T55" fmla="*/ 12 h 225"/>
                <a:gd name="T56" fmla="*/ 175 w 272"/>
                <a:gd name="T57" fmla="*/ 12 h 225"/>
                <a:gd name="T58" fmla="*/ 180 w 272"/>
                <a:gd name="T59" fmla="*/ 12 h 225"/>
                <a:gd name="T60" fmla="*/ 182 w 272"/>
                <a:gd name="T61" fmla="*/ 20 h 225"/>
                <a:gd name="T62" fmla="*/ 95 w 272"/>
                <a:gd name="T63" fmla="*/ 0 h 225"/>
                <a:gd name="T64" fmla="*/ 88 w 272"/>
                <a:gd name="T65" fmla="*/ 5 h 225"/>
                <a:gd name="T66" fmla="*/ 82 w 272"/>
                <a:gd name="T67" fmla="*/ 10 h 225"/>
                <a:gd name="T68" fmla="*/ 80 w 272"/>
                <a:gd name="T69" fmla="*/ 15 h 225"/>
                <a:gd name="T70" fmla="*/ 18 w 272"/>
                <a:gd name="T71" fmla="*/ 33 h 225"/>
                <a:gd name="T72" fmla="*/ 11 w 272"/>
                <a:gd name="T73" fmla="*/ 35 h 225"/>
                <a:gd name="T74" fmla="*/ 3 w 272"/>
                <a:gd name="T75" fmla="*/ 40 h 225"/>
                <a:gd name="T76" fmla="*/ 0 w 272"/>
                <a:gd name="T77" fmla="*/ 48 h 225"/>
                <a:gd name="T78" fmla="*/ 0 w 272"/>
                <a:gd name="T79" fmla="*/ 207 h 225"/>
                <a:gd name="T80" fmla="*/ 3 w 272"/>
                <a:gd name="T81" fmla="*/ 215 h 225"/>
                <a:gd name="T82" fmla="*/ 8 w 272"/>
                <a:gd name="T83" fmla="*/ 220 h 225"/>
                <a:gd name="T84" fmla="*/ 13 w 272"/>
                <a:gd name="T85" fmla="*/ 225 h 225"/>
                <a:gd name="T86" fmla="*/ 254 w 272"/>
                <a:gd name="T87" fmla="*/ 225 h 225"/>
                <a:gd name="T88" fmla="*/ 262 w 272"/>
                <a:gd name="T89" fmla="*/ 222 h 225"/>
                <a:gd name="T90" fmla="*/ 267 w 272"/>
                <a:gd name="T91" fmla="*/ 217 h 225"/>
                <a:gd name="T92" fmla="*/ 272 w 272"/>
                <a:gd name="T93" fmla="*/ 212 h 225"/>
                <a:gd name="T94" fmla="*/ 272 w 272"/>
                <a:gd name="T95" fmla="*/ 51 h 225"/>
                <a:gd name="T96" fmla="*/ 269 w 272"/>
                <a:gd name="T97" fmla="*/ 43 h 225"/>
                <a:gd name="T98" fmla="*/ 264 w 272"/>
                <a:gd name="T99" fmla="*/ 35 h 225"/>
                <a:gd name="T100" fmla="*/ 259 w 272"/>
                <a:gd name="T101" fmla="*/ 33 h 225"/>
                <a:gd name="T102" fmla="*/ 193 w 272"/>
                <a:gd name="T103" fmla="*/ 20 h 225"/>
                <a:gd name="T104" fmla="*/ 193 w 272"/>
                <a:gd name="T105" fmla="*/ 12 h 225"/>
                <a:gd name="T106" fmla="*/ 187 w 272"/>
                <a:gd name="T107" fmla="*/ 5 h 225"/>
                <a:gd name="T108" fmla="*/ 182 w 272"/>
                <a:gd name="T109" fmla="*/ 2 h 225"/>
                <a:gd name="T110" fmla="*/ 98 w 272"/>
                <a:gd name="T11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2" h="225">
                  <a:moveTo>
                    <a:pt x="75" y="130"/>
                  </a:moveTo>
                  <a:lnTo>
                    <a:pt x="95" y="130"/>
                  </a:lnTo>
                  <a:lnTo>
                    <a:pt x="95" y="161"/>
                  </a:lnTo>
                  <a:lnTo>
                    <a:pt x="75" y="161"/>
                  </a:lnTo>
                  <a:lnTo>
                    <a:pt x="75" y="130"/>
                  </a:lnTo>
                  <a:close/>
                  <a:moveTo>
                    <a:pt x="175" y="130"/>
                  </a:moveTo>
                  <a:lnTo>
                    <a:pt x="198" y="130"/>
                  </a:lnTo>
                  <a:lnTo>
                    <a:pt x="198" y="161"/>
                  </a:lnTo>
                  <a:lnTo>
                    <a:pt x="175" y="161"/>
                  </a:lnTo>
                  <a:lnTo>
                    <a:pt x="175" y="130"/>
                  </a:lnTo>
                  <a:close/>
                  <a:moveTo>
                    <a:pt x="200" y="171"/>
                  </a:move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8" y="169"/>
                  </a:lnTo>
                  <a:lnTo>
                    <a:pt x="208" y="166"/>
                  </a:lnTo>
                  <a:lnTo>
                    <a:pt x="208" y="166"/>
                  </a:lnTo>
                  <a:lnTo>
                    <a:pt x="208" y="166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30"/>
                  </a:lnTo>
                  <a:lnTo>
                    <a:pt x="251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57" y="130"/>
                  </a:lnTo>
                  <a:lnTo>
                    <a:pt x="259" y="130"/>
                  </a:lnTo>
                  <a:lnTo>
                    <a:pt x="262" y="130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7"/>
                  </a:lnTo>
                  <a:lnTo>
                    <a:pt x="262" y="207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59" y="209"/>
                  </a:lnTo>
                  <a:lnTo>
                    <a:pt x="259" y="209"/>
                  </a:lnTo>
                  <a:lnTo>
                    <a:pt x="257" y="212"/>
                  </a:lnTo>
                  <a:lnTo>
                    <a:pt x="257" y="212"/>
                  </a:lnTo>
                  <a:lnTo>
                    <a:pt x="257" y="212"/>
                  </a:lnTo>
                  <a:lnTo>
                    <a:pt x="254" y="212"/>
                  </a:lnTo>
                  <a:lnTo>
                    <a:pt x="254" y="212"/>
                  </a:lnTo>
                  <a:lnTo>
                    <a:pt x="254" y="212"/>
                  </a:lnTo>
                  <a:lnTo>
                    <a:pt x="251" y="212"/>
                  </a:lnTo>
                  <a:lnTo>
                    <a:pt x="251" y="212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3" y="209"/>
                  </a:lnTo>
                  <a:lnTo>
                    <a:pt x="13" y="209"/>
                  </a:lnTo>
                  <a:lnTo>
                    <a:pt x="13" y="209"/>
                  </a:lnTo>
                  <a:lnTo>
                    <a:pt x="13" y="207"/>
                  </a:lnTo>
                  <a:lnTo>
                    <a:pt x="13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4"/>
                  </a:lnTo>
                  <a:lnTo>
                    <a:pt x="11" y="204"/>
                  </a:lnTo>
                  <a:lnTo>
                    <a:pt x="11" y="130"/>
                  </a:lnTo>
                  <a:lnTo>
                    <a:pt x="13" y="130"/>
                  </a:lnTo>
                  <a:lnTo>
                    <a:pt x="16" y="130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21" y="130"/>
                  </a:lnTo>
                  <a:lnTo>
                    <a:pt x="64" y="130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7" y="169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100" y="171"/>
                  </a:lnTo>
                  <a:lnTo>
                    <a:pt x="100" y="171"/>
                  </a:lnTo>
                  <a:lnTo>
                    <a:pt x="100" y="171"/>
                  </a:lnTo>
                  <a:lnTo>
                    <a:pt x="103" y="171"/>
                  </a:lnTo>
                  <a:lnTo>
                    <a:pt x="103" y="171"/>
                  </a:lnTo>
                  <a:lnTo>
                    <a:pt x="103" y="171"/>
                  </a:lnTo>
                  <a:lnTo>
                    <a:pt x="103" y="171"/>
                  </a:lnTo>
                  <a:lnTo>
                    <a:pt x="105" y="171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3"/>
                  </a:lnTo>
                  <a:lnTo>
                    <a:pt x="108" y="163"/>
                  </a:lnTo>
                  <a:lnTo>
                    <a:pt x="108" y="130"/>
                  </a:lnTo>
                  <a:lnTo>
                    <a:pt x="164" y="130"/>
                  </a:lnTo>
                  <a:lnTo>
                    <a:pt x="164" y="161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64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9"/>
                  </a:lnTo>
                  <a:lnTo>
                    <a:pt x="167" y="169"/>
                  </a:lnTo>
                  <a:lnTo>
                    <a:pt x="167" y="169"/>
                  </a:lnTo>
                  <a:lnTo>
                    <a:pt x="167" y="169"/>
                  </a:lnTo>
                  <a:lnTo>
                    <a:pt x="169" y="169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72" y="171"/>
                  </a:lnTo>
                  <a:lnTo>
                    <a:pt x="172" y="171"/>
                  </a:lnTo>
                  <a:lnTo>
                    <a:pt x="200" y="171"/>
                  </a:lnTo>
                  <a:close/>
                  <a:moveTo>
                    <a:pt x="18" y="120"/>
                  </a:moveTo>
                  <a:lnTo>
                    <a:pt x="18" y="120"/>
                  </a:lnTo>
                  <a:lnTo>
                    <a:pt x="18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3" y="117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53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51" y="43"/>
                  </a:lnTo>
                  <a:lnTo>
                    <a:pt x="251" y="43"/>
                  </a:lnTo>
                  <a:lnTo>
                    <a:pt x="254" y="43"/>
                  </a:lnTo>
                  <a:lnTo>
                    <a:pt x="254" y="43"/>
                  </a:lnTo>
                  <a:lnTo>
                    <a:pt x="254" y="43"/>
                  </a:lnTo>
                  <a:lnTo>
                    <a:pt x="257" y="46"/>
                  </a:lnTo>
                  <a:lnTo>
                    <a:pt x="257" y="46"/>
                  </a:lnTo>
                  <a:lnTo>
                    <a:pt x="257" y="46"/>
                  </a:lnTo>
                  <a:lnTo>
                    <a:pt x="259" y="46"/>
                  </a:lnTo>
                  <a:lnTo>
                    <a:pt x="259" y="46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59" y="48"/>
                  </a:lnTo>
                  <a:lnTo>
                    <a:pt x="262" y="51"/>
                  </a:lnTo>
                  <a:lnTo>
                    <a:pt x="262" y="51"/>
                  </a:lnTo>
                  <a:lnTo>
                    <a:pt x="262" y="51"/>
                  </a:lnTo>
                  <a:lnTo>
                    <a:pt x="262" y="53"/>
                  </a:lnTo>
                  <a:lnTo>
                    <a:pt x="262" y="110"/>
                  </a:lnTo>
                  <a:lnTo>
                    <a:pt x="262" y="112"/>
                  </a:lnTo>
                  <a:lnTo>
                    <a:pt x="262" y="112"/>
                  </a:lnTo>
                  <a:lnTo>
                    <a:pt x="262" y="112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59" y="117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7" y="117"/>
                  </a:lnTo>
                  <a:lnTo>
                    <a:pt x="254" y="117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05" y="120"/>
                  </a:lnTo>
                  <a:lnTo>
                    <a:pt x="205" y="120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0" y="117"/>
                  </a:lnTo>
                  <a:lnTo>
                    <a:pt x="172" y="117"/>
                  </a:lnTo>
                  <a:lnTo>
                    <a:pt x="172" y="117"/>
                  </a:lnTo>
                  <a:lnTo>
                    <a:pt x="169" y="117"/>
                  </a:lnTo>
                  <a:lnTo>
                    <a:pt x="169" y="117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18" y="120"/>
                  </a:lnTo>
                  <a:close/>
                  <a:moveTo>
                    <a:pt x="90" y="20"/>
                  </a:moveTo>
                  <a:lnTo>
                    <a:pt x="90" y="17"/>
                  </a:lnTo>
                  <a:lnTo>
                    <a:pt x="90" y="17"/>
                  </a:lnTo>
                  <a:lnTo>
                    <a:pt x="93" y="17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75" y="12"/>
                  </a:lnTo>
                  <a:lnTo>
                    <a:pt x="175" y="12"/>
                  </a:lnTo>
                  <a:lnTo>
                    <a:pt x="175" y="12"/>
                  </a:lnTo>
                  <a:lnTo>
                    <a:pt x="175" y="12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80" y="12"/>
                  </a:lnTo>
                  <a:lnTo>
                    <a:pt x="180" y="15"/>
                  </a:lnTo>
                  <a:lnTo>
                    <a:pt x="180" y="15"/>
                  </a:lnTo>
                  <a:lnTo>
                    <a:pt x="180" y="15"/>
                  </a:lnTo>
                  <a:lnTo>
                    <a:pt x="180" y="15"/>
                  </a:lnTo>
                  <a:lnTo>
                    <a:pt x="180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20"/>
                  </a:lnTo>
                  <a:lnTo>
                    <a:pt x="182" y="33"/>
                  </a:lnTo>
                  <a:lnTo>
                    <a:pt x="90" y="33"/>
                  </a:lnTo>
                  <a:lnTo>
                    <a:pt x="90" y="20"/>
                  </a:lnTo>
                  <a:close/>
                  <a:moveTo>
                    <a:pt x="98" y="0"/>
                  </a:moveTo>
                  <a:lnTo>
                    <a:pt x="98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3" y="0"/>
                  </a:lnTo>
                  <a:lnTo>
                    <a:pt x="93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20"/>
                  </a:lnTo>
                  <a:lnTo>
                    <a:pt x="80" y="33"/>
                  </a:lnTo>
                  <a:lnTo>
                    <a:pt x="21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1" y="33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3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7"/>
                  </a:lnTo>
                  <a:lnTo>
                    <a:pt x="6" y="217"/>
                  </a:lnTo>
                  <a:lnTo>
                    <a:pt x="6" y="217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13" y="222"/>
                  </a:lnTo>
                  <a:lnTo>
                    <a:pt x="13" y="222"/>
                  </a:lnTo>
                  <a:lnTo>
                    <a:pt x="13" y="225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21" y="225"/>
                  </a:lnTo>
                  <a:lnTo>
                    <a:pt x="251" y="225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7" y="225"/>
                  </a:lnTo>
                  <a:lnTo>
                    <a:pt x="257" y="225"/>
                  </a:lnTo>
                  <a:lnTo>
                    <a:pt x="259" y="225"/>
                  </a:lnTo>
                  <a:lnTo>
                    <a:pt x="259" y="222"/>
                  </a:lnTo>
                  <a:lnTo>
                    <a:pt x="259" y="222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62" y="222"/>
                  </a:lnTo>
                  <a:lnTo>
                    <a:pt x="264" y="222"/>
                  </a:lnTo>
                  <a:lnTo>
                    <a:pt x="264" y="220"/>
                  </a:lnTo>
                  <a:lnTo>
                    <a:pt x="264" y="220"/>
                  </a:lnTo>
                  <a:lnTo>
                    <a:pt x="267" y="220"/>
                  </a:lnTo>
                  <a:lnTo>
                    <a:pt x="267" y="220"/>
                  </a:lnTo>
                  <a:lnTo>
                    <a:pt x="267" y="217"/>
                  </a:lnTo>
                  <a:lnTo>
                    <a:pt x="267" y="217"/>
                  </a:lnTo>
                  <a:lnTo>
                    <a:pt x="269" y="217"/>
                  </a:lnTo>
                  <a:lnTo>
                    <a:pt x="269" y="215"/>
                  </a:lnTo>
                  <a:lnTo>
                    <a:pt x="269" y="215"/>
                  </a:lnTo>
                  <a:lnTo>
                    <a:pt x="269" y="215"/>
                  </a:lnTo>
                  <a:lnTo>
                    <a:pt x="272" y="212"/>
                  </a:lnTo>
                  <a:lnTo>
                    <a:pt x="272" y="212"/>
                  </a:lnTo>
                  <a:lnTo>
                    <a:pt x="272" y="212"/>
                  </a:lnTo>
                  <a:lnTo>
                    <a:pt x="272" y="209"/>
                  </a:lnTo>
                  <a:lnTo>
                    <a:pt x="272" y="209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2" y="204"/>
                  </a:lnTo>
                  <a:lnTo>
                    <a:pt x="272" y="51"/>
                  </a:lnTo>
                  <a:lnTo>
                    <a:pt x="272" y="51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3"/>
                  </a:lnTo>
                  <a:lnTo>
                    <a:pt x="269" y="43"/>
                  </a:lnTo>
                  <a:lnTo>
                    <a:pt x="269" y="40"/>
                  </a:lnTo>
                  <a:lnTo>
                    <a:pt x="269" y="40"/>
                  </a:lnTo>
                  <a:lnTo>
                    <a:pt x="269" y="40"/>
                  </a:lnTo>
                  <a:lnTo>
                    <a:pt x="267" y="40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64" y="35"/>
                  </a:lnTo>
                  <a:lnTo>
                    <a:pt x="264" y="35"/>
                  </a:lnTo>
                  <a:lnTo>
                    <a:pt x="264" y="35"/>
                  </a:lnTo>
                  <a:lnTo>
                    <a:pt x="262" y="35"/>
                  </a:lnTo>
                  <a:lnTo>
                    <a:pt x="262" y="35"/>
                  </a:lnTo>
                  <a:lnTo>
                    <a:pt x="262" y="33"/>
                  </a:lnTo>
                  <a:lnTo>
                    <a:pt x="259" y="33"/>
                  </a:lnTo>
                  <a:lnTo>
                    <a:pt x="259" y="33"/>
                  </a:lnTo>
                  <a:lnTo>
                    <a:pt x="259" y="33"/>
                  </a:lnTo>
                  <a:lnTo>
                    <a:pt x="257" y="33"/>
                  </a:lnTo>
                  <a:lnTo>
                    <a:pt x="257" y="33"/>
                  </a:lnTo>
                  <a:lnTo>
                    <a:pt x="254" y="33"/>
                  </a:lnTo>
                  <a:lnTo>
                    <a:pt x="254" y="33"/>
                  </a:lnTo>
                  <a:lnTo>
                    <a:pt x="254" y="33"/>
                  </a:lnTo>
                  <a:lnTo>
                    <a:pt x="251" y="33"/>
                  </a:lnTo>
                  <a:lnTo>
                    <a:pt x="193" y="33"/>
                  </a:lnTo>
                  <a:lnTo>
                    <a:pt x="193" y="20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5"/>
                  </a:lnTo>
                  <a:lnTo>
                    <a:pt x="193" y="15"/>
                  </a:lnTo>
                  <a:lnTo>
                    <a:pt x="193" y="15"/>
                  </a:lnTo>
                  <a:lnTo>
                    <a:pt x="193" y="12"/>
                  </a:lnTo>
                  <a:lnTo>
                    <a:pt x="193" y="12"/>
                  </a:lnTo>
                  <a:lnTo>
                    <a:pt x="193" y="12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90" y="7"/>
                  </a:lnTo>
                  <a:lnTo>
                    <a:pt x="190" y="7"/>
                  </a:lnTo>
                  <a:lnTo>
                    <a:pt x="187" y="7"/>
                  </a:lnTo>
                  <a:lnTo>
                    <a:pt x="187" y="7"/>
                  </a:lnTo>
                  <a:lnTo>
                    <a:pt x="187" y="5"/>
                  </a:lnTo>
                  <a:lnTo>
                    <a:pt x="187" y="5"/>
                  </a:lnTo>
                  <a:lnTo>
                    <a:pt x="185" y="5"/>
                  </a:lnTo>
                  <a:lnTo>
                    <a:pt x="185" y="5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0" y="2"/>
                  </a:lnTo>
                  <a:lnTo>
                    <a:pt x="180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5" y="0"/>
                  </a:lnTo>
                  <a:lnTo>
                    <a:pt x="175" y="0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4" name="Group 177">
            <a:extLst>
              <a:ext uri="{FF2B5EF4-FFF2-40B4-BE49-F238E27FC236}">
                <a16:creationId xmlns:a16="http://schemas.microsoft.com/office/drawing/2014/main" id="{704B54EA-1173-405D-B40F-0665C2684B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8136" y="4141185"/>
            <a:ext cx="758825" cy="758825"/>
            <a:chOff x="1027" y="2778"/>
            <a:chExt cx="478" cy="478"/>
          </a:xfrm>
        </p:grpSpPr>
        <p:sp>
          <p:nvSpPr>
            <p:cNvPr id="205" name="AutoShape 176">
              <a:extLst>
                <a:ext uri="{FF2B5EF4-FFF2-40B4-BE49-F238E27FC236}">
                  <a16:creationId xmlns:a16="http://schemas.microsoft.com/office/drawing/2014/main" id="{302642BF-C9F1-4E9E-B139-9AEAAF403C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27" y="277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78">
              <a:extLst>
                <a:ext uri="{FF2B5EF4-FFF2-40B4-BE49-F238E27FC236}">
                  <a16:creationId xmlns:a16="http://schemas.microsoft.com/office/drawing/2014/main" id="{2FCD5096-C4D4-4A7E-B13B-87B16C0FB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" y="278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79">
              <a:extLst>
                <a:ext uri="{FF2B5EF4-FFF2-40B4-BE49-F238E27FC236}">
                  <a16:creationId xmlns:a16="http://schemas.microsoft.com/office/drawing/2014/main" id="{43BC66BF-27E2-4227-A0CF-F165F7383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" y="2886"/>
              <a:ext cx="299" cy="245"/>
            </a:xfrm>
            <a:custGeom>
              <a:avLst/>
              <a:gdLst>
                <a:gd name="T0" fmla="*/ 237 w 299"/>
                <a:gd name="T1" fmla="*/ 176 h 245"/>
                <a:gd name="T2" fmla="*/ 272 w 299"/>
                <a:gd name="T3" fmla="*/ 152 h 245"/>
                <a:gd name="T4" fmla="*/ 279 w 299"/>
                <a:gd name="T5" fmla="*/ 233 h 245"/>
                <a:gd name="T6" fmla="*/ 269 w 299"/>
                <a:gd name="T7" fmla="*/ 238 h 245"/>
                <a:gd name="T8" fmla="*/ 22 w 299"/>
                <a:gd name="T9" fmla="*/ 233 h 245"/>
                <a:gd name="T10" fmla="*/ 24 w 299"/>
                <a:gd name="T11" fmla="*/ 152 h 245"/>
                <a:gd name="T12" fmla="*/ 61 w 299"/>
                <a:gd name="T13" fmla="*/ 176 h 245"/>
                <a:gd name="T14" fmla="*/ 76 w 299"/>
                <a:gd name="T15" fmla="*/ 186 h 245"/>
                <a:gd name="T16" fmla="*/ 110 w 299"/>
                <a:gd name="T17" fmla="*/ 176 h 245"/>
                <a:gd name="T18" fmla="*/ 186 w 299"/>
                <a:gd name="T19" fmla="*/ 171 h 245"/>
                <a:gd name="T20" fmla="*/ 198 w 299"/>
                <a:gd name="T21" fmla="*/ 184 h 245"/>
                <a:gd name="T22" fmla="*/ 68 w 299"/>
                <a:gd name="T23" fmla="*/ 174 h 245"/>
                <a:gd name="T24" fmla="*/ 68 w 299"/>
                <a:gd name="T25" fmla="*/ 122 h 245"/>
                <a:gd name="T26" fmla="*/ 73 w 299"/>
                <a:gd name="T27" fmla="*/ 115 h 245"/>
                <a:gd name="T28" fmla="*/ 103 w 299"/>
                <a:gd name="T29" fmla="*/ 118 h 245"/>
                <a:gd name="T30" fmla="*/ 105 w 299"/>
                <a:gd name="T31" fmla="*/ 169 h 245"/>
                <a:gd name="T32" fmla="*/ 100 w 299"/>
                <a:gd name="T33" fmla="*/ 176 h 245"/>
                <a:gd name="T34" fmla="*/ 198 w 299"/>
                <a:gd name="T35" fmla="*/ 176 h 245"/>
                <a:gd name="T36" fmla="*/ 193 w 299"/>
                <a:gd name="T37" fmla="*/ 167 h 245"/>
                <a:gd name="T38" fmla="*/ 198 w 299"/>
                <a:gd name="T39" fmla="*/ 115 h 245"/>
                <a:gd name="T40" fmla="*/ 225 w 299"/>
                <a:gd name="T41" fmla="*/ 115 h 245"/>
                <a:gd name="T42" fmla="*/ 233 w 299"/>
                <a:gd name="T43" fmla="*/ 122 h 245"/>
                <a:gd name="T44" fmla="*/ 228 w 299"/>
                <a:gd name="T45" fmla="*/ 174 h 245"/>
                <a:gd name="T46" fmla="*/ 29 w 299"/>
                <a:gd name="T47" fmla="*/ 144 h 245"/>
                <a:gd name="T48" fmla="*/ 17 w 299"/>
                <a:gd name="T49" fmla="*/ 140 h 245"/>
                <a:gd name="T50" fmla="*/ 7 w 299"/>
                <a:gd name="T51" fmla="*/ 122 h 245"/>
                <a:gd name="T52" fmla="*/ 9 w 299"/>
                <a:gd name="T53" fmla="*/ 56 h 245"/>
                <a:gd name="T54" fmla="*/ 24 w 299"/>
                <a:gd name="T55" fmla="*/ 44 h 245"/>
                <a:gd name="T56" fmla="*/ 274 w 299"/>
                <a:gd name="T57" fmla="*/ 44 h 245"/>
                <a:gd name="T58" fmla="*/ 289 w 299"/>
                <a:gd name="T59" fmla="*/ 56 h 245"/>
                <a:gd name="T60" fmla="*/ 291 w 299"/>
                <a:gd name="T61" fmla="*/ 122 h 245"/>
                <a:gd name="T62" fmla="*/ 282 w 299"/>
                <a:gd name="T63" fmla="*/ 140 h 245"/>
                <a:gd name="T64" fmla="*/ 269 w 299"/>
                <a:gd name="T65" fmla="*/ 144 h 245"/>
                <a:gd name="T66" fmla="*/ 235 w 299"/>
                <a:gd name="T67" fmla="*/ 110 h 245"/>
                <a:gd name="T68" fmla="*/ 198 w 299"/>
                <a:gd name="T69" fmla="*/ 105 h 245"/>
                <a:gd name="T70" fmla="*/ 186 w 299"/>
                <a:gd name="T71" fmla="*/ 118 h 245"/>
                <a:gd name="T72" fmla="*/ 112 w 299"/>
                <a:gd name="T73" fmla="*/ 115 h 245"/>
                <a:gd name="T74" fmla="*/ 95 w 299"/>
                <a:gd name="T75" fmla="*/ 105 h 245"/>
                <a:gd name="T76" fmla="*/ 61 w 299"/>
                <a:gd name="T77" fmla="*/ 113 h 245"/>
                <a:gd name="T78" fmla="*/ 108 w 299"/>
                <a:gd name="T79" fmla="*/ 17 h 245"/>
                <a:gd name="T80" fmla="*/ 112 w 299"/>
                <a:gd name="T81" fmla="*/ 10 h 245"/>
                <a:gd name="T82" fmla="*/ 186 w 299"/>
                <a:gd name="T83" fmla="*/ 10 h 245"/>
                <a:gd name="T84" fmla="*/ 191 w 299"/>
                <a:gd name="T85" fmla="*/ 34 h 245"/>
                <a:gd name="T86" fmla="*/ 105 w 299"/>
                <a:gd name="T87" fmla="*/ 5 h 245"/>
                <a:gd name="T88" fmla="*/ 29 w 299"/>
                <a:gd name="T89" fmla="*/ 34 h 245"/>
                <a:gd name="T90" fmla="*/ 12 w 299"/>
                <a:gd name="T91" fmla="*/ 39 h 245"/>
                <a:gd name="T92" fmla="*/ 2 w 299"/>
                <a:gd name="T93" fmla="*/ 51 h 245"/>
                <a:gd name="T94" fmla="*/ 0 w 299"/>
                <a:gd name="T95" fmla="*/ 122 h 245"/>
                <a:gd name="T96" fmla="*/ 5 w 299"/>
                <a:gd name="T97" fmla="*/ 140 h 245"/>
                <a:gd name="T98" fmla="*/ 14 w 299"/>
                <a:gd name="T99" fmla="*/ 238 h 245"/>
                <a:gd name="T100" fmla="*/ 269 w 299"/>
                <a:gd name="T101" fmla="*/ 245 h 245"/>
                <a:gd name="T102" fmla="*/ 287 w 299"/>
                <a:gd name="T103" fmla="*/ 235 h 245"/>
                <a:gd name="T104" fmla="*/ 294 w 299"/>
                <a:gd name="T105" fmla="*/ 140 h 245"/>
                <a:gd name="T106" fmla="*/ 299 w 299"/>
                <a:gd name="T107" fmla="*/ 64 h 245"/>
                <a:gd name="T108" fmla="*/ 294 w 299"/>
                <a:gd name="T109" fmla="*/ 49 h 245"/>
                <a:gd name="T110" fmla="*/ 282 w 299"/>
                <a:gd name="T111" fmla="*/ 39 h 245"/>
                <a:gd name="T112" fmla="*/ 201 w 299"/>
                <a:gd name="T113" fmla="*/ 17 h 245"/>
                <a:gd name="T114" fmla="*/ 191 w 299"/>
                <a:gd name="T115" fmla="*/ 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9" h="245">
                  <a:moveTo>
                    <a:pt x="223" y="186"/>
                  </a:moveTo>
                  <a:lnTo>
                    <a:pt x="225" y="186"/>
                  </a:lnTo>
                  <a:lnTo>
                    <a:pt x="225" y="186"/>
                  </a:lnTo>
                  <a:lnTo>
                    <a:pt x="228" y="184"/>
                  </a:lnTo>
                  <a:lnTo>
                    <a:pt x="230" y="184"/>
                  </a:lnTo>
                  <a:lnTo>
                    <a:pt x="230" y="184"/>
                  </a:lnTo>
                  <a:lnTo>
                    <a:pt x="233" y="181"/>
                  </a:lnTo>
                  <a:lnTo>
                    <a:pt x="235" y="181"/>
                  </a:lnTo>
                  <a:lnTo>
                    <a:pt x="235" y="181"/>
                  </a:lnTo>
                  <a:lnTo>
                    <a:pt x="237" y="179"/>
                  </a:lnTo>
                  <a:lnTo>
                    <a:pt x="237" y="176"/>
                  </a:lnTo>
                  <a:lnTo>
                    <a:pt x="237" y="176"/>
                  </a:lnTo>
                  <a:lnTo>
                    <a:pt x="240" y="174"/>
                  </a:lnTo>
                  <a:lnTo>
                    <a:pt x="240" y="174"/>
                  </a:lnTo>
                  <a:lnTo>
                    <a:pt x="240" y="171"/>
                  </a:lnTo>
                  <a:lnTo>
                    <a:pt x="240" y="169"/>
                  </a:lnTo>
                  <a:lnTo>
                    <a:pt x="240" y="167"/>
                  </a:lnTo>
                  <a:lnTo>
                    <a:pt x="240" y="152"/>
                  </a:lnTo>
                  <a:lnTo>
                    <a:pt x="269" y="152"/>
                  </a:lnTo>
                  <a:lnTo>
                    <a:pt x="269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4" y="152"/>
                  </a:lnTo>
                  <a:lnTo>
                    <a:pt x="274" y="152"/>
                  </a:lnTo>
                  <a:lnTo>
                    <a:pt x="277" y="152"/>
                  </a:lnTo>
                  <a:lnTo>
                    <a:pt x="277" y="152"/>
                  </a:lnTo>
                  <a:lnTo>
                    <a:pt x="279" y="152"/>
                  </a:lnTo>
                  <a:lnTo>
                    <a:pt x="279" y="228"/>
                  </a:lnTo>
                  <a:lnTo>
                    <a:pt x="279" y="228"/>
                  </a:lnTo>
                  <a:lnTo>
                    <a:pt x="279" y="230"/>
                  </a:lnTo>
                  <a:lnTo>
                    <a:pt x="279" y="230"/>
                  </a:lnTo>
                  <a:lnTo>
                    <a:pt x="279" y="230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7" y="233"/>
                  </a:lnTo>
                  <a:lnTo>
                    <a:pt x="277" y="233"/>
                  </a:lnTo>
                  <a:lnTo>
                    <a:pt x="277" y="235"/>
                  </a:lnTo>
                  <a:lnTo>
                    <a:pt x="274" y="235"/>
                  </a:lnTo>
                  <a:lnTo>
                    <a:pt x="274" y="235"/>
                  </a:lnTo>
                  <a:lnTo>
                    <a:pt x="274" y="235"/>
                  </a:lnTo>
                  <a:lnTo>
                    <a:pt x="272" y="235"/>
                  </a:lnTo>
                  <a:lnTo>
                    <a:pt x="272" y="235"/>
                  </a:lnTo>
                  <a:lnTo>
                    <a:pt x="272" y="238"/>
                  </a:lnTo>
                  <a:lnTo>
                    <a:pt x="269" y="238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2" y="235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19" y="233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30"/>
                  </a:lnTo>
                  <a:lnTo>
                    <a:pt x="19" y="228"/>
                  </a:lnTo>
                  <a:lnTo>
                    <a:pt x="19" y="228"/>
                  </a:lnTo>
                  <a:lnTo>
                    <a:pt x="19" y="152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59" y="152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59" y="171"/>
                  </a:lnTo>
                  <a:lnTo>
                    <a:pt x="59" y="174"/>
                  </a:lnTo>
                  <a:lnTo>
                    <a:pt x="59" y="174"/>
                  </a:lnTo>
                  <a:lnTo>
                    <a:pt x="61" y="176"/>
                  </a:lnTo>
                  <a:lnTo>
                    <a:pt x="61" y="176"/>
                  </a:lnTo>
                  <a:lnTo>
                    <a:pt x="63" y="179"/>
                  </a:lnTo>
                  <a:lnTo>
                    <a:pt x="63" y="181"/>
                  </a:lnTo>
                  <a:lnTo>
                    <a:pt x="63" y="181"/>
                  </a:lnTo>
                  <a:lnTo>
                    <a:pt x="66" y="181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71" y="184"/>
                  </a:lnTo>
                  <a:lnTo>
                    <a:pt x="73" y="186"/>
                  </a:lnTo>
                  <a:lnTo>
                    <a:pt x="73" y="186"/>
                  </a:lnTo>
                  <a:lnTo>
                    <a:pt x="76" y="186"/>
                  </a:lnTo>
                  <a:lnTo>
                    <a:pt x="95" y="186"/>
                  </a:lnTo>
                  <a:lnTo>
                    <a:pt x="98" y="186"/>
                  </a:lnTo>
                  <a:lnTo>
                    <a:pt x="100" y="186"/>
                  </a:lnTo>
                  <a:lnTo>
                    <a:pt x="100" y="184"/>
                  </a:lnTo>
                  <a:lnTo>
                    <a:pt x="103" y="184"/>
                  </a:lnTo>
                  <a:lnTo>
                    <a:pt x="105" y="184"/>
                  </a:lnTo>
                  <a:lnTo>
                    <a:pt x="105" y="181"/>
                  </a:lnTo>
                  <a:lnTo>
                    <a:pt x="108" y="181"/>
                  </a:lnTo>
                  <a:lnTo>
                    <a:pt x="108" y="181"/>
                  </a:lnTo>
                  <a:lnTo>
                    <a:pt x="110" y="179"/>
                  </a:lnTo>
                  <a:lnTo>
                    <a:pt x="110" y="176"/>
                  </a:lnTo>
                  <a:lnTo>
                    <a:pt x="112" y="176"/>
                  </a:lnTo>
                  <a:lnTo>
                    <a:pt x="112" y="174"/>
                  </a:lnTo>
                  <a:lnTo>
                    <a:pt x="112" y="174"/>
                  </a:lnTo>
                  <a:lnTo>
                    <a:pt x="112" y="171"/>
                  </a:lnTo>
                  <a:lnTo>
                    <a:pt x="112" y="169"/>
                  </a:lnTo>
                  <a:lnTo>
                    <a:pt x="112" y="167"/>
                  </a:lnTo>
                  <a:lnTo>
                    <a:pt x="112" y="152"/>
                  </a:lnTo>
                  <a:lnTo>
                    <a:pt x="186" y="152"/>
                  </a:lnTo>
                  <a:lnTo>
                    <a:pt x="186" y="167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4"/>
                  </a:lnTo>
                  <a:lnTo>
                    <a:pt x="186" y="174"/>
                  </a:lnTo>
                  <a:lnTo>
                    <a:pt x="186" y="176"/>
                  </a:lnTo>
                  <a:lnTo>
                    <a:pt x="188" y="176"/>
                  </a:lnTo>
                  <a:lnTo>
                    <a:pt x="188" y="179"/>
                  </a:lnTo>
                  <a:lnTo>
                    <a:pt x="191" y="181"/>
                  </a:lnTo>
                  <a:lnTo>
                    <a:pt x="191" y="181"/>
                  </a:lnTo>
                  <a:lnTo>
                    <a:pt x="193" y="181"/>
                  </a:lnTo>
                  <a:lnTo>
                    <a:pt x="193" y="184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1" y="186"/>
                  </a:lnTo>
                  <a:lnTo>
                    <a:pt x="203" y="186"/>
                  </a:lnTo>
                  <a:lnTo>
                    <a:pt x="223" y="186"/>
                  </a:lnTo>
                  <a:close/>
                  <a:moveTo>
                    <a:pt x="73" y="176"/>
                  </a:moveTo>
                  <a:lnTo>
                    <a:pt x="73" y="176"/>
                  </a:lnTo>
                  <a:lnTo>
                    <a:pt x="73" y="176"/>
                  </a:lnTo>
                  <a:lnTo>
                    <a:pt x="71" y="176"/>
                  </a:lnTo>
                  <a:lnTo>
                    <a:pt x="71" y="174"/>
                  </a:lnTo>
                  <a:lnTo>
                    <a:pt x="71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1"/>
                  </a:lnTo>
                  <a:lnTo>
                    <a:pt x="68" y="171"/>
                  </a:lnTo>
                  <a:lnTo>
                    <a:pt x="68" y="171"/>
                  </a:lnTo>
                  <a:lnTo>
                    <a:pt x="68" y="169"/>
                  </a:lnTo>
                  <a:lnTo>
                    <a:pt x="68" y="169"/>
                  </a:lnTo>
                  <a:lnTo>
                    <a:pt x="66" y="169"/>
                  </a:lnTo>
                  <a:lnTo>
                    <a:pt x="66" y="167"/>
                  </a:lnTo>
                  <a:lnTo>
                    <a:pt x="66" y="122"/>
                  </a:lnTo>
                  <a:lnTo>
                    <a:pt x="66" y="122"/>
                  </a:lnTo>
                  <a:lnTo>
                    <a:pt x="68" y="122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1" y="118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95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100" y="115"/>
                  </a:lnTo>
                  <a:lnTo>
                    <a:pt x="100" y="115"/>
                  </a:lnTo>
                  <a:lnTo>
                    <a:pt x="100" y="115"/>
                  </a:lnTo>
                  <a:lnTo>
                    <a:pt x="103" y="118"/>
                  </a:lnTo>
                  <a:lnTo>
                    <a:pt x="103" y="118"/>
                  </a:lnTo>
                  <a:lnTo>
                    <a:pt x="103" y="118"/>
                  </a:lnTo>
                  <a:lnTo>
                    <a:pt x="103" y="118"/>
                  </a:lnTo>
                  <a:lnTo>
                    <a:pt x="103" y="120"/>
                  </a:lnTo>
                  <a:lnTo>
                    <a:pt x="105" y="120"/>
                  </a:lnTo>
                  <a:lnTo>
                    <a:pt x="105" y="120"/>
                  </a:lnTo>
                  <a:lnTo>
                    <a:pt x="105" y="122"/>
                  </a:lnTo>
                  <a:lnTo>
                    <a:pt x="105" y="122"/>
                  </a:lnTo>
                  <a:lnTo>
                    <a:pt x="105" y="122"/>
                  </a:lnTo>
                  <a:lnTo>
                    <a:pt x="105" y="167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1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0" y="174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5" y="176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73" y="176"/>
                  </a:lnTo>
                  <a:close/>
                  <a:moveTo>
                    <a:pt x="201" y="176"/>
                  </a:moveTo>
                  <a:lnTo>
                    <a:pt x="201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4"/>
                  </a:lnTo>
                  <a:lnTo>
                    <a:pt x="196" y="174"/>
                  </a:lnTo>
                  <a:lnTo>
                    <a:pt x="196" y="174"/>
                  </a:lnTo>
                  <a:lnTo>
                    <a:pt x="196" y="174"/>
                  </a:lnTo>
                  <a:lnTo>
                    <a:pt x="196" y="171"/>
                  </a:lnTo>
                  <a:lnTo>
                    <a:pt x="196" y="171"/>
                  </a:lnTo>
                  <a:lnTo>
                    <a:pt x="193" y="171"/>
                  </a:lnTo>
                  <a:lnTo>
                    <a:pt x="193" y="169"/>
                  </a:lnTo>
                  <a:lnTo>
                    <a:pt x="193" y="169"/>
                  </a:lnTo>
                  <a:lnTo>
                    <a:pt x="193" y="169"/>
                  </a:lnTo>
                  <a:lnTo>
                    <a:pt x="193" y="167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3" y="120"/>
                  </a:lnTo>
                  <a:lnTo>
                    <a:pt x="193" y="120"/>
                  </a:lnTo>
                  <a:lnTo>
                    <a:pt x="196" y="120"/>
                  </a:lnTo>
                  <a:lnTo>
                    <a:pt x="196" y="118"/>
                  </a:lnTo>
                  <a:lnTo>
                    <a:pt x="196" y="118"/>
                  </a:lnTo>
                  <a:lnTo>
                    <a:pt x="196" y="118"/>
                  </a:lnTo>
                  <a:lnTo>
                    <a:pt x="196" y="118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201" y="115"/>
                  </a:lnTo>
                  <a:lnTo>
                    <a:pt x="201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23" y="115"/>
                  </a:lnTo>
                  <a:lnTo>
                    <a:pt x="223" y="115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8" y="115"/>
                  </a:lnTo>
                  <a:lnTo>
                    <a:pt x="228" y="115"/>
                  </a:lnTo>
                  <a:lnTo>
                    <a:pt x="228" y="118"/>
                  </a:lnTo>
                  <a:lnTo>
                    <a:pt x="230" y="118"/>
                  </a:lnTo>
                  <a:lnTo>
                    <a:pt x="230" y="118"/>
                  </a:lnTo>
                  <a:lnTo>
                    <a:pt x="230" y="118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2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3" y="167"/>
                  </a:lnTo>
                  <a:lnTo>
                    <a:pt x="233" y="169"/>
                  </a:lnTo>
                  <a:lnTo>
                    <a:pt x="230" y="169"/>
                  </a:lnTo>
                  <a:lnTo>
                    <a:pt x="230" y="169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28" y="174"/>
                  </a:lnTo>
                  <a:lnTo>
                    <a:pt x="228" y="174"/>
                  </a:lnTo>
                  <a:lnTo>
                    <a:pt x="228" y="176"/>
                  </a:lnTo>
                  <a:lnTo>
                    <a:pt x="225" y="176"/>
                  </a:lnTo>
                  <a:lnTo>
                    <a:pt x="225" y="176"/>
                  </a:lnTo>
                  <a:lnTo>
                    <a:pt x="225" y="176"/>
                  </a:lnTo>
                  <a:lnTo>
                    <a:pt x="223" y="176"/>
                  </a:lnTo>
                  <a:lnTo>
                    <a:pt x="223" y="176"/>
                  </a:lnTo>
                  <a:lnTo>
                    <a:pt x="203" y="176"/>
                  </a:lnTo>
                  <a:lnTo>
                    <a:pt x="201" y="176"/>
                  </a:lnTo>
                  <a:lnTo>
                    <a:pt x="201" y="176"/>
                  </a:lnTo>
                  <a:close/>
                  <a:moveTo>
                    <a:pt x="29" y="144"/>
                  </a:moveTo>
                  <a:lnTo>
                    <a:pt x="29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19" y="142"/>
                  </a:lnTo>
                  <a:lnTo>
                    <a:pt x="17" y="140"/>
                  </a:lnTo>
                  <a:lnTo>
                    <a:pt x="17" y="140"/>
                  </a:lnTo>
                  <a:lnTo>
                    <a:pt x="14" y="137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9" y="132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9" y="125"/>
                  </a:lnTo>
                  <a:lnTo>
                    <a:pt x="7" y="125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4" y="51"/>
                  </a:lnTo>
                  <a:lnTo>
                    <a:pt x="17" y="49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2" y="44"/>
                  </a:lnTo>
                  <a:lnTo>
                    <a:pt x="269" y="44"/>
                  </a:lnTo>
                  <a:lnTo>
                    <a:pt x="269" y="44"/>
                  </a:lnTo>
                  <a:lnTo>
                    <a:pt x="269" y="44"/>
                  </a:lnTo>
                  <a:lnTo>
                    <a:pt x="272" y="44"/>
                  </a:lnTo>
                  <a:lnTo>
                    <a:pt x="272" y="44"/>
                  </a:lnTo>
                  <a:lnTo>
                    <a:pt x="274" y="44"/>
                  </a:lnTo>
                  <a:lnTo>
                    <a:pt x="274" y="44"/>
                  </a:lnTo>
                  <a:lnTo>
                    <a:pt x="277" y="44"/>
                  </a:lnTo>
                  <a:lnTo>
                    <a:pt x="277" y="46"/>
                  </a:lnTo>
                  <a:lnTo>
                    <a:pt x="279" y="46"/>
                  </a:lnTo>
                  <a:lnTo>
                    <a:pt x="282" y="46"/>
                  </a:lnTo>
                  <a:lnTo>
                    <a:pt x="282" y="49"/>
                  </a:lnTo>
                  <a:lnTo>
                    <a:pt x="284" y="51"/>
                  </a:lnTo>
                  <a:lnTo>
                    <a:pt x="287" y="51"/>
                  </a:lnTo>
                  <a:lnTo>
                    <a:pt x="287" y="54"/>
                  </a:lnTo>
                  <a:lnTo>
                    <a:pt x="289" y="56"/>
                  </a:lnTo>
                  <a:lnTo>
                    <a:pt x="289" y="56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89" y="61"/>
                  </a:lnTo>
                  <a:lnTo>
                    <a:pt x="289" y="61"/>
                  </a:lnTo>
                  <a:lnTo>
                    <a:pt x="289" y="64"/>
                  </a:lnTo>
                  <a:lnTo>
                    <a:pt x="291" y="64"/>
                  </a:lnTo>
                  <a:lnTo>
                    <a:pt x="291" y="66"/>
                  </a:lnTo>
                  <a:lnTo>
                    <a:pt x="291" y="66"/>
                  </a:lnTo>
                  <a:lnTo>
                    <a:pt x="291" y="122"/>
                  </a:lnTo>
                  <a:lnTo>
                    <a:pt x="291" y="122"/>
                  </a:lnTo>
                  <a:lnTo>
                    <a:pt x="291" y="122"/>
                  </a:lnTo>
                  <a:lnTo>
                    <a:pt x="289" y="125"/>
                  </a:lnTo>
                  <a:lnTo>
                    <a:pt x="289" y="125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89" y="130"/>
                  </a:lnTo>
                  <a:lnTo>
                    <a:pt x="289" y="130"/>
                  </a:lnTo>
                  <a:lnTo>
                    <a:pt x="289" y="132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4" y="137"/>
                  </a:lnTo>
                  <a:lnTo>
                    <a:pt x="282" y="140"/>
                  </a:lnTo>
                  <a:lnTo>
                    <a:pt x="282" y="140"/>
                  </a:lnTo>
                  <a:lnTo>
                    <a:pt x="279" y="142"/>
                  </a:lnTo>
                  <a:lnTo>
                    <a:pt x="277" y="142"/>
                  </a:lnTo>
                  <a:lnTo>
                    <a:pt x="277" y="142"/>
                  </a:lnTo>
                  <a:lnTo>
                    <a:pt x="277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2" y="144"/>
                  </a:lnTo>
                  <a:lnTo>
                    <a:pt x="272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40" y="144"/>
                  </a:lnTo>
                  <a:lnTo>
                    <a:pt x="240" y="122"/>
                  </a:lnTo>
                  <a:lnTo>
                    <a:pt x="240" y="122"/>
                  </a:lnTo>
                  <a:lnTo>
                    <a:pt x="240" y="120"/>
                  </a:lnTo>
                  <a:lnTo>
                    <a:pt x="240" y="118"/>
                  </a:lnTo>
                  <a:lnTo>
                    <a:pt x="240" y="118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33" y="108"/>
                  </a:lnTo>
                  <a:lnTo>
                    <a:pt x="230" y="108"/>
                  </a:lnTo>
                  <a:lnTo>
                    <a:pt x="230" y="108"/>
                  </a:lnTo>
                  <a:lnTo>
                    <a:pt x="228" y="108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3" y="105"/>
                  </a:lnTo>
                  <a:lnTo>
                    <a:pt x="203" y="105"/>
                  </a:lnTo>
                  <a:lnTo>
                    <a:pt x="201" y="105"/>
                  </a:lnTo>
                  <a:lnTo>
                    <a:pt x="198" y="105"/>
                  </a:lnTo>
                  <a:lnTo>
                    <a:pt x="198" y="108"/>
                  </a:lnTo>
                  <a:lnTo>
                    <a:pt x="196" y="108"/>
                  </a:lnTo>
                  <a:lnTo>
                    <a:pt x="193" y="108"/>
                  </a:lnTo>
                  <a:lnTo>
                    <a:pt x="193" y="108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186" y="115"/>
                  </a:lnTo>
                  <a:lnTo>
                    <a:pt x="186" y="118"/>
                  </a:lnTo>
                  <a:lnTo>
                    <a:pt x="186" y="118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44"/>
                  </a:lnTo>
                  <a:lnTo>
                    <a:pt x="112" y="144"/>
                  </a:lnTo>
                  <a:lnTo>
                    <a:pt x="112" y="122"/>
                  </a:lnTo>
                  <a:lnTo>
                    <a:pt x="112" y="122"/>
                  </a:lnTo>
                  <a:lnTo>
                    <a:pt x="112" y="120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5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3" y="108"/>
                  </a:lnTo>
                  <a:lnTo>
                    <a:pt x="100" y="108"/>
                  </a:lnTo>
                  <a:lnTo>
                    <a:pt x="100" y="105"/>
                  </a:lnTo>
                  <a:lnTo>
                    <a:pt x="98" y="105"/>
                  </a:lnTo>
                  <a:lnTo>
                    <a:pt x="95" y="105"/>
                  </a:lnTo>
                  <a:lnTo>
                    <a:pt x="76" y="105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1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6" y="108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3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20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44"/>
                  </a:lnTo>
                  <a:lnTo>
                    <a:pt x="32" y="144"/>
                  </a:lnTo>
                  <a:lnTo>
                    <a:pt x="29" y="144"/>
                  </a:lnTo>
                  <a:close/>
                  <a:moveTo>
                    <a:pt x="108" y="17"/>
                  </a:moveTo>
                  <a:lnTo>
                    <a:pt x="108" y="17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5" y="7"/>
                  </a:lnTo>
                  <a:lnTo>
                    <a:pt x="117" y="7"/>
                  </a:lnTo>
                  <a:lnTo>
                    <a:pt x="181" y="7"/>
                  </a:lnTo>
                  <a:lnTo>
                    <a:pt x="184" y="7"/>
                  </a:lnTo>
                  <a:lnTo>
                    <a:pt x="184" y="10"/>
                  </a:lnTo>
                  <a:lnTo>
                    <a:pt x="184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1" y="17"/>
                  </a:lnTo>
                  <a:lnTo>
                    <a:pt x="191" y="17"/>
                  </a:lnTo>
                  <a:lnTo>
                    <a:pt x="191" y="34"/>
                  </a:lnTo>
                  <a:lnTo>
                    <a:pt x="108" y="34"/>
                  </a:lnTo>
                  <a:lnTo>
                    <a:pt x="108" y="17"/>
                  </a:lnTo>
                  <a:close/>
                  <a:moveTo>
                    <a:pt x="117" y="0"/>
                  </a:moveTo>
                  <a:lnTo>
                    <a:pt x="115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5" y="2"/>
                  </a:lnTo>
                  <a:lnTo>
                    <a:pt x="105" y="5"/>
                  </a:lnTo>
                  <a:lnTo>
                    <a:pt x="103" y="5"/>
                  </a:lnTo>
                  <a:lnTo>
                    <a:pt x="103" y="7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98" y="17"/>
                  </a:lnTo>
                  <a:lnTo>
                    <a:pt x="98" y="34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7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2" y="39"/>
                  </a:lnTo>
                  <a:lnTo>
                    <a:pt x="12" y="42"/>
                  </a:lnTo>
                  <a:lnTo>
                    <a:pt x="9" y="42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7" y="44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30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5"/>
                  </a:lnTo>
                  <a:lnTo>
                    <a:pt x="2" y="137"/>
                  </a:lnTo>
                  <a:lnTo>
                    <a:pt x="5" y="137"/>
                  </a:lnTo>
                  <a:lnTo>
                    <a:pt x="5" y="140"/>
                  </a:lnTo>
                  <a:lnTo>
                    <a:pt x="5" y="140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228"/>
                  </a:lnTo>
                  <a:lnTo>
                    <a:pt x="9" y="230"/>
                  </a:lnTo>
                  <a:lnTo>
                    <a:pt x="12" y="230"/>
                  </a:lnTo>
                  <a:lnTo>
                    <a:pt x="12" y="233"/>
                  </a:lnTo>
                  <a:lnTo>
                    <a:pt x="12" y="235"/>
                  </a:lnTo>
                  <a:lnTo>
                    <a:pt x="12" y="235"/>
                  </a:lnTo>
                  <a:lnTo>
                    <a:pt x="14" y="238"/>
                  </a:lnTo>
                  <a:lnTo>
                    <a:pt x="14" y="240"/>
                  </a:lnTo>
                  <a:lnTo>
                    <a:pt x="17" y="240"/>
                  </a:lnTo>
                  <a:lnTo>
                    <a:pt x="17" y="240"/>
                  </a:lnTo>
                  <a:lnTo>
                    <a:pt x="19" y="243"/>
                  </a:lnTo>
                  <a:lnTo>
                    <a:pt x="19" y="243"/>
                  </a:lnTo>
                  <a:lnTo>
                    <a:pt x="22" y="245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7" y="245"/>
                  </a:lnTo>
                  <a:lnTo>
                    <a:pt x="29" y="245"/>
                  </a:lnTo>
                  <a:lnTo>
                    <a:pt x="269" y="245"/>
                  </a:lnTo>
                  <a:lnTo>
                    <a:pt x="272" y="245"/>
                  </a:lnTo>
                  <a:lnTo>
                    <a:pt x="274" y="245"/>
                  </a:lnTo>
                  <a:lnTo>
                    <a:pt x="274" y="245"/>
                  </a:lnTo>
                  <a:lnTo>
                    <a:pt x="277" y="245"/>
                  </a:lnTo>
                  <a:lnTo>
                    <a:pt x="279" y="243"/>
                  </a:lnTo>
                  <a:lnTo>
                    <a:pt x="279" y="243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4" y="240"/>
                  </a:lnTo>
                  <a:lnTo>
                    <a:pt x="284" y="238"/>
                  </a:lnTo>
                  <a:lnTo>
                    <a:pt x="287" y="235"/>
                  </a:lnTo>
                  <a:lnTo>
                    <a:pt x="287" y="235"/>
                  </a:lnTo>
                  <a:lnTo>
                    <a:pt x="287" y="233"/>
                  </a:lnTo>
                  <a:lnTo>
                    <a:pt x="287" y="230"/>
                  </a:lnTo>
                  <a:lnTo>
                    <a:pt x="289" y="230"/>
                  </a:lnTo>
                  <a:lnTo>
                    <a:pt x="289" y="228"/>
                  </a:lnTo>
                  <a:lnTo>
                    <a:pt x="289" y="144"/>
                  </a:lnTo>
                  <a:lnTo>
                    <a:pt x="289" y="144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0"/>
                  </a:lnTo>
                  <a:lnTo>
                    <a:pt x="294" y="140"/>
                  </a:lnTo>
                  <a:lnTo>
                    <a:pt x="294" y="137"/>
                  </a:lnTo>
                  <a:lnTo>
                    <a:pt x="296" y="137"/>
                  </a:lnTo>
                  <a:lnTo>
                    <a:pt x="296" y="135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9" y="130"/>
                  </a:lnTo>
                  <a:lnTo>
                    <a:pt x="299" y="127"/>
                  </a:lnTo>
                  <a:lnTo>
                    <a:pt x="299" y="127"/>
                  </a:lnTo>
                  <a:lnTo>
                    <a:pt x="299" y="125"/>
                  </a:lnTo>
                  <a:lnTo>
                    <a:pt x="299" y="122"/>
                  </a:lnTo>
                  <a:lnTo>
                    <a:pt x="299" y="64"/>
                  </a:lnTo>
                  <a:lnTo>
                    <a:pt x="299" y="64"/>
                  </a:lnTo>
                  <a:lnTo>
                    <a:pt x="299" y="61"/>
                  </a:lnTo>
                  <a:lnTo>
                    <a:pt x="299" y="59"/>
                  </a:lnTo>
                  <a:lnTo>
                    <a:pt x="299" y="59"/>
                  </a:lnTo>
                  <a:lnTo>
                    <a:pt x="299" y="56"/>
                  </a:lnTo>
                  <a:lnTo>
                    <a:pt x="296" y="56"/>
                  </a:lnTo>
                  <a:lnTo>
                    <a:pt x="296" y="54"/>
                  </a:lnTo>
                  <a:lnTo>
                    <a:pt x="296" y="51"/>
                  </a:lnTo>
                  <a:lnTo>
                    <a:pt x="296" y="51"/>
                  </a:lnTo>
                  <a:lnTo>
                    <a:pt x="294" y="49"/>
                  </a:lnTo>
                  <a:lnTo>
                    <a:pt x="294" y="49"/>
                  </a:lnTo>
                  <a:lnTo>
                    <a:pt x="294" y="46"/>
                  </a:lnTo>
                  <a:lnTo>
                    <a:pt x="291" y="46"/>
                  </a:lnTo>
                  <a:lnTo>
                    <a:pt x="291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2"/>
                  </a:lnTo>
                  <a:lnTo>
                    <a:pt x="287" y="42"/>
                  </a:lnTo>
                  <a:lnTo>
                    <a:pt x="287" y="39"/>
                  </a:lnTo>
                  <a:lnTo>
                    <a:pt x="284" y="39"/>
                  </a:lnTo>
                  <a:lnTo>
                    <a:pt x="284" y="39"/>
                  </a:lnTo>
                  <a:lnTo>
                    <a:pt x="282" y="39"/>
                  </a:lnTo>
                  <a:lnTo>
                    <a:pt x="279" y="37"/>
                  </a:lnTo>
                  <a:lnTo>
                    <a:pt x="279" y="37"/>
                  </a:lnTo>
                  <a:lnTo>
                    <a:pt x="277" y="37"/>
                  </a:lnTo>
                  <a:lnTo>
                    <a:pt x="277" y="37"/>
                  </a:lnTo>
                  <a:lnTo>
                    <a:pt x="274" y="34"/>
                  </a:lnTo>
                  <a:lnTo>
                    <a:pt x="272" y="34"/>
                  </a:lnTo>
                  <a:lnTo>
                    <a:pt x="272" y="34"/>
                  </a:lnTo>
                  <a:lnTo>
                    <a:pt x="269" y="34"/>
                  </a:lnTo>
                  <a:lnTo>
                    <a:pt x="269" y="34"/>
                  </a:lnTo>
                  <a:lnTo>
                    <a:pt x="201" y="34"/>
                  </a:lnTo>
                  <a:lnTo>
                    <a:pt x="201" y="17"/>
                  </a:lnTo>
                  <a:lnTo>
                    <a:pt x="198" y="15"/>
                  </a:lnTo>
                  <a:lnTo>
                    <a:pt x="198" y="15"/>
                  </a:lnTo>
                  <a:lnTo>
                    <a:pt x="198" y="12"/>
                  </a:lnTo>
                  <a:lnTo>
                    <a:pt x="198" y="10"/>
                  </a:lnTo>
                  <a:lnTo>
                    <a:pt x="198" y="10"/>
                  </a:lnTo>
                  <a:lnTo>
                    <a:pt x="196" y="7"/>
                  </a:lnTo>
                  <a:lnTo>
                    <a:pt x="196" y="5"/>
                  </a:lnTo>
                  <a:lnTo>
                    <a:pt x="193" y="5"/>
                  </a:lnTo>
                  <a:lnTo>
                    <a:pt x="193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1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8" name="Group 182">
            <a:extLst>
              <a:ext uri="{FF2B5EF4-FFF2-40B4-BE49-F238E27FC236}">
                <a16:creationId xmlns:a16="http://schemas.microsoft.com/office/drawing/2014/main" id="{17D3E31C-1067-4FCF-A5A9-5A697F5F54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575" y="4099910"/>
            <a:ext cx="842962" cy="841375"/>
            <a:chOff x="247" y="2627"/>
            <a:chExt cx="531" cy="530"/>
          </a:xfrm>
        </p:grpSpPr>
        <p:sp>
          <p:nvSpPr>
            <p:cNvPr id="209" name="AutoShape 181">
              <a:extLst>
                <a:ext uri="{FF2B5EF4-FFF2-40B4-BE49-F238E27FC236}">
                  <a16:creationId xmlns:a16="http://schemas.microsoft.com/office/drawing/2014/main" id="{AAF0BF4F-D1C5-4882-A0D0-F5E14F7D82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7" y="2627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183">
              <a:extLst>
                <a:ext uri="{FF2B5EF4-FFF2-40B4-BE49-F238E27FC236}">
                  <a16:creationId xmlns:a16="http://schemas.microsoft.com/office/drawing/2014/main" id="{07304921-C6E6-4BD6-964F-60CFBD519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" y="2627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84">
              <a:extLst>
                <a:ext uri="{FF2B5EF4-FFF2-40B4-BE49-F238E27FC236}">
                  <a16:creationId xmlns:a16="http://schemas.microsoft.com/office/drawing/2014/main" id="{8CD1F102-7151-4124-AB4B-32BB067BE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" y="2645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85">
              <a:extLst>
                <a:ext uri="{FF2B5EF4-FFF2-40B4-BE49-F238E27FC236}">
                  <a16:creationId xmlns:a16="http://schemas.microsoft.com/office/drawing/2014/main" id="{4CE46598-A200-4689-9EF3-9A7D19A69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" y="2755"/>
              <a:ext cx="313" cy="256"/>
            </a:xfrm>
            <a:custGeom>
              <a:avLst/>
              <a:gdLst>
                <a:gd name="T0" fmla="*/ 249 w 313"/>
                <a:gd name="T1" fmla="*/ 184 h 256"/>
                <a:gd name="T2" fmla="*/ 285 w 313"/>
                <a:gd name="T3" fmla="*/ 159 h 256"/>
                <a:gd name="T4" fmla="*/ 293 w 313"/>
                <a:gd name="T5" fmla="*/ 243 h 256"/>
                <a:gd name="T6" fmla="*/ 282 w 313"/>
                <a:gd name="T7" fmla="*/ 248 h 256"/>
                <a:gd name="T8" fmla="*/ 23 w 313"/>
                <a:gd name="T9" fmla="*/ 243 h 256"/>
                <a:gd name="T10" fmla="*/ 26 w 313"/>
                <a:gd name="T11" fmla="*/ 159 h 256"/>
                <a:gd name="T12" fmla="*/ 64 w 313"/>
                <a:gd name="T13" fmla="*/ 184 h 256"/>
                <a:gd name="T14" fmla="*/ 80 w 313"/>
                <a:gd name="T15" fmla="*/ 195 h 256"/>
                <a:gd name="T16" fmla="*/ 116 w 313"/>
                <a:gd name="T17" fmla="*/ 184 h 256"/>
                <a:gd name="T18" fmla="*/ 195 w 313"/>
                <a:gd name="T19" fmla="*/ 179 h 256"/>
                <a:gd name="T20" fmla="*/ 208 w 313"/>
                <a:gd name="T21" fmla="*/ 192 h 256"/>
                <a:gd name="T22" fmla="*/ 72 w 313"/>
                <a:gd name="T23" fmla="*/ 182 h 256"/>
                <a:gd name="T24" fmla="*/ 72 w 313"/>
                <a:gd name="T25" fmla="*/ 128 h 256"/>
                <a:gd name="T26" fmla="*/ 77 w 313"/>
                <a:gd name="T27" fmla="*/ 120 h 256"/>
                <a:gd name="T28" fmla="*/ 108 w 313"/>
                <a:gd name="T29" fmla="*/ 123 h 256"/>
                <a:gd name="T30" fmla="*/ 111 w 313"/>
                <a:gd name="T31" fmla="*/ 177 h 256"/>
                <a:gd name="T32" fmla="*/ 105 w 313"/>
                <a:gd name="T33" fmla="*/ 184 h 256"/>
                <a:gd name="T34" fmla="*/ 208 w 313"/>
                <a:gd name="T35" fmla="*/ 184 h 256"/>
                <a:gd name="T36" fmla="*/ 203 w 313"/>
                <a:gd name="T37" fmla="*/ 174 h 256"/>
                <a:gd name="T38" fmla="*/ 208 w 313"/>
                <a:gd name="T39" fmla="*/ 120 h 256"/>
                <a:gd name="T40" fmla="*/ 236 w 313"/>
                <a:gd name="T41" fmla="*/ 120 h 256"/>
                <a:gd name="T42" fmla="*/ 244 w 313"/>
                <a:gd name="T43" fmla="*/ 128 h 256"/>
                <a:gd name="T44" fmla="*/ 239 w 313"/>
                <a:gd name="T45" fmla="*/ 182 h 256"/>
                <a:gd name="T46" fmla="*/ 31 w 313"/>
                <a:gd name="T47" fmla="*/ 151 h 256"/>
                <a:gd name="T48" fmla="*/ 18 w 313"/>
                <a:gd name="T49" fmla="*/ 146 h 256"/>
                <a:gd name="T50" fmla="*/ 8 w 313"/>
                <a:gd name="T51" fmla="*/ 128 h 256"/>
                <a:gd name="T52" fmla="*/ 10 w 313"/>
                <a:gd name="T53" fmla="*/ 59 h 256"/>
                <a:gd name="T54" fmla="*/ 26 w 313"/>
                <a:gd name="T55" fmla="*/ 46 h 256"/>
                <a:gd name="T56" fmla="*/ 288 w 313"/>
                <a:gd name="T57" fmla="*/ 46 h 256"/>
                <a:gd name="T58" fmla="*/ 303 w 313"/>
                <a:gd name="T59" fmla="*/ 59 h 256"/>
                <a:gd name="T60" fmla="*/ 306 w 313"/>
                <a:gd name="T61" fmla="*/ 128 h 256"/>
                <a:gd name="T62" fmla="*/ 295 w 313"/>
                <a:gd name="T63" fmla="*/ 146 h 256"/>
                <a:gd name="T64" fmla="*/ 282 w 313"/>
                <a:gd name="T65" fmla="*/ 151 h 256"/>
                <a:gd name="T66" fmla="*/ 246 w 313"/>
                <a:gd name="T67" fmla="*/ 115 h 256"/>
                <a:gd name="T68" fmla="*/ 208 w 313"/>
                <a:gd name="T69" fmla="*/ 110 h 256"/>
                <a:gd name="T70" fmla="*/ 195 w 313"/>
                <a:gd name="T71" fmla="*/ 123 h 256"/>
                <a:gd name="T72" fmla="*/ 118 w 313"/>
                <a:gd name="T73" fmla="*/ 120 h 256"/>
                <a:gd name="T74" fmla="*/ 100 w 313"/>
                <a:gd name="T75" fmla="*/ 110 h 256"/>
                <a:gd name="T76" fmla="*/ 64 w 313"/>
                <a:gd name="T77" fmla="*/ 118 h 256"/>
                <a:gd name="T78" fmla="*/ 113 w 313"/>
                <a:gd name="T79" fmla="*/ 18 h 256"/>
                <a:gd name="T80" fmla="*/ 118 w 313"/>
                <a:gd name="T81" fmla="*/ 10 h 256"/>
                <a:gd name="T82" fmla="*/ 195 w 313"/>
                <a:gd name="T83" fmla="*/ 10 h 256"/>
                <a:gd name="T84" fmla="*/ 200 w 313"/>
                <a:gd name="T85" fmla="*/ 36 h 256"/>
                <a:gd name="T86" fmla="*/ 111 w 313"/>
                <a:gd name="T87" fmla="*/ 5 h 256"/>
                <a:gd name="T88" fmla="*/ 31 w 313"/>
                <a:gd name="T89" fmla="*/ 36 h 256"/>
                <a:gd name="T90" fmla="*/ 13 w 313"/>
                <a:gd name="T91" fmla="*/ 41 h 256"/>
                <a:gd name="T92" fmla="*/ 3 w 313"/>
                <a:gd name="T93" fmla="*/ 54 h 256"/>
                <a:gd name="T94" fmla="*/ 0 w 313"/>
                <a:gd name="T95" fmla="*/ 128 h 256"/>
                <a:gd name="T96" fmla="*/ 5 w 313"/>
                <a:gd name="T97" fmla="*/ 146 h 256"/>
                <a:gd name="T98" fmla="*/ 16 w 313"/>
                <a:gd name="T99" fmla="*/ 248 h 256"/>
                <a:gd name="T100" fmla="*/ 282 w 313"/>
                <a:gd name="T101" fmla="*/ 256 h 256"/>
                <a:gd name="T102" fmla="*/ 300 w 313"/>
                <a:gd name="T103" fmla="*/ 246 h 256"/>
                <a:gd name="T104" fmla="*/ 308 w 313"/>
                <a:gd name="T105" fmla="*/ 146 h 256"/>
                <a:gd name="T106" fmla="*/ 313 w 313"/>
                <a:gd name="T107" fmla="*/ 66 h 256"/>
                <a:gd name="T108" fmla="*/ 308 w 313"/>
                <a:gd name="T109" fmla="*/ 51 h 256"/>
                <a:gd name="T110" fmla="*/ 295 w 313"/>
                <a:gd name="T111" fmla="*/ 41 h 256"/>
                <a:gd name="T112" fmla="*/ 211 w 313"/>
                <a:gd name="T113" fmla="*/ 18 h 256"/>
                <a:gd name="T114" fmla="*/ 200 w 313"/>
                <a:gd name="T115" fmla="*/ 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3" h="256">
                  <a:moveTo>
                    <a:pt x="234" y="195"/>
                  </a:moveTo>
                  <a:lnTo>
                    <a:pt x="236" y="195"/>
                  </a:lnTo>
                  <a:lnTo>
                    <a:pt x="236" y="195"/>
                  </a:lnTo>
                  <a:lnTo>
                    <a:pt x="239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4" y="189"/>
                  </a:lnTo>
                  <a:lnTo>
                    <a:pt x="246" y="189"/>
                  </a:lnTo>
                  <a:lnTo>
                    <a:pt x="246" y="189"/>
                  </a:lnTo>
                  <a:lnTo>
                    <a:pt x="249" y="187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52" y="182"/>
                  </a:lnTo>
                  <a:lnTo>
                    <a:pt x="252" y="182"/>
                  </a:lnTo>
                  <a:lnTo>
                    <a:pt x="252" y="179"/>
                  </a:lnTo>
                  <a:lnTo>
                    <a:pt x="252" y="177"/>
                  </a:lnTo>
                  <a:lnTo>
                    <a:pt x="252" y="174"/>
                  </a:lnTo>
                  <a:lnTo>
                    <a:pt x="252" y="159"/>
                  </a:lnTo>
                  <a:lnTo>
                    <a:pt x="282" y="159"/>
                  </a:lnTo>
                  <a:lnTo>
                    <a:pt x="282" y="159"/>
                  </a:lnTo>
                  <a:lnTo>
                    <a:pt x="285" y="159"/>
                  </a:lnTo>
                  <a:lnTo>
                    <a:pt x="285" y="159"/>
                  </a:lnTo>
                  <a:lnTo>
                    <a:pt x="288" y="159"/>
                  </a:lnTo>
                  <a:lnTo>
                    <a:pt x="288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3" y="159"/>
                  </a:lnTo>
                  <a:lnTo>
                    <a:pt x="293" y="238"/>
                  </a:lnTo>
                  <a:lnTo>
                    <a:pt x="293" y="238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93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0" y="246"/>
                  </a:lnTo>
                  <a:lnTo>
                    <a:pt x="288" y="246"/>
                  </a:lnTo>
                  <a:lnTo>
                    <a:pt x="288" y="246"/>
                  </a:lnTo>
                  <a:lnTo>
                    <a:pt x="288" y="246"/>
                  </a:lnTo>
                  <a:lnTo>
                    <a:pt x="285" y="246"/>
                  </a:lnTo>
                  <a:lnTo>
                    <a:pt x="285" y="246"/>
                  </a:lnTo>
                  <a:lnTo>
                    <a:pt x="285" y="248"/>
                  </a:lnTo>
                  <a:lnTo>
                    <a:pt x="282" y="248"/>
                  </a:lnTo>
                  <a:lnTo>
                    <a:pt x="31" y="248"/>
                  </a:lnTo>
                  <a:lnTo>
                    <a:pt x="28" y="248"/>
                  </a:lnTo>
                  <a:lnTo>
                    <a:pt x="28" y="246"/>
                  </a:lnTo>
                  <a:lnTo>
                    <a:pt x="28" y="246"/>
                  </a:lnTo>
                  <a:lnTo>
                    <a:pt x="26" y="246"/>
                  </a:lnTo>
                  <a:lnTo>
                    <a:pt x="26" y="246"/>
                  </a:lnTo>
                  <a:lnTo>
                    <a:pt x="26" y="246"/>
                  </a:lnTo>
                  <a:lnTo>
                    <a:pt x="23" y="246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1" y="243"/>
                  </a:lnTo>
                  <a:lnTo>
                    <a:pt x="21" y="241"/>
                  </a:lnTo>
                  <a:lnTo>
                    <a:pt x="21" y="241"/>
                  </a:lnTo>
                  <a:lnTo>
                    <a:pt x="21" y="241"/>
                  </a:lnTo>
                  <a:lnTo>
                    <a:pt x="21" y="238"/>
                  </a:lnTo>
                  <a:lnTo>
                    <a:pt x="21" y="238"/>
                  </a:lnTo>
                  <a:lnTo>
                    <a:pt x="21" y="159"/>
                  </a:lnTo>
                  <a:lnTo>
                    <a:pt x="23" y="159"/>
                  </a:lnTo>
                  <a:lnTo>
                    <a:pt x="23" y="159"/>
                  </a:lnTo>
                  <a:lnTo>
                    <a:pt x="26" y="159"/>
                  </a:lnTo>
                  <a:lnTo>
                    <a:pt x="26" y="159"/>
                  </a:lnTo>
                  <a:lnTo>
                    <a:pt x="28" y="159"/>
                  </a:lnTo>
                  <a:lnTo>
                    <a:pt x="28" y="159"/>
                  </a:lnTo>
                  <a:lnTo>
                    <a:pt x="31" y="159"/>
                  </a:lnTo>
                  <a:lnTo>
                    <a:pt x="34" y="159"/>
                  </a:lnTo>
                  <a:lnTo>
                    <a:pt x="62" y="159"/>
                  </a:lnTo>
                  <a:lnTo>
                    <a:pt x="62" y="174"/>
                  </a:lnTo>
                  <a:lnTo>
                    <a:pt x="62" y="177"/>
                  </a:lnTo>
                  <a:lnTo>
                    <a:pt x="62" y="179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4" y="184"/>
                  </a:lnTo>
                  <a:lnTo>
                    <a:pt x="64" y="184"/>
                  </a:lnTo>
                  <a:lnTo>
                    <a:pt x="67" y="187"/>
                  </a:lnTo>
                  <a:lnTo>
                    <a:pt x="67" y="189"/>
                  </a:lnTo>
                  <a:lnTo>
                    <a:pt x="67" y="189"/>
                  </a:lnTo>
                  <a:lnTo>
                    <a:pt x="69" y="189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5" y="192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80" y="195"/>
                  </a:lnTo>
                  <a:lnTo>
                    <a:pt x="100" y="195"/>
                  </a:lnTo>
                  <a:lnTo>
                    <a:pt x="103" y="195"/>
                  </a:lnTo>
                  <a:lnTo>
                    <a:pt x="105" y="195"/>
                  </a:lnTo>
                  <a:lnTo>
                    <a:pt x="105" y="192"/>
                  </a:lnTo>
                  <a:lnTo>
                    <a:pt x="108" y="192"/>
                  </a:lnTo>
                  <a:lnTo>
                    <a:pt x="111" y="192"/>
                  </a:lnTo>
                  <a:lnTo>
                    <a:pt x="111" y="189"/>
                  </a:lnTo>
                  <a:lnTo>
                    <a:pt x="113" y="189"/>
                  </a:lnTo>
                  <a:lnTo>
                    <a:pt x="113" y="189"/>
                  </a:lnTo>
                  <a:lnTo>
                    <a:pt x="116" y="187"/>
                  </a:lnTo>
                  <a:lnTo>
                    <a:pt x="116" y="184"/>
                  </a:lnTo>
                  <a:lnTo>
                    <a:pt x="118" y="184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8" y="174"/>
                  </a:lnTo>
                  <a:lnTo>
                    <a:pt x="118" y="159"/>
                  </a:lnTo>
                  <a:lnTo>
                    <a:pt x="195" y="159"/>
                  </a:lnTo>
                  <a:lnTo>
                    <a:pt x="195" y="174"/>
                  </a:lnTo>
                  <a:lnTo>
                    <a:pt x="195" y="177"/>
                  </a:lnTo>
                  <a:lnTo>
                    <a:pt x="195" y="179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198" y="187"/>
                  </a:lnTo>
                  <a:lnTo>
                    <a:pt x="200" y="189"/>
                  </a:lnTo>
                  <a:lnTo>
                    <a:pt x="200" y="189"/>
                  </a:lnTo>
                  <a:lnTo>
                    <a:pt x="203" y="189"/>
                  </a:lnTo>
                  <a:lnTo>
                    <a:pt x="203" y="192"/>
                  </a:lnTo>
                  <a:lnTo>
                    <a:pt x="205" y="192"/>
                  </a:lnTo>
                  <a:lnTo>
                    <a:pt x="208" y="192"/>
                  </a:lnTo>
                  <a:lnTo>
                    <a:pt x="208" y="195"/>
                  </a:lnTo>
                  <a:lnTo>
                    <a:pt x="211" y="195"/>
                  </a:lnTo>
                  <a:lnTo>
                    <a:pt x="213" y="195"/>
                  </a:lnTo>
                  <a:lnTo>
                    <a:pt x="234" y="195"/>
                  </a:lnTo>
                  <a:close/>
                  <a:moveTo>
                    <a:pt x="77" y="184"/>
                  </a:moveTo>
                  <a:lnTo>
                    <a:pt x="77" y="184"/>
                  </a:lnTo>
                  <a:lnTo>
                    <a:pt x="77" y="184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69" y="177"/>
                  </a:lnTo>
                  <a:lnTo>
                    <a:pt x="69" y="174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100" y="120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5" y="120"/>
                  </a:lnTo>
                  <a:lnTo>
                    <a:pt x="105" y="120"/>
                  </a:lnTo>
                  <a:lnTo>
                    <a:pt x="105" y="120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74"/>
                  </a:lnTo>
                  <a:lnTo>
                    <a:pt x="111" y="177"/>
                  </a:lnTo>
                  <a:lnTo>
                    <a:pt x="111" y="177"/>
                  </a:lnTo>
                  <a:lnTo>
                    <a:pt x="111" y="177"/>
                  </a:lnTo>
                  <a:lnTo>
                    <a:pt x="111" y="179"/>
                  </a:lnTo>
                  <a:lnTo>
                    <a:pt x="108" y="179"/>
                  </a:lnTo>
                  <a:lnTo>
                    <a:pt x="108" y="179"/>
                  </a:lnTo>
                  <a:lnTo>
                    <a:pt x="108" y="182"/>
                  </a:lnTo>
                  <a:lnTo>
                    <a:pt x="108" y="182"/>
                  </a:lnTo>
                  <a:lnTo>
                    <a:pt x="108" y="182"/>
                  </a:lnTo>
                  <a:lnTo>
                    <a:pt x="105" y="182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3" y="184"/>
                  </a:lnTo>
                  <a:lnTo>
                    <a:pt x="103" y="184"/>
                  </a:lnTo>
                  <a:lnTo>
                    <a:pt x="103" y="184"/>
                  </a:lnTo>
                  <a:lnTo>
                    <a:pt x="100" y="184"/>
                  </a:lnTo>
                  <a:lnTo>
                    <a:pt x="80" y="184"/>
                  </a:lnTo>
                  <a:lnTo>
                    <a:pt x="80" y="184"/>
                  </a:lnTo>
                  <a:lnTo>
                    <a:pt x="77" y="184"/>
                  </a:lnTo>
                  <a:close/>
                  <a:moveTo>
                    <a:pt x="211" y="184"/>
                  </a:moveTo>
                  <a:lnTo>
                    <a:pt x="211" y="184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2"/>
                  </a:lnTo>
                  <a:lnTo>
                    <a:pt x="205" y="182"/>
                  </a:lnTo>
                  <a:lnTo>
                    <a:pt x="205" y="182"/>
                  </a:lnTo>
                  <a:lnTo>
                    <a:pt x="205" y="182"/>
                  </a:lnTo>
                  <a:lnTo>
                    <a:pt x="205" y="179"/>
                  </a:lnTo>
                  <a:lnTo>
                    <a:pt x="205" y="179"/>
                  </a:lnTo>
                  <a:lnTo>
                    <a:pt x="203" y="179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4"/>
                  </a:lnTo>
                  <a:lnTo>
                    <a:pt x="203" y="128"/>
                  </a:lnTo>
                  <a:lnTo>
                    <a:pt x="203" y="128"/>
                  </a:lnTo>
                  <a:lnTo>
                    <a:pt x="203" y="128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11" y="120"/>
                  </a:lnTo>
                  <a:lnTo>
                    <a:pt x="211" y="120"/>
                  </a:lnTo>
                  <a:lnTo>
                    <a:pt x="211" y="120"/>
                  </a:lnTo>
                  <a:lnTo>
                    <a:pt x="213" y="120"/>
                  </a:lnTo>
                  <a:lnTo>
                    <a:pt x="234" y="120"/>
                  </a:lnTo>
                  <a:lnTo>
                    <a:pt x="234" y="120"/>
                  </a:lnTo>
                  <a:lnTo>
                    <a:pt x="236" y="120"/>
                  </a:lnTo>
                  <a:lnTo>
                    <a:pt x="236" y="120"/>
                  </a:lnTo>
                  <a:lnTo>
                    <a:pt x="236" y="120"/>
                  </a:lnTo>
                  <a:lnTo>
                    <a:pt x="239" y="120"/>
                  </a:lnTo>
                  <a:lnTo>
                    <a:pt x="239" y="120"/>
                  </a:lnTo>
                  <a:lnTo>
                    <a:pt x="239" y="123"/>
                  </a:lnTo>
                  <a:lnTo>
                    <a:pt x="241" y="123"/>
                  </a:lnTo>
                  <a:lnTo>
                    <a:pt x="241" y="123"/>
                  </a:lnTo>
                  <a:lnTo>
                    <a:pt x="241" y="123"/>
                  </a:lnTo>
                  <a:lnTo>
                    <a:pt x="241" y="125"/>
                  </a:lnTo>
                  <a:lnTo>
                    <a:pt x="241" y="125"/>
                  </a:lnTo>
                  <a:lnTo>
                    <a:pt x="241" y="125"/>
                  </a:lnTo>
                  <a:lnTo>
                    <a:pt x="241" y="128"/>
                  </a:lnTo>
                  <a:lnTo>
                    <a:pt x="244" y="128"/>
                  </a:lnTo>
                  <a:lnTo>
                    <a:pt x="244" y="128"/>
                  </a:lnTo>
                  <a:lnTo>
                    <a:pt x="244" y="174"/>
                  </a:lnTo>
                  <a:lnTo>
                    <a:pt x="244" y="177"/>
                  </a:lnTo>
                  <a:lnTo>
                    <a:pt x="241" y="177"/>
                  </a:lnTo>
                  <a:lnTo>
                    <a:pt x="241" y="177"/>
                  </a:lnTo>
                  <a:lnTo>
                    <a:pt x="241" y="179"/>
                  </a:lnTo>
                  <a:lnTo>
                    <a:pt x="241" y="179"/>
                  </a:lnTo>
                  <a:lnTo>
                    <a:pt x="241" y="179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4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4" y="184"/>
                  </a:lnTo>
                  <a:lnTo>
                    <a:pt x="234" y="184"/>
                  </a:lnTo>
                  <a:lnTo>
                    <a:pt x="213" y="184"/>
                  </a:lnTo>
                  <a:lnTo>
                    <a:pt x="211" y="184"/>
                  </a:lnTo>
                  <a:lnTo>
                    <a:pt x="211" y="184"/>
                  </a:lnTo>
                  <a:close/>
                  <a:moveTo>
                    <a:pt x="31" y="151"/>
                  </a:moveTo>
                  <a:lnTo>
                    <a:pt x="31" y="151"/>
                  </a:lnTo>
                  <a:lnTo>
                    <a:pt x="28" y="151"/>
                  </a:lnTo>
                  <a:lnTo>
                    <a:pt x="28" y="151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3" y="148"/>
                  </a:lnTo>
                  <a:lnTo>
                    <a:pt x="23" y="148"/>
                  </a:lnTo>
                  <a:lnTo>
                    <a:pt x="23" y="148"/>
                  </a:lnTo>
                  <a:lnTo>
                    <a:pt x="21" y="148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6" y="143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0" y="138"/>
                  </a:lnTo>
                  <a:lnTo>
                    <a:pt x="10" y="136"/>
                  </a:lnTo>
                  <a:lnTo>
                    <a:pt x="10" y="136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0" y="130"/>
                  </a:lnTo>
                  <a:lnTo>
                    <a:pt x="8" y="130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6" y="54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21" y="49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5" y="46"/>
                  </a:lnTo>
                  <a:lnTo>
                    <a:pt x="285" y="46"/>
                  </a:lnTo>
                  <a:lnTo>
                    <a:pt x="288" y="46"/>
                  </a:lnTo>
                  <a:lnTo>
                    <a:pt x="288" y="46"/>
                  </a:lnTo>
                  <a:lnTo>
                    <a:pt x="290" y="46"/>
                  </a:lnTo>
                  <a:lnTo>
                    <a:pt x="290" y="49"/>
                  </a:lnTo>
                  <a:lnTo>
                    <a:pt x="293" y="49"/>
                  </a:lnTo>
                  <a:lnTo>
                    <a:pt x="295" y="49"/>
                  </a:lnTo>
                  <a:lnTo>
                    <a:pt x="295" y="51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61"/>
                  </a:lnTo>
                  <a:lnTo>
                    <a:pt x="303" y="61"/>
                  </a:lnTo>
                  <a:lnTo>
                    <a:pt x="303" y="64"/>
                  </a:lnTo>
                  <a:lnTo>
                    <a:pt x="303" y="64"/>
                  </a:lnTo>
                  <a:lnTo>
                    <a:pt x="303" y="66"/>
                  </a:lnTo>
                  <a:lnTo>
                    <a:pt x="306" y="66"/>
                  </a:lnTo>
                  <a:lnTo>
                    <a:pt x="306" y="69"/>
                  </a:lnTo>
                  <a:lnTo>
                    <a:pt x="306" y="69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3" y="130"/>
                  </a:lnTo>
                  <a:lnTo>
                    <a:pt x="303" y="130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6"/>
                  </a:lnTo>
                  <a:lnTo>
                    <a:pt x="303" y="136"/>
                  </a:lnTo>
                  <a:lnTo>
                    <a:pt x="303" y="138"/>
                  </a:lnTo>
                  <a:lnTo>
                    <a:pt x="300" y="141"/>
                  </a:lnTo>
                  <a:lnTo>
                    <a:pt x="300" y="141"/>
                  </a:lnTo>
                  <a:lnTo>
                    <a:pt x="298" y="143"/>
                  </a:lnTo>
                  <a:lnTo>
                    <a:pt x="295" y="146"/>
                  </a:lnTo>
                  <a:lnTo>
                    <a:pt x="295" y="146"/>
                  </a:lnTo>
                  <a:lnTo>
                    <a:pt x="293" y="148"/>
                  </a:lnTo>
                  <a:lnTo>
                    <a:pt x="290" y="148"/>
                  </a:lnTo>
                  <a:lnTo>
                    <a:pt x="290" y="148"/>
                  </a:lnTo>
                  <a:lnTo>
                    <a:pt x="290" y="148"/>
                  </a:lnTo>
                  <a:lnTo>
                    <a:pt x="288" y="148"/>
                  </a:lnTo>
                  <a:lnTo>
                    <a:pt x="288" y="148"/>
                  </a:lnTo>
                  <a:lnTo>
                    <a:pt x="285" y="151"/>
                  </a:lnTo>
                  <a:lnTo>
                    <a:pt x="285" y="151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52" y="151"/>
                  </a:lnTo>
                  <a:lnTo>
                    <a:pt x="252" y="128"/>
                  </a:lnTo>
                  <a:lnTo>
                    <a:pt x="252" y="128"/>
                  </a:lnTo>
                  <a:lnTo>
                    <a:pt x="252" y="125"/>
                  </a:lnTo>
                  <a:lnTo>
                    <a:pt x="252" y="123"/>
                  </a:lnTo>
                  <a:lnTo>
                    <a:pt x="252" y="123"/>
                  </a:lnTo>
                  <a:lnTo>
                    <a:pt x="249" y="120"/>
                  </a:lnTo>
                  <a:lnTo>
                    <a:pt x="249" y="118"/>
                  </a:lnTo>
                  <a:lnTo>
                    <a:pt x="249" y="118"/>
                  </a:lnTo>
                  <a:lnTo>
                    <a:pt x="246" y="115"/>
                  </a:lnTo>
                  <a:lnTo>
                    <a:pt x="246" y="115"/>
                  </a:lnTo>
                  <a:lnTo>
                    <a:pt x="244" y="113"/>
                  </a:lnTo>
                  <a:lnTo>
                    <a:pt x="241" y="113"/>
                  </a:lnTo>
                  <a:lnTo>
                    <a:pt x="241" y="113"/>
                  </a:lnTo>
                  <a:lnTo>
                    <a:pt x="239" y="113"/>
                  </a:lnTo>
                  <a:lnTo>
                    <a:pt x="236" y="110"/>
                  </a:lnTo>
                  <a:lnTo>
                    <a:pt x="236" y="110"/>
                  </a:lnTo>
                  <a:lnTo>
                    <a:pt x="234" y="110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8" y="110"/>
                  </a:lnTo>
                  <a:lnTo>
                    <a:pt x="208" y="113"/>
                  </a:lnTo>
                  <a:lnTo>
                    <a:pt x="205" y="113"/>
                  </a:lnTo>
                  <a:lnTo>
                    <a:pt x="203" y="113"/>
                  </a:lnTo>
                  <a:lnTo>
                    <a:pt x="203" y="113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5" y="120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51"/>
                  </a:lnTo>
                  <a:lnTo>
                    <a:pt x="118" y="151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5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0"/>
                  </a:lnTo>
                  <a:lnTo>
                    <a:pt x="116" y="118"/>
                  </a:lnTo>
                  <a:lnTo>
                    <a:pt x="116" y="118"/>
                  </a:lnTo>
                  <a:lnTo>
                    <a:pt x="113" y="115"/>
                  </a:lnTo>
                  <a:lnTo>
                    <a:pt x="113" y="115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08" y="113"/>
                  </a:lnTo>
                  <a:lnTo>
                    <a:pt x="105" y="113"/>
                  </a:lnTo>
                  <a:lnTo>
                    <a:pt x="105" y="110"/>
                  </a:lnTo>
                  <a:lnTo>
                    <a:pt x="103" y="110"/>
                  </a:lnTo>
                  <a:lnTo>
                    <a:pt x="100" y="110"/>
                  </a:lnTo>
                  <a:lnTo>
                    <a:pt x="80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5" y="113"/>
                  </a:lnTo>
                  <a:lnTo>
                    <a:pt x="72" y="113"/>
                  </a:lnTo>
                  <a:lnTo>
                    <a:pt x="72" y="113"/>
                  </a:lnTo>
                  <a:lnTo>
                    <a:pt x="69" y="113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8"/>
                  </a:lnTo>
                  <a:lnTo>
                    <a:pt x="64" y="118"/>
                  </a:lnTo>
                  <a:lnTo>
                    <a:pt x="64" y="120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5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51"/>
                  </a:lnTo>
                  <a:lnTo>
                    <a:pt x="34" y="151"/>
                  </a:lnTo>
                  <a:lnTo>
                    <a:pt x="31" y="151"/>
                  </a:lnTo>
                  <a:close/>
                  <a:moveTo>
                    <a:pt x="113" y="18"/>
                  </a:moveTo>
                  <a:lnTo>
                    <a:pt x="113" y="18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1" y="8"/>
                  </a:lnTo>
                  <a:lnTo>
                    <a:pt x="123" y="8"/>
                  </a:lnTo>
                  <a:lnTo>
                    <a:pt x="190" y="8"/>
                  </a:lnTo>
                  <a:lnTo>
                    <a:pt x="193" y="8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5" y="10"/>
                  </a:lnTo>
                  <a:lnTo>
                    <a:pt x="195" y="10"/>
                  </a:lnTo>
                  <a:lnTo>
                    <a:pt x="195" y="10"/>
                  </a:lnTo>
                  <a:lnTo>
                    <a:pt x="198" y="10"/>
                  </a:lnTo>
                  <a:lnTo>
                    <a:pt x="198" y="10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36"/>
                  </a:lnTo>
                  <a:lnTo>
                    <a:pt x="113" y="36"/>
                  </a:lnTo>
                  <a:lnTo>
                    <a:pt x="113" y="18"/>
                  </a:lnTo>
                  <a:close/>
                  <a:moveTo>
                    <a:pt x="123" y="0"/>
                  </a:moveTo>
                  <a:lnTo>
                    <a:pt x="121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11" y="5"/>
                  </a:lnTo>
                  <a:lnTo>
                    <a:pt x="108" y="5"/>
                  </a:lnTo>
                  <a:lnTo>
                    <a:pt x="108" y="8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13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3" y="18"/>
                  </a:lnTo>
                  <a:lnTo>
                    <a:pt x="103" y="36"/>
                  </a:lnTo>
                  <a:lnTo>
                    <a:pt x="34" y="36"/>
                  </a:lnTo>
                  <a:lnTo>
                    <a:pt x="31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8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41"/>
                  </a:lnTo>
                  <a:lnTo>
                    <a:pt x="3" y="143"/>
                  </a:lnTo>
                  <a:lnTo>
                    <a:pt x="5" y="143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0" y="151"/>
                  </a:lnTo>
                  <a:lnTo>
                    <a:pt x="10" y="151"/>
                  </a:lnTo>
                  <a:lnTo>
                    <a:pt x="10" y="238"/>
                  </a:lnTo>
                  <a:lnTo>
                    <a:pt x="10" y="241"/>
                  </a:lnTo>
                  <a:lnTo>
                    <a:pt x="13" y="241"/>
                  </a:lnTo>
                  <a:lnTo>
                    <a:pt x="13" y="243"/>
                  </a:lnTo>
                  <a:lnTo>
                    <a:pt x="13" y="246"/>
                  </a:lnTo>
                  <a:lnTo>
                    <a:pt x="13" y="246"/>
                  </a:lnTo>
                  <a:lnTo>
                    <a:pt x="16" y="248"/>
                  </a:lnTo>
                  <a:lnTo>
                    <a:pt x="16" y="251"/>
                  </a:lnTo>
                  <a:lnTo>
                    <a:pt x="18" y="251"/>
                  </a:lnTo>
                  <a:lnTo>
                    <a:pt x="18" y="251"/>
                  </a:lnTo>
                  <a:lnTo>
                    <a:pt x="21" y="253"/>
                  </a:lnTo>
                  <a:lnTo>
                    <a:pt x="21" y="253"/>
                  </a:lnTo>
                  <a:lnTo>
                    <a:pt x="23" y="256"/>
                  </a:lnTo>
                  <a:lnTo>
                    <a:pt x="26" y="256"/>
                  </a:lnTo>
                  <a:lnTo>
                    <a:pt x="26" y="256"/>
                  </a:lnTo>
                  <a:lnTo>
                    <a:pt x="28" y="256"/>
                  </a:lnTo>
                  <a:lnTo>
                    <a:pt x="31" y="256"/>
                  </a:lnTo>
                  <a:lnTo>
                    <a:pt x="282" y="256"/>
                  </a:lnTo>
                  <a:lnTo>
                    <a:pt x="285" y="256"/>
                  </a:lnTo>
                  <a:lnTo>
                    <a:pt x="288" y="256"/>
                  </a:lnTo>
                  <a:lnTo>
                    <a:pt x="288" y="256"/>
                  </a:lnTo>
                  <a:lnTo>
                    <a:pt x="290" y="256"/>
                  </a:lnTo>
                  <a:lnTo>
                    <a:pt x="293" y="253"/>
                  </a:lnTo>
                  <a:lnTo>
                    <a:pt x="293" y="253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8" y="251"/>
                  </a:lnTo>
                  <a:lnTo>
                    <a:pt x="298" y="248"/>
                  </a:lnTo>
                  <a:lnTo>
                    <a:pt x="300" y="246"/>
                  </a:lnTo>
                  <a:lnTo>
                    <a:pt x="300" y="246"/>
                  </a:lnTo>
                  <a:lnTo>
                    <a:pt x="300" y="243"/>
                  </a:lnTo>
                  <a:lnTo>
                    <a:pt x="300" y="241"/>
                  </a:lnTo>
                  <a:lnTo>
                    <a:pt x="303" y="241"/>
                  </a:lnTo>
                  <a:lnTo>
                    <a:pt x="303" y="238"/>
                  </a:lnTo>
                  <a:lnTo>
                    <a:pt x="303" y="151"/>
                  </a:lnTo>
                  <a:lnTo>
                    <a:pt x="303" y="151"/>
                  </a:lnTo>
                  <a:lnTo>
                    <a:pt x="306" y="148"/>
                  </a:lnTo>
                  <a:lnTo>
                    <a:pt x="306" y="148"/>
                  </a:lnTo>
                  <a:lnTo>
                    <a:pt x="308" y="146"/>
                  </a:lnTo>
                  <a:lnTo>
                    <a:pt x="308" y="146"/>
                  </a:lnTo>
                  <a:lnTo>
                    <a:pt x="308" y="143"/>
                  </a:lnTo>
                  <a:lnTo>
                    <a:pt x="311" y="143"/>
                  </a:lnTo>
                  <a:lnTo>
                    <a:pt x="311" y="141"/>
                  </a:lnTo>
                  <a:lnTo>
                    <a:pt x="311" y="138"/>
                  </a:lnTo>
                  <a:lnTo>
                    <a:pt x="311" y="138"/>
                  </a:lnTo>
                  <a:lnTo>
                    <a:pt x="313" y="136"/>
                  </a:lnTo>
                  <a:lnTo>
                    <a:pt x="313" y="133"/>
                  </a:lnTo>
                  <a:lnTo>
                    <a:pt x="313" y="133"/>
                  </a:lnTo>
                  <a:lnTo>
                    <a:pt x="313" y="130"/>
                  </a:lnTo>
                  <a:lnTo>
                    <a:pt x="313" y="128"/>
                  </a:lnTo>
                  <a:lnTo>
                    <a:pt x="313" y="66"/>
                  </a:lnTo>
                  <a:lnTo>
                    <a:pt x="313" y="66"/>
                  </a:lnTo>
                  <a:lnTo>
                    <a:pt x="313" y="64"/>
                  </a:lnTo>
                  <a:lnTo>
                    <a:pt x="313" y="61"/>
                  </a:lnTo>
                  <a:lnTo>
                    <a:pt x="313" y="61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11" y="56"/>
                  </a:lnTo>
                  <a:lnTo>
                    <a:pt x="311" y="54"/>
                  </a:lnTo>
                  <a:lnTo>
                    <a:pt x="311" y="54"/>
                  </a:lnTo>
                  <a:lnTo>
                    <a:pt x="308" y="51"/>
                  </a:lnTo>
                  <a:lnTo>
                    <a:pt x="308" y="51"/>
                  </a:lnTo>
                  <a:lnTo>
                    <a:pt x="308" y="49"/>
                  </a:lnTo>
                  <a:lnTo>
                    <a:pt x="306" y="49"/>
                  </a:lnTo>
                  <a:lnTo>
                    <a:pt x="306" y="46"/>
                  </a:lnTo>
                  <a:lnTo>
                    <a:pt x="303" y="46"/>
                  </a:lnTo>
                  <a:lnTo>
                    <a:pt x="303" y="46"/>
                  </a:lnTo>
                  <a:lnTo>
                    <a:pt x="303" y="43"/>
                  </a:lnTo>
                  <a:lnTo>
                    <a:pt x="300" y="43"/>
                  </a:lnTo>
                  <a:lnTo>
                    <a:pt x="300" y="41"/>
                  </a:lnTo>
                  <a:lnTo>
                    <a:pt x="298" y="41"/>
                  </a:lnTo>
                  <a:lnTo>
                    <a:pt x="298" y="41"/>
                  </a:lnTo>
                  <a:lnTo>
                    <a:pt x="295" y="41"/>
                  </a:lnTo>
                  <a:lnTo>
                    <a:pt x="293" y="38"/>
                  </a:lnTo>
                  <a:lnTo>
                    <a:pt x="293" y="38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8" y="36"/>
                  </a:lnTo>
                  <a:lnTo>
                    <a:pt x="285" y="36"/>
                  </a:lnTo>
                  <a:lnTo>
                    <a:pt x="285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11" y="36"/>
                  </a:lnTo>
                  <a:lnTo>
                    <a:pt x="211" y="18"/>
                  </a:lnTo>
                  <a:lnTo>
                    <a:pt x="208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8" y="10"/>
                  </a:lnTo>
                  <a:lnTo>
                    <a:pt x="208" y="10"/>
                  </a:lnTo>
                  <a:lnTo>
                    <a:pt x="205" y="8"/>
                  </a:lnTo>
                  <a:lnTo>
                    <a:pt x="205" y="5"/>
                  </a:lnTo>
                  <a:lnTo>
                    <a:pt x="203" y="5"/>
                  </a:lnTo>
                  <a:lnTo>
                    <a:pt x="203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3" y="0"/>
                  </a:lnTo>
                  <a:lnTo>
                    <a:pt x="190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7" name="Group 188">
            <a:extLst>
              <a:ext uri="{FF2B5EF4-FFF2-40B4-BE49-F238E27FC236}">
                <a16:creationId xmlns:a16="http://schemas.microsoft.com/office/drawing/2014/main" id="{3A2D6715-2E2A-41F5-81DE-8E3BF89E3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5850" y="4141185"/>
            <a:ext cx="758825" cy="758825"/>
            <a:chOff x="2557" y="2823"/>
            <a:chExt cx="478" cy="478"/>
          </a:xfrm>
        </p:grpSpPr>
        <p:sp>
          <p:nvSpPr>
            <p:cNvPr id="218" name="AutoShape 187">
              <a:extLst>
                <a:ext uri="{FF2B5EF4-FFF2-40B4-BE49-F238E27FC236}">
                  <a16:creationId xmlns:a16="http://schemas.microsoft.com/office/drawing/2014/main" id="{8CBB643F-F32C-4886-A96C-7D090B5F5D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57" y="282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89">
              <a:extLst>
                <a:ext uri="{FF2B5EF4-FFF2-40B4-BE49-F238E27FC236}">
                  <a16:creationId xmlns:a16="http://schemas.microsoft.com/office/drawing/2014/main" id="{D92D7A03-B71D-4215-B7CF-7E005690CB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9" y="282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90">
              <a:extLst>
                <a:ext uri="{FF2B5EF4-FFF2-40B4-BE49-F238E27FC236}">
                  <a16:creationId xmlns:a16="http://schemas.microsoft.com/office/drawing/2014/main" id="{13446F4C-947A-4E91-A39C-AA0C39790A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8" y="2926"/>
              <a:ext cx="299" cy="275"/>
            </a:xfrm>
            <a:custGeom>
              <a:avLst/>
              <a:gdLst>
                <a:gd name="T0" fmla="*/ 81 w 299"/>
                <a:gd name="T1" fmla="*/ 184 h 275"/>
                <a:gd name="T2" fmla="*/ 88 w 299"/>
                <a:gd name="T3" fmla="*/ 189 h 275"/>
                <a:gd name="T4" fmla="*/ 88 w 299"/>
                <a:gd name="T5" fmla="*/ 179 h 275"/>
                <a:gd name="T6" fmla="*/ 208 w 299"/>
                <a:gd name="T7" fmla="*/ 181 h 275"/>
                <a:gd name="T8" fmla="*/ 213 w 299"/>
                <a:gd name="T9" fmla="*/ 189 h 275"/>
                <a:gd name="T10" fmla="*/ 218 w 299"/>
                <a:gd name="T11" fmla="*/ 184 h 275"/>
                <a:gd name="T12" fmla="*/ 98 w 299"/>
                <a:gd name="T13" fmla="*/ 206 h 275"/>
                <a:gd name="T14" fmla="*/ 130 w 299"/>
                <a:gd name="T15" fmla="*/ 230 h 275"/>
                <a:gd name="T16" fmla="*/ 54 w 299"/>
                <a:gd name="T17" fmla="*/ 243 h 275"/>
                <a:gd name="T18" fmla="*/ 63 w 299"/>
                <a:gd name="T19" fmla="*/ 179 h 275"/>
                <a:gd name="T20" fmla="*/ 76 w 299"/>
                <a:gd name="T21" fmla="*/ 206 h 275"/>
                <a:gd name="T22" fmla="*/ 235 w 299"/>
                <a:gd name="T23" fmla="*/ 196 h 275"/>
                <a:gd name="T24" fmla="*/ 247 w 299"/>
                <a:gd name="T25" fmla="*/ 240 h 275"/>
                <a:gd name="T26" fmla="*/ 169 w 299"/>
                <a:gd name="T27" fmla="*/ 233 h 275"/>
                <a:gd name="T28" fmla="*/ 198 w 299"/>
                <a:gd name="T29" fmla="*/ 203 h 275"/>
                <a:gd name="T30" fmla="*/ 255 w 299"/>
                <a:gd name="T31" fmla="*/ 250 h 275"/>
                <a:gd name="T32" fmla="*/ 267 w 299"/>
                <a:gd name="T33" fmla="*/ 235 h 275"/>
                <a:gd name="T34" fmla="*/ 22 w 299"/>
                <a:gd name="T35" fmla="*/ 265 h 275"/>
                <a:gd name="T36" fmla="*/ 32 w 299"/>
                <a:gd name="T37" fmla="*/ 235 h 275"/>
                <a:gd name="T38" fmla="*/ 44 w 299"/>
                <a:gd name="T39" fmla="*/ 250 h 275"/>
                <a:gd name="T40" fmla="*/ 125 w 299"/>
                <a:gd name="T41" fmla="*/ 250 h 275"/>
                <a:gd name="T42" fmla="*/ 139 w 299"/>
                <a:gd name="T43" fmla="*/ 238 h 275"/>
                <a:gd name="T44" fmla="*/ 159 w 299"/>
                <a:gd name="T45" fmla="*/ 235 h 275"/>
                <a:gd name="T46" fmla="*/ 171 w 299"/>
                <a:gd name="T47" fmla="*/ 250 h 275"/>
                <a:gd name="T48" fmla="*/ 73 w 299"/>
                <a:gd name="T49" fmla="*/ 194 h 275"/>
                <a:gd name="T50" fmla="*/ 201 w 299"/>
                <a:gd name="T51" fmla="*/ 196 h 275"/>
                <a:gd name="T52" fmla="*/ 203 w 299"/>
                <a:gd name="T53" fmla="*/ 196 h 275"/>
                <a:gd name="T54" fmla="*/ 73 w 299"/>
                <a:gd name="T55" fmla="*/ 140 h 275"/>
                <a:gd name="T56" fmla="*/ 100 w 299"/>
                <a:gd name="T57" fmla="*/ 142 h 275"/>
                <a:gd name="T58" fmla="*/ 198 w 299"/>
                <a:gd name="T59" fmla="*/ 162 h 275"/>
                <a:gd name="T60" fmla="*/ 203 w 299"/>
                <a:gd name="T61" fmla="*/ 140 h 275"/>
                <a:gd name="T62" fmla="*/ 228 w 299"/>
                <a:gd name="T63" fmla="*/ 145 h 275"/>
                <a:gd name="T64" fmla="*/ 14 w 299"/>
                <a:gd name="T65" fmla="*/ 169 h 275"/>
                <a:gd name="T66" fmla="*/ 9 w 299"/>
                <a:gd name="T67" fmla="*/ 61 h 275"/>
                <a:gd name="T68" fmla="*/ 289 w 299"/>
                <a:gd name="T69" fmla="*/ 162 h 275"/>
                <a:gd name="T70" fmla="*/ 237 w 299"/>
                <a:gd name="T71" fmla="*/ 167 h 275"/>
                <a:gd name="T72" fmla="*/ 237 w 299"/>
                <a:gd name="T73" fmla="*/ 140 h 275"/>
                <a:gd name="T74" fmla="*/ 220 w 299"/>
                <a:gd name="T75" fmla="*/ 127 h 275"/>
                <a:gd name="T76" fmla="*/ 198 w 299"/>
                <a:gd name="T77" fmla="*/ 130 h 275"/>
                <a:gd name="T78" fmla="*/ 186 w 299"/>
                <a:gd name="T79" fmla="*/ 147 h 275"/>
                <a:gd name="T80" fmla="*/ 112 w 299"/>
                <a:gd name="T81" fmla="*/ 159 h 275"/>
                <a:gd name="T82" fmla="*/ 108 w 299"/>
                <a:gd name="T83" fmla="*/ 135 h 275"/>
                <a:gd name="T84" fmla="*/ 88 w 299"/>
                <a:gd name="T85" fmla="*/ 127 h 275"/>
                <a:gd name="T86" fmla="*/ 66 w 299"/>
                <a:gd name="T87" fmla="*/ 132 h 275"/>
                <a:gd name="T88" fmla="*/ 59 w 299"/>
                <a:gd name="T89" fmla="*/ 154 h 275"/>
                <a:gd name="T90" fmla="*/ 120 w 299"/>
                <a:gd name="T91" fmla="*/ 34 h 275"/>
                <a:gd name="T92" fmla="*/ 179 w 299"/>
                <a:gd name="T93" fmla="*/ 32 h 275"/>
                <a:gd name="T94" fmla="*/ 100 w 299"/>
                <a:gd name="T95" fmla="*/ 29 h 275"/>
                <a:gd name="T96" fmla="*/ 112 w 299"/>
                <a:gd name="T97" fmla="*/ 12 h 275"/>
                <a:gd name="T98" fmla="*/ 179 w 299"/>
                <a:gd name="T99" fmla="*/ 10 h 275"/>
                <a:gd name="T100" fmla="*/ 196 w 299"/>
                <a:gd name="T101" fmla="*/ 22 h 275"/>
                <a:gd name="T102" fmla="*/ 191 w 299"/>
                <a:gd name="T103" fmla="*/ 32 h 275"/>
                <a:gd name="T104" fmla="*/ 117 w 299"/>
                <a:gd name="T105" fmla="*/ 22 h 275"/>
                <a:gd name="T106" fmla="*/ 122 w 299"/>
                <a:gd name="T107" fmla="*/ 0 h 275"/>
                <a:gd name="T108" fmla="*/ 95 w 299"/>
                <a:gd name="T109" fmla="*/ 12 h 275"/>
                <a:gd name="T110" fmla="*/ 9 w 299"/>
                <a:gd name="T111" fmla="*/ 49 h 275"/>
                <a:gd name="T112" fmla="*/ 0 w 299"/>
                <a:gd name="T113" fmla="*/ 164 h 275"/>
                <a:gd name="T114" fmla="*/ 9 w 299"/>
                <a:gd name="T115" fmla="*/ 265 h 275"/>
                <a:gd name="T116" fmla="*/ 279 w 299"/>
                <a:gd name="T117" fmla="*/ 275 h 275"/>
                <a:gd name="T118" fmla="*/ 291 w 299"/>
                <a:gd name="T119" fmla="*/ 176 h 275"/>
                <a:gd name="T120" fmla="*/ 299 w 299"/>
                <a:gd name="T121" fmla="*/ 61 h 275"/>
                <a:gd name="T122" fmla="*/ 211 w 299"/>
                <a:gd name="T123" fmla="*/ 34 h 275"/>
                <a:gd name="T124" fmla="*/ 196 w 299"/>
                <a:gd name="T125" fmla="*/ 7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9" h="275">
                  <a:moveTo>
                    <a:pt x="85" y="179"/>
                  </a:moveTo>
                  <a:lnTo>
                    <a:pt x="85" y="179"/>
                  </a:lnTo>
                  <a:lnTo>
                    <a:pt x="85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90" y="186"/>
                  </a:lnTo>
                  <a:lnTo>
                    <a:pt x="90" y="186"/>
                  </a:lnTo>
                  <a:lnTo>
                    <a:pt x="90" y="186"/>
                  </a:lnTo>
                  <a:lnTo>
                    <a:pt x="90" y="186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close/>
                  <a:moveTo>
                    <a:pt x="213" y="179"/>
                  </a:moveTo>
                  <a:lnTo>
                    <a:pt x="213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1"/>
                  </a:lnTo>
                  <a:lnTo>
                    <a:pt x="208" y="181"/>
                  </a:lnTo>
                  <a:lnTo>
                    <a:pt x="208" y="181"/>
                  </a:lnTo>
                  <a:lnTo>
                    <a:pt x="208" y="181"/>
                  </a:lnTo>
                  <a:lnTo>
                    <a:pt x="208" y="181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8" y="189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76" y="206"/>
                  </a:moveTo>
                  <a:lnTo>
                    <a:pt x="95" y="206"/>
                  </a:lnTo>
                  <a:lnTo>
                    <a:pt x="98" y="206"/>
                  </a:lnTo>
                  <a:lnTo>
                    <a:pt x="98" y="206"/>
                  </a:lnTo>
                  <a:lnTo>
                    <a:pt x="98" y="206"/>
                  </a:lnTo>
                  <a:lnTo>
                    <a:pt x="100" y="206"/>
                  </a:lnTo>
                  <a:lnTo>
                    <a:pt x="100" y="203"/>
                  </a:lnTo>
                  <a:lnTo>
                    <a:pt x="103" y="203"/>
                  </a:lnTo>
                  <a:lnTo>
                    <a:pt x="103" y="203"/>
                  </a:lnTo>
                  <a:lnTo>
                    <a:pt x="105" y="203"/>
                  </a:lnTo>
                  <a:lnTo>
                    <a:pt x="105" y="201"/>
                  </a:lnTo>
                  <a:lnTo>
                    <a:pt x="105" y="201"/>
                  </a:lnTo>
                  <a:lnTo>
                    <a:pt x="105" y="199"/>
                  </a:lnTo>
                  <a:lnTo>
                    <a:pt x="108" y="199"/>
                  </a:lnTo>
                  <a:lnTo>
                    <a:pt x="108" y="199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08" y="194"/>
                  </a:lnTo>
                  <a:lnTo>
                    <a:pt x="108" y="179"/>
                  </a:lnTo>
                  <a:lnTo>
                    <a:pt x="130" y="179"/>
                  </a:lnTo>
                  <a:lnTo>
                    <a:pt x="130" y="228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3"/>
                  </a:lnTo>
                  <a:lnTo>
                    <a:pt x="130" y="233"/>
                  </a:lnTo>
                  <a:lnTo>
                    <a:pt x="130" y="235"/>
                  </a:lnTo>
                  <a:lnTo>
                    <a:pt x="127" y="235"/>
                  </a:lnTo>
                  <a:lnTo>
                    <a:pt x="127" y="238"/>
                  </a:lnTo>
                  <a:lnTo>
                    <a:pt x="127" y="238"/>
                  </a:lnTo>
                  <a:lnTo>
                    <a:pt x="125" y="238"/>
                  </a:lnTo>
                  <a:lnTo>
                    <a:pt x="125" y="240"/>
                  </a:lnTo>
                  <a:lnTo>
                    <a:pt x="122" y="240"/>
                  </a:lnTo>
                  <a:lnTo>
                    <a:pt x="122" y="240"/>
                  </a:lnTo>
                  <a:lnTo>
                    <a:pt x="120" y="240"/>
                  </a:lnTo>
                  <a:lnTo>
                    <a:pt x="120" y="243"/>
                  </a:lnTo>
                  <a:lnTo>
                    <a:pt x="117" y="243"/>
                  </a:lnTo>
                  <a:lnTo>
                    <a:pt x="117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1" y="243"/>
                  </a:lnTo>
                  <a:lnTo>
                    <a:pt x="51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6" y="240"/>
                  </a:lnTo>
                  <a:lnTo>
                    <a:pt x="46" y="238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5"/>
                  </a:lnTo>
                  <a:lnTo>
                    <a:pt x="41" y="235"/>
                  </a:lnTo>
                  <a:lnTo>
                    <a:pt x="41" y="233"/>
                  </a:lnTo>
                  <a:lnTo>
                    <a:pt x="41" y="233"/>
                  </a:lnTo>
                  <a:lnTo>
                    <a:pt x="41" y="230"/>
                  </a:lnTo>
                  <a:lnTo>
                    <a:pt x="41" y="230"/>
                  </a:lnTo>
                  <a:lnTo>
                    <a:pt x="41" y="228"/>
                  </a:lnTo>
                  <a:lnTo>
                    <a:pt x="41" y="179"/>
                  </a:lnTo>
                  <a:lnTo>
                    <a:pt x="63" y="179"/>
                  </a:lnTo>
                  <a:lnTo>
                    <a:pt x="63" y="194"/>
                  </a:lnTo>
                  <a:lnTo>
                    <a:pt x="63" y="196"/>
                  </a:lnTo>
                  <a:lnTo>
                    <a:pt x="63" y="196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66" y="201"/>
                  </a:lnTo>
                  <a:lnTo>
                    <a:pt x="66" y="201"/>
                  </a:lnTo>
                  <a:lnTo>
                    <a:pt x="66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3" y="206"/>
                  </a:lnTo>
                  <a:lnTo>
                    <a:pt x="73" y="206"/>
                  </a:lnTo>
                  <a:lnTo>
                    <a:pt x="76" y="206"/>
                  </a:lnTo>
                  <a:close/>
                  <a:moveTo>
                    <a:pt x="203" y="206"/>
                  </a:moveTo>
                  <a:lnTo>
                    <a:pt x="223" y="206"/>
                  </a:lnTo>
                  <a:lnTo>
                    <a:pt x="225" y="206"/>
                  </a:lnTo>
                  <a:lnTo>
                    <a:pt x="225" y="206"/>
                  </a:lnTo>
                  <a:lnTo>
                    <a:pt x="228" y="206"/>
                  </a:lnTo>
                  <a:lnTo>
                    <a:pt x="228" y="206"/>
                  </a:lnTo>
                  <a:lnTo>
                    <a:pt x="228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3" y="203"/>
                  </a:lnTo>
                  <a:lnTo>
                    <a:pt x="233" y="201"/>
                  </a:lnTo>
                  <a:lnTo>
                    <a:pt x="233" y="201"/>
                  </a:lnTo>
                  <a:lnTo>
                    <a:pt x="233" y="199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5" y="196"/>
                  </a:lnTo>
                  <a:lnTo>
                    <a:pt x="235" y="196"/>
                  </a:lnTo>
                  <a:lnTo>
                    <a:pt x="235" y="194"/>
                  </a:lnTo>
                  <a:lnTo>
                    <a:pt x="235" y="179"/>
                  </a:lnTo>
                  <a:lnTo>
                    <a:pt x="257" y="179"/>
                  </a:lnTo>
                  <a:lnTo>
                    <a:pt x="257" y="228"/>
                  </a:lnTo>
                  <a:lnTo>
                    <a:pt x="257" y="230"/>
                  </a:lnTo>
                  <a:lnTo>
                    <a:pt x="257" y="230"/>
                  </a:lnTo>
                  <a:lnTo>
                    <a:pt x="257" y="233"/>
                  </a:lnTo>
                  <a:lnTo>
                    <a:pt x="257" y="233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8"/>
                  </a:lnTo>
                  <a:lnTo>
                    <a:pt x="255" y="238"/>
                  </a:lnTo>
                  <a:lnTo>
                    <a:pt x="252" y="238"/>
                  </a:lnTo>
                  <a:lnTo>
                    <a:pt x="252" y="240"/>
                  </a:lnTo>
                  <a:lnTo>
                    <a:pt x="250" y="240"/>
                  </a:lnTo>
                  <a:lnTo>
                    <a:pt x="250" y="240"/>
                  </a:lnTo>
                  <a:lnTo>
                    <a:pt x="247" y="240"/>
                  </a:lnTo>
                  <a:lnTo>
                    <a:pt x="247" y="243"/>
                  </a:lnTo>
                  <a:lnTo>
                    <a:pt x="245" y="243"/>
                  </a:lnTo>
                  <a:lnTo>
                    <a:pt x="245" y="243"/>
                  </a:lnTo>
                  <a:lnTo>
                    <a:pt x="181" y="243"/>
                  </a:lnTo>
                  <a:lnTo>
                    <a:pt x="181" y="243"/>
                  </a:lnTo>
                  <a:lnTo>
                    <a:pt x="179" y="243"/>
                  </a:lnTo>
                  <a:lnTo>
                    <a:pt x="179" y="240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5"/>
                  </a:lnTo>
                  <a:lnTo>
                    <a:pt x="169" y="235"/>
                  </a:lnTo>
                  <a:lnTo>
                    <a:pt x="169" y="233"/>
                  </a:lnTo>
                  <a:lnTo>
                    <a:pt x="169" y="233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8"/>
                  </a:lnTo>
                  <a:lnTo>
                    <a:pt x="169" y="179"/>
                  </a:lnTo>
                  <a:lnTo>
                    <a:pt x="191" y="179"/>
                  </a:lnTo>
                  <a:lnTo>
                    <a:pt x="191" y="194"/>
                  </a:lnTo>
                  <a:lnTo>
                    <a:pt x="191" y="196"/>
                  </a:lnTo>
                  <a:lnTo>
                    <a:pt x="191" y="196"/>
                  </a:lnTo>
                  <a:lnTo>
                    <a:pt x="191" y="199"/>
                  </a:lnTo>
                  <a:lnTo>
                    <a:pt x="191" y="199"/>
                  </a:lnTo>
                  <a:lnTo>
                    <a:pt x="193" y="199"/>
                  </a:lnTo>
                  <a:lnTo>
                    <a:pt x="193" y="201"/>
                  </a:lnTo>
                  <a:lnTo>
                    <a:pt x="193" y="201"/>
                  </a:lnTo>
                  <a:lnTo>
                    <a:pt x="193" y="203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98" y="203"/>
                  </a:lnTo>
                  <a:lnTo>
                    <a:pt x="198" y="206"/>
                  </a:lnTo>
                  <a:lnTo>
                    <a:pt x="198" y="206"/>
                  </a:lnTo>
                  <a:lnTo>
                    <a:pt x="201" y="206"/>
                  </a:lnTo>
                  <a:lnTo>
                    <a:pt x="201" y="206"/>
                  </a:lnTo>
                  <a:lnTo>
                    <a:pt x="203" y="206"/>
                  </a:lnTo>
                  <a:close/>
                  <a:moveTo>
                    <a:pt x="181" y="252"/>
                  </a:moveTo>
                  <a:lnTo>
                    <a:pt x="245" y="252"/>
                  </a:lnTo>
                  <a:lnTo>
                    <a:pt x="245" y="252"/>
                  </a:lnTo>
                  <a:lnTo>
                    <a:pt x="247" y="252"/>
                  </a:lnTo>
                  <a:lnTo>
                    <a:pt x="247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2" y="250"/>
                  </a:lnTo>
                  <a:lnTo>
                    <a:pt x="252" y="250"/>
                  </a:lnTo>
                  <a:lnTo>
                    <a:pt x="255" y="250"/>
                  </a:lnTo>
                  <a:lnTo>
                    <a:pt x="255" y="250"/>
                  </a:lnTo>
                  <a:lnTo>
                    <a:pt x="255" y="250"/>
                  </a:lnTo>
                  <a:lnTo>
                    <a:pt x="257" y="248"/>
                  </a:lnTo>
                  <a:lnTo>
                    <a:pt x="257" y="248"/>
                  </a:lnTo>
                  <a:lnTo>
                    <a:pt x="260" y="248"/>
                  </a:lnTo>
                  <a:lnTo>
                    <a:pt x="260" y="248"/>
                  </a:lnTo>
                  <a:lnTo>
                    <a:pt x="260" y="245"/>
                  </a:lnTo>
                  <a:lnTo>
                    <a:pt x="262" y="245"/>
                  </a:lnTo>
                  <a:lnTo>
                    <a:pt x="262" y="245"/>
                  </a:lnTo>
                  <a:lnTo>
                    <a:pt x="262" y="243"/>
                  </a:lnTo>
                  <a:lnTo>
                    <a:pt x="264" y="243"/>
                  </a:lnTo>
                  <a:lnTo>
                    <a:pt x="264" y="243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5"/>
                  </a:lnTo>
                  <a:lnTo>
                    <a:pt x="267" y="235"/>
                  </a:lnTo>
                  <a:lnTo>
                    <a:pt x="267" y="233"/>
                  </a:lnTo>
                  <a:lnTo>
                    <a:pt x="267" y="233"/>
                  </a:lnTo>
                  <a:lnTo>
                    <a:pt x="269" y="230"/>
                  </a:lnTo>
                  <a:lnTo>
                    <a:pt x="269" y="230"/>
                  </a:lnTo>
                  <a:lnTo>
                    <a:pt x="269" y="228"/>
                  </a:lnTo>
                  <a:lnTo>
                    <a:pt x="269" y="179"/>
                  </a:lnTo>
                  <a:lnTo>
                    <a:pt x="279" y="179"/>
                  </a:lnTo>
                  <a:lnTo>
                    <a:pt x="279" y="262"/>
                  </a:lnTo>
                  <a:lnTo>
                    <a:pt x="279" y="262"/>
                  </a:lnTo>
                  <a:lnTo>
                    <a:pt x="279" y="262"/>
                  </a:lnTo>
                  <a:lnTo>
                    <a:pt x="279" y="265"/>
                  </a:lnTo>
                  <a:lnTo>
                    <a:pt x="279" y="265"/>
                  </a:lnTo>
                  <a:lnTo>
                    <a:pt x="277" y="265"/>
                  </a:lnTo>
                  <a:lnTo>
                    <a:pt x="277" y="265"/>
                  </a:lnTo>
                  <a:lnTo>
                    <a:pt x="277" y="265"/>
                  </a:lnTo>
                  <a:lnTo>
                    <a:pt x="277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179"/>
                  </a:lnTo>
                  <a:lnTo>
                    <a:pt x="29" y="179"/>
                  </a:lnTo>
                  <a:lnTo>
                    <a:pt x="29" y="228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32" y="233"/>
                  </a:lnTo>
                  <a:lnTo>
                    <a:pt x="32" y="233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4" y="240"/>
                  </a:lnTo>
                  <a:lnTo>
                    <a:pt x="34" y="240"/>
                  </a:lnTo>
                  <a:lnTo>
                    <a:pt x="34" y="243"/>
                  </a:lnTo>
                  <a:lnTo>
                    <a:pt x="34" y="243"/>
                  </a:lnTo>
                  <a:lnTo>
                    <a:pt x="36" y="243"/>
                  </a:lnTo>
                  <a:lnTo>
                    <a:pt x="36" y="245"/>
                  </a:lnTo>
                  <a:lnTo>
                    <a:pt x="36" y="245"/>
                  </a:lnTo>
                  <a:lnTo>
                    <a:pt x="39" y="245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41" y="248"/>
                  </a:lnTo>
                  <a:lnTo>
                    <a:pt x="41" y="248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6" y="250"/>
                  </a:lnTo>
                  <a:lnTo>
                    <a:pt x="49" y="252"/>
                  </a:lnTo>
                  <a:lnTo>
                    <a:pt x="49" y="252"/>
                  </a:lnTo>
                  <a:lnTo>
                    <a:pt x="51" y="252"/>
                  </a:lnTo>
                  <a:lnTo>
                    <a:pt x="51" y="252"/>
                  </a:lnTo>
                  <a:lnTo>
                    <a:pt x="54" y="252"/>
                  </a:lnTo>
                  <a:lnTo>
                    <a:pt x="54" y="252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20" y="252"/>
                  </a:lnTo>
                  <a:lnTo>
                    <a:pt x="120" y="252"/>
                  </a:lnTo>
                  <a:lnTo>
                    <a:pt x="122" y="252"/>
                  </a:lnTo>
                  <a:lnTo>
                    <a:pt x="122" y="252"/>
                  </a:lnTo>
                  <a:lnTo>
                    <a:pt x="125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7" y="250"/>
                  </a:lnTo>
                  <a:lnTo>
                    <a:pt x="127" y="250"/>
                  </a:lnTo>
                  <a:lnTo>
                    <a:pt x="130" y="248"/>
                  </a:lnTo>
                  <a:lnTo>
                    <a:pt x="130" y="248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32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37" y="238"/>
                  </a:lnTo>
                  <a:lnTo>
                    <a:pt x="139" y="238"/>
                  </a:lnTo>
                  <a:lnTo>
                    <a:pt x="139" y="238"/>
                  </a:lnTo>
                  <a:lnTo>
                    <a:pt x="139" y="235"/>
                  </a:lnTo>
                  <a:lnTo>
                    <a:pt x="139" y="235"/>
                  </a:lnTo>
                  <a:lnTo>
                    <a:pt x="139" y="233"/>
                  </a:lnTo>
                  <a:lnTo>
                    <a:pt x="139" y="233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9" y="228"/>
                  </a:lnTo>
                  <a:lnTo>
                    <a:pt x="139" y="179"/>
                  </a:lnTo>
                  <a:lnTo>
                    <a:pt x="159" y="179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3"/>
                  </a:lnTo>
                  <a:lnTo>
                    <a:pt x="159" y="233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8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40"/>
                  </a:lnTo>
                  <a:lnTo>
                    <a:pt x="161" y="240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4" y="243"/>
                  </a:lnTo>
                  <a:lnTo>
                    <a:pt x="164" y="245"/>
                  </a:lnTo>
                  <a:lnTo>
                    <a:pt x="164" y="245"/>
                  </a:lnTo>
                  <a:lnTo>
                    <a:pt x="166" y="245"/>
                  </a:lnTo>
                  <a:lnTo>
                    <a:pt x="166" y="248"/>
                  </a:lnTo>
                  <a:lnTo>
                    <a:pt x="166" y="248"/>
                  </a:lnTo>
                  <a:lnTo>
                    <a:pt x="169" y="248"/>
                  </a:lnTo>
                  <a:lnTo>
                    <a:pt x="169" y="248"/>
                  </a:lnTo>
                  <a:lnTo>
                    <a:pt x="171" y="250"/>
                  </a:lnTo>
                  <a:lnTo>
                    <a:pt x="171" y="250"/>
                  </a:lnTo>
                  <a:lnTo>
                    <a:pt x="171" y="250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79" y="252"/>
                  </a:lnTo>
                  <a:lnTo>
                    <a:pt x="179" y="252"/>
                  </a:lnTo>
                  <a:lnTo>
                    <a:pt x="181" y="252"/>
                  </a:lnTo>
                  <a:lnTo>
                    <a:pt x="181" y="252"/>
                  </a:lnTo>
                  <a:close/>
                  <a:moveTo>
                    <a:pt x="76" y="196"/>
                  </a:moveTo>
                  <a:lnTo>
                    <a:pt x="76" y="196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73" y="194"/>
                  </a:lnTo>
                  <a:lnTo>
                    <a:pt x="73" y="194"/>
                  </a:lnTo>
                  <a:lnTo>
                    <a:pt x="73" y="194"/>
                  </a:lnTo>
                  <a:lnTo>
                    <a:pt x="73" y="174"/>
                  </a:lnTo>
                  <a:lnTo>
                    <a:pt x="98" y="17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6"/>
                  </a:lnTo>
                  <a:lnTo>
                    <a:pt x="98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76" y="196"/>
                  </a:lnTo>
                  <a:lnTo>
                    <a:pt x="76" y="196"/>
                  </a:lnTo>
                  <a:close/>
                  <a:moveTo>
                    <a:pt x="203" y="196"/>
                  </a:moveTo>
                  <a:lnTo>
                    <a:pt x="203" y="196"/>
                  </a:lnTo>
                  <a:lnTo>
                    <a:pt x="203" y="196"/>
                  </a:lnTo>
                  <a:lnTo>
                    <a:pt x="201" y="196"/>
                  </a:lnTo>
                  <a:lnTo>
                    <a:pt x="201" y="196"/>
                  </a:lnTo>
                  <a:lnTo>
                    <a:pt x="201" y="194"/>
                  </a:lnTo>
                  <a:lnTo>
                    <a:pt x="201" y="194"/>
                  </a:lnTo>
                  <a:lnTo>
                    <a:pt x="201" y="194"/>
                  </a:lnTo>
                  <a:lnTo>
                    <a:pt x="201" y="174"/>
                  </a:lnTo>
                  <a:lnTo>
                    <a:pt x="225" y="174"/>
                  </a:lnTo>
                  <a:lnTo>
                    <a:pt x="225" y="194"/>
                  </a:lnTo>
                  <a:lnTo>
                    <a:pt x="225" y="194"/>
                  </a:lnTo>
                  <a:lnTo>
                    <a:pt x="225" y="194"/>
                  </a:lnTo>
                  <a:lnTo>
                    <a:pt x="225" y="196"/>
                  </a:lnTo>
                  <a:lnTo>
                    <a:pt x="225" y="196"/>
                  </a:lnTo>
                  <a:lnTo>
                    <a:pt x="225" y="196"/>
                  </a:lnTo>
                  <a:lnTo>
                    <a:pt x="223" y="196"/>
                  </a:lnTo>
                  <a:lnTo>
                    <a:pt x="223" y="196"/>
                  </a:lnTo>
                  <a:lnTo>
                    <a:pt x="223" y="196"/>
                  </a:lnTo>
                  <a:lnTo>
                    <a:pt x="203" y="196"/>
                  </a:lnTo>
                  <a:lnTo>
                    <a:pt x="203" y="196"/>
                  </a:lnTo>
                  <a:close/>
                  <a:moveTo>
                    <a:pt x="71" y="162"/>
                  </a:moveTo>
                  <a:lnTo>
                    <a:pt x="71" y="159"/>
                  </a:lnTo>
                  <a:lnTo>
                    <a:pt x="68" y="159"/>
                  </a:lnTo>
                  <a:lnTo>
                    <a:pt x="68" y="157"/>
                  </a:lnTo>
                  <a:lnTo>
                    <a:pt x="68" y="157"/>
                  </a:lnTo>
                  <a:lnTo>
                    <a:pt x="68" y="154"/>
                  </a:lnTo>
                  <a:lnTo>
                    <a:pt x="68" y="154"/>
                  </a:lnTo>
                  <a:lnTo>
                    <a:pt x="68" y="152"/>
                  </a:lnTo>
                  <a:lnTo>
                    <a:pt x="68" y="149"/>
                  </a:lnTo>
                  <a:lnTo>
                    <a:pt x="68" y="149"/>
                  </a:lnTo>
                  <a:lnTo>
                    <a:pt x="68" y="147"/>
                  </a:lnTo>
                  <a:lnTo>
                    <a:pt x="68" y="145"/>
                  </a:lnTo>
                  <a:lnTo>
                    <a:pt x="71" y="145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3" y="140"/>
                  </a:lnTo>
                  <a:lnTo>
                    <a:pt x="76" y="140"/>
                  </a:lnTo>
                  <a:lnTo>
                    <a:pt x="78" y="137"/>
                  </a:lnTo>
                  <a:lnTo>
                    <a:pt x="78" y="137"/>
                  </a:lnTo>
                  <a:lnTo>
                    <a:pt x="81" y="137"/>
                  </a:lnTo>
                  <a:lnTo>
                    <a:pt x="81" y="137"/>
                  </a:lnTo>
                  <a:lnTo>
                    <a:pt x="83" y="137"/>
                  </a:lnTo>
                  <a:lnTo>
                    <a:pt x="85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90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100" y="142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103" y="147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52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9"/>
                  </a:lnTo>
                  <a:lnTo>
                    <a:pt x="100" y="159"/>
                  </a:lnTo>
                  <a:lnTo>
                    <a:pt x="100" y="162"/>
                  </a:lnTo>
                  <a:lnTo>
                    <a:pt x="100" y="162"/>
                  </a:lnTo>
                  <a:lnTo>
                    <a:pt x="71" y="162"/>
                  </a:lnTo>
                  <a:lnTo>
                    <a:pt x="71" y="162"/>
                  </a:lnTo>
                  <a:close/>
                  <a:moveTo>
                    <a:pt x="198" y="162"/>
                  </a:moveTo>
                  <a:lnTo>
                    <a:pt x="198" y="159"/>
                  </a:lnTo>
                  <a:lnTo>
                    <a:pt x="196" y="159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6" y="154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49"/>
                  </a:lnTo>
                  <a:lnTo>
                    <a:pt x="196" y="149"/>
                  </a:lnTo>
                  <a:lnTo>
                    <a:pt x="196" y="147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6" y="137"/>
                  </a:lnTo>
                  <a:lnTo>
                    <a:pt x="206" y="137"/>
                  </a:lnTo>
                  <a:lnTo>
                    <a:pt x="208" y="137"/>
                  </a:lnTo>
                  <a:lnTo>
                    <a:pt x="211" y="137"/>
                  </a:lnTo>
                  <a:lnTo>
                    <a:pt x="211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20" y="137"/>
                  </a:lnTo>
                  <a:lnTo>
                    <a:pt x="220" y="137"/>
                  </a:lnTo>
                  <a:lnTo>
                    <a:pt x="223" y="140"/>
                  </a:lnTo>
                  <a:lnTo>
                    <a:pt x="225" y="140"/>
                  </a:lnTo>
                  <a:lnTo>
                    <a:pt x="225" y="140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8" y="145"/>
                  </a:lnTo>
                  <a:lnTo>
                    <a:pt x="230" y="145"/>
                  </a:lnTo>
                  <a:lnTo>
                    <a:pt x="230" y="147"/>
                  </a:lnTo>
                  <a:lnTo>
                    <a:pt x="230" y="149"/>
                  </a:lnTo>
                  <a:lnTo>
                    <a:pt x="230" y="149"/>
                  </a:lnTo>
                  <a:lnTo>
                    <a:pt x="230" y="152"/>
                  </a:lnTo>
                  <a:lnTo>
                    <a:pt x="230" y="154"/>
                  </a:lnTo>
                  <a:lnTo>
                    <a:pt x="230" y="154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9"/>
                  </a:lnTo>
                  <a:lnTo>
                    <a:pt x="228" y="159"/>
                  </a:lnTo>
                  <a:lnTo>
                    <a:pt x="228" y="162"/>
                  </a:lnTo>
                  <a:lnTo>
                    <a:pt x="228" y="162"/>
                  </a:lnTo>
                  <a:lnTo>
                    <a:pt x="198" y="162"/>
                  </a:lnTo>
                  <a:lnTo>
                    <a:pt x="198" y="162"/>
                  </a:lnTo>
                  <a:close/>
                  <a:moveTo>
                    <a:pt x="17" y="169"/>
                  </a:moveTo>
                  <a:lnTo>
                    <a:pt x="14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2" y="169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9" y="167"/>
                  </a:lnTo>
                  <a:lnTo>
                    <a:pt x="9" y="164"/>
                  </a:lnTo>
                  <a:lnTo>
                    <a:pt x="9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4" y="59"/>
                  </a:lnTo>
                  <a:lnTo>
                    <a:pt x="284" y="59"/>
                  </a:lnTo>
                  <a:lnTo>
                    <a:pt x="287" y="59"/>
                  </a:lnTo>
                  <a:lnTo>
                    <a:pt x="287" y="61"/>
                  </a:lnTo>
                  <a:lnTo>
                    <a:pt x="287" y="61"/>
                  </a:lnTo>
                  <a:lnTo>
                    <a:pt x="287" y="61"/>
                  </a:lnTo>
                  <a:lnTo>
                    <a:pt x="289" y="61"/>
                  </a:lnTo>
                  <a:lnTo>
                    <a:pt x="289" y="61"/>
                  </a:lnTo>
                  <a:lnTo>
                    <a:pt x="289" y="64"/>
                  </a:lnTo>
                  <a:lnTo>
                    <a:pt x="289" y="64"/>
                  </a:lnTo>
                  <a:lnTo>
                    <a:pt x="289" y="162"/>
                  </a:lnTo>
                  <a:lnTo>
                    <a:pt x="289" y="162"/>
                  </a:lnTo>
                  <a:lnTo>
                    <a:pt x="289" y="164"/>
                  </a:lnTo>
                  <a:lnTo>
                    <a:pt x="289" y="164"/>
                  </a:lnTo>
                  <a:lnTo>
                    <a:pt x="289" y="164"/>
                  </a:lnTo>
                  <a:lnTo>
                    <a:pt x="289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9"/>
                  </a:lnTo>
                  <a:lnTo>
                    <a:pt x="284" y="169"/>
                  </a:lnTo>
                  <a:lnTo>
                    <a:pt x="284" y="169"/>
                  </a:lnTo>
                  <a:lnTo>
                    <a:pt x="284" y="169"/>
                  </a:lnTo>
                  <a:lnTo>
                    <a:pt x="284" y="169"/>
                  </a:lnTo>
                  <a:lnTo>
                    <a:pt x="282" y="169"/>
                  </a:lnTo>
                  <a:lnTo>
                    <a:pt x="282" y="169"/>
                  </a:lnTo>
                  <a:lnTo>
                    <a:pt x="235" y="169"/>
                  </a:lnTo>
                  <a:lnTo>
                    <a:pt x="237" y="167"/>
                  </a:lnTo>
                  <a:lnTo>
                    <a:pt x="237" y="164"/>
                  </a:lnTo>
                  <a:lnTo>
                    <a:pt x="237" y="164"/>
                  </a:lnTo>
                  <a:lnTo>
                    <a:pt x="240" y="162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4"/>
                  </a:lnTo>
                  <a:lnTo>
                    <a:pt x="240" y="152"/>
                  </a:lnTo>
                  <a:lnTo>
                    <a:pt x="240" y="149"/>
                  </a:lnTo>
                  <a:lnTo>
                    <a:pt x="240" y="149"/>
                  </a:lnTo>
                  <a:lnTo>
                    <a:pt x="240" y="147"/>
                  </a:lnTo>
                  <a:lnTo>
                    <a:pt x="240" y="147"/>
                  </a:lnTo>
                  <a:lnTo>
                    <a:pt x="240" y="145"/>
                  </a:lnTo>
                  <a:lnTo>
                    <a:pt x="240" y="145"/>
                  </a:lnTo>
                  <a:lnTo>
                    <a:pt x="240" y="142"/>
                  </a:lnTo>
                  <a:lnTo>
                    <a:pt x="237" y="142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5" y="135"/>
                  </a:lnTo>
                  <a:lnTo>
                    <a:pt x="233" y="135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0" y="132"/>
                  </a:lnTo>
                  <a:lnTo>
                    <a:pt x="230" y="130"/>
                  </a:lnTo>
                  <a:lnTo>
                    <a:pt x="228" y="130"/>
                  </a:lnTo>
                  <a:lnTo>
                    <a:pt x="228" y="130"/>
                  </a:lnTo>
                  <a:lnTo>
                    <a:pt x="225" y="130"/>
                  </a:lnTo>
                  <a:lnTo>
                    <a:pt x="225" y="130"/>
                  </a:lnTo>
                  <a:lnTo>
                    <a:pt x="223" y="127"/>
                  </a:lnTo>
                  <a:lnTo>
                    <a:pt x="223" y="127"/>
                  </a:lnTo>
                  <a:lnTo>
                    <a:pt x="220" y="127"/>
                  </a:lnTo>
                  <a:lnTo>
                    <a:pt x="220" y="127"/>
                  </a:lnTo>
                  <a:lnTo>
                    <a:pt x="218" y="127"/>
                  </a:lnTo>
                  <a:lnTo>
                    <a:pt x="218" y="127"/>
                  </a:lnTo>
                  <a:lnTo>
                    <a:pt x="215" y="127"/>
                  </a:lnTo>
                  <a:lnTo>
                    <a:pt x="215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6" y="127"/>
                  </a:lnTo>
                  <a:lnTo>
                    <a:pt x="206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1" y="130"/>
                  </a:lnTo>
                  <a:lnTo>
                    <a:pt x="201" y="130"/>
                  </a:lnTo>
                  <a:lnTo>
                    <a:pt x="198" y="130"/>
                  </a:lnTo>
                  <a:lnTo>
                    <a:pt x="198" y="130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3" y="132"/>
                  </a:lnTo>
                  <a:lnTo>
                    <a:pt x="193" y="132"/>
                  </a:lnTo>
                  <a:lnTo>
                    <a:pt x="193" y="135"/>
                  </a:lnTo>
                  <a:lnTo>
                    <a:pt x="191" y="135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88" y="137"/>
                  </a:lnTo>
                  <a:lnTo>
                    <a:pt x="188" y="140"/>
                  </a:lnTo>
                  <a:lnTo>
                    <a:pt x="188" y="140"/>
                  </a:lnTo>
                  <a:lnTo>
                    <a:pt x="188" y="142"/>
                  </a:lnTo>
                  <a:lnTo>
                    <a:pt x="186" y="142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7"/>
                  </a:lnTo>
                  <a:lnTo>
                    <a:pt x="186" y="159"/>
                  </a:lnTo>
                  <a:lnTo>
                    <a:pt x="186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7"/>
                  </a:lnTo>
                  <a:lnTo>
                    <a:pt x="191" y="169"/>
                  </a:lnTo>
                  <a:lnTo>
                    <a:pt x="108" y="169"/>
                  </a:lnTo>
                  <a:lnTo>
                    <a:pt x="110" y="167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2" y="162"/>
                  </a:lnTo>
                  <a:lnTo>
                    <a:pt x="112" y="159"/>
                  </a:lnTo>
                  <a:lnTo>
                    <a:pt x="112" y="157"/>
                  </a:lnTo>
                  <a:lnTo>
                    <a:pt x="112" y="154"/>
                  </a:lnTo>
                  <a:lnTo>
                    <a:pt x="112" y="152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7"/>
                  </a:lnTo>
                  <a:lnTo>
                    <a:pt x="112" y="147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2" y="142"/>
                  </a:lnTo>
                  <a:lnTo>
                    <a:pt x="110" y="142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0" y="137"/>
                  </a:lnTo>
                  <a:lnTo>
                    <a:pt x="108" y="137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3" y="132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5" y="127"/>
                  </a:lnTo>
                  <a:lnTo>
                    <a:pt x="83" y="127"/>
                  </a:lnTo>
                  <a:lnTo>
                    <a:pt x="83" y="127"/>
                  </a:lnTo>
                  <a:lnTo>
                    <a:pt x="81" y="127"/>
                  </a:lnTo>
                  <a:lnTo>
                    <a:pt x="81" y="127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68" y="130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6" y="135"/>
                  </a:lnTo>
                  <a:lnTo>
                    <a:pt x="63" y="135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1" y="137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59" y="149"/>
                  </a:lnTo>
                  <a:lnTo>
                    <a:pt x="59" y="152"/>
                  </a:lnTo>
                  <a:lnTo>
                    <a:pt x="59" y="154"/>
                  </a:lnTo>
                  <a:lnTo>
                    <a:pt x="59" y="157"/>
                  </a:lnTo>
                  <a:lnTo>
                    <a:pt x="59" y="159"/>
                  </a:lnTo>
                  <a:lnTo>
                    <a:pt x="59" y="162"/>
                  </a:lnTo>
                  <a:lnTo>
                    <a:pt x="61" y="164"/>
                  </a:lnTo>
                  <a:lnTo>
                    <a:pt x="61" y="164"/>
                  </a:lnTo>
                  <a:lnTo>
                    <a:pt x="61" y="167"/>
                  </a:lnTo>
                  <a:lnTo>
                    <a:pt x="63" y="169"/>
                  </a:lnTo>
                  <a:lnTo>
                    <a:pt x="17" y="169"/>
                  </a:lnTo>
                  <a:lnTo>
                    <a:pt x="17" y="169"/>
                  </a:lnTo>
                  <a:close/>
                  <a:moveTo>
                    <a:pt x="117" y="37"/>
                  </a:moveTo>
                  <a:lnTo>
                    <a:pt x="117" y="37"/>
                  </a:lnTo>
                  <a:lnTo>
                    <a:pt x="117" y="37"/>
                  </a:lnTo>
                  <a:lnTo>
                    <a:pt x="117" y="37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74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81" y="34"/>
                  </a:lnTo>
                  <a:lnTo>
                    <a:pt x="181" y="34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81" y="49"/>
                  </a:lnTo>
                  <a:lnTo>
                    <a:pt x="117" y="49"/>
                  </a:lnTo>
                  <a:lnTo>
                    <a:pt x="117" y="37"/>
                  </a:lnTo>
                  <a:close/>
                  <a:moveTo>
                    <a:pt x="100" y="37"/>
                  </a:moveTo>
                  <a:lnTo>
                    <a:pt x="100" y="34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4"/>
                  </a:lnTo>
                  <a:lnTo>
                    <a:pt x="103" y="24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17"/>
                  </a:lnTo>
                  <a:lnTo>
                    <a:pt x="108" y="17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0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22" y="10"/>
                  </a:lnTo>
                  <a:lnTo>
                    <a:pt x="125" y="10"/>
                  </a:lnTo>
                  <a:lnTo>
                    <a:pt x="127" y="10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81" y="10"/>
                  </a:lnTo>
                  <a:lnTo>
                    <a:pt x="181" y="10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86" y="12"/>
                  </a:lnTo>
                  <a:lnTo>
                    <a:pt x="186" y="12"/>
                  </a:lnTo>
                  <a:lnTo>
                    <a:pt x="188" y="15"/>
                  </a:lnTo>
                  <a:lnTo>
                    <a:pt x="188" y="15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1" y="17"/>
                  </a:lnTo>
                  <a:lnTo>
                    <a:pt x="193" y="17"/>
                  </a:lnTo>
                  <a:lnTo>
                    <a:pt x="193" y="20"/>
                  </a:lnTo>
                  <a:lnTo>
                    <a:pt x="193" y="20"/>
                  </a:lnTo>
                  <a:lnTo>
                    <a:pt x="196" y="20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6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198" y="27"/>
                  </a:lnTo>
                  <a:lnTo>
                    <a:pt x="198" y="29"/>
                  </a:lnTo>
                  <a:lnTo>
                    <a:pt x="198" y="29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4"/>
                  </a:lnTo>
                  <a:lnTo>
                    <a:pt x="198" y="37"/>
                  </a:lnTo>
                  <a:lnTo>
                    <a:pt x="198" y="49"/>
                  </a:lnTo>
                  <a:lnTo>
                    <a:pt x="191" y="49"/>
                  </a:lnTo>
                  <a:lnTo>
                    <a:pt x="191" y="37"/>
                  </a:lnTo>
                  <a:lnTo>
                    <a:pt x="191" y="37"/>
                  </a:lnTo>
                  <a:lnTo>
                    <a:pt x="191" y="34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88" y="29"/>
                  </a:lnTo>
                  <a:lnTo>
                    <a:pt x="188" y="29"/>
                  </a:lnTo>
                  <a:lnTo>
                    <a:pt x="188" y="27"/>
                  </a:lnTo>
                  <a:lnTo>
                    <a:pt x="186" y="27"/>
                  </a:lnTo>
                  <a:lnTo>
                    <a:pt x="186" y="24"/>
                  </a:lnTo>
                  <a:lnTo>
                    <a:pt x="184" y="24"/>
                  </a:lnTo>
                  <a:lnTo>
                    <a:pt x="184" y="22"/>
                  </a:lnTo>
                  <a:lnTo>
                    <a:pt x="181" y="22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6" y="22"/>
                  </a:lnTo>
                  <a:lnTo>
                    <a:pt x="174" y="22"/>
                  </a:lnTo>
                  <a:lnTo>
                    <a:pt x="125" y="22"/>
                  </a:lnTo>
                  <a:lnTo>
                    <a:pt x="122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17" y="22"/>
                  </a:lnTo>
                  <a:lnTo>
                    <a:pt x="115" y="22"/>
                  </a:lnTo>
                  <a:lnTo>
                    <a:pt x="115" y="24"/>
                  </a:lnTo>
                  <a:lnTo>
                    <a:pt x="112" y="24"/>
                  </a:lnTo>
                  <a:lnTo>
                    <a:pt x="112" y="27"/>
                  </a:lnTo>
                  <a:lnTo>
                    <a:pt x="110" y="27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8" y="49"/>
                  </a:lnTo>
                  <a:lnTo>
                    <a:pt x="100" y="49"/>
                  </a:lnTo>
                  <a:lnTo>
                    <a:pt x="100" y="37"/>
                  </a:lnTo>
                  <a:close/>
                  <a:moveTo>
                    <a:pt x="125" y="0"/>
                  </a:moveTo>
                  <a:lnTo>
                    <a:pt x="122" y="0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8" y="2"/>
                  </a:lnTo>
                  <a:lnTo>
                    <a:pt x="108" y="5"/>
                  </a:lnTo>
                  <a:lnTo>
                    <a:pt x="105" y="5"/>
                  </a:lnTo>
                  <a:lnTo>
                    <a:pt x="103" y="5"/>
                  </a:lnTo>
                  <a:lnTo>
                    <a:pt x="103" y="7"/>
                  </a:lnTo>
                  <a:lnTo>
                    <a:pt x="100" y="7"/>
                  </a:lnTo>
                  <a:lnTo>
                    <a:pt x="100" y="10"/>
                  </a:lnTo>
                  <a:lnTo>
                    <a:pt x="98" y="10"/>
                  </a:lnTo>
                  <a:lnTo>
                    <a:pt x="98" y="12"/>
                  </a:lnTo>
                  <a:lnTo>
                    <a:pt x="95" y="12"/>
                  </a:lnTo>
                  <a:lnTo>
                    <a:pt x="95" y="15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20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88" y="32"/>
                  </a:lnTo>
                  <a:lnTo>
                    <a:pt x="88" y="34"/>
                  </a:lnTo>
                  <a:lnTo>
                    <a:pt x="88" y="37"/>
                  </a:lnTo>
                  <a:lnTo>
                    <a:pt x="88" y="49"/>
                  </a:lnTo>
                  <a:lnTo>
                    <a:pt x="14" y="49"/>
                  </a:lnTo>
                  <a:lnTo>
                    <a:pt x="12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5" y="51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69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6"/>
                  </a:lnTo>
                  <a:lnTo>
                    <a:pt x="7" y="176"/>
                  </a:lnTo>
                  <a:lnTo>
                    <a:pt x="7" y="176"/>
                  </a:lnTo>
                  <a:lnTo>
                    <a:pt x="9" y="176"/>
                  </a:lnTo>
                  <a:lnTo>
                    <a:pt x="9" y="262"/>
                  </a:lnTo>
                  <a:lnTo>
                    <a:pt x="9" y="262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9" y="267"/>
                  </a:lnTo>
                  <a:lnTo>
                    <a:pt x="9" y="267"/>
                  </a:lnTo>
                  <a:lnTo>
                    <a:pt x="12" y="270"/>
                  </a:lnTo>
                  <a:lnTo>
                    <a:pt x="12" y="270"/>
                  </a:lnTo>
                  <a:lnTo>
                    <a:pt x="12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9" y="275"/>
                  </a:lnTo>
                  <a:lnTo>
                    <a:pt x="19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77" y="275"/>
                  </a:lnTo>
                  <a:lnTo>
                    <a:pt x="277" y="275"/>
                  </a:lnTo>
                  <a:lnTo>
                    <a:pt x="279" y="275"/>
                  </a:lnTo>
                  <a:lnTo>
                    <a:pt x="279" y="275"/>
                  </a:lnTo>
                  <a:lnTo>
                    <a:pt x="282" y="275"/>
                  </a:lnTo>
                  <a:lnTo>
                    <a:pt x="282" y="275"/>
                  </a:lnTo>
                  <a:lnTo>
                    <a:pt x="284" y="272"/>
                  </a:lnTo>
                  <a:lnTo>
                    <a:pt x="284" y="272"/>
                  </a:lnTo>
                  <a:lnTo>
                    <a:pt x="287" y="272"/>
                  </a:lnTo>
                  <a:lnTo>
                    <a:pt x="287" y="270"/>
                  </a:lnTo>
                  <a:lnTo>
                    <a:pt x="287" y="270"/>
                  </a:lnTo>
                  <a:lnTo>
                    <a:pt x="289" y="267"/>
                  </a:lnTo>
                  <a:lnTo>
                    <a:pt x="289" y="267"/>
                  </a:lnTo>
                  <a:lnTo>
                    <a:pt x="289" y="265"/>
                  </a:lnTo>
                  <a:lnTo>
                    <a:pt x="289" y="265"/>
                  </a:lnTo>
                  <a:lnTo>
                    <a:pt x="289" y="262"/>
                  </a:lnTo>
                  <a:lnTo>
                    <a:pt x="289" y="262"/>
                  </a:lnTo>
                  <a:lnTo>
                    <a:pt x="289" y="176"/>
                  </a:lnTo>
                  <a:lnTo>
                    <a:pt x="291" y="176"/>
                  </a:lnTo>
                  <a:lnTo>
                    <a:pt x="291" y="176"/>
                  </a:lnTo>
                  <a:lnTo>
                    <a:pt x="294" y="176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6" y="174"/>
                  </a:lnTo>
                  <a:lnTo>
                    <a:pt x="296" y="172"/>
                  </a:lnTo>
                  <a:lnTo>
                    <a:pt x="296" y="172"/>
                  </a:lnTo>
                  <a:lnTo>
                    <a:pt x="296" y="169"/>
                  </a:lnTo>
                  <a:lnTo>
                    <a:pt x="299" y="169"/>
                  </a:lnTo>
                  <a:lnTo>
                    <a:pt x="299" y="169"/>
                  </a:lnTo>
                  <a:lnTo>
                    <a:pt x="299" y="167"/>
                  </a:lnTo>
                  <a:lnTo>
                    <a:pt x="299" y="167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2"/>
                  </a:lnTo>
                  <a:lnTo>
                    <a:pt x="299" y="64"/>
                  </a:lnTo>
                  <a:lnTo>
                    <a:pt x="299" y="61"/>
                  </a:lnTo>
                  <a:lnTo>
                    <a:pt x="299" y="61"/>
                  </a:lnTo>
                  <a:lnTo>
                    <a:pt x="299" y="59"/>
                  </a:lnTo>
                  <a:lnTo>
                    <a:pt x="299" y="59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6" y="54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4" y="51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89" y="49"/>
                  </a:lnTo>
                  <a:lnTo>
                    <a:pt x="289" y="49"/>
                  </a:lnTo>
                  <a:lnTo>
                    <a:pt x="287" y="49"/>
                  </a:lnTo>
                  <a:lnTo>
                    <a:pt x="284" y="49"/>
                  </a:lnTo>
                  <a:lnTo>
                    <a:pt x="211" y="49"/>
                  </a:lnTo>
                  <a:lnTo>
                    <a:pt x="211" y="37"/>
                  </a:lnTo>
                  <a:lnTo>
                    <a:pt x="211" y="34"/>
                  </a:lnTo>
                  <a:lnTo>
                    <a:pt x="211" y="32"/>
                  </a:lnTo>
                  <a:lnTo>
                    <a:pt x="208" y="29"/>
                  </a:lnTo>
                  <a:lnTo>
                    <a:pt x="208" y="27"/>
                  </a:lnTo>
                  <a:lnTo>
                    <a:pt x="208" y="27"/>
                  </a:lnTo>
                  <a:lnTo>
                    <a:pt x="208" y="24"/>
                  </a:lnTo>
                  <a:lnTo>
                    <a:pt x="208" y="22"/>
                  </a:lnTo>
                  <a:lnTo>
                    <a:pt x="206" y="22"/>
                  </a:lnTo>
                  <a:lnTo>
                    <a:pt x="206" y="20"/>
                  </a:lnTo>
                  <a:lnTo>
                    <a:pt x="206" y="17"/>
                  </a:lnTo>
                  <a:lnTo>
                    <a:pt x="203" y="17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1" y="12"/>
                  </a:lnTo>
                  <a:lnTo>
                    <a:pt x="201" y="10"/>
                  </a:lnTo>
                  <a:lnTo>
                    <a:pt x="198" y="10"/>
                  </a:lnTo>
                  <a:lnTo>
                    <a:pt x="198" y="7"/>
                  </a:lnTo>
                  <a:lnTo>
                    <a:pt x="196" y="7"/>
                  </a:lnTo>
                  <a:lnTo>
                    <a:pt x="196" y="5"/>
                  </a:lnTo>
                  <a:lnTo>
                    <a:pt x="193" y="5"/>
                  </a:lnTo>
                  <a:lnTo>
                    <a:pt x="191" y="5"/>
                  </a:lnTo>
                  <a:lnTo>
                    <a:pt x="191" y="2"/>
                  </a:lnTo>
                  <a:lnTo>
                    <a:pt x="188" y="2"/>
                  </a:lnTo>
                  <a:lnTo>
                    <a:pt x="186" y="2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193">
            <a:extLst>
              <a:ext uri="{FF2B5EF4-FFF2-40B4-BE49-F238E27FC236}">
                <a16:creationId xmlns:a16="http://schemas.microsoft.com/office/drawing/2014/main" id="{B59B135E-1C3F-4124-A383-887B5247CE0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9304" y="4099910"/>
            <a:ext cx="841375" cy="841375"/>
            <a:chOff x="1603" y="2614"/>
            <a:chExt cx="530" cy="530"/>
          </a:xfrm>
        </p:grpSpPr>
        <p:sp>
          <p:nvSpPr>
            <p:cNvPr id="222" name="AutoShape 192">
              <a:extLst>
                <a:ext uri="{FF2B5EF4-FFF2-40B4-BE49-F238E27FC236}">
                  <a16:creationId xmlns:a16="http://schemas.microsoft.com/office/drawing/2014/main" id="{E9A21249-59E3-4518-A6BA-55F6CBADE0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03" y="261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Oval 194">
              <a:extLst>
                <a:ext uri="{FF2B5EF4-FFF2-40B4-BE49-F238E27FC236}">
                  <a16:creationId xmlns:a16="http://schemas.microsoft.com/office/drawing/2014/main" id="{5BEDA128-1058-4B61-A990-76524137C5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3" y="261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95">
              <a:extLst>
                <a:ext uri="{FF2B5EF4-FFF2-40B4-BE49-F238E27FC236}">
                  <a16:creationId xmlns:a16="http://schemas.microsoft.com/office/drawing/2014/main" id="{83737764-000B-47E5-97F7-1268401DE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1" y="263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96">
              <a:extLst>
                <a:ext uri="{FF2B5EF4-FFF2-40B4-BE49-F238E27FC236}">
                  <a16:creationId xmlns:a16="http://schemas.microsoft.com/office/drawing/2014/main" id="{DC30DF55-3B4C-48D7-BF2F-9007FD8C7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3" y="2737"/>
              <a:ext cx="312" cy="287"/>
            </a:xfrm>
            <a:custGeom>
              <a:avLst/>
              <a:gdLst>
                <a:gd name="T0" fmla="*/ 84 w 312"/>
                <a:gd name="T1" fmla="*/ 192 h 287"/>
                <a:gd name="T2" fmla="*/ 92 w 312"/>
                <a:gd name="T3" fmla="*/ 197 h 287"/>
                <a:gd name="T4" fmla="*/ 92 w 312"/>
                <a:gd name="T5" fmla="*/ 187 h 287"/>
                <a:gd name="T6" fmla="*/ 218 w 312"/>
                <a:gd name="T7" fmla="*/ 189 h 287"/>
                <a:gd name="T8" fmla="*/ 223 w 312"/>
                <a:gd name="T9" fmla="*/ 197 h 287"/>
                <a:gd name="T10" fmla="*/ 228 w 312"/>
                <a:gd name="T11" fmla="*/ 192 h 287"/>
                <a:gd name="T12" fmla="*/ 102 w 312"/>
                <a:gd name="T13" fmla="*/ 215 h 287"/>
                <a:gd name="T14" fmla="*/ 136 w 312"/>
                <a:gd name="T15" fmla="*/ 240 h 287"/>
                <a:gd name="T16" fmla="*/ 56 w 312"/>
                <a:gd name="T17" fmla="*/ 253 h 287"/>
                <a:gd name="T18" fmla="*/ 67 w 312"/>
                <a:gd name="T19" fmla="*/ 187 h 287"/>
                <a:gd name="T20" fmla="*/ 79 w 312"/>
                <a:gd name="T21" fmla="*/ 215 h 287"/>
                <a:gd name="T22" fmla="*/ 246 w 312"/>
                <a:gd name="T23" fmla="*/ 205 h 287"/>
                <a:gd name="T24" fmla="*/ 259 w 312"/>
                <a:gd name="T25" fmla="*/ 251 h 287"/>
                <a:gd name="T26" fmla="*/ 177 w 312"/>
                <a:gd name="T27" fmla="*/ 243 h 287"/>
                <a:gd name="T28" fmla="*/ 207 w 312"/>
                <a:gd name="T29" fmla="*/ 212 h 287"/>
                <a:gd name="T30" fmla="*/ 266 w 312"/>
                <a:gd name="T31" fmla="*/ 261 h 287"/>
                <a:gd name="T32" fmla="*/ 279 w 312"/>
                <a:gd name="T33" fmla="*/ 246 h 287"/>
                <a:gd name="T34" fmla="*/ 23 w 312"/>
                <a:gd name="T35" fmla="*/ 276 h 287"/>
                <a:gd name="T36" fmla="*/ 33 w 312"/>
                <a:gd name="T37" fmla="*/ 246 h 287"/>
                <a:gd name="T38" fmla="*/ 46 w 312"/>
                <a:gd name="T39" fmla="*/ 261 h 287"/>
                <a:gd name="T40" fmla="*/ 131 w 312"/>
                <a:gd name="T41" fmla="*/ 261 h 287"/>
                <a:gd name="T42" fmla="*/ 146 w 312"/>
                <a:gd name="T43" fmla="*/ 248 h 287"/>
                <a:gd name="T44" fmla="*/ 166 w 312"/>
                <a:gd name="T45" fmla="*/ 246 h 287"/>
                <a:gd name="T46" fmla="*/ 179 w 312"/>
                <a:gd name="T47" fmla="*/ 261 h 287"/>
                <a:gd name="T48" fmla="*/ 77 w 312"/>
                <a:gd name="T49" fmla="*/ 202 h 287"/>
                <a:gd name="T50" fmla="*/ 210 w 312"/>
                <a:gd name="T51" fmla="*/ 205 h 287"/>
                <a:gd name="T52" fmla="*/ 213 w 312"/>
                <a:gd name="T53" fmla="*/ 205 h 287"/>
                <a:gd name="T54" fmla="*/ 77 w 312"/>
                <a:gd name="T55" fmla="*/ 146 h 287"/>
                <a:gd name="T56" fmla="*/ 105 w 312"/>
                <a:gd name="T57" fmla="*/ 148 h 287"/>
                <a:gd name="T58" fmla="*/ 207 w 312"/>
                <a:gd name="T59" fmla="*/ 169 h 287"/>
                <a:gd name="T60" fmla="*/ 213 w 312"/>
                <a:gd name="T61" fmla="*/ 146 h 287"/>
                <a:gd name="T62" fmla="*/ 238 w 312"/>
                <a:gd name="T63" fmla="*/ 151 h 287"/>
                <a:gd name="T64" fmla="*/ 15 w 312"/>
                <a:gd name="T65" fmla="*/ 176 h 287"/>
                <a:gd name="T66" fmla="*/ 10 w 312"/>
                <a:gd name="T67" fmla="*/ 64 h 287"/>
                <a:gd name="T68" fmla="*/ 302 w 312"/>
                <a:gd name="T69" fmla="*/ 169 h 287"/>
                <a:gd name="T70" fmla="*/ 248 w 312"/>
                <a:gd name="T71" fmla="*/ 174 h 287"/>
                <a:gd name="T72" fmla="*/ 248 w 312"/>
                <a:gd name="T73" fmla="*/ 146 h 287"/>
                <a:gd name="T74" fmla="*/ 230 w 312"/>
                <a:gd name="T75" fmla="*/ 133 h 287"/>
                <a:gd name="T76" fmla="*/ 207 w 312"/>
                <a:gd name="T77" fmla="*/ 135 h 287"/>
                <a:gd name="T78" fmla="*/ 195 w 312"/>
                <a:gd name="T79" fmla="*/ 153 h 287"/>
                <a:gd name="T80" fmla="*/ 118 w 312"/>
                <a:gd name="T81" fmla="*/ 166 h 287"/>
                <a:gd name="T82" fmla="*/ 113 w 312"/>
                <a:gd name="T83" fmla="*/ 141 h 287"/>
                <a:gd name="T84" fmla="*/ 92 w 312"/>
                <a:gd name="T85" fmla="*/ 133 h 287"/>
                <a:gd name="T86" fmla="*/ 69 w 312"/>
                <a:gd name="T87" fmla="*/ 138 h 287"/>
                <a:gd name="T88" fmla="*/ 61 w 312"/>
                <a:gd name="T89" fmla="*/ 161 h 287"/>
                <a:gd name="T90" fmla="*/ 125 w 312"/>
                <a:gd name="T91" fmla="*/ 36 h 287"/>
                <a:gd name="T92" fmla="*/ 187 w 312"/>
                <a:gd name="T93" fmla="*/ 33 h 287"/>
                <a:gd name="T94" fmla="*/ 105 w 312"/>
                <a:gd name="T95" fmla="*/ 31 h 287"/>
                <a:gd name="T96" fmla="*/ 118 w 312"/>
                <a:gd name="T97" fmla="*/ 13 h 287"/>
                <a:gd name="T98" fmla="*/ 187 w 312"/>
                <a:gd name="T99" fmla="*/ 10 h 287"/>
                <a:gd name="T100" fmla="*/ 205 w 312"/>
                <a:gd name="T101" fmla="*/ 23 h 287"/>
                <a:gd name="T102" fmla="*/ 200 w 312"/>
                <a:gd name="T103" fmla="*/ 33 h 287"/>
                <a:gd name="T104" fmla="*/ 123 w 312"/>
                <a:gd name="T105" fmla="*/ 23 h 287"/>
                <a:gd name="T106" fmla="*/ 128 w 312"/>
                <a:gd name="T107" fmla="*/ 0 h 287"/>
                <a:gd name="T108" fmla="*/ 100 w 312"/>
                <a:gd name="T109" fmla="*/ 13 h 287"/>
                <a:gd name="T110" fmla="*/ 10 w 312"/>
                <a:gd name="T111" fmla="*/ 51 h 287"/>
                <a:gd name="T112" fmla="*/ 0 w 312"/>
                <a:gd name="T113" fmla="*/ 171 h 287"/>
                <a:gd name="T114" fmla="*/ 10 w 312"/>
                <a:gd name="T115" fmla="*/ 276 h 287"/>
                <a:gd name="T116" fmla="*/ 292 w 312"/>
                <a:gd name="T117" fmla="*/ 287 h 287"/>
                <a:gd name="T118" fmla="*/ 305 w 312"/>
                <a:gd name="T119" fmla="*/ 184 h 287"/>
                <a:gd name="T120" fmla="*/ 312 w 312"/>
                <a:gd name="T121" fmla="*/ 64 h 287"/>
                <a:gd name="T122" fmla="*/ 220 w 312"/>
                <a:gd name="T123" fmla="*/ 36 h 287"/>
                <a:gd name="T124" fmla="*/ 205 w 312"/>
                <a:gd name="T125" fmla="*/ 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2" h="287">
                  <a:moveTo>
                    <a:pt x="90" y="187"/>
                  </a:moveTo>
                  <a:lnTo>
                    <a:pt x="90" y="187"/>
                  </a:lnTo>
                  <a:lnTo>
                    <a:pt x="90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92"/>
                  </a:lnTo>
                  <a:lnTo>
                    <a:pt x="84" y="192"/>
                  </a:lnTo>
                  <a:lnTo>
                    <a:pt x="84" y="192"/>
                  </a:lnTo>
                  <a:lnTo>
                    <a:pt x="84" y="192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2" y="197"/>
                  </a:lnTo>
                  <a:lnTo>
                    <a:pt x="92" y="197"/>
                  </a:lnTo>
                  <a:lnTo>
                    <a:pt x="92" y="197"/>
                  </a:lnTo>
                  <a:lnTo>
                    <a:pt x="92" y="197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89"/>
                  </a:lnTo>
                  <a:lnTo>
                    <a:pt x="95" y="189"/>
                  </a:lnTo>
                  <a:lnTo>
                    <a:pt x="95" y="189"/>
                  </a:lnTo>
                  <a:lnTo>
                    <a:pt x="95" y="189"/>
                  </a:lnTo>
                  <a:lnTo>
                    <a:pt x="92" y="189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close/>
                  <a:moveTo>
                    <a:pt x="223" y="187"/>
                  </a:moveTo>
                  <a:lnTo>
                    <a:pt x="223" y="187"/>
                  </a:lnTo>
                  <a:lnTo>
                    <a:pt x="223" y="187"/>
                  </a:lnTo>
                  <a:lnTo>
                    <a:pt x="220" y="187"/>
                  </a:lnTo>
                  <a:lnTo>
                    <a:pt x="220" y="187"/>
                  </a:lnTo>
                  <a:lnTo>
                    <a:pt x="220" y="187"/>
                  </a:lnTo>
                  <a:lnTo>
                    <a:pt x="220" y="187"/>
                  </a:lnTo>
                  <a:lnTo>
                    <a:pt x="220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92"/>
                  </a:lnTo>
                  <a:lnTo>
                    <a:pt x="218" y="192"/>
                  </a:lnTo>
                  <a:lnTo>
                    <a:pt x="218" y="192"/>
                  </a:lnTo>
                  <a:lnTo>
                    <a:pt x="218" y="192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18" y="194"/>
                  </a:lnTo>
                  <a:lnTo>
                    <a:pt x="218" y="194"/>
                  </a:lnTo>
                  <a:lnTo>
                    <a:pt x="218" y="194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5" y="197"/>
                  </a:lnTo>
                  <a:lnTo>
                    <a:pt x="225" y="197"/>
                  </a:lnTo>
                  <a:lnTo>
                    <a:pt x="225" y="197"/>
                  </a:lnTo>
                  <a:lnTo>
                    <a:pt x="225" y="197"/>
                  </a:lnTo>
                  <a:lnTo>
                    <a:pt x="228" y="197"/>
                  </a:lnTo>
                  <a:lnTo>
                    <a:pt x="228" y="194"/>
                  </a:lnTo>
                  <a:lnTo>
                    <a:pt x="228" y="194"/>
                  </a:lnTo>
                  <a:lnTo>
                    <a:pt x="228" y="194"/>
                  </a:lnTo>
                  <a:lnTo>
                    <a:pt x="228" y="194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5" y="187"/>
                  </a:lnTo>
                  <a:lnTo>
                    <a:pt x="225" y="187"/>
                  </a:lnTo>
                  <a:lnTo>
                    <a:pt x="225" y="187"/>
                  </a:lnTo>
                  <a:lnTo>
                    <a:pt x="225" y="187"/>
                  </a:lnTo>
                  <a:lnTo>
                    <a:pt x="223" y="187"/>
                  </a:lnTo>
                  <a:lnTo>
                    <a:pt x="223" y="187"/>
                  </a:lnTo>
                  <a:lnTo>
                    <a:pt x="223" y="187"/>
                  </a:lnTo>
                  <a:close/>
                  <a:moveTo>
                    <a:pt x="79" y="215"/>
                  </a:moveTo>
                  <a:lnTo>
                    <a:pt x="100" y="215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5" y="215"/>
                  </a:lnTo>
                  <a:lnTo>
                    <a:pt x="105" y="212"/>
                  </a:lnTo>
                  <a:lnTo>
                    <a:pt x="108" y="212"/>
                  </a:lnTo>
                  <a:lnTo>
                    <a:pt x="108" y="212"/>
                  </a:lnTo>
                  <a:lnTo>
                    <a:pt x="110" y="212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0" y="207"/>
                  </a:lnTo>
                  <a:lnTo>
                    <a:pt x="113" y="207"/>
                  </a:lnTo>
                  <a:lnTo>
                    <a:pt x="113" y="207"/>
                  </a:lnTo>
                  <a:lnTo>
                    <a:pt x="113" y="205"/>
                  </a:lnTo>
                  <a:lnTo>
                    <a:pt x="113" y="205"/>
                  </a:lnTo>
                  <a:lnTo>
                    <a:pt x="113" y="202"/>
                  </a:lnTo>
                  <a:lnTo>
                    <a:pt x="113" y="187"/>
                  </a:lnTo>
                  <a:lnTo>
                    <a:pt x="136" y="187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0"/>
                  </a:lnTo>
                  <a:lnTo>
                    <a:pt x="136" y="243"/>
                  </a:lnTo>
                  <a:lnTo>
                    <a:pt x="136" y="243"/>
                  </a:lnTo>
                  <a:lnTo>
                    <a:pt x="136" y="246"/>
                  </a:lnTo>
                  <a:lnTo>
                    <a:pt x="133" y="246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1" y="248"/>
                  </a:lnTo>
                  <a:lnTo>
                    <a:pt x="131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5" y="251"/>
                  </a:lnTo>
                  <a:lnTo>
                    <a:pt x="125" y="253"/>
                  </a:lnTo>
                  <a:lnTo>
                    <a:pt x="123" y="253"/>
                  </a:lnTo>
                  <a:lnTo>
                    <a:pt x="123" y="253"/>
                  </a:lnTo>
                  <a:lnTo>
                    <a:pt x="56" y="253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1" y="251"/>
                  </a:lnTo>
                  <a:lnTo>
                    <a:pt x="51" y="251"/>
                  </a:lnTo>
                  <a:lnTo>
                    <a:pt x="49" y="251"/>
                  </a:lnTo>
                  <a:lnTo>
                    <a:pt x="49" y="248"/>
                  </a:lnTo>
                  <a:lnTo>
                    <a:pt x="46" y="248"/>
                  </a:lnTo>
                  <a:lnTo>
                    <a:pt x="46" y="248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187"/>
                  </a:lnTo>
                  <a:lnTo>
                    <a:pt x="67" y="187"/>
                  </a:lnTo>
                  <a:lnTo>
                    <a:pt x="67" y="202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69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7" y="215"/>
                  </a:lnTo>
                  <a:lnTo>
                    <a:pt x="77" y="215"/>
                  </a:lnTo>
                  <a:lnTo>
                    <a:pt x="79" y="215"/>
                  </a:lnTo>
                  <a:close/>
                  <a:moveTo>
                    <a:pt x="213" y="215"/>
                  </a:moveTo>
                  <a:lnTo>
                    <a:pt x="233" y="215"/>
                  </a:lnTo>
                  <a:lnTo>
                    <a:pt x="236" y="215"/>
                  </a:lnTo>
                  <a:lnTo>
                    <a:pt x="236" y="215"/>
                  </a:lnTo>
                  <a:lnTo>
                    <a:pt x="238" y="215"/>
                  </a:lnTo>
                  <a:lnTo>
                    <a:pt x="238" y="215"/>
                  </a:lnTo>
                  <a:lnTo>
                    <a:pt x="238" y="212"/>
                  </a:lnTo>
                  <a:lnTo>
                    <a:pt x="241" y="212"/>
                  </a:lnTo>
                  <a:lnTo>
                    <a:pt x="241" y="212"/>
                  </a:lnTo>
                  <a:lnTo>
                    <a:pt x="243" y="212"/>
                  </a:lnTo>
                  <a:lnTo>
                    <a:pt x="243" y="210"/>
                  </a:lnTo>
                  <a:lnTo>
                    <a:pt x="243" y="210"/>
                  </a:lnTo>
                  <a:lnTo>
                    <a:pt x="243" y="207"/>
                  </a:lnTo>
                  <a:lnTo>
                    <a:pt x="246" y="207"/>
                  </a:lnTo>
                  <a:lnTo>
                    <a:pt x="246" y="207"/>
                  </a:lnTo>
                  <a:lnTo>
                    <a:pt x="246" y="205"/>
                  </a:lnTo>
                  <a:lnTo>
                    <a:pt x="246" y="205"/>
                  </a:lnTo>
                  <a:lnTo>
                    <a:pt x="246" y="202"/>
                  </a:lnTo>
                  <a:lnTo>
                    <a:pt x="246" y="187"/>
                  </a:lnTo>
                  <a:lnTo>
                    <a:pt x="269" y="187"/>
                  </a:lnTo>
                  <a:lnTo>
                    <a:pt x="269" y="238"/>
                  </a:lnTo>
                  <a:lnTo>
                    <a:pt x="269" y="240"/>
                  </a:lnTo>
                  <a:lnTo>
                    <a:pt x="269" y="240"/>
                  </a:lnTo>
                  <a:lnTo>
                    <a:pt x="269" y="243"/>
                  </a:lnTo>
                  <a:lnTo>
                    <a:pt x="269" y="243"/>
                  </a:lnTo>
                  <a:lnTo>
                    <a:pt x="269" y="246"/>
                  </a:lnTo>
                  <a:lnTo>
                    <a:pt x="266" y="246"/>
                  </a:lnTo>
                  <a:lnTo>
                    <a:pt x="266" y="248"/>
                  </a:lnTo>
                  <a:lnTo>
                    <a:pt x="266" y="248"/>
                  </a:lnTo>
                  <a:lnTo>
                    <a:pt x="264" y="248"/>
                  </a:lnTo>
                  <a:lnTo>
                    <a:pt x="264" y="251"/>
                  </a:lnTo>
                  <a:lnTo>
                    <a:pt x="261" y="251"/>
                  </a:lnTo>
                  <a:lnTo>
                    <a:pt x="261" y="251"/>
                  </a:lnTo>
                  <a:lnTo>
                    <a:pt x="259" y="251"/>
                  </a:lnTo>
                  <a:lnTo>
                    <a:pt x="259" y="253"/>
                  </a:lnTo>
                  <a:lnTo>
                    <a:pt x="256" y="253"/>
                  </a:lnTo>
                  <a:lnTo>
                    <a:pt x="256" y="253"/>
                  </a:lnTo>
                  <a:lnTo>
                    <a:pt x="189" y="253"/>
                  </a:lnTo>
                  <a:lnTo>
                    <a:pt x="189" y="253"/>
                  </a:lnTo>
                  <a:lnTo>
                    <a:pt x="187" y="253"/>
                  </a:lnTo>
                  <a:lnTo>
                    <a:pt x="187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2" y="251"/>
                  </a:lnTo>
                  <a:lnTo>
                    <a:pt x="182" y="248"/>
                  </a:lnTo>
                  <a:lnTo>
                    <a:pt x="179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3"/>
                  </a:lnTo>
                  <a:lnTo>
                    <a:pt x="177" y="243"/>
                  </a:lnTo>
                  <a:lnTo>
                    <a:pt x="177" y="240"/>
                  </a:lnTo>
                  <a:lnTo>
                    <a:pt x="177" y="240"/>
                  </a:lnTo>
                  <a:lnTo>
                    <a:pt x="177" y="238"/>
                  </a:lnTo>
                  <a:lnTo>
                    <a:pt x="177" y="187"/>
                  </a:lnTo>
                  <a:lnTo>
                    <a:pt x="200" y="187"/>
                  </a:lnTo>
                  <a:lnTo>
                    <a:pt x="200" y="202"/>
                  </a:lnTo>
                  <a:lnTo>
                    <a:pt x="200" y="205"/>
                  </a:lnTo>
                  <a:lnTo>
                    <a:pt x="200" y="205"/>
                  </a:lnTo>
                  <a:lnTo>
                    <a:pt x="200" y="207"/>
                  </a:lnTo>
                  <a:lnTo>
                    <a:pt x="200" y="207"/>
                  </a:lnTo>
                  <a:lnTo>
                    <a:pt x="202" y="207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2"/>
                  </a:lnTo>
                  <a:lnTo>
                    <a:pt x="205" y="212"/>
                  </a:lnTo>
                  <a:lnTo>
                    <a:pt x="205" y="212"/>
                  </a:lnTo>
                  <a:lnTo>
                    <a:pt x="207" y="212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3" y="215"/>
                  </a:lnTo>
                  <a:close/>
                  <a:moveTo>
                    <a:pt x="189" y="264"/>
                  </a:moveTo>
                  <a:lnTo>
                    <a:pt x="256" y="264"/>
                  </a:lnTo>
                  <a:lnTo>
                    <a:pt x="256" y="264"/>
                  </a:lnTo>
                  <a:lnTo>
                    <a:pt x="259" y="264"/>
                  </a:lnTo>
                  <a:lnTo>
                    <a:pt x="259" y="264"/>
                  </a:lnTo>
                  <a:lnTo>
                    <a:pt x="261" y="264"/>
                  </a:lnTo>
                  <a:lnTo>
                    <a:pt x="261" y="264"/>
                  </a:lnTo>
                  <a:lnTo>
                    <a:pt x="264" y="261"/>
                  </a:lnTo>
                  <a:lnTo>
                    <a:pt x="264" y="261"/>
                  </a:lnTo>
                  <a:lnTo>
                    <a:pt x="266" y="261"/>
                  </a:lnTo>
                  <a:lnTo>
                    <a:pt x="266" y="261"/>
                  </a:lnTo>
                  <a:lnTo>
                    <a:pt x="266" y="261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71" y="258"/>
                  </a:lnTo>
                  <a:lnTo>
                    <a:pt x="271" y="258"/>
                  </a:lnTo>
                  <a:lnTo>
                    <a:pt x="271" y="256"/>
                  </a:lnTo>
                  <a:lnTo>
                    <a:pt x="274" y="256"/>
                  </a:lnTo>
                  <a:lnTo>
                    <a:pt x="274" y="256"/>
                  </a:lnTo>
                  <a:lnTo>
                    <a:pt x="274" y="253"/>
                  </a:lnTo>
                  <a:lnTo>
                    <a:pt x="277" y="253"/>
                  </a:lnTo>
                  <a:lnTo>
                    <a:pt x="277" y="253"/>
                  </a:lnTo>
                  <a:lnTo>
                    <a:pt x="277" y="251"/>
                  </a:lnTo>
                  <a:lnTo>
                    <a:pt x="277" y="251"/>
                  </a:lnTo>
                  <a:lnTo>
                    <a:pt x="279" y="248"/>
                  </a:lnTo>
                  <a:lnTo>
                    <a:pt x="279" y="248"/>
                  </a:lnTo>
                  <a:lnTo>
                    <a:pt x="279" y="248"/>
                  </a:lnTo>
                  <a:lnTo>
                    <a:pt x="279" y="246"/>
                  </a:lnTo>
                  <a:lnTo>
                    <a:pt x="279" y="246"/>
                  </a:lnTo>
                  <a:lnTo>
                    <a:pt x="279" y="243"/>
                  </a:lnTo>
                  <a:lnTo>
                    <a:pt x="279" y="243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38"/>
                  </a:lnTo>
                  <a:lnTo>
                    <a:pt x="282" y="187"/>
                  </a:lnTo>
                  <a:lnTo>
                    <a:pt x="292" y="187"/>
                  </a:lnTo>
                  <a:lnTo>
                    <a:pt x="292" y="274"/>
                  </a:lnTo>
                  <a:lnTo>
                    <a:pt x="292" y="274"/>
                  </a:lnTo>
                  <a:lnTo>
                    <a:pt x="292" y="274"/>
                  </a:lnTo>
                  <a:lnTo>
                    <a:pt x="292" y="276"/>
                  </a:lnTo>
                  <a:lnTo>
                    <a:pt x="292" y="276"/>
                  </a:lnTo>
                  <a:lnTo>
                    <a:pt x="289" y="276"/>
                  </a:lnTo>
                  <a:lnTo>
                    <a:pt x="289" y="276"/>
                  </a:lnTo>
                  <a:lnTo>
                    <a:pt x="289" y="276"/>
                  </a:lnTo>
                  <a:lnTo>
                    <a:pt x="289" y="276"/>
                  </a:lnTo>
                  <a:lnTo>
                    <a:pt x="23" y="276"/>
                  </a:lnTo>
                  <a:lnTo>
                    <a:pt x="23" y="276"/>
                  </a:lnTo>
                  <a:lnTo>
                    <a:pt x="23" y="276"/>
                  </a:lnTo>
                  <a:lnTo>
                    <a:pt x="23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4"/>
                  </a:lnTo>
                  <a:lnTo>
                    <a:pt x="20" y="274"/>
                  </a:lnTo>
                  <a:lnTo>
                    <a:pt x="20" y="274"/>
                  </a:lnTo>
                  <a:lnTo>
                    <a:pt x="20" y="187"/>
                  </a:lnTo>
                  <a:lnTo>
                    <a:pt x="31" y="187"/>
                  </a:lnTo>
                  <a:lnTo>
                    <a:pt x="31" y="238"/>
                  </a:lnTo>
                  <a:lnTo>
                    <a:pt x="31" y="240"/>
                  </a:lnTo>
                  <a:lnTo>
                    <a:pt x="31" y="240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6" y="251"/>
                  </a:lnTo>
                  <a:lnTo>
                    <a:pt x="36" y="251"/>
                  </a:lnTo>
                  <a:lnTo>
                    <a:pt x="36" y="253"/>
                  </a:lnTo>
                  <a:lnTo>
                    <a:pt x="36" y="253"/>
                  </a:lnTo>
                  <a:lnTo>
                    <a:pt x="38" y="253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41" y="256"/>
                  </a:lnTo>
                  <a:lnTo>
                    <a:pt x="41" y="258"/>
                  </a:lnTo>
                  <a:lnTo>
                    <a:pt x="41" y="258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6" y="261"/>
                  </a:lnTo>
                  <a:lnTo>
                    <a:pt x="46" y="261"/>
                  </a:lnTo>
                  <a:lnTo>
                    <a:pt x="46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51" y="264"/>
                  </a:lnTo>
                  <a:lnTo>
                    <a:pt x="51" y="264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6" y="264"/>
                  </a:lnTo>
                  <a:lnTo>
                    <a:pt x="56" y="264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3" y="261"/>
                  </a:lnTo>
                  <a:lnTo>
                    <a:pt x="133" y="261"/>
                  </a:lnTo>
                  <a:lnTo>
                    <a:pt x="133" y="261"/>
                  </a:lnTo>
                  <a:lnTo>
                    <a:pt x="136" y="258"/>
                  </a:lnTo>
                  <a:lnTo>
                    <a:pt x="136" y="258"/>
                  </a:lnTo>
                  <a:lnTo>
                    <a:pt x="138" y="258"/>
                  </a:lnTo>
                  <a:lnTo>
                    <a:pt x="138" y="258"/>
                  </a:lnTo>
                  <a:lnTo>
                    <a:pt x="138" y="256"/>
                  </a:lnTo>
                  <a:lnTo>
                    <a:pt x="141" y="256"/>
                  </a:lnTo>
                  <a:lnTo>
                    <a:pt x="141" y="256"/>
                  </a:lnTo>
                  <a:lnTo>
                    <a:pt x="141" y="253"/>
                  </a:lnTo>
                  <a:lnTo>
                    <a:pt x="143" y="253"/>
                  </a:lnTo>
                  <a:lnTo>
                    <a:pt x="143" y="253"/>
                  </a:lnTo>
                  <a:lnTo>
                    <a:pt x="143" y="251"/>
                  </a:lnTo>
                  <a:lnTo>
                    <a:pt x="143" y="251"/>
                  </a:lnTo>
                  <a:lnTo>
                    <a:pt x="143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6"/>
                  </a:lnTo>
                  <a:lnTo>
                    <a:pt x="146" y="246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0"/>
                  </a:lnTo>
                  <a:lnTo>
                    <a:pt x="146" y="240"/>
                  </a:lnTo>
                  <a:lnTo>
                    <a:pt x="146" y="238"/>
                  </a:lnTo>
                  <a:lnTo>
                    <a:pt x="146" y="187"/>
                  </a:lnTo>
                  <a:lnTo>
                    <a:pt x="166" y="187"/>
                  </a:lnTo>
                  <a:lnTo>
                    <a:pt x="166" y="238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6"/>
                  </a:lnTo>
                  <a:lnTo>
                    <a:pt x="166" y="246"/>
                  </a:lnTo>
                  <a:lnTo>
                    <a:pt x="166" y="248"/>
                  </a:lnTo>
                  <a:lnTo>
                    <a:pt x="166" y="248"/>
                  </a:lnTo>
                  <a:lnTo>
                    <a:pt x="169" y="248"/>
                  </a:lnTo>
                  <a:lnTo>
                    <a:pt x="169" y="251"/>
                  </a:lnTo>
                  <a:lnTo>
                    <a:pt x="169" y="251"/>
                  </a:lnTo>
                  <a:lnTo>
                    <a:pt x="169" y="253"/>
                  </a:lnTo>
                  <a:lnTo>
                    <a:pt x="169" y="253"/>
                  </a:lnTo>
                  <a:lnTo>
                    <a:pt x="172" y="253"/>
                  </a:lnTo>
                  <a:lnTo>
                    <a:pt x="172" y="256"/>
                  </a:lnTo>
                  <a:lnTo>
                    <a:pt x="172" y="256"/>
                  </a:lnTo>
                  <a:lnTo>
                    <a:pt x="174" y="256"/>
                  </a:lnTo>
                  <a:lnTo>
                    <a:pt x="174" y="258"/>
                  </a:lnTo>
                  <a:lnTo>
                    <a:pt x="174" y="258"/>
                  </a:lnTo>
                  <a:lnTo>
                    <a:pt x="177" y="258"/>
                  </a:lnTo>
                  <a:lnTo>
                    <a:pt x="177" y="258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4" y="264"/>
                  </a:lnTo>
                  <a:lnTo>
                    <a:pt x="184" y="264"/>
                  </a:lnTo>
                  <a:lnTo>
                    <a:pt x="187" y="264"/>
                  </a:lnTo>
                  <a:lnTo>
                    <a:pt x="187" y="264"/>
                  </a:lnTo>
                  <a:lnTo>
                    <a:pt x="189" y="264"/>
                  </a:lnTo>
                  <a:lnTo>
                    <a:pt x="189" y="264"/>
                  </a:lnTo>
                  <a:close/>
                  <a:moveTo>
                    <a:pt x="79" y="205"/>
                  </a:moveTo>
                  <a:lnTo>
                    <a:pt x="79" y="205"/>
                  </a:lnTo>
                  <a:lnTo>
                    <a:pt x="77" y="205"/>
                  </a:lnTo>
                  <a:lnTo>
                    <a:pt x="77" y="205"/>
                  </a:lnTo>
                  <a:lnTo>
                    <a:pt x="77" y="205"/>
                  </a:lnTo>
                  <a:lnTo>
                    <a:pt x="77" y="202"/>
                  </a:lnTo>
                  <a:lnTo>
                    <a:pt x="77" y="202"/>
                  </a:lnTo>
                  <a:lnTo>
                    <a:pt x="77" y="202"/>
                  </a:lnTo>
                  <a:lnTo>
                    <a:pt x="77" y="182"/>
                  </a:lnTo>
                  <a:lnTo>
                    <a:pt x="102" y="18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2" y="205"/>
                  </a:lnTo>
                  <a:lnTo>
                    <a:pt x="102" y="205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79" y="205"/>
                  </a:lnTo>
                  <a:lnTo>
                    <a:pt x="79" y="205"/>
                  </a:lnTo>
                  <a:close/>
                  <a:moveTo>
                    <a:pt x="213" y="205"/>
                  </a:moveTo>
                  <a:lnTo>
                    <a:pt x="213" y="205"/>
                  </a:lnTo>
                  <a:lnTo>
                    <a:pt x="213" y="205"/>
                  </a:lnTo>
                  <a:lnTo>
                    <a:pt x="210" y="205"/>
                  </a:lnTo>
                  <a:lnTo>
                    <a:pt x="210" y="205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182"/>
                  </a:lnTo>
                  <a:lnTo>
                    <a:pt x="236" y="182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13" y="205"/>
                  </a:lnTo>
                  <a:lnTo>
                    <a:pt x="213" y="205"/>
                  </a:lnTo>
                  <a:close/>
                  <a:moveTo>
                    <a:pt x="74" y="169"/>
                  </a:moveTo>
                  <a:lnTo>
                    <a:pt x="74" y="166"/>
                  </a:lnTo>
                  <a:lnTo>
                    <a:pt x="72" y="166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1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6"/>
                  </a:lnTo>
                  <a:lnTo>
                    <a:pt x="72" y="156"/>
                  </a:lnTo>
                  <a:lnTo>
                    <a:pt x="72" y="153"/>
                  </a:lnTo>
                  <a:lnTo>
                    <a:pt x="72" y="151"/>
                  </a:lnTo>
                  <a:lnTo>
                    <a:pt x="74" y="151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7" y="146"/>
                  </a:lnTo>
                  <a:lnTo>
                    <a:pt x="77" y="146"/>
                  </a:lnTo>
                  <a:lnTo>
                    <a:pt x="79" y="146"/>
                  </a:lnTo>
                  <a:lnTo>
                    <a:pt x="82" y="143"/>
                  </a:lnTo>
                  <a:lnTo>
                    <a:pt x="82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7" y="143"/>
                  </a:lnTo>
                  <a:lnTo>
                    <a:pt x="90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5" y="143"/>
                  </a:lnTo>
                  <a:lnTo>
                    <a:pt x="97" y="143"/>
                  </a:lnTo>
                  <a:lnTo>
                    <a:pt x="97" y="143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2" y="146"/>
                  </a:lnTo>
                  <a:lnTo>
                    <a:pt x="102" y="148"/>
                  </a:lnTo>
                  <a:lnTo>
                    <a:pt x="105" y="148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8" y="153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8" y="159"/>
                  </a:lnTo>
                  <a:lnTo>
                    <a:pt x="108" y="161"/>
                  </a:lnTo>
                  <a:lnTo>
                    <a:pt x="108" y="161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6"/>
                  </a:lnTo>
                  <a:lnTo>
                    <a:pt x="105" y="166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74" y="169"/>
                  </a:lnTo>
                  <a:lnTo>
                    <a:pt x="74" y="169"/>
                  </a:lnTo>
                  <a:close/>
                  <a:moveTo>
                    <a:pt x="207" y="169"/>
                  </a:moveTo>
                  <a:lnTo>
                    <a:pt x="207" y="166"/>
                  </a:lnTo>
                  <a:lnTo>
                    <a:pt x="205" y="166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59"/>
                  </a:lnTo>
                  <a:lnTo>
                    <a:pt x="205" y="156"/>
                  </a:lnTo>
                  <a:lnTo>
                    <a:pt x="205" y="156"/>
                  </a:lnTo>
                  <a:lnTo>
                    <a:pt x="205" y="153"/>
                  </a:lnTo>
                  <a:lnTo>
                    <a:pt x="207" y="151"/>
                  </a:lnTo>
                  <a:lnTo>
                    <a:pt x="207" y="151"/>
                  </a:lnTo>
                  <a:lnTo>
                    <a:pt x="207" y="148"/>
                  </a:lnTo>
                  <a:lnTo>
                    <a:pt x="210" y="148"/>
                  </a:lnTo>
                  <a:lnTo>
                    <a:pt x="210" y="146"/>
                  </a:lnTo>
                  <a:lnTo>
                    <a:pt x="213" y="146"/>
                  </a:lnTo>
                  <a:lnTo>
                    <a:pt x="213" y="146"/>
                  </a:lnTo>
                  <a:lnTo>
                    <a:pt x="215" y="143"/>
                  </a:lnTo>
                  <a:lnTo>
                    <a:pt x="215" y="143"/>
                  </a:lnTo>
                  <a:lnTo>
                    <a:pt x="218" y="143"/>
                  </a:lnTo>
                  <a:lnTo>
                    <a:pt x="220" y="143"/>
                  </a:lnTo>
                  <a:lnTo>
                    <a:pt x="220" y="143"/>
                  </a:lnTo>
                  <a:lnTo>
                    <a:pt x="223" y="143"/>
                  </a:lnTo>
                  <a:lnTo>
                    <a:pt x="225" y="143"/>
                  </a:lnTo>
                  <a:lnTo>
                    <a:pt x="228" y="143"/>
                  </a:lnTo>
                  <a:lnTo>
                    <a:pt x="228" y="143"/>
                  </a:lnTo>
                  <a:lnTo>
                    <a:pt x="230" y="143"/>
                  </a:lnTo>
                  <a:lnTo>
                    <a:pt x="230" y="143"/>
                  </a:lnTo>
                  <a:lnTo>
                    <a:pt x="233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8" y="148"/>
                  </a:lnTo>
                  <a:lnTo>
                    <a:pt x="238" y="148"/>
                  </a:lnTo>
                  <a:lnTo>
                    <a:pt x="238" y="151"/>
                  </a:lnTo>
                  <a:lnTo>
                    <a:pt x="241" y="151"/>
                  </a:lnTo>
                  <a:lnTo>
                    <a:pt x="241" y="153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9"/>
                  </a:lnTo>
                  <a:lnTo>
                    <a:pt x="241" y="161"/>
                  </a:lnTo>
                  <a:lnTo>
                    <a:pt x="241" y="161"/>
                  </a:lnTo>
                  <a:lnTo>
                    <a:pt x="241" y="164"/>
                  </a:lnTo>
                  <a:lnTo>
                    <a:pt x="241" y="164"/>
                  </a:lnTo>
                  <a:lnTo>
                    <a:pt x="241" y="166"/>
                  </a:lnTo>
                  <a:lnTo>
                    <a:pt x="238" y="166"/>
                  </a:lnTo>
                  <a:lnTo>
                    <a:pt x="238" y="169"/>
                  </a:lnTo>
                  <a:lnTo>
                    <a:pt x="238" y="169"/>
                  </a:lnTo>
                  <a:lnTo>
                    <a:pt x="207" y="169"/>
                  </a:lnTo>
                  <a:lnTo>
                    <a:pt x="207" y="169"/>
                  </a:lnTo>
                  <a:close/>
                  <a:moveTo>
                    <a:pt x="18" y="176"/>
                  </a:moveTo>
                  <a:lnTo>
                    <a:pt x="15" y="176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3" y="176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0" y="174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69"/>
                  </a:lnTo>
                  <a:lnTo>
                    <a:pt x="10" y="169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3" y="61"/>
                  </a:lnTo>
                  <a:lnTo>
                    <a:pt x="15" y="61"/>
                  </a:lnTo>
                  <a:lnTo>
                    <a:pt x="297" y="61"/>
                  </a:lnTo>
                  <a:lnTo>
                    <a:pt x="300" y="61"/>
                  </a:lnTo>
                  <a:lnTo>
                    <a:pt x="300" y="64"/>
                  </a:lnTo>
                  <a:lnTo>
                    <a:pt x="300" y="64"/>
                  </a:lnTo>
                  <a:lnTo>
                    <a:pt x="300" y="64"/>
                  </a:lnTo>
                  <a:lnTo>
                    <a:pt x="302" y="64"/>
                  </a:lnTo>
                  <a:lnTo>
                    <a:pt x="302" y="64"/>
                  </a:lnTo>
                  <a:lnTo>
                    <a:pt x="302" y="66"/>
                  </a:lnTo>
                  <a:lnTo>
                    <a:pt x="302" y="66"/>
                  </a:lnTo>
                  <a:lnTo>
                    <a:pt x="302" y="169"/>
                  </a:lnTo>
                  <a:lnTo>
                    <a:pt x="302" y="169"/>
                  </a:lnTo>
                  <a:lnTo>
                    <a:pt x="302" y="171"/>
                  </a:lnTo>
                  <a:lnTo>
                    <a:pt x="302" y="171"/>
                  </a:lnTo>
                  <a:lnTo>
                    <a:pt x="302" y="171"/>
                  </a:lnTo>
                  <a:lnTo>
                    <a:pt x="302" y="174"/>
                  </a:lnTo>
                  <a:lnTo>
                    <a:pt x="300" y="174"/>
                  </a:lnTo>
                  <a:lnTo>
                    <a:pt x="300" y="174"/>
                  </a:lnTo>
                  <a:lnTo>
                    <a:pt x="300" y="174"/>
                  </a:lnTo>
                  <a:lnTo>
                    <a:pt x="300" y="174"/>
                  </a:lnTo>
                  <a:lnTo>
                    <a:pt x="300" y="176"/>
                  </a:lnTo>
                  <a:lnTo>
                    <a:pt x="297" y="176"/>
                  </a:lnTo>
                  <a:lnTo>
                    <a:pt x="297" y="176"/>
                  </a:lnTo>
                  <a:lnTo>
                    <a:pt x="297" y="176"/>
                  </a:lnTo>
                  <a:lnTo>
                    <a:pt x="297" y="176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46" y="176"/>
                  </a:lnTo>
                  <a:lnTo>
                    <a:pt x="248" y="174"/>
                  </a:lnTo>
                  <a:lnTo>
                    <a:pt x="248" y="171"/>
                  </a:lnTo>
                  <a:lnTo>
                    <a:pt x="248" y="171"/>
                  </a:lnTo>
                  <a:lnTo>
                    <a:pt x="251" y="169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51" y="161"/>
                  </a:lnTo>
                  <a:lnTo>
                    <a:pt x="251" y="159"/>
                  </a:lnTo>
                  <a:lnTo>
                    <a:pt x="251" y="156"/>
                  </a:lnTo>
                  <a:lnTo>
                    <a:pt x="251" y="156"/>
                  </a:lnTo>
                  <a:lnTo>
                    <a:pt x="251" y="153"/>
                  </a:lnTo>
                  <a:lnTo>
                    <a:pt x="251" y="153"/>
                  </a:lnTo>
                  <a:lnTo>
                    <a:pt x="251" y="151"/>
                  </a:lnTo>
                  <a:lnTo>
                    <a:pt x="251" y="151"/>
                  </a:lnTo>
                  <a:lnTo>
                    <a:pt x="251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3"/>
                  </a:lnTo>
                  <a:lnTo>
                    <a:pt x="246" y="143"/>
                  </a:lnTo>
                  <a:lnTo>
                    <a:pt x="246" y="143"/>
                  </a:lnTo>
                  <a:lnTo>
                    <a:pt x="246" y="141"/>
                  </a:lnTo>
                  <a:lnTo>
                    <a:pt x="243" y="141"/>
                  </a:lnTo>
                  <a:lnTo>
                    <a:pt x="243" y="138"/>
                  </a:lnTo>
                  <a:lnTo>
                    <a:pt x="243" y="138"/>
                  </a:lnTo>
                  <a:lnTo>
                    <a:pt x="241" y="138"/>
                  </a:lnTo>
                  <a:lnTo>
                    <a:pt x="241" y="135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3" y="133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30" y="133"/>
                  </a:lnTo>
                  <a:lnTo>
                    <a:pt x="228" y="133"/>
                  </a:lnTo>
                  <a:lnTo>
                    <a:pt x="228" y="133"/>
                  </a:lnTo>
                  <a:lnTo>
                    <a:pt x="225" y="133"/>
                  </a:lnTo>
                  <a:lnTo>
                    <a:pt x="225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20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5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3"/>
                  </a:lnTo>
                  <a:lnTo>
                    <a:pt x="210" y="135"/>
                  </a:lnTo>
                  <a:lnTo>
                    <a:pt x="210" y="135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41"/>
                  </a:lnTo>
                  <a:lnTo>
                    <a:pt x="200" y="141"/>
                  </a:lnTo>
                  <a:lnTo>
                    <a:pt x="200" y="143"/>
                  </a:lnTo>
                  <a:lnTo>
                    <a:pt x="200" y="143"/>
                  </a:lnTo>
                  <a:lnTo>
                    <a:pt x="197" y="143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7" y="148"/>
                  </a:lnTo>
                  <a:lnTo>
                    <a:pt x="195" y="148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3"/>
                  </a:lnTo>
                  <a:lnTo>
                    <a:pt x="195" y="153"/>
                  </a:lnTo>
                  <a:lnTo>
                    <a:pt x="195" y="156"/>
                  </a:lnTo>
                  <a:lnTo>
                    <a:pt x="195" y="156"/>
                  </a:lnTo>
                  <a:lnTo>
                    <a:pt x="195" y="159"/>
                  </a:lnTo>
                  <a:lnTo>
                    <a:pt x="195" y="161"/>
                  </a:lnTo>
                  <a:lnTo>
                    <a:pt x="195" y="164"/>
                  </a:lnTo>
                  <a:lnTo>
                    <a:pt x="195" y="166"/>
                  </a:lnTo>
                  <a:lnTo>
                    <a:pt x="195" y="169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4"/>
                  </a:lnTo>
                  <a:lnTo>
                    <a:pt x="200" y="176"/>
                  </a:lnTo>
                  <a:lnTo>
                    <a:pt x="113" y="176"/>
                  </a:lnTo>
                  <a:lnTo>
                    <a:pt x="115" y="174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8" y="169"/>
                  </a:lnTo>
                  <a:lnTo>
                    <a:pt x="118" y="166"/>
                  </a:lnTo>
                  <a:lnTo>
                    <a:pt x="118" y="164"/>
                  </a:lnTo>
                  <a:lnTo>
                    <a:pt x="118" y="161"/>
                  </a:lnTo>
                  <a:lnTo>
                    <a:pt x="118" y="159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18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5" y="143"/>
                  </a:lnTo>
                  <a:lnTo>
                    <a:pt x="113" y="143"/>
                  </a:lnTo>
                  <a:lnTo>
                    <a:pt x="113" y="143"/>
                  </a:lnTo>
                  <a:lnTo>
                    <a:pt x="113" y="141"/>
                  </a:lnTo>
                  <a:lnTo>
                    <a:pt x="110" y="141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08" y="138"/>
                  </a:lnTo>
                  <a:lnTo>
                    <a:pt x="108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102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90" y="133"/>
                  </a:lnTo>
                  <a:lnTo>
                    <a:pt x="87" y="133"/>
                  </a:lnTo>
                  <a:lnTo>
                    <a:pt x="87" y="133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79" y="133"/>
                  </a:lnTo>
                  <a:lnTo>
                    <a:pt x="79" y="133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2" y="135"/>
                  </a:lnTo>
                  <a:lnTo>
                    <a:pt x="72" y="138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4" y="143"/>
                  </a:lnTo>
                  <a:lnTo>
                    <a:pt x="64" y="146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1" y="148"/>
                  </a:lnTo>
                  <a:lnTo>
                    <a:pt x="61" y="151"/>
                  </a:lnTo>
                  <a:lnTo>
                    <a:pt x="61" y="151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6"/>
                  </a:lnTo>
                  <a:lnTo>
                    <a:pt x="61" y="156"/>
                  </a:lnTo>
                  <a:lnTo>
                    <a:pt x="61" y="159"/>
                  </a:lnTo>
                  <a:lnTo>
                    <a:pt x="61" y="161"/>
                  </a:lnTo>
                  <a:lnTo>
                    <a:pt x="61" y="164"/>
                  </a:lnTo>
                  <a:lnTo>
                    <a:pt x="61" y="166"/>
                  </a:lnTo>
                  <a:lnTo>
                    <a:pt x="61" y="169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4"/>
                  </a:lnTo>
                  <a:lnTo>
                    <a:pt x="67" y="176"/>
                  </a:lnTo>
                  <a:lnTo>
                    <a:pt x="18" y="176"/>
                  </a:lnTo>
                  <a:lnTo>
                    <a:pt x="18" y="176"/>
                  </a:lnTo>
                  <a:close/>
                  <a:moveTo>
                    <a:pt x="123" y="38"/>
                  </a:moveTo>
                  <a:lnTo>
                    <a:pt x="123" y="38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31" y="33"/>
                  </a:lnTo>
                  <a:lnTo>
                    <a:pt x="182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51"/>
                  </a:lnTo>
                  <a:lnTo>
                    <a:pt x="123" y="51"/>
                  </a:lnTo>
                  <a:lnTo>
                    <a:pt x="123" y="38"/>
                  </a:lnTo>
                  <a:close/>
                  <a:moveTo>
                    <a:pt x="105" y="38"/>
                  </a:moveTo>
                  <a:lnTo>
                    <a:pt x="105" y="36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28"/>
                  </a:lnTo>
                  <a:lnTo>
                    <a:pt x="105" y="28"/>
                  </a:lnTo>
                  <a:lnTo>
                    <a:pt x="105" y="25"/>
                  </a:lnTo>
                  <a:lnTo>
                    <a:pt x="108" y="25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13" y="18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31" y="10"/>
                  </a:lnTo>
                  <a:lnTo>
                    <a:pt x="133" y="10"/>
                  </a:lnTo>
                  <a:lnTo>
                    <a:pt x="179" y="10"/>
                  </a:lnTo>
                  <a:lnTo>
                    <a:pt x="182" y="10"/>
                  </a:lnTo>
                  <a:lnTo>
                    <a:pt x="184" y="10"/>
                  </a:lnTo>
                  <a:lnTo>
                    <a:pt x="184" y="10"/>
                  </a:lnTo>
                  <a:lnTo>
                    <a:pt x="187" y="10"/>
                  </a:lnTo>
                  <a:lnTo>
                    <a:pt x="187" y="10"/>
                  </a:lnTo>
                  <a:lnTo>
                    <a:pt x="189" y="10"/>
                  </a:lnTo>
                  <a:lnTo>
                    <a:pt x="189" y="10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5" y="13"/>
                  </a:lnTo>
                  <a:lnTo>
                    <a:pt x="195" y="13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8"/>
                  </a:lnTo>
                  <a:lnTo>
                    <a:pt x="202" y="18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5" y="20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5" y="25"/>
                  </a:lnTo>
                  <a:lnTo>
                    <a:pt x="207" y="25"/>
                  </a:lnTo>
                  <a:lnTo>
                    <a:pt x="207" y="28"/>
                  </a:lnTo>
                  <a:lnTo>
                    <a:pt x="207" y="28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3"/>
                  </a:lnTo>
                  <a:lnTo>
                    <a:pt x="207" y="33"/>
                  </a:lnTo>
                  <a:lnTo>
                    <a:pt x="207" y="36"/>
                  </a:lnTo>
                  <a:lnTo>
                    <a:pt x="207" y="38"/>
                  </a:lnTo>
                  <a:lnTo>
                    <a:pt x="207" y="51"/>
                  </a:lnTo>
                  <a:lnTo>
                    <a:pt x="200" y="51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0" y="36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28"/>
                  </a:lnTo>
                  <a:lnTo>
                    <a:pt x="195" y="28"/>
                  </a:lnTo>
                  <a:lnTo>
                    <a:pt x="195" y="25"/>
                  </a:lnTo>
                  <a:lnTo>
                    <a:pt x="192" y="25"/>
                  </a:lnTo>
                  <a:lnTo>
                    <a:pt x="192" y="23"/>
                  </a:lnTo>
                  <a:lnTo>
                    <a:pt x="189" y="23"/>
                  </a:lnTo>
                  <a:lnTo>
                    <a:pt x="187" y="23"/>
                  </a:lnTo>
                  <a:lnTo>
                    <a:pt x="187" y="23"/>
                  </a:lnTo>
                  <a:lnTo>
                    <a:pt x="184" y="23"/>
                  </a:lnTo>
                  <a:lnTo>
                    <a:pt x="182" y="23"/>
                  </a:lnTo>
                  <a:lnTo>
                    <a:pt x="131" y="23"/>
                  </a:lnTo>
                  <a:lnTo>
                    <a:pt x="128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3" y="23"/>
                  </a:lnTo>
                  <a:lnTo>
                    <a:pt x="120" y="23"/>
                  </a:lnTo>
                  <a:lnTo>
                    <a:pt x="120" y="25"/>
                  </a:lnTo>
                  <a:lnTo>
                    <a:pt x="118" y="25"/>
                  </a:lnTo>
                  <a:lnTo>
                    <a:pt x="118" y="28"/>
                  </a:lnTo>
                  <a:lnTo>
                    <a:pt x="115" y="28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3" y="36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51"/>
                  </a:lnTo>
                  <a:lnTo>
                    <a:pt x="105" y="51"/>
                  </a:lnTo>
                  <a:lnTo>
                    <a:pt x="105" y="38"/>
                  </a:lnTo>
                  <a:close/>
                  <a:moveTo>
                    <a:pt x="131" y="0"/>
                  </a:moveTo>
                  <a:lnTo>
                    <a:pt x="128" y="0"/>
                  </a:lnTo>
                  <a:lnTo>
                    <a:pt x="125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18" y="0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3" y="5"/>
                  </a:lnTo>
                  <a:lnTo>
                    <a:pt x="110" y="5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5" y="7"/>
                  </a:lnTo>
                  <a:lnTo>
                    <a:pt x="105" y="10"/>
                  </a:lnTo>
                  <a:lnTo>
                    <a:pt x="102" y="10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0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5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31"/>
                  </a:lnTo>
                  <a:lnTo>
                    <a:pt x="92" y="33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2" y="51"/>
                  </a:lnTo>
                  <a:lnTo>
                    <a:pt x="15" y="51"/>
                  </a:lnTo>
                  <a:lnTo>
                    <a:pt x="13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5" y="54"/>
                  </a:lnTo>
                  <a:lnTo>
                    <a:pt x="5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169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3" y="176"/>
                  </a:lnTo>
                  <a:lnTo>
                    <a:pt x="3" y="179"/>
                  </a:lnTo>
                  <a:lnTo>
                    <a:pt x="3" y="179"/>
                  </a:lnTo>
                  <a:lnTo>
                    <a:pt x="3" y="182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5" y="184"/>
                  </a:lnTo>
                  <a:lnTo>
                    <a:pt x="8" y="184"/>
                  </a:lnTo>
                  <a:lnTo>
                    <a:pt x="8" y="184"/>
                  </a:lnTo>
                  <a:lnTo>
                    <a:pt x="10" y="18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3" y="281"/>
                  </a:lnTo>
                  <a:lnTo>
                    <a:pt x="13" y="281"/>
                  </a:lnTo>
                  <a:lnTo>
                    <a:pt x="13" y="284"/>
                  </a:lnTo>
                  <a:lnTo>
                    <a:pt x="15" y="284"/>
                  </a:lnTo>
                  <a:lnTo>
                    <a:pt x="15" y="284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20" y="287"/>
                  </a:lnTo>
                  <a:lnTo>
                    <a:pt x="20" y="287"/>
                  </a:lnTo>
                  <a:lnTo>
                    <a:pt x="23" y="287"/>
                  </a:lnTo>
                  <a:lnTo>
                    <a:pt x="23" y="287"/>
                  </a:lnTo>
                  <a:lnTo>
                    <a:pt x="289" y="287"/>
                  </a:lnTo>
                  <a:lnTo>
                    <a:pt x="289" y="287"/>
                  </a:lnTo>
                  <a:lnTo>
                    <a:pt x="292" y="287"/>
                  </a:lnTo>
                  <a:lnTo>
                    <a:pt x="292" y="287"/>
                  </a:lnTo>
                  <a:lnTo>
                    <a:pt x="294" y="287"/>
                  </a:lnTo>
                  <a:lnTo>
                    <a:pt x="294" y="287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300" y="284"/>
                  </a:lnTo>
                  <a:lnTo>
                    <a:pt x="300" y="281"/>
                  </a:lnTo>
                  <a:lnTo>
                    <a:pt x="300" y="281"/>
                  </a:lnTo>
                  <a:lnTo>
                    <a:pt x="302" y="279"/>
                  </a:lnTo>
                  <a:lnTo>
                    <a:pt x="302" y="279"/>
                  </a:lnTo>
                  <a:lnTo>
                    <a:pt x="302" y="276"/>
                  </a:lnTo>
                  <a:lnTo>
                    <a:pt x="302" y="276"/>
                  </a:lnTo>
                  <a:lnTo>
                    <a:pt x="302" y="274"/>
                  </a:lnTo>
                  <a:lnTo>
                    <a:pt x="302" y="274"/>
                  </a:lnTo>
                  <a:lnTo>
                    <a:pt x="302" y="184"/>
                  </a:lnTo>
                  <a:lnTo>
                    <a:pt x="305" y="184"/>
                  </a:lnTo>
                  <a:lnTo>
                    <a:pt x="305" y="184"/>
                  </a:lnTo>
                  <a:lnTo>
                    <a:pt x="307" y="184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10" y="182"/>
                  </a:lnTo>
                  <a:lnTo>
                    <a:pt x="310" y="179"/>
                  </a:lnTo>
                  <a:lnTo>
                    <a:pt x="310" y="179"/>
                  </a:lnTo>
                  <a:lnTo>
                    <a:pt x="310" y="176"/>
                  </a:lnTo>
                  <a:lnTo>
                    <a:pt x="312" y="176"/>
                  </a:lnTo>
                  <a:lnTo>
                    <a:pt x="312" y="176"/>
                  </a:lnTo>
                  <a:lnTo>
                    <a:pt x="312" y="174"/>
                  </a:lnTo>
                  <a:lnTo>
                    <a:pt x="312" y="174"/>
                  </a:lnTo>
                  <a:lnTo>
                    <a:pt x="312" y="171"/>
                  </a:lnTo>
                  <a:lnTo>
                    <a:pt x="312" y="171"/>
                  </a:lnTo>
                  <a:lnTo>
                    <a:pt x="312" y="169"/>
                  </a:lnTo>
                  <a:lnTo>
                    <a:pt x="312" y="66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6"/>
                  </a:lnTo>
                  <a:lnTo>
                    <a:pt x="307" y="56"/>
                  </a:lnTo>
                  <a:lnTo>
                    <a:pt x="307" y="56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5" y="54"/>
                  </a:lnTo>
                  <a:lnTo>
                    <a:pt x="302" y="51"/>
                  </a:lnTo>
                  <a:lnTo>
                    <a:pt x="302" y="51"/>
                  </a:lnTo>
                  <a:lnTo>
                    <a:pt x="300" y="51"/>
                  </a:lnTo>
                  <a:lnTo>
                    <a:pt x="297" y="51"/>
                  </a:lnTo>
                  <a:lnTo>
                    <a:pt x="220" y="51"/>
                  </a:lnTo>
                  <a:lnTo>
                    <a:pt x="220" y="38"/>
                  </a:lnTo>
                  <a:lnTo>
                    <a:pt x="220" y="36"/>
                  </a:lnTo>
                  <a:lnTo>
                    <a:pt x="220" y="33"/>
                  </a:lnTo>
                  <a:lnTo>
                    <a:pt x="218" y="31"/>
                  </a:lnTo>
                  <a:lnTo>
                    <a:pt x="218" y="28"/>
                  </a:lnTo>
                  <a:lnTo>
                    <a:pt x="218" y="28"/>
                  </a:lnTo>
                  <a:lnTo>
                    <a:pt x="218" y="25"/>
                  </a:lnTo>
                  <a:lnTo>
                    <a:pt x="218" y="23"/>
                  </a:lnTo>
                  <a:lnTo>
                    <a:pt x="215" y="23"/>
                  </a:lnTo>
                  <a:lnTo>
                    <a:pt x="215" y="20"/>
                  </a:lnTo>
                  <a:lnTo>
                    <a:pt x="215" y="18"/>
                  </a:lnTo>
                  <a:lnTo>
                    <a:pt x="213" y="18"/>
                  </a:lnTo>
                  <a:lnTo>
                    <a:pt x="213" y="15"/>
                  </a:lnTo>
                  <a:lnTo>
                    <a:pt x="213" y="15"/>
                  </a:lnTo>
                  <a:lnTo>
                    <a:pt x="210" y="13"/>
                  </a:lnTo>
                  <a:lnTo>
                    <a:pt x="210" y="10"/>
                  </a:lnTo>
                  <a:lnTo>
                    <a:pt x="207" y="10"/>
                  </a:lnTo>
                  <a:lnTo>
                    <a:pt x="207" y="7"/>
                  </a:lnTo>
                  <a:lnTo>
                    <a:pt x="205" y="7"/>
                  </a:lnTo>
                  <a:lnTo>
                    <a:pt x="205" y="5"/>
                  </a:lnTo>
                  <a:lnTo>
                    <a:pt x="202" y="5"/>
                  </a:lnTo>
                  <a:lnTo>
                    <a:pt x="200" y="5"/>
                  </a:lnTo>
                  <a:lnTo>
                    <a:pt x="200" y="2"/>
                  </a:lnTo>
                  <a:lnTo>
                    <a:pt x="197" y="2"/>
                  </a:lnTo>
                  <a:lnTo>
                    <a:pt x="195" y="2"/>
                  </a:lnTo>
                  <a:lnTo>
                    <a:pt x="195" y="0"/>
                  </a:lnTo>
                  <a:lnTo>
                    <a:pt x="192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7" name="Picture 226">
            <a:extLst>
              <a:ext uri="{FF2B5EF4-FFF2-40B4-BE49-F238E27FC236}">
                <a16:creationId xmlns:a16="http://schemas.microsoft.com/office/drawing/2014/main" id="{1B1AF630-97A7-430C-ADF5-E31AE2A9C0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354" y="4099910"/>
            <a:ext cx="841519" cy="841248"/>
          </a:xfrm>
          <a:prstGeom prst="rect">
            <a:avLst/>
          </a:prstGeom>
        </p:spPr>
      </p:pic>
      <p:grpSp>
        <p:nvGrpSpPr>
          <p:cNvPr id="230" name="Group 199">
            <a:extLst>
              <a:ext uri="{FF2B5EF4-FFF2-40B4-BE49-F238E27FC236}">
                <a16:creationId xmlns:a16="http://schemas.microsoft.com/office/drawing/2014/main" id="{57969EBD-15C4-485E-AE53-EC6087769B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667" y="4158648"/>
            <a:ext cx="758825" cy="758825"/>
            <a:chOff x="3749" y="2846"/>
            <a:chExt cx="478" cy="478"/>
          </a:xfrm>
        </p:grpSpPr>
        <p:sp>
          <p:nvSpPr>
            <p:cNvPr id="231" name="AutoShape 198">
              <a:extLst>
                <a:ext uri="{FF2B5EF4-FFF2-40B4-BE49-F238E27FC236}">
                  <a16:creationId xmlns:a16="http://schemas.microsoft.com/office/drawing/2014/main" id="{34D8921D-15DD-4949-95C0-B34738BA9C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49" y="284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00">
              <a:extLst>
                <a:ext uri="{FF2B5EF4-FFF2-40B4-BE49-F238E27FC236}">
                  <a16:creationId xmlns:a16="http://schemas.microsoft.com/office/drawing/2014/main" id="{9ABCD9B3-2E62-4B15-9ED4-563F2ECE44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1" y="284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01">
              <a:extLst>
                <a:ext uri="{FF2B5EF4-FFF2-40B4-BE49-F238E27FC236}">
                  <a16:creationId xmlns:a16="http://schemas.microsoft.com/office/drawing/2014/main" id="{4D364F82-E3B5-45F5-A97F-8B55C20E09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4" y="2973"/>
              <a:ext cx="230" cy="226"/>
            </a:xfrm>
            <a:custGeom>
              <a:avLst/>
              <a:gdLst>
                <a:gd name="T0" fmla="*/ 230 w 230"/>
                <a:gd name="T1" fmla="*/ 52 h 226"/>
                <a:gd name="T2" fmla="*/ 226 w 230"/>
                <a:gd name="T3" fmla="*/ 47 h 226"/>
                <a:gd name="T4" fmla="*/ 159 w 230"/>
                <a:gd name="T5" fmla="*/ 40 h 226"/>
                <a:gd name="T6" fmla="*/ 154 w 230"/>
                <a:gd name="T7" fmla="*/ 18 h 226"/>
                <a:gd name="T8" fmla="*/ 150 w 230"/>
                <a:gd name="T9" fmla="*/ 8 h 226"/>
                <a:gd name="T10" fmla="*/ 137 w 230"/>
                <a:gd name="T11" fmla="*/ 3 h 226"/>
                <a:gd name="T12" fmla="*/ 123 w 230"/>
                <a:gd name="T13" fmla="*/ 0 h 226"/>
                <a:gd name="T14" fmla="*/ 103 w 230"/>
                <a:gd name="T15" fmla="*/ 0 h 226"/>
                <a:gd name="T16" fmla="*/ 83 w 230"/>
                <a:gd name="T17" fmla="*/ 8 h 226"/>
                <a:gd name="T18" fmla="*/ 76 w 230"/>
                <a:gd name="T19" fmla="*/ 15 h 226"/>
                <a:gd name="T20" fmla="*/ 71 w 230"/>
                <a:gd name="T21" fmla="*/ 32 h 226"/>
                <a:gd name="T22" fmla="*/ 5 w 230"/>
                <a:gd name="T23" fmla="*/ 47 h 226"/>
                <a:gd name="T24" fmla="*/ 0 w 230"/>
                <a:gd name="T25" fmla="*/ 52 h 226"/>
                <a:gd name="T26" fmla="*/ 0 w 230"/>
                <a:gd name="T27" fmla="*/ 54 h 226"/>
                <a:gd name="T28" fmla="*/ 2 w 230"/>
                <a:gd name="T29" fmla="*/ 226 h 226"/>
                <a:gd name="T30" fmla="*/ 230 w 230"/>
                <a:gd name="T31" fmla="*/ 224 h 226"/>
                <a:gd name="T32" fmla="*/ 230 w 230"/>
                <a:gd name="T33" fmla="*/ 221 h 226"/>
                <a:gd name="T34" fmla="*/ 88 w 230"/>
                <a:gd name="T35" fmla="*/ 23 h 226"/>
                <a:gd name="T36" fmla="*/ 96 w 230"/>
                <a:gd name="T37" fmla="*/ 15 h 226"/>
                <a:gd name="T38" fmla="*/ 113 w 230"/>
                <a:gd name="T39" fmla="*/ 13 h 226"/>
                <a:gd name="T40" fmla="*/ 130 w 230"/>
                <a:gd name="T41" fmla="*/ 15 h 226"/>
                <a:gd name="T42" fmla="*/ 140 w 230"/>
                <a:gd name="T43" fmla="*/ 18 h 226"/>
                <a:gd name="T44" fmla="*/ 145 w 230"/>
                <a:gd name="T45" fmla="*/ 27 h 226"/>
                <a:gd name="T46" fmla="*/ 147 w 230"/>
                <a:gd name="T47" fmla="*/ 47 h 226"/>
                <a:gd name="T48" fmla="*/ 83 w 230"/>
                <a:gd name="T49" fmla="*/ 42 h 226"/>
                <a:gd name="T50" fmla="*/ 221 w 230"/>
                <a:gd name="T51" fmla="*/ 214 h 226"/>
                <a:gd name="T52" fmla="*/ 10 w 230"/>
                <a:gd name="T53" fmla="*/ 145 h 226"/>
                <a:gd name="T54" fmla="*/ 91 w 230"/>
                <a:gd name="T55" fmla="*/ 170 h 226"/>
                <a:gd name="T56" fmla="*/ 96 w 230"/>
                <a:gd name="T57" fmla="*/ 172 h 226"/>
                <a:gd name="T58" fmla="*/ 142 w 230"/>
                <a:gd name="T59" fmla="*/ 167 h 226"/>
                <a:gd name="T60" fmla="*/ 142 w 230"/>
                <a:gd name="T61" fmla="*/ 165 h 226"/>
                <a:gd name="T62" fmla="*/ 221 w 230"/>
                <a:gd name="T63" fmla="*/ 145 h 226"/>
                <a:gd name="T64" fmla="*/ 101 w 230"/>
                <a:gd name="T65" fmla="*/ 160 h 226"/>
                <a:gd name="T66" fmla="*/ 130 w 230"/>
                <a:gd name="T67" fmla="*/ 135 h 226"/>
                <a:gd name="T68" fmla="*/ 101 w 230"/>
                <a:gd name="T69" fmla="*/ 160 h 226"/>
                <a:gd name="T70" fmla="*/ 142 w 230"/>
                <a:gd name="T71" fmla="*/ 133 h 226"/>
                <a:gd name="T72" fmla="*/ 137 w 230"/>
                <a:gd name="T73" fmla="*/ 123 h 226"/>
                <a:gd name="T74" fmla="*/ 135 w 230"/>
                <a:gd name="T75" fmla="*/ 123 h 226"/>
                <a:gd name="T76" fmla="*/ 88 w 230"/>
                <a:gd name="T77" fmla="*/ 128 h 226"/>
                <a:gd name="T78" fmla="*/ 88 w 230"/>
                <a:gd name="T79" fmla="*/ 130 h 226"/>
                <a:gd name="T80" fmla="*/ 10 w 230"/>
                <a:gd name="T81" fmla="*/ 133 h 226"/>
                <a:gd name="T82" fmla="*/ 221 w 230"/>
                <a:gd name="T83" fmla="*/ 5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0" h="226">
                  <a:moveTo>
                    <a:pt x="230" y="221"/>
                  </a:moveTo>
                  <a:lnTo>
                    <a:pt x="230" y="52"/>
                  </a:lnTo>
                  <a:lnTo>
                    <a:pt x="228" y="47"/>
                  </a:lnTo>
                  <a:lnTo>
                    <a:pt x="226" y="47"/>
                  </a:lnTo>
                  <a:lnTo>
                    <a:pt x="159" y="47"/>
                  </a:lnTo>
                  <a:lnTo>
                    <a:pt x="159" y="40"/>
                  </a:lnTo>
                  <a:lnTo>
                    <a:pt x="159" y="25"/>
                  </a:lnTo>
                  <a:lnTo>
                    <a:pt x="154" y="18"/>
                  </a:lnTo>
                  <a:lnTo>
                    <a:pt x="152" y="13"/>
                  </a:lnTo>
                  <a:lnTo>
                    <a:pt x="150" y="8"/>
                  </a:lnTo>
                  <a:lnTo>
                    <a:pt x="145" y="8"/>
                  </a:lnTo>
                  <a:lnTo>
                    <a:pt x="137" y="3"/>
                  </a:lnTo>
                  <a:lnTo>
                    <a:pt x="132" y="3"/>
                  </a:lnTo>
                  <a:lnTo>
                    <a:pt x="123" y="0"/>
                  </a:lnTo>
                  <a:lnTo>
                    <a:pt x="115" y="0"/>
                  </a:lnTo>
                  <a:lnTo>
                    <a:pt x="103" y="0"/>
                  </a:lnTo>
                  <a:lnTo>
                    <a:pt x="96" y="3"/>
                  </a:lnTo>
                  <a:lnTo>
                    <a:pt x="83" y="8"/>
                  </a:lnTo>
                  <a:lnTo>
                    <a:pt x="78" y="10"/>
                  </a:lnTo>
                  <a:lnTo>
                    <a:pt x="76" y="15"/>
                  </a:lnTo>
                  <a:lnTo>
                    <a:pt x="74" y="23"/>
                  </a:lnTo>
                  <a:lnTo>
                    <a:pt x="71" y="32"/>
                  </a:lnTo>
                  <a:lnTo>
                    <a:pt x="71" y="47"/>
                  </a:lnTo>
                  <a:lnTo>
                    <a:pt x="5" y="47"/>
                  </a:lnTo>
                  <a:lnTo>
                    <a:pt x="2" y="49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224"/>
                  </a:lnTo>
                  <a:lnTo>
                    <a:pt x="2" y="226"/>
                  </a:lnTo>
                  <a:lnTo>
                    <a:pt x="5" y="226"/>
                  </a:lnTo>
                  <a:lnTo>
                    <a:pt x="230" y="224"/>
                  </a:lnTo>
                  <a:lnTo>
                    <a:pt x="230" y="221"/>
                  </a:lnTo>
                  <a:lnTo>
                    <a:pt x="230" y="221"/>
                  </a:lnTo>
                  <a:close/>
                  <a:moveTo>
                    <a:pt x="83" y="30"/>
                  </a:moveTo>
                  <a:lnTo>
                    <a:pt x="88" y="23"/>
                  </a:lnTo>
                  <a:lnTo>
                    <a:pt x="91" y="18"/>
                  </a:lnTo>
                  <a:lnTo>
                    <a:pt x="96" y="15"/>
                  </a:lnTo>
                  <a:lnTo>
                    <a:pt x="103" y="13"/>
                  </a:lnTo>
                  <a:lnTo>
                    <a:pt x="113" y="13"/>
                  </a:lnTo>
                  <a:lnTo>
                    <a:pt x="118" y="13"/>
                  </a:lnTo>
                  <a:lnTo>
                    <a:pt x="130" y="15"/>
                  </a:lnTo>
                  <a:lnTo>
                    <a:pt x="135" y="15"/>
                  </a:lnTo>
                  <a:lnTo>
                    <a:pt x="140" y="18"/>
                  </a:lnTo>
                  <a:lnTo>
                    <a:pt x="142" y="23"/>
                  </a:lnTo>
                  <a:lnTo>
                    <a:pt x="145" y="27"/>
                  </a:lnTo>
                  <a:lnTo>
                    <a:pt x="147" y="37"/>
                  </a:lnTo>
                  <a:lnTo>
                    <a:pt x="147" y="47"/>
                  </a:lnTo>
                  <a:lnTo>
                    <a:pt x="83" y="47"/>
                  </a:lnTo>
                  <a:lnTo>
                    <a:pt x="83" y="42"/>
                  </a:lnTo>
                  <a:lnTo>
                    <a:pt x="83" y="30"/>
                  </a:lnTo>
                  <a:close/>
                  <a:moveTo>
                    <a:pt x="221" y="214"/>
                  </a:moveTo>
                  <a:lnTo>
                    <a:pt x="10" y="214"/>
                  </a:lnTo>
                  <a:lnTo>
                    <a:pt x="10" y="145"/>
                  </a:lnTo>
                  <a:lnTo>
                    <a:pt x="88" y="145"/>
                  </a:lnTo>
                  <a:lnTo>
                    <a:pt x="91" y="170"/>
                  </a:lnTo>
                  <a:lnTo>
                    <a:pt x="93" y="172"/>
                  </a:lnTo>
                  <a:lnTo>
                    <a:pt x="96" y="172"/>
                  </a:lnTo>
                  <a:lnTo>
                    <a:pt x="140" y="170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5"/>
                  </a:lnTo>
                  <a:lnTo>
                    <a:pt x="142" y="145"/>
                  </a:lnTo>
                  <a:lnTo>
                    <a:pt x="221" y="145"/>
                  </a:lnTo>
                  <a:lnTo>
                    <a:pt x="221" y="214"/>
                  </a:lnTo>
                  <a:close/>
                  <a:moveTo>
                    <a:pt x="101" y="160"/>
                  </a:moveTo>
                  <a:lnTo>
                    <a:pt x="101" y="135"/>
                  </a:lnTo>
                  <a:lnTo>
                    <a:pt x="130" y="135"/>
                  </a:lnTo>
                  <a:lnTo>
                    <a:pt x="130" y="160"/>
                  </a:lnTo>
                  <a:lnTo>
                    <a:pt x="101" y="160"/>
                  </a:lnTo>
                  <a:close/>
                  <a:moveTo>
                    <a:pt x="221" y="133"/>
                  </a:moveTo>
                  <a:lnTo>
                    <a:pt x="142" y="133"/>
                  </a:lnTo>
                  <a:lnTo>
                    <a:pt x="140" y="125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5" y="123"/>
                  </a:lnTo>
                  <a:lnTo>
                    <a:pt x="91" y="125"/>
                  </a:lnTo>
                  <a:lnTo>
                    <a:pt x="88" y="128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3"/>
                  </a:lnTo>
                  <a:lnTo>
                    <a:pt x="10" y="133"/>
                  </a:lnTo>
                  <a:lnTo>
                    <a:pt x="10" y="59"/>
                  </a:lnTo>
                  <a:lnTo>
                    <a:pt x="221" y="59"/>
                  </a:lnTo>
                  <a:lnTo>
                    <a:pt x="221" y="13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8" name="Group 204">
            <a:extLst>
              <a:ext uri="{FF2B5EF4-FFF2-40B4-BE49-F238E27FC236}">
                <a16:creationId xmlns:a16="http://schemas.microsoft.com/office/drawing/2014/main" id="{D8478245-2E2D-4C5B-9548-194BC1B871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1082" y="4158648"/>
            <a:ext cx="760412" cy="758825"/>
            <a:chOff x="5123" y="2818"/>
            <a:chExt cx="479" cy="478"/>
          </a:xfrm>
        </p:grpSpPr>
        <p:sp>
          <p:nvSpPr>
            <p:cNvPr id="239" name="AutoShape 203">
              <a:extLst>
                <a:ext uri="{FF2B5EF4-FFF2-40B4-BE49-F238E27FC236}">
                  <a16:creationId xmlns:a16="http://schemas.microsoft.com/office/drawing/2014/main" id="{DDD5DCE1-E483-473B-BE4D-491F4349B8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3" y="281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05">
              <a:extLst>
                <a:ext uri="{FF2B5EF4-FFF2-40B4-BE49-F238E27FC236}">
                  <a16:creationId xmlns:a16="http://schemas.microsoft.com/office/drawing/2014/main" id="{D2571007-4265-41D8-A2BA-9E2817E921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5" y="282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6">
              <a:extLst>
                <a:ext uri="{FF2B5EF4-FFF2-40B4-BE49-F238E27FC236}">
                  <a16:creationId xmlns:a16="http://schemas.microsoft.com/office/drawing/2014/main" id="{66A1DEA1-58F4-44D6-A1A4-D17597F827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2916"/>
              <a:ext cx="275" cy="284"/>
            </a:xfrm>
            <a:custGeom>
              <a:avLst/>
              <a:gdLst>
                <a:gd name="T0" fmla="*/ 96 w 275"/>
                <a:gd name="T1" fmla="*/ 257 h 284"/>
                <a:gd name="T2" fmla="*/ 96 w 275"/>
                <a:gd name="T3" fmla="*/ 248 h 284"/>
                <a:gd name="T4" fmla="*/ 130 w 275"/>
                <a:gd name="T5" fmla="*/ 257 h 284"/>
                <a:gd name="T6" fmla="*/ 135 w 275"/>
                <a:gd name="T7" fmla="*/ 250 h 284"/>
                <a:gd name="T8" fmla="*/ 69 w 275"/>
                <a:gd name="T9" fmla="*/ 255 h 284"/>
                <a:gd name="T10" fmla="*/ 89 w 275"/>
                <a:gd name="T11" fmla="*/ 253 h 284"/>
                <a:gd name="T12" fmla="*/ 103 w 275"/>
                <a:gd name="T13" fmla="*/ 253 h 284"/>
                <a:gd name="T14" fmla="*/ 123 w 275"/>
                <a:gd name="T15" fmla="*/ 255 h 284"/>
                <a:gd name="T16" fmla="*/ 143 w 275"/>
                <a:gd name="T17" fmla="*/ 250 h 284"/>
                <a:gd name="T18" fmla="*/ 160 w 275"/>
                <a:gd name="T19" fmla="*/ 257 h 284"/>
                <a:gd name="T20" fmla="*/ 108 w 275"/>
                <a:gd name="T21" fmla="*/ 226 h 284"/>
                <a:gd name="T22" fmla="*/ 113 w 275"/>
                <a:gd name="T23" fmla="*/ 235 h 284"/>
                <a:gd name="T24" fmla="*/ 197 w 275"/>
                <a:gd name="T25" fmla="*/ 226 h 284"/>
                <a:gd name="T26" fmla="*/ 197 w 275"/>
                <a:gd name="T27" fmla="*/ 235 h 284"/>
                <a:gd name="T28" fmla="*/ 197 w 275"/>
                <a:gd name="T29" fmla="*/ 226 h 284"/>
                <a:gd name="T30" fmla="*/ 76 w 275"/>
                <a:gd name="T31" fmla="*/ 235 h 284"/>
                <a:gd name="T32" fmla="*/ 98 w 275"/>
                <a:gd name="T33" fmla="*/ 226 h 284"/>
                <a:gd name="T34" fmla="*/ 121 w 275"/>
                <a:gd name="T35" fmla="*/ 233 h 284"/>
                <a:gd name="T36" fmla="*/ 145 w 275"/>
                <a:gd name="T37" fmla="*/ 230 h 284"/>
                <a:gd name="T38" fmla="*/ 150 w 275"/>
                <a:gd name="T39" fmla="*/ 228 h 284"/>
                <a:gd name="T40" fmla="*/ 165 w 275"/>
                <a:gd name="T41" fmla="*/ 233 h 284"/>
                <a:gd name="T42" fmla="*/ 175 w 275"/>
                <a:gd name="T43" fmla="*/ 226 h 284"/>
                <a:gd name="T44" fmla="*/ 182 w 275"/>
                <a:gd name="T45" fmla="*/ 235 h 284"/>
                <a:gd name="T46" fmla="*/ 182 w 275"/>
                <a:gd name="T47" fmla="*/ 226 h 284"/>
                <a:gd name="T48" fmla="*/ 101 w 275"/>
                <a:gd name="T49" fmla="*/ 213 h 284"/>
                <a:gd name="T50" fmla="*/ 106 w 275"/>
                <a:gd name="T51" fmla="*/ 206 h 284"/>
                <a:gd name="T52" fmla="*/ 138 w 275"/>
                <a:gd name="T53" fmla="*/ 213 h 284"/>
                <a:gd name="T54" fmla="*/ 145 w 275"/>
                <a:gd name="T55" fmla="*/ 206 h 284"/>
                <a:gd name="T56" fmla="*/ 150 w 275"/>
                <a:gd name="T57" fmla="*/ 211 h 284"/>
                <a:gd name="T58" fmla="*/ 160 w 275"/>
                <a:gd name="T59" fmla="*/ 208 h 284"/>
                <a:gd name="T60" fmla="*/ 165 w 275"/>
                <a:gd name="T61" fmla="*/ 208 h 284"/>
                <a:gd name="T62" fmla="*/ 175 w 275"/>
                <a:gd name="T63" fmla="*/ 208 h 284"/>
                <a:gd name="T64" fmla="*/ 113 w 275"/>
                <a:gd name="T65" fmla="*/ 208 h 284"/>
                <a:gd name="T66" fmla="*/ 130 w 275"/>
                <a:gd name="T67" fmla="*/ 211 h 284"/>
                <a:gd name="T68" fmla="*/ 182 w 275"/>
                <a:gd name="T69" fmla="*/ 204 h 284"/>
                <a:gd name="T70" fmla="*/ 192 w 275"/>
                <a:gd name="T71" fmla="*/ 213 h 284"/>
                <a:gd name="T72" fmla="*/ 192 w 275"/>
                <a:gd name="T73" fmla="*/ 204 h 284"/>
                <a:gd name="T74" fmla="*/ 108 w 275"/>
                <a:gd name="T75" fmla="*/ 194 h 284"/>
                <a:gd name="T76" fmla="*/ 113 w 275"/>
                <a:gd name="T77" fmla="*/ 186 h 284"/>
                <a:gd name="T78" fmla="*/ 172 w 275"/>
                <a:gd name="T79" fmla="*/ 194 h 284"/>
                <a:gd name="T80" fmla="*/ 180 w 275"/>
                <a:gd name="T81" fmla="*/ 186 h 284"/>
                <a:gd name="T82" fmla="*/ 84 w 275"/>
                <a:gd name="T83" fmla="*/ 191 h 284"/>
                <a:gd name="T84" fmla="*/ 101 w 275"/>
                <a:gd name="T85" fmla="*/ 189 h 284"/>
                <a:gd name="T86" fmla="*/ 121 w 275"/>
                <a:gd name="T87" fmla="*/ 189 h 284"/>
                <a:gd name="T88" fmla="*/ 145 w 275"/>
                <a:gd name="T89" fmla="*/ 191 h 284"/>
                <a:gd name="T90" fmla="*/ 152 w 275"/>
                <a:gd name="T91" fmla="*/ 186 h 284"/>
                <a:gd name="T92" fmla="*/ 165 w 275"/>
                <a:gd name="T93" fmla="*/ 194 h 284"/>
                <a:gd name="T94" fmla="*/ 229 w 275"/>
                <a:gd name="T95" fmla="*/ 137 h 284"/>
                <a:gd name="T96" fmla="*/ 231 w 275"/>
                <a:gd name="T97" fmla="*/ 147 h 284"/>
                <a:gd name="T98" fmla="*/ 229 w 275"/>
                <a:gd name="T99" fmla="*/ 137 h 284"/>
                <a:gd name="T100" fmla="*/ 246 w 275"/>
                <a:gd name="T101" fmla="*/ 147 h 284"/>
                <a:gd name="T102" fmla="*/ 248 w 275"/>
                <a:gd name="T103" fmla="*/ 137 h 284"/>
                <a:gd name="T104" fmla="*/ 125 w 275"/>
                <a:gd name="T105" fmla="*/ 147 h 284"/>
                <a:gd name="T106" fmla="*/ 152 w 275"/>
                <a:gd name="T107" fmla="*/ 140 h 284"/>
                <a:gd name="T108" fmla="*/ 231 w 275"/>
                <a:gd name="T109" fmla="*/ 118 h 284"/>
                <a:gd name="T110" fmla="*/ 265 w 275"/>
                <a:gd name="T111" fmla="*/ 105 h 284"/>
                <a:gd name="T112" fmla="*/ 42 w 275"/>
                <a:gd name="T113" fmla="*/ 169 h 284"/>
                <a:gd name="T114" fmla="*/ 25 w 275"/>
                <a:gd name="T115" fmla="*/ 93 h 284"/>
                <a:gd name="T116" fmla="*/ 76 w 275"/>
                <a:gd name="T117" fmla="*/ 10 h 284"/>
                <a:gd name="T118" fmla="*/ 20 w 275"/>
                <a:gd name="T119" fmla="*/ 83 h 284"/>
                <a:gd name="T120" fmla="*/ 3 w 275"/>
                <a:gd name="T121" fmla="*/ 105 h 284"/>
                <a:gd name="T122" fmla="*/ 263 w 275"/>
                <a:gd name="T123" fmla="*/ 88 h 284"/>
                <a:gd name="T124" fmla="*/ 231 w 275"/>
                <a:gd name="T125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5" h="284">
                  <a:moveTo>
                    <a:pt x="96" y="248"/>
                  </a:moveTo>
                  <a:lnTo>
                    <a:pt x="94" y="248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1" y="250"/>
                  </a:lnTo>
                  <a:lnTo>
                    <a:pt x="91" y="250"/>
                  </a:lnTo>
                  <a:lnTo>
                    <a:pt x="91" y="250"/>
                  </a:lnTo>
                  <a:lnTo>
                    <a:pt x="91" y="253"/>
                  </a:lnTo>
                  <a:lnTo>
                    <a:pt x="91" y="253"/>
                  </a:lnTo>
                  <a:lnTo>
                    <a:pt x="91" y="253"/>
                  </a:lnTo>
                  <a:lnTo>
                    <a:pt x="91" y="253"/>
                  </a:lnTo>
                  <a:lnTo>
                    <a:pt x="91" y="253"/>
                  </a:lnTo>
                  <a:lnTo>
                    <a:pt x="91" y="255"/>
                  </a:lnTo>
                  <a:lnTo>
                    <a:pt x="91" y="255"/>
                  </a:lnTo>
                  <a:lnTo>
                    <a:pt x="91" y="255"/>
                  </a:lnTo>
                  <a:lnTo>
                    <a:pt x="91" y="255"/>
                  </a:lnTo>
                  <a:lnTo>
                    <a:pt x="91" y="255"/>
                  </a:lnTo>
                  <a:lnTo>
                    <a:pt x="91" y="257"/>
                  </a:lnTo>
                  <a:lnTo>
                    <a:pt x="91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101" y="255"/>
                  </a:lnTo>
                  <a:lnTo>
                    <a:pt x="101" y="255"/>
                  </a:lnTo>
                  <a:lnTo>
                    <a:pt x="101" y="255"/>
                  </a:lnTo>
                  <a:lnTo>
                    <a:pt x="101" y="255"/>
                  </a:lnTo>
                  <a:lnTo>
                    <a:pt x="101" y="255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close/>
                  <a:moveTo>
                    <a:pt x="133" y="248"/>
                  </a:moveTo>
                  <a:lnTo>
                    <a:pt x="133" y="248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28" y="255"/>
                  </a:lnTo>
                  <a:lnTo>
                    <a:pt x="128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3" y="257"/>
                  </a:lnTo>
                  <a:lnTo>
                    <a:pt x="133" y="257"/>
                  </a:lnTo>
                  <a:lnTo>
                    <a:pt x="133" y="257"/>
                  </a:lnTo>
                  <a:lnTo>
                    <a:pt x="133" y="257"/>
                  </a:lnTo>
                  <a:lnTo>
                    <a:pt x="133" y="257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8" y="257"/>
                  </a:lnTo>
                  <a:lnTo>
                    <a:pt x="138" y="255"/>
                  </a:lnTo>
                  <a:lnTo>
                    <a:pt x="138" y="255"/>
                  </a:lnTo>
                  <a:lnTo>
                    <a:pt x="138" y="255"/>
                  </a:lnTo>
                  <a:lnTo>
                    <a:pt x="138" y="255"/>
                  </a:lnTo>
                  <a:lnTo>
                    <a:pt x="138" y="255"/>
                  </a:lnTo>
                  <a:lnTo>
                    <a:pt x="138" y="253"/>
                  </a:lnTo>
                  <a:lnTo>
                    <a:pt x="138" y="253"/>
                  </a:lnTo>
                  <a:lnTo>
                    <a:pt x="138" y="253"/>
                  </a:lnTo>
                  <a:lnTo>
                    <a:pt x="138" y="253"/>
                  </a:lnTo>
                  <a:lnTo>
                    <a:pt x="138" y="253"/>
                  </a:lnTo>
                  <a:lnTo>
                    <a:pt x="138" y="250"/>
                  </a:lnTo>
                  <a:lnTo>
                    <a:pt x="138" y="250"/>
                  </a:lnTo>
                  <a:lnTo>
                    <a:pt x="135" y="250"/>
                  </a:lnTo>
                  <a:lnTo>
                    <a:pt x="135" y="250"/>
                  </a:lnTo>
                  <a:lnTo>
                    <a:pt x="135" y="250"/>
                  </a:lnTo>
                  <a:lnTo>
                    <a:pt x="135" y="250"/>
                  </a:lnTo>
                  <a:lnTo>
                    <a:pt x="135" y="250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8"/>
                  </a:lnTo>
                  <a:close/>
                  <a:moveTo>
                    <a:pt x="84" y="248"/>
                  </a:moveTo>
                  <a:lnTo>
                    <a:pt x="74" y="248"/>
                  </a:lnTo>
                  <a:lnTo>
                    <a:pt x="74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50"/>
                  </a:lnTo>
                  <a:lnTo>
                    <a:pt x="71" y="250"/>
                  </a:lnTo>
                  <a:lnTo>
                    <a:pt x="71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4" y="257"/>
                  </a:lnTo>
                  <a:lnTo>
                    <a:pt x="74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4" y="248"/>
                  </a:lnTo>
                  <a:lnTo>
                    <a:pt x="84" y="248"/>
                  </a:lnTo>
                  <a:lnTo>
                    <a:pt x="84" y="248"/>
                  </a:lnTo>
                  <a:close/>
                  <a:moveTo>
                    <a:pt x="118" y="248"/>
                  </a:moveTo>
                  <a:lnTo>
                    <a:pt x="108" y="248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3"/>
                  </a:lnTo>
                  <a:lnTo>
                    <a:pt x="106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5"/>
                  </a:lnTo>
                  <a:lnTo>
                    <a:pt x="103" y="255"/>
                  </a:lnTo>
                  <a:lnTo>
                    <a:pt x="106" y="255"/>
                  </a:lnTo>
                  <a:lnTo>
                    <a:pt x="106" y="255"/>
                  </a:lnTo>
                  <a:lnTo>
                    <a:pt x="106" y="255"/>
                  </a:lnTo>
                  <a:lnTo>
                    <a:pt x="106" y="257"/>
                  </a:lnTo>
                  <a:lnTo>
                    <a:pt x="106" y="257"/>
                  </a:lnTo>
                  <a:lnTo>
                    <a:pt x="106" y="257"/>
                  </a:lnTo>
                  <a:lnTo>
                    <a:pt x="106" y="257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118" y="257"/>
                  </a:lnTo>
                  <a:lnTo>
                    <a:pt x="121" y="257"/>
                  </a:lnTo>
                  <a:lnTo>
                    <a:pt x="121" y="257"/>
                  </a:lnTo>
                  <a:lnTo>
                    <a:pt x="121" y="257"/>
                  </a:lnTo>
                  <a:lnTo>
                    <a:pt x="121" y="257"/>
                  </a:lnTo>
                  <a:lnTo>
                    <a:pt x="121" y="257"/>
                  </a:lnTo>
                  <a:lnTo>
                    <a:pt x="123" y="257"/>
                  </a:lnTo>
                  <a:lnTo>
                    <a:pt x="123" y="257"/>
                  </a:lnTo>
                  <a:lnTo>
                    <a:pt x="123" y="257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3"/>
                  </a:lnTo>
                  <a:lnTo>
                    <a:pt x="123" y="253"/>
                  </a:lnTo>
                  <a:lnTo>
                    <a:pt x="123" y="253"/>
                  </a:lnTo>
                  <a:lnTo>
                    <a:pt x="123" y="253"/>
                  </a:lnTo>
                  <a:lnTo>
                    <a:pt x="123" y="253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1" y="250"/>
                  </a:lnTo>
                  <a:lnTo>
                    <a:pt x="121" y="250"/>
                  </a:lnTo>
                  <a:lnTo>
                    <a:pt x="121" y="248"/>
                  </a:lnTo>
                  <a:lnTo>
                    <a:pt x="121" y="248"/>
                  </a:lnTo>
                  <a:lnTo>
                    <a:pt x="121" y="248"/>
                  </a:lnTo>
                  <a:lnTo>
                    <a:pt x="118" y="248"/>
                  </a:lnTo>
                  <a:close/>
                  <a:moveTo>
                    <a:pt x="157" y="248"/>
                  </a:moveTo>
                  <a:lnTo>
                    <a:pt x="148" y="248"/>
                  </a:lnTo>
                  <a:lnTo>
                    <a:pt x="145" y="248"/>
                  </a:lnTo>
                  <a:lnTo>
                    <a:pt x="145" y="248"/>
                  </a:lnTo>
                  <a:lnTo>
                    <a:pt x="145" y="248"/>
                  </a:lnTo>
                  <a:lnTo>
                    <a:pt x="145" y="250"/>
                  </a:lnTo>
                  <a:lnTo>
                    <a:pt x="145" y="250"/>
                  </a:lnTo>
                  <a:lnTo>
                    <a:pt x="143" y="250"/>
                  </a:lnTo>
                  <a:lnTo>
                    <a:pt x="143" y="250"/>
                  </a:lnTo>
                  <a:lnTo>
                    <a:pt x="143" y="250"/>
                  </a:lnTo>
                  <a:lnTo>
                    <a:pt x="143" y="250"/>
                  </a:lnTo>
                  <a:lnTo>
                    <a:pt x="143" y="253"/>
                  </a:lnTo>
                  <a:lnTo>
                    <a:pt x="143" y="253"/>
                  </a:lnTo>
                  <a:lnTo>
                    <a:pt x="143" y="253"/>
                  </a:lnTo>
                  <a:lnTo>
                    <a:pt x="143" y="253"/>
                  </a:lnTo>
                  <a:lnTo>
                    <a:pt x="143" y="253"/>
                  </a:lnTo>
                  <a:lnTo>
                    <a:pt x="143" y="255"/>
                  </a:lnTo>
                  <a:lnTo>
                    <a:pt x="143" y="255"/>
                  </a:lnTo>
                  <a:lnTo>
                    <a:pt x="143" y="255"/>
                  </a:lnTo>
                  <a:lnTo>
                    <a:pt x="143" y="255"/>
                  </a:lnTo>
                  <a:lnTo>
                    <a:pt x="143" y="255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8" y="257"/>
                  </a:lnTo>
                  <a:lnTo>
                    <a:pt x="157" y="257"/>
                  </a:lnTo>
                  <a:lnTo>
                    <a:pt x="157" y="257"/>
                  </a:lnTo>
                  <a:lnTo>
                    <a:pt x="157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2" y="257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2" y="250"/>
                  </a:lnTo>
                  <a:lnTo>
                    <a:pt x="162" y="250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60" y="248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8"/>
                  </a:lnTo>
                  <a:close/>
                  <a:moveTo>
                    <a:pt x="111" y="226"/>
                  </a:moveTo>
                  <a:lnTo>
                    <a:pt x="111" y="226"/>
                  </a:lnTo>
                  <a:lnTo>
                    <a:pt x="111" y="226"/>
                  </a:lnTo>
                  <a:lnTo>
                    <a:pt x="108" y="226"/>
                  </a:lnTo>
                  <a:lnTo>
                    <a:pt x="108" y="226"/>
                  </a:lnTo>
                  <a:lnTo>
                    <a:pt x="108" y="226"/>
                  </a:lnTo>
                  <a:lnTo>
                    <a:pt x="108" y="226"/>
                  </a:lnTo>
                  <a:lnTo>
                    <a:pt x="108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8" y="233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3" y="235"/>
                  </a:lnTo>
                  <a:lnTo>
                    <a:pt x="113" y="235"/>
                  </a:lnTo>
                  <a:lnTo>
                    <a:pt x="113" y="235"/>
                  </a:lnTo>
                  <a:lnTo>
                    <a:pt x="113" y="235"/>
                  </a:lnTo>
                  <a:lnTo>
                    <a:pt x="113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28"/>
                  </a:lnTo>
                  <a:lnTo>
                    <a:pt x="116" y="228"/>
                  </a:lnTo>
                  <a:lnTo>
                    <a:pt x="116" y="228"/>
                  </a:lnTo>
                  <a:lnTo>
                    <a:pt x="116" y="228"/>
                  </a:lnTo>
                  <a:lnTo>
                    <a:pt x="113" y="228"/>
                  </a:lnTo>
                  <a:lnTo>
                    <a:pt x="113" y="226"/>
                  </a:lnTo>
                  <a:lnTo>
                    <a:pt x="113" y="226"/>
                  </a:lnTo>
                  <a:lnTo>
                    <a:pt x="113" y="226"/>
                  </a:lnTo>
                  <a:lnTo>
                    <a:pt x="113" y="226"/>
                  </a:lnTo>
                  <a:lnTo>
                    <a:pt x="111" y="226"/>
                  </a:lnTo>
                  <a:lnTo>
                    <a:pt x="111" y="226"/>
                  </a:lnTo>
                  <a:lnTo>
                    <a:pt x="111" y="226"/>
                  </a:lnTo>
                  <a:close/>
                  <a:moveTo>
                    <a:pt x="197" y="226"/>
                  </a:moveTo>
                  <a:lnTo>
                    <a:pt x="197" y="226"/>
                  </a:lnTo>
                  <a:lnTo>
                    <a:pt x="197" y="226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4" y="226"/>
                  </a:lnTo>
                  <a:lnTo>
                    <a:pt x="194" y="228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92" y="230"/>
                  </a:lnTo>
                  <a:lnTo>
                    <a:pt x="192" y="233"/>
                  </a:lnTo>
                  <a:lnTo>
                    <a:pt x="192" y="233"/>
                  </a:lnTo>
                  <a:lnTo>
                    <a:pt x="192" y="233"/>
                  </a:lnTo>
                  <a:lnTo>
                    <a:pt x="192" y="233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4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9" y="235"/>
                  </a:lnTo>
                  <a:lnTo>
                    <a:pt x="199" y="235"/>
                  </a:lnTo>
                  <a:lnTo>
                    <a:pt x="199" y="235"/>
                  </a:lnTo>
                  <a:lnTo>
                    <a:pt x="199" y="235"/>
                  </a:lnTo>
                  <a:lnTo>
                    <a:pt x="199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202" y="228"/>
                  </a:lnTo>
                  <a:lnTo>
                    <a:pt x="199" y="228"/>
                  </a:lnTo>
                  <a:lnTo>
                    <a:pt x="199" y="226"/>
                  </a:lnTo>
                  <a:lnTo>
                    <a:pt x="199" y="226"/>
                  </a:lnTo>
                  <a:lnTo>
                    <a:pt x="199" y="226"/>
                  </a:lnTo>
                  <a:lnTo>
                    <a:pt x="199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close/>
                  <a:moveTo>
                    <a:pt x="79" y="226"/>
                  </a:moveTo>
                  <a:lnTo>
                    <a:pt x="79" y="226"/>
                  </a:lnTo>
                  <a:lnTo>
                    <a:pt x="79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6" y="233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96" y="235"/>
                  </a:lnTo>
                  <a:lnTo>
                    <a:pt x="96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101" y="233"/>
                  </a:lnTo>
                  <a:lnTo>
                    <a:pt x="101" y="233"/>
                  </a:lnTo>
                  <a:lnTo>
                    <a:pt x="101" y="233"/>
                  </a:lnTo>
                  <a:lnTo>
                    <a:pt x="101" y="233"/>
                  </a:lnTo>
                  <a:lnTo>
                    <a:pt x="101" y="233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79" y="226"/>
                  </a:lnTo>
                  <a:close/>
                  <a:moveTo>
                    <a:pt x="125" y="226"/>
                  </a:moveTo>
                  <a:lnTo>
                    <a:pt x="125" y="226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3"/>
                  </a:lnTo>
                  <a:lnTo>
                    <a:pt x="121" y="233"/>
                  </a:lnTo>
                  <a:lnTo>
                    <a:pt x="121" y="233"/>
                  </a:lnTo>
                  <a:lnTo>
                    <a:pt x="121" y="233"/>
                  </a:lnTo>
                  <a:lnTo>
                    <a:pt x="121" y="233"/>
                  </a:lnTo>
                  <a:lnTo>
                    <a:pt x="123" y="235"/>
                  </a:lnTo>
                  <a:lnTo>
                    <a:pt x="123" y="235"/>
                  </a:lnTo>
                  <a:lnTo>
                    <a:pt x="123" y="235"/>
                  </a:lnTo>
                  <a:lnTo>
                    <a:pt x="123" y="235"/>
                  </a:lnTo>
                  <a:lnTo>
                    <a:pt x="123" y="235"/>
                  </a:lnTo>
                  <a:lnTo>
                    <a:pt x="125" y="235"/>
                  </a:lnTo>
                  <a:lnTo>
                    <a:pt x="125" y="235"/>
                  </a:lnTo>
                  <a:lnTo>
                    <a:pt x="140" y="235"/>
                  </a:lnTo>
                  <a:lnTo>
                    <a:pt x="143" y="235"/>
                  </a:lnTo>
                  <a:lnTo>
                    <a:pt x="143" y="235"/>
                  </a:lnTo>
                  <a:lnTo>
                    <a:pt x="143" y="235"/>
                  </a:lnTo>
                  <a:lnTo>
                    <a:pt x="143" y="235"/>
                  </a:lnTo>
                  <a:lnTo>
                    <a:pt x="143" y="235"/>
                  </a:lnTo>
                  <a:lnTo>
                    <a:pt x="143" y="235"/>
                  </a:lnTo>
                  <a:lnTo>
                    <a:pt x="145" y="233"/>
                  </a:lnTo>
                  <a:lnTo>
                    <a:pt x="145" y="233"/>
                  </a:lnTo>
                  <a:lnTo>
                    <a:pt x="145" y="233"/>
                  </a:lnTo>
                  <a:lnTo>
                    <a:pt x="145" y="233"/>
                  </a:lnTo>
                  <a:lnTo>
                    <a:pt x="145" y="233"/>
                  </a:lnTo>
                  <a:lnTo>
                    <a:pt x="145" y="230"/>
                  </a:lnTo>
                  <a:lnTo>
                    <a:pt x="145" y="230"/>
                  </a:lnTo>
                  <a:lnTo>
                    <a:pt x="145" y="230"/>
                  </a:lnTo>
                  <a:lnTo>
                    <a:pt x="145" y="230"/>
                  </a:lnTo>
                  <a:lnTo>
                    <a:pt x="145" y="230"/>
                  </a:lnTo>
                  <a:lnTo>
                    <a:pt x="145" y="228"/>
                  </a:lnTo>
                  <a:lnTo>
                    <a:pt x="145" y="228"/>
                  </a:lnTo>
                  <a:lnTo>
                    <a:pt x="145" y="228"/>
                  </a:lnTo>
                  <a:lnTo>
                    <a:pt x="145" y="228"/>
                  </a:lnTo>
                  <a:lnTo>
                    <a:pt x="145" y="228"/>
                  </a:lnTo>
                  <a:lnTo>
                    <a:pt x="143" y="226"/>
                  </a:lnTo>
                  <a:lnTo>
                    <a:pt x="143" y="226"/>
                  </a:lnTo>
                  <a:lnTo>
                    <a:pt x="143" y="226"/>
                  </a:lnTo>
                  <a:lnTo>
                    <a:pt x="143" y="226"/>
                  </a:lnTo>
                  <a:lnTo>
                    <a:pt x="143" y="226"/>
                  </a:lnTo>
                  <a:lnTo>
                    <a:pt x="143" y="226"/>
                  </a:lnTo>
                  <a:lnTo>
                    <a:pt x="140" y="226"/>
                  </a:lnTo>
                  <a:lnTo>
                    <a:pt x="125" y="226"/>
                  </a:lnTo>
                  <a:close/>
                  <a:moveTo>
                    <a:pt x="155" y="226"/>
                  </a:moveTo>
                  <a:lnTo>
                    <a:pt x="155" y="226"/>
                  </a:lnTo>
                  <a:lnTo>
                    <a:pt x="155" y="226"/>
                  </a:lnTo>
                  <a:lnTo>
                    <a:pt x="155" y="226"/>
                  </a:lnTo>
                  <a:lnTo>
                    <a:pt x="152" y="226"/>
                  </a:lnTo>
                  <a:lnTo>
                    <a:pt x="152" y="226"/>
                  </a:lnTo>
                  <a:lnTo>
                    <a:pt x="152" y="226"/>
                  </a:lnTo>
                  <a:lnTo>
                    <a:pt x="152" y="226"/>
                  </a:lnTo>
                  <a:lnTo>
                    <a:pt x="152" y="228"/>
                  </a:lnTo>
                  <a:lnTo>
                    <a:pt x="152" y="228"/>
                  </a:lnTo>
                  <a:lnTo>
                    <a:pt x="152" y="228"/>
                  </a:lnTo>
                  <a:lnTo>
                    <a:pt x="150" y="228"/>
                  </a:lnTo>
                  <a:lnTo>
                    <a:pt x="150" y="228"/>
                  </a:lnTo>
                  <a:lnTo>
                    <a:pt x="150" y="228"/>
                  </a:lnTo>
                  <a:lnTo>
                    <a:pt x="150" y="230"/>
                  </a:lnTo>
                  <a:lnTo>
                    <a:pt x="150" y="230"/>
                  </a:lnTo>
                  <a:lnTo>
                    <a:pt x="150" y="230"/>
                  </a:lnTo>
                  <a:lnTo>
                    <a:pt x="150" y="230"/>
                  </a:lnTo>
                  <a:lnTo>
                    <a:pt x="150" y="230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52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2" y="235"/>
                  </a:lnTo>
                  <a:lnTo>
                    <a:pt x="152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60" y="235"/>
                  </a:lnTo>
                  <a:lnTo>
                    <a:pt x="162" y="235"/>
                  </a:lnTo>
                  <a:lnTo>
                    <a:pt x="162" y="235"/>
                  </a:lnTo>
                  <a:lnTo>
                    <a:pt x="162" y="235"/>
                  </a:lnTo>
                  <a:lnTo>
                    <a:pt x="162" y="235"/>
                  </a:lnTo>
                  <a:lnTo>
                    <a:pt x="162" y="235"/>
                  </a:lnTo>
                  <a:lnTo>
                    <a:pt x="162" y="235"/>
                  </a:lnTo>
                  <a:lnTo>
                    <a:pt x="165" y="233"/>
                  </a:lnTo>
                  <a:lnTo>
                    <a:pt x="165" y="233"/>
                  </a:lnTo>
                  <a:lnTo>
                    <a:pt x="165" y="233"/>
                  </a:lnTo>
                  <a:lnTo>
                    <a:pt x="165" y="233"/>
                  </a:lnTo>
                  <a:lnTo>
                    <a:pt x="165" y="233"/>
                  </a:lnTo>
                  <a:lnTo>
                    <a:pt x="165" y="230"/>
                  </a:lnTo>
                  <a:lnTo>
                    <a:pt x="165" y="230"/>
                  </a:lnTo>
                  <a:lnTo>
                    <a:pt x="165" y="230"/>
                  </a:lnTo>
                  <a:lnTo>
                    <a:pt x="165" y="230"/>
                  </a:lnTo>
                  <a:lnTo>
                    <a:pt x="165" y="230"/>
                  </a:lnTo>
                  <a:lnTo>
                    <a:pt x="165" y="228"/>
                  </a:lnTo>
                  <a:lnTo>
                    <a:pt x="165" y="228"/>
                  </a:lnTo>
                  <a:lnTo>
                    <a:pt x="165" y="228"/>
                  </a:lnTo>
                  <a:lnTo>
                    <a:pt x="165" y="228"/>
                  </a:lnTo>
                  <a:lnTo>
                    <a:pt x="165" y="228"/>
                  </a:lnTo>
                  <a:lnTo>
                    <a:pt x="165" y="228"/>
                  </a:lnTo>
                  <a:lnTo>
                    <a:pt x="165" y="226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2" y="226"/>
                  </a:lnTo>
                  <a:lnTo>
                    <a:pt x="160" y="226"/>
                  </a:lnTo>
                  <a:lnTo>
                    <a:pt x="155" y="226"/>
                  </a:lnTo>
                  <a:close/>
                  <a:moveTo>
                    <a:pt x="175" y="226"/>
                  </a:moveTo>
                  <a:lnTo>
                    <a:pt x="175" y="226"/>
                  </a:lnTo>
                  <a:lnTo>
                    <a:pt x="175" y="226"/>
                  </a:lnTo>
                  <a:lnTo>
                    <a:pt x="175" y="226"/>
                  </a:lnTo>
                  <a:lnTo>
                    <a:pt x="172" y="226"/>
                  </a:lnTo>
                  <a:lnTo>
                    <a:pt x="172" y="226"/>
                  </a:lnTo>
                  <a:lnTo>
                    <a:pt x="172" y="226"/>
                  </a:lnTo>
                  <a:lnTo>
                    <a:pt x="172" y="228"/>
                  </a:lnTo>
                  <a:lnTo>
                    <a:pt x="172" y="228"/>
                  </a:lnTo>
                  <a:lnTo>
                    <a:pt x="172" y="228"/>
                  </a:lnTo>
                  <a:lnTo>
                    <a:pt x="172" y="228"/>
                  </a:lnTo>
                  <a:lnTo>
                    <a:pt x="170" y="228"/>
                  </a:lnTo>
                  <a:lnTo>
                    <a:pt x="170" y="228"/>
                  </a:lnTo>
                  <a:lnTo>
                    <a:pt x="170" y="230"/>
                  </a:lnTo>
                  <a:lnTo>
                    <a:pt x="170" y="230"/>
                  </a:lnTo>
                  <a:lnTo>
                    <a:pt x="170" y="230"/>
                  </a:lnTo>
                  <a:lnTo>
                    <a:pt x="170" y="230"/>
                  </a:lnTo>
                  <a:lnTo>
                    <a:pt x="170" y="230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2" y="233"/>
                  </a:lnTo>
                  <a:lnTo>
                    <a:pt x="172" y="233"/>
                  </a:lnTo>
                  <a:lnTo>
                    <a:pt x="172" y="233"/>
                  </a:lnTo>
                  <a:lnTo>
                    <a:pt x="172" y="235"/>
                  </a:lnTo>
                  <a:lnTo>
                    <a:pt x="172" y="235"/>
                  </a:lnTo>
                  <a:lnTo>
                    <a:pt x="172" y="235"/>
                  </a:lnTo>
                  <a:lnTo>
                    <a:pt x="175" y="235"/>
                  </a:lnTo>
                  <a:lnTo>
                    <a:pt x="175" y="235"/>
                  </a:lnTo>
                  <a:lnTo>
                    <a:pt x="175" y="235"/>
                  </a:lnTo>
                  <a:lnTo>
                    <a:pt x="175" y="235"/>
                  </a:lnTo>
                  <a:lnTo>
                    <a:pt x="182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4" y="235"/>
                  </a:lnTo>
                  <a:lnTo>
                    <a:pt x="184" y="235"/>
                  </a:lnTo>
                  <a:lnTo>
                    <a:pt x="184" y="235"/>
                  </a:lnTo>
                  <a:lnTo>
                    <a:pt x="184" y="235"/>
                  </a:lnTo>
                  <a:lnTo>
                    <a:pt x="187" y="233"/>
                  </a:lnTo>
                  <a:lnTo>
                    <a:pt x="187" y="233"/>
                  </a:lnTo>
                  <a:lnTo>
                    <a:pt x="187" y="233"/>
                  </a:lnTo>
                  <a:lnTo>
                    <a:pt x="187" y="233"/>
                  </a:lnTo>
                  <a:lnTo>
                    <a:pt x="187" y="233"/>
                  </a:lnTo>
                  <a:lnTo>
                    <a:pt x="187" y="230"/>
                  </a:lnTo>
                  <a:lnTo>
                    <a:pt x="187" y="230"/>
                  </a:lnTo>
                  <a:lnTo>
                    <a:pt x="187" y="230"/>
                  </a:lnTo>
                  <a:lnTo>
                    <a:pt x="187" y="230"/>
                  </a:lnTo>
                  <a:lnTo>
                    <a:pt x="187" y="230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7" y="228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2" y="226"/>
                  </a:lnTo>
                  <a:lnTo>
                    <a:pt x="182" y="226"/>
                  </a:lnTo>
                  <a:lnTo>
                    <a:pt x="175" y="226"/>
                  </a:lnTo>
                  <a:close/>
                  <a:moveTo>
                    <a:pt x="103" y="204"/>
                  </a:moveTo>
                  <a:lnTo>
                    <a:pt x="103" y="204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1" y="204"/>
                  </a:lnTo>
                  <a:lnTo>
                    <a:pt x="101" y="206"/>
                  </a:lnTo>
                  <a:lnTo>
                    <a:pt x="101" y="206"/>
                  </a:lnTo>
                  <a:lnTo>
                    <a:pt x="101" y="206"/>
                  </a:lnTo>
                  <a:lnTo>
                    <a:pt x="101" y="206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11"/>
                  </a:lnTo>
                  <a:lnTo>
                    <a:pt x="98" y="211"/>
                  </a:lnTo>
                  <a:lnTo>
                    <a:pt x="98" y="211"/>
                  </a:lnTo>
                  <a:lnTo>
                    <a:pt x="98" y="211"/>
                  </a:lnTo>
                  <a:lnTo>
                    <a:pt x="101" y="211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3" y="213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8" y="213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11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108" y="206"/>
                  </a:lnTo>
                  <a:lnTo>
                    <a:pt x="108" y="206"/>
                  </a:lnTo>
                  <a:lnTo>
                    <a:pt x="108" y="206"/>
                  </a:lnTo>
                  <a:lnTo>
                    <a:pt x="106" y="206"/>
                  </a:lnTo>
                  <a:lnTo>
                    <a:pt x="106" y="206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3" y="204"/>
                  </a:lnTo>
                  <a:lnTo>
                    <a:pt x="103" y="204"/>
                  </a:lnTo>
                  <a:close/>
                  <a:moveTo>
                    <a:pt x="140" y="204"/>
                  </a:moveTo>
                  <a:lnTo>
                    <a:pt x="140" y="204"/>
                  </a:lnTo>
                  <a:lnTo>
                    <a:pt x="140" y="204"/>
                  </a:lnTo>
                  <a:lnTo>
                    <a:pt x="138" y="204"/>
                  </a:lnTo>
                  <a:lnTo>
                    <a:pt x="138" y="204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5" y="206"/>
                  </a:lnTo>
                  <a:lnTo>
                    <a:pt x="135" y="206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5" y="208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8" y="213"/>
                  </a:lnTo>
                  <a:lnTo>
                    <a:pt x="138" y="213"/>
                  </a:lnTo>
                  <a:lnTo>
                    <a:pt x="138" y="213"/>
                  </a:lnTo>
                  <a:lnTo>
                    <a:pt x="138" y="213"/>
                  </a:lnTo>
                  <a:lnTo>
                    <a:pt x="138" y="213"/>
                  </a:lnTo>
                  <a:lnTo>
                    <a:pt x="140" y="213"/>
                  </a:lnTo>
                  <a:lnTo>
                    <a:pt x="140" y="213"/>
                  </a:lnTo>
                  <a:lnTo>
                    <a:pt x="140" y="213"/>
                  </a:lnTo>
                  <a:lnTo>
                    <a:pt x="140" y="213"/>
                  </a:lnTo>
                  <a:lnTo>
                    <a:pt x="140" y="213"/>
                  </a:lnTo>
                  <a:lnTo>
                    <a:pt x="143" y="213"/>
                  </a:lnTo>
                  <a:lnTo>
                    <a:pt x="143" y="213"/>
                  </a:lnTo>
                  <a:lnTo>
                    <a:pt x="143" y="213"/>
                  </a:lnTo>
                  <a:lnTo>
                    <a:pt x="143" y="213"/>
                  </a:lnTo>
                  <a:lnTo>
                    <a:pt x="143" y="213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45" y="206"/>
                  </a:lnTo>
                  <a:lnTo>
                    <a:pt x="145" y="206"/>
                  </a:lnTo>
                  <a:lnTo>
                    <a:pt x="143" y="206"/>
                  </a:lnTo>
                  <a:lnTo>
                    <a:pt x="143" y="206"/>
                  </a:lnTo>
                  <a:lnTo>
                    <a:pt x="143" y="206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0" y="204"/>
                  </a:lnTo>
                  <a:lnTo>
                    <a:pt x="140" y="204"/>
                  </a:lnTo>
                  <a:lnTo>
                    <a:pt x="140" y="204"/>
                  </a:lnTo>
                  <a:close/>
                  <a:moveTo>
                    <a:pt x="155" y="204"/>
                  </a:moveTo>
                  <a:lnTo>
                    <a:pt x="155" y="204"/>
                  </a:lnTo>
                  <a:lnTo>
                    <a:pt x="155" y="204"/>
                  </a:lnTo>
                  <a:lnTo>
                    <a:pt x="152" y="204"/>
                  </a:lnTo>
                  <a:lnTo>
                    <a:pt x="152" y="204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11"/>
                  </a:lnTo>
                  <a:lnTo>
                    <a:pt x="150" y="211"/>
                  </a:lnTo>
                  <a:lnTo>
                    <a:pt x="150" y="211"/>
                  </a:lnTo>
                  <a:lnTo>
                    <a:pt x="150" y="211"/>
                  </a:lnTo>
                  <a:lnTo>
                    <a:pt x="150" y="211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0" y="206"/>
                  </a:lnTo>
                  <a:lnTo>
                    <a:pt x="160" y="206"/>
                  </a:lnTo>
                  <a:lnTo>
                    <a:pt x="157" y="206"/>
                  </a:lnTo>
                  <a:lnTo>
                    <a:pt x="157" y="206"/>
                  </a:lnTo>
                  <a:lnTo>
                    <a:pt x="157" y="206"/>
                  </a:lnTo>
                  <a:lnTo>
                    <a:pt x="157" y="204"/>
                  </a:lnTo>
                  <a:lnTo>
                    <a:pt x="157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close/>
                  <a:moveTo>
                    <a:pt x="170" y="204"/>
                  </a:moveTo>
                  <a:lnTo>
                    <a:pt x="170" y="204"/>
                  </a:lnTo>
                  <a:lnTo>
                    <a:pt x="167" y="204"/>
                  </a:lnTo>
                  <a:lnTo>
                    <a:pt x="167" y="204"/>
                  </a:lnTo>
                  <a:lnTo>
                    <a:pt x="167" y="204"/>
                  </a:lnTo>
                  <a:lnTo>
                    <a:pt x="167" y="206"/>
                  </a:lnTo>
                  <a:lnTo>
                    <a:pt x="167" y="206"/>
                  </a:lnTo>
                  <a:lnTo>
                    <a:pt x="165" y="206"/>
                  </a:lnTo>
                  <a:lnTo>
                    <a:pt x="165" y="206"/>
                  </a:lnTo>
                  <a:lnTo>
                    <a:pt x="165" y="206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3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70" y="213"/>
                  </a:lnTo>
                  <a:lnTo>
                    <a:pt x="170" y="213"/>
                  </a:lnTo>
                  <a:lnTo>
                    <a:pt x="170" y="213"/>
                  </a:lnTo>
                  <a:lnTo>
                    <a:pt x="170" y="213"/>
                  </a:lnTo>
                  <a:lnTo>
                    <a:pt x="170" y="213"/>
                  </a:lnTo>
                  <a:lnTo>
                    <a:pt x="172" y="213"/>
                  </a:lnTo>
                  <a:lnTo>
                    <a:pt x="172" y="213"/>
                  </a:lnTo>
                  <a:lnTo>
                    <a:pt x="172" y="213"/>
                  </a:lnTo>
                  <a:lnTo>
                    <a:pt x="172" y="213"/>
                  </a:lnTo>
                  <a:lnTo>
                    <a:pt x="172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5" y="208"/>
                  </a:lnTo>
                  <a:lnTo>
                    <a:pt x="175" y="208"/>
                  </a:lnTo>
                  <a:lnTo>
                    <a:pt x="175" y="208"/>
                  </a:lnTo>
                  <a:lnTo>
                    <a:pt x="175" y="208"/>
                  </a:lnTo>
                  <a:lnTo>
                    <a:pt x="175" y="208"/>
                  </a:lnTo>
                  <a:lnTo>
                    <a:pt x="175" y="208"/>
                  </a:lnTo>
                  <a:lnTo>
                    <a:pt x="175" y="206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2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close/>
                  <a:moveTo>
                    <a:pt x="118" y="204"/>
                  </a:moveTo>
                  <a:lnTo>
                    <a:pt x="118" y="204"/>
                  </a:lnTo>
                  <a:lnTo>
                    <a:pt x="118" y="204"/>
                  </a:lnTo>
                  <a:lnTo>
                    <a:pt x="116" y="204"/>
                  </a:lnTo>
                  <a:lnTo>
                    <a:pt x="116" y="204"/>
                  </a:lnTo>
                  <a:lnTo>
                    <a:pt x="116" y="204"/>
                  </a:lnTo>
                  <a:lnTo>
                    <a:pt x="116" y="206"/>
                  </a:lnTo>
                  <a:lnTo>
                    <a:pt x="116" y="206"/>
                  </a:lnTo>
                  <a:lnTo>
                    <a:pt x="113" y="206"/>
                  </a:lnTo>
                  <a:lnTo>
                    <a:pt x="113" y="206"/>
                  </a:lnTo>
                  <a:lnTo>
                    <a:pt x="113" y="206"/>
                  </a:lnTo>
                  <a:lnTo>
                    <a:pt x="113" y="206"/>
                  </a:lnTo>
                  <a:lnTo>
                    <a:pt x="113" y="208"/>
                  </a:lnTo>
                  <a:lnTo>
                    <a:pt x="113" y="208"/>
                  </a:lnTo>
                  <a:lnTo>
                    <a:pt x="113" y="208"/>
                  </a:lnTo>
                  <a:lnTo>
                    <a:pt x="113" y="208"/>
                  </a:lnTo>
                  <a:lnTo>
                    <a:pt x="113" y="208"/>
                  </a:lnTo>
                  <a:lnTo>
                    <a:pt x="113" y="211"/>
                  </a:lnTo>
                  <a:lnTo>
                    <a:pt x="113" y="211"/>
                  </a:lnTo>
                  <a:lnTo>
                    <a:pt x="113" y="211"/>
                  </a:lnTo>
                  <a:lnTo>
                    <a:pt x="113" y="211"/>
                  </a:lnTo>
                  <a:lnTo>
                    <a:pt x="113" y="211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18" y="213"/>
                  </a:lnTo>
                  <a:lnTo>
                    <a:pt x="125" y="213"/>
                  </a:lnTo>
                  <a:lnTo>
                    <a:pt x="125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30" y="213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28" y="206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5" y="204"/>
                  </a:lnTo>
                  <a:lnTo>
                    <a:pt x="125" y="204"/>
                  </a:lnTo>
                  <a:lnTo>
                    <a:pt x="118" y="204"/>
                  </a:lnTo>
                  <a:close/>
                  <a:moveTo>
                    <a:pt x="184" y="204"/>
                  </a:moveTo>
                  <a:lnTo>
                    <a:pt x="184" y="204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82" y="206"/>
                  </a:lnTo>
                  <a:lnTo>
                    <a:pt x="182" y="206"/>
                  </a:lnTo>
                  <a:lnTo>
                    <a:pt x="180" y="206"/>
                  </a:lnTo>
                  <a:lnTo>
                    <a:pt x="180" y="206"/>
                  </a:lnTo>
                  <a:lnTo>
                    <a:pt x="180" y="206"/>
                  </a:lnTo>
                  <a:lnTo>
                    <a:pt x="180" y="206"/>
                  </a:lnTo>
                  <a:lnTo>
                    <a:pt x="180" y="206"/>
                  </a:lnTo>
                  <a:lnTo>
                    <a:pt x="180" y="208"/>
                  </a:lnTo>
                  <a:lnTo>
                    <a:pt x="180" y="208"/>
                  </a:lnTo>
                  <a:lnTo>
                    <a:pt x="180" y="208"/>
                  </a:lnTo>
                  <a:lnTo>
                    <a:pt x="180" y="208"/>
                  </a:lnTo>
                  <a:lnTo>
                    <a:pt x="180" y="208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92" y="213"/>
                  </a:lnTo>
                  <a:lnTo>
                    <a:pt x="192" y="213"/>
                  </a:lnTo>
                  <a:lnTo>
                    <a:pt x="192" y="213"/>
                  </a:lnTo>
                  <a:lnTo>
                    <a:pt x="194" y="213"/>
                  </a:lnTo>
                  <a:lnTo>
                    <a:pt x="194" y="213"/>
                  </a:lnTo>
                  <a:lnTo>
                    <a:pt x="194" y="213"/>
                  </a:lnTo>
                  <a:lnTo>
                    <a:pt x="194" y="213"/>
                  </a:lnTo>
                  <a:lnTo>
                    <a:pt x="194" y="213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08"/>
                  </a:lnTo>
                  <a:lnTo>
                    <a:pt x="197" y="208"/>
                  </a:lnTo>
                  <a:lnTo>
                    <a:pt x="197" y="208"/>
                  </a:lnTo>
                  <a:lnTo>
                    <a:pt x="197" y="208"/>
                  </a:lnTo>
                  <a:lnTo>
                    <a:pt x="197" y="208"/>
                  </a:lnTo>
                  <a:lnTo>
                    <a:pt x="197" y="206"/>
                  </a:lnTo>
                  <a:lnTo>
                    <a:pt x="197" y="206"/>
                  </a:lnTo>
                  <a:lnTo>
                    <a:pt x="197" y="206"/>
                  </a:lnTo>
                  <a:lnTo>
                    <a:pt x="197" y="206"/>
                  </a:lnTo>
                  <a:lnTo>
                    <a:pt x="194" y="206"/>
                  </a:lnTo>
                  <a:lnTo>
                    <a:pt x="194" y="206"/>
                  </a:lnTo>
                  <a:lnTo>
                    <a:pt x="194" y="206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192" y="204"/>
                  </a:lnTo>
                  <a:lnTo>
                    <a:pt x="192" y="204"/>
                  </a:lnTo>
                  <a:lnTo>
                    <a:pt x="192" y="204"/>
                  </a:lnTo>
                  <a:lnTo>
                    <a:pt x="184" y="204"/>
                  </a:lnTo>
                  <a:close/>
                  <a:moveTo>
                    <a:pt x="111" y="184"/>
                  </a:moveTo>
                  <a:lnTo>
                    <a:pt x="111" y="184"/>
                  </a:lnTo>
                  <a:lnTo>
                    <a:pt x="111" y="184"/>
                  </a:lnTo>
                  <a:lnTo>
                    <a:pt x="108" y="186"/>
                  </a:lnTo>
                  <a:lnTo>
                    <a:pt x="108" y="186"/>
                  </a:lnTo>
                  <a:lnTo>
                    <a:pt x="108" y="186"/>
                  </a:lnTo>
                  <a:lnTo>
                    <a:pt x="108" y="186"/>
                  </a:lnTo>
                  <a:lnTo>
                    <a:pt x="108" y="186"/>
                  </a:lnTo>
                  <a:lnTo>
                    <a:pt x="106" y="186"/>
                  </a:lnTo>
                  <a:lnTo>
                    <a:pt x="106" y="189"/>
                  </a:lnTo>
                  <a:lnTo>
                    <a:pt x="106" y="189"/>
                  </a:lnTo>
                  <a:lnTo>
                    <a:pt x="106" y="189"/>
                  </a:lnTo>
                  <a:lnTo>
                    <a:pt x="106" y="189"/>
                  </a:lnTo>
                  <a:lnTo>
                    <a:pt x="106" y="189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3" y="194"/>
                  </a:lnTo>
                  <a:lnTo>
                    <a:pt x="113" y="194"/>
                  </a:lnTo>
                  <a:lnTo>
                    <a:pt x="113" y="194"/>
                  </a:lnTo>
                  <a:lnTo>
                    <a:pt x="113" y="194"/>
                  </a:lnTo>
                  <a:lnTo>
                    <a:pt x="113" y="194"/>
                  </a:lnTo>
                  <a:lnTo>
                    <a:pt x="113" y="194"/>
                  </a:lnTo>
                  <a:lnTo>
                    <a:pt x="116" y="194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9"/>
                  </a:lnTo>
                  <a:lnTo>
                    <a:pt x="116" y="186"/>
                  </a:lnTo>
                  <a:lnTo>
                    <a:pt x="116" y="186"/>
                  </a:lnTo>
                  <a:lnTo>
                    <a:pt x="113" y="186"/>
                  </a:lnTo>
                  <a:lnTo>
                    <a:pt x="113" y="186"/>
                  </a:lnTo>
                  <a:lnTo>
                    <a:pt x="113" y="186"/>
                  </a:lnTo>
                  <a:lnTo>
                    <a:pt x="113" y="186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1" y="184"/>
                  </a:lnTo>
                  <a:lnTo>
                    <a:pt x="111" y="184"/>
                  </a:lnTo>
                  <a:lnTo>
                    <a:pt x="111" y="184"/>
                  </a:lnTo>
                  <a:close/>
                  <a:moveTo>
                    <a:pt x="175" y="184"/>
                  </a:moveTo>
                  <a:lnTo>
                    <a:pt x="175" y="184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0" y="189"/>
                  </a:lnTo>
                  <a:lnTo>
                    <a:pt x="170" y="189"/>
                  </a:lnTo>
                  <a:lnTo>
                    <a:pt x="170" y="191"/>
                  </a:lnTo>
                  <a:lnTo>
                    <a:pt x="172" y="191"/>
                  </a:lnTo>
                  <a:lnTo>
                    <a:pt x="172" y="191"/>
                  </a:lnTo>
                  <a:lnTo>
                    <a:pt x="172" y="191"/>
                  </a:lnTo>
                  <a:lnTo>
                    <a:pt x="172" y="191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2" y="194"/>
                  </a:lnTo>
                  <a:lnTo>
                    <a:pt x="175" y="194"/>
                  </a:lnTo>
                  <a:lnTo>
                    <a:pt x="175" y="194"/>
                  </a:lnTo>
                  <a:lnTo>
                    <a:pt x="175" y="194"/>
                  </a:lnTo>
                  <a:lnTo>
                    <a:pt x="175" y="194"/>
                  </a:lnTo>
                  <a:lnTo>
                    <a:pt x="175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80" y="194"/>
                  </a:lnTo>
                  <a:lnTo>
                    <a:pt x="180" y="194"/>
                  </a:lnTo>
                  <a:lnTo>
                    <a:pt x="180" y="194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4"/>
                  </a:lnTo>
                  <a:lnTo>
                    <a:pt x="177" y="184"/>
                  </a:lnTo>
                  <a:lnTo>
                    <a:pt x="177" y="184"/>
                  </a:lnTo>
                  <a:lnTo>
                    <a:pt x="175" y="184"/>
                  </a:lnTo>
                  <a:lnTo>
                    <a:pt x="175" y="184"/>
                  </a:lnTo>
                  <a:close/>
                  <a:moveTo>
                    <a:pt x="96" y="184"/>
                  </a:moveTo>
                  <a:lnTo>
                    <a:pt x="89" y="184"/>
                  </a:lnTo>
                  <a:lnTo>
                    <a:pt x="89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6"/>
                  </a:lnTo>
                  <a:lnTo>
                    <a:pt x="86" y="186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6"/>
                  </a:lnTo>
                  <a:lnTo>
                    <a:pt x="84" y="186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86" y="194"/>
                  </a:lnTo>
                  <a:lnTo>
                    <a:pt x="89" y="194"/>
                  </a:lnTo>
                  <a:lnTo>
                    <a:pt x="89" y="194"/>
                  </a:lnTo>
                  <a:lnTo>
                    <a:pt x="96" y="194"/>
                  </a:lnTo>
                  <a:lnTo>
                    <a:pt x="96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6" y="184"/>
                  </a:lnTo>
                  <a:lnTo>
                    <a:pt x="96" y="184"/>
                  </a:lnTo>
                  <a:close/>
                  <a:moveTo>
                    <a:pt x="140" y="184"/>
                  </a:move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8" y="189"/>
                  </a:lnTo>
                  <a:lnTo>
                    <a:pt x="118" y="191"/>
                  </a:lnTo>
                  <a:lnTo>
                    <a:pt x="121" y="191"/>
                  </a:lnTo>
                  <a:lnTo>
                    <a:pt x="121" y="191"/>
                  </a:lnTo>
                  <a:lnTo>
                    <a:pt x="121" y="191"/>
                  </a:lnTo>
                  <a:lnTo>
                    <a:pt x="121" y="191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23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5" y="194"/>
                  </a:lnTo>
                  <a:lnTo>
                    <a:pt x="145" y="194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45" y="189"/>
                  </a:lnTo>
                  <a:lnTo>
                    <a:pt x="145" y="189"/>
                  </a:lnTo>
                  <a:lnTo>
                    <a:pt x="145" y="189"/>
                  </a:lnTo>
                  <a:lnTo>
                    <a:pt x="145" y="189"/>
                  </a:lnTo>
                  <a:lnTo>
                    <a:pt x="145" y="189"/>
                  </a:lnTo>
                  <a:lnTo>
                    <a:pt x="145" y="186"/>
                  </a:lnTo>
                  <a:lnTo>
                    <a:pt x="145" y="186"/>
                  </a:lnTo>
                  <a:lnTo>
                    <a:pt x="145" y="186"/>
                  </a:lnTo>
                  <a:lnTo>
                    <a:pt x="143" y="186"/>
                  </a:lnTo>
                  <a:lnTo>
                    <a:pt x="143" y="186"/>
                  </a:lnTo>
                  <a:lnTo>
                    <a:pt x="143" y="186"/>
                  </a:lnTo>
                  <a:lnTo>
                    <a:pt x="143" y="184"/>
                  </a:lnTo>
                  <a:lnTo>
                    <a:pt x="143" y="184"/>
                  </a:lnTo>
                  <a:lnTo>
                    <a:pt x="140" y="184"/>
                  </a:lnTo>
                  <a:lnTo>
                    <a:pt x="140" y="184"/>
                  </a:lnTo>
                  <a:close/>
                  <a:moveTo>
                    <a:pt x="162" y="184"/>
                  </a:moveTo>
                  <a:lnTo>
                    <a:pt x="155" y="184"/>
                  </a:lnTo>
                  <a:lnTo>
                    <a:pt x="155" y="184"/>
                  </a:lnTo>
                  <a:lnTo>
                    <a:pt x="152" y="184"/>
                  </a:lnTo>
                  <a:lnTo>
                    <a:pt x="152" y="184"/>
                  </a:lnTo>
                  <a:lnTo>
                    <a:pt x="152" y="186"/>
                  </a:lnTo>
                  <a:lnTo>
                    <a:pt x="152" y="186"/>
                  </a:lnTo>
                  <a:lnTo>
                    <a:pt x="152" y="186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4"/>
                  </a:lnTo>
                  <a:lnTo>
                    <a:pt x="150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62" y="194"/>
                  </a:lnTo>
                  <a:lnTo>
                    <a:pt x="162" y="194"/>
                  </a:lnTo>
                  <a:lnTo>
                    <a:pt x="162" y="194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7" y="194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close/>
                  <a:moveTo>
                    <a:pt x="229" y="137"/>
                  </a:moveTo>
                  <a:lnTo>
                    <a:pt x="229" y="137"/>
                  </a:lnTo>
                  <a:lnTo>
                    <a:pt x="229" y="137"/>
                  </a:lnTo>
                  <a:lnTo>
                    <a:pt x="229" y="137"/>
                  </a:lnTo>
                  <a:lnTo>
                    <a:pt x="229" y="137"/>
                  </a:lnTo>
                  <a:lnTo>
                    <a:pt x="226" y="137"/>
                  </a:lnTo>
                  <a:lnTo>
                    <a:pt x="226" y="140"/>
                  </a:lnTo>
                  <a:lnTo>
                    <a:pt x="226" y="140"/>
                  </a:lnTo>
                  <a:lnTo>
                    <a:pt x="226" y="140"/>
                  </a:lnTo>
                  <a:lnTo>
                    <a:pt x="226" y="140"/>
                  </a:lnTo>
                  <a:lnTo>
                    <a:pt x="226" y="140"/>
                  </a:lnTo>
                  <a:lnTo>
                    <a:pt x="226" y="142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4" y="145"/>
                  </a:lnTo>
                  <a:lnTo>
                    <a:pt x="226" y="145"/>
                  </a:lnTo>
                  <a:lnTo>
                    <a:pt x="226" y="145"/>
                  </a:lnTo>
                  <a:lnTo>
                    <a:pt x="226" y="145"/>
                  </a:lnTo>
                  <a:lnTo>
                    <a:pt x="226" y="145"/>
                  </a:lnTo>
                  <a:lnTo>
                    <a:pt x="226" y="147"/>
                  </a:lnTo>
                  <a:lnTo>
                    <a:pt x="226" y="147"/>
                  </a:lnTo>
                  <a:lnTo>
                    <a:pt x="226" y="147"/>
                  </a:lnTo>
                  <a:lnTo>
                    <a:pt x="229" y="147"/>
                  </a:lnTo>
                  <a:lnTo>
                    <a:pt x="229" y="147"/>
                  </a:lnTo>
                  <a:lnTo>
                    <a:pt x="229" y="147"/>
                  </a:lnTo>
                  <a:lnTo>
                    <a:pt x="229" y="147"/>
                  </a:lnTo>
                  <a:lnTo>
                    <a:pt x="229" y="147"/>
                  </a:lnTo>
                  <a:lnTo>
                    <a:pt x="231" y="147"/>
                  </a:lnTo>
                  <a:lnTo>
                    <a:pt x="231" y="147"/>
                  </a:lnTo>
                  <a:lnTo>
                    <a:pt x="231" y="147"/>
                  </a:lnTo>
                  <a:lnTo>
                    <a:pt x="231" y="147"/>
                  </a:lnTo>
                  <a:lnTo>
                    <a:pt x="231" y="147"/>
                  </a:lnTo>
                  <a:lnTo>
                    <a:pt x="231" y="147"/>
                  </a:lnTo>
                  <a:lnTo>
                    <a:pt x="234" y="147"/>
                  </a:lnTo>
                  <a:lnTo>
                    <a:pt x="234" y="145"/>
                  </a:lnTo>
                  <a:lnTo>
                    <a:pt x="234" y="145"/>
                  </a:lnTo>
                  <a:lnTo>
                    <a:pt x="234" y="145"/>
                  </a:lnTo>
                  <a:lnTo>
                    <a:pt x="234" y="145"/>
                  </a:lnTo>
                  <a:lnTo>
                    <a:pt x="234" y="145"/>
                  </a:lnTo>
                  <a:lnTo>
                    <a:pt x="234" y="142"/>
                  </a:lnTo>
                  <a:lnTo>
                    <a:pt x="234" y="142"/>
                  </a:lnTo>
                  <a:lnTo>
                    <a:pt x="234" y="142"/>
                  </a:lnTo>
                  <a:lnTo>
                    <a:pt x="234" y="142"/>
                  </a:lnTo>
                  <a:lnTo>
                    <a:pt x="234" y="142"/>
                  </a:lnTo>
                  <a:lnTo>
                    <a:pt x="234" y="140"/>
                  </a:lnTo>
                  <a:lnTo>
                    <a:pt x="234" y="140"/>
                  </a:lnTo>
                  <a:lnTo>
                    <a:pt x="234" y="140"/>
                  </a:lnTo>
                  <a:lnTo>
                    <a:pt x="234" y="140"/>
                  </a:lnTo>
                  <a:lnTo>
                    <a:pt x="231" y="140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29" y="137"/>
                  </a:lnTo>
                  <a:close/>
                  <a:moveTo>
                    <a:pt x="246" y="137"/>
                  </a:moveTo>
                  <a:lnTo>
                    <a:pt x="246" y="137"/>
                  </a:lnTo>
                  <a:lnTo>
                    <a:pt x="246" y="137"/>
                  </a:lnTo>
                  <a:lnTo>
                    <a:pt x="246" y="137"/>
                  </a:lnTo>
                  <a:lnTo>
                    <a:pt x="246" y="137"/>
                  </a:lnTo>
                  <a:lnTo>
                    <a:pt x="243" y="137"/>
                  </a:lnTo>
                  <a:lnTo>
                    <a:pt x="243" y="140"/>
                  </a:lnTo>
                  <a:lnTo>
                    <a:pt x="243" y="140"/>
                  </a:lnTo>
                  <a:lnTo>
                    <a:pt x="243" y="140"/>
                  </a:lnTo>
                  <a:lnTo>
                    <a:pt x="243" y="140"/>
                  </a:lnTo>
                  <a:lnTo>
                    <a:pt x="243" y="140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5"/>
                  </a:lnTo>
                  <a:lnTo>
                    <a:pt x="241" y="145"/>
                  </a:lnTo>
                  <a:lnTo>
                    <a:pt x="243" y="145"/>
                  </a:lnTo>
                  <a:lnTo>
                    <a:pt x="243" y="145"/>
                  </a:lnTo>
                  <a:lnTo>
                    <a:pt x="243" y="145"/>
                  </a:lnTo>
                  <a:lnTo>
                    <a:pt x="243" y="147"/>
                  </a:lnTo>
                  <a:lnTo>
                    <a:pt x="243" y="147"/>
                  </a:lnTo>
                  <a:lnTo>
                    <a:pt x="243" y="147"/>
                  </a:lnTo>
                  <a:lnTo>
                    <a:pt x="246" y="147"/>
                  </a:lnTo>
                  <a:lnTo>
                    <a:pt x="246" y="147"/>
                  </a:lnTo>
                  <a:lnTo>
                    <a:pt x="246" y="147"/>
                  </a:lnTo>
                  <a:lnTo>
                    <a:pt x="246" y="147"/>
                  </a:lnTo>
                  <a:lnTo>
                    <a:pt x="246" y="147"/>
                  </a:lnTo>
                  <a:lnTo>
                    <a:pt x="248" y="147"/>
                  </a:lnTo>
                  <a:lnTo>
                    <a:pt x="248" y="147"/>
                  </a:lnTo>
                  <a:lnTo>
                    <a:pt x="248" y="147"/>
                  </a:lnTo>
                  <a:lnTo>
                    <a:pt x="248" y="147"/>
                  </a:lnTo>
                  <a:lnTo>
                    <a:pt x="248" y="147"/>
                  </a:lnTo>
                  <a:lnTo>
                    <a:pt x="248" y="147"/>
                  </a:lnTo>
                  <a:lnTo>
                    <a:pt x="251" y="147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1" y="140"/>
                  </a:lnTo>
                  <a:lnTo>
                    <a:pt x="251" y="140"/>
                  </a:lnTo>
                  <a:lnTo>
                    <a:pt x="251" y="140"/>
                  </a:lnTo>
                  <a:lnTo>
                    <a:pt x="248" y="140"/>
                  </a:lnTo>
                  <a:lnTo>
                    <a:pt x="248" y="137"/>
                  </a:lnTo>
                  <a:lnTo>
                    <a:pt x="248" y="137"/>
                  </a:lnTo>
                  <a:lnTo>
                    <a:pt x="248" y="137"/>
                  </a:lnTo>
                  <a:lnTo>
                    <a:pt x="248" y="137"/>
                  </a:lnTo>
                  <a:lnTo>
                    <a:pt x="248" y="137"/>
                  </a:lnTo>
                  <a:lnTo>
                    <a:pt x="246" y="137"/>
                  </a:lnTo>
                  <a:close/>
                  <a:moveTo>
                    <a:pt x="128" y="137"/>
                  </a:moveTo>
                  <a:lnTo>
                    <a:pt x="128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5"/>
                  </a:lnTo>
                  <a:lnTo>
                    <a:pt x="123" y="147"/>
                  </a:lnTo>
                  <a:lnTo>
                    <a:pt x="125" y="147"/>
                  </a:lnTo>
                  <a:lnTo>
                    <a:pt x="125" y="147"/>
                  </a:lnTo>
                  <a:lnTo>
                    <a:pt x="125" y="147"/>
                  </a:lnTo>
                  <a:lnTo>
                    <a:pt x="125" y="147"/>
                  </a:lnTo>
                  <a:lnTo>
                    <a:pt x="125" y="147"/>
                  </a:lnTo>
                  <a:lnTo>
                    <a:pt x="128" y="147"/>
                  </a:lnTo>
                  <a:lnTo>
                    <a:pt x="128" y="147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2" y="147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2" y="140"/>
                  </a:lnTo>
                  <a:lnTo>
                    <a:pt x="152" y="140"/>
                  </a:lnTo>
                  <a:lnTo>
                    <a:pt x="152" y="140"/>
                  </a:lnTo>
                  <a:lnTo>
                    <a:pt x="152" y="140"/>
                  </a:lnTo>
                  <a:lnTo>
                    <a:pt x="150" y="140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28" y="137"/>
                  </a:lnTo>
                  <a:close/>
                  <a:moveTo>
                    <a:pt x="49" y="177"/>
                  </a:moveTo>
                  <a:lnTo>
                    <a:pt x="66" y="177"/>
                  </a:lnTo>
                  <a:lnTo>
                    <a:pt x="49" y="226"/>
                  </a:lnTo>
                  <a:lnTo>
                    <a:pt x="49" y="177"/>
                  </a:lnTo>
                  <a:close/>
                  <a:moveTo>
                    <a:pt x="76" y="177"/>
                  </a:moveTo>
                  <a:lnTo>
                    <a:pt x="199" y="177"/>
                  </a:lnTo>
                  <a:lnTo>
                    <a:pt x="231" y="275"/>
                  </a:lnTo>
                  <a:lnTo>
                    <a:pt x="44" y="275"/>
                  </a:lnTo>
                  <a:lnTo>
                    <a:pt x="76" y="177"/>
                  </a:lnTo>
                  <a:close/>
                  <a:moveTo>
                    <a:pt x="209" y="177"/>
                  </a:moveTo>
                  <a:lnTo>
                    <a:pt x="226" y="177"/>
                  </a:lnTo>
                  <a:lnTo>
                    <a:pt x="226" y="226"/>
                  </a:lnTo>
                  <a:lnTo>
                    <a:pt x="209" y="177"/>
                  </a:lnTo>
                  <a:close/>
                  <a:moveTo>
                    <a:pt x="44" y="118"/>
                  </a:moveTo>
                  <a:lnTo>
                    <a:pt x="231" y="118"/>
                  </a:lnTo>
                  <a:lnTo>
                    <a:pt x="231" y="118"/>
                  </a:lnTo>
                  <a:lnTo>
                    <a:pt x="231" y="118"/>
                  </a:lnTo>
                  <a:lnTo>
                    <a:pt x="231" y="118"/>
                  </a:lnTo>
                  <a:lnTo>
                    <a:pt x="231" y="118"/>
                  </a:lnTo>
                  <a:lnTo>
                    <a:pt x="234" y="118"/>
                  </a:lnTo>
                  <a:lnTo>
                    <a:pt x="234" y="118"/>
                  </a:lnTo>
                  <a:lnTo>
                    <a:pt x="234" y="115"/>
                  </a:lnTo>
                  <a:lnTo>
                    <a:pt x="234" y="115"/>
                  </a:lnTo>
                  <a:lnTo>
                    <a:pt x="234" y="115"/>
                  </a:lnTo>
                  <a:lnTo>
                    <a:pt x="236" y="115"/>
                  </a:lnTo>
                  <a:lnTo>
                    <a:pt x="236" y="115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6" y="93"/>
                  </a:lnTo>
                  <a:lnTo>
                    <a:pt x="251" y="93"/>
                  </a:lnTo>
                  <a:lnTo>
                    <a:pt x="251" y="93"/>
                  </a:lnTo>
                  <a:lnTo>
                    <a:pt x="253" y="93"/>
                  </a:lnTo>
                  <a:lnTo>
                    <a:pt x="253" y="93"/>
                  </a:lnTo>
                  <a:lnTo>
                    <a:pt x="256" y="93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61" y="98"/>
                  </a:lnTo>
                  <a:lnTo>
                    <a:pt x="261" y="98"/>
                  </a:lnTo>
                  <a:lnTo>
                    <a:pt x="263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3" y="103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5" y="108"/>
                  </a:lnTo>
                  <a:lnTo>
                    <a:pt x="265" y="226"/>
                  </a:lnTo>
                  <a:lnTo>
                    <a:pt x="236" y="226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7"/>
                  </a:lnTo>
                  <a:lnTo>
                    <a:pt x="231" y="167"/>
                  </a:lnTo>
                  <a:lnTo>
                    <a:pt x="231" y="167"/>
                  </a:lnTo>
                  <a:lnTo>
                    <a:pt x="204" y="167"/>
                  </a:lnTo>
                  <a:lnTo>
                    <a:pt x="71" y="167"/>
                  </a:lnTo>
                  <a:lnTo>
                    <a:pt x="44" y="167"/>
                  </a:lnTo>
                  <a:lnTo>
                    <a:pt x="44" y="167"/>
                  </a:lnTo>
                  <a:lnTo>
                    <a:pt x="44" y="167"/>
                  </a:lnTo>
                  <a:lnTo>
                    <a:pt x="44" y="169"/>
                  </a:lnTo>
                  <a:lnTo>
                    <a:pt x="44" y="16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2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226"/>
                  </a:lnTo>
                  <a:lnTo>
                    <a:pt x="10" y="226"/>
                  </a:lnTo>
                  <a:lnTo>
                    <a:pt x="10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1"/>
                  </a:lnTo>
                  <a:lnTo>
                    <a:pt x="15" y="101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20" y="96"/>
                  </a:lnTo>
                  <a:lnTo>
                    <a:pt x="20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39" y="9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5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4" y="118"/>
                  </a:lnTo>
                  <a:close/>
                  <a:moveTo>
                    <a:pt x="49" y="54"/>
                  </a:moveTo>
                  <a:lnTo>
                    <a:pt x="66" y="54"/>
                  </a:lnTo>
                  <a:lnTo>
                    <a:pt x="66" y="108"/>
                  </a:lnTo>
                  <a:lnTo>
                    <a:pt x="49" y="108"/>
                  </a:lnTo>
                  <a:lnTo>
                    <a:pt x="49" y="54"/>
                  </a:lnTo>
                  <a:close/>
                  <a:moveTo>
                    <a:pt x="209" y="54"/>
                  </a:moveTo>
                  <a:lnTo>
                    <a:pt x="226" y="54"/>
                  </a:lnTo>
                  <a:lnTo>
                    <a:pt x="226" y="108"/>
                  </a:lnTo>
                  <a:lnTo>
                    <a:pt x="209" y="108"/>
                  </a:lnTo>
                  <a:lnTo>
                    <a:pt x="209" y="54"/>
                  </a:lnTo>
                  <a:close/>
                  <a:moveTo>
                    <a:pt x="76" y="10"/>
                  </a:moveTo>
                  <a:lnTo>
                    <a:pt x="199" y="10"/>
                  </a:lnTo>
                  <a:lnTo>
                    <a:pt x="199" y="108"/>
                  </a:lnTo>
                  <a:lnTo>
                    <a:pt x="76" y="108"/>
                  </a:lnTo>
                  <a:lnTo>
                    <a:pt x="76" y="10"/>
                  </a:lnTo>
                  <a:close/>
                  <a:moveTo>
                    <a:pt x="66" y="0"/>
                  </a:moveTo>
                  <a:lnTo>
                    <a:pt x="66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9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39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2" y="86"/>
                  </a:lnTo>
                  <a:lnTo>
                    <a:pt x="12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3" y="96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0" y="108"/>
                  </a:lnTo>
                  <a:lnTo>
                    <a:pt x="0" y="235"/>
                  </a:lnTo>
                  <a:lnTo>
                    <a:pt x="47" y="235"/>
                  </a:lnTo>
                  <a:lnTo>
                    <a:pt x="30" y="284"/>
                  </a:lnTo>
                  <a:lnTo>
                    <a:pt x="246" y="284"/>
                  </a:lnTo>
                  <a:lnTo>
                    <a:pt x="229" y="235"/>
                  </a:lnTo>
                  <a:lnTo>
                    <a:pt x="275" y="235"/>
                  </a:lnTo>
                  <a:lnTo>
                    <a:pt x="275" y="105"/>
                  </a:lnTo>
                  <a:lnTo>
                    <a:pt x="273" y="105"/>
                  </a:lnTo>
                  <a:lnTo>
                    <a:pt x="273" y="103"/>
                  </a:lnTo>
                  <a:lnTo>
                    <a:pt x="273" y="103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98"/>
                  </a:lnTo>
                  <a:lnTo>
                    <a:pt x="273" y="98"/>
                  </a:lnTo>
                  <a:lnTo>
                    <a:pt x="273" y="96"/>
                  </a:lnTo>
                  <a:lnTo>
                    <a:pt x="270" y="96"/>
                  </a:lnTo>
                  <a:lnTo>
                    <a:pt x="270" y="96"/>
                  </a:lnTo>
                  <a:lnTo>
                    <a:pt x="270" y="93"/>
                  </a:lnTo>
                  <a:lnTo>
                    <a:pt x="270" y="93"/>
                  </a:lnTo>
                  <a:lnTo>
                    <a:pt x="268" y="91"/>
                  </a:lnTo>
                  <a:lnTo>
                    <a:pt x="268" y="91"/>
                  </a:lnTo>
                  <a:lnTo>
                    <a:pt x="268" y="91"/>
                  </a:lnTo>
                  <a:lnTo>
                    <a:pt x="265" y="88"/>
                  </a:lnTo>
                  <a:lnTo>
                    <a:pt x="265" y="88"/>
                  </a:lnTo>
                  <a:lnTo>
                    <a:pt x="265" y="88"/>
                  </a:lnTo>
                  <a:lnTo>
                    <a:pt x="263" y="88"/>
                  </a:lnTo>
                  <a:lnTo>
                    <a:pt x="263" y="86"/>
                  </a:lnTo>
                  <a:lnTo>
                    <a:pt x="261" y="86"/>
                  </a:lnTo>
                  <a:lnTo>
                    <a:pt x="261" y="86"/>
                  </a:lnTo>
                  <a:lnTo>
                    <a:pt x="261" y="86"/>
                  </a:lnTo>
                  <a:lnTo>
                    <a:pt x="258" y="83"/>
                  </a:lnTo>
                  <a:lnTo>
                    <a:pt x="258" y="83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3" y="83"/>
                  </a:lnTo>
                  <a:lnTo>
                    <a:pt x="253" y="83"/>
                  </a:lnTo>
                  <a:lnTo>
                    <a:pt x="251" y="83"/>
                  </a:lnTo>
                  <a:lnTo>
                    <a:pt x="251" y="83"/>
                  </a:lnTo>
                  <a:lnTo>
                    <a:pt x="236" y="83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1" y="47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09" y="44"/>
                  </a:lnTo>
                  <a:lnTo>
                    <a:pt x="209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2" name="Group 209">
            <a:extLst>
              <a:ext uri="{FF2B5EF4-FFF2-40B4-BE49-F238E27FC236}">
                <a16:creationId xmlns:a16="http://schemas.microsoft.com/office/drawing/2014/main" id="{3AEB41DA-9803-4753-9E77-C38BE4CE5F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0933" y="4099910"/>
            <a:ext cx="841375" cy="841375"/>
            <a:chOff x="4401" y="2601"/>
            <a:chExt cx="530" cy="530"/>
          </a:xfrm>
        </p:grpSpPr>
        <p:sp>
          <p:nvSpPr>
            <p:cNvPr id="243" name="AutoShape 208">
              <a:extLst>
                <a:ext uri="{FF2B5EF4-FFF2-40B4-BE49-F238E27FC236}">
                  <a16:creationId xmlns:a16="http://schemas.microsoft.com/office/drawing/2014/main" id="{CD2EFC7A-258B-439F-BA2F-DA0F25C987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01" y="260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210">
              <a:extLst>
                <a:ext uri="{FF2B5EF4-FFF2-40B4-BE49-F238E27FC236}">
                  <a16:creationId xmlns:a16="http://schemas.microsoft.com/office/drawing/2014/main" id="{F84CF690-1D56-494A-AAB3-61B8C4DD0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1" y="260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11">
              <a:extLst>
                <a:ext uri="{FF2B5EF4-FFF2-40B4-BE49-F238E27FC236}">
                  <a16:creationId xmlns:a16="http://schemas.microsoft.com/office/drawing/2014/main" id="{BF90CCA9-2331-4BC6-BC8C-B15753C645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" y="261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12">
              <a:extLst>
                <a:ext uri="{FF2B5EF4-FFF2-40B4-BE49-F238E27FC236}">
                  <a16:creationId xmlns:a16="http://schemas.microsoft.com/office/drawing/2014/main" id="{99F86345-C872-42B9-92D1-7C8C5DE66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4" y="2719"/>
              <a:ext cx="287" cy="297"/>
            </a:xfrm>
            <a:custGeom>
              <a:avLst/>
              <a:gdLst>
                <a:gd name="T0" fmla="*/ 100 w 287"/>
                <a:gd name="T1" fmla="*/ 269 h 297"/>
                <a:gd name="T2" fmla="*/ 100 w 287"/>
                <a:gd name="T3" fmla="*/ 258 h 297"/>
                <a:gd name="T4" fmla="*/ 135 w 287"/>
                <a:gd name="T5" fmla="*/ 269 h 297"/>
                <a:gd name="T6" fmla="*/ 141 w 287"/>
                <a:gd name="T7" fmla="*/ 261 h 297"/>
                <a:gd name="T8" fmla="*/ 71 w 287"/>
                <a:gd name="T9" fmla="*/ 266 h 297"/>
                <a:gd name="T10" fmla="*/ 92 w 287"/>
                <a:gd name="T11" fmla="*/ 263 h 297"/>
                <a:gd name="T12" fmla="*/ 107 w 287"/>
                <a:gd name="T13" fmla="*/ 263 h 297"/>
                <a:gd name="T14" fmla="*/ 128 w 287"/>
                <a:gd name="T15" fmla="*/ 266 h 297"/>
                <a:gd name="T16" fmla="*/ 148 w 287"/>
                <a:gd name="T17" fmla="*/ 261 h 297"/>
                <a:gd name="T18" fmla="*/ 166 w 287"/>
                <a:gd name="T19" fmla="*/ 269 h 297"/>
                <a:gd name="T20" fmla="*/ 112 w 287"/>
                <a:gd name="T21" fmla="*/ 235 h 297"/>
                <a:gd name="T22" fmla="*/ 118 w 287"/>
                <a:gd name="T23" fmla="*/ 245 h 297"/>
                <a:gd name="T24" fmla="*/ 205 w 287"/>
                <a:gd name="T25" fmla="*/ 235 h 297"/>
                <a:gd name="T26" fmla="*/ 205 w 287"/>
                <a:gd name="T27" fmla="*/ 245 h 297"/>
                <a:gd name="T28" fmla="*/ 205 w 287"/>
                <a:gd name="T29" fmla="*/ 235 h 297"/>
                <a:gd name="T30" fmla="*/ 79 w 287"/>
                <a:gd name="T31" fmla="*/ 245 h 297"/>
                <a:gd name="T32" fmla="*/ 102 w 287"/>
                <a:gd name="T33" fmla="*/ 235 h 297"/>
                <a:gd name="T34" fmla="*/ 125 w 287"/>
                <a:gd name="T35" fmla="*/ 243 h 297"/>
                <a:gd name="T36" fmla="*/ 151 w 287"/>
                <a:gd name="T37" fmla="*/ 240 h 297"/>
                <a:gd name="T38" fmla="*/ 156 w 287"/>
                <a:gd name="T39" fmla="*/ 238 h 297"/>
                <a:gd name="T40" fmla="*/ 171 w 287"/>
                <a:gd name="T41" fmla="*/ 243 h 297"/>
                <a:gd name="T42" fmla="*/ 182 w 287"/>
                <a:gd name="T43" fmla="*/ 235 h 297"/>
                <a:gd name="T44" fmla="*/ 189 w 287"/>
                <a:gd name="T45" fmla="*/ 245 h 297"/>
                <a:gd name="T46" fmla="*/ 189 w 287"/>
                <a:gd name="T47" fmla="*/ 235 h 297"/>
                <a:gd name="T48" fmla="*/ 105 w 287"/>
                <a:gd name="T49" fmla="*/ 222 h 297"/>
                <a:gd name="T50" fmla="*/ 110 w 287"/>
                <a:gd name="T51" fmla="*/ 215 h 297"/>
                <a:gd name="T52" fmla="*/ 143 w 287"/>
                <a:gd name="T53" fmla="*/ 222 h 297"/>
                <a:gd name="T54" fmla="*/ 151 w 287"/>
                <a:gd name="T55" fmla="*/ 215 h 297"/>
                <a:gd name="T56" fmla="*/ 156 w 287"/>
                <a:gd name="T57" fmla="*/ 220 h 297"/>
                <a:gd name="T58" fmla="*/ 166 w 287"/>
                <a:gd name="T59" fmla="*/ 217 h 297"/>
                <a:gd name="T60" fmla="*/ 171 w 287"/>
                <a:gd name="T61" fmla="*/ 217 h 297"/>
                <a:gd name="T62" fmla="*/ 182 w 287"/>
                <a:gd name="T63" fmla="*/ 217 h 297"/>
                <a:gd name="T64" fmla="*/ 118 w 287"/>
                <a:gd name="T65" fmla="*/ 217 h 297"/>
                <a:gd name="T66" fmla="*/ 135 w 287"/>
                <a:gd name="T67" fmla="*/ 220 h 297"/>
                <a:gd name="T68" fmla="*/ 189 w 287"/>
                <a:gd name="T69" fmla="*/ 212 h 297"/>
                <a:gd name="T70" fmla="*/ 200 w 287"/>
                <a:gd name="T71" fmla="*/ 222 h 297"/>
                <a:gd name="T72" fmla="*/ 200 w 287"/>
                <a:gd name="T73" fmla="*/ 212 h 297"/>
                <a:gd name="T74" fmla="*/ 112 w 287"/>
                <a:gd name="T75" fmla="*/ 202 h 297"/>
                <a:gd name="T76" fmla="*/ 118 w 287"/>
                <a:gd name="T77" fmla="*/ 194 h 297"/>
                <a:gd name="T78" fmla="*/ 179 w 287"/>
                <a:gd name="T79" fmla="*/ 202 h 297"/>
                <a:gd name="T80" fmla="*/ 187 w 287"/>
                <a:gd name="T81" fmla="*/ 194 h 297"/>
                <a:gd name="T82" fmla="*/ 87 w 287"/>
                <a:gd name="T83" fmla="*/ 199 h 297"/>
                <a:gd name="T84" fmla="*/ 105 w 287"/>
                <a:gd name="T85" fmla="*/ 197 h 297"/>
                <a:gd name="T86" fmla="*/ 125 w 287"/>
                <a:gd name="T87" fmla="*/ 197 h 297"/>
                <a:gd name="T88" fmla="*/ 151 w 287"/>
                <a:gd name="T89" fmla="*/ 199 h 297"/>
                <a:gd name="T90" fmla="*/ 159 w 287"/>
                <a:gd name="T91" fmla="*/ 194 h 297"/>
                <a:gd name="T92" fmla="*/ 171 w 287"/>
                <a:gd name="T93" fmla="*/ 202 h 297"/>
                <a:gd name="T94" fmla="*/ 238 w 287"/>
                <a:gd name="T95" fmla="*/ 143 h 297"/>
                <a:gd name="T96" fmla="*/ 240 w 287"/>
                <a:gd name="T97" fmla="*/ 153 h 297"/>
                <a:gd name="T98" fmla="*/ 238 w 287"/>
                <a:gd name="T99" fmla="*/ 143 h 297"/>
                <a:gd name="T100" fmla="*/ 256 w 287"/>
                <a:gd name="T101" fmla="*/ 153 h 297"/>
                <a:gd name="T102" fmla="*/ 258 w 287"/>
                <a:gd name="T103" fmla="*/ 143 h 297"/>
                <a:gd name="T104" fmla="*/ 130 w 287"/>
                <a:gd name="T105" fmla="*/ 153 h 297"/>
                <a:gd name="T106" fmla="*/ 159 w 287"/>
                <a:gd name="T107" fmla="*/ 146 h 297"/>
                <a:gd name="T108" fmla="*/ 240 w 287"/>
                <a:gd name="T109" fmla="*/ 123 h 297"/>
                <a:gd name="T110" fmla="*/ 276 w 287"/>
                <a:gd name="T111" fmla="*/ 110 h 297"/>
                <a:gd name="T112" fmla="*/ 43 w 287"/>
                <a:gd name="T113" fmla="*/ 176 h 297"/>
                <a:gd name="T114" fmla="*/ 25 w 287"/>
                <a:gd name="T115" fmla="*/ 97 h 297"/>
                <a:gd name="T116" fmla="*/ 79 w 287"/>
                <a:gd name="T117" fmla="*/ 10 h 297"/>
                <a:gd name="T118" fmla="*/ 20 w 287"/>
                <a:gd name="T119" fmla="*/ 87 h 297"/>
                <a:gd name="T120" fmla="*/ 2 w 287"/>
                <a:gd name="T121" fmla="*/ 110 h 297"/>
                <a:gd name="T122" fmla="*/ 274 w 287"/>
                <a:gd name="T123" fmla="*/ 92 h 297"/>
                <a:gd name="T124" fmla="*/ 240 w 287"/>
                <a:gd name="T125" fmla="*/ 46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7" h="297">
                  <a:moveTo>
                    <a:pt x="100" y="258"/>
                  </a:moveTo>
                  <a:lnTo>
                    <a:pt x="97" y="258"/>
                  </a:lnTo>
                  <a:lnTo>
                    <a:pt x="97" y="261"/>
                  </a:lnTo>
                  <a:lnTo>
                    <a:pt x="97" y="261"/>
                  </a:lnTo>
                  <a:lnTo>
                    <a:pt x="97" y="261"/>
                  </a:lnTo>
                  <a:lnTo>
                    <a:pt x="97" y="261"/>
                  </a:lnTo>
                  <a:lnTo>
                    <a:pt x="95" y="261"/>
                  </a:lnTo>
                  <a:lnTo>
                    <a:pt x="95" y="261"/>
                  </a:lnTo>
                  <a:lnTo>
                    <a:pt x="95" y="261"/>
                  </a:lnTo>
                  <a:lnTo>
                    <a:pt x="95" y="263"/>
                  </a:lnTo>
                  <a:lnTo>
                    <a:pt x="95" y="263"/>
                  </a:lnTo>
                  <a:lnTo>
                    <a:pt x="95" y="263"/>
                  </a:lnTo>
                  <a:lnTo>
                    <a:pt x="95" y="263"/>
                  </a:lnTo>
                  <a:lnTo>
                    <a:pt x="95" y="263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9"/>
                  </a:lnTo>
                  <a:lnTo>
                    <a:pt x="95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02" y="269"/>
                  </a:lnTo>
                  <a:lnTo>
                    <a:pt x="102" y="269"/>
                  </a:lnTo>
                  <a:lnTo>
                    <a:pt x="102" y="269"/>
                  </a:lnTo>
                  <a:lnTo>
                    <a:pt x="102" y="269"/>
                  </a:lnTo>
                  <a:lnTo>
                    <a:pt x="102" y="269"/>
                  </a:lnTo>
                  <a:lnTo>
                    <a:pt x="105" y="266"/>
                  </a:lnTo>
                  <a:lnTo>
                    <a:pt x="105" y="266"/>
                  </a:lnTo>
                  <a:lnTo>
                    <a:pt x="105" y="266"/>
                  </a:lnTo>
                  <a:lnTo>
                    <a:pt x="105" y="266"/>
                  </a:lnTo>
                  <a:lnTo>
                    <a:pt x="105" y="266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1"/>
                  </a:lnTo>
                  <a:lnTo>
                    <a:pt x="102" y="261"/>
                  </a:lnTo>
                  <a:lnTo>
                    <a:pt x="102" y="261"/>
                  </a:lnTo>
                  <a:lnTo>
                    <a:pt x="102" y="261"/>
                  </a:lnTo>
                  <a:lnTo>
                    <a:pt x="102" y="261"/>
                  </a:lnTo>
                  <a:lnTo>
                    <a:pt x="102" y="261"/>
                  </a:lnTo>
                  <a:lnTo>
                    <a:pt x="100" y="261"/>
                  </a:lnTo>
                  <a:lnTo>
                    <a:pt x="100" y="258"/>
                  </a:lnTo>
                  <a:lnTo>
                    <a:pt x="100" y="258"/>
                  </a:lnTo>
                  <a:lnTo>
                    <a:pt x="100" y="258"/>
                  </a:lnTo>
                  <a:lnTo>
                    <a:pt x="100" y="258"/>
                  </a:lnTo>
                  <a:close/>
                  <a:moveTo>
                    <a:pt x="138" y="258"/>
                  </a:moveTo>
                  <a:lnTo>
                    <a:pt x="138" y="258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3" y="261"/>
                  </a:lnTo>
                  <a:lnTo>
                    <a:pt x="133" y="261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6"/>
                  </a:lnTo>
                  <a:lnTo>
                    <a:pt x="133" y="269"/>
                  </a:lnTo>
                  <a:lnTo>
                    <a:pt x="135" y="269"/>
                  </a:lnTo>
                  <a:lnTo>
                    <a:pt x="135" y="269"/>
                  </a:lnTo>
                  <a:lnTo>
                    <a:pt x="135" y="269"/>
                  </a:lnTo>
                  <a:lnTo>
                    <a:pt x="135" y="269"/>
                  </a:lnTo>
                  <a:lnTo>
                    <a:pt x="135" y="269"/>
                  </a:lnTo>
                  <a:lnTo>
                    <a:pt x="138" y="269"/>
                  </a:lnTo>
                  <a:lnTo>
                    <a:pt x="138" y="269"/>
                  </a:lnTo>
                  <a:lnTo>
                    <a:pt x="138" y="269"/>
                  </a:lnTo>
                  <a:lnTo>
                    <a:pt x="138" y="269"/>
                  </a:lnTo>
                  <a:lnTo>
                    <a:pt x="138" y="269"/>
                  </a:lnTo>
                  <a:lnTo>
                    <a:pt x="141" y="269"/>
                  </a:lnTo>
                  <a:lnTo>
                    <a:pt x="141" y="269"/>
                  </a:lnTo>
                  <a:lnTo>
                    <a:pt x="141" y="269"/>
                  </a:lnTo>
                  <a:lnTo>
                    <a:pt x="141" y="269"/>
                  </a:lnTo>
                  <a:lnTo>
                    <a:pt x="141" y="269"/>
                  </a:lnTo>
                  <a:lnTo>
                    <a:pt x="143" y="269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3"/>
                  </a:lnTo>
                  <a:lnTo>
                    <a:pt x="143" y="263"/>
                  </a:lnTo>
                  <a:lnTo>
                    <a:pt x="143" y="263"/>
                  </a:lnTo>
                  <a:lnTo>
                    <a:pt x="143" y="263"/>
                  </a:lnTo>
                  <a:lnTo>
                    <a:pt x="143" y="263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38" y="258"/>
                  </a:lnTo>
                  <a:lnTo>
                    <a:pt x="138" y="258"/>
                  </a:lnTo>
                  <a:lnTo>
                    <a:pt x="138" y="258"/>
                  </a:lnTo>
                  <a:lnTo>
                    <a:pt x="138" y="258"/>
                  </a:lnTo>
                  <a:close/>
                  <a:moveTo>
                    <a:pt x="87" y="258"/>
                  </a:moveTo>
                  <a:lnTo>
                    <a:pt x="77" y="258"/>
                  </a:lnTo>
                  <a:lnTo>
                    <a:pt x="77" y="258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4" y="261"/>
                  </a:lnTo>
                  <a:lnTo>
                    <a:pt x="74" y="261"/>
                  </a:lnTo>
                  <a:lnTo>
                    <a:pt x="74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1" y="263"/>
                  </a:lnTo>
                  <a:lnTo>
                    <a:pt x="71" y="263"/>
                  </a:lnTo>
                  <a:lnTo>
                    <a:pt x="71" y="263"/>
                  </a:lnTo>
                  <a:lnTo>
                    <a:pt x="71" y="263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9"/>
                  </a:lnTo>
                  <a:lnTo>
                    <a:pt x="71" y="269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7" y="269"/>
                  </a:lnTo>
                  <a:lnTo>
                    <a:pt x="77" y="269"/>
                  </a:lnTo>
                  <a:lnTo>
                    <a:pt x="87" y="269"/>
                  </a:lnTo>
                  <a:lnTo>
                    <a:pt x="87" y="269"/>
                  </a:lnTo>
                  <a:lnTo>
                    <a:pt x="87" y="269"/>
                  </a:lnTo>
                  <a:lnTo>
                    <a:pt x="87" y="269"/>
                  </a:lnTo>
                  <a:lnTo>
                    <a:pt x="87" y="269"/>
                  </a:lnTo>
                  <a:lnTo>
                    <a:pt x="89" y="269"/>
                  </a:lnTo>
                  <a:lnTo>
                    <a:pt x="89" y="269"/>
                  </a:lnTo>
                  <a:lnTo>
                    <a:pt x="89" y="269"/>
                  </a:lnTo>
                  <a:lnTo>
                    <a:pt x="89" y="269"/>
                  </a:lnTo>
                  <a:lnTo>
                    <a:pt x="89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9" y="261"/>
                  </a:lnTo>
                  <a:lnTo>
                    <a:pt x="87" y="261"/>
                  </a:lnTo>
                  <a:lnTo>
                    <a:pt x="87" y="258"/>
                  </a:lnTo>
                  <a:lnTo>
                    <a:pt x="87" y="258"/>
                  </a:lnTo>
                  <a:lnTo>
                    <a:pt x="87" y="258"/>
                  </a:lnTo>
                  <a:lnTo>
                    <a:pt x="87" y="258"/>
                  </a:lnTo>
                  <a:close/>
                  <a:moveTo>
                    <a:pt x="123" y="258"/>
                  </a:moveTo>
                  <a:lnTo>
                    <a:pt x="112" y="258"/>
                  </a:lnTo>
                  <a:lnTo>
                    <a:pt x="112" y="258"/>
                  </a:lnTo>
                  <a:lnTo>
                    <a:pt x="112" y="258"/>
                  </a:lnTo>
                  <a:lnTo>
                    <a:pt x="112" y="258"/>
                  </a:lnTo>
                  <a:lnTo>
                    <a:pt x="112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3"/>
                  </a:lnTo>
                  <a:lnTo>
                    <a:pt x="110" y="263"/>
                  </a:lnTo>
                  <a:lnTo>
                    <a:pt x="107" y="263"/>
                  </a:lnTo>
                  <a:lnTo>
                    <a:pt x="107" y="263"/>
                  </a:lnTo>
                  <a:lnTo>
                    <a:pt x="107" y="263"/>
                  </a:lnTo>
                  <a:lnTo>
                    <a:pt x="107" y="266"/>
                  </a:lnTo>
                  <a:lnTo>
                    <a:pt x="107" y="266"/>
                  </a:lnTo>
                  <a:lnTo>
                    <a:pt x="110" y="266"/>
                  </a:lnTo>
                  <a:lnTo>
                    <a:pt x="110" y="266"/>
                  </a:lnTo>
                  <a:lnTo>
                    <a:pt x="110" y="266"/>
                  </a:lnTo>
                  <a:lnTo>
                    <a:pt x="110" y="269"/>
                  </a:lnTo>
                  <a:lnTo>
                    <a:pt x="110" y="269"/>
                  </a:lnTo>
                  <a:lnTo>
                    <a:pt x="110" y="269"/>
                  </a:lnTo>
                  <a:lnTo>
                    <a:pt x="110" y="269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23" y="269"/>
                  </a:lnTo>
                  <a:lnTo>
                    <a:pt x="125" y="269"/>
                  </a:lnTo>
                  <a:lnTo>
                    <a:pt x="125" y="269"/>
                  </a:lnTo>
                  <a:lnTo>
                    <a:pt x="125" y="269"/>
                  </a:lnTo>
                  <a:lnTo>
                    <a:pt x="125" y="269"/>
                  </a:lnTo>
                  <a:lnTo>
                    <a:pt x="125" y="269"/>
                  </a:lnTo>
                  <a:lnTo>
                    <a:pt x="128" y="269"/>
                  </a:lnTo>
                  <a:lnTo>
                    <a:pt x="128" y="269"/>
                  </a:lnTo>
                  <a:lnTo>
                    <a:pt x="128" y="269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5" y="261"/>
                  </a:lnTo>
                  <a:lnTo>
                    <a:pt x="125" y="261"/>
                  </a:lnTo>
                  <a:lnTo>
                    <a:pt x="125" y="258"/>
                  </a:lnTo>
                  <a:lnTo>
                    <a:pt x="125" y="258"/>
                  </a:lnTo>
                  <a:lnTo>
                    <a:pt x="125" y="258"/>
                  </a:lnTo>
                  <a:lnTo>
                    <a:pt x="123" y="258"/>
                  </a:lnTo>
                  <a:close/>
                  <a:moveTo>
                    <a:pt x="164" y="258"/>
                  </a:moveTo>
                  <a:lnTo>
                    <a:pt x="153" y="258"/>
                  </a:lnTo>
                  <a:lnTo>
                    <a:pt x="151" y="258"/>
                  </a:lnTo>
                  <a:lnTo>
                    <a:pt x="151" y="258"/>
                  </a:lnTo>
                  <a:lnTo>
                    <a:pt x="151" y="258"/>
                  </a:lnTo>
                  <a:lnTo>
                    <a:pt x="151" y="261"/>
                  </a:lnTo>
                  <a:lnTo>
                    <a:pt x="151" y="261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9"/>
                  </a:lnTo>
                  <a:lnTo>
                    <a:pt x="148" y="269"/>
                  </a:lnTo>
                  <a:lnTo>
                    <a:pt x="148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3" y="269"/>
                  </a:lnTo>
                  <a:lnTo>
                    <a:pt x="164" y="269"/>
                  </a:lnTo>
                  <a:lnTo>
                    <a:pt x="164" y="269"/>
                  </a:lnTo>
                  <a:lnTo>
                    <a:pt x="164" y="269"/>
                  </a:lnTo>
                  <a:lnTo>
                    <a:pt x="166" y="269"/>
                  </a:lnTo>
                  <a:lnTo>
                    <a:pt x="166" y="269"/>
                  </a:lnTo>
                  <a:lnTo>
                    <a:pt x="166" y="269"/>
                  </a:lnTo>
                  <a:lnTo>
                    <a:pt x="166" y="269"/>
                  </a:lnTo>
                  <a:lnTo>
                    <a:pt x="166" y="269"/>
                  </a:lnTo>
                  <a:lnTo>
                    <a:pt x="169" y="269"/>
                  </a:lnTo>
                  <a:lnTo>
                    <a:pt x="169" y="266"/>
                  </a:lnTo>
                  <a:lnTo>
                    <a:pt x="169" y="266"/>
                  </a:lnTo>
                  <a:lnTo>
                    <a:pt x="169" y="266"/>
                  </a:lnTo>
                  <a:lnTo>
                    <a:pt x="169" y="266"/>
                  </a:lnTo>
                  <a:lnTo>
                    <a:pt x="169" y="266"/>
                  </a:lnTo>
                  <a:lnTo>
                    <a:pt x="169" y="263"/>
                  </a:lnTo>
                  <a:lnTo>
                    <a:pt x="169" y="263"/>
                  </a:lnTo>
                  <a:lnTo>
                    <a:pt x="169" y="263"/>
                  </a:lnTo>
                  <a:lnTo>
                    <a:pt x="169" y="263"/>
                  </a:lnTo>
                  <a:lnTo>
                    <a:pt x="169" y="263"/>
                  </a:lnTo>
                  <a:lnTo>
                    <a:pt x="169" y="261"/>
                  </a:lnTo>
                  <a:lnTo>
                    <a:pt x="169" y="261"/>
                  </a:lnTo>
                  <a:lnTo>
                    <a:pt x="166" y="261"/>
                  </a:lnTo>
                  <a:lnTo>
                    <a:pt x="166" y="261"/>
                  </a:lnTo>
                  <a:lnTo>
                    <a:pt x="166" y="261"/>
                  </a:lnTo>
                  <a:lnTo>
                    <a:pt x="166" y="261"/>
                  </a:lnTo>
                  <a:lnTo>
                    <a:pt x="166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15" y="235"/>
                  </a:moveTo>
                  <a:lnTo>
                    <a:pt x="115" y="235"/>
                  </a:lnTo>
                  <a:lnTo>
                    <a:pt x="115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2" y="243"/>
                  </a:lnTo>
                  <a:lnTo>
                    <a:pt x="112" y="245"/>
                  </a:lnTo>
                  <a:lnTo>
                    <a:pt x="112" y="245"/>
                  </a:lnTo>
                  <a:lnTo>
                    <a:pt x="112" y="245"/>
                  </a:lnTo>
                  <a:lnTo>
                    <a:pt x="112" y="245"/>
                  </a:lnTo>
                  <a:lnTo>
                    <a:pt x="115" y="245"/>
                  </a:lnTo>
                  <a:lnTo>
                    <a:pt x="115" y="245"/>
                  </a:lnTo>
                  <a:lnTo>
                    <a:pt x="115" y="245"/>
                  </a:lnTo>
                  <a:lnTo>
                    <a:pt x="115" y="245"/>
                  </a:lnTo>
                  <a:lnTo>
                    <a:pt x="115" y="245"/>
                  </a:lnTo>
                  <a:lnTo>
                    <a:pt x="118" y="245"/>
                  </a:lnTo>
                  <a:lnTo>
                    <a:pt x="118" y="245"/>
                  </a:lnTo>
                  <a:lnTo>
                    <a:pt x="118" y="245"/>
                  </a:lnTo>
                  <a:lnTo>
                    <a:pt x="118" y="245"/>
                  </a:lnTo>
                  <a:lnTo>
                    <a:pt x="118" y="243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18" y="238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5"/>
                  </a:lnTo>
                  <a:close/>
                  <a:moveTo>
                    <a:pt x="205" y="235"/>
                  </a:moveTo>
                  <a:lnTo>
                    <a:pt x="205" y="235"/>
                  </a:lnTo>
                  <a:lnTo>
                    <a:pt x="205" y="235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8"/>
                  </a:lnTo>
                  <a:lnTo>
                    <a:pt x="200" y="238"/>
                  </a:lnTo>
                  <a:lnTo>
                    <a:pt x="200" y="238"/>
                  </a:lnTo>
                  <a:lnTo>
                    <a:pt x="200" y="238"/>
                  </a:lnTo>
                  <a:lnTo>
                    <a:pt x="200" y="238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0" y="243"/>
                  </a:lnTo>
                  <a:lnTo>
                    <a:pt x="200" y="243"/>
                  </a:lnTo>
                  <a:lnTo>
                    <a:pt x="200" y="243"/>
                  </a:lnTo>
                  <a:lnTo>
                    <a:pt x="200" y="243"/>
                  </a:lnTo>
                  <a:lnTo>
                    <a:pt x="202" y="243"/>
                  </a:lnTo>
                  <a:lnTo>
                    <a:pt x="202" y="245"/>
                  </a:lnTo>
                  <a:lnTo>
                    <a:pt x="202" y="245"/>
                  </a:lnTo>
                  <a:lnTo>
                    <a:pt x="202" y="245"/>
                  </a:lnTo>
                  <a:lnTo>
                    <a:pt x="202" y="245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5"/>
                  </a:lnTo>
                  <a:lnTo>
                    <a:pt x="207" y="245"/>
                  </a:lnTo>
                  <a:lnTo>
                    <a:pt x="207" y="245"/>
                  </a:lnTo>
                  <a:lnTo>
                    <a:pt x="207" y="245"/>
                  </a:lnTo>
                  <a:lnTo>
                    <a:pt x="207" y="243"/>
                  </a:lnTo>
                  <a:lnTo>
                    <a:pt x="210" y="243"/>
                  </a:lnTo>
                  <a:lnTo>
                    <a:pt x="210" y="243"/>
                  </a:lnTo>
                  <a:lnTo>
                    <a:pt x="210" y="243"/>
                  </a:lnTo>
                  <a:lnTo>
                    <a:pt x="210" y="243"/>
                  </a:lnTo>
                  <a:lnTo>
                    <a:pt x="210" y="240"/>
                  </a:lnTo>
                  <a:lnTo>
                    <a:pt x="210" y="240"/>
                  </a:lnTo>
                  <a:lnTo>
                    <a:pt x="210" y="240"/>
                  </a:lnTo>
                  <a:lnTo>
                    <a:pt x="210" y="240"/>
                  </a:lnTo>
                  <a:lnTo>
                    <a:pt x="210" y="240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7" y="238"/>
                  </a:lnTo>
                  <a:lnTo>
                    <a:pt x="207" y="235"/>
                  </a:lnTo>
                  <a:lnTo>
                    <a:pt x="207" y="235"/>
                  </a:lnTo>
                  <a:lnTo>
                    <a:pt x="207" y="235"/>
                  </a:lnTo>
                  <a:lnTo>
                    <a:pt x="207" y="235"/>
                  </a:lnTo>
                  <a:lnTo>
                    <a:pt x="205" y="235"/>
                  </a:lnTo>
                  <a:lnTo>
                    <a:pt x="205" y="235"/>
                  </a:lnTo>
                  <a:lnTo>
                    <a:pt x="205" y="235"/>
                  </a:lnTo>
                  <a:close/>
                  <a:moveTo>
                    <a:pt x="82" y="235"/>
                  </a:moveTo>
                  <a:lnTo>
                    <a:pt x="82" y="235"/>
                  </a:lnTo>
                  <a:lnTo>
                    <a:pt x="82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8"/>
                  </a:lnTo>
                  <a:lnTo>
                    <a:pt x="79" y="238"/>
                  </a:lnTo>
                  <a:lnTo>
                    <a:pt x="77" y="238"/>
                  </a:lnTo>
                  <a:lnTo>
                    <a:pt x="77" y="238"/>
                  </a:lnTo>
                  <a:lnTo>
                    <a:pt x="77" y="238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7" y="240"/>
                  </a:lnTo>
                  <a:lnTo>
                    <a:pt x="77" y="240"/>
                  </a:lnTo>
                  <a:lnTo>
                    <a:pt x="77" y="240"/>
                  </a:lnTo>
                  <a:lnTo>
                    <a:pt x="77" y="240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9" y="243"/>
                  </a:lnTo>
                  <a:lnTo>
                    <a:pt x="79" y="245"/>
                  </a:lnTo>
                  <a:lnTo>
                    <a:pt x="79" y="245"/>
                  </a:lnTo>
                  <a:lnTo>
                    <a:pt x="79" y="245"/>
                  </a:lnTo>
                  <a:lnTo>
                    <a:pt x="79" y="245"/>
                  </a:lnTo>
                  <a:lnTo>
                    <a:pt x="82" y="245"/>
                  </a:lnTo>
                  <a:lnTo>
                    <a:pt x="82" y="245"/>
                  </a:lnTo>
                  <a:lnTo>
                    <a:pt x="82" y="245"/>
                  </a:lnTo>
                  <a:lnTo>
                    <a:pt x="100" y="245"/>
                  </a:lnTo>
                  <a:lnTo>
                    <a:pt x="100" y="245"/>
                  </a:lnTo>
                  <a:lnTo>
                    <a:pt x="102" y="245"/>
                  </a:lnTo>
                  <a:lnTo>
                    <a:pt x="102" y="245"/>
                  </a:lnTo>
                  <a:lnTo>
                    <a:pt x="102" y="245"/>
                  </a:lnTo>
                  <a:lnTo>
                    <a:pt x="102" y="245"/>
                  </a:lnTo>
                  <a:lnTo>
                    <a:pt x="102" y="245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0"/>
                  </a:lnTo>
                  <a:lnTo>
                    <a:pt x="105" y="240"/>
                  </a:lnTo>
                  <a:lnTo>
                    <a:pt x="105" y="240"/>
                  </a:lnTo>
                  <a:lnTo>
                    <a:pt x="105" y="240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2" y="235"/>
                  </a:lnTo>
                  <a:lnTo>
                    <a:pt x="102" y="235"/>
                  </a:lnTo>
                  <a:lnTo>
                    <a:pt x="102" y="235"/>
                  </a:lnTo>
                  <a:lnTo>
                    <a:pt x="102" y="235"/>
                  </a:lnTo>
                  <a:lnTo>
                    <a:pt x="102" y="235"/>
                  </a:lnTo>
                  <a:lnTo>
                    <a:pt x="100" y="235"/>
                  </a:lnTo>
                  <a:lnTo>
                    <a:pt x="100" y="235"/>
                  </a:lnTo>
                  <a:lnTo>
                    <a:pt x="82" y="235"/>
                  </a:lnTo>
                  <a:close/>
                  <a:moveTo>
                    <a:pt x="130" y="235"/>
                  </a:moveTo>
                  <a:lnTo>
                    <a:pt x="130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5" y="240"/>
                  </a:lnTo>
                  <a:lnTo>
                    <a:pt x="125" y="240"/>
                  </a:lnTo>
                  <a:lnTo>
                    <a:pt x="125" y="240"/>
                  </a:lnTo>
                  <a:lnTo>
                    <a:pt x="125" y="240"/>
                  </a:lnTo>
                  <a:lnTo>
                    <a:pt x="125" y="240"/>
                  </a:lnTo>
                  <a:lnTo>
                    <a:pt x="125" y="243"/>
                  </a:lnTo>
                  <a:lnTo>
                    <a:pt x="125" y="243"/>
                  </a:lnTo>
                  <a:lnTo>
                    <a:pt x="125" y="243"/>
                  </a:lnTo>
                  <a:lnTo>
                    <a:pt x="125" y="243"/>
                  </a:lnTo>
                  <a:lnTo>
                    <a:pt x="125" y="243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30" y="245"/>
                  </a:lnTo>
                  <a:lnTo>
                    <a:pt x="130" y="245"/>
                  </a:lnTo>
                  <a:lnTo>
                    <a:pt x="146" y="245"/>
                  </a:lnTo>
                  <a:lnTo>
                    <a:pt x="148" y="245"/>
                  </a:lnTo>
                  <a:lnTo>
                    <a:pt x="148" y="245"/>
                  </a:lnTo>
                  <a:lnTo>
                    <a:pt x="148" y="245"/>
                  </a:lnTo>
                  <a:lnTo>
                    <a:pt x="148" y="245"/>
                  </a:lnTo>
                  <a:lnTo>
                    <a:pt x="148" y="245"/>
                  </a:lnTo>
                  <a:lnTo>
                    <a:pt x="148" y="245"/>
                  </a:lnTo>
                  <a:lnTo>
                    <a:pt x="151" y="243"/>
                  </a:lnTo>
                  <a:lnTo>
                    <a:pt x="151" y="243"/>
                  </a:lnTo>
                  <a:lnTo>
                    <a:pt x="151" y="243"/>
                  </a:lnTo>
                  <a:lnTo>
                    <a:pt x="151" y="243"/>
                  </a:lnTo>
                  <a:lnTo>
                    <a:pt x="151" y="243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30" y="235"/>
                  </a:lnTo>
                  <a:close/>
                  <a:moveTo>
                    <a:pt x="161" y="235"/>
                  </a:moveTo>
                  <a:lnTo>
                    <a:pt x="161" y="235"/>
                  </a:lnTo>
                  <a:lnTo>
                    <a:pt x="161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8"/>
                  </a:lnTo>
                  <a:lnTo>
                    <a:pt x="159" y="238"/>
                  </a:lnTo>
                  <a:lnTo>
                    <a:pt x="159" y="238"/>
                  </a:lnTo>
                  <a:lnTo>
                    <a:pt x="156" y="238"/>
                  </a:lnTo>
                  <a:lnTo>
                    <a:pt x="156" y="238"/>
                  </a:lnTo>
                  <a:lnTo>
                    <a:pt x="156" y="238"/>
                  </a:lnTo>
                  <a:lnTo>
                    <a:pt x="156" y="240"/>
                  </a:lnTo>
                  <a:lnTo>
                    <a:pt x="156" y="240"/>
                  </a:lnTo>
                  <a:lnTo>
                    <a:pt x="156" y="240"/>
                  </a:lnTo>
                  <a:lnTo>
                    <a:pt x="156" y="240"/>
                  </a:lnTo>
                  <a:lnTo>
                    <a:pt x="156" y="240"/>
                  </a:lnTo>
                  <a:lnTo>
                    <a:pt x="156" y="243"/>
                  </a:lnTo>
                  <a:lnTo>
                    <a:pt x="156" y="243"/>
                  </a:lnTo>
                  <a:lnTo>
                    <a:pt x="156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5"/>
                  </a:lnTo>
                  <a:lnTo>
                    <a:pt x="159" y="245"/>
                  </a:lnTo>
                  <a:lnTo>
                    <a:pt x="159" y="245"/>
                  </a:lnTo>
                  <a:lnTo>
                    <a:pt x="161" y="245"/>
                  </a:lnTo>
                  <a:lnTo>
                    <a:pt x="161" y="245"/>
                  </a:lnTo>
                  <a:lnTo>
                    <a:pt x="161" y="245"/>
                  </a:lnTo>
                  <a:lnTo>
                    <a:pt x="161" y="245"/>
                  </a:lnTo>
                  <a:lnTo>
                    <a:pt x="166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71" y="243"/>
                  </a:lnTo>
                  <a:lnTo>
                    <a:pt x="171" y="243"/>
                  </a:lnTo>
                  <a:lnTo>
                    <a:pt x="171" y="243"/>
                  </a:lnTo>
                  <a:lnTo>
                    <a:pt x="171" y="243"/>
                  </a:lnTo>
                  <a:lnTo>
                    <a:pt x="171" y="243"/>
                  </a:lnTo>
                  <a:lnTo>
                    <a:pt x="171" y="240"/>
                  </a:lnTo>
                  <a:lnTo>
                    <a:pt x="171" y="240"/>
                  </a:lnTo>
                  <a:lnTo>
                    <a:pt x="171" y="240"/>
                  </a:lnTo>
                  <a:lnTo>
                    <a:pt x="171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6" y="235"/>
                  </a:lnTo>
                  <a:lnTo>
                    <a:pt x="161" y="235"/>
                  </a:lnTo>
                  <a:close/>
                  <a:moveTo>
                    <a:pt x="182" y="235"/>
                  </a:moveTo>
                  <a:lnTo>
                    <a:pt x="182" y="235"/>
                  </a:lnTo>
                  <a:lnTo>
                    <a:pt x="182" y="235"/>
                  </a:lnTo>
                  <a:lnTo>
                    <a:pt x="182" y="235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6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6" y="240"/>
                  </a:lnTo>
                  <a:lnTo>
                    <a:pt x="176" y="243"/>
                  </a:lnTo>
                  <a:lnTo>
                    <a:pt x="176" y="243"/>
                  </a:lnTo>
                  <a:lnTo>
                    <a:pt x="179" y="243"/>
                  </a:lnTo>
                  <a:lnTo>
                    <a:pt x="179" y="243"/>
                  </a:lnTo>
                  <a:lnTo>
                    <a:pt x="179" y="24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9" y="245"/>
                  </a:lnTo>
                  <a:lnTo>
                    <a:pt x="189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2" y="245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4" y="238"/>
                  </a:lnTo>
                  <a:lnTo>
                    <a:pt x="194" y="238"/>
                  </a:lnTo>
                  <a:lnTo>
                    <a:pt x="194" y="238"/>
                  </a:lnTo>
                  <a:lnTo>
                    <a:pt x="194" y="238"/>
                  </a:lnTo>
                  <a:lnTo>
                    <a:pt x="194" y="238"/>
                  </a:lnTo>
                  <a:lnTo>
                    <a:pt x="192" y="235"/>
                  </a:lnTo>
                  <a:lnTo>
                    <a:pt x="192" y="235"/>
                  </a:lnTo>
                  <a:lnTo>
                    <a:pt x="192" y="235"/>
                  </a:lnTo>
                  <a:lnTo>
                    <a:pt x="192" y="235"/>
                  </a:lnTo>
                  <a:lnTo>
                    <a:pt x="192" y="235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82" y="235"/>
                  </a:lnTo>
                  <a:close/>
                  <a:moveTo>
                    <a:pt x="107" y="212"/>
                  </a:moveTo>
                  <a:lnTo>
                    <a:pt x="107" y="212"/>
                  </a:lnTo>
                  <a:lnTo>
                    <a:pt x="107" y="212"/>
                  </a:lnTo>
                  <a:lnTo>
                    <a:pt x="107" y="212"/>
                  </a:lnTo>
                  <a:lnTo>
                    <a:pt x="105" y="212"/>
                  </a:lnTo>
                  <a:lnTo>
                    <a:pt x="105" y="215"/>
                  </a:lnTo>
                  <a:lnTo>
                    <a:pt x="105" y="215"/>
                  </a:lnTo>
                  <a:lnTo>
                    <a:pt x="105" y="215"/>
                  </a:lnTo>
                  <a:lnTo>
                    <a:pt x="105" y="215"/>
                  </a:lnTo>
                  <a:lnTo>
                    <a:pt x="102" y="215"/>
                  </a:lnTo>
                  <a:lnTo>
                    <a:pt x="102" y="217"/>
                  </a:lnTo>
                  <a:lnTo>
                    <a:pt x="102" y="217"/>
                  </a:lnTo>
                  <a:lnTo>
                    <a:pt x="102" y="217"/>
                  </a:lnTo>
                  <a:lnTo>
                    <a:pt x="102" y="217"/>
                  </a:lnTo>
                  <a:lnTo>
                    <a:pt x="102" y="217"/>
                  </a:lnTo>
                  <a:lnTo>
                    <a:pt x="102" y="217"/>
                  </a:lnTo>
                  <a:lnTo>
                    <a:pt x="102" y="220"/>
                  </a:lnTo>
                  <a:lnTo>
                    <a:pt x="102" y="220"/>
                  </a:lnTo>
                  <a:lnTo>
                    <a:pt x="102" y="220"/>
                  </a:lnTo>
                  <a:lnTo>
                    <a:pt x="102" y="220"/>
                  </a:lnTo>
                  <a:lnTo>
                    <a:pt x="105" y="220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2" y="222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17"/>
                  </a:lnTo>
                  <a:lnTo>
                    <a:pt x="112" y="217"/>
                  </a:lnTo>
                  <a:lnTo>
                    <a:pt x="112" y="217"/>
                  </a:lnTo>
                  <a:lnTo>
                    <a:pt x="112" y="217"/>
                  </a:lnTo>
                  <a:lnTo>
                    <a:pt x="112" y="217"/>
                  </a:lnTo>
                  <a:lnTo>
                    <a:pt x="112" y="217"/>
                  </a:lnTo>
                  <a:lnTo>
                    <a:pt x="112" y="215"/>
                  </a:lnTo>
                  <a:lnTo>
                    <a:pt x="112" y="215"/>
                  </a:lnTo>
                  <a:lnTo>
                    <a:pt x="112" y="215"/>
                  </a:lnTo>
                  <a:lnTo>
                    <a:pt x="110" y="215"/>
                  </a:lnTo>
                  <a:lnTo>
                    <a:pt x="110" y="215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07" y="212"/>
                  </a:lnTo>
                  <a:lnTo>
                    <a:pt x="107" y="212"/>
                  </a:lnTo>
                  <a:close/>
                  <a:moveTo>
                    <a:pt x="146" y="212"/>
                  </a:moveTo>
                  <a:lnTo>
                    <a:pt x="146" y="212"/>
                  </a:lnTo>
                  <a:lnTo>
                    <a:pt x="146" y="212"/>
                  </a:lnTo>
                  <a:lnTo>
                    <a:pt x="143" y="212"/>
                  </a:lnTo>
                  <a:lnTo>
                    <a:pt x="143" y="212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1" y="215"/>
                  </a:lnTo>
                  <a:lnTo>
                    <a:pt x="141" y="215"/>
                  </a:lnTo>
                  <a:lnTo>
                    <a:pt x="141" y="217"/>
                  </a:lnTo>
                  <a:lnTo>
                    <a:pt x="141" y="217"/>
                  </a:lnTo>
                  <a:lnTo>
                    <a:pt x="141" y="217"/>
                  </a:lnTo>
                  <a:lnTo>
                    <a:pt x="141" y="217"/>
                  </a:lnTo>
                  <a:lnTo>
                    <a:pt x="141" y="217"/>
                  </a:lnTo>
                  <a:lnTo>
                    <a:pt x="141" y="217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51" y="220"/>
                  </a:lnTo>
                  <a:lnTo>
                    <a:pt x="151" y="220"/>
                  </a:lnTo>
                  <a:lnTo>
                    <a:pt x="151" y="220"/>
                  </a:lnTo>
                  <a:lnTo>
                    <a:pt x="151" y="220"/>
                  </a:lnTo>
                  <a:lnTo>
                    <a:pt x="151" y="220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5"/>
                  </a:lnTo>
                  <a:lnTo>
                    <a:pt x="151" y="215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8" y="212"/>
                  </a:lnTo>
                  <a:lnTo>
                    <a:pt x="148" y="212"/>
                  </a:lnTo>
                  <a:lnTo>
                    <a:pt x="146" y="212"/>
                  </a:lnTo>
                  <a:lnTo>
                    <a:pt x="146" y="212"/>
                  </a:lnTo>
                  <a:lnTo>
                    <a:pt x="146" y="212"/>
                  </a:lnTo>
                  <a:close/>
                  <a:moveTo>
                    <a:pt x="161" y="212"/>
                  </a:moveTo>
                  <a:lnTo>
                    <a:pt x="161" y="212"/>
                  </a:lnTo>
                  <a:lnTo>
                    <a:pt x="161" y="212"/>
                  </a:lnTo>
                  <a:lnTo>
                    <a:pt x="159" y="212"/>
                  </a:lnTo>
                  <a:lnTo>
                    <a:pt x="159" y="212"/>
                  </a:lnTo>
                  <a:lnTo>
                    <a:pt x="159" y="215"/>
                  </a:lnTo>
                  <a:lnTo>
                    <a:pt x="159" y="215"/>
                  </a:lnTo>
                  <a:lnTo>
                    <a:pt x="159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61" y="222"/>
                  </a:lnTo>
                  <a:lnTo>
                    <a:pt x="161" y="222"/>
                  </a:lnTo>
                  <a:lnTo>
                    <a:pt x="161" y="222"/>
                  </a:lnTo>
                  <a:lnTo>
                    <a:pt x="161" y="222"/>
                  </a:lnTo>
                  <a:lnTo>
                    <a:pt x="161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1" y="212"/>
                  </a:lnTo>
                  <a:lnTo>
                    <a:pt x="161" y="212"/>
                  </a:lnTo>
                  <a:lnTo>
                    <a:pt x="161" y="212"/>
                  </a:lnTo>
                  <a:close/>
                  <a:moveTo>
                    <a:pt x="176" y="212"/>
                  </a:moveTo>
                  <a:lnTo>
                    <a:pt x="176" y="212"/>
                  </a:lnTo>
                  <a:lnTo>
                    <a:pt x="174" y="212"/>
                  </a:lnTo>
                  <a:lnTo>
                    <a:pt x="174" y="212"/>
                  </a:lnTo>
                  <a:lnTo>
                    <a:pt x="174" y="212"/>
                  </a:lnTo>
                  <a:lnTo>
                    <a:pt x="174" y="215"/>
                  </a:lnTo>
                  <a:lnTo>
                    <a:pt x="174" y="215"/>
                  </a:lnTo>
                  <a:lnTo>
                    <a:pt x="171" y="215"/>
                  </a:lnTo>
                  <a:lnTo>
                    <a:pt x="171" y="215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20"/>
                  </a:lnTo>
                  <a:lnTo>
                    <a:pt x="171" y="220"/>
                  </a:lnTo>
                  <a:lnTo>
                    <a:pt x="171" y="220"/>
                  </a:lnTo>
                  <a:lnTo>
                    <a:pt x="171" y="220"/>
                  </a:lnTo>
                  <a:lnTo>
                    <a:pt x="171" y="220"/>
                  </a:lnTo>
                  <a:lnTo>
                    <a:pt x="171" y="222"/>
                  </a:lnTo>
                  <a:lnTo>
                    <a:pt x="174" y="222"/>
                  </a:lnTo>
                  <a:lnTo>
                    <a:pt x="174" y="222"/>
                  </a:lnTo>
                  <a:lnTo>
                    <a:pt x="174" y="222"/>
                  </a:lnTo>
                  <a:lnTo>
                    <a:pt x="174" y="222"/>
                  </a:lnTo>
                  <a:lnTo>
                    <a:pt x="174" y="222"/>
                  </a:lnTo>
                  <a:lnTo>
                    <a:pt x="176" y="222"/>
                  </a:lnTo>
                  <a:lnTo>
                    <a:pt x="176" y="222"/>
                  </a:lnTo>
                  <a:lnTo>
                    <a:pt x="176" y="222"/>
                  </a:lnTo>
                  <a:lnTo>
                    <a:pt x="176" y="222"/>
                  </a:lnTo>
                  <a:lnTo>
                    <a:pt x="176" y="222"/>
                  </a:lnTo>
                  <a:lnTo>
                    <a:pt x="179" y="222"/>
                  </a:lnTo>
                  <a:lnTo>
                    <a:pt x="179" y="222"/>
                  </a:lnTo>
                  <a:lnTo>
                    <a:pt x="179" y="222"/>
                  </a:lnTo>
                  <a:lnTo>
                    <a:pt x="179" y="222"/>
                  </a:lnTo>
                  <a:lnTo>
                    <a:pt x="179" y="220"/>
                  </a:lnTo>
                  <a:lnTo>
                    <a:pt x="182" y="220"/>
                  </a:lnTo>
                  <a:lnTo>
                    <a:pt x="182" y="220"/>
                  </a:lnTo>
                  <a:lnTo>
                    <a:pt x="182" y="220"/>
                  </a:lnTo>
                  <a:lnTo>
                    <a:pt x="182" y="220"/>
                  </a:lnTo>
                  <a:lnTo>
                    <a:pt x="182" y="217"/>
                  </a:lnTo>
                  <a:lnTo>
                    <a:pt x="182" y="217"/>
                  </a:lnTo>
                  <a:lnTo>
                    <a:pt x="182" y="217"/>
                  </a:lnTo>
                  <a:lnTo>
                    <a:pt x="182" y="217"/>
                  </a:lnTo>
                  <a:lnTo>
                    <a:pt x="182" y="217"/>
                  </a:lnTo>
                  <a:lnTo>
                    <a:pt x="182" y="217"/>
                  </a:lnTo>
                  <a:lnTo>
                    <a:pt x="182" y="215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2"/>
                  </a:lnTo>
                  <a:lnTo>
                    <a:pt x="176" y="212"/>
                  </a:lnTo>
                  <a:lnTo>
                    <a:pt x="176" y="212"/>
                  </a:lnTo>
                  <a:lnTo>
                    <a:pt x="176" y="212"/>
                  </a:lnTo>
                  <a:lnTo>
                    <a:pt x="176" y="212"/>
                  </a:lnTo>
                  <a:close/>
                  <a:moveTo>
                    <a:pt x="123" y="212"/>
                  </a:moveTo>
                  <a:lnTo>
                    <a:pt x="123" y="212"/>
                  </a:lnTo>
                  <a:lnTo>
                    <a:pt x="123" y="212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18" y="215"/>
                  </a:lnTo>
                  <a:lnTo>
                    <a:pt x="118" y="215"/>
                  </a:lnTo>
                  <a:lnTo>
                    <a:pt x="118" y="215"/>
                  </a:lnTo>
                  <a:lnTo>
                    <a:pt x="118" y="215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3" y="222"/>
                  </a:lnTo>
                  <a:lnTo>
                    <a:pt x="123" y="222"/>
                  </a:lnTo>
                  <a:lnTo>
                    <a:pt x="123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5" y="222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17"/>
                  </a:lnTo>
                  <a:lnTo>
                    <a:pt x="135" y="217"/>
                  </a:lnTo>
                  <a:lnTo>
                    <a:pt x="135" y="217"/>
                  </a:lnTo>
                  <a:lnTo>
                    <a:pt x="135" y="217"/>
                  </a:lnTo>
                  <a:lnTo>
                    <a:pt x="135" y="217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3" y="215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0" y="212"/>
                  </a:lnTo>
                  <a:lnTo>
                    <a:pt x="130" y="212"/>
                  </a:lnTo>
                  <a:lnTo>
                    <a:pt x="123" y="212"/>
                  </a:lnTo>
                  <a:close/>
                  <a:moveTo>
                    <a:pt x="192" y="212"/>
                  </a:moveTo>
                  <a:lnTo>
                    <a:pt x="192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9" y="215"/>
                  </a:lnTo>
                  <a:lnTo>
                    <a:pt x="189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7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92" y="222"/>
                  </a:lnTo>
                  <a:lnTo>
                    <a:pt x="192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2" y="222"/>
                  </a:lnTo>
                  <a:lnTo>
                    <a:pt x="202" y="222"/>
                  </a:lnTo>
                  <a:lnTo>
                    <a:pt x="202" y="222"/>
                  </a:lnTo>
                  <a:lnTo>
                    <a:pt x="202" y="222"/>
                  </a:lnTo>
                  <a:lnTo>
                    <a:pt x="202" y="222"/>
                  </a:lnTo>
                  <a:lnTo>
                    <a:pt x="205" y="220"/>
                  </a:lnTo>
                  <a:lnTo>
                    <a:pt x="205" y="220"/>
                  </a:lnTo>
                  <a:lnTo>
                    <a:pt x="205" y="220"/>
                  </a:lnTo>
                  <a:lnTo>
                    <a:pt x="205" y="220"/>
                  </a:lnTo>
                  <a:lnTo>
                    <a:pt x="205" y="220"/>
                  </a:lnTo>
                  <a:lnTo>
                    <a:pt x="205" y="217"/>
                  </a:lnTo>
                  <a:lnTo>
                    <a:pt x="205" y="217"/>
                  </a:lnTo>
                  <a:lnTo>
                    <a:pt x="205" y="217"/>
                  </a:lnTo>
                  <a:lnTo>
                    <a:pt x="205" y="217"/>
                  </a:lnTo>
                  <a:lnTo>
                    <a:pt x="205" y="217"/>
                  </a:lnTo>
                  <a:lnTo>
                    <a:pt x="205" y="215"/>
                  </a:lnTo>
                  <a:lnTo>
                    <a:pt x="205" y="215"/>
                  </a:lnTo>
                  <a:lnTo>
                    <a:pt x="205" y="215"/>
                  </a:lnTo>
                  <a:lnTo>
                    <a:pt x="205" y="215"/>
                  </a:lnTo>
                  <a:lnTo>
                    <a:pt x="202" y="215"/>
                  </a:lnTo>
                  <a:lnTo>
                    <a:pt x="202" y="215"/>
                  </a:lnTo>
                  <a:lnTo>
                    <a:pt x="202" y="215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2" y="212"/>
                  </a:lnTo>
                  <a:close/>
                  <a:moveTo>
                    <a:pt x="115" y="192"/>
                  </a:moveTo>
                  <a:lnTo>
                    <a:pt x="115" y="192"/>
                  </a:lnTo>
                  <a:lnTo>
                    <a:pt x="115" y="192"/>
                  </a:lnTo>
                  <a:lnTo>
                    <a:pt x="112" y="194"/>
                  </a:lnTo>
                  <a:lnTo>
                    <a:pt x="112" y="194"/>
                  </a:lnTo>
                  <a:lnTo>
                    <a:pt x="112" y="194"/>
                  </a:lnTo>
                  <a:lnTo>
                    <a:pt x="112" y="194"/>
                  </a:lnTo>
                  <a:lnTo>
                    <a:pt x="112" y="194"/>
                  </a:lnTo>
                  <a:lnTo>
                    <a:pt x="110" y="194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9"/>
                  </a:lnTo>
                  <a:lnTo>
                    <a:pt x="110" y="199"/>
                  </a:lnTo>
                  <a:lnTo>
                    <a:pt x="110" y="199"/>
                  </a:lnTo>
                  <a:lnTo>
                    <a:pt x="110" y="199"/>
                  </a:lnTo>
                  <a:lnTo>
                    <a:pt x="110" y="199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20" y="202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20" y="197"/>
                  </a:lnTo>
                  <a:lnTo>
                    <a:pt x="120" y="197"/>
                  </a:lnTo>
                  <a:lnTo>
                    <a:pt x="120" y="197"/>
                  </a:lnTo>
                  <a:lnTo>
                    <a:pt x="120" y="197"/>
                  </a:lnTo>
                  <a:lnTo>
                    <a:pt x="120" y="197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2"/>
                  </a:lnTo>
                  <a:lnTo>
                    <a:pt x="118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2"/>
                  </a:lnTo>
                  <a:close/>
                  <a:moveTo>
                    <a:pt x="182" y="192"/>
                  </a:moveTo>
                  <a:lnTo>
                    <a:pt x="182" y="192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2" y="194"/>
                  </a:lnTo>
                  <a:lnTo>
                    <a:pt x="179" y="194"/>
                  </a:lnTo>
                  <a:lnTo>
                    <a:pt x="179" y="194"/>
                  </a:lnTo>
                  <a:lnTo>
                    <a:pt x="179" y="194"/>
                  </a:lnTo>
                  <a:lnTo>
                    <a:pt x="179" y="194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6" y="197"/>
                  </a:lnTo>
                  <a:lnTo>
                    <a:pt x="176" y="197"/>
                  </a:lnTo>
                  <a:lnTo>
                    <a:pt x="176" y="199"/>
                  </a:lnTo>
                  <a:lnTo>
                    <a:pt x="179" y="199"/>
                  </a:lnTo>
                  <a:lnTo>
                    <a:pt x="179" y="199"/>
                  </a:lnTo>
                  <a:lnTo>
                    <a:pt x="179" y="199"/>
                  </a:lnTo>
                  <a:lnTo>
                    <a:pt x="179" y="199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79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7" y="202"/>
                  </a:lnTo>
                  <a:lnTo>
                    <a:pt x="187" y="202"/>
                  </a:lnTo>
                  <a:lnTo>
                    <a:pt x="187" y="202"/>
                  </a:lnTo>
                  <a:lnTo>
                    <a:pt x="187" y="199"/>
                  </a:lnTo>
                  <a:lnTo>
                    <a:pt x="187" y="199"/>
                  </a:lnTo>
                  <a:lnTo>
                    <a:pt x="187" y="199"/>
                  </a:lnTo>
                  <a:lnTo>
                    <a:pt x="187" y="199"/>
                  </a:lnTo>
                  <a:lnTo>
                    <a:pt x="187" y="199"/>
                  </a:lnTo>
                  <a:lnTo>
                    <a:pt x="187" y="197"/>
                  </a:lnTo>
                  <a:lnTo>
                    <a:pt x="187" y="197"/>
                  </a:lnTo>
                  <a:lnTo>
                    <a:pt x="187" y="197"/>
                  </a:lnTo>
                  <a:lnTo>
                    <a:pt x="187" y="197"/>
                  </a:lnTo>
                  <a:lnTo>
                    <a:pt x="187" y="197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7" y="194"/>
                  </a:lnTo>
                  <a:lnTo>
                    <a:pt x="184" y="194"/>
                  </a:lnTo>
                  <a:lnTo>
                    <a:pt x="184" y="194"/>
                  </a:lnTo>
                  <a:lnTo>
                    <a:pt x="184" y="192"/>
                  </a:lnTo>
                  <a:lnTo>
                    <a:pt x="184" y="192"/>
                  </a:lnTo>
                  <a:lnTo>
                    <a:pt x="184" y="192"/>
                  </a:lnTo>
                  <a:lnTo>
                    <a:pt x="182" y="192"/>
                  </a:lnTo>
                  <a:lnTo>
                    <a:pt x="182" y="192"/>
                  </a:lnTo>
                  <a:close/>
                  <a:moveTo>
                    <a:pt x="100" y="192"/>
                  </a:moveTo>
                  <a:lnTo>
                    <a:pt x="92" y="192"/>
                  </a:lnTo>
                  <a:lnTo>
                    <a:pt x="92" y="192"/>
                  </a:lnTo>
                  <a:lnTo>
                    <a:pt x="89" y="192"/>
                  </a:lnTo>
                  <a:lnTo>
                    <a:pt x="89" y="192"/>
                  </a:lnTo>
                  <a:lnTo>
                    <a:pt x="89" y="194"/>
                  </a:lnTo>
                  <a:lnTo>
                    <a:pt x="89" y="194"/>
                  </a:lnTo>
                  <a:lnTo>
                    <a:pt x="89" y="194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202"/>
                  </a:lnTo>
                  <a:lnTo>
                    <a:pt x="87" y="202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100" y="202"/>
                  </a:lnTo>
                  <a:lnTo>
                    <a:pt x="100" y="20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5" y="202"/>
                  </a:lnTo>
                  <a:lnTo>
                    <a:pt x="105" y="202"/>
                  </a:lnTo>
                  <a:lnTo>
                    <a:pt x="105" y="199"/>
                  </a:lnTo>
                  <a:lnTo>
                    <a:pt x="105" y="199"/>
                  </a:lnTo>
                  <a:lnTo>
                    <a:pt x="105" y="199"/>
                  </a:lnTo>
                  <a:lnTo>
                    <a:pt x="105" y="199"/>
                  </a:lnTo>
                  <a:lnTo>
                    <a:pt x="105" y="199"/>
                  </a:lnTo>
                  <a:lnTo>
                    <a:pt x="105" y="197"/>
                  </a:lnTo>
                  <a:lnTo>
                    <a:pt x="105" y="197"/>
                  </a:lnTo>
                  <a:lnTo>
                    <a:pt x="105" y="197"/>
                  </a:lnTo>
                  <a:lnTo>
                    <a:pt x="105" y="197"/>
                  </a:lnTo>
                  <a:lnTo>
                    <a:pt x="105" y="197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0" y="192"/>
                  </a:lnTo>
                  <a:lnTo>
                    <a:pt x="100" y="192"/>
                  </a:lnTo>
                  <a:close/>
                  <a:moveTo>
                    <a:pt x="146" y="192"/>
                  </a:moveTo>
                  <a:lnTo>
                    <a:pt x="128" y="192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5" y="194"/>
                  </a:lnTo>
                  <a:lnTo>
                    <a:pt x="125" y="194"/>
                  </a:lnTo>
                  <a:lnTo>
                    <a:pt x="125" y="194"/>
                  </a:lnTo>
                  <a:lnTo>
                    <a:pt x="125" y="194"/>
                  </a:lnTo>
                  <a:lnTo>
                    <a:pt x="125" y="197"/>
                  </a:lnTo>
                  <a:lnTo>
                    <a:pt x="125" y="197"/>
                  </a:lnTo>
                  <a:lnTo>
                    <a:pt x="125" y="197"/>
                  </a:lnTo>
                  <a:lnTo>
                    <a:pt x="123" y="197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5" y="199"/>
                  </a:lnTo>
                  <a:lnTo>
                    <a:pt x="125" y="199"/>
                  </a:lnTo>
                  <a:lnTo>
                    <a:pt x="125" y="199"/>
                  </a:lnTo>
                  <a:lnTo>
                    <a:pt x="125" y="199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1" y="197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48" y="194"/>
                  </a:lnTo>
                  <a:lnTo>
                    <a:pt x="148" y="194"/>
                  </a:lnTo>
                  <a:lnTo>
                    <a:pt x="148" y="194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6" y="192"/>
                  </a:lnTo>
                  <a:lnTo>
                    <a:pt x="146" y="192"/>
                  </a:lnTo>
                  <a:close/>
                  <a:moveTo>
                    <a:pt x="169" y="192"/>
                  </a:moveTo>
                  <a:lnTo>
                    <a:pt x="161" y="192"/>
                  </a:lnTo>
                  <a:lnTo>
                    <a:pt x="161" y="192"/>
                  </a:lnTo>
                  <a:lnTo>
                    <a:pt x="159" y="192"/>
                  </a:lnTo>
                  <a:lnTo>
                    <a:pt x="159" y="192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9"/>
                  </a:lnTo>
                  <a:lnTo>
                    <a:pt x="156" y="199"/>
                  </a:lnTo>
                  <a:lnTo>
                    <a:pt x="156" y="199"/>
                  </a:lnTo>
                  <a:lnTo>
                    <a:pt x="156" y="199"/>
                  </a:lnTo>
                  <a:lnTo>
                    <a:pt x="156" y="199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9" y="202"/>
                  </a:lnTo>
                  <a:lnTo>
                    <a:pt x="169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4" y="202"/>
                  </a:lnTo>
                  <a:lnTo>
                    <a:pt x="174" y="199"/>
                  </a:lnTo>
                  <a:lnTo>
                    <a:pt x="174" y="199"/>
                  </a:lnTo>
                  <a:lnTo>
                    <a:pt x="174" y="199"/>
                  </a:lnTo>
                  <a:lnTo>
                    <a:pt x="174" y="199"/>
                  </a:lnTo>
                  <a:lnTo>
                    <a:pt x="174" y="199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71" y="194"/>
                  </a:lnTo>
                  <a:lnTo>
                    <a:pt x="171" y="194"/>
                  </a:lnTo>
                  <a:lnTo>
                    <a:pt x="171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69" y="192"/>
                  </a:lnTo>
                  <a:lnTo>
                    <a:pt x="169" y="192"/>
                  </a:lnTo>
                  <a:close/>
                  <a:moveTo>
                    <a:pt x="238" y="143"/>
                  </a:moveTo>
                  <a:lnTo>
                    <a:pt x="238" y="143"/>
                  </a:lnTo>
                  <a:lnTo>
                    <a:pt x="238" y="143"/>
                  </a:lnTo>
                  <a:lnTo>
                    <a:pt x="238" y="143"/>
                  </a:lnTo>
                  <a:lnTo>
                    <a:pt x="238" y="143"/>
                  </a:lnTo>
                  <a:lnTo>
                    <a:pt x="235" y="143"/>
                  </a:lnTo>
                  <a:lnTo>
                    <a:pt x="235" y="146"/>
                  </a:lnTo>
                  <a:lnTo>
                    <a:pt x="235" y="146"/>
                  </a:lnTo>
                  <a:lnTo>
                    <a:pt x="235" y="146"/>
                  </a:lnTo>
                  <a:lnTo>
                    <a:pt x="235" y="146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48"/>
                  </a:lnTo>
                  <a:lnTo>
                    <a:pt x="233" y="148"/>
                  </a:lnTo>
                  <a:lnTo>
                    <a:pt x="233" y="148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35" y="153"/>
                  </a:lnTo>
                  <a:lnTo>
                    <a:pt x="235" y="153"/>
                  </a:lnTo>
                  <a:lnTo>
                    <a:pt x="235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3" y="153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48"/>
                  </a:lnTo>
                  <a:lnTo>
                    <a:pt x="243" y="148"/>
                  </a:lnTo>
                  <a:lnTo>
                    <a:pt x="243" y="148"/>
                  </a:lnTo>
                  <a:lnTo>
                    <a:pt x="243" y="148"/>
                  </a:lnTo>
                  <a:lnTo>
                    <a:pt x="243" y="148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3" y="146"/>
                  </a:lnTo>
                  <a:lnTo>
                    <a:pt x="240" y="146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40" y="143"/>
                  </a:lnTo>
                  <a:lnTo>
                    <a:pt x="238" y="143"/>
                  </a:lnTo>
                  <a:close/>
                  <a:moveTo>
                    <a:pt x="256" y="143"/>
                  </a:moveTo>
                  <a:lnTo>
                    <a:pt x="256" y="143"/>
                  </a:lnTo>
                  <a:lnTo>
                    <a:pt x="256" y="143"/>
                  </a:lnTo>
                  <a:lnTo>
                    <a:pt x="256" y="143"/>
                  </a:lnTo>
                  <a:lnTo>
                    <a:pt x="256" y="143"/>
                  </a:lnTo>
                  <a:lnTo>
                    <a:pt x="253" y="143"/>
                  </a:lnTo>
                  <a:lnTo>
                    <a:pt x="253" y="146"/>
                  </a:lnTo>
                  <a:lnTo>
                    <a:pt x="253" y="146"/>
                  </a:lnTo>
                  <a:lnTo>
                    <a:pt x="253" y="146"/>
                  </a:lnTo>
                  <a:lnTo>
                    <a:pt x="253" y="146"/>
                  </a:lnTo>
                  <a:lnTo>
                    <a:pt x="253" y="146"/>
                  </a:lnTo>
                  <a:lnTo>
                    <a:pt x="251" y="148"/>
                  </a:lnTo>
                  <a:lnTo>
                    <a:pt x="251" y="148"/>
                  </a:lnTo>
                  <a:lnTo>
                    <a:pt x="251" y="148"/>
                  </a:lnTo>
                  <a:lnTo>
                    <a:pt x="251" y="148"/>
                  </a:lnTo>
                  <a:lnTo>
                    <a:pt x="251" y="148"/>
                  </a:lnTo>
                  <a:lnTo>
                    <a:pt x="251" y="151"/>
                  </a:lnTo>
                  <a:lnTo>
                    <a:pt x="251" y="151"/>
                  </a:lnTo>
                  <a:lnTo>
                    <a:pt x="253" y="151"/>
                  </a:lnTo>
                  <a:lnTo>
                    <a:pt x="253" y="151"/>
                  </a:lnTo>
                  <a:lnTo>
                    <a:pt x="253" y="151"/>
                  </a:lnTo>
                  <a:lnTo>
                    <a:pt x="253" y="153"/>
                  </a:lnTo>
                  <a:lnTo>
                    <a:pt x="253" y="153"/>
                  </a:lnTo>
                  <a:lnTo>
                    <a:pt x="253" y="153"/>
                  </a:lnTo>
                  <a:lnTo>
                    <a:pt x="256" y="153"/>
                  </a:lnTo>
                  <a:lnTo>
                    <a:pt x="256" y="153"/>
                  </a:lnTo>
                  <a:lnTo>
                    <a:pt x="256" y="153"/>
                  </a:lnTo>
                  <a:lnTo>
                    <a:pt x="256" y="153"/>
                  </a:lnTo>
                  <a:lnTo>
                    <a:pt x="256" y="153"/>
                  </a:lnTo>
                  <a:lnTo>
                    <a:pt x="258" y="153"/>
                  </a:lnTo>
                  <a:lnTo>
                    <a:pt x="258" y="153"/>
                  </a:lnTo>
                  <a:lnTo>
                    <a:pt x="258" y="153"/>
                  </a:lnTo>
                  <a:lnTo>
                    <a:pt x="258" y="153"/>
                  </a:lnTo>
                  <a:lnTo>
                    <a:pt x="258" y="153"/>
                  </a:lnTo>
                  <a:lnTo>
                    <a:pt x="258" y="153"/>
                  </a:lnTo>
                  <a:lnTo>
                    <a:pt x="261" y="153"/>
                  </a:lnTo>
                  <a:lnTo>
                    <a:pt x="261" y="151"/>
                  </a:lnTo>
                  <a:lnTo>
                    <a:pt x="261" y="151"/>
                  </a:lnTo>
                  <a:lnTo>
                    <a:pt x="261" y="151"/>
                  </a:lnTo>
                  <a:lnTo>
                    <a:pt x="261" y="151"/>
                  </a:lnTo>
                  <a:lnTo>
                    <a:pt x="261" y="151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58" y="146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6" y="143"/>
                  </a:lnTo>
                  <a:close/>
                  <a:moveTo>
                    <a:pt x="133" y="143"/>
                  </a:moveTo>
                  <a:lnTo>
                    <a:pt x="133" y="143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0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9" y="153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9" y="148"/>
                  </a:lnTo>
                  <a:lnTo>
                    <a:pt x="159" y="148"/>
                  </a:lnTo>
                  <a:lnTo>
                    <a:pt x="159" y="148"/>
                  </a:lnTo>
                  <a:lnTo>
                    <a:pt x="159" y="148"/>
                  </a:lnTo>
                  <a:lnTo>
                    <a:pt x="159" y="148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6" y="146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3" y="143"/>
                  </a:lnTo>
                  <a:lnTo>
                    <a:pt x="153" y="143"/>
                  </a:lnTo>
                  <a:lnTo>
                    <a:pt x="133" y="143"/>
                  </a:lnTo>
                  <a:close/>
                  <a:moveTo>
                    <a:pt x="51" y="184"/>
                  </a:moveTo>
                  <a:lnTo>
                    <a:pt x="69" y="184"/>
                  </a:lnTo>
                  <a:lnTo>
                    <a:pt x="51" y="235"/>
                  </a:lnTo>
                  <a:lnTo>
                    <a:pt x="51" y="184"/>
                  </a:lnTo>
                  <a:close/>
                  <a:moveTo>
                    <a:pt x="79" y="184"/>
                  </a:moveTo>
                  <a:lnTo>
                    <a:pt x="207" y="184"/>
                  </a:lnTo>
                  <a:lnTo>
                    <a:pt x="240" y="286"/>
                  </a:lnTo>
                  <a:lnTo>
                    <a:pt x="46" y="286"/>
                  </a:lnTo>
                  <a:lnTo>
                    <a:pt x="79" y="184"/>
                  </a:lnTo>
                  <a:close/>
                  <a:moveTo>
                    <a:pt x="217" y="184"/>
                  </a:moveTo>
                  <a:lnTo>
                    <a:pt x="235" y="184"/>
                  </a:lnTo>
                  <a:lnTo>
                    <a:pt x="235" y="235"/>
                  </a:lnTo>
                  <a:lnTo>
                    <a:pt x="217" y="184"/>
                  </a:lnTo>
                  <a:close/>
                  <a:moveTo>
                    <a:pt x="46" y="123"/>
                  </a:move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3" y="120"/>
                  </a:lnTo>
                  <a:lnTo>
                    <a:pt x="243" y="120"/>
                  </a:lnTo>
                  <a:lnTo>
                    <a:pt x="243" y="120"/>
                  </a:lnTo>
                  <a:lnTo>
                    <a:pt x="246" y="120"/>
                  </a:lnTo>
                  <a:lnTo>
                    <a:pt x="246" y="120"/>
                  </a:lnTo>
                  <a:lnTo>
                    <a:pt x="246" y="117"/>
                  </a:lnTo>
                  <a:lnTo>
                    <a:pt x="246" y="117"/>
                  </a:lnTo>
                  <a:lnTo>
                    <a:pt x="246" y="117"/>
                  </a:lnTo>
                  <a:lnTo>
                    <a:pt x="246" y="97"/>
                  </a:lnTo>
                  <a:lnTo>
                    <a:pt x="261" y="97"/>
                  </a:lnTo>
                  <a:lnTo>
                    <a:pt x="261" y="97"/>
                  </a:lnTo>
                  <a:lnTo>
                    <a:pt x="264" y="97"/>
                  </a:lnTo>
                  <a:lnTo>
                    <a:pt x="264" y="97"/>
                  </a:lnTo>
                  <a:lnTo>
                    <a:pt x="266" y="97"/>
                  </a:lnTo>
                  <a:lnTo>
                    <a:pt x="266" y="100"/>
                  </a:lnTo>
                  <a:lnTo>
                    <a:pt x="269" y="100"/>
                  </a:lnTo>
                  <a:lnTo>
                    <a:pt x="269" y="100"/>
                  </a:lnTo>
                  <a:lnTo>
                    <a:pt x="271" y="102"/>
                  </a:lnTo>
                  <a:lnTo>
                    <a:pt x="271" y="102"/>
                  </a:lnTo>
                  <a:lnTo>
                    <a:pt x="274" y="105"/>
                  </a:lnTo>
                  <a:lnTo>
                    <a:pt x="274" y="105"/>
                  </a:lnTo>
                  <a:lnTo>
                    <a:pt x="274" y="107"/>
                  </a:lnTo>
                  <a:lnTo>
                    <a:pt x="274" y="107"/>
                  </a:lnTo>
                  <a:lnTo>
                    <a:pt x="274" y="110"/>
                  </a:lnTo>
                  <a:lnTo>
                    <a:pt x="276" y="110"/>
                  </a:lnTo>
                  <a:lnTo>
                    <a:pt x="276" y="112"/>
                  </a:lnTo>
                  <a:lnTo>
                    <a:pt x="276" y="235"/>
                  </a:lnTo>
                  <a:lnTo>
                    <a:pt x="246" y="235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0" y="176"/>
                  </a:lnTo>
                  <a:lnTo>
                    <a:pt x="240" y="176"/>
                  </a:lnTo>
                  <a:lnTo>
                    <a:pt x="240" y="174"/>
                  </a:lnTo>
                  <a:lnTo>
                    <a:pt x="240" y="174"/>
                  </a:lnTo>
                  <a:lnTo>
                    <a:pt x="240" y="174"/>
                  </a:lnTo>
                  <a:lnTo>
                    <a:pt x="212" y="174"/>
                  </a:lnTo>
                  <a:lnTo>
                    <a:pt x="74" y="174"/>
                  </a:lnTo>
                  <a:lnTo>
                    <a:pt x="46" y="174"/>
                  </a:lnTo>
                  <a:lnTo>
                    <a:pt x="46" y="174"/>
                  </a:lnTo>
                  <a:lnTo>
                    <a:pt x="46" y="174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235"/>
                  </a:lnTo>
                  <a:lnTo>
                    <a:pt x="10" y="235"/>
                  </a:lnTo>
                  <a:lnTo>
                    <a:pt x="10" y="112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20" y="100"/>
                  </a:lnTo>
                  <a:lnTo>
                    <a:pt x="20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3"/>
                  </a:lnTo>
                  <a:close/>
                  <a:moveTo>
                    <a:pt x="51" y="56"/>
                  </a:moveTo>
                  <a:lnTo>
                    <a:pt x="69" y="56"/>
                  </a:lnTo>
                  <a:lnTo>
                    <a:pt x="69" y="112"/>
                  </a:lnTo>
                  <a:lnTo>
                    <a:pt x="51" y="112"/>
                  </a:lnTo>
                  <a:lnTo>
                    <a:pt x="51" y="56"/>
                  </a:lnTo>
                  <a:close/>
                  <a:moveTo>
                    <a:pt x="217" y="56"/>
                  </a:moveTo>
                  <a:lnTo>
                    <a:pt x="235" y="56"/>
                  </a:lnTo>
                  <a:lnTo>
                    <a:pt x="235" y="112"/>
                  </a:lnTo>
                  <a:lnTo>
                    <a:pt x="217" y="112"/>
                  </a:lnTo>
                  <a:lnTo>
                    <a:pt x="217" y="56"/>
                  </a:lnTo>
                  <a:close/>
                  <a:moveTo>
                    <a:pt x="79" y="10"/>
                  </a:moveTo>
                  <a:lnTo>
                    <a:pt x="207" y="10"/>
                  </a:lnTo>
                  <a:lnTo>
                    <a:pt x="207" y="112"/>
                  </a:lnTo>
                  <a:lnTo>
                    <a:pt x="79" y="112"/>
                  </a:lnTo>
                  <a:lnTo>
                    <a:pt x="79" y="10"/>
                  </a:lnTo>
                  <a:close/>
                  <a:moveTo>
                    <a:pt x="69" y="0"/>
                  </a:moveTo>
                  <a:lnTo>
                    <a:pt x="69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9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3" y="89"/>
                  </a:lnTo>
                  <a:lnTo>
                    <a:pt x="13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0" y="112"/>
                  </a:lnTo>
                  <a:lnTo>
                    <a:pt x="0" y="245"/>
                  </a:lnTo>
                  <a:lnTo>
                    <a:pt x="48" y="245"/>
                  </a:lnTo>
                  <a:lnTo>
                    <a:pt x="31" y="297"/>
                  </a:lnTo>
                  <a:lnTo>
                    <a:pt x="256" y="297"/>
                  </a:lnTo>
                  <a:lnTo>
                    <a:pt x="238" y="245"/>
                  </a:lnTo>
                  <a:lnTo>
                    <a:pt x="287" y="245"/>
                  </a:lnTo>
                  <a:lnTo>
                    <a:pt x="287" y="110"/>
                  </a:lnTo>
                  <a:lnTo>
                    <a:pt x="284" y="110"/>
                  </a:lnTo>
                  <a:lnTo>
                    <a:pt x="284" y="107"/>
                  </a:lnTo>
                  <a:lnTo>
                    <a:pt x="284" y="107"/>
                  </a:lnTo>
                  <a:lnTo>
                    <a:pt x="284" y="105"/>
                  </a:lnTo>
                  <a:lnTo>
                    <a:pt x="284" y="105"/>
                  </a:lnTo>
                  <a:lnTo>
                    <a:pt x="284" y="102"/>
                  </a:lnTo>
                  <a:lnTo>
                    <a:pt x="284" y="102"/>
                  </a:lnTo>
                  <a:lnTo>
                    <a:pt x="284" y="100"/>
                  </a:lnTo>
                  <a:lnTo>
                    <a:pt x="281" y="100"/>
                  </a:lnTo>
                  <a:lnTo>
                    <a:pt x="281" y="100"/>
                  </a:lnTo>
                  <a:lnTo>
                    <a:pt x="281" y="97"/>
                  </a:lnTo>
                  <a:lnTo>
                    <a:pt x="281" y="97"/>
                  </a:lnTo>
                  <a:lnTo>
                    <a:pt x="279" y="94"/>
                  </a:lnTo>
                  <a:lnTo>
                    <a:pt x="279" y="94"/>
                  </a:lnTo>
                  <a:lnTo>
                    <a:pt x="279" y="94"/>
                  </a:lnTo>
                  <a:lnTo>
                    <a:pt x="276" y="92"/>
                  </a:lnTo>
                  <a:lnTo>
                    <a:pt x="276" y="92"/>
                  </a:lnTo>
                  <a:lnTo>
                    <a:pt x="276" y="92"/>
                  </a:lnTo>
                  <a:lnTo>
                    <a:pt x="274" y="92"/>
                  </a:lnTo>
                  <a:lnTo>
                    <a:pt x="274" y="89"/>
                  </a:lnTo>
                  <a:lnTo>
                    <a:pt x="271" y="89"/>
                  </a:lnTo>
                  <a:lnTo>
                    <a:pt x="271" y="89"/>
                  </a:lnTo>
                  <a:lnTo>
                    <a:pt x="271" y="89"/>
                  </a:lnTo>
                  <a:lnTo>
                    <a:pt x="269" y="87"/>
                  </a:lnTo>
                  <a:lnTo>
                    <a:pt x="269" y="87"/>
                  </a:lnTo>
                  <a:lnTo>
                    <a:pt x="266" y="87"/>
                  </a:lnTo>
                  <a:lnTo>
                    <a:pt x="266" y="87"/>
                  </a:lnTo>
                  <a:lnTo>
                    <a:pt x="264" y="87"/>
                  </a:lnTo>
                  <a:lnTo>
                    <a:pt x="264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46" y="87"/>
                  </a:lnTo>
                  <a:lnTo>
                    <a:pt x="246" y="51"/>
                  </a:lnTo>
                  <a:lnTo>
                    <a:pt x="246" y="51"/>
                  </a:lnTo>
                  <a:lnTo>
                    <a:pt x="246" y="51"/>
                  </a:lnTo>
                  <a:lnTo>
                    <a:pt x="246" y="51"/>
                  </a:lnTo>
                  <a:lnTo>
                    <a:pt x="246" y="51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0" y="48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17" y="46"/>
                  </a:lnTo>
                  <a:lnTo>
                    <a:pt x="217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1" name="Group 215">
            <a:extLst>
              <a:ext uri="{FF2B5EF4-FFF2-40B4-BE49-F238E27FC236}">
                <a16:creationId xmlns:a16="http://schemas.microsoft.com/office/drawing/2014/main" id="{30B23215-72FF-4178-A8DB-DA9F3780D9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8136" y="5514916"/>
            <a:ext cx="758825" cy="758825"/>
            <a:chOff x="982" y="3600"/>
            <a:chExt cx="478" cy="478"/>
          </a:xfrm>
        </p:grpSpPr>
        <p:sp>
          <p:nvSpPr>
            <p:cNvPr id="252" name="AutoShape 214">
              <a:extLst>
                <a:ext uri="{FF2B5EF4-FFF2-40B4-BE49-F238E27FC236}">
                  <a16:creationId xmlns:a16="http://schemas.microsoft.com/office/drawing/2014/main" id="{156AF846-4075-4459-9E9E-ADB3D4459A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2" y="360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16">
              <a:extLst>
                <a:ext uri="{FF2B5EF4-FFF2-40B4-BE49-F238E27FC236}">
                  <a16:creationId xmlns:a16="http://schemas.microsoft.com/office/drawing/2014/main" id="{4A26C7DA-9E2B-4E44-A24F-D76F5C2C75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" y="360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17">
              <a:extLst>
                <a:ext uri="{FF2B5EF4-FFF2-40B4-BE49-F238E27FC236}">
                  <a16:creationId xmlns:a16="http://schemas.microsoft.com/office/drawing/2014/main" id="{8D1DC9F5-0624-4AB0-B383-E69D48614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8" y="3703"/>
              <a:ext cx="289" cy="275"/>
            </a:xfrm>
            <a:custGeom>
              <a:avLst/>
              <a:gdLst>
                <a:gd name="T0" fmla="*/ 81 w 118"/>
                <a:gd name="T1" fmla="*/ 32 h 112"/>
                <a:gd name="T2" fmla="*/ 37 w 118"/>
                <a:gd name="T3" fmla="*/ 32 h 112"/>
                <a:gd name="T4" fmla="*/ 37 w 118"/>
                <a:gd name="T5" fmla="*/ 5 h 112"/>
                <a:gd name="T6" fmla="*/ 81 w 118"/>
                <a:gd name="T7" fmla="*/ 5 h 112"/>
                <a:gd name="T8" fmla="*/ 81 w 118"/>
                <a:gd name="T9" fmla="*/ 32 h 112"/>
                <a:gd name="T10" fmla="*/ 109 w 118"/>
                <a:gd name="T11" fmla="*/ 32 h 112"/>
                <a:gd name="T12" fmla="*/ 86 w 118"/>
                <a:gd name="T13" fmla="*/ 32 h 112"/>
                <a:gd name="T14" fmla="*/ 86 w 118"/>
                <a:gd name="T15" fmla="*/ 3 h 112"/>
                <a:gd name="T16" fmla="*/ 83 w 118"/>
                <a:gd name="T17" fmla="*/ 0 h 112"/>
                <a:gd name="T18" fmla="*/ 35 w 118"/>
                <a:gd name="T19" fmla="*/ 0 h 112"/>
                <a:gd name="T20" fmla="*/ 32 w 118"/>
                <a:gd name="T21" fmla="*/ 3 h 112"/>
                <a:gd name="T22" fmla="*/ 32 w 118"/>
                <a:gd name="T23" fmla="*/ 32 h 112"/>
                <a:gd name="T24" fmla="*/ 9 w 118"/>
                <a:gd name="T25" fmla="*/ 32 h 112"/>
                <a:gd name="T26" fmla="*/ 0 w 118"/>
                <a:gd name="T27" fmla="*/ 41 h 112"/>
                <a:gd name="T28" fmla="*/ 0 w 118"/>
                <a:gd name="T29" fmla="*/ 89 h 112"/>
                <a:gd name="T30" fmla="*/ 9 w 118"/>
                <a:gd name="T31" fmla="*/ 98 h 112"/>
                <a:gd name="T32" fmla="*/ 25 w 118"/>
                <a:gd name="T33" fmla="*/ 98 h 112"/>
                <a:gd name="T34" fmla="*/ 25 w 118"/>
                <a:gd name="T35" fmla="*/ 93 h 112"/>
                <a:gd name="T36" fmla="*/ 9 w 118"/>
                <a:gd name="T37" fmla="*/ 93 h 112"/>
                <a:gd name="T38" fmla="*/ 5 w 118"/>
                <a:gd name="T39" fmla="*/ 89 h 112"/>
                <a:gd name="T40" fmla="*/ 5 w 118"/>
                <a:gd name="T41" fmla="*/ 41 h 112"/>
                <a:gd name="T42" fmla="*/ 9 w 118"/>
                <a:gd name="T43" fmla="*/ 37 h 112"/>
                <a:gd name="T44" fmla="*/ 109 w 118"/>
                <a:gd name="T45" fmla="*/ 37 h 112"/>
                <a:gd name="T46" fmla="*/ 113 w 118"/>
                <a:gd name="T47" fmla="*/ 41 h 112"/>
                <a:gd name="T48" fmla="*/ 113 w 118"/>
                <a:gd name="T49" fmla="*/ 89 h 112"/>
                <a:gd name="T50" fmla="*/ 109 w 118"/>
                <a:gd name="T51" fmla="*/ 93 h 112"/>
                <a:gd name="T52" fmla="*/ 93 w 118"/>
                <a:gd name="T53" fmla="*/ 93 h 112"/>
                <a:gd name="T54" fmla="*/ 93 w 118"/>
                <a:gd name="T55" fmla="*/ 98 h 112"/>
                <a:gd name="T56" fmla="*/ 109 w 118"/>
                <a:gd name="T57" fmla="*/ 98 h 112"/>
                <a:gd name="T58" fmla="*/ 118 w 118"/>
                <a:gd name="T59" fmla="*/ 89 h 112"/>
                <a:gd name="T60" fmla="*/ 118 w 118"/>
                <a:gd name="T61" fmla="*/ 41 h 112"/>
                <a:gd name="T62" fmla="*/ 109 w 118"/>
                <a:gd name="T63" fmla="*/ 32 h 112"/>
                <a:gd name="T64" fmla="*/ 73 w 118"/>
                <a:gd name="T65" fmla="*/ 80 h 112"/>
                <a:gd name="T66" fmla="*/ 45 w 118"/>
                <a:gd name="T67" fmla="*/ 80 h 112"/>
                <a:gd name="T68" fmla="*/ 45 w 118"/>
                <a:gd name="T69" fmla="*/ 85 h 112"/>
                <a:gd name="T70" fmla="*/ 73 w 118"/>
                <a:gd name="T71" fmla="*/ 85 h 112"/>
                <a:gd name="T72" fmla="*/ 73 w 118"/>
                <a:gd name="T73" fmla="*/ 80 h 112"/>
                <a:gd name="T74" fmla="*/ 73 w 118"/>
                <a:gd name="T75" fmla="*/ 93 h 112"/>
                <a:gd name="T76" fmla="*/ 45 w 118"/>
                <a:gd name="T77" fmla="*/ 93 h 112"/>
                <a:gd name="T78" fmla="*/ 45 w 118"/>
                <a:gd name="T79" fmla="*/ 98 h 112"/>
                <a:gd name="T80" fmla="*/ 73 w 118"/>
                <a:gd name="T81" fmla="*/ 98 h 112"/>
                <a:gd name="T82" fmla="*/ 73 w 118"/>
                <a:gd name="T83" fmla="*/ 93 h 112"/>
                <a:gd name="T84" fmla="*/ 81 w 118"/>
                <a:gd name="T85" fmla="*/ 107 h 112"/>
                <a:gd name="T86" fmla="*/ 37 w 118"/>
                <a:gd name="T87" fmla="*/ 107 h 112"/>
                <a:gd name="T88" fmla="*/ 37 w 118"/>
                <a:gd name="T89" fmla="*/ 66 h 112"/>
                <a:gd name="T90" fmla="*/ 81 w 118"/>
                <a:gd name="T91" fmla="*/ 66 h 112"/>
                <a:gd name="T92" fmla="*/ 81 w 118"/>
                <a:gd name="T93" fmla="*/ 107 h 112"/>
                <a:gd name="T94" fmla="*/ 93 w 118"/>
                <a:gd name="T95" fmla="*/ 61 h 112"/>
                <a:gd name="T96" fmla="*/ 25 w 118"/>
                <a:gd name="T97" fmla="*/ 61 h 112"/>
                <a:gd name="T98" fmla="*/ 25 w 118"/>
                <a:gd name="T99" fmla="*/ 66 h 112"/>
                <a:gd name="T100" fmla="*/ 32 w 118"/>
                <a:gd name="T101" fmla="*/ 66 h 112"/>
                <a:gd name="T102" fmla="*/ 32 w 118"/>
                <a:gd name="T103" fmla="*/ 109 h 112"/>
                <a:gd name="T104" fmla="*/ 35 w 118"/>
                <a:gd name="T105" fmla="*/ 112 h 112"/>
                <a:gd name="T106" fmla="*/ 83 w 118"/>
                <a:gd name="T107" fmla="*/ 112 h 112"/>
                <a:gd name="T108" fmla="*/ 86 w 118"/>
                <a:gd name="T109" fmla="*/ 109 h 112"/>
                <a:gd name="T110" fmla="*/ 86 w 118"/>
                <a:gd name="T111" fmla="*/ 66 h 112"/>
                <a:gd name="T112" fmla="*/ 93 w 118"/>
                <a:gd name="T113" fmla="*/ 66 h 112"/>
                <a:gd name="T114" fmla="*/ 93 w 118"/>
                <a:gd name="T115" fmla="*/ 61 h 112"/>
                <a:gd name="T116" fmla="*/ 13 w 118"/>
                <a:gd name="T117" fmla="*/ 49 h 112"/>
                <a:gd name="T118" fmla="*/ 17 w 118"/>
                <a:gd name="T119" fmla="*/ 54 h 112"/>
                <a:gd name="T120" fmla="*/ 22 w 118"/>
                <a:gd name="T121" fmla="*/ 49 h 112"/>
                <a:gd name="T122" fmla="*/ 17 w 118"/>
                <a:gd name="T123" fmla="*/ 45 h 112"/>
                <a:gd name="T124" fmla="*/ 13 w 118"/>
                <a:gd name="T125" fmla="*/ 4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" h="112">
                  <a:moveTo>
                    <a:pt x="81" y="32"/>
                  </a:moveTo>
                  <a:cubicBezTo>
                    <a:pt x="37" y="32"/>
                    <a:pt x="37" y="32"/>
                    <a:pt x="37" y="3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81" y="5"/>
                    <a:pt x="81" y="5"/>
                    <a:pt x="81" y="5"/>
                  </a:cubicBezTo>
                  <a:lnTo>
                    <a:pt x="81" y="32"/>
                  </a:lnTo>
                  <a:close/>
                  <a:moveTo>
                    <a:pt x="109" y="32"/>
                  </a:moveTo>
                  <a:cubicBezTo>
                    <a:pt x="86" y="32"/>
                    <a:pt x="86" y="32"/>
                    <a:pt x="86" y="32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1"/>
                    <a:pt x="85" y="0"/>
                    <a:pt x="8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2" y="1"/>
                    <a:pt x="32" y="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4" y="32"/>
                    <a:pt x="0" y="36"/>
                    <a:pt x="0" y="41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4"/>
                    <a:pt x="4" y="98"/>
                    <a:pt x="9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7" y="93"/>
                    <a:pt x="5" y="91"/>
                    <a:pt x="5" y="89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39"/>
                    <a:pt x="7" y="37"/>
                    <a:pt x="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11" y="37"/>
                    <a:pt x="113" y="39"/>
                    <a:pt x="113" y="41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91"/>
                    <a:pt x="111" y="93"/>
                    <a:pt x="109" y="93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14" y="98"/>
                    <a:pt x="118" y="94"/>
                    <a:pt x="118" y="89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36"/>
                    <a:pt x="114" y="32"/>
                    <a:pt x="109" y="32"/>
                  </a:cubicBezTo>
                  <a:moveTo>
                    <a:pt x="73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73" y="85"/>
                    <a:pt x="73" y="85"/>
                    <a:pt x="73" y="85"/>
                  </a:cubicBezTo>
                  <a:lnTo>
                    <a:pt x="73" y="80"/>
                  </a:lnTo>
                  <a:close/>
                  <a:moveTo>
                    <a:pt x="7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73" y="98"/>
                    <a:pt x="73" y="98"/>
                    <a:pt x="73" y="98"/>
                  </a:cubicBezTo>
                  <a:lnTo>
                    <a:pt x="73" y="93"/>
                  </a:lnTo>
                  <a:close/>
                  <a:moveTo>
                    <a:pt x="81" y="107"/>
                  </a:moveTo>
                  <a:cubicBezTo>
                    <a:pt x="37" y="107"/>
                    <a:pt x="37" y="107"/>
                    <a:pt x="37" y="107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81" y="66"/>
                    <a:pt x="81" y="66"/>
                    <a:pt x="81" y="66"/>
                  </a:cubicBezTo>
                  <a:lnTo>
                    <a:pt x="81" y="107"/>
                  </a:lnTo>
                  <a:close/>
                  <a:moveTo>
                    <a:pt x="93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109"/>
                    <a:pt x="32" y="109"/>
                    <a:pt x="32" y="109"/>
                  </a:cubicBezTo>
                  <a:cubicBezTo>
                    <a:pt x="32" y="111"/>
                    <a:pt x="33" y="112"/>
                    <a:pt x="35" y="112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85" y="112"/>
                    <a:pt x="86" y="111"/>
                    <a:pt x="86" y="109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66"/>
                    <a:pt x="93" y="66"/>
                    <a:pt x="93" y="66"/>
                  </a:cubicBezTo>
                  <a:lnTo>
                    <a:pt x="93" y="61"/>
                  </a:lnTo>
                  <a:close/>
                  <a:moveTo>
                    <a:pt x="13" y="49"/>
                  </a:moveTo>
                  <a:cubicBezTo>
                    <a:pt x="13" y="52"/>
                    <a:pt x="15" y="54"/>
                    <a:pt x="17" y="54"/>
                  </a:cubicBezTo>
                  <a:cubicBezTo>
                    <a:pt x="20" y="54"/>
                    <a:pt x="22" y="52"/>
                    <a:pt x="22" y="49"/>
                  </a:cubicBezTo>
                  <a:cubicBezTo>
                    <a:pt x="22" y="47"/>
                    <a:pt x="20" y="45"/>
                    <a:pt x="17" y="45"/>
                  </a:cubicBezTo>
                  <a:cubicBezTo>
                    <a:pt x="15" y="45"/>
                    <a:pt x="13" y="47"/>
                    <a:pt x="13" y="4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5" name="Group 220">
            <a:extLst>
              <a:ext uri="{FF2B5EF4-FFF2-40B4-BE49-F238E27FC236}">
                <a16:creationId xmlns:a16="http://schemas.microsoft.com/office/drawing/2014/main" id="{73659FD8-2BAD-471A-AEDF-F9FDC15368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0688" y="5473641"/>
            <a:ext cx="841375" cy="841375"/>
            <a:chOff x="265" y="3459"/>
            <a:chExt cx="530" cy="530"/>
          </a:xfrm>
        </p:grpSpPr>
        <p:sp>
          <p:nvSpPr>
            <p:cNvPr id="256" name="AutoShape 219">
              <a:extLst>
                <a:ext uri="{FF2B5EF4-FFF2-40B4-BE49-F238E27FC236}">
                  <a16:creationId xmlns:a16="http://schemas.microsoft.com/office/drawing/2014/main" id="{27014663-7067-4459-9864-64CE660B64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" y="345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221">
              <a:extLst>
                <a:ext uri="{FF2B5EF4-FFF2-40B4-BE49-F238E27FC236}">
                  <a16:creationId xmlns:a16="http://schemas.microsoft.com/office/drawing/2014/main" id="{9B875569-6D8D-4393-B28D-5579C12A0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" y="345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22">
              <a:extLst>
                <a:ext uri="{FF2B5EF4-FFF2-40B4-BE49-F238E27FC236}">
                  <a16:creationId xmlns:a16="http://schemas.microsoft.com/office/drawing/2014/main" id="{848A2F37-BF2F-47BF-9ACC-5DEB1025A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" y="347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3">
              <a:extLst>
                <a:ext uri="{FF2B5EF4-FFF2-40B4-BE49-F238E27FC236}">
                  <a16:creationId xmlns:a16="http://schemas.microsoft.com/office/drawing/2014/main" id="{AF4EBF28-D971-4322-9DA3-EA90A97E0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" y="3582"/>
              <a:ext cx="302" cy="287"/>
            </a:xfrm>
            <a:custGeom>
              <a:avLst/>
              <a:gdLst>
                <a:gd name="T0" fmla="*/ 81 w 118"/>
                <a:gd name="T1" fmla="*/ 32 h 112"/>
                <a:gd name="T2" fmla="*/ 37 w 118"/>
                <a:gd name="T3" fmla="*/ 32 h 112"/>
                <a:gd name="T4" fmla="*/ 37 w 118"/>
                <a:gd name="T5" fmla="*/ 5 h 112"/>
                <a:gd name="T6" fmla="*/ 81 w 118"/>
                <a:gd name="T7" fmla="*/ 5 h 112"/>
                <a:gd name="T8" fmla="*/ 81 w 118"/>
                <a:gd name="T9" fmla="*/ 32 h 112"/>
                <a:gd name="T10" fmla="*/ 109 w 118"/>
                <a:gd name="T11" fmla="*/ 32 h 112"/>
                <a:gd name="T12" fmla="*/ 86 w 118"/>
                <a:gd name="T13" fmla="*/ 32 h 112"/>
                <a:gd name="T14" fmla="*/ 86 w 118"/>
                <a:gd name="T15" fmla="*/ 3 h 112"/>
                <a:gd name="T16" fmla="*/ 83 w 118"/>
                <a:gd name="T17" fmla="*/ 0 h 112"/>
                <a:gd name="T18" fmla="*/ 35 w 118"/>
                <a:gd name="T19" fmla="*/ 0 h 112"/>
                <a:gd name="T20" fmla="*/ 32 w 118"/>
                <a:gd name="T21" fmla="*/ 3 h 112"/>
                <a:gd name="T22" fmla="*/ 32 w 118"/>
                <a:gd name="T23" fmla="*/ 32 h 112"/>
                <a:gd name="T24" fmla="*/ 9 w 118"/>
                <a:gd name="T25" fmla="*/ 32 h 112"/>
                <a:gd name="T26" fmla="*/ 0 w 118"/>
                <a:gd name="T27" fmla="*/ 41 h 112"/>
                <a:gd name="T28" fmla="*/ 0 w 118"/>
                <a:gd name="T29" fmla="*/ 89 h 112"/>
                <a:gd name="T30" fmla="*/ 9 w 118"/>
                <a:gd name="T31" fmla="*/ 98 h 112"/>
                <a:gd name="T32" fmla="*/ 25 w 118"/>
                <a:gd name="T33" fmla="*/ 98 h 112"/>
                <a:gd name="T34" fmla="*/ 25 w 118"/>
                <a:gd name="T35" fmla="*/ 93 h 112"/>
                <a:gd name="T36" fmla="*/ 9 w 118"/>
                <a:gd name="T37" fmla="*/ 93 h 112"/>
                <a:gd name="T38" fmla="*/ 5 w 118"/>
                <a:gd name="T39" fmla="*/ 89 h 112"/>
                <a:gd name="T40" fmla="*/ 5 w 118"/>
                <a:gd name="T41" fmla="*/ 41 h 112"/>
                <a:gd name="T42" fmla="*/ 9 w 118"/>
                <a:gd name="T43" fmla="*/ 37 h 112"/>
                <a:gd name="T44" fmla="*/ 109 w 118"/>
                <a:gd name="T45" fmla="*/ 37 h 112"/>
                <a:gd name="T46" fmla="*/ 113 w 118"/>
                <a:gd name="T47" fmla="*/ 41 h 112"/>
                <a:gd name="T48" fmla="*/ 113 w 118"/>
                <a:gd name="T49" fmla="*/ 89 h 112"/>
                <a:gd name="T50" fmla="*/ 109 w 118"/>
                <a:gd name="T51" fmla="*/ 93 h 112"/>
                <a:gd name="T52" fmla="*/ 93 w 118"/>
                <a:gd name="T53" fmla="*/ 93 h 112"/>
                <a:gd name="T54" fmla="*/ 93 w 118"/>
                <a:gd name="T55" fmla="*/ 98 h 112"/>
                <a:gd name="T56" fmla="*/ 109 w 118"/>
                <a:gd name="T57" fmla="*/ 98 h 112"/>
                <a:gd name="T58" fmla="*/ 118 w 118"/>
                <a:gd name="T59" fmla="*/ 89 h 112"/>
                <a:gd name="T60" fmla="*/ 118 w 118"/>
                <a:gd name="T61" fmla="*/ 41 h 112"/>
                <a:gd name="T62" fmla="*/ 109 w 118"/>
                <a:gd name="T63" fmla="*/ 32 h 112"/>
                <a:gd name="T64" fmla="*/ 73 w 118"/>
                <a:gd name="T65" fmla="*/ 80 h 112"/>
                <a:gd name="T66" fmla="*/ 45 w 118"/>
                <a:gd name="T67" fmla="*/ 80 h 112"/>
                <a:gd name="T68" fmla="*/ 45 w 118"/>
                <a:gd name="T69" fmla="*/ 85 h 112"/>
                <a:gd name="T70" fmla="*/ 73 w 118"/>
                <a:gd name="T71" fmla="*/ 85 h 112"/>
                <a:gd name="T72" fmla="*/ 73 w 118"/>
                <a:gd name="T73" fmla="*/ 80 h 112"/>
                <a:gd name="T74" fmla="*/ 73 w 118"/>
                <a:gd name="T75" fmla="*/ 93 h 112"/>
                <a:gd name="T76" fmla="*/ 45 w 118"/>
                <a:gd name="T77" fmla="*/ 93 h 112"/>
                <a:gd name="T78" fmla="*/ 45 w 118"/>
                <a:gd name="T79" fmla="*/ 98 h 112"/>
                <a:gd name="T80" fmla="*/ 73 w 118"/>
                <a:gd name="T81" fmla="*/ 98 h 112"/>
                <a:gd name="T82" fmla="*/ 73 w 118"/>
                <a:gd name="T83" fmla="*/ 93 h 112"/>
                <a:gd name="T84" fmla="*/ 81 w 118"/>
                <a:gd name="T85" fmla="*/ 107 h 112"/>
                <a:gd name="T86" fmla="*/ 37 w 118"/>
                <a:gd name="T87" fmla="*/ 107 h 112"/>
                <a:gd name="T88" fmla="*/ 37 w 118"/>
                <a:gd name="T89" fmla="*/ 66 h 112"/>
                <a:gd name="T90" fmla="*/ 81 w 118"/>
                <a:gd name="T91" fmla="*/ 66 h 112"/>
                <a:gd name="T92" fmla="*/ 81 w 118"/>
                <a:gd name="T93" fmla="*/ 107 h 112"/>
                <a:gd name="T94" fmla="*/ 93 w 118"/>
                <a:gd name="T95" fmla="*/ 61 h 112"/>
                <a:gd name="T96" fmla="*/ 25 w 118"/>
                <a:gd name="T97" fmla="*/ 61 h 112"/>
                <a:gd name="T98" fmla="*/ 25 w 118"/>
                <a:gd name="T99" fmla="*/ 66 h 112"/>
                <a:gd name="T100" fmla="*/ 32 w 118"/>
                <a:gd name="T101" fmla="*/ 66 h 112"/>
                <a:gd name="T102" fmla="*/ 32 w 118"/>
                <a:gd name="T103" fmla="*/ 109 h 112"/>
                <a:gd name="T104" fmla="*/ 35 w 118"/>
                <a:gd name="T105" fmla="*/ 112 h 112"/>
                <a:gd name="T106" fmla="*/ 83 w 118"/>
                <a:gd name="T107" fmla="*/ 112 h 112"/>
                <a:gd name="T108" fmla="*/ 86 w 118"/>
                <a:gd name="T109" fmla="*/ 109 h 112"/>
                <a:gd name="T110" fmla="*/ 86 w 118"/>
                <a:gd name="T111" fmla="*/ 66 h 112"/>
                <a:gd name="T112" fmla="*/ 93 w 118"/>
                <a:gd name="T113" fmla="*/ 66 h 112"/>
                <a:gd name="T114" fmla="*/ 93 w 118"/>
                <a:gd name="T115" fmla="*/ 61 h 112"/>
                <a:gd name="T116" fmla="*/ 13 w 118"/>
                <a:gd name="T117" fmla="*/ 49 h 112"/>
                <a:gd name="T118" fmla="*/ 17 w 118"/>
                <a:gd name="T119" fmla="*/ 54 h 112"/>
                <a:gd name="T120" fmla="*/ 22 w 118"/>
                <a:gd name="T121" fmla="*/ 49 h 112"/>
                <a:gd name="T122" fmla="*/ 17 w 118"/>
                <a:gd name="T123" fmla="*/ 45 h 112"/>
                <a:gd name="T124" fmla="*/ 13 w 118"/>
                <a:gd name="T125" fmla="*/ 4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8" h="112">
                  <a:moveTo>
                    <a:pt x="81" y="32"/>
                  </a:moveTo>
                  <a:cubicBezTo>
                    <a:pt x="37" y="32"/>
                    <a:pt x="37" y="32"/>
                    <a:pt x="37" y="32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81" y="5"/>
                    <a:pt x="81" y="5"/>
                    <a:pt x="81" y="5"/>
                  </a:cubicBezTo>
                  <a:lnTo>
                    <a:pt x="81" y="32"/>
                  </a:lnTo>
                  <a:close/>
                  <a:moveTo>
                    <a:pt x="109" y="32"/>
                  </a:moveTo>
                  <a:cubicBezTo>
                    <a:pt x="86" y="32"/>
                    <a:pt x="86" y="32"/>
                    <a:pt x="86" y="32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1"/>
                    <a:pt x="85" y="0"/>
                    <a:pt x="8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3" y="0"/>
                    <a:pt x="32" y="1"/>
                    <a:pt x="32" y="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4" y="32"/>
                    <a:pt x="0" y="36"/>
                    <a:pt x="0" y="41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4"/>
                    <a:pt x="4" y="98"/>
                    <a:pt x="9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7" y="93"/>
                    <a:pt x="5" y="91"/>
                    <a:pt x="5" y="89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39"/>
                    <a:pt x="7" y="37"/>
                    <a:pt x="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11" y="37"/>
                    <a:pt x="113" y="39"/>
                    <a:pt x="113" y="41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91"/>
                    <a:pt x="111" y="93"/>
                    <a:pt x="109" y="93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14" y="98"/>
                    <a:pt x="118" y="94"/>
                    <a:pt x="118" y="89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36"/>
                    <a:pt x="114" y="32"/>
                    <a:pt x="109" y="32"/>
                  </a:cubicBezTo>
                  <a:moveTo>
                    <a:pt x="73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73" y="85"/>
                    <a:pt x="73" y="85"/>
                    <a:pt x="73" y="85"/>
                  </a:cubicBezTo>
                  <a:lnTo>
                    <a:pt x="73" y="80"/>
                  </a:lnTo>
                  <a:close/>
                  <a:moveTo>
                    <a:pt x="7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73" y="98"/>
                    <a:pt x="73" y="98"/>
                    <a:pt x="73" y="98"/>
                  </a:cubicBezTo>
                  <a:lnTo>
                    <a:pt x="73" y="93"/>
                  </a:lnTo>
                  <a:close/>
                  <a:moveTo>
                    <a:pt x="81" y="107"/>
                  </a:moveTo>
                  <a:cubicBezTo>
                    <a:pt x="37" y="107"/>
                    <a:pt x="37" y="107"/>
                    <a:pt x="37" y="107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81" y="66"/>
                    <a:pt x="81" y="66"/>
                    <a:pt x="81" y="66"/>
                  </a:cubicBezTo>
                  <a:lnTo>
                    <a:pt x="81" y="107"/>
                  </a:lnTo>
                  <a:close/>
                  <a:moveTo>
                    <a:pt x="93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109"/>
                    <a:pt x="32" y="109"/>
                    <a:pt x="32" y="109"/>
                  </a:cubicBezTo>
                  <a:cubicBezTo>
                    <a:pt x="32" y="111"/>
                    <a:pt x="33" y="112"/>
                    <a:pt x="35" y="112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85" y="112"/>
                    <a:pt x="86" y="111"/>
                    <a:pt x="86" y="109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93" y="66"/>
                    <a:pt x="93" y="66"/>
                    <a:pt x="93" y="66"/>
                  </a:cubicBezTo>
                  <a:lnTo>
                    <a:pt x="93" y="61"/>
                  </a:lnTo>
                  <a:close/>
                  <a:moveTo>
                    <a:pt x="13" y="49"/>
                  </a:moveTo>
                  <a:cubicBezTo>
                    <a:pt x="13" y="52"/>
                    <a:pt x="15" y="54"/>
                    <a:pt x="17" y="54"/>
                  </a:cubicBezTo>
                  <a:cubicBezTo>
                    <a:pt x="20" y="54"/>
                    <a:pt x="22" y="52"/>
                    <a:pt x="22" y="49"/>
                  </a:cubicBezTo>
                  <a:cubicBezTo>
                    <a:pt x="22" y="47"/>
                    <a:pt x="20" y="45"/>
                    <a:pt x="17" y="45"/>
                  </a:cubicBezTo>
                  <a:cubicBezTo>
                    <a:pt x="15" y="45"/>
                    <a:pt x="13" y="47"/>
                    <a:pt x="13" y="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4" name="Group 226">
            <a:extLst>
              <a:ext uri="{FF2B5EF4-FFF2-40B4-BE49-F238E27FC236}">
                <a16:creationId xmlns:a16="http://schemas.microsoft.com/office/drawing/2014/main" id="{6893A34E-C601-4E52-A6BB-72973882DB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5850" y="5514916"/>
            <a:ext cx="758825" cy="758825"/>
            <a:chOff x="2129" y="3675"/>
            <a:chExt cx="478" cy="478"/>
          </a:xfrm>
        </p:grpSpPr>
        <p:sp>
          <p:nvSpPr>
            <p:cNvPr id="265" name="AutoShape 225">
              <a:extLst>
                <a:ext uri="{FF2B5EF4-FFF2-40B4-BE49-F238E27FC236}">
                  <a16:creationId xmlns:a16="http://schemas.microsoft.com/office/drawing/2014/main" id="{2AFDEF11-5246-4A59-BB19-261B5B3139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29" y="36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27">
              <a:extLst>
                <a:ext uri="{FF2B5EF4-FFF2-40B4-BE49-F238E27FC236}">
                  <a16:creationId xmlns:a16="http://schemas.microsoft.com/office/drawing/2014/main" id="{393ADCAB-66DA-4142-98A3-728526465C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1" y="36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28">
              <a:extLst>
                <a:ext uri="{FF2B5EF4-FFF2-40B4-BE49-F238E27FC236}">
                  <a16:creationId xmlns:a16="http://schemas.microsoft.com/office/drawing/2014/main" id="{054F4F8E-2FB2-44E1-9FD4-506F95CC9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9" y="3739"/>
              <a:ext cx="221" cy="331"/>
            </a:xfrm>
            <a:custGeom>
              <a:avLst/>
              <a:gdLst>
                <a:gd name="T0" fmla="*/ 36 w 90"/>
                <a:gd name="T1" fmla="*/ 109 h 135"/>
                <a:gd name="T2" fmla="*/ 36 w 90"/>
                <a:gd name="T3" fmla="*/ 114 h 135"/>
                <a:gd name="T4" fmla="*/ 57 w 90"/>
                <a:gd name="T5" fmla="*/ 112 h 135"/>
                <a:gd name="T6" fmla="*/ 85 w 90"/>
                <a:gd name="T7" fmla="*/ 48 h 135"/>
                <a:gd name="T8" fmla="*/ 7 w 90"/>
                <a:gd name="T9" fmla="*/ 50 h 135"/>
                <a:gd name="T10" fmla="*/ 5 w 90"/>
                <a:gd name="T11" fmla="*/ 34 h 135"/>
                <a:gd name="T12" fmla="*/ 24 w 90"/>
                <a:gd name="T13" fmla="*/ 31 h 135"/>
                <a:gd name="T14" fmla="*/ 33 w 90"/>
                <a:gd name="T15" fmla="*/ 38 h 135"/>
                <a:gd name="T16" fmla="*/ 85 w 90"/>
                <a:gd name="T17" fmla="*/ 41 h 135"/>
                <a:gd name="T18" fmla="*/ 85 w 90"/>
                <a:gd name="T19" fmla="*/ 72 h 135"/>
                <a:gd name="T20" fmla="*/ 7 w 90"/>
                <a:gd name="T21" fmla="*/ 74 h 135"/>
                <a:gd name="T22" fmla="*/ 5 w 90"/>
                <a:gd name="T23" fmla="*/ 57 h 135"/>
                <a:gd name="T24" fmla="*/ 33 w 90"/>
                <a:gd name="T25" fmla="*/ 55 h 135"/>
                <a:gd name="T26" fmla="*/ 54 w 90"/>
                <a:gd name="T27" fmla="*/ 57 h 135"/>
                <a:gd name="T28" fmla="*/ 83 w 90"/>
                <a:gd name="T29" fmla="*/ 55 h 135"/>
                <a:gd name="T30" fmla="*/ 85 w 90"/>
                <a:gd name="T31" fmla="*/ 72 h 135"/>
                <a:gd name="T32" fmla="*/ 83 w 90"/>
                <a:gd name="T33" fmla="*/ 90 h 135"/>
                <a:gd name="T34" fmla="*/ 5 w 90"/>
                <a:gd name="T35" fmla="*/ 88 h 135"/>
                <a:gd name="T36" fmla="*/ 7 w 90"/>
                <a:gd name="T37" fmla="*/ 79 h 135"/>
                <a:gd name="T38" fmla="*/ 85 w 90"/>
                <a:gd name="T39" fmla="*/ 81 h 135"/>
                <a:gd name="T40" fmla="*/ 85 w 90"/>
                <a:gd name="T41" fmla="*/ 119 h 135"/>
                <a:gd name="T42" fmla="*/ 7 w 90"/>
                <a:gd name="T43" fmla="*/ 121 h 135"/>
                <a:gd name="T44" fmla="*/ 5 w 90"/>
                <a:gd name="T45" fmla="*/ 98 h 135"/>
                <a:gd name="T46" fmla="*/ 83 w 90"/>
                <a:gd name="T47" fmla="*/ 95 h 135"/>
                <a:gd name="T48" fmla="*/ 85 w 90"/>
                <a:gd name="T49" fmla="*/ 119 h 135"/>
                <a:gd name="T50" fmla="*/ 73 w 90"/>
                <a:gd name="T51" fmla="*/ 128 h 135"/>
                <a:gd name="T52" fmla="*/ 78 w 90"/>
                <a:gd name="T53" fmla="*/ 128 h 135"/>
                <a:gd name="T54" fmla="*/ 14 w 90"/>
                <a:gd name="T55" fmla="*/ 131 h 135"/>
                <a:gd name="T56" fmla="*/ 14 w 90"/>
                <a:gd name="T57" fmla="*/ 126 h 135"/>
                <a:gd name="T58" fmla="*/ 14 w 90"/>
                <a:gd name="T59" fmla="*/ 131 h 135"/>
                <a:gd name="T60" fmla="*/ 83 w 90"/>
                <a:gd name="T61" fmla="*/ 34 h 135"/>
                <a:gd name="T62" fmla="*/ 31 w 90"/>
                <a:gd name="T63" fmla="*/ 33 h 135"/>
                <a:gd name="T64" fmla="*/ 77 w 90"/>
                <a:gd name="T65" fmla="*/ 5 h 135"/>
                <a:gd name="T66" fmla="*/ 74 w 90"/>
                <a:gd name="T67" fmla="*/ 1 h 135"/>
                <a:gd name="T68" fmla="*/ 24 w 90"/>
                <a:gd name="T69" fmla="*/ 27 h 135"/>
                <a:gd name="T70" fmla="*/ 0 w 90"/>
                <a:gd name="T71" fmla="*/ 34 h 135"/>
                <a:gd name="T72" fmla="*/ 2 w 90"/>
                <a:gd name="T73" fmla="*/ 53 h 135"/>
                <a:gd name="T74" fmla="*/ 0 w 90"/>
                <a:gd name="T75" fmla="*/ 72 h 135"/>
                <a:gd name="T76" fmla="*/ 0 w 90"/>
                <a:gd name="T77" fmla="*/ 81 h 135"/>
                <a:gd name="T78" fmla="*/ 2 w 90"/>
                <a:gd name="T79" fmla="*/ 93 h 135"/>
                <a:gd name="T80" fmla="*/ 0 w 90"/>
                <a:gd name="T81" fmla="*/ 119 h 135"/>
                <a:gd name="T82" fmla="*/ 8 w 90"/>
                <a:gd name="T83" fmla="*/ 126 h 135"/>
                <a:gd name="T84" fmla="*/ 14 w 90"/>
                <a:gd name="T85" fmla="*/ 135 h 135"/>
                <a:gd name="T86" fmla="*/ 21 w 90"/>
                <a:gd name="T87" fmla="*/ 126 h 135"/>
                <a:gd name="T88" fmla="*/ 68 w 90"/>
                <a:gd name="T89" fmla="*/ 128 h 135"/>
                <a:gd name="T90" fmla="*/ 83 w 90"/>
                <a:gd name="T91" fmla="*/ 128 h 135"/>
                <a:gd name="T92" fmla="*/ 83 w 90"/>
                <a:gd name="T93" fmla="*/ 126 h 135"/>
                <a:gd name="T94" fmla="*/ 90 w 90"/>
                <a:gd name="T95" fmla="*/ 98 h 135"/>
                <a:gd name="T96" fmla="*/ 90 w 90"/>
                <a:gd name="T97" fmla="*/ 88 h 135"/>
                <a:gd name="T98" fmla="*/ 88 w 90"/>
                <a:gd name="T99" fmla="*/ 76 h 135"/>
                <a:gd name="T100" fmla="*/ 90 w 90"/>
                <a:gd name="T101" fmla="*/ 57 h 135"/>
                <a:gd name="T102" fmla="*/ 90 w 90"/>
                <a:gd name="T103" fmla="*/ 4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135">
                  <a:moveTo>
                    <a:pt x="54" y="109"/>
                  </a:moveTo>
                  <a:cubicBezTo>
                    <a:pt x="36" y="109"/>
                    <a:pt x="36" y="109"/>
                    <a:pt x="36" y="109"/>
                  </a:cubicBezTo>
                  <a:cubicBezTo>
                    <a:pt x="34" y="109"/>
                    <a:pt x="33" y="110"/>
                    <a:pt x="33" y="112"/>
                  </a:cubicBezTo>
                  <a:cubicBezTo>
                    <a:pt x="33" y="113"/>
                    <a:pt x="34" y="114"/>
                    <a:pt x="36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6" y="114"/>
                    <a:pt x="57" y="113"/>
                    <a:pt x="57" y="112"/>
                  </a:cubicBezTo>
                  <a:cubicBezTo>
                    <a:pt x="57" y="110"/>
                    <a:pt x="56" y="109"/>
                    <a:pt x="54" y="109"/>
                  </a:cubicBezTo>
                  <a:moveTo>
                    <a:pt x="85" y="48"/>
                  </a:moveTo>
                  <a:cubicBezTo>
                    <a:pt x="85" y="49"/>
                    <a:pt x="84" y="50"/>
                    <a:pt x="83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6" y="50"/>
                    <a:pt x="5" y="49"/>
                    <a:pt x="5" y="48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2"/>
                    <a:pt x="6" y="31"/>
                    <a:pt x="7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6" y="32"/>
                    <a:pt x="26" y="33"/>
                  </a:cubicBezTo>
                  <a:cubicBezTo>
                    <a:pt x="26" y="36"/>
                    <a:pt x="29" y="38"/>
                    <a:pt x="33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4" y="38"/>
                    <a:pt x="85" y="40"/>
                    <a:pt x="85" y="41"/>
                  </a:cubicBezTo>
                  <a:lnTo>
                    <a:pt x="85" y="48"/>
                  </a:lnTo>
                  <a:close/>
                  <a:moveTo>
                    <a:pt x="85" y="72"/>
                  </a:moveTo>
                  <a:cubicBezTo>
                    <a:pt x="85" y="73"/>
                    <a:pt x="84" y="74"/>
                    <a:pt x="83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6" y="74"/>
                    <a:pt x="5" y="73"/>
                    <a:pt x="5" y="72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6"/>
                    <a:pt x="6" y="55"/>
                    <a:pt x="7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4" y="57"/>
                    <a:pt x="36" y="57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57"/>
                    <a:pt x="57" y="56"/>
                    <a:pt x="57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5" y="56"/>
                    <a:pt x="85" y="57"/>
                  </a:cubicBezTo>
                  <a:lnTo>
                    <a:pt x="85" y="72"/>
                  </a:lnTo>
                  <a:close/>
                  <a:moveTo>
                    <a:pt x="85" y="88"/>
                  </a:moveTo>
                  <a:cubicBezTo>
                    <a:pt x="85" y="89"/>
                    <a:pt x="84" y="90"/>
                    <a:pt x="83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5" y="89"/>
                    <a:pt x="5" y="88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0"/>
                    <a:pt x="6" y="79"/>
                    <a:pt x="7" y="79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4" y="79"/>
                    <a:pt x="85" y="80"/>
                    <a:pt x="85" y="81"/>
                  </a:cubicBezTo>
                  <a:lnTo>
                    <a:pt x="85" y="88"/>
                  </a:lnTo>
                  <a:close/>
                  <a:moveTo>
                    <a:pt x="85" y="119"/>
                  </a:moveTo>
                  <a:cubicBezTo>
                    <a:pt x="85" y="120"/>
                    <a:pt x="84" y="121"/>
                    <a:pt x="83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21"/>
                    <a:pt x="5" y="120"/>
                    <a:pt x="5" y="119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6"/>
                    <a:pt x="6" y="95"/>
                    <a:pt x="7" y="95"/>
                  </a:cubicBezTo>
                  <a:cubicBezTo>
                    <a:pt x="83" y="95"/>
                    <a:pt x="83" y="95"/>
                    <a:pt x="83" y="95"/>
                  </a:cubicBezTo>
                  <a:cubicBezTo>
                    <a:pt x="84" y="95"/>
                    <a:pt x="85" y="96"/>
                    <a:pt x="85" y="98"/>
                  </a:cubicBezTo>
                  <a:lnTo>
                    <a:pt x="85" y="119"/>
                  </a:lnTo>
                  <a:close/>
                  <a:moveTo>
                    <a:pt x="76" y="131"/>
                  </a:moveTo>
                  <a:cubicBezTo>
                    <a:pt x="74" y="131"/>
                    <a:pt x="73" y="130"/>
                    <a:pt x="73" y="128"/>
                  </a:cubicBezTo>
                  <a:cubicBezTo>
                    <a:pt x="73" y="127"/>
                    <a:pt x="74" y="126"/>
                    <a:pt x="76" y="126"/>
                  </a:cubicBezTo>
                  <a:cubicBezTo>
                    <a:pt x="77" y="126"/>
                    <a:pt x="78" y="127"/>
                    <a:pt x="78" y="128"/>
                  </a:cubicBezTo>
                  <a:cubicBezTo>
                    <a:pt x="78" y="130"/>
                    <a:pt x="77" y="131"/>
                    <a:pt x="76" y="131"/>
                  </a:cubicBezTo>
                  <a:moveTo>
                    <a:pt x="14" y="131"/>
                  </a:moveTo>
                  <a:cubicBezTo>
                    <a:pt x="13" y="131"/>
                    <a:pt x="12" y="130"/>
                    <a:pt x="12" y="128"/>
                  </a:cubicBezTo>
                  <a:cubicBezTo>
                    <a:pt x="12" y="127"/>
                    <a:pt x="13" y="126"/>
                    <a:pt x="14" y="126"/>
                  </a:cubicBezTo>
                  <a:cubicBezTo>
                    <a:pt x="16" y="126"/>
                    <a:pt x="17" y="127"/>
                    <a:pt x="17" y="128"/>
                  </a:cubicBezTo>
                  <a:cubicBezTo>
                    <a:pt x="17" y="130"/>
                    <a:pt x="16" y="131"/>
                    <a:pt x="14" y="131"/>
                  </a:cubicBezTo>
                  <a:moveTo>
                    <a:pt x="90" y="41"/>
                  </a:moveTo>
                  <a:cubicBezTo>
                    <a:pt x="90" y="37"/>
                    <a:pt x="86" y="34"/>
                    <a:pt x="83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2" y="34"/>
                    <a:pt x="31" y="33"/>
                    <a:pt x="31" y="33"/>
                  </a:cubicBezTo>
                  <a:cubicBezTo>
                    <a:pt x="31" y="31"/>
                    <a:pt x="31" y="31"/>
                    <a:pt x="30" y="30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8" y="4"/>
                    <a:pt x="78" y="3"/>
                    <a:pt x="78" y="2"/>
                  </a:cubicBezTo>
                  <a:cubicBezTo>
                    <a:pt x="77" y="1"/>
                    <a:pt x="76" y="0"/>
                    <a:pt x="74" y="1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4" y="27"/>
                    <a:pt x="0" y="30"/>
                    <a:pt x="0" y="3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1" y="51"/>
                    <a:pt x="2" y="53"/>
                  </a:cubicBezTo>
                  <a:cubicBezTo>
                    <a:pt x="1" y="54"/>
                    <a:pt x="0" y="56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5"/>
                    <a:pt x="2" y="76"/>
                  </a:cubicBezTo>
                  <a:cubicBezTo>
                    <a:pt x="1" y="78"/>
                    <a:pt x="0" y="79"/>
                    <a:pt x="0" y="81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0"/>
                    <a:pt x="1" y="92"/>
                    <a:pt x="2" y="93"/>
                  </a:cubicBezTo>
                  <a:cubicBezTo>
                    <a:pt x="1" y="94"/>
                    <a:pt x="0" y="96"/>
                    <a:pt x="0" y="9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3"/>
                    <a:pt x="4" y="126"/>
                    <a:pt x="7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27"/>
                    <a:pt x="7" y="127"/>
                    <a:pt x="7" y="128"/>
                  </a:cubicBezTo>
                  <a:cubicBezTo>
                    <a:pt x="7" y="132"/>
                    <a:pt x="11" y="135"/>
                    <a:pt x="14" y="135"/>
                  </a:cubicBezTo>
                  <a:cubicBezTo>
                    <a:pt x="18" y="135"/>
                    <a:pt x="22" y="132"/>
                    <a:pt x="22" y="128"/>
                  </a:cubicBezTo>
                  <a:cubicBezTo>
                    <a:pt x="22" y="127"/>
                    <a:pt x="21" y="127"/>
                    <a:pt x="21" y="126"/>
                  </a:cubicBezTo>
                  <a:cubicBezTo>
                    <a:pt x="69" y="126"/>
                    <a:pt x="69" y="126"/>
                    <a:pt x="69" y="126"/>
                  </a:cubicBezTo>
                  <a:cubicBezTo>
                    <a:pt x="69" y="127"/>
                    <a:pt x="68" y="127"/>
                    <a:pt x="68" y="128"/>
                  </a:cubicBezTo>
                  <a:cubicBezTo>
                    <a:pt x="68" y="132"/>
                    <a:pt x="72" y="135"/>
                    <a:pt x="76" y="135"/>
                  </a:cubicBezTo>
                  <a:cubicBezTo>
                    <a:pt x="79" y="135"/>
                    <a:pt x="83" y="132"/>
                    <a:pt x="83" y="128"/>
                  </a:cubicBezTo>
                  <a:cubicBezTo>
                    <a:pt x="83" y="127"/>
                    <a:pt x="82" y="127"/>
                    <a:pt x="82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6" y="126"/>
                    <a:pt x="90" y="123"/>
                    <a:pt x="90" y="119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90" y="96"/>
                    <a:pt x="89" y="94"/>
                    <a:pt x="88" y="93"/>
                  </a:cubicBezTo>
                  <a:cubicBezTo>
                    <a:pt x="89" y="92"/>
                    <a:pt x="90" y="90"/>
                    <a:pt x="90" y="88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79"/>
                    <a:pt x="89" y="78"/>
                    <a:pt x="88" y="76"/>
                  </a:cubicBezTo>
                  <a:cubicBezTo>
                    <a:pt x="89" y="75"/>
                    <a:pt x="90" y="73"/>
                    <a:pt x="90" y="72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6"/>
                    <a:pt x="89" y="54"/>
                    <a:pt x="88" y="53"/>
                  </a:cubicBezTo>
                  <a:cubicBezTo>
                    <a:pt x="89" y="51"/>
                    <a:pt x="90" y="50"/>
                    <a:pt x="90" y="48"/>
                  </a:cubicBezTo>
                  <a:lnTo>
                    <a:pt x="90" y="4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8" name="Group 231">
            <a:extLst>
              <a:ext uri="{FF2B5EF4-FFF2-40B4-BE49-F238E27FC236}">
                <a16:creationId xmlns:a16="http://schemas.microsoft.com/office/drawing/2014/main" id="{453B97BB-1223-43F2-BBDA-2AE61075F9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9304" y="5473641"/>
            <a:ext cx="841375" cy="841375"/>
            <a:chOff x="1687" y="3572"/>
            <a:chExt cx="530" cy="530"/>
          </a:xfrm>
        </p:grpSpPr>
        <p:sp>
          <p:nvSpPr>
            <p:cNvPr id="269" name="AutoShape 230">
              <a:extLst>
                <a:ext uri="{FF2B5EF4-FFF2-40B4-BE49-F238E27FC236}">
                  <a16:creationId xmlns:a16="http://schemas.microsoft.com/office/drawing/2014/main" id="{DFABE729-11CF-489B-9AF9-70B7673422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7" y="357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232">
              <a:extLst>
                <a:ext uri="{FF2B5EF4-FFF2-40B4-BE49-F238E27FC236}">
                  <a16:creationId xmlns:a16="http://schemas.microsoft.com/office/drawing/2014/main" id="{4E5BF139-6A8E-4F1E-A303-E020C03B3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7" y="357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33">
              <a:extLst>
                <a:ext uri="{FF2B5EF4-FFF2-40B4-BE49-F238E27FC236}">
                  <a16:creationId xmlns:a16="http://schemas.microsoft.com/office/drawing/2014/main" id="{ED598F97-AE80-42FF-8D01-739EB4209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5" y="359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34">
              <a:extLst>
                <a:ext uri="{FF2B5EF4-FFF2-40B4-BE49-F238E27FC236}">
                  <a16:creationId xmlns:a16="http://schemas.microsoft.com/office/drawing/2014/main" id="{C697A0C7-22F1-48F1-96BE-BA39807689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8" y="3654"/>
              <a:ext cx="230" cy="345"/>
            </a:xfrm>
            <a:custGeom>
              <a:avLst/>
              <a:gdLst>
                <a:gd name="T0" fmla="*/ 36 w 90"/>
                <a:gd name="T1" fmla="*/ 109 h 135"/>
                <a:gd name="T2" fmla="*/ 36 w 90"/>
                <a:gd name="T3" fmla="*/ 114 h 135"/>
                <a:gd name="T4" fmla="*/ 57 w 90"/>
                <a:gd name="T5" fmla="*/ 112 h 135"/>
                <a:gd name="T6" fmla="*/ 85 w 90"/>
                <a:gd name="T7" fmla="*/ 48 h 135"/>
                <a:gd name="T8" fmla="*/ 7 w 90"/>
                <a:gd name="T9" fmla="*/ 50 h 135"/>
                <a:gd name="T10" fmla="*/ 5 w 90"/>
                <a:gd name="T11" fmla="*/ 34 h 135"/>
                <a:gd name="T12" fmla="*/ 24 w 90"/>
                <a:gd name="T13" fmla="*/ 31 h 135"/>
                <a:gd name="T14" fmla="*/ 33 w 90"/>
                <a:gd name="T15" fmla="*/ 38 h 135"/>
                <a:gd name="T16" fmla="*/ 85 w 90"/>
                <a:gd name="T17" fmla="*/ 41 h 135"/>
                <a:gd name="T18" fmla="*/ 85 w 90"/>
                <a:gd name="T19" fmla="*/ 72 h 135"/>
                <a:gd name="T20" fmla="*/ 7 w 90"/>
                <a:gd name="T21" fmla="*/ 74 h 135"/>
                <a:gd name="T22" fmla="*/ 5 w 90"/>
                <a:gd name="T23" fmla="*/ 57 h 135"/>
                <a:gd name="T24" fmla="*/ 33 w 90"/>
                <a:gd name="T25" fmla="*/ 55 h 135"/>
                <a:gd name="T26" fmla="*/ 54 w 90"/>
                <a:gd name="T27" fmla="*/ 57 h 135"/>
                <a:gd name="T28" fmla="*/ 83 w 90"/>
                <a:gd name="T29" fmla="*/ 55 h 135"/>
                <a:gd name="T30" fmla="*/ 85 w 90"/>
                <a:gd name="T31" fmla="*/ 72 h 135"/>
                <a:gd name="T32" fmla="*/ 83 w 90"/>
                <a:gd name="T33" fmla="*/ 90 h 135"/>
                <a:gd name="T34" fmla="*/ 5 w 90"/>
                <a:gd name="T35" fmla="*/ 88 h 135"/>
                <a:gd name="T36" fmla="*/ 7 w 90"/>
                <a:gd name="T37" fmla="*/ 79 h 135"/>
                <a:gd name="T38" fmla="*/ 85 w 90"/>
                <a:gd name="T39" fmla="*/ 81 h 135"/>
                <a:gd name="T40" fmla="*/ 85 w 90"/>
                <a:gd name="T41" fmla="*/ 119 h 135"/>
                <a:gd name="T42" fmla="*/ 7 w 90"/>
                <a:gd name="T43" fmla="*/ 121 h 135"/>
                <a:gd name="T44" fmla="*/ 5 w 90"/>
                <a:gd name="T45" fmla="*/ 98 h 135"/>
                <a:gd name="T46" fmla="*/ 83 w 90"/>
                <a:gd name="T47" fmla="*/ 95 h 135"/>
                <a:gd name="T48" fmla="*/ 85 w 90"/>
                <a:gd name="T49" fmla="*/ 119 h 135"/>
                <a:gd name="T50" fmla="*/ 73 w 90"/>
                <a:gd name="T51" fmla="*/ 128 h 135"/>
                <a:gd name="T52" fmla="*/ 78 w 90"/>
                <a:gd name="T53" fmla="*/ 128 h 135"/>
                <a:gd name="T54" fmla="*/ 14 w 90"/>
                <a:gd name="T55" fmla="*/ 131 h 135"/>
                <a:gd name="T56" fmla="*/ 14 w 90"/>
                <a:gd name="T57" fmla="*/ 126 h 135"/>
                <a:gd name="T58" fmla="*/ 14 w 90"/>
                <a:gd name="T59" fmla="*/ 131 h 135"/>
                <a:gd name="T60" fmla="*/ 83 w 90"/>
                <a:gd name="T61" fmla="*/ 34 h 135"/>
                <a:gd name="T62" fmla="*/ 31 w 90"/>
                <a:gd name="T63" fmla="*/ 33 h 135"/>
                <a:gd name="T64" fmla="*/ 77 w 90"/>
                <a:gd name="T65" fmla="*/ 5 h 135"/>
                <a:gd name="T66" fmla="*/ 74 w 90"/>
                <a:gd name="T67" fmla="*/ 1 h 135"/>
                <a:gd name="T68" fmla="*/ 24 w 90"/>
                <a:gd name="T69" fmla="*/ 27 h 135"/>
                <a:gd name="T70" fmla="*/ 0 w 90"/>
                <a:gd name="T71" fmla="*/ 34 h 135"/>
                <a:gd name="T72" fmla="*/ 2 w 90"/>
                <a:gd name="T73" fmla="*/ 53 h 135"/>
                <a:gd name="T74" fmla="*/ 0 w 90"/>
                <a:gd name="T75" fmla="*/ 72 h 135"/>
                <a:gd name="T76" fmla="*/ 0 w 90"/>
                <a:gd name="T77" fmla="*/ 81 h 135"/>
                <a:gd name="T78" fmla="*/ 2 w 90"/>
                <a:gd name="T79" fmla="*/ 93 h 135"/>
                <a:gd name="T80" fmla="*/ 0 w 90"/>
                <a:gd name="T81" fmla="*/ 119 h 135"/>
                <a:gd name="T82" fmla="*/ 8 w 90"/>
                <a:gd name="T83" fmla="*/ 126 h 135"/>
                <a:gd name="T84" fmla="*/ 14 w 90"/>
                <a:gd name="T85" fmla="*/ 135 h 135"/>
                <a:gd name="T86" fmla="*/ 21 w 90"/>
                <a:gd name="T87" fmla="*/ 126 h 135"/>
                <a:gd name="T88" fmla="*/ 68 w 90"/>
                <a:gd name="T89" fmla="*/ 128 h 135"/>
                <a:gd name="T90" fmla="*/ 83 w 90"/>
                <a:gd name="T91" fmla="*/ 128 h 135"/>
                <a:gd name="T92" fmla="*/ 83 w 90"/>
                <a:gd name="T93" fmla="*/ 126 h 135"/>
                <a:gd name="T94" fmla="*/ 90 w 90"/>
                <a:gd name="T95" fmla="*/ 98 h 135"/>
                <a:gd name="T96" fmla="*/ 90 w 90"/>
                <a:gd name="T97" fmla="*/ 88 h 135"/>
                <a:gd name="T98" fmla="*/ 88 w 90"/>
                <a:gd name="T99" fmla="*/ 76 h 135"/>
                <a:gd name="T100" fmla="*/ 90 w 90"/>
                <a:gd name="T101" fmla="*/ 57 h 135"/>
                <a:gd name="T102" fmla="*/ 90 w 90"/>
                <a:gd name="T103" fmla="*/ 4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" h="135">
                  <a:moveTo>
                    <a:pt x="54" y="109"/>
                  </a:moveTo>
                  <a:cubicBezTo>
                    <a:pt x="36" y="109"/>
                    <a:pt x="36" y="109"/>
                    <a:pt x="36" y="109"/>
                  </a:cubicBezTo>
                  <a:cubicBezTo>
                    <a:pt x="34" y="109"/>
                    <a:pt x="33" y="110"/>
                    <a:pt x="33" y="112"/>
                  </a:cubicBezTo>
                  <a:cubicBezTo>
                    <a:pt x="33" y="113"/>
                    <a:pt x="34" y="114"/>
                    <a:pt x="36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6" y="114"/>
                    <a:pt x="57" y="113"/>
                    <a:pt x="57" y="112"/>
                  </a:cubicBezTo>
                  <a:cubicBezTo>
                    <a:pt x="57" y="110"/>
                    <a:pt x="56" y="109"/>
                    <a:pt x="54" y="109"/>
                  </a:cubicBezTo>
                  <a:moveTo>
                    <a:pt x="85" y="48"/>
                  </a:moveTo>
                  <a:cubicBezTo>
                    <a:pt x="85" y="49"/>
                    <a:pt x="84" y="50"/>
                    <a:pt x="83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6" y="50"/>
                    <a:pt x="5" y="49"/>
                    <a:pt x="5" y="48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2"/>
                    <a:pt x="6" y="31"/>
                    <a:pt x="7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6" y="32"/>
                    <a:pt x="26" y="33"/>
                  </a:cubicBezTo>
                  <a:cubicBezTo>
                    <a:pt x="26" y="36"/>
                    <a:pt x="29" y="38"/>
                    <a:pt x="33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4" y="38"/>
                    <a:pt x="85" y="40"/>
                    <a:pt x="85" y="41"/>
                  </a:cubicBezTo>
                  <a:lnTo>
                    <a:pt x="85" y="48"/>
                  </a:lnTo>
                  <a:close/>
                  <a:moveTo>
                    <a:pt x="85" y="72"/>
                  </a:moveTo>
                  <a:cubicBezTo>
                    <a:pt x="85" y="73"/>
                    <a:pt x="84" y="74"/>
                    <a:pt x="83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6" y="74"/>
                    <a:pt x="5" y="73"/>
                    <a:pt x="5" y="72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6"/>
                    <a:pt x="6" y="55"/>
                    <a:pt x="7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4" y="57"/>
                    <a:pt x="36" y="57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6" y="57"/>
                    <a:pt x="57" y="56"/>
                    <a:pt x="57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4" y="55"/>
                    <a:pt x="85" y="56"/>
                    <a:pt x="85" y="57"/>
                  </a:cubicBezTo>
                  <a:lnTo>
                    <a:pt x="85" y="72"/>
                  </a:lnTo>
                  <a:close/>
                  <a:moveTo>
                    <a:pt x="85" y="88"/>
                  </a:moveTo>
                  <a:cubicBezTo>
                    <a:pt x="85" y="89"/>
                    <a:pt x="84" y="90"/>
                    <a:pt x="83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5" y="89"/>
                    <a:pt x="5" y="88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0"/>
                    <a:pt x="6" y="79"/>
                    <a:pt x="7" y="79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4" y="79"/>
                    <a:pt x="85" y="80"/>
                    <a:pt x="85" y="81"/>
                  </a:cubicBezTo>
                  <a:lnTo>
                    <a:pt x="85" y="88"/>
                  </a:lnTo>
                  <a:close/>
                  <a:moveTo>
                    <a:pt x="85" y="119"/>
                  </a:moveTo>
                  <a:cubicBezTo>
                    <a:pt x="85" y="120"/>
                    <a:pt x="84" y="121"/>
                    <a:pt x="83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21"/>
                    <a:pt x="5" y="120"/>
                    <a:pt x="5" y="119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6"/>
                    <a:pt x="6" y="95"/>
                    <a:pt x="7" y="95"/>
                  </a:cubicBezTo>
                  <a:cubicBezTo>
                    <a:pt x="83" y="95"/>
                    <a:pt x="83" y="95"/>
                    <a:pt x="83" y="95"/>
                  </a:cubicBezTo>
                  <a:cubicBezTo>
                    <a:pt x="84" y="95"/>
                    <a:pt x="85" y="96"/>
                    <a:pt x="85" y="98"/>
                  </a:cubicBezTo>
                  <a:lnTo>
                    <a:pt x="85" y="119"/>
                  </a:lnTo>
                  <a:close/>
                  <a:moveTo>
                    <a:pt x="76" y="131"/>
                  </a:moveTo>
                  <a:cubicBezTo>
                    <a:pt x="74" y="131"/>
                    <a:pt x="73" y="130"/>
                    <a:pt x="73" y="128"/>
                  </a:cubicBezTo>
                  <a:cubicBezTo>
                    <a:pt x="73" y="127"/>
                    <a:pt x="74" y="126"/>
                    <a:pt x="76" y="126"/>
                  </a:cubicBezTo>
                  <a:cubicBezTo>
                    <a:pt x="77" y="126"/>
                    <a:pt x="78" y="127"/>
                    <a:pt x="78" y="128"/>
                  </a:cubicBezTo>
                  <a:cubicBezTo>
                    <a:pt x="78" y="130"/>
                    <a:pt x="77" y="131"/>
                    <a:pt x="76" y="131"/>
                  </a:cubicBezTo>
                  <a:moveTo>
                    <a:pt x="14" y="131"/>
                  </a:moveTo>
                  <a:cubicBezTo>
                    <a:pt x="13" y="131"/>
                    <a:pt x="12" y="130"/>
                    <a:pt x="12" y="128"/>
                  </a:cubicBezTo>
                  <a:cubicBezTo>
                    <a:pt x="12" y="127"/>
                    <a:pt x="13" y="126"/>
                    <a:pt x="14" y="126"/>
                  </a:cubicBezTo>
                  <a:cubicBezTo>
                    <a:pt x="16" y="126"/>
                    <a:pt x="17" y="127"/>
                    <a:pt x="17" y="128"/>
                  </a:cubicBezTo>
                  <a:cubicBezTo>
                    <a:pt x="17" y="130"/>
                    <a:pt x="16" y="131"/>
                    <a:pt x="14" y="131"/>
                  </a:cubicBezTo>
                  <a:moveTo>
                    <a:pt x="90" y="41"/>
                  </a:moveTo>
                  <a:cubicBezTo>
                    <a:pt x="90" y="37"/>
                    <a:pt x="86" y="34"/>
                    <a:pt x="83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2" y="34"/>
                    <a:pt x="31" y="33"/>
                    <a:pt x="31" y="33"/>
                  </a:cubicBezTo>
                  <a:cubicBezTo>
                    <a:pt x="31" y="31"/>
                    <a:pt x="31" y="31"/>
                    <a:pt x="30" y="30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8" y="4"/>
                    <a:pt x="78" y="3"/>
                    <a:pt x="78" y="2"/>
                  </a:cubicBezTo>
                  <a:cubicBezTo>
                    <a:pt x="77" y="1"/>
                    <a:pt x="76" y="0"/>
                    <a:pt x="74" y="1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4" y="27"/>
                    <a:pt x="0" y="30"/>
                    <a:pt x="0" y="3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1" y="51"/>
                    <a:pt x="2" y="53"/>
                  </a:cubicBezTo>
                  <a:cubicBezTo>
                    <a:pt x="1" y="54"/>
                    <a:pt x="0" y="56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5"/>
                    <a:pt x="2" y="76"/>
                  </a:cubicBezTo>
                  <a:cubicBezTo>
                    <a:pt x="1" y="78"/>
                    <a:pt x="0" y="79"/>
                    <a:pt x="0" y="81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0"/>
                    <a:pt x="1" y="92"/>
                    <a:pt x="2" y="93"/>
                  </a:cubicBezTo>
                  <a:cubicBezTo>
                    <a:pt x="1" y="94"/>
                    <a:pt x="0" y="96"/>
                    <a:pt x="0" y="9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3"/>
                    <a:pt x="4" y="126"/>
                    <a:pt x="7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27"/>
                    <a:pt x="7" y="127"/>
                    <a:pt x="7" y="128"/>
                  </a:cubicBezTo>
                  <a:cubicBezTo>
                    <a:pt x="7" y="132"/>
                    <a:pt x="11" y="135"/>
                    <a:pt x="14" y="135"/>
                  </a:cubicBezTo>
                  <a:cubicBezTo>
                    <a:pt x="18" y="135"/>
                    <a:pt x="22" y="132"/>
                    <a:pt x="22" y="128"/>
                  </a:cubicBezTo>
                  <a:cubicBezTo>
                    <a:pt x="22" y="127"/>
                    <a:pt x="21" y="127"/>
                    <a:pt x="21" y="126"/>
                  </a:cubicBezTo>
                  <a:cubicBezTo>
                    <a:pt x="69" y="126"/>
                    <a:pt x="69" y="126"/>
                    <a:pt x="69" y="126"/>
                  </a:cubicBezTo>
                  <a:cubicBezTo>
                    <a:pt x="69" y="127"/>
                    <a:pt x="68" y="127"/>
                    <a:pt x="68" y="128"/>
                  </a:cubicBezTo>
                  <a:cubicBezTo>
                    <a:pt x="68" y="132"/>
                    <a:pt x="72" y="135"/>
                    <a:pt x="76" y="135"/>
                  </a:cubicBezTo>
                  <a:cubicBezTo>
                    <a:pt x="79" y="135"/>
                    <a:pt x="83" y="132"/>
                    <a:pt x="83" y="128"/>
                  </a:cubicBezTo>
                  <a:cubicBezTo>
                    <a:pt x="83" y="127"/>
                    <a:pt x="82" y="127"/>
                    <a:pt x="82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6" y="126"/>
                    <a:pt x="90" y="123"/>
                    <a:pt x="90" y="119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90" y="96"/>
                    <a:pt x="89" y="94"/>
                    <a:pt x="88" y="93"/>
                  </a:cubicBezTo>
                  <a:cubicBezTo>
                    <a:pt x="89" y="92"/>
                    <a:pt x="90" y="90"/>
                    <a:pt x="90" y="88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79"/>
                    <a:pt x="89" y="78"/>
                    <a:pt x="88" y="76"/>
                  </a:cubicBezTo>
                  <a:cubicBezTo>
                    <a:pt x="89" y="75"/>
                    <a:pt x="90" y="73"/>
                    <a:pt x="90" y="72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6"/>
                    <a:pt x="89" y="54"/>
                    <a:pt x="88" y="53"/>
                  </a:cubicBezTo>
                  <a:cubicBezTo>
                    <a:pt x="89" y="51"/>
                    <a:pt x="90" y="50"/>
                    <a:pt x="90" y="48"/>
                  </a:cubicBezTo>
                  <a:lnTo>
                    <a:pt x="9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7" name="Group 237">
            <a:extLst>
              <a:ext uri="{FF2B5EF4-FFF2-40B4-BE49-F238E27FC236}">
                <a16:creationId xmlns:a16="http://schemas.microsoft.com/office/drawing/2014/main" id="{0E816FFE-5164-4029-9684-F01D19C5BD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667" y="5514916"/>
            <a:ext cx="758825" cy="758825"/>
            <a:chOff x="3786" y="3614"/>
            <a:chExt cx="478" cy="478"/>
          </a:xfrm>
        </p:grpSpPr>
        <p:sp>
          <p:nvSpPr>
            <p:cNvPr id="278" name="AutoShape 236">
              <a:extLst>
                <a:ext uri="{FF2B5EF4-FFF2-40B4-BE49-F238E27FC236}">
                  <a16:creationId xmlns:a16="http://schemas.microsoft.com/office/drawing/2014/main" id="{4788FCA6-C3AD-4997-8157-31B6850305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86" y="361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38">
              <a:extLst>
                <a:ext uri="{FF2B5EF4-FFF2-40B4-BE49-F238E27FC236}">
                  <a16:creationId xmlns:a16="http://schemas.microsoft.com/office/drawing/2014/main" id="{436E3086-149D-4F85-AC25-9DE2924BC9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8" y="361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39">
              <a:extLst>
                <a:ext uri="{FF2B5EF4-FFF2-40B4-BE49-F238E27FC236}">
                  <a16:creationId xmlns:a16="http://schemas.microsoft.com/office/drawing/2014/main" id="{FBC679B0-6ECA-4300-BD67-BF827B391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9" y="3707"/>
              <a:ext cx="255" cy="294"/>
            </a:xfrm>
            <a:custGeom>
              <a:avLst/>
              <a:gdLst>
                <a:gd name="T0" fmla="*/ 96 w 104"/>
                <a:gd name="T1" fmla="*/ 115 h 120"/>
                <a:gd name="T2" fmla="*/ 8 w 104"/>
                <a:gd name="T3" fmla="*/ 115 h 120"/>
                <a:gd name="T4" fmla="*/ 6 w 104"/>
                <a:gd name="T5" fmla="*/ 112 h 120"/>
                <a:gd name="T6" fmla="*/ 6 w 104"/>
                <a:gd name="T7" fmla="*/ 89 h 120"/>
                <a:gd name="T8" fmla="*/ 38 w 104"/>
                <a:gd name="T9" fmla="*/ 89 h 120"/>
                <a:gd name="T10" fmla="*/ 41 w 104"/>
                <a:gd name="T11" fmla="*/ 91 h 120"/>
                <a:gd name="T12" fmla="*/ 63 w 104"/>
                <a:gd name="T13" fmla="*/ 91 h 120"/>
                <a:gd name="T14" fmla="*/ 66 w 104"/>
                <a:gd name="T15" fmla="*/ 89 h 120"/>
                <a:gd name="T16" fmla="*/ 98 w 104"/>
                <a:gd name="T17" fmla="*/ 89 h 120"/>
                <a:gd name="T18" fmla="*/ 98 w 104"/>
                <a:gd name="T19" fmla="*/ 112 h 120"/>
                <a:gd name="T20" fmla="*/ 96 w 104"/>
                <a:gd name="T21" fmla="*/ 115 h 120"/>
                <a:gd name="T22" fmla="*/ 8 w 104"/>
                <a:gd name="T23" fmla="*/ 5 h 120"/>
                <a:gd name="T24" fmla="*/ 96 w 104"/>
                <a:gd name="T25" fmla="*/ 5 h 120"/>
                <a:gd name="T26" fmla="*/ 98 w 104"/>
                <a:gd name="T27" fmla="*/ 8 h 120"/>
                <a:gd name="T28" fmla="*/ 98 w 104"/>
                <a:gd name="T29" fmla="*/ 26 h 120"/>
                <a:gd name="T30" fmla="*/ 6 w 104"/>
                <a:gd name="T31" fmla="*/ 26 h 120"/>
                <a:gd name="T32" fmla="*/ 6 w 104"/>
                <a:gd name="T33" fmla="*/ 8 h 120"/>
                <a:gd name="T34" fmla="*/ 8 w 104"/>
                <a:gd name="T35" fmla="*/ 5 h 120"/>
                <a:gd name="T36" fmla="*/ 41 w 104"/>
                <a:gd name="T37" fmla="*/ 34 h 120"/>
                <a:gd name="T38" fmla="*/ 63 w 104"/>
                <a:gd name="T39" fmla="*/ 34 h 120"/>
                <a:gd name="T40" fmla="*/ 66 w 104"/>
                <a:gd name="T41" fmla="*/ 31 h 120"/>
                <a:gd name="T42" fmla="*/ 98 w 104"/>
                <a:gd name="T43" fmla="*/ 31 h 120"/>
                <a:gd name="T44" fmla="*/ 98 w 104"/>
                <a:gd name="T45" fmla="*/ 55 h 120"/>
                <a:gd name="T46" fmla="*/ 6 w 104"/>
                <a:gd name="T47" fmla="*/ 55 h 120"/>
                <a:gd name="T48" fmla="*/ 6 w 104"/>
                <a:gd name="T49" fmla="*/ 31 h 120"/>
                <a:gd name="T50" fmla="*/ 38 w 104"/>
                <a:gd name="T51" fmla="*/ 31 h 120"/>
                <a:gd name="T52" fmla="*/ 41 w 104"/>
                <a:gd name="T53" fmla="*/ 34 h 120"/>
                <a:gd name="T54" fmla="*/ 6 w 104"/>
                <a:gd name="T55" fmla="*/ 83 h 120"/>
                <a:gd name="T56" fmla="*/ 6 w 104"/>
                <a:gd name="T57" fmla="*/ 60 h 120"/>
                <a:gd name="T58" fmla="*/ 38 w 104"/>
                <a:gd name="T59" fmla="*/ 60 h 120"/>
                <a:gd name="T60" fmla="*/ 41 w 104"/>
                <a:gd name="T61" fmla="*/ 63 h 120"/>
                <a:gd name="T62" fmla="*/ 63 w 104"/>
                <a:gd name="T63" fmla="*/ 63 h 120"/>
                <a:gd name="T64" fmla="*/ 66 w 104"/>
                <a:gd name="T65" fmla="*/ 60 h 120"/>
                <a:gd name="T66" fmla="*/ 98 w 104"/>
                <a:gd name="T67" fmla="*/ 60 h 120"/>
                <a:gd name="T68" fmla="*/ 98 w 104"/>
                <a:gd name="T69" fmla="*/ 83 h 120"/>
                <a:gd name="T70" fmla="*/ 6 w 104"/>
                <a:gd name="T71" fmla="*/ 83 h 120"/>
                <a:gd name="T72" fmla="*/ 96 w 104"/>
                <a:gd name="T73" fmla="*/ 0 h 120"/>
                <a:gd name="T74" fmla="*/ 8 w 104"/>
                <a:gd name="T75" fmla="*/ 0 h 120"/>
                <a:gd name="T76" fmla="*/ 0 w 104"/>
                <a:gd name="T77" fmla="*/ 8 h 120"/>
                <a:gd name="T78" fmla="*/ 0 w 104"/>
                <a:gd name="T79" fmla="*/ 112 h 120"/>
                <a:gd name="T80" fmla="*/ 8 w 104"/>
                <a:gd name="T81" fmla="*/ 120 h 120"/>
                <a:gd name="T82" fmla="*/ 96 w 104"/>
                <a:gd name="T83" fmla="*/ 120 h 120"/>
                <a:gd name="T84" fmla="*/ 104 w 104"/>
                <a:gd name="T85" fmla="*/ 112 h 120"/>
                <a:gd name="T86" fmla="*/ 104 w 104"/>
                <a:gd name="T87" fmla="*/ 8 h 120"/>
                <a:gd name="T88" fmla="*/ 96 w 104"/>
                <a:gd name="T8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4" h="120">
                  <a:moveTo>
                    <a:pt x="96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7" y="115"/>
                    <a:pt x="6" y="114"/>
                    <a:pt x="6" y="112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8" y="90"/>
                    <a:pt x="40" y="91"/>
                    <a:pt x="41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1"/>
                    <a:pt x="66" y="90"/>
                    <a:pt x="66" y="89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98" y="114"/>
                    <a:pt x="97" y="115"/>
                    <a:pt x="96" y="115"/>
                  </a:cubicBezTo>
                  <a:moveTo>
                    <a:pt x="8" y="5"/>
                  </a:moveTo>
                  <a:cubicBezTo>
                    <a:pt x="96" y="5"/>
                    <a:pt x="96" y="5"/>
                    <a:pt x="96" y="5"/>
                  </a:cubicBezTo>
                  <a:cubicBezTo>
                    <a:pt x="97" y="5"/>
                    <a:pt x="98" y="6"/>
                    <a:pt x="98" y="8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6"/>
                    <a:pt x="7" y="5"/>
                    <a:pt x="8" y="5"/>
                  </a:cubicBezTo>
                  <a:moveTo>
                    <a:pt x="41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4" y="34"/>
                    <a:pt x="66" y="33"/>
                    <a:pt x="66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3"/>
                    <a:pt x="40" y="34"/>
                    <a:pt x="41" y="34"/>
                  </a:cubicBezTo>
                  <a:moveTo>
                    <a:pt x="6" y="83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40" y="63"/>
                    <a:pt x="41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4" y="63"/>
                    <a:pt x="66" y="61"/>
                    <a:pt x="66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83"/>
                    <a:pt x="98" y="83"/>
                    <a:pt x="98" y="83"/>
                  </a:cubicBezTo>
                  <a:lnTo>
                    <a:pt x="6" y="83"/>
                  </a:lnTo>
                  <a:close/>
                  <a:moveTo>
                    <a:pt x="9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7"/>
                    <a:pt x="4" y="120"/>
                    <a:pt x="8" y="120"/>
                  </a:cubicBezTo>
                  <a:cubicBezTo>
                    <a:pt x="96" y="120"/>
                    <a:pt x="96" y="120"/>
                    <a:pt x="96" y="120"/>
                  </a:cubicBezTo>
                  <a:cubicBezTo>
                    <a:pt x="100" y="120"/>
                    <a:pt x="104" y="117"/>
                    <a:pt x="104" y="112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4"/>
                    <a:pt x="100" y="0"/>
                    <a:pt x="9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1" name="Group 242">
            <a:extLst>
              <a:ext uri="{FF2B5EF4-FFF2-40B4-BE49-F238E27FC236}">
                <a16:creationId xmlns:a16="http://schemas.microsoft.com/office/drawing/2014/main" id="{418AFD33-7C3F-4917-8746-A814988B8E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7498" y="5473641"/>
            <a:ext cx="841375" cy="841375"/>
            <a:chOff x="3006" y="3453"/>
            <a:chExt cx="530" cy="530"/>
          </a:xfrm>
        </p:grpSpPr>
        <p:sp>
          <p:nvSpPr>
            <p:cNvPr id="282" name="AutoShape 241">
              <a:extLst>
                <a:ext uri="{FF2B5EF4-FFF2-40B4-BE49-F238E27FC236}">
                  <a16:creationId xmlns:a16="http://schemas.microsoft.com/office/drawing/2014/main" id="{9FCFBD14-9DE5-4A56-8876-10FA7FB590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6" y="345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243">
              <a:extLst>
                <a:ext uri="{FF2B5EF4-FFF2-40B4-BE49-F238E27FC236}">
                  <a16:creationId xmlns:a16="http://schemas.microsoft.com/office/drawing/2014/main" id="{D23C0E6C-5042-4A6E-B454-0322F49511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345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44">
              <a:extLst>
                <a:ext uri="{FF2B5EF4-FFF2-40B4-BE49-F238E27FC236}">
                  <a16:creationId xmlns:a16="http://schemas.microsoft.com/office/drawing/2014/main" id="{5D0DE171-BF3B-4D76-999E-833332B1BE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347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45">
              <a:extLst>
                <a:ext uri="{FF2B5EF4-FFF2-40B4-BE49-F238E27FC236}">
                  <a16:creationId xmlns:a16="http://schemas.microsoft.com/office/drawing/2014/main" id="{107B3B3D-4BB6-49BC-A64F-1819D86F4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9" y="3566"/>
              <a:ext cx="266" cy="307"/>
            </a:xfrm>
            <a:custGeom>
              <a:avLst/>
              <a:gdLst>
                <a:gd name="T0" fmla="*/ 96 w 104"/>
                <a:gd name="T1" fmla="*/ 115 h 120"/>
                <a:gd name="T2" fmla="*/ 8 w 104"/>
                <a:gd name="T3" fmla="*/ 115 h 120"/>
                <a:gd name="T4" fmla="*/ 6 w 104"/>
                <a:gd name="T5" fmla="*/ 112 h 120"/>
                <a:gd name="T6" fmla="*/ 6 w 104"/>
                <a:gd name="T7" fmla="*/ 89 h 120"/>
                <a:gd name="T8" fmla="*/ 38 w 104"/>
                <a:gd name="T9" fmla="*/ 89 h 120"/>
                <a:gd name="T10" fmla="*/ 41 w 104"/>
                <a:gd name="T11" fmla="*/ 91 h 120"/>
                <a:gd name="T12" fmla="*/ 63 w 104"/>
                <a:gd name="T13" fmla="*/ 91 h 120"/>
                <a:gd name="T14" fmla="*/ 66 w 104"/>
                <a:gd name="T15" fmla="*/ 89 h 120"/>
                <a:gd name="T16" fmla="*/ 98 w 104"/>
                <a:gd name="T17" fmla="*/ 89 h 120"/>
                <a:gd name="T18" fmla="*/ 98 w 104"/>
                <a:gd name="T19" fmla="*/ 112 h 120"/>
                <a:gd name="T20" fmla="*/ 96 w 104"/>
                <a:gd name="T21" fmla="*/ 115 h 120"/>
                <a:gd name="T22" fmla="*/ 8 w 104"/>
                <a:gd name="T23" fmla="*/ 5 h 120"/>
                <a:gd name="T24" fmla="*/ 96 w 104"/>
                <a:gd name="T25" fmla="*/ 5 h 120"/>
                <a:gd name="T26" fmla="*/ 98 w 104"/>
                <a:gd name="T27" fmla="*/ 8 h 120"/>
                <a:gd name="T28" fmla="*/ 98 w 104"/>
                <a:gd name="T29" fmla="*/ 26 h 120"/>
                <a:gd name="T30" fmla="*/ 6 w 104"/>
                <a:gd name="T31" fmla="*/ 26 h 120"/>
                <a:gd name="T32" fmla="*/ 6 w 104"/>
                <a:gd name="T33" fmla="*/ 8 h 120"/>
                <a:gd name="T34" fmla="*/ 8 w 104"/>
                <a:gd name="T35" fmla="*/ 5 h 120"/>
                <a:gd name="T36" fmla="*/ 41 w 104"/>
                <a:gd name="T37" fmla="*/ 34 h 120"/>
                <a:gd name="T38" fmla="*/ 63 w 104"/>
                <a:gd name="T39" fmla="*/ 34 h 120"/>
                <a:gd name="T40" fmla="*/ 66 w 104"/>
                <a:gd name="T41" fmla="*/ 31 h 120"/>
                <a:gd name="T42" fmla="*/ 98 w 104"/>
                <a:gd name="T43" fmla="*/ 31 h 120"/>
                <a:gd name="T44" fmla="*/ 98 w 104"/>
                <a:gd name="T45" fmla="*/ 55 h 120"/>
                <a:gd name="T46" fmla="*/ 6 w 104"/>
                <a:gd name="T47" fmla="*/ 55 h 120"/>
                <a:gd name="T48" fmla="*/ 6 w 104"/>
                <a:gd name="T49" fmla="*/ 31 h 120"/>
                <a:gd name="T50" fmla="*/ 38 w 104"/>
                <a:gd name="T51" fmla="*/ 31 h 120"/>
                <a:gd name="T52" fmla="*/ 41 w 104"/>
                <a:gd name="T53" fmla="*/ 34 h 120"/>
                <a:gd name="T54" fmla="*/ 6 w 104"/>
                <a:gd name="T55" fmla="*/ 83 h 120"/>
                <a:gd name="T56" fmla="*/ 6 w 104"/>
                <a:gd name="T57" fmla="*/ 60 h 120"/>
                <a:gd name="T58" fmla="*/ 38 w 104"/>
                <a:gd name="T59" fmla="*/ 60 h 120"/>
                <a:gd name="T60" fmla="*/ 41 w 104"/>
                <a:gd name="T61" fmla="*/ 63 h 120"/>
                <a:gd name="T62" fmla="*/ 63 w 104"/>
                <a:gd name="T63" fmla="*/ 63 h 120"/>
                <a:gd name="T64" fmla="*/ 66 w 104"/>
                <a:gd name="T65" fmla="*/ 60 h 120"/>
                <a:gd name="T66" fmla="*/ 98 w 104"/>
                <a:gd name="T67" fmla="*/ 60 h 120"/>
                <a:gd name="T68" fmla="*/ 98 w 104"/>
                <a:gd name="T69" fmla="*/ 83 h 120"/>
                <a:gd name="T70" fmla="*/ 6 w 104"/>
                <a:gd name="T71" fmla="*/ 83 h 120"/>
                <a:gd name="T72" fmla="*/ 96 w 104"/>
                <a:gd name="T73" fmla="*/ 0 h 120"/>
                <a:gd name="T74" fmla="*/ 8 w 104"/>
                <a:gd name="T75" fmla="*/ 0 h 120"/>
                <a:gd name="T76" fmla="*/ 0 w 104"/>
                <a:gd name="T77" fmla="*/ 8 h 120"/>
                <a:gd name="T78" fmla="*/ 0 w 104"/>
                <a:gd name="T79" fmla="*/ 112 h 120"/>
                <a:gd name="T80" fmla="*/ 8 w 104"/>
                <a:gd name="T81" fmla="*/ 120 h 120"/>
                <a:gd name="T82" fmla="*/ 96 w 104"/>
                <a:gd name="T83" fmla="*/ 120 h 120"/>
                <a:gd name="T84" fmla="*/ 104 w 104"/>
                <a:gd name="T85" fmla="*/ 112 h 120"/>
                <a:gd name="T86" fmla="*/ 104 w 104"/>
                <a:gd name="T87" fmla="*/ 8 h 120"/>
                <a:gd name="T88" fmla="*/ 96 w 104"/>
                <a:gd name="T8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4" h="120">
                  <a:moveTo>
                    <a:pt x="96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7" y="115"/>
                    <a:pt x="6" y="114"/>
                    <a:pt x="6" y="112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8" y="90"/>
                    <a:pt x="40" y="91"/>
                    <a:pt x="41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1"/>
                    <a:pt x="66" y="90"/>
                    <a:pt x="66" y="89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98" y="114"/>
                    <a:pt x="97" y="115"/>
                    <a:pt x="96" y="115"/>
                  </a:cubicBezTo>
                  <a:moveTo>
                    <a:pt x="8" y="5"/>
                  </a:moveTo>
                  <a:cubicBezTo>
                    <a:pt x="96" y="5"/>
                    <a:pt x="96" y="5"/>
                    <a:pt x="96" y="5"/>
                  </a:cubicBezTo>
                  <a:cubicBezTo>
                    <a:pt x="97" y="5"/>
                    <a:pt x="98" y="6"/>
                    <a:pt x="98" y="8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6"/>
                    <a:pt x="7" y="5"/>
                    <a:pt x="8" y="5"/>
                  </a:cubicBezTo>
                  <a:moveTo>
                    <a:pt x="41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4" y="34"/>
                    <a:pt x="66" y="33"/>
                    <a:pt x="66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3"/>
                    <a:pt x="40" y="34"/>
                    <a:pt x="41" y="34"/>
                  </a:cubicBezTo>
                  <a:moveTo>
                    <a:pt x="6" y="83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40" y="63"/>
                    <a:pt x="41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4" y="63"/>
                    <a:pt x="66" y="61"/>
                    <a:pt x="66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83"/>
                    <a:pt x="98" y="83"/>
                    <a:pt x="98" y="83"/>
                  </a:cubicBezTo>
                  <a:lnTo>
                    <a:pt x="6" y="83"/>
                  </a:lnTo>
                  <a:close/>
                  <a:moveTo>
                    <a:pt x="9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7"/>
                    <a:pt x="4" y="120"/>
                    <a:pt x="8" y="120"/>
                  </a:cubicBezTo>
                  <a:cubicBezTo>
                    <a:pt x="96" y="120"/>
                    <a:pt x="96" y="120"/>
                    <a:pt x="96" y="120"/>
                  </a:cubicBezTo>
                  <a:cubicBezTo>
                    <a:pt x="100" y="120"/>
                    <a:pt x="104" y="117"/>
                    <a:pt x="104" y="112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4"/>
                    <a:pt x="100" y="0"/>
                    <a:pt x="9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0" name="Group 248">
            <a:extLst>
              <a:ext uri="{FF2B5EF4-FFF2-40B4-BE49-F238E27FC236}">
                <a16:creationId xmlns:a16="http://schemas.microsoft.com/office/drawing/2014/main" id="{B490DD15-144C-4ED6-9B67-97329D1B19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2669" y="5514916"/>
            <a:ext cx="758825" cy="758825"/>
            <a:chOff x="4957" y="3666"/>
            <a:chExt cx="478" cy="478"/>
          </a:xfrm>
        </p:grpSpPr>
        <p:sp>
          <p:nvSpPr>
            <p:cNvPr id="291" name="AutoShape 247">
              <a:extLst>
                <a:ext uri="{FF2B5EF4-FFF2-40B4-BE49-F238E27FC236}">
                  <a16:creationId xmlns:a16="http://schemas.microsoft.com/office/drawing/2014/main" id="{6EF4DF97-E6A7-4D07-9DF8-99B433BA01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57" y="366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49">
              <a:extLst>
                <a:ext uri="{FF2B5EF4-FFF2-40B4-BE49-F238E27FC236}">
                  <a16:creationId xmlns:a16="http://schemas.microsoft.com/office/drawing/2014/main" id="{9597BBD1-2F27-4735-90B6-914B91617D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9" y="366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50">
              <a:extLst>
                <a:ext uri="{FF2B5EF4-FFF2-40B4-BE49-F238E27FC236}">
                  <a16:creationId xmlns:a16="http://schemas.microsoft.com/office/drawing/2014/main" id="{6D961B77-82B7-4BDB-BBD6-D1DBEB6C0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7" y="3744"/>
              <a:ext cx="280" cy="324"/>
            </a:xfrm>
            <a:custGeom>
              <a:avLst/>
              <a:gdLst>
                <a:gd name="T0" fmla="*/ 78 w 114"/>
                <a:gd name="T1" fmla="*/ 42 h 132"/>
                <a:gd name="T2" fmla="*/ 36 w 114"/>
                <a:gd name="T3" fmla="*/ 37 h 132"/>
                <a:gd name="T4" fmla="*/ 88 w 114"/>
                <a:gd name="T5" fmla="*/ 72 h 132"/>
                <a:gd name="T6" fmla="*/ 88 w 114"/>
                <a:gd name="T7" fmla="*/ 63 h 132"/>
                <a:gd name="T8" fmla="*/ 88 w 114"/>
                <a:gd name="T9" fmla="*/ 72 h 132"/>
                <a:gd name="T10" fmla="*/ 6 w 114"/>
                <a:gd name="T11" fmla="*/ 77 h 132"/>
                <a:gd name="T12" fmla="*/ 108 w 114"/>
                <a:gd name="T13" fmla="*/ 58 h 132"/>
                <a:gd name="T14" fmla="*/ 24 w 114"/>
                <a:gd name="T15" fmla="*/ 5 h 132"/>
                <a:gd name="T16" fmla="*/ 69 w 114"/>
                <a:gd name="T17" fmla="*/ 24 h 132"/>
                <a:gd name="T18" fmla="*/ 90 w 114"/>
                <a:gd name="T19" fmla="*/ 26 h 132"/>
                <a:gd name="T20" fmla="*/ 24 w 114"/>
                <a:gd name="T21" fmla="*/ 53 h 132"/>
                <a:gd name="T22" fmla="*/ 75 w 114"/>
                <a:gd name="T23" fmla="*/ 9 h 132"/>
                <a:gd name="T24" fmla="*/ 87 w 114"/>
                <a:gd name="T25" fmla="*/ 21 h 132"/>
                <a:gd name="T26" fmla="*/ 75 w 114"/>
                <a:gd name="T27" fmla="*/ 9 h 132"/>
                <a:gd name="T28" fmla="*/ 96 w 114"/>
                <a:gd name="T29" fmla="*/ 53 h 132"/>
                <a:gd name="T30" fmla="*/ 96 w 114"/>
                <a:gd name="T31" fmla="*/ 24 h 132"/>
                <a:gd name="T32" fmla="*/ 95 w 114"/>
                <a:gd name="T33" fmla="*/ 23 h 132"/>
                <a:gd name="T34" fmla="*/ 74 w 114"/>
                <a:gd name="T35" fmla="*/ 0 h 132"/>
                <a:gd name="T36" fmla="*/ 73 w 114"/>
                <a:gd name="T37" fmla="*/ 0 h 132"/>
                <a:gd name="T38" fmla="*/ 72 w 114"/>
                <a:gd name="T39" fmla="*/ 0 h 132"/>
                <a:gd name="T40" fmla="*/ 18 w 114"/>
                <a:gd name="T41" fmla="*/ 2 h 132"/>
                <a:gd name="T42" fmla="*/ 3 w 114"/>
                <a:gd name="T43" fmla="*/ 53 h 132"/>
                <a:gd name="T44" fmla="*/ 0 w 114"/>
                <a:gd name="T45" fmla="*/ 80 h 132"/>
                <a:gd name="T46" fmla="*/ 28 w 114"/>
                <a:gd name="T47" fmla="*/ 83 h 132"/>
                <a:gd name="T48" fmla="*/ 23 w 114"/>
                <a:gd name="T49" fmla="*/ 114 h 132"/>
                <a:gd name="T50" fmla="*/ 20 w 114"/>
                <a:gd name="T51" fmla="*/ 106 h 132"/>
                <a:gd name="T52" fmla="*/ 13 w 114"/>
                <a:gd name="T53" fmla="*/ 109 h 132"/>
                <a:gd name="T54" fmla="*/ 33 w 114"/>
                <a:gd name="T55" fmla="*/ 109 h 132"/>
                <a:gd name="T56" fmla="*/ 41 w 114"/>
                <a:gd name="T57" fmla="*/ 83 h 132"/>
                <a:gd name="T58" fmla="*/ 46 w 114"/>
                <a:gd name="T59" fmla="*/ 109 h 132"/>
                <a:gd name="T60" fmla="*/ 53 w 114"/>
                <a:gd name="T61" fmla="*/ 83 h 132"/>
                <a:gd name="T62" fmla="*/ 48 w 114"/>
                <a:gd name="T63" fmla="*/ 127 h 132"/>
                <a:gd name="T64" fmla="*/ 38 w 114"/>
                <a:gd name="T65" fmla="*/ 122 h 132"/>
                <a:gd name="T66" fmla="*/ 59 w 114"/>
                <a:gd name="T67" fmla="*/ 122 h 132"/>
                <a:gd name="T68" fmla="*/ 66 w 114"/>
                <a:gd name="T69" fmla="*/ 83 h 132"/>
                <a:gd name="T70" fmla="*/ 71 w 114"/>
                <a:gd name="T71" fmla="*/ 121 h 132"/>
                <a:gd name="T72" fmla="*/ 79 w 114"/>
                <a:gd name="T73" fmla="*/ 83 h 132"/>
                <a:gd name="T74" fmla="*/ 89 w 114"/>
                <a:gd name="T75" fmla="*/ 120 h 132"/>
                <a:gd name="T76" fmla="*/ 96 w 114"/>
                <a:gd name="T77" fmla="*/ 102 h 132"/>
                <a:gd name="T78" fmla="*/ 94 w 114"/>
                <a:gd name="T79" fmla="*/ 109 h 132"/>
                <a:gd name="T80" fmla="*/ 84 w 114"/>
                <a:gd name="T81" fmla="*/ 109 h 132"/>
                <a:gd name="T82" fmla="*/ 111 w 114"/>
                <a:gd name="T83" fmla="*/ 83 h 132"/>
                <a:gd name="T84" fmla="*/ 114 w 114"/>
                <a:gd name="T85" fmla="*/ 5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4" h="132">
                  <a:moveTo>
                    <a:pt x="36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37"/>
                    <a:pt x="78" y="37"/>
                    <a:pt x="78" y="37"/>
                  </a:cubicBezTo>
                  <a:cubicBezTo>
                    <a:pt x="36" y="37"/>
                    <a:pt x="36" y="37"/>
                    <a:pt x="36" y="37"/>
                  </a:cubicBezTo>
                  <a:lnTo>
                    <a:pt x="36" y="42"/>
                  </a:lnTo>
                  <a:close/>
                  <a:moveTo>
                    <a:pt x="88" y="72"/>
                  </a:moveTo>
                  <a:cubicBezTo>
                    <a:pt x="91" y="72"/>
                    <a:pt x="93" y="70"/>
                    <a:pt x="93" y="68"/>
                  </a:cubicBezTo>
                  <a:cubicBezTo>
                    <a:pt x="93" y="65"/>
                    <a:pt x="91" y="63"/>
                    <a:pt x="88" y="63"/>
                  </a:cubicBezTo>
                  <a:cubicBezTo>
                    <a:pt x="86" y="63"/>
                    <a:pt x="84" y="65"/>
                    <a:pt x="84" y="68"/>
                  </a:cubicBezTo>
                  <a:cubicBezTo>
                    <a:pt x="84" y="70"/>
                    <a:pt x="86" y="72"/>
                    <a:pt x="88" y="72"/>
                  </a:cubicBezTo>
                  <a:moveTo>
                    <a:pt x="108" y="77"/>
                  </a:moveTo>
                  <a:cubicBezTo>
                    <a:pt x="6" y="77"/>
                    <a:pt x="6" y="77"/>
                    <a:pt x="6" y="7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8" y="77"/>
                  </a:lnTo>
                  <a:close/>
                  <a:moveTo>
                    <a:pt x="24" y="5"/>
                  </a:moveTo>
                  <a:cubicBezTo>
                    <a:pt x="69" y="5"/>
                    <a:pt x="69" y="5"/>
                    <a:pt x="69" y="5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5"/>
                    <a:pt x="71" y="26"/>
                    <a:pt x="72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24" y="53"/>
                    <a:pt x="24" y="53"/>
                    <a:pt x="24" y="53"/>
                  </a:cubicBezTo>
                  <a:lnTo>
                    <a:pt x="24" y="5"/>
                  </a:lnTo>
                  <a:close/>
                  <a:moveTo>
                    <a:pt x="75" y="9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75" y="21"/>
                    <a:pt x="75" y="21"/>
                    <a:pt x="75" y="21"/>
                  </a:cubicBezTo>
                  <a:lnTo>
                    <a:pt x="75" y="9"/>
                  </a:lnTo>
                  <a:close/>
                  <a:moveTo>
                    <a:pt x="111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5" y="23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1" y="53"/>
                    <a:pt x="0" y="54"/>
                    <a:pt x="0" y="5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1"/>
                    <a:pt x="1" y="83"/>
                    <a:pt x="3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2"/>
                    <a:pt x="26" y="114"/>
                    <a:pt x="23" y="114"/>
                  </a:cubicBezTo>
                  <a:cubicBezTo>
                    <a:pt x="20" y="114"/>
                    <a:pt x="18" y="112"/>
                    <a:pt x="18" y="109"/>
                  </a:cubicBezTo>
                  <a:cubicBezTo>
                    <a:pt x="18" y="108"/>
                    <a:pt x="19" y="107"/>
                    <a:pt x="20" y="106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4" y="104"/>
                    <a:pt x="13" y="106"/>
                    <a:pt x="13" y="109"/>
                  </a:cubicBezTo>
                  <a:cubicBezTo>
                    <a:pt x="13" y="115"/>
                    <a:pt x="17" y="120"/>
                    <a:pt x="23" y="120"/>
                  </a:cubicBezTo>
                  <a:cubicBezTo>
                    <a:pt x="29" y="120"/>
                    <a:pt x="33" y="115"/>
                    <a:pt x="33" y="10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125"/>
                    <a:pt x="51" y="127"/>
                    <a:pt x="48" y="127"/>
                  </a:cubicBezTo>
                  <a:cubicBezTo>
                    <a:pt x="46" y="127"/>
                    <a:pt x="44" y="125"/>
                    <a:pt x="44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8"/>
                    <a:pt x="43" y="132"/>
                    <a:pt x="48" y="132"/>
                  </a:cubicBezTo>
                  <a:cubicBezTo>
                    <a:pt x="54" y="132"/>
                    <a:pt x="59" y="128"/>
                    <a:pt x="59" y="12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71" y="121"/>
                    <a:pt x="71" y="121"/>
                    <a:pt x="71" y="121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15"/>
                    <a:pt x="83" y="120"/>
                    <a:pt x="89" y="120"/>
                  </a:cubicBezTo>
                  <a:cubicBezTo>
                    <a:pt x="95" y="120"/>
                    <a:pt x="99" y="115"/>
                    <a:pt x="99" y="109"/>
                  </a:cubicBezTo>
                  <a:cubicBezTo>
                    <a:pt x="99" y="106"/>
                    <a:pt x="98" y="104"/>
                    <a:pt x="96" y="102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94" y="107"/>
                    <a:pt x="94" y="108"/>
                    <a:pt x="94" y="109"/>
                  </a:cubicBezTo>
                  <a:cubicBezTo>
                    <a:pt x="94" y="112"/>
                    <a:pt x="92" y="114"/>
                    <a:pt x="89" y="114"/>
                  </a:cubicBezTo>
                  <a:cubicBezTo>
                    <a:pt x="86" y="114"/>
                    <a:pt x="84" y="112"/>
                    <a:pt x="84" y="109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3"/>
                    <a:pt x="114" y="81"/>
                    <a:pt x="114" y="80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4" y="54"/>
                    <a:pt x="113" y="53"/>
                    <a:pt x="111" y="5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4" name="Group 253">
            <a:extLst>
              <a:ext uri="{FF2B5EF4-FFF2-40B4-BE49-F238E27FC236}">
                <a16:creationId xmlns:a16="http://schemas.microsoft.com/office/drawing/2014/main" id="{5C6342FF-1A9F-4E8A-ABE7-A125D3D2A8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0933" y="5473641"/>
            <a:ext cx="841375" cy="839787"/>
            <a:chOff x="4394" y="3497"/>
            <a:chExt cx="530" cy="529"/>
          </a:xfrm>
        </p:grpSpPr>
        <p:sp>
          <p:nvSpPr>
            <p:cNvPr id="295" name="AutoShape 252">
              <a:extLst>
                <a:ext uri="{FF2B5EF4-FFF2-40B4-BE49-F238E27FC236}">
                  <a16:creationId xmlns:a16="http://schemas.microsoft.com/office/drawing/2014/main" id="{589BA69B-54FA-4E17-B06B-3FFBCDDB2C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4" y="3497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254">
              <a:extLst>
                <a:ext uri="{FF2B5EF4-FFF2-40B4-BE49-F238E27FC236}">
                  <a16:creationId xmlns:a16="http://schemas.microsoft.com/office/drawing/2014/main" id="{525E2F05-302B-4B85-904F-1CA381DAA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4" y="349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55">
              <a:extLst>
                <a:ext uri="{FF2B5EF4-FFF2-40B4-BE49-F238E27FC236}">
                  <a16:creationId xmlns:a16="http://schemas.microsoft.com/office/drawing/2014/main" id="{B5497CA0-6A46-40A3-AABE-C18D00E46B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2" y="3515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56">
              <a:extLst>
                <a:ext uri="{FF2B5EF4-FFF2-40B4-BE49-F238E27FC236}">
                  <a16:creationId xmlns:a16="http://schemas.microsoft.com/office/drawing/2014/main" id="{C58C9C4A-AF5C-4A8E-B020-49DE7BFA2F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4" y="3594"/>
              <a:ext cx="292" cy="337"/>
            </a:xfrm>
            <a:custGeom>
              <a:avLst/>
              <a:gdLst>
                <a:gd name="T0" fmla="*/ 78 w 114"/>
                <a:gd name="T1" fmla="*/ 42 h 132"/>
                <a:gd name="T2" fmla="*/ 36 w 114"/>
                <a:gd name="T3" fmla="*/ 37 h 132"/>
                <a:gd name="T4" fmla="*/ 88 w 114"/>
                <a:gd name="T5" fmla="*/ 72 h 132"/>
                <a:gd name="T6" fmla="*/ 88 w 114"/>
                <a:gd name="T7" fmla="*/ 63 h 132"/>
                <a:gd name="T8" fmla="*/ 88 w 114"/>
                <a:gd name="T9" fmla="*/ 72 h 132"/>
                <a:gd name="T10" fmla="*/ 6 w 114"/>
                <a:gd name="T11" fmla="*/ 77 h 132"/>
                <a:gd name="T12" fmla="*/ 108 w 114"/>
                <a:gd name="T13" fmla="*/ 58 h 132"/>
                <a:gd name="T14" fmla="*/ 24 w 114"/>
                <a:gd name="T15" fmla="*/ 5 h 132"/>
                <a:gd name="T16" fmla="*/ 69 w 114"/>
                <a:gd name="T17" fmla="*/ 24 h 132"/>
                <a:gd name="T18" fmla="*/ 90 w 114"/>
                <a:gd name="T19" fmla="*/ 26 h 132"/>
                <a:gd name="T20" fmla="*/ 24 w 114"/>
                <a:gd name="T21" fmla="*/ 53 h 132"/>
                <a:gd name="T22" fmla="*/ 75 w 114"/>
                <a:gd name="T23" fmla="*/ 9 h 132"/>
                <a:gd name="T24" fmla="*/ 87 w 114"/>
                <a:gd name="T25" fmla="*/ 21 h 132"/>
                <a:gd name="T26" fmla="*/ 75 w 114"/>
                <a:gd name="T27" fmla="*/ 9 h 132"/>
                <a:gd name="T28" fmla="*/ 96 w 114"/>
                <a:gd name="T29" fmla="*/ 53 h 132"/>
                <a:gd name="T30" fmla="*/ 96 w 114"/>
                <a:gd name="T31" fmla="*/ 24 h 132"/>
                <a:gd name="T32" fmla="*/ 95 w 114"/>
                <a:gd name="T33" fmla="*/ 23 h 132"/>
                <a:gd name="T34" fmla="*/ 74 w 114"/>
                <a:gd name="T35" fmla="*/ 0 h 132"/>
                <a:gd name="T36" fmla="*/ 73 w 114"/>
                <a:gd name="T37" fmla="*/ 0 h 132"/>
                <a:gd name="T38" fmla="*/ 72 w 114"/>
                <a:gd name="T39" fmla="*/ 0 h 132"/>
                <a:gd name="T40" fmla="*/ 18 w 114"/>
                <a:gd name="T41" fmla="*/ 2 h 132"/>
                <a:gd name="T42" fmla="*/ 3 w 114"/>
                <a:gd name="T43" fmla="*/ 53 h 132"/>
                <a:gd name="T44" fmla="*/ 0 w 114"/>
                <a:gd name="T45" fmla="*/ 80 h 132"/>
                <a:gd name="T46" fmla="*/ 28 w 114"/>
                <a:gd name="T47" fmla="*/ 83 h 132"/>
                <a:gd name="T48" fmla="*/ 23 w 114"/>
                <a:gd name="T49" fmla="*/ 114 h 132"/>
                <a:gd name="T50" fmla="*/ 20 w 114"/>
                <a:gd name="T51" fmla="*/ 106 h 132"/>
                <a:gd name="T52" fmla="*/ 13 w 114"/>
                <a:gd name="T53" fmla="*/ 109 h 132"/>
                <a:gd name="T54" fmla="*/ 33 w 114"/>
                <a:gd name="T55" fmla="*/ 109 h 132"/>
                <a:gd name="T56" fmla="*/ 41 w 114"/>
                <a:gd name="T57" fmla="*/ 83 h 132"/>
                <a:gd name="T58" fmla="*/ 46 w 114"/>
                <a:gd name="T59" fmla="*/ 109 h 132"/>
                <a:gd name="T60" fmla="*/ 53 w 114"/>
                <a:gd name="T61" fmla="*/ 83 h 132"/>
                <a:gd name="T62" fmla="*/ 48 w 114"/>
                <a:gd name="T63" fmla="*/ 127 h 132"/>
                <a:gd name="T64" fmla="*/ 38 w 114"/>
                <a:gd name="T65" fmla="*/ 122 h 132"/>
                <a:gd name="T66" fmla="*/ 59 w 114"/>
                <a:gd name="T67" fmla="*/ 122 h 132"/>
                <a:gd name="T68" fmla="*/ 66 w 114"/>
                <a:gd name="T69" fmla="*/ 83 h 132"/>
                <a:gd name="T70" fmla="*/ 71 w 114"/>
                <a:gd name="T71" fmla="*/ 121 h 132"/>
                <a:gd name="T72" fmla="*/ 79 w 114"/>
                <a:gd name="T73" fmla="*/ 83 h 132"/>
                <a:gd name="T74" fmla="*/ 89 w 114"/>
                <a:gd name="T75" fmla="*/ 120 h 132"/>
                <a:gd name="T76" fmla="*/ 96 w 114"/>
                <a:gd name="T77" fmla="*/ 102 h 132"/>
                <a:gd name="T78" fmla="*/ 94 w 114"/>
                <a:gd name="T79" fmla="*/ 109 h 132"/>
                <a:gd name="T80" fmla="*/ 84 w 114"/>
                <a:gd name="T81" fmla="*/ 109 h 132"/>
                <a:gd name="T82" fmla="*/ 111 w 114"/>
                <a:gd name="T83" fmla="*/ 83 h 132"/>
                <a:gd name="T84" fmla="*/ 114 w 114"/>
                <a:gd name="T85" fmla="*/ 5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4" h="132">
                  <a:moveTo>
                    <a:pt x="36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37"/>
                    <a:pt x="78" y="37"/>
                    <a:pt x="78" y="37"/>
                  </a:cubicBezTo>
                  <a:cubicBezTo>
                    <a:pt x="36" y="37"/>
                    <a:pt x="36" y="37"/>
                    <a:pt x="36" y="37"/>
                  </a:cubicBezTo>
                  <a:lnTo>
                    <a:pt x="36" y="42"/>
                  </a:lnTo>
                  <a:close/>
                  <a:moveTo>
                    <a:pt x="88" y="72"/>
                  </a:moveTo>
                  <a:cubicBezTo>
                    <a:pt x="91" y="72"/>
                    <a:pt x="93" y="70"/>
                    <a:pt x="93" y="68"/>
                  </a:cubicBezTo>
                  <a:cubicBezTo>
                    <a:pt x="93" y="65"/>
                    <a:pt x="91" y="63"/>
                    <a:pt x="88" y="63"/>
                  </a:cubicBezTo>
                  <a:cubicBezTo>
                    <a:pt x="86" y="63"/>
                    <a:pt x="84" y="65"/>
                    <a:pt x="84" y="68"/>
                  </a:cubicBezTo>
                  <a:cubicBezTo>
                    <a:pt x="84" y="70"/>
                    <a:pt x="86" y="72"/>
                    <a:pt x="88" y="72"/>
                  </a:cubicBezTo>
                  <a:moveTo>
                    <a:pt x="108" y="77"/>
                  </a:moveTo>
                  <a:cubicBezTo>
                    <a:pt x="6" y="77"/>
                    <a:pt x="6" y="77"/>
                    <a:pt x="6" y="7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108" y="58"/>
                    <a:pt x="108" y="58"/>
                    <a:pt x="108" y="58"/>
                  </a:cubicBezTo>
                  <a:lnTo>
                    <a:pt x="108" y="77"/>
                  </a:lnTo>
                  <a:close/>
                  <a:moveTo>
                    <a:pt x="24" y="5"/>
                  </a:moveTo>
                  <a:cubicBezTo>
                    <a:pt x="69" y="5"/>
                    <a:pt x="69" y="5"/>
                    <a:pt x="69" y="5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5"/>
                    <a:pt x="71" y="26"/>
                    <a:pt x="72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24" y="53"/>
                    <a:pt x="24" y="53"/>
                    <a:pt x="24" y="53"/>
                  </a:cubicBezTo>
                  <a:lnTo>
                    <a:pt x="24" y="5"/>
                  </a:lnTo>
                  <a:close/>
                  <a:moveTo>
                    <a:pt x="75" y="9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75" y="21"/>
                    <a:pt x="75" y="21"/>
                    <a:pt x="75" y="21"/>
                  </a:cubicBezTo>
                  <a:lnTo>
                    <a:pt x="75" y="9"/>
                  </a:lnTo>
                  <a:close/>
                  <a:moveTo>
                    <a:pt x="111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5" y="23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1" y="53"/>
                    <a:pt x="0" y="54"/>
                    <a:pt x="0" y="5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1"/>
                    <a:pt x="1" y="83"/>
                    <a:pt x="3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2"/>
                    <a:pt x="26" y="114"/>
                    <a:pt x="23" y="114"/>
                  </a:cubicBezTo>
                  <a:cubicBezTo>
                    <a:pt x="20" y="114"/>
                    <a:pt x="18" y="112"/>
                    <a:pt x="18" y="109"/>
                  </a:cubicBezTo>
                  <a:cubicBezTo>
                    <a:pt x="18" y="108"/>
                    <a:pt x="19" y="107"/>
                    <a:pt x="20" y="106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4" y="104"/>
                    <a:pt x="13" y="106"/>
                    <a:pt x="13" y="109"/>
                  </a:cubicBezTo>
                  <a:cubicBezTo>
                    <a:pt x="13" y="115"/>
                    <a:pt x="17" y="120"/>
                    <a:pt x="23" y="120"/>
                  </a:cubicBezTo>
                  <a:cubicBezTo>
                    <a:pt x="29" y="120"/>
                    <a:pt x="33" y="115"/>
                    <a:pt x="33" y="10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125"/>
                    <a:pt x="51" y="127"/>
                    <a:pt x="48" y="127"/>
                  </a:cubicBezTo>
                  <a:cubicBezTo>
                    <a:pt x="46" y="127"/>
                    <a:pt x="44" y="125"/>
                    <a:pt x="44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8"/>
                    <a:pt x="43" y="132"/>
                    <a:pt x="48" y="132"/>
                  </a:cubicBezTo>
                  <a:cubicBezTo>
                    <a:pt x="54" y="132"/>
                    <a:pt x="59" y="128"/>
                    <a:pt x="59" y="12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71" y="121"/>
                    <a:pt x="71" y="121"/>
                    <a:pt x="71" y="121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9" y="115"/>
                    <a:pt x="83" y="120"/>
                    <a:pt x="89" y="120"/>
                  </a:cubicBezTo>
                  <a:cubicBezTo>
                    <a:pt x="95" y="120"/>
                    <a:pt x="99" y="115"/>
                    <a:pt x="99" y="109"/>
                  </a:cubicBezTo>
                  <a:cubicBezTo>
                    <a:pt x="99" y="106"/>
                    <a:pt x="98" y="104"/>
                    <a:pt x="96" y="102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94" y="107"/>
                    <a:pt x="94" y="108"/>
                    <a:pt x="94" y="109"/>
                  </a:cubicBezTo>
                  <a:cubicBezTo>
                    <a:pt x="94" y="112"/>
                    <a:pt x="92" y="114"/>
                    <a:pt x="89" y="114"/>
                  </a:cubicBezTo>
                  <a:cubicBezTo>
                    <a:pt x="86" y="114"/>
                    <a:pt x="84" y="112"/>
                    <a:pt x="84" y="109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3" y="83"/>
                    <a:pt x="114" y="81"/>
                    <a:pt x="114" y="80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4" y="54"/>
                    <a:pt x="113" y="53"/>
                    <a:pt x="111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9870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1" name="Table 230">
            <a:extLst>
              <a:ext uri="{FF2B5EF4-FFF2-40B4-BE49-F238E27FC236}">
                <a16:creationId xmlns:a16="http://schemas.microsoft.com/office/drawing/2014/main" id="{43F13AF4-7B3C-406F-8E3E-1AE2EA74D0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83851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mpass – 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mpass – 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nnecte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nstruction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sult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tact U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tinuou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tract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rporate HQ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untri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itical Environ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ata Cent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ayligh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rectory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cto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cument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g Pa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wn Arro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wnload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0180" name="Group 4"/>
          <p:cNvGrpSpPr>
            <a:grpSpLocks noChangeAspect="1"/>
          </p:cNvGrpSpPr>
          <p:nvPr/>
        </p:nvGrpSpPr>
        <p:grpSpPr bwMode="auto">
          <a:xfrm>
            <a:off x="357188" y="231775"/>
            <a:ext cx="839787" cy="839788"/>
            <a:chOff x="225" y="146"/>
            <a:chExt cx="529" cy="529"/>
          </a:xfrm>
        </p:grpSpPr>
        <p:sp>
          <p:nvSpPr>
            <p:cNvPr id="50181" name="Oval 5"/>
            <p:cNvSpPr>
              <a:spLocks noChangeArrowheads="1"/>
            </p:cNvSpPr>
            <p:nvPr/>
          </p:nvSpPr>
          <p:spPr bwMode="auto">
            <a:xfrm>
              <a:off x="225" y="146"/>
              <a:ext cx="529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182" name="Freeform 6"/>
            <p:cNvSpPr>
              <a:spLocks noEditPoints="1"/>
            </p:cNvSpPr>
            <p:nvPr/>
          </p:nvSpPr>
          <p:spPr bwMode="auto">
            <a:xfrm>
              <a:off x="242" y="163"/>
              <a:ext cx="495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83" name="Freeform 7"/>
            <p:cNvSpPr>
              <a:spLocks noEditPoints="1"/>
            </p:cNvSpPr>
            <p:nvPr/>
          </p:nvSpPr>
          <p:spPr bwMode="auto">
            <a:xfrm>
              <a:off x="325" y="246"/>
              <a:ext cx="328" cy="32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9"/>
                </a:cxn>
                <a:cxn ang="0">
                  <a:pos x="69" y="137"/>
                </a:cxn>
                <a:cxn ang="0">
                  <a:pos x="137" y="69"/>
                </a:cxn>
                <a:cxn ang="0">
                  <a:pos x="69" y="0"/>
                </a:cxn>
                <a:cxn ang="0">
                  <a:pos x="70" y="134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4"/>
                </a:cxn>
                <a:cxn ang="0">
                  <a:pos x="4" y="72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4" y="68"/>
                </a:cxn>
                <a:cxn ang="0">
                  <a:pos x="69" y="4"/>
                </a:cxn>
                <a:cxn ang="0">
                  <a:pos x="133" y="67"/>
                </a:cxn>
                <a:cxn ang="0">
                  <a:pos x="120" y="67"/>
                </a:cxn>
                <a:cxn ang="0">
                  <a:pos x="120" y="70"/>
                </a:cxn>
                <a:cxn ang="0">
                  <a:pos x="133" y="70"/>
                </a:cxn>
                <a:cxn ang="0">
                  <a:pos x="70" y="134"/>
                </a:cxn>
              </a:cxnLst>
              <a:rect l="0" t="0" r="r" b="b"/>
              <a:pathLst>
                <a:path w="137" h="137"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106"/>
                    <a:pt x="31" y="137"/>
                    <a:pt x="69" y="137"/>
                  </a:cubicBezTo>
                  <a:cubicBezTo>
                    <a:pt x="106" y="137"/>
                    <a:pt x="137" y="106"/>
                    <a:pt x="137" y="69"/>
                  </a:cubicBezTo>
                  <a:cubicBezTo>
                    <a:pt x="137" y="31"/>
                    <a:pt x="106" y="0"/>
                    <a:pt x="69" y="0"/>
                  </a:cubicBezTo>
                  <a:close/>
                  <a:moveTo>
                    <a:pt x="70" y="134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33" y="133"/>
                    <a:pt x="5" y="105"/>
                    <a:pt x="4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33"/>
                    <a:pt x="33" y="4"/>
                    <a:pt x="69" y="4"/>
                  </a:cubicBezTo>
                  <a:cubicBezTo>
                    <a:pt x="104" y="4"/>
                    <a:pt x="132" y="32"/>
                    <a:pt x="133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33" y="70"/>
                    <a:pt x="133" y="70"/>
                    <a:pt x="133" y="70"/>
                  </a:cubicBezTo>
                  <a:cubicBezTo>
                    <a:pt x="133" y="105"/>
                    <a:pt x="105" y="133"/>
                    <a:pt x="70" y="13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84" name="Freeform 8"/>
            <p:cNvSpPr>
              <a:spLocks/>
            </p:cNvSpPr>
            <p:nvPr/>
          </p:nvSpPr>
          <p:spPr bwMode="auto">
            <a:xfrm>
              <a:off x="438" y="349"/>
              <a:ext cx="95" cy="122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9" y="33"/>
                </a:cxn>
                <a:cxn ang="0">
                  <a:pos x="13" y="40"/>
                </a:cxn>
                <a:cxn ang="0">
                  <a:pos x="20" y="42"/>
                </a:cxn>
                <a:cxn ang="0">
                  <a:pos x="27" y="40"/>
                </a:cxn>
                <a:cxn ang="0">
                  <a:pos x="30" y="36"/>
                </a:cxn>
                <a:cxn ang="0">
                  <a:pos x="29" y="33"/>
                </a:cxn>
                <a:cxn ang="0">
                  <a:pos x="25" y="30"/>
                </a:cxn>
                <a:cxn ang="0">
                  <a:pos x="17" y="28"/>
                </a:cxn>
                <a:cxn ang="0">
                  <a:pos x="6" y="23"/>
                </a:cxn>
                <a:cxn ang="0">
                  <a:pos x="1" y="13"/>
                </a:cxn>
                <a:cxn ang="0">
                  <a:pos x="3" y="6"/>
                </a:cxn>
                <a:cxn ang="0">
                  <a:pos x="10" y="1"/>
                </a:cxn>
                <a:cxn ang="0">
                  <a:pos x="19" y="0"/>
                </a:cxn>
                <a:cxn ang="0">
                  <a:pos x="33" y="4"/>
                </a:cxn>
                <a:cxn ang="0">
                  <a:pos x="38" y="15"/>
                </a:cxn>
                <a:cxn ang="0">
                  <a:pos x="28" y="15"/>
                </a:cxn>
                <a:cxn ang="0">
                  <a:pos x="25" y="10"/>
                </a:cxn>
                <a:cxn ang="0">
                  <a:pos x="19" y="8"/>
                </a:cxn>
                <a:cxn ang="0">
                  <a:pos x="12" y="10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21" y="19"/>
                </a:cxn>
                <a:cxn ang="0">
                  <a:pos x="32" y="23"/>
                </a:cxn>
                <a:cxn ang="0">
                  <a:pos x="38" y="28"/>
                </a:cxn>
                <a:cxn ang="0">
                  <a:pos x="40" y="35"/>
                </a:cxn>
                <a:cxn ang="0">
                  <a:pos x="37" y="43"/>
                </a:cxn>
                <a:cxn ang="0">
                  <a:pos x="31" y="49"/>
                </a:cxn>
                <a:cxn ang="0">
                  <a:pos x="20" y="51"/>
                </a:cxn>
                <a:cxn ang="0">
                  <a:pos x="5" y="46"/>
                </a:cxn>
                <a:cxn ang="0">
                  <a:pos x="0" y="34"/>
                </a:cxn>
              </a:cxnLst>
              <a:rect l="0" t="0" r="r" b="b"/>
              <a:pathLst>
                <a:path w="40" h="51">
                  <a:moveTo>
                    <a:pt x="0" y="34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10" y="36"/>
                    <a:pt x="11" y="38"/>
                    <a:pt x="13" y="40"/>
                  </a:cubicBezTo>
                  <a:cubicBezTo>
                    <a:pt x="14" y="42"/>
                    <a:pt x="17" y="42"/>
                    <a:pt x="20" y="42"/>
                  </a:cubicBezTo>
                  <a:cubicBezTo>
                    <a:pt x="23" y="42"/>
                    <a:pt x="26" y="42"/>
                    <a:pt x="27" y="40"/>
                  </a:cubicBezTo>
                  <a:cubicBezTo>
                    <a:pt x="29" y="39"/>
                    <a:pt x="30" y="37"/>
                    <a:pt x="30" y="36"/>
                  </a:cubicBezTo>
                  <a:cubicBezTo>
                    <a:pt x="30" y="34"/>
                    <a:pt x="29" y="33"/>
                    <a:pt x="29" y="33"/>
                  </a:cubicBezTo>
                  <a:cubicBezTo>
                    <a:pt x="28" y="32"/>
                    <a:pt x="27" y="31"/>
                    <a:pt x="25" y="30"/>
                  </a:cubicBezTo>
                  <a:cubicBezTo>
                    <a:pt x="24" y="30"/>
                    <a:pt x="21" y="29"/>
                    <a:pt x="17" y="28"/>
                  </a:cubicBezTo>
                  <a:cubicBezTo>
                    <a:pt x="12" y="27"/>
                    <a:pt x="8" y="25"/>
                    <a:pt x="6" y="23"/>
                  </a:cubicBezTo>
                  <a:cubicBezTo>
                    <a:pt x="3" y="21"/>
                    <a:pt x="1" y="17"/>
                    <a:pt x="1" y="13"/>
                  </a:cubicBezTo>
                  <a:cubicBezTo>
                    <a:pt x="1" y="11"/>
                    <a:pt x="2" y="9"/>
                    <a:pt x="3" y="6"/>
                  </a:cubicBezTo>
                  <a:cubicBezTo>
                    <a:pt x="5" y="4"/>
                    <a:pt x="7" y="3"/>
                    <a:pt x="10" y="1"/>
                  </a:cubicBezTo>
                  <a:cubicBezTo>
                    <a:pt x="12" y="0"/>
                    <a:pt x="15" y="0"/>
                    <a:pt x="19" y="0"/>
                  </a:cubicBezTo>
                  <a:cubicBezTo>
                    <a:pt x="25" y="0"/>
                    <a:pt x="30" y="1"/>
                    <a:pt x="33" y="4"/>
                  </a:cubicBezTo>
                  <a:cubicBezTo>
                    <a:pt x="36" y="7"/>
                    <a:pt x="38" y="10"/>
                    <a:pt x="3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3"/>
                    <a:pt x="27" y="11"/>
                    <a:pt x="25" y="10"/>
                  </a:cubicBezTo>
                  <a:cubicBezTo>
                    <a:pt x="24" y="9"/>
                    <a:pt x="22" y="8"/>
                    <a:pt x="19" y="8"/>
                  </a:cubicBezTo>
                  <a:cubicBezTo>
                    <a:pt x="16" y="8"/>
                    <a:pt x="14" y="9"/>
                    <a:pt x="12" y="10"/>
                  </a:cubicBezTo>
                  <a:cubicBezTo>
                    <a:pt x="11" y="11"/>
                    <a:pt x="11" y="12"/>
                    <a:pt x="11" y="13"/>
                  </a:cubicBezTo>
                  <a:cubicBezTo>
                    <a:pt x="11" y="14"/>
                    <a:pt x="11" y="15"/>
                    <a:pt x="12" y="16"/>
                  </a:cubicBezTo>
                  <a:cubicBezTo>
                    <a:pt x="14" y="17"/>
                    <a:pt x="17" y="18"/>
                    <a:pt x="21" y="19"/>
                  </a:cubicBezTo>
                  <a:cubicBezTo>
                    <a:pt x="26" y="20"/>
                    <a:pt x="30" y="21"/>
                    <a:pt x="32" y="23"/>
                  </a:cubicBezTo>
                  <a:cubicBezTo>
                    <a:pt x="34" y="24"/>
                    <a:pt x="36" y="26"/>
                    <a:pt x="38" y="28"/>
                  </a:cubicBezTo>
                  <a:cubicBezTo>
                    <a:pt x="39" y="30"/>
                    <a:pt x="40" y="32"/>
                    <a:pt x="40" y="35"/>
                  </a:cubicBezTo>
                  <a:cubicBezTo>
                    <a:pt x="40" y="38"/>
                    <a:pt x="39" y="41"/>
                    <a:pt x="37" y="43"/>
                  </a:cubicBezTo>
                  <a:cubicBezTo>
                    <a:pt x="36" y="46"/>
                    <a:pt x="33" y="48"/>
                    <a:pt x="31" y="49"/>
                  </a:cubicBezTo>
                  <a:cubicBezTo>
                    <a:pt x="28" y="50"/>
                    <a:pt x="24" y="51"/>
                    <a:pt x="20" y="51"/>
                  </a:cubicBezTo>
                  <a:cubicBezTo>
                    <a:pt x="14" y="51"/>
                    <a:pt x="9" y="49"/>
                    <a:pt x="5" y="46"/>
                  </a:cubicBezTo>
                  <a:cubicBezTo>
                    <a:pt x="2" y="43"/>
                    <a:pt x="0" y="39"/>
                    <a:pt x="0" y="3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85" name="Freeform 9"/>
            <p:cNvSpPr>
              <a:spLocks/>
            </p:cNvSpPr>
            <p:nvPr/>
          </p:nvSpPr>
          <p:spPr bwMode="auto">
            <a:xfrm>
              <a:off x="462" y="198"/>
              <a:ext cx="50" cy="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24" y="0"/>
                </a:cxn>
                <a:cxn ang="0">
                  <a:pos x="50" y="113"/>
                </a:cxn>
                <a:cxn ang="0">
                  <a:pos x="0" y="113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24" y="0"/>
                  </a:lnTo>
                  <a:lnTo>
                    <a:pt x="50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188" name="Group 12"/>
          <p:cNvGrpSpPr>
            <a:grpSpLocks noChangeAspect="1"/>
          </p:cNvGrpSpPr>
          <p:nvPr/>
        </p:nvGrpSpPr>
        <p:grpSpPr bwMode="auto">
          <a:xfrm>
            <a:off x="1474789" y="260350"/>
            <a:ext cx="787401" cy="784224"/>
            <a:chOff x="938" y="164"/>
            <a:chExt cx="496" cy="494"/>
          </a:xfrm>
        </p:grpSpPr>
        <p:sp>
          <p:nvSpPr>
            <p:cNvPr id="50189" name="Freeform 13"/>
            <p:cNvSpPr>
              <a:spLocks noEditPoints="1"/>
            </p:cNvSpPr>
            <p:nvPr/>
          </p:nvSpPr>
          <p:spPr bwMode="auto">
            <a:xfrm>
              <a:off x="938" y="164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90" name="Freeform 14"/>
            <p:cNvSpPr>
              <a:spLocks noEditPoints="1"/>
            </p:cNvSpPr>
            <p:nvPr/>
          </p:nvSpPr>
          <p:spPr bwMode="auto">
            <a:xfrm>
              <a:off x="1022" y="248"/>
              <a:ext cx="329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91" name="Freeform 15"/>
            <p:cNvSpPr>
              <a:spLocks/>
            </p:cNvSpPr>
            <p:nvPr/>
          </p:nvSpPr>
          <p:spPr bwMode="auto">
            <a:xfrm>
              <a:off x="1135" y="349"/>
              <a:ext cx="96" cy="122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9" y="33"/>
                </a:cxn>
                <a:cxn ang="0">
                  <a:pos x="13" y="40"/>
                </a:cxn>
                <a:cxn ang="0">
                  <a:pos x="20" y="43"/>
                </a:cxn>
                <a:cxn ang="0">
                  <a:pos x="27" y="41"/>
                </a:cxn>
                <a:cxn ang="0">
                  <a:pos x="30" y="36"/>
                </a:cxn>
                <a:cxn ang="0">
                  <a:pos x="29" y="33"/>
                </a:cxn>
                <a:cxn ang="0">
                  <a:pos x="25" y="31"/>
                </a:cxn>
                <a:cxn ang="0">
                  <a:pos x="17" y="29"/>
                </a:cxn>
                <a:cxn ang="0">
                  <a:pos x="6" y="24"/>
                </a:cxn>
                <a:cxn ang="0">
                  <a:pos x="1" y="14"/>
                </a:cxn>
                <a:cxn ang="0">
                  <a:pos x="3" y="7"/>
                </a:cxn>
                <a:cxn ang="0">
                  <a:pos x="10" y="2"/>
                </a:cxn>
                <a:cxn ang="0">
                  <a:pos x="19" y="0"/>
                </a:cxn>
                <a:cxn ang="0">
                  <a:pos x="33" y="4"/>
                </a:cxn>
                <a:cxn ang="0">
                  <a:pos x="38" y="15"/>
                </a:cxn>
                <a:cxn ang="0">
                  <a:pos x="28" y="15"/>
                </a:cxn>
                <a:cxn ang="0">
                  <a:pos x="25" y="10"/>
                </a:cxn>
                <a:cxn ang="0">
                  <a:pos x="19" y="8"/>
                </a:cxn>
                <a:cxn ang="0">
                  <a:pos x="12" y="10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21" y="19"/>
                </a:cxn>
                <a:cxn ang="0">
                  <a:pos x="32" y="23"/>
                </a:cxn>
                <a:cxn ang="0">
                  <a:pos x="38" y="28"/>
                </a:cxn>
                <a:cxn ang="0">
                  <a:pos x="40" y="36"/>
                </a:cxn>
                <a:cxn ang="0">
                  <a:pos x="37" y="44"/>
                </a:cxn>
                <a:cxn ang="0">
                  <a:pos x="31" y="49"/>
                </a:cxn>
                <a:cxn ang="0">
                  <a:pos x="20" y="51"/>
                </a:cxn>
                <a:cxn ang="0">
                  <a:pos x="5" y="47"/>
                </a:cxn>
                <a:cxn ang="0">
                  <a:pos x="0" y="34"/>
                </a:cxn>
              </a:cxnLst>
              <a:rect l="0" t="0" r="r" b="b"/>
              <a:pathLst>
                <a:path w="40" h="51">
                  <a:moveTo>
                    <a:pt x="0" y="34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10" y="36"/>
                    <a:pt x="11" y="39"/>
                    <a:pt x="13" y="40"/>
                  </a:cubicBezTo>
                  <a:cubicBezTo>
                    <a:pt x="14" y="42"/>
                    <a:pt x="17" y="43"/>
                    <a:pt x="20" y="43"/>
                  </a:cubicBezTo>
                  <a:cubicBezTo>
                    <a:pt x="23" y="43"/>
                    <a:pt x="26" y="42"/>
                    <a:pt x="27" y="41"/>
                  </a:cubicBezTo>
                  <a:cubicBezTo>
                    <a:pt x="29" y="39"/>
                    <a:pt x="30" y="38"/>
                    <a:pt x="30" y="36"/>
                  </a:cubicBezTo>
                  <a:cubicBezTo>
                    <a:pt x="30" y="35"/>
                    <a:pt x="29" y="34"/>
                    <a:pt x="29" y="33"/>
                  </a:cubicBezTo>
                  <a:cubicBezTo>
                    <a:pt x="28" y="32"/>
                    <a:pt x="27" y="31"/>
                    <a:pt x="25" y="31"/>
                  </a:cubicBezTo>
                  <a:cubicBezTo>
                    <a:pt x="24" y="30"/>
                    <a:pt x="21" y="30"/>
                    <a:pt x="17" y="29"/>
                  </a:cubicBezTo>
                  <a:cubicBezTo>
                    <a:pt x="12" y="27"/>
                    <a:pt x="8" y="26"/>
                    <a:pt x="6" y="24"/>
                  </a:cubicBezTo>
                  <a:cubicBezTo>
                    <a:pt x="3" y="21"/>
                    <a:pt x="1" y="18"/>
                    <a:pt x="1" y="14"/>
                  </a:cubicBezTo>
                  <a:cubicBezTo>
                    <a:pt x="1" y="11"/>
                    <a:pt x="2" y="9"/>
                    <a:pt x="3" y="7"/>
                  </a:cubicBezTo>
                  <a:cubicBezTo>
                    <a:pt x="5" y="5"/>
                    <a:pt x="7" y="3"/>
                    <a:pt x="10" y="2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5" y="0"/>
                    <a:pt x="30" y="1"/>
                    <a:pt x="33" y="4"/>
                  </a:cubicBezTo>
                  <a:cubicBezTo>
                    <a:pt x="36" y="7"/>
                    <a:pt x="38" y="10"/>
                    <a:pt x="3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3"/>
                    <a:pt x="27" y="11"/>
                    <a:pt x="25" y="10"/>
                  </a:cubicBezTo>
                  <a:cubicBezTo>
                    <a:pt x="24" y="9"/>
                    <a:pt x="22" y="8"/>
                    <a:pt x="19" y="8"/>
                  </a:cubicBezTo>
                  <a:cubicBezTo>
                    <a:pt x="16" y="8"/>
                    <a:pt x="14" y="9"/>
                    <a:pt x="12" y="10"/>
                  </a:cubicBezTo>
                  <a:cubicBezTo>
                    <a:pt x="11" y="11"/>
                    <a:pt x="11" y="12"/>
                    <a:pt x="11" y="13"/>
                  </a:cubicBezTo>
                  <a:cubicBezTo>
                    <a:pt x="11" y="14"/>
                    <a:pt x="11" y="15"/>
                    <a:pt x="12" y="16"/>
                  </a:cubicBezTo>
                  <a:cubicBezTo>
                    <a:pt x="14" y="17"/>
                    <a:pt x="17" y="18"/>
                    <a:pt x="21" y="19"/>
                  </a:cubicBezTo>
                  <a:cubicBezTo>
                    <a:pt x="26" y="20"/>
                    <a:pt x="30" y="22"/>
                    <a:pt x="32" y="23"/>
                  </a:cubicBezTo>
                  <a:cubicBezTo>
                    <a:pt x="34" y="24"/>
                    <a:pt x="36" y="26"/>
                    <a:pt x="38" y="28"/>
                  </a:cubicBezTo>
                  <a:cubicBezTo>
                    <a:pt x="39" y="30"/>
                    <a:pt x="40" y="33"/>
                    <a:pt x="40" y="36"/>
                  </a:cubicBezTo>
                  <a:cubicBezTo>
                    <a:pt x="40" y="39"/>
                    <a:pt x="39" y="41"/>
                    <a:pt x="37" y="44"/>
                  </a:cubicBezTo>
                  <a:cubicBezTo>
                    <a:pt x="36" y="46"/>
                    <a:pt x="33" y="48"/>
                    <a:pt x="31" y="49"/>
                  </a:cubicBezTo>
                  <a:cubicBezTo>
                    <a:pt x="28" y="50"/>
                    <a:pt x="24" y="51"/>
                    <a:pt x="20" y="51"/>
                  </a:cubicBezTo>
                  <a:cubicBezTo>
                    <a:pt x="14" y="51"/>
                    <a:pt x="9" y="49"/>
                    <a:pt x="5" y="47"/>
                  </a:cubicBezTo>
                  <a:cubicBezTo>
                    <a:pt x="2" y="44"/>
                    <a:pt x="0" y="40"/>
                    <a:pt x="0" y="3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192" name="Freeform 16"/>
            <p:cNvSpPr>
              <a:spLocks/>
            </p:cNvSpPr>
            <p:nvPr/>
          </p:nvSpPr>
          <p:spPr bwMode="auto">
            <a:xfrm>
              <a:off x="1159" y="198"/>
              <a:ext cx="50" cy="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24" y="0"/>
                </a:cxn>
                <a:cxn ang="0">
                  <a:pos x="50" y="113"/>
                </a:cxn>
                <a:cxn ang="0">
                  <a:pos x="0" y="113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24" y="0"/>
                  </a:lnTo>
                  <a:lnTo>
                    <a:pt x="50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195" name="Group 19"/>
          <p:cNvGrpSpPr>
            <a:grpSpLocks noChangeAspect="1"/>
          </p:cNvGrpSpPr>
          <p:nvPr/>
        </p:nvGrpSpPr>
        <p:grpSpPr bwMode="auto">
          <a:xfrm>
            <a:off x="2540796" y="234949"/>
            <a:ext cx="839789" cy="836613"/>
            <a:chOff x="1612" y="148"/>
            <a:chExt cx="529" cy="527"/>
          </a:xfrm>
        </p:grpSpPr>
        <p:sp>
          <p:nvSpPr>
            <p:cNvPr id="50196" name="Oval 20"/>
            <p:cNvSpPr>
              <a:spLocks noChangeArrowheads="1"/>
            </p:cNvSpPr>
            <p:nvPr/>
          </p:nvSpPr>
          <p:spPr bwMode="auto">
            <a:xfrm>
              <a:off x="1612" y="148"/>
              <a:ext cx="529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97" name="Freeform 21"/>
            <p:cNvSpPr>
              <a:spLocks noEditPoints="1"/>
            </p:cNvSpPr>
            <p:nvPr/>
          </p:nvSpPr>
          <p:spPr bwMode="auto">
            <a:xfrm>
              <a:off x="1629" y="165"/>
              <a:ext cx="495" cy="49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98" name="Freeform 22"/>
            <p:cNvSpPr>
              <a:spLocks noEditPoints="1"/>
            </p:cNvSpPr>
            <p:nvPr/>
          </p:nvSpPr>
          <p:spPr bwMode="auto">
            <a:xfrm>
              <a:off x="1712" y="249"/>
              <a:ext cx="328" cy="32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7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70"/>
                </a:cxn>
                <a:cxn ang="0">
                  <a:pos x="133" y="70"/>
                </a:cxn>
                <a:cxn ang="0">
                  <a:pos x="70" y="133"/>
                </a:cxn>
              </a:cxnLst>
              <a:rect l="0" t="0" r="r" b="b"/>
              <a:pathLst>
                <a:path w="137" h="137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7"/>
                    <a:pt x="69" y="137"/>
                  </a:cubicBezTo>
                  <a:cubicBezTo>
                    <a:pt x="106" y="137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33" y="70"/>
                    <a:pt x="133" y="70"/>
                    <a:pt x="133" y="70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99" name="Freeform 23"/>
            <p:cNvSpPr>
              <a:spLocks/>
            </p:cNvSpPr>
            <p:nvPr/>
          </p:nvSpPr>
          <p:spPr bwMode="auto">
            <a:xfrm>
              <a:off x="1794" y="352"/>
              <a:ext cx="155" cy="117"/>
            </a:xfrm>
            <a:custGeom>
              <a:avLst/>
              <a:gdLst/>
              <a:ahLst/>
              <a:cxnLst>
                <a:cxn ang="0">
                  <a:pos x="28" y="117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43" y="81"/>
                </a:cxn>
                <a:cxn ang="0">
                  <a:pos x="64" y="0"/>
                </a:cxn>
                <a:cxn ang="0">
                  <a:pos x="93" y="0"/>
                </a:cxn>
                <a:cxn ang="0">
                  <a:pos x="112" y="81"/>
                </a:cxn>
                <a:cxn ang="0">
                  <a:pos x="131" y="0"/>
                </a:cxn>
                <a:cxn ang="0">
                  <a:pos x="155" y="0"/>
                </a:cxn>
                <a:cxn ang="0">
                  <a:pos x="126" y="117"/>
                </a:cxn>
                <a:cxn ang="0">
                  <a:pos x="100" y="117"/>
                </a:cxn>
                <a:cxn ang="0">
                  <a:pos x="76" y="28"/>
                </a:cxn>
                <a:cxn ang="0">
                  <a:pos x="55" y="117"/>
                </a:cxn>
                <a:cxn ang="0">
                  <a:pos x="28" y="117"/>
                </a:cxn>
              </a:cxnLst>
              <a:rect l="0" t="0" r="r" b="b"/>
              <a:pathLst>
                <a:path w="155" h="117">
                  <a:moveTo>
                    <a:pt x="28" y="117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3" y="81"/>
                  </a:lnTo>
                  <a:lnTo>
                    <a:pt x="64" y="0"/>
                  </a:lnTo>
                  <a:lnTo>
                    <a:pt x="93" y="0"/>
                  </a:lnTo>
                  <a:lnTo>
                    <a:pt x="112" y="81"/>
                  </a:lnTo>
                  <a:lnTo>
                    <a:pt x="131" y="0"/>
                  </a:lnTo>
                  <a:lnTo>
                    <a:pt x="155" y="0"/>
                  </a:lnTo>
                  <a:lnTo>
                    <a:pt x="126" y="117"/>
                  </a:lnTo>
                  <a:lnTo>
                    <a:pt x="100" y="117"/>
                  </a:lnTo>
                  <a:lnTo>
                    <a:pt x="76" y="28"/>
                  </a:lnTo>
                  <a:lnTo>
                    <a:pt x="55" y="117"/>
                  </a:lnTo>
                  <a:lnTo>
                    <a:pt x="28" y="1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00" name="Freeform 24"/>
            <p:cNvSpPr>
              <a:spLocks/>
            </p:cNvSpPr>
            <p:nvPr/>
          </p:nvSpPr>
          <p:spPr bwMode="auto">
            <a:xfrm>
              <a:off x="1849" y="199"/>
              <a:ext cx="50" cy="112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24" y="0"/>
                </a:cxn>
                <a:cxn ang="0">
                  <a:pos x="50" y="112"/>
                </a:cxn>
                <a:cxn ang="0">
                  <a:pos x="0" y="112"/>
                </a:cxn>
              </a:cxnLst>
              <a:rect l="0" t="0" r="r" b="b"/>
              <a:pathLst>
                <a:path w="50" h="112">
                  <a:moveTo>
                    <a:pt x="0" y="112"/>
                  </a:moveTo>
                  <a:lnTo>
                    <a:pt x="24" y="0"/>
                  </a:lnTo>
                  <a:lnTo>
                    <a:pt x="50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03" name="Group 27"/>
          <p:cNvGrpSpPr>
            <a:grpSpLocks noChangeAspect="1"/>
          </p:cNvGrpSpPr>
          <p:nvPr/>
        </p:nvGrpSpPr>
        <p:grpSpPr bwMode="auto">
          <a:xfrm>
            <a:off x="3671897" y="260349"/>
            <a:ext cx="787402" cy="784222"/>
            <a:chOff x="2325" y="164"/>
            <a:chExt cx="496" cy="494"/>
          </a:xfrm>
        </p:grpSpPr>
        <p:sp>
          <p:nvSpPr>
            <p:cNvPr id="50204" name="Freeform 28"/>
            <p:cNvSpPr>
              <a:spLocks noEditPoints="1"/>
            </p:cNvSpPr>
            <p:nvPr/>
          </p:nvSpPr>
          <p:spPr bwMode="auto">
            <a:xfrm>
              <a:off x="2325" y="164"/>
              <a:ext cx="496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05" name="Freeform 29"/>
            <p:cNvSpPr>
              <a:spLocks noEditPoints="1"/>
            </p:cNvSpPr>
            <p:nvPr/>
          </p:nvSpPr>
          <p:spPr bwMode="auto">
            <a:xfrm>
              <a:off x="2409" y="248"/>
              <a:ext cx="329" cy="326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0" y="68"/>
                </a:cxn>
                <a:cxn ang="0">
                  <a:pos x="69" y="136"/>
                </a:cxn>
                <a:cxn ang="0">
                  <a:pos x="137" y="68"/>
                </a:cxn>
                <a:cxn ang="0">
                  <a:pos x="69" y="0"/>
                </a:cxn>
                <a:cxn ang="0">
                  <a:pos x="70" y="133"/>
                </a:cxn>
                <a:cxn ang="0">
                  <a:pos x="70" y="121"/>
                </a:cxn>
                <a:cxn ang="0">
                  <a:pos x="67" y="121"/>
                </a:cxn>
                <a:cxn ang="0">
                  <a:pos x="67" y="133"/>
                </a:cxn>
                <a:cxn ang="0">
                  <a:pos x="4" y="71"/>
                </a:cxn>
                <a:cxn ang="0">
                  <a:pos x="16" y="71"/>
                </a:cxn>
                <a:cxn ang="0">
                  <a:pos x="16" y="67"/>
                </a:cxn>
                <a:cxn ang="0">
                  <a:pos x="4" y="67"/>
                </a:cxn>
                <a:cxn ang="0">
                  <a:pos x="69" y="3"/>
                </a:cxn>
                <a:cxn ang="0">
                  <a:pos x="133" y="66"/>
                </a:cxn>
                <a:cxn ang="0">
                  <a:pos x="120" y="66"/>
                </a:cxn>
                <a:cxn ang="0">
                  <a:pos x="120" y="69"/>
                </a:cxn>
                <a:cxn ang="0">
                  <a:pos x="133" y="69"/>
                </a:cxn>
                <a:cxn ang="0">
                  <a:pos x="70" y="133"/>
                </a:cxn>
              </a:cxnLst>
              <a:rect l="0" t="0" r="r" b="b"/>
              <a:pathLst>
                <a:path w="137" h="136"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106"/>
                    <a:pt x="31" y="136"/>
                    <a:pt x="69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0"/>
                    <a:pt x="106" y="0"/>
                    <a:pt x="69" y="0"/>
                  </a:cubicBezTo>
                  <a:close/>
                  <a:moveTo>
                    <a:pt x="70" y="133"/>
                  </a:moveTo>
                  <a:cubicBezTo>
                    <a:pt x="70" y="121"/>
                    <a:pt x="70" y="121"/>
                    <a:pt x="70" y="121"/>
                  </a:cubicBezTo>
                  <a:cubicBezTo>
                    <a:pt x="67" y="121"/>
                    <a:pt x="67" y="121"/>
                    <a:pt x="67" y="121"/>
                  </a:cubicBezTo>
                  <a:cubicBezTo>
                    <a:pt x="67" y="133"/>
                    <a:pt x="67" y="133"/>
                    <a:pt x="67" y="133"/>
                  </a:cubicBezTo>
                  <a:cubicBezTo>
                    <a:pt x="33" y="132"/>
                    <a:pt x="5" y="105"/>
                    <a:pt x="4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32"/>
                    <a:pt x="33" y="3"/>
                    <a:pt x="69" y="3"/>
                  </a:cubicBezTo>
                  <a:cubicBezTo>
                    <a:pt x="104" y="3"/>
                    <a:pt x="132" y="31"/>
                    <a:pt x="133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3" y="104"/>
                    <a:pt x="105" y="132"/>
                    <a:pt x="70" y="1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06" name="Freeform 30"/>
            <p:cNvSpPr>
              <a:spLocks/>
            </p:cNvSpPr>
            <p:nvPr/>
          </p:nvSpPr>
          <p:spPr bwMode="auto">
            <a:xfrm>
              <a:off x="2491" y="351"/>
              <a:ext cx="155" cy="118"/>
            </a:xfrm>
            <a:custGeom>
              <a:avLst/>
              <a:gdLst/>
              <a:ahLst/>
              <a:cxnLst>
                <a:cxn ang="0">
                  <a:pos x="28" y="118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43" y="82"/>
                </a:cxn>
                <a:cxn ang="0">
                  <a:pos x="64" y="0"/>
                </a:cxn>
                <a:cxn ang="0">
                  <a:pos x="93" y="0"/>
                </a:cxn>
                <a:cxn ang="0">
                  <a:pos x="112" y="82"/>
                </a:cxn>
                <a:cxn ang="0">
                  <a:pos x="132" y="0"/>
                </a:cxn>
                <a:cxn ang="0">
                  <a:pos x="155" y="0"/>
                </a:cxn>
                <a:cxn ang="0">
                  <a:pos x="127" y="118"/>
                </a:cxn>
                <a:cxn ang="0">
                  <a:pos x="100" y="118"/>
                </a:cxn>
                <a:cxn ang="0">
                  <a:pos x="76" y="29"/>
                </a:cxn>
                <a:cxn ang="0">
                  <a:pos x="55" y="118"/>
                </a:cxn>
                <a:cxn ang="0">
                  <a:pos x="28" y="118"/>
                </a:cxn>
              </a:cxnLst>
              <a:rect l="0" t="0" r="r" b="b"/>
              <a:pathLst>
                <a:path w="155" h="118">
                  <a:moveTo>
                    <a:pt x="28" y="118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3" y="82"/>
                  </a:lnTo>
                  <a:lnTo>
                    <a:pt x="64" y="0"/>
                  </a:lnTo>
                  <a:lnTo>
                    <a:pt x="93" y="0"/>
                  </a:lnTo>
                  <a:lnTo>
                    <a:pt x="112" y="82"/>
                  </a:lnTo>
                  <a:lnTo>
                    <a:pt x="132" y="0"/>
                  </a:lnTo>
                  <a:lnTo>
                    <a:pt x="155" y="0"/>
                  </a:lnTo>
                  <a:lnTo>
                    <a:pt x="127" y="118"/>
                  </a:lnTo>
                  <a:lnTo>
                    <a:pt x="100" y="118"/>
                  </a:lnTo>
                  <a:lnTo>
                    <a:pt x="76" y="29"/>
                  </a:lnTo>
                  <a:lnTo>
                    <a:pt x="55" y="118"/>
                  </a:lnTo>
                  <a:lnTo>
                    <a:pt x="28" y="11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07" name="Freeform 31"/>
            <p:cNvSpPr>
              <a:spLocks/>
            </p:cNvSpPr>
            <p:nvPr/>
          </p:nvSpPr>
          <p:spPr bwMode="auto">
            <a:xfrm>
              <a:off x="2546" y="198"/>
              <a:ext cx="50" cy="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24" y="0"/>
                </a:cxn>
                <a:cxn ang="0">
                  <a:pos x="50" y="113"/>
                </a:cxn>
                <a:cxn ang="0">
                  <a:pos x="0" y="113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24" y="0"/>
                  </a:lnTo>
                  <a:lnTo>
                    <a:pt x="50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10" name="Group 34"/>
          <p:cNvGrpSpPr>
            <a:grpSpLocks noChangeAspect="1"/>
          </p:cNvGrpSpPr>
          <p:nvPr/>
        </p:nvGrpSpPr>
        <p:grpSpPr bwMode="auto">
          <a:xfrm>
            <a:off x="4748219" y="242888"/>
            <a:ext cx="820738" cy="820737"/>
            <a:chOff x="2997" y="153"/>
            <a:chExt cx="517" cy="517"/>
          </a:xfrm>
        </p:grpSpPr>
        <p:sp>
          <p:nvSpPr>
            <p:cNvPr id="50211" name="Oval 35"/>
            <p:cNvSpPr>
              <a:spLocks noChangeArrowheads="1"/>
            </p:cNvSpPr>
            <p:nvPr/>
          </p:nvSpPr>
          <p:spPr bwMode="auto">
            <a:xfrm>
              <a:off x="2997" y="153"/>
              <a:ext cx="517" cy="51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12" name="Freeform 36"/>
            <p:cNvSpPr>
              <a:spLocks noEditPoints="1"/>
            </p:cNvSpPr>
            <p:nvPr/>
          </p:nvSpPr>
          <p:spPr bwMode="auto">
            <a:xfrm>
              <a:off x="3119" y="277"/>
              <a:ext cx="273" cy="2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7"/>
                </a:cxn>
                <a:cxn ang="0">
                  <a:pos x="57" y="114"/>
                </a:cxn>
                <a:cxn ang="0">
                  <a:pos x="114" y="114"/>
                </a:cxn>
                <a:cxn ang="0">
                  <a:pos x="114" y="57"/>
                </a:cxn>
                <a:cxn ang="0">
                  <a:pos x="59" y="0"/>
                </a:cxn>
                <a:cxn ang="0">
                  <a:pos x="4" y="4"/>
                </a:cxn>
                <a:cxn ang="0">
                  <a:pos x="55" y="28"/>
                </a:cxn>
                <a:cxn ang="0">
                  <a:pos x="62" y="26"/>
                </a:cxn>
                <a:cxn ang="0">
                  <a:pos x="73" y="30"/>
                </a:cxn>
                <a:cxn ang="0">
                  <a:pos x="62" y="34"/>
                </a:cxn>
                <a:cxn ang="0">
                  <a:pos x="55" y="31"/>
                </a:cxn>
                <a:cxn ang="0">
                  <a:pos x="36" y="55"/>
                </a:cxn>
                <a:cxn ang="0">
                  <a:pos x="39" y="43"/>
                </a:cxn>
                <a:cxn ang="0">
                  <a:pos x="20" y="43"/>
                </a:cxn>
                <a:cxn ang="0">
                  <a:pos x="23" y="55"/>
                </a:cxn>
                <a:cxn ang="0">
                  <a:pos x="4" y="4"/>
                </a:cxn>
                <a:cxn ang="0">
                  <a:pos x="4" y="110"/>
                </a:cxn>
                <a:cxn ang="0">
                  <a:pos x="28" y="59"/>
                </a:cxn>
                <a:cxn ang="0">
                  <a:pos x="25" y="52"/>
                </a:cxn>
                <a:cxn ang="0">
                  <a:pos x="30" y="42"/>
                </a:cxn>
                <a:cxn ang="0">
                  <a:pos x="34" y="52"/>
                </a:cxn>
                <a:cxn ang="0">
                  <a:pos x="31" y="59"/>
                </a:cxn>
                <a:cxn ang="0">
                  <a:pos x="55" y="79"/>
                </a:cxn>
                <a:cxn ang="0">
                  <a:pos x="46" y="75"/>
                </a:cxn>
                <a:cxn ang="0">
                  <a:pos x="46" y="94"/>
                </a:cxn>
                <a:cxn ang="0">
                  <a:pos x="55" y="90"/>
                </a:cxn>
                <a:cxn ang="0">
                  <a:pos x="110" y="110"/>
                </a:cxn>
                <a:cxn ang="0">
                  <a:pos x="59" y="87"/>
                </a:cxn>
                <a:cxn ang="0">
                  <a:pos x="51" y="89"/>
                </a:cxn>
                <a:cxn ang="0">
                  <a:pos x="41" y="85"/>
                </a:cxn>
                <a:cxn ang="0">
                  <a:pos x="51" y="80"/>
                </a:cxn>
                <a:cxn ang="0">
                  <a:pos x="59" y="83"/>
                </a:cxn>
                <a:cxn ang="0">
                  <a:pos x="78" y="59"/>
                </a:cxn>
                <a:cxn ang="0">
                  <a:pos x="75" y="71"/>
                </a:cxn>
                <a:cxn ang="0">
                  <a:pos x="94" y="71"/>
                </a:cxn>
                <a:cxn ang="0">
                  <a:pos x="91" y="59"/>
                </a:cxn>
                <a:cxn ang="0">
                  <a:pos x="110" y="110"/>
                </a:cxn>
                <a:cxn ang="0">
                  <a:pos x="110" y="55"/>
                </a:cxn>
                <a:cxn ang="0">
                  <a:pos x="86" y="57"/>
                </a:cxn>
                <a:cxn ang="0">
                  <a:pos x="90" y="70"/>
                </a:cxn>
                <a:cxn ang="0">
                  <a:pos x="79" y="70"/>
                </a:cxn>
                <a:cxn ang="0">
                  <a:pos x="82" y="57"/>
                </a:cxn>
                <a:cxn ang="0">
                  <a:pos x="59" y="55"/>
                </a:cxn>
                <a:cxn ang="0">
                  <a:pos x="59" y="36"/>
                </a:cxn>
                <a:cxn ang="0">
                  <a:pos x="76" y="30"/>
                </a:cxn>
                <a:cxn ang="0">
                  <a:pos x="59" y="23"/>
                </a:cxn>
                <a:cxn ang="0">
                  <a:pos x="59" y="4"/>
                </a:cxn>
              </a:cxnLst>
              <a:rect l="0" t="0" r="r" b="b"/>
              <a:pathLst>
                <a:path w="114" h="114">
                  <a:moveTo>
                    <a:pt x="5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114" y="114"/>
                    <a:pt x="114" y="114"/>
                    <a:pt x="114" y="114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59" y="0"/>
                    <a:pt x="59" y="0"/>
                    <a:pt x="59" y="0"/>
                  </a:cubicBezTo>
                  <a:lnTo>
                    <a:pt x="57" y="0"/>
                  </a:lnTo>
                  <a:close/>
                  <a:moveTo>
                    <a:pt x="4" y="4"/>
                  </a:moveTo>
                  <a:cubicBezTo>
                    <a:pt x="55" y="4"/>
                    <a:pt x="55" y="4"/>
                    <a:pt x="55" y="4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9" y="28"/>
                    <a:pt x="61" y="27"/>
                    <a:pt x="62" y="26"/>
                  </a:cubicBezTo>
                  <a:cubicBezTo>
                    <a:pt x="64" y="24"/>
                    <a:pt x="67" y="23"/>
                    <a:pt x="70" y="24"/>
                  </a:cubicBezTo>
                  <a:cubicBezTo>
                    <a:pt x="72" y="25"/>
                    <a:pt x="73" y="27"/>
                    <a:pt x="73" y="30"/>
                  </a:cubicBezTo>
                  <a:cubicBezTo>
                    <a:pt x="73" y="33"/>
                    <a:pt x="72" y="35"/>
                    <a:pt x="70" y="35"/>
                  </a:cubicBezTo>
                  <a:cubicBezTo>
                    <a:pt x="67" y="36"/>
                    <a:pt x="64" y="35"/>
                    <a:pt x="62" y="34"/>
                  </a:cubicBezTo>
                  <a:cubicBezTo>
                    <a:pt x="61" y="32"/>
                    <a:pt x="59" y="32"/>
                    <a:pt x="57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9" y="52"/>
                    <a:pt x="40" y="47"/>
                    <a:pt x="39" y="43"/>
                  </a:cubicBezTo>
                  <a:cubicBezTo>
                    <a:pt x="38" y="41"/>
                    <a:pt x="36" y="38"/>
                    <a:pt x="30" y="38"/>
                  </a:cubicBezTo>
                  <a:cubicBezTo>
                    <a:pt x="23" y="38"/>
                    <a:pt x="21" y="41"/>
                    <a:pt x="20" y="43"/>
                  </a:cubicBezTo>
                  <a:cubicBezTo>
                    <a:pt x="19" y="47"/>
                    <a:pt x="20" y="52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4" y="55"/>
                    <a:pt x="4" y="55"/>
                    <a:pt x="4" y="55"/>
                  </a:cubicBezTo>
                  <a:lnTo>
                    <a:pt x="4" y="4"/>
                  </a:lnTo>
                  <a:close/>
                  <a:moveTo>
                    <a:pt x="55" y="110"/>
                  </a:moveTo>
                  <a:cubicBezTo>
                    <a:pt x="4" y="110"/>
                    <a:pt x="4" y="110"/>
                    <a:pt x="4" y="11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7" y="55"/>
                    <a:pt x="27" y="53"/>
                    <a:pt x="25" y="52"/>
                  </a:cubicBezTo>
                  <a:cubicBezTo>
                    <a:pt x="24" y="51"/>
                    <a:pt x="23" y="47"/>
                    <a:pt x="24" y="45"/>
                  </a:cubicBezTo>
                  <a:cubicBezTo>
                    <a:pt x="25" y="43"/>
                    <a:pt x="27" y="42"/>
                    <a:pt x="30" y="42"/>
                  </a:cubicBezTo>
                  <a:cubicBezTo>
                    <a:pt x="33" y="42"/>
                    <a:pt x="35" y="43"/>
                    <a:pt x="35" y="45"/>
                  </a:cubicBezTo>
                  <a:cubicBezTo>
                    <a:pt x="36" y="47"/>
                    <a:pt x="35" y="51"/>
                    <a:pt x="34" y="52"/>
                  </a:cubicBezTo>
                  <a:cubicBezTo>
                    <a:pt x="32" y="53"/>
                    <a:pt x="32" y="55"/>
                    <a:pt x="32" y="57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4" y="78"/>
                    <a:pt x="54" y="78"/>
                  </a:cubicBezTo>
                  <a:cubicBezTo>
                    <a:pt x="52" y="76"/>
                    <a:pt x="49" y="75"/>
                    <a:pt x="46" y="75"/>
                  </a:cubicBezTo>
                  <a:cubicBezTo>
                    <a:pt x="41" y="75"/>
                    <a:pt x="37" y="77"/>
                    <a:pt x="37" y="85"/>
                  </a:cubicBezTo>
                  <a:cubicBezTo>
                    <a:pt x="37" y="92"/>
                    <a:pt x="41" y="94"/>
                    <a:pt x="46" y="94"/>
                  </a:cubicBezTo>
                  <a:cubicBezTo>
                    <a:pt x="49" y="94"/>
                    <a:pt x="52" y="93"/>
                    <a:pt x="54" y="91"/>
                  </a:cubicBezTo>
                  <a:cubicBezTo>
                    <a:pt x="54" y="91"/>
                    <a:pt x="55" y="91"/>
                    <a:pt x="55" y="90"/>
                  </a:cubicBezTo>
                  <a:lnTo>
                    <a:pt x="55" y="110"/>
                  </a:lnTo>
                  <a:close/>
                  <a:moveTo>
                    <a:pt x="110" y="110"/>
                  </a:moveTo>
                  <a:cubicBezTo>
                    <a:pt x="59" y="110"/>
                    <a:pt x="59" y="110"/>
                    <a:pt x="59" y="110"/>
                  </a:cubicBezTo>
                  <a:cubicBezTo>
                    <a:pt x="59" y="87"/>
                    <a:pt x="59" y="87"/>
                    <a:pt x="59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4" y="87"/>
                    <a:pt x="53" y="87"/>
                    <a:pt x="51" y="89"/>
                  </a:cubicBezTo>
                  <a:cubicBezTo>
                    <a:pt x="50" y="90"/>
                    <a:pt x="48" y="91"/>
                    <a:pt x="46" y="91"/>
                  </a:cubicBezTo>
                  <a:cubicBezTo>
                    <a:pt x="43" y="91"/>
                    <a:pt x="41" y="90"/>
                    <a:pt x="41" y="85"/>
                  </a:cubicBezTo>
                  <a:cubicBezTo>
                    <a:pt x="41" y="79"/>
                    <a:pt x="43" y="78"/>
                    <a:pt x="46" y="78"/>
                  </a:cubicBezTo>
                  <a:cubicBezTo>
                    <a:pt x="48" y="78"/>
                    <a:pt x="50" y="79"/>
                    <a:pt x="51" y="80"/>
                  </a:cubicBezTo>
                  <a:cubicBezTo>
                    <a:pt x="53" y="82"/>
                    <a:pt x="54" y="83"/>
                    <a:pt x="57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5" y="62"/>
                    <a:pt x="74" y="67"/>
                    <a:pt x="75" y="71"/>
                  </a:cubicBezTo>
                  <a:cubicBezTo>
                    <a:pt x="76" y="73"/>
                    <a:pt x="78" y="76"/>
                    <a:pt x="84" y="76"/>
                  </a:cubicBezTo>
                  <a:cubicBezTo>
                    <a:pt x="91" y="76"/>
                    <a:pt x="93" y="73"/>
                    <a:pt x="94" y="71"/>
                  </a:cubicBezTo>
                  <a:cubicBezTo>
                    <a:pt x="95" y="67"/>
                    <a:pt x="94" y="62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110" y="59"/>
                    <a:pt x="110" y="59"/>
                    <a:pt x="110" y="59"/>
                  </a:cubicBezTo>
                  <a:lnTo>
                    <a:pt x="110" y="110"/>
                  </a:lnTo>
                  <a:close/>
                  <a:moveTo>
                    <a:pt x="110" y="4"/>
                  </a:moveTo>
                  <a:cubicBezTo>
                    <a:pt x="110" y="55"/>
                    <a:pt x="110" y="55"/>
                    <a:pt x="110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7" y="59"/>
                    <a:pt x="87" y="61"/>
                    <a:pt x="89" y="62"/>
                  </a:cubicBezTo>
                  <a:cubicBezTo>
                    <a:pt x="90" y="64"/>
                    <a:pt x="91" y="67"/>
                    <a:pt x="90" y="70"/>
                  </a:cubicBezTo>
                  <a:cubicBezTo>
                    <a:pt x="89" y="72"/>
                    <a:pt x="87" y="73"/>
                    <a:pt x="84" y="73"/>
                  </a:cubicBezTo>
                  <a:cubicBezTo>
                    <a:pt x="81" y="73"/>
                    <a:pt x="79" y="72"/>
                    <a:pt x="79" y="70"/>
                  </a:cubicBezTo>
                  <a:cubicBezTo>
                    <a:pt x="78" y="67"/>
                    <a:pt x="79" y="64"/>
                    <a:pt x="80" y="62"/>
                  </a:cubicBezTo>
                  <a:cubicBezTo>
                    <a:pt x="82" y="61"/>
                    <a:pt x="82" y="59"/>
                    <a:pt x="82" y="57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2" y="39"/>
                    <a:pt x="67" y="40"/>
                    <a:pt x="71" y="39"/>
                  </a:cubicBezTo>
                  <a:cubicBezTo>
                    <a:pt x="73" y="38"/>
                    <a:pt x="76" y="36"/>
                    <a:pt x="76" y="30"/>
                  </a:cubicBezTo>
                  <a:cubicBezTo>
                    <a:pt x="76" y="23"/>
                    <a:pt x="73" y="21"/>
                    <a:pt x="71" y="20"/>
                  </a:cubicBezTo>
                  <a:cubicBezTo>
                    <a:pt x="67" y="19"/>
                    <a:pt x="62" y="20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4"/>
                    <a:pt x="59" y="4"/>
                    <a:pt x="59" y="4"/>
                  </a:cubicBezTo>
                  <a:lnTo>
                    <a:pt x="110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13" name="Freeform 37"/>
            <p:cNvSpPr>
              <a:spLocks noEditPoints="1"/>
            </p:cNvSpPr>
            <p:nvPr/>
          </p:nvSpPr>
          <p:spPr bwMode="auto">
            <a:xfrm>
              <a:off x="3013" y="170"/>
              <a:ext cx="486" cy="483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0" y="101"/>
                </a:cxn>
                <a:cxn ang="0">
                  <a:pos x="102" y="202"/>
                </a:cxn>
                <a:cxn ang="0">
                  <a:pos x="203" y="101"/>
                </a:cxn>
                <a:cxn ang="0">
                  <a:pos x="102" y="0"/>
                </a:cxn>
                <a:cxn ang="0">
                  <a:pos x="170" y="169"/>
                </a:cxn>
                <a:cxn ang="0">
                  <a:pos x="102" y="197"/>
                </a:cxn>
                <a:cxn ang="0">
                  <a:pos x="34" y="169"/>
                </a:cxn>
                <a:cxn ang="0">
                  <a:pos x="5" y="101"/>
                </a:cxn>
                <a:cxn ang="0">
                  <a:pos x="34" y="33"/>
                </a:cxn>
                <a:cxn ang="0">
                  <a:pos x="102" y="5"/>
                </a:cxn>
                <a:cxn ang="0">
                  <a:pos x="170" y="33"/>
                </a:cxn>
                <a:cxn ang="0">
                  <a:pos x="198" y="101"/>
                </a:cxn>
                <a:cxn ang="0">
                  <a:pos x="170" y="169"/>
                </a:cxn>
              </a:cxnLst>
              <a:rect l="0" t="0" r="r" b="b"/>
              <a:pathLst>
                <a:path w="203" h="202">
                  <a:moveTo>
                    <a:pt x="102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2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2" y="0"/>
                  </a:cubicBezTo>
                  <a:close/>
                  <a:moveTo>
                    <a:pt x="170" y="169"/>
                  </a:moveTo>
                  <a:cubicBezTo>
                    <a:pt x="151" y="187"/>
                    <a:pt x="127" y="197"/>
                    <a:pt x="102" y="197"/>
                  </a:cubicBezTo>
                  <a:cubicBezTo>
                    <a:pt x="76" y="197"/>
                    <a:pt x="52" y="187"/>
                    <a:pt x="34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4" y="33"/>
                  </a:cubicBezTo>
                  <a:cubicBezTo>
                    <a:pt x="52" y="15"/>
                    <a:pt x="76" y="5"/>
                    <a:pt x="102" y="5"/>
                  </a:cubicBezTo>
                  <a:cubicBezTo>
                    <a:pt x="127" y="5"/>
                    <a:pt x="151" y="15"/>
                    <a:pt x="170" y="33"/>
                  </a:cubicBezTo>
                  <a:cubicBezTo>
                    <a:pt x="188" y="51"/>
                    <a:pt x="198" y="75"/>
                    <a:pt x="198" y="101"/>
                  </a:cubicBezTo>
                  <a:cubicBezTo>
                    <a:pt x="198" y="127"/>
                    <a:pt x="188" y="151"/>
                    <a:pt x="170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16" name="Group 40"/>
          <p:cNvGrpSpPr>
            <a:grpSpLocks noChangeAspect="1"/>
          </p:cNvGrpSpPr>
          <p:nvPr/>
        </p:nvGrpSpPr>
        <p:grpSpPr bwMode="auto">
          <a:xfrm>
            <a:off x="5866602" y="268288"/>
            <a:ext cx="768350" cy="768350"/>
            <a:chOff x="3698" y="169"/>
            <a:chExt cx="484" cy="484"/>
          </a:xfrm>
        </p:grpSpPr>
        <p:sp>
          <p:nvSpPr>
            <p:cNvPr id="50217" name="Freeform 41"/>
            <p:cNvSpPr>
              <a:spLocks noEditPoints="1"/>
            </p:cNvSpPr>
            <p:nvPr/>
          </p:nvSpPr>
          <p:spPr bwMode="auto">
            <a:xfrm>
              <a:off x="3804" y="277"/>
              <a:ext cx="271" cy="2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7"/>
                </a:cxn>
                <a:cxn ang="0">
                  <a:pos x="56" y="114"/>
                </a:cxn>
                <a:cxn ang="0">
                  <a:pos x="113" y="114"/>
                </a:cxn>
                <a:cxn ang="0">
                  <a:pos x="113" y="57"/>
                </a:cxn>
                <a:cxn ang="0">
                  <a:pos x="58" y="0"/>
                </a:cxn>
                <a:cxn ang="0">
                  <a:pos x="3" y="4"/>
                </a:cxn>
                <a:cxn ang="0">
                  <a:pos x="55" y="28"/>
                </a:cxn>
                <a:cxn ang="0">
                  <a:pos x="61" y="26"/>
                </a:cxn>
                <a:cxn ang="0">
                  <a:pos x="72" y="30"/>
                </a:cxn>
                <a:cxn ang="0">
                  <a:pos x="61" y="34"/>
                </a:cxn>
                <a:cxn ang="0">
                  <a:pos x="55" y="31"/>
                </a:cxn>
                <a:cxn ang="0">
                  <a:pos x="35" y="55"/>
                </a:cxn>
                <a:cxn ang="0">
                  <a:pos x="38" y="43"/>
                </a:cxn>
                <a:cxn ang="0">
                  <a:pos x="20" y="43"/>
                </a:cxn>
                <a:cxn ang="0">
                  <a:pos x="23" y="55"/>
                </a:cxn>
                <a:cxn ang="0">
                  <a:pos x="3" y="4"/>
                </a:cxn>
                <a:cxn ang="0">
                  <a:pos x="3" y="110"/>
                </a:cxn>
                <a:cxn ang="0">
                  <a:pos x="27" y="59"/>
                </a:cxn>
                <a:cxn ang="0">
                  <a:pos x="25" y="52"/>
                </a:cxn>
                <a:cxn ang="0">
                  <a:pos x="29" y="42"/>
                </a:cxn>
                <a:cxn ang="0">
                  <a:pos x="33" y="52"/>
                </a:cxn>
                <a:cxn ang="0">
                  <a:pos x="31" y="59"/>
                </a:cxn>
                <a:cxn ang="0">
                  <a:pos x="55" y="79"/>
                </a:cxn>
                <a:cxn ang="0">
                  <a:pos x="45" y="75"/>
                </a:cxn>
                <a:cxn ang="0">
                  <a:pos x="45" y="94"/>
                </a:cxn>
                <a:cxn ang="0">
                  <a:pos x="55" y="90"/>
                </a:cxn>
                <a:cxn ang="0">
                  <a:pos x="109" y="110"/>
                </a:cxn>
                <a:cxn ang="0">
                  <a:pos x="58" y="87"/>
                </a:cxn>
                <a:cxn ang="0">
                  <a:pos x="51" y="89"/>
                </a:cxn>
                <a:cxn ang="0">
                  <a:pos x="40" y="85"/>
                </a:cxn>
                <a:cxn ang="0">
                  <a:pos x="51" y="80"/>
                </a:cxn>
                <a:cxn ang="0">
                  <a:pos x="58" y="83"/>
                </a:cxn>
                <a:cxn ang="0">
                  <a:pos x="78" y="59"/>
                </a:cxn>
                <a:cxn ang="0">
                  <a:pos x="75" y="71"/>
                </a:cxn>
                <a:cxn ang="0">
                  <a:pos x="93" y="71"/>
                </a:cxn>
                <a:cxn ang="0">
                  <a:pos x="90" y="59"/>
                </a:cxn>
                <a:cxn ang="0">
                  <a:pos x="109" y="110"/>
                </a:cxn>
                <a:cxn ang="0">
                  <a:pos x="109" y="55"/>
                </a:cxn>
                <a:cxn ang="0">
                  <a:pos x="86" y="57"/>
                </a:cxn>
                <a:cxn ang="0">
                  <a:pos x="90" y="70"/>
                </a:cxn>
                <a:cxn ang="0">
                  <a:pos x="78" y="70"/>
                </a:cxn>
                <a:cxn ang="0">
                  <a:pos x="82" y="57"/>
                </a:cxn>
                <a:cxn ang="0">
                  <a:pos x="58" y="55"/>
                </a:cxn>
                <a:cxn ang="0">
                  <a:pos x="59" y="36"/>
                </a:cxn>
                <a:cxn ang="0">
                  <a:pos x="76" y="30"/>
                </a:cxn>
                <a:cxn ang="0">
                  <a:pos x="59" y="23"/>
                </a:cxn>
                <a:cxn ang="0">
                  <a:pos x="58" y="4"/>
                </a:cxn>
              </a:cxnLst>
              <a:rect l="0" t="0" r="r" b="b"/>
              <a:pathLst>
                <a:path w="113" h="114">
                  <a:moveTo>
                    <a:pt x="5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56" y="114"/>
                    <a:pt x="56" y="114"/>
                    <a:pt x="56" y="114"/>
                  </a:cubicBezTo>
                  <a:cubicBezTo>
                    <a:pt x="58" y="114"/>
                    <a:pt x="58" y="114"/>
                    <a:pt x="58" y="114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13" y="57"/>
                    <a:pt x="113" y="57"/>
                    <a:pt x="113" y="57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6" y="0"/>
                  </a:lnTo>
                  <a:close/>
                  <a:moveTo>
                    <a:pt x="3" y="4"/>
                  </a:moveTo>
                  <a:cubicBezTo>
                    <a:pt x="55" y="4"/>
                    <a:pt x="55" y="4"/>
                    <a:pt x="55" y="4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9" y="28"/>
                    <a:pt x="60" y="27"/>
                    <a:pt x="61" y="26"/>
                  </a:cubicBezTo>
                  <a:cubicBezTo>
                    <a:pt x="63" y="24"/>
                    <a:pt x="67" y="23"/>
                    <a:pt x="69" y="24"/>
                  </a:cubicBezTo>
                  <a:cubicBezTo>
                    <a:pt x="71" y="25"/>
                    <a:pt x="72" y="27"/>
                    <a:pt x="72" y="30"/>
                  </a:cubicBezTo>
                  <a:cubicBezTo>
                    <a:pt x="72" y="33"/>
                    <a:pt x="71" y="35"/>
                    <a:pt x="69" y="35"/>
                  </a:cubicBezTo>
                  <a:cubicBezTo>
                    <a:pt x="67" y="36"/>
                    <a:pt x="63" y="35"/>
                    <a:pt x="61" y="34"/>
                  </a:cubicBezTo>
                  <a:cubicBezTo>
                    <a:pt x="60" y="32"/>
                    <a:pt x="59" y="32"/>
                    <a:pt x="57" y="3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6" y="55"/>
                  </a:cubicBezTo>
                  <a:cubicBezTo>
                    <a:pt x="38" y="52"/>
                    <a:pt x="40" y="47"/>
                    <a:pt x="38" y="43"/>
                  </a:cubicBezTo>
                  <a:cubicBezTo>
                    <a:pt x="37" y="41"/>
                    <a:pt x="35" y="38"/>
                    <a:pt x="29" y="38"/>
                  </a:cubicBezTo>
                  <a:cubicBezTo>
                    <a:pt x="23" y="38"/>
                    <a:pt x="21" y="41"/>
                    <a:pt x="20" y="43"/>
                  </a:cubicBezTo>
                  <a:cubicBezTo>
                    <a:pt x="18" y="47"/>
                    <a:pt x="20" y="52"/>
                    <a:pt x="22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3" y="55"/>
                    <a:pt x="3" y="55"/>
                    <a:pt x="3" y="55"/>
                  </a:cubicBezTo>
                  <a:lnTo>
                    <a:pt x="3" y="4"/>
                  </a:lnTo>
                  <a:close/>
                  <a:moveTo>
                    <a:pt x="55" y="110"/>
                  </a:moveTo>
                  <a:cubicBezTo>
                    <a:pt x="3" y="110"/>
                    <a:pt x="3" y="110"/>
                    <a:pt x="3" y="110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5"/>
                    <a:pt x="26" y="53"/>
                    <a:pt x="25" y="52"/>
                  </a:cubicBezTo>
                  <a:cubicBezTo>
                    <a:pt x="23" y="51"/>
                    <a:pt x="22" y="47"/>
                    <a:pt x="23" y="45"/>
                  </a:cubicBezTo>
                  <a:cubicBezTo>
                    <a:pt x="24" y="43"/>
                    <a:pt x="26" y="42"/>
                    <a:pt x="29" y="42"/>
                  </a:cubicBezTo>
                  <a:cubicBezTo>
                    <a:pt x="32" y="42"/>
                    <a:pt x="34" y="43"/>
                    <a:pt x="35" y="45"/>
                  </a:cubicBezTo>
                  <a:cubicBezTo>
                    <a:pt x="36" y="47"/>
                    <a:pt x="35" y="51"/>
                    <a:pt x="33" y="52"/>
                  </a:cubicBezTo>
                  <a:cubicBezTo>
                    <a:pt x="32" y="53"/>
                    <a:pt x="31" y="55"/>
                    <a:pt x="31" y="57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4" y="79"/>
                    <a:pt x="54" y="78"/>
                    <a:pt x="53" y="78"/>
                  </a:cubicBezTo>
                  <a:cubicBezTo>
                    <a:pt x="51" y="76"/>
                    <a:pt x="48" y="75"/>
                    <a:pt x="45" y="75"/>
                  </a:cubicBezTo>
                  <a:cubicBezTo>
                    <a:pt x="41" y="75"/>
                    <a:pt x="36" y="77"/>
                    <a:pt x="36" y="85"/>
                  </a:cubicBezTo>
                  <a:cubicBezTo>
                    <a:pt x="36" y="92"/>
                    <a:pt x="41" y="94"/>
                    <a:pt x="45" y="94"/>
                  </a:cubicBezTo>
                  <a:cubicBezTo>
                    <a:pt x="48" y="94"/>
                    <a:pt x="51" y="93"/>
                    <a:pt x="53" y="91"/>
                  </a:cubicBezTo>
                  <a:cubicBezTo>
                    <a:pt x="54" y="91"/>
                    <a:pt x="54" y="91"/>
                    <a:pt x="55" y="90"/>
                  </a:cubicBezTo>
                  <a:lnTo>
                    <a:pt x="55" y="110"/>
                  </a:lnTo>
                  <a:close/>
                  <a:moveTo>
                    <a:pt x="109" y="110"/>
                  </a:moveTo>
                  <a:cubicBezTo>
                    <a:pt x="58" y="110"/>
                    <a:pt x="58" y="110"/>
                    <a:pt x="58" y="110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4" y="87"/>
                    <a:pt x="52" y="87"/>
                    <a:pt x="51" y="89"/>
                  </a:cubicBezTo>
                  <a:cubicBezTo>
                    <a:pt x="49" y="90"/>
                    <a:pt x="47" y="91"/>
                    <a:pt x="45" y="91"/>
                  </a:cubicBezTo>
                  <a:cubicBezTo>
                    <a:pt x="43" y="91"/>
                    <a:pt x="40" y="90"/>
                    <a:pt x="40" y="85"/>
                  </a:cubicBezTo>
                  <a:cubicBezTo>
                    <a:pt x="40" y="79"/>
                    <a:pt x="43" y="78"/>
                    <a:pt x="45" y="78"/>
                  </a:cubicBezTo>
                  <a:cubicBezTo>
                    <a:pt x="47" y="78"/>
                    <a:pt x="49" y="79"/>
                    <a:pt x="51" y="80"/>
                  </a:cubicBezTo>
                  <a:cubicBezTo>
                    <a:pt x="52" y="82"/>
                    <a:pt x="54" y="83"/>
                    <a:pt x="56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5" y="62"/>
                    <a:pt x="73" y="67"/>
                    <a:pt x="75" y="71"/>
                  </a:cubicBezTo>
                  <a:cubicBezTo>
                    <a:pt x="75" y="73"/>
                    <a:pt x="78" y="76"/>
                    <a:pt x="84" y="76"/>
                  </a:cubicBezTo>
                  <a:cubicBezTo>
                    <a:pt x="90" y="76"/>
                    <a:pt x="92" y="73"/>
                    <a:pt x="93" y="71"/>
                  </a:cubicBezTo>
                  <a:cubicBezTo>
                    <a:pt x="95" y="67"/>
                    <a:pt x="93" y="62"/>
                    <a:pt x="91" y="59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109" y="59"/>
                    <a:pt x="109" y="59"/>
                    <a:pt x="109" y="59"/>
                  </a:cubicBezTo>
                  <a:lnTo>
                    <a:pt x="109" y="110"/>
                  </a:lnTo>
                  <a:close/>
                  <a:moveTo>
                    <a:pt x="109" y="4"/>
                  </a:moveTo>
                  <a:cubicBezTo>
                    <a:pt x="109" y="55"/>
                    <a:pt x="109" y="55"/>
                    <a:pt x="109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9"/>
                    <a:pt x="87" y="61"/>
                    <a:pt x="88" y="62"/>
                  </a:cubicBezTo>
                  <a:cubicBezTo>
                    <a:pt x="90" y="64"/>
                    <a:pt x="91" y="67"/>
                    <a:pt x="90" y="70"/>
                  </a:cubicBezTo>
                  <a:cubicBezTo>
                    <a:pt x="89" y="72"/>
                    <a:pt x="87" y="73"/>
                    <a:pt x="84" y="73"/>
                  </a:cubicBezTo>
                  <a:cubicBezTo>
                    <a:pt x="81" y="73"/>
                    <a:pt x="79" y="72"/>
                    <a:pt x="78" y="70"/>
                  </a:cubicBezTo>
                  <a:cubicBezTo>
                    <a:pt x="77" y="67"/>
                    <a:pt x="78" y="64"/>
                    <a:pt x="80" y="62"/>
                  </a:cubicBezTo>
                  <a:cubicBezTo>
                    <a:pt x="81" y="61"/>
                    <a:pt x="82" y="59"/>
                    <a:pt x="82" y="57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9" y="36"/>
                    <a:pt x="59" y="36"/>
                  </a:cubicBezTo>
                  <a:cubicBezTo>
                    <a:pt x="61" y="39"/>
                    <a:pt x="66" y="40"/>
                    <a:pt x="70" y="39"/>
                  </a:cubicBezTo>
                  <a:cubicBezTo>
                    <a:pt x="72" y="38"/>
                    <a:pt x="76" y="36"/>
                    <a:pt x="76" y="30"/>
                  </a:cubicBezTo>
                  <a:cubicBezTo>
                    <a:pt x="76" y="23"/>
                    <a:pt x="72" y="21"/>
                    <a:pt x="70" y="20"/>
                  </a:cubicBezTo>
                  <a:cubicBezTo>
                    <a:pt x="66" y="19"/>
                    <a:pt x="61" y="20"/>
                    <a:pt x="59" y="23"/>
                  </a:cubicBezTo>
                  <a:cubicBezTo>
                    <a:pt x="59" y="23"/>
                    <a:pt x="58" y="23"/>
                    <a:pt x="58" y="23"/>
                  </a:cubicBezTo>
                  <a:cubicBezTo>
                    <a:pt x="58" y="4"/>
                    <a:pt x="58" y="4"/>
                    <a:pt x="58" y="4"/>
                  </a:cubicBezTo>
                  <a:lnTo>
                    <a:pt x="109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18" name="Freeform 42"/>
            <p:cNvSpPr>
              <a:spLocks noEditPoints="1"/>
            </p:cNvSpPr>
            <p:nvPr/>
          </p:nvSpPr>
          <p:spPr bwMode="auto">
            <a:xfrm>
              <a:off x="3698" y="1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21" name="Group 45"/>
          <p:cNvGrpSpPr>
            <a:grpSpLocks noChangeAspect="1"/>
          </p:cNvGrpSpPr>
          <p:nvPr/>
        </p:nvGrpSpPr>
        <p:grpSpPr bwMode="auto">
          <a:xfrm>
            <a:off x="6922298" y="234950"/>
            <a:ext cx="839788" cy="836613"/>
            <a:chOff x="4362" y="148"/>
            <a:chExt cx="529" cy="527"/>
          </a:xfrm>
        </p:grpSpPr>
        <p:sp>
          <p:nvSpPr>
            <p:cNvPr id="50222" name="Oval 46"/>
            <p:cNvSpPr>
              <a:spLocks noChangeArrowheads="1"/>
            </p:cNvSpPr>
            <p:nvPr/>
          </p:nvSpPr>
          <p:spPr bwMode="auto">
            <a:xfrm>
              <a:off x="4362" y="148"/>
              <a:ext cx="529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23" name="Freeform 47"/>
            <p:cNvSpPr>
              <a:spLocks noEditPoints="1"/>
            </p:cNvSpPr>
            <p:nvPr/>
          </p:nvSpPr>
          <p:spPr bwMode="auto">
            <a:xfrm>
              <a:off x="4487" y="493"/>
              <a:ext cx="263" cy="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2"/>
                </a:cxn>
                <a:cxn ang="0">
                  <a:pos x="101" y="21"/>
                </a:cxn>
                <a:cxn ang="0">
                  <a:pos x="110" y="9"/>
                </a:cxn>
                <a:cxn ang="0">
                  <a:pos x="95" y="10"/>
                </a:cxn>
                <a:cxn ang="0">
                  <a:pos x="87" y="10"/>
                </a:cxn>
                <a:cxn ang="0">
                  <a:pos x="95" y="10"/>
                </a:cxn>
                <a:cxn ang="0">
                  <a:pos x="89" y="17"/>
                </a:cxn>
                <a:cxn ang="0">
                  <a:pos x="76" y="10"/>
                </a:cxn>
                <a:cxn ang="0">
                  <a:pos x="88" y="4"/>
                </a:cxn>
                <a:cxn ang="0">
                  <a:pos x="18" y="7"/>
                </a:cxn>
                <a:cxn ang="0">
                  <a:pos x="18" y="14"/>
                </a:cxn>
                <a:cxn ang="0">
                  <a:pos x="18" y="7"/>
                </a:cxn>
                <a:cxn ang="0">
                  <a:pos x="21" y="4"/>
                </a:cxn>
                <a:cxn ang="0">
                  <a:pos x="36" y="10"/>
                </a:cxn>
                <a:cxn ang="0">
                  <a:pos x="20" y="17"/>
                </a:cxn>
                <a:cxn ang="0">
                  <a:pos x="47" y="10"/>
                </a:cxn>
                <a:cxn ang="0">
                  <a:pos x="39" y="10"/>
                </a:cxn>
                <a:cxn ang="0">
                  <a:pos x="47" y="10"/>
                </a:cxn>
                <a:cxn ang="0">
                  <a:pos x="46" y="4"/>
                </a:cxn>
                <a:cxn ang="0">
                  <a:pos x="61" y="10"/>
                </a:cxn>
                <a:cxn ang="0">
                  <a:pos x="45" y="17"/>
                </a:cxn>
                <a:cxn ang="0">
                  <a:pos x="72" y="10"/>
                </a:cxn>
                <a:cxn ang="0">
                  <a:pos x="65" y="10"/>
                </a:cxn>
                <a:cxn ang="0">
                  <a:pos x="72" y="10"/>
                </a:cxn>
                <a:cxn ang="0">
                  <a:pos x="4" y="9"/>
                </a:cxn>
                <a:cxn ang="0">
                  <a:pos x="15" y="4"/>
                </a:cxn>
                <a:cxn ang="0">
                  <a:pos x="15" y="17"/>
                </a:cxn>
                <a:cxn ang="0">
                  <a:pos x="4" y="12"/>
                </a:cxn>
                <a:cxn ang="0">
                  <a:pos x="101" y="17"/>
                </a:cxn>
                <a:cxn ang="0">
                  <a:pos x="99" y="10"/>
                </a:cxn>
                <a:cxn ang="0">
                  <a:pos x="101" y="4"/>
                </a:cxn>
                <a:cxn ang="0">
                  <a:pos x="106" y="12"/>
                </a:cxn>
              </a:cxnLst>
              <a:rect l="0" t="0" r="r" b="b"/>
              <a:pathLst>
                <a:path w="110" h="21">
                  <a:moveTo>
                    <a:pt x="101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7"/>
                    <a:pt x="4" y="21"/>
                    <a:pt x="9" y="21"/>
                  </a:cubicBezTo>
                  <a:cubicBezTo>
                    <a:pt x="101" y="21"/>
                    <a:pt x="101" y="21"/>
                    <a:pt x="101" y="21"/>
                  </a:cubicBezTo>
                  <a:cubicBezTo>
                    <a:pt x="106" y="21"/>
                    <a:pt x="110" y="17"/>
                    <a:pt x="110" y="12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10" y="4"/>
                    <a:pt x="106" y="0"/>
                    <a:pt x="101" y="0"/>
                  </a:cubicBezTo>
                  <a:close/>
                  <a:moveTo>
                    <a:pt x="95" y="10"/>
                  </a:moveTo>
                  <a:cubicBezTo>
                    <a:pt x="95" y="12"/>
                    <a:pt x="93" y="14"/>
                    <a:pt x="91" y="14"/>
                  </a:cubicBezTo>
                  <a:cubicBezTo>
                    <a:pt x="89" y="14"/>
                    <a:pt x="87" y="12"/>
                    <a:pt x="87" y="10"/>
                  </a:cubicBezTo>
                  <a:cubicBezTo>
                    <a:pt x="87" y="8"/>
                    <a:pt x="89" y="7"/>
                    <a:pt x="91" y="7"/>
                  </a:cubicBezTo>
                  <a:cubicBezTo>
                    <a:pt x="93" y="7"/>
                    <a:pt x="95" y="8"/>
                    <a:pt x="95" y="10"/>
                  </a:cubicBezTo>
                  <a:close/>
                  <a:moveTo>
                    <a:pt x="84" y="10"/>
                  </a:moveTo>
                  <a:cubicBezTo>
                    <a:pt x="84" y="14"/>
                    <a:pt x="86" y="16"/>
                    <a:pt x="89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4" y="16"/>
                    <a:pt x="76" y="14"/>
                    <a:pt x="76" y="10"/>
                  </a:cubicBezTo>
                  <a:cubicBezTo>
                    <a:pt x="76" y="7"/>
                    <a:pt x="74" y="5"/>
                    <a:pt x="72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6" y="5"/>
                    <a:pt x="84" y="7"/>
                    <a:pt x="84" y="10"/>
                  </a:cubicBezTo>
                  <a:close/>
                  <a:moveTo>
                    <a:pt x="18" y="7"/>
                  </a:moveTo>
                  <a:cubicBezTo>
                    <a:pt x="20" y="7"/>
                    <a:pt x="22" y="8"/>
                    <a:pt x="22" y="10"/>
                  </a:cubicBezTo>
                  <a:cubicBezTo>
                    <a:pt x="22" y="12"/>
                    <a:pt x="20" y="14"/>
                    <a:pt x="18" y="14"/>
                  </a:cubicBezTo>
                  <a:cubicBezTo>
                    <a:pt x="16" y="14"/>
                    <a:pt x="14" y="12"/>
                    <a:pt x="14" y="10"/>
                  </a:cubicBezTo>
                  <a:cubicBezTo>
                    <a:pt x="14" y="8"/>
                    <a:pt x="16" y="7"/>
                    <a:pt x="18" y="7"/>
                  </a:cubicBezTo>
                  <a:close/>
                  <a:moveTo>
                    <a:pt x="25" y="10"/>
                  </a:moveTo>
                  <a:cubicBezTo>
                    <a:pt x="25" y="7"/>
                    <a:pt x="23" y="5"/>
                    <a:pt x="21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7" y="5"/>
                    <a:pt x="36" y="7"/>
                    <a:pt x="36" y="10"/>
                  </a:cubicBezTo>
                  <a:cubicBezTo>
                    <a:pt x="36" y="14"/>
                    <a:pt x="38" y="16"/>
                    <a:pt x="41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3" y="16"/>
                    <a:pt x="25" y="14"/>
                    <a:pt x="25" y="10"/>
                  </a:cubicBezTo>
                  <a:close/>
                  <a:moveTo>
                    <a:pt x="47" y="10"/>
                  </a:moveTo>
                  <a:cubicBezTo>
                    <a:pt x="47" y="12"/>
                    <a:pt x="45" y="14"/>
                    <a:pt x="43" y="14"/>
                  </a:cubicBezTo>
                  <a:cubicBezTo>
                    <a:pt x="41" y="14"/>
                    <a:pt x="39" y="12"/>
                    <a:pt x="39" y="10"/>
                  </a:cubicBezTo>
                  <a:cubicBezTo>
                    <a:pt x="39" y="8"/>
                    <a:pt x="41" y="7"/>
                    <a:pt x="43" y="7"/>
                  </a:cubicBezTo>
                  <a:cubicBezTo>
                    <a:pt x="45" y="7"/>
                    <a:pt x="47" y="8"/>
                    <a:pt x="47" y="10"/>
                  </a:cubicBezTo>
                  <a:close/>
                  <a:moveTo>
                    <a:pt x="50" y="10"/>
                  </a:moveTo>
                  <a:cubicBezTo>
                    <a:pt x="50" y="7"/>
                    <a:pt x="49" y="5"/>
                    <a:pt x="46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3" y="5"/>
                    <a:pt x="61" y="7"/>
                    <a:pt x="61" y="10"/>
                  </a:cubicBezTo>
                  <a:cubicBezTo>
                    <a:pt x="61" y="14"/>
                    <a:pt x="63" y="16"/>
                    <a:pt x="66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8" y="16"/>
                    <a:pt x="50" y="14"/>
                    <a:pt x="50" y="10"/>
                  </a:cubicBezTo>
                  <a:close/>
                  <a:moveTo>
                    <a:pt x="72" y="10"/>
                  </a:moveTo>
                  <a:cubicBezTo>
                    <a:pt x="72" y="12"/>
                    <a:pt x="71" y="14"/>
                    <a:pt x="68" y="14"/>
                  </a:cubicBezTo>
                  <a:cubicBezTo>
                    <a:pt x="66" y="14"/>
                    <a:pt x="65" y="12"/>
                    <a:pt x="65" y="10"/>
                  </a:cubicBezTo>
                  <a:cubicBezTo>
                    <a:pt x="65" y="8"/>
                    <a:pt x="66" y="7"/>
                    <a:pt x="68" y="7"/>
                  </a:cubicBezTo>
                  <a:cubicBezTo>
                    <a:pt x="71" y="7"/>
                    <a:pt x="72" y="8"/>
                    <a:pt x="72" y="10"/>
                  </a:cubicBezTo>
                  <a:close/>
                  <a:moveTo>
                    <a:pt x="4" y="12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2" y="5"/>
                    <a:pt x="10" y="7"/>
                    <a:pt x="10" y="10"/>
                  </a:cubicBezTo>
                  <a:cubicBezTo>
                    <a:pt x="10" y="14"/>
                    <a:pt x="12" y="16"/>
                    <a:pt x="15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6" y="17"/>
                    <a:pt x="4" y="15"/>
                    <a:pt x="4" y="12"/>
                  </a:cubicBezTo>
                  <a:close/>
                  <a:moveTo>
                    <a:pt x="106" y="12"/>
                  </a:moveTo>
                  <a:cubicBezTo>
                    <a:pt x="106" y="15"/>
                    <a:pt x="104" y="17"/>
                    <a:pt x="101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7" y="16"/>
                    <a:pt x="99" y="14"/>
                    <a:pt x="99" y="10"/>
                  </a:cubicBezTo>
                  <a:cubicBezTo>
                    <a:pt x="99" y="7"/>
                    <a:pt x="97" y="5"/>
                    <a:pt x="94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4" y="4"/>
                    <a:pt x="106" y="6"/>
                    <a:pt x="106" y="9"/>
                  </a:cubicBezTo>
                  <a:lnTo>
                    <a:pt x="106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24" name="Freeform 48"/>
            <p:cNvSpPr>
              <a:spLocks noEditPoints="1"/>
            </p:cNvSpPr>
            <p:nvPr/>
          </p:nvSpPr>
          <p:spPr bwMode="auto">
            <a:xfrm>
              <a:off x="4523" y="378"/>
              <a:ext cx="167" cy="112"/>
            </a:xfrm>
            <a:custGeom>
              <a:avLst/>
              <a:gdLst/>
              <a:ahLst/>
              <a:cxnLst>
                <a:cxn ang="0">
                  <a:pos x="2" y="47"/>
                </a:cxn>
                <a:cxn ang="0">
                  <a:pos x="68" y="47"/>
                </a:cxn>
                <a:cxn ang="0">
                  <a:pos x="70" y="45"/>
                </a:cxn>
                <a:cxn ang="0">
                  <a:pos x="70" y="29"/>
                </a:cxn>
                <a:cxn ang="0">
                  <a:pos x="70" y="8"/>
                </a:cxn>
                <a:cxn ang="0">
                  <a:pos x="68" y="6"/>
                </a:cxn>
                <a:cxn ang="0">
                  <a:pos x="43" y="6"/>
                </a:cxn>
                <a:cxn ang="0">
                  <a:pos x="41" y="8"/>
                </a:cxn>
                <a:cxn ang="0">
                  <a:pos x="41" y="27"/>
                </a:cxn>
                <a:cxn ang="0">
                  <a:pos x="20" y="27"/>
                </a:cxn>
                <a:cxn ang="0">
                  <a:pos x="7" y="2"/>
                </a:cxn>
                <a:cxn ang="0">
                  <a:pos x="5" y="1"/>
                </a:cxn>
                <a:cxn ang="0">
                  <a:pos x="4" y="2"/>
                </a:cxn>
                <a:cxn ang="0">
                  <a:pos x="4" y="27"/>
                </a:cxn>
                <a:cxn ang="0">
                  <a:pos x="2" y="27"/>
                </a:cxn>
                <a:cxn ang="0">
                  <a:pos x="0" y="29"/>
                </a:cxn>
                <a:cxn ang="0">
                  <a:pos x="0" y="45"/>
                </a:cxn>
                <a:cxn ang="0">
                  <a:pos x="2" y="47"/>
                </a:cxn>
                <a:cxn ang="0">
                  <a:pos x="45" y="10"/>
                </a:cxn>
                <a:cxn ang="0">
                  <a:pos x="67" y="10"/>
                </a:cxn>
                <a:cxn ang="0">
                  <a:pos x="67" y="27"/>
                </a:cxn>
                <a:cxn ang="0">
                  <a:pos x="45" y="27"/>
                </a:cxn>
                <a:cxn ang="0">
                  <a:pos x="45" y="10"/>
                </a:cxn>
                <a:cxn ang="0">
                  <a:pos x="7" y="10"/>
                </a:cxn>
                <a:cxn ang="0">
                  <a:pos x="16" y="27"/>
                </a:cxn>
                <a:cxn ang="0">
                  <a:pos x="7" y="27"/>
                </a:cxn>
                <a:cxn ang="0">
                  <a:pos x="7" y="10"/>
                </a:cxn>
                <a:cxn ang="0">
                  <a:pos x="3" y="31"/>
                </a:cxn>
                <a:cxn ang="0">
                  <a:pos x="19" y="31"/>
                </a:cxn>
                <a:cxn ang="0">
                  <a:pos x="19" y="31"/>
                </a:cxn>
                <a:cxn ang="0">
                  <a:pos x="19" y="31"/>
                </a:cxn>
                <a:cxn ang="0">
                  <a:pos x="67" y="31"/>
                </a:cxn>
                <a:cxn ang="0">
                  <a:pos x="67" y="43"/>
                </a:cxn>
                <a:cxn ang="0">
                  <a:pos x="3" y="43"/>
                </a:cxn>
                <a:cxn ang="0">
                  <a:pos x="3" y="31"/>
                </a:cxn>
              </a:cxnLst>
              <a:rect l="0" t="0" r="r" b="b"/>
              <a:pathLst>
                <a:path w="70" h="47">
                  <a:moveTo>
                    <a:pt x="2" y="47"/>
                  </a:moveTo>
                  <a:cubicBezTo>
                    <a:pt x="68" y="47"/>
                    <a:pt x="68" y="47"/>
                    <a:pt x="68" y="47"/>
                  </a:cubicBezTo>
                  <a:cubicBezTo>
                    <a:pt x="69" y="47"/>
                    <a:pt x="70" y="46"/>
                    <a:pt x="70" y="45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7"/>
                    <a:pt x="69" y="6"/>
                    <a:pt x="68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1" y="7"/>
                    <a:pt x="41" y="8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7"/>
                    <a:pt x="0" y="28"/>
                    <a:pt x="0" y="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7"/>
                    <a:pt x="2" y="47"/>
                  </a:cubicBezTo>
                  <a:close/>
                  <a:moveTo>
                    <a:pt x="45" y="10"/>
                  </a:moveTo>
                  <a:cubicBezTo>
                    <a:pt x="67" y="10"/>
                    <a:pt x="67" y="10"/>
                    <a:pt x="67" y="1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45" y="27"/>
                    <a:pt x="45" y="27"/>
                    <a:pt x="45" y="27"/>
                  </a:cubicBezTo>
                  <a:lnTo>
                    <a:pt x="45" y="10"/>
                  </a:lnTo>
                  <a:close/>
                  <a:moveTo>
                    <a:pt x="7" y="10"/>
                  </a:moveTo>
                  <a:cubicBezTo>
                    <a:pt x="16" y="27"/>
                    <a:pt x="16" y="27"/>
                    <a:pt x="16" y="27"/>
                  </a:cubicBezTo>
                  <a:cubicBezTo>
                    <a:pt x="7" y="27"/>
                    <a:pt x="7" y="27"/>
                    <a:pt x="7" y="27"/>
                  </a:cubicBezTo>
                  <a:lnTo>
                    <a:pt x="7" y="10"/>
                  </a:lnTo>
                  <a:close/>
                  <a:moveTo>
                    <a:pt x="3" y="31"/>
                  </a:move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3" y="43"/>
                    <a:pt x="3" y="43"/>
                    <a:pt x="3" y="43"/>
                  </a:cubicBezTo>
                  <a:lnTo>
                    <a:pt x="3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25" name="Freeform 49"/>
            <p:cNvSpPr>
              <a:spLocks noEditPoints="1"/>
            </p:cNvSpPr>
            <p:nvPr/>
          </p:nvSpPr>
          <p:spPr bwMode="auto">
            <a:xfrm>
              <a:off x="4542" y="273"/>
              <a:ext cx="237" cy="205"/>
            </a:xfrm>
            <a:custGeom>
              <a:avLst/>
              <a:gdLst/>
              <a:ahLst/>
              <a:cxnLst>
                <a:cxn ang="0">
                  <a:pos x="96" y="76"/>
                </a:cxn>
                <a:cxn ang="0">
                  <a:pos x="96" y="75"/>
                </a:cxn>
                <a:cxn ang="0">
                  <a:pos x="99" y="71"/>
                </a:cxn>
                <a:cxn ang="0">
                  <a:pos x="96" y="66"/>
                </a:cxn>
                <a:cxn ang="0">
                  <a:pos x="96" y="2"/>
                </a:cxn>
                <a:cxn ang="0">
                  <a:pos x="96" y="2"/>
                </a:cxn>
                <a:cxn ang="0">
                  <a:pos x="96" y="2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1" y="42"/>
                </a:cxn>
                <a:cxn ang="0">
                  <a:pos x="0" y="43"/>
                </a:cxn>
                <a:cxn ang="0">
                  <a:pos x="0" y="45"/>
                </a:cxn>
                <a:cxn ang="0">
                  <a:pos x="8" y="60"/>
                </a:cxn>
                <a:cxn ang="0">
                  <a:pos x="9" y="61"/>
                </a:cxn>
                <a:cxn ang="0">
                  <a:pos x="9" y="61"/>
                </a:cxn>
                <a:cxn ang="0">
                  <a:pos x="10" y="60"/>
                </a:cxn>
                <a:cxn ang="0">
                  <a:pos x="93" y="5"/>
                </a:cxn>
                <a:cxn ang="0">
                  <a:pos x="93" y="66"/>
                </a:cxn>
                <a:cxn ang="0">
                  <a:pos x="90" y="71"/>
                </a:cxn>
                <a:cxn ang="0">
                  <a:pos x="93" y="75"/>
                </a:cxn>
                <a:cxn ang="0">
                  <a:pos x="93" y="78"/>
                </a:cxn>
                <a:cxn ang="0">
                  <a:pos x="94" y="79"/>
                </a:cxn>
                <a:cxn ang="0">
                  <a:pos x="96" y="81"/>
                </a:cxn>
                <a:cxn ang="0">
                  <a:pos x="94" y="82"/>
                </a:cxn>
                <a:cxn ang="0">
                  <a:pos x="93" y="84"/>
                </a:cxn>
                <a:cxn ang="0">
                  <a:pos x="94" y="86"/>
                </a:cxn>
                <a:cxn ang="0">
                  <a:pos x="99" y="81"/>
                </a:cxn>
                <a:cxn ang="0">
                  <a:pos x="96" y="76"/>
                </a:cxn>
                <a:cxn ang="0">
                  <a:pos x="93" y="71"/>
                </a:cxn>
                <a:cxn ang="0">
                  <a:pos x="94" y="70"/>
                </a:cxn>
                <a:cxn ang="0">
                  <a:pos x="96" y="71"/>
                </a:cxn>
                <a:cxn ang="0">
                  <a:pos x="94" y="72"/>
                </a:cxn>
                <a:cxn ang="0">
                  <a:pos x="93" y="71"/>
                </a:cxn>
                <a:cxn ang="0">
                  <a:pos x="10" y="56"/>
                </a:cxn>
                <a:cxn ang="0">
                  <a:pos x="4" y="45"/>
                </a:cxn>
                <a:cxn ang="0">
                  <a:pos x="75" y="13"/>
                </a:cxn>
                <a:cxn ang="0">
                  <a:pos x="10" y="56"/>
                </a:cxn>
              </a:cxnLst>
              <a:rect l="0" t="0" r="r" b="b"/>
              <a:pathLst>
                <a:path w="99" h="86">
                  <a:moveTo>
                    <a:pt x="96" y="76"/>
                  </a:moveTo>
                  <a:cubicBezTo>
                    <a:pt x="96" y="75"/>
                    <a:pt x="96" y="75"/>
                    <a:pt x="96" y="75"/>
                  </a:cubicBezTo>
                  <a:cubicBezTo>
                    <a:pt x="98" y="75"/>
                    <a:pt x="99" y="73"/>
                    <a:pt x="99" y="71"/>
                  </a:cubicBezTo>
                  <a:cubicBezTo>
                    <a:pt x="99" y="69"/>
                    <a:pt x="98" y="67"/>
                    <a:pt x="96" y="66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4"/>
                    <a:pt x="0" y="44"/>
                    <a:pt x="0" y="45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0"/>
                    <a:pt x="8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10" y="61"/>
                    <a:pt x="10" y="61"/>
                    <a:pt x="10" y="60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1" y="67"/>
                    <a:pt x="90" y="69"/>
                    <a:pt x="90" y="71"/>
                  </a:cubicBezTo>
                  <a:cubicBezTo>
                    <a:pt x="90" y="73"/>
                    <a:pt x="91" y="75"/>
                    <a:pt x="93" y="75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9"/>
                    <a:pt x="93" y="79"/>
                    <a:pt x="94" y="79"/>
                  </a:cubicBezTo>
                  <a:cubicBezTo>
                    <a:pt x="95" y="79"/>
                    <a:pt x="96" y="80"/>
                    <a:pt x="96" y="81"/>
                  </a:cubicBezTo>
                  <a:cubicBezTo>
                    <a:pt x="96" y="81"/>
                    <a:pt x="95" y="82"/>
                    <a:pt x="94" y="82"/>
                  </a:cubicBezTo>
                  <a:cubicBezTo>
                    <a:pt x="93" y="82"/>
                    <a:pt x="93" y="83"/>
                    <a:pt x="93" y="84"/>
                  </a:cubicBezTo>
                  <a:cubicBezTo>
                    <a:pt x="93" y="85"/>
                    <a:pt x="93" y="86"/>
                    <a:pt x="94" y="86"/>
                  </a:cubicBezTo>
                  <a:cubicBezTo>
                    <a:pt x="97" y="86"/>
                    <a:pt x="99" y="83"/>
                    <a:pt x="99" y="81"/>
                  </a:cubicBezTo>
                  <a:cubicBezTo>
                    <a:pt x="99" y="79"/>
                    <a:pt x="98" y="77"/>
                    <a:pt x="96" y="76"/>
                  </a:cubicBezTo>
                  <a:close/>
                  <a:moveTo>
                    <a:pt x="93" y="71"/>
                  </a:moveTo>
                  <a:cubicBezTo>
                    <a:pt x="93" y="70"/>
                    <a:pt x="94" y="70"/>
                    <a:pt x="94" y="70"/>
                  </a:cubicBezTo>
                  <a:cubicBezTo>
                    <a:pt x="95" y="70"/>
                    <a:pt x="96" y="70"/>
                    <a:pt x="96" y="71"/>
                  </a:cubicBezTo>
                  <a:cubicBezTo>
                    <a:pt x="96" y="72"/>
                    <a:pt x="95" y="72"/>
                    <a:pt x="94" y="72"/>
                  </a:cubicBezTo>
                  <a:cubicBezTo>
                    <a:pt x="94" y="72"/>
                    <a:pt x="93" y="72"/>
                    <a:pt x="93" y="71"/>
                  </a:cubicBezTo>
                  <a:close/>
                  <a:moveTo>
                    <a:pt x="10" y="56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75" y="13"/>
                    <a:pt x="75" y="13"/>
                    <a:pt x="75" y="13"/>
                  </a:cubicBezTo>
                  <a:lnTo>
                    <a:pt x="10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26" name="Freeform 50"/>
            <p:cNvSpPr>
              <a:spLocks noEditPoints="1"/>
            </p:cNvSpPr>
            <p:nvPr/>
          </p:nvSpPr>
          <p:spPr bwMode="auto">
            <a:xfrm>
              <a:off x="4379" y="163"/>
              <a:ext cx="496" cy="497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50" y="203"/>
                    <a:pt x="5" y="158"/>
                    <a:pt x="5" y="104"/>
                  </a:cubicBezTo>
                  <a:cubicBezTo>
                    <a:pt x="5" y="50"/>
                    <a:pt x="50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29" name="Group 53"/>
          <p:cNvGrpSpPr>
            <a:grpSpLocks noChangeAspect="1"/>
          </p:cNvGrpSpPr>
          <p:nvPr/>
        </p:nvGrpSpPr>
        <p:grpSpPr bwMode="auto">
          <a:xfrm>
            <a:off x="8050213" y="257175"/>
            <a:ext cx="787400" cy="790575"/>
            <a:chOff x="5071" y="162"/>
            <a:chExt cx="496" cy="498"/>
          </a:xfrm>
        </p:grpSpPr>
        <p:sp>
          <p:nvSpPr>
            <p:cNvPr id="50230" name="Freeform 54"/>
            <p:cNvSpPr>
              <a:spLocks noEditPoints="1"/>
            </p:cNvSpPr>
            <p:nvPr/>
          </p:nvSpPr>
          <p:spPr bwMode="auto">
            <a:xfrm>
              <a:off x="5179" y="493"/>
              <a:ext cx="261" cy="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12"/>
                </a:cxn>
                <a:cxn ang="0">
                  <a:pos x="100" y="21"/>
                </a:cxn>
                <a:cxn ang="0">
                  <a:pos x="109" y="9"/>
                </a:cxn>
                <a:cxn ang="0">
                  <a:pos x="94" y="10"/>
                </a:cxn>
                <a:cxn ang="0">
                  <a:pos x="87" y="10"/>
                </a:cxn>
                <a:cxn ang="0">
                  <a:pos x="94" y="10"/>
                </a:cxn>
                <a:cxn ang="0">
                  <a:pos x="88" y="17"/>
                </a:cxn>
                <a:cxn ang="0">
                  <a:pos x="75" y="10"/>
                </a:cxn>
                <a:cxn ang="0">
                  <a:pos x="87" y="4"/>
                </a:cxn>
                <a:cxn ang="0">
                  <a:pos x="17" y="7"/>
                </a:cxn>
                <a:cxn ang="0">
                  <a:pos x="17" y="14"/>
                </a:cxn>
                <a:cxn ang="0">
                  <a:pos x="17" y="7"/>
                </a:cxn>
                <a:cxn ang="0">
                  <a:pos x="20" y="4"/>
                </a:cxn>
                <a:cxn ang="0">
                  <a:pos x="35" y="10"/>
                </a:cxn>
                <a:cxn ang="0">
                  <a:pos x="20" y="17"/>
                </a:cxn>
                <a:cxn ang="0">
                  <a:pos x="46" y="10"/>
                </a:cxn>
                <a:cxn ang="0">
                  <a:pos x="39" y="10"/>
                </a:cxn>
                <a:cxn ang="0">
                  <a:pos x="46" y="10"/>
                </a:cxn>
                <a:cxn ang="0">
                  <a:pos x="46" y="4"/>
                </a:cxn>
                <a:cxn ang="0">
                  <a:pos x="61" y="10"/>
                </a:cxn>
                <a:cxn ang="0">
                  <a:pos x="45" y="17"/>
                </a:cxn>
                <a:cxn ang="0">
                  <a:pos x="72" y="10"/>
                </a:cxn>
                <a:cxn ang="0">
                  <a:pos x="64" y="10"/>
                </a:cxn>
                <a:cxn ang="0">
                  <a:pos x="72" y="10"/>
                </a:cxn>
                <a:cxn ang="0">
                  <a:pos x="3" y="9"/>
                </a:cxn>
                <a:cxn ang="0">
                  <a:pos x="14" y="4"/>
                </a:cxn>
                <a:cxn ang="0">
                  <a:pos x="15" y="17"/>
                </a:cxn>
                <a:cxn ang="0">
                  <a:pos x="3" y="12"/>
                </a:cxn>
                <a:cxn ang="0">
                  <a:pos x="100" y="17"/>
                </a:cxn>
                <a:cxn ang="0">
                  <a:pos x="98" y="10"/>
                </a:cxn>
                <a:cxn ang="0">
                  <a:pos x="100" y="4"/>
                </a:cxn>
                <a:cxn ang="0">
                  <a:pos x="105" y="12"/>
                </a:cxn>
              </a:cxnLst>
              <a:rect l="0" t="0" r="r" b="b"/>
              <a:pathLst>
                <a:path w="109" h="21">
                  <a:moveTo>
                    <a:pt x="10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7"/>
                    <a:pt x="3" y="21"/>
                    <a:pt x="8" y="21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5" y="21"/>
                    <a:pt x="109" y="17"/>
                    <a:pt x="109" y="12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9" y="4"/>
                    <a:pt x="105" y="0"/>
                    <a:pt x="100" y="0"/>
                  </a:cubicBezTo>
                  <a:close/>
                  <a:moveTo>
                    <a:pt x="94" y="10"/>
                  </a:moveTo>
                  <a:cubicBezTo>
                    <a:pt x="94" y="12"/>
                    <a:pt x="93" y="14"/>
                    <a:pt x="91" y="14"/>
                  </a:cubicBezTo>
                  <a:cubicBezTo>
                    <a:pt x="89" y="14"/>
                    <a:pt x="87" y="12"/>
                    <a:pt x="87" y="10"/>
                  </a:cubicBezTo>
                  <a:cubicBezTo>
                    <a:pt x="87" y="8"/>
                    <a:pt x="89" y="7"/>
                    <a:pt x="91" y="7"/>
                  </a:cubicBezTo>
                  <a:cubicBezTo>
                    <a:pt x="93" y="7"/>
                    <a:pt x="94" y="8"/>
                    <a:pt x="94" y="10"/>
                  </a:cubicBezTo>
                  <a:close/>
                  <a:moveTo>
                    <a:pt x="83" y="10"/>
                  </a:moveTo>
                  <a:cubicBezTo>
                    <a:pt x="83" y="14"/>
                    <a:pt x="85" y="16"/>
                    <a:pt x="88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3" y="16"/>
                    <a:pt x="75" y="14"/>
                    <a:pt x="75" y="10"/>
                  </a:cubicBezTo>
                  <a:cubicBezTo>
                    <a:pt x="75" y="7"/>
                    <a:pt x="74" y="5"/>
                    <a:pt x="71" y="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5" y="5"/>
                    <a:pt x="83" y="7"/>
                    <a:pt x="83" y="10"/>
                  </a:cubicBezTo>
                  <a:close/>
                  <a:moveTo>
                    <a:pt x="17" y="7"/>
                  </a:moveTo>
                  <a:cubicBezTo>
                    <a:pt x="19" y="7"/>
                    <a:pt x="21" y="8"/>
                    <a:pt x="21" y="10"/>
                  </a:cubicBezTo>
                  <a:cubicBezTo>
                    <a:pt x="21" y="12"/>
                    <a:pt x="19" y="14"/>
                    <a:pt x="17" y="14"/>
                  </a:cubicBezTo>
                  <a:cubicBezTo>
                    <a:pt x="15" y="14"/>
                    <a:pt x="13" y="12"/>
                    <a:pt x="13" y="10"/>
                  </a:cubicBezTo>
                  <a:cubicBezTo>
                    <a:pt x="13" y="8"/>
                    <a:pt x="15" y="7"/>
                    <a:pt x="17" y="7"/>
                  </a:cubicBezTo>
                  <a:close/>
                  <a:moveTo>
                    <a:pt x="25" y="10"/>
                  </a:moveTo>
                  <a:cubicBezTo>
                    <a:pt x="25" y="7"/>
                    <a:pt x="23" y="5"/>
                    <a:pt x="20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5" y="7"/>
                    <a:pt x="35" y="10"/>
                  </a:cubicBezTo>
                  <a:cubicBezTo>
                    <a:pt x="35" y="14"/>
                    <a:pt x="37" y="16"/>
                    <a:pt x="4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3" y="16"/>
                    <a:pt x="25" y="14"/>
                    <a:pt x="25" y="10"/>
                  </a:cubicBezTo>
                  <a:close/>
                  <a:moveTo>
                    <a:pt x="46" y="10"/>
                  </a:moveTo>
                  <a:cubicBezTo>
                    <a:pt x="46" y="12"/>
                    <a:pt x="44" y="14"/>
                    <a:pt x="42" y="14"/>
                  </a:cubicBezTo>
                  <a:cubicBezTo>
                    <a:pt x="40" y="14"/>
                    <a:pt x="39" y="12"/>
                    <a:pt x="39" y="10"/>
                  </a:cubicBezTo>
                  <a:cubicBezTo>
                    <a:pt x="39" y="8"/>
                    <a:pt x="40" y="7"/>
                    <a:pt x="42" y="7"/>
                  </a:cubicBezTo>
                  <a:cubicBezTo>
                    <a:pt x="44" y="7"/>
                    <a:pt x="46" y="8"/>
                    <a:pt x="46" y="10"/>
                  </a:cubicBezTo>
                  <a:close/>
                  <a:moveTo>
                    <a:pt x="50" y="10"/>
                  </a:moveTo>
                  <a:cubicBezTo>
                    <a:pt x="50" y="7"/>
                    <a:pt x="48" y="5"/>
                    <a:pt x="46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2" y="5"/>
                    <a:pt x="61" y="7"/>
                    <a:pt x="61" y="10"/>
                  </a:cubicBezTo>
                  <a:cubicBezTo>
                    <a:pt x="61" y="14"/>
                    <a:pt x="63" y="16"/>
                    <a:pt x="6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8" y="16"/>
                    <a:pt x="50" y="14"/>
                    <a:pt x="50" y="10"/>
                  </a:cubicBezTo>
                  <a:close/>
                  <a:moveTo>
                    <a:pt x="72" y="10"/>
                  </a:moveTo>
                  <a:cubicBezTo>
                    <a:pt x="72" y="12"/>
                    <a:pt x="70" y="14"/>
                    <a:pt x="68" y="14"/>
                  </a:cubicBezTo>
                  <a:cubicBezTo>
                    <a:pt x="66" y="14"/>
                    <a:pt x="64" y="12"/>
                    <a:pt x="64" y="10"/>
                  </a:cubicBezTo>
                  <a:cubicBezTo>
                    <a:pt x="64" y="8"/>
                    <a:pt x="66" y="7"/>
                    <a:pt x="68" y="7"/>
                  </a:cubicBezTo>
                  <a:cubicBezTo>
                    <a:pt x="70" y="7"/>
                    <a:pt x="72" y="8"/>
                    <a:pt x="72" y="10"/>
                  </a:cubicBezTo>
                  <a:close/>
                  <a:moveTo>
                    <a:pt x="3" y="12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6"/>
                    <a:pt x="5" y="4"/>
                    <a:pt x="8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5"/>
                    <a:pt x="10" y="7"/>
                    <a:pt x="10" y="10"/>
                  </a:cubicBezTo>
                  <a:cubicBezTo>
                    <a:pt x="10" y="14"/>
                    <a:pt x="12" y="16"/>
                    <a:pt x="15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5" y="17"/>
                    <a:pt x="3" y="15"/>
                    <a:pt x="3" y="12"/>
                  </a:cubicBezTo>
                  <a:close/>
                  <a:moveTo>
                    <a:pt x="105" y="12"/>
                  </a:moveTo>
                  <a:cubicBezTo>
                    <a:pt x="105" y="15"/>
                    <a:pt x="103" y="17"/>
                    <a:pt x="100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6" y="16"/>
                    <a:pt x="98" y="14"/>
                    <a:pt x="98" y="10"/>
                  </a:cubicBezTo>
                  <a:cubicBezTo>
                    <a:pt x="98" y="7"/>
                    <a:pt x="96" y="5"/>
                    <a:pt x="94" y="4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3" y="4"/>
                    <a:pt x="105" y="6"/>
                    <a:pt x="105" y="9"/>
                  </a:cubicBezTo>
                  <a:lnTo>
                    <a:pt x="105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31" name="Freeform 55"/>
            <p:cNvSpPr>
              <a:spLocks noEditPoints="1"/>
            </p:cNvSpPr>
            <p:nvPr/>
          </p:nvSpPr>
          <p:spPr bwMode="auto">
            <a:xfrm>
              <a:off x="5213" y="378"/>
              <a:ext cx="170" cy="112"/>
            </a:xfrm>
            <a:custGeom>
              <a:avLst/>
              <a:gdLst/>
              <a:ahLst/>
              <a:cxnLst>
                <a:cxn ang="0">
                  <a:pos x="2" y="47"/>
                </a:cxn>
                <a:cxn ang="0">
                  <a:pos x="69" y="47"/>
                </a:cxn>
                <a:cxn ang="0">
                  <a:pos x="71" y="45"/>
                </a:cxn>
                <a:cxn ang="0">
                  <a:pos x="71" y="29"/>
                </a:cxn>
                <a:cxn ang="0">
                  <a:pos x="71" y="8"/>
                </a:cxn>
                <a:cxn ang="0">
                  <a:pos x="69" y="6"/>
                </a:cxn>
                <a:cxn ang="0">
                  <a:pos x="43" y="6"/>
                </a:cxn>
                <a:cxn ang="0">
                  <a:pos x="41" y="8"/>
                </a:cxn>
                <a:cxn ang="0">
                  <a:pos x="41" y="27"/>
                </a:cxn>
                <a:cxn ang="0">
                  <a:pos x="21" y="27"/>
                </a:cxn>
                <a:cxn ang="0">
                  <a:pos x="8" y="2"/>
                </a:cxn>
                <a:cxn ang="0">
                  <a:pos x="6" y="1"/>
                </a:cxn>
                <a:cxn ang="0">
                  <a:pos x="4" y="2"/>
                </a:cxn>
                <a:cxn ang="0">
                  <a:pos x="4" y="27"/>
                </a:cxn>
                <a:cxn ang="0">
                  <a:pos x="2" y="27"/>
                </a:cxn>
                <a:cxn ang="0">
                  <a:pos x="0" y="29"/>
                </a:cxn>
                <a:cxn ang="0">
                  <a:pos x="0" y="45"/>
                </a:cxn>
                <a:cxn ang="0">
                  <a:pos x="2" y="47"/>
                </a:cxn>
                <a:cxn ang="0">
                  <a:pos x="45" y="10"/>
                </a:cxn>
                <a:cxn ang="0">
                  <a:pos x="67" y="10"/>
                </a:cxn>
                <a:cxn ang="0">
                  <a:pos x="67" y="27"/>
                </a:cxn>
                <a:cxn ang="0">
                  <a:pos x="45" y="27"/>
                </a:cxn>
                <a:cxn ang="0">
                  <a:pos x="45" y="10"/>
                </a:cxn>
                <a:cxn ang="0">
                  <a:pos x="8" y="10"/>
                </a:cxn>
                <a:cxn ang="0">
                  <a:pos x="17" y="27"/>
                </a:cxn>
                <a:cxn ang="0">
                  <a:pos x="8" y="27"/>
                </a:cxn>
                <a:cxn ang="0">
                  <a:pos x="8" y="10"/>
                </a:cxn>
                <a:cxn ang="0">
                  <a:pos x="4" y="31"/>
                </a:cxn>
                <a:cxn ang="0">
                  <a:pos x="20" y="31"/>
                </a:cxn>
                <a:cxn ang="0">
                  <a:pos x="20" y="31"/>
                </a:cxn>
                <a:cxn ang="0">
                  <a:pos x="20" y="31"/>
                </a:cxn>
                <a:cxn ang="0">
                  <a:pos x="67" y="31"/>
                </a:cxn>
                <a:cxn ang="0">
                  <a:pos x="67" y="43"/>
                </a:cxn>
                <a:cxn ang="0">
                  <a:pos x="4" y="43"/>
                </a:cxn>
                <a:cxn ang="0">
                  <a:pos x="4" y="31"/>
                </a:cxn>
              </a:cxnLst>
              <a:rect l="0" t="0" r="r" b="b"/>
              <a:pathLst>
                <a:path w="71" h="47">
                  <a:moveTo>
                    <a:pt x="2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1" y="46"/>
                    <a:pt x="71" y="45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7"/>
                    <a:pt x="70" y="6"/>
                    <a:pt x="69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1" y="7"/>
                    <a:pt x="41" y="8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6" y="0"/>
                    <a:pt x="6" y="1"/>
                  </a:cubicBezTo>
                  <a:cubicBezTo>
                    <a:pt x="5" y="1"/>
                    <a:pt x="4" y="2"/>
                    <a:pt x="4" y="2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8"/>
                    <a:pt x="0" y="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1" y="47"/>
                    <a:pt x="2" y="47"/>
                  </a:cubicBezTo>
                  <a:close/>
                  <a:moveTo>
                    <a:pt x="45" y="10"/>
                  </a:moveTo>
                  <a:cubicBezTo>
                    <a:pt x="67" y="10"/>
                    <a:pt x="67" y="10"/>
                    <a:pt x="67" y="1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45" y="27"/>
                    <a:pt x="45" y="27"/>
                    <a:pt x="45" y="27"/>
                  </a:cubicBezTo>
                  <a:lnTo>
                    <a:pt x="45" y="10"/>
                  </a:lnTo>
                  <a:close/>
                  <a:moveTo>
                    <a:pt x="8" y="10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8" y="27"/>
                    <a:pt x="8" y="27"/>
                    <a:pt x="8" y="27"/>
                  </a:cubicBezTo>
                  <a:lnTo>
                    <a:pt x="8" y="10"/>
                  </a:lnTo>
                  <a:close/>
                  <a:moveTo>
                    <a:pt x="4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4" y="43"/>
                    <a:pt x="4" y="43"/>
                    <a:pt x="4" y="43"/>
                  </a:cubicBezTo>
                  <a:lnTo>
                    <a:pt x="4" y="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32" name="Freeform 56"/>
            <p:cNvSpPr>
              <a:spLocks noEditPoints="1"/>
            </p:cNvSpPr>
            <p:nvPr/>
          </p:nvSpPr>
          <p:spPr bwMode="auto">
            <a:xfrm>
              <a:off x="5232" y="273"/>
              <a:ext cx="239" cy="205"/>
            </a:xfrm>
            <a:custGeom>
              <a:avLst/>
              <a:gdLst/>
              <a:ahLst/>
              <a:cxnLst>
                <a:cxn ang="0">
                  <a:pos x="97" y="76"/>
                </a:cxn>
                <a:cxn ang="0">
                  <a:pos x="97" y="75"/>
                </a:cxn>
                <a:cxn ang="0">
                  <a:pos x="100" y="71"/>
                </a:cxn>
                <a:cxn ang="0">
                  <a:pos x="97" y="66"/>
                </a:cxn>
                <a:cxn ang="0">
                  <a:pos x="97" y="2"/>
                </a:cxn>
                <a:cxn ang="0">
                  <a:pos x="97" y="2"/>
                </a:cxn>
                <a:cxn ang="0">
                  <a:pos x="97" y="2"/>
                </a:cxn>
                <a:cxn ang="0">
                  <a:pos x="97" y="1"/>
                </a:cxn>
                <a:cxn ang="0">
                  <a:pos x="97" y="1"/>
                </a:cxn>
                <a:cxn ang="0">
                  <a:pos x="97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1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5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1" y="42"/>
                </a:cxn>
                <a:cxn ang="0">
                  <a:pos x="0" y="43"/>
                </a:cxn>
                <a:cxn ang="0">
                  <a:pos x="0" y="45"/>
                </a:cxn>
                <a:cxn ang="0">
                  <a:pos x="8" y="60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11" y="60"/>
                </a:cxn>
                <a:cxn ang="0">
                  <a:pos x="93" y="5"/>
                </a:cxn>
                <a:cxn ang="0">
                  <a:pos x="93" y="66"/>
                </a:cxn>
                <a:cxn ang="0">
                  <a:pos x="90" y="71"/>
                </a:cxn>
                <a:cxn ang="0">
                  <a:pos x="93" y="75"/>
                </a:cxn>
                <a:cxn ang="0">
                  <a:pos x="93" y="78"/>
                </a:cxn>
                <a:cxn ang="0">
                  <a:pos x="95" y="79"/>
                </a:cxn>
                <a:cxn ang="0">
                  <a:pos x="96" y="81"/>
                </a:cxn>
                <a:cxn ang="0">
                  <a:pos x="95" y="82"/>
                </a:cxn>
                <a:cxn ang="0">
                  <a:pos x="93" y="84"/>
                </a:cxn>
                <a:cxn ang="0">
                  <a:pos x="95" y="86"/>
                </a:cxn>
                <a:cxn ang="0">
                  <a:pos x="100" y="81"/>
                </a:cxn>
                <a:cxn ang="0">
                  <a:pos x="97" y="76"/>
                </a:cxn>
                <a:cxn ang="0">
                  <a:pos x="94" y="71"/>
                </a:cxn>
                <a:cxn ang="0">
                  <a:pos x="95" y="70"/>
                </a:cxn>
                <a:cxn ang="0">
                  <a:pos x="96" y="71"/>
                </a:cxn>
                <a:cxn ang="0">
                  <a:pos x="95" y="72"/>
                </a:cxn>
                <a:cxn ang="0">
                  <a:pos x="94" y="71"/>
                </a:cxn>
                <a:cxn ang="0">
                  <a:pos x="10" y="56"/>
                </a:cxn>
                <a:cxn ang="0">
                  <a:pos x="4" y="45"/>
                </a:cxn>
                <a:cxn ang="0">
                  <a:pos x="76" y="13"/>
                </a:cxn>
                <a:cxn ang="0">
                  <a:pos x="10" y="56"/>
                </a:cxn>
              </a:cxnLst>
              <a:rect l="0" t="0" r="r" b="b"/>
              <a:pathLst>
                <a:path w="100" h="86">
                  <a:moveTo>
                    <a:pt x="97" y="76"/>
                  </a:moveTo>
                  <a:cubicBezTo>
                    <a:pt x="97" y="75"/>
                    <a:pt x="97" y="75"/>
                    <a:pt x="97" y="75"/>
                  </a:cubicBezTo>
                  <a:cubicBezTo>
                    <a:pt x="98" y="75"/>
                    <a:pt x="100" y="73"/>
                    <a:pt x="100" y="71"/>
                  </a:cubicBezTo>
                  <a:cubicBezTo>
                    <a:pt x="100" y="69"/>
                    <a:pt x="98" y="67"/>
                    <a:pt x="97" y="66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1"/>
                    <a:pt x="97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3"/>
                    <a:pt x="0" y="43"/>
                    <a:pt x="0" y="43"/>
                  </a:cubicBezTo>
                  <a:cubicBezTo>
                    <a:pt x="0" y="44"/>
                    <a:pt x="0" y="44"/>
                    <a:pt x="0" y="45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0"/>
                    <a:pt x="9" y="61"/>
                    <a:pt x="9" y="61"/>
                  </a:cubicBezTo>
                  <a:cubicBezTo>
                    <a:pt x="9" y="61"/>
                    <a:pt x="10" y="61"/>
                    <a:pt x="10" y="61"/>
                  </a:cubicBezTo>
                  <a:cubicBezTo>
                    <a:pt x="10" y="61"/>
                    <a:pt x="10" y="61"/>
                    <a:pt x="11" y="60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1" y="67"/>
                    <a:pt x="90" y="69"/>
                    <a:pt x="90" y="71"/>
                  </a:cubicBezTo>
                  <a:cubicBezTo>
                    <a:pt x="90" y="73"/>
                    <a:pt x="91" y="75"/>
                    <a:pt x="93" y="75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9"/>
                    <a:pt x="94" y="79"/>
                    <a:pt x="95" y="79"/>
                  </a:cubicBezTo>
                  <a:cubicBezTo>
                    <a:pt x="96" y="79"/>
                    <a:pt x="96" y="80"/>
                    <a:pt x="96" y="81"/>
                  </a:cubicBezTo>
                  <a:cubicBezTo>
                    <a:pt x="96" y="81"/>
                    <a:pt x="96" y="82"/>
                    <a:pt x="95" y="82"/>
                  </a:cubicBezTo>
                  <a:cubicBezTo>
                    <a:pt x="94" y="82"/>
                    <a:pt x="93" y="83"/>
                    <a:pt x="93" y="84"/>
                  </a:cubicBezTo>
                  <a:cubicBezTo>
                    <a:pt x="93" y="85"/>
                    <a:pt x="94" y="86"/>
                    <a:pt x="95" y="86"/>
                  </a:cubicBezTo>
                  <a:cubicBezTo>
                    <a:pt x="98" y="86"/>
                    <a:pt x="100" y="83"/>
                    <a:pt x="100" y="81"/>
                  </a:cubicBezTo>
                  <a:cubicBezTo>
                    <a:pt x="100" y="79"/>
                    <a:pt x="98" y="77"/>
                    <a:pt x="97" y="76"/>
                  </a:cubicBezTo>
                  <a:close/>
                  <a:moveTo>
                    <a:pt x="94" y="71"/>
                  </a:moveTo>
                  <a:cubicBezTo>
                    <a:pt x="94" y="70"/>
                    <a:pt x="94" y="70"/>
                    <a:pt x="95" y="70"/>
                  </a:cubicBezTo>
                  <a:cubicBezTo>
                    <a:pt x="96" y="70"/>
                    <a:pt x="96" y="70"/>
                    <a:pt x="96" y="71"/>
                  </a:cubicBezTo>
                  <a:cubicBezTo>
                    <a:pt x="96" y="72"/>
                    <a:pt x="96" y="72"/>
                    <a:pt x="95" y="72"/>
                  </a:cubicBezTo>
                  <a:cubicBezTo>
                    <a:pt x="94" y="72"/>
                    <a:pt x="94" y="72"/>
                    <a:pt x="94" y="71"/>
                  </a:cubicBezTo>
                  <a:close/>
                  <a:moveTo>
                    <a:pt x="10" y="56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76" y="13"/>
                    <a:pt x="76" y="13"/>
                    <a:pt x="76" y="13"/>
                  </a:cubicBezTo>
                  <a:lnTo>
                    <a:pt x="10" y="5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33" name="Freeform 57"/>
            <p:cNvSpPr>
              <a:spLocks noEditPoints="1"/>
            </p:cNvSpPr>
            <p:nvPr/>
          </p:nvSpPr>
          <p:spPr bwMode="auto">
            <a:xfrm>
              <a:off x="5071" y="162"/>
              <a:ext cx="496" cy="498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8"/>
                </a:cxn>
                <a:cxn ang="0">
                  <a:pos x="207" y="104"/>
                </a:cxn>
                <a:cxn ang="0">
                  <a:pos x="103" y="0"/>
                </a:cxn>
                <a:cxn ang="0">
                  <a:pos x="103" y="203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2" y="104"/>
                </a:cxn>
                <a:cxn ang="0">
                  <a:pos x="103" y="203"/>
                </a:cxn>
              </a:cxnLst>
              <a:rect l="0" t="0" r="r" b="b"/>
              <a:pathLst>
                <a:path w="207" h="208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3" y="208"/>
                  </a:cubicBezTo>
                  <a:cubicBezTo>
                    <a:pt x="160" y="208"/>
                    <a:pt x="207" y="161"/>
                    <a:pt x="207" y="104"/>
                  </a:cubicBezTo>
                  <a:cubicBezTo>
                    <a:pt x="207" y="47"/>
                    <a:pt x="160" y="0"/>
                    <a:pt x="103" y="0"/>
                  </a:cubicBezTo>
                  <a:close/>
                  <a:moveTo>
                    <a:pt x="103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3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3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36" name="Group 60"/>
          <p:cNvGrpSpPr>
            <a:grpSpLocks noChangeAspect="1"/>
          </p:cNvGrpSpPr>
          <p:nvPr/>
        </p:nvGrpSpPr>
        <p:grpSpPr bwMode="auto">
          <a:xfrm>
            <a:off x="365919" y="1498600"/>
            <a:ext cx="828675" cy="828675"/>
            <a:chOff x="234" y="944"/>
            <a:chExt cx="522" cy="522"/>
          </a:xfrm>
        </p:grpSpPr>
        <p:sp>
          <p:nvSpPr>
            <p:cNvPr id="50237" name="Oval 61"/>
            <p:cNvSpPr>
              <a:spLocks noChangeArrowheads="1"/>
            </p:cNvSpPr>
            <p:nvPr/>
          </p:nvSpPr>
          <p:spPr bwMode="auto">
            <a:xfrm>
              <a:off x="234" y="944"/>
              <a:ext cx="522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38" name="Freeform 62"/>
            <p:cNvSpPr>
              <a:spLocks noEditPoints="1"/>
            </p:cNvSpPr>
            <p:nvPr/>
          </p:nvSpPr>
          <p:spPr bwMode="auto">
            <a:xfrm>
              <a:off x="253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39" name="Freeform 63"/>
            <p:cNvSpPr>
              <a:spLocks noEditPoints="1"/>
            </p:cNvSpPr>
            <p:nvPr/>
          </p:nvSpPr>
          <p:spPr bwMode="auto">
            <a:xfrm>
              <a:off x="347" y="1085"/>
              <a:ext cx="296" cy="242"/>
            </a:xfrm>
            <a:custGeom>
              <a:avLst/>
              <a:gdLst/>
              <a:ahLst/>
              <a:cxnLst>
                <a:cxn ang="0">
                  <a:pos x="196" y="60"/>
                </a:cxn>
                <a:cxn ang="0">
                  <a:pos x="196" y="10"/>
                </a:cxn>
                <a:cxn ang="0">
                  <a:pos x="196" y="0"/>
                </a:cxn>
                <a:cxn ang="0">
                  <a:pos x="186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73"/>
                </a:cxn>
                <a:cxn ang="0">
                  <a:pos x="0" y="182"/>
                </a:cxn>
                <a:cxn ang="0">
                  <a:pos x="9" y="182"/>
                </a:cxn>
                <a:cxn ang="0">
                  <a:pos x="19" y="182"/>
                </a:cxn>
                <a:cxn ang="0">
                  <a:pos x="24" y="182"/>
                </a:cxn>
                <a:cxn ang="0">
                  <a:pos x="26" y="178"/>
                </a:cxn>
                <a:cxn ang="0">
                  <a:pos x="52" y="132"/>
                </a:cxn>
                <a:cxn ang="0">
                  <a:pos x="100" y="132"/>
                </a:cxn>
                <a:cxn ang="0">
                  <a:pos x="100" y="185"/>
                </a:cxn>
                <a:cxn ang="0">
                  <a:pos x="100" y="192"/>
                </a:cxn>
                <a:cxn ang="0">
                  <a:pos x="110" y="192"/>
                </a:cxn>
                <a:cxn ang="0">
                  <a:pos x="244" y="192"/>
                </a:cxn>
                <a:cxn ang="0">
                  <a:pos x="270" y="237"/>
                </a:cxn>
                <a:cxn ang="0">
                  <a:pos x="273" y="242"/>
                </a:cxn>
                <a:cxn ang="0">
                  <a:pos x="277" y="242"/>
                </a:cxn>
                <a:cxn ang="0">
                  <a:pos x="287" y="242"/>
                </a:cxn>
                <a:cxn ang="0">
                  <a:pos x="296" y="242"/>
                </a:cxn>
                <a:cxn ang="0">
                  <a:pos x="296" y="233"/>
                </a:cxn>
                <a:cxn ang="0">
                  <a:pos x="296" y="70"/>
                </a:cxn>
                <a:cxn ang="0">
                  <a:pos x="296" y="60"/>
                </a:cxn>
                <a:cxn ang="0">
                  <a:pos x="287" y="60"/>
                </a:cxn>
                <a:cxn ang="0">
                  <a:pos x="196" y="60"/>
                </a:cxn>
                <a:cxn ang="0">
                  <a:pos x="48" y="125"/>
                </a:cxn>
                <a:cxn ang="0">
                  <a:pos x="19" y="173"/>
                </a:cxn>
                <a:cxn ang="0">
                  <a:pos x="9" y="173"/>
                </a:cxn>
                <a:cxn ang="0">
                  <a:pos x="9" y="10"/>
                </a:cxn>
                <a:cxn ang="0">
                  <a:pos x="186" y="10"/>
                </a:cxn>
                <a:cxn ang="0">
                  <a:pos x="186" y="60"/>
                </a:cxn>
                <a:cxn ang="0">
                  <a:pos x="110" y="60"/>
                </a:cxn>
                <a:cxn ang="0">
                  <a:pos x="100" y="60"/>
                </a:cxn>
                <a:cxn ang="0">
                  <a:pos x="100" y="70"/>
                </a:cxn>
                <a:cxn ang="0">
                  <a:pos x="100" y="125"/>
                </a:cxn>
                <a:cxn ang="0">
                  <a:pos x="48" y="125"/>
                </a:cxn>
                <a:cxn ang="0">
                  <a:pos x="287" y="233"/>
                </a:cxn>
                <a:cxn ang="0">
                  <a:pos x="277" y="233"/>
                </a:cxn>
                <a:cxn ang="0">
                  <a:pos x="249" y="185"/>
                </a:cxn>
                <a:cxn ang="0">
                  <a:pos x="110" y="185"/>
                </a:cxn>
                <a:cxn ang="0">
                  <a:pos x="110" y="132"/>
                </a:cxn>
                <a:cxn ang="0">
                  <a:pos x="110" y="125"/>
                </a:cxn>
                <a:cxn ang="0">
                  <a:pos x="110" y="70"/>
                </a:cxn>
                <a:cxn ang="0">
                  <a:pos x="186" y="70"/>
                </a:cxn>
                <a:cxn ang="0">
                  <a:pos x="196" y="70"/>
                </a:cxn>
                <a:cxn ang="0">
                  <a:pos x="287" y="70"/>
                </a:cxn>
                <a:cxn ang="0">
                  <a:pos x="287" y="233"/>
                </a:cxn>
              </a:cxnLst>
              <a:rect l="0" t="0" r="r" b="b"/>
              <a:pathLst>
                <a:path w="296" h="242">
                  <a:moveTo>
                    <a:pt x="196" y="60"/>
                  </a:moveTo>
                  <a:lnTo>
                    <a:pt x="196" y="10"/>
                  </a:lnTo>
                  <a:lnTo>
                    <a:pt x="196" y="0"/>
                  </a:lnTo>
                  <a:lnTo>
                    <a:pt x="186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73"/>
                  </a:lnTo>
                  <a:lnTo>
                    <a:pt x="0" y="182"/>
                  </a:lnTo>
                  <a:lnTo>
                    <a:pt x="9" y="182"/>
                  </a:lnTo>
                  <a:lnTo>
                    <a:pt x="19" y="182"/>
                  </a:lnTo>
                  <a:lnTo>
                    <a:pt x="24" y="182"/>
                  </a:lnTo>
                  <a:lnTo>
                    <a:pt x="26" y="178"/>
                  </a:lnTo>
                  <a:lnTo>
                    <a:pt x="52" y="132"/>
                  </a:lnTo>
                  <a:lnTo>
                    <a:pt x="100" y="132"/>
                  </a:lnTo>
                  <a:lnTo>
                    <a:pt x="100" y="185"/>
                  </a:lnTo>
                  <a:lnTo>
                    <a:pt x="100" y="192"/>
                  </a:lnTo>
                  <a:lnTo>
                    <a:pt x="110" y="192"/>
                  </a:lnTo>
                  <a:lnTo>
                    <a:pt x="244" y="192"/>
                  </a:lnTo>
                  <a:lnTo>
                    <a:pt x="270" y="237"/>
                  </a:lnTo>
                  <a:lnTo>
                    <a:pt x="273" y="242"/>
                  </a:lnTo>
                  <a:lnTo>
                    <a:pt x="277" y="242"/>
                  </a:lnTo>
                  <a:lnTo>
                    <a:pt x="287" y="242"/>
                  </a:lnTo>
                  <a:lnTo>
                    <a:pt x="296" y="242"/>
                  </a:lnTo>
                  <a:lnTo>
                    <a:pt x="296" y="233"/>
                  </a:lnTo>
                  <a:lnTo>
                    <a:pt x="296" y="70"/>
                  </a:lnTo>
                  <a:lnTo>
                    <a:pt x="296" y="60"/>
                  </a:lnTo>
                  <a:lnTo>
                    <a:pt x="287" y="60"/>
                  </a:lnTo>
                  <a:lnTo>
                    <a:pt x="196" y="60"/>
                  </a:lnTo>
                  <a:close/>
                  <a:moveTo>
                    <a:pt x="48" y="125"/>
                  </a:moveTo>
                  <a:lnTo>
                    <a:pt x="19" y="173"/>
                  </a:lnTo>
                  <a:lnTo>
                    <a:pt x="9" y="173"/>
                  </a:lnTo>
                  <a:lnTo>
                    <a:pt x="9" y="10"/>
                  </a:lnTo>
                  <a:lnTo>
                    <a:pt x="186" y="10"/>
                  </a:lnTo>
                  <a:lnTo>
                    <a:pt x="186" y="60"/>
                  </a:lnTo>
                  <a:lnTo>
                    <a:pt x="110" y="60"/>
                  </a:lnTo>
                  <a:lnTo>
                    <a:pt x="100" y="60"/>
                  </a:lnTo>
                  <a:lnTo>
                    <a:pt x="100" y="70"/>
                  </a:lnTo>
                  <a:lnTo>
                    <a:pt x="100" y="125"/>
                  </a:lnTo>
                  <a:lnTo>
                    <a:pt x="48" y="125"/>
                  </a:lnTo>
                  <a:close/>
                  <a:moveTo>
                    <a:pt x="287" y="233"/>
                  </a:moveTo>
                  <a:lnTo>
                    <a:pt x="277" y="233"/>
                  </a:lnTo>
                  <a:lnTo>
                    <a:pt x="249" y="185"/>
                  </a:lnTo>
                  <a:lnTo>
                    <a:pt x="110" y="185"/>
                  </a:lnTo>
                  <a:lnTo>
                    <a:pt x="110" y="132"/>
                  </a:lnTo>
                  <a:lnTo>
                    <a:pt x="110" y="125"/>
                  </a:lnTo>
                  <a:lnTo>
                    <a:pt x="110" y="70"/>
                  </a:lnTo>
                  <a:lnTo>
                    <a:pt x="186" y="70"/>
                  </a:lnTo>
                  <a:lnTo>
                    <a:pt x="196" y="70"/>
                  </a:lnTo>
                  <a:lnTo>
                    <a:pt x="287" y="70"/>
                  </a:lnTo>
                  <a:lnTo>
                    <a:pt x="287" y="23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42" name="Group 66"/>
          <p:cNvGrpSpPr>
            <a:grpSpLocks noChangeAspect="1"/>
          </p:cNvGrpSpPr>
          <p:nvPr/>
        </p:nvGrpSpPr>
        <p:grpSpPr bwMode="auto">
          <a:xfrm>
            <a:off x="1485902" y="1528765"/>
            <a:ext cx="768351" cy="768350"/>
            <a:chOff x="939" y="963"/>
            <a:chExt cx="484" cy="484"/>
          </a:xfrm>
        </p:grpSpPr>
        <p:sp>
          <p:nvSpPr>
            <p:cNvPr id="50243" name="Freeform 67"/>
            <p:cNvSpPr>
              <a:spLocks noEditPoints="1"/>
            </p:cNvSpPr>
            <p:nvPr/>
          </p:nvSpPr>
          <p:spPr bwMode="auto">
            <a:xfrm>
              <a:off x="939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44" name="Freeform 68"/>
            <p:cNvSpPr>
              <a:spLocks noEditPoints="1"/>
            </p:cNvSpPr>
            <p:nvPr/>
          </p:nvSpPr>
          <p:spPr bwMode="auto">
            <a:xfrm>
              <a:off x="1033" y="1086"/>
              <a:ext cx="297" cy="242"/>
            </a:xfrm>
            <a:custGeom>
              <a:avLst/>
              <a:gdLst/>
              <a:ahLst/>
              <a:cxnLst>
                <a:cxn ang="0">
                  <a:pos x="196" y="59"/>
                </a:cxn>
                <a:cxn ang="0">
                  <a:pos x="196" y="9"/>
                </a:cxn>
                <a:cxn ang="0">
                  <a:pos x="196" y="0"/>
                </a:cxn>
                <a:cxn ang="0">
                  <a:pos x="187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72"/>
                </a:cxn>
                <a:cxn ang="0">
                  <a:pos x="0" y="182"/>
                </a:cxn>
                <a:cxn ang="0">
                  <a:pos x="9" y="182"/>
                </a:cxn>
                <a:cxn ang="0">
                  <a:pos x="19" y="182"/>
                </a:cxn>
                <a:cxn ang="0">
                  <a:pos x="24" y="182"/>
                </a:cxn>
                <a:cxn ang="0">
                  <a:pos x="26" y="177"/>
                </a:cxn>
                <a:cxn ang="0">
                  <a:pos x="52" y="131"/>
                </a:cxn>
                <a:cxn ang="0">
                  <a:pos x="100" y="131"/>
                </a:cxn>
                <a:cxn ang="0">
                  <a:pos x="100" y="184"/>
                </a:cxn>
                <a:cxn ang="0">
                  <a:pos x="100" y="191"/>
                </a:cxn>
                <a:cxn ang="0">
                  <a:pos x="110" y="191"/>
                </a:cxn>
                <a:cxn ang="0">
                  <a:pos x="244" y="191"/>
                </a:cxn>
                <a:cxn ang="0">
                  <a:pos x="270" y="237"/>
                </a:cxn>
                <a:cxn ang="0">
                  <a:pos x="273" y="242"/>
                </a:cxn>
                <a:cxn ang="0">
                  <a:pos x="278" y="242"/>
                </a:cxn>
                <a:cxn ang="0">
                  <a:pos x="287" y="242"/>
                </a:cxn>
                <a:cxn ang="0">
                  <a:pos x="297" y="242"/>
                </a:cxn>
                <a:cxn ang="0">
                  <a:pos x="297" y="232"/>
                </a:cxn>
                <a:cxn ang="0">
                  <a:pos x="297" y="69"/>
                </a:cxn>
                <a:cxn ang="0">
                  <a:pos x="297" y="59"/>
                </a:cxn>
                <a:cxn ang="0">
                  <a:pos x="287" y="59"/>
                </a:cxn>
                <a:cxn ang="0">
                  <a:pos x="196" y="59"/>
                </a:cxn>
                <a:cxn ang="0">
                  <a:pos x="48" y="124"/>
                </a:cxn>
                <a:cxn ang="0">
                  <a:pos x="19" y="172"/>
                </a:cxn>
                <a:cxn ang="0">
                  <a:pos x="9" y="172"/>
                </a:cxn>
                <a:cxn ang="0">
                  <a:pos x="9" y="9"/>
                </a:cxn>
                <a:cxn ang="0">
                  <a:pos x="187" y="9"/>
                </a:cxn>
                <a:cxn ang="0">
                  <a:pos x="187" y="59"/>
                </a:cxn>
                <a:cxn ang="0">
                  <a:pos x="110" y="59"/>
                </a:cxn>
                <a:cxn ang="0">
                  <a:pos x="100" y="59"/>
                </a:cxn>
                <a:cxn ang="0">
                  <a:pos x="100" y="69"/>
                </a:cxn>
                <a:cxn ang="0">
                  <a:pos x="100" y="124"/>
                </a:cxn>
                <a:cxn ang="0">
                  <a:pos x="48" y="124"/>
                </a:cxn>
                <a:cxn ang="0">
                  <a:pos x="287" y="232"/>
                </a:cxn>
                <a:cxn ang="0">
                  <a:pos x="278" y="232"/>
                </a:cxn>
                <a:cxn ang="0">
                  <a:pos x="249" y="184"/>
                </a:cxn>
                <a:cxn ang="0">
                  <a:pos x="110" y="184"/>
                </a:cxn>
                <a:cxn ang="0">
                  <a:pos x="110" y="131"/>
                </a:cxn>
                <a:cxn ang="0">
                  <a:pos x="110" y="124"/>
                </a:cxn>
                <a:cxn ang="0">
                  <a:pos x="110" y="69"/>
                </a:cxn>
                <a:cxn ang="0">
                  <a:pos x="187" y="69"/>
                </a:cxn>
                <a:cxn ang="0">
                  <a:pos x="196" y="69"/>
                </a:cxn>
                <a:cxn ang="0">
                  <a:pos x="287" y="69"/>
                </a:cxn>
                <a:cxn ang="0">
                  <a:pos x="287" y="232"/>
                </a:cxn>
              </a:cxnLst>
              <a:rect l="0" t="0" r="r" b="b"/>
              <a:pathLst>
                <a:path w="297" h="242">
                  <a:moveTo>
                    <a:pt x="196" y="59"/>
                  </a:moveTo>
                  <a:lnTo>
                    <a:pt x="196" y="9"/>
                  </a:lnTo>
                  <a:lnTo>
                    <a:pt x="196" y="0"/>
                  </a:lnTo>
                  <a:lnTo>
                    <a:pt x="187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72"/>
                  </a:lnTo>
                  <a:lnTo>
                    <a:pt x="0" y="182"/>
                  </a:lnTo>
                  <a:lnTo>
                    <a:pt x="9" y="182"/>
                  </a:lnTo>
                  <a:lnTo>
                    <a:pt x="19" y="182"/>
                  </a:lnTo>
                  <a:lnTo>
                    <a:pt x="24" y="182"/>
                  </a:lnTo>
                  <a:lnTo>
                    <a:pt x="26" y="177"/>
                  </a:lnTo>
                  <a:lnTo>
                    <a:pt x="52" y="131"/>
                  </a:lnTo>
                  <a:lnTo>
                    <a:pt x="100" y="131"/>
                  </a:lnTo>
                  <a:lnTo>
                    <a:pt x="100" y="184"/>
                  </a:lnTo>
                  <a:lnTo>
                    <a:pt x="100" y="191"/>
                  </a:lnTo>
                  <a:lnTo>
                    <a:pt x="110" y="191"/>
                  </a:lnTo>
                  <a:lnTo>
                    <a:pt x="244" y="191"/>
                  </a:lnTo>
                  <a:lnTo>
                    <a:pt x="270" y="237"/>
                  </a:lnTo>
                  <a:lnTo>
                    <a:pt x="273" y="242"/>
                  </a:lnTo>
                  <a:lnTo>
                    <a:pt x="278" y="242"/>
                  </a:lnTo>
                  <a:lnTo>
                    <a:pt x="287" y="242"/>
                  </a:lnTo>
                  <a:lnTo>
                    <a:pt x="297" y="242"/>
                  </a:lnTo>
                  <a:lnTo>
                    <a:pt x="297" y="232"/>
                  </a:lnTo>
                  <a:lnTo>
                    <a:pt x="297" y="69"/>
                  </a:lnTo>
                  <a:lnTo>
                    <a:pt x="297" y="59"/>
                  </a:lnTo>
                  <a:lnTo>
                    <a:pt x="287" y="59"/>
                  </a:lnTo>
                  <a:lnTo>
                    <a:pt x="196" y="59"/>
                  </a:lnTo>
                  <a:close/>
                  <a:moveTo>
                    <a:pt x="48" y="124"/>
                  </a:moveTo>
                  <a:lnTo>
                    <a:pt x="19" y="172"/>
                  </a:lnTo>
                  <a:lnTo>
                    <a:pt x="9" y="172"/>
                  </a:lnTo>
                  <a:lnTo>
                    <a:pt x="9" y="9"/>
                  </a:lnTo>
                  <a:lnTo>
                    <a:pt x="187" y="9"/>
                  </a:lnTo>
                  <a:lnTo>
                    <a:pt x="187" y="59"/>
                  </a:lnTo>
                  <a:lnTo>
                    <a:pt x="110" y="59"/>
                  </a:lnTo>
                  <a:lnTo>
                    <a:pt x="100" y="59"/>
                  </a:lnTo>
                  <a:lnTo>
                    <a:pt x="100" y="69"/>
                  </a:lnTo>
                  <a:lnTo>
                    <a:pt x="100" y="124"/>
                  </a:lnTo>
                  <a:lnTo>
                    <a:pt x="48" y="124"/>
                  </a:lnTo>
                  <a:close/>
                  <a:moveTo>
                    <a:pt x="287" y="232"/>
                  </a:moveTo>
                  <a:lnTo>
                    <a:pt x="278" y="232"/>
                  </a:lnTo>
                  <a:lnTo>
                    <a:pt x="249" y="184"/>
                  </a:lnTo>
                  <a:lnTo>
                    <a:pt x="110" y="184"/>
                  </a:lnTo>
                  <a:lnTo>
                    <a:pt x="110" y="131"/>
                  </a:lnTo>
                  <a:lnTo>
                    <a:pt x="110" y="124"/>
                  </a:lnTo>
                  <a:lnTo>
                    <a:pt x="110" y="69"/>
                  </a:lnTo>
                  <a:lnTo>
                    <a:pt x="187" y="69"/>
                  </a:lnTo>
                  <a:lnTo>
                    <a:pt x="196" y="69"/>
                  </a:lnTo>
                  <a:lnTo>
                    <a:pt x="287" y="69"/>
                  </a:lnTo>
                  <a:lnTo>
                    <a:pt x="287" y="23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247" name="Group 71"/>
          <p:cNvGrpSpPr>
            <a:grpSpLocks noChangeAspect="1"/>
          </p:cNvGrpSpPr>
          <p:nvPr/>
        </p:nvGrpSpPr>
        <p:grpSpPr bwMode="auto">
          <a:xfrm>
            <a:off x="2548731" y="1498600"/>
            <a:ext cx="827088" cy="828675"/>
            <a:chOff x="1602" y="944"/>
            <a:chExt cx="521" cy="522"/>
          </a:xfrm>
        </p:grpSpPr>
        <p:sp>
          <p:nvSpPr>
            <p:cNvPr id="50248" name="Oval 72"/>
            <p:cNvSpPr>
              <a:spLocks noChangeArrowheads="1"/>
            </p:cNvSpPr>
            <p:nvPr/>
          </p:nvSpPr>
          <p:spPr bwMode="auto">
            <a:xfrm>
              <a:off x="1602" y="944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49" name="Freeform 73"/>
            <p:cNvSpPr>
              <a:spLocks noEditPoints="1"/>
            </p:cNvSpPr>
            <p:nvPr/>
          </p:nvSpPr>
          <p:spPr bwMode="auto">
            <a:xfrm>
              <a:off x="1621" y="963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50" name="Freeform 74"/>
            <p:cNvSpPr>
              <a:spLocks noEditPoints="1"/>
            </p:cNvSpPr>
            <p:nvPr/>
          </p:nvSpPr>
          <p:spPr bwMode="auto">
            <a:xfrm>
              <a:off x="1726" y="1063"/>
              <a:ext cx="275" cy="276"/>
            </a:xfrm>
            <a:custGeom>
              <a:avLst/>
              <a:gdLst/>
              <a:ahLst/>
              <a:cxnLst>
                <a:cxn ang="0">
                  <a:pos x="113" y="85"/>
                </a:cxn>
                <a:cxn ang="0">
                  <a:pos x="87" y="74"/>
                </a:cxn>
                <a:cxn ang="0">
                  <a:pos x="85" y="74"/>
                </a:cxn>
                <a:cxn ang="0">
                  <a:pos x="82" y="75"/>
                </a:cxn>
                <a:cxn ang="0">
                  <a:pos x="69" y="88"/>
                </a:cxn>
                <a:cxn ang="0">
                  <a:pos x="45" y="70"/>
                </a:cxn>
                <a:cxn ang="0">
                  <a:pos x="27" y="47"/>
                </a:cxn>
                <a:cxn ang="0">
                  <a:pos x="39" y="35"/>
                </a:cxn>
                <a:cxn ang="0">
                  <a:pos x="40" y="34"/>
                </a:cxn>
                <a:cxn ang="0">
                  <a:pos x="41" y="29"/>
                </a:cxn>
                <a:cxn ang="0">
                  <a:pos x="30" y="3"/>
                </a:cxn>
                <a:cxn ang="0">
                  <a:pos x="26" y="0"/>
                </a:cxn>
                <a:cxn ang="0">
                  <a:pos x="19" y="0"/>
                </a:cxn>
                <a:cxn ang="0">
                  <a:pos x="8" y="9"/>
                </a:cxn>
                <a:cxn ang="0">
                  <a:pos x="0" y="27"/>
                </a:cxn>
                <a:cxn ang="0">
                  <a:pos x="31" y="84"/>
                </a:cxn>
                <a:cxn ang="0">
                  <a:pos x="89" y="115"/>
                </a:cxn>
                <a:cxn ang="0">
                  <a:pos x="106" y="107"/>
                </a:cxn>
                <a:cxn ang="0">
                  <a:pos x="115" y="96"/>
                </a:cxn>
                <a:cxn ang="0">
                  <a:pos x="115" y="89"/>
                </a:cxn>
                <a:cxn ang="0">
                  <a:pos x="113" y="85"/>
                </a:cxn>
                <a:cxn ang="0">
                  <a:pos x="112" y="96"/>
                </a:cxn>
                <a:cxn ang="0">
                  <a:pos x="89" y="111"/>
                </a:cxn>
                <a:cxn ang="0">
                  <a:pos x="33" y="82"/>
                </a:cxn>
                <a:cxn ang="0">
                  <a:pos x="4" y="27"/>
                </a:cxn>
                <a:cxn ang="0">
                  <a:pos x="19" y="4"/>
                </a:cxn>
                <a:cxn ang="0">
                  <a:pos x="26" y="4"/>
                </a:cxn>
                <a:cxn ang="0">
                  <a:pos x="27" y="4"/>
                </a:cxn>
                <a:cxn ang="0">
                  <a:pos x="38" y="30"/>
                </a:cxn>
                <a:cxn ang="0">
                  <a:pos x="38" y="31"/>
                </a:cxn>
                <a:cxn ang="0">
                  <a:pos x="36" y="32"/>
                </a:cxn>
                <a:cxn ang="0">
                  <a:pos x="23" y="47"/>
                </a:cxn>
                <a:cxn ang="0">
                  <a:pos x="42" y="73"/>
                </a:cxn>
                <a:cxn ang="0">
                  <a:pos x="69" y="92"/>
                </a:cxn>
                <a:cxn ang="0">
                  <a:pos x="84" y="77"/>
                </a:cxn>
                <a:cxn ang="0">
                  <a:pos x="85" y="77"/>
                </a:cxn>
                <a:cxn ang="0">
                  <a:pos x="111" y="88"/>
                </a:cxn>
                <a:cxn ang="0">
                  <a:pos x="112" y="89"/>
                </a:cxn>
                <a:cxn ang="0">
                  <a:pos x="112" y="96"/>
                </a:cxn>
              </a:cxnLst>
              <a:rect l="0" t="0" r="r" b="b"/>
              <a:pathLst>
                <a:path w="115" h="115">
                  <a:moveTo>
                    <a:pt x="113" y="85"/>
                  </a:moveTo>
                  <a:cubicBezTo>
                    <a:pt x="87" y="74"/>
                    <a:pt x="87" y="74"/>
                    <a:pt x="87" y="74"/>
                  </a:cubicBezTo>
                  <a:cubicBezTo>
                    <a:pt x="86" y="74"/>
                    <a:pt x="86" y="74"/>
                    <a:pt x="85" y="74"/>
                  </a:cubicBezTo>
                  <a:cubicBezTo>
                    <a:pt x="84" y="74"/>
                    <a:pt x="82" y="74"/>
                    <a:pt x="82" y="75"/>
                  </a:cubicBezTo>
                  <a:cubicBezTo>
                    <a:pt x="74" y="85"/>
                    <a:pt x="72" y="88"/>
                    <a:pt x="69" y="88"/>
                  </a:cubicBezTo>
                  <a:cubicBezTo>
                    <a:pt x="66" y="88"/>
                    <a:pt x="57" y="82"/>
                    <a:pt x="45" y="70"/>
                  </a:cubicBezTo>
                  <a:cubicBezTo>
                    <a:pt x="33" y="59"/>
                    <a:pt x="27" y="49"/>
                    <a:pt x="27" y="47"/>
                  </a:cubicBezTo>
                  <a:cubicBezTo>
                    <a:pt x="27" y="44"/>
                    <a:pt x="29" y="42"/>
                    <a:pt x="39" y="3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2" y="33"/>
                    <a:pt x="42" y="31"/>
                    <a:pt x="41" y="29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"/>
                    <a:pt x="28" y="0"/>
                    <a:pt x="2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9" y="8"/>
                    <a:pt x="8" y="9"/>
                  </a:cubicBezTo>
                  <a:cubicBezTo>
                    <a:pt x="5" y="13"/>
                    <a:pt x="0" y="20"/>
                    <a:pt x="0" y="27"/>
                  </a:cubicBezTo>
                  <a:cubicBezTo>
                    <a:pt x="0" y="33"/>
                    <a:pt x="3" y="56"/>
                    <a:pt x="31" y="84"/>
                  </a:cubicBezTo>
                  <a:cubicBezTo>
                    <a:pt x="59" y="113"/>
                    <a:pt x="82" y="115"/>
                    <a:pt x="89" y="115"/>
                  </a:cubicBezTo>
                  <a:cubicBezTo>
                    <a:pt x="95" y="115"/>
                    <a:pt x="102" y="110"/>
                    <a:pt x="106" y="107"/>
                  </a:cubicBezTo>
                  <a:cubicBezTo>
                    <a:pt x="107" y="107"/>
                    <a:pt x="115" y="100"/>
                    <a:pt x="115" y="96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7"/>
                    <a:pt x="114" y="86"/>
                    <a:pt x="113" y="85"/>
                  </a:cubicBezTo>
                  <a:close/>
                  <a:moveTo>
                    <a:pt x="112" y="96"/>
                  </a:moveTo>
                  <a:cubicBezTo>
                    <a:pt x="111" y="99"/>
                    <a:pt x="98" y="111"/>
                    <a:pt x="89" y="111"/>
                  </a:cubicBezTo>
                  <a:cubicBezTo>
                    <a:pt x="82" y="111"/>
                    <a:pt x="61" y="109"/>
                    <a:pt x="33" y="82"/>
                  </a:cubicBezTo>
                  <a:cubicBezTo>
                    <a:pt x="6" y="55"/>
                    <a:pt x="4" y="33"/>
                    <a:pt x="4" y="27"/>
                  </a:cubicBezTo>
                  <a:cubicBezTo>
                    <a:pt x="4" y="18"/>
                    <a:pt x="16" y="4"/>
                    <a:pt x="19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1"/>
                    <a:pt x="38" y="31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7" y="39"/>
                    <a:pt x="23" y="42"/>
                    <a:pt x="23" y="47"/>
                  </a:cubicBezTo>
                  <a:cubicBezTo>
                    <a:pt x="23" y="53"/>
                    <a:pt x="39" y="70"/>
                    <a:pt x="42" y="73"/>
                  </a:cubicBezTo>
                  <a:cubicBezTo>
                    <a:pt x="46" y="76"/>
                    <a:pt x="62" y="92"/>
                    <a:pt x="69" y="92"/>
                  </a:cubicBezTo>
                  <a:cubicBezTo>
                    <a:pt x="74" y="92"/>
                    <a:pt x="77" y="88"/>
                    <a:pt x="84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2" y="89"/>
                    <a:pt x="112" y="89"/>
                  </a:cubicBezTo>
                  <a:lnTo>
                    <a:pt x="112" y="9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53" name="Group 77"/>
          <p:cNvGrpSpPr>
            <a:grpSpLocks noChangeAspect="1"/>
          </p:cNvGrpSpPr>
          <p:nvPr/>
        </p:nvGrpSpPr>
        <p:grpSpPr bwMode="auto">
          <a:xfrm>
            <a:off x="3677445" y="1528765"/>
            <a:ext cx="768351" cy="768350"/>
            <a:chOff x="2306" y="963"/>
            <a:chExt cx="484" cy="484"/>
          </a:xfrm>
        </p:grpSpPr>
        <p:sp>
          <p:nvSpPr>
            <p:cNvPr id="50254" name="Freeform 78"/>
            <p:cNvSpPr>
              <a:spLocks noEditPoints="1"/>
            </p:cNvSpPr>
            <p:nvPr/>
          </p:nvSpPr>
          <p:spPr bwMode="auto">
            <a:xfrm>
              <a:off x="2306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55" name="Freeform 79"/>
            <p:cNvSpPr>
              <a:spLocks noEditPoints="1"/>
            </p:cNvSpPr>
            <p:nvPr/>
          </p:nvSpPr>
          <p:spPr bwMode="auto">
            <a:xfrm>
              <a:off x="2412" y="1064"/>
              <a:ext cx="275" cy="276"/>
            </a:xfrm>
            <a:custGeom>
              <a:avLst/>
              <a:gdLst/>
              <a:ahLst/>
              <a:cxnLst>
                <a:cxn ang="0">
                  <a:pos x="113" y="85"/>
                </a:cxn>
                <a:cxn ang="0">
                  <a:pos x="87" y="74"/>
                </a:cxn>
                <a:cxn ang="0">
                  <a:pos x="85" y="74"/>
                </a:cxn>
                <a:cxn ang="0">
                  <a:pos x="82" y="75"/>
                </a:cxn>
                <a:cxn ang="0">
                  <a:pos x="69" y="88"/>
                </a:cxn>
                <a:cxn ang="0">
                  <a:pos x="45" y="70"/>
                </a:cxn>
                <a:cxn ang="0">
                  <a:pos x="27" y="47"/>
                </a:cxn>
                <a:cxn ang="0">
                  <a:pos x="39" y="35"/>
                </a:cxn>
                <a:cxn ang="0">
                  <a:pos x="40" y="34"/>
                </a:cxn>
                <a:cxn ang="0">
                  <a:pos x="41" y="29"/>
                </a:cxn>
                <a:cxn ang="0">
                  <a:pos x="30" y="3"/>
                </a:cxn>
                <a:cxn ang="0">
                  <a:pos x="26" y="0"/>
                </a:cxn>
                <a:cxn ang="0">
                  <a:pos x="19" y="0"/>
                </a:cxn>
                <a:cxn ang="0">
                  <a:pos x="8" y="9"/>
                </a:cxn>
                <a:cxn ang="0">
                  <a:pos x="0" y="27"/>
                </a:cxn>
                <a:cxn ang="0">
                  <a:pos x="31" y="84"/>
                </a:cxn>
                <a:cxn ang="0">
                  <a:pos x="89" y="115"/>
                </a:cxn>
                <a:cxn ang="0">
                  <a:pos x="106" y="107"/>
                </a:cxn>
                <a:cxn ang="0">
                  <a:pos x="115" y="96"/>
                </a:cxn>
                <a:cxn ang="0">
                  <a:pos x="115" y="89"/>
                </a:cxn>
                <a:cxn ang="0">
                  <a:pos x="113" y="85"/>
                </a:cxn>
                <a:cxn ang="0">
                  <a:pos x="112" y="96"/>
                </a:cxn>
                <a:cxn ang="0">
                  <a:pos x="89" y="111"/>
                </a:cxn>
                <a:cxn ang="0">
                  <a:pos x="33" y="82"/>
                </a:cxn>
                <a:cxn ang="0">
                  <a:pos x="4" y="27"/>
                </a:cxn>
                <a:cxn ang="0">
                  <a:pos x="19" y="4"/>
                </a:cxn>
                <a:cxn ang="0">
                  <a:pos x="26" y="4"/>
                </a:cxn>
                <a:cxn ang="0">
                  <a:pos x="27" y="4"/>
                </a:cxn>
                <a:cxn ang="0">
                  <a:pos x="38" y="30"/>
                </a:cxn>
                <a:cxn ang="0">
                  <a:pos x="38" y="31"/>
                </a:cxn>
                <a:cxn ang="0">
                  <a:pos x="36" y="32"/>
                </a:cxn>
                <a:cxn ang="0">
                  <a:pos x="23" y="47"/>
                </a:cxn>
                <a:cxn ang="0">
                  <a:pos x="42" y="73"/>
                </a:cxn>
                <a:cxn ang="0">
                  <a:pos x="69" y="92"/>
                </a:cxn>
                <a:cxn ang="0">
                  <a:pos x="84" y="77"/>
                </a:cxn>
                <a:cxn ang="0">
                  <a:pos x="85" y="77"/>
                </a:cxn>
                <a:cxn ang="0">
                  <a:pos x="111" y="88"/>
                </a:cxn>
                <a:cxn ang="0">
                  <a:pos x="112" y="89"/>
                </a:cxn>
                <a:cxn ang="0">
                  <a:pos x="112" y="96"/>
                </a:cxn>
              </a:cxnLst>
              <a:rect l="0" t="0" r="r" b="b"/>
              <a:pathLst>
                <a:path w="115" h="115">
                  <a:moveTo>
                    <a:pt x="113" y="85"/>
                  </a:moveTo>
                  <a:cubicBezTo>
                    <a:pt x="87" y="74"/>
                    <a:pt x="87" y="74"/>
                    <a:pt x="87" y="74"/>
                  </a:cubicBezTo>
                  <a:cubicBezTo>
                    <a:pt x="86" y="74"/>
                    <a:pt x="86" y="74"/>
                    <a:pt x="85" y="74"/>
                  </a:cubicBezTo>
                  <a:cubicBezTo>
                    <a:pt x="84" y="74"/>
                    <a:pt x="82" y="74"/>
                    <a:pt x="82" y="75"/>
                  </a:cubicBezTo>
                  <a:cubicBezTo>
                    <a:pt x="74" y="85"/>
                    <a:pt x="72" y="88"/>
                    <a:pt x="69" y="88"/>
                  </a:cubicBezTo>
                  <a:cubicBezTo>
                    <a:pt x="66" y="88"/>
                    <a:pt x="57" y="82"/>
                    <a:pt x="45" y="70"/>
                  </a:cubicBezTo>
                  <a:cubicBezTo>
                    <a:pt x="33" y="59"/>
                    <a:pt x="27" y="49"/>
                    <a:pt x="27" y="47"/>
                  </a:cubicBezTo>
                  <a:cubicBezTo>
                    <a:pt x="27" y="44"/>
                    <a:pt x="29" y="42"/>
                    <a:pt x="39" y="35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2" y="33"/>
                    <a:pt x="42" y="31"/>
                    <a:pt x="41" y="29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1"/>
                    <a:pt x="28" y="0"/>
                    <a:pt x="2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9" y="8"/>
                    <a:pt x="8" y="9"/>
                  </a:cubicBezTo>
                  <a:cubicBezTo>
                    <a:pt x="5" y="13"/>
                    <a:pt x="0" y="20"/>
                    <a:pt x="0" y="27"/>
                  </a:cubicBezTo>
                  <a:cubicBezTo>
                    <a:pt x="0" y="33"/>
                    <a:pt x="3" y="56"/>
                    <a:pt x="31" y="84"/>
                  </a:cubicBezTo>
                  <a:cubicBezTo>
                    <a:pt x="59" y="113"/>
                    <a:pt x="82" y="115"/>
                    <a:pt x="89" y="115"/>
                  </a:cubicBezTo>
                  <a:cubicBezTo>
                    <a:pt x="95" y="115"/>
                    <a:pt x="102" y="110"/>
                    <a:pt x="106" y="107"/>
                  </a:cubicBezTo>
                  <a:cubicBezTo>
                    <a:pt x="107" y="107"/>
                    <a:pt x="115" y="100"/>
                    <a:pt x="115" y="96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7"/>
                    <a:pt x="114" y="86"/>
                    <a:pt x="113" y="85"/>
                  </a:cubicBezTo>
                  <a:close/>
                  <a:moveTo>
                    <a:pt x="112" y="96"/>
                  </a:moveTo>
                  <a:cubicBezTo>
                    <a:pt x="111" y="99"/>
                    <a:pt x="98" y="111"/>
                    <a:pt x="89" y="111"/>
                  </a:cubicBezTo>
                  <a:cubicBezTo>
                    <a:pt x="82" y="111"/>
                    <a:pt x="61" y="109"/>
                    <a:pt x="33" y="82"/>
                  </a:cubicBezTo>
                  <a:cubicBezTo>
                    <a:pt x="6" y="55"/>
                    <a:pt x="4" y="33"/>
                    <a:pt x="4" y="27"/>
                  </a:cubicBezTo>
                  <a:cubicBezTo>
                    <a:pt x="4" y="18"/>
                    <a:pt x="16" y="4"/>
                    <a:pt x="19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1"/>
                    <a:pt x="38" y="31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27" y="39"/>
                    <a:pt x="23" y="42"/>
                    <a:pt x="23" y="47"/>
                  </a:cubicBezTo>
                  <a:cubicBezTo>
                    <a:pt x="23" y="53"/>
                    <a:pt x="39" y="70"/>
                    <a:pt x="42" y="73"/>
                  </a:cubicBezTo>
                  <a:cubicBezTo>
                    <a:pt x="46" y="76"/>
                    <a:pt x="62" y="92"/>
                    <a:pt x="69" y="92"/>
                  </a:cubicBezTo>
                  <a:cubicBezTo>
                    <a:pt x="74" y="92"/>
                    <a:pt x="77" y="88"/>
                    <a:pt x="84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2" y="89"/>
                    <a:pt x="112" y="89"/>
                  </a:cubicBezTo>
                  <a:lnTo>
                    <a:pt x="112" y="9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258" name="Group 82"/>
          <p:cNvGrpSpPr>
            <a:grpSpLocks noChangeAspect="1"/>
          </p:cNvGrpSpPr>
          <p:nvPr/>
        </p:nvGrpSpPr>
        <p:grpSpPr bwMode="auto">
          <a:xfrm>
            <a:off x="4740275" y="1490663"/>
            <a:ext cx="846138" cy="847725"/>
            <a:chOff x="2976" y="939"/>
            <a:chExt cx="533" cy="534"/>
          </a:xfrm>
        </p:grpSpPr>
        <p:sp>
          <p:nvSpPr>
            <p:cNvPr id="50259" name="Oval 83"/>
            <p:cNvSpPr>
              <a:spLocks noChangeArrowheads="1"/>
            </p:cNvSpPr>
            <p:nvPr/>
          </p:nvSpPr>
          <p:spPr bwMode="auto">
            <a:xfrm>
              <a:off x="2976" y="939"/>
              <a:ext cx="533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60" name="Freeform 84"/>
            <p:cNvSpPr>
              <a:spLocks noEditPoints="1"/>
            </p:cNvSpPr>
            <p:nvPr/>
          </p:nvSpPr>
          <p:spPr bwMode="auto">
            <a:xfrm>
              <a:off x="2995" y="958"/>
              <a:ext cx="495" cy="496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61" name="Freeform 85"/>
            <p:cNvSpPr>
              <a:spLocks noEditPoints="1"/>
            </p:cNvSpPr>
            <p:nvPr/>
          </p:nvSpPr>
          <p:spPr bwMode="auto">
            <a:xfrm>
              <a:off x="3098" y="1059"/>
              <a:ext cx="316" cy="292"/>
            </a:xfrm>
            <a:custGeom>
              <a:avLst/>
              <a:gdLst/>
              <a:ahLst/>
              <a:cxnLst>
                <a:cxn ang="0">
                  <a:pos x="60" y="122"/>
                </a:cxn>
                <a:cxn ang="0">
                  <a:pos x="0" y="61"/>
                </a:cxn>
                <a:cxn ang="0">
                  <a:pos x="60" y="0"/>
                </a:cxn>
                <a:cxn ang="0">
                  <a:pos x="121" y="61"/>
                </a:cxn>
                <a:cxn ang="0">
                  <a:pos x="119" y="77"/>
                </a:cxn>
                <a:cxn ang="0">
                  <a:pos x="119" y="77"/>
                </a:cxn>
                <a:cxn ang="0">
                  <a:pos x="119" y="77"/>
                </a:cxn>
                <a:cxn ang="0">
                  <a:pos x="131" y="84"/>
                </a:cxn>
                <a:cxn ang="0">
                  <a:pos x="132" y="85"/>
                </a:cxn>
                <a:cxn ang="0">
                  <a:pos x="130" y="87"/>
                </a:cxn>
                <a:cxn ang="0">
                  <a:pos x="85" y="99"/>
                </a:cxn>
                <a:cxn ang="0">
                  <a:pos x="83" y="97"/>
                </a:cxn>
                <a:cxn ang="0">
                  <a:pos x="71" y="53"/>
                </a:cxn>
                <a:cxn ang="0">
                  <a:pos x="72" y="51"/>
                </a:cxn>
                <a:cxn ang="0">
                  <a:pos x="74" y="51"/>
                </a:cxn>
                <a:cxn ang="0">
                  <a:pos x="84" y="57"/>
                </a:cxn>
                <a:cxn ang="0">
                  <a:pos x="61" y="39"/>
                </a:cxn>
                <a:cxn ang="0">
                  <a:pos x="38" y="62"/>
                </a:cxn>
                <a:cxn ang="0">
                  <a:pos x="61" y="85"/>
                </a:cxn>
                <a:cxn ang="0">
                  <a:pos x="74" y="81"/>
                </a:cxn>
                <a:cxn ang="0">
                  <a:pos x="76" y="81"/>
                </a:cxn>
                <a:cxn ang="0">
                  <a:pos x="77" y="82"/>
                </a:cxn>
                <a:cxn ang="0">
                  <a:pos x="82" y="102"/>
                </a:cxn>
                <a:cxn ang="0">
                  <a:pos x="107" y="95"/>
                </a:cxn>
                <a:cxn ang="0">
                  <a:pos x="109" y="96"/>
                </a:cxn>
                <a:cxn ang="0">
                  <a:pos x="109" y="98"/>
                </a:cxn>
                <a:cxn ang="0">
                  <a:pos x="60" y="122"/>
                </a:cxn>
                <a:cxn ang="0">
                  <a:pos x="60" y="4"/>
                </a:cxn>
                <a:cxn ang="0">
                  <a:pos x="3" y="61"/>
                </a:cxn>
                <a:cxn ang="0">
                  <a:pos x="60" y="118"/>
                </a:cxn>
                <a:cxn ang="0">
                  <a:pos x="102" y="100"/>
                </a:cxn>
                <a:cxn ang="0">
                  <a:pos x="81" y="106"/>
                </a:cxn>
                <a:cxn ang="0">
                  <a:pos x="80" y="105"/>
                </a:cxn>
                <a:cxn ang="0">
                  <a:pos x="79" y="104"/>
                </a:cxn>
                <a:cxn ang="0">
                  <a:pos x="74" y="85"/>
                </a:cxn>
                <a:cxn ang="0">
                  <a:pos x="61" y="88"/>
                </a:cxn>
                <a:cxn ang="0">
                  <a:pos x="34" y="62"/>
                </a:cxn>
                <a:cxn ang="0">
                  <a:pos x="61" y="35"/>
                </a:cxn>
                <a:cxn ang="0">
                  <a:pos x="88" y="60"/>
                </a:cxn>
                <a:cxn ang="0">
                  <a:pos x="86" y="62"/>
                </a:cxn>
                <a:cxn ang="0">
                  <a:pos x="86" y="62"/>
                </a:cxn>
                <a:cxn ang="0">
                  <a:pos x="85" y="62"/>
                </a:cxn>
                <a:cxn ang="0">
                  <a:pos x="76" y="56"/>
                </a:cxn>
                <a:cxn ang="0">
                  <a:pos x="86" y="95"/>
                </a:cxn>
                <a:cxn ang="0">
                  <a:pos x="125" y="85"/>
                </a:cxn>
                <a:cxn ang="0">
                  <a:pos x="117" y="81"/>
                </a:cxn>
                <a:cxn ang="0">
                  <a:pos x="116" y="80"/>
                </a:cxn>
                <a:cxn ang="0">
                  <a:pos x="115" y="78"/>
                </a:cxn>
                <a:cxn ang="0">
                  <a:pos x="117" y="61"/>
                </a:cxn>
                <a:cxn ang="0">
                  <a:pos x="60" y="4"/>
                </a:cxn>
              </a:cxnLst>
              <a:rect l="0" t="0" r="r" b="b"/>
              <a:pathLst>
                <a:path w="132" h="122">
                  <a:moveTo>
                    <a:pt x="60" y="122"/>
                  </a:moveTo>
                  <a:cubicBezTo>
                    <a:pt x="27" y="122"/>
                    <a:pt x="0" y="94"/>
                    <a:pt x="0" y="61"/>
                  </a:cubicBezTo>
                  <a:cubicBezTo>
                    <a:pt x="0" y="28"/>
                    <a:pt x="27" y="0"/>
                    <a:pt x="60" y="0"/>
                  </a:cubicBezTo>
                  <a:cubicBezTo>
                    <a:pt x="94" y="0"/>
                    <a:pt x="121" y="28"/>
                    <a:pt x="121" y="61"/>
                  </a:cubicBezTo>
                  <a:cubicBezTo>
                    <a:pt x="121" y="67"/>
                    <a:pt x="120" y="72"/>
                    <a:pt x="11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2" y="85"/>
                    <a:pt x="132" y="85"/>
                  </a:cubicBezTo>
                  <a:cubicBezTo>
                    <a:pt x="131" y="86"/>
                    <a:pt x="131" y="87"/>
                    <a:pt x="130" y="87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2"/>
                    <a:pt x="71" y="52"/>
                    <a:pt x="72" y="51"/>
                  </a:cubicBezTo>
                  <a:cubicBezTo>
                    <a:pt x="72" y="51"/>
                    <a:pt x="73" y="51"/>
                    <a:pt x="74" y="51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1" y="46"/>
                    <a:pt x="72" y="39"/>
                    <a:pt x="61" y="39"/>
                  </a:cubicBezTo>
                  <a:cubicBezTo>
                    <a:pt x="48" y="39"/>
                    <a:pt x="38" y="49"/>
                    <a:pt x="38" y="62"/>
                  </a:cubicBezTo>
                  <a:cubicBezTo>
                    <a:pt x="38" y="74"/>
                    <a:pt x="48" y="85"/>
                    <a:pt x="61" y="85"/>
                  </a:cubicBezTo>
                  <a:cubicBezTo>
                    <a:pt x="66" y="85"/>
                    <a:pt x="70" y="83"/>
                    <a:pt x="74" y="81"/>
                  </a:cubicBezTo>
                  <a:cubicBezTo>
                    <a:pt x="74" y="81"/>
                    <a:pt x="75" y="80"/>
                    <a:pt x="76" y="81"/>
                  </a:cubicBezTo>
                  <a:cubicBezTo>
                    <a:pt x="76" y="81"/>
                    <a:pt x="77" y="81"/>
                    <a:pt x="77" y="82"/>
                  </a:cubicBezTo>
                  <a:cubicBezTo>
                    <a:pt x="82" y="102"/>
                    <a:pt x="82" y="102"/>
                    <a:pt x="82" y="102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8" y="95"/>
                    <a:pt x="109" y="96"/>
                  </a:cubicBezTo>
                  <a:cubicBezTo>
                    <a:pt x="109" y="96"/>
                    <a:pt x="109" y="97"/>
                    <a:pt x="109" y="98"/>
                  </a:cubicBezTo>
                  <a:cubicBezTo>
                    <a:pt x="97" y="113"/>
                    <a:pt x="79" y="122"/>
                    <a:pt x="60" y="122"/>
                  </a:cubicBezTo>
                  <a:close/>
                  <a:moveTo>
                    <a:pt x="60" y="4"/>
                  </a:moveTo>
                  <a:cubicBezTo>
                    <a:pt x="29" y="4"/>
                    <a:pt x="3" y="30"/>
                    <a:pt x="3" y="61"/>
                  </a:cubicBezTo>
                  <a:cubicBezTo>
                    <a:pt x="3" y="92"/>
                    <a:pt x="29" y="118"/>
                    <a:pt x="60" y="118"/>
                  </a:cubicBezTo>
                  <a:cubicBezTo>
                    <a:pt x="76" y="118"/>
                    <a:pt x="91" y="111"/>
                    <a:pt x="102" y="100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1" y="106"/>
                    <a:pt x="80" y="106"/>
                    <a:pt x="80" y="105"/>
                  </a:cubicBezTo>
                  <a:cubicBezTo>
                    <a:pt x="79" y="105"/>
                    <a:pt x="79" y="105"/>
                    <a:pt x="79" y="104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0" y="87"/>
                    <a:pt x="66" y="88"/>
                    <a:pt x="61" y="88"/>
                  </a:cubicBezTo>
                  <a:cubicBezTo>
                    <a:pt x="46" y="88"/>
                    <a:pt x="34" y="76"/>
                    <a:pt x="34" y="62"/>
                  </a:cubicBezTo>
                  <a:cubicBezTo>
                    <a:pt x="34" y="47"/>
                    <a:pt x="46" y="35"/>
                    <a:pt x="61" y="35"/>
                  </a:cubicBezTo>
                  <a:cubicBezTo>
                    <a:pt x="75" y="35"/>
                    <a:pt x="87" y="46"/>
                    <a:pt x="88" y="60"/>
                  </a:cubicBezTo>
                  <a:cubicBezTo>
                    <a:pt x="88" y="61"/>
                    <a:pt x="87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5" y="62"/>
                    <a:pt x="85" y="62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6" y="80"/>
                    <a:pt x="116" y="80"/>
                    <a:pt x="116" y="80"/>
                  </a:cubicBezTo>
                  <a:cubicBezTo>
                    <a:pt x="115" y="79"/>
                    <a:pt x="115" y="79"/>
                    <a:pt x="115" y="78"/>
                  </a:cubicBezTo>
                  <a:cubicBezTo>
                    <a:pt x="117" y="72"/>
                    <a:pt x="117" y="67"/>
                    <a:pt x="117" y="61"/>
                  </a:cubicBezTo>
                  <a:cubicBezTo>
                    <a:pt x="117" y="30"/>
                    <a:pt x="92" y="4"/>
                    <a:pt x="60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64" name="Group 88"/>
          <p:cNvGrpSpPr>
            <a:grpSpLocks noChangeAspect="1"/>
          </p:cNvGrpSpPr>
          <p:nvPr/>
        </p:nvGrpSpPr>
        <p:grpSpPr bwMode="auto">
          <a:xfrm>
            <a:off x="5853116" y="1514476"/>
            <a:ext cx="788988" cy="788988"/>
            <a:chOff x="3687" y="954"/>
            <a:chExt cx="497" cy="497"/>
          </a:xfrm>
        </p:grpSpPr>
        <p:sp>
          <p:nvSpPr>
            <p:cNvPr id="50265" name="Freeform 89"/>
            <p:cNvSpPr>
              <a:spLocks noEditPoints="1"/>
            </p:cNvSpPr>
            <p:nvPr/>
          </p:nvSpPr>
          <p:spPr bwMode="auto">
            <a:xfrm>
              <a:off x="3687" y="954"/>
              <a:ext cx="497" cy="497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66" name="Freeform 90"/>
            <p:cNvSpPr>
              <a:spLocks noEditPoints="1"/>
            </p:cNvSpPr>
            <p:nvPr/>
          </p:nvSpPr>
          <p:spPr bwMode="auto">
            <a:xfrm>
              <a:off x="3791" y="1055"/>
              <a:ext cx="316" cy="292"/>
            </a:xfrm>
            <a:custGeom>
              <a:avLst/>
              <a:gdLst/>
              <a:ahLst/>
              <a:cxnLst>
                <a:cxn ang="0">
                  <a:pos x="60" y="122"/>
                </a:cxn>
                <a:cxn ang="0">
                  <a:pos x="0" y="61"/>
                </a:cxn>
                <a:cxn ang="0">
                  <a:pos x="60" y="0"/>
                </a:cxn>
                <a:cxn ang="0">
                  <a:pos x="121" y="61"/>
                </a:cxn>
                <a:cxn ang="0">
                  <a:pos x="119" y="77"/>
                </a:cxn>
                <a:cxn ang="0">
                  <a:pos x="119" y="77"/>
                </a:cxn>
                <a:cxn ang="0">
                  <a:pos x="119" y="77"/>
                </a:cxn>
                <a:cxn ang="0">
                  <a:pos x="131" y="84"/>
                </a:cxn>
                <a:cxn ang="0">
                  <a:pos x="132" y="85"/>
                </a:cxn>
                <a:cxn ang="0">
                  <a:pos x="130" y="87"/>
                </a:cxn>
                <a:cxn ang="0">
                  <a:pos x="85" y="99"/>
                </a:cxn>
                <a:cxn ang="0">
                  <a:pos x="83" y="97"/>
                </a:cxn>
                <a:cxn ang="0">
                  <a:pos x="71" y="53"/>
                </a:cxn>
                <a:cxn ang="0">
                  <a:pos x="72" y="51"/>
                </a:cxn>
                <a:cxn ang="0">
                  <a:pos x="74" y="51"/>
                </a:cxn>
                <a:cxn ang="0">
                  <a:pos x="84" y="57"/>
                </a:cxn>
                <a:cxn ang="0">
                  <a:pos x="61" y="39"/>
                </a:cxn>
                <a:cxn ang="0">
                  <a:pos x="38" y="62"/>
                </a:cxn>
                <a:cxn ang="0">
                  <a:pos x="61" y="85"/>
                </a:cxn>
                <a:cxn ang="0">
                  <a:pos x="74" y="81"/>
                </a:cxn>
                <a:cxn ang="0">
                  <a:pos x="76" y="81"/>
                </a:cxn>
                <a:cxn ang="0">
                  <a:pos x="77" y="82"/>
                </a:cxn>
                <a:cxn ang="0">
                  <a:pos x="82" y="102"/>
                </a:cxn>
                <a:cxn ang="0">
                  <a:pos x="107" y="95"/>
                </a:cxn>
                <a:cxn ang="0">
                  <a:pos x="109" y="96"/>
                </a:cxn>
                <a:cxn ang="0">
                  <a:pos x="109" y="98"/>
                </a:cxn>
                <a:cxn ang="0">
                  <a:pos x="60" y="122"/>
                </a:cxn>
                <a:cxn ang="0">
                  <a:pos x="60" y="4"/>
                </a:cxn>
                <a:cxn ang="0">
                  <a:pos x="3" y="61"/>
                </a:cxn>
                <a:cxn ang="0">
                  <a:pos x="60" y="118"/>
                </a:cxn>
                <a:cxn ang="0">
                  <a:pos x="102" y="100"/>
                </a:cxn>
                <a:cxn ang="0">
                  <a:pos x="81" y="106"/>
                </a:cxn>
                <a:cxn ang="0">
                  <a:pos x="80" y="105"/>
                </a:cxn>
                <a:cxn ang="0">
                  <a:pos x="79" y="104"/>
                </a:cxn>
                <a:cxn ang="0">
                  <a:pos x="74" y="85"/>
                </a:cxn>
                <a:cxn ang="0">
                  <a:pos x="61" y="88"/>
                </a:cxn>
                <a:cxn ang="0">
                  <a:pos x="34" y="62"/>
                </a:cxn>
                <a:cxn ang="0">
                  <a:pos x="61" y="35"/>
                </a:cxn>
                <a:cxn ang="0">
                  <a:pos x="88" y="60"/>
                </a:cxn>
                <a:cxn ang="0">
                  <a:pos x="86" y="62"/>
                </a:cxn>
                <a:cxn ang="0">
                  <a:pos x="86" y="62"/>
                </a:cxn>
                <a:cxn ang="0">
                  <a:pos x="85" y="62"/>
                </a:cxn>
                <a:cxn ang="0">
                  <a:pos x="76" y="56"/>
                </a:cxn>
                <a:cxn ang="0">
                  <a:pos x="86" y="95"/>
                </a:cxn>
                <a:cxn ang="0">
                  <a:pos x="125" y="85"/>
                </a:cxn>
                <a:cxn ang="0">
                  <a:pos x="117" y="81"/>
                </a:cxn>
                <a:cxn ang="0">
                  <a:pos x="116" y="80"/>
                </a:cxn>
                <a:cxn ang="0">
                  <a:pos x="115" y="78"/>
                </a:cxn>
                <a:cxn ang="0">
                  <a:pos x="117" y="61"/>
                </a:cxn>
                <a:cxn ang="0">
                  <a:pos x="60" y="4"/>
                </a:cxn>
              </a:cxnLst>
              <a:rect l="0" t="0" r="r" b="b"/>
              <a:pathLst>
                <a:path w="132" h="122">
                  <a:moveTo>
                    <a:pt x="60" y="122"/>
                  </a:moveTo>
                  <a:cubicBezTo>
                    <a:pt x="27" y="122"/>
                    <a:pt x="0" y="94"/>
                    <a:pt x="0" y="61"/>
                  </a:cubicBezTo>
                  <a:cubicBezTo>
                    <a:pt x="0" y="28"/>
                    <a:pt x="27" y="0"/>
                    <a:pt x="60" y="0"/>
                  </a:cubicBezTo>
                  <a:cubicBezTo>
                    <a:pt x="94" y="0"/>
                    <a:pt x="121" y="28"/>
                    <a:pt x="121" y="61"/>
                  </a:cubicBezTo>
                  <a:cubicBezTo>
                    <a:pt x="121" y="67"/>
                    <a:pt x="120" y="72"/>
                    <a:pt x="11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2" y="85"/>
                    <a:pt x="132" y="85"/>
                  </a:cubicBezTo>
                  <a:cubicBezTo>
                    <a:pt x="131" y="86"/>
                    <a:pt x="131" y="87"/>
                    <a:pt x="130" y="87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2"/>
                    <a:pt x="71" y="52"/>
                    <a:pt x="72" y="51"/>
                  </a:cubicBezTo>
                  <a:cubicBezTo>
                    <a:pt x="72" y="51"/>
                    <a:pt x="73" y="51"/>
                    <a:pt x="74" y="51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1" y="46"/>
                    <a:pt x="72" y="39"/>
                    <a:pt x="61" y="39"/>
                  </a:cubicBezTo>
                  <a:cubicBezTo>
                    <a:pt x="48" y="39"/>
                    <a:pt x="38" y="49"/>
                    <a:pt x="38" y="62"/>
                  </a:cubicBezTo>
                  <a:cubicBezTo>
                    <a:pt x="38" y="74"/>
                    <a:pt x="48" y="85"/>
                    <a:pt x="61" y="85"/>
                  </a:cubicBezTo>
                  <a:cubicBezTo>
                    <a:pt x="66" y="85"/>
                    <a:pt x="70" y="83"/>
                    <a:pt x="74" y="81"/>
                  </a:cubicBezTo>
                  <a:cubicBezTo>
                    <a:pt x="74" y="81"/>
                    <a:pt x="75" y="80"/>
                    <a:pt x="76" y="81"/>
                  </a:cubicBezTo>
                  <a:cubicBezTo>
                    <a:pt x="76" y="81"/>
                    <a:pt x="77" y="81"/>
                    <a:pt x="77" y="82"/>
                  </a:cubicBezTo>
                  <a:cubicBezTo>
                    <a:pt x="82" y="102"/>
                    <a:pt x="82" y="102"/>
                    <a:pt x="82" y="102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8" y="95"/>
                    <a:pt x="109" y="96"/>
                  </a:cubicBezTo>
                  <a:cubicBezTo>
                    <a:pt x="109" y="96"/>
                    <a:pt x="109" y="97"/>
                    <a:pt x="109" y="98"/>
                  </a:cubicBezTo>
                  <a:cubicBezTo>
                    <a:pt x="97" y="113"/>
                    <a:pt x="79" y="122"/>
                    <a:pt x="60" y="122"/>
                  </a:cubicBezTo>
                  <a:close/>
                  <a:moveTo>
                    <a:pt x="60" y="4"/>
                  </a:moveTo>
                  <a:cubicBezTo>
                    <a:pt x="29" y="4"/>
                    <a:pt x="3" y="30"/>
                    <a:pt x="3" y="61"/>
                  </a:cubicBezTo>
                  <a:cubicBezTo>
                    <a:pt x="3" y="92"/>
                    <a:pt x="29" y="118"/>
                    <a:pt x="60" y="118"/>
                  </a:cubicBezTo>
                  <a:cubicBezTo>
                    <a:pt x="76" y="118"/>
                    <a:pt x="91" y="111"/>
                    <a:pt x="102" y="100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1" y="106"/>
                    <a:pt x="80" y="106"/>
                    <a:pt x="80" y="105"/>
                  </a:cubicBezTo>
                  <a:cubicBezTo>
                    <a:pt x="79" y="105"/>
                    <a:pt x="79" y="105"/>
                    <a:pt x="79" y="104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0" y="87"/>
                    <a:pt x="66" y="88"/>
                    <a:pt x="61" y="88"/>
                  </a:cubicBezTo>
                  <a:cubicBezTo>
                    <a:pt x="46" y="88"/>
                    <a:pt x="34" y="76"/>
                    <a:pt x="34" y="62"/>
                  </a:cubicBezTo>
                  <a:cubicBezTo>
                    <a:pt x="34" y="47"/>
                    <a:pt x="46" y="35"/>
                    <a:pt x="61" y="35"/>
                  </a:cubicBezTo>
                  <a:cubicBezTo>
                    <a:pt x="75" y="35"/>
                    <a:pt x="87" y="46"/>
                    <a:pt x="88" y="60"/>
                  </a:cubicBezTo>
                  <a:cubicBezTo>
                    <a:pt x="88" y="61"/>
                    <a:pt x="87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5" y="62"/>
                    <a:pt x="85" y="62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6" y="80"/>
                    <a:pt x="116" y="80"/>
                    <a:pt x="116" y="80"/>
                  </a:cubicBezTo>
                  <a:cubicBezTo>
                    <a:pt x="115" y="79"/>
                    <a:pt x="115" y="79"/>
                    <a:pt x="115" y="78"/>
                  </a:cubicBezTo>
                  <a:cubicBezTo>
                    <a:pt x="117" y="72"/>
                    <a:pt x="117" y="67"/>
                    <a:pt x="117" y="61"/>
                  </a:cubicBezTo>
                  <a:cubicBezTo>
                    <a:pt x="117" y="30"/>
                    <a:pt x="92" y="4"/>
                    <a:pt x="60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269" name="Group 93"/>
          <p:cNvGrpSpPr>
            <a:grpSpLocks noChangeAspect="1"/>
          </p:cNvGrpSpPr>
          <p:nvPr/>
        </p:nvGrpSpPr>
        <p:grpSpPr bwMode="auto">
          <a:xfrm>
            <a:off x="6928846" y="1499072"/>
            <a:ext cx="826827" cy="828936"/>
            <a:chOff x="4368" y="944"/>
            <a:chExt cx="521" cy="522"/>
          </a:xfrm>
        </p:grpSpPr>
        <p:sp>
          <p:nvSpPr>
            <p:cNvPr id="50270" name="Oval 94"/>
            <p:cNvSpPr>
              <a:spLocks noChangeArrowheads="1"/>
            </p:cNvSpPr>
            <p:nvPr/>
          </p:nvSpPr>
          <p:spPr bwMode="auto">
            <a:xfrm>
              <a:off x="4368" y="944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1" name="Freeform 95"/>
            <p:cNvSpPr>
              <a:spLocks noEditPoints="1"/>
            </p:cNvSpPr>
            <p:nvPr/>
          </p:nvSpPr>
          <p:spPr bwMode="auto">
            <a:xfrm>
              <a:off x="4387" y="963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2" name="Rectangle 96"/>
            <p:cNvSpPr>
              <a:spLocks noChangeArrowheads="1"/>
            </p:cNvSpPr>
            <p:nvPr/>
          </p:nvSpPr>
          <p:spPr bwMode="auto">
            <a:xfrm>
              <a:off x="4552" y="1111"/>
              <a:ext cx="5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3" name="Rectangle 97"/>
            <p:cNvSpPr>
              <a:spLocks noChangeArrowheads="1"/>
            </p:cNvSpPr>
            <p:nvPr/>
          </p:nvSpPr>
          <p:spPr bwMode="auto">
            <a:xfrm>
              <a:off x="4552" y="1140"/>
              <a:ext cx="7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4" name="Rectangle 98"/>
            <p:cNvSpPr>
              <a:spLocks noChangeArrowheads="1"/>
            </p:cNvSpPr>
            <p:nvPr/>
          </p:nvSpPr>
          <p:spPr bwMode="auto">
            <a:xfrm>
              <a:off x="4552" y="1167"/>
              <a:ext cx="7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5" name="Rectangle 99"/>
            <p:cNvSpPr>
              <a:spLocks noChangeArrowheads="1"/>
            </p:cNvSpPr>
            <p:nvPr/>
          </p:nvSpPr>
          <p:spPr bwMode="auto">
            <a:xfrm>
              <a:off x="4552" y="1195"/>
              <a:ext cx="148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6" name="Rectangle 100"/>
            <p:cNvSpPr>
              <a:spLocks noChangeArrowheads="1"/>
            </p:cNvSpPr>
            <p:nvPr/>
          </p:nvSpPr>
          <p:spPr bwMode="auto">
            <a:xfrm>
              <a:off x="4552" y="1224"/>
              <a:ext cx="148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7" name="Rectangle 101"/>
            <p:cNvSpPr>
              <a:spLocks noChangeArrowheads="1"/>
            </p:cNvSpPr>
            <p:nvPr/>
          </p:nvSpPr>
          <p:spPr bwMode="auto">
            <a:xfrm>
              <a:off x="4552" y="1251"/>
              <a:ext cx="148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8" name="Rectangle 102"/>
            <p:cNvSpPr>
              <a:spLocks noChangeArrowheads="1"/>
            </p:cNvSpPr>
            <p:nvPr/>
          </p:nvSpPr>
          <p:spPr bwMode="auto">
            <a:xfrm>
              <a:off x="4552" y="1279"/>
              <a:ext cx="148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79" name="Freeform 103"/>
            <p:cNvSpPr>
              <a:spLocks noEditPoints="1"/>
            </p:cNvSpPr>
            <p:nvPr/>
          </p:nvSpPr>
          <p:spPr bwMode="auto">
            <a:xfrm>
              <a:off x="4499" y="1059"/>
              <a:ext cx="271" cy="290"/>
            </a:xfrm>
            <a:custGeom>
              <a:avLst/>
              <a:gdLst/>
              <a:ahLst/>
              <a:cxnLst>
                <a:cxn ang="0">
                  <a:pos x="256" y="7"/>
                </a:cxn>
                <a:cxn ang="0">
                  <a:pos x="223" y="28"/>
                </a:cxn>
                <a:cxn ang="0">
                  <a:pos x="216" y="21"/>
                </a:cxn>
                <a:cxn ang="0">
                  <a:pos x="29" y="21"/>
                </a:cxn>
                <a:cxn ang="0">
                  <a:pos x="29" y="52"/>
                </a:cxn>
                <a:cxn ang="0">
                  <a:pos x="0" y="52"/>
                </a:cxn>
                <a:cxn ang="0">
                  <a:pos x="0" y="280"/>
                </a:cxn>
                <a:cxn ang="0">
                  <a:pos x="10" y="290"/>
                </a:cxn>
                <a:cxn ang="0">
                  <a:pos x="194" y="290"/>
                </a:cxn>
                <a:cxn ang="0">
                  <a:pos x="194" y="259"/>
                </a:cxn>
                <a:cxn ang="0">
                  <a:pos x="223" y="259"/>
                </a:cxn>
                <a:cxn ang="0">
                  <a:pos x="223" y="62"/>
                </a:cxn>
                <a:cxn ang="0">
                  <a:pos x="216" y="251"/>
                </a:cxn>
                <a:cxn ang="0">
                  <a:pos x="185" y="251"/>
                </a:cxn>
                <a:cxn ang="0">
                  <a:pos x="39" y="60"/>
                </a:cxn>
                <a:cxn ang="0">
                  <a:pos x="39" y="31"/>
                </a:cxn>
                <a:cxn ang="0">
                  <a:pos x="216" y="38"/>
                </a:cxn>
                <a:cxn ang="0">
                  <a:pos x="163" y="88"/>
                </a:cxn>
                <a:cxn ang="0">
                  <a:pos x="180" y="105"/>
                </a:cxn>
                <a:cxn ang="0">
                  <a:pos x="199" y="86"/>
                </a:cxn>
                <a:cxn ang="0">
                  <a:pos x="264" y="14"/>
                </a:cxn>
                <a:cxn ang="0">
                  <a:pos x="266" y="0"/>
                </a:cxn>
                <a:cxn ang="0">
                  <a:pos x="185" y="280"/>
                </a:cxn>
                <a:cxn ang="0">
                  <a:pos x="10" y="60"/>
                </a:cxn>
                <a:cxn ang="0">
                  <a:pos x="29" y="251"/>
                </a:cxn>
                <a:cxn ang="0">
                  <a:pos x="39" y="259"/>
                </a:cxn>
                <a:cxn ang="0">
                  <a:pos x="175" y="98"/>
                </a:cxn>
                <a:cxn ang="0">
                  <a:pos x="170" y="93"/>
                </a:cxn>
                <a:cxn ang="0">
                  <a:pos x="187" y="86"/>
                </a:cxn>
                <a:cxn ang="0">
                  <a:pos x="194" y="79"/>
                </a:cxn>
                <a:cxn ang="0">
                  <a:pos x="252" y="14"/>
                </a:cxn>
                <a:cxn ang="0">
                  <a:pos x="194" y="79"/>
                </a:cxn>
              </a:cxnLst>
              <a:rect l="0" t="0" r="r" b="b"/>
              <a:pathLst>
                <a:path w="271" h="290">
                  <a:moveTo>
                    <a:pt x="266" y="0"/>
                  </a:moveTo>
                  <a:lnTo>
                    <a:pt x="256" y="7"/>
                  </a:lnTo>
                  <a:lnTo>
                    <a:pt x="252" y="2"/>
                  </a:lnTo>
                  <a:lnTo>
                    <a:pt x="223" y="28"/>
                  </a:lnTo>
                  <a:lnTo>
                    <a:pt x="223" y="21"/>
                  </a:lnTo>
                  <a:lnTo>
                    <a:pt x="216" y="21"/>
                  </a:lnTo>
                  <a:lnTo>
                    <a:pt x="39" y="21"/>
                  </a:lnTo>
                  <a:lnTo>
                    <a:pt x="29" y="21"/>
                  </a:lnTo>
                  <a:lnTo>
                    <a:pt x="29" y="31"/>
                  </a:lnTo>
                  <a:lnTo>
                    <a:pt x="29" y="52"/>
                  </a:lnTo>
                  <a:lnTo>
                    <a:pt x="10" y="52"/>
                  </a:lnTo>
                  <a:lnTo>
                    <a:pt x="0" y="52"/>
                  </a:lnTo>
                  <a:lnTo>
                    <a:pt x="0" y="60"/>
                  </a:lnTo>
                  <a:lnTo>
                    <a:pt x="0" y="280"/>
                  </a:lnTo>
                  <a:lnTo>
                    <a:pt x="0" y="290"/>
                  </a:lnTo>
                  <a:lnTo>
                    <a:pt x="10" y="290"/>
                  </a:lnTo>
                  <a:lnTo>
                    <a:pt x="185" y="290"/>
                  </a:lnTo>
                  <a:lnTo>
                    <a:pt x="194" y="290"/>
                  </a:lnTo>
                  <a:lnTo>
                    <a:pt x="194" y="280"/>
                  </a:lnTo>
                  <a:lnTo>
                    <a:pt x="194" y="259"/>
                  </a:lnTo>
                  <a:lnTo>
                    <a:pt x="216" y="259"/>
                  </a:lnTo>
                  <a:lnTo>
                    <a:pt x="223" y="259"/>
                  </a:lnTo>
                  <a:lnTo>
                    <a:pt x="223" y="251"/>
                  </a:lnTo>
                  <a:lnTo>
                    <a:pt x="223" y="62"/>
                  </a:lnTo>
                  <a:lnTo>
                    <a:pt x="216" y="69"/>
                  </a:lnTo>
                  <a:lnTo>
                    <a:pt x="216" y="251"/>
                  </a:lnTo>
                  <a:lnTo>
                    <a:pt x="194" y="251"/>
                  </a:lnTo>
                  <a:lnTo>
                    <a:pt x="185" y="251"/>
                  </a:lnTo>
                  <a:lnTo>
                    <a:pt x="39" y="251"/>
                  </a:lnTo>
                  <a:lnTo>
                    <a:pt x="39" y="60"/>
                  </a:lnTo>
                  <a:lnTo>
                    <a:pt x="39" y="52"/>
                  </a:lnTo>
                  <a:lnTo>
                    <a:pt x="39" y="31"/>
                  </a:lnTo>
                  <a:lnTo>
                    <a:pt x="216" y="31"/>
                  </a:lnTo>
                  <a:lnTo>
                    <a:pt x="216" y="38"/>
                  </a:lnTo>
                  <a:lnTo>
                    <a:pt x="185" y="69"/>
                  </a:lnTo>
                  <a:lnTo>
                    <a:pt x="163" y="88"/>
                  </a:lnTo>
                  <a:lnTo>
                    <a:pt x="151" y="117"/>
                  </a:lnTo>
                  <a:lnTo>
                    <a:pt x="180" y="105"/>
                  </a:lnTo>
                  <a:lnTo>
                    <a:pt x="199" y="86"/>
                  </a:lnTo>
                  <a:lnTo>
                    <a:pt x="199" y="86"/>
                  </a:lnTo>
                  <a:lnTo>
                    <a:pt x="266" y="19"/>
                  </a:lnTo>
                  <a:lnTo>
                    <a:pt x="264" y="14"/>
                  </a:lnTo>
                  <a:lnTo>
                    <a:pt x="271" y="4"/>
                  </a:lnTo>
                  <a:lnTo>
                    <a:pt x="266" y="0"/>
                  </a:lnTo>
                  <a:close/>
                  <a:moveTo>
                    <a:pt x="185" y="259"/>
                  </a:moveTo>
                  <a:lnTo>
                    <a:pt x="185" y="280"/>
                  </a:lnTo>
                  <a:lnTo>
                    <a:pt x="10" y="280"/>
                  </a:lnTo>
                  <a:lnTo>
                    <a:pt x="10" y="60"/>
                  </a:lnTo>
                  <a:lnTo>
                    <a:pt x="29" y="60"/>
                  </a:lnTo>
                  <a:lnTo>
                    <a:pt x="29" y="251"/>
                  </a:lnTo>
                  <a:lnTo>
                    <a:pt x="29" y="259"/>
                  </a:lnTo>
                  <a:lnTo>
                    <a:pt x="39" y="259"/>
                  </a:lnTo>
                  <a:lnTo>
                    <a:pt x="185" y="259"/>
                  </a:lnTo>
                  <a:close/>
                  <a:moveTo>
                    <a:pt x="175" y="98"/>
                  </a:moveTo>
                  <a:lnTo>
                    <a:pt x="168" y="100"/>
                  </a:lnTo>
                  <a:lnTo>
                    <a:pt x="170" y="93"/>
                  </a:lnTo>
                  <a:lnTo>
                    <a:pt x="185" y="81"/>
                  </a:lnTo>
                  <a:lnTo>
                    <a:pt x="187" y="86"/>
                  </a:lnTo>
                  <a:lnTo>
                    <a:pt x="175" y="98"/>
                  </a:lnTo>
                  <a:close/>
                  <a:moveTo>
                    <a:pt x="194" y="79"/>
                  </a:moveTo>
                  <a:lnTo>
                    <a:pt x="189" y="76"/>
                  </a:lnTo>
                  <a:lnTo>
                    <a:pt x="252" y="14"/>
                  </a:lnTo>
                  <a:lnTo>
                    <a:pt x="254" y="19"/>
                  </a:lnTo>
                  <a:lnTo>
                    <a:pt x="194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0" name="Line 104"/>
            <p:cNvSpPr>
              <a:spLocks noChangeShapeType="1"/>
            </p:cNvSpPr>
            <p:nvPr/>
          </p:nvSpPr>
          <p:spPr bwMode="auto">
            <a:xfrm>
              <a:off x="4681" y="1147"/>
              <a:ext cx="1" cy="1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1" name="Line 105"/>
            <p:cNvSpPr>
              <a:spLocks noChangeShapeType="1"/>
            </p:cNvSpPr>
            <p:nvPr/>
          </p:nvSpPr>
          <p:spPr bwMode="auto">
            <a:xfrm>
              <a:off x="4680" y="1147"/>
              <a:ext cx="1" cy="1"/>
            </a:xfrm>
            <a:prstGeom prst="line">
              <a:avLst/>
            </a:prstGeom>
            <a:noFill/>
            <a:ln w="984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284" name="Group 108"/>
          <p:cNvGrpSpPr>
            <a:grpSpLocks noChangeAspect="1"/>
          </p:cNvGrpSpPr>
          <p:nvPr/>
        </p:nvGrpSpPr>
        <p:grpSpPr bwMode="auto">
          <a:xfrm>
            <a:off x="8055135" y="1529246"/>
            <a:ext cx="768592" cy="768592"/>
            <a:chOff x="5069" y="963"/>
            <a:chExt cx="484" cy="484"/>
          </a:xfrm>
        </p:grpSpPr>
        <p:sp>
          <p:nvSpPr>
            <p:cNvPr id="50285" name="Freeform 109"/>
            <p:cNvSpPr>
              <a:spLocks noEditPoints="1"/>
            </p:cNvSpPr>
            <p:nvPr/>
          </p:nvSpPr>
          <p:spPr bwMode="auto">
            <a:xfrm>
              <a:off x="5069" y="9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6" name="Rectangle 110"/>
            <p:cNvSpPr>
              <a:spLocks noChangeArrowheads="1"/>
            </p:cNvSpPr>
            <p:nvPr/>
          </p:nvSpPr>
          <p:spPr bwMode="auto">
            <a:xfrm>
              <a:off x="5235" y="1112"/>
              <a:ext cx="5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7" name="Rectangle 111"/>
            <p:cNvSpPr>
              <a:spLocks noChangeArrowheads="1"/>
            </p:cNvSpPr>
            <p:nvPr/>
          </p:nvSpPr>
          <p:spPr bwMode="auto">
            <a:xfrm>
              <a:off x="5235" y="1141"/>
              <a:ext cx="7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8" name="Rectangle 112"/>
            <p:cNvSpPr>
              <a:spLocks noChangeArrowheads="1"/>
            </p:cNvSpPr>
            <p:nvPr/>
          </p:nvSpPr>
          <p:spPr bwMode="auto">
            <a:xfrm>
              <a:off x="5235" y="1167"/>
              <a:ext cx="7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89" name="Rectangle 113"/>
            <p:cNvSpPr>
              <a:spLocks noChangeArrowheads="1"/>
            </p:cNvSpPr>
            <p:nvPr/>
          </p:nvSpPr>
          <p:spPr bwMode="auto">
            <a:xfrm>
              <a:off x="5235" y="1196"/>
              <a:ext cx="148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90" name="Rectangle 114"/>
            <p:cNvSpPr>
              <a:spLocks noChangeArrowheads="1"/>
            </p:cNvSpPr>
            <p:nvPr/>
          </p:nvSpPr>
          <p:spPr bwMode="auto">
            <a:xfrm>
              <a:off x="5235" y="1225"/>
              <a:ext cx="148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91" name="Rectangle 115"/>
            <p:cNvSpPr>
              <a:spLocks noChangeArrowheads="1"/>
            </p:cNvSpPr>
            <p:nvPr/>
          </p:nvSpPr>
          <p:spPr bwMode="auto">
            <a:xfrm>
              <a:off x="5235" y="1251"/>
              <a:ext cx="148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92" name="Rectangle 116"/>
            <p:cNvSpPr>
              <a:spLocks noChangeArrowheads="1"/>
            </p:cNvSpPr>
            <p:nvPr/>
          </p:nvSpPr>
          <p:spPr bwMode="auto">
            <a:xfrm>
              <a:off x="5235" y="1280"/>
              <a:ext cx="148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93" name="Freeform 117"/>
            <p:cNvSpPr>
              <a:spLocks noEditPoints="1"/>
            </p:cNvSpPr>
            <p:nvPr/>
          </p:nvSpPr>
          <p:spPr bwMode="auto">
            <a:xfrm>
              <a:off x="5182" y="1059"/>
              <a:ext cx="271" cy="290"/>
            </a:xfrm>
            <a:custGeom>
              <a:avLst/>
              <a:gdLst/>
              <a:ahLst/>
              <a:cxnLst>
                <a:cxn ang="0">
                  <a:pos x="256" y="7"/>
                </a:cxn>
                <a:cxn ang="0">
                  <a:pos x="223" y="29"/>
                </a:cxn>
                <a:cxn ang="0">
                  <a:pos x="216" y="22"/>
                </a:cxn>
                <a:cxn ang="0">
                  <a:pos x="29" y="22"/>
                </a:cxn>
                <a:cxn ang="0">
                  <a:pos x="29" y="53"/>
                </a:cxn>
                <a:cxn ang="0">
                  <a:pos x="0" y="53"/>
                </a:cxn>
                <a:cxn ang="0">
                  <a:pos x="0" y="281"/>
                </a:cxn>
                <a:cxn ang="0">
                  <a:pos x="10" y="290"/>
                </a:cxn>
                <a:cxn ang="0">
                  <a:pos x="194" y="290"/>
                </a:cxn>
                <a:cxn ang="0">
                  <a:pos x="194" y="259"/>
                </a:cxn>
                <a:cxn ang="0">
                  <a:pos x="223" y="259"/>
                </a:cxn>
                <a:cxn ang="0">
                  <a:pos x="223" y="62"/>
                </a:cxn>
                <a:cxn ang="0">
                  <a:pos x="216" y="252"/>
                </a:cxn>
                <a:cxn ang="0">
                  <a:pos x="185" y="252"/>
                </a:cxn>
                <a:cxn ang="0">
                  <a:pos x="38" y="60"/>
                </a:cxn>
                <a:cxn ang="0">
                  <a:pos x="38" y="31"/>
                </a:cxn>
                <a:cxn ang="0">
                  <a:pos x="216" y="39"/>
                </a:cxn>
                <a:cxn ang="0">
                  <a:pos x="163" y="89"/>
                </a:cxn>
                <a:cxn ang="0">
                  <a:pos x="180" y="106"/>
                </a:cxn>
                <a:cxn ang="0">
                  <a:pos x="199" y="86"/>
                </a:cxn>
                <a:cxn ang="0">
                  <a:pos x="264" y="15"/>
                </a:cxn>
                <a:cxn ang="0">
                  <a:pos x="266" y="0"/>
                </a:cxn>
                <a:cxn ang="0">
                  <a:pos x="185" y="281"/>
                </a:cxn>
                <a:cxn ang="0">
                  <a:pos x="10" y="60"/>
                </a:cxn>
                <a:cxn ang="0">
                  <a:pos x="29" y="252"/>
                </a:cxn>
                <a:cxn ang="0">
                  <a:pos x="38" y="259"/>
                </a:cxn>
                <a:cxn ang="0">
                  <a:pos x="175" y="98"/>
                </a:cxn>
                <a:cxn ang="0">
                  <a:pos x="170" y="94"/>
                </a:cxn>
                <a:cxn ang="0">
                  <a:pos x="187" y="86"/>
                </a:cxn>
                <a:cxn ang="0">
                  <a:pos x="194" y="79"/>
                </a:cxn>
                <a:cxn ang="0">
                  <a:pos x="252" y="15"/>
                </a:cxn>
                <a:cxn ang="0">
                  <a:pos x="194" y="79"/>
                </a:cxn>
              </a:cxnLst>
              <a:rect l="0" t="0" r="r" b="b"/>
              <a:pathLst>
                <a:path w="271" h="290">
                  <a:moveTo>
                    <a:pt x="266" y="0"/>
                  </a:moveTo>
                  <a:lnTo>
                    <a:pt x="256" y="7"/>
                  </a:lnTo>
                  <a:lnTo>
                    <a:pt x="252" y="3"/>
                  </a:lnTo>
                  <a:lnTo>
                    <a:pt x="223" y="29"/>
                  </a:lnTo>
                  <a:lnTo>
                    <a:pt x="223" y="22"/>
                  </a:lnTo>
                  <a:lnTo>
                    <a:pt x="216" y="22"/>
                  </a:lnTo>
                  <a:lnTo>
                    <a:pt x="38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29" y="53"/>
                  </a:lnTo>
                  <a:lnTo>
                    <a:pt x="10" y="53"/>
                  </a:lnTo>
                  <a:lnTo>
                    <a:pt x="0" y="53"/>
                  </a:lnTo>
                  <a:lnTo>
                    <a:pt x="0" y="60"/>
                  </a:lnTo>
                  <a:lnTo>
                    <a:pt x="0" y="281"/>
                  </a:lnTo>
                  <a:lnTo>
                    <a:pt x="0" y="290"/>
                  </a:lnTo>
                  <a:lnTo>
                    <a:pt x="10" y="290"/>
                  </a:lnTo>
                  <a:lnTo>
                    <a:pt x="185" y="290"/>
                  </a:lnTo>
                  <a:lnTo>
                    <a:pt x="194" y="290"/>
                  </a:lnTo>
                  <a:lnTo>
                    <a:pt x="194" y="281"/>
                  </a:lnTo>
                  <a:lnTo>
                    <a:pt x="194" y="259"/>
                  </a:lnTo>
                  <a:lnTo>
                    <a:pt x="216" y="259"/>
                  </a:lnTo>
                  <a:lnTo>
                    <a:pt x="223" y="259"/>
                  </a:lnTo>
                  <a:lnTo>
                    <a:pt x="223" y="252"/>
                  </a:lnTo>
                  <a:lnTo>
                    <a:pt x="223" y="62"/>
                  </a:lnTo>
                  <a:lnTo>
                    <a:pt x="216" y="70"/>
                  </a:lnTo>
                  <a:lnTo>
                    <a:pt x="216" y="252"/>
                  </a:lnTo>
                  <a:lnTo>
                    <a:pt x="194" y="252"/>
                  </a:lnTo>
                  <a:lnTo>
                    <a:pt x="185" y="252"/>
                  </a:lnTo>
                  <a:lnTo>
                    <a:pt x="38" y="252"/>
                  </a:lnTo>
                  <a:lnTo>
                    <a:pt x="38" y="60"/>
                  </a:lnTo>
                  <a:lnTo>
                    <a:pt x="38" y="53"/>
                  </a:lnTo>
                  <a:lnTo>
                    <a:pt x="38" y="31"/>
                  </a:lnTo>
                  <a:lnTo>
                    <a:pt x="216" y="31"/>
                  </a:lnTo>
                  <a:lnTo>
                    <a:pt x="216" y="39"/>
                  </a:lnTo>
                  <a:lnTo>
                    <a:pt x="185" y="70"/>
                  </a:lnTo>
                  <a:lnTo>
                    <a:pt x="163" y="89"/>
                  </a:lnTo>
                  <a:lnTo>
                    <a:pt x="151" y="118"/>
                  </a:lnTo>
                  <a:lnTo>
                    <a:pt x="180" y="106"/>
                  </a:lnTo>
                  <a:lnTo>
                    <a:pt x="199" y="86"/>
                  </a:lnTo>
                  <a:lnTo>
                    <a:pt x="199" y="86"/>
                  </a:lnTo>
                  <a:lnTo>
                    <a:pt x="266" y="19"/>
                  </a:lnTo>
                  <a:lnTo>
                    <a:pt x="264" y="15"/>
                  </a:lnTo>
                  <a:lnTo>
                    <a:pt x="271" y="5"/>
                  </a:lnTo>
                  <a:lnTo>
                    <a:pt x="266" y="0"/>
                  </a:lnTo>
                  <a:close/>
                  <a:moveTo>
                    <a:pt x="185" y="259"/>
                  </a:moveTo>
                  <a:lnTo>
                    <a:pt x="185" y="281"/>
                  </a:lnTo>
                  <a:lnTo>
                    <a:pt x="10" y="281"/>
                  </a:lnTo>
                  <a:lnTo>
                    <a:pt x="10" y="60"/>
                  </a:lnTo>
                  <a:lnTo>
                    <a:pt x="29" y="60"/>
                  </a:lnTo>
                  <a:lnTo>
                    <a:pt x="29" y="252"/>
                  </a:lnTo>
                  <a:lnTo>
                    <a:pt x="29" y="259"/>
                  </a:lnTo>
                  <a:lnTo>
                    <a:pt x="38" y="259"/>
                  </a:lnTo>
                  <a:lnTo>
                    <a:pt x="185" y="259"/>
                  </a:lnTo>
                  <a:close/>
                  <a:moveTo>
                    <a:pt x="175" y="98"/>
                  </a:moveTo>
                  <a:lnTo>
                    <a:pt x="168" y="101"/>
                  </a:lnTo>
                  <a:lnTo>
                    <a:pt x="170" y="94"/>
                  </a:lnTo>
                  <a:lnTo>
                    <a:pt x="185" y="82"/>
                  </a:lnTo>
                  <a:lnTo>
                    <a:pt x="187" y="86"/>
                  </a:lnTo>
                  <a:lnTo>
                    <a:pt x="175" y="98"/>
                  </a:lnTo>
                  <a:close/>
                  <a:moveTo>
                    <a:pt x="194" y="79"/>
                  </a:moveTo>
                  <a:lnTo>
                    <a:pt x="189" y="77"/>
                  </a:lnTo>
                  <a:lnTo>
                    <a:pt x="252" y="15"/>
                  </a:lnTo>
                  <a:lnTo>
                    <a:pt x="254" y="19"/>
                  </a:lnTo>
                  <a:lnTo>
                    <a:pt x="194" y="7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94" name="Line 118"/>
            <p:cNvSpPr>
              <a:spLocks noChangeShapeType="1"/>
            </p:cNvSpPr>
            <p:nvPr/>
          </p:nvSpPr>
          <p:spPr bwMode="auto">
            <a:xfrm>
              <a:off x="5364" y="1148"/>
              <a:ext cx="1" cy="1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95" name="Line 119"/>
            <p:cNvSpPr>
              <a:spLocks noChangeShapeType="1"/>
            </p:cNvSpPr>
            <p:nvPr/>
          </p:nvSpPr>
          <p:spPr bwMode="auto">
            <a:xfrm>
              <a:off x="5366" y="1148"/>
              <a:ext cx="1" cy="1"/>
            </a:xfrm>
            <a:prstGeom prst="line">
              <a:avLst/>
            </a:prstGeom>
            <a:noFill/>
            <a:ln w="984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298" name="Group 122"/>
          <p:cNvGrpSpPr>
            <a:grpSpLocks noChangeAspect="1"/>
          </p:cNvGrpSpPr>
          <p:nvPr/>
        </p:nvGrpSpPr>
        <p:grpSpPr bwMode="auto">
          <a:xfrm>
            <a:off x="365126" y="2774950"/>
            <a:ext cx="827087" cy="827088"/>
            <a:chOff x="237" y="1748"/>
            <a:chExt cx="521" cy="521"/>
          </a:xfrm>
        </p:grpSpPr>
        <p:sp>
          <p:nvSpPr>
            <p:cNvPr id="50299" name="Oval 123"/>
            <p:cNvSpPr>
              <a:spLocks noChangeArrowheads="1"/>
            </p:cNvSpPr>
            <p:nvPr/>
          </p:nvSpPr>
          <p:spPr bwMode="auto">
            <a:xfrm>
              <a:off x="237" y="1748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00" name="Freeform 124"/>
            <p:cNvSpPr>
              <a:spLocks noEditPoints="1"/>
            </p:cNvSpPr>
            <p:nvPr/>
          </p:nvSpPr>
          <p:spPr bwMode="auto">
            <a:xfrm>
              <a:off x="256" y="1767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01" name="Freeform 125"/>
            <p:cNvSpPr>
              <a:spLocks noEditPoints="1"/>
            </p:cNvSpPr>
            <p:nvPr/>
          </p:nvSpPr>
          <p:spPr bwMode="auto">
            <a:xfrm>
              <a:off x="383" y="1894"/>
              <a:ext cx="229" cy="229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229" y="229"/>
                </a:cxn>
                <a:cxn ang="0">
                  <a:pos x="229" y="0"/>
                </a:cxn>
                <a:cxn ang="0">
                  <a:pos x="0" y="0"/>
                </a:cxn>
                <a:cxn ang="0">
                  <a:pos x="0" y="229"/>
                </a:cxn>
                <a:cxn ang="0">
                  <a:pos x="7" y="7"/>
                </a:cxn>
                <a:cxn ang="0">
                  <a:pos x="222" y="7"/>
                </a:cxn>
                <a:cxn ang="0">
                  <a:pos x="222" y="222"/>
                </a:cxn>
                <a:cxn ang="0">
                  <a:pos x="7" y="222"/>
                </a:cxn>
                <a:cxn ang="0">
                  <a:pos x="7" y="7"/>
                </a:cxn>
              </a:cxnLst>
              <a:rect l="0" t="0" r="r" b="b"/>
              <a:pathLst>
                <a:path w="229" h="229">
                  <a:moveTo>
                    <a:pt x="0" y="229"/>
                  </a:moveTo>
                  <a:lnTo>
                    <a:pt x="229" y="229"/>
                  </a:lnTo>
                  <a:lnTo>
                    <a:pt x="229" y="0"/>
                  </a:lnTo>
                  <a:lnTo>
                    <a:pt x="0" y="0"/>
                  </a:lnTo>
                  <a:lnTo>
                    <a:pt x="0" y="229"/>
                  </a:lnTo>
                  <a:close/>
                  <a:moveTo>
                    <a:pt x="7" y="7"/>
                  </a:moveTo>
                  <a:lnTo>
                    <a:pt x="222" y="7"/>
                  </a:lnTo>
                  <a:lnTo>
                    <a:pt x="222" y="222"/>
                  </a:lnTo>
                  <a:lnTo>
                    <a:pt x="7" y="222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02" name="Freeform 126"/>
            <p:cNvSpPr>
              <a:spLocks noEditPoints="1"/>
            </p:cNvSpPr>
            <p:nvPr/>
          </p:nvSpPr>
          <p:spPr bwMode="auto">
            <a:xfrm>
              <a:off x="421" y="1934"/>
              <a:ext cx="153" cy="149"/>
            </a:xfrm>
            <a:custGeom>
              <a:avLst/>
              <a:gdLst/>
              <a:ahLst/>
              <a:cxnLst>
                <a:cxn ang="0">
                  <a:pos x="100" y="51"/>
                </a:cxn>
                <a:cxn ang="0">
                  <a:pos x="77" y="0"/>
                </a:cxn>
                <a:cxn ang="0">
                  <a:pos x="53" y="51"/>
                </a:cxn>
                <a:cxn ang="0">
                  <a:pos x="0" y="58"/>
                </a:cxn>
                <a:cxn ang="0">
                  <a:pos x="38" y="94"/>
                </a:cxn>
                <a:cxn ang="0">
                  <a:pos x="29" y="149"/>
                </a:cxn>
                <a:cxn ang="0">
                  <a:pos x="77" y="122"/>
                </a:cxn>
                <a:cxn ang="0">
                  <a:pos x="124" y="149"/>
                </a:cxn>
                <a:cxn ang="0">
                  <a:pos x="115" y="94"/>
                </a:cxn>
                <a:cxn ang="0">
                  <a:pos x="153" y="58"/>
                </a:cxn>
                <a:cxn ang="0">
                  <a:pos x="100" y="51"/>
                </a:cxn>
                <a:cxn ang="0">
                  <a:pos x="108" y="96"/>
                </a:cxn>
                <a:cxn ang="0">
                  <a:pos x="112" y="132"/>
                </a:cxn>
                <a:cxn ang="0">
                  <a:pos x="81" y="115"/>
                </a:cxn>
                <a:cxn ang="0">
                  <a:pos x="77" y="113"/>
                </a:cxn>
                <a:cxn ang="0">
                  <a:pos x="72" y="115"/>
                </a:cxn>
                <a:cxn ang="0">
                  <a:pos x="41" y="132"/>
                </a:cxn>
                <a:cxn ang="0">
                  <a:pos x="45" y="96"/>
                </a:cxn>
                <a:cxn ang="0">
                  <a:pos x="48" y="91"/>
                </a:cxn>
                <a:cxn ang="0">
                  <a:pos x="43" y="89"/>
                </a:cxn>
                <a:cxn ang="0">
                  <a:pos x="19" y="63"/>
                </a:cxn>
                <a:cxn ang="0">
                  <a:pos x="55" y="58"/>
                </a:cxn>
                <a:cxn ang="0">
                  <a:pos x="57" y="58"/>
                </a:cxn>
                <a:cxn ang="0">
                  <a:pos x="60" y="53"/>
                </a:cxn>
                <a:cxn ang="0">
                  <a:pos x="77" y="22"/>
                </a:cxn>
                <a:cxn ang="0">
                  <a:pos x="93" y="53"/>
                </a:cxn>
                <a:cxn ang="0">
                  <a:pos x="96" y="58"/>
                </a:cxn>
                <a:cxn ang="0">
                  <a:pos x="98" y="58"/>
                </a:cxn>
                <a:cxn ang="0">
                  <a:pos x="134" y="63"/>
                </a:cxn>
                <a:cxn ang="0">
                  <a:pos x="110" y="89"/>
                </a:cxn>
                <a:cxn ang="0">
                  <a:pos x="105" y="91"/>
                </a:cxn>
                <a:cxn ang="0">
                  <a:pos x="108" y="96"/>
                </a:cxn>
              </a:cxnLst>
              <a:rect l="0" t="0" r="r" b="b"/>
              <a:pathLst>
                <a:path w="153" h="149">
                  <a:moveTo>
                    <a:pt x="100" y="51"/>
                  </a:moveTo>
                  <a:lnTo>
                    <a:pt x="77" y="0"/>
                  </a:lnTo>
                  <a:lnTo>
                    <a:pt x="53" y="51"/>
                  </a:lnTo>
                  <a:lnTo>
                    <a:pt x="0" y="58"/>
                  </a:lnTo>
                  <a:lnTo>
                    <a:pt x="38" y="94"/>
                  </a:lnTo>
                  <a:lnTo>
                    <a:pt x="29" y="149"/>
                  </a:lnTo>
                  <a:lnTo>
                    <a:pt x="77" y="122"/>
                  </a:lnTo>
                  <a:lnTo>
                    <a:pt x="124" y="149"/>
                  </a:lnTo>
                  <a:lnTo>
                    <a:pt x="115" y="94"/>
                  </a:lnTo>
                  <a:lnTo>
                    <a:pt x="153" y="58"/>
                  </a:lnTo>
                  <a:lnTo>
                    <a:pt x="100" y="51"/>
                  </a:lnTo>
                  <a:close/>
                  <a:moveTo>
                    <a:pt x="108" y="96"/>
                  </a:moveTo>
                  <a:lnTo>
                    <a:pt x="112" y="132"/>
                  </a:lnTo>
                  <a:lnTo>
                    <a:pt x="81" y="115"/>
                  </a:lnTo>
                  <a:lnTo>
                    <a:pt x="77" y="113"/>
                  </a:lnTo>
                  <a:lnTo>
                    <a:pt x="72" y="115"/>
                  </a:lnTo>
                  <a:lnTo>
                    <a:pt x="41" y="132"/>
                  </a:lnTo>
                  <a:lnTo>
                    <a:pt x="45" y="96"/>
                  </a:lnTo>
                  <a:lnTo>
                    <a:pt x="48" y="91"/>
                  </a:lnTo>
                  <a:lnTo>
                    <a:pt x="43" y="89"/>
                  </a:lnTo>
                  <a:lnTo>
                    <a:pt x="19" y="63"/>
                  </a:lnTo>
                  <a:lnTo>
                    <a:pt x="55" y="58"/>
                  </a:lnTo>
                  <a:lnTo>
                    <a:pt x="57" y="58"/>
                  </a:lnTo>
                  <a:lnTo>
                    <a:pt x="60" y="53"/>
                  </a:lnTo>
                  <a:lnTo>
                    <a:pt x="77" y="22"/>
                  </a:lnTo>
                  <a:lnTo>
                    <a:pt x="93" y="53"/>
                  </a:lnTo>
                  <a:lnTo>
                    <a:pt x="96" y="58"/>
                  </a:lnTo>
                  <a:lnTo>
                    <a:pt x="98" y="58"/>
                  </a:lnTo>
                  <a:lnTo>
                    <a:pt x="134" y="63"/>
                  </a:lnTo>
                  <a:lnTo>
                    <a:pt x="110" y="89"/>
                  </a:lnTo>
                  <a:lnTo>
                    <a:pt x="105" y="91"/>
                  </a:lnTo>
                  <a:lnTo>
                    <a:pt x="108" y="9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05" name="Group 129"/>
          <p:cNvGrpSpPr>
            <a:grpSpLocks noChangeAspect="1"/>
          </p:cNvGrpSpPr>
          <p:nvPr/>
        </p:nvGrpSpPr>
        <p:grpSpPr bwMode="auto">
          <a:xfrm>
            <a:off x="1483517" y="2803523"/>
            <a:ext cx="768350" cy="768350"/>
            <a:chOff x="940" y="1766"/>
            <a:chExt cx="484" cy="484"/>
          </a:xfrm>
        </p:grpSpPr>
        <p:sp>
          <p:nvSpPr>
            <p:cNvPr id="50306" name="Freeform 130"/>
            <p:cNvSpPr>
              <a:spLocks noEditPoints="1"/>
            </p:cNvSpPr>
            <p:nvPr/>
          </p:nvSpPr>
          <p:spPr bwMode="auto">
            <a:xfrm>
              <a:off x="940" y="1766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07" name="Freeform 131"/>
            <p:cNvSpPr>
              <a:spLocks noEditPoints="1"/>
            </p:cNvSpPr>
            <p:nvPr/>
          </p:nvSpPr>
          <p:spPr bwMode="auto">
            <a:xfrm>
              <a:off x="1067" y="1893"/>
              <a:ext cx="230" cy="230"/>
            </a:xfrm>
            <a:custGeom>
              <a:avLst/>
              <a:gdLst/>
              <a:ahLst/>
              <a:cxnLst>
                <a:cxn ang="0">
                  <a:pos x="0" y="230"/>
                </a:cxn>
                <a:cxn ang="0">
                  <a:pos x="230" y="230"/>
                </a:cxn>
                <a:cxn ang="0">
                  <a:pos x="230" y="0"/>
                </a:cxn>
                <a:cxn ang="0">
                  <a:pos x="0" y="0"/>
                </a:cxn>
                <a:cxn ang="0">
                  <a:pos x="0" y="230"/>
                </a:cxn>
                <a:cxn ang="0">
                  <a:pos x="8" y="8"/>
                </a:cxn>
                <a:cxn ang="0">
                  <a:pos x="223" y="8"/>
                </a:cxn>
                <a:cxn ang="0">
                  <a:pos x="223" y="223"/>
                </a:cxn>
                <a:cxn ang="0">
                  <a:pos x="8" y="223"/>
                </a:cxn>
                <a:cxn ang="0">
                  <a:pos x="8" y="8"/>
                </a:cxn>
              </a:cxnLst>
              <a:rect l="0" t="0" r="r" b="b"/>
              <a:pathLst>
                <a:path w="230" h="230">
                  <a:moveTo>
                    <a:pt x="0" y="230"/>
                  </a:moveTo>
                  <a:lnTo>
                    <a:pt x="230" y="230"/>
                  </a:lnTo>
                  <a:lnTo>
                    <a:pt x="230" y="0"/>
                  </a:lnTo>
                  <a:lnTo>
                    <a:pt x="0" y="0"/>
                  </a:lnTo>
                  <a:lnTo>
                    <a:pt x="0" y="230"/>
                  </a:lnTo>
                  <a:close/>
                  <a:moveTo>
                    <a:pt x="8" y="8"/>
                  </a:moveTo>
                  <a:lnTo>
                    <a:pt x="223" y="8"/>
                  </a:lnTo>
                  <a:lnTo>
                    <a:pt x="223" y="223"/>
                  </a:lnTo>
                  <a:lnTo>
                    <a:pt x="8" y="223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08" name="Freeform 132"/>
            <p:cNvSpPr>
              <a:spLocks noEditPoints="1"/>
            </p:cNvSpPr>
            <p:nvPr/>
          </p:nvSpPr>
          <p:spPr bwMode="auto">
            <a:xfrm>
              <a:off x="1106" y="1934"/>
              <a:ext cx="153" cy="149"/>
            </a:xfrm>
            <a:custGeom>
              <a:avLst/>
              <a:gdLst/>
              <a:ahLst/>
              <a:cxnLst>
                <a:cxn ang="0">
                  <a:pos x="100" y="50"/>
                </a:cxn>
                <a:cxn ang="0">
                  <a:pos x="76" y="0"/>
                </a:cxn>
                <a:cxn ang="0">
                  <a:pos x="52" y="50"/>
                </a:cxn>
                <a:cxn ang="0">
                  <a:pos x="0" y="58"/>
                </a:cxn>
                <a:cxn ang="0">
                  <a:pos x="38" y="94"/>
                </a:cxn>
                <a:cxn ang="0">
                  <a:pos x="28" y="149"/>
                </a:cxn>
                <a:cxn ang="0">
                  <a:pos x="76" y="122"/>
                </a:cxn>
                <a:cxn ang="0">
                  <a:pos x="124" y="149"/>
                </a:cxn>
                <a:cxn ang="0">
                  <a:pos x="115" y="94"/>
                </a:cxn>
                <a:cxn ang="0">
                  <a:pos x="153" y="58"/>
                </a:cxn>
                <a:cxn ang="0">
                  <a:pos x="100" y="50"/>
                </a:cxn>
                <a:cxn ang="0">
                  <a:pos x="108" y="96"/>
                </a:cxn>
                <a:cxn ang="0">
                  <a:pos x="112" y="132"/>
                </a:cxn>
                <a:cxn ang="0">
                  <a:pos x="81" y="115"/>
                </a:cxn>
                <a:cxn ang="0">
                  <a:pos x="76" y="113"/>
                </a:cxn>
                <a:cxn ang="0">
                  <a:pos x="72" y="115"/>
                </a:cxn>
                <a:cxn ang="0">
                  <a:pos x="40" y="132"/>
                </a:cxn>
                <a:cxn ang="0">
                  <a:pos x="45" y="96"/>
                </a:cxn>
                <a:cxn ang="0">
                  <a:pos x="48" y="91"/>
                </a:cxn>
                <a:cxn ang="0">
                  <a:pos x="43" y="89"/>
                </a:cxn>
                <a:cxn ang="0">
                  <a:pos x="19" y="62"/>
                </a:cxn>
                <a:cxn ang="0">
                  <a:pos x="55" y="58"/>
                </a:cxn>
                <a:cxn ang="0">
                  <a:pos x="57" y="58"/>
                </a:cxn>
                <a:cxn ang="0">
                  <a:pos x="60" y="53"/>
                </a:cxn>
                <a:cxn ang="0">
                  <a:pos x="76" y="22"/>
                </a:cxn>
                <a:cxn ang="0">
                  <a:pos x="93" y="53"/>
                </a:cxn>
                <a:cxn ang="0">
                  <a:pos x="96" y="58"/>
                </a:cxn>
                <a:cxn ang="0">
                  <a:pos x="98" y="58"/>
                </a:cxn>
                <a:cxn ang="0">
                  <a:pos x="134" y="62"/>
                </a:cxn>
                <a:cxn ang="0">
                  <a:pos x="110" y="89"/>
                </a:cxn>
                <a:cxn ang="0">
                  <a:pos x="105" y="91"/>
                </a:cxn>
                <a:cxn ang="0">
                  <a:pos x="108" y="96"/>
                </a:cxn>
              </a:cxnLst>
              <a:rect l="0" t="0" r="r" b="b"/>
              <a:pathLst>
                <a:path w="153" h="149">
                  <a:moveTo>
                    <a:pt x="100" y="50"/>
                  </a:moveTo>
                  <a:lnTo>
                    <a:pt x="76" y="0"/>
                  </a:lnTo>
                  <a:lnTo>
                    <a:pt x="52" y="50"/>
                  </a:lnTo>
                  <a:lnTo>
                    <a:pt x="0" y="58"/>
                  </a:lnTo>
                  <a:lnTo>
                    <a:pt x="38" y="94"/>
                  </a:lnTo>
                  <a:lnTo>
                    <a:pt x="28" y="149"/>
                  </a:lnTo>
                  <a:lnTo>
                    <a:pt x="76" y="122"/>
                  </a:lnTo>
                  <a:lnTo>
                    <a:pt x="124" y="149"/>
                  </a:lnTo>
                  <a:lnTo>
                    <a:pt x="115" y="94"/>
                  </a:lnTo>
                  <a:lnTo>
                    <a:pt x="153" y="58"/>
                  </a:lnTo>
                  <a:lnTo>
                    <a:pt x="100" y="50"/>
                  </a:lnTo>
                  <a:close/>
                  <a:moveTo>
                    <a:pt x="108" y="96"/>
                  </a:moveTo>
                  <a:lnTo>
                    <a:pt x="112" y="132"/>
                  </a:lnTo>
                  <a:lnTo>
                    <a:pt x="81" y="115"/>
                  </a:lnTo>
                  <a:lnTo>
                    <a:pt x="76" y="113"/>
                  </a:lnTo>
                  <a:lnTo>
                    <a:pt x="72" y="115"/>
                  </a:lnTo>
                  <a:lnTo>
                    <a:pt x="40" y="132"/>
                  </a:lnTo>
                  <a:lnTo>
                    <a:pt x="45" y="96"/>
                  </a:lnTo>
                  <a:lnTo>
                    <a:pt x="48" y="91"/>
                  </a:lnTo>
                  <a:lnTo>
                    <a:pt x="43" y="89"/>
                  </a:lnTo>
                  <a:lnTo>
                    <a:pt x="19" y="62"/>
                  </a:lnTo>
                  <a:lnTo>
                    <a:pt x="55" y="58"/>
                  </a:lnTo>
                  <a:lnTo>
                    <a:pt x="57" y="58"/>
                  </a:lnTo>
                  <a:lnTo>
                    <a:pt x="60" y="53"/>
                  </a:lnTo>
                  <a:lnTo>
                    <a:pt x="76" y="22"/>
                  </a:lnTo>
                  <a:lnTo>
                    <a:pt x="93" y="53"/>
                  </a:lnTo>
                  <a:lnTo>
                    <a:pt x="96" y="58"/>
                  </a:lnTo>
                  <a:lnTo>
                    <a:pt x="98" y="58"/>
                  </a:lnTo>
                  <a:lnTo>
                    <a:pt x="134" y="62"/>
                  </a:lnTo>
                  <a:lnTo>
                    <a:pt x="110" y="89"/>
                  </a:lnTo>
                  <a:lnTo>
                    <a:pt x="105" y="91"/>
                  </a:lnTo>
                  <a:lnTo>
                    <a:pt x="108" y="9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311" name="Group 135"/>
          <p:cNvGrpSpPr>
            <a:grpSpLocks noChangeAspect="1"/>
          </p:cNvGrpSpPr>
          <p:nvPr/>
        </p:nvGrpSpPr>
        <p:grpSpPr bwMode="auto">
          <a:xfrm>
            <a:off x="2548732" y="2774950"/>
            <a:ext cx="827087" cy="827088"/>
            <a:chOff x="1607" y="1748"/>
            <a:chExt cx="521" cy="521"/>
          </a:xfrm>
        </p:grpSpPr>
        <p:sp>
          <p:nvSpPr>
            <p:cNvPr id="50312" name="Oval 136"/>
            <p:cNvSpPr>
              <a:spLocks noChangeArrowheads="1"/>
            </p:cNvSpPr>
            <p:nvPr/>
          </p:nvSpPr>
          <p:spPr bwMode="auto">
            <a:xfrm>
              <a:off x="1607" y="1748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13" name="Freeform 137"/>
            <p:cNvSpPr>
              <a:spLocks noEditPoints="1"/>
            </p:cNvSpPr>
            <p:nvPr/>
          </p:nvSpPr>
          <p:spPr bwMode="auto">
            <a:xfrm>
              <a:off x="1626" y="1767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14" name="Freeform 138"/>
            <p:cNvSpPr>
              <a:spLocks noEditPoints="1"/>
            </p:cNvSpPr>
            <p:nvPr/>
          </p:nvSpPr>
          <p:spPr bwMode="auto">
            <a:xfrm>
              <a:off x="1724" y="1870"/>
              <a:ext cx="153" cy="280"/>
            </a:xfrm>
            <a:custGeom>
              <a:avLst/>
              <a:gdLst/>
              <a:ahLst/>
              <a:cxnLst>
                <a:cxn ang="0">
                  <a:pos x="47" y="59"/>
                </a:cxn>
                <a:cxn ang="0">
                  <a:pos x="28" y="55"/>
                </a:cxn>
                <a:cxn ang="0">
                  <a:pos x="25" y="52"/>
                </a:cxn>
                <a:cxn ang="0">
                  <a:pos x="20" y="44"/>
                </a:cxn>
                <a:cxn ang="0">
                  <a:pos x="15" y="46"/>
                </a:cxn>
                <a:cxn ang="0">
                  <a:pos x="20" y="41"/>
                </a:cxn>
                <a:cxn ang="0">
                  <a:pos x="28" y="46"/>
                </a:cxn>
                <a:cxn ang="0">
                  <a:pos x="35" y="32"/>
                </a:cxn>
                <a:cxn ang="0">
                  <a:pos x="39" y="29"/>
                </a:cxn>
                <a:cxn ang="0">
                  <a:pos x="47" y="21"/>
                </a:cxn>
                <a:cxn ang="0">
                  <a:pos x="52" y="14"/>
                </a:cxn>
                <a:cxn ang="0">
                  <a:pos x="45" y="8"/>
                </a:cxn>
                <a:cxn ang="0">
                  <a:pos x="38" y="14"/>
                </a:cxn>
                <a:cxn ang="0">
                  <a:pos x="35" y="13"/>
                </a:cxn>
                <a:cxn ang="0">
                  <a:pos x="39" y="9"/>
                </a:cxn>
                <a:cxn ang="0">
                  <a:pos x="39" y="1"/>
                </a:cxn>
                <a:cxn ang="0">
                  <a:pos x="0" y="39"/>
                </a:cxn>
                <a:cxn ang="0">
                  <a:pos x="11" y="55"/>
                </a:cxn>
                <a:cxn ang="0">
                  <a:pos x="22" y="63"/>
                </a:cxn>
                <a:cxn ang="0">
                  <a:pos x="23" y="66"/>
                </a:cxn>
                <a:cxn ang="0">
                  <a:pos x="31" y="84"/>
                </a:cxn>
                <a:cxn ang="0">
                  <a:pos x="35" y="111"/>
                </a:cxn>
                <a:cxn ang="0">
                  <a:pos x="48" y="116"/>
                </a:cxn>
                <a:cxn ang="0">
                  <a:pos x="46" y="108"/>
                </a:cxn>
                <a:cxn ang="0">
                  <a:pos x="58" y="88"/>
                </a:cxn>
                <a:cxn ang="0">
                  <a:pos x="64" y="72"/>
                </a:cxn>
                <a:cxn ang="0">
                  <a:pos x="55" y="86"/>
                </a:cxn>
                <a:cxn ang="0">
                  <a:pos x="43" y="104"/>
                </a:cxn>
                <a:cxn ang="0">
                  <a:pos x="39" y="110"/>
                </a:cxn>
                <a:cxn ang="0">
                  <a:pos x="35" y="84"/>
                </a:cxn>
                <a:cxn ang="0">
                  <a:pos x="26" y="68"/>
                </a:cxn>
                <a:cxn ang="0">
                  <a:pos x="24" y="60"/>
                </a:cxn>
                <a:cxn ang="0">
                  <a:pos x="18" y="53"/>
                </a:cxn>
                <a:cxn ang="0">
                  <a:pos x="5" y="46"/>
                </a:cxn>
                <a:cxn ang="0">
                  <a:pos x="38" y="5"/>
                </a:cxn>
                <a:cxn ang="0">
                  <a:pos x="32" y="9"/>
                </a:cxn>
                <a:cxn ang="0">
                  <a:pos x="34" y="17"/>
                </a:cxn>
                <a:cxn ang="0">
                  <a:pos x="42" y="15"/>
                </a:cxn>
                <a:cxn ang="0">
                  <a:pos x="46" y="12"/>
                </a:cxn>
                <a:cxn ang="0">
                  <a:pos x="49" y="17"/>
                </a:cxn>
                <a:cxn ang="0">
                  <a:pos x="43" y="23"/>
                </a:cxn>
                <a:cxn ang="0">
                  <a:pos x="33" y="28"/>
                </a:cxn>
                <a:cxn ang="0">
                  <a:pos x="27" y="35"/>
                </a:cxn>
                <a:cxn ang="0">
                  <a:pos x="23" y="37"/>
                </a:cxn>
                <a:cxn ang="0">
                  <a:pos x="11" y="45"/>
                </a:cxn>
                <a:cxn ang="0">
                  <a:pos x="19" y="49"/>
                </a:cxn>
                <a:cxn ang="0">
                  <a:pos x="20" y="49"/>
                </a:cxn>
                <a:cxn ang="0">
                  <a:pos x="24" y="57"/>
                </a:cxn>
                <a:cxn ang="0">
                  <a:pos x="35" y="56"/>
                </a:cxn>
                <a:cxn ang="0">
                  <a:pos x="49" y="68"/>
                </a:cxn>
              </a:cxnLst>
              <a:rect l="0" t="0" r="r" b="b"/>
              <a:pathLst>
                <a:path w="64" h="117">
                  <a:moveTo>
                    <a:pt x="61" y="68"/>
                  </a:move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6" y="59"/>
                    <a:pt x="46" y="58"/>
                    <a:pt x="45" y="58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5" y="52"/>
                    <a:pt x="34" y="52"/>
                    <a:pt x="33" y="53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1"/>
                    <a:pt x="24" y="51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5" y="48"/>
                    <a:pt x="24" y="46"/>
                    <a:pt x="23" y="45"/>
                  </a:cubicBezTo>
                  <a:cubicBezTo>
                    <a:pt x="22" y="44"/>
                    <a:pt x="21" y="44"/>
                    <a:pt x="20" y="44"/>
                  </a:cubicBezTo>
                  <a:cubicBezTo>
                    <a:pt x="20" y="44"/>
                    <a:pt x="19" y="44"/>
                    <a:pt x="18" y="4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6" y="47"/>
                    <a:pt x="16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5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6" y="41"/>
                    <a:pt x="16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1" y="41"/>
                    <a:pt x="22" y="40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5" y="46"/>
                    <a:pt x="25" y="46"/>
                  </a:cubicBezTo>
                  <a:cubicBezTo>
                    <a:pt x="26" y="47"/>
                    <a:pt x="27" y="47"/>
                    <a:pt x="28" y="46"/>
                  </a:cubicBezTo>
                  <a:cubicBezTo>
                    <a:pt x="29" y="45"/>
                    <a:pt x="30" y="44"/>
                    <a:pt x="30" y="43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4" y="35"/>
                    <a:pt x="35" y="34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6" y="26"/>
                    <a:pt x="47" y="23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2" y="20"/>
                    <a:pt x="52" y="19"/>
                  </a:cubicBezTo>
                  <a:cubicBezTo>
                    <a:pt x="53" y="18"/>
                    <a:pt x="53" y="17"/>
                    <a:pt x="53" y="16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3"/>
                    <a:pt x="52" y="13"/>
                    <a:pt x="51" y="12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8" y="9"/>
                    <a:pt x="47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4" y="8"/>
                  </a:cubicBezTo>
                  <a:cubicBezTo>
                    <a:pt x="43" y="8"/>
                    <a:pt x="41" y="9"/>
                    <a:pt x="41" y="1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4"/>
                    <a:pt x="36" y="14"/>
                    <a:pt x="35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40" y="9"/>
                    <a:pt x="40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7"/>
                    <a:pt x="42" y="5"/>
                    <a:pt x="41" y="4"/>
                  </a:cubicBezTo>
                  <a:cubicBezTo>
                    <a:pt x="41" y="3"/>
                    <a:pt x="40" y="2"/>
                    <a:pt x="39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19" y="7"/>
                    <a:pt x="6" y="21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2" y="48"/>
                    <a:pt x="3" y="49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4"/>
                    <a:pt x="10" y="55"/>
                    <a:pt x="11" y="55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1" y="62"/>
                    <a:pt x="21" y="62"/>
                    <a:pt x="22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4" y="63"/>
                    <a:pt x="24" y="64"/>
                    <a:pt x="24" y="64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67"/>
                    <a:pt x="22" y="68"/>
                    <a:pt x="22" y="6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6" y="80"/>
                    <a:pt x="26" y="81"/>
                    <a:pt x="27" y="81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6" y="112"/>
                    <a:pt x="36" y="113"/>
                    <a:pt x="37" y="113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5" y="117"/>
                    <a:pt x="45" y="117"/>
                    <a:pt x="46" y="117"/>
                  </a:cubicBezTo>
                  <a:cubicBezTo>
                    <a:pt x="47" y="117"/>
                    <a:pt x="47" y="117"/>
                    <a:pt x="4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9" y="115"/>
                    <a:pt x="49" y="114"/>
                    <a:pt x="48" y="113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6"/>
                    <a:pt x="64" y="75"/>
                    <a:pt x="64" y="74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0"/>
                    <a:pt x="62" y="69"/>
                    <a:pt x="61" y="68"/>
                  </a:cubicBezTo>
                  <a:close/>
                  <a:moveTo>
                    <a:pt x="60" y="74"/>
                  </a:moveTo>
                  <a:cubicBezTo>
                    <a:pt x="60" y="74"/>
                    <a:pt x="60" y="75"/>
                    <a:pt x="60" y="75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3" y="102"/>
                    <a:pt x="43" y="103"/>
                    <a:pt x="43" y="104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9"/>
                    <a:pt x="43" y="109"/>
                    <a:pt x="43" y="110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2"/>
                    <a:pt x="34" y="81"/>
                    <a:pt x="33" y="81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7"/>
                    <a:pt x="26" y="67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64"/>
                    <a:pt x="28" y="63"/>
                    <a:pt x="27" y="62"/>
                  </a:cubicBezTo>
                  <a:cubicBezTo>
                    <a:pt x="27" y="61"/>
                    <a:pt x="26" y="60"/>
                    <a:pt x="24" y="60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4"/>
                    <a:pt x="19" y="54"/>
                    <a:pt x="18" y="53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9" y="23"/>
                    <a:pt x="21" y="11"/>
                    <a:pt x="37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0" y="11"/>
                    <a:pt x="30" y="12"/>
                  </a:cubicBezTo>
                  <a:cubicBezTo>
                    <a:pt x="30" y="14"/>
                    <a:pt x="31" y="15"/>
                    <a:pt x="32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7"/>
                    <a:pt x="34" y="17"/>
                    <a:pt x="34" y="17"/>
                  </a:cubicBezTo>
                  <a:cubicBezTo>
                    <a:pt x="34" y="18"/>
                    <a:pt x="35" y="19"/>
                    <a:pt x="36" y="19"/>
                  </a:cubicBezTo>
                  <a:cubicBezTo>
                    <a:pt x="38" y="19"/>
                    <a:pt x="39" y="19"/>
                    <a:pt x="40" y="17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2" y="16"/>
                    <a:pt x="42" y="15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5" y="18"/>
                    <a:pt x="44" y="19"/>
                    <a:pt x="43" y="20"/>
                  </a:cubicBezTo>
                  <a:cubicBezTo>
                    <a:pt x="43" y="21"/>
                    <a:pt x="43" y="22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30"/>
                    <a:pt x="31" y="31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6"/>
                    <a:pt x="26" y="37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4" y="37"/>
                    <a:pt x="23" y="37"/>
                  </a:cubicBezTo>
                  <a:cubicBezTo>
                    <a:pt x="21" y="36"/>
                    <a:pt x="20" y="37"/>
                    <a:pt x="19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4" y="38"/>
                    <a:pt x="12" y="39"/>
                    <a:pt x="12" y="4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6"/>
                    <a:pt x="12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50"/>
                    <a:pt x="15" y="50"/>
                    <a:pt x="16" y="50"/>
                  </a:cubicBezTo>
                  <a:cubicBezTo>
                    <a:pt x="17" y="50"/>
                    <a:pt x="18" y="50"/>
                    <a:pt x="19" y="49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9" y="50"/>
                    <a:pt x="19" y="51"/>
                    <a:pt x="20" y="52"/>
                  </a:cubicBezTo>
                  <a:cubicBezTo>
                    <a:pt x="20" y="53"/>
                    <a:pt x="21" y="53"/>
                    <a:pt x="22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3" y="57"/>
                    <a:pt x="24" y="5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59"/>
                    <a:pt x="29" y="58"/>
                    <a:pt x="30" y="58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5" y="56"/>
                    <a:pt x="35" y="56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8" y="67"/>
                    <a:pt x="48" y="68"/>
                    <a:pt x="49" y="68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2"/>
                    <a:pt x="60" y="72"/>
                    <a:pt x="60" y="72"/>
                  </a:cubicBezTo>
                  <a:lnTo>
                    <a:pt x="60" y="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15" name="Freeform 139"/>
            <p:cNvSpPr>
              <a:spLocks noEditPoints="1"/>
            </p:cNvSpPr>
            <p:nvPr/>
          </p:nvSpPr>
          <p:spPr bwMode="auto">
            <a:xfrm>
              <a:off x="1894" y="1874"/>
              <a:ext cx="100" cy="60"/>
            </a:xfrm>
            <a:custGeom>
              <a:avLst/>
              <a:gdLst/>
              <a:ahLst/>
              <a:cxnLst>
                <a:cxn ang="0">
                  <a:pos x="10" y="24"/>
                </a:cxn>
                <a:cxn ang="0">
                  <a:pos x="20" y="16"/>
                </a:cxn>
                <a:cxn ang="0">
                  <a:pos x="22" y="16"/>
                </a:cxn>
                <a:cxn ang="0">
                  <a:pos x="24" y="18"/>
                </a:cxn>
                <a:cxn ang="0">
                  <a:pos x="24" y="20"/>
                </a:cxn>
                <a:cxn ang="0">
                  <a:pos x="27" y="25"/>
                </a:cxn>
                <a:cxn ang="0">
                  <a:pos x="30" y="25"/>
                </a:cxn>
                <a:cxn ang="0">
                  <a:pos x="34" y="23"/>
                </a:cxn>
                <a:cxn ang="0">
                  <a:pos x="38" y="23"/>
                </a:cxn>
                <a:cxn ang="0">
                  <a:pos x="40" y="20"/>
                </a:cxn>
                <a:cxn ang="0">
                  <a:pos x="21" y="0"/>
                </a:cxn>
                <a:cxn ang="0">
                  <a:pos x="15" y="2"/>
                </a:cxn>
                <a:cxn ang="0">
                  <a:pos x="9" y="11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0" y="19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7"/>
                </a:cxn>
                <a:cxn ang="0">
                  <a:pos x="5" y="16"/>
                </a:cxn>
                <a:cxn ang="0">
                  <a:pos x="13" y="13"/>
                </a:cxn>
                <a:cxn ang="0">
                  <a:pos x="13" y="8"/>
                </a:cxn>
                <a:cxn ang="0">
                  <a:pos x="18" y="4"/>
                </a:cxn>
                <a:cxn ang="0">
                  <a:pos x="35" y="19"/>
                </a:cxn>
                <a:cxn ang="0">
                  <a:pos x="32" y="20"/>
                </a:cxn>
                <a:cxn ang="0">
                  <a:pos x="28" y="22"/>
                </a:cxn>
                <a:cxn ang="0">
                  <a:pos x="28" y="21"/>
                </a:cxn>
                <a:cxn ang="0">
                  <a:pos x="27" y="15"/>
                </a:cxn>
                <a:cxn ang="0">
                  <a:pos x="22" y="13"/>
                </a:cxn>
                <a:cxn ang="0">
                  <a:pos x="20" y="13"/>
                </a:cxn>
                <a:cxn ang="0">
                  <a:pos x="8" y="21"/>
                </a:cxn>
                <a:cxn ang="0">
                  <a:pos x="5" y="21"/>
                </a:cxn>
              </a:cxnLst>
              <a:rect l="0" t="0" r="r" b="b"/>
              <a:pathLst>
                <a:path w="42" h="25">
                  <a:moveTo>
                    <a:pt x="7" y="25"/>
                  </a:moveTo>
                  <a:cubicBezTo>
                    <a:pt x="8" y="25"/>
                    <a:pt x="9" y="25"/>
                    <a:pt x="10" y="24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3" y="16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9"/>
                    <a:pt x="25" y="19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2"/>
                    <a:pt x="25" y="23"/>
                  </a:cubicBezTo>
                  <a:cubicBezTo>
                    <a:pt x="25" y="24"/>
                    <a:pt x="26" y="25"/>
                    <a:pt x="27" y="25"/>
                  </a:cubicBezTo>
                  <a:cubicBezTo>
                    <a:pt x="27" y="25"/>
                    <a:pt x="28" y="25"/>
                    <a:pt x="28" y="25"/>
                  </a:cubicBezTo>
                  <a:cubicBezTo>
                    <a:pt x="29" y="25"/>
                    <a:pt x="29" y="25"/>
                    <a:pt x="30" y="25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6" y="13"/>
                    <a:pt x="29" y="6"/>
                    <a:pt x="22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5" y="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8" y="6"/>
                    <a:pt x="8" y="9"/>
                    <a:pt x="9" y="11"/>
                  </a:cubicBezTo>
                  <a:cubicBezTo>
                    <a:pt x="9" y="11"/>
                    <a:pt x="9" y="11"/>
                    <a:pt x="9" y="12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1" y="14"/>
                    <a:pt x="1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1" y="22"/>
                  </a:cubicBezTo>
                  <a:cubicBezTo>
                    <a:pt x="2" y="23"/>
                    <a:pt x="3" y="24"/>
                    <a:pt x="4" y="24"/>
                  </a:cubicBezTo>
                  <a:lnTo>
                    <a:pt x="7" y="25"/>
                  </a:lnTo>
                  <a:close/>
                  <a:moveTo>
                    <a:pt x="4" y="20"/>
                  </a:moveTo>
                  <a:cubicBezTo>
                    <a:pt x="4" y="20"/>
                    <a:pt x="4" y="20"/>
                    <a:pt x="4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0" y="16"/>
                    <a:pt x="12" y="15"/>
                    <a:pt x="13" y="13"/>
                  </a:cubicBezTo>
                  <a:cubicBezTo>
                    <a:pt x="13" y="11"/>
                    <a:pt x="13" y="10"/>
                    <a:pt x="12" y="9"/>
                  </a:cubicBezTo>
                  <a:cubicBezTo>
                    <a:pt x="12" y="9"/>
                    <a:pt x="12" y="8"/>
                    <a:pt x="13" y="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4"/>
                    <a:pt x="18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8"/>
                    <a:pt x="31" y="13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3" y="19"/>
                    <a:pt x="32" y="2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9" y="19"/>
                    <a:pt x="28" y="16"/>
                    <a:pt x="27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3"/>
                    <a:pt x="23" y="13"/>
                    <a:pt x="22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8" y="13"/>
                    <a:pt x="17" y="1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7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1"/>
                    <a:pt x="4" y="21"/>
                    <a:pt x="4" y="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16" name="Freeform 140"/>
            <p:cNvSpPr>
              <a:spLocks noEditPoints="1"/>
            </p:cNvSpPr>
            <p:nvPr/>
          </p:nvSpPr>
          <p:spPr bwMode="auto">
            <a:xfrm>
              <a:off x="1901" y="1939"/>
              <a:ext cx="117" cy="170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4"/>
                </a:cxn>
                <a:cxn ang="0">
                  <a:pos x="39" y="5"/>
                </a:cxn>
                <a:cxn ang="0">
                  <a:pos x="34" y="3"/>
                </a:cxn>
                <a:cxn ang="0">
                  <a:pos x="31" y="5"/>
                </a:cxn>
                <a:cxn ang="0">
                  <a:pos x="30" y="5"/>
                </a:cxn>
                <a:cxn ang="0">
                  <a:pos x="26" y="3"/>
                </a:cxn>
                <a:cxn ang="0">
                  <a:pos x="21" y="0"/>
                </a:cxn>
                <a:cxn ang="0">
                  <a:pos x="16" y="1"/>
                </a:cxn>
                <a:cxn ang="0">
                  <a:pos x="8" y="4"/>
                </a:cxn>
                <a:cxn ang="0">
                  <a:pos x="0" y="15"/>
                </a:cxn>
                <a:cxn ang="0">
                  <a:pos x="1" y="28"/>
                </a:cxn>
                <a:cxn ang="0">
                  <a:pos x="10" y="34"/>
                </a:cxn>
                <a:cxn ang="0">
                  <a:pos x="19" y="32"/>
                </a:cxn>
                <a:cxn ang="0">
                  <a:pos x="22" y="34"/>
                </a:cxn>
                <a:cxn ang="0">
                  <a:pos x="22" y="40"/>
                </a:cxn>
                <a:cxn ang="0">
                  <a:pos x="25" y="46"/>
                </a:cxn>
                <a:cxn ang="0">
                  <a:pos x="23" y="55"/>
                </a:cxn>
                <a:cxn ang="0">
                  <a:pos x="31" y="71"/>
                </a:cxn>
                <a:cxn ang="0">
                  <a:pos x="35" y="70"/>
                </a:cxn>
                <a:cxn ang="0">
                  <a:pos x="44" y="5"/>
                </a:cxn>
                <a:cxn ang="0">
                  <a:pos x="32" y="67"/>
                </a:cxn>
                <a:cxn ang="0">
                  <a:pos x="27" y="53"/>
                </a:cxn>
                <a:cxn ang="0">
                  <a:pos x="29" y="48"/>
                </a:cxn>
                <a:cxn ang="0">
                  <a:pos x="26" y="38"/>
                </a:cxn>
                <a:cxn ang="0">
                  <a:pos x="26" y="35"/>
                </a:cxn>
                <a:cxn ang="0">
                  <a:pos x="21" y="29"/>
                </a:cxn>
                <a:cxn ang="0">
                  <a:pos x="18" y="29"/>
                </a:cxn>
                <a:cxn ang="0">
                  <a:pos x="9" y="30"/>
                </a:cxn>
                <a:cxn ang="0">
                  <a:pos x="4" y="25"/>
                </a:cxn>
                <a:cxn ang="0">
                  <a:pos x="4" y="15"/>
                </a:cxn>
                <a:cxn ang="0">
                  <a:pos x="11" y="6"/>
                </a:cxn>
                <a:cxn ang="0">
                  <a:pos x="22" y="3"/>
                </a:cxn>
                <a:cxn ang="0">
                  <a:pos x="22" y="4"/>
                </a:cxn>
                <a:cxn ang="0">
                  <a:pos x="29" y="9"/>
                </a:cxn>
                <a:cxn ang="0">
                  <a:pos x="34" y="7"/>
                </a:cxn>
                <a:cxn ang="0">
                  <a:pos x="34" y="7"/>
                </a:cxn>
                <a:cxn ang="0">
                  <a:pos x="41" y="8"/>
                </a:cxn>
                <a:cxn ang="0">
                  <a:pos x="46" y="31"/>
                </a:cxn>
              </a:cxnLst>
              <a:rect l="0" t="0" r="r" b="b"/>
              <a:pathLst>
                <a:path w="49" h="71">
                  <a:moveTo>
                    <a:pt x="44" y="5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2" y="4"/>
                    <a:pt x="41" y="4"/>
                    <a:pt x="41" y="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39" y="5"/>
                    <a:pt x="39" y="5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3" y="3"/>
                    <a:pt x="32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2"/>
                    <a:pt x="25" y="1"/>
                    <a:pt x="24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8" y="3"/>
                    <a:pt x="8" y="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34"/>
                    <a:pt x="9" y="34"/>
                    <a:pt x="10" y="34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8"/>
                    <a:pt x="22" y="39"/>
                    <a:pt x="22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3"/>
                    <a:pt x="23" y="54"/>
                    <a:pt x="23" y="55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70"/>
                    <a:pt x="30" y="71"/>
                    <a:pt x="31" y="71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44" y="59"/>
                    <a:pt x="49" y="45"/>
                    <a:pt x="49" y="31"/>
                  </a:cubicBezTo>
                  <a:cubicBezTo>
                    <a:pt x="49" y="22"/>
                    <a:pt x="47" y="13"/>
                    <a:pt x="44" y="5"/>
                  </a:cubicBezTo>
                  <a:close/>
                  <a:moveTo>
                    <a:pt x="33" y="67"/>
                  </a:move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1" y="67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7"/>
                    <a:pt x="29" y="46"/>
                    <a:pt x="28" y="4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5" y="32"/>
                    <a:pt x="24" y="3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19" y="29"/>
                    <a:pt x="19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4"/>
                  </a:cubicBezTo>
                  <a:cubicBezTo>
                    <a:pt x="22" y="5"/>
                    <a:pt x="23" y="6"/>
                    <a:pt x="24" y="7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30" y="9"/>
                    <a:pt x="30" y="9"/>
                  </a:cubicBezTo>
                  <a:cubicBezTo>
                    <a:pt x="32" y="9"/>
                    <a:pt x="33" y="8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8"/>
                    <a:pt x="40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4" y="15"/>
                    <a:pt x="46" y="23"/>
                    <a:pt x="46" y="31"/>
                  </a:cubicBezTo>
                  <a:cubicBezTo>
                    <a:pt x="46" y="44"/>
                    <a:pt x="41" y="57"/>
                    <a:pt x="33" y="6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17" name="Freeform 141"/>
            <p:cNvSpPr>
              <a:spLocks noEditPoints="1"/>
            </p:cNvSpPr>
            <p:nvPr/>
          </p:nvSpPr>
          <p:spPr bwMode="auto">
            <a:xfrm>
              <a:off x="1693" y="1836"/>
              <a:ext cx="349" cy="347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0" y="72"/>
                </a:cxn>
                <a:cxn ang="0">
                  <a:pos x="73" y="145"/>
                </a:cxn>
                <a:cxn ang="0">
                  <a:pos x="146" y="72"/>
                </a:cxn>
                <a:cxn ang="0">
                  <a:pos x="73" y="0"/>
                </a:cxn>
                <a:cxn ang="0">
                  <a:pos x="73" y="142"/>
                </a:cxn>
                <a:cxn ang="0">
                  <a:pos x="4" y="72"/>
                </a:cxn>
                <a:cxn ang="0">
                  <a:pos x="73" y="3"/>
                </a:cxn>
                <a:cxn ang="0">
                  <a:pos x="142" y="72"/>
                </a:cxn>
                <a:cxn ang="0">
                  <a:pos x="73" y="142"/>
                </a:cxn>
              </a:cxnLst>
              <a:rect l="0" t="0" r="r" b="b"/>
              <a:pathLst>
                <a:path w="146" h="145">
                  <a:moveTo>
                    <a:pt x="73" y="0"/>
                  </a:moveTo>
                  <a:cubicBezTo>
                    <a:pt x="33" y="0"/>
                    <a:pt x="0" y="32"/>
                    <a:pt x="0" y="72"/>
                  </a:cubicBezTo>
                  <a:cubicBezTo>
                    <a:pt x="0" y="113"/>
                    <a:pt x="33" y="145"/>
                    <a:pt x="73" y="145"/>
                  </a:cubicBezTo>
                  <a:cubicBezTo>
                    <a:pt x="113" y="145"/>
                    <a:pt x="146" y="113"/>
                    <a:pt x="146" y="72"/>
                  </a:cubicBezTo>
                  <a:cubicBezTo>
                    <a:pt x="146" y="32"/>
                    <a:pt x="113" y="0"/>
                    <a:pt x="73" y="0"/>
                  </a:cubicBezTo>
                  <a:close/>
                  <a:moveTo>
                    <a:pt x="73" y="142"/>
                  </a:moveTo>
                  <a:cubicBezTo>
                    <a:pt x="35" y="142"/>
                    <a:pt x="4" y="111"/>
                    <a:pt x="4" y="72"/>
                  </a:cubicBezTo>
                  <a:cubicBezTo>
                    <a:pt x="4" y="34"/>
                    <a:pt x="35" y="3"/>
                    <a:pt x="73" y="3"/>
                  </a:cubicBezTo>
                  <a:cubicBezTo>
                    <a:pt x="111" y="3"/>
                    <a:pt x="142" y="34"/>
                    <a:pt x="142" y="72"/>
                  </a:cubicBezTo>
                  <a:cubicBezTo>
                    <a:pt x="142" y="111"/>
                    <a:pt x="111" y="142"/>
                    <a:pt x="73" y="14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20" name="Group 144"/>
          <p:cNvGrpSpPr>
            <a:grpSpLocks noChangeAspect="1"/>
          </p:cNvGrpSpPr>
          <p:nvPr/>
        </p:nvGrpSpPr>
        <p:grpSpPr bwMode="auto">
          <a:xfrm>
            <a:off x="3677441" y="2803523"/>
            <a:ext cx="768350" cy="768350"/>
            <a:chOff x="2310" y="1766"/>
            <a:chExt cx="484" cy="484"/>
          </a:xfrm>
        </p:grpSpPr>
        <p:sp>
          <p:nvSpPr>
            <p:cNvPr id="50321" name="Freeform 145"/>
            <p:cNvSpPr>
              <a:spLocks noEditPoints="1"/>
            </p:cNvSpPr>
            <p:nvPr/>
          </p:nvSpPr>
          <p:spPr bwMode="auto">
            <a:xfrm>
              <a:off x="2310" y="1766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22" name="Freeform 146"/>
            <p:cNvSpPr>
              <a:spLocks noEditPoints="1"/>
            </p:cNvSpPr>
            <p:nvPr/>
          </p:nvSpPr>
          <p:spPr bwMode="auto">
            <a:xfrm>
              <a:off x="2409" y="1869"/>
              <a:ext cx="153" cy="281"/>
            </a:xfrm>
            <a:custGeom>
              <a:avLst/>
              <a:gdLst/>
              <a:ahLst/>
              <a:cxnLst>
                <a:cxn ang="0">
                  <a:pos x="47" y="59"/>
                </a:cxn>
                <a:cxn ang="0">
                  <a:pos x="28" y="55"/>
                </a:cxn>
                <a:cxn ang="0">
                  <a:pos x="25" y="52"/>
                </a:cxn>
                <a:cxn ang="0">
                  <a:pos x="20" y="44"/>
                </a:cxn>
                <a:cxn ang="0">
                  <a:pos x="15" y="46"/>
                </a:cxn>
                <a:cxn ang="0">
                  <a:pos x="20" y="41"/>
                </a:cxn>
                <a:cxn ang="0">
                  <a:pos x="28" y="46"/>
                </a:cxn>
                <a:cxn ang="0">
                  <a:pos x="35" y="32"/>
                </a:cxn>
                <a:cxn ang="0">
                  <a:pos x="39" y="29"/>
                </a:cxn>
                <a:cxn ang="0">
                  <a:pos x="47" y="21"/>
                </a:cxn>
                <a:cxn ang="0">
                  <a:pos x="52" y="14"/>
                </a:cxn>
                <a:cxn ang="0">
                  <a:pos x="45" y="8"/>
                </a:cxn>
                <a:cxn ang="0">
                  <a:pos x="38" y="14"/>
                </a:cxn>
                <a:cxn ang="0">
                  <a:pos x="35" y="13"/>
                </a:cxn>
                <a:cxn ang="0">
                  <a:pos x="39" y="9"/>
                </a:cxn>
                <a:cxn ang="0">
                  <a:pos x="39" y="1"/>
                </a:cxn>
                <a:cxn ang="0">
                  <a:pos x="0" y="39"/>
                </a:cxn>
                <a:cxn ang="0">
                  <a:pos x="11" y="55"/>
                </a:cxn>
                <a:cxn ang="0">
                  <a:pos x="22" y="63"/>
                </a:cxn>
                <a:cxn ang="0">
                  <a:pos x="23" y="66"/>
                </a:cxn>
                <a:cxn ang="0">
                  <a:pos x="31" y="84"/>
                </a:cxn>
                <a:cxn ang="0">
                  <a:pos x="35" y="111"/>
                </a:cxn>
                <a:cxn ang="0">
                  <a:pos x="48" y="116"/>
                </a:cxn>
                <a:cxn ang="0">
                  <a:pos x="46" y="108"/>
                </a:cxn>
                <a:cxn ang="0">
                  <a:pos x="58" y="88"/>
                </a:cxn>
                <a:cxn ang="0">
                  <a:pos x="64" y="72"/>
                </a:cxn>
                <a:cxn ang="0">
                  <a:pos x="55" y="86"/>
                </a:cxn>
                <a:cxn ang="0">
                  <a:pos x="43" y="104"/>
                </a:cxn>
                <a:cxn ang="0">
                  <a:pos x="39" y="110"/>
                </a:cxn>
                <a:cxn ang="0">
                  <a:pos x="35" y="84"/>
                </a:cxn>
                <a:cxn ang="0">
                  <a:pos x="26" y="68"/>
                </a:cxn>
                <a:cxn ang="0">
                  <a:pos x="24" y="60"/>
                </a:cxn>
                <a:cxn ang="0">
                  <a:pos x="18" y="53"/>
                </a:cxn>
                <a:cxn ang="0">
                  <a:pos x="5" y="46"/>
                </a:cxn>
                <a:cxn ang="0">
                  <a:pos x="38" y="5"/>
                </a:cxn>
                <a:cxn ang="0">
                  <a:pos x="32" y="9"/>
                </a:cxn>
                <a:cxn ang="0">
                  <a:pos x="34" y="17"/>
                </a:cxn>
                <a:cxn ang="0">
                  <a:pos x="42" y="15"/>
                </a:cxn>
                <a:cxn ang="0">
                  <a:pos x="46" y="12"/>
                </a:cxn>
                <a:cxn ang="0">
                  <a:pos x="49" y="17"/>
                </a:cxn>
                <a:cxn ang="0">
                  <a:pos x="43" y="23"/>
                </a:cxn>
                <a:cxn ang="0">
                  <a:pos x="33" y="28"/>
                </a:cxn>
                <a:cxn ang="0">
                  <a:pos x="27" y="35"/>
                </a:cxn>
                <a:cxn ang="0">
                  <a:pos x="23" y="37"/>
                </a:cxn>
                <a:cxn ang="0">
                  <a:pos x="11" y="45"/>
                </a:cxn>
                <a:cxn ang="0">
                  <a:pos x="19" y="49"/>
                </a:cxn>
                <a:cxn ang="0">
                  <a:pos x="20" y="49"/>
                </a:cxn>
                <a:cxn ang="0">
                  <a:pos x="24" y="57"/>
                </a:cxn>
                <a:cxn ang="0">
                  <a:pos x="35" y="56"/>
                </a:cxn>
                <a:cxn ang="0">
                  <a:pos x="49" y="68"/>
                </a:cxn>
              </a:cxnLst>
              <a:rect l="0" t="0" r="r" b="b"/>
              <a:pathLst>
                <a:path w="64" h="117">
                  <a:moveTo>
                    <a:pt x="61" y="68"/>
                  </a:move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6" y="59"/>
                    <a:pt x="46" y="58"/>
                    <a:pt x="45" y="58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5" y="52"/>
                    <a:pt x="34" y="52"/>
                    <a:pt x="33" y="53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1"/>
                    <a:pt x="24" y="51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5" y="48"/>
                    <a:pt x="24" y="46"/>
                    <a:pt x="23" y="45"/>
                  </a:cubicBezTo>
                  <a:cubicBezTo>
                    <a:pt x="22" y="44"/>
                    <a:pt x="21" y="44"/>
                    <a:pt x="20" y="44"/>
                  </a:cubicBezTo>
                  <a:cubicBezTo>
                    <a:pt x="20" y="44"/>
                    <a:pt x="19" y="44"/>
                    <a:pt x="18" y="4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6" y="47"/>
                    <a:pt x="16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5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6" y="41"/>
                    <a:pt x="16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0" y="41"/>
                    <a:pt x="21" y="41"/>
                    <a:pt x="22" y="40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5" y="46"/>
                    <a:pt x="25" y="46"/>
                  </a:cubicBezTo>
                  <a:cubicBezTo>
                    <a:pt x="26" y="47"/>
                    <a:pt x="27" y="47"/>
                    <a:pt x="28" y="46"/>
                  </a:cubicBezTo>
                  <a:cubicBezTo>
                    <a:pt x="29" y="45"/>
                    <a:pt x="30" y="44"/>
                    <a:pt x="30" y="43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4" y="35"/>
                    <a:pt x="35" y="34"/>
                    <a:pt x="35" y="32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6" y="26"/>
                    <a:pt x="47" y="23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2" y="20"/>
                    <a:pt x="52" y="19"/>
                  </a:cubicBezTo>
                  <a:cubicBezTo>
                    <a:pt x="53" y="18"/>
                    <a:pt x="53" y="17"/>
                    <a:pt x="53" y="16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3"/>
                    <a:pt x="52" y="13"/>
                    <a:pt x="51" y="12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8" y="9"/>
                    <a:pt x="47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4" y="8"/>
                  </a:cubicBezTo>
                  <a:cubicBezTo>
                    <a:pt x="43" y="8"/>
                    <a:pt x="41" y="9"/>
                    <a:pt x="41" y="1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4"/>
                    <a:pt x="36" y="14"/>
                    <a:pt x="35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40" y="9"/>
                    <a:pt x="40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7"/>
                    <a:pt x="42" y="5"/>
                    <a:pt x="41" y="4"/>
                  </a:cubicBezTo>
                  <a:cubicBezTo>
                    <a:pt x="41" y="3"/>
                    <a:pt x="40" y="2"/>
                    <a:pt x="39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19" y="7"/>
                    <a:pt x="6" y="21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2" y="48"/>
                    <a:pt x="3" y="49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4"/>
                    <a:pt x="10" y="55"/>
                    <a:pt x="11" y="55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1" y="62"/>
                    <a:pt x="21" y="62"/>
                    <a:pt x="22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4" y="63"/>
                    <a:pt x="24" y="64"/>
                    <a:pt x="24" y="64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67"/>
                    <a:pt x="22" y="68"/>
                    <a:pt x="22" y="6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6" y="80"/>
                    <a:pt x="26" y="81"/>
                    <a:pt x="27" y="81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6" y="112"/>
                    <a:pt x="36" y="113"/>
                    <a:pt x="37" y="113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5" y="117"/>
                    <a:pt x="45" y="117"/>
                    <a:pt x="46" y="117"/>
                  </a:cubicBezTo>
                  <a:cubicBezTo>
                    <a:pt x="47" y="117"/>
                    <a:pt x="47" y="117"/>
                    <a:pt x="4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9" y="115"/>
                    <a:pt x="49" y="114"/>
                    <a:pt x="48" y="113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6"/>
                    <a:pt x="64" y="75"/>
                    <a:pt x="64" y="74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0"/>
                    <a:pt x="62" y="69"/>
                    <a:pt x="61" y="68"/>
                  </a:cubicBezTo>
                  <a:close/>
                  <a:moveTo>
                    <a:pt x="60" y="74"/>
                  </a:moveTo>
                  <a:cubicBezTo>
                    <a:pt x="60" y="74"/>
                    <a:pt x="60" y="75"/>
                    <a:pt x="60" y="75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3" y="102"/>
                    <a:pt x="43" y="103"/>
                    <a:pt x="43" y="104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9"/>
                    <a:pt x="43" y="109"/>
                    <a:pt x="43" y="110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2"/>
                    <a:pt x="34" y="81"/>
                    <a:pt x="33" y="81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7"/>
                    <a:pt x="26" y="67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64"/>
                    <a:pt x="28" y="63"/>
                    <a:pt x="27" y="62"/>
                  </a:cubicBezTo>
                  <a:cubicBezTo>
                    <a:pt x="27" y="61"/>
                    <a:pt x="26" y="60"/>
                    <a:pt x="24" y="60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19" y="54"/>
                    <a:pt x="19" y="54"/>
                    <a:pt x="18" y="53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9" y="23"/>
                    <a:pt x="21" y="11"/>
                    <a:pt x="37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0" y="11"/>
                    <a:pt x="30" y="12"/>
                  </a:cubicBezTo>
                  <a:cubicBezTo>
                    <a:pt x="30" y="14"/>
                    <a:pt x="31" y="15"/>
                    <a:pt x="32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7"/>
                    <a:pt x="34" y="17"/>
                    <a:pt x="34" y="17"/>
                  </a:cubicBezTo>
                  <a:cubicBezTo>
                    <a:pt x="34" y="18"/>
                    <a:pt x="35" y="19"/>
                    <a:pt x="36" y="19"/>
                  </a:cubicBezTo>
                  <a:cubicBezTo>
                    <a:pt x="38" y="19"/>
                    <a:pt x="39" y="19"/>
                    <a:pt x="40" y="17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2" y="16"/>
                    <a:pt x="42" y="15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5" y="18"/>
                    <a:pt x="44" y="19"/>
                    <a:pt x="43" y="20"/>
                  </a:cubicBezTo>
                  <a:cubicBezTo>
                    <a:pt x="43" y="21"/>
                    <a:pt x="43" y="22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30"/>
                    <a:pt x="31" y="31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6" y="35"/>
                    <a:pt x="26" y="36"/>
                    <a:pt x="26" y="37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8"/>
                    <a:pt x="24" y="37"/>
                    <a:pt x="23" y="37"/>
                  </a:cubicBezTo>
                  <a:cubicBezTo>
                    <a:pt x="21" y="36"/>
                    <a:pt x="20" y="37"/>
                    <a:pt x="19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4" y="38"/>
                    <a:pt x="12" y="39"/>
                    <a:pt x="12" y="4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6"/>
                    <a:pt x="12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4" y="50"/>
                    <a:pt x="15" y="50"/>
                    <a:pt x="16" y="50"/>
                  </a:cubicBezTo>
                  <a:cubicBezTo>
                    <a:pt x="17" y="50"/>
                    <a:pt x="18" y="50"/>
                    <a:pt x="19" y="49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9" y="50"/>
                    <a:pt x="19" y="51"/>
                    <a:pt x="20" y="52"/>
                  </a:cubicBezTo>
                  <a:cubicBezTo>
                    <a:pt x="20" y="53"/>
                    <a:pt x="21" y="53"/>
                    <a:pt x="22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3" y="57"/>
                    <a:pt x="24" y="5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59"/>
                    <a:pt x="29" y="58"/>
                    <a:pt x="30" y="58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5" y="56"/>
                    <a:pt x="35" y="56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8" y="67"/>
                    <a:pt x="48" y="68"/>
                    <a:pt x="49" y="68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2"/>
                    <a:pt x="60" y="72"/>
                    <a:pt x="60" y="72"/>
                  </a:cubicBezTo>
                  <a:lnTo>
                    <a:pt x="60" y="7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23" name="Freeform 147"/>
            <p:cNvSpPr>
              <a:spLocks noEditPoints="1"/>
            </p:cNvSpPr>
            <p:nvPr/>
          </p:nvSpPr>
          <p:spPr bwMode="auto">
            <a:xfrm>
              <a:off x="2579" y="1874"/>
              <a:ext cx="100" cy="60"/>
            </a:xfrm>
            <a:custGeom>
              <a:avLst/>
              <a:gdLst/>
              <a:ahLst/>
              <a:cxnLst>
                <a:cxn ang="0">
                  <a:pos x="10" y="24"/>
                </a:cxn>
                <a:cxn ang="0">
                  <a:pos x="20" y="16"/>
                </a:cxn>
                <a:cxn ang="0">
                  <a:pos x="22" y="16"/>
                </a:cxn>
                <a:cxn ang="0">
                  <a:pos x="24" y="18"/>
                </a:cxn>
                <a:cxn ang="0">
                  <a:pos x="24" y="20"/>
                </a:cxn>
                <a:cxn ang="0">
                  <a:pos x="27" y="25"/>
                </a:cxn>
                <a:cxn ang="0">
                  <a:pos x="30" y="25"/>
                </a:cxn>
                <a:cxn ang="0">
                  <a:pos x="34" y="23"/>
                </a:cxn>
                <a:cxn ang="0">
                  <a:pos x="38" y="23"/>
                </a:cxn>
                <a:cxn ang="0">
                  <a:pos x="40" y="20"/>
                </a:cxn>
                <a:cxn ang="0">
                  <a:pos x="21" y="0"/>
                </a:cxn>
                <a:cxn ang="0">
                  <a:pos x="15" y="2"/>
                </a:cxn>
                <a:cxn ang="0">
                  <a:pos x="9" y="11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0" y="19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7"/>
                </a:cxn>
                <a:cxn ang="0">
                  <a:pos x="5" y="16"/>
                </a:cxn>
                <a:cxn ang="0">
                  <a:pos x="13" y="13"/>
                </a:cxn>
                <a:cxn ang="0">
                  <a:pos x="13" y="8"/>
                </a:cxn>
                <a:cxn ang="0">
                  <a:pos x="18" y="4"/>
                </a:cxn>
                <a:cxn ang="0">
                  <a:pos x="35" y="19"/>
                </a:cxn>
                <a:cxn ang="0">
                  <a:pos x="32" y="20"/>
                </a:cxn>
                <a:cxn ang="0">
                  <a:pos x="28" y="22"/>
                </a:cxn>
                <a:cxn ang="0">
                  <a:pos x="28" y="21"/>
                </a:cxn>
                <a:cxn ang="0">
                  <a:pos x="27" y="15"/>
                </a:cxn>
                <a:cxn ang="0">
                  <a:pos x="22" y="13"/>
                </a:cxn>
                <a:cxn ang="0">
                  <a:pos x="20" y="13"/>
                </a:cxn>
                <a:cxn ang="0">
                  <a:pos x="8" y="21"/>
                </a:cxn>
                <a:cxn ang="0">
                  <a:pos x="5" y="21"/>
                </a:cxn>
              </a:cxnLst>
              <a:rect l="0" t="0" r="r" b="b"/>
              <a:pathLst>
                <a:path w="42" h="25">
                  <a:moveTo>
                    <a:pt x="7" y="25"/>
                  </a:moveTo>
                  <a:cubicBezTo>
                    <a:pt x="8" y="25"/>
                    <a:pt x="9" y="25"/>
                    <a:pt x="10" y="24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3" y="16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9"/>
                    <a:pt x="25" y="19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2"/>
                    <a:pt x="25" y="23"/>
                  </a:cubicBezTo>
                  <a:cubicBezTo>
                    <a:pt x="25" y="24"/>
                    <a:pt x="26" y="25"/>
                    <a:pt x="27" y="25"/>
                  </a:cubicBezTo>
                  <a:cubicBezTo>
                    <a:pt x="27" y="25"/>
                    <a:pt x="28" y="25"/>
                    <a:pt x="28" y="25"/>
                  </a:cubicBezTo>
                  <a:cubicBezTo>
                    <a:pt x="29" y="25"/>
                    <a:pt x="29" y="25"/>
                    <a:pt x="30" y="25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6" y="13"/>
                    <a:pt x="29" y="6"/>
                    <a:pt x="22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5" y="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8" y="6"/>
                    <a:pt x="8" y="9"/>
                    <a:pt x="9" y="11"/>
                  </a:cubicBezTo>
                  <a:cubicBezTo>
                    <a:pt x="9" y="11"/>
                    <a:pt x="9" y="11"/>
                    <a:pt x="9" y="12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1" y="14"/>
                    <a:pt x="1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1" y="22"/>
                  </a:cubicBezTo>
                  <a:cubicBezTo>
                    <a:pt x="2" y="23"/>
                    <a:pt x="3" y="24"/>
                    <a:pt x="4" y="24"/>
                  </a:cubicBezTo>
                  <a:lnTo>
                    <a:pt x="7" y="25"/>
                  </a:lnTo>
                  <a:close/>
                  <a:moveTo>
                    <a:pt x="4" y="20"/>
                  </a:moveTo>
                  <a:cubicBezTo>
                    <a:pt x="4" y="20"/>
                    <a:pt x="4" y="20"/>
                    <a:pt x="4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0" y="16"/>
                    <a:pt x="12" y="15"/>
                    <a:pt x="13" y="13"/>
                  </a:cubicBezTo>
                  <a:cubicBezTo>
                    <a:pt x="13" y="11"/>
                    <a:pt x="13" y="10"/>
                    <a:pt x="12" y="9"/>
                  </a:cubicBezTo>
                  <a:cubicBezTo>
                    <a:pt x="12" y="9"/>
                    <a:pt x="12" y="8"/>
                    <a:pt x="13" y="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4"/>
                    <a:pt x="18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8"/>
                    <a:pt x="31" y="13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3" y="19"/>
                    <a:pt x="32" y="2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9" y="19"/>
                    <a:pt x="28" y="16"/>
                    <a:pt x="27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3"/>
                    <a:pt x="23" y="13"/>
                    <a:pt x="22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8" y="13"/>
                    <a:pt x="17" y="14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7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1"/>
                    <a:pt x="4" y="21"/>
                    <a:pt x="4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24" name="Freeform 148"/>
            <p:cNvSpPr>
              <a:spLocks noEditPoints="1"/>
            </p:cNvSpPr>
            <p:nvPr/>
          </p:nvSpPr>
          <p:spPr bwMode="auto">
            <a:xfrm>
              <a:off x="2586" y="1939"/>
              <a:ext cx="117" cy="170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4"/>
                </a:cxn>
                <a:cxn ang="0">
                  <a:pos x="39" y="5"/>
                </a:cxn>
                <a:cxn ang="0">
                  <a:pos x="34" y="3"/>
                </a:cxn>
                <a:cxn ang="0">
                  <a:pos x="31" y="5"/>
                </a:cxn>
                <a:cxn ang="0">
                  <a:pos x="30" y="5"/>
                </a:cxn>
                <a:cxn ang="0">
                  <a:pos x="26" y="3"/>
                </a:cxn>
                <a:cxn ang="0">
                  <a:pos x="21" y="0"/>
                </a:cxn>
                <a:cxn ang="0">
                  <a:pos x="16" y="1"/>
                </a:cxn>
                <a:cxn ang="0">
                  <a:pos x="8" y="4"/>
                </a:cxn>
                <a:cxn ang="0">
                  <a:pos x="0" y="15"/>
                </a:cxn>
                <a:cxn ang="0">
                  <a:pos x="1" y="28"/>
                </a:cxn>
                <a:cxn ang="0">
                  <a:pos x="10" y="34"/>
                </a:cxn>
                <a:cxn ang="0">
                  <a:pos x="19" y="32"/>
                </a:cxn>
                <a:cxn ang="0">
                  <a:pos x="22" y="34"/>
                </a:cxn>
                <a:cxn ang="0">
                  <a:pos x="22" y="40"/>
                </a:cxn>
                <a:cxn ang="0">
                  <a:pos x="25" y="46"/>
                </a:cxn>
                <a:cxn ang="0">
                  <a:pos x="23" y="55"/>
                </a:cxn>
                <a:cxn ang="0">
                  <a:pos x="31" y="71"/>
                </a:cxn>
                <a:cxn ang="0">
                  <a:pos x="35" y="70"/>
                </a:cxn>
                <a:cxn ang="0">
                  <a:pos x="44" y="5"/>
                </a:cxn>
                <a:cxn ang="0">
                  <a:pos x="32" y="67"/>
                </a:cxn>
                <a:cxn ang="0">
                  <a:pos x="27" y="53"/>
                </a:cxn>
                <a:cxn ang="0">
                  <a:pos x="29" y="48"/>
                </a:cxn>
                <a:cxn ang="0">
                  <a:pos x="26" y="38"/>
                </a:cxn>
                <a:cxn ang="0">
                  <a:pos x="26" y="35"/>
                </a:cxn>
                <a:cxn ang="0">
                  <a:pos x="21" y="29"/>
                </a:cxn>
                <a:cxn ang="0">
                  <a:pos x="18" y="29"/>
                </a:cxn>
                <a:cxn ang="0">
                  <a:pos x="9" y="30"/>
                </a:cxn>
                <a:cxn ang="0">
                  <a:pos x="4" y="25"/>
                </a:cxn>
                <a:cxn ang="0">
                  <a:pos x="4" y="15"/>
                </a:cxn>
                <a:cxn ang="0">
                  <a:pos x="11" y="6"/>
                </a:cxn>
                <a:cxn ang="0">
                  <a:pos x="22" y="3"/>
                </a:cxn>
                <a:cxn ang="0">
                  <a:pos x="22" y="4"/>
                </a:cxn>
                <a:cxn ang="0">
                  <a:pos x="29" y="9"/>
                </a:cxn>
                <a:cxn ang="0">
                  <a:pos x="34" y="7"/>
                </a:cxn>
                <a:cxn ang="0">
                  <a:pos x="34" y="7"/>
                </a:cxn>
                <a:cxn ang="0">
                  <a:pos x="41" y="8"/>
                </a:cxn>
                <a:cxn ang="0">
                  <a:pos x="46" y="31"/>
                </a:cxn>
              </a:cxnLst>
              <a:rect l="0" t="0" r="r" b="b"/>
              <a:pathLst>
                <a:path w="49" h="71">
                  <a:moveTo>
                    <a:pt x="44" y="5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2" y="4"/>
                    <a:pt x="41" y="4"/>
                    <a:pt x="41" y="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39" y="5"/>
                    <a:pt x="39" y="5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3" y="3"/>
                    <a:pt x="32" y="4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2"/>
                    <a:pt x="25" y="1"/>
                    <a:pt x="24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8" y="3"/>
                    <a:pt x="8" y="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34"/>
                    <a:pt x="9" y="34"/>
                    <a:pt x="10" y="34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8"/>
                    <a:pt x="22" y="39"/>
                    <a:pt x="22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3"/>
                    <a:pt x="23" y="54"/>
                    <a:pt x="23" y="55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70"/>
                    <a:pt x="30" y="71"/>
                    <a:pt x="31" y="71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44" y="59"/>
                    <a:pt x="49" y="45"/>
                    <a:pt x="49" y="31"/>
                  </a:cubicBezTo>
                  <a:cubicBezTo>
                    <a:pt x="49" y="22"/>
                    <a:pt x="47" y="13"/>
                    <a:pt x="44" y="5"/>
                  </a:cubicBezTo>
                  <a:close/>
                  <a:moveTo>
                    <a:pt x="33" y="67"/>
                  </a:move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1" y="67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7"/>
                    <a:pt x="29" y="46"/>
                    <a:pt x="28" y="4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5" y="32"/>
                    <a:pt x="24" y="3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19" y="29"/>
                    <a:pt x="19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4"/>
                  </a:cubicBezTo>
                  <a:cubicBezTo>
                    <a:pt x="22" y="5"/>
                    <a:pt x="23" y="6"/>
                    <a:pt x="24" y="7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30" y="9"/>
                    <a:pt x="30" y="9"/>
                  </a:cubicBezTo>
                  <a:cubicBezTo>
                    <a:pt x="32" y="9"/>
                    <a:pt x="33" y="8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8"/>
                    <a:pt x="40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4" y="15"/>
                    <a:pt x="46" y="23"/>
                    <a:pt x="46" y="31"/>
                  </a:cubicBezTo>
                  <a:cubicBezTo>
                    <a:pt x="46" y="44"/>
                    <a:pt x="41" y="57"/>
                    <a:pt x="33" y="6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25" name="Freeform 149"/>
            <p:cNvSpPr>
              <a:spLocks noEditPoints="1"/>
            </p:cNvSpPr>
            <p:nvPr/>
          </p:nvSpPr>
          <p:spPr bwMode="auto">
            <a:xfrm>
              <a:off x="2377" y="1836"/>
              <a:ext cx="350" cy="347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0" y="72"/>
                </a:cxn>
                <a:cxn ang="0">
                  <a:pos x="73" y="145"/>
                </a:cxn>
                <a:cxn ang="0">
                  <a:pos x="146" y="72"/>
                </a:cxn>
                <a:cxn ang="0">
                  <a:pos x="73" y="0"/>
                </a:cxn>
                <a:cxn ang="0">
                  <a:pos x="73" y="142"/>
                </a:cxn>
                <a:cxn ang="0">
                  <a:pos x="4" y="72"/>
                </a:cxn>
                <a:cxn ang="0">
                  <a:pos x="73" y="3"/>
                </a:cxn>
                <a:cxn ang="0">
                  <a:pos x="142" y="72"/>
                </a:cxn>
                <a:cxn ang="0">
                  <a:pos x="73" y="142"/>
                </a:cxn>
              </a:cxnLst>
              <a:rect l="0" t="0" r="r" b="b"/>
              <a:pathLst>
                <a:path w="146" h="145">
                  <a:moveTo>
                    <a:pt x="73" y="0"/>
                  </a:moveTo>
                  <a:cubicBezTo>
                    <a:pt x="33" y="0"/>
                    <a:pt x="0" y="32"/>
                    <a:pt x="0" y="72"/>
                  </a:cubicBezTo>
                  <a:cubicBezTo>
                    <a:pt x="0" y="113"/>
                    <a:pt x="33" y="145"/>
                    <a:pt x="73" y="145"/>
                  </a:cubicBezTo>
                  <a:cubicBezTo>
                    <a:pt x="113" y="145"/>
                    <a:pt x="146" y="113"/>
                    <a:pt x="146" y="72"/>
                  </a:cubicBezTo>
                  <a:cubicBezTo>
                    <a:pt x="146" y="32"/>
                    <a:pt x="113" y="0"/>
                    <a:pt x="73" y="0"/>
                  </a:cubicBezTo>
                  <a:close/>
                  <a:moveTo>
                    <a:pt x="73" y="142"/>
                  </a:moveTo>
                  <a:cubicBezTo>
                    <a:pt x="35" y="142"/>
                    <a:pt x="4" y="111"/>
                    <a:pt x="4" y="72"/>
                  </a:cubicBezTo>
                  <a:cubicBezTo>
                    <a:pt x="4" y="34"/>
                    <a:pt x="35" y="3"/>
                    <a:pt x="73" y="3"/>
                  </a:cubicBezTo>
                  <a:cubicBezTo>
                    <a:pt x="111" y="3"/>
                    <a:pt x="142" y="34"/>
                    <a:pt x="142" y="72"/>
                  </a:cubicBezTo>
                  <a:cubicBezTo>
                    <a:pt x="142" y="111"/>
                    <a:pt x="111" y="142"/>
                    <a:pt x="73" y="14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28" name="Group 152"/>
          <p:cNvGrpSpPr>
            <a:grpSpLocks noChangeAspect="1"/>
          </p:cNvGrpSpPr>
          <p:nvPr/>
        </p:nvGrpSpPr>
        <p:grpSpPr bwMode="auto">
          <a:xfrm>
            <a:off x="4735510" y="2762250"/>
            <a:ext cx="847724" cy="850900"/>
            <a:chOff x="2976" y="1740"/>
            <a:chExt cx="534" cy="536"/>
          </a:xfrm>
        </p:grpSpPr>
        <p:sp>
          <p:nvSpPr>
            <p:cNvPr id="50329" name="Oval 153"/>
            <p:cNvSpPr>
              <a:spLocks noChangeArrowheads="1"/>
            </p:cNvSpPr>
            <p:nvPr/>
          </p:nvSpPr>
          <p:spPr bwMode="auto">
            <a:xfrm>
              <a:off x="2976" y="1740"/>
              <a:ext cx="534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30" name="Freeform 154"/>
            <p:cNvSpPr>
              <a:spLocks noEditPoints="1"/>
            </p:cNvSpPr>
            <p:nvPr/>
          </p:nvSpPr>
          <p:spPr bwMode="auto">
            <a:xfrm>
              <a:off x="2996" y="1759"/>
              <a:ext cx="495" cy="498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8"/>
                    <a:pt x="49" y="203"/>
                    <a:pt x="104" y="203"/>
                  </a:cubicBezTo>
                  <a:cubicBezTo>
                    <a:pt x="158" y="203"/>
                    <a:pt x="202" y="158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31" name="Freeform 155"/>
            <p:cNvSpPr>
              <a:spLocks noEditPoints="1"/>
            </p:cNvSpPr>
            <p:nvPr/>
          </p:nvSpPr>
          <p:spPr bwMode="auto">
            <a:xfrm>
              <a:off x="3206" y="1967"/>
              <a:ext cx="74" cy="77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31" y="16"/>
                </a:cxn>
                <a:cxn ang="0">
                  <a:pos x="16" y="32"/>
                </a:cxn>
                <a:cxn ang="0">
                  <a:pos x="16" y="4"/>
                </a:cxn>
                <a:cxn ang="0">
                  <a:pos x="3" y="16"/>
                </a:cxn>
                <a:cxn ang="0">
                  <a:pos x="16" y="28"/>
                </a:cxn>
                <a:cxn ang="0">
                  <a:pos x="28" y="16"/>
                </a:cxn>
                <a:cxn ang="0">
                  <a:pos x="16" y="4"/>
                </a:cxn>
              </a:cxnLst>
              <a:rect l="0" t="0" r="r" b="b"/>
              <a:pathLst>
                <a:path w="31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25"/>
                    <a:pt x="24" y="32"/>
                    <a:pt x="16" y="32"/>
                  </a:cubicBezTo>
                  <a:close/>
                  <a:moveTo>
                    <a:pt x="16" y="4"/>
                  </a:moveTo>
                  <a:cubicBezTo>
                    <a:pt x="9" y="4"/>
                    <a:pt x="3" y="9"/>
                    <a:pt x="3" y="16"/>
                  </a:cubicBezTo>
                  <a:cubicBezTo>
                    <a:pt x="3" y="23"/>
                    <a:pt x="9" y="28"/>
                    <a:pt x="16" y="28"/>
                  </a:cubicBezTo>
                  <a:cubicBezTo>
                    <a:pt x="22" y="28"/>
                    <a:pt x="28" y="23"/>
                    <a:pt x="28" y="16"/>
                  </a:cubicBezTo>
                  <a:cubicBezTo>
                    <a:pt x="28" y="9"/>
                    <a:pt x="22" y="4"/>
                    <a:pt x="16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32" name="Freeform 156"/>
            <p:cNvSpPr>
              <a:spLocks noEditPoints="1"/>
            </p:cNvSpPr>
            <p:nvPr/>
          </p:nvSpPr>
          <p:spPr bwMode="auto">
            <a:xfrm>
              <a:off x="3158" y="2046"/>
              <a:ext cx="175" cy="130"/>
            </a:xfrm>
            <a:custGeom>
              <a:avLst/>
              <a:gdLst/>
              <a:ahLst/>
              <a:cxnLst>
                <a:cxn ang="0">
                  <a:pos x="37" y="54"/>
                </a:cxn>
                <a:cxn ang="0">
                  <a:pos x="37" y="54"/>
                </a:cxn>
                <a:cxn ang="0">
                  <a:pos x="1" y="45"/>
                </a:cxn>
                <a:cxn ang="0">
                  <a:pos x="0" y="44"/>
                </a:cxn>
                <a:cxn ang="0">
                  <a:pos x="24" y="0"/>
                </a:cxn>
                <a:cxn ang="0">
                  <a:pos x="26" y="1"/>
                </a:cxn>
                <a:cxn ang="0">
                  <a:pos x="35" y="3"/>
                </a:cxn>
                <a:cxn ang="0">
                  <a:pos x="45" y="1"/>
                </a:cxn>
                <a:cxn ang="0">
                  <a:pos x="47" y="0"/>
                </a:cxn>
                <a:cxn ang="0">
                  <a:pos x="47" y="2"/>
                </a:cxn>
                <a:cxn ang="0">
                  <a:pos x="73" y="44"/>
                </a:cxn>
                <a:cxn ang="0">
                  <a:pos x="71" y="45"/>
                </a:cxn>
                <a:cxn ang="0">
                  <a:pos x="37" y="54"/>
                </a:cxn>
                <a:cxn ang="0">
                  <a:pos x="5" y="43"/>
                </a:cxn>
                <a:cxn ang="0">
                  <a:pos x="37" y="51"/>
                </a:cxn>
                <a:cxn ang="0">
                  <a:pos x="37" y="51"/>
                </a:cxn>
                <a:cxn ang="0">
                  <a:pos x="68" y="43"/>
                </a:cxn>
                <a:cxn ang="0">
                  <a:pos x="45" y="5"/>
                </a:cxn>
                <a:cxn ang="0">
                  <a:pos x="35" y="7"/>
                </a:cxn>
                <a:cxn ang="0">
                  <a:pos x="35" y="7"/>
                </a:cxn>
                <a:cxn ang="0">
                  <a:pos x="26" y="5"/>
                </a:cxn>
                <a:cxn ang="0">
                  <a:pos x="5" y="43"/>
                </a:cxn>
              </a:cxnLst>
              <a:rect l="0" t="0" r="r" b="b"/>
              <a:pathLst>
                <a:path w="73" h="54"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17" y="54"/>
                    <a:pt x="2" y="46"/>
                    <a:pt x="1" y="4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9" y="2"/>
                    <a:pt x="32" y="3"/>
                    <a:pt x="35" y="3"/>
                  </a:cubicBezTo>
                  <a:cubicBezTo>
                    <a:pt x="41" y="3"/>
                    <a:pt x="45" y="1"/>
                    <a:pt x="45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61" y="51"/>
                    <a:pt x="49" y="54"/>
                    <a:pt x="37" y="54"/>
                  </a:cubicBezTo>
                  <a:close/>
                  <a:moveTo>
                    <a:pt x="5" y="43"/>
                  </a:moveTo>
                  <a:cubicBezTo>
                    <a:pt x="9" y="45"/>
                    <a:pt x="22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48" y="51"/>
                    <a:pt x="58" y="48"/>
                    <a:pt x="68" y="43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3" y="6"/>
                    <a:pt x="40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2" y="7"/>
                    <a:pt x="29" y="6"/>
                    <a:pt x="26" y="5"/>
                  </a:cubicBezTo>
                  <a:lnTo>
                    <a:pt x="5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33" name="Freeform 157"/>
            <p:cNvSpPr>
              <a:spLocks noEditPoints="1"/>
            </p:cNvSpPr>
            <p:nvPr/>
          </p:nvSpPr>
          <p:spPr bwMode="auto">
            <a:xfrm>
              <a:off x="3072" y="1857"/>
              <a:ext cx="148" cy="151"/>
            </a:xfrm>
            <a:custGeom>
              <a:avLst/>
              <a:gdLst/>
              <a:ahLst/>
              <a:cxnLst>
                <a:cxn ang="0">
                  <a:pos x="51" y="63"/>
                </a:cxn>
                <a:cxn ang="0">
                  <a:pos x="1" y="63"/>
                </a:cxn>
                <a:cxn ang="0">
                  <a:pos x="1" y="61"/>
                </a:cxn>
                <a:cxn ang="0">
                  <a:pos x="17" y="16"/>
                </a:cxn>
                <a:cxn ang="0">
                  <a:pos x="35" y="1"/>
                </a:cxn>
                <a:cxn ang="0">
                  <a:pos x="36" y="0"/>
                </a:cxn>
                <a:cxn ang="0">
                  <a:pos x="62" y="43"/>
                </a:cxn>
                <a:cxn ang="0">
                  <a:pos x="60" y="44"/>
                </a:cxn>
                <a:cxn ang="0">
                  <a:pos x="51" y="61"/>
                </a:cxn>
                <a:cxn ang="0">
                  <a:pos x="51" y="63"/>
                </a:cxn>
                <a:cxn ang="0">
                  <a:pos x="4" y="59"/>
                </a:cxn>
                <a:cxn ang="0">
                  <a:pos x="47" y="59"/>
                </a:cxn>
                <a:cxn ang="0">
                  <a:pos x="57" y="42"/>
                </a:cxn>
                <a:cxn ang="0">
                  <a:pos x="35" y="5"/>
                </a:cxn>
                <a:cxn ang="0">
                  <a:pos x="20" y="18"/>
                </a:cxn>
                <a:cxn ang="0">
                  <a:pos x="4" y="59"/>
                </a:cxn>
              </a:cxnLst>
              <a:rect l="0" t="0" r="r" b="b"/>
              <a:pathLst>
                <a:path w="62" h="63">
                  <a:moveTo>
                    <a:pt x="51" y="63"/>
                  </a:moveTo>
                  <a:cubicBezTo>
                    <a:pt x="1" y="63"/>
                    <a:pt x="1" y="63"/>
                    <a:pt x="1" y="63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40"/>
                    <a:pt x="9" y="25"/>
                    <a:pt x="17" y="16"/>
                  </a:cubicBezTo>
                  <a:cubicBezTo>
                    <a:pt x="26" y="6"/>
                    <a:pt x="34" y="1"/>
                    <a:pt x="35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2" y="50"/>
                    <a:pt x="51" y="61"/>
                    <a:pt x="51" y="61"/>
                  </a:cubicBezTo>
                  <a:lnTo>
                    <a:pt x="51" y="63"/>
                  </a:lnTo>
                  <a:close/>
                  <a:moveTo>
                    <a:pt x="4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8" y="56"/>
                    <a:pt x="50" y="47"/>
                    <a:pt x="57" y="4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7"/>
                    <a:pt x="26" y="11"/>
                    <a:pt x="20" y="18"/>
                  </a:cubicBezTo>
                  <a:cubicBezTo>
                    <a:pt x="10" y="30"/>
                    <a:pt x="4" y="44"/>
                    <a:pt x="4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34" name="Freeform 158"/>
            <p:cNvSpPr>
              <a:spLocks noEditPoints="1"/>
            </p:cNvSpPr>
            <p:nvPr/>
          </p:nvSpPr>
          <p:spPr bwMode="auto">
            <a:xfrm>
              <a:off x="3266" y="1857"/>
              <a:ext cx="148" cy="151"/>
            </a:xfrm>
            <a:custGeom>
              <a:avLst/>
              <a:gdLst/>
              <a:ahLst/>
              <a:cxnLst>
                <a:cxn ang="0">
                  <a:pos x="11" y="63"/>
                </a:cxn>
                <a:cxn ang="0">
                  <a:pos x="11" y="61"/>
                </a:cxn>
                <a:cxn ang="0">
                  <a:pos x="1" y="44"/>
                </a:cxn>
                <a:cxn ang="0">
                  <a:pos x="0" y="43"/>
                </a:cxn>
                <a:cxn ang="0">
                  <a:pos x="25" y="0"/>
                </a:cxn>
                <a:cxn ang="0">
                  <a:pos x="27" y="1"/>
                </a:cxn>
                <a:cxn ang="0">
                  <a:pos x="57" y="39"/>
                </a:cxn>
                <a:cxn ang="0">
                  <a:pos x="61" y="61"/>
                </a:cxn>
                <a:cxn ang="0">
                  <a:pos x="61" y="63"/>
                </a:cxn>
                <a:cxn ang="0">
                  <a:pos x="11" y="63"/>
                </a:cxn>
                <a:cxn ang="0">
                  <a:pos x="5" y="42"/>
                </a:cxn>
                <a:cxn ang="0">
                  <a:pos x="15" y="60"/>
                </a:cxn>
                <a:cxn ang="0">
                  <a:pos x="58" y="59"/>
                </a:cxn>
                <a:cxn ang="0">
                  <a:pos x="54" y="40"/>
                </a:cxn>
                <a:cxn ang="0">
                  <a:pos x="27" y="5"/>
                </a:cxn>
                <a:cxn ang="0">
                  <a:pos x="5" y="42"/>
                </a:cxn>
              </a:cxnLst>
              <a:rect l="0" t="0" r="r" b="b"/>
              <a:pathLst>
                <a:path w="62" h="63">
                  <a:moveTo>
                    <a:pt x="11" y="63"/>
                  </a:moveTo>
                  <a:cubicBezTo>
                    <a:pt x="11" y="61"/>
                    <a:pt x="11" y="61"/>
                    <a:pt x="11" y="61"/>
                  </a:cubicBezTo>
                  <a:cubicBezTo>
                    <a:pt x="11" y="51"/>
                    <a:pt x="1" y="44"/>
                    <a:pt x="1" y="4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45" y="12"/>
                    <a:pt x="54" y="27"/>
                    <a:pt x="57" y="39"/>
                  </a:cubicBezTo>
                  <a:cubicBezTo>
                    <a:pt x="62" y="51"/>
                    <a:pt x="61" y="61"/>
                    <a:pt x="61" y="61"/>
                  </a:cubicBezTo>
                  <a:cubicBezTo>
                    <a:pt x="61" y="63"/>
                    <a:pt x="61" y="63"/>
                    <a:pt x="61" y="63"/>
                  </a:cubicBezTo>
                  <a:lnTo>
                    <a:pt x="11" y="63"/>
                  </a:lnTo>
                  <a:close/>
                  <a:moveTo>
                    <a:pt x="5" y="42"/>
                  </a:moveTo>
                  <a:cubicBezTo>
                    <a:pt x="7" y="45"/>
                    <a:pt x="14" y="51"/>
                    <a:pt x="15" y="60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6"/>
                    <a:pt x="57" y="49"/>
                    <a:pt x="54" y="40"/>
                  </a:cubicBezTo>
                  <a:cubicBezTo>
                    <a:pt x="49" y="25"/>
                    <a:pt x="40" y="13"/>
                    <a:pt x="27" y="5"/>
                  </a:cubicBezTo>
                  <a:lnTo>
                    <a:pt x="5" y="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37" name="Group 161"/>
          <p:cNvGrpSpPr>
            <a:grpSpLocks noChangeAspect="1"/>
          </p:cNvGrpSpPr>
          <p:nvPr/>
        </p:nvGrpSpPr>
        <p:grpSpPr bwMode="auto">
          <a:xfrm>
            <a:off x="5861050" y="2792413"/>
            <a:ext cx="787400" cy="792162"/>
            <a:chOff x="3694" y="1759"/>
            <a:chExt cx="496" cy="499"/>
          </a:xfrm>
        </p:grpSpPr>
        <p:sp>
          <p:nvSpPr>
            <p:cNvPr id="50338" name="Freeform 162"/>
            <p:cNvSpPr>
              <a:spLocks noEditPoints="1"/>
            </p:cNvSpPr>
            <p:nvPr/>
          </p:nvSpPr>
          <p:spPr bwMode="auto">
            <a:xfrm>
              <a:off x="3694" y="1759"/>
              <a:ext cx="496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8"/>
                    <a:pt x="49" y="203"/>
                    <a:pt x="104" y="203"/>
                  </a:cubicBezTo>
                  <a:cubicBezTo>
                    <a:pt x="158" y="203"/>
                    <a:pt x="202" y="158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39" name="Freeform 163"/>
            <p:cNvSpPr>
              <a:spLocks noEditPoints="1"/>
            </p:cNvSpPr>
            <p:nvPr/>
          </p:nvSpPr>
          <p:spPr bwMode="auto">
            <a:xfrm>
              <a:off x="3905" y="1968"/>
              <a:ext cx="75" cy="76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31" y="16"/>
                </a:cxn>
                <a:cxn ang="0">
                  <a:pos x="16" y="32"/>
                </a:cxn>
                <a:cxn ang="0">
                  <a:pos x="16" y="4"/>
                </a:cxn>
                <a:cxn ang="0">
                  <a:pos x="3" y="16"/>
                </a:cxn>
                <a:cxn ang="0">
                  <a:pos x="16" y="28"/>
                </a:cxn>
                <a:cxn ang="0">
                  <a:pos x="28" y="16"/>
                </a:cxn>
                <a:cxn ang="0">
                  <a:pos x="16" y="4"/>
                </a:cxn>
              </a:cxnLst>
              <a:rect l="0" t="0" r="r" b="b"/>
              <a:pathLst>
                <a:path w="31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4" y="0"/>
                    <a:pt x="31" y="7"/>
                    <a:pt x="31" y="16"/>
                  </a:cubicBezTo>
                  <a:cubicBezTo>
                    <a:pt x="31" y="25"/>
                    <a:pt x="24" y="32"/>
                    <a:pt x="16" y="32"/>
                  </a:cubicBezTo>
                  <a:close/>
                  <a:moveTo>
                    <a:pt x="16" y="4"/>
                  </a:moveTo>
                  <a:cubicBezTo>
                    <a:pt x="9" y="4"/>
                    <a:pt x="3" y="9"/>
                    <a:pt x="3" y="16"/>
                  </a:cubicBezTo>
                  <a:cubicBezTo>
                    <a:pt x="3" y="23"/>
                    <a:pt x="9" y="28"/>
                    <a:pt x="16" y="28"/>
                  </a:cubicBezTo>
                  <a:cubicBezTo>
                    <a:pt x="22" y="28"/>
                    <a:pt x="28" y="23"/>
                    <a:pt x="28" y="16"/>
                  </a:cubicBezTo>
                  <a:cubicBezTo>
                    <a:pt x="28" y="9"/>
                    <a:pt x="22" y="4"/>
                    <a:pt x="16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40" name="Freeform 164"/>
            <p:cNvSpPr>
              <a:spLocks noEditPoints="1"/>
            </p:cNvSpPr>
            <p:nvPr/>
          </p:nvSpPr>
          <p:spPr bwMode="auto">
            <a:xfrm>
              <a:off x="3857" y="2047"/>
              <a:ext cx="175" cy="129"/>
            </a:xfrm>
            <a:custGeom>
              <a:avLst/>
              <a:gdLst/>
              <a:ahLst/>
              <a:cxnLst>
                <a:cxn ang="0">
                  <a:pos x="37" y="54"/>
                </a:cxn>
                <a:cxn ang="0">
                  <a:pos x="37" y="54"/>
                </a:cxn>
                <a:cxn ang="0">
                  <a:pos x="1" y="45"/>
                </a:cxn>
                <a:cxn ang="0">
                  <a:pos x="0" y="44"/>
                </a:cxn>
                <a:cxn ang="0">
                  <a:pos x="24" y="0"/>
                </a:cxn>
                <a:cxn ang="0">
                  <a:pos x="26" y="1"/>
                </a:cxn>
                <a:cxn ang="0">
                  <a:pos x="35" y="3"/>
                </a:cxn>
                <a:cxn ang="0">
                  <a:pos x="45" y="1"/>
                </a:cxn>
                <a:cxn ang="0">
                  <a:pos x="47" y="0"/>
                </a:cxn>
                <a:cxn ang="0">
                  <a:pos x="47" y="2"/>
                </a:cxn>
                <a:cxn ang="0">
                  <a:pos x="73" y="44"/>
                </a:cxn>
                <a:cxn ang="0">
                  <a:pos x="71" y="45"/>
                </a:cxn>
                <a:cxn ang="0">
                  <a:pos x="37" y="54"/>
                </a:cxn>
                <a:cxn ang="0">
                  <a:pos x="5" y="43"/>
                </a:cxn>
                <a:cxn ang="0">
                  <a:pos x="37" y="51"/>
                </a:cxn>
                <a:cxn ang="0">
                  <a:pos x="37" y="51"/>
                </a:cxn>
                <a:cxn ang="0">
                  <a:pos x="68" y="43"/>
                </a:cxn>
                <a:cxn ang="0">
                  <a:pos x="45" y="5"/>
                </a:cxn>
                <a:cxn ang="0">
                  <a:pos x="35" y="7"/>
                </a:cxn>
                <a:cxn ang="0">
                  <a:pos x="35" y="7"/>
                </a:cxn>
                <a:cxn ang="0">
                  <a:pos x="26" y="5"/>
                </a:cxn>
                <a:cxn ang="0">
                  <a:pos x="5" y="43"/>
                </a:cxn>
              </a:cxnLst>
              <a:rect l="0" t="0" r="r" b="b"/>
              <a:pathLst>
                <a:path w="73" h="54"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17" y="54"/>
                    <a:pt x="2" y="46"/>
                    <a:pt x="1" y="4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9" y="2"/>
                    <a:pt x="32" y="3"/>
                    <a:pt x="35" y="3"/>
                  </a:cubicBezTo>
                  <a:cubicBezTo>
                    <a:pt x="41" y="3"/>
                    <a:pt x="45" y="1"/>
                    <a:pt x="45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61" y="51"/>
                    <a:pt x="49" y="54"/>
                    <a:pt x="37" y="54"/>
                  </a:cubicBezTo>
                  <a:close/>
                  <a:moveTo>
                    <a:pt x="5" y="43"/>
                  </a:moveTo>
                  <a:cubicBezTo>
                    <a:pt x="9" y="45"/>
                    <a:pt x="22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48" y="51"/>
                    <a:pt x="58" y="48"/>
                    <a:pt x="68" y="43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3" y="6"/>
                    <a:pt x="40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2" y="7"/>
                    <a:pt x="29" y="6"/>
                    <a:pt x="26" y="5"/>
                  </a:cubicBezTo>
                  <a:lnTo>
                    <a:pt x="5" y="4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41" name="Freeform 165"/>
            <p:cNvSpPr>
              <a:spLocks noEditPoints="1"/>
            </p:cNvSpPr>
            <p:nvPr/>
          </p:nvSpPr>
          <p:spPr bwMode="auto">
            <a:xfrm>
              <a:off x="3771" y="1858"/>
              <a:ext cx="149" cy="150"/>
            </a:xfrm>
            <a:custGeom>
              <a:avLst/>
              <a:gdLst/>
              <a:ahLst/>
              <a:cxnLst>
                <a:cxn ang="0">
                  <a:pos x="51" y="63"/>
                </a:cxn>
                <a:cxn ang="0">
                  <a:pos x="1" y="63"/>
                </a:cxn>
                <a:cxn ang="0">
                  <a:pos x="1" y="61"/>
                </a:cxn>
                <a:cxn ang="0">
                  <a:pos x="17" y="16"/>
                </a:cxn>
                <a:cxn ang="0">
                  <a:pos x="35" y="1"/>
                </a:cxn>
                <a:cxn ang="0">
                  <a:pos x="36" y="0"/>
                </a:cxn>
                <a:cxn ang="0">
                  <a:pos x="62" y="43"/>
                </a:cxn>
                <a:cxn ang="0">
                  <a:pos x="60" y="44"/>
                </a:cxn>
                <a:cxn ang="0">
                  <a:pos x="51" y="61"/>
                </a:cxn>
                <a:cxn ang="0">
                  <a:pos x="51" y="63"/>
                </a:cxn>
                <a:cxn ang="0">
                  <a:pos x="4" y="59"/>
                </a:cxn>
                <a:cxn ang="0">
                  <a:pos x="47" y="59"/>
                </a:cxn>
                <a:cxn ang="0">
                  <a:pos x="57" y="42"/>
                </a:cxn>
                <a:cxn ang="0">
                  <a:pos x="35" y="5"/>
                </a:cxn>
                <a:cxn ang="0">
                  <a:pos x="20" y="18"/>
                </a:cxn>
                <a:cxn ang="0">
                  <a:pos x="4" y="59"/>
                </a:cxn>
              </a:cxnLst>
              <a:rect l="0" t="0" r="r" b="b"/>
              <a:pathLst>
                <a:path w="62" h="63">
                  <a:moveTo>
                    <a:pt x="51" y="63"/>
                  </a:moveTo>
                  <a:cubicBezTo>
                    <a:pt x="1" y="63"/>
                    <a:pt x="1" y="63"/>
                    <a:pt x="1" y="63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40"/>
                    <a:pt x="9" y="25"/>
                    <a:pt x="17" y="16"/>
                  </a:cubicBezTo>
                  <a:cubicBezTo>
                    <a:pt x="26" y="6"/>
                    <a:pt x="34" y="1"/>
                    <a:pt x="35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2" y="50"/>
                    <a:pt x="51" y="61"/>
                    <a:pt x="51" y="61"/>
                  </a:cubicBezTo>
                  <a:lnTo>
                    <a:pt x="51" y="63"/>
                  </a:lnTo>
                  <a:close/>
                  <a:moveTo>
                    <a:pt x="4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8" y="56"/>
                    <a:pt x="50" y="47"/>
                    <a:pt x="57" y="4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7"/>
                    <a:pt x="26" y="11"/>
                    <a:pt x="20" y="18"/>
                  </a:cubicBezTo>
                  <a:cubicBezTo>
                    <a:pt x="10" y="30"/>
                    <a:pt x="4" y="44"/>
                    <a:pt x="4" y="5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42" name="Freeform 166"/>
            <p:cNvSpPr>
              <a:spLocks noEditPoints="1"/>
            </p:cNvSpPr>
            <p:nvPr/>
          </p:nvSpPr>
          <p:spPr bwMode="auto">
            <a:xfrm>
              <a:off x="3965" y="1858"/>
              <a:ext cx="149" cy="150"/>
            </a:xfrm>
            <a:custGeom>
              <a:avLst/>
              <a:gdLst/>
              <a:ahLst/>
              <a:cxnLst>
                <a:cxn ang="0">
                  <a:pos x="11" y="63"/>
                </a:cxn>
                <a:cxn ang="0">
                  <a:pos x="11" y="61"/>
                </a:cxn>
                <a:cxn ang="0">
                  <a:pos x="1" y="44"/>
                </a:cxn>
                <a:cxn ang="0">
                  <a:pos x="0" y="43"/>
                </a:cxn>
                <a:cxn ang="0">
                  <a:pos x="25" y="0"/>
                </a:cxn>
                <a:cxn ang="0">
                  <a:pos x="27" y="1"/>
                </a:cxn>
                <a:cxn ang="0">
                  <a:pos x="57" y="39"/>
                </a:cxn>
                <a:cxn ang="0">
                  <a:pos x="61" y="61"/>
                </a:cxn>
                <a:cxn ang="0">
                  <a:pos x="61" y="63"/>
                </a:cxn>
                <a:cxn ang="0">
                  <a:pos x="11" y="63"/>
                </a:cxn>
                <a:cxn ang="0">
                  <a:pos x="5" y="42"/>
                </a:cxn>
                <a:cxn ang="0">
                  <a:pos x="15" y="60"/>
                </a:cxn>
                <a:cxn ang="0">
                  <a:pos x="58" y="59"/>
                </a:cxn>
                <a:cxn ang="0">
                  <a:pos x="54" y="40"/>
                </a:cxn>
                <a:cxn ang="0">
                  <a:pos x="27" y="5"/>
                </a:cxn>
                <a:cxn ang="0">
                  <a:pos x="5" y="42"/>
                </a:cxn>
              </a:cxnLst>
              <a:rect l="0" t="0" r="r" b="b"/>
              <a:pathLst>
                <a:path w="62" h="63">
                  <a:moveTo>
                    <a:pt x="11" y="63"/>
                  </a:moveTo>
                  <a:cubicBezTo>
                    <a:pt x="11" y="61"/>
                    <a:pt x="11" y="61"/>
                    <a:pt x="11" y="61"/>
                  </a:cubicBezTo>
                  <a:cubicBezTo>
                    <a:pt x="11" y="51"/>
                    <a:pt x="1" y="44"/>
                    <a:pt x="1" y="4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45" y="12"/>
                    <a:pt x="54" y="27"/>
                    <a:pt x="57" y="39"/>
                  </a:cubicBezTo>
                  <a:cubicBezTo>
                    <a:pt x="62" y="51"/>
                    <a:pt x="61" y="61"/>
                    <a:pt x="61" y="61"/>
                  </a:cubicBezTo>
                  <a:cubicBezTo>
                    <a:pt x="61" y="63"/>
                    <a:pt x="61" y="63"/>
                    <a:pt x="61" y="63"/>
                  </a:cubicBezTo>
                  <a:lnTo>
                    <a:pt x="11" y="63"/>
                  </a:lnTo>
                  <a:close/>
                  <a:moveTo>
                    <a:pt x="5" y="42"/>
                  </a:moveTo>
                  <a:cubicBezTo>
                    <a:pt x="7" y="45"/>
                    <a:pt x="14" y="51"/>
                    <a:pt x="15" y="60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6"/>
                    <a:pt x="57" y="49"/>
                    <a:pt x="54" y="40"/>
                  </a:cubicBezTo>
                  <a:cubicBezTo>
                    <a:pt x="49" y="25"/>
                    <a:pt x="40" y="13"/>
                    <a:pt x="27" y="5"/>
                  </a:cubicBezTo>
                  <a:lnTo>
                    <a:pt x="5" y="4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45" name="Group 169"/>
          <p:cNvGrpSpPr>
            <a:grpSpLocks noChangeAspect="1"/>
          </p:cNvGrpSpPr>
          <p:nvPr/>
        </p:nvGrpSpPr>
        <p:grpSpPr bwMode="auto">
          <a:xfrm>
            <a:off x="6929437" y="2774950"/>
            <a:ext cx="827088" cy="827088"/>
            <a:chOff x="4368" y="1748"/>
            <a:chExt cx="521" cy="521"/>
          </a:xfrm>
        </p:grpSpPr>
        <p:sp>
          <p:nvSpPr>
            <p:cNvPr id="50346" name="Oval 170"/>
            <p:cNvSpPr>
              <a:spLocks noChangeArrowheads="1"/>
            </p:cNvSpPr>
            <p:nvPr/>
          </p:nvSpPr>
          <p:spPr bwMode="auto">
            <a:xfrm>
              <a:off x="4368" y="1748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47" name="Freeform 171"/>
            <p:cNvSpPr>
              <a:spLocks noEditPoints="1"/>
            </p:cNvSpPr>
            <p:nvPr/>
          </p:nvSpPr>
          <p:spPr bwMode="auto">
            <a:xfrm>
              <a:off x="4387" y="1767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48" name="Freeform 172"/>
            <p:cNvSpPr>
              <a:spLocks noEditPoints="1"/>
            </p:cNvSpPr>
            <p:nvPr/>
          </p:nvSpPr>
          <p:spPr bwMode="auto">
            <a:xfrm>
              <a:off x="4456" y="1834"/>
              <a:ext cx="321" cy="316"/>
            </a:xfrm>
            <a:custGeom>
              <a:avLst/>
              <a:gdLst/>
              <a:ahLst/>
              <a:cxnLst>
                <a:cxn ang="0">
                  <a:pos x="130" y="79"/>
                </a:cxn>
                <a:cxn ang="0">
                  <a:pos x="102" y="23"/>
                </a:cxn>
                <a:cxn ang="0">
                  <a:pos x="94" y="9"/>
                </a:cxn>
                <a:cxn ang="0">
                  <a:pos x="87" y="8"/>
                </a:cxn>
                <a:cxn ang="0">
                  <a:pos x="71" y="15"/>
                </a:cxn>
                <a:cxn ang="0">
                  <a:pos x="21" y="43"/>
                </a:cxn>
                <a:cxn ang="0">
                  <a:pos x="13" y="81"/>
                </a:cxn>
                <a:cxn ang="0">
                  <a:pos x="0" y="98"/>
                </a:cxn>
                <a:cxn ang="0">
                  <a:pos x="17" y="96"/>
                </a:cxn>
                <a:cxn ang="0">
                  <a:pos x="72" y="132"/>
                </a:cxn>
                <a:cxn ang="0">
                  <a:pos x="109" y="119"/>
                </a:cxn>
                <a:cxn ang="0">
                  <a:pos x="125" y="116"/>
                </a:cxn>
                <a:cxn ang="0">
                  <a:pos x="128" y="110"/>
                </a:cxn>
                <a:cxn ang="0">
                  <a:pos x="91" y="50"/>
                </a:cxn>
                <a:cxn ang="0">
                  <a:pos x="101" y="82"/>
                </a:cxn>
                <a:cxn ang="0">
                  <a:pos x="90" y="71"/>
                </a:cxn>
                <a:cxn ang="0">
                  <a:pos x="89" y="98"/>
                </a:cxn>
                <a:cxn ang="0">
                  <a:pos x="84" y="101"/>
                </a:cxn>
                <a:cxn ang="0">
                  <a:pos x="47" y="92"/>
                </a:cxn>
                <a:cxn ang="0">
                  <a:pos x="63" y="90"/>
                </a:cxn>
                <a:cxn ang="0">
                  <a:pos x="57" y="85"/>
                </a:cxn>
                <a:cxn ang="0">
                  <a:pos x="56" y="84"/>
                </a:cxn>
                <a:cxn ang="0">
                  <a:pos x="41" y="71"/>
                </a:cxn>
                <a:cxn ang="0">
                  <a:pos x="70" y="43"/>
                </a:cxn>
                <a:cxn ang="0">
                  <a:pos x="63" y="57"/>
                </a:cxn>
                <a:cxn ang="0">
                  <a:pos x="89" y="48"/>
                </a:cxn>
                <a:cxn ang="0">
                  <a:pos x="49" y="23"/>
                </a:cxn>
                <a:cxn ang="0">
                  <a:pos x="85" y="20"/>
                </a:cxn>
                <a:cxn ang="0">
                  <a:pos x="101" y="40"/>
                </a:cxn>
                <a:cxn ang="0">
                  <a:pos x="76" y="40"/>
                </a:cxn>
                <a:cxn ang="0">
                  <a:pos x="58" y="42"/>
                </a:cxn>
                <a:cxn ang="0">
                  <a:pos x="27" y="62"/>
                </a:cxn>
                <a:cxn ang="0">
                  <a:pos x="49" y="23"/>
                </a:cxn>
                <a:cxn ang="0">
                  <a:pos x="72" y="129"/>
                </a:cxn>
                <a:cxn ang="0">
                  <a:pos x="19" y="92"/>
                </a:cxn>
                <a:cxn ang="0">
                  <a:pos x="28" y="67"/>
                </a:cxn>
                <a:cxn ang="0">
                  <a:pos x="41" y="89"/>
                </a:cxn>
                <a:cxn ang="0">
                  <a:pos x="85" y="105"/>
                </a:cxn>
                <a:cxn ang="0">
                  <a:pos x="89" y="116"/>
                </a:cxn>
                <a:cxn ang="0">
                  <a:pos x="94" y="124"/>
                </a:cxn>
                <a:cxn ang="0">
                  <a:pos x="93" y="80"/>
                </a:cxn>
                <a:cxn ang="0">
                  <a:pos x="103" y="60"/>
                </a:cxn>
                <a:cxn ang="0">
                  <a:pos x="105" y="43"/>
                </a:cxn>
                <a:cxn ang="0">
                  <a:pos x="122" y="51"/>
                </a:cxn>
                <a:cxn ang="0">
                  <a:pos x="125" y="112"/>
                </a:cxn>
              </a:cxnLst>
              <a:rect l="0" t="0" r="r" b="b"/>
              <a:pathLst>
                <a:path w="134" h="132">
                  <a:moveTo>
                    <a:pt x="122" y="104"/>
                  </a:moveTo>
                  <a:cubicBezTo>
                    <a:pt x="126" y="96"/>
                    <a:pt x="129" y="88"/>
                    <a:pt x="130" y="79"/>
                  </a:cubicBezTo>
                  <a:cubicBezTo>
                    <a:pt x="131" y="69"/>
                    <a:pt x="129" y="59"/>
                    <a:pt x="125" y="49"/>
                  </a:cubicBezTo>
                  <a:cubicBezTo>
                    <a:pt x="120" y="38"/>
                    <a:pt x="112" y="29"/>
                    <a:pt x="102" y="23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79" y="15"/>
                    <a:pt x="75" y="15"/>
                    <a:pt x="71" y="15"/>
                  </a:cubicBezTo>
                  <a:cubicBezTo>
                    <a:pt x="63" y="15"/>
                    <a:pt x="55" y="16"/>
                    <a:pt x="47" y="20"/>
                  </a:cubicBezTo>
                  <a:cubicBezTo>
                    <a:pt x="36" y="25"/>
                    <a:pt x="27" y="33"/>
                    <a:pt x="21" y="43"/>
                  </a:cubicBezTo>
                  <a:cubicBezTo>
                    <a:pt x="15" y="53"/>
                    <a:pt x="12" y="65"/>
                    <a:pt x="13" y="76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7"/>
                    <a:pt x="18" y="97"/>
                  </a:cubicBezTo>
                  <a:cubicBezTo>
                    <a:pt x="27" y="119"/>
                    <a:pt x="48" y="132"/>
                    <a:pt x="72" y="132"/>
                  </a:cubicBezTo>
                  <a:cubicBezTo>
                    <a:pt x="80" y="132"/>
                    <a:pt x="88" y="131"/>
                    <a:pt x="96" y="127"/>
                  </a:cubicBezTo>
                  <a:cubicBezTo>
                    <a:pt x="100" y="125"/>
                    <a:pt x="105" y="122"/>
                    <a:pt x="109" y="119"/>
                  </a:cubicBezTo>
                  <a:cubicBezTo>
                    <a:pt x="112" y="116"/>
                    <a:pt x="112" y="116"/>
                    <a:pt x="112" y="116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34" y="116"/>
                    <a:pt x="134" y="116"/>
                    <a:pt x="134" y="116"/>
                  </a:cubicBezTo>
                  <a:cubicBezTo>
                    <a:pt x="128" y="110"/>
                    <a:pt x="128" y="110"/>
                    <a:pt x="128" y="110"/>
                  </a:cubicBezTo>
                  <a:lnTo>
                    <a:pt x="122" y="104"/>
                  </a:lnTo>
                  <a:close/>
                  <a:moveTo>
                    <a:pt x="91" y="50"/>
                  </a:moveTo>
                  <a:cubicBezTo>
                    <a:pt x="94" y="53"/>
                    <a:pt x="97" y="57"/>
                    <a:pt x="99" y="61"/>
                  </a:cubicBezTo>
                  <a:cubicBezTo>
                    <a:pt x="102" y="68"/>
                    <a:pt x="103" y="75"/>
                    <a:pt x="101" y="82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0" y="71"/>
                    <a:pt x="90" y="71"/>
                    <a:pt x="90" y="71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6" y="100"/>
                    <a:pt x="85" y="101"/>
                    <a:pt x="84" y="101"/>
                  </a:cubicBezTo>
                  <a:cubicBezTo>
                    <a:pt x="80" y="103"/>
                    <a:pt x="76" y="104"/>
                    <a:pt x="72" y="104"/>
                  </a:cubicBezTo>
                  <a:cubicBezTo>
                    <a:pt x="62" y="104"/>
                    <a:pt x="53" y="99"/>
                    <a:pt x="47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60"/>
                    <a:pt x="49" y="50"/>
                    <a:pt x="59" y="46"/>
                  </a:cubicBezTo>
                  <a:cubicBezTo>
                    <a:pt x="63" y="44"/>
                    <a:pt x="66" y="43"/>
                    <a:pt x="70" y="43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9" y="48"/>
                    <a:pt x="89" y="48"/>
                    <a:pt x="89" y="48"/>
                  </a:cubicBezTo>
                  <a:lnTo>
                    <a:pt x="91" y="50"/>
                  </a:lnTo>
                  <a:close/>
                  <a:moveTo>
                    <a:pt x="49" y="23"/>
                  </a:moveTo>
                  <a:cubicBezTo>
                    <a:pt x="56" y="20"/>
                    <a:pt x="64" y="18"/>
                    <a:pt x="71" y="18"/>
                  </a:cubicBezTo>
                  <a:cubicBezTo>
                    <a:pt x="76" y="18"/>
                    <a:pt x="81" y="19"/>
                    <a:pt x="85" y="2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4" y="39"/>
                    <a:pt x="73" y="39"/>
                    <a:pt x="71" y="39"/>
                  </a:cubicBezTo>
                  <a:cubicBezTo>
                    <a:pt x="67" y="39"/>
                    <a:pt x="62" y="40"/>
                    <a:pt x="58" y="42"/>
                  </a:cubicBezTo>
                  <a:cubicBezTo>
                    <a:pt x="46" y="47"/>
                    <a:pt x="39" y="58"/>
                    <a:pt x="38" y="70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5" y="54"/>
                    <a:pt x="28" y="33"/>
                    <a:pt x="49" y="23"/>
                  </a:cubicBezTo>
                  <a:close/>
                  <a:moveTo>
                    <a:pt x="94" y="124"/>
                  </a:moveTo>
                  <a:cubicBezTo>
                    <a:pt x="87" y="127"/>
                    <a:pt x="79" y="129"/>
                    <a:pt x="72" y="129"/>
                  </a:cubicBezTo>
                  <a:cubicBezTo>
                    <a:pt x="50" y="129"/>
                    <a:pt x="30" y="117"/>
                    <a:pt x="21" y="96"/>
                  </a:cubicBezTo>
                  <a:cubicBezTo>
                    <a:pt x="20" y="95"/>
                    <a:pt x="20" y="93"/>
                    <a:pt x="19" y="92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7" y="101"/>
                    <a:pt x="59" y="108"/>
                    <a:pt x="72" y="108"/>
                  </a:cubicBezTo>
                  <a:cubicBezTo>
                    <a:pt x="76" y="108"/>
                    <a:pt x="81" y="107"/>
                    <a:pt x="85" y="105"/>
                  </a:cubicBezTo>
                  <a:cubicBezTo>
                    <a:pt x="87" y="104"/>
                    <a:pt x="88" y="103"/>
                    <a:pt x="89" y="102"/>
                  </a:cubicBezTo>
                  <a:cubicBezTo>
                    <a:pt x="89" y="116"/>
                    <a:pt x="89" y="116"/>
                    <a:pt x="89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3" y="119"/>
                    <a:pt x="99" y="122"/>
                    <a:pt x="94" y="124"/>
                  </a:cubicBezTo>
                  <a:close/>
                  <a:moveTo>
                    <a:pt x="93" y="112"/>
                  </a:moveTo>
                  <a:cubicBezTo>
                    <a:pt x="93" y="80"/>
                    <a:pt x="93" y="80"/>
                    <a:pt x="93" y="80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6" y="80"/>
                    <a:pt x="107" y="69"/>
                    <a:pt x="103" y="60"/>
                  </a:cubicBezTo>
                  <a:cubicBezTo>
                    <a:pt x="100" y="54"/>
                    <a:pt x="97" y="50"/>
                    <a:pt x="93" y="47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9" y="32"/>
                    <a:pt x="117" y="40"/>
                    <a:pt x="122" y="51"/>
                  </a:cubicBezTo>
                  <a:cubicBezTo>
                    <a:pt x="130" y="69"/>
                    <a:pt x="128" y="89"/>
                    <a:pt x="117" y="104"/>
                  </a:cubicBezTo>
                  <a:cubicBezTo>
                    <a:pt x="125" y="112"/>
                    <a:pt x="125" y="112"/>
                    <a:pt x="125" y="112"/>
                  </a:cubicBezTo>
                  <a:lnTo>
                    <a:pt x="93" y="1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51" name="Group 175"/>
          <p:cNvGrpSpPr>
            <a:grpSpLocks noChangeAspect="1"/>
          </p:cNvGrpSpPr>
          <p:nvPr/>
        </p:nvGrpSpPr>
        <p:grpSpPr bwMode="auto">
          <a:xfrm>
            <a:off x="8055775" y="2803523"/>
            <a:ext cx="768350" cy="768350"/>
            <a:chOff x="5071" y="1766"/>
            <a:chExt cx="484" cy="484"/>
          </a:xfrm>
        </p:grpSpPr>
        <p:sp>
          <p:nvSpPr>
            <p:cNvPr id="50352" name="Freeform 176"/>
            <p:cNvSpPr>
              <a:spLocks noEditPoints="1"/>
            </p:cNvSpPr>
            <p:nvPr/>
          </p:nvSpPr>
          <p:spPr bwMode="auto">
            <a:xfrm>
              <a:off x="5071" y="1766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53" name="Freeform 177"/>
            <p:cNvSpPr>
              <a:spLocks noEditPoints="1"/>
            </p:cNvSpPr>
            <p:nvPr/>
          </p:nvSpPr>
          <p:spPr bwMode="auto">
            <a:xfrm>
              <a:off x="5141" y="1833"/>
              <a:ext cx="321" cy="317"/>
            </a:xfrm>
            <a:custGeom>
              <a:avLst/>
              <a:gdLst/>
              <a:ahLst/>
              <a:cxnLst>
                <a:cxn ang="0">
                  <a:pos x="130" y="79"/>
                </a:cxn>
                <a:cxn ang="0">
                  <a:pos x="102" y="23"/>
                </a:cxn>
                <a:cxn ang="0">
                  <a:pos x="94" y="9"/>
                </a:cxn>
                <a:cxn ang="0">
                  <a:pos x="87" y="8"/>
                </a:cxn>
                <a:cxn ang="0">
                  <a:pos x="71" y="15"/>
                </a:cxn>
                <a:cxn ang="0">
                  <a:pos x="21" y="43"/>
                </a:cxn>
                <a:cxn ang="0">
                  <a:pos x="13" y="81"/>
                </a:cxn>
                <a:cxn ang="0">
                  <a:pos x="0" y="98"/>
                </a:cxn>
                <a:cxn ang="0">
                  <a:pos x="17" y="96"/>
                </a:cxn>
                <a:cxn ang="0">
                  <a:pos x="72" y="132"/>
                </a:cxn>
                <a:cxn ang="0">
                  <a:pos x="109" y="119"/>
                </a:cxn>
                <a:cxn ang="0">
                  <a:pos x="125" y="116"/>
                </a:cxn>
                <a:cxn ang="0">
                  <a:pos x="128" y="110"/>
                </a:cxn>
                <a:cxn ang="0">
                  <a:pos x="91" y="50"/>
                </a:cxn>
                <a:cxn ang="0">
                  <a:pos x="101" y="82"/>
                </a:cxn>
                <a:cxn ang="0">
                  <a:pos x="90" y="71"/>
                </a:cxn>
                <a:cxn ang="0">
                  <a:pos x="89" y="98"/>
                </a:cxn>
                <a:cxn ang="0">
                  <a:pos x="84" y="101"/>
                </a:cxn>
                <a:cxn ang="0">
                  <a:pos x="47" y="92"/>
                </a:cxn>
                <a:cxn ang="0">
                  <a:pos x="63" y="90"/>
                </a:cxn>
                <a:cxn ang="0">
                  <a:pos x="57" y="85"/>
                </a:cxn>
                <a:cxn ang="0">
                  <a:pos x="56" y="84"/>
                </a:cxn>
                <a:cxn ang="0">
                  <a:pos x="41" y="71"/>
                </a:cxn>
                <a:cxn ang="0">
                  <a:pos x="70" y="43"/>
                </a:cxn>
                <a:cxn ang="0">
                  <a:pos x="63" y="57"/>
                </a:cxn>
                <a:cxn ang="0">
                  <a:pos x="89" y="48"/>
                </a:cxn>
                <a:cxn ang="0">
                  <a:pos x="49" y="23"/>
                </a:cxn>
                <a:cxn ang="0">
                  <a:pos x="85" y="20"/>
                </a:cxn>
                <a:cxn ang="0">
                  <a:pos x="101" y="40"/>
                </a:cxn>
                <a:cxn ang="0">
                  <a:pos x="76" y="40"/>
                </a:cxn>
                <a:cxn ang="0">
                  <a:pos x="58" y="42"/>
                </a:cxn>
                <a:cxn ang="0">
                  <a:pos x="27" y="62"/>
                </a:cxn>
                <a:cxn ang="0">
                  <a:pos x="49" y="23"/>
                </a:cxn>
                <a:cxn ang="0">
                  <a:pos x="72" y="129"/>
                </a:cxn>
                <a:cxn ang="0">
                  <a:pos x="19" y="92"/>
                </a:cxn>
                <a:cxn ang="0">
                  <a:pos x="28" y="67"/>
                </a:cxn>
                <a:cxn ang="0">
                  <a:pos x="41" y="89"/>
                </a:cxn>
                <a:cxn ang="0">
                  <a:pos x="85" y="105"/>
                </a:cxn>
                <a:cxn ang="0">
                  <a:pos x="89" y="116"/>
                </a:cxn>
                <a:cxn ang="0">
                  <a:pos x="94" y="124"/>
                </a:cxn>
                <a:cxn ang="0">
                  <a:pos x="93" y="80"/>
                </a:cxn>
                <a:cxn ang="0">
                  <a:pos x="103" y="60"/>
                </a:cxn>
                <a:cxn ang="0">
                  <a:pos x="105" y="43"/>
                </a:cxn>
                <a:cxn ang="0">
                  <a:pos x="122" y="51"/>
                </a:cxn>
                <a:cxn ang="0">
                  <a:pos x="125" y="112"/>
                </a:cxn>
              </a:cxnLst>
              <a:rect l="0" t="0" r="r" b="b"/>
              <a:pathLst>
                <a:path w="134" h="132">
                  <a:moveTo>
                    <a:pt x="122" y="104"/>
                  </a:moveTo>
                  <a:cubicBezTo>
                    <a:pt x="126" y="96"/>
                    <a:pt x="129" y="88"/>
                    <a:pt x="130" y="79"/>
                  </a:cubicBezTo>
                  <a:cubicBezTo>
                    <a:pt x="131" y="69"/>
                    <a:pt x="129" y="59"/>
                    <a:pt x="125" y="49"/>
                  </a:cubicBezTo>
                  <a:cubicBezTo>
                    <a:pt x="120" y="38"/>
                    <a:pt x="112" y="29"/>
                    <a:pt x="102" y="23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79" y="15"/>
                    <a:pt x="75" y="15"/>
                    <a:pt x="71" y="15"/>
                  </a:cubicBezTo>
                  <a:cubicBezTo>
                    <a:pt x="63" y="15"/>
                    <a:pt x="55" y="16"/>
                    <a:pt x="47" y="20"/>
                  </a:cubicBezTo>
                  <a:cubicBezTo>
                    <a:pt x="36" y="25"/>
                    <a:pt x="27" y="33"/>
                    <a:pt x="21" y="43"/>
                  </a:cubicBezTo>
                  <a:cubicBezTo>
                    <a:pt x="15" y="53"/>
                    <a:pt x="12" y="65"/>
                    <a:pt x="13" y="76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7"/>
                    <a:pt x="18" y="97"/>
                  </a:cubicBezTo>
                  <a:cubicBezTo>
                    <a:pt x="27" y="119"/>
                    <a:pt x="48" y="132"/>
                    <a:pt x="72" y="132"/>
                  </a:cubicBezTo>
                  <a:cubicBezTo>
                    <a:pt x="80" y="132"/>
                    <a:pt x="88" y="131"/>
                    <a:pt x="96" y="127"/>
                  </a:cubicBezTo>
                  <a:cubicBezTo>
                    <a:pt x="100" y="125"/>
                    <a:pt x="105" y="122"/>
                    <a:pt x="109" y="119"/>
                  </a:cubicBezTo>
                  <a:cubicBezTo>
                    <a:pt x="112" y="116"/>
                    <a:pt x="112" y="116"/>
                    <a:pt x="112" y="116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34" y="116"/>
                    <a:pt x="134" y="116"/>
                    <a:pt x="134" y="116"/>
                  </a:cubicBezTo>
                  <a:cubicBezTo>
                    <a:pt x="128" y="110"/>
                    <a:pt x="128" y="110"/>
                    <a:pt x="128" y="110"/>
                  </a:cubicBezTo>
                  <a:lnTo>
                    <a:pt x="122" y="104"/>
                  </a:lnTo>
                  <a:close/>
                  <a:moveTo>
                    <a:pt x="91" y="50"/>
                  </a:moveTo>
                  <a:cubicBezTo>
                    <a:pt x="94" y="53"/>
                    <a:pt x="97" y="57"/>
                    <a:pt x="99" y="61"/>
                  </a:cubicBezTo>
                  <a:cubicBezTo>
                    <a:pt x="102" y="68"/>
                    <a:pt x="103" y="75"/>
                    <a:pt x="101" y="82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0" y="71"/>
                    <a:pt x="90" y="71"/>
                    <a:pt x="90" y="71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6" y="100"/>
                    <a:pt x="85" y="101"/>
                    <a:pt x="84" y="101"/>
                  </a:cubicBezTo>
                  <a:cubicBezTo>
                    <a:pt x="80" y="103"/>
                    <a:pt x="76" y="104"/>
                    <a:pt x="72" y="104"/>
                  </a:cubicBezTo>
                  <a:cubicBezTo>
                    <a:pt x="62" y="104"/>
                    <a:pt x="53" y="99"/>
                    <a:pt x="47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60"/>
                    <a:pt x="49" y="50"/>
                    <a:pt x="59" y="46"/>
                  </a:cubicBezTo>
                  <a:cubicBezTo>
                    <a:pt x="63" y="44"/>
                    <a:pt x="66" y="43"/>
                    <a:pt x="70" y="43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89" y="48"/>
                    <a:pt x="89" y="48"/>
                    <a:pt x="89" y="48"/>
                  </a:cubicBezTo>
                  <a:lnTo>
                    <a:pt x="91" y="50"/>
                  </a:lnTo>
                  <a:close/>
                  <a:moveTo>
                    <a:pt x="49" y="23"/>
                  </a:moveTo>
                  <a:cubicBezTo>
                    <a:pt x="56" y="20"/>
                    <a:pt x="64" y="18"/>
                    <a:pt x="71" y="18"/>
                  </a:cubicBezTo>
                  <a:cubicBezTo>
                    <a:pt x="76" y="18"/>
                    <a:pt x="81" y="19"/>
                    <a:pt x="85" y="2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4" y="39"/>
                    <a:pt x="73" y="39"/>
                    <a:pt x="71" y="39"/>
                  </a:cubicBezTo>
                  <a:cubicBezTo>
                    <a:pt x="67" y="39"/>
                    <a:pt x="62" y="40"/>
                    <a:pt x="58" y="42"/>
                  </a:cubicBezTo>
                  <a:cubicBezTo>
                    <a:pt x="46" y="47"/>
                    <a:pt x="39" y="58"/>
                    <a:pt x="38" y="70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5" y="54"/>
                    <a:pt x="28" y="33"/>
                    <a:pt x="49" y="23"/>
                  </a:cubicBezTo>
                  <a:close/>
                  <a:moveTo>
                    <a:pt x="94" y="124"/>
                  </a:moveTo>
                  <a:cubicBezTo>
                    <a:pt x="87" y="127"/>
                    <a:pt x="79" y="129"/>
                    <a:pt x="72" y="129"/>
                  </a:cubicBezTo>
                  <a:cubicBezTo>
                    <a:pt x="50" y="129"/>
                    <a:pt x="30" y="117"/>
                    <a:pt x="21" y="96"/>
                  </a:cubicBezTo>
                  <a:cubicBezTo>
                    <a:pt x="20" y="95"/>
                    <a:pt x="20" y="93"/>
                    <a:pt x="19" y="92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7" y="101"/>
                    <a:pt x="59" y="108"/>
                    <a:pt x="72" y="108"/>
                  </a:cubicBezTo>
                  <a:cubicBezTo>
                    <a:pt x="76" y="108"/>
                    <a:pt x="81" y="107"/>
                    <a:pt x="85" y="105"/>
                  </a:cubicBezTo>
                  <a:cubicBezTo>
                    <a:pt x="87" y="104"/>
                    <a:pt x="88" y="103"/>
                    <a:pt x="89" y="102"/>
                  </a:cubicBezTo>
                  <a:cubicBezTo>
                    <a:pt x="89" y="116"/>
                    <a:pt x="89" y="116"/>
                    <a:pt x="89" y="116"/>
                  </a:cubicBezTo>
                  <a:cubicBezTo>
                    <a:pt x="107" y="116"/>
                    <a:pt x="107" y="116"/>
                    <a:pt x="107" y="116"/>
                  </a:cubicBezTo>
                  <a:cubicBezTo>
                    <a:pt x="103" y="119"/>
                    <a:pt x="99" y="122"/>
                    <a:pt x="94" y="124"/>
                  </a:cubicBezTo>
                  <a:close/>
                  <a:moveTo>
                    <a:pt x="93" y="112"/>
                  </a:moveTo>
                  <a:cubicBezTo>
                    <a:pt x="93" y="80"/>
                    <a:pt x="93" y="80"/>
                    <a:pt x="93" y="80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6" y="80"/>
                    <a:pt x="107" y="69"/>
                    <a:pt x="103" y="60"/>
                  </a:cubicBezTo>
                  <a:cubicBezTo>
                    <a:pt x="100" y="54"/>
                    <a:pt x="97" y="50"/>
                    <a:pt x="93" y="47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9" y="32"/>
                    <a:pt x="117" y="40"/>
                    <a:pt x="122" y="51"/>
                  </a:cubicBezTo>
                  <a:cubicBezTo>
                    <a:pt x="130" y="69"/>
                    <a:pt x="128" y="89"/>
                    <a:pt x="117" y="104"/>
                  </a:cubicBezTo>
                  <a:cubicBezTo>
                    <a:pt x="125" y="112"/>
                    <a:pt x="125" y="112"/>
                    <a:pt x="125" y="112"/>
                  </a:cubicBezTo>
                  <a:lnTo>
                    <a:pt x="93" y="1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356" name="Group 180"/>
          <p:cNvGrpSpPr>
            <a:grpSpLocks noChangeAspect="1"/>
          </p:cNvGrpSpPr>
          <p:nvPr/>
        </p:nvGrpSpPr>
        <p:grpSpPr bwMode="auto">
          <a:xfrm>
            <a:off x="365126" y="4083050"/>
            <a:ext cx="827087" cy="827088"/>
            <a:chOff x="223" y="2572"/>
            <a:chExt cx="521" cy="521"/>
          </a:xfrm>
        </p:grpSpPr>
        <p:sp>
          <p:nvSpPr>
            <p:cNvPr id="50357" name="Oval 181"/>
            <p:cNvSpPr>
              <a:spLocks noChangeArrowheads="1"/>
            </p:cNvSpPr>
            <p:nvPr/>
          </p:nvSpPr>
          <p:spPr bwMode="auto">
            <a:xfrm>
              <a:off x="223" y="2572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58" name="Freeform 182"/>
            <p:cNvSpPr>
              <a:spLocks noEditPoints="1"/>
            </p:cNvSpPr>
            <p:nvPr/>
          </p:nvSpPr>
          <p:spPr bwMode="auto">
            <a:xfrm>
              <a:off x="352" y="2878"/>
              <a:ext cx="263" cy="81"/>
            </a:xfrm>
            <a:custGeom>
              <a:avLst/>
              <a:gdLst/>
              <a:ahLst/>
              <a:cxnLst>
                <a:cxn ang="0">
                  <a:pos x="167" y="36"/>
                </a:cxn>
                <a:cxn ang="0">
                  <a:pos x="136" y="36"/>
                </a:cxn>
                <a:cxn ang="0">
                  <a:pos x="136" y="0"/>
                </a:cxn>
                <a:cxn ang="0">
                  <a:pos x="127" y="0"/>
                </a:cxn>
                <a:cxn ang="0">
                  <a:pos x="127" y="36"/>
                </a:cxn>
                <a:cxn ang="0">
                  <a:pos x="93" y="36"/>
                </a:cxn>
                <a:cxn ang="0">
                  <a:pos x="93" y="43"/>
                </a:cxn>
                <a:cxn ang="0">
                  <a:pos x="0" y="43"/>
                </a:cxn>
                <a:cxn ang="0">
                  <a:pos x="0" y="72"/>
                </a:cxn>
                <a:cxn ang="0">
                  <a:pos x="93" y="72"/>
                </a:cxn>
                <a:cxn ang="0">
                  <a:pos x="93" y="81"/>
                </a:cxn>
                <a:cxn ang="0">
                  <a:pos x="167" y="81"/>
                </a:cxn>
                <a:cxn ang="0">
                  <a:pos x="167" y="72"/>
                </a:cxn>
                <a:cxn ang="0">
                  <a:pos x="263" y="72"/>
                </a:cxn>
                <a:cxn ang="0">
                  <a:pos x="263" y="43"/>
                </a:cxn>
                <a:cxn ang="0">
                  <a:pos x="167" y="43"/>
                </a:cxn>
                <a:cxn ang="0">
                  <a:pos x="167" y="36"/>
                </a:cxn>
                <a:cxn ang="0">
                  <a:pos x="254" y="65"/>
                </a:cxn>
                <a:cxn ang="0">
                  <a:pos x="167" y="65"/>
                </a:cxn>
                <a:cxn ang="0">
                  <a:pos x="93" y="65"/>
                </a:cxn>
                <a:cxn ang="0">
                  <a:pos x="7" y="65"/>
                </a:cxn>
                <a:cxn ang="0">
                  <a:pos x="7" y="53"/>
                </a:cxn>
                <a:cxn ang="0">
                  <a:pos x="254" y="53"/>
                </a:cxn>
                <a:cxn ang="0">
                  <a:pos x="254" y="65"/>
                </a:cxn>
              </a:cxnLst>
              <a:rect l="0" t="0" r="r" b="b"/>
              <a:pathLst>
                <a:path w="263" h="81">
                  <a:moveTo>
                    <a:pt x="167" y="36"/>
                  </a:moveTo>
                  <a:lnTo>
                    <a:pt x="136" y="36"/>
                  </a:lnTo>
                  <a:lnTo>
                    <a:pt x="136" y="0"/>
                  </a:lnTo>
                  <a:lnTo>
                    <a:pt x="127" y="0"/>
                  </a:lnTo>
                  <a:lnTo>
                    <a:pt x="127" y="36"/>
                  </a:lnTo>
                  <a:lnTo>
                    <a:pt x="93" y="36"/>
                  </a:lnTo>
                  <a:lnTo>
                    <a:pt x="93" y="43"/>
                  </a:lnTo>
                  <a:lnTo>
                    <a:pt x="0" y="43"/>
                  </a:lnTo>
                  <a:lnTo>
                    <a:pt x="0" y="72"/>
                  </a:lnTo>
                  <a:lnTo>
                    <a:pt x="93" y="72"/>
                  </a:lnTo>
                  <a:lnTo>
                    <a:pt x="93" y="81"/>
                  </a:lnTo>
                  <a:lnTo>
                    <a:pt x="167" y="81"/>
                  </a:lnTo>
                  <a:lnTo>
                    <a:pt x="167" y="72"/>
                  </a:lnTo>
                  <a:lnTo>
                    <a:pt x="263" y="72"/>
                  </a:lnTo>
                  <a:lnTo>
                    <a:pt x="263" y="43"/>
                  </a:lnTo>
                  <a:lnTo>
                    <a:pt x="167" y="43"/>
                  </a:lnTo>
                  <a:lnTo>
                    <a:pt x="167" y="36"/>
                  </a:lnTo>
                  <a:close/>
                  <a:moveTo>
                    <a:pt x="254" y="65"/>
                  </a:moveTo>
                  <a:lnTo>
                    <a:pt x="167" y="65"/>
                  </a:lnTo>
                  <a:lnTo>
                    <a:pt x="93" y="65"/>
                  </a:lnTo>
                  <a:lnTo>
                    <a:pt x="7" y="65"/>
                  </a:lnTo>
                  <a:lnTo>
                    <a:pt x="7" y="53"/>
                  </a:lnTo>
                  <a:lnTo>
                    <a:pt x="254" y="53"/>
                  </a:lnTo>
                  <a:lnTo>
                    <a:pt x="254" y="6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59" name="Freeform 183"/>
            <p:cNvSpPr>
              <a:spLocks noEditPoints="1"/>
            </p:cNvSpPr>
            <p:nvPr/>
          </p:nvSpPr>
          <p:spPr bwMode="auto">
            <a:xfrm>
              <a:off x="395" y="2821"/>
              <a:ext cx="177" cy="50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177" y="50"/>
                </a:cxn>
                <a:cxn ang="0">
                  <a:pos x="177" y="0"/>
                </a:cxn>
                <a:cxn ang="0">
                  <a:pos x="168" y="40"/>
                </a:cxn>
                <a:cxn ang="0">
                  <a:pos x="10" y="40"/>
                </a:cxn>
                <a:cxn ang="0">
                  <a:pos x="10" y="9"/>
                </a:cxn>
                <a:cxn ang="0">
                  <a:pos x="168" y="9"/>
                </a:cxn>
                <a:cxn ang="0">
                  <a:pos x="168" y="40"/>
                </a:cxn>
              </a:cxnLst>
              <a:rect l="0" t="0" r="r" b="b"/>
              <a:pathLst>
                <a:path w="177" h="50">
                  <a:moveTo>
                    <a:pt x="17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177" y="50"/>
                  </a:lnTo>
                  <a:lnTo>
                    <a:pt x="177" y="0"/>
                  </a:lnTo>
                  <a:close/>
                  <a:moveTo>
                    <a:pt x="168" y="40"/>
                  </a:moveTo>
                  <a:lnTo>
                    <a:pt x="10" y="40"/>
                  </a:lnTo>
                  <a:lnTo>
                    <a:pt x="10" y="9"/>
                  </a:lnTo>
                  <a:lnTo>
                    <a:pt x="168" y="9"/>
                  </a:lnTo>
                  <a:lnTo>
                    <a:pt x="168" y="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60" name="Freeform 184"/>
            <p:cNvSpPr>
              <a:spLocks noEditPoints="1"/>
            </p:cNvSpPr>
            <p:nvPr/>
          </p:nvSpPr>
          <p:spPr bwMode="auto">
            <a:xfrm>
              <a:off x="395" y="2763"/>
              <a:ext cx="177" cy="48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7" y="48"/>
                </a:cxn>
                <a:cxn ang="0">
                  <a:pos x="177" y="0"/>
                </a:cxn>
                <a:cxn ang="0">
                  <a:pos x="168" y="38"/>
                </a:cxn>
                <a:cxn ang="0">
                  <a:pos x="10" y="38"/>
                </a:cxn>
                <a:cxn ang="0">
                  <a:pos x="10" y="7"/>
                </a:cxn>
                <a:cxn ang="0">
                  <a:pos x="168" y="7"/>
                </a:cxn>
                <a:cxn ang="0">
                  <a:pos x="168" y="38"/>
                </a:cxn>
              </a:cxnLst>
              <a:rect l="0" t="0" r="r" b="b"/>
              <a:pathLst>
                <a:path w="177" h="48">
                  <a:moveTo>
                    <a:pt x="177" y="0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177" y="48"/>
                  </a:lnTo>
                  <a:lnTo>
                    <a:pt x="177" y="0"/>
                  </a:lnTo>
                  <a:close/>
                  <a:moveTo>
                    <a:pt x="168" y="38"/>
                  </a:moveTo>
                  <a:lnTo>
                    <a:pt x="10" y="38"/>
                  </a:lnTo>
                  <a:lnTo>
                    <a:pt x="10" y="7"/>
                  </a:lnTo>
                  <a:lnTo>
                    <a:pt x="168" y="7"/>
                  </a:lnTo>
                  <a:lnTo>
                    <a:pt x="168" y="3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61" name="Freeform 185"/>
            <p:cNvSpPr>
              <a:spLocks noEditPoints="1"/>
            </p:cNvSpPr>
            <p:nvPr/>
          </p:nvSpPr>
          <p:spPr bwMode="auto">
            <a:xfrm>
              <a:off x="395" y="2701"/>
              <a:ext cx="177" cy="50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177" y="50"/>
                </a:cxn>
                <a:cxn ang="0">
                  <a:pos x="177" y="0"/>
                </a:cxn>
                <a:cxn ang="0">
                  <a:pos x="168" y="41"/>
                </a:cxn>
                <a:cxn ang="0">
                  <a:pos x="10" y="41"/>
                </a:cxn>
                <a:cxn ang="0">
                  <a:pos x="10" y="9"/>
                </a:cxn>
                <a:cxn ang="0">
                  <a:pos x="168" y="9"/>
                </a:cxn>
                <a:cxn ang="0">
                  <a:pos x="168" y="41"/>
                </a:cxn>
              </a:cxnLst>
              <a:rect l="0" t="0" r="r" b="b"/>
              <a:pathLst>
                <a:path w="177" h="50">
                  <a:moveTo>
                    <a:pt x="17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177" y="50"/>
                  </a:lnTo>
                  <a:lnTo>
                    <a:pt x="177" y="0"/>
                  </a:lnTo>
                  <a:close/>
                  <a:moveTo>
                    <a:pt x="168" y="41"/>
                  </a:moveTo>
                  <a:lnTo>
                    <a:pt x="10" y="41"/>
                  </a:lnTo>
                  <a:lnTo>
                    <a:pt x="10" y="9"/>
                  </a:lnTo>
                  <a:lnTo>
                    <a:pt x="168" y="9"/>
                  </a:lnTo>
                  <a:lnTo>
                    <a:pt x="168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62" name="Freeform 186"/>
            <p:cNvSpPr>
              <a:spLocks noEditPoints="1"/>
            </p:cNvSpPr>
            <p:nvPr/>
          </p:nvSpPr>
          <p:spPr bwMode="auto">
            <a:xfrm>
              <a:off x="242" y="2591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65" name="Group 189"/>
          <p:cNvGrpSpPr>
            <a:grpSpLocks noChangeAspect="1"/>
          </p:cNvGrpSpPr>
          <p:nvPr/>
        </p:nvGrpSpPr>
        <p:grpSpPr bwMode="auto">
          <a:xfrm>
            <a:off x="1659731" y="4287835"/>
            <a:ext cx="417513" cy="409575"/>
            <a:chOff x="1033" y="2701"/>
            <a:chExt cx="263" cy="258"/>
          </a:xfrm>
        </p:grpSpPr>
        <p:sp>
          <p:nvSpPr>
            <p:cNvPr id="50366" name="Freeform 190"/>
            <p:cNvSpPr>
              <a:spLocks noEditPoints="1"/>
            </p:cNvSpPr>
            <p:nvPr/>
          </p:nvSpPr>
          <p:spPr bwMode="auto">
            <a:xfrm>
              <a:off x="1033" y="2878"/>
              <a:ext cx="263" cy="81"/>
            </a:xfrm>
            <a:custGeom>
              <a:avLst/>
              <a:gdLst/>
              <a:ahLst/>
              <a:cxnLst>
                <a:cxn ang="0">
                  <a:pos x="167" y="36"/>
                </a:cxn>
                <a:cxn ang="0">
                  <a:pos x="136" y="36"/>
                </a:cxn>
                <a:cxn ang="0">
                  <a:pos x="136" y="0"/>
                </a:cxn>
                <a:cxn ang="0">
                  <a:pos x="127" y="0"/>
                </a:cxn>
                <a:cxn ang="0">
                  <a:pos x="127" y="36"/>
                </a:cxn>
                <a:cxn ang="0">
                  <a:pos x="95" y="36"/>
                </a:cxn>
                <a:cxn ang="0">
                  <a:pos x="95" y="43"/>
                </a:cxn>
                <a:cxn ang="0">
                  <a:pos x="0" y="43"/>
                </a:cxn>
                <a:cxn ang="0">
                  <a:pos x="0" y="72"/>
                </a:cxn>
                <a:cxn ang="0">
                  <a:pos x="95" y="72"/>
                </a:cxn>
                <a:cxn ang="0">
                  <a:pos x="95" y="81"/>
                </a:cxn>
                <a:cxn ang="0">
                  <a:pos x="167" y="81"/>
                </a:cxn>
                <a:cxn ang="0">
                  <a:pos x="167" y="72"/>
                </a:cxn>
                <a:cxn ang="0">
                  <a:pos x="263" y="72"/>
                </a:cxn>
                <a:cxn ang="0">
                  <a:pos x="263" y="43"/>
                </a:cxn>
                <a:cxn ang="0">
                  <a:pos x="167" y="43"/>
                </a:cxn>
                <a:cxn ang="0">
                  <a:pos x="167" y="36"/>
                </a:cxn>
                <a:cxn ang="0">
                  <a:pos x="256" y="65"/>
                </a:cxn>
                <a:cxn ang="0">
                  <a:pos x="167" y="65"/>
                </a:cxn>
                <a:cxn ang="0">
                  <a:pos x="95" y="65"/>
                </a:cxn>
                <a:cxn ang="0">
                  <a:pos x="7" y="65"/>
                </a:cxn>
                <a:cxn ang="0">
                  <a:pos x="7" y="53"/>
                </a:cxn>
                <a:cxn ang="0">
                  <a:pos x="256" y="53"/>
                </a:cxn>
                <a:cxn ang="0">
                  <a:pos x="256" y="65"/>
                </a:cxn>
              </a:cxnLst>
              <a:rect l="0" t="0" r="r" b="b"/>
              <a:pathLst>
                <a:path w="263" h="81">
                  <a:moveTo>
                    <a:pt x="167" y="36"/>
                  </a:moveTo>
                  <a:lnTo>
                    <a:pt x="136" y="36"/>
                  </a:lnTo>
                  <a:lnTo>
                    <a:pt x="136" y="0"/>
                  </a:lnTo>
                  <a:lnTo>
                    <a:pt x="127" y="0"/>
                  </a:lnTo>
                  <a:lnTo>
                    <a:pt x="127" y="36"/>
                  </a:lnTo>
                  <a:lnTo>
                    <a:pt x="95" y="36"/>
                  </a:lnTo>
                  <a:lnTo>
                    <a:pt x="95" y="43"/>
                  </a:lnTo>
                  <a:lnTo>
                    <a:pt x="0" y="43"/>
                  </a:lnTo>
                  <a:lnTo>
                    <a:pt x="0" y="72"/>
                  </a:lnTo>
                  <a:lnTo>
                    <a:pt x="95" y="72"/>
                  </a:lnTo>
                  <a:lnTo>
                    <a:pt x="95" y="81"/>
                  </a:lnTo>
                  <a:lnTo>
                    <a:pt x="167" y="81"/>
                  </a:lnTo>
                  <a:lnTo>
                    <a:pt x="167" y="72"/>
                  </a:lnTo>
                  <a:lnTo>
                    <a:pt x="263" y="72"/>
                  </a:lnTo>
                  <a:lnTo>
                    <a:pt x="263" y="43"/>
                  </a:lnTo>
                  <a:lnTo>
                    <a:pt x="167" y="43"/>
                  </a:lnTo>
                  <a:lnTo>
                    <a:pt x="167" y="36"/>
                  </a:lnTo>
                  <a:close/>
                  <a:moveTo>
                    <a:pt x="256" y="65"/>
                  </a:moveTo>
                  <a:lnTo>
                    <a:pt x="167" y="65"/>
                  </a:lnTo>
                  <a:lnTo>
                    <a:pt x="95" y="65"/>
                  </a:lnTo>
                  <a:lnTo>
                    <a:pt x="7" y="65"/>
                  </a:lnTo>
                  <a:lnTo>
                    <a:pt x="7" y="53"/>
                  </a:lnTo>
                  <a:lnTo>
                    <a:pt x="256" y="53"/>
                  </a:lnTo>
                  <a:lnTo>
                    <a:pt x="256" y="6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67" name="Freeform 191"/>
            <p:cNvSpPr>
              <a:spLocks noEditPoints="1"/>
            </p:cNvSpPr>
            <p:nvPr/>
          </p:nvSpPr>
          <p:spPr bwMode="auto">
            <a:xfrm>
              <a:off x="1076" y="2820"/>
              <a:ext cx="177" cy="51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51"/>
                </a:cxn>
                <a:cxn ang="0">
                  <a:pos x="177" y="51"/>
                </a:cxn>
                <a:cxn ang="0">
                  <a:pos x="177" y="0"/>
                </a:cxn>
                <a:cxn ang="0">
                  <a:pos x="170" y="41"/>
                </a:cxn>
                <a:cxn ang="0">
                  <a:pos x="9" y="41"/>
                </a:cxn>
                <a:cxn ang="0">
                  <a:pos x="9" y="10"/>
                </a:cxn>
                <a:cxn ang="0">
                  <a:pos x="170" y="10"/>
                </a:cxn>
                <a:cxn ang="0">
                  <a:pos x="170" y="41"/>
                </a:cxn>
              </a:cxnLst>
              <a:rect l="0" t="0" r="r" b="b"/>
              <a:pathLst>
                <a:path w="177" h="51">
                  <a:moveTo>
                    <a:pt x="177" y="0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177" y="51"/>
                  </a:lnTo>
                  <a:lnTo>
                    <a:pt x="177" y="0"/>
                  </a:lnTo>
                  <a:close/>
                  <a:moveTo>
                    <a:pt x="170" y="41"/>
                  </a:moveTo>
                  <a:lnTo>
                    <a:pt x="9" y="41"/>
                  </a:lnTo>
                  <a:lnTo>
                    <a:pt x="9" y="10"/>
                  </a:lnTo>
                  <a:lnTo>
                    <a:pt x="170" y="10"/>
                  </a:lnTo>
                  <a:lnTo>
                    <a:pt x="170" y="4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68" name="Freeform 192"/>
            <p:cNvSpPr>
              <a:spLocks noEditPoints="1"/>
            </p:cNvSpPr>
            <p:nvPr/>
          </p:nvSpPr>
          <p:spPr bwMode="auto">
            <a:xfrm>
              <a:off x="1076" y="2763"/>
              <a:ext cx="177" cy="48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7" y="48"/>
                </a:cxn>
                <a:cxn ang="0">
                  <a:pos x="177" y="0"/>
                </a:cxn>
                <a:cxn ang="0">
                  <a:pos x="170" y="38"/>
                </a:cxn>
                <a:cxn ang="0">
                  <a:pos x="9" y="38"/>
                </a:cxn>
                <a:cxn ang="0">
                  <a:pos x="9" y="7"/>
                </a:cxn>
                <a:cxn ang="0">
                  <a:pos x="170" y="7"/>
                </a:cxn>
                <a:cxn ang="0">
                  <a:pos x="170" y="38"/>
                </a:cxn>
              </a:cxnLst>
              <a:rect l="0" t="0" r="r" b="b"/>
              <a:pathLst>
                <a:path w="177" h="48">
                  <a:moveTo>
                    <a:pt x="177" y="0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177" y="48"/>
                  </a:lnTo>
                  <a:lnTo>
                    <a:pt x="177" y="0"/>
                  </a:lnTo>
                  <a:close/>
                  <a:moveTo>
                    <a:pt x="170" y="38"/>
                  </a:moveTo>
                  <a:lnTo>
                    <a:pt x="9" y="38"/>
                  </a:lnTo>
                  <a:lnTo>
                    <a:pt x="9" y="7"/>
                  </a:lnTo>
                  <a:lnTo>
                    <a:pt x="170" y="7"/>
                  </a:lnTo>
                  <a:lnTo>
                    <a:pt x="170" y="3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69" name="Freeform 193"/>
            <p:cNvSpPr>
              <a:spLocks noEditPoints="1"/>
            </p:cNvSpPr>
            <p:nvPr/>
          </p:nvSpPr>
          <p:spPr bwMode="auto">
            <a:xfrm>
              <a:off x="1076" y="2701"/>
              <a:ext cx="177" cy="50"/>
            </a:xfrm>
            <a:custGeom>
              <a:avLst/>
              <a:gdLst/>
              <a:ahLst/>
              <a:cxnLst>
                <a:cxn ang="0">
                  <a:pos x="177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177" y="50"/>
                </a:cxn>
                <a:cxn ang="0">
                  <a:pos x="177" y="0"/>
                </a:cxn>
                <a:cxn ang="0">
                  <a:pos x="170" y="40"/>
                </a:cxn>
                <a:cxn ang="0">
                  <a:pos x="9" y="40"/>
                </a:cxn>
                <a:cxn ang="0">
                  <a:pos x="9" y="9"/>
                </a:cxn>
                <a:cxn ang="0">
                  <a:pos x="170" y="9"/>
                </a:cxn>
                <a:cxn ang="0">
                  <a:pos x="170" y="40"/>
                </a:cxn>
              </a:cxnLst>
              <a:rect l="0" t="0" r="r" b="b"/>
              <a:pathLst>
                <a:path w="177" h="50">
                  <a:moveTo>
                    <a:pt x="177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177" y="50"/>
                  </a:lnTo>
                  <a:lnTo>
                    <a:pt x="177" y="0"/>
                  </a:lnTo>
                  <a:close/>
                  <a:moveTo>
                    <a:pt x="170" y="40"/>
                  </a:moveTo>
                  <a:lnTo>
                    <a:pt x="9" y="40"/>
                  </a:lnTo>
                  <a:lnTo>
                    <a:pt x="9" y="9"/>
                  </a:lnTo>
                  <a:lnTo>
                    <a:pt x="170" y="9"/>
                  </a:lnTo>
                  <a:lnTo>
                    <a:pt x="170" y="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373" name="Group 197"/>
          <p:cNvGrpSpPr>
            <a:grpSpLocks noChangeAspect="1"/>
          </p:cNvGrpSpPr>
          <p:nvPr/>
        </p:nvGrpSpPr>
        <p:grpSpPr bwMode="auto">
          <a:xfrm>
            <a:off x="2537619" y="4071938"/>
            <a:ext cx="849312" cy="849312"/>
            <a:chOff x="1585" y="2565"/>
            <a:chExt cx="535" cy="535"/>
          </a:xfrm>
        </p:grpSpPr>
        <p:sp>
          <p:nvSpPr>
            <p:cNvPr id="50374" name="Oval 198"/>
            <p:cNvSpPr>
              <a:spLocks noChangeArrowheads="1"/>
            </p:cNvSpPr>
            <p:nvPr/>
          </p:nvSpPr>
          <p:spPr bwMode="auto">
            <a:xfrm>
              <a:off x="1585" y="2565"/>
              <a:ext cx="535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75" name="Freeform 199"/>
            <p:cNvSpPr>
              <a:spLocks noEditPoints="1"/>
            </p:cNvSpPr>
            <p:nvPr/>
          </p:nvSpPr>
          <p:spPr bwMode="auto">
            <a:xfrm>
              <a:off x="1604" y="2584"/>
              <a:ext cx="497" cy="497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8"/>
                    <a:pt x="50" y="203"/>
                    <a:pt x="104" y="203"/>
                  </a:cubicBezTo>
                  <a:cubicBezTo>
                    <a:pt x="158" y="203"/>
                    <a:pt x="203" y="158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76" name="Freeform 200"/>
            <p:cNvSpPr>
              <a:spLocks noEditPoints="1"/>
            </p:cNvSpPr>
            <p:nvPr/>
          </p:nvSpPr>
          <p:spPr bwMode="auto">
            <a:xfrm>
              <a:off x="1747" y="2727"/>
              <a:ext cx="211" cy="211"/>
            </a:xfrm>
            <a:custGeom>
              <a:avLst/>
              <a:gdLst/>
              <a:ahLst/>
              <a:cxnLst>
                <a:cxn ang="0">
                  <a:pos x="44" y="88"/>
                </a:cxn>
                <a:cxn ang="0">
                  <a:pos x="0" y="44"/>
                </a:cxn>
                <a:cxn ang="0">
                  <a:pos x="44" y="0"/>
                </a:cxn>
                <a:cxn ang="0">
                  <a:pos x="88" y="44"/>
                </a:cxn>
                <a:cxn ang="0">
                  <a:pos x="44" y="88"/>
                </a:cxn>
                <a:cxn ang="0">
                  <a:pos x="44" y="5"/>
                </a:cxn>
                <a:cxn ang="0">
                  <a:pos x="5" y="44"/>
                </a:cxn>
                <a:cxn ang="0">
                  <a:pos x="44" y="83"/>
                </a:cxn>
                <a:cxn ang="0">
                  <a:pos x="83" y="44"/>
                </a:cxn>
                <a:cxn ang="0">
                  <a:pos x="44" y="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5"/>
                  </a:moveTo>
                  <a:cubicBezTo>
                    <a:pt x="23" y="5"/>
                    <a:pt x="5" y="23"/>
                    <a:pt x="5" y="44"/>
                  </a:cubicBezTo>
                  <a:cubicBezTo>
                    <a:pt x="5" y="65"/>
                    <a:pt x="23" y="83"/>
                    <a:pt x="44" y="83"/>
                  </a:cubicBezTo>
                  <a:cubicBezTo>
                    <a:pt x="65" y="83"/>
                    <a:pt x="83" y="65"/>
                    <a:pt x="83" y="44"/>
                  </a:cubicBezTo>
                  <a:cubicBezTo>
                    <a:pt x="83" y="23"/>
                    <a:pt x="65" y="5"/>
                    <a:pt x="4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77" name="Rectangle 201"/>
            <p:cNvSpPr>
              <a:spLocks noChangeArrowheads="1"/>
            </p:cNvSpPr>
            <p:nvPr/>
          </p:nvSpPr>
          <p:spPr bwMode="auto">
            <a:xfrm>
              <a:off x="1845" y="2663"/>
              <a:ext cx="12" cy="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78" name="Rectangle 202"/>
            <p:cNvSpPr>
              <a:spLocks noChangeArrowheads="1"/>
            </p:cNvSpPr>
            <p:nvPr/>
          </p:nvSpPr>
          <p:spPr bwMode="auto">
            <a:xfrm>
              <a:off x="1845" y="2950"/>
              <a:ext cx="12" cy="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79" name="Freeform 203"/>
            <p:cNvSpPr>
              <a:spLocks/>
            </p:cNvSpPr>
            <p:nvPr/>
          </p:nvSpPr>
          <p:spPr bwMode="auto">
            <a:xfrm>
              <a:off x="1929" y="2703"/>
              <a:ext cx="43" cy="46"/>
            </a:xfrm>
            <a:custGeom>
              <a:avLst/>
              <a:gdLst/>
              <a:ahLst/>
              <a:cxnLst>
                <a:cxn ang="0">
                  <a:pos x="7" y="46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43" y="10"/>
                </a:cxn>
                <a:cxn ang="0">
                  <a:pos x="7" y="46"/>
                </a:cxn>
              </a:cxnLst>
              <a:rect l="0" t="0" r="r" b="b"/>
              <a:pathLst>
                <a:path w="43" h="46">
                  <a:moveTo>
                    <a:pt x="7" y="46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43" y="10"/>
                  </a:lnTo>
                  <a:lnTo>
                    <a:pt x="7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0" name="Freeform 204"/>
            <p:cNvSpPr>
              <a:spLocks/>
            </p:cNvSpPr>
            <p:nvPr/>
          </p:nvSpPr>
          <p:spPr bwMode="auto">
            <a:xfrm>
              <a:off x="1723" y="2909"/>
              <a:ext cx="46" cy="43"/>
            </a:xfrm>
            <a:custGeom>
              <a:avLst/>
              <a:gdLst/>
              <a:ahLst/>
              <a:cxnLst>
                <a:cxn ang="0">
                  <a:pos x="10" y="43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46" y="7"/>
                </a:cxn>
                <a:cxn ang="0">
                  <a:pos x="10" y="43"/>
                </a:cxn>
              </a:cxnLst>
              <a:rect l="0" t="0" r="r" b="b"/>
              <a:pathLst>
                <a:path w="46" h="43">
                  <a:moveTo>
                    <a:pt x="10" y="43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46" y="7"/>
                  </a:lnTo>
                  <a:lnTo>
                    <a:pt x="10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1" name="Rectangle 205"/>
            <p:cNvSpPr>
              <a:spLocks noChangeArrowheads="1"/>
            </p:cNvSpPr>
            <p:nvPr/>
          </p:nvSpPr>
          <p:spPr bwMode="auto">
            <a:xfrm>
              <a:off x="1970" y="2830"/>
              <a:ext cx="50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2" name="Rectangle 206"/>
            <p:cNvSpPr>
              <a:spLocks noChangeArrowheads="1"/>
            </p:cNvSpPr>
            <p:nvPr/>
          </p:nvSpPr>
          <p:spPr bwMode="auto">
            <a:xfrm>
              <a:off x="1680" y="2830"/>
              <a:ext cx="53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3" name="Freeform 207"/>
            <p:cNvSpPr>
              <a:spLocks/>
            </p:cNvSpPr>
            <p:nvPr/>
          </p:nvSpPr>
          <p:spPr bwMode="auto">
            <a:xfrm>
              <a:off x="1931" y="2911"/>
              <a:ext cx="46" cy="46"/>
            </a:xfrm>
            <a:custGeom>
              <a:avLst/>
              <a:gdLst/>
              <a:ahLst/>
              <a:cxnLst>
                <a:cxn ang="0">
                  <a:pos x="36" y="46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46" y="36"/>
                </a:cxn>
                <a:cxn ang="0">
                  <a:pos x="36" y="46"/>
                </a:cxn>
              </a:cxnLst>
              <a:rect l="0" t="0" r="r" b="b"/>
              <a:pathLst>
                <a:path w="46" h="46">
                  <a:moveTo>
                    <a:pt x="36" y="46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46" y="36"/>
                  </a:lnTo>
                  <a:lnTo>
                    <a:pt x="36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4" name="Freeform 208"/>
            <p:cNvSpPr>
              <a:spLocks/>
            </p:cNvSpPr>
            <p:nvPr/>
          </p:nvSpPr>
          <p:spPr bwMode="auto">
            <a:xfrm>
              <a:off x="1728" y="2708"/>
              <a:ext cx="46" cy="46"/>
            </a:xfrm>
            <a:custGeom>
              <a:avLst/>
              <a:gdLst/>
              <a:ahLst/>
              <a:cxnLst>
                <a:cxn ang="0">
                  <a:pos x="36" y="46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46" y="36"/>
                </a:cxn>
                <a:cxn ang="0">
                  <a:pos x="36" y="46"/>
                </a:cxn>
              </a:cxnLst>
              <a:rect l="0" t="0" r="r" b="b"/>
              <a:pathLst>
                <a:path w="46" h="46">
                  <a:moveTo>
                    <a:pt x="36" y="46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46" y="36"/>
                  </a:lnTo>
                  <a:lnTo>
                    <a:pt x="36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387" name="Group 211"/>
          <p:cNvGrpSpPr>
            <a:grpSpLocks noChangeAspect="1"/>
          </p:cNvGrpSpPr>
          <p:nvPr/>
        </p:nvGrpSpPr>
        <p:grpSpPr bwMode="auto">
          <a:xfrm>
            <a:off x="3666331" y="4100513"/>
            <a:ext cx="792163" cy="792162"/>
            <a:chOff x="2298" y="2583"/>
            <a:chExt cx="499" cy="499"/>
          </a:xfrm>
        </p:grpSpPr>
        <p:sp>
          <p:nvSpPr>
            <p:cNvPr id="50388" name="Freeform 212"/>
            <p:cNvSpPr>
              <a:spLocks noEditPoints="1"/>
            </p:cNvSpPr>
            <p:nvPr/>
          </p:nvSpPr>
          <p:spPr bwMode="auto">
            <a:xfrm>
              <a:off x="2298" y="2583"/>
              <a:ext cx="499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8"/>
                    <a:pt x="50" y="203"/>
                    <a:pt x="104" y="203"/>
                  </a:cubicBezTo>
                  <a:cubicBezTo>
                    <a:pt x="158" y="203"/>
                    <a:pt x="203" y="158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89" name="Freeform 213"/>
            <p:cNvSpPr>
              <a:spLocks noEditPoints="1"/>
            </p:cNvSpPr>
            <p:nvPr/>
          </p:nvSpPr>
          <p:spPr bwMode="auto">
            <a:xfrm>
              <a:off x="2442" y="2727"/>
              <a:ext cx="211" cy="211"/>
            </a:xfrm>
            <a:custGeom>
              <a:avLst/>
              <a:gdLst/>
              <a:ahLst/>
              <a:cxnLst>
                <a:cxn ang="0">
                  <a:pos x="44" y="88"/>
                </a:cxn>
                <a:cxn ang="0">
                  <a:pos x="0" y="44"/>
                </a:cxn>
                <a:cxn ang="0">
                  <a:pos x="44" y="0"/>
                </a:cxn>
                <a:cxn ang="0">
                  <a:pos x="88" y="44"/>
                </a:cxn>
                <a:cxn ang="0">
                  <a:pos x="44" y="88"/>
                </a:cxn>
                <a:cxn ang="0">
                  <a:pos x="44" y="5"/>
                </a:cxn>
                <a:cxn ang="0">
                  <a:pos x="5" y="44"/>
                </a:cxn>
                <a:cxn ang="0">
                  <a:pos x="44" y="83"/>
                </a:cxn>
                <a:cxn ang="0">
                  <a:pos x="83" y="44"/>
                </a:cxn>
                <a:cxn ang="0">
                  <a:pos x="44" y="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5"/>
                  </a:moveTo>
                  <a:cubicBezTo>
                    <a:pt x="23" y="5"/>
                    <a:pt x="5" y="23"/>
                    <a:pt x="5" y="44"/>
                  </a:cubicBezTo>
                  <a:cubicBezTo>
                    <a:pt x="5" y="65"/>
                    <a:pt x="23" y="83"/>
                    <a:pt x="44" y="83"/>
                  </a:cubicBezTo>
                  <a:cubicBezTo>
                    <a:pt x="65" y="83"/>
                    <a:pt x="83" y="65"/>
                    <a:pt x="83" y="44"/>
                  </a:cubicBezTo>
                  <a:cubicBezTo>
                    <a:pt x="83" y="23"/>
                    <a:pt x="65" y="5"/>
                    <a:pt x="4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0" name="Rectangle 214"/>
            <p:cNvSpPr>
              <a:spLocks noChangeArrowheads="1"/>
            </p:cNvSpPr>
            <p:nvPr/>
          </p:nvSpPr>
          <p:spPr bwMode="auto">
            <a:xfrm>
              <a:off x="2540" y="2662"/>
              <a:ext cx="12" cy="5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1" name="Rectangle 215"/>
            <p:cNvSpPr>
              <a:spLocks noChangeArrowheads="1"/>
            </p:cNvSpPr>
            <p:nvPr/>
          </p:nvSpPr>
          <p:spPr bwMode="auto">
            <a:xfrm>
              <a:off x="2540" y="2950"/>
              <a:ext cx="12" cy="5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2" name="Freeform 216"/>
            <p:cNvSpPr>
              <a:spLocks/>
            </p:cNvSpPr>
            <p:nvPr/>
          </p:nvSpPr>
          <p:spPr bwMode="auto">
            <a:xfrm>
              <a:off x="2624" y="2703"/>
              <a:ext cx="43" cy="46"/>
            </a:xfrm>
            <a:custGeom>
              <a:avLst/>
              <a:gdLst/>
              <a:ahLst/>
              <a:cxnLst>
                <a:cxn ang="0">
                  <a:pos x="7" y="46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43" y="10"/>
                </a:cxn>
                <a:cxn ang="0">
                  <a:pos x="7" y="46"/>
                </a:cxn>
              </a:cxnLst>
              <a:rect l="0" t="0" r="r" b="b"/>
              <a:pathLst>
                <a:path w="43" h="46">
                  <a:moveTo>
                    <a:pt x="7" y="46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43" y="10"/>
                  </a:lnTo>
                  <a:lnTo>
                    <a:pt x="7" y="4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3" name="Freeform 217"/>
            <p:cNvSpPr>
              <a:spLocks/>
            </p:cNvSpPr>
            <p:nvPr/>
          </p:nvSpPr>
          <p:spPr bwMode="auto">
            <a:xfrm>
              <a:off x="2418" y="2909"/>
              <a:ext cx="46" cy="43"/>
            </a:xfrm>
            <a:custGeom>
              <a:avLst/>
              <a:gdLst/>
              <a:ahLst/>
              <a:cxnLst>
                <a:cxn ang="0">
                  <a:pos x="10" y="43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46" y="7"/>
                </a:cxn>
                <a:cxn ang="0">
                  <a:pos x="10" y="43"/>
                </a:cxn>
              </a:cxnLst>
              <a:rect l="0" t="0" r="r" b="b"/>
              <a:pathLst>
                <a:path w="46" h="43">
                  <a:moveTo>
                    <a:pt x="10" y="43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46" y="7"/>
                  </a:lnTo>
                  <a:lnTo>
                    <a:pt x="10" y="4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4" name="Rectangle 218"/>
            <p:cNvSpPr>
              <a:spLocks noChangeArrowheads="1"/>
            </p:cNvSpPr>
            <p:nvPr/>
          </p:nvSpPr>
          <p:spPr bwMode="auto">
            <a:xfrm>
              <a:off x="2665" y="2830"/>
              <a:ext cx="50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95" name="Rectangle 219"/>
            <p:cNvSpPr>
              <a:spLocks noChangeArrowheads="1"/>
            </p:cNvSpPr>
            <p:nvPr/>
          </p:nvSpPr>
          <p:spPr bwMode="auto">
            <a:xfrm>
              <a:off x="2375" y="2830"/>
              <a:ext cx="5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6" name="Freeform 220"/>
            <p:cNvSpPr>
              <a:spLocks/>
            </p:cNvSpPr>
            <p:nvPr/>
          </p:nvSpPr>
          <p:spPr bwMode="auto">
            <a:xfrm>
              <a:off x="2627" y="2912"/>
              <a:ext cx="45" cy="45"/>
            </a:xfrm>
            <a:custGeom>
              <a:avLst/>
              <a:gdLst/>
              <a:ahLst/>
              <a:cxnLst>
                <a:cxn ang="0">
                  <a:pos x="35" y="45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45" y="35"/>
                </a:cxn>
                <a:cxn ang="0">
                  <a:pos x="35" y="45"/>
                </a:cxn>
              </a:cxnLst>
              <a:rect l="0" t="0" r="r" b="b"/>
              <a:pathLst>
                <a:path w="45" h="45">
                  <a:moveTo>
                    <a:pt x="35" y="45"/>
                  </a:moveTo>
                  <a:lnTo>
                    <a:pt x="0" y="9"/>
                  </a:lnTo>
                  <a:lnTo>
                    <a:pt x="9" y="0"/>
                  </a:lnTo>
                  <a:lnTo>
                    <a:pt x="45" y="35"/>
                  </a:lnTo>
                  <a:lnTo>
                    <a:pt x="35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97" name="Freeform 221"/>
            <p:cNvSpPr>
              <a:spLocks/>
            </p:cNvSpPr>
            <p:nvPr/>
          </p:nvSpPr>
          <p:spPr bwMode="auto">
            <a:xfrm>
              <a:off x="2423" y="2708"/>
              <a:ext cx="45" cy="45"/>
            </a:xfrm>
            <a:custGeom>
              <a:avLst/>
              <a:gdLst/>
              <a:ahLst/>
              <a:cxnLst>
                <a:cxn ang="0">
                  <a:pos x="36" y="45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45" y="36"/>
                </a:cxn>
                <a:cxn ang="0">
                  <a:pos x="36" y="45"/>
                </a:cxn>
              </a:cxnLst>
              <a:rect l="0" t="0" r="r" b="b"/>
              <a:pathLst>
                <a:path w="45" h="45">
                  <a:moveTo>
                    <a:pt x="36" y="45"/>
                  </a:moveTo>
                  <a:lnTo>
                    <a:pt x="0" y="10"/>
                  </a:lnTo>
                  <a:lnTo>
                    <a:pt x="10" y="0"/>
                  </a:lnTo>
                  <a:lnTo>
                    <a:pt x="45" y="36"/>
                  </a:lnTo>
                  <a:lnTo>
                    <a:pt x="36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00" name="Group 224"/>
          <p:cNvGrpSpPr>
            <a:grpSpLocks noChangeAspect="1"/>
          </p:cNvGrpSpPr>
          <p:nvPr/>
        </p:nvGrpSpPr>
        <p:grpSpPr bwMode="auto">
          <a:xfrm>
            <a:off x="4743450" y="4075113"/>
            <a:ext cx="842962" cy="846137"/>
            <a:chOff x="2979" y="2567"/>
            <a:chExt cx="531" cy="533"/>
          </a:xfrm>
        </p:grpSpPr>
        <p:sp>
          <p:nvSpPr>
            <p:cNvPr id="50401" name="Oval 225"/>
            <p:cNvSpPr>
              <a:spLocks noChangeArrowheads="1"/>
            </p:cNvSpPr>
            <p:nvPr/>
          </p:nvSpPr>
          <p:spPr bwMode="auto">
            <a:xfrm>
              <a:off x="2979" y="2567"/>
              <a:ext cx="531" cy="533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02" name="Freeform 226"/>
            <p:cNvSpPr>
              <a:spLocks noEditPoints="1"/>
            </p:cNvSpPr>
            <p:nvPr/>
          </p:nvSpPr>
          <p:spPr bwMode="auto">
            <a:xfrm>
              <a:off x="2998" y="2586"/>
              <a:ext cx="493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03" name="Freeform 227"/>
            <p:cNvSpPr>
              <a:spLocks noEditPoints="1"/>
            </p:cNvSpPr>
            <p:nvPr/>
          </p:nvSpPr>
          <p:spPr bwMode="auto">
            <a:xfrm>
              <a:off x="3137" y="2708"/>
              <a:ext cx="216" cy="256"/>
            </a:xfrm>
            <a:custGeom>
              <a:avLst/>
              <a:gdLst/>
              <a:ahLst/>
              <a:cxnLst>
                <a:cxn ang="0">
                  <a:pos x="82" y="6"/>
                </a:cxn>
                <a:cxn ang="0">
                  <a:pos x="15" y="0"/>
                </a:cxn>
                <a:cxn ang="0">
                  <a:pos x="7" y="19"/>
                </a:cxn>
                <a:cxn ang="0">
                  <a:pos x="0" y="20"/>
                </a:cxn>
                <a:cxn ang="0">
                  <a:pos x="7" y="22"/>
                </a:cxn>
                <a:cxn ang="0">
                  <a:pos x="2" y="53"/>
                </a:cxn>
                <a:cxn ang="0">
                  <a:pos x="2" y="56"/>
                </a:cxn>
                <a:cxn ang="0">
                  <a:pos x="7" y="86"/>
                </a:cxn>
                <a:cxn ang="0">
                  <a:pos x="0" y="88"/>
                </a:cxn>
                <a:cxn ang="0">
                  <a:pos x="7" y="90"/>
                </a:cxn>
                <a:cxn ang="0">
                  <a:pos x="15" y="107"/>
                </a:cxn>
                <a:cxn ang="0">
                  <a:pos x="81" y="103"/>
                </a:cxn>
                <a:cxn ang="0">
                  <a:pos x="90" y="98"/>
                </a:cxn>
                <a:cxn ang="0">
                  <a:pos x="85" y="74"/>
                </a:cxn>
                <a:cxn ang="0">
                  <a:pos x="82" y="69"/>
                </a:cxn>
                <a:cxn ang="0">
                  <a:pos x="90" y="64"/>
                </a:cxn>
                <a:cxn ang="0">
                  <a:pos x="85" y="40"/>
                </a:cxn>
                <a:cxn ang="0">
                  <a:pos x="82" y="35"/>
                </a:cxn>
                <a:cxn ang="0">
                  <a:pos x="90" y="30"/>
                </a:cxn>
                <a:cxn ang="0">
                  <a:pos x="85" y="6"/>
                </a:cxn>
                <a:cxn ang="0">
                  <a:pos x="74" y="104"/>
                </a:cxn>
                <a:cxn ang="0">
                  <a:pos x="10" y="99"/>
                </a:cxn>
                <a:cxn ang="0">
                  <a:pos x="15" y="90"/>
                </a:cxn>
                <a:cxn ang="0">
                  <a:pos x="15" y="86"/>
                </a:cxn>
                <a:cxn ang="0">
                  <a:pos x="10" y="56"/>
                </a:cxn>
                <a:cxn ang="0">
                  <a:pos x="17" y="54"/>
                </a:cxn>
                <a:cxn ang="0">
                  <a:pos x="10" y="53"/>
                </a:cxn>
                <a:cxn ang="0">
                  <a:pos x="15" y="22"/>
                </a:cxn>
                <a:cxn ang="0">
                  <a:pos x="15" y="19"/>
                </a:cxn>
                <a:cxn ang="0">
                  <a:pos x="10" y="8"/>
                </a:cxn>
                <a:cxn ang="0">
                  <a:pos x="74" y="3"/>
                </a:cxn>
                <a:cxn ang="0">
                  <a:pos x="79" y="99"/>
                </a:cxn>
                <a:cxn ang="0">
                  <a:pos x="87" y="79"/>
                </a:cxn>
                <a:cxn ang="0">
                  <a:pos x="85" y="99"/>
                </a:cxn>
                <a:cxn ang="0">
                  <a:pos x="82" y="99"/>
                </a:cxn>
                <a:cxn ang="0">
                  <a:pos x="85" y="77"/>
                </a:cxn>
                <a:cxn ang="0">
                  <a:pos x="87" y="45"/>
                </a:cxn>
                <a:cxn ang="0">
                  <a:pos x="85" y="65"/>
                </a:cxn>
                <a:cxn ang="0">
                  <a:pos x="82" y="43"/>
                </a:cxn>
                <a:cxn ang="0">
                  <a:pos x="87" y="30"/>
                </a:cxn>
                <a:cxn ang="0">
                  <a:pos x="82" y="31"/>
                </a:cxn>
                <a:cxn ang="0">
                  <a:pos x="85" y="10"/>
                </a:cxn>
                <a:cxn ang="0">
                  <a:pos x="87" y="30"/>
                </a:cxn>
              </a:cxnLst>
              <a:rect l="0" t="0" r="r" b="b"/>
              <a:pathLst>
                <a:path w="90" h="107">
                  <a:moveTo>
                    <a:pt x="85" y="6"/>
                  </a:moveTo>
                  <a:cubicBezTo>
                    <a:pt x="82" y="6"/>
                    <a:pt x="82" y="6"/>
                    <a:pt x="82" y="6"/>
                  </a:cubicBezTo>
                  <a:cubicBezTo>
                    <a:pt x="81" y="2"/>
                    <a:pt x="78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7" y="3"/>
                    <a:pt x="7" y="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0" y="87"/>
                    <a:pt x="0" y="88"/>
                  </a:cubicBezTo>
                  <a:cubicBezTo>
                    <a:pt x="0" y="89"/>
                    <a:pt x="1" y="90"/>
                    <a:pt x="2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3"/>
                    <a:pt x="10" y="107"/>
                    <a:pt x="15" y="107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77" y="107"/>
                    <a:pt x="80" y="105"/>
                    <a:pt x="81" y="103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8" y="103"/>
                    <a:pt x="90" y="100"/>
                    <a:pt x="90" y="9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6"/>
                    <a:pt x="88" y="74"/>
                    <a:pt x="85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8" y="69"/>
                    <a:pt x="90" y="67"/>
                    <a:pt x="90" y="64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2"/>
                    <a:pt x="88" y="40"/>
                    <a:pt x="85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8" y="35"/>
                    <a:pt x="90" y="33"/>
                    <a:pt x="90" y="3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8"/>
                    <a:pt x="88" y="6"/>
                    <a:pt x="85" y="6"/>
                  </a:cubicBezTo>
                  <a:close/>
                  <a:moveTo>
                    <a:pt x="79" y="99"/>
                  </a:moveTo>
                  <a:cubicBezTo>
                    <a:pt x="79" y="101"/>
                    <a:pt x="76" y="104"/>
                    <a:pt x="74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2" y="104"/>
                    <a:pt x="10" y="101"/>
                    <a:pt x="10" y="99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7" y="89"/>
                    <a:pt x="17" y="88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7" y="55"/>
                    <a:pt x="17" y="54"/>
                  </a:cubicBezTo>
                  <a:cubicBezTo>
                    <a:pt x="17" y="53"/>
                    <a:pt x="16" y="53"/>
                    <a:pt x="15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7" y="21"/>
                    <a:pt x="17" y="20"/>
                  </a:cubicBezTo>
                  <a:cubicBezTo>
                    <a:pt x="17" y="19"/>
                    <a:pt x="16" y="19"/>
                    <a:pt x="15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"/>
                    <a:pt x="12" y="3"/>
                    <a:pt x="15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6" y="3"/>
                    <a:pt x="79" y="5"/>
                    <a:pt x="79" y="8"/>
                  </a:cubicBezTo>
                  <a:lnTo>
                    <a:pt x="79" y="99"/>
                  </a:lnTo>
                  <a:close/>
                  <a:moveTo>
                    <a:pt x="85" y="77"/>
                  </a:moveTo>
                  <a:cubicBezTo>
                    <a:pt x="86" y="77"/>
                    <a:pt x="87" y="78"/>
                    <a:pt x="87" y="79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6" y="99"/>
                    <a:pt x="85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77"/>
                    <a:pt x="82" y="77"/>
                    <a:pt x="82" y="77"/>
                  </a:cubicBezTo>
                  <a:lnTo>
                    <a:pt x="85" y="77"/>
                  </a:lnTo>
                  <a:close/>
                  <a:moveTo>
                    <a:pt x="85" y="43"/>
                  </a:moveTo>
                  <a:cubicBezTo>
                    <a:pt x="86" y="43"/>
                    <a:pt x="87" y="44"/>
                    <a:pt x="87" y="4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43"/>
                    <a:pt x="82" y="43"/>
                    <a:pt x="82" y="43"/>
                  </a:cubicBezTo>
                  <a:lnTo>
                    <a:pt x="85" y="43"/>
                  </a:lnTo>
                  <a:close/>
                  <a:moveTo>
                    <a:pt x="87" y="30"/>
                  </a:moveTo>
                  <a:cubicBezTo>
                    <a:pt x="87" y="31"/>
                    <a:pt x="86" y="31"/>
                    <a:pt x="85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6" y="10"/>
                    <a:pt x="87" y="10"/>
                    <a:pt x="87" y="11"/>
                  </a:cubicBezTo>
                  <a:lnTo>
                    <a:pt x="87" y="3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04" name="Freeform 228"/>
            <p:cNvSpPr>
              <a:spLocks noEditPoints="1"/>
            </p:cNvSpPr>
            <p:nvPr/>
          </p:nvSpPr>
          <p:spPr bwMode="auto">
            <a:xfrm>
              <a:off x="3202" y="2775"/>
              <a:ext cx="95" cy="117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34" y="17"/>
                </a:cxn>
                <a:cxn ang="0">
                  <a:pos x="17" y="0"/>
                </a:cxn>
                <a:cxn ang="0">
                  <a:pos x="0" y="17"/>
                </a:cxn>
                <a:cxn ang="0">
                  <a:pos x="17" y="35"/>
                </a:cxn>
                <a:cxn ang="0">
                  <a:pos x="25" y="33"/>
                </a:cxn>
                <a:cxn ang="0">
                  <a:pos x="26" y="32"/>
                </a:cxn>
                <a:cxn ang="0">
                  <a:pos x="36" y="48"/>
                </a:cxn>
                <a:cxn ang="0">
                  <a:pos x="38" y="49"/>
                </a:cxn>
                <a:cxn ang="0">
                  <a:pos x="39" y="49"/>
                </a:cxn>
                <a:cxn ang="0">
                  <a:pos x="39" y="46"/>
                </a:cxn>
                <a:cxn ang="0">
                  <a:pos x="29" y="30"/>
                </a:cxn>
                <a:cxn ang="0">
                  <a:pos x="17" y="31"/>
                </a:cxn>
                <a:cxn ang="0">
                  <a:pos x="3" y="17"/>
                </a:cxn>
                <a:cxn ang="0">
                  <a:pos x="17" y="4"/>
                </a:cxn>
                <a:cxn ang="0">
                  <a:pos x="31" y="17"/>
                </a:cxn>
                <a:cxn ang="0">
                  <a:pos x="24" y="29"/>
                </a:cxn>
                <a:cxn ang="0">
                  <a:pos x="17" y="31"/>
                </a:cxn>
              </a:cxnLst>
              <a:rect l="0" t="0" r="r" b="b"/>
              <a:pathLst>
                <a:path w="40" h="49">
                  <a:moveTo>
                    <a:pt x="29" y="30"/>
                  </a:moveTo>
                  <a:cubicBezTo>
                    <a:pt x="32" y="27"/>
                    <a:pt x="34" y="22"/>
                    <a:pt x="34" y="17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5"/>
                    <a:pt x="17" y="35"/>
                  </a:cubicBezTo>
                  <a:cubicBezTo>
                    <a:pt x="20" y="35"/>
                    <a:pt x="23" y="34"/>
                    <a:pt x="25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7" y="49"/>
                    <a:pt x="38" y="49"/>
                  </a:cubicBezTo>
                  <a:cubicBezTo>
                    <a:pt x="38" y="49"/>
                    <a:pt x="39" y="49"/>
                    <a:pt x="39" y="49"/>
                  </a:cubicBezTo>
                  <a:cubicBezTo>
                    <a:pt x="40" y="48"/>
                    <a:pt x="40" y="47"/>
                    <a:pt x="39" y="46"/>
                  </a:cubicBezTo>
                  <a:lnTo>
                    <a:pt x="29" y="30"/>
                  </a:lnTo>
                  <a:close/>
                  <a:moveTo>
                    <a:pt x="17" y="31"/>
                  </a:moveTo>
                  <a:cubicBezTo>
                    <a:pt x="10" y="31"/>
                    <a:pt x="3" y="25"/>
                    <a:pt x="3" y="17"/>
                  </a:cubicBezTo>
                  <a:cubicBezTo>
                    <a:pt x="3" y="10"/>
                    <a:pt x="10" y="4"/>
                    <a:pt x="17" y="4"/>
                  </a:cubicBezTo>
                  <a:cubicBezTo>
                    <a:pt x="25" y="4"/>
                    <a:pt x="31" y="10"/>
                    <a:pt x="31" y="17"/>
                  </a:cubicBezTo>
                  <a:cubicBezTo>
                    <a:pt x="31" y="22"/>
                    <a:pt x="28" y="27"/>
                    <a:pt x="24" y="29"/>
                  </a:cubicBezTo>
                  <a:cubicBezTo>
                    <a:pt x="22" y="30"/>
                    <a:pt x="19" y="31"/>
                    <a:pt x="17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07" name="Group 231"/>
          <p:cNvGrpSpPr>
            <a:grpSpLocks noChangeAspect="1"/>
          </p:cNvGrpSpPr>
          <p:nvPr/>
        </p:nvGrpSpPr>
        <p:grpSpPr bwMode="auto">
          <a:xfrm>
            <a:off x="5857875" y="4103690"/>
            <a:ext cx="784225" cy="784226"/>
            <a:chOff x="3686" y="2585"/>
            <a:chExt cx="494" cy="494"/>
          </a:xfrm>
        </p:grpSpPr>
        <p:sp>
          <p:nvSpPr>
            <p:cNvPr id="50408" name="Freeform 232"/>
            <p:cNvSpPr>
              <a:spLocks noEditPoints="1"/>
            </p:cNvSpPr>
            <p:nvPr/>
          </p:nvSpPr>
          <p:spPr bwMode="auto">
            <a:xfrm>
              <a:off x="3686" y="2585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09" name="Freeform 233"/>
            <p:cNvSpPr>
              <a:spLocks noEditPoints="1"/>
            </p:cNvSpPr>
            <p:nvPr/>
          </p:nvSpPr>
          <p:spPr bwMode="auto">
            <a:xfrm>
              <a:off x="3825" y="2708"/>
              <a:ext cx="216" cy="256"/>
            </a:xfrm>
            <a:custGeom>
              <a:avLst/>
              <a:gdLst/>
              <a:ahLst/>
              <a:cxnLst>
                <a:cxn ang="0">
                  <a:pos x="82" y="6"/>
                </a:cxn>
                <a:cxn ang="0">
                  <a:pos x="15" y="0"/>
                </a:cxn>
                <a:cxn ang="0">
                  <a:pos x="7" y="19"/>
                </a:cxn>
                <a:cxn ang="0">
                  <a:pos x="0" y="20"/>
                </a:cxn>
                <a:cxn ang="0">
                  <a:pos x="7" y="22"/>
                </a:cxn>
                <a:cxn ang="0">
                  <a:pos x="2" y="53"/>
                </a:cxn>
                <a:cxn ang="0">
                  <a:pos x="2" y="56"/>
                </a:cxn>
                <a:cxn ang="0">
                  <a:pos x="7" y="86"/>
                </a:cxn>
                <a:cxn ang="0">
                  <a:pos x="0" y="88"/>
                </a:cxn>
                <a:cxn ang="0">
                  <a:pos x="7" y="90"/>
                </a:cxn>
                <a:cxn ang="0">
                  <a:pos x="15" y="107"/>
                </a:cxn>
                <a:cxn ang="0">
                  <a:pos x="81" y="103"/>
                </a:cxn>
                <a:cxn ang="0">
                  <a:pos x="90" y="98"/>
                </a:cxn>
                <a:cxn ang="0">
                  <a:pos x="85" y="74"/>
                </a:cxn>
                <a:cxn ang="0">
                  <a:pos x="82" y="69"/>
                </a:cxn>
                <a:cxn ang="0">
                  <a:pos x="90" y="64"/>
                </a:cxn>
                <a:cxn ang="0">
                  <a:pos x="85" y="40"/>
                </a:cxn>
                <a:cxn ang="0">
                  <a:pos x="82" y="35"/>
                </a:cxn>
                <a:cxn ang="0">
                  <a:pos x="90" y="30"/>
                </a:cxn>
                <a:cxn ang="0">
                  <a:pos x="85" y="6"/>
                </a:cxn>
                <a:cxn ang="0">
                  <a:pos x="74" y="104"/>
                </a:cxn>
                <a:cxn ang="0">
                  <a:pos x="10" y="99"/>
                </a:cxn>
                <a:cxn ang="0">
                  <a:pos x="15" y="90"/>
                </a:cxn>
                <a:cxn ang="0">
                  <a:pos x="15" y="86"/>
                </a:cxn>
                <a:cxn ang="0">
                  <a:pos x="10" y="56"/>
                </a:cxn>
                <a:cxn ang="0">
                  <a:pos x="17" y="54"/>
                </a:cxn>
                <a:cxn ang="0">
                  <a:pos x="10" y="53"/>
                </a:cxn>
                <a:cxn ang="0">
                  <a:pos x="15" y="22"/>
                </a:cxn>
                <a:cxn ang="0">
                  <a:pos x="15" y="19"/>
                </a:cxn>
                <a:cxn ang="0">
                  <a:pos x="10" y="8"/>
                </a:cxn>
                <a:cxn ang="0">
                  <a:pos x="74" y="3"/>
                </a:cxn>
                <a:cxn ang="0">
                  <a:pos x="79" y="99"/>
                </a:cxn>
                <a:cxn ang="0">
                  <a:pos x="87" y="79"/>
                </a:cxn>
                <a:cxn ang="0">
                  <a:pos x="85" y="99"/>
                </a:cxn>
                <a:cxn ang="0">
                  <a:pos x="82" y="99"/>
                </a:cxn>
                <a:cxn ang="0">
                  <a:pos x="85" y="77"/>
                </a:cxn>
                <a:cxn ang="0">
                  <a:pos x="87" y="45"/>
                </a:cxn>
                <a:cxn ang="0">
                  <a:pos x="85" y="65"/>
                </a:cxn>
                <a:cxn ang="0">
                  <a:pos x="82" y="43"/>
                </a:cxn>
                <a:cxn ang="0">
                  <a:pos x="87" y="30"/>
                </a:cxn>
                <a:cxn ang="0">
                  <a:pos x="82" y="31"/>
                </a:cxn>
                <a:cxn ang="0">
                  <a:pos x="85" y="10"/>
                </a:cxn>
                <a:cxn ang="0">
                  <a:pos x="87" y="30"/>
                </a:cxn>
              </a:cxnLst>
              <a:rect l="0" t="0" r="r" b="b"/>
              <a:pathLst>
                <a:path w="90" h="107">
                  <a:moveTo>
                    <a:pt x="85" y="6"/>
                  </a:moveTo>
                  <a:cubicBezTo>
                    <a:pt x="82" y="6"/>
                    <a:pt x="82" y="6"/>
                    <a:pt x="82" y="6"/>
                  </a:cubicBezTo>
                  <a:cubicBezTo>
                    <a:pt x="81" y="2"/>
                    <a:pt x="78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7" y="3"/>
                    <a:pt x="7" y="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0" y="87"/>
                    <a:pt x="0" y="88"/>
                  </a:cubicBezTo>
                  <a:cubicBezTo>
                    <a:pt x="0" y="89"/>
                    <a:pt x="1" y="90"/>
                    <a:pt x="2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3"/>
                    <a:pt x="10" y="107"/>
                    <a:pt x="15" y="107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77" y="107"/>
                    <a:pt x="80" y="105"/>
                    <a:pt x="81" y="103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8" y="103"/>
                    <a:pt x="90" y="100"/>
                    <a:pt x="90" y="9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6"/>
                    <a:pt x="88" y="74"/>
                    <a:pt x="85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8" y="69"/>
                    <a:pt x="90" y="67"/>
                    <a:pt x="90" y="64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2"/>
                    <a:pt x="88" y="40"/>
                    <a:pt x="85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8" y="35"/>
                    <a:pt x="90" y="33"/>
                    <a:pt x="90" y="3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8"/>
                    <a:pt x="88" y="6"/>
                    <a:pt x="85" y="6"/>
                  </a:cubicBezTo>
                  <a:close/>
                  <a:moveTo>
                    <a:pt x="79" y="99"/>
                  </a:moveTo>
                  <a:cubicBezTo>
                    <a:pt x="79" y="101"/>
                    <a:pt x="76" y="104"/>
                    <a:pt x="74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2" y="104"/>
                    <a:pt x="10" y="101"/>
                    <a:pt x="10" y="99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7" y="89"/>
                    <a:pt x="17" y="88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7" y="55"/>
                    <a:pt x="17" y="54"/>
                  </a:cubicBezTo>
                  <a:cubicBezTo>
                    <a:pt x="17" y="53"/>
                    <a:pt x="16" y="53"/>
                    <a:pt x="15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7" y="21"/>
                    <a:pt x="17" y="20"/>
                  </a:cubicBezTo>
                  <a:cubicBezTo>
                    <a:pt x="17" y="19"/>
                    <a:pt x="16" y="19"/>
                    <a:pt x="15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"/>
                    <a:pt x="12" y="3"/>
                    <a:pt x="15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6" y="3"/>
                    <a:pt x="79" y="5"/>
                    <a:pt x="79" y="8"/>
                  </a:cubicBezTo>
                  <a:lnTo>
                    <a:pt x="79" y="99"/>
                  </a:lnTo>
                  <a:close/>
                  <a:moveTo>
                    <a:pt x="85" y="77"/>
                  </a:moveTo>
                  <a:cubicBezTo>
                    <a:pt x="86" y="77"/>
                    <a:pt x="87" y="78"/>
                    <a:pt x="87" y="79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6" y="99"/>
                    <a:pt x="85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77"/>
                    <a:pt x="82" y="77"/>
                    <a:pt x="82" y="77"/>
                  </a:cubicBezTo>
                  <a:lnTo>
                    <a:pt x="85" y="77"/>
                  </a:lnTo>
                  <a:close/>
                  <a:moveTo>
                    <a:pt x="85" y="43"/>
                  </a:moveTo>
                  <a:cubicBezTo>
                    <a:pt x="86" y="43"/>
                    <a:pt x="87" y="44"/>
                    <a:pt x="87" y="4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43"/>
                    <a:pt x="82" y="43"/>
                    <a:pt x="82" y="43"/>
                  </a:cubicBezTo>
                  <a:lnTo>
                    <a:pt x="85" y="43"/>
                  </a:lnTo>
                  <a:close/>
                  <a:moveTo>
                    <a:pt x="87" y="30"/>
                  </a:moveTo>
                  <a:cubicBezTo>
                    <a:pt x="87" y="31"/>
                    <a:pt x="86" y="31"/>
                    <a:pt x="85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6" y="10"/>
                    <a:pt x="87" y="10"/>
                    <a:pt x="87" y="11"/>
                  </a:cubicBezTo>
                  <a:lnTo>
                    <a:pt x="87" y="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10" name="Freeform 234"/>
            <p:cNvSpPr>
              <a:spLocks noEditPoints="1"/>
            </p:cNvSpPr>
            <p:nvPr/>
          </p:nvSpPr>
          <p:spPr bwMode="auto">
            <a:xfrm>
              <a:off x="3890" y="2775"/>
              <a:ext cx="95" cy="117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34" y="17"/>
                </a:cxn>
                <a:cxn ang="0">
                  <a:pos x="17" y="0"/>
                </a:cxn>
                <a:cxn ang="0">
                  <a:pos x="0" y="17"/>
                </a:cxn>
                <a:cxn ang="0">
                  <a:pos x="17" y="35"/>
                </a:cxn>
                <a:cxn ang="0">
                  <a:pos x="25" y="33"/>
                </a:cxn>
                <a:cxn ang="0">
                  <a:pos x="26" y="32"/>
                </a:cxn>
                <a:cxn ang="0">
                  <a:pos x="36" y="48"/>
                </a:cxn>
                <a:cxn ang="0">
                  <a:pos x="38" y="49"/>
                </a:cxn>
                <a:cxn ang="0">
                  <a:pos x="39" y="49"/>
                </a:cxn>
                <a:cxn ang="0">
                  <a:pos x="39" y="46"/>
                </a:cxn>
                <a:cxn ang="0">
                  <a:pos x="29" y="30"/>
                </a:cxn>
                <a:cxn ang="0">
                  <a:pos x="17" y="31"/>
                </a:cxn>
                <a:cxn ang="0">
                  <a:pos x="3" y="17"/>
                </a:cxn>
                <a:cxn ang="0">
                  <a:pos x="17" y="4"/>
                </a:cxn>
                <a:cxn ang="0">
                  <a:pos x="31" y="17"/>
                </a:cxn>
                <a:cxn ang="0">
                  <a:pos x="24" y="29"/>
                </a:cxn>
                <a:cxn ang="0">
                  <a:pos x="17" y="31"/>
                </a:cxn>
              </a:cxnLst>
              <a:rect l="0" t="0" r="r" b="b"/>
              <a:pathLst>
                <a:path w="40" h="49">
                  <a:moveTo>
                    <a:pt x="29" y="30"/>
                  </a:moveTo>
                  <a:cubicBezTo>
                    <a:pt x="32" y="27"/>
                    <a:pt x="34" y="22"/>
                    <a:pt x="34" y="17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5"/>
                    <a:pt x="17" y="35"/>
                  </a:cubicBezTo>
                  <a:cubicBezTo>
                    <a:pt x="20" y="35"/>
                    <a:pt x="23" y="34"/>
                    <a:pt x="25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7" y="49"/>
                    <a:pt x="38" y="49"/>
                  </a:cubicBezTo>
                  <a:cubicBezTo>
                    <a:pt x="38" y="49"/>
                    <a:pt x="39" y="49"/>
                    <a:pt x="39" y="49"/>
                  </a:cubicBezTo>
                  <a:cubicBezTo>
                    <a:pt x="40" y="48"/>
                    <a:pt x="40" y="47"/>
                    <a:pt x="39" y="46"/>
                  </a:cubicBezTo>
                  <a:lnTo>
                    <a:pt x="29" y="30"/>
                  </a:lnTo>
                  <a:close/>
                  <a:moveTo>
                    <a:pt x="17" y="31"/>
                  </a:moveTo>
                  <a:cubicBezTo>
                    <a:pt x="10" y="31"/>
                    <a:pt x="3" y="25"/>
                    <a:pt x="3" y="17"/>
                  </a:cubicBezTo>
                  <a:cubicBezTo>
                    <a:pt x="3" y="10"/>
                    <a:pt x="10" y="4"/>
                    <a:pt x="17" y="4"/>
                  </a:cubicBezTo>
                  <a:cubicBezTo>
                    <a:pt x="25" y="4"/>
                    <a:pt x="31" y="10"/>
                    <a:pt x="31" y="17"/>
                  </a:cubicBezTo>
                  <a:cubicBezTo>
                    <a:pt x="31" y="22"/>
                    <a:pt x="28" y="27"/>
                    <a:pt x="24" y="29"/>
                  </a:cubicBezTo>
                  <a:cubicBezTo>
                    <a:pt x="22" y="30"/>
                    <a:pt x="19" y="31"/>
                    <a:pt x="17" y="3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13" name="Group 237"/>
          <p:cNvGrpSpPr>
            <a:grpSpLocks noChangeAspect="1"/>
          </p:cNvGrpSpPr>
          <p:nvPr/>
        </p:nvGrpSpPr>
        <p:grpSpPr bwMode="auto">
          <a:xfrm>
            <a:off x="6921500" y="4075113"/>
            <a:ext cx="842963" cy="842962"/>
            <a:chOff x="4360" y="2567"/>
            <a:chExt cx="531" cy="531"/>
          </a:xfrm>
        </p:grpSpPr>
        <p:sp>
          <p:nvSpPr>
            <p:cNvPr id="50414" name="Oval 238"/>
            <p:cNvSpPr>
              <a:spLocks noChangeArrowheads="1"/>
            </p:cNvSpPr>
            <p:nvPr/>
          </p:nvSpPr>
          <p:spPr bwMode="auto">
            <a:xfrm>
              <a:off x="4360" y="2567"/>
              <a:ext cx="531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15" name="Freeform 239"/>
            <p:cNvSpPr>
              <a:spLocks noEditPoints="1"/>
            </p:cNvSpPr>
            <p:nvPr/>
          </p:nvSpPr>
          <p:spPr bwMode="auto">
            <a:xfrm>
              <a:off x="4379" y="2586"/>
              <a:ext cx="493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16" name="Freeform 240"/>
            <p:cNvSpPr>
              <a:spLocks noEditPoints="1"/>
            </p:cNvSpPr>
            <p:nvPr/>
          </p:nvSpPr>
          <p:spPr bwMode="auto">
            <a:xfrm>
              <a:off x="4506" y="2821"/>
              <a:ext cx="237" cy="114"/>
            </a:xfrm>
            <a:custGeom>
              <a:avLst/>
              <a:gdLst/>
              <a:ahLst/>
              <a:cxnLst>
                <a:cxn ang="0">
                  <a:pos x="71" y="1"/>
                </a:cxn>
                <a:cxn ang="0">
                  <a:pos x="69" y="0"/>
                </a:cxn>
                <a:cxn ang="0">
                  <a:pos x="68" y="2"/>
                </a:cxn>
                <a:cxn ang="0">
                  <a:pos x="51" y="10"/>
                </a:cxn>
                <a:cxn ang="0">
                  <a:pos x="33" y="1"/>
                </a:cxn>
                <a:cxn ang="0">
                  <a:pos x="32" y="0"/>
                </a:cxn>
                <a:cxn ang="0">
                  <a:pos x="30" y="0"/>
                </a:cxn>
                <a:cxn ang="0">
                  <a:pos x="0" y="46"/>
                </a:cxn>
                <a:cxn ang="0">
                  <a:pos x="0" y="48"/>
                </a:cxn>
                <a:cxn ang="0">
                  <a:pos x="99" y="48"/>
                </a:cxn>
                <a:cxn ang="0">
                  <a:pos x="99" y="46"/>
                </a:cxn>
                <a:cxn ang="0">
                  <a:pos x="71" y="1"/>
                </a:cxn>
                <a:cxn ang="0">
                  <a:pos x="31" y="20"/>
                </a:cxn>
                <a:cxn ang="0">
                  <a:pos x="35" y="24"/>
                </a:cxn>
                <a:cxn ang="0">
                  <a:pos x="31" y="28"/>
                </a:cxn>
                <a:cxn ang="0">
                  <a:pos x="27" y="24"/>
                </a:cxn>
                <a:cxn ang="0">
                  <a:pos x="31" y="20"/>
                </a:cxn>
                <a:cxn ang="0">
                  <a:pos x="5" y="43"/>
                </a:cxn>
                <a:cxn ang="0">
                  <a:pos x="28" y="7"/>
                </a:cxn>
                <a:cxn ang="0">
                  <a:pos x="28" y="16"/>
                </a:cxn>
                <a:cxn ang="0">
                  <a:pos x="22" y="24"/>
                </a:cxn>
                <a:cxn ang="0">
                  <a:pos x="31" y="33"/>
                </a:cxn>
                <a:cxn ang="0">
                  <a:pos x="40" y="24"/>
                </a:cxn>
                <a:cxn ang="0">
                  <a:pos x="33" y="16"/>
                </a:cxn>
                <a:cxn ang="0">
                  <a:pos x="33" y="9"/>
                </a:cxn>
                <a:cxn ang="0">
                  <a:pos x="51" y="15"/>
                </a:cxn>
                <a:cxn ang="0">
                  <a:pos x="67" y="9"/>
                </a:cxn>
                <a:cxn ang="0">
                  <a:pos x="67" y="23"/>
                </a:cxn>
                <a:cxn ang="0">
                  <a:pos x="61" y="38"/>
                </a:cxn>
                <a:cxn ang="0">
                  <a:pos x="66" y="38"/>
                </a:cxn>
                <a:cxn ang="0">
                  <a:pos x="70" y="28"/>
                </a:cxn>
                <a:cxn ang="0">
                  <a:pos x="74" y="38"/>
                </a:cxn>
                <a:cxn ang="0">
                  <a:pos x="79" y="38"/>
                </a:cxn>
                <a:cxn ang="0">
                  <a:pos x="72" y="23"/>
                </a:cxn>
                <a:cxn ang="0">
                  <a:pos x="72" y="8"/>
                </a:cxn>
                <a:cxn ang="0">
                  <a:pos x="94" y="43"/>
                </a:cxn>
                <a:cxn ang="0">
                  <a:pos x="5" y="43"/>
                </a:cxn>
              </a:cxnLst>
              <a:rect l="0" t="0" r="r" b="b"/>
              <a:pathLst>
                <a:path w="99" h="48">
                  <a:moveTo>
                    <a:pt x="71" y="1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4" y="7"/>
                    <a:pt x="57" y="10"/>
                    <a:pt x="51" y="10"/>
                  </a:cubicBezTo>
                  <a:cubicBezTo>
                    <a:pt x="44" y="10"/>
                    <a:pt x="37" y="7"/>
                    <a:pt x="33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2" y="8"/>
                    <a:pt x="0" y="26"/>
                    <a:pt x="0" y="4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27"/>
                    <a:pt x="88" y="9"/>
                    <a:pt x="71" y="1"/>
                  </a:cubicBezTo>
                  <a:close/>
                  <a:moveTo>
                    <a:pt x="31" y="20"/>
                  </a:moveTo>
                  <a:cubicBezTo>
                    <a:pt x="33" y="20"/>
                    <a:pt x="35" y="22"/>
                    <a:pt x="35" y="24"/>
                  </a:cubicBezTo>
                  <a:cubicBezTo>
                    <a:pt x="35" y="26"/>
                    <a:pt x="33" y="28"/>
                    <a:pt x="31" y="28"/>
                  </a:cubicBezTo>
                  <a:cubicBezTo>
                    <a:pt x="29" y="28"/>
                    <a:pt x="27" y="26"/>
                    <a:pt x="27" y="24"/>
                  </a:cubicBezTo>
                  <a:cubicBezTo>
                    <a:pt x="27" y="22"/>
                    <a:pt x="29" y="20"/>
                    <a:pt x="31" y="20"/>
                  </a:cubicBezTo>
                  <a:close/>
                  <a:moveTo>
                    <a:pt x="5" y="43"/>
                  </a:moveTo>
                  <a:cubicBezTo>
                    <a:pt x="6" y="28"/>
                    <a:pt x="15" y="14"/>
                    <a:pt x="28" y="7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5" y="17"/>
                    <a:pt x="22" y="20"/>
                    <a:pt x="22" y="24"/>
                  </a:cubicBezTo>
                  <a:cubicBezTo>
                    <a:pt x="22" y="29"/>
                    <a:pt x="26" y="33"/>
                    <a:pt x="31" y="33"/>
                  </a:cubicBezTo>
                  <a:cubicBezTo>
                    <a:pt x="36" y="33"/>
                    <a:pt x="40" y="29"/>
                    <a:pt x="40" y="24"/>
                  </a:cubicBezTo>
                  <a:cubicBezTo>
                    <a:pt x="40" y="20"/>
                    <a:pt x="37" y="17"/>
                    <a:pt x="33" y="1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8" y="13"/>
                    <a:pt x="44" y="15"/>
                    <a:pt x="51" y="15"/>
                  </a:cubicBezTo>
                  <a:cubicBezTo>
                    <a:pt x="57" y="15"/>
                    <a:pt x="62" y="13"/>
                    <a:pt x="67" y="9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3" y="25"/>
                    <a:pt x="61" y="31"/>
                    <a:pt x="61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2"/>
                    <a:pt x="68" y="28"/>
                    <a:pt x="70" y="28"/>
                  </a:cubicBezTo>
                  <a:cubicBezTo>
                    <a:pt x="71" y="28"/>
                    <a:pt x="74" y="32"/>
                    <a:pt x="74" y="38"/>
                  </a:cubicBezTo>
                  <a:cubicBezTo>
                    <a:pt x="79" y="38"/>
                    <a:pt x="79" y="38"/>
                    <a:pt x="79" y="38"/>
                  </a:cubicBezTo>
                  <a:cubicBezTo>
                    <a:pt x="79" y="31"/>
                    <a:pt x="76" y="25"/>
                    <a:pt x="72" y="23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85" y="15"/>
                    <a:pt x="93" y="28"/>
                    <a:pt x="94" y="43"/>
                  </a:cubicBezTo>
                  <a:lnTo>
                    <a:pt x="5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17" name="Freeform 241"/>
            <p:cNvSpPr>
              <a:spLocks noEditPoints="1"/>
            </p:cNvSpPr>
            <p:nvPr/>
          </p:nvSpPr>
          <p:spPr bwMode="auto">
            <a:xfrm>
              <a:off x="4563" y="2701"/>
              <a:ext cx="129" cy="129"/>
            </a:xfrm>
            <a:custGeom>
              <a:avLst/>
              <a:gdLst/>
              <a:ahLst/>
              <a:cxnLst>
                <a:cxn ang="0">
                  <a:pos x="27" y="54"/>
                </a:cxn>
                <a:cxn ang="0">
                  <a:pos x="54" y="27"/>
                </a:cxn>
                <a:cxn ang="0">
                  <a:pos x="53" y="20"/>
                </a:cxn>
                <a:cxn ang="0">
                  <a:pos x="27" y="0"/>
                </a:cxn>
                <a:cxn ang="0">
                  <a:pos x="1" y="19"/>
                </a:cxn>
                <a:cxn ang="0">
                  <a:pos x="0" y="27"/>
                </a:cxn>
                <a:cxn ang="0">
                  <a:pos x="27" y="54"/>
                </a:cxn>
                <a:cxn ang="0">
                  <a:pos x="27" y="5"/>
                </a:cxn>
                <a:cxn ang="0">
                  <a:pos x="43" y="12"/>
                </a:cxn>
                <a:cxn ang="0">
                  <a:pos x="35" y="12"/>
                </a:cxn>
                <a:cxn ang="0">
                  <a:pos x="27" y="6"/>
                </a:cxn>
                <a:cxn ang="0">
                  <a:pos x="18" y="12"/>
                </a:cxn>
                <a:cxn ang="0">
                  <a:pos x="11" y="12"/>
                </a:cxn>
                <a:cxn ang="0">
                  <a:pos x="27" y="5"/>
                </a:cxn>
                <a:cxn ang="0">
                  <a:pos x="30" y="14"/>
                </a:cxn>
                <a:cxn ang="0">
                  <a:pos x="27" y="18"/>
                </a:cxn>
                <a:cxn ang="0">
                  <a:pos x="23" y="14"/>
                </a:cxn>
                <a:cxn ang="0">
                  <a:pos x="27" y="11"/>
                </a:cxn>
                <a:cxn ang="0">
                  <a:pos x="30" y="14"/>
                </a:cxn>
                <a:cxn ang="0">
                  <a:pos x="6" y="20"/>
                </a:cxn>
                <a:cxn ang="0">
                  <a:pos x="7" y="17"/>
                </a:cxn>
                <a:cxn ang="0">
                  <a:pos x="18" y="17"/>
                </a:cxn>
                <a:cxn ang="0">
                  <a:pos x="27" y="23"/>
                </a:cxn>
                <a:cxn ang="0">
                  <a:pos x="35" y="17"/>
                </a:cxn>
                <a:cxn ang="0">
                  <a:pos x="46" y="17"/>
                </a:cxn>
                <a:cxn ang="0">
                  <a:pos x="48" y="22"/>
                </a:cxn>
                <a:cxn ang="0">
                  <a:pos x="48" y="27"/>
                </a:cxn>
                <a:cxn ang="0">
                  <a:pos x="27" y="49"/>
                </a:cxn>
                <a:cxn ang="0">
                  <a:pos x="5" y="27"/>
                </a:cxn>
                <a:cxn ang="0">
                  <a:pos x="6" y="20"/>
                </a:cxn>
              </a:cxnLst>
              <a:rect l="0" t="0" r="r" b="b"/>
              <a:pathLst>
                <a:path w="54" h="54">
                  <a:moveTo>
                    <a:pt x="27" y="54"/>
                  </a:moveTo>
                  <a:cubicBezTo>
                    <a:pt x="41" y="54"/>
                    <a:pt x="54" y="42"/>
                    <a:pt x="54" y="27"/>
                  </a:cubicBezTo>
                  <a:cubicBezTo>
                    <a:pt x="54" y="25"/>
                    <a:pt x="53" y="23"/>
                    <a:pt x="53" y="20"/>
                  </a:cubicBezTo>
                  <a:cubicBezTo>
                    <a:pt x="50" y="8"/>
                    <a:pt x="39" y="0"/>
                    <a:pt x="27" y="0"/>
                  </a:cubicBezTo>
                  <a:cubicBezTo>
                    <a:pt x="15" y="0"/>
                    <a:pt x="4" y="8"/>
                    <a:pt x="1" y="19"/>
                  </a:cubicBezTo>
                  <a:cubicBezTo>
                    <a:pt x="0" y="21"/>
                    <a:pt x="0" y="24"/>
                    <a:pt x="0" y="27"/>
                  </a:cubicBezTo>
                  <a:cubicBezTo>
                    <a:pt x="0" y="42"/>
                    <a:pt x="12" y="54"/>
                    <a:pt x="27" y="54"/>
                  </a:cubicBezTo>
                  <a:close/>
                  <a:moveTo>
                    <a:pt x="27" y="5"/>
                  </a:moveTo>
                  <a:cubicBezTo>
                    <a:pt x="33" y="5"/>
                    <a:pt x="39" y="8"/>
                    <a:pt x="43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8"/>
                    <a:pt x="30" y="6"/>
                    <a:pt x="27" y="6"/>
                  </a:cubicBezTo>
                  <a:cubicBezTo>
                    <a:pt x="23" y="6"/>
                    <a:pt x="19" y="8"/>
                    <a:pt x="18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5" y="8"/>
                    <a:pt x="20" y="5"/>
                    <a:pt x="27" y="5"/>
                  </a:cubicBezTo>
                  <a:close/>
                  <a:moveTo>
                    <a:pt x="30" y="14"/>
                  </a:moveTo>
                  <a:cubicBezTo>
                    <a:pt x="30" y="16"/>
                    <a:pt x="29" y="18"/>
                    <a:pt x="27" y="18"/>
                  </a:cubicBezTo>
                  <a:cubicBezTo>
                    <a:pt x="25" y="18"/>
                    <a:pt x="23" y="16"/>
                    <a:pt x="23" y="14"/>
                  </a:cubicBezTo>
                  <a:cubicBezTo>
                    <a:pt x="23" y="13"/>
                    <a:pt x="25" y="11"/>
                    <a:pt x="27" y="11"/>
                  </a:cubicBezTo>
                  <a:cubicBezTo>
                    <a:pt x="29" y="11"/>
                    <a:pt x="30" y="13"/>
                    <a:pt x="30" y="14"/>
                  </a:cubicBezTo>
                  <a:close/>
                  <a:moveTo>
                    <a:pt x="6" y="20"/>
                  </a:moveTo>
                  <a:cubicBezTo>
                    <a:pt x="6" y="19"/>
                    <a:pt x="7" y="18"/>
                    <a:pt x="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21"/>
                    <a:pt x="23" y="23"/>
                    <a:pt x="27" y="23"/>
                  </a:cubicBezTo>
                  <a:cubicBezTo>
                    <a:pt x="30" y="23"/>
                    <a:pt x="34" y="21"/>
                    <a:pt x="35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7" y="18"/>
                    <a:pt x="47" y="20"/>
                    <a:pt x="48" y="22"/>
                  </a:cubicBezTo>
                  <a:cubicBezTo>
                    <a:pt x="48" y="23"/>
                    <a:pt x="48" y="25"/>
                    <a:pt x="48" y="27"/>
                  </a:cubicBezTo>
                  <a:cubicBezTo>
                    <a:pt x="48" y="39"/>
                    <a:pt x="39" y="49"/>
                    <a:pt x="27" y="49"/>
                  </a:cubicBezTo>
                  <a:cubicBezTo>
                    <a:pt x="15" y="49"/>
                    <a:pt x="5" y="39"/>
                    <a:pt x="5" y="27"/>
                  </a:cubicBezTo>
                  <a:cubicBezTo>
                    <a:pt x="5" y="25"/>
                    <a:pt x="5" y="22"/>
                    <a:pt x="6" y="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20" name="Group 244"/>
          <p:cNvGrpSpPr>
            <a:grpSpLocks noChangeAspect="1"/>
          </p:cNvGrpSpPr>
          <p:nvPr/>
        </p:nvGrpSpPr>
        <p:grpSpPr bwMode="auto">
          <a:xfrm>
            <a:off x="8042281" y="4098928"/>
            <a:ext cx="788988" cy="788988"/>
            <a:chOff x="5066" y="2582"/>
            <a:chExt cx="497" cy="497"/>
          </a:xfrm>
        </p:grpSpPr>
        <p:sp>
          <p:nvSpPr>
            <p:cNvPr id="50421" name="Freeform 245"/>
            <p:cNvSpPr>
              <a:spLocks noEditPoints="1"/>
            </p:cNvSpPr>
            <p:nvPr/>
          </p:nvSpPr>
          <p:spPr bwMode="auto">
            <a:xfrm>
              <a:off x="5066" y="2582"/>
              <a:ext cx="497" cy="497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8"/>
                    <a:pt x="5" y="104"/>
                  </a:cubicBezTo>
                  <a:cubicBezTo>
                    <a:pt x="5" y="50"/>
                    <a:pt x="50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22" name="Freeform 246"/>
            <p:cNvSpPr>
              <a:spLocks noEditPoints="1"/>
            </p:cNvSpPr>
            <p:nvPr/>
          </p:nvSpPr>
          <p:spPr bwMode="auto">
            <a:xfrm>
              <a:off x="5196" y="2817"/>
              <a:ext cx="235" cy="118"/>
            </a:xfrm>
            <a:custGeom>
              <a:avLst/>
              <a:gdLst/>
              <a:ahLst/>
              <a:cxnLst>
                <a:cxn ang="0">
                  <a:pos x="70" y="2"/>
                </a:cxn>
                <a:cxn ang="0">
                  <a:pos x="69" y="1"/>
                </a:cxn>
                <a:cxn ang="0">
                  <a:pos x="67" y="3"/>
                </a:cxn>
                <a:cxn ang="0">
                  <a:pos x="50" y="10"/>
                </a:cxn>
                <a:cxn ang="0">
                  <a:pos x="32" y="2"/>
                </a:cxn>
                <a:cxn ang="0">
                  <a:pos x="31" y="0"/>
                </a:cxn>
                <a:cxn ang="0">
                  <a:pos x="29" y="1"/>
                </a:cxn>
                <a:cxn ang="0">
                  <a:pos x="0" y="46"/>
                </a:cxn>
                <a:cxn ang="0">
                  <a:pos x="0" y="49"/>
                </a:cxn>
                <a:cxn ang="0">
                  <a:pos x="98" y="49"/>
                </a:cxn>
                <a:cxn ang="0">
                  <a:pos x="98" y="46"/>
                </a:cxn>
                <a:cxn ang="0">
                  <a:pos x="70" y="2"/>
                </a:cxn>
                <a:cxn ang="0">
                  <a:pos x="30" y="21"/>
                </a:cxn>
                <a:cxn ang="0">
                  <a:pos x="34" y="25"/>
                </a:cxn>
                <a:cxn ang="0">
                  <a:pos x="30" y="29"/>
                </a:cxn>
                <a:cxn ang="0">
                  <a:pos x="26" y="25"/>
                </a:cxn>
                <a:cxn ang="0">
                  <a:pos x="30" y="21"/>
                </a:cxn>
                <a:cxn ang="0">
                  <a:pos x="5" y="44"/>
                </a:cxn>
                <a:cxn ang="0">
                  <a:pos x="28" y="7"/>
                </a:cxn>
                <a:cxn ang="0">
                  <a:pos x="28" y="16"/>
                </a:cxn>
                <a:cxn ang="0">
                  <a:pos x="21" y="25"/>
                </a:cxn>
                <a:cxn ang="0">
                  <a:pos x="30" y="34"/>
                </a:cxn>
                <a:cxn ang="0">
                  <a:pos x="40" y="25"/>
                </a:cxn>
                <a:cxn ang="0">
                  <a:pos x="33" y="16"/>
                </a:cxn>
                <a:cxn ang="0">
                  <a:pos x="33" y="10"/>
                </a:cxn>
                <a:cxn ang="0">
                  <a:pos x="50" y="16"/>
                </a:cxn>
                <a:cxn ang="0">
                  <a:pos x="67" y="10"/>
                </a:cxn>
                <a:cxn ang="0">
                  <a:pos x="67" y="24"/>
                </a:cxn>
                <a:cxn ang="0">
                  <a:pos x="60" y="38"/>
                </a:cxn>
                <a:cxn ang="0">
                  <a:pos x="65" y="38"/>
                </a:cxn>
                <a:cxn ang="0">
                  <a:pos x="69" y="29"/>
                </a:cxn>
                <a:cxn ang="0">
                  <a:pos x="73" y="38"/>
                </a:cxn>
                <a:cxn ang="0">
                  <a:pos x="78" y="38"/>
                </a:cxn>
                <a:cxn ang="0">
                  <a:pos x="72" y="24"/>
                </a:cxn>
                <a:cxn ang="0">
                  <a:pos x="72" y="8"/>
                </a:cxn>
                <a:cxn ang="0">
                  <a:pos x="93" y="44"/>
                </a:cxn>
                <a:cxn ang="0">
                  <a:pos x="5" y="44"/>
                </a:cxn>
              </a:cxnLst>
              <a:rect l="0" t="0" r="r" b="b"/>
              <a:pathLst>
                <a:path w="98" h="49">
                  <a:moveTo>
                    <a:pt x="70" y="2"/>
                  </a:moveTo>
                  <a:cubicBezTo>
                    <a:pt x="69" y="1"/>
                    <a:pt x="69" y="1"/>
                    <a:pt x="69" y="1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3" y="8"/>
                    <a:pt x="57" y="10"/>
                    <a:pt x="50" y="10"/>
                  </a:cubicBezTo>
                  <a:cubicBezTo>
                    <a:pt x="43" y="10"/>
                    <a:pt x="37" y="7"/>
                    <a:pt x="32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11" y="9"/>
                    <a:pt x="0" y="27"/>
                    <a:pt x="0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28"/>
                    <a:pt x="87" y="10"/>
                    <a:pt x="70" y="2"/>
                  </a:cubicBezTo>
                  <a:close/>
                  <a:moveTo>
                    <a:pt x="30" y="21"/>
                  </a:moveTo>
                  <a:cubicBezTo>
                    <a:pt x="33" y="21"/>
                    <a:pt x="34" y="23"/>
                    <a:pt x="34" y="25"/>
                  </a:cubicBezTo>
                  <a:cubicBezTo>
                    <a:pt x="34" y="27"/>
                    <a:pt x="33" y="29"/>
                    <a:pt x="30" y="29"/>
                  </a:cubicBezTo>
                  <a:cubicBezTo>
                    <a:pt x="28" y="29"/>
                    <a:pt x="26" y="27"/>
                    <a:pt x="26" y="25"/>
                  </a:cubicBezTo>
                  <a:cubicBezTo>
                    <a:pt x="26" y="23"/>
                    <a:pt x="28" y="21"/>
                    <a:pt x="30" y="21"/>
                  </a:cubicBezTo>
                  <a:close/>
                  <a:moveTo>
                    <a:pt x="5" y="44"/>
                  </a:moveTo>
                  <a:cubicBezTo>
                    <a:pt x="6" y="29"/>
                    <a:pt x="14" y="15"/>
                    <a:pt x="28" y="7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4" y="17"/>
                    <a:pt x="21" y="21"/>
                    <a:pt x="21" y="25"/>
                  </a:cubicBezTo>
                  <a:cubicBezTo>
                    <a:pt x="21" y="30"/>
                    <a:pt x="25" y="34"/>
                    <a:pt x="30" y="34"/>
                  </a:cubicBezTo>
                  <a:cubicBezTo>
                    <a:pt x="35" y="34"/>
                    <a:pt x="40" y="30"/>
                    <a:pt x="40" y="25"/>
                  </a:cubicBezTo>
                  <a:cubicBezTo>
                    <a:pt x="40" y="21"/>
                    <a:pt x="37" y="17"/>
                    <a:pt x="33" y="16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8" y="13"/>
                    <a:pt x="44" y="16"/>
                    <a:pt x="50" y="16"/>
                  </a:cubicBezTo>
                  <a:cubicBezTo>
                    <a:pt x="56" y="16"/>
                    <a:pt x="62" y="14"/>
                    <a:pt x="67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3" y="26"/>
                    <a:pt x="60" y="31"/>
                    <a:pt x="60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3"/>
                    <a:pt x="68" y="29"/>
                    <a:pt x="69" y="29"/>
                  </a:cubicBezTo>
                  <a:cubicBezTo>
                    <a:pt x="71" y="29"/>
                    <a:pt x="73" y="33"/>
                    <a:pt x="73" y="38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8" y="31"/>
                    <a:pt x="76" y="26"/>
                    <a:pt x="72" y="24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84" y="16"/>
                    <a:pt x="93" y="29"/>
                    <a:pt x="93" y="44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23" name="Freeform 247"/>
            <p:cNvSpPr>
              <a:spLocks noEditPoints="1"/>
            </p:cNvSpPr>
            <p:nvPr/>
          </p:nvSpPr>
          <p:spPr bwMode="auto">
            <a:xfrm>
              <a:off x="5251" y="2700"/>
              <a:ext cx="129" cy="127"/>
            </a:xfrm>
            <a:custGeom>
              <a:avLst/>
              <a:gdLst/>
              <a:ahLst/>
              <a:cxnLst>
                <a:cxn ang="0">
                  <a:pos x="27" y="53"/>
                </a:cxn>
                <a:cxn ang="0">
                  <a:pos x="54" y="27"/>
                </a:cxn>
                <a:cxn ang="0">
                  <a:pos x="53" y="20"/>
                </a:cxn>
                <a:cxn ang="0">
                  <a:pos x="27" y="0"/>
                </a:cxn>
                <a:cxn ang="0">
                  <a:pos x="1" y="19"/>
                </a:cxn>
                <a:cxn ang="0">
                  <a:pos x="0" y="27"/>
                </a:cxn>
                <a:cxn ang="0">
                  <a:pos x="27" y="53"/>
                </a:cxn>
                <a:cxn ang="0">
                  <a:pos x="27" y="5"/>
                </a:cxn>
                <a:cxn ang="0">
                  <a:pos x="43" y="12"/>
                </a:cxn>
                <a:cxn ang="0">
                  <a:pos x="35" y="12"/>
                </a:cxn>
                <a:cxn ang="0">
                  <a:pos x="27" y="6"/>
                </a:cxn>
                <a:cxn ang="0">
                  <a:pos x="19" y="12"/>
                </a:cxn>
                <a:cxn ang="0">
                  <a:pos x="11" y="12"/>
                </a:cxn>
                <a:cxn ang="0">
                  <a:pos x="27" y="5"/>
                </a:cxn>
                <a:cxn ang="0">
                  <a:pos x="31" y="14"/>
                </a:cxn>
                <a:cxn ang="0">
                  <a:pos x="27" y="18"/>
                </a:cxn>
                <a:cxn ang="0">
                  <a:pos x="24" y="14"/>
                </a:cxn>
                <a:cxn ang="0">
                  <a:pos x="27" y="11"/>
                </a:cxn>
                <a:cxn ang="0">
                  <a:pos x="31" y="14"/>
                </a:cxn>
                <a:cxn ang="0">
                  <a:pos x="6" y="20"/>
                </a:cxn>
                <a:cxn ang="0">
                  <a:pos x="8" y="17"/>
                </a:cxn>
                <a:cxn ang="0">
                  <a:pos x="19" y="17"/>
                </a:cxn>
                <a:cxn ang="0">
                  <a:pos x="27" y="23"/>
                </a:cxn>
                <a:cxn ang="0">
                  <a:pos x="35" y="17"/>
                </a:cxn>
                <a:cxn ang="0">
                  <a:pos x="47" y="17"/>
                </a:cxn>
                <a:cxn ang="0">
                  <a:pos x="48" y="21"/>
                </a:cxn>
                <a:cxn ang="0">
                  <a:pos x="49" y="27"/>
                </a:cxn>
                <a:cxn ang="0">
                  <a:pos x="27" y="48"/>
                </a:cxn>
                <a:cxn ang="0">
                  <a:pos x="5" y="27"/>
                </a:cxn>
                <a:cxn ang="0">
                  <a:pos x="6" y="20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42" y="53"/>
                    <a:pt x="54" y="41"/>
                    <a:pt x="54" y="27"/>
                  </a:cubicBezTo>
                  <a:cubicBezTo>
                    <a:pt x="54" y="24"/>
                    <a:pt x="54" y="22"/>
                    <a:pt x="53" y="20"/>
                  </a:cubicBezTo>
                  <a:cubicBezTo>
                    <a:pt x="50" y="8"/>
                    <a:pt x="40" y="0"/>
                    <a:pt x="27" y="0"/>
                  </a:cubicBezTo>
                  <a:cubicBezTo>
                    <a:pt x="15" y="0"/>
                    <a:pt x="5" y="7"/>
                    <a:pt x="1" y="19"/>
                  </a:cubicBezTo>
                  <a:cubicBezTo>
                    <a:pt x="1" y="21"/>
                    <a:pt x="0" y="24"/>
                    <a:pt x="0" y="27"/>
                  </a:cubicBezTo>
                  <a:cubicBezTo>
                    <a:pt x="0" y="41"/>
                    <a:pt x="12" y="53"/>
                    <a:pt x="27" y="53"/>
                  </a:cubicBezTo>
                  <a:close/>
                  <a:moveTo>
                    <a:pt x="27" y="5"/>
                  </a:moveTo>
                  <a:cubicBezTo>
                    <a:pt x="33" y="5"/>
                    <a:pt x="39" y="7"/>
                    <a:pt x="43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8"/>
                    <a:pt x="31" y="6"/>
                    <a:pt x="27" y="6"/>
                  </a:cubicBezTo>
                  <a:cubicBezTo>
                    <a:pt x="23" y="6"/>
                    <a:pt x="20" y="8"/>
                    <a:pt x="19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5" y="7"/>
                    <a:pt x="21" y="5"/>
                    <a:pt x="27" y="5"/>
                  </a:cubicBezTo>
                  <a:close/>
                  <a:moveTo>
                    <a:pt x="31" y="14"/>
                  </a:moveTo>
                  <a:cubicBezTo>
                    <a:pt x="31" y="16"/>
                    <a:pt x="29" y="18"/>
                    <a:pt x="27" y="18"/>
                  </a:cubicBezTo>
                  <a:cubicBezTo>
                    <a:pt x="25" y="18"/>
                    <a:pt x="24" y="16"/>
                    <a:pt x="24" y="14"/>
                  </a:cubicBezTo>
                  <a:cubicBezTo>
                    <a:pt x="24" y="12"/>
                    <a:pt x="25" y="11"/>
                    <a:pt x="27" y="11"/>
                  </a:cubicBezTo>
                  <a:cubicBezTo>
                    <a:pt x="29" y="11"/>
                    <a:pt x="31" y="12"/>
                    <a:pt x="31" y="14"/>
                  </a:cubicBezTo>
                  <a:close/>
                  <a:moveTo>
                    <a:pt x="6" y="20"/>
                  </a:moveTo>
                  <a:cubicBezTo>
                    <a:pt x="7" y="19"/>
                    <a:pt x="7" y="18"/>
                    <a:pt x="8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20"/>
                    <a:pt x="23" y="23"/>
                    <a:pt x="27" y="23"/>
                  </a:cubicBezTo>
                  <a:cubicBezTo>
                    <a:pt x="31" y="23"/>
                    <a:pt x="34" y="20"/>
                    <a:pt x="35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8"/>
                    <a:pt x="48" y="20"/>
                    <a:pt x="48" y="21"/>
                  </a:cubicBezTo>
                  <a:cubicBezTo>
                    <a:pt x="49" y="23"/>
                    <a:pt x="49" y="25"/>
                    <a:pt x="49" y="27"/>
                  </a:cubicBezTo>
                  <a:cubicBezTo>
                    <a:pt x="49" y="39"/>
                    <a:pt x="39" y="48"/>
                    <a:pt x="27" y="48"/>
                  </a:cubicBezTo>
                  <a:cubicBezTo>
                    <a:pt x="15" y="48"/>
                    <a:pt x="5" y="39"/>
                    <a:pt x="5" y="27"/>
                  </a:cubicBezTo>
                  <a:cubicBezTo>
                    <a:pt x="5" y="24"/>
                    <a:pt x="6" y="22"/>
                    <a:pt x="6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26" name="Group 250"/>
          <p:cNvGrpSpPr>
            <a:grpSpLocks noChangeAspect="1"/>
          </p:cNvGrpSpPr>
          <p:nvPr/>
        </p:nvGrpSpPr>
        <p:grpSpPr bwMode="auto">
          <a:xfrm>
            <a:off x="365126" y="5405438"/>
            <a:ext cx="827087" cy="827087"/>
            <a:chOff x="237" y="3405"/>
            <a:chExt cx="521" cy="521"/>
          </a:xfrm>
        </p:grpSpPr>
        <p:sp>
          <p:nvSpPr>
            <p:cNvPr id="50427" name="Oval 251"/>
            <p:cNvSpPr>
              <a:spLocks noChangeArrowheads="1"/>
            </p:cNvSpPr>
            <p:nvPr/>
          </p:nvSpPr>
          <p:spPr bwMode="auto">
            <a:xfrm>
              <a:off x="237" y="3405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28" name="Freeform 252"/>
            <p:cNvSpPr>
              <a:spLocks noEditPoints="1"/>
            </p:cNvSpPr>
            <p:nvPr/>
          </p:nvSpPr>
          <p:spPr bwMode="auto">
            <a:xfrm>
              <a:off x="256" y="3424"/>
              <a:ext cx="483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3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8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1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1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2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2"/>
                    <a:pt x="197" y="76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29" name="Freeform 253"/>
            <p:cNvSpPr>
              <a:spLocks noEditPoints="1"/>
            </p:cNvSpPr>
            <p:nvPr/>
          </p:nvSpPr>
          <p:spPr bwMode="auto">
            <a:xfrm>
              <a:off x="366" y="3519"/>
              <a:ext cx="254" cy="292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65" y="0"/>
                </a:cxn>
                <a:cxn ang="0">
                  <a:pos x="65" y="10"/>
                </a:cxn>
                <a:cxn ang="0">
                  <a:pos x="65" y="32"/>
                </a:cxn>
                <a:cxn ang="0">
                  <a:pos x="41" y="32"/>
                </a:cxn>
                <a:cxn ang="0">
                  <a:pos x="31" y="32"/>
                </a:cxn>
                <a:cxn ang="0">
                  <a:pos x="31" y="39"/>
                </a:cxn>
                <a:cxn ang="0">
                  <a:pos x="31" y="60"/>
                </a:cxn>
                <a:cxn ang="0">
                  <a:pos x="9" y="60"/>
                </a:cxn>
                <a:cxn ang="0">
                  <a:pos x="0" y="60"/>
                </a:cxn>
                <a:cxn ang="0">
                  <a:pos x="0" y="70"/>
                </a:cxn>
                <a:cxn ang="0">
                  <a:pos x="0" y="283"/>
                </a:cxn>
                <a:cxn ang="0">
                  <a:pos x="0" y="292"/>
                </a:cxn>
                <a:cxn ang="0">
                  <a:pos x="9" y="292"/>
                </a:cxn>
                <a:cxn ang="0">
                  <a:pos x="179" y="292"/>
                </a:cxn>
                <a:cxn ang="0">
                  <a:pos x="187" y="292"/>
                </a:cxn>
                <a:cxn ang="0">
                  <a:pos x="187" y="283"/>
                </a:cxn>
                <a:cxn ang="0">
                  <a:pos x="187" y="261"/>
                </a:cxn>
                <a:cxn ang="0">
                  <a:pos x="211" y="261"/>
                </a:cxn>
                <a:cxn ang="0">
                  <a:pos x="220" y="261"/>
                </a:cxn>
                <a:cxn ang="0">
                  <a:pos x="220" y="252"/>
                </a:cxn>
                <a:cxn ang="0">
                  <a:pos x="220" y="233"/>
                </a:cxn>
                <a:cxn ang="0">
                  <a:pos x="244" y="233"/>
                </a:cxn>
                <a:cxn ang="0">
                  <a:pos x="254" y="233"/>
                </a:cxn>
                <a:cxn ang="0">
                  <a:pos x="254" y="223"/>
                </a:cxn>
                <a:cxn ang="0">
                  <a:pos x="254" y="10"/>
                </a:cxn>
                <a:cxn ang="0">
                  <a:pos x="254" y="0"/>
                </a:cxn>
                <a:cxn ang="0">
                  <a:pos x="244" y="0"/>
                </a:cxn>
                <a:cxn ang="0">
                  <a:pos x="74" y="0"/>
                </a:cxn>
                <a:cxn ang="0">
                  <a:pos x="179" y="283"/>
                </a:cxn>
                <a:cxn ang="0">
                  <a:pos x="9" y="283"/>
                </a:cxn>
                <a:cxn ang="0">
                  <a:pos x="9" y="70"/>
                </a:cxn>
                <a:cxn ang="0">
                  <a:pos x="31" y="70"/>
                </a:cxn>
                <a:cxn ang="0">
                  <a:pos x="31" y="252"/>
                </a:cxn>
                <a:cxn ang="0">
                  <a:pos x="31" y="261"/>
                </a:cxn>
                <a:cxn ang="0">
                  <a:pos x="41" y="261"/>
                </a:cxn>
                <a:cxn ang="0">
                  <a:pos x="179" y="261"/>
                </a:cxn>
                <a:cxn ang="0">
                  <a:pos x="179" y="283"/>
                </a:cxn>
                <a:cxn ang="0">
                  <a:pos x="211" y="252"/>
                </a:cxn>
                <a:cxn ang="0">
                  <a:pos x="187" y="252"/>
                </a:cxn>
                <a:cxn ang="0">
                  <a:pos x="179" y="252"/>
                </a:cxn>
                <a:cxn ang="0">
                  <a:pos x="41" y="252"/>
                </a:cxn>
                <a:cxn ang="0">
                  <a:pos x="41" y="70"/>
                </a:cxn>
                <a:cxn ang="0">
                  <a:pos x="41" y="60"/>
                </a:cxn>
                <a:cxn ang="0">
                  <a:pos x="41" y="39"/>
                </a:cxn>
                <a:cxn ang="0">
                  <a:pos x="65" y="39"/>
                </a:cxn>
                <a:cxn ang="0">
                  <a:pos x="65" y="223"/>
                </a:cxn>
                <a:cxn ang="0">
                  <a:pos x="65" y="233"/>
                </a:cxn>
                <a:cxn ang="0">
                  <a:pos x="74" y="233"/>
                </a:cxn>
                <a:cxn ang="0">
                  <a:pos x="211" y="233"/>
                </a:cxn>
                <a:cxn ang="0">
                  <a:pos x="211" y="252"/>
                </a:cxn>
                <a:cxn ang="0">
                  <a:pos x="244" y="223"/>
                </a:cxn>
                <a:cxn ang="0">
                  <a:pos x="220" y="223"/>
                </a:cxn>
                <a:cxn ang="0">
                  <a:pos x="211" y="223"/>
                </a:cxn>
                <a:cxn ang="0">
                  <a:pos x="74" y="223"/>
                </a:cxn>
                <a:cxn ang="0">
                  <a:pos x="74" y="39"/>
                </a:cxn>
                <a:cxn ang="0">
                  <a:pos x="74" y="32"/>
                </a:cxn>
                <a:cxn ang="0">
                  <a:pos x="74" y="10"/>
                </a:cxn>
                <a:cxn ang="0">
                  <a:pos x="244" y="10"/>
                </a:cxn>
                <a:cxn ang="0">
                  <a:pos x="244" y="223"/>
                </a:cxn>
              </a:cxnLst>
              <a:rect l="0" t="0" r="r" b="b"/>
              <a:pathLst>
                <a:path w="254" h="292">
                  <a:moveTo>
                    <a:pt x="74" y="0"/>
                  </a:moveTo>
                  <a:lnTo>
                    <a:pt x="65" y="0"/>
                  </a:lnTo>
                  <a:lnTo>
                    <a:pt x="65" y="10"/>
                  </a:lnTo>
                  <a:lnTo>
                    <a:pt x="65" y="32"/>
                  </a:lnTo>
                  <a:lnTo>
                    <a:pt x="41" y="32"/>
                  </a:lnTo>
                  <a:lnTo>
                    <a:pt x="31" y="32"/>
                  </a:lnTo>
                  <a:lnTo>
                    <a:pt x="31" y="39"/>
                  </a:lnTo>
                  <a:lnTo>
                    <a:pt x="31" y="60"/>
                  </a:lnTo>
                  <a:lnTo>
                    <a:pt x="9" y="60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0" y="283"/>
                  </a:lnTo>
                  <a:lnTo>
                    <a:pt x="0" y="292"/>
                  </a:lnTo>
                  <a:lnTo>
                    <a:pt x="9" y="292"/>
                  </a:lnTo>
                  <a:lnTo>
                    <a:pt x="179" y="292"/>
                  </a:lnTo>
                  <a:lnTo>
                    <a:pt x="187" y="292"/>
                  </a:lnTo>
                  <a:lnTo>
                    <a:pt x="187" y="283"/>
                  </a:lnTo>
                  <a:lnTo>
                    <a:pt x="187" y="261"/>
                  </a:lnTo>
                  <a:lnTo>
                    <a:pt x="211" y="261"/>
                  </a:lnTo>
                  <a:lnTo>
                    <a:pt x="220" y="261"/>
                  </a:lnTo>
                  <a:lnTo>
                    <a:pt x="220" y="252"/>
                  </a:lnTo>
                  <a:lnTo>
                    <a:pt x="220" y="233"/>
                  </a:lnTo>
                  <a:lnTo>
                    <a:pt x="244" y="233"/>
                  </a:lnTo>
                  <a:lnTo>
                    <a:pt x="254" y="233"/>
                  </a:lnTo>
                  <a:lnTo>
                    <a:pt x="254" y="223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244" y="0"/>
                  </a:lnTo>
                  <a:lnTo>
                    <a:pt x="74" y="0"/>
                  </a:lnTo>
                  <a:close/>
                  <a:moveTo>
                    <a:pt x="179" y="283"/>
                  </a:moveTo>
                  <a:lnTo>
                    <a:pt x="9" y="283"/>
                  </a:lnTo>
                  <a:lnTo>
                    <a:pt x="9" y="70"/>
                  </a:lnTo>
                  <a:lnTo>
                    <a:pt x="31" y="70"/>
                  </a:lnTo>
                  <a:lnTo>
                    <a:pt x="31" y="252"/>
                  </a:lnTo>
                  <a:lnTo>
                    <a:pt x="31" y="261"/>
                  </a:lnTo>
                  <a:lnTo>
                    <a:pt x="41" y="261"/>
                  </a:lnTo>
                  <a:lnTo>
                    <a:pt x="179" y="261"/>
                  </a:lnTo>
                  <a:lnTo>
                    <a:pt x="179" y="283"/>
                  </a:lnTo>
                  <a:close/>
                  <a:moveTo>
                    <a:pt x="211" y="252"/>
                  </a:moveTo>
                  <a:lnTo>
                    <a:pt x="187" y="252"/>
                  </a:lnTo>
                  <a:lnTo>
                    <a:pt x="179" y="252"/>
                  </a:lnTo>
                  <a:lnTo>
                    <a:pt x="41" y="252"/>
                  </a:lnTo>
                  <a:lnTo>
                    <a:pt x="41" y="70"/>
                  </a:lnTo>
                  <a:lnTo>
                    <a:pt x="41" y="60"/>
                  </a:lnTo>
                  <a:lnTo>
                    <a:pt x="41" y="39"/>
                  </a:lnTo>
                  <a:lnTo>
                    <a:pt x="65" y="39"/>
                  </a:lnTo>
                  <a:lnTo>
                    <a:pt x="65" y="223"/>
                  </a:lnTo>
                  <a:lnTo>
                    <a:pt x="65" y="233"/>
                  </a:lnTo>
                  <a:lnTo>
                    <a:pt x="74" y="233"/>
                  </a:lnTo>
                  <a:lnTo>
                    <a:pt x="211" y="233"/>
                  </a:lnTo>
                  <a:lnTo>
                    <a:pt x="211" y="252"/>
                  </a:lnTo>
                  <a:close/>
                  <a:moveTo>
                    <a:pt x="244" y="223"/>
                  </a:moveTo>
                  <a:lnTo>
                    <a:pt x="220" y="223"/>
                  </a:lnTo>
                  <a:lnTo>
                    <a:pt x="211" y="223"/>
                  </a:lnTo>
                  <a:lnTo>
                    <a:pt x="74" y="223"/>
                  </a:lnTo>
                  <a:lnTo>
                    <a:pt x="74" y="39"/>
                  </a:lnTo>
                  <a:lnTo>
                    <a:pt x="74" y="32"/>
                  </a:lnTo>
                  <a:lnTo>
                    <a:pt x="74" y="10"/>
                  </a:lnTo>
                  <a:lnTo>
                    <a:pt x="244" y="10"/>
                  </a:lnTo>
                  <a:lnTo>
                    <a:pt x="244" y="22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30" name="Freeform 254"/>
            <p:cNvSpPr>
              <a:spLocks noEditPoints="1"/>
            </p:cNvSpPr>
            <p:nvPr/>
          </p:nvSpPr>
          <p:spPr bwMode="auto">
            <a:xfrm>
              <a:off x="454" y="3541"/>
              <a:ext cx="96" cy="7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96" y="72"/>
                </a:cxn>
                <a:cxn ang="0">
                  <a:pos x="96" y="0"/>
                </a:cxn>
                <a:cxn ang="0">
                  <a:pos x="87" y="62"/>
                </a:cxn>
                <a:cxn ang="0">
                  <a:pos x="8" y="62"/>
                </a:cxn>
                <a:cxn ang="0">
                  <a:pos x="8" y="10"/>
                </a:cxn>
                <a:cxn ang="0">
                  <a:pos x="87" y="10"/>
                </a:cxn>
                <a:cxn ang="0">
                  <a:pos x="87" y="62"/>
                </a:cxn>
              </a:cxnLst>
              <a:rect l="0" t="0" r="r" b="b"/>
              <a:pathLst>
                <a:path w="96" h="72">
                  <a:moveTo>
                    <a:pt x="96" y="0"/>
                  </a:moveTo>
                  <a:lnTo>
                    <a:pt x="0" y="0"/>
                  </a:lnTo>
                  <a:lnTo>
                    <a:pt x="0" y="72"/>
                  </a:lnTo>
                  <a:lnTo>
                    <a:pt x="96" y="72"/>
                  </a:lnTo>
                  <a:lnTo>
                    <a:pt x="96" y="0"/>
                  </a:lnTo>
                  <a:close/>
                  <a:moveTo>
                    <a:pt x="87" y="62"/>
                  </a:moveTo>
                  <a:lnTo>
                    <a:pt x="8" y="62"/>
                  </a:lnTo>
                  <a:lnTo>
                    <a:pt x="8" y="10"/>
                  </a:lnTo>
                  <a:lnTo>
                    <a:pt x="87" y="10"/>
                  </a:lnTo>
                  <a:lnTo>
                    <a:pt x="87" y="6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31" name="Rectangle 255"/>
            <p:cNvSpPr>
              <a:spLocks noChangeArrowheads="1"/>
            </p:cNvSpPr>
            <p:nvPr/>
          </p:nvSpPr>
          <p:spPr bwMode="auto">
            <a:xfrm>
              <a:off x="452" y="3632"/>
              <a:ext cx="14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32" name="Rectangle 256"/>
            <p:cNvSpPr>
              <a:spLocks noChangeArrowheads="1"/>
            </p:cNvSpPr>
            <p:nvPr/>
          </p:nvSpPr>
          <p:spPr bwMode="auto">
            <a:xfrm>
              <a:off x="452" y="3658"/>
              <a:ext cx="14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33" name="Rectangle 257"/>
            <p:cNvSpPr>
              <a:spLocks noChangeArrowheads="1"/>
            </p:cNvSpPr>
            <p:nvPr/>
          </p:nvSpPr>
          <p:spPr bwMode="auto">
            <a:xfrm>
              <a:off x="452" y="3685"/>
              <a:ext cx="146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34" name="Rectangle 258"/>
            <p:cNvSpPr>
              <a:spLocks noChangeArrowheads="1"/>
            </p:cNvSpPr>
            <p:nvPr/>
          </p:nvSpPr>
          <p:spPr bwMode="auto">
            <a:xfrm>
              <a:off x="452" y="3713"/>
              <a:ext cx="146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37" name="Group 261"/>
          <p:cNvGrpSpPr>
            <a:grpSpLocks noChangeAspect="1"/>
          </p:cNvGrpSpPr>
          <p:nvPr/>
        </p:nvGrpSpPr>
        <p:grpSpPr bwMode="auto">
          <a:xfrm>
            <a:off x="1483520" y="5434016"/>
            <a:ext cx="768350" cy="768350"/>
            <a:chOff x="939" y="3423"/>
            <a:chExt cx="484" cy="484"/>
          </a:xfrm>
        </p:grpSpPr>
        <p:sp>
          <p:nvSpPr>
            <p:cNvPr id="50438" name="Freeform 262"/>
            <p:cNvSpPr>
              <a:spLocks noEditPoints="1"/>
            </p:cNvSpPr>
            <p:nvPr/>
          </p:nvSpPr>
          <p:spPr bwMode="auto">
            <a:xfrm>
              <a:off x="939" y="342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39" name="Freeform 263"/>
            <p:cNvSpPr>
              <a:spLocks noEditPoints="1"/>
            </p:cNvSpPr>
            <p:nvPr/>
          </p:nvSpPr>
          <p:spPr bwMode="auto">
            <a:xfrm>
              <a:off x="1050" y="3519"/>
              <a:ext cx="254" cy="290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64" y="0"/>
                </a:cxn>
                <a:cxn ang="0">
                  <a:pos x="64" y="10"/>
                </a:cxn>
                <a:cxn ang="0">
                  <a:pos x="64" y="29"/>
                </a:cxn>
                <a:cxn ang="0">
                  <a:pos x="40" y="29"/>
                </a:cxn>
                <a:cxn ang="0">
                  <a:pos x="31" y="29"/>
                </a:cxn>
                <a:cxn ang="0">
                  <a:pos x="31" y="39"/>
                </a:cxn>
                <a:cxn ang="0">
                  <a:pos x="31" y="60"/>
                </a:cxn>
                <a:cxn ang="0">
                  <a:pos x="9" y="60"/>
                </a:cxn>
                <a:cxn ang="0">
                  <a:pos x="0" y="60"/>
                </a:cxn>
                <a:cxn ang="0">
                  <a:pos x="0" y="70"/>
                </a:cxn>
                <a:cxn ang="0">
                  <a:pos x="0" y="283"/>
                </a:cxn>
                <a:cxn ang="0">
                  <a:pos x="0" y="290"/>
                </a:cxn>
                <a:cxn ang="0">
                  <a:pos x="9" y="290"/>
                </a:cxn>
                <a:cxn ang="0">
                  <a:pos x="179" y="290"/>
                </a:cxn>
                <a:cxn ang="0">
                  <a:pos x="187" y="290"/>
                </a:cxn>
                <a:cxn ang="0">
                  <a:pos x="187" y="283"/>
                </a:cxn>
                <a:cxn ang="0">
                  <a:pos x="187" y="259"/>
                </a:cxn>
                <a:cxn ang="0">
                  <a:pos x="210" y="259"/>
                </a:cxn>
                <a:cxn ang="0">
                  <a:pos x="220" y="259"/>
                </a:cxn>
                <a:cxn ang="0">
                  <a:pos x="220" y="252"/>
                </a:cxn>
                <a:cxn ang="0">
                  <a:pos x="220" y="230"/>
                </a:cxn>
                <a:cxn ang="0">
                  <a:pos x="244" y="230"/>
                </a:cxn>
                <a:cxn ang="0">
                  <a:pos x="254" y="230"/>
                </a:cxn>
                <a:cxn ang="0">
                  <a:pos x="254" y="223"/>
                </a:cxn>
                <a:cxn ang="0">
                  <a:pos x="254" y="10"/>
                </a:cxn>
                <a:cxn ang="0">
                  <a:pos x="254" y="0"/>
                </a:cxn>
                <a:cxn ang="0">
                  <a:pos x="244" y="0"/>
                </a:cxn>
                <a:cxn ang="0">
                  <a:pos x="74" y="0"/>
                </a:cxn>
                <a:cxn ang="0">
                  <a:pos x="179" y="283"/>
                </a:cxn>
                <a:cxn ang="0">
                  <a:pos x="9" y="283"/>
                </a:cxn>
                <a:cxn ang="0">
                  <a:pos x="9" y="70"/>
                </a:cxn>
                <a:cxn ang="0">
                  <a:pos x="31" y="70"/>
                </a:cxn>
                <a:cxn ang="0">
                  <a:pos x="31" y="252"/>
                </a:cxn>
                <a:cxn ang="0">
                  <a:pos x="31" y="259"/>
                </a:cxn>
                <a:cxn ang="0">
                  <a:pos x="40" y="259"/>
                </a:cxn>
                <a:cxn ang="0">
                  <a:pos x="179" y="259"/>
                </a:cxn>
                <a:cxn ang="0">
                  <a:pos x="179" y="283"/>
                </a:cxn>
                <a:cxn ang="0">
                  <a:pos x="210" y="252"/>
                </a:cxn>
                <a:cxn ang="0">
                  <a:pos x="187" y="252"/>
                </a:cxn>
                <a:cxn ang="0">
                  <a:pos x="179" y="252"/>
                </a:cxn>
                <a:cxn ang="0">
                  <a:pos x="40" y="252"/>
                </a:cxn>
                <a:cxn ang="0">
                  <a:pos x="40" y="70"/>
                </a:cxn>
                <a:cxn ang="0">
                  <a:pos x="40" y="60"/>
                </a:cxn>
                <a:cxn ang="0">
                  <a:pos x="40" y="39"/>
                </a:cxn>
                <a:cxn ang="0">
                  <a:pos x="64" y="39"/>
                </a:cxn>
                <a:cxn ang="0">
                  <a:pos x="64" y="223"/>
                </a:cxn>
                <a:cxn ang="0">
                  <a:pos x="64" y="230"/>
                </a:cxn>
                <a:cxn ang="0">
                  <a:pos x="74" y="230"/>
                </a:cxn>
                <a:cxn ang="0">
                  <a:pos x="210" y="230"/>
                </a:cxn>
                <a:cxn ang="0">
                  <a:pos x="210" y="252"/>
                </a:cxn>
                <a:cxn ang="0">
                  <a:pos x="244" y="223"/>
                </a:cxn>
                <a:cxn ang="0">
                  <a:pos x="220" y="223"/>
                </a:cxn>
                <a:cxn ang="0">
                  <a:pos x="210" y="223"/>
                </a:cxn>
                <a:cxn ang="0">
                  <a:pos x="74" y="223"/>
                </a:cxn>
                <a:cxn ang="0">
                  <a:pos x="74" y="39"/>
                </a:cxn>
                <a:cxn ang="0">
                  <a:pos x="74" y="29"/>
                </a:cxn>
                <a:cxn ang="0">
                  <a:pos x="74" y="10"/>
                </a:cxn>
                <a:cxn ang="0">
                  <a:pos x="244" y="10"/>
                </a:cxn>
                <a:cxn ang="0">
                  <a:pos x="244" y="223"/>
                </a:cxn>
              </a:cxnLst>
              <a:rect l="0" t="0" r="r" b="b"/>
              <a:pathLst>
                <a:path w="254" h="290">
                  <a:moveTo>
                    <a:pt x="74" y="0"/>
                  </a:moveTo>
                  <a:lnTo>
                    <a:pt x="64" y="0"/>
                  </a:lnTo>
                  <a:lnTo>
                    <a:pt x="64" y="10"/>
                  </a:lnTo>
                  <a:lnTo>
                    <a:pt x="64" y="29"/>
                  </a:lnTo>
                  <a:lnTo>
                    <a:pt x="40" y="29"/>
                  </a:lnTo>
                  <a:lnTo>
                    <a:pt x="31" y="29"/>
                  </a:lnTo>
                  <a:lnTo>
                    <a:pt x="31" y="39"/>
                  </a:lnTo>
                  <a:lnTo>
                    <a:pt x="31" y="60"/>
                  </a:lnTo>
                  <a:lnTo>
                    <a:pt x="9" y="60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0" y="283"/>
                  </a:lnTo>
                  <a:lnTo>
                    <a:pt x="0" y="290"/>
                  </a:lnTo>
                  <a:lnTo>
                    <a:pt x="9" y="290"/>
                  </a:lnTo>
                  <a:lnTo>
                    <a:pt x="179" y="290"/>
                  </a:lnTo>
                  <a:lnTo>
                    <a:pt x="187" y="290"/>
                  </a:lnTo>
                  <a:lnTo>
                    <a:pt x="187" y="283"/>
                  </a:lnTo>
                  <a:lnTo>
                    <a:pt x="187" y="259"/>
                  </a:lnTo>
                  <a:lnTo>
                    <a:pt x="210" y="259"/>
                  </a:lnTo>
                  <a:lnTo>
                    <a:pt x="220" y="259"/>
                  </a:lnTo>
                  <a:lnTo>
                    <a:pt x="220" y="252"/>
                  </a:lnTo>
                  <a:lnTo>
                    <a:pt x="220" y="230"/>
                  </a:lnTo>
                  <a:lnTo>
                    <a:pt x="244" y="230"/>
                  </a:lnTo>
                  <a:lnTo>
                    <a:pt x="254" y="230"/>
                  </a:lnTo>
                  <a:lnTo>
                    <a:pt x="254" y="223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244" y="0"/>
                  </a:lnTo>
                  <a:lnTo>
                    <a:pt x="74" y="0"/>
                  </a:lnTo>
                  <a:close/>
                  <a:moveTo>
                    <a:pt x="179" y="283"/>
                  </a:moveTo>
                  <a:lnTo>
                    <a:pt x="9" y="283"/>
                  </a:lnTo>
                  <a:lnTo>
                    <a:pt x="9" y="70"/>
                  </a:lnTo>
                  <a:lnTo>
                    <a:pt x="31" y="70"/>
                  </a:lnTo>
                  <a:lnTo>
                    <a:pt x="31" y="252"/>
                  </a:lnTo>
                  <a:lnTo>
                    <a:pt x="31" y="259"/>
                  </a:lnTo>
                  <a:lnTo>
                    <a:pt x="40" y="259"/>
                  </a:lnTo>
                  <a:lnTo>
                    <a:pt x="179" y="259"/>
                  </a:lnTo>
                  <a:lnTo>
                    <a:pt x="179" y="283"/>
                  </a:lnTo>
                  <a:close/>
                  <a:moveTo>
                    <a:pt x="210" y="252"/>
                  </a:moveTo>
                  <a:lnTo>
                    <a:pt x="187" y="252"/>
                  </a:lnTo>
                  <a:lnTo>
                    <a:pt x="179" y="252"/>
                  </a:lnTo>
                  <a:lnTo>
                    <a:pt x="40" y="252"/>
                  </a:lnTo>
                  <a:lnTo>
                    <a:pt x="40" y="70"/>
                  </a:lnTo>
                  <a:lnTo>
                    <a:pt x="40" y="60"/>
                  </a:lnTo>
                  <a:lnTo>
                    <a:pt x="40" y="39"/>
                  </a:lnTo>
                  <a:lnTo>
                    <a:pt x="64" y="39"/>
                  </a:lnTo>
                  <a:lnTo>
                    <a:pt x="64" y="223"/>
                  </a:lnTo>
                  <a:lnTo>
                    <a:pt x="64" y="230"/>
                  </a:lnTo>
                  <a:lnTo>
                    <a:pt x="74" y="230"/>
                  </a:lnTo>
                  <a:lnTo>
                    <a:pt x="210" y="230"/>
                  </a:lnTo>
                  <a:lnTo>
                    <a:pt x="210" y="252"/>
                  </a:lnTo>
                  <a:close/>
                  <a:moveTo>
                    <a:pt x="244" y="223"/>
                  </a:moveTo>
                  <a:lnTo>
                    <a:pt x="220" y="223"/>
                  </a:lnTo>
                  <a:lnTo>
                    <a:pt x="210" y="223"/>
                  </a:lnTo>
                  <a:lnTo>
                    <a:pt x="74" y="223"/>
                  </a:lnTo>
                  <a:lnTo>
                    <a:pt x="74" y="39"/>
                  </a:lnTo>
                  <a:lnTo>
                    <a:pt x="74" y="29"/>
                  </a:lnTo>
                  <a:lnTo>
                    <a:pt x="74" y="10"/>
                  </a:lnTo>
                  <a:lnTo>
                    <a:pt x="244" y="10"/>
                  </a:lnTo>
                  <a:lnTo>
                    <a:pt x="244" y="22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40" name="Freeform 264"/>
            <p:cNvSpPr>
              <a:spLocks noEditPoints="1"/>
            </p:cNvSpPr>
            <p:nvPr/>
          </p:nvSpPr>
          <p:spPr bwMode="auto">
            <a:xfrm>
              <a:off x="1138" y="3541"/>
              <a:ext cx="96" cy="69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0" y="0"/>
                </a:cxn>
                <a:cxn ang="0">
                  <a:pos x="0" y="69"/>
                </a:cxn>
                <a:cxn ang="0">
                  <a:pos x="96" y="69"/>
                </a:cxn>
                <a:cxn ang="0">
                  <a:pos x="96" y="0"/>
                </a:cxn>
                <a:cxn ang="0">
                  <a:pos x="87" y="60"/>
                </a:cxn>
                <a:cxn ang="0">
                  <a:pos x="7" y="60"/>
                </a:cxn>
                <a:cxn ang="0">
                  <a:pos x="7" y="7"/>
                </a:cxn>
                <a:cxn ang="0">
                  <a:pos x="87" y="7"/>
                </a:cxn>
                <a:cxn ang="0">
                  <a:pos x="87" y="60"/>
                </a:cxn>
              </a:cxnLst>
              <a:rect l="0" t="0" r="r" b="b"/>
              <a:pathLst>
                <a:path w="96" h="69">
                  <a:moveTo>
                    <a:pt x="96" y="0"/>
                  </a:moveTo>
                  <a:lnTo>
                    <a:pt x="0" y="0"/>
                  </a:lnTo>
                  <a:lnTo>
                    <a:pt x="0" y="69"/>
                  </a:lnTo>
                  <a:lnTo>
                    <a:pt x="96" y="69"/>
                  </a:lnTo>
                  <a:lnTo>
                    <a:pt x="96" y="0"/>
                  </a:lnTo>
                  <a:close/>
                  <a:moveTo>
                    <a:pt x="87" y="60"/>
                  </a:moveTo>
                  <a:lnTo>
                    <a:pt x="7" y="60"/>
                  </a:lnTo>
                  <a:lnTo>
                    <a:pt x="7" y="7"/>
                  </a:lnTo>
                  <a:lnTo>
                    <a:pt x="87" y="7"/>
                  </a:lnTo>
                  <a:lnTo>
                    <a:pt x="87" y="6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41" name="Rectangle 265"/>
            <p:cNvSpPr>
              <a:spLocks noChangeArrowheads="1"/>
            </p:cNvSpPr>
            <p:nvPr/>
          </p:nvSpPr>
          <p:spPr bwMode="auto">
            <a:xfrm>
              <a:off x="1136" y="3629"/>
              <a:ext cx="14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42" name="Rectangle 266"/>
            <p:cNvSpPr>
              <a:spLocks noChangeArrowheads="1"/>
            </p:cNvSpPr>
            <p:nvPr/>
          </p:nvSpPr>
          <p:spPr bwMode="auto">
            <a:xfrm>
              <a:off x="1136" y="3658"/>
              <a:ext cx="14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43" name="Rectangle 267"/>
            <p:cNvSpPr>
              <a:spLocks noChangeArrowheads="1"/>
            </p:cNvSpPr>
            <p:nvPr/>
          </p:nvSpPr>
          <p:spPr bwMode="auto">
            <a:xfrm>
              <a:off x="1136" y="3685"/>
              <a:ext cx="146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44" name="Rectangle 268"/>
            <p:cNvSpPr>
              <a:spLocks noChangeArrowheads="1"/>
            </p:cNvSpPr>
            <p:nvPr/>
          </p:nvSpPr>
          <p:spPr bwMode="auto">
            <a:xfrm>
              <a:off x="1136" y="3711"/>
              <a:ext cx="14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38414" y="5394325"/>
            <a:ext cx="847725" cy="846138"/>
            <a:chOff x="2538414" y="5394325"/>
            <a:chExt cx="847725" cy="846138"/>
          </a:xfrm>
        </p:grpSpPr>
        <p:sp>
          <p:nvSpPr>
            <p:cNvPr id="50448" name="Oval 272"/>
            <p:cNvSpPr>
              <a:spLocks noChangeArrowheads="1"/>
            </p:cNvSpPr>
            <p:nvPr/>
          </p:nvSpPr>
          <p:spPr bwMode="auto">
            <a:xfrm>
              <a:off x="2538414" y="5394325"/>
              <a:ext cx="847725" cy="84613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49" name="Freeform 273"/>
            <p:cNvSpPr>
              <a:spLocks noEditPoints="1"/>
            </p:cNvSpPr>
            <p:nvPr/>
          </p:nvSpPr>
          <p:spPr bwMode="auto">
            <a:xfrm>
              <a:off x="2568577" y="5424488"/>
              <a:ext cx="782638" cy="781050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0" name="Line 274"/>
            <p:cNvSpPr>
              <a:spLocks noChangeShapeType="1"/>
            </p:cNvSpPr>
            <p:nvPr/>
          </p:nvSpPr>
          <p:spPr bwMode="auto">
            <a:xfrm>
              <a:off x="2797177" y="5730875"/>
              <a:ext cx="1588" cy="1588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2" name="Freeform 276"/>
            <p:cNvSpPr>
              <a:spLocks noEditPoints="1"/>
            </p:cNvSpPr>
            <p:nvPr/>
          </p:nvSpPr>
          <p:spPr bwMode="auto">
            <a:xfrm>
              <a:off x="2740027" y="5708650"/>
              <a:ext cx="114300" cy="136525"/>
            </a:xfrm>
            <a:custGeom>
              <a:avLst/>
              <a:gdLst/>
              <a:ahLst/>
              <a:cxnLst>
                <a:cxn ang="0">
                  <a:pos x="17" y="36"/>
                </a:cxn>
                <a:cxn ang="0">
                  <a:pos x="2" y="24"/>
                </a:cxn>
                <a:cxn ang="0">
                  <a:pos x="1" y="1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28" y="15"/>
                </a:cxn>
                <a:cxn ang="0">
                  <a:pos x="29" y="27"/>
                </a:cxn>
                <a:cxn ang="0">
                  <a:pos x="21" y="35"/>
                </a:cxn>
                <a:cxn ang="0">
                  <a:pos x="17" y="36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5" y="11"/>
                </a:cxn>
                <a:cxn ang="0">
                  <a:pos x="5" y="23"/>
                </a:cxn>
                <a:cxn ang="0">
                  <a:pos x="17" y="32"/>
                </a:cxn>
                <a:cxn ang="0">
                  <a:pos x="20" y="32"/>
                </a:cxn>
                <a:cxn ang="0">
                  <a:pos x="25" y="26"/>
                </a:cxn>
                <a:cxn ang="0">
                  <a:pos x="25" y="16"/>
                </a:cxn>
                <a:cxn ang="0">
                  <a:pos x="12" y="4"/>
                </a:cxn>
              </a:cxnLst>
              <a:rect l="0" t="0" r="r" b="b"/>
              <a:pathLst>
                <a:path w="30" h="36">
                  <a:moveTo>
                    <a:pt x="17" y="36"/>
                  </a:moveTo>
                  <a:cubicBezTo>
                    <a:pt x="11" y="36"/>
                    <a:pt x="4" y="31"/>
                    <a:pt x="2" y="24"/>
                  </a:cubicBezTo>
                  <a:cubicBezTo>
                    <a:pt x="1" y="20"/>
                    <a:pt x="0" y="15"/>
                    <a:pt x="1" y="10"/>
                  </a:cubicBezTo>
                  <a:cubicBezTo>
                    <a:pt x="3" y="5"/>
                    <a:pt x="5" y="2"/>
                    <a:pt x="9" y="0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9" y="0"/>
                    <a:pt x="26" y="8"/>
                    <a:pt x="28" y="15"/>
                  </a:cubicBezTo>
                  <a:cubicBezTo>
                    <a:pt x="30" y="19"/>
                    <a:pt x="30" y="23"/>
                    <a:pt x="29" y="27"/>
                  </a:cubicBezTo>
                  <a:cubicBezTo>
                    <a:pt x="27" y="31"/>
                    <a:pt x="24" y="34"/>
                    <a:pt x="21" y="35"/>
                  </a:cubicBezTo>
                  <a:cubicBezTo>
                    <a:pt x="20" y="36"/>
                    <a:pt x="18" y="36"/>
                    <a:pt x="17" y="36"/>
                  </a:cubicBezTo>
                  <a:close/>
                  <a:moveTo>
                    <a:pt x="12" y="4"/>
                  </a:moveTo>
                  <a:cubicBezTo>
                    <a:pt x="11" y="4"/>
                    <a:pt x="10" y="4"/>
                    <a:pt x="10" y="4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4" y="15"/>
                    <a:pt x="4" y="19"/>
                    <a:pt x="5" y="23"/>
                  </a:cubicBezTo>
                  <a:cubicBezTo>
                    <a:pt x="7" y="28"/>
                    <a:pt x="12" y="32"/>
                    <a:pt x="17" y="32"/>
                  </a:cubicBezTo>
                  <a:cubicBezTo>
                    <a:pt x="18" y="32"/>
                    <a:pt x="19" y="32"/>
                    <a:pt x="20" y="32"/>
                  </a:cubicBezTo>
                  <a:cubicBezTo>
                    <a:pt x="22" y="31"/>
                    <a:pt x="24" y="29"/>
                    <a:pt x="25" y="26"/>
                  </a:cubicBezTo>
                  <a:cubicBezTo>
                    <a:pt x="26" y="23"/>
                    <a:pt x="26" y="19"/>
                    <a:pt x="25" y="16"/>
                  </a:cubicBezTo>
                  <a:cubicBezTo>
                    <a:pt x="23" y="9"/>
                    <a:pt x="16" y="4"/>
                    <a:pt x="12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3" name="Freeform 277"/>
            <p:cNvSpPr>
              <a:spLocks noEditPoints="1"/>
            </p:cNvSpPr>
            <p:nvPr/>
          </p:nvSpPr>
          <p:spPr bwMode="auto">
            <a:xfrm>
              <a:off x="2835277" y="5588000"/>
              <a:ext cx="128588" cy="161925"/>
            </a:xfrm>
            <a:custGeom>
              <a:avLst/>
              <a:gdLst/>
              <a:ahLst/>
              <a:cxnLst>
                <a:cxn ang="0">
                  <a:pos x="18" y="43"/>
                </a:cxn>
                <a:cxn ang="0">
                  <a:pos x="1" y="25"/>
                </a:cxn>
                <a:cxn ang="0">
                  <a:pos x="15" y="0"/>
                </a:cxn>
                <a:cxn ang="0">
                  <a:pos x="16" y="0"/>
                </a:cxn>
                <a:cxn ang="0">
                  <a:pos x="33" y="22"/>
                </a:cxn>
                <a:cxn ang="0">
                  <a:pos x="30" y="36"/>
                </a:cxn>
                <a:cxn ang="0">
                  <a:pos x="19" y="43"/>
                </a:cxn>
                <a:cxn ang="0">
                  <a:pos x="18" y="43"/>
                </a:cxn>
                <a:cxn ang="0">
                  <a:pos x="16" y="4"/>
                </a:cxn>
                <a:cxn ang="0">
                  <a:pos x="15" y="4"/>
                </a:cxn>
                <a:cxn ang="0">
                  <a:pos x="5" y="25"/>
                </a:cxn>
                <a:cxn ang="0">
                  <a:pos x="18" y="39"/>
                </a:cxn>
                <a:cxn ang="0">
                  <a:pos x="19" y="39"/>
                </a:cxn>
                <a:cxn ang="0">
                  <a:pos x="27" y="34"/>
                </a:cxn>
                <a:cxn ang="0">
                  <a:pos x="30" y="22"/>
                </a:cxn>
                <a:cxn ang="0">
                  <a:pos x="16" y="4"/>
                </a:cxn>
              </a:cxnLst>
              <a:rect l="0" t="0" r="r" b="b"/>
              <a:pathLst>
                <a:path w="34" h="43">
                  <a:moveTo>
                    <a:pt x="18" y="43"/>
                  </a:moveTo>
                  <a:cubicBezTo>
                    <a:pt x="9" y="43"/>
                    <a:pt x="2" y="35"/>
                    <a:pt x="1" y="25"/>
                  </a:cubicBezTo>
                  <a:cubicBezTo>
                    <a:pt x="0" y="14"/>
                    <a:pt x="6" y="1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25" y="0"/>
                    <a:pt x="32" y="12"/>
                    <a:pt x="33" y="22"/>
                  </a:cubicBezTo>
                  <a:cubicBezTo>
                    <a:pt x="34" y="27"/>
                    <a:pt x="33" y="32"/>
                    <a:pt x="30" y="36"/>
                  </a:cubicBezTo>
                  <a:cubicBezTo>
                    <a:pt x="27" y="40"/>
                    <a:pt x="23" y="43"/>
                    <a:pt x="19" y="43"/>
                  </a:cubicBezTo>
                  <a:cubicBezTo>
                    <a:pt x="19" y="43"/>
                    <a:pt x="18" y="43"/>
                    <a:pt x="18" y="43"/>
                  </a:cubicBezTo>
                  <a:close/>
                  <a:moveTo>
                    <a:pt x="16" y="4"/>
                  </a:moveTo>
                  <a:cubicBezTo>
                    <a:pt x="16" y="4"/>
                    <a:pt x="15" y="4"/>
                    <a:pt x="15" y="4"/>
                  </a:cubicBezTo>
                  <a:cubicBezTo>
                    <a:pt x="8" y="5"/>
                    <a:pt x="4" y="16"/>
                    <a:pt x="5" y="25"/>
                  </a:cubicBezTo>
                  <a:cubicBezTo>
                    <a:pt x="5" y="33"/>
                    <a:pt x="11" y="39"/>
                    <a:pt x="18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22" y="39"/>
                    <a:pt x="25" y="37"/>
                    <a:pt x="27" y="34"/>
                  </a:cubicBezTo>
                  <a:cubicBezTo>
                    <a:pt x="29" y="31"/>
                    <a:pt x="30" y="27"/>
                    <a:pt x="30" y="22"/>
                  </a:cubicBezTo>
                  <a:cubicBezTo>
                    <a:pt x="29" y="14"/>
                    <a:pt x="23" y="4"/>
                    <a:pt x="16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4" name="Freeform 278"/>
            <p:cNvSpPr>
              <a:spLocks noEditPoints="1"/>
            </p:cNvSpPr>
            <p:nvPr/>
          </p:nvSpPr>
          <p:spPr bwMode="auto">
            <a:xfrm>
              <a:off x="2979739" y="5599113"/>
              <a:ext cx="120650" cy="147638"/>
            </a:xfrm>
            <a:custGeom>
              <a:avLst/>
              <a:gdLst/>
              <a:ahLst/>
              <a:cxnLst>
                <a:cxn ang="0">
                  <a:pos x="15" y="39"/>
                </a:cxn>
                <a:cxn ang="0">
                  <a:pos x="13" y="39"/>
                </a:cxn>
                <a:cxn ang="0">
                  <a:pos x="1" y="19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9" y="9"/>
                </a:cxn>
                <a:cxn ang="0">
                  <a:pos x="31" y="24"/>
                </a:cxn>
                <a:cxn ang="0">
                  <a:pos x="15" y="39"/>
                </a:cxn>
                <a:cxn ang="0">
                  <a:pos x="18" y="3"/>
                </a:cxn>
                <a:cxn ang="0">
                  <a:pos x="5" y="20"/>
                </a:cxn>
                <a:cxn ang="0">
                  <a:pos x="14" y="36"/>
                </a:cxn>
                <a:cxn ang="0">
                  <a:pos x="15" y="36"/>
                </a:cxn>
                <a:cxn ang="0">
                  <a:pos x="27" y="23"/>
                </a:cxn>
                <a:cxn ang="0">
                  <a:pos x="26" y="10"/>
                </a:cxn>
                <a:cxn ang="0">
                  <a:pos x="19" y="4"/>
                </a:cxn>
                <a:cxn ang="0">
                  <a:pos x="18" y="3"/>
                </a:cxn>
              </a:cxnLst>
              <a:rect l="0" t="0" r="r" b="b"/>
              <a:pathLst>
                <a:path w="32" h="39">
                  <a:moveTo>
                    <a:pt x="15" y="39"/>
                  </a:moveTo>
                  <a:cubicBezTo>
                    <a:pt x="15" y="39"/>
                    <a:pt x="14" y="39"/>
                    <a:pt x="13" y="39"/>
                  </a:cubicBezTo>
                  <a:cubicBezTo>
                    <a:pt x="5" y="38"/>
                    <a:pt x="0" y="29"/>
                    <a:pt x="1" y="19"/>
                  </a:cubicBezTo>
                  <a:cubicBezTo>
                    <a:pt x="3" y="10"/>
                    <a:pt x="10" y="0"/>
                    <a:pt x="18" y="0"/>
                  </a:cubicBezTo>
                  <a:cubicBezTo>
                    <a:pt x="19" y="0"/>
                    <a:pt x="19" y="0"/>
                    <a:pt x="20" y="0"/>
                  </a:cubicBezTo>
                  <a:cubicBezTo>
                    <a:pt x="24" y="1"/>
                    <a:pt x="27" y="4"/>
                    <a:pt x="29" y="9"/>
                  </a:cubicBezTo>
                  <a:cubicBezTo>
                    <a:pt x="31" y="13"/>
                    <a:pt x="32" y="19"/>
                    <a:pt x="31" y="24"/>
                  </a:cubicBezTo>
                  <a:cubicBezTo>
                    <a:pt x="30" y="33"/>
                    <a:pt x="23" y="39"/>
                    <a:pt x="15" y="39"/>
                  </a:cubicBezTo>
                  <a:close/>
                  <a:moveTo>
                    <a:pt x="18" y="3"/>
                  </a:moveTo>
                  <a:cubicBezTo>
                    <a:pt x="13" y="3"/>
                    <a:pt x="6" y="11"/>
                    <a:pt x="5" y="20"/>
                  </a:cubicBezTo>
                  <a:cubicBezTo>
                    <a:pt x="4" y="28"/>
                    <a:pt x="8" y="35"/>
                    <a:pt x="14" y="36"/>
                  </a:cubicBezTo>
                  <a:cubicBezTo>
                    <a:pt x="14" y="36"/>
                    <a:pt x="15" y="36"/>
                    <a:pt x="15" y="36"/>
                  </a:cubicBezTo>
                  <a:cubicBezTo>
                    <a:pt x="21" y="36"/>
                    <a:pt x="26" y="30"/>
                    <a:pt x="27" y="23"/>
                  </a:cubicBezTo>
                  <a:cubicBezTo>
                    <a:pt x="28" y="19"/>
                    <a:pt x="28" y="14"/>
                    <a:pt x="26" y="10"/>
                  </a:cubicBezTo>
                  <a:cubicBezTo>
                    <a:pt x="24" y="6"/>
                    <a:pt x="22" y="4"/>
                    <a:pt x="19" y="4"/>
                  </a:cubicBezTo>
                  <a:cubicBezTo>
                    <a:pt x="19" y="3"/>
                    <a:pt x="18" y="3"/>
                    <a:pt x="18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5" name="Freeform 279"/>
            <p:cNvSpPr>
              <a:spLocks noEditPoints="1"/>
            </p:cNvSpPr>
            <p:nvPr/>
          </p:nvSpPr>
          <p:spPr bwMode="auto">
            <a:xfrm>
              <a:off x="3081339" y="5724525"/>
              <a:ext cx="100013" cy="125413"/>
            </a:xfrm>
            <a:custGeom>
              <a:avLst/>
              <a:gdLst/>
              <a:ahLst/>
              <a:cxnLst>
                <a:cxn ang="0">
                  <a:pos x="12" y="33"/>
                </a:cxn>
                <a:cxn ang="0">
                  <a:pos x="9" y="32"/>
                </a:cxn>
                <a:cxn ang="0">
                  <a:pos x="2" y="26"/>
                </a:cxn>
                <a:cxn ang="0">
                  <a:pos x="1" y="14"/>
                </a:cxn>
                <a:cxn ang="0">
                  <a:pos x="16" y="0"/>
                </a:cxn>
                <a:cxn ang="0">
                  <a:pos x="18" y="1"/>
                </a:cxn>
                <a:cxn ang="0">
                  <a:pos x="25" y="9"/>
                </a:cxn>
                <a:cxn ang="0">
                  <a:pos x="25" y="21"/>
                </a:cxn>
                <a:cxn ang="0">
                  <a:pos x="12" y="33"/>
                </a:cxn>
                <a:cxn ang="0">
                  <a:pos x="16" y="4"/>
                </a:cxn>
                <a:cxn ang="0">
                  <a:pos x="5" y="15"/>
                </a:cxn>
                <a:cxn ang="0">
                  <a:pos x="5" y="24"/>
                </a:cxn>
                <a:cxn ang="0">
                  <a:pos x="10" y="29"/>
                </a:cxn>
                <a:cxn ang="0">
                  <a:pos x="12" y="29"/>
                </a:cxn>
                <a:cxn ang="0">
                  <a:pos x="22" y="20"/>
                </a:cxn>
                <a:cxn ang="0">
                  <a:pos x="22" y="10"/>
                </a:cxn>
                <a:cxn ang="0">
                  <a:pos x="17" y="4"/>
                </a:cxn>
                <a:cxn ang="0">
                  <a:pos x="16" y="4"/>
                </a:cxn>
              </a:cxnLst>
              <a:rect l="0" t="0" r="r" b="b"/>
              <a:pathLst>
                <a:path w="26" h="33">
                  <a:moveTo>
                    <a:pt x="12" y="33"/>
                  </a:moveTo>
                  <a:cubicBezTo>
                    <a:pt x="11" y="33"/>
                    <a:pt x="10" y="33"/>
                    <a:pt x="9" y="32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2"/>
                    <a:pt x="0" y="18"/>
                    <a:pt x="1" y="14"/>
                  </a:cubicBezTo>
                  <a:cubicBezTo>
                    <a:pt x="3" y="8"/>
                    <a:pt x="10" y="0"/>
                    <a:pt x="16" y="0"/>
                  </a:cubicBezTo>
                  <a:cubicBezTo>
                    <a:pt x="17" y="0"/>
                    <a:pt x="18" y="1"/>
                    <a:pt x="18" y="1"/>
                  </a:cubicBezTo>
                  <a:cubicBezTo>
                    <a:pt x="22" y="2"/>
                    <a:pt x="24" y="5"/>
                    <a:pt x="25" y="9"/>
                  </a:cubicBezTo>
                  <a:cubicBezTo>
                    <a:pt x="26" y="13"/>
                    <a:pt x="26" y="18"/>
                    <a:pt x="25" y="21"/>
                  </a:cubicBezTo>
                  <a:cubicBezTo>
                    <a:pt x="23" y="28"/>
                    <a:pt x="18" y="33"/>
                    <a:pt x="12" y="33"/>
                  </a:cubicBezTo>
                  <a:close/>
                  <a:moveTo>
                    <a:pt x="16" y="4"/>
                  </a:moveTo>
                  <a:cubicBezTo>
                    <a:pt x="12" y="4"/>
                    <a:pt x="6" y="9"/>
                    <a:pt x="5" y="15"/>
                  </a:cubicBezTo>
                  <a:cubicBezTo>
                    <a:pt x="4" y="18"/>
                    <a:pt x="4" y="22"/>
                    <a:pt x="5" y="24"/>
                  </a:cubicBezTo>
                  <a:cubicBezTo>
                    <a:pt x="6" y="27"/>
                    <a:pt x="8" y="28"/>
                    <a:pt x="10" y="29"/>
                  </a:cubicBezTo>
                  <a:cubicBezTo>
                    <a:pt x="11" y="29"/>
                    <a:pt x="11" y="29"/>
                    <a:pt x="12" y="29"/>
                  </a:cubicBezTo>
                  <a:cubicBezTo>
                    <a:pt x="16" y="29"/>
                    <a:pt x="20" y="25"/>
                    <a:pt x="22" y="20"/>
                  </a:cubicBezTo>
                  <a:cubicBezTo>
                    <a:pt x="23" y="17"/>
                    <a:pt x="23" y="13"/>
                    <a:pt x="22" y="10"/>
                  </a:cubicBezTo>
                  <a:cubicBezTo>
                    <a:pt x="21" y="7"/>
                    <a:pt x="19" y="5"/>
                    <a:pt x="17" y="4"/>
                  </a:cubicBezTo>
                  <a:cubicBezTo>
                    <a:pt x="17" y="4"/>
                    <a:pt x="17" y="4"/>
                    <a:pt x="16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56" name="Freeform 280"/>
            <p:cNvSpPr>
              <a:spLocks noEditPoints="1"/>
            </p:cNvSpPr>
            <p:nvPr/>
          </p:nvSpPr>
          <p:spPr bwMode="auto">
            <a:xfrm>
              <a:off x="2789239" y="5746750"/>
              <a:ext cx="373063" cy="261938"/>
            </a:xfrm>
            <a:custGeom>
              <a:avLst/>
              <a:gdLst/>
              <a:ahLst/>
              <a:cxnLst>
                <a:cxn ang="0">
                  <a:pos x="71" y="69"/>
                </a:cxn>
                <a:cxn ang="0">
                  <a:pos x="63" y="67"/>
                </a:cxn>
                <a:cxn ang="0">
                  <a:pos x="63" y="67"/>
                </a:cxn>
                <a:cxn ang="0">
                  <a:pos x="48" y="64"/>
                </a:cxn>
                <a:cxn ang="0">
                  <a:pos x="35" y="67"/>
                </a:cxn>
                <a:cxn ang="0">
                  <a:pos x="23" y="69"/>
                </a:cxn>
                <a:cxn ang="0">
                  <a:pos x="11" y="64"/>
                </a:cxn>
                <a:cxn ang="0">
                  <a:pos x="8" y="39"/>
                </a:cxn>
                <a:cxn ang="0">
                  <a:pos x="28" y="14"/>
                </a:cxn>
                <a:cxn ang="0">
                  <a:pos x="47" y="0"/>
                </a:cxn>
                <a:cxn ang="0">
                  <a:pos x="49" y="0"/>
                </a:cxn>
                <a:cxn ang="0">
                  <a:pos x="63" y="8"/>
                </a:cxn>
                <a:cxn ang="0">
                  <a:pos x="87" y="37"/>
                </a:cxn>
                <a:cxn ang="0">
                  <a:pos x="85" y="63"/>
                </a:cxn>
                <a:cxn ang="0">
                  <a:pos x="71" y="69"/>
                </a:cxn>
                <a:cxn ang="0">
                  <a:pos x="64" y="64"/>
                </a:cxn>
                <a:cxn ang="0">
                  <a:pos x="71" y="66"/>
                </a:cxn>
                <a:cxn ang="0">
                  <a:pos x="83" y="61"/>
                </a:cxn>
                <a:cxn ang="0">
                  <a:pos x="84" y="39"/>
                </a:cxn>
                <a:cxn ang="0">
                  <a:pos x="84" y="39"/>
                </a:cxn>
                <a:cxn ang="0">
                  <a:pos x="60" y="10"/>
                </a:cxn>
                <a:cxn ang="0">
                  <a:pos x="60" y="10"/>
                </a:cxn>
                <a:cxn ang="0">
                  <a:pos x="49" y="4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31" y="16"/>
                </a:cxn>
                <a:cxn ang="0">
                  <a:pos x="31" y="16"/>
                </a:cxn>
                <a:cxn ang="0">
                  <a:pos x="11" y="41"/>
                </a:cxn>
                <a:cxn ang="0">
                  <a:pos x="13" y="61"/>
                </a:cxn>
                <a:cxn ang="0">
                  <a:pos x="13" y="62"/>
                </a:cxn>
                <a:cxn ang="0">
                  <a:pos x="23" y="65"/>
                </a:cxn>
                <a:cxn ang="0">
                  <a:pos x="33" y="63"/>
                </a:cxn>
                <a:cxn ang="0">
                  <a:pos x="33" y="63"/>
                </a:cxn>
                <a:cxn ang="0">
                  <a:pos x="48" y="60"/>
                </a:cxn>
                <a:cxn ang="0">
                  <a:pos x="64" y="64"/>
                </a:cxn>
              </a:cxnLst>
              <a:rect l="0" t="0" r="r" b="b"/>
              <a:pathLst>
                <a:path w="98" h="69">
                  <a:moveTo>
                    <a:pt x="71" y="69"/>
                  </a:moveTo>
                  <a:cubicBezTo>
                    <a:pt x="68" y="69"/>
                    <a:pt x="66" y="69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57" y="64"/>
                    <a:pt x="48" y="64"/>
                  </a:cubicBezTo>
                  <a:cubicBezTo>
                    <a:pt x="44" y="64"/>
                    <a:pt x="39" y="65"/>
                    <a:pt x="35" y="67"/>
                  </a:cubicBezTo>
                  <a:cubicBezTo>
                    <a:pt x="34" y="67"/>
                    <a:pt x="29" y="69"/>
                    <a:pt x="23" y="69"/>
                  </a:cubicBezTo>
                  <a:cubicBezTo>
                    <a:pt x="17" y="69"/>
                    <a:pt x="13" y="67"/>
                    <a:pt x="11" y="64"/>
                  </a:cubicBezTo>
                  <a:cubicBezTo>
                    <a:pt x="6" y="60"/>
                    <a:pt x="0" y="49"/>
                    <a:pt x="8" y="39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3"/>
                    <a:pt x="37" y="1"/>
                    <a:pt x="47" y="0"/>
                  </a:cubicBezTo>
                  <a:cubicBezTo>
                    <a:pt x="47" y="0"/>
                    <a:pt x="48" y="0"/>
                    <a:pt x="49" y="0"/>
                  </a:cubicBezTo>
                  <a:cubicBezTo>
                    <a:pt x="52" y="0"/>
                    <a:pt x="59" y="1"/>
                    <a:pt x="63" y="8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8" y="38"/>
                    <a:pt x="98" y="50"/>
                    <a:pt x="85" y="63"/>
                  </a:cubicBezTo>
                  <a:cubicBezTo>
                    <a:pt x="85" y="64"/>
                    <a:pt x="80" y="69"/>
                    <a:pt x="71" y="69"/>
                  </a:cubicBezTo>
                  <a:close/>
                  <a:moveTo>
                    <a:pt x="64" y="64"/>
                  </a:moveTo>
                  <a:cubicBezTo>
                    <a:pt x="67" y="65"/>
                    <a:pt x="69" y="66"/>
                    <a:pt x="71" y="66"/>
                  </a:cubicBezTo>
                  <a:cubicBezTo>
                    <a:pt x="78" y="66"/>
                    <a:pt x="83" y="61"/>
                    <a:pt x="83" y="61"/>
                  </a:cubicBezTo>
                  <a:cubicBezTo>
                    <a:pt x="93" y="50"/>
                    <a:pt x="84" y="40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7" y="5"/>
                    <a:pt x="52" y="4"/>
                    <a:pt x="49" y="4"/>
                  </a:cubicBezTo>
                  <a:cubicBezTo>
                    <a:pt x="48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39" y="4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3" y="51"/>
                    <a:pt x="13" y="61"/>
                    <a:pt x="13" y="61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5" y="64"/>
                    <a:pt x="18" y="65"/>
                    <a:pt x="23" y="65"/>
                  </a:cubicBezTo>
                  <a:cubicBezTo>
                    <a:pt x="28" y="65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8" y="61"/>
                    <a:pt x="43" y="60"/>
                    <a:pt x="48" y="60"/>
                  </a:cubicBezTo>
                  <a:cubicBezTo>
                    <a:pt x="58" y="60"/>
                    <a:pt x="64" y="64"/>
                    <a:pt x="64" y="6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59" name="Group 283"/>
          <p:cNvGrpSpPr>
            <a:grpSpLocks noChangeAspect="1"/>
          </p:cNvGrpSpPr>
          <p:nvPr/>
        </p:nvGrpSpPr>
        <p:grpSpPr bwMode="auto">
          <a:xfrm>
            <a:off x="3671887" y="5427663"/>
            <a:ext cx="784225" cy="784225"/>
            <a:chOff x="2328" y="3419"/>
            <a:chExt cx="494" cy="494"/>
          </a:xfrm>
        </p:grpSpPr>
        <p:sp>
          <p:nvSpPr>
            <p:cNvPr id="50460" name="Freeform 284"/>
            <p:cNvSpPr>
              <a:spLocks noEditPoints="1"/>
            </p:cNvSpPr>
            <p:nvPr/>
          </p:nvSpPr>
          <p:spPr bwMode="auto">
            <a:xfrm>
              <a:off x="2328" y="3419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7" y="0"/>
                    <a:pt x="0" y="47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61" name="Freeform 285"/>
            <p:cNvSpPr>
              <a:spLocks noEditPoints="1"/>
            </p:cNvSpPr>
            <p:nvPr/>
          </p:nvSpPr>
          <p:spPr bwMode="auto">
            <a:xfrm>
              <a:off x="2436" y="3599"/>
              <a:ext cx="72" cy="86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28" y="15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1" y="10"/>
                </a:cxn>
                <a:cxn ang="0">
                  <a:pos x="2" y="24"/>
                </a:cxn>
                <a:cxn ang="0">
                  <a:pos x="17" y="36"/>
                </a:cxn>
                <a:cxn ang="0">
                  <a:pos x="21" y="35"/>
                </a:cxn>
                <a:cxn ang="0">
                  <a:pos x="28" y="27"/>
                </a:cxn>
                <a:cxn ang="0">
                  <a:pos x="17" y="32"/>
                </a:cxn>
                <a:cxn ang="0">
                  <a:pos x="5" y="23"/>
                </a:cxn>
                <a:cxn ang="0">
                  <a:pos x="5" y="11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25" y="16"/>
                </a:cxn>
                <a:cxn ang="0">
                  <a:pos x="25" y="26"/>
                </a:cxn>
                <a:cxn ang="0">
                  <a:pos x="19" y="32"/>
                </a:cxn>
                <a:cxn ang="0">
                  <a:pos x="17" y="32"/>
                </a:cxn>
              </a:cxnLst>
              <a:rect l="0" t="0" r="r" b="b"/>
              <a:pathLst>
                <a:path w="30" h="36">
                  <a:moveTo>
                    <a:pt x="28" y="27"/>
                  </a:moveTo>
                  <a:cubicBezTo>
                    <a:pt x="30" y="23"/>
                    <a:pt x="30" y="19"/>
                    <a:pt x="28" y="15"/>
                  </a:cubicBezTo>
                  <a:cubicBezTo>
                    <a:pt x="26" y="8"/>
                    <a:pt x="19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5" y="2"/>
                    <a:pt x="2" y="5"/>
                    <a:pt x="1" y="10"/>
                  </a:cubicBezTo>
                  <a:cubicBezTo>
                    <a:pt x="0" y="15"/>
                    <a:pt x="0" y="20"/>
                    <a:pt x="2" y="24"/>
                  </a:cubicBezTo>
                  <a:cubicBezTo>
                    <a:pt x="4" y="31"/>
                    <a:pt x="10" y="36"/>
                    <a:pt x="17" y="36"/>
                  </a:cubicBezTo>
                  <a:cubicBezTo>
                    <a:pt x="18" y="36"/>
                    <a:pt x="19" y="36"/>
                    <a:pt x="21" y="35"/>
                  </a:cubicBezTo>
                  <a:cubicBezTo>
                    <a:pt x="24" y="34"/>
                    <a:pt x="27" y="31"/>
                    <a:pt x="28" y="27"/>
                  </a:cubicBezTo>
                  <a:close/>
                  <a:moveTo>
                    <a:pt x="17" y="32"/>
                  </a:moveTo>
                  <a:cubicBezTo>
                    <a:pt x="12" y="32"/>
                    <a:pt x="7" y="28"/>
                    <a:pt x="5" y="23"/>
                  </a:cubicBezTo>
                  <a:cubicBezTo>
                    <a:pt x="4" y="19"/>
                    <a:pt x="4" y="15"/>
                    <a:pt x="5" y="11"/>
                  </a:cubicBezTo>
                  <a:cubicBezTo>
                    <a:pt x="6" y="7"/>
                    <a:pt x="7" y="5"/>
                    <a:pt x="10" y="4"/>
                  </a:cubicBezTo>
                  <a:cubicBezTo>
                    <a:pt x="10" y="4"/>
                    <a:pt x="11" y="4"/>
                    <a:pt x="12" y="4"/>
                  </a:cubicBezTo>
                  <a:cubicBezTo>
                    <a:pt x="16" y="4"/>
                    <a:pt x="23" y="9"/>
                    <a:pt x="25" y="16"/>
                  </a:cubicBezTo>
                  <a:cubicBezTo>
                    <a:pt x="26" y="19"/>
                    <a:pt x="26" y="23"/>
                    <a:pt x="25" y="26"/>
                  </a:cubicBezTo>
                  <a:cubicBezTo>
                    <a:pt x="24" y="29"/>
                    <a:pt x="22" y="31"/>
                    <a:pt x="19" y="32"/>
                  </a:cubicBezTo>
                  <a:cubicBezTo>
                    <a:pt x="19" y="32"/>
                    <a:pt x="18" y="32"/>
                    <a:pt x="17" y="3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62" name="Freeform 286"/>
            <p:cNvSpPr>
              <a:spLocks noEditPoints="1"/>
            </p:cNvSpPr>
            <p:nvPr/>
          </p:nvSpPr>
          <p:spPr bwMode="auto">
            <a:xfrm>
              <a:off x="2496" y="3522"/>
              <a:ext cx="82" cy="103"/>
            </a:xfrm>
            <a:custGeom>
              <a:avLst/>
              <a:gdLst/>
              <a:ahLst/>
              <a:cxnLst>
                <a:cxn ang="0">
                  <a:pos x="18" y="43"/>
                </a:cxn>
                <a:cxn ang="0">
                  <a:pos x="19" y="43"/>
                </a:cxn>
                <a:cxn ang="0">
                  <a:pos x="30" y="36"/>
                </a:cxn>
                <a:cxn ang="0">
                  <a:pos x="33" y="22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" y="25"/>
                </a:cxn>
                <a:cxn ang="0">
                  <a:pos x="18" y="43"/>
                </a:cxn>
                <a:cxn ang="0">
                  <a:pos x="15" y="4"/>
                </a:cxn>
                <a:cxn ang="0">
                  <a:pos x="16" y="4"/>
                </a:cxn>
                <a:cxn ang="0">
                  <a:pos x="29" y="22"/>
                </a:cxn>
                <a:cxn ang="0">
                  <a:pos x="27" y="34"/>
                </a:cxn>
                <a:cxn ang="0">
                  <a:pos x="19" y="39"/>
                </a:cxn>
                <a:cxn ang="0">
                  <a:pos x="18" y="39"/>
                </a:cxn>
                <a:cxn ang="0">
                  <a:pos x="5" y="25"/>
                </a:cxn>
                <a:cxn ang="0">
                  <a:pos x="15" y="4"/>
                </a:cxn>
              </a:cxnLst>
              <a:rect l="0" t="0" r="r" b="b"/>
              <a:pathLst>
                <a:path w="34" h="43">
                  <a:moveTo>
                    <a:pt x="18" y="43"/>
                  </a:moveTo>
                  <a:cubicBezTo>
                    <a:pt x="18" y="43"/>
                    <a:pt x="19" y="43"/>
                    <a:pt x="19" y="43"/>
                  </a:cubicBezTo>
                  <a:cubicBezTo>
                    <a:pt x="23" y="43"/>
                    <a:pt x="27" y="40"/>
                    <a:pt x="30" y="36"/>
                  </a:cubicBezTo>
                  <a:cubicBezTo>
                    <a:pt x="32" y="32"/>
                    <a:pt x="34" y="27"/>
                    <a:pt x="33" y="22"/>
                  </a:cubicBezTo>
                  <a:cubicBezTo>
                    <a:pt x="32" y="12"/>
                    <a:pt x="24" y="0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1"/>
                    <a:pt x="0" y="14"/>
                    <a:pt x="1" y="25"/>
                  </a:cubicBezTo>
                  <a:cubicBezTo>
                    <a:pt x="2" y="35"/>
                    <a:pt x="9" y="43"/>
                    <a:pt x="18" y="43"/>
                  </a:cubicBezTo>
                  <a:close/>
                  <a:moveTo>
                    <a:pt x="15" y="4"/>
                  </a:moveTo>
                  <a:cubicBezTo>
                    <a:pt x="15" y="4"/>
                    <a:pt x="16" y="4"/>
                    <a:pt x="16" y="4"/>
                  </a:cubicBezTo>
                  <a:cubicBezTo>
                    <a:pt x="22" y="4"/>
                    <a:pt x="29" y="14"/>
                    <a:pt x="29" y="22"/>
                  </a:cubicBezTo>
                  <a:cubicBezTo>
                    <a:pt x="30" y="27"/>
                    <a:pt x="29" y="31"/>
                    <a:pt x="27" y="34"/>
                  </a:cubicBezTo>
                  <a:cubicBezTo>
                    <a:pt x="25" y="37"/>
                    <a:pt x="22" y="39"/>
                    <a:pt x="19" y="3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1" y="39"/>
                    <a:pt x="5" y="33"/>
                    <a:pt x="5" y="25"/>
                  </a:cubicBezTo>
                  <a:cubicBezTo>
                    <a:pt x="4" y="16"/>
                    <a:pt x="8" y="5"/>
                    <a:pt x="15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63" name="Freeform 287"/>
            <p:cNvSpPr>
              <a:spLocks noEditPoints="1"/>
            </p:cNvSpPr>
            <p:nvPr/>
          </p:nvSpPr>
          <p:spPr bwMode="auto">
            <a:xfrm>
              <a:off x="2587" y="3530"/>
              <a:ext cx="77" cy="93"/>
            </a:xfrm>
            <a:custGeom>
              <a:avLst/>
              <a:gdLst/>
              <a:ahLst/>
              <a:cxnLst>
                <a:cxn ang="0">
                  <a:pos x="13" y="39"/>
                </a:cxn>
                <a:cxn ang="0">
                  <a:pos x="15" y="39"/>
                </a:cxn>
                <a:cxn ang="0">
                  <a:pos x="31" y="24"/>
                </a:cxn>
                <a:cxn ang="0">
                  <a:pos x="29" y="9"/>
                </a:cxn>
                <a:cxn ang="0">
                  <a:pos x="19" y="0"/>
                </a:cxn>
                <a:cxn ang="0">
                  <a:pos x="18" y="0"/>
                </a:cxn>
                <a:cxn ang="0">
                  <a:pos x="1" y="19"/>
                </a:cxn>
                <a:cxn ang="0">
                  <a:pos x="13" y="39"/>
                </a:cxn>
                <a:cxn ang="0">
                  <a:pos x="5" y="20"/>
                </a:cxn>
                <a:cxn ang="0">
                  <a:pos x="18" y="3"/>
                </a:cxn>
                <a:cxn ang="0">
                  <a:pos x="19" y="4"/>
                </a:cxn>
                <a:cxn ang="0">
                  <a:pos x="26" y="10"/>
                </a:cxn>
                <a:cxn ang="0">
                  <a:pos x="27" y="23"/>
                </a:cxn>
                <a:cxn ang="0">
                  <a:pos x="15" y="36"/>
                </a:cxn>
                <a:cxn ang="0">
                  <a:pos x="14" y="36"/>
                </a:cxn>
                <a:cxn ang="0">
                  <a:pos x="5" y="20"/>
                </a:cxn>
              </a:cxnLst>
              <a:rect l="0" t="0" r="r" b="b"/>
              <a:pathLst>
                <a:path w="32" h="39">
                  <a:moveTo>
                    <a:pt x="13" y="39"/>
                  </a:moveTo>
                  <a:cubicBezTo>
                    <a:pt x="14" y="39"/>
                    <a:pt x="15" y="39"/>
                    <a:pt x="15" y="39"/>
                  </a:cubicBezTo>
                  <a:cubicBezTo>
                    <a:pt x="23" y="39"/>
                    <a:pt x="30" y="33"/>
                    <a:pt x="31" y="24"/>
                  </a:cubicBezTo>
                  <a:cubicBezTo>
                    <a:pt x="32" y="19"/>
                    <a:pt x="31" y="13"/>
                    <a:pt x="29" y="9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0" y="0"/>
                    <a:pt x="3" y="10"/>
                    <a:pt x="1" y="19"/>
                  </a:cubicBezTo>
                  <a:cubicBezTo>
                    <a:pt x="0" y="29"/>
                    <a:pt x="5" y="38"/>
                    <a:pt x="13" y="39"/>
                  </a:cubicBezTo>
                  <a:close/>
                  <a:moveTo>
                    <a:pt x="5" y="20"/>
                  </a:moveTo>
                  <a:cubicBezTo>
                    <a:pt x="6" y="11"/>
                    <a:pt x="13" y="3"/>
                    <a:pt x="18" y="3"/>
                  </a:cubicBezTo>
                  <a:cubicBezTo>
                    <a:pt x="18" y="3"/>
                    <a:pt x="19" y="3"/>
                    <a:pt x="19" y="4"/>
                  </a:cubicBezTo>
                  <a:cubicBezTo>
                    <a:pt x="22" y="4"/>
                    <a:pt x="24" y="6"/>
                    <a:pt x="26" y="10"/>
                  </a:cubicBezTo>
                  <a:cubicBezTo>
                    <a:pt x="27" y="14"/>
                    <a:pt x="28" y="19"/>
                    <a:pt x="27" y="23"/>
                  </a:cubicBezTo>
                  <a:cubicBezTo>
                    <a:pt x="26" y="30"/>
                    <a:pt x="21" y="36"/>
                    <a:pt x="15" y="36"/>
                  </a:cubicBezTo>
                  <a:cubicBezTo>
                    <a:pt x="15" y="36"/>
                    <a:pt x="14" y="36"/>
                    <a:pt x="14" y="36"/>
                  </a:cubicBezTo>
                  <a:cubicBezTo>
                    <a:pt x="8" y="35"/>
                    <a:pt x="4" y="28"/>
                    <a:pt x="5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64" name="Freeform 288"/>
            <p:cNvSpPr>
              <a:spLocks noEditPoints="1"/>
            </p:cNvSpPr>
            <p:nvPr/>
          </p:nvSpPr>
          <p:spPr bwMode="auto">
            <a:xfrm>
              <a:off x="2652" y="3609"/>
              <a:ext cx="62" cy="79"/>
            </a:xfrm>
            <a:custGeom>
              <a:avLst/>
              <a:gdLst/>
              <a:ahLst/>
              <a:cxnLst>
                <a:cxn ang="0">
                  <a:pos x="18" y="1"/>
                </a:cxn>
                <a:cxn ang="0">
                  <a:pos x="16" y="0"/>
                </a:cxn>
                <a:cxn ang="0">
                  <a:pos x="1" y="14"/>
                </a:cxn>
                <a:cxn ang="0">
                  <a:pos x="2" y="26"/>
                </a:cxn>
                <a:cxn ang="0">
                  <a:pos x="9" y="32"/>
                </a:cxn>
                <a:cxn ang="0">
                  <a:pos x="12" y="33"/>
                </a:cxn>
                <a:cxn ang="0">
                  <a:pos x="25" y="21"/>
                </a:cxn>
                <a:cxn ang="0">
                  <a:pos x="25" y="9"/>
                </a:cxn>
                <a:cxn ang="0">
                  <a:pos x="18" y="1"/>
                </a:cxn>
                <a:cxn ang="0">
                  <a:pos x="22" y="20"/>
                </a:cxn>
                <a:cxn ang="0">
                  <a:pos x="12" y="29"/>
                </a:cxn>
                <a:cxn ang="0">
                  <a:pos x="10" y="29"/>
                </a:cxn>
                <a:cxn ang="0">
                  <a:pos x="5" y="24"/>
                </a:cxn>
                <a:cxn ang="0">
                  <a:pos x="5" y="15"/>
                </a:cxn>
                <a:cxn ang="0">
                  <a:pos x="16" y="4"/>
                </a:cxn>
                <a:cxn ang="0">
                  <a:pos x="17" y="4"/>
                </a:cxn>
                <a:cxn ang="0">
                  <a:pos x="22" y="10"/>
                </a:cxn>
                <a:cxn ang="0">
                  <a:pos x="22" y="20"/>
                </a:cxn>
              </a:cxnLst>
              <a:rect l="0" t="0" r="r" b="b"/>
              <a:pathLst>
                <a:path w="26" h="33">
                  <a:moveTo>
                    <a:pt x="18" y="1"/>
                  </a:moveTo>
                  <a:cubicBezTo>
                    <a:pt x="18" y="1"/>
                    <a:pt x="17" y="0"/>
                    <a:pt x="16" y="0"/>
                  </a:cubicBezTo>
                  <a:cubicBezTo>
                    <a:pt x="10" y="0"/>
                    <a:pt x="3" y="8"/>
                    <a:pt x="1" y="14"/>
                  </a:cubicBezTo>
                  <a:cubicBezTo>
                    <a:pt x="0" y="18"/>
                    <a:pt x="0" y="22"/>
                    <a:pt x="2" y="26"/>
                  </a:cubicBezTo>
                  <a:cubicBezTo>
                    <a:pt x="3" y="29"/>
                    <a:pt x="6" y="31"/>
                    <a:pt x="9" y="32"/>
                  </a:cubicBezTo>
                  <a:cubicBezTo>
                    <a:pt x="10" y="33"/>
                    <a:pt x="11" y="33"/>
                    <a:pt x="12" y="33"/>
                  </a:cubicBezTo>
                  <a:cubicBezTo>
                    <a:pt x="18" y="33"/>
                    <a:pt x="23" y="28"/>
                    <a:pt x="25" y="21"/>
                  </a:cubicBezTo>
                  <a:cubicBezTo>
                    <a:pt x="26" y="18"/>
                    <a:pt x="26" y="13"/>
                    <a:pt x="25" y="9"/>
                  </a:cubicBezTo>
                  <a:cubicBezTo>
                    <a:pt x="24" y="5"/>
                    <a:pt x="22" y="2"/>
                    <a:pt x="18" y="1"/>
                  </a:cubicBezTo>
                  <a:close/>
                  <a:moveTo>
                    <a:pt x="22" y="20"/>
                  </a:moveTo>
                  <a:cubicBezTo>
                    <a:pt x="20" y="25"/>
                    <a:pt x="16" y="29"/>
                    <a:pt x="12" y="29"/>
                  </a:cubicBezTo>
                  <a:cubicBezTo>
                    <a:pt x="11" y="29"/>
                    <a:pt x="11" y="29"/>
                    <a:pt x="10" y="29"/>
                  </a:cubicBezTo>
                  <a:cubicBezTo>
                    <a:pt x="8" y="28"/>
                    <a:pt x="6" y="27"/>
                    <a:pt x="5" y="24"/>
                  </a:cubicBezTo>
                  <a:cubicBezTo>
                    <a:pt x="4" y="22"/>
                    <a:pt x="4" y="18"/>
                    <a:pt x="5" y="15"/>
                  </a:cubicBezTo>
                  <a:cubicBezTo>
                    <a:pt x="6" y="9"/>
                    <a:pt x="12" y="4"/>
                    <a:pt x="16" y="4"/>
                  </a:cubicBezTo>
                  <a:cubicBezTo>
                    <a:pt x="16" y="4"/>
                    <a:pt x="17" y="4"/>
                    <a:pt x="17" y="4"/>
                  </a:cubicBezTo>
                  <a:cubicBezTo>
                    <a:pt x="19" y="5"/>
                    <a:pt x="21" y="7"/>
                    <a:pt x="22" y="10"/>
                  </a:cubicBezTo>
                  <a:cubicBezTo>
                    <a:pt x="23" y="13"/>
                    <a:pt x="23" y="17"/>
                    <a:pt x="22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65" name="Freeform 289"/>
            <p:cNvSpPr>
              <a:spLocks noEditPoints="1"/>
            </p:cNvSpPr>
            <p:nvPr/>
          </p:nvSpPr>
          <p:spPr bwMode="auto">
            <a:xfrm>
              <a:off x="2467" y="3623"/>
              <a:ext cx="235" cy="165"/>
            </a:xfrm>
            <a:custGeom>
              <a:avLst/>
              <a:gdLst/>
              <a:ahLst/>
              <a:cxnLst>
                <a:cxn ang="0">
                  <a:pos x="63" y="8"/>
                </a:cxn>
                <a:cxn ang="0">
                  <a:pos x="49" y="0"/>
                </a:cxn>
                <a:cxn ang="0">
                  <a:pos x="47" y="0"/>
                </a:cxn>
                <a:cxn ang="0">
                  <a:pos x="28" y="14"/>
                </a:cxn>
                <a:cxn ang="0">
                  <a:pos x="8" y="39"/>
                </a:cxn>
                <a:cxn ang="0">
                  <a:pos x="10" y="64"/>
                </a:cxn>
                <a:cxn ang="0">
                  <a:pos x="23" y="69"/>
                </a:cxn>
                <a:cxn ang="0">
                  <a:pos x="35" y="67"/>
                </a:cxn>
                <a:cxn ang="0">
                  <a:pos x="48" y="64"/>
                </a:cxn>
                <a:cxn ang="0">
                  <a:pos x="63" y="67"/>
                </a:cxn>
                <a:cxn ang="0">
                  <a:pos x="63" y="67"/>
                </a:cxn>
                <a:cxn ang="0">
                  <a:pos x="71" y="69"/>
                </a:cxn>
                <a:cxn ang="0">
                  <a:pos x="85" y="63"/>
                </a:cxn>
                <a:cxn ang="0">
                  <a:pos x="87" y="37"/>
                </a:cxn>
                <a:cxn ang="0">
                  <a:pos x="63" y="8"/>
                </a:cxn>
                <a:cxn ang="0">
                  <a:pos x="83" y="61"/>
                </a:cxn>
                <a:cxn ang="0">
                  <a:pos x="71" y="66"/>
                </a:cxn>
                <a:cxn ang="0">
                  <a:pos x="64" y="64"/>
                </a:cxn>
                <a:cxn ang="0">
                  <a:pos x="48" y="60"/>
                </a:cxn>
                <a:cxn ang="0">
                  <a:pos x="33" y="63"/>
                </a:cxn>
                <a:cxn ang="0">
                  <a:pos x="33" y="63"/>
                </a:cxn>
                <a:cxn ang="0">
                  <a:pos x="23" y="65"/>
                </a:cxn>
                <a:cxn ang="0">
                  <a:pos x="13" y="62"/>
                </a:cxn>
                <a:cxn ang="0">
                  <a:pos x="13" y="61"/>
                </a:cxn>
                <a:cxn ang="0">
                  <a:pos x="11" y="41"/>
                </a:cxn>
                <a:cxn ang="0">
                  <a:pos x="30" y="16"/>
                </a:cxn>
                <a:cxn ang="0">
                  <a:pos x="31" y="16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49" y="4"/>
                </a:cxn>
                <a:cxn ang="0">
                  <a:pos x="60" y="10"/>
                </a:cxn>
                <a:cxn ang="0">
                  <a:pos x="60" y="10"/>
                </a:cxn>
                <a:cxn ang="0">
                  <a:pos x="84" y="39"/>
                </a:cxn>
                <a:cxn ang="0">
                  <a:pos x="84" y="39"/>
                </a:cxn>
                <a:cxn ang="0">
                  <a:pos x="83" y="61"/>
                </a:cxn>
              </a:cxnLst>
              <a:rect l="0" t="0" r="r" b="b"/>
              <a:pathLst>
                <a:path w="98" h="69">
                  <a:moveTo>
                    <a:pt x="63" y="8"/>
                  </a:moveTo>
                  <a:cubicBezTo>
                    <a:pt x="59" y="1"/>
                    <a:pt x="52" y="0"/>
                    <a:pt x="49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37" y="1"/>
                    <a:pt x="28" y="13"/>
                    <a:pt x="28" y="1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49"/>
                    <a:pt x="6" y="60"/>
                    <a:pt x="10" y="64"/>
                  </a:cubicBezTo>
                  <a:cubicBezTo>
                    <a:pt x="13" y="67"/>
                    <a:pt x="17" y="69"/>
                    <a:pt x="23" y="69"/>
                  </a:cubicBezTo>
                  <a:cubicBezTo>
                    <a:pt x="29" y="69"/>
                    <a:pt x="34" y="67"/>
                    <a:pt x="35" y="67"/>
                  </a:cubicBezTo>
                  <a:cubicBezTo>
                    <a:pt x="39" y="65"/>
                    <a:pt x="44" y="64"/>
                    <a:pt x="48" y="64"/>
                  </a:cubicBezTo>
                  <a:cubicBezTo>
                    <a:pt x="57" y="64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5" y="69"/>
                    <a:pt x="68" y="69"/>
                    <a:pt x="71" y="69"/>
                  </a:cubicBezTo>
                  <a:cubicBezTo>
                    <a:pt x="79" y="69"/>
                    <a:pt x="85" y="64"/>
                    <a:pt x="85" y="63"/>
                  </a:cubicBezTo>
                  <a:cubicBezTo>
                    <a:pt x="98" y="50"/>
                    <a:pt x="88" y="38"/>
                    <a:pt x="87" y="37"/>
                  </a:cubicBezTo>
                  <a:lnTo>
                    <a:pt x="63" y="8"/>
                  </a:lnTo>
                  <a:close/>
                  <a:moveTo>
                    <a:pt x="83" y="61"/>
                  </a:moveTo>
                  <a:cubicBezTo>
                    <a:pt x="83" y="61"/>
                    <a:pt x="78" y="66"/>
                    <a:pt x="71" y="66"/>
                  </a:cubicBezTo>
                  <a:cubicBezTo>
                    <a:pt x="69" y="66"/>
                    <a:pt x="67" y="65"/>
                    <a:pt x="64" y="64"/>
                  </a:cubicBezTo>
                  <a:cubicBezTo>
                    <a:pt x="63" y="64"/>
                    <a:pt x="57" y="60"/>
                    <a:pt x="48" y="60"/>
                  </a:cubicBezTo>
                  <a:cubicBezTo>
                    <a:pt x="43" y="60"/>
                    <a:pt x="38" y="61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28" y="65"/>
                    <a:pt x="23" y="65"/>
                  </a:cubicBezTo>
                  <a:cubicBezTo>
                    <a:pt x="18" y="65"/>
                    <a:pt x="15" y="64"/>
                    <a:pt x="13" y="62"/>
                  </a:cubicBezTo>
                  <a:cubicBezTo>
                    <a:pt x="13" y="62"/>
                    <a:pt x="13" y="62"/>
                    <a:pt x="13" y="61"/>
                  </a:cubicBezTo>
                  <a:cubicBezTo>
                    <a:pt x="13" y="61"/>
                    <a:pt x="3" y="51"/>
                    <a:pt x="11" y="4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1" y="16"/>
                  </a:cubicBezTo>
                  <a:cubicBezTo>
                    <a:pt x="31" y="16"/>
                    <a:pt x="38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8" y="4"/>
                    <a:pt x="49" y="4"/>
                  </a:cubicBezTo>
                  <a:cubicBezTo>
                    <a:pt x="52" y="4"/>
                    <a:pt x="57" y="5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40"/>
                    <a:pt x="93" y="50"/>
                    <a:pt x="83" y="6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68" name="Group 292"/>
          <p:cNvGrpSpPr>
            <a:grpSpLocks noChangeAspect="1"/>
          </p:cNvGrpSpPr>
          <p:nvPr/>
        </p:nvGrpSpPr>
        <p:grpSpPr bwMode="auto">
          <a:xfrm>
            <a:off x="4749006" y="5405438"/>
            <a:ext cx="828675" cy="827087"/>
            <a:chOff x="3005" y="3405"/>
            <a:chExt cx="522" cy="521"/>
          </a:xfrm>
        </p:grpSpPr>
        <p:sp>
          <p:nvSpPr>
            <p:cNvPr id="50469" name="Oval 293"/>
            <p:cNvSpPr>
              <a:spLocks noChangeArrowheads="1"/>
            </p:cNvSpPr>
            <p:nvPr/>
          </p:nvSpPr>
          <p:spPr bwMode="auto">
            <a:xfrm>
              <a:off x="3005" y="3405"/>
              <a:ext cx="522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70" name="Freeform 294"/>
            <p:cNvSpPr>
              <a:spLocks noEditPoints="1"/>
            </p:cNvSpPr>
            <p:nvPr/>
          </p:nvSpPr>
          <p:spPr bwMode="auto">
            <a:xfrm>
              <a:off x="3024" y="3424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71" name="Freeform 295"/>
            <p:cNvSpPr>
              <a:spLocks noEditPoints="1"/>
            </p:cNvSpPr>
            <p:nvPr/>
          </p:nvSpPr>
          <p:spPr bwMode="auto">
            <a:xfrm>
              <a:off x="3096" y="3536"/>
              <a:ext cx="338" cy="266"/>
            </a:xfrm>
            <a:custGeom>
              <a:avLst/>
              <a:gdLst/>
              <a:ahLst/>
              <a:cxnLst>
                <a:cxn ang="0">
                  <a:pos x="251" y="127"/>
                </a:cxn>
                <a:cxn ang="0">
                  <a:pos x="251" y="0"/>
                </a:cxn>
                <a:cxn ang="0">
                  <a:pos x="86" y="0"/>
                </a:cxn>
                <a:cxn ang="0">
                  <a:pos x="86" y="127"/>
                </a:cxn>
                <a:cxn ang="0">
                  <a:pos x="0" y="127"/>
                </a:cxn>
                <a:cxn ang="0">
                  <a:pos x="168" y="266"/>
                </a:cxn>
                <a:cxn ang="0">
                  <a:pos x="338" y="127"/>
                </a:cxn>
                <a:cxn ang="0">
                  <a:pos x="251" y="127"/>
                </a:cxn>
                <a:cxn ang="0">
                  <a:pos x="24" y="137"/>
                </a:cxn>
                <a:cxn ang="0">
                  <a:pos x="94" y="137"/>
                </a:cxn>
                <a:cxn ang="0">
                  <a:pos x="94" y="7"/>
                </a:cxn>
                <a:cxn ang="0">
                  <a:pos x="242" y="7"/>
                </a:cxn>
                <a:cxn ang="0">
                  <a:pos x="242" y="137"/>
                </a:cxn>
                <a:cxn ang="0">
                  <a:pos x="314" y="137"/>
                </a:cxn>
                <a:cxn ang="0">
                  <a:pos x="168" y="254"/>
                </a:cxn>
                <a:cxn ang="0">
                  <a:pos x="24" y="137"/>
                </a:cxn>
              </a:cxnLst>
              <a:rect l="0" t="0" r="r" b="b"/>
              <a:pathLst>
                <a:path w="338" h="266">
                  <a:moveTo>
                    <a:pt x="251" y="127"/>
                  </a:moveTo>
                  <a:lnTo>
                    <a:pt x="251" y="0"/>
                  </a:lnTo>
                  <a:lnTo>
                    <a:pt x="86" y="0"/>
                  </a:lnTo>
                  <a:lnTo>
                    <a:pt x="86" y="127"/>
                  </a:lnTo>
                  <a:lnTo>
                    <a:pt x="0" y="127"/>
                  </a:lnTo>
                  <a:lnTo>
                    <a:pt x="168" y="266"/>
                  </a:lnTo>
                  <a:lnTo>
                    <a:pt x="338" y="127"/>
                  </a:lnTo>
                  <a:lnTo>
                    <a:pt x="251" y="127"/>
                  </a:lnTo>
                  <a:close/>
                  <a:moveTo>
                    <a:pt x="24" y="137"/>
                  </a:moveTo>
                  <a:lnTo>
                    <a:pt x="94" y="137"/>
                  </a:lnTo>
                  <a:lnTo>
                    <a:pt x="94" y="7"/>
                  </a:lnTo>
                  <a:lnTo>
                    <a:pt x="242" y="7"/>
                  </a:lnTo>
                  <a:lnTo>
                    <a:pt x="242" y="137"/>
                  </a:lnTo>
                  <a:lnTo>
                    <a:pt x="314" y="137"/>
                  </a:lnTo>
                  <a:lnTo>
                    <a:pt x="168" y="254"/>
                  </a:lnTo>
                  <a:lnTo>
                    <a:pt x="24" y="1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474" name="Group 298"/>
          <p:cNvGrpSpPr>
            <a:grpSpLocks noChangeAspect="1"/>
          </p:cNvGrpSpPr>
          <p:nvPr/>
        </p:nvGrpSpPr>
        <p:grpSpPr bwMode="auto">
          <a:xfrm>
            <a:off x="5868988" y="5434016"/>
            <a:ext cx="768350" cy="768350"/>
            <a:chOff x="3708" y="3423"/>
            <a:chExt cx="484" cy="484"/>
          </a:xfrm>
        </p:grpSpPr>
        <p:sp>
          <p:nvSpPr>
            <p:cNvPr id="50475" name="Freeform 299"/>
            <p:cNvSpPr>
              <a:spLocks noEditPoints="1"/>
            </p:cNvSpPr>
            <p:nvPr/>
          </p:nvSpPr>
          <p:spPr bwMode="auto">
            <a:xfrm>
              <a:off x="3708" y="342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76" name="Freeform 300"/>
            <p:cNvSpPr>
              <a:spLocks noEditPoints="1"/>
            </p:cNvSpPr>
            <p:nvPr/>
          </p:nvSpPr>
          <p:spPr bwMode="auto">
            <a:xfrm>
              <a:off x="3780" y="3536"/>
              <a:ext cx="338" cy="266"/>
            </a:xfrm>
            <a:custGeom>
              <a:avLst/>
              <a:gdLst/>
              <a:ahLst/>
              <a:cxnLst>
                <a:cxn ang="0">
                  <a:pos x="252" y="127"/>
                </a:cxn>
                <a:cxn ang="0">
                  <a:pos x="252" y="0"/>
                </a:cxn>
                <a:cxn ang="0">
                  <a:pos x="86" y="0"/>
                </a:cxn>
                <a:cxn ang="0">
                  <a:pos x="86" y="127"/>
                </a:cxn>
                <a:cxn ang="0">
                  <a:pos x="0" y="127"/>
                </a:cxn>
                <a:cxn ang="0">
                  <a:pos x="168" y="266"/>
                </a:cxn>
                <a:cxn ang="0">
                  <a:pos x="338" y="127"/>
                </a:cxn>
                <a:cxn ang="0">
                  <a:pos x="252" y="127"/>
                </a:cxn>
                <a:cxn ang="0">
                  <a:pos x="24" y="137"/>
                </a:cxn>
                <a:cxn ang="0">
                  <a:pos x="93" y="137"/>
                </a:cxn>
                <a:cxn ang="0">
                  <a:pos x="93" y="7"/>
                </a:cxn>
                <a:cxn ang="0">
                  <a:pos x="242" y="7"/>
                </a:cxn>
                <a:cxn ang="0">
                  <a:pos x="242" y="137"/>
                </a:cxn>
                <a:cxn ang="0">
                  <a:pos x="314" y="137"/>
                </a:cxn>
                <a:cxn ang="0">
                  <a:pos x="168" y="254"/>
                </a:cxn>
                <a:cxn ang="0">
                  <a:pos x="24" y="137"/>
                </a:cxn>
              </a:cxnLst>
              <a:rect l="0" t="0" r="r" b="b"/>
              <a:pathLst>
                <a:path w="338" h="266">
                  <a:moveTo>
                    <a:pt x="252" y="127"/>
                  </a:moveTo>
                  <a:lnTo>
                    <a:pt x="252" y="0"/>
                  </a:lnTo>
                  <a:lnTo>
                    <a:pt x="86" y="0"/>
                  </a:lnTo>
                  <a:lnTo>
                    <a:pt x="86" y="127"/>
                  </a:lnTo>
                  <a:lnTo>
                    <a:pt x="0" y="127"/>
                  </a:lnTo>
                  <a:lnTo>
                    <a:pt x="168" y="266"/>
                  </a:lnTo>
                  <a:lnTo>
                    <a:pt x="338" y="127"/>
                  </a:lnTo>
                  <a:lnTo>
                    <a:pt x="252" y="127"/>
                  </a:lnTo>
                  <a:close/>
                  <a:moveTo>
                    <a:pt x="24" y="137"/>
                  </a:moveTo>
                  <a:lnTo>
                    <a:pt x="93" y="137"/>
                  </a:lnTo>
                  <a:lnTo>
                    <a:pt x="93" y="7"/>
                  </a:lnTo>
                  <a:lnTo>
                    <a:pt x="242" y="7"/>
                  </a:lnTo>
                  <a:lnTo>
                    <a:pt x="242" y="137"/>
                  </a:lnTo>
                  <a:lnTo>
                    <a:pt x="314" y="137"/>
                  </a:lnTo>
                  <a:lnTo>
                    <a:pt x="168" y="254"/>
                  </a:lnTo>
                  <a:lnTo>
                    <a:pt x="24" y="13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79" name="Group 303"/>
          <p:cNvGrpSpPr>
            <a:grpSpLocks noChangeAspect="1"/>
          </p:cNvGrpSpPr>
          <p:nvPr/>
        </p:nvGrpSpPr>
        <p:grpSpPr bwMode="auto">
          <a:xfrm>
            <a:off x="6929438" y="5405438"/>
            <a:ext cx="827087" cy="827087"/>
            <a:chOff x="4369" y="3405"/>
            <a:chExt cx="521" cy="521"/>
          </a:xfrm>
        </p:grpSpPr>
        <p:sp>
          <p:nvSpPr>
            <p:cNvPr id="50480" name="Oval 304"/>
            <p:cNvSpPr>
              <a:spLocks noChangeArrowheads="1"/>
            </p:cNvSpPr>
            <p:nvPr/>
          </p:nvSpPr>
          <p:spPr bwMode="auto">
            <a:xfrm>
              <a:off x="4369" y="3405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81" name="Freeform 305"/>
            <p:cNvSpPr>
              <a:spLocks noEditPoints="1"/>
            </p:cNvSpPr>
            <p:nvPr/>
          </p:nvSpPr>
          <p:spPr bwMode="auto">
            <a:xfrm>
              <a:off x="4388" y="342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82" name="Freeform 306"/>
            <p:cNvSpPr>
              <a:spLocks noEditPoints="1"/>
            </p:cNvSpPr>
            <p:nvPr/>
          </p:nvSpPr>
          <p:spPr bwMode="auto">
            <a:xfrm>
              <a:off x="4531" y="3505"/>
              <a:ext cx="199" cy="326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51" y="82"/>
                </a:cxn>
                <a:cxn ang="0">
                  <a:pos x="151" y="0"/>
                </a:cxn>
                <a:cxn ang="0">
                  <a:pos x="51" y="0"/>
                </a:cxn>
                <a:cxn ang="0">
                  <a:pos x="51" y="82"/>
                </a:cxn>
                <a:cxn ang="0">
                  <a:pos x="0" y="82"/>
                </a:cxn>
                <a:cxn ang="0">
                  <a:pos x="51" y="122"/>
                </a:cxn>
                <a:cxn ang="0">
                  <a:pos x="51" y="163"/>
                </a:cxn>
                <a:cxn ang="0">
                  <a:pos x="0" y="163"/>
                </a:cxn>
                <a:cxn ang="0">
                  <a:pos x="101" y="244"/>
                </a:cxn>
                <a:cxn ang="0">
                  <a:pos x="142" y="211"/>
                </a:cxn>
                <a:cxn ang="0">
                  <a:pos x="142" y="244"/>
                </a:cxn>
                <a:cxn ang="0">
                  <a:pos x="142" y="254"/>
                </a:cxn>
                <a:cxn ang="0">
                  <a:pos x="151" y="254"/>
                </a:cxn>
                <a:cxn ang="0">
                  <a:pos x="175" y="254"/>
                </a:cxn>
                <a:cxn ang="0">
                  <a:pos x="101" y="316"/>
                </a:cxn>
                <a:cxn ang="0">
                  <a:pos x="27" y="254"/>
                </a:cxn>
                <a:cxn ang="0">
                  <a:pos x="51" y="254"/>
                </a:cxn>
                <a:cxn ang="0">
                  <a:pos x="60" y="254"/>
                </a:cxn>
                <a:cxn ang="0">
                  <a:pos x="60" y="244"/>
                </a:cxn>
                <a:cxn ang="0">
                  <a:pos x="60" y="211"/>
                </a:cxn>
                <a:cxn ang="0">
                  <a:pos x="51" y="204"/>
                </a:cxn>
                <a:cxn ang="0">
                  <a:pos x="51" y="244"/>
                </a:cxn>
                <a:cxn ang="0">
                  <a:pos x="0" y="244"/>
                </a:cxn>
                <a:cxn ang="0">
                  <a:pos x="101" y="326"/>
                </a:cxn>
                <a:cxn ang="0">
                  <a:pos x="199" y="244"/>
                </a:cxn>
                <a:cxn ang="0">
                  <a:pos x="151" y="244"/>
                </a:cxn>
                <a:cxn ang="0">
                  <a:pos x="151" y="204"/>
                </a:cxn>
                <a:cxn ang="0">
                  <a:pos x="146" y="208"/>
                </a:cxn>
                <a:cxn ang="0">
                  <a:pos x="199" y="163"/>
                </a:cxn>
                <a:cxn ang="0">
                  <a:pos x="151" y="163"/>
                </a:cxn>
                <a:cxn ang="0">
                  <a:pos x="151" y="122"/>
                </a:cxn>
                <a:cxn ang="0">
                  <a:pos x="199" y="82"/>
                </a:cxn>
                <a:cxn ang="0">
                  <a:pos x="175" y="172"/>
                </a:cxn>
                <a:cxn ang="0">
                  <a:pos x="101" y="232"/>
                </a:cxn>
                <a:cxn ang="0">
                  <a:pos x="27" y="172"/>
                </a:cxn>
                <a:cxn ang="0">
                  <a:pos x="51" y="172"/>
                </a:cxn>
                <a:cxn ang="0">
                  <a:pos x="60" y="172"/>
                </a:cxn>
                <a:cxn ang="0">
                  <a:pos x="60" y="163"/>
                </a:cxn>
                <a:cxn ang="0">
                  <a:pos x="60" y="129"/>
                </a:cxn>
                <a:cxn ang="0">
                  <a:pos x="101" y="163"/>
                </a:cxn>
                <a:cxn ang="0">
                  <a:pos x="142" y="129"/>
                </a:cxn>
                <a:cxn ang="0">
                  <a:pos x="142" y="163"/>
                </a:cxn>
                <a:cxn ang="0">
                  <a:pos x="142" y="172"/>
                </a:cxn>
                <a:cxn ang="0">
                  <a:pos x="151" y="172"/>
                </a:cxn>
                <a:cxn ang="0">
                  <a:pos x="175" y="172"/>
                </a:cxn>
                <a:cxn ang="0">
                  <a:pos x="101" y="151"/>
                </a:cxn>
                <a:cxn ang="0">
                  <a:pos x="27" y="91"/>
                </a:cxn>
                <a:cxn ang="0">
                  <a:pos x="51" y="91"/>
                </a:cxn>
                <a:cxn ang="0">
                  <a:pos x="60" y="91"/>
                </a:cxn>
                <a:cxn ang="0">
                  <a:pos x="60" y="82"/>
                </a:cxn>
                <a:cxn ang="0">
                  <a:pos x="60" y="10"/>
                </a:cxn>
                <a:cxn ang="0">
                  <a:pos x="142" y="10"/>
                </a:cxn>
                <a:cxn ang="0">
                  <a:pos x="142" y="82"/>
                </a:cxn>
                <a:cxn ang="0">
                  <a:pos x="142" y="91"/>
                </a:cxn>
                <a:cxn ang="0">
                  <a:pos x="151" y="91"/>
                </a:cxn>
                <a:cxn ang="0">
                  <a:pos x="175" y="91"/>
                </a:cxn>
                <a:cxn ang="0">
                  <a:pos x="101" y="151"/>
                </a:cxn>
              </a:cxnLst>
              <a:rect l="0" t="0" r="r" b="b"/>
              <a:pathLst>
                <a:path w="199" h="326">
                  <a:moveTo>
                    <a:pt x="199" y="82"/>
                  </a:moveTo>
                  <a:lnTo>
                    <a:pt x="151" y="82"/>
                  </a:lnTo>
                  <a:lnTo>
                    <a:pt x="151" y="0"/>
                  </a:lnTo>
                  <a:lnTo>
                    <a:pt x="51" y="0"/>
                  </a:lnTo>
                  <a:lnTo>
                    <a:pt x="51" y="82"/>
                  </a:lnTo>
                  <a:lnTo>
                    <a:pt x="0" y="82"/>
                  </a:lnTo>
                  <a:lnTo>
                    <a:pt x="51" y="122"/>
                  </a:lnTo>
                  <a:lnTo>
                    <a:pt x="51" y="163"/>
                  </a:lnTo>
                  <a:lnTo>
                    <a:pt x="0" y="163"/>
                  </a:lnTo>
                  <a:lnTo>
                    <a:pt x="101" y="244"/>
                  </a:lnTo>
                  <a:lnTo>
                    <a:pt x="142" y="211"/>
                  </a:lnTo>
                  <a:lnTo>
                    <a:pt x="142" y="244"/>
                  </a:lnTo>
                  <a:lnTo>
                    <a:pt x="142" y="254"/>
                  </a:lnTo>
                  <a:lnTo>
                    <a:pt x="151" y="254"/>
                  </a:lnTo>
                  <a:lnTo>
                    <a:pt x="175" y="254"/>
                  </a:lnTo>
                  <a:lnTo>
                    <a:pt x="101" y="316"/>
                  </a:lnTo>
                  <a:lnTo>
                    <a:pt x="27" y="254"/>
                  </a:lnTo>
                  <a:lnTo>
                    <a:pt x="51" y="254"/>
                  </a:lnTo>
                  <a:lnTo>
                    <a:pt x="60" y="254"/>
                  </a:lnTo>
                  <a:lnTo>
                    <a:pt x="60" y="244"/>
                  </a:lnTo>
                  <a:lnTo>
                    <a:pt x="60" y="211"/>
                  </a:lnTo>
                  <a:lnTo>
                    <a:pt x="51" y="204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01" y="326"/>
                  </a:lnTo>
                  <a:lnTo>
                    <a:pt x="199" y="244"/>
                  </a:lnTo>
                  <a:lnTo>
                    <a:pt x="151" y="244"/>
                  </a:lnTo>
                  <a:lnTo>
                    <a:pt x="151" y="204"/>
                  </a:lnTo>
                  <a:lnTo>
                    <a:pt x="146" y="208"/>
                  </a:lnTo>
                  <a:lnTo>
                    <a:pt x="199" y="163"/>
                  </a:lnTo>
                  <a:lnTo>
                    <a:pt x="151" y="163"/>
                  </a:lnTo>
                  <a:lnTo>
                    <a:pt x="151" y="122"/>
                  </a:lnTo>
                  <a:lnTo>
                    <a:pt x="199" y="82"/>
                  </a:lnTo>
                  <a:close/>
                  <a:moveTo>
                    <a:pt x="175" y="172"/>
                  </a:moveTo>
                  <a:lnTo>
                    <a:pt x="101" y="232"/>
                  </a:lnTo>
                  <a:lnTo>
                    <a:pt x="27" y="172"/>
                  </a:lnTo>
                  <a:lnTo>
                    <a:pt x="51" y="172"/>
                  </a:lnTo>
                  <a:lnTo>
                    <a:pt x="60" y="172"/>
                  </a:lnTo>
                  <a:lnTo>
                    <a:pt x="60" y="163"/>
                  </a:lnTo>
                  <a:lnTo>
                    <a:pt x="60" y="129"/>
                  </a:lnTo>
                  <a:lnTo>
                    <a:pt x="101" y="163"/>
                  </a:lnTo>
                  <a:lnTo>
                    <a:pt x="142" y="129"/>
                  </a:lnTo>
                  <a:lnTo>
                    <a:pt x="142" y="163"/>
                  </a:lnTo>
                  <a:lnTo>
                    <a:pt x="142" y="172"/>
                  </a:lnTo>
                  <a:lnTo>
                    <a:pt x="151" y="172"/>
                  </a:lnTo>
                  <a:lnTo>
                    <a:pt x="175" y="172"/>
                  </a:lnTo>
                  <a:close/>
                  <a:moveTo>
                    <a:pt x="101" y="151"/>
                  </a:moveTo>
                  <a:lnTo>
                    <a:pt x="27" y="91"/>
                  </a:lnTo>
                  <a:lnTo>
                    <a:pt x="51" y="91"/>
                  </a:lnTo>
                  <a:lnTo>
                    <a:pt x="60" y="91"/>
                  </a:lnTo>
                  <a:lnTo>
                    <a:pt x="60" y="82"/>
                  </a:lnTo>
                  <a:lnTo>
                    <a:pt x="60" y="10"/>
                  </a:lnTo>
                  <a:lnTo>
                    <a:pt x="142" y="10"/>
                  </a:lnTo>
                  <a:lnTo>
                    <a:pt x="142" y="82"/>
                  </a:lnTo>
                  <a:lnTo>
                    <a:pt x="142" y="91"/>
                  </a:lnTo>
                  <a:lnTo>
                    <a:pt x="151" y="91"/>
                  </a:lnTo>
                  <a:lnTo>
                    <a:pt x="175" y="91"/>
                  </a:lnTo>
                  <a:lnTo>
                    <a:pt x="101" y="1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85" name="Group 309"/>
          <p:cNvGrpSpPr>
            <a:grpSpLocks noChangeAspect="1"/>
          </p:cNvGrpSpPr>
          <p:nvPr/>
        </p:nvGrpSpPr>
        <p:grpSpPr bwMode="auto">
          <a:xfrm>
            <a:off x="8055775" y="5434016"/>
            <a:ext cx="768350" cy="768350"/>
            <a:chOff x="5071" y="3423"/>
            <a:chExt cx="484" cy="484"/>
          </a:xfrm>
        </p:grpSpPr>
        <p:sp>
          <p:nvSpPr>
            <p:cNvPr id="50486" name="Freeform 310"/>
            <p:cNvSpPr>
              <a:spLocks noEditPoints="1"/>
            </p:cNvSpPr>
            <p:nvPr/>
          </p:nvSpPr>
          <p:spPr bwMode="auto">
            <a:xfrm>
              <a:off x="5071" y="342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87" name="Freeform 311"/>
            <p:cNvSpPr>
              <a:spLocks noEditPoints="1"/>
            </p:cNvSpPr>
            <p:nvPr/>
          </p:nvSpPr>
          <p:spPr bwMode="auto">
            <a:xfrm>
              <a:off x="5215" y="3505"/>
              <a:ext cx="199" cy="326"/>
            </a:xfrm>
            <a:custGeom>
              <a:avLst/>
              <a:gdLst/>
              <a:ahLst/>
              <a:cxnLst>
                <a:cxn ang="0">
                  <a:pos x="199" y="81"/>
                </a:cxn>
                <a:cxn ang="0">
                  <a:pos x="151" y="81"/>
                </a:cxn>
                <a:cxn ang="0">
                  <a:pos x="151" y="0"/>
                </a:cxn>
                <a:cxn ang="0">
                  <a:pos x="50" y="0"/>
                </a:cxn>
                <a:cxn ang="0">
                  <a:pos x="50" y="81"/>
                </a:cxn>
                <a:cxn ang="0">
                  <a:pos x="0" y="81"/>
                </a:cxn>
                <a:cxn ang="0">
                  <a:pos x="50" y="122"/>
                </a:cxn>
                <a:cxn ang="0">
                  <a:pos x="50" y="163"/>
                </a:cxn>
                <a:cxn ang="0">
                  <a:pos x="0" y="163"/>
                </a:cxn>
                <a:cxn ang="0">
                  <a:pos x="101" y="244"/>
                </a:cxn>
                <a:cxn ang="0">
                  <a:pos x="142" y="211"/>
                </a:cxn>
                <a:cxn ang="0">
                  <a:pos x="142" y="244"/>
                </a:cxn>
                <a:cxn ang="0">
                  <a:pos x="142" y="254"/>
                </a:cxn>
                <a:cxn ang="0">
                  <a:pos x="151" y="254"/>
                </a:cxn>
                <a:cxn ang="0">
                  <a:pos x="175" y="254"/>
                </a:cxn>
                <a:cxn ang="0">
                  <a:pos x="101" y="316"/>
                </a:cxn>
                <a:cxn ang="0">
                  <a:pos x="26" y="254"/>
                </a:cxn>
                <a:cxn ang="0">
                  <a:pos x="50" y="254"/>
                </a:cxn>
                <a:cxn ang="0">
                  <a:pos x="60" y="254"/>
                </a:cxn>
                <a:cxn ang="0">
                  <a:pos x="60" y="244"/>
                </a:cxn>
                <a:cxn ang="0">
                  <a:pos x="60" y="211"/>
                </a:cxn>
                <a:cxn ang="0">
                  <a:pos x="50" y="204"/>
                </a:cxn>
                <a:cxn ang="0">
                  <a:pos x="50" y="244"/>
                </a:cxn>
                <a:cxn ang="0">
                  <a:pos x="0" y="244"/>
                </a:cxn>
                <a:cxn ang="0">
                  <a:pos x="101" y="326"/>
                </a:cxn>
                <a:cxn ang="0">
                  <a:pos x="199" y="244"/>
                </a:cxn>
                <a:cxn ang="0">
                  <a:pos x="151" y="244"/>
                </a:cxn>
                <a:cxn ang="0">
                  <a:pos x="151" y="204"/>
                </a:cxn>
                <a:cxn ang="0">
                  <a:pos x="146" y="208"/>
                </a:cxn>
                <a:cxn ang="0">
                  <a:pos x="199" y="163"/>
                </a:cxn>
                <a:cxn ang="0">
                  <a:pos x="151" y="163"/>
                </a:cxn>
                <a:cxn ang="0">
                  <a:pos x="151" y="122"/>
                </a:cxn>
                <a:cxn ang="0">
                  <a:pos x="199" y="81"/>
                </a:cxn>
                <a:cxn ang="0">
                  <a:pos x="175" y="172"/>
                </a:cxn>
                <a:cxn ang="0">
                  <a:pos x="101" y="232"/>
                </a:cxn>
                <a:cxn ang="0">
                  <a:pos x="26" y="172"/>
                </a:cxn>
                <a:cxn ang="0">
                  <a:pos x="50" y="172"/>
                </a:cxn>
                <a:cxn ang="0">
                  <a:pos x="60" y="172"/>
                </a:cxn>
                <a:cxn ang="0">
                  <a:pos x="60" y="163"/>
                </a:cxn>
                <a:cxn ang="0">
                  <a:pos x="60" y="129"/>
                </a:cxn>
                <a:cxn ang="0">
                  <a:pos x="101" y="163"/>
                </a:cxn>
                <a:cxn ang="0">
                  <a:pos x="142" y="129"/>
                </a:cxn>
                <a:cxn ang="0">
                  <a:pos x="142" y="163"/>
                </a:cxn>
                <a:cxn ang="0">
                  <a:pos x="142" y="172"/>
                </a:cxn>
                <a:cxn ang="0">
                  <a:pos x="151" y="172"/>
                </a:cxn>
                <a:cxn ang="0">
                  <a:pos x="175" y="172"/>
                </a:cxn>
                <a:cxn ang="0">
                  <a:pos x="101" y="151"/>
                </a:cxn>
                <a:cxn ang="0">
                  <a:pos x="26" y="91"/>
                </a:cxn>
                <a:cxn ang="0">
                  <a:pos x="50" y="91"/>
                </a:cxn>
                <a:cxn ang="0">
                  <a:pos x="60" y="91"/>
                </a:cxn>
                <a:cxn ang="0">
                  <a:pos x="60" y="81"/>
                </a:cxn>
                <a:cxn ang="0">
                  <a:pos x="60" y="9"/>
                </a:cxn>
                <a:cxn ang="0">
                  <a:pos x="142" y="9"/>
                </a:cxn>
                <a:cxn ang="0">
                  <a:pos x="142" y="81"/>
                </a:cxn>
                <a:cxn ang="0">
                  <a:pos x="142" y="91"/>
                </a:cxn>
                <a:cxn ang="0">
                  <a:pos x="151" y="91"/>
                </a:cxn>
                <a:cxn ang="0">
                  <a:pos x="175" y="91"/>
                </a:cxn>
                <a:cxn ang="0">
                  <a:pos x="101" y="151"/>
                </a:cxn>
              </a:cxnLst>
              <a:rect l="0" t="0" r="r" b="b"/>
              <a:pathLst>
                <a:path w="199" h="326">
                  <a:moveTo>
                    <a:pt x="199" y="81"/>
                  </a:moveTo>
                  <a:lnTo>
                    <a:pt x="151" y="81"/>
                  </a:lnTo>
                  <a:lnTo>
                    <a:pt x="151" y="0"/>
                  </a:lnTo>
                  <a:lnTo>
                    <a:pt x="50" y="0"/>
                  </a:lnTo>
                  <a:lnTo>
                    <a:pt x="50" y="81"/>
                  </a:lnTo>
                  <a:lnTo>
                    <a:pt x="0" y="81"/>
                  </a:lnTo>
                  <a:lnTo>
                    <a:pt x="50" y="122"/>
                  </a:lnTo>
                  <a:lnTo>
                    <a:pt x="50" y="163"/>
                  </a:lnTo>
                  <a:lnTo>
                    <a:pt x="0" y="163"/>
                  </a:lnTo>
                  <a:lnTo>
                    <a:pt x="101" y="244"/>
                  </a:lnTo>
                  <a:lnTo>
                    <a:pt x="142" y="211"/>
                  </a:lnTo>
                  <a:lnTo>
                    <a:pt x="142" y="244"/>
                  </a:lnTo>
                  <a:lnTo>
                    <a:pt x="142" y="254"/>
                  </a:lnTo>
                  <a:lnTo>
                    <a:pt x="151" y="254"/>
                  </a:lnTo>
                  <a:lnTo>
                    <a:pt x="175" y="254"/>
                  </a:lnTo>
                  <a:lnTo>
                    <a:pt x="101" y="316"/>
                  </a:lnTo>
                  <a:lnTo>
                    <a:pt x="26" y="254"/>
                  </a:lnTo>
                  <a:lnTo>
                    <a:pt x="50" y="254"/>
                  </a:lnTo>
                  <a:lnTo>
                    <a:pt x="60" y="254"/>
                  </a:lnTo>
                  <a:lnTo>
                    <a:pt x="60" y="244"/>
                  </a:lnTo>
                  <a:lnTo>
                    <a:pt x="60" y="211"/>
                  </a:lnTo>
                  <a:lnTo>
                    <a:pt x="50" y="204"/>
                  </a:lnTo>
                  <a:lnTo>
                    <a:pt x="50" y="244"/>
                  </a:lnTo>
                  <a:lnTo>
                    <a:pt x="0" y="244"/>
                  </a:lnTo>
                  <a:lnTo>
                    <a:pt x="101" y="326"/>
                  </a:lnTo>
                  <a:lnTo>
                    <a:pt x="199" y="244"/>
                  </a:lnTo>
                  <a:lnTo>
                    <a:pt x="151" y="244"/>
                  </a:lnTo>
                  <a:lnTo>
                    <a:pt x="151" y="204"/>
                  </a:lnTo>
                  <a:lnTo>
                    <a:pt x="146" y="208"/>
                  </a:lnTo>
                  <a:lnTo>
                    <a:pt x="199" y="163"/>
                  </a:lnTo>
                  <a:lnTo>
                    <a:pt x="151" y="163"/>
                  </a:lnTo>
                  <a:lnTo>
                    <a:pt x="151" y="122"/>
                  </a:lnTo>
                  <a:lnTo>
                    <a:pt x="199" y="81"/>
                  </a:lnTo>
                  <a:close/>
                  <a:moveTo>
                    <a:pt x="175" y="172"/>
                  </a:moveTo>
                  <a:lnTo>
                    <a:pt x="101" y="232"/>
                  </a:lnTo>
                  <a:lnTo>
                    <a:pt x="26" y="172"/>
                  </a:lnTo>
                  <a:lnTo>
                    <a:pt x="50" y="172"/>
                  </a:lnTo>
                  <a:lnTo>
                    <a:pt x="60" y="172"/>
                  </a:lnTo>
                  <a:lnTo>
                    <a:pt x="60" y="163"/>
                  </a:lnTo>
                  <a:lnTo>
                    <a:pt x="60" y="129"/>
                  </a:lnTo>
                  <a:lnTo>
                    <a:pt x="101" y="163"/>
                  </a:lnTo>
                  <a:lnTo>
                    <a:pt x="142" y="129"/>
                  </a:lnTo>
                  <a:lnTo>
                    <a:pt x="142" y="163"/>
                  </a:lnTo>
                  <a:lnTo>
                    <a:pt x="142" y="172"/>
                  </a:lnTo>
                  <a:lnTo>
                    <a:pt x="151" y="172"/>
                  </a:lnTo>
                  <a:lnTo>
                    <a:pt x="175" y="172"/>
                  </a:lnTo>
                  <a:close/>
                  <a:moveTo>
                    <a:pt x="101" y="151"/>
                  </a:moveTo>
                  <a:lnTo>
                    <a:pt x="26" y="91"/>
                  </a:lnTo>
                  <a:lnTo>
                    <a:pt x="50" y="91"/>
                  </a:lnTo>
                  <a:lnTo>
                    <a:pt x="60" y="91"/>
                  </a:lnTo>
                  <a:lnTo>
                    <a:pt x="60" y="81"/>
                  </a:lnTo>
                  <a:lnTo>
                    <a:pt x="60" y="9"/>
                  </a:lnTo>
                  <a:lnTo>
                    <a:pt x="142" y="9"/>
                  </a:lnTo>
                  <a:lnTo>
                    <a:pt x="142" y="81"/>
                  </a:lnTo>
                  <a:lnTo>
                    <a:pt x="142" y="91"/>
                  </a:lnTo>
                  <a:lnTo>
                    <a:pt x="151" y="91"/>
                  </a:lnTo>
                  <a:lnTo>
                    <a:pt x="175" y="91"/>
                  </a:lnTo>
                  <a:lnTo>
                    <a:pt x="101" y="15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9C3F8F2-FB85-4034-9E20-1975295CA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086424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redder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le Cabine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Chair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Chair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Chair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Des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sh Can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sh Can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sh Can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sk Lamp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sk Lamp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ypewrit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V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oteboo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a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pen Boo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ge Flip Righ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ge Flip Lef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o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ookmar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DA3D1E51-2D48-47A2-B3DA-4D3CFA1BB3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3057" y="339727"/>
            <a:ext cx="758825" cy="758825"/>
            <a:chOff x="911" y="375"/>
            <a:chExt cx="478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D6B946A2-0E55-43A4-BAB4-EF9D92CE71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1" y="3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DC7407FB-A481-4C42-A0B1-C151BB95FC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" y="3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BA47EE-B12A-4B73-BF23-540C71991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4" y="488"/>
              <a:ext cx="255" cy="255"/>
            </a:xfrm>
            <a:custGeom>
              <a:avLst/>
              <a:gdLst>
                <a:gd name="T0" fmla="*/ 12 w 255"/>
                <a:gd name="T1" fmla="*/ 152 h 255"/>
                <a:gd name="T2" fmla="*/ 14 w 255"/>
                <a:gd name="T3" fmla="*/ 159 h 255"/>
                <a:gd name="T4" fmla="*/ 32 w 255"/>
                <a:gd name="T5" fmla="*/ 223 h 255"/>
                <a:gd name="T6" fmla="*/ 24 w 255"/>
                <a:gd name="T7" fmla="*/ 238 h 255"/>
                <a:gd name="T8" fmla="*/ 14 w 255"/>
                <a:gd name="T9" fmla="*/ 242 h 255"/>
                <a:gd name="T10" fmla="*/ 2 w 255"/>
                <a:gd name="T11" fmla="*/ 245 h 255"/>
                <a:gd name="T12" fmla="*/ 2 w 255"/>
                <a:gd name="T13" fmla="*/ 252 h 255"/>
                <a:gd name="T14" fmla="*/ 19 w 255"/>
                <a:gd name="T15" fmla="*/ 252 h 255"/>
                <a:gd name="T16" fmla="*/ 34 w 255"/>
                <a:gd name="T17" fmla="*/ 242 h 255"/>
                <a:gd name="T18" fmla="*/ 41 w 255"/>
                <a:gd name="T19" fmla="*/ 225 h 255"/>
                <a:gd name="T20" fmla="*/ 56 w 255"/>
                <a:gd name="T21" fmla="*/ 250 h 255"/>
                <a:gd name="T22" fmla="*/ 61 w 255"/>
                <a:gd name="T23" fmla="*/ 255 h 255"/>
                <a:gd name="T24" fmla="*/ 68 w 255"/>
                <a:gd name="T25" fmla="*/ 250 h 255"/>
                <a:gd name="T26" fmla="*/ 86 w 255"/>
                <a:gd name="T27" fmla="*/ 255 h 255"/>
                <a:gd name="T28" fmla="*/ 93 w 255"/>
                <a:gd name="T29" fmla="*/ 252 h 255"/>
                <a:gd name="T30" fmla="*/ 110 w 255"/>
                <a:gd name="T31" fmla="*/ 252 h 255"/>
                <a:gd name="T32" fmla="*/ 115 w 255"/>
                <a:gd name="T33" fmla="*/ 255 h 255"/>
                <a:gd name="T34" fmla="*/ 135 w 255"/>
                <a:gd name="T35" fmla="*/ 159 h 255"/>
                <a:gd name="T36" fmla="*/ 139 w 255"/>
                <a:gd name="T37" fmla="*/ 255 h 255"/>
                <a:gd name="T38" fmla="*/ 144 w 255"/>
                <a:gd name="T39" fmla="*/ 250 h 255"/>
                <a:gd name="T40" fmla="*/ 162 w 255"/>
                <a:gd name="T41" fmla="*/ 252 h 255"/>
                <a:gd name="T42" fmla="*/ 169 w 255"/>
                <a:gd name="T43" fmla="*/ 252 h 255"/>
                <a:gd name="T44" fmla="*/ 186 w 255"/>
                <a:gd name="T45" fmla="*/ 250 h 255"/>
                <a:gd name="T46" fmla="*/ 193 w 255"/>
                <a:gd name="T47" fmla="*/ 255 h 255"/>
                <a:gd name="T48" fmla="*/ 198 w 255"/>
                <a:gd name="T49" fmla="*/ 159 h 255"/>
                <a:gd name="T50" fmla="*/ 213 w 255"/>
                <a:gd name="T51" fmla="*/ 228 h 255"/>
                <a:gd name="T52" fmla="*/ 220 w 255"/>
                <a:gd name="T53" fmla="*/ 245 h 255"/>
                <a:gd name="T54" fmla="*/ 240 w 255"/>
                <a:gd name="T55" fmla="*/ 255 h 255"/>
                <a:gd name="T56" fmla="*/ 255 w 255"/>
                <a:gd name="T57" fmla="*/ 252 h 255"/>
                <a:gd name="T58" fmla="*/ 252 w 255"/>
                <a:gd name="T59" fmla="*/ 245 h 255"/>
                <a:gd name="T60" fmla="*/ 238 w 255"/>
                <a:gd name="T61" fmla="*/ 242 h 255"/>
                <a:gd name="T62" fmla="*/ 228 w 255"/>
                <a:gd name="T63" fmla="*/ 235 h 255"/>
                <a:gd name="T64" fmla="*/ 223 w 255"/>
                <a:gd name="T65" fmla="*/ 215 h 255"/>
                <a:gd name="T66" fmla="*/ 235 w 255"/>
                <a:gd name="T67" fmla="*/ 159 h 255"/>
                <a:gd name="T68" fmla="*/ 238 w 255"/>
                <a:gd name="T69" fmla="*/ 152 h 255"/>
                <a:gd name="T70" fmla="*/ 63 w 255"/>
                <a:gd name="T71" fmla="*/ 83 h 255"/>
                <a:gd name="T72" fmla="*/ 59 w 255"/>
                <a:gd name="T73" fmla="*/ 90 h 255"/>
                <a:gd name="T74" fmla="*/ 191 w 255"/>
                <a:gd name="T75" fmla="*/ 95 h 255"/>
                <a:gd name="T76" fmla="*/ 198 w 255"/>
                <a:gd name="T77" fmla="*/ 90 h 255"/>
                <a:gd name="T78" fmla="*/ 191 w 255"/>
                <a:gd name="T79" fmla="*/ 83 h 255"/>
                <a:gd name="T80" fmla="*/ 59 w 255"/>
                <a:gd name="T81" fmla="*/ 68 h 255"/>
                <a:gd name="T82" fmla="*/ 61 w 255"/>
                <a:gd name="T83" fmla="*/ 76 h 255"/>
                <a:gd name="T84" fmla="*/ 117 w 255"/>
                <a:gd name="T85" fmla="*/ 73 h 255"/>
                <a:gd name="T86" fmla="*/ 117 w 255"/>
                <a:gd name="T87" fmla="*/ 66 h 255"/>
                <a:gd name="T88" fmla="*/ 61 w 255"/>
                <a:gd name="T89" fmla="*/ 46 h 255"/>
                <a:gd name="T90" fmla="*/ 59 w 255"/>
                <a:gd name="T91" fmla="*/ 54 h 255"/>
                <a:gd name="T92" fmla="*/ 115 w 255"/>
                <a:gd name="T93" fmla="*/ 59 h 255"/>
                <a:gd name="T94" fmla="*/ 120 w 255"/>
                <a:gd name="T95" fmla="*/ 51 h 255"/>
                <a:gd name="T96" fmla="*/ 166 w 255"/>
                <a:gd name="T97" fmla="*/ 19 h 255"/>
                <a:gd name="T98" fmla="*/ 37 w 255"/>
                <a:gd name="T99" fmla="*/ 0 h 255"/>
                <a:gd name="T100" fmla="*/ 34 w 255"/>
                <a:gd name="T101" fmla="*/ 137 h 255"/>
                <a:gd name="T102" fmla="*/ 39 w 255"/>
                <a:gd name="T103" fmla="*/ 142 h 255"/>
                <a:gd name="T104" fmla="*/ 44 w 255"/>
                <a:gd name="T105" fmla="*/ 12 h 255"/>
                <a:gd name="T106" fmla="*/ 159 w 255"/>
                <a:gd name="T107" fmla="*/ 66 h 255"/>
                <a:gd name="T108" fmla="*/ 206 w 255"/>
                <a:gd name="T109" fmla="*/ 63 h 255"/>
                <a:gd name="T110" fmla="*/ 211 w 255"/>
                <a:gd name="T111" fmla="*/ 137 h 255"/>
                <a:gd name="T112" fmla="*/ 218 w 255"/>
                <a:gd name="T113" fmla="*/ 142 h 255"/>
                <a:gd name="T114" fmla="*/ 220 w 255"/>
                <a:gd name="T115" fmla="*/ 61 h 255"/>
                <a:gd name="T116" fmla="*/ 164 w 255"/>
                <a:gd name="T117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5" h="255">
                  <a:moveTo>
                    <a:pt x="17" y="147"/>
                  </a:moveTo>
                  <a:lnTo>
                    <a:pt x="14" y="149"/>
                  </a:lnTo>
                  <a:lnTo>
                    <a:pt x="14" y="149"/>
                  </a:lnTo>
                  <a:lnTo>
                    <a:pt x="14" y="149"/>
                  </a:lnTo>
                  <a:lnTo>
                    <a:pt x="12" y="149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57"/>
                  </a:lnTo>
                  <a:lnTo>
                    <a:pt x="12" y="157"/>
                  </a:lnTo>
                  <a:lnTo>
                    <a:pt x="14" y="159"/>
                  </a:lnTo>
                  <a:lnTo>
                    <a:pt x="14" y="159"/>
                  </a:lnTo>
                  <a:lnTo>
                    <a:pt x="14" y="159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34" y="206"/>
                  </a:lnTo>
                  <a:lnTo>
                    <a:pt x="34" y="208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20"/>
                  </a:lnTo>
                  <a:lnTo>
                    <a:pt x="32" y="223"/>
                  </a:lnTo>
                  <a:lnTo>
                    <a:pt x="32" y="225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3"/>
                  </a:lnTo>
                  <a:lnTo>
                    <a:pt x="27" y="233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24" y="238"/>
                  </a:lnTo>
                  <a:lnTo>
                    <a:pt x="24" y="238"/>
                  </a:lnTo>
                  <a:lnTo>
                    <a:pt x="22" y="238"/>
                  </a:lnTo>
                  <a:lnTo>
                    <a:pt x="22" y="240"/>
                  </a:lnTo>
                  <a:lnTo>
                    <a:pt x="19" y="240"/>
                  </a:lnTo>
                  <a:lnTo>
                    <a:pt x="19" y="240"/>
                  </a:lnTo>
                  <a:lnTo>
                    <a:pt x="17" y="242"/>
                  </a:lnTo>
                  <a:lnTo>
                    <a:pt x="14" y="242"/>
                  </a:lnTo>
                  <a:lnTo>
                    <a:pt x="14" y="242"/>
                  </a:lnTo>
                  <a:lnTo>
                    <a:pt x="12" y="242"/>
                  </a:lnTo>
                  <a:lnTo>
                    <a:pt x="10" y="242"/>
                  </a:lnTo>
                  <a:lnTo>
                    <a:pt x="7" y="242"/>
                  </a:lnTo>
                  <a:lnTo>
                    <a:pt x="5" y="242"/>
                  </a:lnTo>
                  <a:lnTo>
                    <a:pt x="5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0" y="245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2" y="252"/>
                  </a:lnTo>
                  <a:lnTo>
                    <a:pt x="2" y="255"/>
                  </a:lnTo>
                  <a:lnTo>
                    <a:pt x="2" y="255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10" y="255"/>
                  </a:lnTo>
                  <a:lnTo>
                    <a:pt x="12" y="255"/>
                  </a:lnTo>
                  <a:lnTo>
                    <a:pt x="14" y="255"/>
                  </a:lnTo>
                  <a:lnTo>
                    <a:pt x="19" y="252"/>
                  </a:lnTo>
                  <a:lnTo>
                    <a:pt x="22" y="252"/>
                  </a:lnTo>
                  <a:lnTo>
                    <a:pt x="24" y="250"/>
                  </a:lnTo>
                  <a:lnTo>
                    <a:pt x="27" y="250"/>
                  </a:lnTo>
                  <a:lnTo>
                    <a:pt x="27" y="247"/>
                  </a:lnTo>
                  <a:lnTo>
                    <a:pt x="29" y="247"/>
                  </a:lnTo>
                  <a:lnTo>
                    <a:pt x="32" y="245"/>
                  </a:lnTo>
                  <a:lnTo>
                    <a:pt x="34" y="245"/>
                  </a:lnTo>
                  <a:lnTo>
                    <a:pt x="34" y="242"/>
                  </a:lnTo>
                  <a:lnTo>
                    <a:pt x="37" y="240"/>
                  </a:lnTo>
                  <a:lnTo>
                    <a:pt x="37" y="238"/>
                  </a:lnTo>
                  <a:lnTo>
                    <a:pt x="39" y="238"/>
                  </a:lnTo>
                  <a:lnTo>
                    <a:pt x="39" y="235"/>
                  </a:lnTo>
                  <a:lnTo>
                    <a:pt x="41" y="233"/>
                  </a:lnTo>
                  <a:lnTo>
                    <a:pt x="41" y="230"/>
                  </a:lnTo>
                  <a:lnTo>
                    <a:pt x="41" y="228"/>
                  </a:lnTo>
                  <a:lnTo>
                    <a:pt x="41" y="225"/>
                  </a:lnTo>
                  <a:lnTo>
                    <a:pt x="44" y="223"/>
                  </a:lnTo>
                  <a:lnTo>
                    <a:pt x="44" y="218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4" y="206"/>
                  </a:lnTo>
                  <a:lnTo>
                    <a:pt x="44" y="159"/>
                  </a:lnTo>
                  <a:lnTo>
                    <a:pt x="56" y="159"/>
                  </a:lnTo>
                  <a:lnTo>
                    <a:pt x="56" y="250"/>
                  </a:lnTo>
                  <a:lnTo>
                    <a:pt x="56" y="250"/>
                  </a:lnTo>
                  <a:lnTo>
                    <a:pt x="56" y="252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9" y="255"/>
                  </a:lnTo>
                  <a:lnTo>
                    <a:pt x="61" y="255"/>
                  </a:lnTo>
                  <a:lnTo>
                    <a:pt x="61" y="255"/>
                  </a:lnTo>
                  <a:lnTo>
                    <a:pt x="61" y="255"/>
                  </a:lnTo>
                  <a:lnTo>
                    <a:pt x="63" y="255"/>
                  </a:lnTo>
                  <a:lnTo>
                    <a:pt x="63" y="255"/>
                  </a:lnTo>
                  <a:lnTo>
                    <a:pt x="66" y="255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8" y="250"/>
                  </a:lnTo>
                  <a:lnTo>
                    <a:pt x="68" y="250"/>
                  </a:lnTo>
                  <a:lnTo>
                    <a:pt x="68" y="159"/>
                  </a:lnTo>
                  <a:lnTo>
                    <a:pt x="83" y="159"/>
                  </a:lnTo>
                  <a:lnTo>
                    <a:pt x="83" y="250"/>
                  </a:lnTo>
                  <a:lnTo>
                    <a:pt x="83" y="250"/>
                  </a:lnTo>
                  <a:lnTo>
                    <a:pt x="83" y="252"/>
                  </a:lnTo>
                  <a:lnTo>
                    <a:pt x="83" y="252"/>
                  </a:lnTo>
                  <a:lnTo>
                    <a:pt x="83" y="252"/>
                  </a:lnTo>
                  <a:lnTo>
                    <a:pt x="86" y="255"/>
                  </a:lnTo>
                  <a:lnTo>
                    <a:pt x="86" y="255"/>
                  </a:lnTo>
                  <a:lnTo>
                    <a:pt x="88" y="255"/>
                  </a:lnTo>
                  <a:lnTo>
                    <a:pt x="88" y="255"/>
                  </a:lnTo>
                  <a:lnTo>
                    <a:pt x="88" y="255"/>
                  </a:lnTo>
                  <a:lnTo>
                    <a:pt x="90" y="255"/>
                  </a:lnTo>
                  <a:lnTo>
                    <a:pt x="90" y="255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50"/>
                  </a:lnTo>
                  <a:lnTo>
                    <a:pt x="93" y="250"/>
                  </a:lnTo>
                  <a:lnTo>
                    <a:pt x="93" y="159"/>
                  </a:lnTo>
                  <a:lnTo>
                    <a:pt x="108" y="159"/>
                  </a:lnTo>
                  <a:lnTo>
                    <a:pt x="108" y="250"/>
                  </a:lnTo>
                  <a:lnTo>
                    <a:pt x="110" y="250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5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7" y="255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20" y="252"/>
                  </a:lnTo>
                  <a:lnTo>
                    <a:pt x="120" y="250"/>
                  </a:lnTo>
                  <a:lnTo>
                    <a:pt x="120" y="250"/>
                  </a:lnTo>
                  <a:lnTo>
                    <a:pt x="120" y="159"/>
                  </a:lnTo>
                  <a:lnTo>
                    <a:pt x="135" y="159"/>
                  </a:lnTo>
                  <a:lnTo>
                    <a:pt x="135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5" y="252"/>
                  </a:lnTo>
                  <a:lnTo>
                    <a:pt x="137" y="252"/>
                  </a:lnTo>
                  <a:lnTo>
                    <a:pt x="137" y="255"/>
                  </a:lnTo>
                  <a:lnTo>
                    <a:pt x="137" y="255"/>
                  </a:lnTo>
                  <a:lnTo>
                    <a:pt x="139" y="255"/>
                  </a:lnTo>
                  <a:lnTo>
                    <a:pt x="139" y="255"/>
                  </a:lnTo>
                  <a:lnTo>
                    <a:pt x="142" y="255"/>
                  </a:lnTo>
                  <a:lnTo>
                    <a:pt x="142" y="255"/>
                  </a:lnTo>
                  <a:lnTo>
                    <a:pt x="142" y="255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159"/>
                  </a:lnTo>
                  <a:lnTo>
                    <a:pt x="162" y="159"/>
                  </a:lnTo>
                  <a:lnTo>
                    <a:pt x="162" y="250"/>
                  </a:lnTo>
                  <a:lnTo>
                    <a:pt x="162" y="250"/>
                  </a:lnTo>
                  <a:lnTo>
                    <a:pt x="162" y="252"/>
                  </a:lnTo>
                  <a:lnTo>
                    <a:pt x="162" y="252"/>
                  </a:lnTo>
                  <a:lnTo>
                    <a:pt x="162" y="252"/>
                  </a:lnTo>
                  <a:lnTo>
                    <a:pt x="164" y="255"/>
                  </a:lnTo>
                  <a:lnTo>
                    <a:pt x="164" y="255"/>
                  </a:lnTo>
                  <a:lnTo>
                    <a:pt x="164" y="255"/>
                  </a:lnTo>
                  <a:lnTo>
                    <a:pt x="166" y="255"/>
                  </a:lnTo>
                  <a:lnTo>
                    <a:pt x="166" y="255"/>
                  </a:lnTo>
                  <a:lnTo>
                    <a:pt x="169" y="255"/>
                  </a:lnTo>
                  <a:lnTo>
                    <a:pt x="169" y="255"/>
                  </a:lnTo>
                  <a:lnTo>
                    <a:pt x="169" y="252"/>
                  </a:lnTo>
                  <a:lnTo>
                    <a:pt x="171" y="252"/>
                  </a:lnTo>
                  <a:lnTo>
                    <a:pt x="171" y="252"/>
                  </a:lnTo>
                  <a:lnTo>
                    <a:pt x="171" y="250"/>
                  </a:lnTo>
                  <a:lnTo>
                    <a:pt x="171" y="250"/>
                  </a:lnTo>
                  <a:lnTo>
                    <a:pt x="171" y="159"/>
                  </a:lnTo>
                  <a:lnTo>
                    <a:pt x="186" y="159"/>
                  </a:lnTo>
                  <a:lnTo>
                    <a:pt x="186" y="250"/>
                  </a:lnTo>
                  <a:lnTo>
                    <a:pt x="186" y="250"/>
                  </a:lnTo>
                  <a:lnTo>
                    <a:pt x="186" y="252"/>
                  </a:lnTo>
                  <a:lnTo>
                    <a:pt x="189" y="252"/>
                  </a:lnTo>
                  <a:lnTo>
                    <a:pt x="189" y="252"/>
                  </a:lnTo>
                  <a:lnTo>
                    <a:pt x="189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3" y="255"/>
                  </a:lnTo>
                  <a:lnTo>
                    <a:pt x="193" y="255"/>
                  </a:lnTo>
                  <a:lnTo>
                    <a:pt x="196" y="255"/>
                  </a:lnTo>
                  <a:lnTo>
                    <a:pt x="196" y="252"/>
                  </a:lnTo>
                  <a:lnTo>
                    <a:pt x="196" y="252"/>
                  </a:lnTo>
                  <a:lnTo>
                    <a:pt x="198" y="252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198" y="159"/>
                  </a:lnTo>
                  <a:lnTo>
                    <a:pt x="211" y="159"/>
                  </a:lnTo>
                  <a:lnTo>
                    <a:pt x="211" y="206"/>
                  </a:lnTo>
                  <a:lnTo>
                    <a:pt x="211" y="211"/>
                  </a:lnTo>
                  <a:lnTo>
                    <a:pt x="211" y="215"/>
                  </a:lnTo>
                  <a:lnTo>
                    <a:pt x="211" y="218"/>
                  </a:lnTo>
                  <a:lnTo>
                    <a:pt x="211" y="223"/>
                  </a:lnTo>
                  <a:lnTo>
                    <a:pt x="213" y="225"/>
                  </a:lnTo>
                  <a:lnTo>
                    <a:pt x="213" y="228"/>
                  </a:lnTo>
                  <a:lnTo>
                    <a:pt x="213" y="230"/>
                  </a:lnTo>
                  <a:lnTo>
                    <a:pt x="215" y="233"/>
                  </a:lnTo>
                  <a:lnTo>
                    <a:pt x="215" y="235"/>
                  </a:lnTo>
                  <a:lnTo>
                    <a:pt x="215" y="238"/>
                  </a:lnTo>
                  <a:lnTo>
                    <a:pt x="218" y="238"/>
                  </a:lnTo>
                  <a:lnTo>
                    <a:pt x="218" y="240"/>
                  </a:lnTo>
                  <a:lnTo>
                    <a:pt x="220" y="242"/>
                  </a:lnTo>
                  <a:lnTo>
                    <a:pt x="220" y="245"/>
                  </a:lnTo>
                  <a:lnTo>
                    <a:pt x="223" y="245"/>
                  </a:lnTo>
                  <a:lnTo>
                    <a:pt x="225" y="247"/>
                  </a:lnTo>
                  <a:lnTo>
                    <a:pt x="228" y="247"/>
                  </a:lnTo>
                  <a:lnTo>
                    <a:pt x="228" y="250"/>
                  </a:lnTo>
                  <a:lnTo>
                    <a:pt x="230" y="250"/>
                  </a:lnTo>
                  <a:lnTo>
                    <a:pt x="233" y="252"/>
                  </a:lnTo>
                  <a:lnTo>
                    <a:pt x="235" y="252"/>
                  </a:lnTo>
                  <a:lnTo>
                    <a:pt x="240" y="255"/>
                  </a:lnTo>
                  <a:lnTo>
                    <a:pt x="242" y="255"/>
                  </a:lnTo>
                  <a:lnTo>
                    <a:pt x="245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2" y="255"/>
                  </a:lnTo>
                  <a:lnTo>
                    <a:pt x="252" y="255"/>
                  </a:lnTo>
                  <a:lnTo>
                    <a:pt x="252" y="252"/>
                  </a:lnTo>
                  <a:lnTo>
                    <a:pt x="255" y="252"/>
                  </a:lnTo>
                  <a:lnTo>
                    <a:pt x="255" y="252"/>
                  </a:lnTo>
                  <a:lnTo>
                    <a:pt x="255" y="250"/>
                  </a:lnTo>
                  <a:lnTo>
                    <a:pt x="255" y="247"/>
                  </a:lnTo>
                  <a:lnTo>
                    <a:pt x="255" y="247"/>
                  </a:lnTo>
                  <a:lnTo>
                    <a:pt x="255" y="245"/>
                  </a:lnTo>
                  <a:lnTo>
                    <a:pt x="252" y="245"/>
                  </a:lnTo>
                  <a:lnTo>
                    <a:pt x="252" y="245"/>
                  </a:lnTo>
                  <a:lnTo>
                    <a:pt x="252" y="245"/>
                  </a:lnTo>
                  <a:lnTo>
                    <a:pt x="250" y="245"/>
                  </a:lnTo>
                  <a:lnTo>
                    <a:pt x="250" y="242"/>
                  </a:lnTo>
                  <a:lnTo>
                    <a:pt x="247" y="242"/>
                  </a:lnTo>
                  <a:lnTo>
                    <a:pt x="245" y="242"/>
                  </a:lnTo>
                  <a:lnTo>
                    <a:pt x="242" y="242"/>
                  </a:lnTo>
                  <a:lnTo>
                    <a:pt x="240" y="242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5" y="240"/>
                  </a:lnTo>
                  <a:lnTo>
                    <a:pt x="235" y="240"/>
                  </a:lnTo>
                  <a:lnTo>
                    <a:pt x="233" y="240"/>
                  </a:lnTo>
                  <a:lnTo>
                    <a:pt x="233" y="238"/>
                  </a:lnTo>
                  <a:lnTo>
                    <a:pt x="230" y="238"/>
                  </a:lnTo>
                  <a:lnTo>
                    <a:pt x="230" y="238"/>
                  </a:lnTo>
                  <a:lnTo>
                    <a:pt x="228" y="235"/>
                  </a:lnTo>
                  <a:lnTo>
                    <a:pt x="228" y="235"/>
                  </a:lnTo>
                  <a:lnTo>
                    <a:pt x="228" y="233"/>
                  </a:lnTo>
                  <a:lnTo>
                    <a:pt x="225" y="233"/>
                  </a:lnTo>
                  <a:lnTo>
                    <a:pt x="225" y="230"/>
                  </a:lnTo>
                  <a:lnTo>
                    <a:pt x="225" y="230"/>
                  </a:lnTo>
                  <a:lnTo>
                    <a:pt x="223" y="225"/>
                  </a:lnTo>
                  <a:lnTo>
                    <a:pt x="223" y="223"/>
                  </a:lnTo>
                  <a:lnTo>
                    <a:pt x="223" y="220"/>
                  </a:lnTo>
                  <a:lnTo>
                    <a:pt x="223" y="215"/>
                  </a:lnTo>
                  <a:lnTo>
                    <a:pt x="220" y="213"/>
                  </a:lnTo>
                  <a:lnTo>
                    <a:pt x="220" y="208"/>
                  </a:lnTo>
                  <a:lnTo>
                    <a:pt x="220" y="206"/>
                  </a:lnTo>
                  <a:lnTo>
                    <a:pt x="220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4"/>
                  </a:lnTo>
                  <a:lnTo>
                    <a:pt x="238" y="154"/>
                  </a:lnTo>
                  <a:lnTo>
                    <a:pt x="238" y="152"/>
                  </a:lnTo>
                  <a:lnTo>
                    <a:pt x="238" y="152"/>
                  </a:lnTo>
                  <a:lnTo>
                    <a:pt x="238" y="152"/>
                  </a:lnTo>
                  <a:lnTo>
                    <a:pt x="235" y="149"/>
                  </a:lnTo>
                  <a:lnTo>
                    <a:pt x="235" y="149"/>
                  </a:lnTo>
                  <a:lnTo>
                    <a:pt x="235" y="149"/>
                  </a:lnTo>
                  <a:lnTo>
                    <a:pt x="233" y="149"/>
                  </a:lnTo>
                  <a:lnTo>
                    <a:pt x="233" y="147"/>
                  </a:lnTo>
                  <a:lnTo>
                    <a:pt x="17" y="147"/>
                  </a:lnTo>
                  <a:close/>
                  <a:moveTo>
                    <a:pt x="63" y="83"/>
                  </a:moveTo>
                  <a:lnTo>
                    <a:pt x="63" y="83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191" y="95"/>
                  </a:lnTo>
                  <a:lnTo>
                    <a:pt x="193" y="95"/>
                  </a:lnTo>
                  <a:lnTo>
                    <a:pt x="193" y="95"/>
                  </a:lnTo>
                  <a:lnTo>
                    <a:pt x="196" y="95"/>
                  </a:lnTo>
                  <a:lnTo>
                    <a:pt x="196" y="93"/>
                  </a:lnTo>
                  <a:lnTo>
                    <a:pt x="196" y="93"/>
                  </a:lnTo>
                  <a:lnTo>
                    <a:pt x="198" y="90"/>
                  </a:lnTo>
                  <a:lnTo>
                    <a:pt x="198" y="90"/>
                  </a:lnTo>
                  <a:lnTo>
                    <a:pt x="198" y="90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196" y="86"/>
                  </a:lnTo>
                  <a:lnTo>
                    <a:pt x="196" y="86"/>
                  </a:lnTo>
                  <a:lnTo>
                    <a:pt x="196" y="86"/>
                  </a:lnTo>
                  <a:lnTo>
                    <a:pt x="193" y="86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63" y="83"/>
                  </a:lnTo>
                  <a:close/>
                  <a:moveTo>
                    <a:pt x="63" y="66"/>
                  </a:moveTo>
                  <a:lnTo>
                    <a:pt x="63" y="66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59" y="66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3"/>
                  </a:lnTo>
                  <a:lnTo>
                    <a:pt x="120" y="73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20" y="68"/>
                  </a:lnTo>
                  <a:lnTo>
                    <a:pt x="117" y="68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63" y="66"/>
                  </a:lnTo>
                  <a:close/>
                  <a:moveTo>
                    <a:pt x="115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1" y="46"/>
                  </a:lnTo>
                  <a:lnTo>
                    <a:pt x="61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1"/>
                  </a:lnTo>
                  <a:lnTo>
                    <a:pt x="120" y="51"/>
                  </a:lnTo>
                  <a:lnTo>
                    <a:pt x="120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5" y="46"/>
                  </a:lnTo>
                  <a:lnTo>
                    <a:pt x="115" y="46"/>
                  </a:lnTo>
                  <a:lnTo>
                    <a:pt x="115" y="46"/>
                  </a:lnTo>
                  <a:close/>
                  <a:moveTo>
                    <a:pt x="166" y="19"/>
                  </a:moveTo>
                  <a:lnTo>
                    <a:pt x="203" y="56"/>
                  </a:lnTo>
                  <a:lnTo>
                    <a:pt x="203" y="56"/>
                  </a:lnTo>
                  <a:lnTo>
                    <a:pt x="201" y="56"/>
                  </a:lnTo>
                  <a:lnTo>
                    <a:pt x="166" y="56"/>
                  </a:lnTo>
                  <a:lnTo>
                    <a:pt x="166" y="19"/>
                  </a:lnTo>
                  <a:close/>
                  <a:moveTo>
                    <a:pt x="39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42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4" y="139"/>
                  </a:lnTo>
                  <a:lnTo>
                    <a:pt x="44" y="139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2"/>
                  </a:lnTo>
                  <a:lnTo>
                    <a:pt x="157" y="12"/>
                  </a:lnTo>
                  <a:lnTo>
                    <a:pt x="157" y="61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6"/>
                  </a:lnTo>
                  <a:lnTo>
                    <a:pt x="159" y="66"/>
                  </a:lnTo>
                  <a:lnTo>
                    <a:pt x="159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201" y="66"/>
                  </a:lnTo>
                  <a:lnTo>
                    <a:pt x="203" y="66"/>
                  </a:lnTo>
                  <a:lnTo>
                    <a:pt x="203" y="66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3"/>
                  </a:lnTo>
                  <a:lnTo>
                    <a:pt x="206" y="63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6" y="59"/>
                  </a:lnTo>
                  <a:lnTo>
                    <a:pt x="211" y="63"/>
                  </a:lnTo>
                  <a:lnTo>
                    <a:pt x="211" y="137"/>
                  </a:lnTo>
                  <a:lnTo>
                    <a:pt x="211" y="137"/>
                  </a:lnTo>
                  <a:lnTo>
                    <a:pt x="211" y="139"/>
                  </a:lnTo>
                  <a:lnTo>
                    <a:pt x="211" y="139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20" y="142"/>
                  </a:lnTo>
                  <a:lnTo>
                    <a:pt x="220" y="139"/>
                  </a:lnTo>
                  <a:lnTo>
                    <a:pt x="220" y="139"/>
                  </a:lnTo>
                  <a:lnTo>
                    <a:pt x="220" y="137"/>
                  </a:lnTo>
                  <a:lnTo>
                    <a:pt x="220" y="137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59"/>
                  </a:lnTo>
                  <a:lnTo>
                    <a:pt x="220" y="59"/>
                  </a:lnTo>
                  <a:lnTo>
                    <a:pt x="220" y="59"/>
                  </a:lnTo>
                  <a:lnTo>
                    <a:pt x="220" y="56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2" y="0"/>
                  </a:lnTo>
                  <a:lnTo>
                    <a:pt x="162" y="2"/>
                  </a:lnTo>
                  <a:lnTo>
                    <a:pt x="162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" name="Group 9">
            <a:extLst>
              <a:ext uri="{FF2B5EF4-FFF2-40B4-BE49-F238E27FC236}">
                <a16:creationId xmlns:a16="http://schemas.microsoft.com/office/drawing/2014/main" id="{CC52E533-58B4-4076-B7B3-2CB20512B9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119" y="298452"/>
            <a:ext cx="841375" cy="841375"/>
            <a:chOff x="232" y="273"/>
            <a:chExt cx="530" cy="530"/>
          </a:xfrm>
        </p:grpSpPr>
        <p:sp>
          <p:nvSpPr>
            <p:cNvPr id="12" name="AutoShape 8">
              <a:extLst>
                <a:ext uri="{FF2B5EF4-FFF2-40B4-BE49-F238E27FC236}">
                  <a16:creationId xmlns:a16="http://schemas.microsoft.com/office/drawing/2014/main" id="{95DB631F-AEEE-4948-9858-8CD1B0C7C8D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2" y="27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70768871-655A-4BDE-B9DA-1638D6CBE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" y="27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F5222ED6-DE67-4F06-979A-BF18592EDF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" y="29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0D5F4A7-E300-4C8D-8EEC-C1C9FCAF0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" y="406"/>
              <a:ext cx="266" cy="266"/>
            </a:xfrm>
            <a:custGeom>
              <a:avLst/>
              <a:gdLst>
                <a:gd name="T0" fmla="*/ 13 w 266"/>
                <a:gd name="T1" fmla="*/ 159 h 266"/>
                <a:gd name="T2" fmla="*/ 15 w 266"/>
                <a:gd name="T3" fmla="*/ 166 h 266"/>
                <a:gd name="T4" fmla="*/ 33 w 266"/>
                <a:gd name="T5" fmla="*/ 233 h 266"/>
                <a:gd name="T6" fmla="*/ 26 w 266"/>
                <a:gd name="T7" fmla="*/ 248 h 266"/>
                <a:gd name="T8" fmla="*/ 15 w 266"/>
                <a:gd name="T9" fmla="*/ 254 h 266"/>
                <a:gd name="T10" fmla="*/ 3 w 266"/>
                <a:gd name="T11" fmla="*/ 256 h 266"/>
                <a:gd name="T12" fmla="*/ 3 w 266"/>
                <a:gd name="T13" fmla="*/ 264 h 266"/>
                <a:gd name="T14" fmla="*/ 21 w 266"/>
                <a:gd name="T15" fmla="*/ 264 h 266"/>
                <a:gd name="T16" fmla="*/ 36 w 266"/>
                <a:gd name="T17" fmla="*/ 254 h 266"/>
                <a:gd name="T18" fmla="*/ 44 w 266"/>
                <a:gd name="T19" fmla="*/ 236 h 266"/>
                <a:gd name="T20" fmla="*/ 59 w 266"/>
                <a:gd name="T21" fmla="*/ 261 h 266"/>
                <a:gd name="T22" fmla="*/ 64 w 266"/>
                <a:gd name="T23" fmla="*/ 266 h 266"/>
                <a:gd name="T24" fmla="*/ 72 w 266"/>
                <a:gd name="T25" fmla="*/ 261 h 266"/>
                <a:gd name="T26" fmla="*/ 90 w 266"/>
                <a:gd name="T27" fmla="*/ 266 h 266"/>
                <a:gd name="T28" fmla="*/ 97 w 266"/>
                <a:gd name="T29" fmla="*/ 264 h 266"/>
                <a:gd name="T30" fmla="*/ 115 w 266"/>
                <a:gd name="T31" fmla="*/ 264 h 266"/>
                <a:gd name="T32" fmla="*/ 120 w 266"/>
                <a:gd name="T33" fmla="*/ 266 h 266"/>
                <a:gd name="T34" fmla="*/ 141 w 266"/>
                <a:gd name="T35" fmla="*/ 166 h 266"/>
                <a:gd name="T36" fmla="*/ 146 w 266"/>
                <a:gd name="T37" fmla="*/ 266 h 266"/>
                <a:gd name="T38" fmla="*/ 151 w 266"/>
                <a:gd name="T39" fmla="*/ 261 h 266"/>
                <a:gd name="T40" fmla="*/ 169 w 266"/>
                <a:gd name="T41" fmla="*/ 264 h 266"/>
                <a:gd name="T42" fmla="*/ 177 w 266"/>
                <a:gd name="T43" fmla="*/ 264 h 266"/>
                <a:gd name="T44" fmla="*/ 195 w 266"/>
                <a:gd name="T45" fmla="*/ 261 h 266"/>
                <a:gd name="T46" fmla="*/ 202 w 266"/>
                <a:gd name="T47" fmla="*/ 266 h 266"/>
                <a:gd name="T48" fmla="*/ 207 w 266"/>
                <a:gd name="T49" fmla="*/ 166 h 266"/>
                <a:gd name="T50" fmla="*/ 223 w 266"/>
                <a:gd name="T51" fmla="*/ 238 h 266"/>
                <a:gd name="T52" fmla="*/ 230 w 266"/>
                <a:gd name="T53" fmla="*/ 256 h 266"/>
                <a:gd name="T54" fmla="*/ 251 w 266"/>
                <a:gd name="T55" fmla="*/ 266 h 266"/>
                <a:gd name="T56" fmla="*/ 266 w 266"/>
                <a:gd name="T57" fmla="*/ 264 h 266"/>
                <a:gd name="T58" fmla="*/ 264 w 266"/>
                <a:gd name="T59" fmla="*/ 256 h 266"/>
                <a:gd name="T60" fmla="*/ 248 w 266"/>
                <a:gd name="T61" fmla="*/ 254 h 266"/>
                <a:gd name="T62" fmla="*/ 238 w 266"/>
                <a:gd name="T63" fmla="*/ 246 h 266"/>
                <a:gd name="T64" fmla="*/ 233 w 266"/>
                <a:gd name="T65" fmla="*/ 225 h 266"/>
                <a:gd name="T66" fmla="*/ 246 w 266"/>
                <a:gd name="T67" fmla="*/ 166 h 266"/>
                <a:gd name="T68" fmla="*/ 248 w 266"/>
                <a:gd name="T69" fmla="*/ 159 h 266"/>
                <a:gd name="T70" fmla="*/ 67 w 266"/>
                <a:gd name="T71" fmla="*/ 87 h 266"/>
                <a:gd name="T72" fmla="*/ 61 w 266"/>
                <a:gd name="T73" fmla="*/ 95 h 266"/>
                <a:gd name="T74" fmla="*/ 200 w 266"/>
                <a:gd name="T75" fmla="*/ 100 h 266"/>
                <a:gd name="T76" fmla="*/ 207 w 266"/>
                <a:gd name="T77" fmla="*/ 95 h 266"/>
                <a:gd name="T78" fmla="*/ 200 w 266"/>
                <a:gd name="T79" fmla="*/ 87 h 266"/>
                <a:gd name="T80" fmla="*/ 61 w 266"/>
                <a:gd name="T81" fmla="*/ 72 h 266"/>
                <a:gd name="T82" fmla="*/ 64 w 266"/>
                <a:gd name="T83" fmla="*/ 79 h 266"/>
                <a:gd name="T84" fmla="*/ 123 w 266"/>
                <a:gd name="T85" fmla="*/ 77 h 266"/>
                <a:gd name="T86" fmla="*/ 123 w 266"/>
                <a:gd name="T87" fmla="*/ 69 h 266"/>
                <a:gd name="T88" fmla="*/ 64 w 266"/>
                <a:gd name="T89" fmla="*/ 49 h 266"/>
                <a:gd name="T90" fmla="*/ 61 w 266"/>
                <a:gd name="T91" fmla="*/ 56 h 266"/>
                <a:gd name="T92" fmla="*/ 120 w 266"/>
                <a:gd name="T93" fmla="*/ 61 h 266"/>
                <a:gd name="T94" fmla="*/ 125 w 266"/>
                <a:gd name="T95" fmla="*/ 54 h 266"/>
                <a:gd name="T96" fmla="*/ 174 w 266"/>
                <a:gd name="T97" fmla="*/ 21 h 266"/>
                <a:gd name="T98" fmla="*/ 38 w 266"/>
                <a:gd name="T99" fmla="*/ 0 h 266"/>
                <a:gd name="T100" fmla="*/ 36 w 266"/>
                <a:gd name="T101" fmla="*/ 143 h 266"/>
                <a:gd name="T102" fmla="*/ 41 w 266"/>
                <a:gd name="T103" fmla="*/ 149 h 266"/>
                <a:gd name="T104" fmla="*/ 46 w 266"/>
                <a:gd name="T105" fmla="*/ 13 h 266"/>
                <a:gd name="T106" fmla="*/ 166 w 266"/>
                <a:gd name="T107" fmla="*/ 69 h 266"/>
                <a:gd name="T108" fmla="*/ 215 w 266"/>
                <a:gd name="T109" fmla="*/ 67 h 266"/>
                <a:gd name="T110" fmla="*/ 220 w 266"/>
                <a:gd name="T111" fmla="*/ 143 h 266"/>
                <a:gd name="T112" fmla="*/ 228 w 266"/>
                <a:gd name="T113" fmla="*/ 149 h 266"/>
                <a:gd name="T114" fmla="*/ 230 w 266"/>
                <a:gd name="T115" fmla="*/ 64 h 266"/>
                <a:gd name="T116" fmla="*/ 172 w 266"/>
                <a:gd name="T117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266">
                  <a:moveTo>
                    <a:pt x="18" y="154"/>
                  </a:moveTo>
                  <a:lnTo>
                    <a:pt x="15" y="156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3" y="156"/>
                  </a:lnTo>
                  <a:lnTo>
                    <a:pt x="13" y="159"/>
                  </a:lnTo>
                  <a:lnTo>
                    <a:pt x="13" y="159"/>
                  </a:lnTo>
                  <a:lnTo>
                    <a:pt x="13" y="159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8" y="166"/>
                  </a:lnTo>
                  <a:lnTo>
                    <a:pt x="36" y="166"/>
                  </a:lnTo>
                  <a:lnTo>
                    <a:pt x="36" y="215"/>
                  </a:lnTo>
                  <a:lnTo>
                    <a:pt x="36" y="218"/>
                  </a:lnTo>
                  <a:lnTo>
                    <a:pt x="36" y="223"/>
                  </a:lnTo>
                  <a:lnTo>
                    <a:pt x="36" y="225"/>
                  </a:lnTo>
                  <a:lnTo>
                    <a:pt x="33" y="230"/>
                  </a:lnTo>
                  <a:lnTo>
                    <a:pt x="33" y="233"/>
                  </a:lnTo>
                  <a:lnTo>
                    <a:pt x="33" y="236"/>
                  </a:lnTo>
                  <a:lnTo>
                    <a:pt x="31" y="241"/>
                  </a:lnTo>
                  <a:lnTo>
                    <a:pt x="31" y="241"/>
                  </a:lnTo>
                  <a:lnTo>
                    <a:pt x="31" y="243"/>
                  </a:lnTo>
                  <a:lnTo>
                    <a:pt x="28" y="243"/>
                  </a:lnTo>
                  <a:lnTo>
                    <a:pt x="28" y="246"/>
                  </a:lnTo>
                  <a:lnTo>
                    <a:pt x="28" y="246"/>
                  </a:lnTo>
                  <a:lnTo>
                    <a:pt x="26" y="248"/>
                  </a:lnTo>
                  <a:lnTo>
                    <a:pt x="26" y="248"/>
                  </a:lnTo>
                  <a:lnTo>
                    <a:pt x="23" y="248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18" y="254"/>
                  </a:lnTo>
                  <a:lnTo>
                    <a:pt x="15" y="254"/>
                  </a:lnTo>
                  <a:lnTo>
                    <a:pt x="15" y="254"/>
                  </a:lnTo>
                  <a:lnTo>
                    <a:pt x="13" y="254"/>
                  </a:lnTo>
                  <a:lnTo>
                    <a:pt x="10" y="254"/>
                  </a:lnTo>
                  <a:lnTo>
                    <a:pt x="8" y="254"/>
                  </a:lnTo>
                  <a:lnTo>
                    <a:pt x="5" y="254"/>
                  </a:lnTo>
                  <a:lnTo>
                    <a:pt x="5" y="256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0" y="256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61"/>
                  </a:lnTo>
                  <a:lnTo>
                    <a:pt x="0" y="261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3" y="264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10" y="266"/>
                  </a:lnTo>
                  <a:lnTo>
                    <a:pt x="13" y="266"/>
                  </a:lnTo>
                  <a:lnTo>
                    <a:pt x="15" y="266"/>
                  </a:lnTo>
                  <a:lnTo>
                    <a:pt x="21" y="264"/>
                  </a:lnTo>
                  <a:lnTo>
                    <a:pt x="23" y="264"/>
                  </a:lnTo>
                  <a:lnTo>
                    <a:pt x="26" y="261"/>
                  </a:lnTo>
                  <a:lnTo>
                    <a:pt x="28" y="261"/>
                  </a:lnTo>
                  <a:lnTo>
                    <a:pt x="28" y="259"/>
                  </a:lnTo>
                  <a:lnTo>
                    <a:pt x="31" y="259"/>
                  </a:lnTo>
                  <a:lnTo>
                    <a:pt x="33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38" y="251"/>
                  </a:lnTo>
                  <a:lnTo>
                    <a:pt x="38" y="248"/>
                  </a:lnTo>
                  <a:lnTo>
                    <a:pt x="41" y="248"/>
                  </a:lnTo>
                  <a:lnTo>
                    <a:pt x="41" y="246"/>
                  </a:lnTo>
                  <a:lnTo>
                    <a:pt x="44" y="243"/>
                  </a:lnTo>
                  <a:lnTo>
                    <a:pt x="44" y="241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3"/>
                  </a:lnTo>
                  <a:lnTo>
                    <a:pt x="46" y="228"/>
                  </a:lnTo>
                  <a:lnTo>
                    <a:pt x="46" y="225"/>
                  </a:lnTo>
                  <a:lnTo>
                    <a:pt x="46" y="220"/>
                  </a:lnTo>
                  <a:lnTo>
                    <a:pt x="46" y="215"/>
                  </a:lnTo>
                  <a:lnTo>
                    <a:pt x="46" y="166"/>
                  </a:lnTo>
                  <a:lnTo>
                    <a:pt x="59" y="166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4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9" y="266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2" y="261"/>
                  </a:lnTo>
                  <a:lnTo>
                    <a:pt x="72" y="261"/>
                  </a:lnTo>
                  <a:lnTo>
                    <a:pt x="72" y="166"/>
                  </a:lnTo>
                  <a:lnTo>
                    <a:pt x="87" y="166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7" y="264"/>
                  </a:lnTo>
                  <a:lnTo>
                    <a:pt x="87" y="264"/>
                  </a:lnTo>
                  <a:lnTo>
                    <a:pt x="87" y="264"/>
                  </a:lnTo>
                  <a:lnTo>
                    <a:pt x="90" y="266"/>
                  </a:lnTo>
                  <a:lnTo>
                    <a:pt x="90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1"/>
                  </a:lnTo>
                  <a:lnTo>
                    <a:pt x="97" y="261"/>
                  </a:lnTo>
                  <a:lnTo>
                    <a:pt x="97" y="166"/>
                  </a:lnTo>
                  <a:lnTo>
                    <a:pt x="113" y="166"/>
                  </a:lnTo>
                  <a:lnTo>
                    <a:pt x="113" y="261"/>
                  </a:lnTo>
                  <a:lnTo>
                    <a:pt x="115" y="261"/>
                  </a:lnTo>
                  <a:lnTo>
                    <a:pt x="115" y="264"/>
                  </a:lnTo>
                  <a:lnTo>
                    <a:pt x="115" y="264"/>
                  </a:lnTo>
                  <a:lnTo>
                    <a:pt x="115" y="264"/>
                  </a:lnTo>
                  <a:lnTo>
                    <a:pt x="115" y="266"/>
                  </a:lnTo>
                  <a:lnTo>
                    <a:pt x="118" y="266"/>
                  </a:lnTo>
                  <a:lnTo>
                    <a:pt x="118" y="266"/>
                  </a:lnTo>
                  <a:lnTo>
                    <a:pt x="120" y="266"/>
                  </a:lnTo>
                  <a:lnTo>
                    <a:pt x="120" y="266"/>
                  </a:lnTo>
                  <a:lnTo>
                    <a:pt x="120" y="266"/>
                  </a:lnTo>
                  <a:lnTo>
                    <a:pt x="123" y="266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1"/>
                  </a:lnTo>
                  <a:lnTo>
                    <a:pt x="125" y="261"/>
                  </a:lnTo>
                  <a:lnTo>
                    <a:pt x="125" y="166"/>
                  </a:lnTo>
                  <a:lnTo>
                    <a:pt x="141" y="166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3" y="264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6" y="266"/>
                  </a:lnTo>
                  <a:lnTo>
                    <a:pt x="146" y="266"/>
                  </a:lnTo>
                  <a:lnTo>
                    <a:pt x="149" y="266"/>
                  </a:lnTo>
                  <a:lnTo>
                    <a:pt x="149" y="266"/>
                  </a:lnTo>
                  <a:lnTo>
                    <a:pt x="149" y="266"/>
                  </a:lnTo>
                  <a:lnTo>
                    <a:pt x="151" y="264"/>
                  </a:lnTo>
                  <a:lnTo>
                    <a:pt x="151" y="264"/>
                  </a:lnTo>
                  <a:lnTo>
                    <a:pt x="151" y="264"/>
                  </a:lnTo>
                  <a:lnTo>
                    <a:pt x="151" y="261"/>
                  </a:lnTo>
                  <a:lnTo>
                    <a:pt x="151" y="261"/>
                  </a:lnTo>
                  <a:lnTo>
                    <a:pt x="151" y="166"/>
                  </a:lnTo>
                  <a:lnTo>
                    <a:pt x="169" y="166"/>
                  </a:lnTo>
                  <a:lnTo>
                    <a:pt x="169" y="261"/>
                  </a:lnTo>
                  <a:lnTo>
                    <a:pt x="169" y="261"/>
                  </a:lnTo>
                  <a:lnTo>
                    <a:pt x="169" y="264"/>
                  </a:lnTo>
                  <a:lnTo>
                    <a:pt x="169" y="264"/>
                  </a:lnTo>
                  <a:lnTo>
                    <a:pt x="169" y="264"/>
                  </a:lnTo>
                  <a:lnTo>
                    <a:pt x="172" y="266"/>
                  </a:lnTo>
                  <a:lnTo>
                    <a:pt x="172" y="266"/>
                  </a:lnTo>
                  <a:lnTo>
                    <a:pt x="172" y="266"/>
                  </a:lnTo>
                  <a:lnTo>
                    <a:pt x="174" y="266"/>
                  </a:lnTo>
                  <a:lnTo>
                    <a:pt x="174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4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166"/>
                  </a:lnTo>
                  <a:lnTo>
                    <a:pt x="195" y="166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5" y="264"/>
                  </a:lnTo>
                  <a:lnTo>
                    <a:pt x="197" y="264"/>
                  </a:lnTo>
                  <a:lnTo>
                    <a:pt x="197" y="264"/>
                  </a:lnTo>
                  <a:lnTo>
                    <a:pt x="197" y="266"/>
                  </a:lnTo>
                  <a:lnTo>
                    <a:pt x="200" y="266"/>
                  </a:lnTo>
                  <a:lnTo>
                    <a:pt x="200" y="266"/>
                  </a:lnTo>
                  <a:lnTo>
                    <a:pt x="200" y="266"/>
                  </a:lnTo>
                  <a:lnTo>
                    <a:pt x="202" y="266"/>
                  </a:lnTo>
                  <a:lnTo>
                    <a:pt x="202" y="266"/>
                  </a:lnTo>
                  <a:lnTo>
                    <a:pt x="205" y="266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7" y="264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166"/>
                  </a:lnTo>
                  <a:lnTo>
                    <a:pt x="220" y="166"/>
                  </a:lnTo>
                  <a:lnTo>
                    <a:pt x="220" y="215"/>
                  </a:lnTo>
                  <a:lnTo>
                    <a:pt x="220" y="220"/>
                  </a:lnTo>
                  <a:lnTo>
                    <a:pt x="220" y="225"/>
                  </a:lnTo>
                  <a:lnTo>
                    <a:pt x="220" y="228"/>
                  </a:lnTo>
                  <a:lnTo>
                    <a:pt x="220" y="233"/>
                  </a:lnTo>
                  <a:lnTo>
                    <a:pt x="223" y="236"/>
                  </a:lnTo>
                  <a:lnTo>
                    <a:pt x="223" y="238"/>
                  </a:lnTo>
                  <a:lnTo>
                    <a:pt x="223" y="241"/>
                  </a:lnTo>
                  <a:lnTo>
                    <a:pt x="225" y="243"/>
                  </a:lnTo>
                  <a:lnTo>
                    <a:pt x="225" y="246"/>
                  </a:lnTo>
                  <a:lnTo>
                    <a:pt x="225" y="248"/>
                  </a:lnTo>
                  <a:lnTo>
                    <a:pt x="228" y="248"/>
                  </a:lnTo>
                  <a:lnTo>
                    <a:pt x="228" y="251"/>
                  </a:lnTo>
                  <a:lnTo>
                    <a:pt x="230" y="254"/>
                  </a:lnTo>
                  <a:lnTo>
                    <a:pt x="230" y="256"/>
                  </a:lnTo>
                  <a:lnTo>
                    <a:pt x="233" y="256"/>
                  </a:lnTo>
                  <a:lnTo>
                    <a:pt x="236" y="259"/>
                  </a:lnTo>
                  <a:lnTo>
                    <a:pt x="238" y="259"/>
                  </a:lnTo>
                  <a:lnTo>
                    <a:pt x="238" y="261"/>
                  </a:lnTo>
                  <a:lnTo>
                    <a:pt x="241" y="261"/>
                  </a:lnTo>
                  <a:lnTo>
                    <a:pt x="243" y="264"/>
                  </a:lnTo>
                  <a:lnTo>
                    <a:pt x="246" y="264"/>
                  </a:lnTo>
                  <a:lnTo>
                    <a:pt x="251" y="266"/>
                  </a:lnTo>
                  <a:lnTo>
                    <a:pt x="254" y="266"/>
                  </a:lnTo>
                  <a:lnTo>
                    <a:pt x="256" y="266"/>
                  </a:lnTo>
                  <a:lnTo>
                    <a:pt x="261" y="266"/>
                  </a:lnTo>
                  <a:lnTo>
                    <a:pt x="261" y="266"/>
                  </a:lnTo>
                  <a:lnTo>
                    <a:pt x="264" y="266"/>
                  </a:lnTo>
                  <a:lnTo>
                    <a:pt x="264" y="266"/>
                  </a:lnTo>
                  <a:lnTo>
                    <a:pt x="264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6" y="261"/>
                  </a:lnTo>
                  <a:lnTo>
                    <a:pt x="266" y="259"/>
                  </a:lnTo>
                  <a:lnTo>
                    <a:pt x="266" y="259"/>
                  </a:lnTo>
                  <a:lnTo>
                    <a:pt x="266" y="256"/>
                  </a:lnTo>
                  <a:lnTo>
                    <a:pt x="264" y="256"/>
                  </a:lnTo>
                  <a:lnTo>
                    <a:pt x="264" y="256"/>
                  </a:lnTo>
                  <a:lnTo>
                    <a:pt x="264" y="256"/>
                  </a:lnTo>
                  <a:lnTo>
                    <a:pt x="261" y="256"/>
                  </a:lnTo>
                  <a:lnTo>
                    <a:pt x="261" y="254"/>
                  </a:lnTo>
                  <a:lnTo>
                    <a:pt x="259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1" y="254"/>
                  </a:lnTo>
                  <a:lnTo>
                    <a:pt x="251" y="254"/>
                  </a:lnTo>
                  <a:lnTo>
                    <a:pt x="248" y="254"/>
                  </a:lnTo>
                  <a:lnTo>
                    <a:pt x="246" y="251"/>
                  </a:lnTo>
                  <a:lnTo>
                    <a:pt x="246" y="251"/>
                  </a:lnTo>
                  <a:lnTo>
                    <a:pt x="243" y="251"/>
                  </a:lnTo>
                  <a:lnTo>
                    <a:pt x="243" y="248"/>
                  </a:lnTo>
                  <a:lnTo>
                    <a:pt x="241" y="248"/>
                  </a:lnTo>
                  <a:lnTo>
                    <a:pt x="241" y="248"/>
                  </a:lnTo>
                  <a:lnTo>
                    <a:pt x="238" y="246"/>
                  </a:lnTo>
                  <a:lnTo>
                    <a:pt x="238" y="246"/>
                  </a:lnTo>
                  <a:lnTo>
                    <a:pt x="238" y="243"/>
                  </a:lnTo>
                  <a:lnTo>
                    <a:pt x="236" y="243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3" y="236"/>
                  </a:lnTo>
                  <a:lnTo>
                    <a:pt x="233" y="233"/>
                  </a:lnTo>
                  <a:lnTo>
                    <a:pt x="233" y="230"/>
                  </a:lnTo>
                  <a:lnTo>
                    <a:pt x="233" y="225"/>
                  </a:lnTo>
                  <a:lnTo>
                    <a:pt x="230" y="223"/>
                  </a:lnTo>
                  <a:lnTo>
                    <a:pt x="230" y="218"/>
                  </a:lnTo>
                  <a:lnTo>
                    <a:pt x="230" y="215"/>
                  </a:lnTo>
                  <a:lnTo>
                    <a:pt x="230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6" y="166"/>
                  </a:lnTo>
                  <a:lnTo>
                    <a:pt x="246" y="166"/>
                  </a:lnTo>
                  <a:lnTo>
                    <a:pt x="246" y="164"/>
                  </a:lnTo>
                  <a:lnTo>
                    <a:pt x="248" y="164"/>
                  </a:lnTo>
                  <a:lnTo>
                    <a:pt x="248" y="164"/>
                  </a:lnTo>
                  <a:lnTo>
                    <a:pt x="248" y="161"/>
                  </a:lnTo>
                  <a:lnTo>
                    <a:pt x="248" y="161"/>
                  </a:lnTo>
                  <a:lnTo>
                    <a:pt x="248" y="159"/>
                  </a:lnTo>
                  <a:lnTo>
                    <a:pt x="248" y="159"/>
                  </a:lnTo>
                  <a:lnTo>
                    <a:pt x="248" y="159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46" y="156"/>
                  </a:lnTo>
                  <a:lnTo>
                    <a:pt x="243" y="156"/>
                  </a:lnTo>
                  <a:lnTo>
                    <a:pt x="243" y="154"/>
                  </a:lnTo>
                  <a:lnTo>
                    <a:pt x="18" y="154"/>
                  </a:lnTo>
                  <a:close/>
                  <a:moveTo>
                    <a:pt x="67" y="87"/>
                  </a:moveTo>
                  <a:lnTo>
                    <a:pt x="67" y="87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100"/>
                  </a:lnTo>
                  <a:lnTo>
                    <a:pt x="205" y="100"/>
                  </a:lnTo>
                  <a:lnTo>
                    <a:pt x="205" y="97"/>
                  </a:lnTo>
                  <a:lnTo>
                    <a:pt x="205" y="97"/>
                  </a:lnTo>
                  <a:lnTo>
                    <a:pt x="207" y="95"/>
                  </a:lnTo>
                  <a:lnTo>
                    <a:pt x="207" y="95"/>
                  </a:lnTo>
                  <a:lnTo>
                    <a:pt x="207" y="95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2" y="90"/>
                  </a:lnTo>
                  <a:lnTo>
                    <a:pt x="202" y="87"/>
                  </a:lnTo>
                  <a:lnTo>
                    <a:pt x="200" y="87"/>
                  </a:lnTo>
                  <a:lnTo>
                    <a:pt x="67" y="87"/>
                  </a:lnTo>
                  <a:close/>
                  <a:moveTo>
                    <a:pt x="67" y="69"/>
                  </a:moveTo>
                  <a:lnTo>
                    <a:pt x="67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1" y="69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9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3" y="79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2"/>
                  </a:lnTo>
                  <a:lnTo>
                    <a:pt x="123" y="72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67" y="69"/>
                  </a:lnTo>
                  <a:close/>
                  <a:moveTo>
                    <a:pt x="120" y="49"/>
                  </a:moveTo>
                  <a:lnTo>
                    <a:pt x="67" y="49"/>
                  </a:lnTo>
                  <a:lnTo>
                    <a:pt x="67" y="49"/>
                  </a:lnTo>
                  <a:lnTo>
                    <a:pt x="64" y="49"/>
                  </a:lnTo>
                  <a:lnTo>
                    <a:pt x="64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5" y="56"/>
                  </a:lnTo>
                  <a:lnTo>
                    <a:pt x="125" y="56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close/>
                  <a:moveTo>
                    <a:pt x="174" y="21"/>
                  </a:moveTo>
                  <a:lnTo>
                    <a:pt x="213" y="59"/>
                  </a:lnTo>
                  <a:lnTo>
                    <a:pt x="213" y="59"/>
                  </a:lnTo>
                  <a:lnTo>
                    <a:pt x="210" y="59"/>
                  </a:lnTo>
                  <a:lnTo>
                    <a:pt x="174" y="59"/>
                  </a:lnTo>
                  <a:lnTo>
                    <a:pt x="174" y="21"/>
                  </a:lnTo>
                  <a:close/>
                  <a:moveTo>
                    <a:pt x="41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41" y="149"/>
                  </a:lnTo>
                  <a:lnTo>
                    <a:pt x="41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3"/>
                  </a:lnTo>
                  <a:lnTo>
                    <a:pt x="164" y="13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4" y="67"/>
                  </a:lnTo>
                  <a:lnTo>
                    <a:pt x="164" y="67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69"/>
                  </a:lnTo>
                  <a:lnTo>
                    <a:pt x="169" y="69"/>
                  </a:lnTo>
                  <a:lnTo>
                    <a:pt x="169" y="69"/>
                  </a:lnTo>
                  <a:lnTo>
                    <a:pt x="210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5" y="69"/>
                  </a:lnTo>
                  <a:lnTo>
                    <a:pt x="215" y="67"/>
                  </a:lnTo>
                  <a:lnTo>
                    <a:pt x="215" y="67"/>
                  </a:lnTo>
                  <a:lnTo>
                    <a:pt x="215" y="64"/>
                  </a:lnTo>
                  <a:lnTo>
                    <a:pt x="215" y="64"/>
                  </a:lnTo>
                  <a:lnTo>
                    <a:pt x="215" y="64"/>
                  </a:lnTo>
                  <a:lnTo>
                    <a:pt x="215" y="61"/>
                  </a:lnTo>
                  <a:lnTo>
                    <a:pt x="220" y="67"/>
                  </a:lnTo>
                  <a:lnTo>
                    <a:pt x="220" y="143"/>
                  </a:lnTo>
                  <a:lnTo>
                    <a:pt x="220" y="143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3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8" y="149"/>
                  </a:lnTo>
                  <a:lnTo>
                    <a:pt x="228" y="149"/>
                  </a:lnTo>
                  <a:lnTo>
                    <a:pt x="228" y="149"/>
                  </a:lnTo>
                  <a:lnTo>
                    <a:pt x="230" y="149"/>
                  </a:lnTo>
                  <a:lnTo>
                    <a:pt x="230" y="146"/>
                  </a:lnTo>
                  <a:lnTo>
                    <a:pt x="230" y="146"/>
                  </a:lnTo>
                  <a:lnTo>
                    <a:pt x="230" y="143"/>
                  </a:lnTo>
                  <a:lnTo>
                    <a:pt x="230" y="143"/>
                  </a:lnTo>
                  <a:lnTo>
                    <a:pt x="230" y="64"/>
                  </a:lnTo>
                  <a:lnTo>
                    <a:pt x="230" y="64"/>
                  </a:lnTo>
                  <a:lnTo>
                    <a:pt x="230" y="61"/>
                  </a:lnTo>
                  <a:lnTo>
                    <a:pt x="230" y="61"/>
                  </a:lnTo>
                  <a:lnTo>
                    <a:pt x="230" y="61"/>
                  </a:lnTo>
                  <a:lnTo>
                    <a:pt x="230" y="59"/>
                  </a:lnTo>
                  <a:lnTo>
                    <a:pt x="174" y="3"/>
                  </a:lnTo>
                  <a:lnTo>
                    <a:pt x="172" y="3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69" y="0"/>
                  </a:lnTo>
                  <a:lnTo>
                    <a:pt x="169" y="3"/>
                  </a:lnTo>
                  <a:lnTo>
                    <a:pt x="169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15">
            <a:extLst>
              <a:ext uri="{FF2B5EF4-FFF2-40B4-BE49-F238E27FC236}">
                <a16:creationId xmlns:a16="http://schemas.microsoft.com/office/drawing/2014/main" id="{4F736FF5-FC4C-4628-973E-43B28E35A61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6498" y="339727"/>
            <a:ext cx="758825" cy="758825"/>
            <a:chOff x="2231" y="397"/>
            <a:chExt cx="478" cy="478"/>
          </a:xfrm>
        </p:grpSpPr>
        <p:sp>
          <p:nvSpPr>
            <p:cNvPr id="21" name="AutoShape 14">
              <a:extLst>
                <a:ext uri="{FF2B5EF4-FFF2-40B4-BE49-F238E27FC236}">
                  <a16:creationId xmlns:a16="http://schemas.microsoft.com/office/drawing/2014/main" id="{1A350C40-DD61-4A95-82AA-B6957800F0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31" y="39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75B0172B-9600-4982-83AE-E4B7B1F08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3" y="39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D01E4FFB-58E6-4EAC-B0B6-5E13FCFCF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6" y="502"/>
              <a:ext cx="230" cy="270"/>
            </a:xfrm>
            <a:custGeom>
              <a:avLst/>
              <a:gdLst>
                <a:gd name="T0" fmla="*/ 91 w 230"/>
                <a:gd name="T1" fmla="*/ 172 h 270"/>
                <a:gd name="T2" fmla="*/ 88 w 230"/>
                <a:gd name="T3" fmla="*/ 174 h 270"/>
                <a:gd name="T4" fmla="*/ 86 w 230"/>
                <a:gd name="T5" fmla="*/ 177 h 270"/>
                <a:gd name="T6" fmla="*/ 86 w 230"/>
                <a:gd name="T7" fmla="*/ 179 h 270"/>
                <a:gd name="T8" fmla="*/ 88 w 230"/>
                <a:gd name="T9" fmla="*/ 182 h 270"/>
                <a:gd name="T10" fmla="*/ 91 w 230"/>
                <a:gd name="T11" fmla="*/ 182 h 270"/>
                <a:gd name="T12" fmla="*/ 140 w 230"/>
                <a:gd name="T13" fmla="*/ 182 h 270"/>
                <a:gd name="T14" fmla="*/ 142 w 230"/>
                <a:gd name="T15" fmla="*/ 182 h 270"/>
                <a:gd name="T16" fmla="*/ 142 w 230"/>
                <a:gd name="T17" fmla="*/ 179 h 270"/>
                <a:gd name="T18" fmla="*/ 145 w 230"/>
                <a:gd name="T19" fmla="*/ 177 h 270"/>
                <a:gd name="T20" fmla="*/ 142 w 230"/>
                <a:gd name="T21" fmla="*/ 174 h 270"/>
                <a:gd name="T22" fmla="*/ 142 w 230"/>
                <a:gd name="T23" fmla="*/ 172 h 270"/>
                <a:gd name="T24" fmla="*/ 140 w 230"/>
                <a:gd name="T25" fmla="*/ 172 h 270"/>
                <a:gd name="T26" fmla="*/ 189 w 230"/>
                <a:gd name="T27" fmla="*/ 223 h 270"/>
                <a:gd name="T28" fmla="*/ 199 w 230"/>
                <a:gd name="T29" fmla="*/ 145 h 270"/>
                <a:gd name="T30" fmla="*/ 91 w 230"/>
                <a:gd name="T31" fmla="*/ 64 h 270"/>
                <a:gd name="T32" fmla="*/ 88 w 230"/>
                <a:gd name="T33" fmla="*/ 64 h 270"/>
                <a:gd name="T34" fmla="*/ 88 w 230"/>
                <a:gd name="T35" fmla="*/ 67 h 270"/>
                <a:gd name="T36" fmla="*/ 86 w 230"/>
                <a:gd name="T37" fmla="*/ 69 h 270"/>
                <a:gd name="T38" fmla="*/ 88 w 230"/>
                <a:gd name="T39" fmla="*/ 71 h 270"/>
                <a:gd name="T40" fmla="*/ 88 w 230"/>
                <a:gd name="T41" fmla="*/ 74 h 270"/>
                <a:gd name="T42" fmla="*/ 91 w 230"/>
                <a:gd name="T43" fmla="*/ 74 h 270"/>
                <a:gd name="T44" fmla="*/ 140 w 230"/>
                <a:gd name="T45" fmla="*/ 74 h 270"/>
                <a:gd name="T46" fmla="*/ 142 w 230"/>
                <a:gd name="T47" fmla="*/ 71 h 270"/>
                <a:gd name="T48" fmla="*/ 145 w 230"/>
                <a:gd name="T49" fmla="*/ 71 h 270"/>
                <a:gd name="T50" fmla="*/ 145 w 230"/>
                <a:gd name="T51" fmla="*/ 69 h 270"/>
                <a:gd name="T52" fmla="*/ 142 w 230"/>
                <a:gd name="T53" fmla="*/ 67 h 270"/>
                <a:gd name="T54" fmla="*/ 140 w 230"/>
                <a:gd name="T55" fmla="*/ 64 h 270"/>
                <a:gd name="T56" fmla="*/ 42 w 230"/>
                <a:gd name="T57" fmla="*/ 47 h 270"/>
                <a:gd name="T58" fmla="*/ 32 w 230"/>
                <a:gd name="T59" fmla="*/ 125 h 270"/>
                <a:gd name="T60" fmla="*/ 17 w 230"/>
                <a:gd name="T61" fmla="*/ 258 h 270"/>
                <a:gd name="T62" fmla="*/ 15 w 230"/>
                <a:gd name="T63" fmla="*/ 258 h 270"/>
                <a:gd name="T64" fmla="*/ 12 w 230"/>
                <a:gd name="T65" fmla="*/ 255 h 270"/>
                <a:gd name="T66" fmla="*/ 12 w 230"/>
                <a:gd name="T67" fmla="*/ 253 h 270"/>
                <a:gd name="T68" fmla="*/ 12 w 230"/>
                <a:gd name="T69" fmla="*/ 15 h 270"/>
                <a:gd name="T70" fmla="*/ 12 w 230"/>
                <a:gd name="T71" fmla="*/ 13 h 270"/>
                <a:gd name="T72" fmla="*/ 15 w 230"/>
                <a:gd name="T73" fmla="*/ 13 h 270"/>
                <a:gd name="T74" fmla="*/ 216 w 230"/>
                <a:gd name="T75" fmla="*/ 13 h 270"/>
                <a:gd name="T76" fmla="*/ 218 w 230"/>
                <a:gd name="T77" fmla="*/ 13 h 270"/>
                <a:gd name="T78" fmla="*/ 218 w 230"/>
                <a:gd name="T79" fmla="*/ 15 h 270"/>
                <a:gd name="T80" fmla="*/ 218 w 230"/>
                <a:gd name="T81" fmla="*/ 253 h 270"/>
                <a:gd name="T82" fmla="*/ 218 w 230"/>
                <a:gd name="T83" fmla="*/ 255 h 270"/>
                <a:gd name="T84" fmla="*/ 216 w 230"/>
                <a:gd name="T85" fmla="*/ 258 h 270"/>
                <a:gd name="T86" fmla="*/ 213 w 230"/>
                <a:gd name="T87" fmla="*/ 258 h 270"/>
                <a:gd name="T88" fmla="*/ 15 w 230"/>
                <a:gd name="T89" fmla="*/ 0 h 270"/>
                <a:gd name="T90" fmla="*/ 10 w 230"/>
                <a:gd name="T91" fmla="*/ 0 h 270"/>
                <a:gd name="T92" fmla="*/ 5 w 230"/>
                <a:gd name="T93" fmla="*/ 5 h 270"/>
                <a:gd name="T94" fmla="*/ 0 w 230"/>
                <a:gd name="T95" fmla="*/ 13 h 270"/>
                <a:gd name="T96" fmla="*/ 0 w 230"/>
                <a:gd name="T97" fmla="*/ 15 h 270"/>
                <a:gd name="T98" fmla="*/ 0 w 230"/>
                <a:gd name="T99" fmla="*/ 255 h 270"/>
                <a:gd name="T100" fmla="*/ 2 w 230"/>
                <a:gd name="T101" fmla="*/ 263 h 270"/>
                <a:gd name="T102" fmla="*/ 7 w 230"/>
                <a:gd name="T103" fmla="*/ 268 h 270"/>
                <a:gd name="T104" fmla="*/ 12 w 230"/>
                <a:gd name="T105" fmla="*/ 270 h 270"/>
                <a:gd name="T106" fmla="*/ 213 w 230"/>
                <a:gd name="T107" fmla="*/ 270 h 270"/>
                <a:gd name="T108" fmla="*/ 218 w 230"/>
                <a:gd name="T109" fmla="*/ 270 h 270"/>
                <a:gd name="T110" fmla="*/ 226 w 230"/>
                <a:gd name="T111" fmla="*/ 268 h 270"/>
                <a:gd name="T112" fmla="*/ 230 w 230"/>
                <a:gd name="T113" fmla="*/ 260 h 270"/>
                <a:gd name="T114" fmla="*/ 230 w 230"/>
                <a:gd name="T115" fmla="*/ 255 h 270"/>
                <a:gd name="T116" fmla="*/ 230 w 230"/>
                <a:gd name="T117" fmla="*/ 15 h 270"/>
                <a:gd name="T118" fmla="*/ 230 w 230"/>
                <a:gd name="T119" fmla="*/ 10 h 270"/>
                <a:gd name="T120" fmla="*/ 226 w 230"/>
                <a:gd name="T121" fmla="*/ 3 h 270"/>
                <a:gd name="T122" fmla="*/ 218 w 230"/>
                <a:gd name="T123" fmla="*/ 0 h 270"/>
                <a:gd name="T124" fmla="*/ 216 w 230"/>
                <a:gd name="T12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" h="270">
                  <a:moveTo>
                    <a:pt x="91" y="172"/>
                  </a:moveTo>
                  <a:lnTo>
                    <a:pt x="91" y="172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6" y="174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82"/>
                  </a:lnTo>
                  <a:lnTo>
                    <a:pt x="88" y="182"/>
                  </a:lnTo>
                  <a:lnTo>
                    <a:pt x="88" y="182"/>
                  </a:lnTo>
                  <a:lnTo>
                    <a:pt x="88" y="182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2" y="182"/>
                  </a:lnTo>
                  <a:lnTo>
                    <a:pt x="142" y="182"/>
                  </a:lnTo>
                  <a:lnTo>
                    <a:pt x="142" y="182"/>
                  </a:lnTo>
                  <a:lnTo>
                    <a:pt x="142" y="182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5" y="179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5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91" y="172"/>
                  </a:lnTo>
                  <a:close/>
                  <a:moveTo>
                    <a:pt x="42" y="155"/>
                  </a:moveTo>
                  <a:lnTo>
                    <a:pt x="189" y="155"/>
                  </a:lnTo>
                  <a:lnTo>
                    <a:pt x="189" y="223"/>
                  </a:lnTo>
                  <a:lnTo>
                    <a:pt x="42" y="223"/>
                  </a:lnTo>
                  <a:lnTo>
                    <a:pt x="42" y="155"/>
                  </a:lnTo>
                  <a:close/>
                  <a:moveTo>
                    <a:pt x="32" y="233"/>
                  </a:moveTo>
                  <a:lnTo>
                    <a:pt x="199" y="233"/>
                  </a:lnTo>
                  <a:lnTo>
                    <a:pt x="199" y="145"/>
                  </a:lnTo>
                  <a:lnTo>
                    <a:pt x="32" y="145"/>
                  </a:lnTo>
                  <a:lnTo>
                    <a:pt x="32" y="233"/>
                  </a:lnTo>
                  <a:close/>
                  <a:moveTo>
                    <a:pt x="140" y="64"/>
                  </a:moveTo>
                  <a:lnTo>
                    <a:pt x="91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6" y="67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5" y="71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5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0" y="64"/>
                  </a:lnTo>
                  <a:close/>
                  <a:moveTo>
                    <a:pt x="42" y="47"/>
                  </a:moveTo>
                  <a:lnTo>
                    <a:pt x="189" y="47"/>
                  </a:lnTo>
                  <a:lnTo>
                    <a:pt x="189" y="116"/>
                  </a:lnTo>
                  <a:lnTo>
                    <a:pt x="42" y="116"/>
                  </a:lnTo>
                  <a:lnTo>
                    <a:pt x="42" y="47"/>
                  </a:lnTo>
                  <a:close/>
                  <a:moveTo>
                    <a:pt x="32" y="125"/>
                  </a:moveTo>
                  <a:lnTo>
                    <a:pt x="199" y="125"/>
                  </a:lnTo>
                  <a:lnTo>
                    <a:pt x="199" y="37"/>
                  </a:lnTo>
                  <a:lnTo>
                    <a:pt x="32" y="37"/>
                  </a:lnTo>
                  <a:lnTo>
                    <a:pt x="32" y="125"/>
                  </a:lnTo>
                  <a:close/>
                  <a:moveTo>
                    <a:pt x="17" y="258"/>
                  </a:moveTo>
                  <a:lnTo>
                    <a:pt x="15" y="258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2" y="258"/>
                  </a:lnTo>
                  <a:lnTo>
                    <a:pt x="12" y="258"/>
                  </a:lnTo>
                  <a:lnTo>
                    <a:pt x="12" y="258"/>
                  </a:lnTo>
                  <a:lnTo>
                    <a:pt x="12" y="255"/>
                  </a:lnTo>
                  <a:lnTo>
                    <a:pt x="12" y="255"/>
                  </a:lnTo>
                  <a:lnTo>
                    <a:pt x="12" y="255"/>
                  </a:lnTo>
                  <a:lnTo>
                    <a:pt x="12" y="255"/>
                  </a:lnTo>
                  <a:lnTo>
                    <a:pt x="12" y="255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16" y="13"/>
                  </a:lnTo>
                  <a:lnTo>
                    <a:pt x="216" y="13"/>
                  </a:lnTo>
                  <a:lnTo>
                    <a:pt x="216" y="13"/>
                  </a:lnTo>
                  <a:lnTo>
                    <a:pt x="216" y="13"/>
                  </a:lnTo>
                  <a:lnTo>
                    <a:pt x="216" y="13"/>
                  </a:lnTo>
                  <a:lnTo>
                    <a:pt x="218" y="13"/>
                  </a:lnTo>
                  <a:lnTo>
                    <a:pt x="218" y="13"/>
                  </a:lnTo>
                  <a:lnTo>
                    <a:pt x="218" y="13"/>
                  </a:lnTo>
                  <a:lnTo>
                    <a:pt x="218" y="13"/>
                  </a:lnTo>
                  <a:lnTo>
                    <a:pt x="218" y="15"/>
                  </a:lnTo>
                  <a:lnTo>
                    <a:pt x="218" y="15"/>
                  </a:lnTo>
                  <a:lnTo>
                    <a:pt x="218" y="15"/>
                  </a:lnTo>
                  <a:lnTo>
                    <a:pt x="218" y="15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253"/>
                  </a:lnTo>
                  <a:lnTo>
                    <a:pt x="218" y="253"/>
                  </a:lnTo>
                  <a:lnTo>
                    <a:pt x="218" y="255"/>
                  </a:lnTo>
                  <a:lnTo>
                    <a:pt x="218" y="255"/>
                  </a:lnTo>
                  <a:lnTo>
                    <a:pt x="218" y="255"/>
                  </a:lnTo>
                  <a:lnTo>
                    <a:pt x="218" y="255"/>
                  </a:lnTo>
                  <a:lnTo>
                    <a:pt x="218" y="255"/>
                  </a:lnTo>
                  <a:lnTo>
                    <a:pt x="218" y="258"/>
                  </a:lnTo>
                  <a:lnTo>
                    <a:pt x="218" y="258"/>
                  </a:lnTo>
                  <a:lnTo>
                    <a:pt x="218" y="258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17" y="258"/>
                  </a:lnTo>
                  <a:lnTo>
                    <a:pt x="17" y="258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53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0"/>
                  </a:lnTo>
                  <a:lnTo>
                    <a:pt x="2" y="263"/>
                  </a:lnTo>
                  <a:lnTo>
                    <a:pt x="2" y="263"/>
                  </a:lnTo>
                  <a:lnTo>
                    <a:pt x="2" y="265"/>
                  </a:lnTo>
                  <a:lnTo>
                    <a:pt x="5" y="265"/>
                  </a:lnTo>
                  <a:lnTo>
                    <a:pt x="5" y="268"/>
                  </a:lnTo>
                  <a:lnTo>
                    <a:pt x="7" y="268"/>
                  </a:lnTo>
                  <a:lnTo>
                    <a:pt x="10" y="268"/>
                  </a:lnTo>
                  <a:lnTo>
                    <a:pt x="10" y="270"/>
                  </a:lnTo>
                  <a:lnTo>
                    <a:pt x="12" y="270"/>
                  </a:lnTo>
                  <a:lnTo>
                    <a:pt x="12" y="270"/>
                  </a:lnTo>
                  <a:lnTo>
                    <a:pt x="12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7" y="270"/>
                  </a:lnTo>
                  <a:lnTo>
                    <a:pt x="213" y="270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8" y="270"/>
                  </a:lnTo>
                  <a:lnTo>
                    <a:pt x="218" y="270"/>
                  </a:lnTo>
                  <a:lnTo>
                    <a:pt x="218" y="270"/>
                  </a:lnTo>
                  <a:lnTo>
                    <a:pt x="221" y="270"/>
                  </a:lnTo>
                  <a:lnTo>
                    <a:pt x="223" y="268"/>
                  </a:lnTo>
                  <a:lnTo>
                    <a:pt x="223" y="268"/>
                  </a:lnTo>
                  <a:lnTo>
                    <a:pt x="226" y="268"/>
                  </a:lnTo>
                  <a:lnTo>
                    <a:pt x="226" y="265"/>
                  </a:lnTo>
                  <a:lnTo>
                    <a:pt x="228" y="265"/>
                  </a:lnTo>
                  <a:lnTo>
                    <a:pt x="228" y="263"/>
                  </a:lnTo>
                  <a:lnTo>
                    <a:pt x="228" y="263"/>
                  </a:lnTo>
                  <a:lnTo>
                    <a:pt x="230" y="260"/>
                  </a:lnTo>
                  <a:lnTo>
                    <a:pt x="230" y="260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30" y="255"/>
                  </a:lnTo>
                  <a:lnTo>
                    <a:pt x="230" y="255"/>
                  </a:lnTo>
                  <a:lnTo>
                    <a:pt x="230" y="25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0"/>
                  </a:lnTo>
                  <a:lnTo>
                    <a:pt x="230" y="10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5"/>
                  </a:lnTo>
                  <a:lnTo>
                    <a:pt x="226" y="5"/>
                  </a:lnTo>
                  <a:lnTo>
                    <a:pt x="226" y="3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0">
            <a:extLst>
              <a:ext uri="{FF2B5EF4-FFF2-40B4-BE49-F238E27FC236}">
                <a16:creationId xmlns:a16="http://schemas.microsoft.com/office/drawing/2014/main" id="{28E252C9-E7D4-437F-9FCA-ACD018916B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735" y="298452"/>
            <a:ext cx="841375" cy="841375"/>
            <a:chOff x="1647" y="294"/>
            <a:chExt cx="530" cy="530"/>
          </a:xfrm>
        </p:grpSpPr>
        <p:sp>
          <p:nvSpPr>
            <p:cNvPr id="25" name="AutoShape 19">
              <a:extLst>
                <a:ext uri="{FF2B5EF4-FFF2-40B4-BE49-F238E27FC236}">
                  <a16:creationId xmlns:a16="http://schemas.microsoft.com/office/drawing/2014/main" id="{F86A33AE-C06F-4A5E-9238-8E4A799FE6D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7" y="2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7D8D9F54-FFD7-45F3-AA3C-A3BC4EFE8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7" y="2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2D5B7500-275A-48D2-8C46-A3E1BC62A8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5" y="3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D6FB1B3-A7FA-4045-B8D1-05C1238A00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419"/>
              <a:ext cx="241" cy="282"/>
            </a:xfrm>
            <a:custGeom>
              <a:avLst/>
              <a:gdLst>
                <a:gd name="T0" fmla="*/ 95 w 241"/>
                <a:gd name="T1" fmla="*/ 180 h 282"/>
                <a:gd name="T2" fmla="*/ 92 w 241"/>
                <a:gd name="T3" fmla="*/ 182 h 282"/>
                <a:gd name="T4" fmla="*/ 89 w 241"/>
                <a:gd name="T5" fmla="*/ 185 h 282"/>
                <a:gd name="T6" fmla="*/ 89 w 241"/>
                <a:gd name="T7" fmla="*/ 187 h 282"/>
                <a:gd name="T8" fmla="*/ 92 w 241"/>
                <a:gd name="T9" fmla="*/ 190 h 282"/>
                <a:gd name="T10" fmla="*/ 95 w 241"/>
                <a:gd name="T11" fmla="*/ 190 h 282"/>
                <a:gd name="T12" fmla="*/ 146 w 241"/>
                <a:gd name="T13" fmla="*/ 190 h 282"/>
                <a:gd name="T14" fmla="*/ 148 w 241"/>
                <a:gd name="T15" fmla="*/ 190 h 282"/>
                <a:gd name="T16" fmla="*/ 148 w 241"/>
                <a:gd name="T17" fmla="*/ 187 h 282"/>
                <a:gd name="T18" fmla="*/ 151 w 241"/>
                <a:gd name="T19" fmla="*/ 185 h 282"/>
                <a:gd name="T20" fmla="*/ 148 w 241"/>
                <a:gd name="T21" fmla="*/ 182 h 282"/>
                <a:gd name="T22" fmla="*/ 148 w 241"/>
                <a:gd name="T23" fmla="*/ 180 h 282"/>
                <a:gd name="T24" fmla="*/ 146 w 241"/>
                <a:gd name="T25" fmla="*/ 180 h 282"/>
                <a:gd name="T26" fmla="*/ 197 w 241"/>
                <a:gd name="T27" fmla="*/ 233 h 282"/>
                <a:gd name="T28" fmla="*/ 207 w 241"/>
                <a:gd name="T29" fmla="*/ 151 h 282"/>
                <a:gd name="T30" fmla="*/ 95 w 241"/>
                <a:gd name="T31" fmla="*/ 67 h 282"/>
                <a:gd name="T32" fmla="*/ 92 w 241"/>
                <a:gd name="T33" fmla="*/ 67 h 282"/>
                <a:gd name="T34" fmla="*/ 92 w 241"/>
                <a:gd name="T35" fmla="*/ 69 h 282"/>
                <a:gd name="T36" fmla="*/ 89 w 241"/>
                <a:gd name="T37" fmla="*/ 72 h 282"/>
                <a:gd name="T38" fmla="*/ 92 w 241"/>
                <a:gd name="T39" fmla="*/ 75 h 282"/>
                <a:gd name="T40" fmla="*/ 92 w 241"/>
                <a:gd name="T41" fmla="*/ 77 h 282"/>
                <a:gd name="T42" fmla="*/ 95 w 241"/>
                <a:gd name="T43" fmla="*/ 77 h 282"/>
                <a:gd name="T44" fmla="*/ 146 w 241"/>
                <a:gd name="T45" fmla="*/ 77 h 282"/>
                <a:gd name="T46" fmla="*/ 148 w 241"/>
                <a:gd name="T47" fmla="*/ 75 h 282"/>
                <a:gd name="T48" fmla="*/ 151 w 241"/>
                <a:gd name="T49" fmla="*/ 75 h 282"/>
                <a:gd name="T50" fmla="*/ 151 w 241"/>
                <a:gd name="T51" fmla="*/ 72 h 282"/>
                <a:gd name="T52" fmla="*/ 148 w 241"/>
                <a:gd name="T53" fmla="*/ 69 h 282"/>
                <a:gd name="T54" fmla="*/ 146 w 241"/>
                <a:gd name="T55" fmla="*/ 67 h 282"/>
                <a:gd name="T56" fmla="*/ 43 w 241"/>
                <a:gd name="T57" fmla="*/ 49 h 282"/>
                <a:gd name="T58" fmla="*/ 33 w 241"/>
                <a:gd name="T59" fmla="*/ 131 h 282"/>
                <a:gd name="T60" fmla="*/ 18 w 241"/>
                <a:gd name="T61" fmla="*/ 269 h 282"/>
                <a:gd name="T62" fmla="*/ 15 w 241"/>
                <a:gd name="T63" fmla="*/ 269 h 282"/>
                <a:gd name="T64" fmla="*/ 13 w 241"/>
                <a:gd name="T65" fmla="*/ 267 h 282"/>
                <a:gd name="T66" fmla="*/ 13 w 241"/>
                <a:gd name="T67" fmla="*/ 264 h 282"/>
                <a:gd name="T68" fmla="*/ 13 w 241"/>
                <a:gd name="T69" fmla="*/ 16 h 282"/>
                <a:gd name="T70" fmla="*/ 13 w 241"/>
                <a:gd name="T71" fmla="*/ 13 h 282"/>
                <a:gd name="T72" fmla="*/ 15 w 241"/>
                <a:gd name="T73" fmla="*/ 13 h 282"/>
                <a:gd name="T74" fmla="*/ 225 w 241"/>
                <a:gd name="T75" fmla="*/ 13 h 282"/>
                <a:gd name="T76" fmla="*/ 228 w 241"/>
                <a:gd name="T77" fmla="*/ 13 h 282"/>
                <a:gd name="T78" fmla="*/ 228 w 241"/>
                <a:gd name="T79" fmla="*/ 16 h 282"/>
                <a:gd name="T80" fmla="*/ 228 w 241"/>
                <a:gd name="T81" fmla="*/ 264 h 282"/>
                <a:gd name="T82" fmla="*/ 228 w 241"/>
                <a:gd name="T83" fmla="*/ 267 h 282"/>
                <a:gd name="T84" fmla="*/ 225 w 241"/>
                <a:gd name="T85" fmla="*/ 269 h 282"/>
                <a:gd name="T86" fmla="*/ 223 w 241"/>
                <a:gd name="T87" fmla="*/ 269 h 282"/>
                <a:gd name="T88" fmla="*/ 15 w 241"/>
                <a:gd name="T89" fmla="*/ 0 h 282"/>
                <a:gd name="T90" fmla="*/ 10 w 241"/>
                <a:gd name="T91" fmla="*/ 0 h 282"/>
                <a:gd name="T92" fmla="*/ 5 w 241"/>
                <a:gd name="T93" fmla="*/ 5 h 282"/>
                <a:gd name="T94" fmla="*/ 0 w 241"/>
                <a:gd name="T95" fmla="*/ 13 h 282"/>
                <a:gd name="T96" fmla="*/ 0 w 241"/>
                <a:gd name="T97" fmla="*/ 16 h 282"/>
                <a:gd name="T98" fmla="*/ 0 w 241"/>
                <a:gd name="T99" fmla="*/ 267 h 282"/>
                <a:gd name="T100" fmla="*/ 2 w 241"/>
                <a:gd name="T101" fmla="*/ 274 h 282"/>
                <a:gd name="T102" fmla="*/ 8 w 241"/>
                <a:gd name="T103" fmla="*/ 279 h 282"/>
                <a:gd name="T104" fmla="*/ 13 w 241"/>
                <a:gd name="T105" fmla="*/ 282 h 282"/>
                <a:gd name="T106" fmla="*/ 223 w 241"/>
                <a:gd name="T107" fmla="*/ 282 h 282"/>
                <a:gd name="T108" fmla="*/ 228 w 241"/>
                <a:gd name="T109" fmla="*/ 282 h 282"/>
                <a:gd name="T110" fmla="*/ 235 w 241"/>
                <a:gd name="T111" fmla="*/ 279 h 282"/>
                <a:gd name="T112" fmla="*/ 241 w 241"/>
                <a:gd name="T113" fmla="*/ 272 h 282"/>
                <a:gd name="T114" fmla="*/ 241 w 241"/>
                <a:gd name="T115" fmla="*/ 267 h 282"/>
                <a:gd name="T116" fmla="*/ 241 w 241"/>
                <a:gd name="T117" fmla="*/ 16 h 282"/>
                <a:gd name="T118" fmla="*/ 241 w 241"/>
                <a:gd name="T119" fmla="*/ 11 h 282"/>
                <a:gd name="T120" fmla="*/ 235 w 241"/>
                <a:gd name="T121" fmla="*/ 3 h 282"/>
                <a:gd name="T122" fmla="*/ 228 w 241"/>
                <a:gd name="T123" fmla="*/ 0 h 282"/>
                <a:gd name="T124" fmla="*/ 225 w 241"/>
                <a:gd name="T12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1" h="282">
                  <a:moveTo>
                    <a:pt x="95" y="180"/>
                  </a:moveTo>
                  <a:lnTo>
                    <a:pt x="95" y="180"/>
                  </a:lnTo>
                  <a:lnTo>
                    <a:pt x="95" y="180"/>
                  </a:lnTo>
                  <a:lnTo>
                    <a:pt x="95" y="180"/>
                  </a:lnTo>
                  <a:lnTo>
                    <a:pt x="95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89" y="182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90"/>
                  </a:lnTo>
                  <a:lnTo>
                    <a:pt x="92" y="190"/>
                  </a:lnTo>
                  <a:lnTo>
                    <a:pt x="92" y="190"/>
                  </a:lnTo>
                  <a:lnTo>
                    <a:pt x="92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95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51" y="187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95" y="180"/>
                  </a:lnTo>
                  <a:close/>
                  <a:moveTo>
                    <a:pt x="43" y="162"/>
                  </a:moveTo>
                  <a:lnTo>
                    <a:pt x="197" y="162"/>
                  </a:lnTo>
                  <a:lnTo>
                    <a:pt x="197" y="233"/>
                  </a:lnTo>
                  <a:lnTo>
                    <a:pt x="43" y="233"/>
                  </a:lnTo>
                  <a:lnTo>
                    <a:pt x="43" y="162"/>
                  </a:lnTo>
                  <a:close/>
                  <a:moveTo>
                    <a:pt x="33" y="244"/>
                  </a:moveTo>
                  <a:lnTo>
                    <a:pt x="207" y="244"/>
                  </a:lnTo>
                  <a:lnTo>
                    <a:pt x="207" y="151"/>
                  </a:lnTo>
                  <a:lnTo>
                    <a:pt x="33" y="151"/>
                  </a:lnTo>
                  <a:lnTo>
                    <a:pt x="33" y="244"/>
                  </a:lnTo>
                  <a:close/>
                  <a:moveTo>
                    <a:pt x="146" y="67"/>
                  </a:move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89" y="69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51" y="75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69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8" y="69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6" y="67"/>
                  </a:lnTo>
                  <a:lnTo>
                    <a:pt x="146" y="67"/>
                  </a:lnTo>
                  <a:lnTo>
                    <a:pt x="146" y="67"/>
                  </a:lnTo>
                  <a:lnTo>
                    <a:pt x="146" y="67"/>
                  </a:lnTo>
                  <a:lnTo>
                    <a:pt x="146" y="67"/>
                  </a:lnTo>
                  <a:close/>
                  <a:moveTo>
                    <a:pt x="43" y="49"/>
                  </a:moveTo>
                  <a:lnTo>
                    <a:pt x="197" y="49"/>
                  </a:lnTo>
                  <a:lnTo>
                    <a:pt x="197" y="121"/>
                  </a:lnTo>
                  <a:lnTo>
                    <a:pt x="43" y="121"/>
                  </a:lnTo>
                  <a:lnTo>
                    <a:pt x="43" y="49"/>
                  </a:lnTo>
                  <a:close/>
                  <a:moveTo>
                    <a:pt x="33" y="131"/>
                  </a:moveTo>
                  <a:lnTo>
                    <a:pt x="207" y="131"/>
                  </a:lnTo>
                  <a:lnTo>
                    <a:pt x="207" y="39"/>
                  </a:lnTo>
                  <a:lnTo>
                    <a:pt x="33" y="39"/>
                  </a:lnTo>
                  <a:lnTo>
                    <a:pt x="33" y="131"/>
                  </a:lnTo>
                  <a:close/>
                  <a:moveTo>
                    <a:pt x="18" y="269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3" y="269"/>
                  </a:lnTo>
                  <a:lnTo>
                    <a:pt x="13" y="269"/>
                  </a:lnTo>
                  <a:lnTo>
                    <a:pt x="13" y="269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3" y="264"/>
                  </a:lnTo>
                  <a:lnTo>
                    <a:pt x="13" y="264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23" y="11"/>
                  </a:lnTo>
                  <a:lnTo>
                    <a:pt x="223" y="11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8" y="13"/>
                  </a:lnTo>
                  <a:lnTo>
                    <a:pt x="228" y="13"/>
                  </a:lnTo>
                  <a:lnTo>
                    <a:pt x="228" y="13"/>
                  </a:lnTo>
                  <a:lnTo>
                    <a:pt x="228" y="13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28" y="18"/>
                  </a:lnTo>
                  <a:lnTo>
                    <a:pt x="228" y="18"/>
                  </a:lnTo>
                  <a:lnTo>
                    <a:pt x="228" y="264"/>
                  </a:lnTo>
                  <a:lnTo>
                    <a:pt x="228" y="264"/>
                  </a:lnTo>
                  <a:lnTo>
                    <a:pt x="228" y="267"/>
                  </a:lnTo>
                  <a:lnTo>
                    <a:pt x="228" y="267"/>
                  </a:lnTo>
                  <a:lnTo>
                    <a:pt x="228" y="267"/>
                  </a:lnTo>
                  <a:lnTo>
                    <a:pt x="228" y="267"/>
                  </a:lnTo>
                  <a:lnTo>
                    <a:pt x="228" y="267"/>
                  </a:lnTo>
                  <a:lnTo>
                    <a:pt x="228" y="269"/>
                  </a:lnTo>
                  <a:lnTo>
                    <a:pt x="228" y="269"/>
                  </a:lnTo>
                  <a:lnTo>
                    <a:pt x="228" y="269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3" y="269"/>
                  </a:lnTo>
                  <a:lnTo>
                    <a:pt x="223" y="269"/>
                  </a:lnTo>
                  <a:lnTo>
                    <a:pt x="18" y="269"/>
                  </a:lnTo>
                  <a:lnTo>
                    <a:pt x="18" y="269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72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7"/>
                  </a:lnTo>
                  <a:lnTo>
                    <a:pt x="5" y="277"/>
                  </a:lnTo>
                  <a:lnTo>
                    <a:pt x="5" y="279"/>
                  </a:lnTo>
                  <a:lnTo>
                    <a:pt x="8" y="279"/>
                  </a:lnTo>
                  <a:lnTo>
                    <a:pt x="10" y="279"/>
                  </a:lnTo>
                  <a:lnTo>
                    <a:pt x="10" y="282"/>
                  </a:lnTo>
                  <a:lnTo>
                    <a:pt x="13" y="282"/>
                  </a:lnTo>
                  <a:lnTo>
                    <a:pt x="13" y="282"/>
                  </a:lnTo>
                  <a:lnTo>
                    <a:pt x="13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8" y="282"/>
                  </a:lnTo>
                  <a:lnTo>
                    <a:pt x="223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30" y="282"/>
                  </a:lnTo>
                  <a:lnTo>
                    <a:pt x="233" y="279"/>
                  </a:lnTo>
                  <a:lnTo>
                    <a:pt x="233" y="279"/>
                  </a:lnTo>
                  <a:lnTo>
                    <a:pt x="235" y="279"/>
                  </a:lnTo>
                  <a:lnTo>
                    <a:pt x="235" y="277"/>
                  </a:lnTo>
                  <a:lnTo>
                    <a:pt x="238" y="277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41" y="272"/>
                  </a:lnTo>
                  <a:lnTo>
                    <a:pt x="241" y="272"/>
                  </a:lnTo>
                  <a:lnTo>
                    <a:pt x="241" y="269"/>
                  </a:lnTo>
                  <a:lnTo>
                    <a:pt x="241" y="269"/>
                  </a:lnTo>
                  <a:lnTo>
                    <a:pt x="241" y="269"/>
                  </a:lnTo>
                  <a:lnTo>
                    <a:pt x="241" y="267"/>
                  </a:lnTo>
                  <a:lnTo>
                    <a:pt x="241" y="267"/>
                  </a:lnTo>
                  <a:lnTo>
                    <a:pt x="241" y="267"/>
                  </a:lnTo>
                  <a:lnTo>
                    <a:pt x="241" y="16"/>
                  </a:lnTo>
                  <a:lnTo>
                    <a:pt x="241" y="16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1" y="13"/>
                  </a:lnTo>
                  <a:lnTo>
                    <a:pt x="241" y="11"/>
                  </a:lnTo>
                  <a:lnTo>
                    <a:pt x="241" y="11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8" y="5"/>
                  </a:lnTo>
                  <a:lnTo>
                    <a:pt x="235" y="5"/>
                  </a:lnTo>
                  <a:lnTo>
                    <a:pt x="235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26">
            <a:extLst>
              <a:ext uri="{FF2B5EF4-FFF2-40B4-BE49-F238E27FC236}">
                <a16:creationId xmlns:a16="http://schemas.microsoft.com/office/drawing/2014/main" id="{E76FFF68-E2C0-4C9A-8224-35D96F3E7F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5013" y="343694"/>
            <a:ext cx="758825" cy="758825"/>
            <a:chOff x="3587" y="527"/>
            <a:chExt cx="478" cy="478"/>
          </a:xfrm>
        </p:grpSpPr>
        <p:sp>
          <p:nvSpPr>
            <p:cNvPr id="34" name="AutoShape 25">
              <a:extLst>
                <a:ext uri="{FF2B5EF4-FFF2-40B4-BE49-F238E27FC236}">
                  <a16:creationId xmlns:a16="http://schemas.microsoft.com/office/drawing/2014/main" id="{2B70A587-5E66-4431-95DF-7A7A1FA94D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87" y="52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39244029-FBA5-4C0A-B3E2-408C60F17D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9" y="52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A1C919A6-0FEA-4BA9-B882-1BA54AF1D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7" y="605"/>
              <a:ext cx="221" cy="324"/>
            </a:xfrm>
            <a:custGeom>
              <a:avLst/>
              <a:gdLst>
                <a:gd name="T0" fmla="*/ 78 w 221"/>
                <a:gd name="T1" fmla="*/ 91 h 324"/>
                <a:gd name="T2" fmla="*/ 140 w 221"/>
                <a:gd name="T3" fmla="*/ 94 h 324"/>
                <a:gd name="T4" fmla="*/ 140 w 221"/>
                <a:gd name="T5" fmla="*/ 84 h 324"/>
                <a:gd name="T6" fmla="*/ 78 w 221"/>
                <a:gd name="T7" fmla="*/ 47 h 324"/>
                <a:gd name="T8" fmla="*/ 137 w 221"/>
                <a:gd name="T9" fmla="*/ 54 h 324"/>
                <a:gd name="T10" fmla="*/ 142 w 221"/>
                <a:gd name="T11" fmla="*/ 47 h 324"/>
                <a:gd name="T12" fmla="*/ 49 w 221"/>
                <a:gd name="T13" fmla="*/ 312 h 324"/>
                <a:gd name="T14" fmla="*/ 51 w 221"/>
                <a:gd name="T15" fmla="*/ 304 h 324"/>
                <a:gd name="T16" fmla="*/ 59 w 221"/>
                <a:gd name="T17" fmla="*/ 309 h 324"/>
                <a:gd name="T18" fmla="*/ 51 w 221"/>
                <a:gd name="T19" fmla="*/ 314 h 324"/>
                <a:gd name="T20" fmla="*/ 162 w 221"/>
                <a:gd name="T21" fmla="*/ 307 h 324"/>
                <a:gd name="T22" fmla="*/ 172 w 221"/>
                <a:gd name="T23" fmla="*/ 304 h 324"/>
                <a:gd name="T24" fmla="*/ 172 w 221"/>
                <a:gd name="T25" fmla="*/ 312 h 324"/>
                <a:gd name="T26" fmla="*/ 15 w 221"/>
                <a:gd name="T27" fmla="*/ 268 h 324"/>
                <a:gd name="T28" fmla="*/ 17 w 221"/>
                <a:gd name="T29" fmla="*/ 260 h 324"/>
                <a:gd name="T30" fmla="*/ 24 w 221"/>
                <a:gd name="T31" fmla="*/ 263 h 324"/>
                <a:gd name="T32" fmla="*/ 20 w 221"/>
                <a:gd name="T33" fmla="*/ 270 h 324"/>
                <a:gd name="T34" fmla="*/ 196 w 221"/>
                <a:gd name="T35" fmla="*/ 263 h 324"/>
                <a:gd name="T36" fmla="*/ 203 w 221"/>
                <a:gd name="T37" fmla="*/ 260 h 324"/>
                <a:gd name="T38" fmla="*/ 206 w 221"/>
                <a:gd name="T39" fmla="*/ 268 h 324"/>
                <a:gd name="T40" fmla="*/ 105 w 221"/>
                <a:gd name="T41" fmla="*/ 228 h 324"/>
                <a:gd name="T42" fmla="*/ 110 w 221"/>
                <a:gd name="T43" fmla="*/ 231 h 324"/>
                <a:gd name="T44" fmla="*/ 42 w 221"/>
                <a:gd name="T45" fmla="*/ 170 h 324"/>
                <a:gd name="T46" fmla="*/ 172 w 221"/>
                <a:gd name="T47" fmla="*/ 140 h 324"/>
                <a:gd name="T48" fmla="*/ 179 w 221"/>
                <a:gd name="T49" fmla="*/ 174 h 324"/>
                <a:gd name="T50" fmla="*/ 20 w 221"/>
                <a:gd name="T51" fmla="*/ 116 h 324"/>
                <a:gd name="T52" fmla="*/ 59 w 221"/>
                <a:gd name="T53" fmla="*/ 13 h 324"/>
                <a:gd name="T54" fmla="*/ 167 w 221"/>
                <a:gd name="T55" fmla="*/ 18 h 324"/>
                <a:gd name="T56" fmla="*/ 56 w 221"/>
                <a:gd name="T57" fmla="*/ 3 h 324"/>
                <a:gd name="T58" fmla="*/ 44 w 221"/>
                <a:gd name="T59" fmla="*/ 18 h 324"/>
                <a:gd name="T60" fmla="*/ 32 w 221"/>
                <a:gd name="T61" fmla="*/ 157 h 324"/>
                <a:gd name="T62" fmla="*/ 29 w 221"/>
                <a:gd name="T63" fmla="*/ 123 h 324"/>
                <a:gd name="T64" fmla="*/ 27 w 221"/>
                <a:gd name="T65" fmla="*/ 84 h 324"/>
                <a:gd name="T66" fmla="*/ 0 w 221"/>
                <a:gd name="T67" fmla="*/ 89 h 324"/>
                <a:gd name="T68" fmla="*/ 5 w 221"/>
                <a:gd name="T69" fmla="*/ 128 h 324"/>
                <a:gd name="T70" fmla="*/ 17 w 221"/>
                <a:gd name="T71" fmla="*/ 174 h 324"/>
                <a:gd name="T72" fmla="*/ 54 w 221"/>
                <a:gd name="T73" fmla="*/ 194 h 324"/>
                <a:gd name="T74" fmla="*/ 24 w 221"/>
                <a:gd name="T75" fmla="*/ 236 h 324"/>
                <a:gd name="T76" fmla="*/ 5 w 221"/>
                <a:gd name="T77" fmla="*/ 258 h 324"/>
                <a:gd name="T78" fmla="*/ 15 w 221"/>
                <a:gd name="T79" fmla="*/ 280 h 324"/>
                <a:gd name="T80" fmla="*/ 37 w 221"/>
                <a:gd name="T81" fmla="*/ 265 h 324"/>
                <a:gd name="T82" fmla="*/ 51 w 221"/>
                <a:gd name="T83" fmla="*/ 292 h 324"/>
                <a:gd name="T84" fmla="*/ 37 w 221"/>
                <a:gd name="T85" fmla="*/ 314 h 324"/>
                <a:gd name="T86" fmla="*/ 61 w 221"/>
                <a:gd name="T87" fmla="*/ 324 h 324"/>
                <a:gd name="T88" fmla="*/ 152 w 221"/>
                <a:gd name="T89" fmla="*/ 314 h 324"/>
                <a:gd name="T90" fmla="*/ 176 w 221"/>
                <a:gd name="T91" fmla="*/ 324 h 324"/>
                <a:gd name="T92" fmla="*/ 181 w 221"/>
                <a:gd name="T93" fmla="*/ 300 h 324"/>
                <a:gd name="T94" fmla="*/ 162 w 221"/>
                <a:gd name="T95" fmla="*/ 277 h 324"/>
                <a:gd name="T96" fmla="*/ 194 w 221"/>
                <a:gd name="T97" fmla="*/ 280 h 324"/>
                <a:gd name="T98" fmla="*/ 216 w 221"/>
                <a:gd name="T99" fmla="*/ 270 h 324"/>
                <a:gd name="T100" fmla="*/ 203 w 221"/>
                <a:gd name="T101" fmla="*/ 248 h 324"/>
                <a:gd name="T102" fmla="*/ 189 w 221"/>
                <a:gd name="T103" fmla="*/ 228 h 324"/>
                <a:gd name="T104" fmla="*/ 186 w 221"/>
                <a:gd name="T105" fmla="*/ 187 h 324"/>
                <a:gd name="T106" fmla="*/ 208 w 221"/>
                <a:gd name="T107" fmla="*/ 174 h 324"/>
                <a:gd name="T108" fmla="*/ 218 w 221"/>
                <a:gd name="T109" fmla="*/ 125 h 324"/>
                <a:gd name="T110" fmla="*/ 218 w 221"/>
                <a:gd name="T111" fmla="*/ 86 h 324"/>
                <a:gd name="T112" fmla="*/ 191 w 221"/>
                <a:gd name="T113" fmla="*/ 86 h 324"/>
                <a:gd name="T114" fmla="*/ 194 w 221"/>
                <a:gd name="T115" fmla="*/ 125 h 324"/>
                <a:gd name="T116" fmla="*/ 186 w 221"/>
                <a:gd name="T117" fmla="*/ 145 h 324"/>
                <a:gd name="T118" fmla="*/ 176 w 221"/>
                <a:gd name="T119" fmla="*/ 13 h 324"/>
                <a:gd name="T120" fmla="*/ 157 w 221"/>
                <a:gd name="T121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1" h="324">
                  <a:moveTo>
                    <a:pt x="137" y="84"/>
                  </a:moveTo>
                  <a:lnTo>
                    <a:pt x="83" y="84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78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40" y="94"/>
                  </a:lnTo>
                  <a:lnTo>
                    <a:pt x="140" y="94"/>
                  </a:lnTo>
                  <a:lnTo>
                    <a:pt x="140" y="94"/>
                  </a:lnTo>
                  <a:lnTo>
                    <a:pt x="140" y="94"/>
                  </a:lnTo>
                  <a:lnTo>
                    <a:pt x="140" y="94"/>
                  </a:lnTo>
                  <a:lnTo>
                    <a:pt x="142" y="94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89"/>
                  </a:lnTo>
                  <a:lnTo>
                    <a:pt x="142" y="89"/>
                  </a:lnTo>
                  <a:lnTo>
                    <a:pt x="142" y="89"/>
                  </a:lnTo>
                  <a:lnTo>
                    <a:pt x="142" y="89"/>
                  </a:lnTo>
                  <a:lnTo>
                    <a:pt x="142" y="89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7" y="84"/>
                  </a:lnTo>
                  <a:lnTo>
                    <a:pt x="137" y="84"/>
                  </a:lnTo>
                  <a:close/>
                  <a:moveTo>
                    <a:pt x="137" y="42"/>
                  </a:moveTo>
                  <a:lnTo>
                    <a:pt x="83" y="42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0" y="45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close/>
                  <a:moveTo>
                    <a:pt x="51" y="314"/>
                  </a:moveTo>
                  <a:lnTo>
                    <a:pt x="51" y="314"/>
                  </a:lnTo>
                  <a:lnTo>
                    <a:pt x="51" y="314"/>
                  </a:lnTo>
                  <a:lnTo>
                    <a:pt x="49" y="314"/>
                  </a:lnTo>
                  <a:lnTo>
                    <a:pt x="49" y="314"/>
                  </a:lnTo>
                  <a:lnTo>
                    <a:pt x="49" y="314"/>
                  </a:lnTo>
                  <a:lnTo>
                    <a:pt x="49" y="312"/>
                  </a:lnTo>
                  <a:lnTo>
                    <a:pt x="49" y="312"/>
                  </a:lnTo>
                  <a:lnTo>
                    <a:pt x="49" y="312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46" y="309"/>
                  </a:lnTo>
                  <a:lnTo>
                    <a:pt x="46" y="309"/>
                  </a:lnTo>
                  <a:lnTo>
                    <a:pt x="46" y="309"/>
                  </a:lnTo>
                  <a:lnTo>
                    <a:pt x="46" y="309"/>
                  </a:lnTo>
                  <a:lnTo>
                    <a:pt x="46" y="307"/>
                  </a:lnTo>
                  <a:lnTo>
                    <a:pt x="46" y="307"/>
                  </a:lnTo>
                  <a:lnTo>
                    <a:pt x="46" y="307"/>
                  </a:lnTo>
                  <a:lnTo>
                    <a:pt x="49" y="307"/>
                  </a:lnTo>
                  <a:lnTo>
                    <a:pt x="49" y="307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51" y="304"/>
                  </a:lnTo>
                  <a:lnTo>
                    <a:pt x="51" y="304"/>
                  </a:lnTo>
                  <a:lnTo>
                    <a:pt x="51" y="304"/>
                  </a:lnTo>
                  <a:lnTo>
                    <a:pt x="51" y="304"/>
                  </a:lnTo>
                  <a:lnTo>
                    <a:pt x="51" y="304"/>
                  </a:lnTo>
                  <a:lnTo>
                    <a:pt x="54" y="304"/>
                  </a:lnTo>
                  <a:lnTo>
                    <a:pt x="54" y="304"/>
                  </a:lnTo>
                  <a:lnTo>
                    <a:pt x="54" y="304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9" y="307"/>
                  </a:lnTo>
                  <a:lnTo>
                    <a:pt x="59" y="307"/>
                  </a:lnTo>
                  <a:lnTo>
                    <a:pt x="59" y="307"/>
                  </a:lnTo>
                  <a:lnTo>
                    <a:pt x="59" y="309"/>
                  </a:lnTo>
                  <a:lnTo>
                    <a:pt x="59" y="309"/>
                  </a:lnTo>
                  <a:lnTo>
                    <a:pt x="59" y="309"/>
                  </a:lnTo>
                  <a:lnTo>
                    <a:pt x="59" y="309"/>
                  </a:lnTo>
                  <a:lnTo>
                    <a:pt x="59" y="312"/>
                  </a:lnTo>
                  <a:lnTo>
                    <a:pt x="59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6" y="314"/>
                  </a:lnTo>
                  <a:lnTo>
                    <a:pt x="56" y="314"/>
                  </a:lnTo>
                  <a:lnTo>
                    <a:pt x="56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1" y="314"/>
                  </a:lnTo>
                  <a:lnTo>
                    <a:pt x="51" y="314"/>
                  </a:lnTo>
                  <a:lnTo>
                    <a:pt x="51" y="314"/>
                  </a:lnTo>
                  <a:close/>
                  <a:moveTo>
                    <a:pt x="167" y="314"/>
                  </a:moveTo>
                  <a:lnTo>
                    <a:pt x="167" y="314"/>
                  </a:lnTo>
                  <a:lnTo>
                    <a:pt x="167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2"/>
                  </a:lnTo>
                  <a:lnTo>
                    <a:pt x="164" y="312"/>
                  </a:lnTo>
                  <a:lnTo>
                    <a:pt x="164" y="312"/>
                  </a:lnTo>
                  <a:lnTo>
                    <a:pt x="164" y="312"/>
                  </a:lnTo>
                  <a:lnTo>
                    <a:pt x="162" y="312"/>
                  </a:lnTo>
                  <a:lnTo>
                    <a:pt x="162" y="312"/>
                  </a:lnTo>
                  <a:lnTo>
                    <a:pt x="162" y="309"/>
                  </a:lnTo>
                  <a:lnTo>
                    <a:pt x="162" y="309"/>
                  </a:lnTo>
                  <a:lnTo>
                    <a:pt x="162" y="309"/>
                  </a:lnTo>
                  <a:lnTo>
                    <a:pt x="162" y="309"/>
                  </a:lnTo>
                  <a:lnTo>
                    <a:pt x="162" y="307"/>
                  </a:lnTo>
                  <a:lnTo>
                    <a:pt x="162" y="307"/>
                  </a:lnTo>
                  <a:lnTo>
                    <a:pt x="162" y="307"/>
                  </a:lnTo>
                  <a:lnTo>
                    <a:pt x="164" y="307"/>
                  </a:lnTo>
                  <a:lnTo>
                    <a:pt x="164" y="307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7" y="304"/>
                  </a:lnTo>
                  <a:lnTo>
                    <a:pt x="167" y="304"/>
                  </a:lnTo>
                  <a:lnTo>
                    <a:pt x="167" y="304"/>
                  </a:lnTo>
                  <a:lnTo>
                    <a:pt x="167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69" y="304"/>
                  </a:lnTo>
                  <a:lnTo>
                    <a:pt x="172" y="304"/>
                  </a:lnTo>
                  <a:lnTo>
                    <a:pt x="172" y="304"/>
                  </a:lnTo>
                  <a:lnTo>
                    <a:pt x="172" y="304"/>
                  </a:lnTo>
                  <a:lnTo>
                    <a:pt x="172" y="304"/>
                  </a:lnTo>
                  <a:lnTo>
                    <a:pt x="172" y="304"/>
                  </a:lnTo>
                  <a:lnTo>
                    <a:pt x="172" y="307"/>
                  </a:lnTo>
                  <a:lnTo>
                    <a:pt x="172" y="307"/>
                  </a:lnTo>
                  <a:lnTo>
                    <a:pt x="174" y="307"/>
                  </a:lnTo>
                  <a:lnTo>
                    <a:pt x="174" y="307"/>
                  </a:lnTo>
                  <a:lnTo>
                    <a:pt x="174" y="307"/>
                  </a:lnTo>
                  <a:lnTo>
                    <a:pt x="174" y="309"/>
                  </a:lnTo>
                  <a:lnTo>
                    <a:pt x="174" y="309"/>
                  </a:lnTo>
                  <a:lnTo>
                    <a:pt x="174" y="309"/>
                  </a:lnTo>
                  <a:lnTo>
                    <a:pt x="174" y="309"/>
                  </a:lnTo>
                  <a:lnTo>
                    <a:pt x="174" y="312"/>
                  </a:lnTo>
                  <a:lnTo>
                    <a:pt x="174" y="312"/>
                  </a:lnTo>
                  <a:lnTo>
                    <a:pt x="172" y="312"/>
                  </a:lnTo>
                  <a:lnTo>
                    <a:pt x="172" y="312"/>
                  </a:lnTo>
                  <a:lnTo>
                    <a:pt x="172" y="312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4"/>
                  </a:lnTo>
                  <a:lnTo>
                    <a:pt x="172" y="314"/>
                  </a:lnTo>
                  <a:lnTo>
                    <a:pt x="169" y="314"/>
                  </a:lnTo>
                  <a:lnTo>
                    <a:pt x="169" y="314"/>
                  </a:lnTo>
                  <a:lnTo>
                    <a:pt x="169" y="314"/>
                  </a:lnTo>
                  <a:lnTo>
                    <a:pt x="169" y="314"/>
                  </a:lnTo>
                  <a:lnTo>
                    <a:pt x="169" y="314"/>
                  </a:lnTo>
                  <a:lnTo>
                    <a:pt x="167" y="314"/>
                  </a:lnTo>
                  <a:lnTo>
                    <a:pt x="167" y="314"/>
                  </a:lnTo>
                  <a:close/>
                  <a:moveTo>
                    <a:pt x="20" y="270"/>
                  </a:moveTo>
                  <a:lnTo>
                    <a:pt x="17" y="270"/>
                  </a:lnTo>
                  <a:lnTo>
                    <a:pt x="17" y="270"/>
                  </a:lnTo>
                  <a:lnTo>
                    <a:pt x="17" y="270"/>
                  </a:lnTo>
                  <a:lnTo>
                    <a:pt x="17" y="270"/>
                  </a:lnTo>
                  <a:lnTo>
                    <a:pt x="17" y="268"/>
                  </a:lnTo>
                  <a:lnTo>
                    <a:pt x="15" y="268"/>
                  </a:lnTo>
                  <a:lnTo>
                    <a:pt x="15" y="268"/>
                  </a:lnTo>
                  <a:lnTo>
                    <a:pt x="15" y="268"/>
                  </a:lnTo>
                  <a:lnTo>
                    <a:pt x="15" y="268"/>
                  </a:lnTo>
                  <a:lnTo>
                    <a:pt x="15" y="268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7" y="260"/>
                  </a:lnTo>
                  <a:lnTo>
                    <a:pt x="17" y="260"/>
                  </a:lnTo>
                  <a:lnTo>
                    <a:pt x="17" y="260"/>
                  </a:lnTo>
                  <a:lnTo>
                    <a:pt x="17" y="260"/>
                  </a:lnTo>
                  <a:lnTo>
                    <a:pt x="20" y="260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4" y="268"/>
                  </a:lnTo>
                  <a:lnTo>
                    <a:pt x="24" y="268"/>
                  </a:lnTo>
                  <a:lnTo>
                    <a:pt x="24" y="268"/>
                  </a:lnTo>
                  <a:lnTo>
                    <a:pt x="24" y="268"/>
                  </a:lnTo>
                  <a:lnTo>
                    <a:pt x="24" y="268"/>
                  </a:lnTo>
                  <a:lnTo>
                    <a:pt x="22" y="268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20" y="270"/>
                  </a:lnTo>
                  <a:close/>
                  <a:moveTo>
                    <a:pt x="198" y="270"/>
                  </a:moveTo>
                  <a:lnTo>
                    <a:pt x="198" y="270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198" y="268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6" y="268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206" y="260"/>
                  </a:lnTo>
                  <a:lnTo>
                    <a:pt x="206" y="260"/>
                  </a:lnTo>
                  <a:lnTo>
                    <a:pt x="206" y="260"/>
                  </a:lnTo>
                  <a:lnTo>
                    <a:pt x="206" y="263"/>
                  </a:lnTo>
                  <a:lnTo>
                    <a:pt x="206" y="263"/>
                  </a:lnTo>
                  <a:lnTo>
                    <a:pt x="206" y="263"/>
                  </a:lnTo>
                  <a:lnTo>
                    <a:pt x="206" y="263"/>
                  </a:lnTo>
                  <a:lnTo>
                    <a:pt x="206" y="263"/>
                  </a:lnTo>
                  <a:lnTo>
                    <a:pt x="206" y="265"/>
                  </a:lnTo>
                  <a:lnTo>
                    <a:pt x="206" y="265"/>
                  </a:lnTo>
                  <a:lnTo>
                    <a:pt x="206" y="265"/>
                  </a:lnTo>
                  <a:lnTo>
                    <a:pt x="206" y="265"/>
                  </a:lnTo>
                  <a:lnTo>
                    <a:pt x="206" y="268"/>
                  </a:lnTo>
                  <a:lnTo>
                    <a:pt x="206" y="268"/>
                  </a:lnTo>
                  <a:lnTo>
                    <a:pt x="206" y="268"/>
                  </a:lnTo>
                  <a:lnTo>
                    <a:pt x="206" y="268"/>
                  </a:lnTo>
                  <a:lnTo>
                    <a:pt x="206" y="268"/>
                  </a:lnTo>
                  <a:lnTo>
                    <a:pt x="203" y="268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201" y="270"/>
                  </a:lnTo>
                  <a:lnTo>
                    <a:pt x="201" y="270"/>
                  </a:lnTo>
                  <a:lnTo>
                    <a:pt x="201" y="270"/>
                  </a:lnTo>
                  <a:lnTo>
                    <a:pt x="201" y="270"/>
                  </a:lnTo>
                  <a:lnTo>
                    <a:pt x="198" y="270"/>
                  </a:lnTo>
                  <a:close/>
                  <a:moveTo>
                    <a:pt x="110" y="231"/>
                  </a:moveTo>
                  <a:lnTo>
                    <a:pt x="108" y="231"/>
                  </a:lnTo>
                  <a:lnTo>
                    <a:pt x="108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28"/>
                  </a:lnTo>
                  <a:lnTo>
                    <a:pt x="105" y="228"/>
                  </a:lnTo>
                  <a:lnTo>
                    <a:pt x="105" y="228"/>
                  </a:lnTo>
                  <a:lnTo>
                    <a:pt x="105" y="228"/>
                  </a:lnTo>
                  <a:lnTo>
                    <a:pt x="105" y="228"/>
                  </a:lnTo>
                  <a:lnTo>
                    <a:pt x="105" y="228"/>
                  </a:lnTo>
                  <a:lnTo>
                    <a:pt x="105" y="194"/>
                  </a:lnTo>
                  <a:lnTo>
                    <a:pt x="115" y="194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13" y="231"/>
                  </a:lnTo>
                  <a:lnTo>
                    <a:pt x="113" y="231"/>
                  </a:lnTo>
                  <a:lnTo>
                    <a:pt x="110" y="231"/>
                  </a:lnTo>
                  <a:lnTo>
                    <a:pt x="110" y="231"/>
                  </a:lnTo>
                  <a:lnTo>
                    <a:pt x="110" y="231"/>
                  </a:lnTo>
                  <a:close/>
                  <a:moveTo>
                    <a:pt x="54" y="184"/>
                  </a:moveTo>
                  <a:lnTo>
                    <a:pt x="51" y="184"/>
                  </a:lnTo>
                  <a:lnTo>
                    <a:pt x="51" y="184"/>
                  </a:lnTo>
                  <a:lnTo>
                    <a:pt x="49" y="184"/>
                  </a:lnTo>
                  <a:lnTo>
                    <a:pt x="49" y="182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4" y="179"/>
                  </a:lnTo>
                  <a:lnTo>
                    <a:pt x="44" y="179"/>
                  </a:lnTo>
                  <a:lnTo>
                    <a:pt x="44" y="179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0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42" y="165"/>
                  </a:lnTo>
                  <a:lnTo>
                    <a:pt x="42" y="162"/>
                  </a:lnTo>
                  <a:lnTo>
                    <a:pt x="42" y="160"/>
                  </a:lnTo>
                  <a:lnTo>
                    <a:pt x="44" y="157"/>
                  </a:lnTo>
                  <a:lnTo>
                    <a:pt x="44" y="157"/>
                  </a:lnTo>
                  <a:lnTo>
                    <a:pt x="44" y="155"/>
                  </a:lnTo>
                  <a:lnTo>
                    <a:pt x="44" y="152"/>
                  </a:lnTo>
                  <a:lnTo>
                    <a:pt x="46" y="150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9" y="145"/>
                  </a:lnTo>
                  <a:lnTo>
                    <a:pt x="49" y="143"/>
                  </a:lnTo>
                  <a:lnTo>
                    <a:pt x="49" y="140"/>
                  </a:lnTo>
                  <a:lnTo>
                    <a:pt x="51" y="140"/>
                  </a:lnTo>
                  <a:lnTo>
                    <a:pt x="169" y="140"/>
                  </a:lnTo>
                  <a:lnTo>
                    <a:pt x="172" y="140"/>
                  </a:lnTo>
                  <a:lnTo>
                    <a:pt x="172" y="143"/>
                  </a:lnTo>
                  <a:lnTo>
                    <a:pt x="172" y="145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5"/>
                  </a:lnTo>
                  <a:lnTo>
                    <a:pt x="176" y="157"/>
                  </a:lnTo>
                  <a:lnTo>
                    <a:pt x="179" y="157"/>
                  </a:lnTo>
                  <a:lnTo>
                    <a:pt x="179" y="160"/>
                  </a:lnTo>
                  <a:lnTo>
                    <a:pt x="179" y="162"/>
                  </a:lnTo>
                  <a:lnTo>
                    <a:pt x="179" y="165"/>
                  </a:lnTo>
                  <a:lnTo>
                    <a:pt x="179" y="167"/>
                  </a:lnTo>
                  <a:lnTo>
                    <a:pt x="179" y="167"/>
                  </a:lnTo>
                  <a:lnTo>
                    <a:pt x="179" y="170"/>
                  </a:lnTo>
                  <a:lnTo>
                    <a:pt x="179" y="172"/>
                  </a:lnTo>
                  <a:lnTo>
                    <a:pt x="179" y="174"/>
                  </a:lnTo>
                  <a:lnTo>
                    <a:pt x="179" y="174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2" y="182"/>
                  </a:lnTo>
                  <a:lnTo>
                    <a:pt x="172" y="184"/>
                  </a:lnTo>
                  <a:lnTo>
                    <a:pt x="169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4" y="184"/>
                  </a:lnTo>
                  <a:lnTo>
                    <a:pt x="56" y="184"/>
                  </a:lnTo>
                  <a:lnTo>
                    <a:pt x="54" y="184"/>
                  </a:lnTo>
                  <a:close/>
                  <a:moveTo>
                    <a:pt x="10" y="94"/>
                  </a:moveTo>
                  <a:lnTo>
                    <a:pt x="20" y="94"/>
                  </a:lnTo>
                  <a:lnTo>
                    <a:pt x="20" y="116"/>
                  </a:lnTo>
                  <a:lnTo>
                    <a:pt x="10" y="116"/>
                  </a:lnTo>
                  <a:lnTo>
                    <a:pt x="10" y="94"/>
                  </a:lnTo>
                  <a:close/>
                  <a:moveTo>
                    <a:pt x="201" y="94"/>
                  </a:moveTo>
                  <a:lnTo>
                    <a:pt x="211" y="94"/>
                  </a:lnTo>
                  <a:lnTo>
                    <a:pt x="211" y="116"/>
                  </a:lnTo>
                  <a:lnTo>
                    <a:pt x="201" y="116"/>
                  </a:lnTo>
                  <a:lnTo>
                    <a:pt x="201" y="94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1" y="13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152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9" y="13"/>
                  </a:lnTo>
                  <a:lnTo>
                    <a:pt x="162" y="13"/>
                  </a:lnTo>
                  <a:lnTo>
                    <a:pt x="162" y="13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8"/>
                  </a:lnTo>
                  <a:lnTo>
                    <a:pt x="167" y="18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7" y="22"/>
                  </a:lnTo>
                  <a:lnTo>
                    <a:pt x="167" y="25"/>
                  </a:lnTo>
                  <a:lnTo>
                    <a:pt x="167" y="25"/>
                  </a:lnTo>
                  <a:lnTo>
                    <a:pt x="167" y="128"/>
                  </a:lnTo>
                  <a:lnTo>
                    <a:pt x="54" y="128"/>
                  </a:lnTo>
                  <a:lnTo>
                    <a:pt x="54" y="25"/>
                  </a:lnTo>
                  <a:close/>
                  <a:moveTo>
                    <a:pt x="69" y="0"/>
                  </a:moveTo>
                  <a:lnTo>
                    <a:pt x="69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9" y="5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39" y="135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3"/>
                  </a:lnTo>
                  <a:lnTo>
                    <a:pt x="37" y="145"/>
                  </a:lnTo>
                  <a:lnTo>
                    <a:pt x="34" y="145"/>
                  </a:lnTo>
                  <a:lnTo>
                    <a:pt x="34" y="148"/>
                  </a:lnTo>
                  <a:lnTo>
                    <a:pt x="34" y="150"/>
                  </a:lnTo>
                  <a:lnTo>
                    <a:pt x="34" y="152"/>
                  </a:lnTo>
                  <a:lnTo>
                    <a:pt x="32" y="155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60"/>
                  </a:lnTo>
                  <a:lnTo>
                    <a:pt x="32" y="162"/>
                  </a:lnTo>
                  <a:lnTo>
                    <a:pt x="32" y="165"/>
                  </a:lnTo>
                  <a:lnTo>
                    <a:pt x="20" y="165"/>
                  </a:lnTo>
                  <a:lnTo>
                    <a:pt x="20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32" y="123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18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7" y="86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2" y="84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5" y="125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10" y="128"/>
                  </a:lnTo>
                  <a:lnTo>
                    <a:pt x="10" y="165"/>
                  </a:lnTo>
                  <a:lnTo>
                    <a:pt x="10" y="167"/>
                  </a:lnTo>
                  <a:lnTo>
                    <a:pt x="10" y="167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2" y="174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7" y="174"/>
                  </a:lnTo>
                  <a:lnTo>
                    <a:pt x="17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32" y="174"/>
                  </a:lnTo>
                  <a:lnTo>
                    <a:pt x="32" y="177"/>
                  </a:lnTo>
                  <a:lnTo>
                    <a:pt x="32" y="179"/>
                  </a:lnTo>
                  <a:lnTo>
                    <a:pt x="34" y="182"/>
                  </a:lnTo>
                  <a:lnTo>
                    <a:pt x="34" y="184"/>
                  </a:lnTo>
                  <a:lnTo>
                    <a:pt x="34" y="187"/>
                  </a:lnTo>
                  <a:lnTo>
                    <a:pt x="37" y="187"/>
                  </a:lnTo>
                  <a:lnTo>
                    <a:pt x="37" y="189"/>
                  </a:lnTo>
                  <a:lnTo>
                    <a:pt x="39" y="189"/>
                  </a:lnTo>
                  <a:lnTo>
                    <a:pt x="42" y="192"/>
                  </a:lnTo>
                  <a:lnTo>
                    <a:pt x="44" y="192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9" y="194"/>
                  </a:lnTo>
                  <a:lnTo>
                    <a:pt x="51" y="194"/>
                  </a:lnTo>
                  <a:lnTo>
                    <a:pt x="54" y="194"/>
                  </a:lnTo>
                  <a:lnTo>
                    <a:pt x="56" y="194"/>
                  </a:lnTo>
                  <a:lnTo>
                    <a:pt x="93" y="194"/>
                  </a:lnTo>
                  <a:lnTo>
                    <a:pt x="93" y="228"/>
                  </a:lnTo>
                  <a:lnTo>
                    <a:pt x="37" y="228"/>
                  </a:lnTo>
                  <a:lnTo>
                    <a:pt x="34" y="228"/>
                  </a:lnTo>
                  <a:lnTo>
                    <a:pt x="34" y="228"/>
                  </a:lnTo>
                  <a:lnTo>
                    <a:pt x="32" y="228"/>
                  </a:lnTo>
                  <a:lnTo>
                    <a:pt x="32" y="228"/>
                  </a:lnTo>
                  <a:lnTo>
                    <a:pt x="29" y="228"/>
                  </a:lnTo>
                  <a:lnTo>
                    <a:pt x="29" y="228"/>
                  </a:lnTo>
                  <a:lnTo>
                    <a:pt x="29" y="228"/>
                  </a:lnTo>
                  <a:lnTo>
                    <a:pt x="27" y="231"/>
                  </a:lnTo>
                  <a:lnTo>
                    <a:pt x="27" y="231"/>
                  </a:lnTo>
                  <a:lnTo>
                    <a:pt x="27" y="231"/>
                  </a:lnTo>
                  <a:lnTo>
                    <a:pt x="27" y="233"/>
                  </a:lnTo>
                  <a:lnTo>
                    <a:pt x="27" y="233"/>
                  </a:lnTo>
                  <a:lnTo>
                    <a:pt x="24" y="236"/>
                  </a:lnTo>
                  <a:lnTo>
                    <a:pt x="24" y="236"/>
                  </a:lnTo>
                  <a:lnTo>
                    <a:pt x="24" y="238"/>
                  </a:lnTo>
                  <a:lnTo>
                    <a:pt x="24" y="238"/>
                  </a:lnTo>
                  <a:lnTo>
                    <a:pt x="24" y="248"/>
                  </a:lnTo>
                  <a:lnTo>
                    <a:pt x="24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20" y="248"/>
                  </a:lnTo>
                  <a:lnTo>
                    <a:pt x="17" y="248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0" y="250"/>
                  </a:lnTo>
                  <a:lnTo>
                    <a:pt x="10" y="253"/>
                  </a:lnTo>
                  <a:lnTo>
                    <a:pt x="7" y="253"/>
                  </a:lnTo>
                  <a:lnTo>
                    <a:pt x="7" y="253"/>
                  </a:lnTo>
                  <a:lnTo>
                    <a:pt x="7" y="255"/>
                  </a:lnTo>
                  <a:lnTo>
                    <a:pt x="5" y="258"/>
                  </a:lnTo>
                  <a:lnTo>
                    <a:pt x="5" y="258"/>
                  </a:lnTo>
                  <a:lnTo>
                    <a:pt x="5" y="260"/>
                  </a:lnTo>
                  <a:lnTo>
                    <a:pt x="5" y="260"/>
                  </a:lnTo>
                  <a:lnTo>
                    <a:pt x="2" y="263"/>
                  </a:lnTo>
                  <a:lnTo>
                    <a:pt x="2" y="265"/>
                  </a:lnTo>
                  <a:lnTo>
                    <a:pt x="2" y="265"/>
                  </a:lnTo>
                  <a:lnTo>
                    <a:pt x="5" y="268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3"/>
                  </a:lnTo>
                  <a:lnTo>
                    <a:pt x="7" y="273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2" y="280"/>
                  </a:lnTo>
                  <a:lnTo>
                    <a:pt x="12" y="280"/>
                  </a:lnTo>
                  <a:lnTo>
                    <a:pt x="15" y="280"/>
                  </a:lnTo>
                  <a:lnTo>
                    <a:pt x="17" y="280"/>
                  </a:lnTo>
                  <a:lnTo>
                    <a:pt x="17" y="280"/>
                  </a:lnTo>
                  <a:lnTo>
                    <a:pt x="20" y="280"/>
                  </a:lnTo>
                  <a:lnTo>
                    <a:pt x="22" y="280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7" y="280"/>
                  </a:lnTo>
                  <a:lnTo>
                    <a:pt x="27" y="280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32" y="275"/>
                  </a:lnTo>
                  <a:lnTo>
                    <a:pt x="32" y="275"/>
                  </a:lnTo>
                  <a:lnTo>
                    <a:pt x="34" y="273"/>
                  </a:lnTo>
                  <a:lnTo>
                    <a:pt x="34" y="273"/>
                  </a:lnTo>
                  <a:lnTo>
                    <a:pt x="34" y="270"/>
                  </a:lnTo>
                  <a:lnTo>
                    <a:pt x="34" y="270"/>
                  </a:lnTo>
                  <a:lnTo>
                    <a:pt x="37" y="268"/>
                  </a:lnTo>
                  <a:lnTo>
                    <a:pt x="37" y="265"/>
                  </a:lnTo>
                  <a:lnTo>
                    <a:pt x="37" y="265"/>
                  </a:lnTo>
                  <a:lnTo>
                    <a:pt x="37" y="238"/>
                  </a:lnTo>
                  <a:lnTo>
                    <a:pt x="98" y="238"/>
                  </a:lnTo>
                  <a:lnTo>
                    <a:pt x="61" y="273"/>
                  </a:lnTo>
                  <a:lnTo>
                    <a:pt x="61" y="275"/>
                  </a:lnTo>
                  <a:lnTo>
                    <a:pt x="59" y="275"/>
                  </a:lnTo>
                  <a:lnTo>
                    <a:pt x="59" y="277"/>
                  </a:lnTo>
                  <a:lnTo>
                    <a:pt x="59" y="277"/>
                  </a:lnTo>
                  <a:lnTo>
                    <a:pt x="59" y="280"/>
                  </a:lnTo>
                  <a:lnTo>
                    <a:pt x="59" y="280"/>
                  </a:lnTo>
                  <a:lnTo>
                    <a:pt x="59" y="282"/>
                  </a:lnTo>
                  <a:lnTo>
                    <a:pt x="59" y="285"/>
                  </a:lnTo>
                  <a:lnTo>
                    <a:pt x="59" y="295"/>
                  </a:lnTo>
                  <a:lnTo>
                    <a:pt x="56" y="292"/>
                  </a:lnTo>
                  <a:lnTo>
                    <a:pt x="56" y="292"/>
                  </a:lnTo>
                  <a:lnTo>
                    <a:pt x="54" y="292"/>
                  </a:lnTo>
                  <a:lnTo>
                    <a:pt x="51" y="292"/>
                  </a:lnTo>
                  <a:lnTo>
                    <a:pt x="51" y="292"/>
                  </a:lnTo>
                  <a:lnTo>
                    <a:pt x="49" y="292"/>
                  </a:lnTo>
                  <a:lnTo>
                    <a:pt x="46" y="292"/>
                  </a:lnTo>
                  <a:lnTo>
                    <a:pt x="46" y="295"/>
                  </a:lnTo>
                  <a:lnTo>
                    <a:pt x="44" y="295"/>
                  </a:lnTo>
                  <a:lnTo>
                    <a:pt x="44" y="295"/>
                  </a:lnTo>
                  <a:lnTo>
                    <a:pt x="42" y="297"/>
                  </a:lnTo>
                  <a:lnTo>
                    <a:pt x="42" y="297"/>
                  </a:lnTo>
                  <a:lnTo>
                    <a:pt x="39" y="300"/>
                  </a:lnTo>
                  <a:lnTo>
                    <a:pt x="39" y="300"/>
                  </a:lnTo>
                  <a:lnTo>
                    <a:pt x="39" y="302"/>
                  </a:lnTo>
                  <a:lnTo>
                    <a:pt x="37" y="302"/>
                  </a:lnTo>
                  <a:lnTo>
                    <a:pt x="37" y="304"/>
                  </a:lnTo>
                  <a:lnTo>
                    <a:pt x="37" y="304"/>
                  </a:lnTo>
                  <a:lnTo>
                    <a:pt x="37" y="307"/>
                  </a:lnTo>
                  <a:lnTo>
                    <a:pt x="37" y="309"/>
                  </a:lnTo>
                  <a:lnTo>
                    <a:pt x="37" y="312"/>
                  </a:lnTo>
                  <a:lnTo>
                    <a:pt x="37" y="312"/>
                  </a:lnTo>
                  <a:lnTo>
                    <a:pt x="37" y="314"/>
                  </a:lnTo>
                  <a:lnTo>
                    <a:pt x="37" y="314"/>
                  </a:lnTo>
                  <a:lnTo>
                    <a:pt x="39" y="317"/>
                  </a:lnTo>
                  <a:lnTo>
                    <a:pt x="39" y="319"/>
                  </a:lnTo>
                  <a:lnTo>
                    <a:pt x="39" y="319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4" y="322"/>
                  </a:lnTo>
                  <a:lnTo>
                    <a:pt x="44" y="324"/>
                  </a:lnTo>
                  <a:lnTo>
                    <a:pt x="46" y="324"/>
                  </a:lnTo>
                  <a:lnTo>
                    <a:pt x="46" y="324"/>
                  </a:lnTo>
                  <a:lnTo>
                    <a:pt x="49" y="324"/>
                  </a:lnTo>
                  <a:lnTo>
                    <a:pt x="51" y="324"/>
                  </a:lnTo>
                  <a:lnTo>
                    <a:pt x="51" y="324"/>
                  </a:lnTo>
                  <a:lnTo>
                    <a:pt x="54" y="324"/>
                  </a:lnTo>
                  <a:lnTo>
                    <a:pt x="56" y="324"/>
                  </a:lnTo>
                  <a:lnTo>
                    <a:pt x="56" y="324"/>
                  </a:lnTo>
                  <a:lnTo>
                    <a:pt x="59" y="324"/>
                  </a:lnTo>
                  <a:lnTo>
                    <a:pt x="61" y="324"/>
                  </a:lnTo>
                  <a:lnTo>
                    <a:pt x="61" y="322"/>
                  </a:lnTo>
                  <a:lnTo>
                    <a:pt x="64" y="322"/>
                  </a:lnTo>
                  <a:lnTo>
                    <a:pt x="64" y="322"/>
                  </a:lnTo>
                  <a:lnTo>
                    <a:pt x="66" y="319"/>
                  </a:lnTo>
                  <a:lnTo>
                    <a:pt x="66" y="319"/>
                  </a:lnTo>
                  <a:lnTo>
                    <a:pt x="66" y="317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2"/>
                  </a:lnTo>
                  <a:lnTo>
                    <a:pt x="69" y="312"/>
                  </a:lnTo>
                  <a:lnTo>
                    <a:pt x="69" y="309"/>
                  </a:lnTo>
                  <a:lnTo>
                    <a:pt x="69" y="282"/>
                  </a:lnTo>
                  <a:lnTo>
                    <a:pt x="110" y="241"/>
                  </a:lnTo>
                  <a:lnTo>
                    <a:pt x="152" y="282"/>
                  </a:lnTo>
                  <a:lnTo>
                    <a:pt x="152" y="309"/>
                  </a:lnTo>
                  <a:lnTo>
                    <a:pt x="152" y="312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4"/>
                  </a:lnTo>
                  <a:lnTo>
                    <a:pt x="154" y="317"/>
                  </a:lnTo>
                  <a:lnTo>
                    <a:pt x="154" y="319"/>
                  </a:lnTo>
                  <a:lnTo>
                    <a:pt x="154" y="319"/>
                  </a:lnTo>
                  <a:lnTo>
                    <a:pt x="157" y="322"/>
                  </a:lnTo>
                  <a:lnTo>
                    <a:pt x="157" y="322"/>
                  </a:lnTo>
                  <a:lnTo>
                    <a:pt x="159" y="322"/>
                  </a:lnTo>
                  <a:lnTo>
                    <a:pt x="159" y="324"/>
                  </a:lnTo>
                  <a:lnTo>
                    <a:pt x="162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7" y="324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4" y="324"/>
                  </a:lnTo>
                  <a:lnTo>
                    <a:pt x="176" y="324"/>
                  </a:lnTo>
                  <a:lnTo>
                    <a:pt x="176" y="322"/>
                  </a:lnTo>
                  <a:lnTo>
                    <a:pt x="179" y="322"/>
                  </a:lnTo>
                  <a:lnTo>
                    <a:pt x="179" y="322"/>
                  </a:lnTo>
                  <a:lnTo>
                    <a:pt x="181" y="319"/>
                  </a:lnTo>
                  <a:lnTo>
                    <a:pt x="181" y="319"/>
                  </a:lnTo>
                  <a:lnTo>
                    <a:pt x="181" y="317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2"/>
                  </a:lnTo>
                  <a:lnTo>
                    <a:pt x="184" y="312"/>
                  </a:lnTo>
                  <a:lnTo>
                    <a:pt x="184" y="309"/>
                  </a:lnTo>
                  <a:lnTo>
                    <a:pt x="184" y="307"/>
                  </a:lnTo>
                  <a:lnTo>
                    <a:pt x="184" y="304"/>
                  </a:lnTo>
                  <a:lnTo>
                    <a:pt x="184" y="304"/>
                  </a:lnTo>
                  <a:lnTo>
                    <a:pt x="184" y="302"/>
                  </a:lnTo>
                  <a:lnTo>
                    <a:pt x="181" y="302"/>
                  </a:lnTo>
                  <a:lnTo>
                    <a:pt x="181" y="300"/>
                  </a:lnTo>
                  <a:lnTo>
                    <a:pt x="181" y="300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6" y="295"/>
                  </a:lnTo>
                  <a:lnTo>
                    <a:pt x="176" y="295"/>
                  </a:lnTo>
                  <a:lnTo>
                    <a:pt x="174" y="295"/>
                  </a:lnTo>
                  <a:lnTo>
                    <a:pt x="172" y="292"/>
                  </a:lnTo>
                  <a:lnTo>
                    <a:pt x="172" y="292"/>
                  </a:lnTo>
                  <a:lnTo>
                    <a:pt x="169" y="292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2" y="295"/>
                  </a:lnTo>
                  <a:lnTo>
                    <a:pt x="162" y="285"/>
                  </a:lnTo>
                  <a:lnTo>
                    <a:pt x="162" y="282"/>
                  </a:lnTo>
                  <a:lnTo>
                    <a:pt x="162" y="280"/>
                  </a:lnTo>
                  <a:lnTo>
                    <a:pt x="162" y="280"/>
                  </a:lnTo>
                  <a:lnTo>
                    <a:pt x="162" y="277"/>
                  </a:lnTo>
                  <a:lnTo>
                    <a:pt x="162" y="277"/>
                  </a:lnTo>
                  <a:lnTo>
                    <a:pt x="162" y="275"/>
                  </a:lnTo>
                  <a:lnTo>
                    <a:pt x="159" y="275"/>
                  </a:lnTo>
                  <a:lnTo>
                    <a:pt x="159" y="273"/>
                  </a:lnTo>
                  <a:lnTo>
                    <a:pt x="122" y="238"/>
                  </a:lnTo>
                  <a:lnTo>
                    <a:pt x="184" y="238"/>
                  </a:lnTo>
                  <a:lnTo>
                    <a:pt x="184" y="265"/>
                  </a:lnTo>
                  <a:lnTo>
                    <a:pt x="184" y="265"/>
                  </a:lnTo>
                  <a:lnTo>
                    <a:pt x="184" y="268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9" y="275"/>
                  </a:lnTo>
                  <a:lnTo>
                    <a:pt x="189" y="275"/>
                  </a:lnTo>
                  <a:lnTo>
                    <a:pt x="191" y="277"/>
                  </a:lnTo>
                  <a:lnTo>
                    <a:pt x="191" y="277"/>
                  </a:lnTo>
                  <a:lnTo>
                    <a:pt x="194" y="280"/>
                  </a:lnTo>
                  <a:lnTo>
                    <a:pt x="194" y="280"/>
                  </a:lnTo>
                  <a:lnTo>
                    <a:pt x="196" y="280"/>
                  </a:lnTo>
                  <a:lnTo>
                    <a:pt x="198" y="280"/>
                  </a:lnTo>
                  <a:lnTo>
                    <a:pt x="198" y="280"/>
                  </a:lnTo>
                  <a:lnTo>
                    <a:pt x="201" y="280"/>
                  </a:lnTo>
                  <a:lnTo>
                    <a:pt x="203" y="280"/>
                  </a:lnTo>
                  <a:lnTo>
                    <a:pt x="203" y="280"/>
                  </a:lnTo>
                  <a:lnTo>
                    <a:pt x="206" y="280"/>
                  </a:lnTo>
                  <a:lnTo>
                    <a:pt x="208" y="280"/>
                  </a:lnTo>
                  <a:lnTo>
                    <a:pt x="208" y="280"/>
                  </a:lnTo>
                  <a:lnTo>
                    <a:pt x="211" y="277"/>
                  </a:lnTo>
                  <a:lnTo>
                    <a:pt x="211" y="277"/>
                  </a:lnTo>
                  <a:lnTo>
                    <a:pt x="213" y="275"/>
                  </a:lnTo>
                  <a:lnTo>
                    <a:pt x="213" y="275"/>
                  </a:lnTo>
                  <a:lnTo>
                    <a:pt x="213" y="273"/>
                  </a:lnTo>
                  <a:lnTo>
                    <a:pt x="216" y="273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6" y="268"/>
                  </a:lnTo>
                  <a:lnTo>
                    <a:pt x="218" y="265"/>
                  </a:lnTo>
                  <a:lnTo>
                    <a:pt x="218" y="265"/>
                  </a:lnTo>
                  <a:lnTo>
                    <a:pt x="218" y="263"/>
                  </a:lnTo>
                  <a:lnTo>
                    <a:pt x="216" y="260"/>
                  </a:lnTo>
                  <a:lnTo>
                    <a:pt x="216" y="260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3" y="255"/>
                  </a:lnTo>
                  <a:lnTo>
                    <a:pt x="213" y="253"/>
                  </a:lnTo>
                  <a:lnTo>
                    <a:pt x="213" y="253"/>
                  </a:lnTo>
                  <a:lnTo>
                    <a:pt x="211" y="253"/>
                  </a:lnTo>
                  <a:lnTo>
                    <a:pt x="211" y="250"/>
                  </a:lnTo>
                  <a:lnTo>
                    <a:pt x="208" y="250"/>
                  </a:lnTo>
                  <a:lnTo>
                    <a:pt x="208" y="250"/>
                  </a:lnTo>
                  <a:lnTo>
                    <a:pt x="206" y="248"/>
                  </a:lnTo>
                  <a:lnTo>
                    <a:pt x="203" y="248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198" y="248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6" y="236"/>
                  </a:lnTo>
                  <a:lnTo>
                    <a:pt x="194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31"/>
                  </a:lnTo>
                  <a:lnTo>
                    <a:pt x="194" y="231"/>
                  </a:lnTo>
                  <a:lnTo>
                    <a:pt x="191" y="228"/>
                  </a:lnTo>
                  <a:lnTo>
                    <a:pt x="191" y="228"/>
                  </a:lnTo>
                  <a:lnTo>
                    <a:pt x="191" y="228"/>
                  </a:lnTo>
                  <a:lnTo>
                    <a:pt x="189" y="228"/>
                  </a:lnTo>
                  <a:lnTo>
                    <a:pt x="189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27" y="228"/>
                  </a:lnTo>
                  <a:lnTo>
                    <a:pt x="127" y="194"/>
                  </a:lnTo>
                  <a:lnTo>
                    <a:pt x="164" y="194"/>
                  </a:lnTo>
                  <a:lnTo>
                    <a:pt x="167" y="194"/>
                  </a:lnTo>
                  <a:lnTo>
                    <a:pt x="169" y="194"/>
                  </a:lnTo>
                  <a:lnTo>
                    <a:pt x="172" y="194"/>
                  </a:lnTo>
                  <a:lnTo>
                    <a:pt x="174" y="194"/>
                  </a:lnTo>
                  <a:lnTo>
                    <a:pt x="176" y="194"/>
                  </a:lnTo>
                  <a:lnTo>
                    <a:pt x="176" y="192"/>
                  </a:lnTo>
                  <a:lnTo>
                    <a:pt x="179" y="192"/>
                  </a:lnTo>
                  <a:lnTo>
                    <a:pt x="181" y="189"/>
                  </a:lnTo>
                  <a:lnTo>
                    <a:pt x="184" y="189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6" y="184"/>
                  </a:lnTo>
                  <a:lnTo>
                    <a:pt x="186" y="184"/>
                  </a:lnTo>
                  <a:lnTo>
                    <a:pt x="186" y="184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79"/>
                  </a:lnTo>
                  <a:lnTo>
                    <a:pt x="189" y="179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6" y="174"/>
                  </a:lnTo>
                  <a:lnTo>
                    <a:pt x="206" y="174"/>
                  </a:lnTo>
                  <a:lnTo>
                    <a:pt x="206" y="174"/>
                  </a:lnTo>
                  <a:lnTo>
                    <a:pt x="208" y="174"/>
                  </a:lnTo>
                  <a:lnTo>
                    <a:pt x="208" y="172"/>
                  </a:lnTo>
                  <a:lnTo>
                    <a:pt x="208" y="172"/>
                  </a:lnTo>
                  <a:lnTo>
                    <a:pt x="208" y="172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67"/>
                  </a:lnTo>
                  <a:lnTo>
                    <a:pt x="211" y="167"/>
                  </a:lnTo>
                  <a:lnTo>
                    <a:pt x="211" y="165"/>
                  </a:lnTo>
                  <a:lnTo>
                    <a:pt x="211" y="128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5"/>
                  </a:lnTo>
                  <a:lnTo>
                    <a:pt x="218" y="125"/>
                  </a:lnTo>
                  <a:lnTo>
                    <a:pt x="218" y="125"/>
                  </a:lnTo>
                  <a:lnTo>
                    <a:pt x="218" y="125"/>
                  </a:lnTo>
                  <a:lnTo>
                    <a:pt x="218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1"/>
                  </a:lnTo>
                  <a:lnTo>
                    <a:pt x="221" y="121"/>
                  </a:lnTo>
                  <a:lnTo>
                    <a:pt x="221" y="118"/>
                  </a:lnTo>
                  <a:lnTo>
                    <a:pt x="221" y="91"/>
                  </a:lnTo>
                  <a:lnTo>
                    <a:pt x="221" y="91"/>
                  </a:lnTo>
                  <a:lnTo>
                    <a:pt x="221" y="91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4"/>
                  </a:lnTo>
                  <a:lnTo>
                    <a:pt x="216" y="84"/>
                  </a:lnTo>
                  <a:lnTo>
                    <a:pt x="216" y="84"/>
                  </a:lnTo>
                  <a:lnTo>
                    <a:pt x="216" y="84"/>
                  </a:lnTo>
                  <a:lnTo>
                    <a:pt x="213" y="84"/>
                  </a:lnTo>
                  <a:lnTo>
                    <a:pt x="213" y="84"/>
                  </a:lnTo>
                  <a:lnTo>
                    <a:pt x="198" y="84"/>
                  </a:lnTo>
                  <a:lnTo>
                    <a:pt x="196" y="84"/>
                  </a:lnTo>
                  <a:lnTo>
                    <a:pt x="196" y="84"/>
                  </a:lnTo>
                  <a:lnTo>
                    <a:pt x="196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6"/>
                  </a:lnTo>
                  <a:lnTo>
                    <a:pt x="191" y="86"/>
                  </a:lnTo>
                  <a:lnTo>
                    <a:pt x="191" y="86"/>
                  </a:lnTo>
                  <a:lnTo>
                    <a:pt x="191" y="86"/>
                  </a:lnTo>
                  <a:lnTo>
                    <a:pt x="191" y="89"/>
                  </a:lnTo>
                  <a:lnTo>
                    <a:pt x="191" y="89"/>
                  </a:lnTo>
                  <a:lnTo>
                    <a:pt x="189" y="89"/>
                  </a:lnTo>
                  <a:lnTo>
                    <a:pt x="189" y="89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118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89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5"/>
                  </a:lnTo>
                  <a:lnTo>
                    <a:pt x="191" y="125"/>
                  </a:lnTo>
                  <a:lnTo>
                    <a:pt x="191" y="125"/>
                  </a:lnTo>
                  <a:lnTo>
                    <a:pt x="194" y="125"/>
                  </a:lnTo>
                  <a:lnTo>
                    <a:pt x="194" y="125"/>
                  </a:lnTo>
                  <a:lnTo>
                    <a:pt x="194" y="125"/>
                  </a:lnTo>
                  <a:lnTo>
                    <a:pt x="196" y="128"/>
                  </a:lnTo>
                  <a:lnTo>
                    <a:pt x="196" y="128"/>
                  </a:lnTo>
                  <a:lnTo>
                    <a:pt x="196" y="128"/>
                  </a:lnTo>
                  <a:lnTo>
                    <a:pt x="198" y="128"/>
                  </a:lnTo>
                  <a:lnTo>
                    <a:pt x="201" y="128"/>
                  </a:lnTo>
                  <a:lnTo>
                    <a:pt x="201" y="165"/>
                  </a:lnTo>
                  <a:lnTo>
                    <a:pt x="191" y="165"/>
                  </a:lnTo>
                  <a:lnTo>
                    <a:pt x="189" y="162"/>
                  </a:lnTo>
                  <a:lnTo>
                    <a:pt x="189" y="160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9" y="155"/>
                  </a:lnTo>
                  <a:lnTo>
                    <a:pt x="186" y="152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45"/>
                  </a:lnTo>
                  <a:lnTo>
                    <a:pt x="184" y="145"/>
                  </a:lnTo>
                  <a:lnTo>
                    <a:pt x="184" y="143"/>
                  </a:lnTo>
                  <a:lnTo>
                    <a:pt x="181" y="140"/>
                  </a:lnTo>
                  <a:lnTo>
                    <a:pt x="181" y="138"/>
                  </a:lnTo>
                  <a:lnTo>
                    <a:pt x="181" y="135"/>
                  </a:lnTo>
                  <a:lnTo>
                    <a:pt x="179" y="135"/>
                  </a:lnTo>
                  <a:lnTo>
                    <a:pt x="179" y="133"/>
                  </a:lnTo>
                  <a:lnTo>
                    <a:pt x="179" y="25"/>
                  </a:lnTo>
                  <a:lnTo>
                    <a:pt x="179" y="25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20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5"/>
                  </a:lnTo>
                  <a:lnTo>
                    <a:pt x="176" y="15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4" y="13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2" y="5"/>
                  </a:lnTo>
                  <a:lnTo>
                    <a:pt x="169" y="5"/>
                  </a:lnTo>
                  <a:lnTo>
                    <a:pt x="169" y="5"/>
                  </a:lnTo>
                  <a:lnTo>
                    <a:pt x="167" y="5"/>
                  </a:lnTo>
                  <a:lnTo>
                    <a:pt x="167" y="3"/>
                  </a:lnTo>
                  <a:lnTo>
                    <a:pt x="167" y="3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7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oup 31">
            <a:extLst>
              <a:ext uri="{FF2B5EF4-FFF2-40B4-BE49-F238E27FC236}">
                <a16:creationId xmlns:a16="http://schemas.microsoft.com/office/drawing/2014/main" id="{4719C0EF-CA77-4AA8-82DD-AB56CB9BCB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833" y="302419"/>
            <a:ext cx="841375" cy="841375"/>
            <a:chOff x="3052" y="242"/>
            <a:chExt cx="530" cy="530"/>
          </a:xfrm>
        </p:grpSpPr>
        <p:sp>
          <p:nvSpPr>
            <p:cNvPr id="38" name="AutoShape 30">
              <a:extLst>
                <a:ext uri="{FF2B5EF4-FFF2-40B4-BE49-F238E27FC236}">
                  <a16:creationId xmlns:a16="http://schemas.microsoft.com/office/drawing/2014/main" id="{45614DF3-494D-486C-9BC3-C91665B0A0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52" y="24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2">
              <a:extLst>
                <a:ext uri="{FF2B5EF4-FFF2-40B4-BE49-F238E27FC236}">
                  <a16:creationId xmlns:a16="http://schemas.microsoft.com/office/drawing/2014/main" id="{6016531E-23AF-4F3A-B948-FCD96C30E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2" y="24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E3D2B230-5BEF-4773-B21F-7EA1B5CA12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0" y="26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DF7C1B0B-BECF-4214-A681-13FFAAFED3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3" y="339"/>
              <a:ext cx="230" cy="338"/>
            </a:xfrm>
            <a:custGeom>
              <a:avLst/>
              <a:gdLst>
                <a:gd name="T0" fmla="*/ 82 w 230"/>
                <a:gd name="T1" fmla="*/ 95 h 338"/>
                <a:gd name="T2" fmla="*/ 146 w 230"/>
                <a:gd name="T3" fmla="*/ 97 h 338"/>
                <a:gd name="T4" fmla="*/ 146 w 230"/>
                <a:gd name="T5" fmla="*/ 87 h 338"/>
                <a:gd name="T6" fmla="*/ 82 w 230"/>
                <a:gd name="T7" fmla="*/ 49 h 338"/>
                <a:gd name="T8" fmla="*/ 143 w 230"/>
                <a:gd name="T9" fmla="*/ 57 h 338"/>
                <a:gd name="T10" fmla="*/ 148 w 230"/>
                <a:gd name="T11" fmla="*/ 49 h 338"/>
                <a:gd name="T12" fmla="*/ 51 w 230"/>
                <a:gd name="T13" fmla="*/ 325 h 338"/>
                <a:gd name="T14" fmla="*/ 54 w 230"/>
                <a:gd name="T15" fmla="*/ 318 h 338"/>
                <a:gd name="T16" fmla="*/ 61 w 230"/>
                <a:gd name="T17" fmla="*/ 323 h 338"/>
                <a:gd name="T18" fmla="*/ 54 w 230"/>
                <a:gd name="T19" fmla="*/ 328 h 338"/>
                <a:gd name="T20" fmla="*/ 169 w 230"/>
                <a:gd name="T21" fmla="*/ 320 h 338"/>
                <a:gd name="T22" fmla="*/ 179 w 230"/>
                <a:gd name="T23" fmla="*/ 318 h 338"/>
                <a:gd name="T24" fmla="*/ 179 w 230"/>
                <a:gd name="T25" fmla="*/ 325 h 338"/>
                <a:gd name="T26" fmla="*/ 15 w 230"/>
                <a:gd name="T27" fmla="*/ 279 h 338"/>
                <a:gd name="T28" fmla="*/ 18 w 230"/>
                <a:gd name="T29" fmla="*/ 272 h 338"/>
                <a:gd name="T30" fmla="*/ 26 w 230"/>
                <a:gd name="T31" fmla="*/ 274 h 338"/>
                <a:gd name="T32" fmla="*/ 20 w 230"/>
                <a:gd name="T33" fmla="*/ 282 h 338"/>
                <a:gd name="T34" fmla="*/ 205 w 230"/>
                <a:gd name="T35" fmla="*/ 274 h 338"/>
                <a:gd name="T36" fmla="*/ 212 w 230"/>
                <a:gd name="T37" fmla="*/ 272 h 338"/>
                <a:gd name="T38" fmla="*/ 215 w 230"/>
                <a:gd name="T39" fmla="*/ 279 h 338"/>
                <a:gd name="T40" fmla="*/ 110 w 230"/>
                <a:gd name="T41" fmla="*/ 238 h 338"/>
                <a:gd name="T42" fmla="*/ 115 w 230"/>
                <a:gd name="T43" fmla="*/ 241 h 338"/>
                <a:gd name="T44" fmla="*/ 43 w 230"/>
                <a:gd name="T45" fmla="*/ 177 h 338"/>
                <a:gd name="T46" fmla="*/ 179 w 230"/>
                <a:gd name="T47" fmla="*/ 146 h 338"/>
                <a:gd name="T48" fmla="*/ 187 w 230"/>
                <a:gd name="T49" fmla="*/ 182 h 338"/>
                <a:gd name="T50" fmla="*/ 20 w 230"/>
                <a:gd name="T51" fmla="*/ 121 h 338"/>
                <a:gd name="T52" fmla="*/ 61 w 230"/>
                <a:gd name="T53" fmla="*/ 13 h 338"/>
                <a:gd name="T54" fmla="*/ 174 w 230"/>
                <a:gd name="T55" fmla="*/ 18 h 338"/>
                <a:gd name="T56" fmla="*/ 59 w 230"/>
                <a:gd name="T57" fmla="*/ 3 h 338"/>
                <a:gd name="T58" fmla="*/ 46 w 230"/>
                <a:gd name="T59" fmla="*/ 18 h 338"/>
                <a:gd name="T60" fmla="*/ 33 w 230"/>
                <a:gd name="T61" fmla="*/ 164 h 338"/>
                <a:gd name="T62" fmla="*/ 31 w 230"/>
                <a:gd name="T63" fmla="*/ 128 h 338"/>
                <a:gd name="T64" fmla="*/ 28 w 230"/>
                <a:gd name="T65" fmla="*/ 87 h 338"/>
                <a:gd name="T66" fmla="*/ 0 w 230"/>
                <a:gd name="T67" fmla="*/ 92 h 338"/>
                <a:gd name="T68" fmla="*/ 5 w 230"/>
                <a:gd name="T69" fmla="*/ 133 h 338"/>
                <a:gd name="T70" fmla="*/ 18 w 230"/>
                <a:gd name="T71" fmla="*/ 182 h 338"/>
                <a:gd name="T72" fmla="*/ 56 w 230"/>
                <a:gd name="T73" fmla="*/ 202 h 338"/>
                <a:gd name="T74" fmla="*/ 26 w 230"/>
                <a:gd name="T75" fmla="*/ 246 h 338"/>
                <a:gd name="T76" fmla="*/ 5 w 230"/>
                <a:gd name="T77" fmla="*/ 269 h 338"/>
                <a:gd name="T78" fmla="*/ 15 w 230"/>
                <a:gd name="T79" fmla="*/ 292 h 338"/>
                <a:gd name="T80" fmla="*/ 38 w 230"/>
                <a:gd name="T81" fmla="*/ 277 h 338"/>
                <a:gd name="T82" fmla="*/ 54 w 230"/>
                <a:gd name="T83" fmla="*/ 305 h 338"/>
                <a:gd name="T84" fmla="*/ 38 w 230"/>
                <a:gd name="T85" fmla="*/ 328 h 338"/>
                <a:gd name="T86" fmla="*/ 64 w 230"/>
                <a:gd name="T87" fmla="*/ 338 h 338"/>
                <a:gd name="T88" fmla="*/ 159 w 230"/>
                <a:gd name="T89" fmla="*/ 328 h 338"/>
                <a:gd name="T90" fmla="*/ 184 w 230"/>
                <a:gd name="T91" fmla="*/ 338 h 338"/>
                <a:gd name="T92" fmla="*/ 189 w 230"/>
                <a:gd name="T93" fmla="*/ 313 h 338"/>
                <a:gd name="T94" fmla="*/ 169 w 230"/>
                <a:gd name="T95" fmla="*/ 290 h 338"/>
                <a:gd name="T96" fmla="*/ 202 w 230"/>
                <a:gd name="T97" fmla="*/ 292 h 338"/>
                <a:gd name="T98" fmla="*/ 225 w 230"/>
                <a:gd name="T99" fmla="*/ 282 h 338"/>
                <a:gd name="T100" fmla="*/ 212 w 230"/>
                <a:gd name="T101" fmla="*/ 259 h 338"/>
                <a:gd name="T102" fmla="*/ 197 w 230"/>
                <a:gd name="T103" fmla="*/ 238 h 338"/>
                <a:gd name="T104" fmla="*/ 195 w 230"/>
                <a:gd name="T105" fmla="*/ 195 h 338"/>
                <a:gd name="T106" fmla="*/ 218 w 230"/>
                <a:gd name="T107" fmla="*/ 182 h 338"/>
                <a:gd name="T108" fmla="*/ 228 w 230"/>
                <a:gd name="T109" fmla="*/ 131 h 338"/>
                <a:gd name="T110" fmla="*/ 228 w 230"/>
                <a:gd name="T111" fmla="*/ 90 h 338"/>
                <a:gd name="T112" fmla="*/ 200 w 230"/>
                <a:gd name="T113" fmla="*/ 90 h 338"/>
                <a:gd name="T114" fmla="*/ 202 w 230"/>
                <a:gd name="T115" fmla="*/ 131 h 338"/>
                <a:gd name="T116" fmla="*/ 195 w 230"/>
                <a:gd name="T117" fmla="*/ 151 h 338"/>
                <a:gd name="T118" fmla="*/ 184 w 230"/>
                <a:gd name="T119" fmla="*/ 13 h 338"/>
                <a:gd name="T120" fmla="*/ 164 w 230"/>
                <a:gd name="T12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" h="338">
                  <a:moveTo>
                    <a:pt x="143" y="87"/>
                  </a:moveTo>
                  <a:lnTo>
                    <a:pt x="87" y="87"/>
                  </a:lnTo>
                  <a:lnTo>
                    <a:pt x="87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8" y="97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3" y="87"/>
                  </a:lnTo>
                  <a:lnTo>
                    <a:pt x="143" y="87"/>
                  </a:lnTo>
                  <a:close/>
                  <a:moveTo>
                    <a:pt x="143" y="44"/>
                  </a:moveTo>
                  <a:lnTo>
                    <a:pt x="87" y="44"/>
                  </a:lnTo>
                  <a:lnTo>
                    <a:pt x="87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49"/>
                  </a:lnTo>
                  <a:lnTo>
                    <a:pt x="148" y="49"/>
                  </a:lnTo>
                  <a:lnTo>
                    <a:pt x="148" y="49"/>
                  </a:lnTo>
                  <a:lnTo>
                    <a:pt x="148" y="49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3" y="44"/>
                  </a:lnTo>
                  <a:lnTo>
                    <a:pt x="143" y="44"/>
                  </a:lnTo>
                  <a:close/>
                  <a:moveTo>
                    <a:pt x="54" y="328"/>
                  </a:moveTo>
                  <a:lnTo>
                    <a:pt x="54" y="328"/>
                  </a:lnTo>
                  <a:lnTo>
                    <a:pt x="54" y="328"/>
                  </a:lnTo>
                  <a:lnTo>
                    <a:pt x="51" y="328"/>
                  </a:lnTo>
                  <a:lnTo>
                    <a:pt x="51" y="328"/>
                  </a:lnTo>
                  <a:lnTo>
                    <a:pt x="51" y="328"/>
                  </a:lnTo>
                  <a:lnTo>
                    <a:pt x="51" y="325"/>
                  </a:lnTo>
                  <a:lnTo>
                    <a:pt x="51" y="325"/>
                  </a:lnTo>
                  <a:lnTo>
                    <a:pt x="51" y="325"/>
                  </a:lnTo>
                  <a:lnTo>
                    <a:pt x="49" y="325"/>
                  </a:lnTo>
                  <a:lnTo>
                    <a:pt x="49" y="325"/>
                  </a:lnTo>
                  <a:lnTo>
                    <a:pt x="49" y="325"/>
                  </a:lnTo>
                  <a:lnTo>
                    <a:pt x="49" y="323"/>
                  </a:lnTo>
                  <a:lnTo>
                    <a:pt x="49" y="323"/>
                  </a:lnTo>
                  <a:lnTo>
                    <a:pt x="49" y="323"/>
                  </a:lnTo>
                  <a:lnTo>
                    <a:pt x="49" y="323"/>
                  </a:lnTo>
                  <a:lnTo>
                    <a:pt x="49" y="320"/>
                  </a:lnTo>
                  <a:lnTo>
                    <a:pt x="49" y="320"/>
                  </a:lnTo>
                  <a:lnTo>
                    <a:pt x="49" y="320"/>
                  </a:lnTo>
                  <a:lnTo>
                    <a:pt x="51" y="320"/>
                  </a:lnTo>
                  <a:lnTo>
                    <a:pt x="51" y="320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54" y="318"/>
                  </a:lnTo>
                  <a:lnTo>
                    <a:pt x="54" y="318"/>
                  </a:lnTo>
                  <a:lnTo>
                    <a:pt x="54" y="318"/>
                  </a:lnTo>
                  <a:lnTo>
                    <a:pt x="54" y="318"/>
                  </a:lnTo>
                  <a:lnTo>
                    <a:pt x="54" y="318"/>
                  </a:lnTo>
                  <a:lnTo>
                    <a:pt x="56" y="318"/>
                  </a:lnTo>
                  <a:lnTo>
                    <a:pt x="56" y="318"/>
                  </a:lnTo>
                  <a:lnTo>
                    <a:pt x="56" y="318"/>
                  </a:lnTo>
                  <a:lnTo>
                    <a:pt x="56" y="318"/>
                  </a:lnTo>
                  <a:lnTo>
                    <a:pt x="59" y="318"/>
                  </a:lnTo>
                  <a:lnTo>
                    <a:pt x="59" y="318"/>
                  </a:lnTo>
                  <a:lnTo>
                    <a:pt x="59" y="318"/>
                  </a:lnTo>
                  <a:lnTo>
                    <a:pt x="59" y="318"/>
                  </a:lnTo>
                  <a:lnTo>
                    <a:pt x="59" y="318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61" y="320"/>
                  </a:lnTo>
                  <a:lnTo>
                    <a:pt x="61" y="320"/>
                  </a:lnTo>
                  <a:lnTo>
                    <a:pt x="61" y="320"/>
                  </a:lnTo>
                  <a:lnTo>
                    <a:pt x="61" y="323"/>
                  </a:lnTo>
                  <a:lnTo>
                    <a:pt x="61" y="323"/>
                  </a:lnTo>
                  <a:lnTo>
                    <a:pt x="61" y="323"/>
                  </a:lnTo>
                  <a:lnTo>
                    <a:pt x="61" y="323"/>
                  </a:lnTo>
                  <a:lnTo>
                    <a:pt x="61" y="325"/>
                  </a:lnTo>
                  <a:lnTo>
                    <a:pt x="61" y="325"/>
                  </a:lnTo>
                  <a:lnTo>
                    <a:pt x="59" y="325"/>
                  </a:lnTo>
                  <a:lnTo>
                    <a:pt x="59" y="325"/>
                  </a:lnTo>
                  <a:lnTo>
                    <a:pt x="59" y="325"/>
                  </a:lnTo>
                  <a:lnTo>
                    <a:pt x="59" y="325"/>
                  </a:lnTo>
                  <a:lnTo>
                    <a:pt x="59" y="328"/>
                  </a:lnTo>
                  <a:lnTo>
                    <a:pt x="59" y="328"/>
                  </a:lnTo>
                  <a:lnTo>
                    <a:pt x="59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4" y="328"/>
                  </a:lnTo>
                  <a:lnTo>
                    <a:pt x="54" y="328"/>
                  </a:lnTo>
                  <a:lnTo>
                    <a:pt x="54" y="328"/>
                  </a:lnTo>
                  <a:close/>
                  <a:moveTo>
                    <a:pt x="174" y="328"/>
                  </a:moveTo>
                  <a:lnTo>
                    <a:pt x="174" y="328"/>
                  </a:lnTo>
                  <a:lnTo>
                    <a:pt x="174" y="328"/>
                  </a:lnTo>
                  <a:lnTo>
                    <a:pt x="172" y="328"/>
                  </a:lnTo>
                  <a:lnTo>
                    <a:pt x="172" y="328"/>
                  </a:lnTo>
                  <a:lnTo>
                    <a:pt x="172" y="328"/>
                  </a:lnTo>
                  <a:lnTo>
                    <a:pt x="172" y="325"/>
                  </a:lnTo>
                  <a:lnTo>
                    <a:pt x="172" y="325"/>
                  </a:lnTo>
                  <a:lnTo>
                    <a:pt x="172" y="325"/>
                  </a:lnTo>
                  <a:lnTo>
                    <a:pt x="172" y="325"/>
                  </a:lnTo>
                  <a:lnTo>
                    <a:pt x="169" y="325"/>
                  </a:lnTo>
                  <a:lnTo>
                    <a:pt x="169" y="325"/>
                  </a:lnTo>
                  <a:lnTo>
                    <a:pt x="169" y="323"/>
                  </a:lnTo>
                  <a:lnTo>
                    <a:pt x="169" y="323"/>
                  </a:lnTo>
                  <a:lnTo>
                    <a:pt x="169" y="323"/>
                  </a:lnTo>
                  <a:lnTo>
                    <a:pt x="169" y="323"/>
                  </a:lnTo>
                  <a:lnTo>
                    <a:pt x="169" y="320"/>
                  </a:lnTo>
                  <a:lnTo>
                    <a:pt x="169" y="320"/>
                  </a:lnTo>
                  <a:lnTo>
                    <a:pt x="169" y="320"/>
                  </a:lnTo>
                  <a:lnTo>
                    <a:pt x="172" y="320"/>
                  </a:lnTo>
                  <a:lnTo>
                    <a:pt x="172" y="320"/>
                  </a:lnTo>
                  <a:lnTo>
                    <a:pt x="172" y="318"/>
                  </a:lnTo>
                  <a:lnTo>
                    <a:pt x="172" y="318"/>
                  </a:lnTo>
                  <a:lnTo>
                    <a:pt x="172" y="318"/>
                  </a:lnTo>
                  <a:lnTo>
                    <a:pt x="174" y="318"/>
                  </a:lnTo>
                  <a:lnTo>
                    <a:pt x="174" y="318"/>
                  </a:lnTo>
                  <a:lnTo>
                    <a:pt x="174" y="318"/>
                  </a:lnTo>
                  <a:lnTo>
                    <a:pt x="174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7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18"/>
                  </a:lnTo>
                  <a:lnTo>
                    <a:pt x="179" y="320"/>
                  </a:lnTo>
                  <a:lnTo>
                    <a:pt x="179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23"/>
                  </a:lnTo>
                  <a:lnTo>
                    <a:pt x="182" y="323"/>
                  </a:lnTo>
                  <a:lnTo>
                    <a:pt x="182" y="323"/>
                  </a:lnTo>
                  <a:lnTo>
                    <a:pt x="182" y="323"/>
                  </a:lnTo>
                  <a:lnTo>
                    <a:pt x="182" y="325"/>
                  </a:lnTo>
                  <a:lnTo>
                    <a:pt x="182" y="325"/>
                  </a:lnTo>
                  <a:lnTo>
                    <a:pt x="179" y="325"/>
                  </a:lnTo>
                  <a:lnTo>
                    <a:pt x="179" y="325"/>
                  </a:lnTo>
                  <a:lnTo>
                    <a:pt x="179" y="325"/>
                  </a:lnTo>
                  <a:lnTo>
                    <a:pt x="179" y="325"/>
                  </a:lnTo>
                  <a:lnTo>
                    <a:pt x="179" y="328"/>
                  </a:lnTo>
                  <a:lnTo>
                    <a:pt x="179" y="328"/>
                  </a:lnTo>
                  <a:lnTo>
                    <a:pt x="179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4" y="328"/>
                  </a:lnTo>
                  <a:lnTo>
                    <a:pt x="174" y="328"/>
                  </a:lnTo>
                  <a:close/>
                  <a:moveTo>
                    <a:pt x="20" y="282"/>
                  </a:moveTo>
                  <a:lnTo>
                    <a:pt x="18" y="282"/>
                  </a:lnTo>
                  <a:lnTo>
                    <a:pt x="18" y="282"/>
                  </a:lnTo>
                  <a:lnTo>
                    <a:pt x="18" y="282"/>
                  </a:lnTo>
                  <a:lnTo>
                    <a:pt x="18" y="282"/>
                  </a:lnTo>
                  <a:lnTo>
                    <a:pt x="18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4"/>
                  </a:lnTo>
                  <a:lnTo>
                    <a:pt x="15" y="274"/>
                  </a:lnTo>
                  <a:lnTo>
                    <a:pt x="15" y="274"/>
                  </a:lnTo>
                  <a:lnTo>
                    <a:pt x="15" y="274"/>
                  </a:lnTo>
                  <a:lnTo>
                    <a:pt x="15" y="274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20" y="272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26" y="274"/>
                  </a:lnTo>
                  <a:lnTo>
                    <a:pt x="26" y="274"/>
                  </a:lnTo>
                  <a:lnTo>
                    <a:pt x="26" y="274"/>
                  </a:lnTo>
                  <a:lnTo>
                    <a:pt x="26" y="274"/>
                  </a:lnTo>
                  <a:lnTo>
                    <a:pt x="26" y="274"/>
                  </a:lnTo>
                  <a:lnTo>
                    <a:pt x="26" y="277"/>
                  </a:lnTo>
                  <a:lnTo>
                    <a:pt x="26" y="277"/>
                  </a:lnTo>
                  <a:lnTo>
                    <a:pt x="26" y="277"/>
                  </a:lnTo>
                  <a:lnTo>
                    <a:pt x="26" y="277"/>
                  </a:lnTo>
                  <a:lnTo>
                    <a:pt x="26" y="279"/>
                  </a:lnTo>
                  <a:lnTo>
                    <a:pt x="26" y="279"/>
                  </a:lnTo>
                  <a:lnTo>
                    <a:pt x="26" y="279"/>
                  </a:lnTo>
                  <a:lnTo>
                    <a:pt x="26" y="279"/>
                  </a:lnTo>
                  <a:lnTo>
                    <a:pt x="26" y="279"/>
                  </a:lnTo>
                  <a:lnTo>
                    <a:pt x="23" y="279"/>
                  </a:lnTo>
                  <a:lnTo>
                    <a:pt x="23" y="282"/>
                  </a:lnTo>
                  <a:lnTo>
                    <a:pt x="23" y="282"/>
                  </a:lnTo>
                  <a:lnTo>
                    <a:pt x="23" y="282"/>
                  </a:lnTo>
                  <a:lnTo>
                    <a:pt x="23" y="282"/>
                  </a:lnTo>
                  <a:lnTo>
                    <a:pt x="23" y="282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2"/>
                  </a:lnTo>
                  <a:close/>
                  <a:moveTo>
                    <a:pt x="207" y="282"/>
                  </a:move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5" y="277"/>
                  </a:lnTo>
                  <a:lnTo>
                    <a:pt x="205" y="277"/>
                  </a:lnTo>
                  <a:lnTo>
                    <a:pt x="205" y="277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10" y="269"/>
                  </a:lnTo>
                  <a:lnTo>
                    <a:pt x="210" y="269"/>
                  </a:lnTo>
                  <a:lnTo>
                    <a:pt x="210" y="269"/>
                  </a:lnTo>
                  <a:lnTo>
                    <a:pt x="210" y="272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5" y="272"/>
                  </a:lnTo>
                  <a:lnTo>
                    <a:pt x="215" y="272"/>
                  </a:lnTo>
                  <a:lnTo>
                    <a:pt x="215" y="272"/>
                  </a:lnTo>
                  <a:lnTo>
                    <a:pt x="215" y="274"/>
                  </a:lnTo>
                  <a:lnTo>
                    <a:pt x="215" y="274"/>
                  </a:lnTo>
                  <a:lnTo>
                    <a:pt x="215" y="274"/>
                  </a:lnTo>
                  <a:lnTo>
                    <a:pt x="215" y="274"/>
                  </a:lnTo>
                  <a:lnTo>
                    <a:pt x="215" y="274"/>
                  </a:lnTo>
                  <a:lnTo>
                    <a:pt x="215" y="277"/>
                  </a:lnTo>
                  <a:lnTo>
                    <a:pt x="215" y="277"/>
                  </a:lnTo>
                  <a:lnTo>
                    <a:pt x="215" y="277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2" y="279"/>
                  </a:lnTo>
                  <a:lnTo>
                    <a:pt x="212" y="282"/>
                  </a:lnTo>
                  <a:lnTo>
                    <a:pt x="212" y="282"/>
                  </a:lnTo>
                  <a:lnTo>
                    <a:pt x="212" y="282"/>
                  </a:lnTo>
                  <a:lnTo>
                    <a:pt x="212" y="282"/>
                  </a:lnTo>
                  <a:lnTo>
                    <a:pt x="210" y="282"/>
                  </a:lnTo>
                  <a:lnTo>
                    <a:pt x="210" y="282"/>
                  </a:lnTo>
                  <a:lnTo>
                    <a:pt x="210" y="282"/>
                  </a:lnTo>
                  <a:lnTo>
                    <a:pt x="210" y="282"/>
                  </a:lnTo>
                  <a:lnTo>
                    <a:pt x="207" y="282"/>
                  </a:lnTo>
                  <a:close/>
                  <a:moveTo>
                    <a:pt x="115" y="241"/>
                  </a:moveTo>
                  <a:lnTo>
                    <a:pt x="113" y="241"/>
                  </a:lnTo>
                  <a:lnTo>
                    <a:pt x="113" y="241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02"/>
                  </a:lnTo>
                  <a:lnTo>
                    <a:pt x="120" y="202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38"/>
                  </a:lnTo>
                  <a:lnTo>
                    <a:pt x="120" y="241"/>
                  </a:lnTo>
                  <a:lnTo>
                    <a:pt x="120" y="241"/>
                  </a:lnTo>
                  <a:lnTo>
                    <a:pt x="120" y="241"/>
                  </a:lnTo>
                  <a:lnTo>
                    <a:pt x="118" y="241"/>
                  </a:lnTo>
                  <a:lnTo>
                    <a:pt x="118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close/>
                  <a:moveTo>
                    <a:pt x="56" y="192"/>
                  </a:moveTo>
                  <a:lnTo>
                    <a:pt x="54" y="192"/>
                  </a:lnTo>
                  <a:lnTo>
                    <a:pt x="54" y="192"/>
                  </a:lnTo>
                  <a:lnTo>
                    <a:pt x="51" y="192"/>
                  </a:lnTo>
                  <a:lnTo>
                    <a:pt x="51" y="190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2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7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2"/>
                  </a:lnTo>
                  <a:lnTo>
                    <a:pt x="43" y="169"/>
                  </a:lnTo>
                  <a:lnTo>
                    <a:pt x="43" y="167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6" y="161"/>
                  </a:lnTo>
                  <a:lnTo>
                    <a:pt x="46" y="159"/>
                  </a:lnTo>
                  <a:lnTo>
                    <a:pt x="49" y="156"/>
                  </a:lnTo>
                  <a:lnTo>
                    <a:pt x="49" y="154"/>
                  </a:lnTo>
                  <a:lnTo>
                    <a:pt x="49" y="154"/>
                  </a:lnTo>
                  <a:lnTo>
                    <a:pt x="51" y="151"/>
                  </a:lnTo>
                  <a:lnTo>
                    <a:pt x="51" y="149"/>
                  </a:lnTo>
                  <a:lnTo>
                    <a:pt x="51" y="146"/>
                  </a:lnTo>
                  <a:lnTo>
                    <a:pt x="54" y="146"/>
                  </a:lnTo>
                  <a:lnTo>
                    <a:pt x="177" y="146"/>
                  </a:lnTo>
                  <a:lnTo>
                    <a:pt x="179" y="146"/>
                  </a:lnTo>
                  <a:lnTo>
                    <a:pt x="179" y="149"/>
                  </a:lnTo>
                  <a:lnTo>
                    <a:pt x="179" y="151"/>
                  </a:lnTo>
                  <a:lnTo>
                    <a:pt x="182" y="154"/>
                  </a:lnTo>
                  <a:lnTo>
                    <a:pt x="182" y="154"/>
                  </a:lnTo>
                  <a:lnTo>
                    <a:pt x="184" y="156"/>
                  </a:lnTo>
                  <a:lnTo>
                    <a:pt x="184" y="159"/>
                  </a:lnTo>
                  <a:lnTo>
                    <a:pt x="184" y="161"/>
                  </a:lnTo>
                  <a:lnTo>
                    <a:pt x="184" y="164"/>
                  </a:lnTo>
                  <a:lnTo>
                    <a:pt x="187" y="164"/>
                  </a:lnTo>
                  <a:lnTo>
                    <a:pt x="187" y="167"/>
                  </a:lnTo>
                  <a:lnTo>
                    <a:pt x="187" y="169"/>
                  </a:lnTo>
                  <a:lnTo>
                    <a:pt x="187" y="172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7" y="179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4" y="187"/>
                  </a:lnTo>
                  <a:lnTo>
                    <a:pt x="184" y="187"/>
                  </a:lnTo>
                  <a:lnTo>
                    <a:pt x="184" y="18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4" y="192"/>
                  </a:lnTo>
                  <a:lnTo>
                    <a:pt x="172" y="192"/>
                  </a:lnTo>
                  <a:lnTo>
                    <a:pt x="59" y="192"/>
                  </a:lnTo>
                  <a:lnTo>
                    <a:pt x="56" y="192"/>
                  </a:lnTo>
                  <a:close/>
                  <a:moveTo>
                    <a:pt x="10" y="97"/>
                  </a:moveTo>
                  <a:lnTo>
                    <a:pt x="20" y="97"/>
                  </a:lnTo>
                  <a:lnTo>
                    <a:pt x="20" y="121"/>
                  </a:lnTo>
                  <a:lnTo>
                    <a:pt x="10" y="121"/>
                  </a:lnTo>
                  <a:lnTo>
                    <a:pt x="10" y="97"/>
                  </a:lnTo>
                  <a:close/>
                  <a:moveTo>
                    <a:pt x="210" y="97"/>
                  </a:moveTo>
                  <a:lnTo>
                    <a:pt x="220" y="97"/>
                  </a:lnTo>
                  <a:lnTo>
                    <a:pt x="220" y="121"/>
                  </a:lnTo>
                  <a:lnTo>
                    <a:pt x="210" y="121"/>
                  </a:lnTo>
                  <a:lnTo>
                    <a:pt x="210" y="97"/>
                  </a:lnTo>
                  <a:close/>
                  <a:moveTo>
                    <a:pt x="56" y="26"/>
                  </a:moveTo>
                  <a:lnTo>
                    <a:pt x="56" y="26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4" y="13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159" y="10"/>
                  </a:lnTo>
                  <a:lnTo>
                    <a:pt x="159" y="10"/>
                  </a:lnTo>
                  <a:lnTo>
                    <a:pt x="161" y="10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66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72" y="16"/>
                  </a:lnTo>
                  <a:lnTo>
                    <a:pt x="172" y="1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4" y="21"/>
                  </a:lnTo>
                  <a:lnTo>
                    <a:pt x="174" y="21"/>
                  </a:lnTo>
                  <a:lnTo>
                    <a:pt x="174" y="23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133"/>
                  </a:lnTo>
                  <a:lnTo>
                    <a:pt x="56" y="133"/>
                  </a:lnTo>
                  <a:lnTo>
                    <a:pt x="56" y="26"/>
                  </a:lnTo>
                  <a:close/>
                  <a:moveTo>
                    <a:pt x="72" y="0"/>
                  </a:moveTo>
                  <a:lnTo>
                    <a:pt x="72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1" y="5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138"/>
                  </a:lnTo>
                  <a:lnTo>
                    <a:pt x="43" y="141"/>
                  </a:lnTo>
                  <a:lnTo>
                    <a:pt x="41" y="141"/>
                  </a:lnTo>
                  <a:lnTo>
                    <a:pt x="41" y="144"/>
                  </a:lnTo>
                  <a:lnTo>
                    <a:pt x="41" y="146"/>
                  </a:lnTo>
                  <a:lnTo>
                    <a:pt x="38" y="149"/>
                  </a:lnTo>
                  <a:lnTo>
                    <a:pt x="38" y="151"/>
                  </a:lnTo>
                  <a:lnTo>
                    <a:pt x="36" y="151"/>
                  </a:lnTo>
                  <a:lnTo>
                    <a:pt x="36" y="154"/>
                  </a:lnTo>
                  <a:lnTo>
                    <a:pt x="36" y="156"/>
                  </a:lnTo>
                  <a:lnTo>
                    <a:pt x="36" y="159"/>
                  </a:lnTo>
                  <a:lnTo>
                    <a:pt x="33" y="161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7"/>
                  </a:lnTo>
                  <a:lnTo>
                    <a:pt x="33" y="169"/>
                  </a:lnTo>
                  <a:lnTo>
                    <a:pt x="33" y="172"/>
                  </a:lnTo>
                  <a:lnTo>
                    <a:pt x="20" y="172"/>
                  </a:lnTo>
                  <a:lnTo>
                    <a:pt x="20" y="133"/>
                  </a:lnTo>
                  <a:lnTo>
                    <a:pt x="23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3" y="128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3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28" y="90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3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3" y="87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5" y="131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10" y="133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33" y="182"/>
                  </a:lnTo>
                  <a:lnTo>
                    <a:pt x="33" y="185"/>
                  </a:lnTo>
                  <a:lnTo>
                    <a:pt x="33" y="187"/>
                  </a:lnTo>
                  <a:lnTo>
                    <a:pt x="36" y="190"/>
                  </a:lnTo>
                  <a:lnTo>
                    <a:pt x="36" y="192"/>
                  </a:lnTo>
                  <a:lnTo>
                    <a:pt x="36" y="195"/>
                  </a:lnTo>
                  <a:lnTo>
                    <a:pt x="38" y="195"/>
                  </a:lnTo>
                  <a:lnTo>
                    <a:pt x="38" y="197"/>
                  </a:lnTo>
                  <a:lnTo>
                    <a:pt x="41" y="197"/>
                  </a:lnTo>
                  <a:lnTo>
                    <a:pt x="43" y="200"/>
                  </a:lnTo>
                  <a:lnTo>
                    <a:pt x="46" y="200"/>
                  </a:lnTo>
                  <a:lnTo>
                    <a:pt x="46" y="202"/>
                  </a:lnTo>
                  <a:lnTo>
                    <a:pt x="49" y="202"/>
                  </a:lnTo>
                  <a:lnTo>
                    <a:pt x="51" y="202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9" y="202"/>
                  </a:lnTo>
                  <a:lnTo>
                    <a:pt x="97" y="202"/>
                  </a:lnTo>
                  <a:lnTo>
                    <a:pt x="97" y="238"/>
                  </a:lnTo>
                  <a:lnTo>
                    <a:pt x="38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3" y="238"/>
                  </a:lnTo>
                  <a:lnTo>
                    <a:pt x="33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28" y="241"/>
                  </a:lnTo>
                  <a:lnTo>
                    <a:pt x="28" y="241"/>
                  </a:lnTo>
                  <a:lnTo>
                    <a:pt x="28" y="241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6" y="246"/>
                  </a:lnTo>
                  <a:lnTo>
                    <a:pt x="26" y="246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0" y="259"/>
                  </a:lnTo>
                  <a:lnTo>
                    <a:pt x="18" y="259"/>
                  </a:lnTo>
                  <a:lnTo>
                    <a:pt x="18" y="259"/>
                  </a:lnTo>
                  <a:lnTo>
                    <a:pt x="15" y="259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0" y="261"/>
                  </a:lnTo>
                  <a:lnTo>
                    <a:pt x="10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6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3" y="274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5" y="279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4"/>
                  </a:lnTo>
                  <a:lnTo>
                    <a:pt x="8" y="284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10" y="290"/>
                  </a:lnTo>
                  <a:lnTo>
                    <a:pt x="10" y="290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5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20" y="292"/>
                  </a:lnTo>
                  <a:lnTo>
                    <a:pt x="23" y="292"/>
                  </a:lnTo>
                  <a:lnTo>
                    <a:pt x="23" y="292"/>
                  </a:lnTo>
                  <a:lnTo>
                    <a:pt x="26" y="292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1" y="290"/>
                  </a:lnTo>
                  <a:lnTo>
                    <a:pt x="31" y="290"/>
                  </a:lnTo>
                  <a:lnTo>
                    <a:pt x="33" y="287"/>
                  </a:lnTo>
                  <a:lnTo>
                    <a:pt x="33" y="287"/>
                  </a:lnTo>
                  <a:lnTo>
                    <a:pt x="36" y="284"/>
                  </a:lnTo>
                  <a:lnTo>
                    <a:pt x="36" y="284"/>
                  </a:lnTo>
                  <a:lnTo>
                    <a:pt x="36" y="282"/>
                  </a:lnTo>
                  <a:lnTo>
                    <a:pt x="36" y="282"/>
                  </a:lnTo>
                  <a:lnTo>
                    <a:pt x="38" y="279"/>
                  </a:lnTo>
                  <a:lnTo>
                    <a:pt x="38" y="277"/>
                  </a:lnTo>
                  <a:lnTo>
                    <a:pt x="38" y="277"/>
                  </a:lnTo>
                  <a:lnTo>
                    <a:pt x="38" y="249"/>
                  </a:lnTo>
                  <a:lnTo>
                    <a:pt x="102" y="249"/>
                  </a:lnTo>
                  <a:lnTo>
                    <a:pt x="64" y="284"/>
                  </a:lnTo>
                  <a:lnTo>
                    <a:pt x="64" y="287"/>
                  </a:lnTo>
                  <a:lnTo>
                    <a:pt x="61" y="287"/>
                  </a:lnTo>
                  <a:lnTo>
                    <a:pt x="61" y="290"/>
                  </a:lnTo>
                  <a:lnTo>
                    <a:pt x="61" y="290"/>
                  </a:lnTo>
                  <a:lnTo>
                    <a:pt x="61" y="292"/>
                  </a:lnTo>
                  <a:lnTo>
                    <a:pt x="61" y="292"/>
                  </a:lnTo>
                  <a:lnTo>
                    <a:pt x="61" y="295"/>
                  </a:lnTo>
                  <a:lnTo>
                    <a:pt x="61" y="297"/>
                  </a:lnTo>
                  <a:lnTo>
                    <a:pt x="61" y="307"/>
                  </a:lnTo>
                  <a:lnTo>
                    <a:pt x="59" y="305"/>
                  </a:lnTo>
                  <a:lnTo>
                    <a:pt x="59" y="305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5"/>
                  </a:lnTo>
                  <a:lnTo>
                    <a:pt x="51" y="305"/>
                  </a:lnTo>
                  <a:lnTo>
                    <a:pt x="49" y="305"/>
                  </a:lnTo>
                  <a:lnTo>
                    <a:pt x="49" y="307"/>
                  </a:lnTo>
                  <a:lnTo>
                    <a:pt x="46" y="307"/>
                  </a:lnTo>
                  <a:lnTo>
                    <a:pt x="46" y="307"/>
                  </a:lnTo>
                  <a:lnTo>
                    <a:pt x="43" y="310"/>
                  </a:lnTo>
                  <a:lnTo>
                    <a:pt x="43" y="310"/>
                  </a:lnTo>
                  <a:lnTo>
                    <a:pt x="41" y="313"/>
                  </a:lnTo>
                  <a:lnTo>
                    <a:pt x="41" y="313"/>
                  </a:lnTo>
                  <a:lnTo>
                    <a:pt x="41" y="315"/>
                  </a:lnTo>
                  <a:lnTo>
                    <a:pt x="38" y="315"/>
                  </a:lnTo>
                  <a:lnTo>
                    <a:pt x="38" y="318"/>
                  </a:lnTo>
                  <a:lnTo>
                    <a:pt x="38" y="318"/>
                  </a:lnTo>
                  <a:lnTo>
                    <a:pt x="38" y="320"/>
                  </a:lnTo>
                  <a:lnTo>
                    <a:pt x="38" y="323"/>
                  </a:lnTo>
                  <a:lnTo>
                    <a:pt x="38" y="325"/>
                  </a:lnTo>
                  <a:lnTo>
                    <a:pt x="38" y="325"/>
                  </a:lnTo>
                  <a:lnTo>
                    <a:pt x="38" y="328"/>
                  </a:lnTo>
                  <a:lnTo>
                    <a:pt x="38" y="328"/>
                  </a:lnTo>
                  <a:lnTo>
                    <a:pt x="41" y="330"/>
                  </a:lnTo>
                  <a:lnTo>
                    <a:pt x="41" y="333"/>
                  </a:lnTo>
                  <a:lnTo>
                    <a:pt x="41" y="333"/>
                  </a:lnTo>
                  <a:lnTo>
                    <a:pt x="43" y="336"/>
                  </a:lnTo>
                  <a:lnTo>
                    <a:pt x="43" y="336"/>
                  </a:lnTo>
                  <a:lnTo>
                    <a:pt x="46" y="336"/>
                  </a:lnTo>
                  <a:lnTo>
                    <a:pt x="46" y="338"/>
                  </a:lnTo>
                  <a:lnTo>
                    <a:pt x="49" y="338"/>
                  </a:lnTo>
                  <a:lnTo>
                    <a:pt x="49" y="338"/>
                  </a:lnTo>
                  <a:lnTo>
                    <a:pt x="51" y="338"/>
                  </a:lnTo>
                  <a:lnTo>
                    <a:pt x="54" y="338"/>
                  </a:lnTo>
                  <a:lnTo>
                    <a:pt x="54" y="338"/>
                  </a:lnTo>
                  <a:lnTo>
                    <a:pt x="56" y="338"/>
                  </a:lnTo>
                  <a:lnTo>
                    <a:pt x="59" y="338"/>
                  </a:lnTo>
                  <a:lnTo>
                    <a:pt x="59" y="338"/>
                  </a:lnTo>
                  <a:lnTo>
                    <a:pt x="61" y="338"/>
                  </a:lnTo>
                  <a:lnTo>
                    <a:pt x="64" y="338"/>
                  </a:lnTo>
                  <a:lnTo>
                    <a:pt x="64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9" y="333"/>
                  </a:lnTo>
                  <a:lnTo>
                    <a:pt x="69" y="333"/>
                  </a:lnTo>
                  <a:lnTo>
                    <a:pt x="69" y="330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2" y="325"/>
                  </a:lnTo>
                  <a:lnTo>
                    <a:pt x="72" y="325"/>
                  </a:lnTo>
                  <a:lnTo>
                    <a:pt x="72" y="323"/>
                  </a:lnTo>
                  <a:lnTo>
                    <a:pt x="72" y="295"/>
                  </a:lnTo>
                  <a:lnTo>
                    <a:pt x="115" y="251"/>
                  </a:lnTo>
                  <a:lnTo>
                    <a:pt x="159" y="295"/>
                  </a:lnTo>
                  <a:lnTo>
                    <a:pt x="159" y="323"/>
                  </a:lnTo>
                  <a:lnTo>
                    <a:pt x="159" y="325"/>
                  </a:lnTo>
                  <a:lnTo>
                    <a:pt x="159" y="325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61" y="330"/>
                  </a:lnTo>
                  <a:lnTo>
                    <a:pt x="161" y="333"/>
                  </a:lnTo>
                  <a:lnTo>
                    <a:pt x="161" y="333"/>
                  </a:lnTo>
                  <a:lnTo>
                    <a:pt x="164" y="336"/>
                  </a:lnTo>
                  <a:lnTo>
                    <a:pt x="164" y="336"/>
                  </a:lnTo>
                  <a:lnTo>
                    <a:pt x="166" y="336"/>
                  </a:lnTo>
                  <a:lnTo>
                    <a:pt x="166" y="338"/>
                  </a:lnTo>
                  <a:lnTo>
                    <a:pt x="169" y="338"/>
                  </a:lnTo>
                  <a:lnTo>
                    <a:pt x="172" y="338"/>
                  </a:lnTo>
                  <a:lnTo>
                    <a:pt x="172" y="338"/>
                  </a:lnTo>
                  <a:lnTo>
                    <a:pt x="174" y="338"/>
                  </a:lnTo>
                  <a:lnTo>
                    <a:pt x="177" y="338"/>
                  </a:lnTo>
                  <a:lnTo>
                    <a:pt x="177" y="338"/>
                  </a:lnTo>
                  <a:lnTo>
                    <a:pt x="179" y="338"/>
                  </a:lnTo>
                  <a:lnTo>
                    <a:pt x="179" y="338"/>
                  </a:lnTo>
                  <a:lnTo>
                    <a:pt x="182" y="338"/>
                  </a:lnTo>
                  <a:lnTo>
                    <a:pt x="184" y="338"/>
                  </a:lnTo>
                  <a:lnTo>
                    <a:pt x="184" y="336"/>
                  </a:lnTo>
                  <a:lnTo>
                    <a:pt x="187" y="336"/>
                  </a:lnTo>
                  <a:lnTo>
                    <a:pt x="187" y="336"/>
                  </a:lnTo>
                  <a:lnTo>
                    <a:pt x="189" y="333"/>
                  </a:lnTo>
                  <a:lnTo>
                    <a:pt x="189" y="333"/>
                  </a:lnTo>
                  <a:lnTo>
                    <a:pt x="189" y="330"/>
                  </a:lnTo>
                  <a:lnTo>
                    <a:pt x="192" y="328"/>
                  </a:lnTo>
                  <a:lnTo>
                    <a:pt x="192" y="328"/>
                  </a:lnTo>
                  <a:lnTo>
                    <a:pt x="192" y="325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2" y="320"/>
                  </a:lnTo>
                  <a:lnTo>
                    <a:pt x="192" y="318"/>
                  </a:lnTo>
                  <a:lnTo>
                    <a:pt x="192" y="318"/>
                  </a:lnTo>
                  <a:lnTo>
                    <a:pt x="192" y="315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89" y="313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4" y="307"/>
                  </a:lnTo>
                  <a:lnTo>
                    <a:pt x="184" y="307"/>
                  </a:lnTo>
                  <a:lnTo>
                    <a:pt x="182" y="307"/>
                  </a:lnTo>
                  <a:lnTo>
                    <a:pt x="179" y="305"/>
                  </a:lnTo>
                  <a:lnTo>
                    <a:pt x="179" y="305"/>
                  </a:lnTo>
                  <a:lnTo>
                    <a:pt x="177" y="305"/>
                  </a:lnTo>
                  <a:lnTo>
                    <a:pt x="177" y="305"/>
                  </a:lnTo>
                  <a:lnTo>
                    <a:pt x="174" y="305"/>
                  </a:lnTo>
                  <a:lnTo>
                    <a:pt x="172" y="305"/>
                  </a:lnTo>
                  <a:lnTo>
                    <a:pt x="172" y="305"/>
                  </a:lnTo>
                  <a:lnTo>
                    <a:pt x="169" y="307"/>
                  </a:lnTo>
                  <a:lnTo>
                    <a:pt x="169" y="297"/>
                  </a:lnTo>
                  <a:lnTo>
                    <a:pt x="169" y="295"/>
                  </a:lnTo>
                  <a:lnTo>
                    <a:pt x="169" y="292"/>
                  </a:lnTo>
                  <a:lnTo>
                    <a:pt x="169" y="292"/>
                  </a:lnTo>
                  <a:lnTo>
                    <a:pt x="169" y="290"/>
                  </a:lnTo>
                  <a:lnTo>
                    <a:pt x="169" y="290"/>
                  </a:lnTo>
                  <a:lnTo>
                    <a:pt x="169" y="287"/>
                  </a:lnTo>
                  <a:lnTo>
                    <a:pt x="166" y="287"/>
                  </a:lnTo>
                  <a:lnTo>
                    <a:pt x="166" y="284"/>
                  </a:lnTo>
                  <a:lnTo>
                    <a:pt x="128" y="249"/>
                  </a:lnTo>
                  <a:lnTo>
                    <a:pt x="192" y="249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2" y="279"/>
                  </a:lnTo>
                  <a:lnTo>
                    <a:pt x="195" y="282"/>
                  </a:lnTo>
                  <a:lnTo>
                    <a:pt x="195" y="282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7" y="287"/>
                  </a:lnTo>
                  <a:lnTo>
                    <a:pt x="197" y="287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2"/>
                  </a:lnTo>
                  <a:lnTo>
                    <a:pt x="210" y="292"/>
                  </a:lnTo>
                  <a:lnTo>
                    <a:pt x="212" y="292"/>
                  </a:lnTo>
                  <a:lnTo>
                    <a:pt x="212" y="292"/>
                  </a:lnTo>
                  <a:lnTo>
                    <a:pt x="215" y="292"/>
                  </a:lnTo>
                  <a:lnTo>
                    <a:pt x="218" y="292"/>
                  </a:lnTo>
                  <a:lnTo>
                    <a:pt x="218" y="292"/>
                  </a:lnTo>
                  <a:lnTo>
                    <a:pt x="220" y="290"/>
                  </a:lnTo>
                  <a:lnTo>
                    <a:pt x="220" y="290"/>
                  </a:lnTo>
                  <a:lnTo>
                    <a:pt x="223" y="287"/>
                  </a:lnTo>
                  <a:lnTo>
                    <a:pt x="223" y="287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79"/>
                  </a:lnTo>
                  <a:lnTo>
                    <a:pt x="228" y="277"/>
                  </a:lnTo>
                  <a:lnTo>
                    <a:pt x="228" y="277"/>
                  </a:lnTo>
                  <a:lnTo>
                    <a:pt x="228" y="274"/>
                  </a:lnTo>
                  <a:lnTo>
                    <a:pt x="225" y="272"/>
                  </a:lnTo>
                  <a:lnTo>
                    <a:pt x="225" y="272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3" y="266"/>
                  </a:lnTo>
                  <a:lnTo>
                    <a:pt x="223" y="264"/>
                  </a:lnTo>
                  <a:lnTo>
                    <a:pt x="223" y="264"/>
                  </a:lnTo>
                  <a:lnTo>
                    <a:pt x="220" y="264"/>
                  </a:lnTo>
                  <a:lnTo>
                    <a:pt x="220" y="261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15" y="259"/>
                  </a:lnTo>
                  <a:lnTo>
                    <a:pt x="212" y="259"/>
                  </a:lnTo>
                  <a:lnTo>
                    <a:pt x="212" y="259"/>
                  </a:lnTo>
                  <a:lnTo>
                    <a:pt x="210" y="259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5" y="259"/>
                  </a:lnTo>
                  <a:lnTo>
                    <a:pt x="205" y="25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6"/>
                  </a:lnTo>
                  <a:lnTo>
                    <a:pt x="205" y="246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2" y="241"/>
                  </a:lnTo>
                  <a:lnTo>
                    <a:pt x="202" y="241"/>
                  </a:lnTo>
                  <a:lnTo>
                    <a:pt x="202" y="241"/>
                  </a:lnTo>
                  <a:lnTo>
                    <a:pt x="200" y="238"/>
                  </a:lnTo>
                  <a:lnTo>
                    <a:pt x="200" y="238"/>
                  </a:lnTo>
                  <a:lnTo>
                    <a:pt x="200" y="238"/>
                  </a:lnTo>
                  <a:lnTo>
                    <a:pt x="197" y="238"/>
                  </a:lnTo>
                  <a:lnTo>
                    <a:pt x="197" y="238"/>
                  </a:lnTo>
                  <a:lnTo>
                    <a:pt x="195" y="238"/>
                  </a:lnTo>
                  <a:lnTo>
                    <a:pt x="195" y="238"/>
                  </a:lnTo>
                  <a:lnTo>
                    <a:pt x="192" y="238"/>
                  </a:lnTo>
                  <a:lnTo>
                    <a:pt x="133" y="238"/>
                  </a:lnTo>
                  <a:lnTo>
                    <a:pt x="133" y="202"/>
                  </a:lnTo>
                  <a:lnTo>
                    <a:pt x="172" y="202"/>
                  </a:lnTo>
                  <a:lnTo>
                    <a:pt x="174" y="202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82" y="202"/>
                  </a:lnTo>
                  <a:lnTo>
                    <a:pt x="184" y="202"/>
                  </a:lnTo>
                  <a:lnTo>
                    <a:pt x="184" y="200"/>
                  </a:lnTo>
                  <a:lnTo>
                    <a:pt x="187" y="200"/>
                  </a:lnTo>
                  <a:lnTo>
                    <a:pt x="189" y="197"/>
                  </a:lnTo>
                  <a:lnTo>
                    <a:pt x="192" y="197"/>
                  </a:lnTo>
                  <a:lnTo>
                    <a:pt x="192" y="195"/>
                  </a:lnTo>
                  <a:lnTo>
                    <a:pt x="195" y="195"/>
                  </a:lnTo>
                  <a:lnTo>
                    <a:pt x="195" y="192"/>
                  </a:lnTo>
                  <a:lnTo>
                    <a:pt x="195" y="192"/>
                  </a:lnTo>
                  <a:lnTo>
                    <a:pt x="195" y="192"/>
                  </a:lnTo>
                  <a:lnTo>
                    <a:pt x="197" y="190"/>
                  </a:lnTo>
                  <a:lnTo>
                    <a:pt x="197" y="190"/>
                  </a:lnTo>
                  <a:lnTo>
                    <a:pt x="197" y="187"/>
                  </a:lnTo>
                  <a:lnTo>
                    <a:pt x="197" y="187"/>
                  </a:lnTo>
                  <a:lnTo>
                    <a:pt x="197" y="185"/>
                  </a:lnTo>
                  <a:lnTo>
                    <a:pt x="197" y="185"/>
                  </a:lnTo>
                  <a:lnTo>
                    <a:pt x="197" y="182"/>
                  </a:lnTo>
                  <a:lnTo>
                    <a:pt x="210" y="182"/>
                  </a:lnTo>
                  <a:lnTo>
                    <a:pt x="210" y="182"/>
                  </a:lnTo>
                  <a:lnTo>
                    <a:pt x="212" y="182"/>
                  </a:lnTo>
                  <a:lnTo>
                    <a:pt x="212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8" y="182"/>
                  </a:lnTo>
                  <a:lnTo>
                    <a:pt x="218" y="179"/>
                  </a:lnTo>
                  <a:lnTo>
                    <a:pt x="218" y="179"/>
                  </a:lnTo>
                  <a:lnTo>
                    <a:pt x="218" y="179"/>
                  </a:lnTo>
                  <a:lnTo>
                    <a:pt x="220" y="177"/>
                  </a:lnTo>
                  <a:lnTo>
                    <a:pt x="220" y="177"/>
                  </a:lnTo>
                  <a:lnTo>
                    <a:pt x="220" y="177"/>
                  </a:lnTo>
                  <a:lnTo>
                    <a:pt x="220" y="174"/>
                  </a:lnTo>
                  <a:lnTo>
                    <a:pt x="220" y="174"/>
                  </a:lnTo>
                  <a:lnTo>
                    <a:pt x="220" y="172"/>
                  </a:lnTo>
                  <a:lnTo>
                    <a:pt x="220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5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8" y="131"/>
                  </a:lnTo>
                  <a:lnTo>
                    <a:pt x="228" y="131"/>
                  </a:lnTo>
                  <a:lnTo>
                    <a:pt x="228" y="131"/>
                  </a:lnTo>
                  <a:lnTo>
                    <a:pt x="228" y="131"/>
                  </a:lnTo>
                  <a:lnTo>
                    <a:pt x="230" y="131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0" y="123"/>
                  </a:lnTo>
                  <a:lnTo>
                    <a:pt x="230" y="95"/>
                  </a:lnTo>
                  <a:lnTo>
                    <a:pt x="230" y="95"/>
                  </a:lnTo>
                  <a:lnTo>
                    <a:pt x="230" y="95"/>
                  </a:lnTo>
                  <a:lnTo>
                    <a:pt x="230" y="92"/>
                  </a:lnTo>
                  <a:lnTo>
                    <a:pt x="230" y="92"/>
                  </a:lnTo>
                  <a:lnTo>
                    <a:pt x="230" y="92"/>
                  </a:lnTo>
                  <a:lnTo>
                    <a:pt x="230" y="92"/>
                  </a:lnTo>
                  <a:lnTo>
                    <a:pt x="230" y="90"/>
                  </a:lnTo>
                  <a:lnTo>
                    <a:pt x="228" y="90"/>
                  </a:lnTo>
                  <a:lnTo>
                    <a:pt x="228" y="90"/>
                  </a:lnTo>
                  <a:lnTo>
                    <a:pt x="228" y="90"/>
                  </a:lnTo>
                  <a:lnTo>
                    <a:pt x="228" y="87"/>
                  </a:lnTo>
                  <a:lnTo>
                    <a:pt x="225" y="87"/>
                  </a:lnTo>
                  <a:lnTo>
                    <a:pt x="225" y="87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07" y="87"/>
                  </a:lnTo>
                  <a:lnTo>
                    <a:pt x="205" y="87"/>
                  </a:lnTo>
                  <a:lnTo>
                    <a:pt x="205" y="87"/>
                  </a:lnTo>
                  <a:lnTo>
                    <a:pt x="205" y="87"/>
                  </a:lnTo>
                  <a:lnTo>
                    <a:pt x="202" y="87"/>
                  </a:lnTo>
                  <a:lnTo>
                    <a:pt x="202" y="87"/>
                  </a:lnTo>
                  <a:lnTo>
                    <a:pt x="202" y="90"/>
                  </a:lnTo>
                  <a:lnTo>
                    <a:pt x="200" y="90"/>
                  </a:lnTo>
                  <a:lnTo>
                    <a:pt x="200" y="90"/>
                  </a:lnTo>
                  <a:lnTo>
                    <a:pt x="200" y="90"/>
                  </a:lnTo>
                  <a:lnTo>
                    <a:pt x="200" y="92"/>
                  </a:lnTo>
                  <a:lnTo>
                    <a:pt x="200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5"/>
                  </a:lnTo>
                  <a:lnTo>
                    <a:pt x="197" y="95"/>
                  </a:lnTo>
                  <a:lnTo>
                    <a:pt x="197" y="95"/>
                  </a:lnTo>
                  <a:lnTo>
                    <a:pt x="197" y="123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2" y="131"/>
                  </a:lnTo>
                  <a:lnTo>
                    <a:pt x="202" y="131"/>
                  </a:lnTo>
                  <a:lnTo>
                    <a:pt x="202" y="131"/>
                  </a:lnTo>
                  <a:lnTo>
                    <a:pt x="205" y="133"/>
                  </a:lnTo>
                  <a:lnTo>
                    <a:pt x="205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10" y="133"/>
                  </a:lnTo>
                  <a:lnTo>
                    <a:pt x="210" y="172"/>
                  </a:lnTo>
                  <a:lnTo>
                    <a:pt x="200" y="172"/>
                  </a:lnTo>
                  <a:lnTo>
                    <a:pt x="197" y="169"/>
                  </a:lnTo>
                  <a:lnTo>
                    <a:pt x="197" y="167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1"/>
                  </a:lnTo>
                  <a:lnTo>
                    <a:pt x="195" y="159"/>
                  </a:lnTo>
                  <a:lnTo>
                    <a:pt x="195" y="156"/>
                  </a:lnTo>
                  <a:lnTo>
                    <a:pt x="195" y="154"/>
                  </a:lnTo>
                  <a:lnTo>
                    <a:pt x="195" y="151"/>
                  </a:lnTo>
                  <a:lnTo>
                    <a:pt x="192" y="151"/>
                  </a:lnTo>
                  <a:lnTo>
                    <a:pt x="192" y="149"/>
                  </a:lnTo>
                  <a:lnTo>
                    <a:pt x="189" y="146"/>
                  </a:lnTo>
                  <a:lnTo>
                    <a:pt x="189" y="144"/>
                  </a:lnTo>
                  <a:lnTo>
                    <a:pt x="189" y="141"/>
                  </a:lnTo>
                  <a:lnTo>
                    <a:pt x="187" y="141"/>
                  </a:lnTo>
                  <a:lnTo>
                    <a:pt x="187" y="138"/>
                  </a:lnTo>
                  <a:lnTo>
                    <a:pt x="187" y="26"/>
                  </a:lnTo>
                  <a:lnTo>
                    <a:pt x="187" y="26"/>
                  </a:lnTo>
                  <a:lnTo>
                    <a:pt x="187" y="23"/>
                  </a:lnTo>
                  <a:lnTo>
                    <a:pt x="187" y="23"/>
                  </a:lnTo>
                  <a:lnTo>
                    <a:pt x="187" y="21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2" y="13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79" y="5"/>
                  </a:lnTo>
                  <a:lnTo>
                    <a:pt x="177" y="5"/>
                  </a:lnTo>
                  <a:lnTo>
                    <a:pt x="177" y="5"/>
                  </a:lnTo>
                  <a:lnTo>
                    <a:pt x="174" y="5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2" y="3"/>
                  </a:lnTo>
                  <a:lnTo>
                    <a:pt x="172" y="3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4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37">
            <a:extLst>
              <a:ext uri="{FF2B5EF4-FFF2-40B4-BE49-F238E27FC236}">
                <a16:creationId xmlns:a16="http://schemas.microsoft.com/office/drawing/2014/main" id="{0E6CAE60-81B5-48BF-AB1B-B60B3DCA8B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142" y="342902"/>
            <a:ext cx="758825" cy="758825"/>
            <a:chOff x="5060" y="445"/>
            <a:chExt cx="478" cy="478"/>
          </a:xfrm>
        </p:grpSpPr>
        <p:sp>
          <p:nvSpPr>
            <p:cNvPr id="47" name="AutoShape 36">
              <a:extLst>
                <a:ext uri="{FF2B5EF4-FFF2-40B4-BE49-F238E27FC236}">
                  <a16:creationId xmlns:a16="http://schemas.microsoft.com/office/drawing/2014/main" id="{A427DB09-E746-4B2D-A83E-B13BF42484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0" y="44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3E37E3D-3219-49EC-B671-DF678C6ED3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2" y="44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724E4221-9A6E-4044-8398-050A9C873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6" y="619"/>
              <a:ext cx="69" cy="17"/>
            </a:xfrm>
            <a:custGeom>
              <a:avLst/>
              <a:gdLst>
                <a:gd name="T0" fmla="*/ 69 w 69"/>
                <a:gd name="T1" fmla="*/ 5 h 17"/>
                <a:gd name="T2" fmla="*/ 69 w 69"/>
                <a:gd name="T3" fmla="*/ 5 h 17"/>
                <a:gd name="T4" fmla="*/ 69 w 69"/>
                <a:gd name="T5" fmla="*/ 2 h 17"/>
                <a:gd name="T6" fmla="*/ 66 w 69"/>
                <a:gd name="T7" fmla="*/ 2 h 17"/>
                <a:gd name="T8" fmla="*/ 66 w 69"/>
                <a:gd name="T9" fmla="*/ 2 h 17"/>
                <a:gd name="T10" fmla="*/ 64 w 69"/>
                <a:gd name="T11" fmla="*/ 0 h 17"/>
                <a:gd name="T12" fmla="*/ 61 w 69"/>
                <a:gd name="T13" fmla="*/ 0 h 17"/>
                <a:gd name="T14" fmla="*/ 5 w 69"/>
                <a:gd name="T15" fmla="*/ 0 h 17"/>
                <a:gd name="T16" fmla="*/ 5 w 69"/>
                <a:gd name="T17" fmla="*/ 0 h 17"/>
                <a:gd name="T18" fmla="*/ 2 w 69"/>
                <a:gd name="T19" fmla="*/ 2 h 17"/>
                <a:gd name="T20" fmla="*/ 2 w 69"/>
                <a:gd name="T21" fmla="*/ 2 h 17"/>
                <a:gd name="T22" fmla="*/ 0 w 69"/>
                <a:gd name="T23" fmla="*/ 5 h 17"/>
                <a:gd name="T24" fmla="*/ 0 w 69"/>
                <a:gd name="T25" fmla="*/ 5 h 17"/>
                <a:gd name="T26" fmla="*/ 0 w 69"/>
                <a:gd name="T27" fmla="*/ 7 h 17"/>
                <a:gd name="T28" fmla="*/ 0 w 69"/>
                <a:gd name="T29" fmla="*/ 7 h 17"/>
                <a:gd name="T30" fmla="*/ 0 w 69"/>
                <a:gd name="T31" fmla="*/ 10 h 17"/>
                <a:gd name="T32" fmla="*/ 0 w 69"/>
                <a:gd name="T33" fmla="*/ 12 h 17"/>
                <a:gd name="T34" fmla="*/ 0 w 69"/>
                <a:gd name="T35" fmla="*/ 12 h 17"/>
                <a:gd name="T36" fmla="*/ 0 w 69"/>
                <a:gd name="T37" fmla="*/ 15 h 17"/>
                <a:gd name="T38" fmla="*/ 2 w 69"/>
                <a:gd name="T39" fmla="*/ 15 h 17"/>
                <a:gd name="T40" fmla="*/ 2 w 69"/>
                <a:gd name="T41" fmla="*/ 17 h 17"/>
                <a:gd name="T42" fmla="*/ 5 w 69"/>
                <a:gd name="T43" fmla="*/ 17 h 17"/>
                <a:gd name="T44" fmla="*/ 5 w 69"/>
                <a:gd name="T45" fmla="*/ 17 h 17"/>
                <a:gd name="T46" fmla="*/ 61 w 69"/>
                <a:gd name="T47" fmla="*/ 17 h 17"/>
                <a:gd name="T48" fmla="*/ 64 w 69"/>
                <a:gd name="T49" fmla="*/ 17 h 17"/>
                <a:gd name="T50" fmla="*/ 66 w 69"/>
                <a:gd name="T51" fmla="*/ 17 h 17"/>
                <a:gd name="T52" fmla="*/ 66 w 69"/>
                <a:gd name="T53" fmla="*/ 15 h 17"/>
                <a:gd name="T54" fmla="*/ 69 w 69"/>
                <a:gd name="T55" fmla="*/ 15 h 17"/>
                <a:gd name="T56" fmla="*/ 69 w 69"/>
                <a:gd name="T57" fmla="*/ 12 h 17"/>
                <a:gd name="T58" fmla="*/ 69 w 69"/>
                <a:gd name="T59" fmla="*/ 12 h 17"/>
                <a:gd name="T60" fmla="*/ 69 w 69"/>
                <a:gd name="T61" fmla="*/ 10 h 17"/>
                <a:gd name="T62" fmla="*/ 69 w 69"/>
                <a:gd name="T63" fmla="*/ 10 h 17"/>
                <a:gd name="T64" fmla="*/ 69 w 69"/>
                <a:gd name="T6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" h="17">
                  <a:moveTo>
                    <a:pt x="69" y="7"/>
                  </a:move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61" y="17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B0B3FEE9-04E5-4830-AA66-E0847697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575"/>
              <a:ext cx="76" cy="17"/>
            </a:xfrm>
            <a:custGeom>
              <a:avLst/>
              <a:gdLst>
                <a:gd name="T0" fmla="*/ 74 w 76"/>
                <a:gd name="T1" fmla="*/ 12 h 17"/>
                <a:gd name="T2" fmla="*/ 74 w 76"/>
                <a:gd name="T3" fmla="*/ 12 h 17"/>
                <a:gd name="T4" fmla="*/ 76 w 76"/>
                <a:gd name="T5" fmla="*/ 10 h 17"/>
                <a:gd name="T6" fmla="*/ 76 w 76"/>
                <a:gd name="T7" fmla="*/ 10 h 17"/>
                <a:gd name="T8" fmla="*/ 76 w 76"/>
                <a:gd name="T9" fmla="*/ 7 h 17"/>
                <a:gd name="T10" fmla="*/ 76 w 76"/>
                <a:gd name="T11" fmla="*/ 5 h 17"/>
                <a:gd name="T12" fmla="*/ 74 w 76"/>
                <a:gd name="T13" fmla="*/ 5 h 17"/>
                <a:gd name="T14" fmla="*/ 74 w 76"/>
                <a:gd name="T15" fmla="*/ 2 h 17"/>
                <a:gd name="T16" fmla="*/ 74 w 76"/>
                <a:gd name="T17" fmla="*/ 2 h 17"/>
                <a:gd name="T18" fmla="*/ 72 w 76"/>
                <a:gd name="T19" fmla="*/ 0 h 17"/>
                <a:gd name="T20" fmla="*/ 72 w 76"/>
                <a:gd name="T21" fmla="*/ 0 h 17"/>
                <a:gd name="T22" fmla="*/ 69 w 76"/>
                <a:gd name="T23" fmla="*/ 0 h 17"/>
                <a:gd name="T24" fmla="*/ 8 w 76"/>
                <a:gd name="T25" fmla="*/ 0 h 17"/>
                <a:gd name="T26" fmla="*/ 5 w 76"/>
                <a:gd name="T27" fmla="*/ 0 h 17"/>
                <a:gd name="T28" fmla="*/ 5 w 76"/>
                <a:gd name="T29" fmla="*/ 0 h 17"/>
                <a:gd name="T30" fmla="*/ 3 w 76"/>
                <a:gd name="T31" fmla="*/ 2 h 17"/>
                <a:gd name="T32" fmla="*/ 3 w 76"/>
                <a:gd name="T33" fmla="*/ 2 h 17"/>
                <a:gd name="T34" fmla="*/ 0 w 76"/>
                <a:gd name="T35" fmla="*/ 5 h 17"/>
                <a:gd name="T36" fmla="*/ 0 w 76"/>
                <a:gd name="T37" fmla="*/ 5 h 17"/>
                <a:gd name="T38" fmla="*/ 0 w 76"/>
                <a:gd name="T39" fmla="*/ 7 h 17"/>
                <a:gd name="T40" fmla="*/ 0 w 76"/>
                <a:gd name="T41" fmla="*/ 7 h 17"/>
                <a:gd name="T42" fmla="*/ 0 w 76"/>
                <a:gd name="T43" fmla="*/ 10 h 17"/>
                <a:gd name="T44" fmla="*/ 0 w 76"/>
                <a:gd name="T45" fmla="*/ 12 h 17"/>
                <a:gd name="T46" fmla="*/ 0 w 76"/>
                <a:gd name="T47" fmla="*/ 12 h 17"/>
                <a:gd name="T48" fmla="*/ 3 w 76"/>
                <a:gd name="T49" fmla="*/ 15 h 17"/>
                <a:gd name="T50" fmla="*/ 3 w 76"/>
                <a:gd name="T51" fmla="*/ 15 h 17"/>
                <a:gd name="T52" fmla="*/ 5 w 76"/>
                <a:gd name="T53" fmla="*/ 15 h 17"/>
                <a:gd name="T54" fmla="*/ 5 w 76"/>
                <a:gd name="T55" fmla="*/ 17 h 17"/>
                <a:gd name="T56" fmla="*/ 8 w 76"/>
                <a:gd name="T57" fmla="*/ 17 h 17"/>
                <a:gd name="T58" fmla="*/ 69 w 76"/>
                <a:gd name="T59" fmla="*/ 17 h 17"/>
                <a:gd name="T60" fmla="*/ 72 w 76"/>
                <a:gd name="T61" fmla="*/ 15 h 17"/>
                <a:gd name="T62" fmla="*/ 72 w 76"/>
                <a:gd name="T63" fmla="*/ 15 h 17"/>
                <a:gd name="T64" fmla="*/ 74 w 76"/>
                <a:gd name="T65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17">
                  <a:moveTo>
                    <a:pt x="74" y="15"/>
                  </a:move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4" y="15"/>
                  </a:lnTo>
                  <a:lnTo>
                    <a:pt x="74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788BB58D-EE32-45A2-ACE8-2AA526170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5" y="516"/>
              <a:ext cx="250" cy="309"/>
            </a:xfrm>
            <a:custGeom>
              <a:avLst/>
              <a:gdLst>
                <a:gd name="T0" fmla="*/ 245 w 250"/>
                <a:gd name="T1" fmla="*/ 103 h 309"/>
                <a:gd name="T2" fmla="*/ 218 w 250"/>
                <a:gd name="T3" fmla="*/ 103 h 309"/>
                <a:gd name="T4" fmla="*/ 216 w 250"/>
                <a:gd name="T5" fmla="*/ 115 h 309"/>
                <a:gd name="T6" fmla="*/ 223 w 250"/>
                <a:gd name="T7" fmla="*/ 118 h 309"/>
                <a:gd name="T8" fmla="*/ 213 w 250"/>
                <a:gd name="T9" fmla="*/ 181 h 309"/>
                <a:gd name="T10" fmla="*/ 189 w 250"/>
                <a:gd name="T11" fmla="*/ 157 h 309"/>
                <a:gd name="T12" fmla="*/ 194 w 250"/>
                <a:gd name="T13" fmla="*/ 101 h 309"/>
                <a:gd name="T14" fmla="*/ 191 w 250"/>
                <a:gd name="T15" fmla="*/ 15 h 309"/>
                <a:gd name="T16" fmla="*/ 169 w 250"/>
                <a:gd name="T17" fmla="*/ 3 h 309"/>
                <a:gd name="T18" fmla="*/ 69 w 250"/>
                <a:gd name="T19" fmla="*/ 5 h 309"/>
                <a:gd name="T20" fmla="*/ 57 w 250"/>
                <a:gd name="T21" fmla="*/ 25 h 309"/>
                <a:gd name="T22" fmla="*/ 59 w 250"/>
                <a:gd name="T23" fmla="*/ 125 h 309"/>
                <a:gd name="T24" fmla="*/ 47 w 250"/>
                <a:gd name="T25" fmla="*/ 164 h 309"/>
                <a:gd name="T26" fmla="*/ 25 w 250"/>
                <a:gd name="T27" fmla="*/ 174 h 309"/>
                <a:gd name="T28" fmla="*/ 35 w 250"/>
                <a:gd name="T29" fmla="*/ 115 h 309"/>
                <a:gd name="T30" fmla="*/ 35 w 250"/>
                <a:gd name="T31" fmla="*/ 105 h 309"/>
                <a:gd name="T32" fmla="*/ 27 w 250"/>
                <a:gd name="T33" fmla="*/ 103 h 309"/>
                <a:gd name="T34" fmla="*/ 0 w 250"/>
                <a:gd name="T35" fmla="*/ 108 h 309"/>
                <a:gd name="T36" fmla="*/ 5 w 250"/>
                <a:gd name="T37" fmla="*/ 118 h 309"/>
                <a:gd name="T38" fmla="*/ 15 w 250"/>
                <a:gd name="T39" fmla="*/ 181 h 309"/>
                <a:gd name="T40" fmla="*/ 32 w 250"/>
                <a:gd name="T41" fmla="*/ 191 h 309"/>
                <a:gd name="T42" fmla="*/ 37 w 250"/>
                <a:gd name="T43" fmla="*/ 213 h 309"/>
                <a:gd name="T44" fmla="*/ 52 w 250"/>
                <a:gd name="T45" fmla="*/ 223 h 309"/>
                <a:gd name="T46" fmla="*/ 98 w 250"/>
                <a:gd name="T47" fmla="*/ 257 h 309"/>
                <a:gd name="T48" fmla="*/ 54 w 250"/>
                <a:gd name="T49" fmla="*/ 272 h 309"/>
                <a:gd name="T50" fmla="*/ 35 w 250"/>
                <a:gd name="T51" fmla="*/ 292 h 309"/>
                <a:gd name="T52" fmla="*/ 37 w 250"/>
                <a:gd name="T53" fmla="*/ 294 h 309"/>
                <a:gd name="T54" fmla="*/ 42 w 250"/>
                <a:gd name="T55" fmla="*/ 292 h 309"/>
                <a:gd name="T56" fmla="*/ 76 w 250"/>
                <a:gd name="T57" fmla="*/ 275 h 309"/>
                <a:gd name="T58" fmla="*/ 120 w 250"/>
                <a:gd name="T59" fmla="*/ 265 h 309"/>
                <a:gd name="T60" fmla="*/ 125 w 250"/>
                <a:gd name="T61" fmla="*/ 309 h 309"/>
                <a:gd name="T62" fmla="*/ 130 w 250"/>
                <a:gd name="T63" fmla="*/ 307 h 309"/>
                <a:gd name="T64" fmla="*/ 130 w 250"/>
                <a:gd name="T65" fmla="*/ 265 h 309"/>
                <a:gd name="T66" fmla="*/ 174 w 250"/>
                <a:gd name="T67" fmla="*/ 275 h 309"/>
                <a:gd name="T68" fmla="*/ 211 w 250"/>
                <a:gd name="T69" fmla="*/ 294 h 309"/>
                <a:gd name="T70" fmla="*/ 218 w 250"/>
                <a:gd name="T71" fmla="*/ 292 h 309"/>
                <a:gd name="T72" fmla="*/ 216 w 250"/>
                <a:gd name="T73" fmla="*/ 284 h 309"/>
                <a:gd name="T74" fmla="*/ 174 w 250"/>
                <a:gd name="T75" fmla="*/ 262 h 309"/>
                <a:gd name="T76" fmla="*/ 133 w 250"/>
                <a:gd name="T77" fmla="*/ 255 h 309"/>
                <a:gd name="T78" fmla="*/ 211 w 250"/>
                <a:gd name="T79" fmla="*/ 218 h 309"/>
                <a:gd name="T80" fmla="*/ 218 w 250"/>
                <a:gd name="T81" fmla="*/ 196 h 309"/>
                <a:gd name="T82" fmla="*/ 238 w 250"/>
                <a:gd name="T83" fmla="*/ 179 h 309"/>
                <a:gd name="T84" fmla="*/ 245 w 250"/>
                <a:gd name="T85" fmla="*/ 118 h 309"/>
                <a:gd name="T86" fmla="*/ 74 w 250"/>
                <a:gd name="T87" fmla="*/ 25 h 309"/>
                <a:gd name="T88" fmla="*/ 84 w 250"/>
                <a:gd name="T89" fmla="*/ 17 h 309"/>
                <a:gd name="T90" fmla="*/ 172 w 250"/>
                <a:gd name="T91" fmla="*/ 17 h 309"/>
                <a:gd name="T92" fmla="*/ 179 w 250"/>
                <a:gd name="T93" fmla="*/ 25 h 309"/>
                <a:gd name="T94" fmla="*/ 179 w 250"/>
                <a:gd name="T95" fmla="*/ 98 h 309"/>
                <a:gd name="T96" fmla="*/ 81 w 250"/>
                <a:gd name="T97" fmla="*/ 152 h 309"/>
                <a:gd name="T98" fmla="*/ 71 w 250"/>
                <a:gd name="T99" fmla="*/ 79 h 309"/>
                <a:gd name="T100" fmla="*/ 199 w 250"/>
                <a:gd name="T101" fmla="*/ 208 h 309"/>
                <a:gd name="T102" fmla="*/ 52 w 250"/>
                <a:gd name="T103" fmla="*/ 186 h 309"/>
                <a:gd name="T104" fmla="*/ 66 w 250"/>
                <a:gd name="T105" fmla="*/ 172 h 309"/>
                <a:gd name="T106" fmla="*/ 177 w 250"/>
                <a:gd name="T107" fmla="*/ 169 h 309"/>
                <a:gd name="T108" fmla="*/ 196 w 250"/>
                <a:gd name="T109" fmla="*/ 181 h 309"/>
                <a:gd name="T110" fmla="*/ 201 w 250"/>
                <a:gd name="T111" fmla="*/ 19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0" h="309">
                  <a:moveTo>
                    <a:pt x="250" y="110"/>
                  </a:moveTo>
                  <a:lnTo>
                    <a:pt x="248" y="105"/>
                  </a:lnTo>
                  <a:lnTo>
                    <a:pt x="245" y="103"/>
                  </a:lnTo>
                  <a:lnTo>
                    <a:pt x="243" y="103"/>
                  </a:lnTo>
                  <a:lnTo>
                    <a:pt x="240" y="103"/>
                  </a:lnTo>
                  <a:lnTo>
                    <a:pt x="218" y="103"/>
                  </a:lnTo>
                  <a:lnTo>
                    <a:pt x="216" y="105"/>
                  </a:lnTo>
                  <a:lnTo>
                    <a:pt x="213" y="110"/>
                  </a:lnTo>
                  <a:lnTo>
                    <a:pt x="216" y="115"/>
                  </a:lnTo>
                  <a:lnTo>
                    <a:pt x="218" y="118"/>
                  </a:lnTo>
                  <a:lnTo>
                    <a:pt x="221" y="118"/>
                  </a:lnTo>
                  <a:lnTo>
                    <a:pt x="223" y="118"/>
                  </a:lnTo>
                  <a:lnTo>
                    <a:pt x="226" y="118"/>
                  </a:lnTo>
                  <a:lnTo>
                    <a:pt x="226" y="174"/>
                  </a:lnTo>
                  <a:lnTo>
                    <a:pt x="213" y="181"/>
                  </a:lnTo>
                  <a:lnTo>
                    <a:pt x="206" y="169"/>
                  </a:lnTo>
                  <a:lnTo>
                    <a:pt x="199" y="162"/>
                  </a:lnTo>
                  <a:lnTo>
                    <a:pt x="189" y="157"/>
                  </a:lnTo>
                  <a:lnTo>
                    <a:pt x="187" y="155"/>
                  </a:lnTo>
                  <a:lnTo>
                    <a:pt x="191" y="132"/>
                  </a:lnTo>
                  <a:lnTo>
                    <a:pt x="194" y="101"/>
                  </a:lnTo>
                  <a:lnTo>
                    <a:pt x="196" y="66"/>
                  </a:lnTo>
                  <a:lnTo>
                    <a:pt x="194" y="22"/>
                  </a:lnTo>
                  <a:lnTo>
                    <a:pt x="191" y="15"/>
                  </a:lnTo>
                  <a:lnTo>
                    <a:pt x="184" y="7"/>
                  </a:lnTo>
                  <a:lnTo>
                    <a:pt x="179" y="3"/>
                  </a:lnTo>
                  <a:lnTo>
                    <a:pt x="169" y="3"/>
                  </a:lnTo>
                  <a:lnTo>
                    <a:pt x="167" y="0"/>
                  </a:lnTo>
                  <a:lnTo>
                    <a:pt x="79" y="3"/>
                  </a:lnTo>
                  <a:lnTo>
                    <a:pt x="69" y="5"/>
                  </a:lnTo>
                  <a:lnTo>
                    <a:pt x="61" y="10"/>
                  </a:lnTo>
                  <a:lnTo>
                    <a:pt x="57" y="17"/>
                  </a:lnTo>
                  <a:lnTo>
                    <a:pt x="57" y="25"/>
                  </a:lnTo>
                  <a:lnTo>
                    <a:pt x="54" y="32"/>
                  </a:lnTo>
                  <a:lnTo>
                    <a:pt x="57" y="101"/>
                  </a:lnTo>
                  <a:lnTo>
                    <a:pt x="59" y="125"/>
                  </a:lnTo>
                  <a:lnTo>
                    <a:pt x="64" y="155"/>
                  </a:lnTo>
                  <a:lnTo>
                    <a:pt x="54" y="159"/>
                  </a:lnTo>
                  <a:lnTo>
                    <a:pt x="47" y="164"/>
                  </a:lnTo>
                  <a:lnTo>
                    <a:pt x="39" y="174"/>
                  </a:lnTo>
                  <a:lnTo>
                    <a:pt x="37" y="181"/>
                  </a:lnTo>
                  <a:lnTo>
                    <a:pt x="25" y="174"/>
                  </a:lnTo>
                  <a:lnTo>
                    <a:pt x="25" y="118"/>
                  </a:lnTo>
                  <a:lnTo>
                    <a:pt x="32" y="118"/>
                  </a:lnTo>
                  <a:lnTo>
                    <a:pt x="35" y="115"/>
                  </a:lnTo>
                  <a:lnTo>
                    <a:pt x="37" y="110"/>
                  </a:lnTo>
                  <a:lnTo>
                    <a:pt x="35" y="108"/>
                  </a:lnTo>
                  <a:lnTo>
                    <a:pt x="35" y="105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7" y="103"/>
                  </a:lnTo>
                  <a:lnTo>
                    <a:pt x="5" y="103"/>
                  </a:lnTo>
                  <a:lnTo>
                    <a:pt x="3" y="105"/>
                  </a:lnTo>
                  <a:lnTo>
                    <a:pt x="0" y="108"/>
                  </a:lnTo>
                  <a:lnTo>
                    <a:pt x="0" y="110"/>
                  </a:lnTo>
                  <a:lnTo>
                    <a:pt x="3" y="115"/>
                  </a:lnTo>
                  <a:lnTo>
                    <a:pt x="5" y="118"/>
                  </a:lnTo>
                  <a:lnTo>
                    <a:pt x="10" y="118"/>
                  </a:lnTo>
                  <a:lnTo>
                    <a:pt x="12" y="118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7" y="184"/>
                  </a:lnTo>
                  <a:lnTo>
                    <a:pt x="32" y="191"/>
                  </a:lnTo>
                  <a:lnTo>
                    <a:pt x="32" y="199"/>
                  </a:lnTo>
                  <a:lnTo>
                    <a:pt x="32" y="204"/>
                  </a:lnTo>
                  <a:lnTo>
                    <a:pt x="37" y="213"/>
                  </a:lnTo>
                  <a:lnTo>
                    <a:pt x="42" y="221"/>
                  </a:lnTo>
                  <a:lnTo>
                    <a:pt x="47" y="223"/>
                  </a:lnTo>
                  <a:lnTo>
                    <a:pt x="52" y="223"/>
                  </a:lnTo>
                  <a:lnTo>
                    <a:pt x="118" y="223"/>
                  </a:lnTo>
                  <a:lnTo>
                    <a:pt x="118" y="255"/>
                  </a:lnTo>
                  <a:lnTo>
                    <a:pt x="98" y="257"/>
                  </a:lnTo>
                  <a:lnTo>
                    <a:pt x="88" y="260"/>
                  </a:lnTo>
                  <a:lnTo>
                    <a:pt x="71" y="265"/>
                  </a:lnTo>
                  <a:lnTo>
                    <a:pt x="54" y="272"/>
                  </a:lnTo>
                  <a:lnTo>
                    <a:pt x="32" y="287"/>
                  </a:lnTo>
                  <a:lnTo>
                    <a:pt x="32" y="289"/>
                  </a:lnTo>
                  <a:lnTo>
                    <a:pt x="35" y="292"/>
                  </a:lnTo>
                  <a:lnTo>
                    <a:pt x="35" y="294"/>
                  </a:lnTo>
                  <a:lnTo>
                    <a:pt x="37" y="294"/>
                  </a:lnTo>
                  <a:lnTo>
                    <a:pt x="37" y="294"/>
                  </a:lnTo>
                  <a:lnTo>
                    <a:pt x="37" y="294"/>
                  </a:lnTo>
                  <a:lnTo>
                    <a:pt x="39" y="294"/>
                  </a:lnTo>
                  <a:lnTo>
                    <a:pt x="42" y="292"/>
                  </a:lnTo>
                  <a:lnTo>
                    <a:pt x="54" y="284"/>
                  </a:lnTo>
                  <a:lnTo>
                    <a:pt x="66" y="277"/>
                  </a:lnTo>
                  <a:lnTo>
                    <a:pt x="76" y="275"/>
                  </a:lnTo>
                  <a:lnTo>
                    <a:pt x="91" y="270"/>
                  </a:lnTo>
                  <a:lnTo>
                    <a:pt x="101" y="267"/>
                  </a:lnTo>
                  <a:lnTo>
                    <a:pt x="120" y="265"/>
                  </a:lnTo>
                  <a:lnTo>
                    <a:pt x="120" y="304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09"/>
                  </a:lnTo>
                  <a:lnTo>
                    <a:pt x="128" y="309"/>
                  </a:lnTo>
                  <a:lnTo>
                    <a:pt x="130" y="307"/>
                  </a:lnTo>
                  <a:lnTo>
                    <a:pt x="130" y="304"/>
                  </a:lnTo>
                  <a:lnTo>
                    <a:pt x="130" y="304"/>
                  </a:lnTo>
                  <a:lnTo>
                    <a:pt x="130" y="265"/>
                  </a:lnTo>
                  <a:lnTo>
                    <a:pt x="150" y="267"/>
                  </a:lnTo>
                  <a:lnTo>
                    <a:pt x="164" y="270"/>
                  </a:lnTo>
                  <a:lnTo>
                    <a:pt x="174" y="275"/>
                  </a:lnTo>
                  <a:lnTo>
                    <a:pt x="182" y="277"/>
                  </a:lnTo>
                  <a:lnTo>
                    <a:pt x="204" y="289"/>
                  </a:lnTo>
                  <a:lnTo>
                    <a:pt x="211" y="294"/>
                  </a:lnTo>
                  <a:lnTo>
                    <a:pt x="213" y="294"/>
                  </a:lnTo>
                  <a:lnTo>
                    <a:pt x="216" y="294"/>
                  </a:lnTo>
                  <a:lnTo>
                    <a:pt x="218" y="292"/>
                  </a:lnTo>
                  <a:lnTo>
                    <a:pt x="218" y="289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196" y="272"/>
                  </a:lnTo>
                  <a:lnTo>
                    <a:pt x="184" y="267"/>
                  </a:lnTo>
                  <a:lnTo>
                    <a:pt x="174" y="262"/>
                  </a:lnTo>
                  <a:lnTo>
                    <a:pt x="157" y="257"/>
                  </a:lnTo>
                  <a:lnTo>
                    <a:pt x="142" y="255"/>
                  </a:lnTo>
                  <a:lnTo>
                    <a:pt x="133" y="255"/>
                  </a:lnTo>
                  <a:lnTo>
                    <a:pt x="133" y="223"/>
                  </a:lnTo>
                  <a:lnTo>
                    <a:pt x="204" y="223"/>
                  </a:lnTo>
                  <a:lnTo>
                    <a:pt x="211" y="218"/>
                  </a:lnTo>
                  <a:lnTo>
                    <a:pt x="216" y="208"/>
                  </a:lnTo>
                  <a:lnTo>
                    <a:pt x="218" y="201"/>
                  </a:lnTo>
                  <a:lnTo>
                    <a:pt x="218" y="196"/>
                  </a:lnTo>
                  <a:lnTo>
                    <a:pt x="218" y="191"/>
                  </a:lnTo>
                  <a:lnTo>
                    <a:pt x="236" y="181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38" y="118"/>
                  </a:lnTo>
                  <a:lnTo>
                    <a:pt x="245" y="118"/>
                  </a:lnTo>
                  <a:lnTo>
                    <a:pt x="248" y="113"/>
                  </a:lnTo>
                  <a:lnTo>
                    <a:pt x="250" y="110"/>
                  </a:lnTo>
                  <a:close/>
                  <a:moveTo>
                    <a:pt x="74" y="25"/>
                  </a:moveTo>
                  <a:lnTo>
                    <a:pt x="76" y="20"/>
                  </a:lnTo>
                  <a:lnTo>
                    <a:pt x="79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167" y="17"/>
                  </a:lnTo>
                  <a:lnTo>
                    <a:pt x="172" y="17"/>
                  </a:lnTo>
                  <a:lnTo>
                    <a:pt x="174" y="20"/>
                  </a:lnTo>
                  <a:lnTo>
                    <a:pt x="177" y="22"/>
                  </a:lnTo>
                  <a:lnTo>
                    <a:pt x="179" y="25"/>
                  </a:lnTo>
                  <a:lnTo>
                    <a:pt x="179" y="29"/>
                  </a:lnTo>
                  <a:lnTo>
                    <a:pt x="179" y="32"/>
                  </a:lnTo>
                  <a:lnTo>
                    <a:pt x="179" y="98"/>
                  </a:lnTo>
                  <a:lnTo>
                    <a:pt x="174" y="130"/>
                  </a:lnTo>
                  <a:lnTo>
                    <a:pt x="169" y="152"/>
                  </a:lnTo>
                  <a:lnTo>
                    <a:pt x="81" y="152"/>
                  </a:lnTo>
                  <a:lnTo>
                    <a:pt x="76" y="130"/>
                  </a:lnTo>
                  <a:lnTo>
                    <a:pt x="74" y="103"/>
                  </a:lnTo>
                  <a:lnTo>
                    <a:pt x="71" y="79"/>
                  </a:lnTo>
                  <a:lnTo>
                    <a:pt x="71" y="29"/>
                  </a:lnTo>
                  <a:lnTo>
                    <a:pt x="74" y="25"/>
                  </a:lnTo>
                  <a:close/>
                  <a:moveTo>
                    <a:pt x="199" y="208"/>
                  </a:moveTo>
                  <a:lnTo>
                    <a:pt x="52" y="208"/>
                  </a:lnTo>
                  <a:lnTo>
                    <a:pt x="49" y="196"/>
                  </a:lnTo>
                  <a:lnTo>
                    <a:pt x="52" y="186"/>
                  </a:lnTo>
                  <a:lnTo>
                    <a:pt x="54" y="179"/>
                  </a:lnTo>
                  <a:lnTo>
                    <a:pt x="61" y="174"/>
                  </a:lnTo>
                  <a:lnTo>
                    <a:pt x="66" y="172"/>
                  </a:lnTo>
                  <a:lnTo>
                    <a:pt x="74" y="169"/>
                  </a:lnTo>
                  <a:lnTo>
                    <a:pt x="81" y="169"/>
                  </a:lnTo>
                  <a:lnTo>
                    <a:pt x="177" y="169"/>
                  </a:lnTo>
                  <a:lnTo>
                    <a:pt x="184" y="172"/>
                  </a:lnTo>
                  <a:lnTo>
                    <a:pt x="191" y="177"/>
                  </a:lnTo>
                  <a:lnTo>
                    <a:pt x="196" y="181"/>
                  </a:lnTo>
                  <a:lnTo>
                    <a:pt x="199" y="186"/>
                  </a:lnTo>
                  <a:lnTo>
                    <a:pt x="201" y="196"/>
                  </a:lnTo>
                  <a:lnTo>
                    <a:pt x="201" y="196"/>
                  </a:lnTo>
                  <a:lnTo>
                    <a:pt x="199" y="20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439D5045-E1D4-4886-ACB6-F64A5EDD3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" y="820"/>
              <a:ext cx="22" cy="22"/>
            </a:xfrm>
            <a:custGeom>
              <a:avLst/>
              <a:gdLst>
                <a:gd name="T0" fmla="*/ 22 w 22"/>
                <a:gd name="T1" fmla="*/ 5 h 22"/>
                <a:gd name="T2" fmla="*/ 20 w 22"/>
                <a:gd name="T3" fmla="*/ 5 h 22"/>
                <a:gd name="T4" fmla="*/ 20 w 22"/>
                <a:gd name="T5" fmla="*/ 3 h 22"/>
                <a:gd name="T6" fmla="*/ 17 w 22"/>
                <a:gd name="T7" fmla="*/ 3 h 22"/>
                <a:gd name="T8" fmla="*/ 15 w 22"/>
                <a:gd name="T9" fmla="*/ 0 h 22"/>
                <a:gd name="T10" fmla="*/ 12 w 22"/>
                <a:gd name="T11" fmla="*/ 0 h 22"/>
                <a:gd name="T12" fmla="*/ 12 w 22"/>
                <a:gd name="T13" fmla="*/ 0 h 22"/>
                <a:gd name="T14" fmla="*/ 10 w 22"/>
                <a:gd name="T15" fmla="*/ 0 h 22"/>
                <a:gd name="T16" fmla="*/ 8 w 22"/>
                <a:gd name="T17" fmla="*/ 0 h 22"/>
                <a:gd name="T18" fmla="*/ 5 w 22"/>
                <a:gd name="T19" fmla="*/ 3 h 22"/>
                <a:gd name="T20" fmla="*/ 3 w 22"/>
                <a:gd name="T21" fmla="*/ 3 h 22"/>
                <a:gd name="T22" fmla="*/ 3 w 22"/>
                <a:gd name="T23" fmla="*/ 5 h 22"/>
                <a:gd name="T24" fmla="*/ 0 w 22"/>
                <a:gd name="T25" fmla="*/ 5 h 22"/>
                <a:gd name="T26" fmla="*/ 0 w 22"/>
                <a:gd name="T27" fmla="*/ 7 h 22"/>
                <a:gd name="T28" fmla="*/ 0 w 22"/>
                <a:gd name="T29" fmla="*/ 10 h 22"/>
                <a:gd name="T30" fmla="*/ 0 w 22"/>
                <a:gd name="T31" fmla="*/ 12 h 22"/>
                <a:gd name="T32" fmla="*/ 0 w 22"/>
                <a:gd name="T33" fmla="*/ 15 h 22"/>
                <a:gd name="T34" fmla="*/ 3 w 22"/>
                <a:gd name="T35" fmla="*/ 17 h 22"/>
                <a:gd name="T36" fmla="*/ 3 w 22"/>
                <a:gd name="T37" fmla="*/ 17 h 22"/>
                <a:gd name="T38" fmla="*/ 5 w 22"/>
                <a:gd name="T39" fmla="*/ 20 h 22"/>
                <a:gd name="T40" fmla="*/ 8 w 22"/>
                <a:gd name="T41" fmla="*/ 20 h 22"/>
                <a:gd name="T42" fmla="*/ 10 w 22"/>
                <a:gd name="T43" fmla="*/ 22 h 22"/>
                <a:gd name="T44" fmla="*/ 12 w 22"/>
                <a:gd name="T45" fmla="*/ 22 h 22"/>
                <a:gd name="T46" fmla="*/ 12 w 22"/>
                <a:gd name="T47" fmla="*/ 22 h 22"/>
                <a:gd name="T48" fmla="*/ 15 w 22"/>
                <a:gd name="T49" fmla="*/ 20 h 22"/>
                <a:gd name="T50" fmla="*/ 17 w 22"/>
                <a:gd name="T51" fmla="*/ 20 h 22"/>
                <a:gd name="T52" fmla="*/ 20 w 22"/>
                <a:gd name="T53" fmla="*/ 17 h 22"/>
                <a:gd name="T54" fmla="*/ 20 w 22"/>
                <a:gd name="T55" fmla="*/ 17 h 22"/>
                <a:gd name="T56" fmla="*/ 22 w 22"/>
                <a:gd name="T57" fmla="*/ 15 h 22"/>
                <a:gd name="T58" fmla="*/ 22 w 22"/>
                <a:gd name="T59" fmla="*/ 12 h 22"/>
                <a:gd name="T60" fmla="*/ 22 w 22"/>
                <a:gd name="T61" fmla="*/ 10 h 22"/>
                <a:gd name="T62" fmla="*/ 22 w 22"/>
                <a:gd name="T63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" h="22">
                  <a:moveTo>
                    <a:pt x="22" y="7"/>
                  </a:moveTo>
                  <a:lnTo>
                    <a:pt x="22" y="5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4C1E3092-A685-4466-9AF1-4E5756DC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" y="835"/>
              <a:ext cx="22" cy="22"/>
            </a:xfrm>
            <a:custGeom>
              <a:avLst/>
              <a:gdLst>
                <a:gd name="T0" fmla="*/ 22 w 22"/>
                <a:gd name="T1" fmla="*/ 7 h 22"/>
                <a:gd name="T2" fmla="*/ 22 w 22"/>
                <a:gd name="T3" fmla="*/ 5 h 22"/>
                <a:gd name="T4" fmla="*/ 20 w 22"/>
                <a:gd name="T5" fmla="*/ 2 h 22"/>
                <a:gd name="T6" fmla="*/ 20 w 22"/>
                <a:gd name="T7" fmla="*/ 2 h 22"/>
                <a:gd name="T8" fmla="*/ 17 w 22"/>
                <a:gd name="T9" fmla="*/ 0 h 22"/>
                <a:gd name="T10" fmla="*/ 15 w 22"/>
                <a:gd name="T11" fmla="*/ 0 h 22"/>
                <a:gd name="T12" fmla="*/ 12 w 22"/>
                <a:gd name="T13" fmla="*/ 0 h 22"/>
                <a:gd name="T14" fmla="*/ 10 w 22"/>
                <a:gd name="T15" fmla="*/ 0 h 22"/>
                <a:gd name="T16" fmla="*/ 7 w 22"/>
                <a:gd name="T17" fmla="*/ 0 h 22"/>
                <a:gd name="T18" fmla="*/ 5 w 22"/>
                <a:gd name="T19" fmla="*/ 2 h 22"/>
                <a:gd name="T20" fmla="*/ 5 w 22"/>
                <a:gd name="T21" fmla="*/ 2 h 22"/>
                <a:gd name="T22" fmla="*/ 2 w 22"/>
                <a:gd name="T23" fmla="*/ 5 h 22"/>
                <a:gd name="T24" fmla="*/ 2 w 22"/>
                <a:gd name="T25" fmla="*/ 7 h 22"/>
                <a:gd name="T26" fmla="*/ 2 w 22"/>
                <a:gd name="T27" fmla="*/ 7 h 22"/>
                <a:gd name="T28" fmla="*/ 0 w 22"/>
                <a:gd name="T29" fmla="*/ 10 h 22"/>
                <a:gd name="T30" fmla="*/ 2 w 22"/>
                <a:gd name="T31" fmla="*/ 12 h 22"/>
                <a:gd name="T32" fmla="*/ 2 w 22"/>
                <a:gd name="T33" fmla="*/ 14 h 22"/>
                <a:gd name="T34" fmla="*/ 2 w 22"/>
                <a:gd name="T35" fmla="*/ 17 h 22"/>
                <a:gd name="T36" fmla="*/ 5 w 22"/>
                <a:gd name="T37" fmla="*/ 17 h 22"/>
                <a:gd name="T38" fmla="*/ 5 w 22"/>
                <a:gd name="T39" fmla="*/ 19 h 22"/>
                <a:gd name="T40" fmla="*/ 7 w 22"/>
                <a:gd name="T41" fmla="*/ 19 h 22"/>
                <a:gd name="T42" fmla="*/ 10 w 22"/>
                <a:gd name="T43" fmla="*/ 22 h 22"/>
                <a:gd name="T44" fmla="*/ 12 w 22"/>
                <a:gd name="T45" fmla="*/ 22 h 22"/>
                <a:gd name="T46" fmla="*/ 15 w 22"/>
                <a:gd name="T47" fmla="*/ 22 h 22"/>
                <a:gd name="T48" fmla="*/ 17 w 22"/>
                <a:gd name="T49" fmla="*/ 19 h 22"/>
                <a:gd name="T50" fmla="*/ 20 w 22"/>
                <a:gd name="T51" fmla="*/ 19 h 22"/>
                <a:gd name="T52" fmla="*/ 20 w 22"/>
                <a:gd name="T53" fmla="*/ 17 h 22"/>
                <a:gd name="T54" fmla="*/ 22 w 22"/>
                <a:gd name="T55" fmla="*/ 17 h 22"/>
                <a:gd name="T56" fmla="*/ 22 w 22"/>
                <a:gd name="T57" fmla="*/ 14 h 22"/>
                <a:gd name="T58" fmla="*/ 22 w 22"/>
                <a:gd name="T59" fmla="*/ 12 h 22"/>
                <a:gd name="T60" fmla="*/ 22 w 22"/>
                <a:gd name="T61" fmla="*/ 10 h 22"/>
                <a:gd name="T62" fmla="*/ 22 w 22"/>
                <a:gd name="T63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" h="22">
                  <a:moveTo>
                    <a:pt x="22" y="7"/>
                  </a:moveTo>
                  <a:lnTo>
                    <a:pt x="22" y="7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2" y="17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2B543AAA-747E-4F7B-BD1A-37EAA5FC8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" y="820"/>
              <a:ext cx="22" cy="22"/>
            </a:xfrm>
            <a:custGeom>
              <a:avLst/>
              <a:gdLst>
                <a:gd name="T0" fmla="*/ 22 w 22"/>
                <a:gd name="T1" fmla="*/ 5 h 22"/>
                <a:gd name="T2" fmla="*/ 20 w 22"/>
                <a:gd name="T3" fmla="*/ 5 h 22"/>
                <a:gd name="T4" fmla="*/ 20 w 22"/>
                <a:gd name="T5" fmla="*/ 3 h 22"/>
                <a:gd name="T6" fmla="*/ 17 w 22"/>
                <a:gd name="T7" fmla="*/ 3 h 22"/>
                <a:gd name="T8" fmla="*/ 15 w 22"/>
                <a:gd name="T9" fmla="*/ 0 h 22"/>
                <a:gd name="T10" fmla="*/ 12 w 22"/>
                <a:gd name="T11" fmla="*/ 0 h 22"/>
                <a:gd name="T12" fmla="*/ 10 w 22"/>
                <a:gd name="T13" fmla="*/ 0 h 22"/>
                <a:gd name="T14" fmla="*/ 10 w 22"/>
                <a:gd name="T15" fmla="*/ 0 h 22"/>
                <a:gd name="T16" fmla="*/ 8 w 22"/>
                <a:gd name="T17" fmla="*/ 0 h 22"/>
                <a:gd name="T18" fmla="*/ 5 w 22"/>
                <a:gd name="T19" fmla="*/ 3 h 22"/>
                <a:gd name="T20" fmla="*/ 3 w 22"/>
                <a:gd name="T21" fmla="*/ 3 h 22"/>
                <a:gd name="T22" fmla="*/ 3 w 22"/>
                <a:gd name="T23" fmla="*/ 5 h 22"/>
                <a:gd name="T24" fmla="*/ 0 w 22"/>
                <a:gd name="T25" fmla="*/ 5 h 22"/>
                <a:gd name="T26" fmla="*/ 0 w 22"/>
                <a:gd name="T27" fmla="*/ 7 h 22"/>
                <a:gd name="T28" fmla="*/ 0 w 22"/>
                <a:gd name="T29" fmla="*/ 10 h 22"/>
                <a:gd name="T30" fmla="*/ 0 w 22"/>
                <a:gd name="T31" fmla="*/ 12 h 22"/>
                <a:gd name="T32" fmla="*/ 0 w 22"/>
                <a:gd name="T33" fmla="*/ 15 h 22"/>
                <a:gd name="T34" fmla="*/ 3 w 22"/>
                <a:gd name="T35" fmla="*/ 17 h 22"/>
                <a:gd name="T36" fmla="*/ 3 w 22"/>
                <a:gd name="T37" fmla="*/ 17 h 22"/>
                <a:gd name="T38" fmla="*/ 5 w 22"/>
                <a:gd name="T39" fmla="*/ 20 h 22"/>
                <a:gd name="T40" fmla="*/ 8 w 22"/>
                <a:gd name="T41" fmla="*/ 20 h 22"/>
                <a:gd name="T42" fmla="*/ 10 w 22"/>
                <a:gd name="T43" fmla="*/ 22 h 22"/>
                <a:gd name="T44" fmla="*/ 10 w 22"/>
                <a:gd name="T45" fmla="*/ 22 h 22"/>
                <a:gd name="T46" fmla="*/ 12 w 22"/>
                <a:gd name="T47" fmla="*/ 22 h 22"/>
                <a:gd name="T48" fmla="*/ 15 w 22"/>
                <a:gd name="T49" fmla="*/ 20 h 22"/>
                <a:gd name="T50" fmla="*/ 17 w 22"/>
                <a:gd name="T51" fmla="*/ 20 h 22"/>
                <a:gd name="T52" fmla="*/ 20 w 22"/>
                <a:gd name="T53" fmla="*/ 17 h 22"/>
                <a:gd name="T54" fmla="*/ 20 w 22"/>
                <a:gd name="T55" fmla="*/ 17 h 22"/>
                <a:gd name="T56" fmla="*/ 22 w 22"/>
                <a:gd name="T57" fmla="*/ 15 h 22"/>
                <a:gd name="T58" fmla="*/ 22 w 22"/>
                <a:gd name="T59" fmla="*/ 12 h 22"/>
                <a:gd name="T60" fmla="*/ 22 w 22"/>
                <a:gd name="T61" fmla="*/ 10 h 22"/>
                <a:gd name="T62" fmla="*/ 22 w 22"/>
                <a:gd name="T63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" h="22">
                  <a:moveTo>
                    <a:pt x="22" y="7"/>
                  </a:moveTo>
                  <a:lnTo>
                    <a:pt x="22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47">
            <a:extLst>
              <a:ext uri="{FF2B5EF4-FFF2-40B4-BE49-F238E27FC236}">
                <a16:creationId xmlns:a16="http://schemas.microsoft.com/office/drawing/2014/main" id="{024E9AFF-807E-473F-8B4E-1787BB74CA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190" y="301627"/>
            <a:ext cx="841375" cy="841375"/>
            <a:chOff x="4341" y="231"/>
            <a:chExt cx="530" cy="530"/>
          </a:xfrm>
        </p:grpSpPr>
        <p:sp>
          <p:nvSpPr>
            <p:cNvPr id="56" name="AutoShape 46">
              <a:extLst>
                <a:ext uri="{FF2B5EF4-FFF2-40B4-BE49-F238E27FC236}">
                  <a16:creationId xmlns:a16="http://schemas.microsoft.com/office/drawing/2014/main" id="{D647E94B-2F77-4089-9A73-980567A378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1" y="23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48">
              <a:extLst>
                <a:ext uri="{FF2B5EF4-FFF2-40B4-BE49-F238E27FC236}">
                  <a16:creationId xmlns:a16="http://schemas.microsoft.com/office/drawing/2014/main" id="{90D78F2C-2A99-416E-8B58-21CCCA65E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1" y="23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4D66A39D-0F9D-49E9-A11B-9A48839C8A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9" y="24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8ED57DF-4605-473C-ADD8-91204F8C3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1" y="428"/>
              <a:ext cx="72" cy="18"/>
            </a:xfrm>
            <a:custGeom>
              <a:avLst/>
              <a:gdLst>
                <a:gd name="T0" fmla="*/ 72 w 72"/>
                <a:gd name="T1" fmla="*/ 5 h 18"/>
                <a:gd name="T2" fmla="*/ 72 w 72"/>
                <a:gd name="T3" fmla="*/ 5 h 18"/>
                <a:gd name="T4" fmla="*/ 72 w 72"/>
                <a:gd name="T5" fmla="*/ 3 h 18"/>
                <a:gd name="T6" fmla="*/ 69 w 72"/>
                <a:gd name="T7" fmla="*/ 3 h 18"/>
                <a:gd name="T8" fmla="*/ 69 w 72"/>
                <a:gd name="T9" fmla="*/ 3 h 18"/>
                <a:gd name="T10" fmla="*/ 67 w 72"/>
                <a:gd name="T11" fmla="*/ 0 h 18"/>
                <a:gd name="T12" fmla="*/ 64 w 72"/>
                <a:gd name="T13" fmla="*/ 0 h 18"/>
                <a:gd name="T14" fmla="*/ 5 w 72"/>
                <a:gd name="T15" fmla="*/ 0 h 18"/>
                <a:gd name="T16" fmla="*/ 5 w 72"/>
                <a:gd name="T17" fmla="*/ 0 h 18"/>
                <a:gd name="T18" fmla="*/ 3 w 72"/>
                <a:gd name="T19" fmla="*/ 3 h 18"/>
                <a:gd name="T20" fmla="*/ 3 w 72"/>
                <a:gd name="T21" fmla="*/ 3 h 18"/>
                <a:gd name="T22" fmla="*/ 0 w 72"/>
                <a:gd name="T23" fmla="*/ 5 h 18"/>
                <a:gd name="T24" fmla="*/ 0 w 72"/>
                <a:gd name="T25" fmla="*/ 5 h 18"/>
                <a:gd name="T26" fmla="*/ 0 w 72"/>
                <a:gd name="T27" fmla="*/ 8 h 18"/>
                <a:gd name="T28" fmla="*/ 0 w 72"/>
                <a:gd name="T29" fmla="*/ 8 h 18"/>
                <a:gd name="T30" fmla="*/ 0 w 72"/>
                <a:gd name="T31" fmla="*/ 10 h 18"/>
                <a:gd name="T32" fmla="*/ 0 w 72"/>
                <a:gd name="T33" fmla="*/ 13 h 18"/>
                <a:gd name="T34" fmla="*/ 0 w 72"/>
                <a:gd name="T35" fmla="*/ 13 h 18"/>
                <a:gd name="T36" fmla="*/ 0 w 72"/>
                <a:gd name="T37" fmla="*/ 15 h 18"/>
                <a:gd name="T38" fmla="*/ 3 w 72"/>
                <a:gd name="T39" fmla="*/ 15 h 18"/>
                <a:gd name="T40" fmla="*/ 3 w 72"/>
                <a:gd name="T41" fmla="*/ 18 h 18"/>
                <a:gd name="T42" fmla="*/ 5 w 72"/>
                <a:gd name="T43" fmla="*/ 18 h 18"/>
                <a:gd name="T44" fmla="*/ 5 w 72"/>
                <a:gd name="T45" fmla="*/ 18 h 18"/>
                <a:gd name="T46" fmla="*/ 64 w 72"/>
                <a:gd name="T47" fmla="*/ 18 h 18"/>
                <a:gd name="T48" fmla="*/ 67 w 72"/>
                <a:gd name="T49" fmla="*/ 18 h 18"/>
                <a:gd name="T50" fmla="*/ 69 w 72"/>
                <a:gd name="T51" fmla="*/ 18 h 18"/>
                <a:gd name="T52" fmla="*/ 69 w 72"/>
                <a:gd name="T53" fmla="*/ 15 h 18"/>
                <a:gd name="T54" fmla="*/ 72 w 72"/>
                <a:gd name="T55" fmla="*/ 15 h 18"/>
                <a:gd name="T56" fmla="*/ 72 w 72"/>
                <a:gd name="T57" fmla="*/ 13 h 18"/>
                <a:gd name="T58" fmla="*/ 72 w 72"/>
                <a:gd name="T59" fmla="*/ 13 h 18"/>
                <a:gd name="T60" fmla="*/ 72 w 72"/>
                <a:gd name="T61" fmla="*/ 10 h 18"/>
                <a:gd name="T62" fmla="*/ 72 w 72"/>
                <a:gd name="T63" fmla="*/ 10 h 18"/>
                <a:gd name="T64" fmla="*/ 72 w 72"/>
                <a:gd name="T65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8">
                  <a:moveTo>
                    <a:pt x="72" y="8"/>
                  </a:move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64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FFD4B206-13A4-4AB7-8F2A-94BA3CA91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82"/>
              <a:ext cx="79" cy="18"/>
            </a:xfrm>
            <a:custGeom>
              <a:avLst/>
              <a:gdLst>
                <a:gd name="T0" fmla="*/ 77 w 79"/>
                <a:gd name="T1" fmla="*/ 13 h 18"/>
                <a:gd name="T2" fmla="*/ 77 w 79"/>
                <a:gd name="T3" fmla="*/ 13 h 18"/>
                <a:gd name="T4" fmla="*/ 79 w 79"/>
                <a:gd name="T5" fmla="*/ 10 h 18"/>
                <a:gd name="T6" fmla="*/ 79 w 79"/>
                <a:gd name="T7" fmla="*/ 10 h 18"/>
                <a:gd name="T8" fmla="*/ 79 w 79"/>
                <a:gd name="T9" fmla="*/ 8 h 18"/>
                <a:gd name="T10" fmla="*/ 79 w 79"/>
                <a:gd name="T11" fmla="*/ 5 h 18"/>
                <a:gd name="T12" fmla="*/ 77 w 79"/>
                <a:gd name="T13" fmla="*/ 5 h 18"/>
                <a:gd name="T14" fmla="*/ 77 w 79"/>
                <a:gd name="T15" fmla="*/ 3 h 18"/>
                <a:gd name="T16" fmla="*/ 77 w 79"/>
                <a:gd name="T17" fmla="*/ 3 h 18"/>
                <a:gd name="T18" fmla="*/ 74 w 79"/>
                <a:gd name="T19" fmla="*/ 0 h 18"/>
                <a:gd name="T20" fmla="*/ 74 w 79"/>
                <a:gd name="T21" fmla="*/ 0 h 18"/>
                <a:gd name="T22" fmla="*/ 71 w 79"/>
                <a:gd name="T23" fmla="*/ 0 h 18"/>
                <a:gd name="T24" fmla="*/ 7 w 79"/>
                <a:gd name="T25" fmla="*/ 0 h 18"/>
                <a:gd name="T26" fmla="*/ 5 w 79"/>
                <a:gd name="T27" fmla="*/ 0 h 18"/>
                <a:gd name="T28" fmla="*/ 5 w 79"/>
                <a:gd name="T29" fmla="*/ 0 h 18"/>
                <a:gd name="T30" fmla="*/ 2 w 79"/>
                <a:gd name="T31" fmla="*/ 3 h 18"/>
                <a:gd name="T32" fmla="*/ 2 w 79"/>
                <a:gd name="T33" fmla="*/ 3 h 18"/>
                <a:gd name="T34" fmla="*/ 0 w 79"/>
                <a:gd name="T35" fmla="*/ 5 h 18"/>
                <a:gd name="T36" fmla="*/ 0 w 79"/>
                <a:gd name="T37" fmla="*/ 5 h 18"/>
                <a:gd name="T38" fmla="*/ 0 w 79"/>
                <a:gd name="T39" fmla="*/ 8 h 18"/>
                <a:gd name="T40" fmla="*/ 0 w 79"/>
                <a:gd name="T41" fmla="*/ 8 h 18"/>
                <a:gd name="T42" fmla="*/ 0 w 79"/>
                <a:gd name="T43" fmla="*/ 10 h 18"/>
                <a:gd name="T44" fmla="*/ 0 w 79"/>
                <a:gd name="T45" fmla="*/ 13 h 18"/>
                <a:gd name="T46" fmla="*/ 0 w 79"/>
                <a:gd name="T47" fmla="*/ 13 h 18"/>
                <a:gd name="T48" fmla="*/ 2 w 79"/>
                <a:gd name="T49" fmla="*/ 15 h 18"/>
                <a:gd name="T50" fmla="*/ 2 w 79"/>
                <a:gd name="T51" fmla="*/ 15 h 18"/>
                <a:gd name="T52" fmla="*/ 5 w 79"/>
                <a:gd name="T53" fmla="*/ 15 h 18"/>
                <a:gd name="T54" fmla="*/ 5 w 79"/>
                <a:gd name="T55" fmla="*/ 18 h 18"/>
                <a:gd name="T56" fmla="*/ 7 w 79"/>
                <a:gd name="T57" fmla="*/ 18 h 18"/>
                <a:gd name="T58" fmla="*/ 71 w 79"/>
                <a:gd name="T59" fmla="*/ 18 h 18"/>
                <a:gd name="T60" fmla="*/ 74 w 79"/>
                <a:gd name="T61" fmla="*/ 15 h 18"/>
                <a:gd name="T62" fmla="*/ 74 w 79"/>
                <a:gd name="T63" fmla="*/ 15 h 18"/>
                <a:gd name="T64" fmla="*/ 77 w 79"/>
                <a:gd name="T6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9" h="18">
                  <a:moveTo>
                    <a:pt x="77" y="15"/>
                  </a:move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9" y="13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7" y="15"/>
                  </a:lnTo>
                  <a:lnTo>
                    <a:pt x="77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2CF4A3AD-C4BF-4D40-8522-82869CA1F4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7" y="320"/>
              <a:ext cx="261" cy="323"/>
            </a:xfrm>
            <a:custGeom>
              <a:avLst/>
              <a:gdLst>
                <a:gd name="T0" fmla="*/ 256 w 261"/>
                <a:gd name="T1" fmla="*/ 108 h 323"/>
                <a:gd name="T2" fmla="*/ 227 w 261"/>
                <a:gd name="T3" fmla="*/ 108 h 323"/>
                <a:gd name="T4" fmla="*/ 225 w 261"/>
                <a:gd name="T5" fmla="*/ 121 h 323"/>
                <a:gd name="T6" fmla="*/ 233 w 261"/>
                <a:gd name="T7" fmla="*/ 123 h 323"/>
                <a:gd name="T8" fmla="*/ 222 w 261"/>
                <a:gd name="T9" fmla="*/ 190 h 323"/>
                <a:gd name="T10" fmla="*/ 197 w 261"/>
                <a:gd name="T11" fmla="*/ 164 h 323"/>
                <a:gd name="T12" fmla="*/ 202 w 261"/>
                <a:gd name="T13" fmla="*/ 105 h 323"/>
                <a:gd name="T14" fmla="*/ 199 w 261"/>
                <a:gd name="T15" fmla="*/ 16 h 323"/>
                <a:gd name="T16" fmla="*/ 176 w 261"/>
                <a:gd name="T17" fmla="*/ 3 h 323"/>
                <a:gd name="T18" fmla="*/ 71 w 261"/>
                <a:gd name="T19" fmla="*/ 6 h 323"/>
                <a:gd name="T20" fmla="*/ 58 w 261"/>
                <a:gd name="T21" fmla="*/ 26 h 323"/>
                <a:gd name="T22" fmla="*/ 61 w 261"/>
                <a:gd name="T23" fmla="*/ 131 h 323"/>
                <a:gd name="T24" fmla="*/ 48 w 261"/>
                <a:gd name="T25" fmla="*/ 172 h 323"/>
                <a:gd name="T26" fmla="*/ 25 w 261"/>
                <a:gd name="T27" fmla="*/ 182 h 323"/>
                <a:gd name="T28" fmla="*/ 35 w 261"/>
                <a:gd name="T29" fmla="*/ 121 h 323"/>
                <a:gd name="T30" fmla="*/ 35 w 261"/>
                <a:gd name="T31" fmla="*/ 111 h 323"/>
                <a:gd name="T32" fmla="*/ 28 w 261"/>
                <a:gd name="T33" fmla="*/ 108 h 323"/>
                <a:gd name="T34" fmla="*/ 0 w 261"/>
                <a:gd name="T35" fmla="*/ 113 h 323"/>
                <a:gd name="T36" fmla="*/ 5 w 261"/>
                <a:gd name="T37" fmla="*/ 123 h 323"/>
                <a:gd name="T38" fmla="*/ 15 w 261"/>
                <a:gd name="T39" fmla="*/ 190 h 323"/>
                <a:gd name="T40" fmla="*/ 33 w 261"/>
                <a:gd name="T41" fmla="*/ 200 h 323"/>
                <a:gd name="T42" fmla="*/ 38 w 261"/>
                <a:gd name="T43" fmla="*/ 223 h 323"/>
                <a:gd name="T44" fmla="*/ 53 w 261"/>
                <a:gd name="T45" fmla="*/ 234 h 323"/>
                <a:gd name="T46" fmla="*/ 102 w 261"/>
                <a:gd name="T47" fmla="*/ 269 h 323"/>
                <a:gd name="T48" fmla="*/ 56 w 261"/>
                <a:gd name="T49" fmla="*/ 285 h 323"/>
                <a:gd name="T50" fmla="*/ 35 w 261"/>
                <a:gd name="T51" fmla="*/ 305 h 323"/>
                <a:gd name="T52" fmla="*/ 38 w 261"/>
                <a:gd name="T53" fmla="*/ 308 h 323"/>
                <a:gd name="T54" fmla="*/ 43 w 261"/>
                <a:gd name="T55" fmla="*/ 305 h 323"/>
                <a:gd name="T56" fmla="*/ 79 w 261"/>
                <a:gd name="T57" fmla="*/ 287 h 323"/>
                <a:gd name="T58" fmla="*/ 125 w 261"/>
                <a:gd name="T59" fmla="*/ 277 h 323"/>
                <a:gd name="T60" fmla="*/ 130 w 261"/>
                <a:gd name="T61" fmla="*/ 323 h 323"/>
                <a:gd name="T62" fmla="*/ 135 w 261"/>
                <a:gd name="T63" fmla="*/ 321 h 323"/>
                <a:gd name="T64" fmla="*/ 135 w 261"/>
                <a:gd name="T65" fmla="*/ 277 h 323"/>
                <a:gd name="T66" fmla="*/ 181 w 261"/>
                <a:gd name="T67" fmla="*/ 287 h 323"/>
                <a:gd name="T68" fmla="*/ 220 w 261"/>
                <a:gd name="T69" fmla="*/ 308 h 323"/>
                <a:gd name="T70" fmla="*/ 227 w 261"/>
                <a:gd name="T71" fmla="*/ 305 h 323"/>
                <a:gd name="T72" fmla="*/ 225 w 261"/>
                <a:gd name="T73" fmla="*/ 298 h 323"/>
                <a:gd name="T74" fmla="*/ 181 w 261"/>
                <a:gd name="T75" fmla="*/ 274 h 323"/>
                <a:gd name="T76" fmla="*/ 138 w 261"/>
                <a:gd name="T77" fmla="*/ 267 h 323"/>
                <a:gd name="T78" fmla="*/ 220 w 261"/>
                <a:gd name="T79" fmla="*/ 228 h 323"/>
                <a:gd name="T80" fmla="*/ 227 w 261"/>
                <a:gd name="T81" fmla="*/ 205 h 323"/>
                <a:gd name="T82" fmla="*/ 248 w 261"/>
                <a:gd name="T83" fmla="*/ 187 h 323"/>
                <a:gd name="T84" fmla="*/ 256 w 261"/>
                <a:gd name="T85" fmla="*/ 123 h 323"/>
                <a:gd name="T86" fmla="*/ 76 w 261"/>
                <a:gd name="T87" fmla="*/ 26 h 323"/>
                <a:gd name="T88" fmla="*/ 87 w 261"/>
                <a:gd name="T89" fmla="*/ 18 h 323"/>
                <a:gd name="T90" fmla="*/ 179 w 261"/>
                <a:gd name="T91" fmla="*/ 18 h 323"/>
                <a:gd name="T92" fmla="*/ 187 w 261"/>
                <a:gd name="T93" fmla="*/ 26 h 323"/>
                <a:gd name="T94" fmla="*/ 187 w 261"/>
                <a:gd name="T95" fmla="*/ 103 h 323"/>
                <a:gd name="T96" fmla="*/ 84 w 261"/>
                <a:gd name="T97" fmla="*/ 159 h 323"/>
                <a:gd name="T98" fmla="*/ 74 w 261"/>
                <a:gd name="T99" fmla="*/ 82 h 323"/>
                <a:gd name="T100" fmla="*/ 207 w 261"/>
                <a:gd name="T101" fmla="*/ 218 h 323"/>
                <a:gd name="T102" fmla="*/ 53 w 261"/>
                <a:gd name="T103" fmla="*/ 195 h 323"/>
                <a:gd name="T104" fmla="*/ 69 w 261"/>
                <a:gd name="T105" fmla="*/ 180 h 323"/>
                <a:gd name="T106" fmla="*/ 184 w 261"/>
                <a:gd name="T107" fmla="*/ 177 h 323"/>
                <a:gd name="T108" fmla="*/ 204 w 261"/>
                <a:gd name="T109" fmla="*/ 190 h 323"/>
                <a:gd name="T110" fmla="*/ 210 w 261"/>
                <a:gd name="T111" fmla="*/ 205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1" h="323">
                  <a:moveTo>
                    <a:pt x="261" y="116"/>
                  </a:moveTo>
                  <a:lnTo>
                    <a:pt x="258" y="111"/>
                  </a:lnTo>
                  <a:lnTo>
                    <a:pt x="256" y="108"/>
                  </a:lnTo>
                  <a:lnTo>
                    <a:pt x="253" y="108"/>
                  </a:lnTo>
                  <a:lnTo>
                    <a:pt x="251" y="108"/>
                  </a:lnTo>
                  <a:lnTo>
                    <a:pt x="227" y="108"/>
                  </a:lnTo>
                  <a:lnTo>
                    <a:pt x="225" y="111"/>
                  </a:lnTo>
                  <a:lnTo>
                    <a:pt x="222" y="116"/>
                  </a:lnTo>
                  <a:lnTo>
                    <a:pt x="225" y="121"/>
                  </a:lnTo>
                  <a:lnTo>
                    <a:pt x="227" y="123"/>
                  </a:lnTo>
                  <a:lnTo>
                    <a:pt x="230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82"/>
                  </a:lnTo>
                  <a:lnTo>
                    <a:pt x="222" y="190"/>
                  </a:lnTo>
                  <a:lnTo>
                    <a:pt x="215" y="177"/>
                  </a:lnTo>
                  <a:lnTo>
                    <a:pt x="207" y="169"/>
                  </a:lnTo>
                  <a:lnTo>
                    <a:pt x="197" y="164"/>
                  </a:lnTo>
                  <a:lnTo>
                    <a:pt x="194" y="162"/>
                  </a:lnTo>
                  <a:lnTo>
                    <a:pt x="199" y="139"/>
                  </a:lnTo>
                  <a:lnTo>
                    <a:pt x="202" y="105"/>
                  </a:lnTo>
                  <a:lnTo>
                    <a:pt x="204" y="70"/>
                  </a:lnTo>
                  <a:lnTo>
                    <a:pt x="202" y="24"/>
                  </a:lnTo>
                  <a:lnTo>
                    <a:pt x="199" y="16"/>
                  </a:lnTo>
                  <a:lnTo>
                    <a:pt x="192" y="8"/>
                  </a:lnTo>
                  <a:lnTo>
                    <a:pt x="187" y="3"/>
                  </a:lnTo>
                  <a:lnTo>
                    <a:pt x="176" y="3"/>
                  </a:lnTo>
                  <a:lnTo>
                    <a:pt x="174" y="0"/>
                  </a:lnTo>
                  <a:lnTo>
                    <a:pt x="82" y="3"/>
                  </a:lnTo>
                  <a:lnTo>
                    <a:pt x="71" y="6"/>
                  </a:lnTo>
                  <a:lnTo>
                    <a:pt x="64" y="11"/>
                  </a:lnTo>
                  <a:lnTo>
                    <a:pt x="58" y="18"/>
                  </a:lnTo>
                  <a:lnTo>
                    <a:pt x="58" y="26"/>
                  </a:lnTo>
                  <a:lnTo>
                    <a:pt x="56" y="34"/>
                  </a:lnTo>
                  <a:lnTo>
                    <a:pt x="58" y="105"/>
                  </a:lnTo>
                  <a:lnTo>
                    <a:pt x="61" y="131"/>
                  </a:lnTo>
                  <a:lnTo>
                    <a:pt x="66" y="162"/>
                  </a:lnTo>
                  <a:lnTo>
                    <a:pt x="56" y="167"/>
                  </a:lnTo>
                  <a:lnTo>
                    <a:pt x="48" y="172"/>
                  </a:lnTo>
                  <a:lnTo>
                    <a:pt x="41" y="182"/>
                  </a:lnTo>
                  <a:lnTo>
                    <a:pt x="38" y="190"/>
                  </a:lnTo>
                  <a:lnTo>
                    <a:pt x="25" y="182"/>
                  </a:lnTo>
                  <a:lnTo>
                    <a:pt x="25" y="123"/>
                  </a:lnTo>
                  <a:lnTo>
                    <a:pt x="33" y="123"/>
                  </a:lnTo>
                  <a:lnTo>
                    <a:pt x="35" y="121"/>
                  </a:lnTo>
                  <a:lnTo>
                    <a:pt x="38" y="116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28" y="108"/>
                  </a:lnTo>
                  <a:lnTo>
                    <a:pt x="5" y="108"/>
                  </a:lnTo>
                  <a:lnTo>
                    <a:pt x="2" y="111"/>
                  </a:lnTo>
                  <a:lnTo>
                    <a:pt x="0" y="113"/>
                  </a:lnTo>
                  <a:lnTo>
                    <a:pt x="0" y="116"/>
                  </a:lnTo>
                  <a:lnTo>
                    <a:pt x="2" y="121"/>
                  </a:lnTo>
                  <a:lnTo>
                    <a:pt x="5" y="123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5" y="190"/>
                  </a:lnTo>
                  <a:lnTo>
                    <a:pt x="15" y="190"/>
                  </a:lnTo>
                  <a:lnTo>
                    <a:pt x="18" y="193"/>
                  </a:lnTo>
                  <a:lnTo>
                    <a:pt x="33" y="200"/>
                  </a:lnTo>
                  <a:lnTo>
                    <a:pt x="33" y="208"/>
                  </a:lnTo>
                  <a:lnTo>
                    <a:pt x="33" y="213"/>
                  </a:lnTo>
                  <a:lnTo>
                    <a:pt x="38" y="223"/>
                  </a:lnTo>
                  <a:lnTo>
                    <a:pt x="43" y="231"/>
                  </a:lnTo>
                  <a:lnTo>
                    <a:pt x="48" y="234"/>
                  </a:lnTo>
                  <a:lnTo>
                    <a:pt x="53" y="234"/>
                  </a:lnTo>
                  <a:lnTo>
                    <a:pt x="122" y="234"/>
                  </a:lnTo>
                  <a:lnTo>
                    <a:pt x="122" y="267"/>
                  </a:lnTo>
                  <a:lnTo>
                    <a:pt x="102" y="269"/>
                  </a:lnTo>
                  <a:lnTo>
                    <a:pt x="92" y="272"/>
                  </a:lnTo>
                  <a:lnTo>
                    <a:pt x="74" y="277"/>
                  </a:lnTo>
                  <a:lnTo>
                    <a:pt x="56" y="285"/>
                  </a:lnTo>
                  <a:lnTo>
                    <a:pt x="33" y="300"/>
                  </a:lnTo>
                  <a:lnTo>
                    <a:pt x="33" y="303"/>
                  </a:lnTo>
                  <a:lnTo>
                    <a:pt x="35" y="305"/>
                  </a:lnTo>
                  <a:lnTo>
                    <a:pt x="35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41" y="308"/>
                  </a:lnTo>
                  <a:lnTo>
                    <a:pt x="43" y="305"/>
                  </a:lnTo>
                  <a:lnTo>
                    <a:pt x="56" y="298"/>
                  </a:lnTo>
                  <a:lnTo>
                    <a:pt x="69" y="290"/>
                  </a:lnTo>
                  <a:lnTo>
                    <a:pt x="79" y="287"/>
                  </a:lnTo>
                  <a:lnTo>
                    <a:pt x="94" y="282"/>
                  </a:lnTo>
                  <a:lnTo>
                    <a:pt x="105" y="280"/>
                  </a:lnTo>
                  <a:lnTo>
                    <a:pt x="125" y="277"/>
                  </a:lnTo>
                  <a:lnTo>
                    <a:pt x="125" y="318"/>
                  </a:lnTo>
                  <a:lnTo>
                    <a:pt x="128" y="323"/>
                  </a:lnTo>
                  <a:lnTo>
                    <a:pt x="130" y="323"/>
                  </a:lnTo>
                  <a:lnTo>
                    <a:pt x="130" y="323"/>
                  </a:lnTo>
                  <a:lnTo>
                    <a:pt x="133" y="323"/>
                  </a:lnTo>
                  <a:lnTo>
                    <a:pt x="135" y="321"/>
                  </a:lnTo>
                  <a:lnTo>
                    <a:pt x="135" y="318"/>
                  </a:lnTo>
                  <a:lnTo>
                    <a:pt x="135" y="318"/>
                  </a:lnTo>
                  <a:lnTo>
                    <a:pt x="135" y="277"/>
                  </a:lnTo>
                  <a:lnTo>
                    <a:pt x="156" y="280"/>
                  </a:lnTo>
                  <a:lnTo>
                    <a:pt x="171" y="282"/>
                  </a:lnTo>
                  <a:lnTo>
                    <a:pt x="181" y="287"/>
                  </a:lnTo>
                  <a:lnTo>
                    <a:pt x="189" y="290"/>
                  </a:lnTo>
                  <a:lnTo>
                    <a:pt x="212" y="303"/>
                  </a:lnTo>
                  <a:lnTo>
                    <a:pt x="220" y="308"/>
                  </a:lnTo>
                  <a:lnTo>
                    <a:pt x="222" y="308"/>
                  </a:lnTo>
                  <a:lnTo>
                    <a:pt x="225" y="308"/>
                  </a:lnTo>
                  <a:lnTo>
                    <a:pt x="227" y="305"/>
                  </a:lnTo>
                  <a:lnTo>
                    <a:pt x="227" y="303"/>
                  </a:lnTo>
                  <a:lnTo>
                    <a:pt x="225" y="298"/>
                  </a:lnTo>
                  <a:lnTo>
                    <a:pt x="225" y="298"/>
                  </a:lnTo>
                  <a:lnTo>
                    <a:pt x="204" y="285"/>
                  </a:lnTo>
                  <a:lnTo>
                    <a:pt x="192" y="280"/>
                  </a:lnTo>
                  <a:lnTo>
                    <a:pt x="181" y="274"/>
                  </a:lnTo>
                  <a:lnTo>
                    <a:pt x="163" y="269"/>
                  </a:lnTo>
                  <a:lnTo>
                    <a:pt x="148" y="267"/>
                  </a:lnTo>
                  <a:lnTo>
                    <a:pt x="138" y="267"/>
                  </a:lnTo>
                  <a:lnTo>
                    <a:pt x="138" y="234"/>
                  </a:lnTo>
                  <a:lnTo>
                    <a:pt x="212" y="234"/>
                  </a:lnTo>
                  <a:lnTo>
                    <a:pt x="220" y="228"/>
                  </a:lnTo>
                  <a:lnTo>
                    <a:pt x="225" y="218"/>
                  </a:lnTo>
                  <a:lnTo>
                    <a:pt x="227" y="210"/>
                  </a:lnTo>
                  <a:lnTo>
                    <a:pt x="227" y="205"/>
                  </a:lnTo>
                  <a:lnTo>
                    <a:pt x="227" y="200"/>
                  </a:lnTo>
                  <a:lnTo>
                    <a:pt x="245" y="190"/>
                  </a:lnTo>
                  <a:lnTo>
                    <a:pt x="248" y="187"/>
                  </a:lnTo>
                  <a:lnTo>
                    <a:pt x="248" y="187"/>
                  </a:lnTo>
                  <a:lnTo>
                    <a:pt x="248" y="123"/>
                  </a:lnTo>
                  <a:lnTo>
                    <a:pt x="256" y="123"/>
                  </a:lnTo>
                  <a:lnTo>
                    <a:pt x="258" y="118"/>
                  </a:lnTo>
                  <a:lnTo>
                    <a:pt x="261" y="116"/>
                  </a:lnTo>
                  <a:close/>
                  <a:moveTo>
                    <a:pt x="76" y="26"/>
                  </a:moveTo>
                  <a:lnTo>
                    <a:pt x="79" y="21"/>
                  </a:lnTo>
                  <a:lnTo>
                    <a:pt x="82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174" y="18"/>
                  </a:lnTo>
                  <a:lnTo>
                    <a:pt x="179" y="18"/>
                  </a:lnTo>
                  <a:lnTo>
                    <a:pt x="181" y="21"/>
                  </a:lnTo>
                  <a:lnTo>
                    <a:pt x="184" y="24"/>
                  </a:lnTo>
                  <a:lnTo>
                    <a:pt x="187" y="26"/>
                  </a:lnTo>
                  <a:lnTo>
                    <a:pt x="187" y="31"/>
                  </a:lnTo>
                  <a:lnTo>
                    <a:pt x="187" y="34"/>
                  </a:lnTo>
                  <a:lnTo>
                    <a:pt x="187" y="103"/>
                  </a:lnTo>
                  <a:lnTo>
                    <a:pt x="181" y="136"/>
                  </a:lnTo>
                  <a:lnTo>
                    <a:pt x="176" y="159"/>
                  </a:lnTo>
                  <a:lnTo>
                    <a:pt x="84" y="159"/>
                  </a:lnTo>
                  <a:lnTo>
                    <a:pt x="79" y="136"/>
                  </a:lnTo>
                  <a:lnTo>
                    <a:pt x="76" y="108"/>
                  </a:lnTo>
                  <a:lnTo>
                    <a:pt x="74" y="82"/>
                  </a:lnTo>
                  <a:lnTo>
                    <a:pt x="74" y="31"/>
                  </a:lnTo>
                  <a:lnTo>
                    <a:pt x="76" y="26"/>
                  </a:lnTo>
                  <a:close/>
                  <a:moveTo>
                    <a:pt x="207" y="218"/>
                  </a:moveTo>
                  <a:lnTo>
                    <a:pt x="53" y="218"/>
                  </a:lnTo>
                  <a:lnTo>
                    <a:pt x="51" y="205"/>
                  </a:lnTo>
                  <a:lnTo>
                    <a:pt x="53" y="195"/>
                  </a:lnTo>
                  <a:lnTo>
                    <a:pt x="56" y="187"/>
                  </a:lnTo>
                  <a:lnTo>
                    <a:pt x="64" y="182"/>
                  </a:lnTo>
                  <a:lnTo>
                    <a:pt x="69" y="180"/>
                  </a:lnTo>
                  <a:lnTo>
                    <a:pt x="76" y="177"/>
                  </a:lnTo>
                  <a:lnTo>
                    <a:pt x="84" y="177"/>
                  </a:lnTo>
                  <a:lnTo>
                    <a:pt x="184" y="177"/>
                  </a:lnTo>
                  <a:lnTo>
                    <a:pt x="192" y="180"/>
                  </a:lnTo>
                  <a:lnTo>
                    <a:pt x="199" y="185"/>
                  </a:lnTo>
                  <a:lnTo>
                    <a:pt x="204" y="190"/>
                  </a:lnTo>
                  <a:lnTo>
                    <a:pt x="207" y="195"/>
                  </a:lnTo>
                  <a:lnTo>
                    <a:pt x="210" y="205"/>
                  </a:lnTo>
                  <a:lnTo>
                    <a:pt x="210" y="205"/>
                  </a:lnTo>
                  <a:lnTo>
                    <a:pt x="207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5BD7F02B-E0EC-4CBB-B66B-A76F1C0FE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7" y="638"/>
              <a:ext cx="23" cy="23"/>
            </a:xfrm>
            <a:custGeom>
              <a:avLst/>
              <a:gdLst>
                <a:gd name="T0" fmla="*/ 23 w 23"/>
                <a:gd name="T1" fmla="*/ 5 h 23"/>
                <a:gd name="T2" fmla="*/ 20 w 23"/>
                <a:gd name="T3" fmla="*/ 5 h 23"/>
                <a:gd name="T4" fmla="*/ 20 w 23"/>
                <a:gd name="T5" fmla="*/ 3 h 23"/>
                <a:gd name="T6" fmla="*/ 17 w 23"/>
                <a:gd name="T7" fmla="*/ 3 h 23"/>
                <a:gd name="T8" fmla="*/ 15 w 23"/>
                <a:gd name="T9" fmla="*/ 0 h 23"/>
                <a:gd name="T10" fmla="*/ 12 w 23"/>
                <a:gd name="T11" fmla="*/ 0 h 23"/>
                <a:gd name="T12" fmla="*/ 12 w 23"/>
                <a:gd name="T13" fmla="*/ 0 h 23"/>
                <a:gd name="T14" fmla="*/ 10 w 23"/>
                <a:gd name="T15" fmla="*/ 0 h 23"/>
                <a:gd name="T16" fmla="*/ 7 w 23"/>
                <a:gd name="T17" fmla="*/ 0 h 23"/>
                <a:gd name="T18" fmla="*/ 5 w 23"/>
                <a:gd name="T19" fmla="*/ 3 h 23"/>
                <a:gd name="T20" fmla="*/ 2 w 23"/>
                <a:gd name="T21" fmla="*/ 3 h 23"/>
                <a:gd name="T22" fmla="*/ 2 w 23"/>
                <a:gd name="T23" fmla="*/ 5 h 23"/>
                <a:gd name="T24" fmla="*/ 0 w 23"/>
                <a:gd name="T25" fmla="*/ 5 h 23"/>
                <a:gd name="T26" fmla="*/ 0 w 23"/>
                <a:gd name="T27" fmla="*/ 8 h 23"/>
                <a:gd name="T28" fmla="*/ 0 w 23"/>
                <a:gd name="T29" fmla="*/ 10 h 23"/>
                <a:gd name="T30" fmla="*/ 0 w 23"/>
                <a:gd name="T31" fmla="*/ 13 h 23"/>
                <a:gd name="T32" fmla="*/ 0 w 23"/>
                <a:gd name="T33" fmla="*/ 15 h 23"/>
                <a:gd name="T34" fmla="*/ 2 w 23"/>
                <a:gd name="T35" fmla="*/ 18 h 23"/>
                <a:gd name="T36" fmla="*/ 2 w 23"/>
                <a:gd name="T37" fmla="*/ 18 h 23"/>
                <a:gd name="T38" fmla="*/ 5 w 23"/>
                <a:gd name="T39" fmla="*/ 20 h 23"/>
                <a:gd name="T40" fmla="*/ 7 w 23"/>
                <a:gd name="T41" fmla="*/ 20 h 23"/>
                <a:gd name="T42" fmla="*/ 10 w 23"/>
                <a:gd name="T43" fmla="*/ 23 h 23"/>
                <a:gd name="T44" fmla="*/ 12 w 23"/>
                <a:gd name="T45" fmla="*/ 23 h 23"/>
                <a:gd name="T46" fmla="*/ 12 w 23"/>
                <a:gd name="T47" fmla="*/ 23 h 23"/>
                <a:gd name="T48" fmla="*/ 15 w 23"/>
                <a:gd name="T49" fmla="*/ 20 h 23"/>
                <a:gd name="T50" fmla="*/ 17 w 23"/>
                <a:gd name="T51" fmla="*/ 20 h 23"/>
                <a:gd name="T52" fmla="*/ 20 w 23"/>
                <a:gd name="T53" fmla="*/ 18 h 23"/>
                <a:gd name="T54" fmla="*/ 20 w 23"/>
                <a:gd name="T55" fmla="*/ 18 h 23"/>
                <a:gd name="T56" fmla="*/ 23 w 23"/>
                <a:gd name="T57" fmla="*/ 15 h 23"/>
                <a:gd name="T58" fmla="*/ 23 w 23"/>
                <a:gd name="T59" fmla="*/ 13 h 23"/>
                <a:gd name="T60" fmla="*/ 23 w 23"/>
                <a:gd name="T61" fmla="*/ 10 h 23"/>
                <a:gd name="T62" fmla="*/ 23 w 23"/>
                <a:gd name="T6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23">
                  <a:moveTo>
                    <a:pt x="23" y="8"/>
                  </a:moveTo>
                  <a:lnTo>
                    <a:pt x="23" y="5"/>
                  </a:lnTo>
                  <a:lnTo>
                    <a:pt x="23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8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998624F9-55E2-459D-83B7-D75C40EFF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" y="653"/>
              <a:ext cx="23" cy="23"/>
            </a:xfrm>
            <a:custGeom>
              <a:avLst/>
              <a:gdLst>
                <a:gd name="T0" fmla="*/ 23 w 23"/>
                <a:gd name="T1" fmla="*/ 8 h 23"/>
                <a:gd name="T2" fmla="*/ 23 w 23"/>
                <a:gd name="T3" fmla="*/ 5 h 23"/>
                <a:gd name="T4" fmla="*/ 21 w 23"/>
                <a:gd name="T5" fmla="*/ 3 h 23"/>
                <a:gd name="T6" fmla="*/ 21 w 23"/>
                <a:gd name="T7" fmla="*/ 3 h 23"/>
                <a:gd name="T8" fmla="*/ 18 w 23"/>
                <a:gd name="T9" fmla="*/ 0 h 23"/>
                <a:gd name="T10" fmla="*/ 16 w 23"/>
                <a:gd name="T11" fmla="*/ 0 h 23"/>
                <a:gd name="T12" fmla="*/ 13 w 23"/>
                <a:gd name="T13" fmla="*/ 0 h 23"/>
                <a:gd name="T14" fmla="*/ 11 w 23"/>
                <a:gd name="T15" fmla="*/ 0 h 23"/>
                <a:gd name="T16" fmla="*/ 8 w 23"/>
                <a:gd name="T17" fmla="*/ 0 h 23"/>
                <a:gd name="T18" fmla="*/ 5 w 23"/>
                <a:gd name="T19" fmla="*/ 3 h 23"/>
                <a:gd name="T20" fmla="*/ 5 w 23"/>
                <a:gd name="T21" fmla="*/ 3 h 23"/>
                <a:gd name="T22" fmla="*/ 3 w 23"/>
                <a:gd name="T23" fmla="*/ 5 h 23"/>
                <a:gd name="T24" fmla="*/ 3 w 23"/>
                <a:gd name="T25" fmla="*/ 8 h 23"/>
                <a:gd name="T26" fmla="*/ 3 w 23"/>
                <a:gd name="T27" fmla="*/ 8 h 23"/>
                <a:gd name="T28" fmla="*/ 0 w 23"/>
                <a:gd name="T29" fmla="*/ 11 h 23"/>
                <a:gd name="T30" fmla="*/ 3 w 23"/>
                <a:gd name="T31" fmla="*/ 13 h 23"/>
                <a:gd name="T32" fmla="*/ 3 w 23"/>
                <a:gd name="T33" fmla="*/ 16 h 23"/>
                <a:gd name="T34" fmla="*/ 3 w 23"/>
                <a:gd name="T35" fmla="*/ 18 h 23"/>
                <a:gd name="T36" fmla="*/ 5 w 23"/>
                <a:gd name="T37" fmla="*/ 18 h 23"/>
                <a:gd name="T38" fmla="*/ 5 w 23"/>
                <a:gd name="T39" fmla="*/ 21 h 23"/>
                <a:gd name="T40" fmla="*/ 8 w 23"/>
                <a:gd name="T41" fmla="*/ 21 h 23"/>
                <a:gd name="T42" fmla="*/ 11 w 23"/>
                <a:gd name="T43" fmla="*/ 23 h 23"/>
                <a:gd name="T44" fmla="*/ 13 w 23"/>
                <a:gd name="T45" fmla="*/ 23 h 23"/>
                <a:gd name="T46" fmla="*/ 16 w 23"/>
                <a:gd name="T47" fmla="*/ 23 h 23"/>
                <a:gd name="T48" fmla="*/ 18 w 23"/>
                <a:gd name="T49" fmla="*/ 21 h 23"/>
                <a:gd name="T50" fmla="*/ 21 w 23"/>
                <a:gd name="T51" fmla="*/ 21 h 23"/>
                <a:gd name="T52" fmla="*/ 21 w 23"/>
                <a:gd name="T53" fmla="*/ 18 h 23"/>
                <a:gd name="T54" fmla="*/ 23 w 23"/>
                <a:gd name="T55" fmla="*/ 18 h 23"/>
                <a:gd name="T56" fmla="*/ 23 w 23"/>
                <a:gd name="T57" fmla="*/ 16 h 23"/>
                <a:gd name="T58" fmla="*/ 23 w 23"/>
                <a:gd name="T59" fmla="*/ 13 h 23"/>
                <a:gd name="T60" fmla="*/ 23 w 23"/>
                <a:gd name="T61" fmla="*/ 11 h 23"/>
                <a:gd name="T62" fmla="*/ 23 w 23"/>
                <a:gd name="T6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23">
                  <a:moveTo>
                    <a:pt x="23" y="8"/>
                  </a:moveTo>
                  <a:lnTo>
                    <a:pt x="23" y="8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8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0B2E4FEB-24AF-48F8-A8D8-E10D9297D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" y="638"/>
              <a:ext cx="23" cy="23"/>
            </a:xfrm>
            <a:custGeom>
              <a:avLst/>
              <a:gdLst>
                <a:gd name="T0" fmla="*/ 23 w 23"/>
                <a:gd name="T1" fmla="*/ 5 h 23"/>
                <a:gd name="T2" fmla="*/ 20 w 23"/>
                <a:gd name="T3" fmla="*/ 5 h 23"/>
                <a:gd name="T4" fmla="*/ 20 w 23"/>
                <a:gd name="T5" fmla="*/ 3 h 23"/>
                <a:gd name="T6" fmla="*/ 18 w 23"/>
                <a:gd name="T7" fmla="*/ 3 h 23"/>
                <a:gd name="T8" fmla="*/ 15 w 23"/>
                <a:gd name="T9" fmla="*/ 0 h 23"/>
                <a:gd name="T10" fmla="*/ 13 w 23"/>
                <a:gd name="T11" fmla="*/ 0 h 23"/>
                <a:gd name="T12" fmla="*/ 10 w 23"/>
                <a:gd name="T13" fmla="*/ 0 h 23"/>
                <a:gd name="T14" fmla="*/ 10 w 23"/>
                <a:gd name="T15" fmla="*/ 0 h 23"/>
                <a:gd name="T16" fmla="*/ 7 w 23"/>
                <a:gd name="T17" fmla="*/ 0 h 23"/>
                <a:gd name="T18" fmla="*/ 5 w 23"/>
                <a:gd name="T19" fmla="*/ 3 h 23"/>
                <a:gd name="T20" fmla="*/ 2 w 23"/>
                <a:gd name="T21" fmla="*/ 3 h 23"/>
                <a:gd name="T22" fmla="*/ 2 w 23"/>
                <a:gd name="T23" fmla="*/ 5 h 23"/>
                <a:gd name="T24" fmla="*/ 0 w 23"/>
                <a:gd name="T25" fmla="*/ 5 h 23"/>
                <a:gd name="T26" fmla="*/ 0 w 23"/>
                <a:gd name="T27" fmla="*/ 8 h 23"/>
                <a:gd name="T28" fmla="*/ 0 w 23"/>
                <a:gd name="T29" fmla="*/ 10 h 23"/>
                <a:gd name="T30" fmla="*/ 0 w 23"/>
                <a:gd name="T31" fmla="*/ 13 h 23"/>
                <a:gd name="T32" fmla="*/ 0 w 23"/>
                <a:gd name="T33" fmla="*/ 15 h 23"/>
                <a:gd name="T34" fmla="*/ 2 w 23"/>
                <a:gd name="T35" fmla="*/ 18 h 23"/>
                <a:gd name="T36" fmla="*/ 2 w 23"/>
                <a:gd name="T37" fmla="*/ 18 h 23"/>
                <a:gd name="T38" fmla="*/ 5 w 23"/>
                <a:gd name="T39" fmla="*/ 20 h 23"/>
                <a:gd name="T40" fmla="*/ 7 w 23"/>
                <a:gd name="T41" fmla="*/ 20 h 23"/>
                <a:gd name="T42" fmla="*/ 10 w 23"/>
                <a:gd name="T43" fmla="*/ 23 h 23"/>
                <a:gd name="T44" fmla="*/ 10 w 23"/>
                <a:gd name="T45" fmla="*/ 23 h 23"/>
                <a:gd name="T46" fmla="*/ 13 w 23"/>
                <a:gd name="T47" fmla="*/ 23 h 23"/>
                <a:gd name="T48" fmla="*/ 15 w 23"/>
                <a:gd name="T49" fmla="*/ 20 h 23"/>
                <a:gd name="T50" fmla="*/ 18 w 23"/>
                <a:gd name="T51" fmla="*/ 20 h 23"/>
                <a:gd name="T52" fmla="*/ 20 w 23"/>
                <a:gd name="T53" fmla="*/ 18 h 23"/>
                <a:gd name="T54" fmla="*/ 20 w 23"/>
                <a:gd name="T55" fmla="*/ 18 h 23"/>
                <a:gd name="T56" fmla="*/ 23 w 23"/>
                <a:gd name="T57" fmla="*/ 15 h 23"/>
                <a:gd name="T58" fmla="*/ 23 w 23"/>
                <a:gd name="T59" fmla="*/ 13 h 23"/>
                <a:gd name="T60" fmla="*/ 23 w 23"/>
                <a:gd name="T61" fmla="*/ 10 h 23"/>
                <a:gd name="T62" fmla="*/ 23 w 23"/>
                <a:gd name="T63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23">
                  <a:moveTo>
                    <a:pt x="23" y="8"/>
                  </a:moveTo>
                  <a:lnTo>
                    <a:pt x="23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8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58">
            <a:extLst>
              <a:ext uri="{FF2B5EF4-FFF2-40B4-BE49-F238E27FC236}">
                <a16:creationId xmlns:a16="http://schemas.microsoft.com/office/drawing/2014/main" id="{4D8C1B77-C714-44F9-BDBB-0C68BFD75B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1469" y="1585721"/>
            <a:ext cx="760413" cy="758825"/>
            <a:chOff x="794" y="1186"/>
            <a:chExt cx="479" cy="478"/>
          </a:xfrm>
        </p:grpSpPr>
        <p:sp>
          <p:nvSpPr>
            <p:cNvPr id="70" name="AutoShape 57">
              <a:extLst>
                <a:ext uri="{FF2B5EF4-FFF2-40B4-BE49-F238E27FC236}">
                  <a16:creationId xmlns:a16="http://schemas.microsoft.com/office/drawing/2014/main" id="{B638A314-010D-4DCD-B2FB-9BEF61A395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94" y="118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0834A9C3-F1C6-4EB9-9EFD-1A3022018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" y="118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09C21AA9-0BAD-4DA5-80CB-1579450DCE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" y="1247"/>
              <a:ext cx="285" cy="358"/>
            </a:xfrm>
            <a:custGeom>
              <a:avLst/>
              <a:gdLst>
                <a:gd name="T0" fmla="*/ 100 w 116"/>
                <a:gd name="T1" fmla="*/ 58 h 146"/>
                <a:gd name="T2" fmla="*/ 111 w 116"/>
                <a:gd name="T3" fmla="*/ 58 h 146"/>
                <a:gd name="T4" fmla="*/ 90 w 116"/>
                <a:gd name="T5" fmla="*/ 93 h 146"/>
                <a:gd name="T6" fmla="*/ 23 w 116"/>
                <a:gd name="T7" fmla="*/ 85 h 146"/>
                <a:gd name="T8" fmla="*/ 58 w 116"/>
                <a:gd name="T9" fmla="*/ 82 h 146"/>
                <a:gd name="T10" fmla="*/ 93 w 116"/>
                <a:gd name="T11" fmla="*/ 85 h 146"/>
                <a:gd name="T12" fmla="*/ 79 w 116"/>
                <a:gd name="T13" fmla="*/ 101 h 146"/>
                <a:gd name="T14" fmla="*/ 58 w 116"/>
                <a:gd name="T15" fmla="*/ 104 h 146"/>
                <a:gd name="T16" fmla="*/ 37 w 116"/>
                <a:gd name="T17" fmla="*/ 101 h 146"/>
                <a:gd name="T18" fmla="*/ 79 w 116"/>
                <a:gd name="T19" fmla="*/ 98 h 146"/>
                <a:gd name="T20" fmla="*/ 5 w 116"/>
                <a:gd name="T21" fmla="*/ 58 h 146"/>
                <a:gd name="T22" fmla="*/ 16 w 116"/>
                <a:gd name="T23" fmla="*/ 58 h 146"/>
                <a:gd name="T24" fmla="*/ 5 w 116"/>
                <a:gd name="T25" fmla="*/ 58 h 146"/>
                <a:gd name="T26" fmla="*/ 95 w 116"/>
                <a:gd name="T27" fmla="*/ 58 h 146"/>
                <a:gd name="T28" fmla="*/ 103 w 116"/>
                <a:gd name="T29" fmla="*/ 80 h 146"/>
                <a:gd name="T30" fmla="*/ 98 w 116"/>
                <a:gd name="T31" fmla="*/ 85 h 146"/>
                <a:gd name="T32" fmla="*/ 83 w 116"/>
                <a:gd name="T33" fmla="*/ 72 h 146"/>
                <a:gd name="T34" fmla="*/ 33 w 116"/>
                <a:gd name="T35" fmla="*/ 72 h 146"/>
                <a:gd name="T36" fmla="*/ 18 w 116"/>
                <a:gd name="T37" fmla="*/ 85 h 146"/>
                <a:gd name="T38" fmla="*/ 13 w 116"/>
                <a:gd name="T39" fmla="*/ 80 h 146"/>
                <a:gd name="T40" fmla="*/ 21 w 116"/>
                <a:gd name="T41" fmla="*/ 58 h 146"/>
                <a:gd name="T42" fmla="*/ 0 w 116"/>
                <a:gd name="T43" fmla="*/ 58 h 146"/>
                <a:gd name="T44" fmla="*/ 8 w 116"/>
                <a:gd name="T45" fmla="*/ 80 h 146"/>
                <a:gd name="T46" fmla="*/ 31 w 116"/>
                <a:gd name="T47" fmla="*/ 98 h 146"/>
                <a:gd name="T48" fmla="*/ 39 w 116"/>
                <a:gd name="T49" fmla="*/ 109 h 146"/>
                <a:gd name="T50" fmla="*/ 55 w 116"/>
                <a:gd name="T51" fmla="*/ 120 h 146"/>
                <a:gd name="T52" fmla="*/ 18 w 116"/>
                <a:gd name="T53" fmla="*/ 139 h 146"/>
                <a:gd name="T54" fmla="*/ 18 w 116"/>
                <a:gd name="T55" fmla="*/ 142 h 146"/>
                <a:gd name="T56" fmla="*/ 26 w 116"/>
                <a:gd name="T57" fmla="*/ 142 h 146"/>
                <a:gd name="T58" fmla="*/ 55 w 116"/>
                <a:gd name="T59" fmla="*/ 126 h 146"/>
                <a:gd name="T60" fmla="*/ 54 w 116"/>
                <a:gd name="T61" fmla="*/ 142 h 146"/>
                <a:gd name="T62" fmla="*/ 58 w 116"/>
                <a:gd name="T63" fmla="*/ 146 h 146"/>
                <a:gd name="T64" fmla="*/ 58 w 116"/>
                <a:gd name="T65" fmla="*/ 146 h 146"/>
                <a:gd name="T66" fmla="*/ 61 w 116"/>
                <a:gd name="T67" fmla="*/ 139 h 146"/>
                <a:gd name="T68" fmla="*/ 91 w 116"/>
                <a:gd name="T69" fmla="*/ 139 h 146"/>
                <a:gd name="T70" fmla="*/ 94 w 116"/>
                <a:gd name="T71" fmla="*/ 146 h 146"/>
                <a:gd name="T72" fmla="*/ 97 w 116"/>
                <a:gd name="T73" fmla="*/ 140 h 146"/>
                <a:gd name="T74" fmla="*/ 96 w 116"/>
                <a:gd name="T75" fmla="*/ 136 h 146"/>
                <a:gd name="T76" fmla="*/ 61 w 116"/>
                <a:gd name="T77" fmla="*/ 109 h 146"/>
                <a:gd name="T78" fmla="*/ 85 w 116"/>
                <a:gd name="T79" fmla="*/ 101 h 146"/>
                <a:gd name="T80" fmla="*/ 94 w 116"/>
                <a:gd name="T81" fmla="*/ 98 h 146"/>
                <a:gd name="T82" fmla="*/ 108 w 116"/>
                <a:gd name="T83" fmla="*/ 66 h 146"/>
                <a:gd name="T84" fmla="*/ 106 w 116"/>
                <a:gd name="T85" fmla="*/ 50 h 146"/>
                <a:gd name="T86" fmla="*/ 66 w 116"/>
                <a:gd name="T87" fmla="*/ 5 h 146"/>
                <a:gd name="T88" fmla="*/ 58 w 116"/>
                <a:gd name="T89" fmla="*/ 66 h 146"/>
                <a:gd name="T90" fmla="*/ 50 w 116"/>
                <a:gd name="T91" fmla="*/ 5 h 146"/>
                <a:gd name="T92" fmla="*/ 90 w 116"/>
                <a:gd name="T93" fmla="*/ 40 h 146"/>
                <a:gd name="T94" fmla="*/ 50 w 116"/>
                <a:gd name="T95" fmla="*/ 0 h 146"/>
                <a:gd name="T96" fmla="*/ 58 w 116"/>
                <a:gd name="T97" fmla="*/ 7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146">
                  <a:moveTo>
                    <a:pt x="106" y="61"/>
                  </a:moveTo>
                  <a:cubicBezTo>
                    <a:pt x="100" y="61"/>
                    <a:pt x="100" y="60"/>
                    <a:pt x="100" y="58"/>
                  </a:cubicBezTo>
                  <a:cubicBezTo>
                    <a:pt x="100" y="57"/>
                    <a:pt x="100" y="56"/>
                    <a:pt x="106" y="56"/>
                  </a:cubicBezTo>
                  <a:cubicBezTo>
                    <a:pt x="111" y="56"/>
                    <a:pt x="111" y="57"/>
                    <a:pt x="111" y="58"/>
                  </a:cubicBezTo>
                  <a:cubicBezTo>
                    <a:pt x="111" y="60"/>
                    <a:pt x="111" y="61"/>
                    <a:pt x="106" y="61"/>
                  </a:cubicBezTo>
                  <a:moveTo>
                    <a:pt x="90" y="93"/>
                  </a:moveTo>
                  <a:cubicBezTo>
                    <a:pt x="26" y="93"/>
                    <a:pt x="26" y="93"/>
                    <a:pt x="26" y="93"/>
                  </a:cubicBezTo>
                  <a:cubicBezTo>
                    <a:pt x="25" y="93"/>
                    <a:pt x="23" y="88"/>
                    <a:pt x="23" y="85"/>
                  </a:cubicBezTo>
                  <a:cubicBezTo>
                    <a:pt x="23" y="81"/>
                    <a:pt x="27" y="77"/>
                    <a:pt x="31" y="77"/>
                  </a:cubicBezTo>
                  <a:cubicBezTo>
                    <a:pt x="33" y="78"/>
                    <a:pt x="44" y="82"/>
                    <a:pt x="58" y="82"/>
                  </a:cubicBezTo>
                  <a:cubicBezTo>
                    <a:pt x="72" y="82"/>
                    <a:pt x="83" y="78"/>
                    <a:pt x="85" y="77"/>
                  </a:cubicBezTo>
                  <a:cubicBezTo>
                    <a:pt x="89" y="77"/>
                    <a:pt x="93" y="81"/>
                    <a:pt x="93" y="85"/>
                  </a:cubicBezTo>
                  <a:cubicBezTo>
                    <a:pt x="93" y="88"/>
                    <a:pt x="91" y="93"/>
                    <a:pt x="90" y="93"/>
                  </a:cubicBezTo>
                  <a:moveTo>
                    <a:pt x="79" y="101"/>
                  </a:moveTo>
                  <a:cubicBezTo>
                    <a:pt x="79" y="102"/>
                    <a:pt x="78" y="104"/>
                    <a:pt x="77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8" y="104"/>
                    <a:pt x="37" y="102"/>
                    <a:pt x="37" y="101"/>
                  </a:cubicBezTo>
                  <a:cubicBezTo>
                    <a:pt x="37" y="98"/>
                    <a:pt x="37" y="98"/>
                    <a:pt x="37" y="98"/>
                  </a:cubicBezTo>
                  <a:cubicBezTo>
                    <a:pt x="79" y="98"/>
                    <a:pt x="79" y="98"/>
                    <a:pt x="79" y="98"/>
                  </a:cubicBezTo>
                  <a:lnTo>
                    <a:pt x="79" y="101"/>
                  </a:lnTo>
                  <a:close/>
                  <a:moveTo>
                    <a:pt x="5" y="58"/>
                  </a:moveTo>
                  <a:cubicBezTo>
                    <a:pt x="5" y="57"/>
                    <a:pt x="5" y="56"/>
                    <a:pt x="10" y="56"/>
                  </a:cubicBezTo>
                  <a:cubicBezTo>
                    <a:pt x="16" y="56"/>
                    <a:pt x="16" y="57"/>
                    <a:pt x="16" y="58"/>
                  </a:cubicBezTo>
                  <a:cubicBezTo>
                    <a:pt x="16" y="60"/>
                    <a:pt x="16" y="61"/>
                    <a:pt x="10" y="61"/>
                  </a:cubicBezTo>
                  <a:cubicBezTo>
                    <a:pt x="5" y="61"/>
                    <a:pt x="5" y="60"/>
                    <a:pt x="5" y="58"/>
                  </a:cubicBezTo>
                  <a:moveTo>
                    <a:pt x="106" y="50"/>
                  </a:moveTo>
                  <a:cubicBezTo>
                    <a:pt x="99" y="50"/>
                    <a:pt x="95" y="53"/>
                    <a:pt x="95" y="58"/>
                  </a:cubicBezTo>
                  <a:cubicBezTo>
                    <a:pt x="95" y="63"/>
                    <a:pt x="98" y="66"/>
                    <a:pt x="103" y="66"/>
                  </a:cubicBezTo>
                  <a:cubicBezTo>
                    <a:pt x="103" y="80"/>
                    <a:pt x="103" y="80"/>
                    <a:pt x="103" y="80"/>
                  </a:cubicBezTo>
                  <a:cubicBezTo>
                    <a:pt x="103" y="85"/>
                    <a:pt x="100" y="90"/>
                    <a:pt x="97" y="92"/>
                  </a:cubicBezTo>
                  <a:cubicBezTo>
                    <a:pt x="97" y="90"/>
                    <a:pt x="98" y="87"/>
                    <a:pt x="98" y="85"/>
                  </a:cubicBezTo>
                  <a:cubicBezTo>
                    <a:pt x="98" y="78"/>
                    <a:pt x="92" y="72"/>
                    <a:pt x="85" y="72"/>
                  </a:cubicBezTo>
                  <a:cubicBezTo>
                    <a:pt x="84" y="72"/>
                    <a:pt x="84" y="72"/>
                    <a:pt x="83" y="72"/>
                  </a:cubicBezTo>
                  <a:cubicBezTo>
                    <a:pt x="83" y="72"/>
                    <a:pt x="73" y="77"/>
                    <a:pt x="58" y="77"/>
                  </a:cubicBezTo>
                  <a:cubicBezTo>
                    <a:pt x="43" y="77"/>
                    <a:pt x="33" y="72"/>
                    <a:pt x="33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24" y="72"/>
                    <a:pt x="18" y="78"/>
                    <a:pt x="18" y="85"/>
                  </a:cubicBezTo>
                  <a:cubicBezTo>
                    <a:pt x="18" y="87"/>
                    <a:pt x="19" y="90"/>
                    <a:pt x="19" y="92"/>
                  </a:cubicBezTo>
                  <a:cubicBezTo>
                    <a:pt x="16" y="90"/>
                    <a:pt x="13" y="85"/>
                    <a:pt x="13" y="80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8" y="66"/>
                    <a:pt x="21" y="63"/>
                    <a:pt x="21" y="58"/>
                  </a:cubicBezTo>
                  <a:cubicBezTo>
                    <a:pt x="21" y="53"/>
                    <a:pt x="17" y="50"/>
                    <a:pt x="10" y="50"/>
                  </a:cubicBezTo>
                  <a:cubicBezTo>
                    <a:pt x="3" y="50"/>
                    <a:pt x="0" y="53"/>
                    <a:pt x="0" y="58"/>
                  </a:cubicBezTo>
                  <a:cubicBezTo>
                    <a:pt x="0" y="63"/>
                    <a:pt x="2" y="66"/>
                    <a:pt x="8" y="6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90"/>
                    <a:pt x="14" y="98"/>
                    <a:pt x="2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5"/>
                    <a:pt x="35" y="109"/>
                    <a:pt x="39" y="109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5" y="120"/>
                    <a:pt x="55" y="120"/>
                    <a:pt x="55" y="120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18" y="136"/>
                    <a:pt x="18" y="138"/>
                    <a:pt x="18" y="139"/>
                  </a:cubicBezTo>
                  <a:cubicBezTo>
                    <a:pt x="19" y="139"/>
                    <a:pt x="19" y="140"/>
                    <a:pt x="19" y="140"/>
                  </a:cubicBezTo>
                  <a:cubicBezTo>
                    <a:pt x="18" y="140"/>
                    <a:pt x="18" y="141"/>
                    <a:pt x="18" y="142"/>
                  </a:cubicBezTo>
                  <a:cubicBezTo>
                    <a:pt x="18" y="144"/>
                    <a:pt x="20" y="146"/>
                    <a:pt x="22" y="146"/>
                  </a:cubicBezTo>
                  <a:cubicBezTo>
                    <a:pt x="24" y="146"/>
                    <a:pt x="26" y="144"/>
                    <a:pt x="26" y="142"/>
                  </a:cubicBezTo>
                  <a:cubicBezTo>
                    <a:pt x="26" y="141"/>
                    <a:pt x="26" y="140"/>
                    <a:pt x="25" y="139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9"/>
                    <a:pt x="55" y="139"/>
                    <a:pt x="55" y="139"/>
                  </a:cubicBezTo>
                  <a:cubicBezTo>
                    <a:pt x="55" y="140"/>
                    <a:pt x="54" y="141"/>
                    <a:pt x="54" y="142"/>
                  </a:cubicBezTo>
                  <a:cubicBezTo>
                    <a:pt x="54" y="144"/>
                    <a:pt x="56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60" y="146"/>
                    <a:pt x="62" y="144"/>
                    <a:pt x="62" y="142"/>
                  </a:cubicBezTo>
                  <a:cubicBezTo>
                    <a:pt x="62" y="141"/>
                    <a:pt x="61" y="140"/>
                    <a:pt x="61" y="139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91" y="139"/>
                    <a:pt x="91" y="139"/>
                    <a:pt x="91" y="139"/>
                  </a:cubicBezTo>
                  <a:cubicBezTo>
                    <a:pt x="90" y="140"/>
                    <a:pt x="90" y="141"/>
                    <a:pt x="90" y="142"/>
                  </a:cubicBezTo>
                  <a:cubicBezTo>
                    <a:pt x="90" y="144"/>
                    <a:pt x="92" y="146"/>
                    <a:pt x="94" y="146"/>
                  </a:cubicBezTo>
                  <a:cubicBezTo>
                    <a:pt x="96" y="146"/>
                    <a:pt x="98" y="144"/>
                    <a:pt x="98" y="142"/>
                  </a:cubicBezTo>
                  <a:cubicBezTo>
                    <a:pt x="98" y="141"/>
                    <a:pt x="98" y="140"/>
                    <a:pt x="97" y="140"/>
                  </a:cubicBezTo>
                  <a:cubicBezTo>
                    <a:pt x="97" y="140"/>
                    <a:pt x="97" y="139"/>
                    <a:pt x="98" y="139"/>
                  </a:cubicBezTo>
                  <a:cubicBezTo>
                    <a:pt x="98" y="138"/>
                    <a:pt x="98" y="136"/>
                    <a:pt x="96" y="136"/>
                  </a:cubicBezTo>
                  <a:cubicBezTo>
                    <a:pt x="61" y="120"/>
                    <a:pt x="61" y="120"/>
                    <a:pt x="61" y="120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81" y="109"/>
                    <a:pt x="85" y="105"/>
                    <a:pt x="85" y="101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102" y="98"/>
                    <a:pt x="108" y="90"/>
                    <a:pt x="108" y="80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4" y="66"/>
                    <a:pt x="116" y="63"/>
                    <a:pt x="116" y="58"/>
                  </a:cubicBezTo>
                  <a:cubicBezTo>
                    <a:pt x="116" y="53"/>
                    <a:pt x="113" y="50"/>
                    <a:pt x="106" y="50"/>
                  </a:cubicBezTo>
                  <a:moveTo>
                    <a:pt x="50" y="5"/>
                  </a:moveTo>
                  <a:cubicBezTo>
                    <a:pt x="66" y="5"/>
                    <a:pt x="66" y="5"/>
                    <a:pt x="66" y="5"/>
                  </a:cubicBezTo>
                  <a:cubicBezTo>
                    <a:pt x="82" y="5"/>
                    <a:pt x="85" y="27"/>
                    <a:pt x="85" y="40"/>
                  </a:cubicBezTo>
                  <a:cubicBezTo>
                    <a:pt x="85" y="56"/>
                    <a:pt x="74" y="66"/>
                    <a:pt x="58" y="66"/>
                  </a:cubicBezTo>
                  <a:cubicBezTo>
                    <a:pt x="42" y="66"/>
                    <a:pt x="31" y="56"/>
                    <a:pt x="31" y="40"/>
                  </a:cubicBezTo>
                  <a:cubicBezTo>
                    <a:pt x="31" y="27"/>
                    <a:pt x="34" y="5"/>
                    <a:pt x="50" y="5"/>
                  </a:cubicBezTo>
                  <a:moveTo>
                    <a:pt x="58" y="72"/>
                  </a:moveTo>
                  <a:cubicBezTo>
                    <a:pt x="77" y="72"/>
                    <a:pt x="90" y="59"/>
                    <a:pt x="90" y="40"/>
                  </a:cubicBezTo>
                  <a:cubicBezTo>
                    <a:pt x="90" y="15"/>
                    <a:pt x="81" y="0"/>
                    <a:pt x="6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26" y="15"/>
                    <a:pt x="26" y="40"/>
                  </a:cubicBezTo>
                  <a:cubicBezTo>
                    <a:pt x="26" y="59"/>
                    <a:pt x="39" y="72"/>
                    <a:pt x="58" y="7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63">
            <a:extLst>
              <a:ext uri="{FF2B5EF4-FFF2-40B4-BE49-F238E27FC236}">
                <a16:creationId xmlns:a16="http://schemas.microsoft.com/office/drawing/2014/main" id="{9B9EB810-70FF-40AF-B8DB-C0684C6CE0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119" y="1545239"/>
            <a:ext cx="841375" cy="839788"/>
            <a:chOff x="244" y="1084"/>
            <a:chExt cx="530" cy="529"/>
          </a:xfrm>
        </p:grpSpPr>
        <p:sp>
          <p:nvSpPr>
            <p:cNvPr id="74" name="AutoShape 62">
              <a:extLst>
                <a:ext uri="{FF2B5EF4-FFF2-40B4-BE49-F238E27FC236}">
                  <a16:creationId xmlns:a16="http://schemas.microsoft.com/office/drawing/2014/main" id="{E0613421-7677-4127-AF91-1953CA734A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4" y="108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4">
              <a:extLst>
                <a:ext uri="{FF2B5EF4-FFF2-40B4-BE49-F238E27FC236}">
                  <a16:creationId xmlns:a16="http://schemas.microsoft.com/office/drawing/2014/main" id="{C7383848-9F32-4F1A-AD1E-16562DD72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" y="108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5">
              <a:extLst>
                <a:ext uri="{FF2B5EF4-FFF2-40B4-BE49-F238E27FC236}">
                  <a16:creationId xmlns:a16="http://schemas.microsoft.com/office/drawing/2014/main" id="{BFF52027-AFD8-41A2-8062-6389AB97FB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" y="110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6">
              <a:extLst>
                <a:ext uri="{FF2B5EF4-FFF2-40B4-BE49-F238E27FC236}">
                  <a16:creationId xmlns:a16="http://schemas.microsoft.com/office/drawing/2014/main" id="{4AD78E65-584F-4EB0-83FB-DC631559D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" y="1163"/>
              <a:ext cx="297" cy="373"/>
            </a:xfrm>
            <a:custGeom>
              <a:avLst/>
              <a:gdLst>
                <a:gd name="T0" fmla="*/ 100 w 116"/>
                <a:gd name="T1" fmla="*/ 58 h 146"/>
                <a:gd name="T2" fmla="*/ 111 w 116"/>
                <a:gd name="T3" fmla="*/ 58 h 146"/>
                <a:gd name="T4" fmla="*/ 90 w 116"/>
                <a:gd name="T5" fmla="*/ 93 h 146"/>
                <a:gd name="T6" fmla="*/ 23 w 116"/>
                <a:gd name="T7" fmla="*/ 85 h 146"/>
                <a:gd name="T8" fmla="*/ 58 w 116"/>
                <a:gd name="T9" fmla="*/ 82 h 146"/>
                <a:gd name="T10" fmla="*/ 93 w 116"/>
                <a:gd name="T11" fmla="*/ 85 h 146"/>
                <a:gd name="T12" fmla="*/ 79 w 116"/>
                <a:gd name="T13" fmla="*/ 101 h 146"/>
                <a:gd name="T14" fmla="*/ 58 w 116"/>
                <a:gd name="T15" fmla="*/ 104 h 146"/>
                <a:gd name="T16" fmla="*/ 37 w 116"/>
                <a:gd name="T17" fmla="*/ 101 h 146"/>
                <a:gd name="T18" fmla="*/ 79 w 116"/>
                <a:gd name="T19" fmla="*/ 98 h 146"/>
                <a:gd name="T20" fmla="*/ 5 w 116"/>
                <a:gd name="T21" fmla="*/ 58 h 146"/>
                <a:gd name="T22" fmla="*/ 16 w 116"/>
                <a:gd name="T23" fmla="*/ 58 h 146"/>
                <a:gd name="T24" fmla="*/ 5 w 116"/>
                <a:gd name="T25" fmla="*/ 58 h 146"/>
                <a:gd name="T26" fmla="*/ 95 w 116"/>
                <a:gd name="T27" fmla="*/ 58 h 146"/>
                <a:gd name="T28" fmla="*/ 103 w 116"/>
                <a:gd name="T29" fmla="*/ 80 h 146"/>
                <a:gd name="T30" fmla="*/ 98 w 116"/>
                <a:gd name="T31" fmla="*/ 85 h 146"/>
                <a:gd name="T32" fmla="*/ 83 w 116"/>
                <a:gd name="T33" fmla="*/ 72 h 146"/>
                <a:gd name="T34" fmla="*/ 33 w 116"/>
                <a:gd name="T35" fmla="*/ 72 h 146"/>
                <a:gd name="T36" fmla="*/ 18 w 116"/>
                <a:gd name="T37" fmla="*/ 85 h 146"/>
                <a:gd name="T38" fmla="*/ 13 w 116"/>
                <a:gd name="T39" fmla="*/ 80 h 146"/>
                <a:gd name="T40" fmla="*/ 21 w 116"/>
                <a:gd name="T41" fmla="*/ 58 h 146"/>
                <a:gd name="T42" fmla="*/ 0 w 116"/>
                <a:gd name="T43" fmla="*/ 58 h 146"/>
                <a:gd name="T44" fmla="*/ 8 w 116"/>
                <a:gd name="T45" fmla="*/ 80 h 146"/>
                <a:gd name="T46" fmla="*/ 31 w 116"/>
                <a:gd name="T47" fmla="*/ 98 h 146"/>
                <a:gd name="T48" fmla="*/ 39 w 116"/>
                <a:gd name="T49" fmla="*/ 109 h 146"/>
                <a:gd name="T50" fmla="*/ 55 w 116"/>
                <a:gd name="T51" fmla="*/ 120 h 146"/>
                <a:gd name="T52" fmla="*/ 18 w 116"/>
                <a:gd name="T53" fmla="*/ 139 h 146"/>
                <a:gd name="T54" fmla="*/ 18 w 116"/>
                <a:gd name="T55" fmla="*/ 142 h 146"/>
                <a:gd name="T56" fmla="*/ 26 w 116"/>
                <a:gd name="T57" fmla="*/ 142 h 146"/>
                <a:gd name="T58" fmla="*/ 55 w 116"/>
                <a:gd name="T59" fmla="*/ 126 h 146"/>
                <a:gd name="T60" fmla="*/ 54 w 116"/>
                <a:gd name="T61" fmla="*/ 142 h 146"/>
                <a:gd name="T62" fmla="*/ 58 w 116"/>
                <a:gd name="T63" fmla="*/ 146 h 146"/>
                <a:gd name="T64" fmla="*/ 58 w 116"/>
                <a:gd name="T65" fmla="*/ 146 h 146"/>
                <a:gd name="T66" fmla="*/ 61 w 116"/>
                <a:gd name="T67" fmla="*/ 139 h 146"/>
                <a:gd name="T68" fmla="*/ 91 w 116"/>
                <a:gd name="T69" fmla="*/ 139 h 146"/>
                <a:gd name="T70" fmla="*/ 94 w 116"/>
                <a:gd name="T71" fmla="*/ 146 h 146"/>
                <a:gd name="T72" fmla="*/ 97 w 116"/>
                <a:gd name="T73" fmla="*/ 140 h 146"/>
                <a:gd name="T74" fmla="*/ 96 w 116"/>
                <a:gd name="T75" fmla="*/ 136 h 146"/>
                <a:gd name="T76" fmla="*/ 61 w 116"/>
                <a:gd name="T77" fmla="*/ 109 h 146"/>
                <a:gd name="T78" fmla="*/ 85 w 116"/>
                <a:gd name="T79" fmla="*/ 101 h 146"/>
                <a:gd name="T80" fmla="*/ 94 w 116"/>
                <a:gd name="T81" fmla="*/ 98 h 146"/>
                <a:gd name="T82" fmla="*/ 108 w 116"/>
                <a:gd name="T83" fmla="*/ 66 h 146"/>
                <a:gd name="T84" fmla="*/ 106 w 116"/>
                <a:gd name="T85" fmla="*/ 50 h 146"/>
                <a:gd name="T86" fmla="*/ 66 w 116"/>
                <a:gd name="T87" fmla="*/ 5 h 146"/>
                <a:gd name="T88" fmla="*/ 58 w 116"/>
                <a:gd name="T89" fmla="*/ 66 h 146"/>
                <a:gd name="T90" fmla="*/ 50 w 116"/>
                <a:gd name="T91" fmla="*/ 5 h 146"/>
                <a:gd name="T92" fmla="*/ 90 w 116"/>
                <a:gd name="T93" fmla="*/ 40 h 146"/>
                <a:gd name="T94" fmla="*/ 50 w 116"/>
                <a:gd name="T95" fmla="*/ 0 h 146"/>
                <a:gd name="T96" fmla="*/ 58 w 116"/>
                <a:gd name="T97" fmla="*/ 7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146">
                  <a:moveTo>
                    <a:pt x="106" y="61"/>
                  </a:moveTo>
                  <a:cubicBezTo>
                    <a:pt x="100" y="61"/>
                    <a:pt x="100" y="60"/>
                    <a:pt x="100" y="58"/>
                  </a:cubicBezTo>
                  <a:cubicBezTo>
                    <a:pt x="100" y="57"/>
                    <a:pt x="100" y="56"/>
                    <a:pt x="106" y="56"/>
                  </a:cubicBezTo>
                  <a:cubicBezTo>
                    <a:pt x="111" y="56"/>
                    <a:pt x="111" y="57"/>
                    <a:pt x="111" y="58"/>
                  </a:cubicBezTo>
                  <a:cubicBezTo>
                    <a:pt x="111" y="60"/>
                    <a:pt x="111" y="61"/>
                    <a:pt x="106" y="61"/>
                  </a:cubicBezTo>
                  <a:moveTo>
                    <a:pt x="90" y="93"/>
                  </a:moveTo>
                  <a:cubicBezTo>
                    <a:pt x="26" y="93"/>
                    <a:pt x="26" y="93"/>
                    <a:pt x="26" y="93"/>
                  </a:cubicBezTo>
                  <a:cubicBezTo>
                    <a:pt x="25" y="93"/>
                    <a:pt x="23" y="88"/>
                    <a:pt x="23" y="85"/>
                  </a:cubicBezTo>
                  <a:cubicBezTo>
                    <a:pt x="23" y="81"/>
                    <a:pt x="27" y="77"/>
                    <a:pt x="31" y="77"/>
                  </a:cubicBezTo>
                  <a:cubicBezTo>
                    <a:pt x="33" y="78"/>
                    <a:pt x="44" y="82"/>
                    <a:pt x="58" y="82"/>
                  </a:cubicBezTo>
                  <a:cubicBezTo>
                    <a:pt x="72" y="82"/>
                    <a:pt x="83" y="78"/>
                    <a:pt x="85" y="77"/>
                  </a:cubicBezTo>
                  <a:cubicBezTo>
                    <a:pt x="89" y="77"/>
                    <a:pt x="93" y="81"/>
                    <a:pt x="93" y="85"/>
                  </a:cubicBezTo>
                  <a:cubicBezTo>
                    <a:pt x="93" y="88"/>
                    <a:pt x="91" y="93"/>
                    <a:pt x="90" y="93"/>
                  </a:cubicBezTo>
                  <a:moveTo>
                    <a:pt x="79" y="101"/>
                  </a:moveTo>
                  <a:cubicBezTo>
                    <a:pt x="79" y="102"/>
                    <a:pt x="78" y="104"/>
                    <a:pt x="77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8" y="104"/>
                    <a:pt x="37" y="102"/>
                    <a:pt x="37" y="101"/>
                  </a:cubicBezTo>
                  <a:cubicBezTo>
                    <a:pt x="37" y="98"/>
                    <a:pt x="37" y="98"/>
                    <a:pt x="37" y="98"/>
                  </a:cubicBezTo>
                  <a:cubicBezTo>
                    <a:pt x="79" y="98"/>
                    <a:pt x="79" y="98"/>
                    <a:pt x="79" y="98"/>
                  </a:cubicBezTo>
                  <a:lnTo>
                    <a:pt x="79" y="101"/>
                  </a:lnTo>
                  <a:close/>
                  <a:moveTo>
                    <a:pt x="5" y="58"/>
                  </a:moveTo>
                  <a:cubicBezTo>
                    <a:pt x="5" y="57"/>
                    <a:pt x="5" y="56"/>
                    <a:pt x="10" y="56"/>
                  </a:cubicBezTo>
                  <a:cubicBezTo>
                    <a:pt x="16" y="56"/>
                    <a:pt x="16" y="57"/>
                    <a:pt x="16" y="58"/>
                  </a:cubicBezTo>
                  <a:cubicBezTo>
                    <a:pt x="16" y="60"/>
                    <a:pt x="16" y="61"/>
                    <a:pt x="10" y="61"/>
                  </a:cubicBezTo>
                  <a:cubicBezTo>
                    <a:pt x="5" y="61"/>
                    <a:pt x="5" y="60"/>
                    <a:pt x="5" y="58"/>
                  </a:cubicBezTo>
                  <a:moveTo>
                    <a:pt x="106" y="50"/>
                  </a:moveTo>
                  <a:cubicBezTo>
                    <a:pt x="99" y="50"/>
                    <a:pt x="95" y="53"/>
                    <a:pt x="95" y="58"/>
                  </a:cubicBezTo>
                  <a:cubicBezTo>
                    <a:pt x="95" y="63"/>
                    <a:pt x="98" y="66"/>
                    <a:pt x="103" y="66"/>
                  </a:cubicBezTo>
                  <a:cubicBezTo>
                    <a:pt x="103" y="80"/>
                    <a:pt x="103" y="80"/>
                    <a:pt x="103" y="80"/>
                  </a:cubicBezTo>
                  <a:cubicBezTo>
                    <a:pt x="103" y="85"/>
                    <a:pt x="100" y="90"/>
                    <a:pt x="97" y="92"/>
                  </a:cubicBezTo>
                  <a:cubicBezTo>
                    <a:pt x="97" y="90"/>
                    <a:pt x="98" y="87"/>
                    <a:pt x="98" y="85"/>
                  </a:cubicBezTo>
                  <a:cubicBezTo>
                    <a:pt x="98" y="78"/>
                    <a:pt x="92" y="72"/>
                    <a:pt x="85" y="72"/>
                  </a:cubicBezTo>
                  <a:cubicBezTo>
                    <a:pt x="84" y="72"/>
                    <a:pt x="84" y="72"/>
                    <a:pt x="83" y="72"/>
                  </a:cubicBezTo>
                  <a:cubicBezTo>
                    <a:pt x="83" y="72"/>
                    <a:pt x="73" y="77"/>
                    <a:pt x="58" y="77"/>
                  </a:cubicBezTo>
                  <a:cubicBezTo>
                    <a:pt x="43" y="77"/>
                    <a:pt x="33" y="72"/>
                    <a:pt x="33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24" y="72"/>
                    <a:pt x="18" y="78"/>
                    <a:pt x="18" y="85"/>
                  </a:cubicBezTo>
                  <a:cubicBezTo>
                    <a:pt x="18" y="87"/>
                    <a:pt x="19" y="90"/>
                    <a:pt x="19" y="92"/>
                  </a:cubicBezTo>
                  <a:cubicBezTo>
                    <a:pt x="16" y="90"/>
                    <a:pt x="13" y="85"/>
                    <a:pt x="13" y="80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8" y="66"/>
                    <a:pt x="21" y="63"/>
                    <a:pt x="21" y="58"/>
                  </a:cubicBezTo>
                  <a:cubicBezTo>
                    <a:pt x="21" y="53"/>
                    <a:pt x="17" y="50"/>
                    <a:pt x="10" y="50"/>
                  </a:cubicBezTo>
                  <a:cubicBezTo>
                    <a:pt x="3" y="50"/>
                    <a:pt x="0" y="53"/>
                    <a:pt x="0" y="58"/>
                  </a:cubicBezTo>
                  <a:cubicBezTo>
                    <a:pt x="0" y="63"/>
                    <a:pt x="2" y="66"/>
                    <a:pt x="8" y="6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90"/>
                    <a:pt x="14" y="98"/>
                    <a:pt x="2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5"/>
                    <a:pt x="35" y="109"/>
                    <a:pt x="39" y="109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5" y="120"/>
                    <a:pt x="55" y="120"/>
                    <a:pt x="55" y="120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18" y="136"/>
                    <a:pt x="18" y="138"/>
                    <a:pt x="18" y="139"/>
                  </a:cubicBezTo>
                  <a:cubicBezTo>
                    <a:pt x="19" y="139"/>
                    <a:pt x="19" y="140"/>
                    <a:pt x="19" y="140"/>
                  </a:cubicBezTo>
                  <a:cubicBezTo>
                    <a:pt x="18" y="140"/>
                    <a:pt x="18" y="141"/>
                    <a:pt x="18" y="142"/>
                  </a:cubicBezTo>
                  <a:cubicBezTo>
                    <a:pt x="18" y="144"/>
                    <a:pt x="20" y="146"/>
                    <a:pt x="22" y="146"/>
                  </a:cubicBezTo>
                  <a:cubicBezTo>
                    <a:pt x="24" y="146"/>
                    <a:pt x="26" y="144"/>
                    <a:pt x="26" y="142"/>
                  </a:cubicBezTo>
                  <a:cubicBezTo>
                    <a:pt x="26" y="141"/>
                    <a:pt x="26" y="140"/>
                    <a:pt x="25" y="139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9"/>
                    <a:pt x="55" y="139"/>
                    <a:pt x="55" y="139"/>
                  </a:cubicBezTo>
                  <a:cubicBezTo>
                    <a:pt x="55" y="140"/>
                    <a:pt x="54" y="141"/>
                    <a:pt x="54" y="142"/>
                  </a:cubicBezTo>
                  <a:cubicBezTo>
                    <a:pt x="54" y="144"/>
                    <a:pt x="56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60" y="146"/>
                    <a:pt x="62" y="144"/>
                    <a:pt x="62" y="142"/>
                  </a:cubicBezTo>
                  <a:cubicBezTo>
                    <a:pt x="62" y="141"/>
                    <a:pt x="61" y="140"/>
                    <a:pt x="61" y="139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91" y="139"/>
                    <a:pt x="91" y="139"/>
                    <a:pt x="91" y="139"/>
                  </a:cubicBezTo>
                  <a:cubicBezTo>
                    <a:pt x="90" y="140"/>
                    <a:pt x="90" y="141"/>
                    <a:pt x="90" y="142"/>
                  </a:cubicBezTo>
                  <a:cubicBezTo>
                    <a:pt x="90" y="144"/>
                    <a:pt x="92" y="146"/>
                    <a:pt x="94" y="146"/>
                  </a:cubicBezTo>
                  <a:cubicBezTo>
                    <a:pt x="96" y="146"/>
                    <a:pt x="98" y="144"/>
                    <a:pt x="98" y="142"/>
                  </a:cubicBezTo>
                  <a:cubicBezTo>
                    <a:pt x="98" y="141"/>
                    <a:pt x="98" y="140"/>
                    <a:pt x="97" y="140"/>
                  </a:cubicBezTo>
                  <a:cubicBezTo>
                    <a:pt x="97" y="140"/>
                    <a:pt x="97" y="139"/>
                    <a:pt x="98" y="139"/>
                  </a:cubicBezTo>
                  <a:cubicBezTo>
                    <a:pt x="98" y="138"/>
                    <a:pt x="98" y="136"/>
                    <a:pt x="96" y="136"/>
                  </a:cubicBezTo>
                  <a:cubicBezTo>
                    <a:pt x="61" y="120"/>
                    <a:pt x="61" y="120"/>
                    <a:pt x="61" y="120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81" y="109"/>
                    <a:pt x="85" y="105"/>
                    <a:pt x="85" y="101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102" y="98"/>
                    <a:pt x="108" y="90"/>
                    <a:pt x="108" y="80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4" y="66"/>
                    <a:pt x="116" y="63"/>
                    <a:pt x="116" y="58"/>
                  </a:cubicBezTo>
                  <a:cubicBezTo>
                    <a:pt x="116" y="53"/>
                    <a:pt x="113" y="50"/>
                    <a:pt x="106" y="50"/>
                  </a:cubicBezTo>
                  <a:moveTo>
                    <a:pt x="50" y="5"/>
                  </a:moveTo>
                  <a:cubicBezTo>
                    <a:pt x="66" y="5"/>
                    <a:pt x="66" y="5"/>
                    <a:pt x="66" y="5"/>
                  </a:cubicBezTo>
                  <a:cubicBezTo>
                    <a:pt x="82" y="5"/>
                    <a:pt x="85" y="27"/>
                    <a:pt x="85" y="40"/>
                  </a:cubicBezTo>
                  <a:cubicBezTo>
                    <a:pt x="85" y="56"/>
                    <a:pt x="74" y="66"/>
                    <a:pt x="58" y="66"/>
                  </a:cubicBezTo>
                  <a:cubicBezTo>
                    <a:pt x="42" y="66"/>
                    <a:pt x="31" y="56"/>
                    <a:pt x="31" y="40"/>
                  </a:cubicBezTo>
                  <a:cubicBezTo>
                    <a:pt x="31" y="27"/>
                    <a:pt x="34" y="5"/>
                    <a:pt x="50" y="5"/>
                  </a:cubicBezTo>
                  <a:moveTo>
                    <a:pt x="58" y="72"/>
                  </a:moveTo>
                  <a:cubicBezTo>
                    <a:pt x="77" y="72"/>
                    <a:pt x="90" y="59"/>
                    <a:pt x="90" y="40"/>
                  </a:cubicBezTo>
                  <a:cubicBezTo>
                    <a:pt x="90" y="15"/>
                    <a:pt x="81" y="0"/>
                    <a:pt x="6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26" y="15"/>
                    <a:pt x="26" y="40"/>
                  </a:cubicBezTo>
                  <a:cubicBezTo>
                    <a:pt x="26" y="59"/>
                    <a:pt x="39" y="72"/>
                    <a:pt x="58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69">
            <a:extLst>
              <a:ext uri="{FF2B5EF4-FFF2-40B4-BE49-F238E27FC236}">
                <a16:creationId xmlns:a16="http://schemas.microsoft.com/office/drawing/2014/main" id="{DC43BD3B-C1EA-491A-8BC6-A297074238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6498" y="1585721"/>
            <a:ext cx="760412" cy="760412"/>
            <a:chOff x="2397" y="1103"/>
            <a:chExt cx="479" cy="479"/>
          </a:xfrm>
        </p:grpSpPr>
        <p:sp>
          <p:nvSpPr>
            <p:cNvPr id="83" name="AutoShape 68">
              <a:extLst>
                <a:ext uri="{FF2B5EF4-FFF2-40B4-BE49-F238E27FC236}">
                  <a16:creationId xmlns:a16="http://schemas.microsoft.com/office/drawing/2014/main" id="{2063D5E6-BB97-4706-8504-56DE5A5B66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97" y="1103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70">
              <a:extLst>
                <a:ext uri="{FF2B5EF4-FFF2-40B4-BE49-F238E27FC236}">
                  <a16:creationId xmlns:a16="http://schemas.microsoft.com/office/drawing/2014/main" id="{5538890F-762A-45D3-B802-0BCE1C77BD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9" y="1105"/>
              <a:ext cx="477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1">
              <a:extLst>
                <a:ext uri="{FF2B5EF4-FFF2-40B4-BE49-F238E27FC236}">
                  <a16:creationId xmlns:a16="http://schemas.microsoft.com/office/drawing/2014/main" id="{D7BD4E62-B936-451E-A5DE-2FB4280FB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3" y="1204"/>
              <a:ext cx="329" cy="280"/>
            </a:xfrm>
            <a:custGeom>
              <a:avLst/>
              <a:gdLst>
                <a:gd name="T0" fmla="*/ 50 w 134"/>
                <a:gd name="T1" fmla="*/ 83 h 114"/>
                <a:gd name="T2" fmla="*/ 36 w 134"/>
                <a:gd name="T3" fmla="*/ 81 h 114"/>
                <a:gd name="T4" fmla="*/ 62 w 134"/>
                <a:gd name="T5" fmla="*/ 78 h 114"/>
                <a:gd name="T6" fmla="*/ 65 w 134"/>
                <a:gd name="T7" fmla="*/ 83 h 114"/>
                <a:gd name="T8" fmla="*/ 38 w 134"/>
                <a:gd name="T9" fmla="*/ 74 h 114"/>
                <a:gd name="T10" fmla="*/ 31 w 134"/>
                <a:gd name="T11" fmla="*/ 85 h 114"/>
                <a:gd name="T12" fmla="*/ 48 w 134"/>
                <a:gd name="T13" fmla="*/ 88 h 114"/>
                <a:gd name="T14" fmla="*/ 33 w 134"/>
                <a:gd name="T15" fmla="*/ 107 h 114"/>
                <a:gd name="T16" fmla="*/ 31 w 134"/>
                <a:gd name="T17" fmla="*/ 110 h 114"/>
                <a:gd name="T18" fmla="*/ 33 w 134"/>
                <a:gd name="T19" fmla="*/ 114 h 114"/>
                <a:gd name="T20" fmla="*/ 36 w 134"/>
                <a:gd name="T21" fmla="*/ 111 h 114"/>
                <a:gd name="T22" fmla="*/ 48 w 134"/>
                <a:gd name="T23" fmla="*/ 112 h 114"/>
                <a:gd name="T24" fmla="*/ 50 w 134"/>
                <a:gd name="T25" fmla="*/ 114 h 114"/>
                <a:gd name="T26" fmla="*/ 50 w 134"/>
                <a:gd name="T27" fmla="*/ 114 h 114"/>
                <a:gd name="T28" fmla="*/ 53 w 134"/>
                <a:gd name="T29" fmla="*/ 111 h 114"/>
                <a:gd name="T30" fmla="*/ 65 w 134"/>
                <a:gd name="T31" fmla="*/ 111 h 114"/>
                <a:gd name="T32" fmla="*/ 67 w 134"/>
                <a:gd name="T33" fmla="*/ 114 h 114"/>
                <a:gd name="T34" fmla="*/ 69 w 134"/>
                <a:gd name="T35" fmla="*/ 110 h 114"/>
                <a:gd name="T36" fmla="*/ 68 w 134"/>
                <a:gd name="T37" fmla="*/ 107 h 114"/>
                <a:gd name="T38" fmla="*/ 53 w 134"/>
                <a:gd name="T39" fmla="*/ 88 h 114"/>
                <a:gd name="T40" fmla="*/ 69 w 134"/>
                <a:gd name="T41" fmla="*/ 85 h 114"/>
                <a:gd name="T42" fmla="*/ 62 w 134"/>
                <a:gd name="T43" fmla="*/ 74 h 114"/>
                <a:gd name="T44" fmla="*/ 120 w 134"/>
                <a:gd name="T45" fmla="*/ 26 h 114"/>
                <a:gd name="T46" fmla="*/ 120 w 134"/>
                <a:gd name="T47" fmla="*/ 21 h 114"/>
                <a:gd name="T48" fmla="*/ 89 w 134"/>
                <a:gd name="T49" fmla="*/ 24 h 114"/>
                <a:gd name="T50" fmla="*/ 91 w 134"/>
                <a:gd name="T51" fmla="*/ 33 h 114"/>
                <a:gd name="T52" fmla="*/ 122 w 134"/>
                <a:gd name="T53" fmla="*/ 31 h 114"/>
                <a:gd name="T54" fmla="*/ 91 w 134"/>
                <a:gd name="T55" fmla="*/ 29 h 114"/>
                <a:gd name="T56" fmla="*/ 91 w 134"/>
                <a:gd name="T57" fmla="*/ 33 h 114"/>
                <a:gd name="T58" fmla="*/ 120 w 134"/>
                <a:gd name="T59" fmla="*/ 40 h 114"/>
                <a:gd name="T60" fmla="*/ 120 w 134"/>
                <a:gd name="T61" fmla="*/ 36 h 114"/>
                <a:gd name="T62" fmla="*/ 89 w 134"/>
                <a:gd name="T63" fmla="*/ 38 h 114"/>
                <a:gd name="T64" fmla="*/ 29 w 134"/>
                <a:gd name="T65" fmla="*/ 5 h 114"/>
                <a:gd name="T66" fmla="*/ 72 w 134"/>
                <a:gd name="T67" fmla="*/ 33 h 114"/>
                <a:gd name="T68" fmla="*/ 29 w 134"/>
                <a:gd name="T69" fmla="*/ 5 h 114"/>
                <a:gd name="T70" fmla="*/ 74 w 134"/>
                <a:gd name="T71" fmla="*/ 38 h 114"/>
                <a:gd name="T72" fmla="*/ 77 w 134"/>
                <a:gd name="T73" fmla="*/ 2 h 114"/>
                <a:gd name="T74" fmla="*/ 26 w 134"/>
                <a:gd name="T75" fmla="*/ 0 h 114"/>
                <a:gd name="T76" fmla="*/ 24 w 134"/>
                <a:gd name="T77" fmla="*/ 36 h 114"/>
                <a:gd name="T78" fmla="*/ 105 w 134"/>
                <a:gd name="T79" fmla="*/ 100 h 114"/>
                <a:gd name="T80" fmla="*/ 105 w 134"/>
                <a:gd name="T81" fmla="*/ 95 h 114"/>
                <a:gd name="T82" fmla="*/ 105 w 134"/>
                <a:gd name="T83" fmla="*/ 100 h 114"/>
                <a:gd name="T84" fmla="*/ 108 w 134"/>
                <a:gd name="T85" fmla="*/ 83 h 114"/>
                <a:gd name="T86" fmla="*/ 103 w 134"/>
                <a:gd name="T87" fmla="*/ 83 h 114"/>
                <a:gd name="T88" fmla="*/ 105 w 134"/>
                <a:gd name="T89" fmla="*/ 71 h 114"/>
                <a:gd name="T90" fmla="*/ 105 w 134"/>
                <a:gd name="T91" fmla="*/ 66 h 114"/>
                <a:gd name="T92" fmla="*/ 105 w 134"/>
                <a:gd name="T93" fmla="*/ 71 h 114"/>
                <a:gd name="T94" fmla="*/ 5 w 134"/>
                <a:gd name="T95" fmla="*/ 55 h 114"/>
                <a:gd name="T96" fmla="*/ 7 w 134"/>
                <a:gd name="T97" fmla="*/ 50 h 114"/>
                <a:gd name="T98" fmla="*/ 129 w 134"/>
                <a:gd name="T99" fmla="*/ 52 h 114"/>
                <a:gd name="T100" fmla="*/ 122 w 134"/>
                <a:gd name="T101" fmla="*/ 109 h 114"/>
                <a:gd name="T102" fmla="*/ 89 w 134"/>
                <a:gd name="T103" fmla="*/ 59 h 114"/>
                <a:gd name="T104" fmla="*/ 122 w 134"/>
                <a:gd name="T105" fmla="*/ 109 h 114"/>
                <a:gd name="T106" fmla="*/ 7 w 134"/>
                <a:gd name="T107" fmla="*/ 45 h 114"/>
                <a:gd name="T108" fmla="*/ 0 w 134"/>
                <a:gd name="T109" fmla="*/ 57 h 114"/>
                <a:gd name="T110" fmla="*/ 9 w 134"/>
                <a:gd name="T111" fmla="*/ 59 h 114"/>
                <a:gd name="T112" fmla="*/ 12 w 134"/>
                <a:gd name="T113" fmla="*/ 114 h 114"/>
                <a:gd name="T114" fmla="*/ 14 w 134"/>
                <a:gd name="T115" fmla="*/ 59 h 114"/>
                <a:gd name="T116" fmla="*/ 84 w 134"/>
                <a:gd name="T117" fmla="*/ 112 h 114"/>
                <a:gd name="T118" fmla="*/ 125 w 134"/>
                <a:gd name="T119" fmla="*/ 114 h 114"/>
                <a:gd name="T120" fmla="*/ 127 w 134"/>
                <a:gd name="T121" fmla="*/ 59 h 114"/>
                <a:gd name="T122" fmla="*/ 134 w 134"/>
                <a:gd name="T123" fmla="*/ 57 h 114"/>
                <a:gd name="T124" fmla="*/ 127 w 134"/>
                <a:gd name="T125" fmla="*/ 4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" h="114">
                  <a:moveTo>
                    <a:pt x="65" y="83"/>
                  </a:moveTo>
                  <a:cubicBezTo>
                    <a:pt x="50" y="83"/>
                    <a:pt x="50" y="83"/>
                    <a:pt x="50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79"/>
                    <a:pt x="37" y="78"/>
                    <a:pt x="38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4" y="78"/>
                    <a:pt x="65" y="79"/>
                    <a:pt x="65" y="81"/>
                  </a:cubicBezTo>
                  <a:lnTo>
                    <a:pt x="65" y="83"/>
                  </a:lnTo>
                  <a:close/>
                  <a:moveTo>
                    <a:pt x="62" y="74"/>
                  </a:moveTo>
                  <a:cubicBezTo>
                    <a:pt x="38" y="74"/>
                    <a:pt x="38" y="74"/>
                    <a:pt x="38" y="74"/>
                  </a:cubicBezTo>
                  <a:cubicBezTo>
                    <a:pt x="34" y="74"/>
                    <a:pt x="31" y="77"/>
                    <a:pt x="31" y="81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7"/>
                    <a:pt x="32" y="88"/>
                    <a:pt x="33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1" y="107"/>
                    <a:pt x="31" y="109"/>
                    <a:pt x="31" y="110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11"/>
                    <a:pt x="31" y="111"/>
                    <a:pt x="31" y="112"/>
                  </a:cubicBezTo>
                  <a:cubicBezTo>
                    <a:pt x="31" y="113"/>
                    <a:pt x="32" y="114"/>
                    <a:pt x="33" y="114"/>
                  </a:cubicBezTo>
                  <a:cubicBezTo>
                    <a:pt x="35" y="114"/>
                    <a:pt x="36" y="113"/>
                    <a:pt x="36" y="112"/>
                  </a:cubicBezTo>
                  <a:cubicBezTo>
                    <a:pt x="36" y="111"/>
                    <a:pt x="36" y="111"/>
                    <a:pt x="36" y="111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3"/>
                    <a:pt x="49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2" y="114"/>
                    <a:pt x="53" y="113"/>
                    <a:pt x="53" y="112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3" y="108"/>
                    <a:pt x="53" y="108"/>
                    <a:pt x="53" y="108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1"/>
                    <a:pt x="65" y="111"/>
                    <a:pt x="65" y="112"/>
                  </a:cubicBezTo>
                  <a:cubicBezTo>
                    <a:pt x="65" y="113"/>
                    <a:pt x="66" y="114"/>
                    <a:pt x="67" y="114"/>
                  </a:cubicBezTo>
                  <a:cubicBezTo>
                    <a:pt x="68" y="114"/>
                    <a:pt x="69" y="113"/>
                    <a:pt x="69" y="112"/>
                  </a:cubicBezTo>
                  <a:cubicBezTo>
                    <a:pt x="69" y="111"/>
                    <a:pt x="69" y="111"/>
                    <a:pt x="69" y="110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70" y="109"/>
                    <a:pt x="69" y="107"/>
                    <a:pt x="68" y="107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8" y="88"/>
                    <a:pt x="69" y="87"/>
                    <a:pt x="69" y="85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77"/>
                    <a:pt x="66" y="74"/>
                    <a:pt x="62" y="74"/>
                  </a:cubicBezTo>
                  <a:moveTo>
                    <a:pt x="91" y="26"/>
                  </a:move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2" y="25"/>
                    <a:pt x="122" y="24"/>
                  </a:cubicBezTo>
                  <a:cubicBezTo>
                    <a:pt x="122" y="22"/>
                    <a:pt x="121" y="21"/>
                    <a:pt x="120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0" y="21"/>
                    <a:pt x="89" y="22"/>
                    <a:pt x="89" y="24"/>
                  </a:cubicBezTo>
                  <a:cubicBezTo>
                    <a:pt x="89" y="25"/>
                    <a:pt x="90" y="26"/>
                    <a:pt x="91" y="26"/>
                  </a:cubicBezTo>
                  <a:moveTo>
                    <a:pt x="91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1" y="33"/>
                    <a:pt x="122" y="32"/>
                    <a:pt x="122" y="31"/>
                  </a:cubicBezTo>
                  <a:cubicBezTo>
                    <a:pt x="122" y="30"/>
                    <a:pt x="121" y="29"/>
                    <a:pt x="120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89" y="30"/>
                    <a:pt x="89" y="31"/>
                  </a:cubicBezTo>
                  <a:cubicBezTo>
                    <a:pt x="89" y="32"/>
                    <a:pt x="90" y="33"/>
                    <a:pt x="91" y="33"/>
                  </a:cubicBezTo>
                  <a:moveTo>
                    <a:pt x="91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1" y="40"/>
                    <a:pt x="122" y="39"/>
                    <a:pt x="122" y="38"/>
                  </a:cubicBezTo>
                  <a:cubicBezTo>
                    <a:pt x="122" y="37"/>
                    <a:pt x="121" y="36"/>
                    <a:pt x="120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6"/>
                    <a:pt x="89" y="37"/>
                    <a:pt x="89" y="38"/>
                  </a:cubicBezTo>
                  <a:cubicBezTo>
                    <a:pt x="89" y="39"/>
                    <a:pt x="90" y="40"/>
                    <a:pt x="91" y="40"/>
                  </a:cubicBezTo>
                  <a:moveTo>
                    <a:pt x="29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9" y="5"/>
                  </a:lnTo>
                  <a:close/>
                  <a:moveTo>
                    <a:pt x="26" y="38"/>
                  </a:moveTo>
                  <a:cubicBezTo>
                    <a:pt x="74" y="38"/>
                    <a:pt x="74" y="38"/>
                    <a:pt x="74" y="38"/>
                  </a:cubicBezTo>
                  <a:cubicBezTo>
                    <a:pt x="76" y="38"/>
                    <a:pt x="77" y="37"/>
                    <a:pt x="77" y="36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1"/>
                    <a:pt x="76" y="0"/>
                    <a:pt x="7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5" y="38"/>
                    <a:pt x="26" y="38"/>
                  </a:cubicBezTo>
                  <a:moveTo>
                    <a:pt x="105" y="100"/>
                  </a:moveTo>
                  <a:cubicBezTo>
                    <a:pt x="107" y="100"/>
                    <a:pt x="108" y="99"/>
                    <a:pt x="108" y="97"/>
                  </a:cubicBezTo>
                  <a:cubicBezTo>
                    <a:pt x="108" y="96"/>
                    <a:pt x="107" y="95"/>
                    <a:pt x="105" y="95"/>
                  </a:cubicBezTo>
                  <a:cubicBezTo>
                    <a:pt x="104" y="95"/>
                    <a:pt x="103" y="96"/>
                    <a:pt x="103" y="97"/>
                  </a:cubicBezTo>
                  <a:cubicBezTo>
                    <a:pt x="103" y="99"/>
                    <a:pt x="104" y="100"/>
                    <a:pt x="105" y="100"/>
                  </a:cubicBezTo>
                  <a:moveTo>
                    <a:pt x="105" y="85"/>
                  </a:moveTo>
                  <a:cubicBezTo>
                    <a:pt x="107" y="85"/>
                    <a:pt x="108" y="84"/>
                    <a:pt x="108" y="83"/>
                  </a:cubicBezTo>
                  <a:cubicBezTo>
                    <a:pt x="108" y="82"/>
                    <a:pt x="107" y="81"/>
                    <a:pt x="105" y="81"/>
                  </a:cubicBezTo>
                  <a:cubicBezTo>
                    <a:pt x="104" y="81"/>
                    <a:pt x="103" y="82"/>
                    <a:pt x="103" y="83"/>
                  </a:cubicBezTo>
                  <a:cubicBezTo>
                    <a:pt x="103" y="84"/>
                    <a:pt x="104" y="85"/>
                    <a:pt x="105" y="85"/>
                  </a:cubicBezTo>
                  <a:moveTo>
                    <a:pt x="105" y="71"/>
                  </a:moveTo>
                  <a:cubicBezTo>
                    <a:pt x="107" y="71"/>
                    <a:pt x="108" y="70"/>
                    <a:pt x="108" y="69"/>
                  </a:cubicBezTo>
                  <a:cubicBezTo>
                    <a:pt x="108" y="68"/>
                    <a:pt x="107" y="66"/>
                    <a:pt x="105" y="66"/>
                  </a:cubicBezTo>
                  <a:cubicBezTo>
                    <a:pt x="104" y="66"/>
                    <a:pt x="103" y="68"/>
                    <a:pt x="103" y="69"/>
                  </a:cubicBezTo>
                  <a:cubicBezTo>
                    <a:pt x="103" y="70"/>
                    <a:pt x="104" y="71"/>
                    <a:pt x="105" y="71"/>
                  </a:cubicBezTo>
                  <a:moveTo>
                    <a:pt x="129" y="55"/>
                  </a:moveTo>
                  <a:cubicBezTo>
                    <a:pt x="5" y="55"/>
                    <a:pt x="5" y="55"/>
                    <a:pt x="5" y="55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1"/>
                    <a:pt x="6" y="50"/>
                    <a:pt x="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8" y="50"/>
                    <a:pt x="129" y="51"/>
                    <a:pt x="129" y="52"/>
                  </a:cubicBezTo>
                  <a:lnTo>
                    <a:pt x="129" y="55"/>
                  </a:lnTo>
                  <a:close/>
                  <a:moveTo>
                    <a:pt x="122" y="109"/>
                  </a:moveTo>
                  <a:cubicBezTo>
                    <a:pt x="89" y="109"/>
                    <a:pt x="89" y="109"/>
                    <a:pt x="89" y="10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22" y="59"/>
                    <a:pt x="122" y="59"/>
                    <a:pt x="122" y="59"/>
                  </a:cubicBezTo>
                  <a:lnTo>
                    <a:pt x="122" y="109"/>
                  </a:lnTo>
                  <a:close/>
                  <a:moveTo>
                    <a:pt x="127" y="45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3" y="45"/>
                    <a:pt x="0" y="48"/>
                    <a:pt x="0" y="52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1" y="59"/>
                    <a:pt x="2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9" y="113"/>
                    <a:pt x="10" y="114"/>
                    <a:pt x="12" y="114"/>
                  </a:cubicBezTo>
                  <a:cubicBezTo>
                    <a:pt x="13" y="114"/>
                    <a:pt x="14" y="113"/>
                    <a:pt x="14" y="11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4" y="113"/>
                    <a:pt x="85" y="114"/>
                    <a:pt x="86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6" y="114"/>
                    <a:pt x="127" y="113"/>
                    <a:pt x="127" y="112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3" y="59"/>
                    <a:pt x="134" y="58"/>
                    <a:pt x="134" y="57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4" y="48"/>
                    <a:pt x="131" y="45"/>
                    <a:pt x="127" y="4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" name="Group 74">
            <a:extLst>
              <a:ext uri="{FF2B5EF4-FFF2-40B4-BE49-F238E27FC236}">
                <a16:creationId xmlns:a16="http://schemas.microsoft.com/office/drawing/2014/main" id="{ACB8AC88-DD09-4616-B083-A168766B69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735" y="1545239"/>
            <a:ext cx="841375" cy="841375"/>
            <a:chOff x="1641" y="1046"/>
            <a:chExt cx="530" cy="530"/>
          </a:xfrm>
        </p:grpSpPr>
        <p:sp>
          <p:nvSpPr>
            <p:cNvPr id="87" name="AutoShape 73">
              <a:extLst>
                <a:ext uri="{FF2B5EF4-FFF2-40B4-BE49-F238E27FC236}">
                  <a16:creationId xmlns:a16="http://schemas.microsoft.com/office/drawing/2014/main" id="{6BA70DC4-78A2-46B0-8BE8-F18F325AEE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1" y="104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75">
              <a:extLst>
                <a:ext uri="{FF2B5EF4-FFF2-40B4-BE49-F238E27FC236}">
                  <a16:creationId xmlns:a16="http://schemas.microsoft.com/office/drawing/2014/main" id="{AD5A2683-4738-433E-902E-9B6766D03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1" y="104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6">
              <a:extLst>
                <a:ext uri="{FF2B5EF4-FFF2-40B4-BE49-F238E27FC236}">
                  <a16:creationId xmlns:a16="http://schemas.microsoft.com/office/drawing/2014/main" id="{C7CE93C7-4ED7-4833-BD0E-3025F93C2C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9" y="106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77">
              <a:extLst>
                <a:ext uri="{FF2B5EF4-FFF2-40B4-BE49-F238E27FC236}">
                  <a16:creationId xmlns:a16="http://schemas.microsoft.com/office/drawing/2014/main" id="{06B90D68-ECC7-4E20-B0DB-BBB6030334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6" y="1166"/>
              <a:ext cx="343" cy="292"/>
            </a:xfrm>
            <a:custGeom>
              <a:avLst/>
              <a:gdLst>
                <a:gd name="T0" fmla="*/ 50 w 134"/>
                <a:gd name="T1" fmla="*/ 83 h 114"/>
                <a:gd name="T2" fmla="*/ 36 w 134"/>
                <a:gd name="T3" fmla="*/ 81 h 114"/>
                <a:gd name="T4" fmla="*/ 62 w 134"/>
                <a:gd name="T5" fmla="*/ 78 h 114"/>
                <a:gd name="T6" fmla="*/ 65 w 134"/>
                <a:gd name="T7" fmla="*/ 83 h 114"/>
                <a:gd name="T8" fmla="*/ 38 w 134"/>
                <a:gd name="T9" fmla="*/ 74 h 114"/>
                <a:gd name="T10" fmla="*/ 31 w 134"/>
                <a:gd name="T11" fmla="*/ 85 h 114"/>
                <a:gd name="T12" fmla="*/ 48 w 134"/>
                <a:gd name="T13" fmla="*/ 88 h 114"/>
                <a:gd name="T14" fmla="*/ 33 w 134"/>
                <a:gd name="T15" fmla="*/ 107 h 114"/>
                <a:gd name="T16" fmla="*/ 31 w 134"/>
                <a:gd name="T17" fmla="*/ 110 h 114"/>
                <a:gd name="T18" fmla="*/ 33 w 134"/>
                <a:gd name="T19" fmla="*/ 114 h 114"/>
                <a:gd name="T20" fmla="*/ 36 w 134"/>
                <a:gd name="T21" fmla="*/ 111 h 114"/>
                <a:gd name="T22" fmla="*/ 48 w 134"/>
                <a:gd name="T23" fmla="*/ 112 h 114"/>
                <a:gd name="T24" fmla="*/ 50 w 134"/>
                <a:gd name="T25" fmla="*/ 114 h 114"/>
                <a:gd name="T26" fmla="*/ 50 w 134"/>
                <a:gd name="T27" fmla="*/ 114 h 114"/>
                <a:gd name="T28" fmla="*/ 53 w 134"/>
                <a:gd name="T29" fmla="*/ 111 h 114"/>
                <a:gd name="T30" fmla="*/ 65 w 134"/>
                <a:gd name="T31" fmla="*/ 111 h 114"/>
                <a:gd name="T32" fmla="*/ 67 w 134"/>
                <a:gd name="T33" fmla="*/ 114 h 114"/>
                <a:gd name="T34" fmla="*/ 69 w 134"/>
                <a:gd name="T35" fmla="*/ 110 h 114"/>
                <a:gd name="T36" fmla="*/ 68 w 134"/>
                <a:gd name="T37" fmla="*/ 107 h 114"/>
                <a:gd name="T38" fmla="*/ 53 w 134"/>
                <a:gd name="T39" fmla="*/ 88 h 114"/>
                <a:gd name="T40" fmla="*/ 69 w 134"/>
                <a:gd name="T41" fmla="*/ 85 h 114"/>
                <a:gd name="T42" fmla="*/ 62 w 134"/>
                <a:gd name="T43" fmla="*/ 74 h 114"/>
                <a:gd name="T44" fmla="*/ 120 w 134"/>
                <a:gd name="T45" fmla="*/ 26 h 114"/>
                <a:gd name="T46" fmla="*/ 120 w 134"/>
                <a:gd name="T47" fmla="*/ 21 h 114"/>
                <a:gd name="T48" fmla="*/ 89 w 134"/>
                <a:gd name="T49" fmla="*/ 24 h 114"/>
                <a:gd name="T50" fmla="*/ 91 w 134"/>
                <a:gd name="T51" fmla="*/ 33 h 114"/>
                <a:gd name="T52" fmla="*/ 122 w 134"/>
                <a:gd name="T53" fmla="*/ 31 h 114"/>
                <a:gd name="T54" fmla="*/ 91 w 134"/>
                <a:gd name="T55" fmla="*/ 29 h 114"/>
                <a:gd name="T56" fmla="*/ 91 w 134"/>
                <a:gd name="T57" fmla="*/ 33 h 114"/>
                <a:gd name="T58" fmla="*/ 120 w 134"/>
                <a:gd name="T59" fmla="*/ 40 h 114"/>
                <a:gd name="T60" fmla="*/ 120 w 134"/>
                <a:gd name="T61" fmla="*/ 36 h 114"/>
                <a:gd name="T62" fmla="*/ 89 w 134"/>
                <a:gd name="T63" fmla="*/ 38 h 114"/>
                <a:gd name="T64" fmla="*/ 29 w 134"/>
                <a:gd name="T65" fmla="*/ 5 h 114"/>
                <a:gd name="T66" fmla="*/ 72 w 134"/>
                <a:gd name="T67" fmla="*/ 33 h 114"/>
                <a:gd name="T68" fmla="*/ 29 w 134"/>
                <a:gd name="T69" fmla="*/ 5 h 114"/>
                <a:gd name="T70" fmla="*/ 74 w 134"/>
                <a:gd name="T71" fmla="*/ 38 h 114"/>
                <a:gd name="T72" fmla="*/ 77 w 134"/>
                <a:gd name="T73" fmla="*/ 2 h 114"/>
                <a:gd name="T74" fmla="*/ 26 w 134"/>
                <a:gd name="T75" fmla="*/ 0 h 114"/>
                <a:gd name="T76" fmla="*/ 24 w 134"/>
                <a:gd name="T77" fmla="*/ 36 h 114"/>
                <a:gd name="T78" fmla="*/ 105 w 134"/>
                <a:gd name="T79" fmla="*/ 100 h 114"/>
                <a:gd name="T80" fmla="*/ 105 w 134"/>
                <a:gd name="T81" fmla="*/ 95 h 114"/>
                <a:gd name="T82" fmla="*/ 105 w 134"/>
                <a:gd name="T83" fmla="*/ 100 h 114"/>
                <a:gd name="T84" fmla="*/ 108 w 134"/>
                <a:gd name="T85" fmla="*/ 83 h 114"/>
                <a:gd name="T86" fmla="*/ 103 w 134"/>
                <a:gd name="T87" fmla="*/ 83 h 114"/>
                <a:gd name="T88" fmla="*/ 105 w 134"/>
                <a:gd name="T89" fmla="*/ 71 h 114"/>
                <a:gd name="T90" fmla="*/ 105 w 134"/>
                <a:gd name="T91" fmla="*/ 66 h 114"/>
                <a:gd name="T92" fmla="*/ 105 w 134"/>
                <a:gd name="T93" fmla="*/ 71 h 114"/>
                <a:gd name="T94" fmla="*/ 5 w 134"/>
                <a:gd name="T95" fmla="*/ 55 h 114"/>
                <a:gd name="T96" fmla="*/ 7 w 134"/>
                <a:gd name="T97" fmla="*/ 50 h 114"/>
                <a:gd name="T98" fmla="*/ 129 w 134"/>
                <a:gd name="T99" fmla="*/ 52 h 114"/>
                <a:gd name="T100" fmla="*/ 122 w 134"/>
                <a:gd name="T101" fmla="*/ 109 h 114"/>
                <a:gd name="T102" fmla="*/ 89 w 134"/>
                <a:gd name="T103" fmla="*/ 59 h 114"/>
                <a:gd name="T104" fmla="*/ 122 w 134"/>
                <a:gd name="T105" fmla="*/ 109 h 114"/>
                <a:gd name="T106" fmla="*/ 7 w 134"/>
                <a:gd name="T107" fmla="*/ 45 h 114"/>
                <a:gd name="T108" fmla="*/ 0 w 134"/>
                <a:gd name="T109" fmla="*/ 57 h 114"/>
                <a:gd name="T110" fmla="*/ 9 w 134"/>
                <a:gd name="T111" fmla="*/ 59 h 114"/>
                <a:gd name="T112" fmla="*/ 12 w 134"/>
                <a:gd name="T113" fmla="*/ 114 h 114"/>
                <a:gd name="T114" fmla="*/ 14 w 134"/>
                <a:gd name="T115" fmla="*/ 59 h 114"/>
                <a:gd name="T116" fmla="*/ 84 w 134"/>
                <a:gd name="T117" fmla="*/ 112 h 114"/>
                <a:gd name="T118" fmla="*/ 125 w 134"/>
                <a:gd name="T119" fmla="*/ 114 h 114"/>
                <a:gd name="T120" fmla="*/ 127 w 134"/>
                <a:gd name="T121" fmla="*/ 59 h 114"/>
                <a:gd name="T122" fmla="*/ 134 w 134"/>
                <a:gd name="T123" fmla="*/ 57 h 114"/>
                <a:gd name="T124" fmla="*/ 127 w 134"/>
                <a:gd name="T125" fmla="*/ 4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" h="114">
                  <a:moveTo>
                    <a:pt x="65" y="83"/>
                  </a:moveTo>
                  <a:cubicBezTo>
                    <a:pt x="50" y="83"/>
                    <a:pt x="50" y="83"/>
                    <a:pt x="50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79"/>
                    <a:pt x="37" y="78"/>
                    <a:pt x="38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4" y="78"/>
                    <a:pt x="65" y="79"/>
                    <a:pt x="65" y="81"/>
                  </a:cubicBezTo>
                  <a:lnTo>
                    <a:pt x="65" y="83"/>
                  </a:lnTo>
                  <a:close/>
                  <a:moveTo>
                    <a:pt x="62" y="74"/>
                  </a:moveTo>
                  <a:cubicBezTo>
                    <a:pt x="38" y="74"/>
                    <a:pt x="38" y="74"/>
                    <a:pt x="38" y="74"/>
                  </a:cubicBezTo>
                  <a:cubicBezTo>
                    <a:pt x="34" y="74"/>
                    <a:pt x="31" y="77"/>
                    <a:pt x="31" y="81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7"/>
                    <a:pt x="32" y="88"/>
                    <a:pt x="33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1" y="107"/>
                    <a:pt x="31" y="109"/>
                    <a:pt x="31" y="110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11"/>
                    <a:pt x="31" y="111"/>
                    <a:pt x="31" y="112"/>
                  </a:cubicBezTo>
                  <a:cubicBezTo>
                    <a:pt x="31" y="113"/>
                    <a:pt x="32" y="114"/>
                    <a:pt x="33" y="114"/>
                  </a:cubicBezTo>
                  <a:cubicBezTo>
                    <a:pt x="35" y="114"/>
                    <a:pt x="36" y="113"/>
                    <a:pt x="36" y="112"/>
                  </a:cubicBezTo>
                  <a:cubicBezTo>
                    <a:pt x="36" y="111"/>
                    <a:pt x="36" y="111"/>
                    <a:pt x="36" y="111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3"/>
                    <a:pt x="49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2" y="114"/>
                    <a:pt x="53" y="113"/>
                    <a:pt x="53" y="112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3" y="108"/>
                    <a:pt x="53" y="108"/>
                    <a:pt x="53" y="108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1"/>
                    <a:pt x="65" y="111"/>
                    <a:pt x="65" y="112"/>
                  </a:cubicBezTo>
                  <a:cubicBezTo>
                    <a:pt x="65" y="113"/>
                    <a:pt x="66" y="114"/>
                    <a:pt x="67" y="114"/>
                  </a:cubicBezTo>
                  <a:cubicBezTo>
                    <a:pt x="68" y="114"/>
                    <a:pt x="69" y="113"/>
                    <a:pt x="69" y="112"/>
                  </a:cubicBezTo>
                  <a:cubicBezTo>
                    <a:pt x="69" y="111"/>
                    <a:pt x="69" y="111"/>
                    <a:pt x="69" y="110"/>
                  </a:cubicBezTo>
                  <a:cubicBezTo>
                    <a:pt x="69" y="110"/>
                    <a:pt x="69" y="110"/>
                    <a:pt x="69" y="110"/>
                  </a:cubicBezTo>
                  <a:cubicBezTo>
                    <a:pt x="70" y="109"/>
                    <a:pt x="69" y="107"/>
                    <a:pt x="68" y="107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8" y="88"/>
                    <a:pt x="69" y="87"/>
                    <a:pt x="69" y="85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77"/>
                    <a:pt x="66" y="74"/>
                    <a:pt x="62" y="74"/>
                  </a:cubicBezTo>
                  <a:moveTo>
                    <a:pt x="91" y="26"/>
                  </a:move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2" y="25"/>
                    <a:pt x="122" y="24"/>
                  </a:cubicBezTo>
                  <a:cubicBezTo>
                    <a:pt x="122" y="22"/>
                    <a:pt x="121" y="21"/>
                    <a:pt x="120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0" y="21"/>
                    <a:pt x="89" y="22"/>
                    <a:pt x="89" y="24"/>
                  </a:cubicBezTo>
                  <a:cubicBezTo>
                    <a:pt x="89" y="25"/>
                    <a:pt x="90" y="26"/>
                    <a:pt x="91" y="26"/>
                  </a:cubicBezTo>
                  <a:moveTo>
                    <a:pt x="91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1" y="33"/>
                    <a:pt x="122" y="32"/>
                    <a:pt x="122" y="31"/>
                  </a:cubicBezTo>
                  <a:cubicBezTo>
                    <a:pt x="122" y="30"/>
                    <a:pt x="121" y="29"/>
                    <a:pt x="120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89" y="30"/>
                    <a:pt x="89" y="31"/>
                  </a:cubicBezTo>
                  <a:cubicBezTo>
                    <a:pt x="89" y="32"/>
                    <a:pt x="90" y="33"/>
                    <a:pt x="91" y="33"/>
                  </a:cubicBezTo>
                  <a:moveTo>
                    <a:pt x="91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1" y="40"/>
                    <a:pt x="122" y="39"/>
                    <a:pt x="122" y="38"/>
                  </a:cubicBezTo>
                  <a:cubicBezTo>
                    <a:pt x="122" y="37"/>
                    <a:pt x="121" y="36"/>
                    <a:pt x="120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0" y="36"/>
                    <a:pt x="89" y="37"/>
                    <a:pt x="89" y="38"/>
                  </a:cubicBezTo>
                  <a:cubicBezTo>
                    <a:pt x="89" y="39"/>
                    <a:pt x="90" y="40"/>
                    <a:pt x="91" y="40"/>
                  </a:cubicBezTo>
                  <a:moveTo>
                    <a:pt x="29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9" y="5"/>
                  </a:lnTo>
                  <a:close/>
                  <a:moveTo>
                    <a:pt x="26" y="38"/>
                  </a:moveTo>
                  <a:cubicBezTo>
                    <a:pt x="74" y="38"/>
                    <a:pt x="74" y="38"/>
                    <a:pt x="74" y="38"/>
                  </a:cubicBezTo>
                  <a:cubicBezTo>
                    <a:pt x="76" y="38"/>
                    <a:pt x="77" y="37"/>
                    <a:pt x="77" y="36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1"/>
                    <a:pt x="76" y="0"/>
                    <a:pt x="7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7"/>
                    <a:pt x="25" y="38"/>
                    <a:pt x="26" y="38"/>
                  </a:cubicBezTo>
                  <a:moveTo>
                    <a:pt x="105" y="100"/>
                  </a:moveTo>
                  <a:cubicBezTo>
                    <a:pt x="107" y="100"/>
                    <a:pt x="108" y="99"/>
                    <a:pt x="108" y="97"/>
                  </a:cubicBezTo>
                  <a:cubicBezTo>
                    <a:pt x="108" y="96"/>
                    <a:pt x="107" y="95"/>
                    <a:pt x="105" y="95"/>
                  </a:cubicBezTo>
                  <a:cubicBezTo>
                    <a:pt x="104" y="95"/>
                    <a:pt x="103" y="96"/>
                    <a:pt x="103" y="97"/>
                  </a:cubicBezTo>
                  <a:cubicBezTo>
                    <a:pt x="103" y="99"/>
                    <a:pt x="104" y="100"/>
                    <a:pt x="105" y="100"/>
                  </a:cubicBezTo>
                  <a:moveTo>
                    <a:pt x="105" y="85"/>
                  </a:moveTo>
                  <a:cubicBezTo>
                    <a:pt x="107" y="85"/>
                    <a:pt x="108" y="84"/>
                    <a:pt x="108" y="83"/>
                  </a:cubicBezTo>
                  <a:cubicBezTo>
                    <a:pt x="108" y="82"/>
                    <a:pt x="107" y="81"/>
                    <a:pt x="105" y="81"/>
                  </a:cubicBezTo>
                  <a:cubicBezTo>
                    <a:pt x="104" y="81"/>
                    <a:pt x="103" y="82"/>
                    <a:pt x="103" y="83"/>
                  </a:cubicBezTo>
                  <a:cubicBezTo>
                    <a:pt x="103" y="84"/>
                    <a:pt x="104" y="85"/>
                    <a:pt x="105" y="85"/>
                  </a:cubicBezTo>
                  <a:moveTo>
                    <a:pt x="105" y="71"/>
                  </a:moveTo>
                  <a:cubicBezTo>
                    <a:pt x="107" y="71"/>
                    <a:pt x="108" y="70"/>
                    <a:pt x="108" y="69"/>
                  </a:cubicBezTo>
                  <a:cubicBezTo>
                    <a:pt x="108" y="68"/>
                    <a:pt x="107" y="66"/>
                    <a:pt x="105" y="66"/>
                  </a:cubicBezTo>
                  <a:cubicBezTo>
                    <a:pt x="104" y="66"/>
                    <a:pt x="103" y="68"/>
                    <a:pt x="103" y="69"/>
                  </a:cubicBezTo>
                  <a:cubicBezTo>
                    <a:pt x="103" y="70"/>
                    <a:pt x="104" y="71"/>
                    <a:pt x="105" y="71"/>
                  </a:cubicBezTo>
                  <a:moveTo>
                    <a:pt x="129" y="55"/>
                  </a:moveTo>
                  <a:cubicBezTo>
                    <a:pt x="5" y="55"/>
                    <a:pt x="5" y="55"/>
                    <a:pt x="5" y="55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1"/>
                    <a:pt x="6" y="50"/>
                    <a:pt x="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8" y="50"/>
                    <a:pt x="129" y="51"/>
                    <a:pt x="129" y="52"/>
                  </a:cubicBezTo>
                  <a:lnTo>
                    <a:pt x="129" y="55"/>
                  </a:lnTo>
                  <a:close/>
                  <a:moveTo>
                    <a:pt x="122" y="109"/>
                  </a:moveTo>
                  <a:cubicBezTo>
                    <a:pt x="89" y="109"/>
                    <a:pt x="89" y="109"/>
                    <a:pt x="89" y="10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22" y="59"/>
                    <a:pt x="122" y="59"/>
                    <a:pt x="122" y="59"/>
                  </a:cubicBezTo>
                  <a:lnTo>
                    <a:pt x="122" y="109"/>
                  </a:lnTo>
                  <a:close/>
                  <a:moveTo>
                    <a:pt x="127" y="45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3" y="45"/>
                    <a:pt x="0" y="48"/>
                    <a:pt x="0" y="52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1" y="59"/>
                    <a:pt x="2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9" y="113"/>
                    <a:pt x="10" y="114"/>
                    <a:pt x="12" y="114"/>
                  </a:cubicBezTo>
                  <a:cubicBezTo>
                    <a:pt x="13" y="114"/>
                    <a:pt x="14" y="113"/>
                    <a:pt x="14" y="11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4" y="113"/>
                    <a:pt x="85" y="114"/>
                    <a:pt x="86" y="114"/>
                  </a:cubicBezTo>
                  <a:cubicBezTo>
                    <a:pt x="125" y="114"/>
                    <a:pt x="125" y="114"/>
                    <a:pt x="125" y="114"/>
                  </a:cubicBezTo>
                  <a:cubicBezTo>
                    <a:pt x="126" y="114"/>
                    <a:pt x="127" y="113"/>
                    <a:pt x="127" y="112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3" y="59"/>
                    <a:pt x="134" y="58"/>
                    <a:pt x="134" y="57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4" y="48"/>
                    <a:pt x="131" y="45"/>
                    <a:pt x="127" y="4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80">
            <a:extLst>
              <a:ext uri="{FF2B5EF4-FFF2-40B4-BE49-F238E27FC236}">
                <a16:creationId xmlns:a16="http://schemas.microsoft.com/office/drawing/2014/main" id="{3C26DFA3-4E1E-412D-9EAF-DC2862E701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3425" y="1585721"/>
            <a:ext cx="760413" cy="760412"/>
            <a:chOff x="3662" y="1179"/>
            <a:chExt cx="479" cy="479"/>
          </a:xfrm>
        </p:grpSpPr>
        <p:sp>
          <p:nvSpPr>
            <p:cNvPr id="96" name="AutoShape 79">
              <a:extLst>
                <a:ext uri="{FF2B5EF4-FFF2-40B4-BE49-F238E27FC236}">
                  <a16:creationId xmlns:a16="http://schemas.microsoft.com/office/drawing/2014/main" id="{3FCA83D3-E192-46D9-A079-025B636D321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62" y="1179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1">
              <a:extLst>
                <a:ext uri="{FF2B5EF4-FFF2-40B4-BE49-F238E27FC236}">
                  <a16:creationId xmlns:a16="http://schemas.microsoft.com/office/drawing/2014/main" id="{55C3AEA3-414D-48E9-9996-3AFF4607A7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4" y="1181"/>
              <a:ext cx="477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2">
              <a:extLst>
                <a:ext uri="{FF2B5EF4-FFF2-40B4-BE49-F238E27FC236}">
                  <a16:creationId xmlns:a16="http://schemas.microsoft.com/office/drawing/2014/main" id="{D4C91616-3FDC-409D-894F-8C019658EC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4" y="1363"/>
              <a:ext cx="197" cy="184"/>
            </a:xfrm>
            <a:custGeom>
              <a:avLst/>
              <a:gdLst>
                <a:gd name="T0" fmla="*/ 197 w 197"/>
                <a:gd name="T1" fmla="*/ 8 h 184"/>
                <a:gd name="T2" fmla="*/ 195 w 197"/>
                <a:gd name="T3" fmla="*/ 3 h 184"/>
                <a:gd name="T4" fmla="*/ 192 w 197"/>
                <a:gd name="T5" fmla="*/ 0 h 184"/>
                <a:gd name="T6" fmla="*/ 3 w 197"/>
                <a:gd name="T7" fmla="*/ 3 h 184"/>
                <a:gd name="T8" fmla="*/ 0 w 197"/>
                <a:gd name="T9" fmla="*/ 8 h 184"/>
                <a:gd name="T10" fmla="*/ 3 w 197"/>
                <a:gd name="T11" fmla="*/ 13 h 184"/>
                <a:gd name="T12" fmla="*/ 5 w 197"/>
                <a:gd name="T13" fmla="*/ 15 h 184"/>
                <a:gd name="T14" fmla="*/ 8 w 197"/>
                <a:gd name="T15" fmla="*/ 15 h 184"/>
                <a:gd name="T16" fmla="*/ 37 w 197"/>
                <a:gd name="T17" fmla="*/ 184 h 184"/>
                <a:gd name="T18" fmla="*/ 160 w 197"/>
                <a:gd name="T19" fmla="*/ 177 h 184"/>
                <a:gd name="T20" fmla="*/ 192 w 197"/>
                <a:gd name="T21" fmla="*/ 13 h 184"/>
                <a:gd name="T22" fmla="*/ 197 w 197"/>
                <a:gd name="T23" fmla="*/ 13 h 184"/>
                <a:gd name="T24" fmla="*/ 20 w 197"/>
                <a:gd name="T25" fmla="*/ 15 h 184"/>
                <a:gd name="T26" fmla="*/ 69 w 197"/>
                <a:gd name="T27" fmla="*/ 47 h 184"/>
                <a:gd name="T28" fmla="*/ 20 w 197"/>
                <a:gd name="T29" fmla="*/ 15 h 184"/>
                <a:gd name="T30" fmla="*/ 69 w 197"/>
                <a:gd name="T31" fmla="*/ 54 h 184"/>
                <a:gd name="T32" fmla="*/ 35 w 197"/>
                <a:gd name="T33" fmla="*/ 89 h 184"/>
                <a:gd name="T34" fmla="*/ 37 w 197"/>
                <a:gd name="T35" fmla="*/ 96 h 184"/>
                <a:gd name="T36" fmla="*/ 74 w 197"/>
                <a:gd name="T37" fmla="*/ 130 h 184"/>
                <a:gd name="T38" fmla="*/ 37 w 197"/>
                <a:gd name="T39" fmla="*/ 96 h 184"/>
                <a:gd name="T40" fmla="*/ 45 w 197"/>
                <a:gd name="T41" fmla="*/ 140 h 184"/>
                <a:gd name="T42" fmla="*/ 77 w 197"/>
                <a:gd name="T43" fmla="*/ 172 h 184"/>
                <a:gd name="T44" fmla="*/ 113 w 197"/>
                <a:gd name="T45" fmla="*/ 172 h 184"/>
                <a:gd name="T46" fmla="*/ 82 w 197"/>
                <a:gd name="T47" fmla="*/ 140 h 184"/>
                <a:gd name="T48" fmla="*/ 113 w 197"/>
                <a:gd name="T49" fmla="*/ 172 h 184"/>
                <a:gd name="T50" fmla="*/ 82 w 197"/>
                <a:gd name="T51" fmla="*/ 130 h 184"/>
                <a:gd name="T52" fmla="*/ 118 w 197"/>
                <a:gd name="T53" fmla="*/ 96 h 184"/>
                <a:gd name="T54" fmla="*/ 118 w 197"/>
                <a:gd name="T55" fmla="*/ 89 h 184"/>
                <a:gd name="T56" fmla="*/ 77 w 197"/>
                <a:gd name="T57" fmla="*/ 54 h 184"/>
                <a:gd name="T58" fmla="*/ 118 w 197"/>
                <a:gd name="T59" fmla="*/ 89 h 184"/>
                <a:gd name="T60" fmla="*/ 74 w 197"/>
                <a:gd name="T61" fmla="*/ 15 h 184"/>
                <a:gd name="T62" fmla="*/ 121 w 197"/>
                <a:gd name="T63" fmla="*/ 47 h 184"/>
                <a:gd name="T64" fmla="*/ 148 w 197"/>
                <a:gd name="T65" fmla="*/ 172 h 184"/>
                <a:gd name="T66" fmla="*/ 123 w 197"/>
                <a:gd name="T67" fmla="*/ 140 h 184"/>
                <a:gd name="T68" fmla="*/ 148 w 197"/>
                <a:gd name="T69" fmla="*/ 172 h 184"/>
                <a:gd name="T70" fmla="*/ 123 w 197"/>
                <a:gd name="T71" fmla="*/ 130 h 184"/>
                <a:gd name="T72" fmla="*/ 160 w 197"/>
                <a:gd name="T73" fmla="*/ 96 h 184"/>
                <a:gd name="T74" fmla="*/ 163 w 197"/>
                <a:gd name="T75" fmla="*/ 89 h 184"/>
                <a:gd name="T76" fmla="*/ 128 w 197"/>
                <a:gd name="T77" fmla="*/ 54 h 184"/>
                <a:gd name="T78" fmla="*/ 163 w 197"/>
                <a:gd name="T79" fmla="*/ 89 h 184"/>
                <a:gd name="T80" fmla="*/ 131 w 197"/>
                <a:gd name="T81" fmla="*/ 47 h 184"/>
                <a:gd name="T82" fmla="*/ 177 w 197"/>
                <a:gd name="T83" fmla="*/ 1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7" h="184">
                  <a:moveTo>
                    <a:pt x="197" y="10"/>
                  </a:moveTo>
                  <a:lnTo>
                    <a:pt x="197" y="8"/>
                  </a:lnTo>
                  <a:lnTo>
                    <a:pt x="197" y="5"/>
                  </a:lnTo>
                  <a:lnTo>
                    <a:pt x="195" y="3"/>
                  </a:lnTo>
                  <a:lnTo>
                    <a:pt x="195" y="3"/>
                  </a:lnTo>
                  <a:lnTo>
                    <a:pt x="192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37" y="177"/>
                  </a:lnTo>
                  <a:lnTo>
                    <a:pt x="37" y="184"/>
                  </a:lnTo>
                  <a:lnTo>
                    <a:pt x="160" y="184"/>
                  </a:lnTo>
                  <a:lnTo>
                    <a:pt x="160" y="177"/>
                  </a:lnTo>
                  <a:lnTo>
                    <a:pt x="190" y="15"/>
                  </a:lnTo>
                  <a:lnTo>
                    <a:pt x="192" y="13"/>
                  </a:lnTo>
                  <a:lnTo>
                    <a:pt x="195" y="13"/>
                  </a:lnTo>
                  <a:lnTo>
                    <a:pt x="197" y="13"/>
                  </a:lnTo>
                  <a:lnTo>
                    <a:pt x="197" y="10"/>
                  </a:lnTo>
                  <a:close/>
                  <a:moveTo>
                    <a:pt x="20" y="15"/>
                  </a:moveTo>
                  <a:lnTo>
                    <a:pt x="67" y="15"/>
                  </a:lnTo>
                  <a:lnTo>
                    <a:pt x="69" y="47"/>
                  </a:lnTo>
                  <a:lnTo>
                    <a:pt x="27" y="47"/>
                  </a:lnTo>
                  <a:lnTo>
                    <a:pt x="20" y="15"/>
                  </a:lnTo>
                  <a:close/>
                  <a:moveTo>
                    <a:pt x="27" y="54"/>
                  </a:moveTo>
                  <a:lnTo>
                    <a:pt x="69" y="54"/>
                  </a:lnTo>
                  <a:lnTo>
                    <a:pt x="72" y="89"/>
                  </a:lnTo>
                  <a:lnTo>
                    <a:pt x="35" y="89"/>
                  </a:lnTo>
                  <a:lnTo>
                    <a:pt x="27" y="54"/>
                  </a:lnTo>
                  <a:close/>
                  <a:moveTo>
                    <a:pt x="37" y="96"/>
                  </a:moveTo>
                  <a:lnTo>
                    <a:pt x="72" y="96"/>
                  </a:lnTo>
                  <a:lnTo>
                    <a:pt x="74" y="130"/>
                  </a:lnTo>
                  <a:lnTo>
                    <a:pt x="42" y="130"/>
                  </a:lnTo>
                  <a:lnTo>
                    <a:pt x="37" y="96"/>
                  </a:lnTo>
                  <a:close/>
                  <a:moveTo>
                    <a:pt x="50" y="172"/>
                  </a:moveTo>
                  <a:lnTo>
                    <a:pt x="45" y="140"/>
                  </a:lnTo>
                  <a:lnTo>
                    <a:pt x="74" y="140"/>
                  </a:lnTo>
                  <a:lnTo>
                    <a:pt x="77" y="172"/>
                  </a:lnTo>
                  <a:lnTo>
                    <a:pt x="50" y="172"/>
                  </a:lnTo>
                  <a:close/>
                  <a:moveTo>
                    <a:pt x="113" y="172"/>
                  </a:moveTo>
                  <a:lnTo>
                    <a:pt x="84" y="172"/>
                  </a:lnTo>
                  <a:lnTo>
                    <a:pt x="82" y="140"/>
                  </a:lnTo>
                  <a:lnTo>
                    <a:pt x="116" y="140"/>
                  </a:lnTo>
                  <a:lnTo>
                    <a:pt x="113" y="172"/>
                  </a:lnTo>
                  <a:close/>
                  <a:moveTo>
                    <a:pt x="116" y="130"/>
                  </a:moveTo>
                  <a:lnTo>
                    <a:pt x="82" y="130"/>
                  </a:lnTo>
                  <a:lnTo>
                    <a:pt x="79" y="96"/>
                  </a:lnTo>
                  <a:lnTo>
                    <a:pt x="118" y="96"/>
                  </a:lnTo>
                  <a:lnTo>
                    <a:pt x="116" y="130"/>
                  </a:lnTo>
                  <a:close/>
                  <a:moveTo>
                    <a:pt x="118" y="89"/>
                  </a:moveTo>
                  <a:lnTo>
                    <a:pt x="79" y="89"/>
                  </a:lnTo>
                  <a:lnTo>
                    <a:pt x="77" y="54"/>
                  </a:lnTo>
                  <a:lnTo>
                    <a:pt x="121" y="54"/>
                  </a:lnTo>
                  <a:lnTo>
                    <a:pt x="118" y="89"/>
                  </a:lnTo>
                  <a:close/>
                  <a:moveTo>
                    <a:pt x="77" y="47"/>
                  </a:moveTo>
                  <a:lnTo>
                    <a:pt x="74" y="15"/>
                  </a:lnTo>
                  <a:lnTo>
                    <a:pt x="123" y="15"/>
                  </a:lnTo>
                  <a:lnTo>
                    <a:pt x="121" y="47"/>
                  </a:lnTo>
                  <a:lnTo>
                    <a:pt x="77" y="47"/>
                  </a:lnTo>
                  <a:close/>
                  <a:moveTo>
                    <a:pt x="148" y="172"/>
                  </a:moveTo>
                  <a:lnTo>
                    <a:pt x="121" y="172"/>
                  </a:lnTo>
                  <a:lnTo>
                    <a:pt x="123" y="140"/>
                  </a:lnTo>
                  <a:lnTo>
                    <a:pt x="153" y="140"/>
                  </a:lnTo>
                  <a:lnTo>
                    <a:pt x="148" y="172"/>
                  </a:lnTo>
                  <a:close/>
                  <a:moveTo>
                    <a:pt x="155" y="130"/>
                  </a:moveTo>
                  <a:lnTo>
                    <a:pt x="123" y="130"/>
                  </a:lnTo>
                  <a:lnTo>
                    <a:pt x="126" y="96"/>
                  </a:lnTo>
                  <a:lnTo>
                    <a:pt x="160" y="96"/>
                  </a:lnTo>
                  <a:lnTo>
                    <a:pt x="155" y="130"/>
                  </a:lnTo>
                  <a:close/>
                  <a:moveTo>
                    <a:pt x="163" y="89"/>
                  </a:moveTo>
                  <a:lnTo>
                    <a:pt x="126" y="89"/>
                  </a:lnTo>
                  <a:lnTo>
                    <a:pt x="128" y="54"/>
                  </a:lnTo>
                  <a:lnTo>
                    <a:pt x="170" y="54"/>
                  </a:lnTo>
                  <a:lnTo>
                    <a:pt x="163" y="89"/>
                  </a:lnTo>
                  <a:close/>
                  <a:moveTo>
                    <a:pt x="170" y="47"/>
                  </a:moveTo>
                  <a:lnTo>
                    <a:pt x="131" y="47"/>
                  </a:lnTo>
                  <a:lnTo>
                    <a:pt x="131" y="15"/>
                  </a:lnTo>
                  <a:lnTo>
                    <a:pt x="177" y="15"/>
                  </a:lnTo>
                  <a:lnTo>
                    <a:pt x="170" y="4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3">
              <a:extLst>
                <a:ext uri="{FF2B5EF4-FFF2-40B4-BE49-F238E27FC236}">
                  <a16:creationId xmlns:a16="http://schemas.microsoft.com/office/drawing/2014/main" id="{B5CC7D5A-EAD4-454B-BB07-311D9171B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0" y="1292"/>
              <a:ext cx="54" cy="49"/>
            </a:xfrm>
            <a:custGeom>
              <a:avLst/>
              <a:gdLst>
                <a:gd name="T0" fmla="*/ 0 w 54"/>
                <a:gd name="T1" fmla="*/ 25 h 49"/>
                <a:gd name="T2" fmla="*/ 0 w 54"/>
                <a:gd name="T3" fmla="*/ 25 h 49"/>
                <a:gd name="T4" fmla="*/ 10 w 54"/>
                <a:gd name="T5" fmla="*/ 42 h 49"/>
                <a:gd name="T6" fmla="*/ 10 w 54"/>
                <a:gd name="T7" fmla="*/ 44 h 49"/>
                <a:gd name="T8" fmla="*/ 32 w 54"/>
                <a:gd name="T9" fmla="*/ 49 h 49"/>
                <a:gd name="T10" fmla="*/ 35 w 54"/>
                <a:gd name="T11" fmla="*/ 49 h 49"/>
                <a:gd name="T12" fmla="*/ 52 w 54"/>
                <a:gd name="T13" fmla="*/ 42 h 49"/>
                <a:gd name="T14" fmla="*/ 54 w 54"/>
                <a:gd name="T15" fmla="*/ 39 h 49"/>
                <a:gd name="T16" fmla="*/ 54 w 54"/>
                <a:gd name="T17" fmla="*/ 39 h 49"/>
                <a:gd name="T18" fmla="*/ 52 w 54"/>
                <a:gd name="T19" fmla="*/ 20 h 49"/>
                <a:gd name="T20" fmla="*/ 49 w 54"/>
                <a:gd name="T21" fmla="*/ 17 h 49"/>
                <a:gd name="T22" fmla="*/ 49 w 54"/>
                <a:gd name="T23" fmla="*/ 17 h 49"/>
                <a:gd name="T24" fmla="*/ 32 w 54"/>
                <a:gd name="T25" fmla="*/ 12 h 49"/>
                <a:gd name="T26" fmla="*/ 22 w 54"/>
                <a:gd name="T27" fmla="*/ 0 h 49"/>
                <a:gd name="T28" fmla="*/ 20 w 54"/>
                <a:gd name="T29" fmla="*/ 0 h 49"/>
                <a:gd name="T30" fmla="*/ 17 w 54"/>
                <a:gd name="T31" fmla="*/ 0 h 49"/>
                <a:gd name="T32" fmla="*/ 17 w 54"/>
                <a:gd name="T33" fmla="*/ 2 h 49"/>
                <a:gd name="T34" fmla="*/ 0 w 54"/>
                <a:gd name="T35" fmla="*/ 22 h 49"/>
                <a:gd name="T36" fmla="*/ 0 w 54"/>
                <a:gd name="T37" fmla="*/ 25 h 49"/>
                <a:gd name="T38" fmla="*/ 20 w 54"/>
                <a:gd name="T39" fmla="*/ 12 h 49"/>
                <a:gd name="T40" fmla="*/ 30 w 54"/>
                <a:gd name="T41" fmla="*/ 22 h 49"/>
                <a:gd name="T42" fmla="*/ 30 w 54"/>
                <a:gd name="T43" fmla="*/ 22 h 49"/>
                <a:gd name="T44" fmla="*/ 45 w 54"/>
                <a:gd name="T45" fmla="*/ 25 h 49"/>
                <a:gd name="T46" fmla="*/ 45 w 54"/>
                <a:gd name="T47" fmla="*/ 37 h 49"/>
                <a:gd name="T48" fmla="*/ 32 w 54"/>
                <a:gd name="T49" fmla="*/ 39 h 49"/>
                <a:gd name="T50" fmla="*/ 15 w 54"/>
                <a:gd name="T51" fmla="*/ 34 h 49"/>
                <a:gd name="T52" fmla="*/ 8 w 54"/>
                <a:gd name="T53" fmla="*/ 25 h 49"/>
                <a:gd name="T54" fmla="*/ 20 w 54"/>
                <a:gd name="T55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" h="49">
                  <a:moveTo>
                    <a:pt x="0" y="25"/>
                  </a:moveTo>
                  <a:lnTo>
                    <a:pt x="0" y="25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32" y="49"/>
                  </a:lnTo>
                  <a:lnTo>
                    <a:pt x="35" y="49"/>
                  </a:lnTo>
                  <a:lnTo>
                    <a:pt x="52" y="42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32" y="1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0" y="22"/>
                  </a:lnTo>
                  <a:lnTo>
                    <a:pt x="0" y="25"/>
                  </a:lnTo>
                  <a:close/>
                  <a:moveTo>
                    <a:pt x="20" y="12"/>
                  </a:moveTo>
                  <a:lnTo>
                    <a:pt x="30" y="22"/>
                  </a:lnTo>
                  <a:lnTo>
                    <a:pt x="30" y="22"/>
                  </a:lnTo>
                  <a:lnTo>
                    <a:pt x="45" y="25"/>
                  </a:lnTo>
                  <a:lnTo>
                    <a:pt x="45" y="37"/>
                  </a:lnTo>
                  <a:lnTo>
                    <a:pt x="32" y="39"/>
                  </a:lnTo>
                  <a:lnTo>
                    <a:pt x="15" y="34"/>
                  </a:lnTo>
                  <a:lnTo>
                    <a:pt x="8" y="25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86">
            <a:extLst>
              <a:ext uri="{FF2B5EF4-FFF2-40B4-BE49-F238E27FC236}">
                <a16:creationId xmlns:a16="http://schemas.microsoft.com/office/drawing/2014/main" id="{F0934120-D67C-4278-8E6D-8347E59A0B3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833" y="1545239"/>
            <a:ext cx="841375" cy="841375"/>
            <a:chOff x="2997" y="1046"/>
            <a:chExt cx="530" cy="530"/>
          </a:xfrm>
        </p:grpSpPr>
        <p:sp>
          <p:nvSpPr>
            <p:cNvPr id="101" name="AutoShape 85">
              <a:extLst>
                <a:ext uri="{FF2B5EF4-FFF2-40B4-BE49-F238E27FC236}">
                  <a16:creationId xmlns:a16="http://schemas.microsoft.com/office/drawing/2014/main" id="{31510ACC-3DF3-4485-AD53-15AA465FA8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7" y="104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Oval 87">
              <a:extLst>
                <a:ext uri="{FF2B5EF4-FFF2-40B4-BE49-F238E27FC236}">
                  <a16:creationId xmlns:a16="http://schemas.microsoft.com/office/drawing/2014/main" id="{EDB44142-090F-4354-804A-8D56575E6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7" y="104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88">
              <a:extLst>
                <a:ext uri="{FF2B5EF4-FFF2-40B4-BE49-F238E27FC236}">
                  <a16:creationId xmlns:a16="http://schemas.microsoft.com/office/drawing/2014/main" id="{FBFD2CC1-42C6-4C46-B277-929C3D9C3F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5" y="106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9">
              <a:extLst>
                <a:ext uri="{FF2B5EF4-FFF2-40B4-BE49-F238E27FC236}">
                  <a16:creationId xmlns:a16="http://schemas.microsoft.com/office/drawing/2014/main" id="{9F30A29B-627F-4BF3-9DF8-AAECFD4D06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1" y="1253"/>
              <a:ext cx="205" cy="192"/>
            </a:xfrm>
            <a:custGeom>
              <a:avLst/>
              <a:gdLst>
                <a:gd name="T0" fmla="*/ 205 w 205"/>
                <a:gd name="T1" fmla="*/ 8 h 192"/>
                <a:gd name="T2" fmla="*/ 202 w 205"/>
                <a:gd name="T3" fmla="*/ 3 h 192"/>
                <a:gd name="T4" fmla="*/ 199 w 205"/>
                <a:gd name="T5" fmla="*/ 0 h 192"/>
                <a:gd name="T6" fmla="*/ 2 w 205"/>
                <a:gd name="T7" fmla="*/ 3 h 192"/>
                <a:gd name="T8" fmla="*/ 0 w 205"/>
                <a:gd name="T9" fmla="*/ 8 h 192"/>
                <a:gd name="T10" fmla="*/ 2 w 205"/>
                <a:gd name="T11" fmla="*/ 13 h 192"/>
                <a:gd name="T12" fmla="*/ 5 w 205"/>
                <a:gd name="T13" fmla="*/ 16 h 192"/>
                <a:gd name="T14" fmla="*/ 7 w 205"/>
                <a:gd name="T15" fmla="*/ 16 h 192"/>
                <a:gd name="T16" fmla="*/ 38 w 205"/>
                <a:gd name="T17" fmla="*/ 192 h 192"/>
                <a:gd name="T18" fmla="*/ 166 w 205"/>
                <a:gd name="T19" fmla="*/ 185 h 192"/>
                <a:gd name="T20" fmla="*/ 199 w 205"/>
                <a:gd name="T21" fmla="*/ 13 h 192"/>
                <a:gd name="T22" fmla="*/ 205 w 205"/>
                <a:gd name="T23" fmla="*/ 13 h 192"/>
                <a:gd name="T24" fmla="*/ 20 w 205"/>
                <a:gd name="T25" fmla="*/ 16 h 192"/>
                <a:gd name="T26" fmla="*/ 71 w 205"/>
                <a:gd name="T27" fmla="*/ 49 h 192"/>
                <a:gd name="T28" fmla="*/ 20 w 205"/>
                <a:gd name="T29" fmla="*/ 16 h 192"/>
                <a:gd name="T30" fmla="*/ 71 w 205"/>
                <a:gd name="T31" fmla="*/ 57 h 192"/>
                <a:gd name="T32" fmla="*/ 36 w 205"/>
                <a:gd name="T33" fmla="*/ 92 h 192"/>
                <a:gd name="T34" fmla="*/ 38 w 205"/>
                <a:gd name="T35" fmla="*/ 100 h 192"/>
                <a:gd name="T36" fmla="*/ 77 w 205"/>
                <a:gd name="T37" fmla="*/ 136 h 192"/>
                <a:gd name="T38" fmla="*/ 38 w 205"/>
                <a:gd name="T39" fmla="*/ 100 h 192"/>
                <a:gd name="T40" fmla="*/ 46 w 205"/>
                <a:gd name="T41" fmla="*/ 146 h 192"/>
                <a:gd name="T42" fmla="*/ 79 w 205"/>
                <a:gd name="T43" fmla="*/ 180 h 192"/>
                <a:gd name="T44" fmla="*/ 118 w 205"/>
                <a:gd name="T45" fmla="*/ 180 h 192"/>
                <a:gd name="T46" fmla="*/ 84 w 205"/>
                <a:gd name="T47" fmla="*/ 146 h 192"/>
                <a:gd name="T48" fmla="*/ 118 w 205"/>
                <a:gd name="T49" fmla="*/ 180 h 192"/>
                <a:gd name="T50" fmla="*/ 84 w 205"/>
                <a:gd name="T51" fmla="*/ 136 h 192"/>
                <a:gd name="T52" fmla="*/ 123 w 205"/>
                <a:gd name="T53" fmla="*/ 100 h 192"/>
                <a:gd name="T54" fmla="*/ 123 w 205"/>
                <a:gd name="T55" fmla="*/ 92 h 192"/>
                <a:gd name="T56" fmla="*/ 79 w 205"/>
                <a:gd name="T57" fmla="*/ 57 h 192"/>
                <a:gd name="T58" fmla="*/ 123 w 205"/>
                <a:gd name="T59" fmla="*/ 92 h 192"/>
                <a:gd name="T60" fmla="*/ 77 w 205"/>
                <a:gd name="T61" fmla="*/ 16 h 192"/>
                <a:gd name="T62" fmla="*/ 125 w 205"/>
                <a:gd name="T63" fmla="*/ 49 h 192"/>
                <a:gd name="T64" fmla="*/ 153 w 205"/>
                <a:gd name="T65" fmla="*/ 180 h 192"/>
                <a:gd name="T66" fmla="*/ 128 w 205"/>
                <a:gd name="T67" fmla="*/ 146 h 192"/>
                <a:gd name="T68" fmla="*/ 153 w 205"/>
                <a:gd name="T69" fmla="*/ 180 h 192"/>
                <a:gd name="T70" fmla="*/ 128 w 205"/>
                <a:gd name="T71" fmla="*/ 136 h 192"/>
                <a:gd name="T72" fmla="*/ 166 w 205"/>
                <a:gd name="T73" fmla="*/ 100 h 192"/>
                <a:gd name="T74" fmla="*/ 169 w 205"/>
                <a:gd name="T75" fmla="*/ 92 h 192"/>
                <a:gd name="T76" fmla="*/ 133 w 205"/>
                <a:gd name="T77" fmla="*/ 57 h 192"/>
                <a:gd name="T78" fmla="*/ 169 w 205"/>
                <a:gd name="T79" fmla="*/ 92 h 192"/>
                <a:gd name="T80" fmla="*/ 135 w 205"/>
                <a:gd name="T81" fmla="*/ 49 h 192"/>
                <a:gd name="T82" fmla="*/ 184 w 205"/>
                <a:gd name="T83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5" h="192">
                  <a:moveTo>
                    <a:pt x="205" y="11"/>
                  </a:moveTo>
                  <a:lnTo>
                    <a:pt x="205" y="8"/>
                  </a:lnTo>
                  <a:lnTo>
                    <a:pt x="205" y="5"/>
                  </a:lnTo>
                  <a:lnTo>
                    <a:pt x="202" y="3"/>
                  </a:lnTo>
                  <a:lnTo>
                    <a:pt x="202" y="3"/>
                  </a:lnTo>
                  <a:lnTo>
                    <a:pt x="199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38" y="185"/>
                  </a:lnTo>
                  <a:lnTo>
                    <a:pt x="38" y="192"/>
                  </a:lnTo>
                  <a:lnTo>
                    <a:pt x="166" y="192"/>
                  </a:lnTo>
                  <a:lnTo>
                    <a:pt x="166" y="185"/>
                  </a:lnTo>
                  <a:lnTo>
                    <a:pt x="197" y="16"/>
                  </a:lnTo>
                  <a:lnTo>
                    <a:pt x="199" y="13"/>
                  </a:lnTo>
                  <a:lnTo>
                    <a:pt x="202" y="13"/>
                  </a:lnTo>
                  <a:lnTo>
                    <a:pt x="205" y="13"/>
                  </a:lnTo>
                  <a:lnTo>
                    <a:pt x="205" y="11"/>
                  </a:lnTo>
                  <a:close/>
                  <a:moveTo>
                    <a:pt x="20" y="16"/>
                  </a:moveTo>
                  <a:lnTo>
                    <a:pt x="69" y="16"/>
                  </a:lnTo>
                  <a:lnTo>
                    <a:pt x="71" y="49"/>
                  </a:lnTo>
                  <a:lnTo>
                    <a:pt x="28" y="49"/>
                  </a:lnTo>
                  <a:lnTo>
                    <a:pt x="20" y="16"/>
                  </a:lnTo>
                  <a:close/>
                  <a:moveTo>
                    <a:pt x="28" y="57"/>
                  </a:moveTo>
                  <a:lnTo>
                    <a:pt x="71" y="57"/>
                  </a:lnTo>
                  <a:lnTo>
                    <a:pt x="74" y="92"/>
                  </a:lnTo>
                  <a:lnTo>
                    <a:pt x="36" y="92"/>
                  </a:lnTo>
                  <a:lnTo>
                    <a:pt x="28" y="57"/>
                  </a:lnTo>
                  <a:close/>
                  <a:moveTo>
                    <a:pt x="38" y="100"/>
                  </a:moveTo>
                  <a:lnTo>
                    <a:pt x="74" y="100"/>
                  </a:lnTo>
                  <a:lnTo>
                    <a:pt x="77" y="136"/>
                  </a:lnTo>
                  <a:lnTo>
                    <a:pt x="43" y="136"/>
                  </a:lnTo>
                  <a:lnTo>
                    <a:pt x="38" y="100"/>
                  </a:lnTo>
                  <a:close/>
                  <a:moveTo>
                    <a:pt x="51" y="180"/>
                  </a:moveTo>
                  <a:lnTo>
                    <a:pt x="46" y="146"/>
                  </a:lnTo>
                  <a:lnTo>
                    <a:pt x="77" y="146"/>
                  </a:lnTo>
                  <a:lnTo>
                    <a:pt x="79" y="180"/>
                  </a:lnTo>
                  <a:lnTo>
                    <a:pt x="51" y="180"/>
                  </a:lnTo>
                  <a:close/>
                  <a:moveTo>
                    <a:pt x="118" y="180"/>
                  </a:moveTo>
                  <a:lnTo>
                    <a:pt x="87" y="180"/>
                  </a:lnTo>
                  <a:lnTo>
                    <a:pt x="84" y="146"/>
                  </a:lnTo>
                  <a:lnTo>
                    <a:pt x="120" y="146"/>
                  </a:lnTo>
                  <a:lnTo>
                    <a:pt x="118" y="180"/>
                  </a:lnTo>
                  <a:close/>
                  <a:moveTo>
                    <a:pt x="120" y="136"/>
                  </a:moveTo>
                  <a:lnTo>
                    <a:pt x="84" y="136"/>
                  </a:lnTo>
                  <a:lnTo>
                    <a:pt x="82" y="100"/>
                  </a:lnTo>
                  <a:lnTo>
                    <a:pt x="123" y="100"/>
                  </a:lnTo>
                  <a:lnTo>
                    <a:pt x="120" y="136"/>
                  </a:lnTo>
                  <a:close/>
                  <a:moveTo>
                    <a:pt x="123" y="92"/>
                  </a:moveTo>
                  <a:lnTo>
                    <a:pt x="82" y="92"/>
                  </a:lnTo>
                  <a:lnTo>
                    <a:pt x="79" y="57"/>
                  </a:lnTo>
                  <a:lnTo>
                    <a:pt x="125" y="57"/>
                  </a:lnTo>
                  <a:lnTo>
                    <a:pt x="123" y="92"/>
                  </a:lnTo>
                  <a:close/>
                  <a:moveTo>
                    <a:pt x="79" y="49"/>
                  </a:moveTo>
                  <a:lnTo>
                    <a:pt x="77" y="16"/>
                  </a:lnTo>
                  <a:lnTo>
                    <a:pt x="128" y="16"/>
                  </a:lnTo>
                  <a:lnTo>
                    <a:pt x="125" y="49"/>
                  </a:lnTo>
                  <a:lnTo>
                    <a:pt x="79" y="49"/>
                  </a:lnTo>
                  <a:close/>
                  <a:moveTo>
                    <a:pt x="153" y="180"/>
                  </a:moveTo>
                  <a:lnTo>
                    <a:pt x="125" y="180"/>
                  </a:lnTo>
                  <a:lnTo>
                    <a:pt x="128" y="146"/>
                  </a:lnTo>
                  <a:lnTo>
                    <a:pt x="159" y="146"/>
                  </a:lnTo>
                  <a:lnTo>
                    <a:pt x="153" y="180"/>
                  </a:lnTo>
                  <a:close/>
                  <a:moveTo>
                    <a:pt x="161" y="136"/>
                  </a:moveTo>
                  <a:lnTo>
                    <a:pt x="128" y="136"/>
                  </a:lnTo>
                  <a:lnTo>
                    <a:pt x="130" y="100"/>
                  </a:lnTo>
                  <a:lnTo>
                    <a:pt x="166" y="100"/>
                  </a:lnTo>
                  <a:lnTo>
                    <a:pt x="161" y="136"/>
                  </a:lnTo>
                  <a:close/>
                  <a:moveTo>
                    <a:pt x="169" y="92"/>
                  </a:moveTo>
                  <a:lnTo>
                    <a:pt x="130" y="92"/>
                  </a:lnTo>
                  <a:lnTo>
                    <a:pt x="133" y="57"/>
                  </a:lnTo>
                  <a:lnTo>
                    <a:pt x="176" y="57"/>
                  </a:lnTo>
                  <a:lnTo>
                    <a:pt x="169" y="92"/>
                  </a:lnTo>
                  <a:close/>
                  <a:moveTo>
                    <a:pt x="176" y="49"/>
                  </a:moveTo>
                  <a:lnTo>
                    <a:pt x="135" y="49"/>
                  </a:lnTo>
                  <a:lnTo>
                    <a:pt x="135" y="16"/>
                  </a:lnTo>
                  <a:lnTo>
                    <a:pt x="184" y="16"/>
                  </a:lnTo>
                  <a:lnTo>
                    <a:pt x="176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0">
              <a:extLst>
                <a:ext uri="{FF2B5EF4-FFF2-40B4-BE49-F238E27FC236}">
                  <a16:creationId xmlns:a16="http://schemas.microsoft.com/office/drawing/2014/main" id="{6FAB2FBB-1C90-4194-80EB-2D2DD3EC2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1" y="1179"/>
              <a:ext cx="56" cy="51"/>
            </a:xfrm>
            <a:custGeom>
              <a:avLst/>
              <a:gdLst>
                <a:gd name="T0" fmla="*/ 0 w 56"/>
                <a:gd name="T1" fmla="*/ 26 h 51"/>
                <a:gd name="T2" fmla="*/ 0 w 56"/>
                <a:gd name="T3" fmla="*/ 26 h 51"/>
                <a:gd name="T4" fmla="*/ 10 w 56"/>
                <a:gd name="T5" fmla="*/ 44 h 51"/>
                <a:gd name="T6" fmla="*/ 10 w 56"/>
                <a:gd name="T7" fmla="*/ 46 h 51"/>
                <a:gd name="T8" fmla="*/ 33 w 56"/>
                <a:gd name="T9" fmla="*/ 51 h 51"/>
                <a:gd name="T10" fmla="*/ 35 w 56"/>
                <a:gd name="T11" fmla="*/ 51 h 51"/>
                <a:gd name="T12" fmla="*/ 53 w 56"/>
                <a:gd name="T13" fmla="*/ 44 h 51"/>
                <a:gd name="T14" fmla="*/ 56 w 56"/>
                <a:gd name="T15" fmla="*/ 41 h 51"/>
                <a:gd name="T16" fmla="*/ 56 w 56"/>
                <a:gd name="T17" fmla="*/ 41 h 51"/>
                <a:gd name="T18" fmla="*/ 53 w 56"/>
                <a:gd name="T19" fmla="*/ 21 h 51"/>
                <a:gd name="T20" fmla="*/ 51 w 56"/>
                <a:gd name="T21" fmla="*/ 18 h 51"/>
                <a:gd name="T22" fmla="*/ 51 w 56"/>
                <a:gd name="T23" fmla="*/ 18 h 51"/>
                <a:gd name="T24" fmla="*/ 33 w 56"/>
                <a:gd name="T25" fmla="*/ 13 h 51"/>
                <a:gd name="T26" fmla="*/ 23 w 56"/>
                <a:gd name="T27" fmla="*/ 0 h 51"/>
                <a:gd name="T28" fmla="*/ 20 w 56"/>
                <a:gd name="T29" fmla="*/ 0 h 51"/>
                <a:gd name="T30" fmla="*/ 18 w 56"/>
                <a:gd name="T31" fmla="*/ 0 h 51"/>
                <a:gd name="T32" fmla="*/ 18 w 56"/>
                <a:gd name="T33" fmla="*/ 3 h 51"/>
                <a:gd name="T34" fmla="*/ 0 w 56"/>
                <a:gd name="T35" fmla="*/ 23 h 51"/>
                <a:gd name="T36" fmla="*/ 0 w 56"/>
                <a:gd name="T37" fmla="*/ 26 h 51"/>
                <a:gd name="T38" fmla="*/ 20 w 56"/>
                <a:gd name="T39" fmla="*/ 13 h 51"/>
                <a:gd name="T40" fmla="*/ 30 w 56"/>
                <a:gd name="T41" fmla="*/ 23 h 51"/>
                <a:gd name="T42" fmla="*/ 30 w 56"/>
                <a:gd name="T43" fmla="*/ 23 h 51"/>
                <a:gd name="T44" fmla="*/ 46 w 56"/>
                <a:gd name="T45" fmla="*/ 26 h 51"/>
                <a:gd name="T46" fmla="*/ 46 w 56"/>
                <a:gd name="T47" fmla="*/ 38 h 51"/>
                <a:gd name="T48" fmla="*/ 33 w 56"/>
                <a:gd name="T49" fmla="*/ 41 h 51"/>
                <a:gd name="T50" fmla="*/ 15 w 56"/>
                <a:gd name="T51" fmla="*/ 36 h 51"/>
                <a:gd name="T52" fmla="*/ 7 w 56"/>
                <a:gd name="T53" fmla="*/ 26 h 51"/>
                <a:gd name="T54" fmla="*/ 20 w 56"/>
                <a:gd name="T55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" h="51">
                  <a:moveTo>
                    <a:pt x="0" y="26"/>
                  </a:moveTo>
                  <a:lnTo>
                    <a:pt x="0" y="26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33" y="51"/>
                  </a:lnTo>
                  <a:lnTo>
                    <a:pt x="35" y="51"/>
                  </a:lnTo>
                  <a:lnTo>
                    <a:pt x="53" y="44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3" y="21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33" y="1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3"/>
                  </a:lnTo>
                  <a:lnTo>
                    <a:pt x="0" y="23"/>
                  </a:lnTo>
                  <a:lnTo>
                    <a:pt x="0" y="26"/>
                  </a:lnTo>
                  <a:close/>
                  <a:moveTo>
                    <a:pt x="20" y="1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46" y="26"/>
                  </a:lnTo>
                  <a:lnTo>
                    <a:pt x="46" y="38"/>
                  </a:lnTo>
                  <a:lnTo>
                    <a:pt x="33" y="41"/>
                  </a:lnTo>
                  <a:lnTo>
                    <a:pt x="15" y="36"/>
                  </a:lnTo>
                  <a:lnTo>
                    <a:pt x="7" y="26"/>
                  </a:lnTo>
                  <a:lnTo>
                    <a:pt x="2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93">
            <a:extLst>
              <a:ext uri="{FF2B5EF4-FFF2-40B4-BE49-F238E27FC236}">
                <a16:creationId xmlns:a16="http://schemas.microsoft.com/office/drawing/2014/main" id="{0730E636-380A-49E2-BD62-151A782A7B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142" y="1585721"/>
            <a:ext cx="758825" cy="758825"/>
            <a:chOff x="5134" y="1194"/>
            <a:chExt cx="478" cy="478"/>
          </a:xfrm>
        </p:grpSpPr>
        <p:sp>
          <p:nvSpPr>
            <p:cNvPr id="111" name="AutoShape 92">
              <a:extLst>
                <a:ext uri="{FF2B5EF4-FFF2-40B4-BE49-F238E27FC236}">
                  <a16:creationId xmlns:a16="http://schemas.microsoft.com/office/drawing/2014/main" id="{1692997C-E734-49A4-A3C1-BF6A46FC0A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34" y="119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5B02A926-DD27-4715-8B4F-3E546DC6E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19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59EC2FF5-9E78-4FDA-A329-DDD7D8DEB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" y="1427"/>
              <a:ext cx="9" cy="95"/>
            </a:xfrm>
            <a:custGeom>
              <a:avLst/>
              <a:gdLst>
                <a:gd name="T0" fmla="*/ 7 w 9"/>
                <a:gd name="T1" fmla="*/ 0 h 95"/>
                <a:gd name="T2" fmla="*/ 4 w 9"/>
                <a:gd name="T3" fmla="*/ 0 h 95"/>
                <a:gd name="T4" fmla="*/ 2 w 9"/>
                <a:gd name="T5" fmla="*/ 0 h 95"/>
                <a:gd name="T6" fmla="*/ 0 w 9"/>
                <a:gd name="T7" fmla="*/ 2 h 95"/>
                <a:gd name="T8" fmla="*/ 0 w 9"/>
                <a:gd name="T9" fmla="*/ 5 h 95"/>
                <a:gd name="T10" fmla="*/ 0 w 9"/>
                <a:gd name="T11" fmla="*/ 5 h 95"/>
                <a:gd name="T12" fmla="*/ 0 w 9"/>
                <a:gd name="T13" fmla="*/ 93 h 95"/>
                <a:gd name="T14" fmla="*/ 2 w 9"/>
                <a:gd name="T15" fmla="*/ 95 h 95"/>
                <a:gd name="T16" fmla="*/ 4 w 9"/>
                <a:gd name="T17" fmla="*/ 95 h 95"/>
                <a:gd name="T18" fmla="*/ 7 w 9"/>
                <a:gd name="T19" fmla="*/ 93 h 95"/>
                <a:gd name="T20" fmla="*/ 9 w 9"/>
                <a:gd name="T21" fmla="*/ 91 h 95"/>
                <a:gd name="T22" fmla="*/ 9 w 9"/>
                <a:gd name="T23" fmla="*/ 91 h 95"/>
                <a:gd name="T24" fmla="*/ 9 w 9"/>
                <a:gd name="T25" fmla="*/ 2 h 95"/>
                <a:gd name="T26" fmla="*/ 7 w 9"/>
                <a:gd name="T2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95">
                  <a:moveTo>
                    <a:pt x="7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3"/>
                  </a:lnTo>
                  <a:lnTo>
                    <a:pt x="2" y="95"/>
                  </a:lnTo>
                  <a:lnTo>
                    <a:pt x="4" y="95"/>
                  </a:lnTo>
                  <a:lnTo>
                    <a:pt x="7" y="93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6">
              <a:extLst>
                <a:ext uri="{FF2B5EF4-FFF2-40B4-BE49-F238E27FC236}">
                  <a16:creationId xmlns:a16="http://schemas.microsoft.com/office/drawing/2014/main" id="{82BC2D1D-44D1-412D-B978-1126AB7BC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1427"/>
              <a:ext cx="10" cy="95"/>
            </a:xfrm>
            <a:custGeom>
              <a:avLst/>
              <a:gdLst>
                <a:gd name="T0" fmla="*/ 3 w 10"/>
                <a:gd name="T1" fmla="*/ 93 h 95"/>
                <a:gd name="T2" fmla="*/ 5 w 10"/>
                <a:gd name="T3" fmla="*/ 95 h 95"/>
                <a:gd name="T4" fmla="*/ 5 w 10"/>
                <a:gd name="T5" fmla="*/ 95 h 95"/>
                <a:gd name="T6" fmla="*/ 7 w 10"/>
                <a:gd name="T7" fmla="*/ 93 h 95"/>
                <a:gd name="T8" fmla="*/ 10 w 10"/>
                <a:gd name="T9" fmla="*/ 93 h 95"/>
                <a:gd name="T10" fmla="*/ 10 w 10"/>
                <a:gd name="T11" fmla="*/ 91 h 95"/>
                <a:gd name="T12" fmla="*/ 10 w 10"/>
                <a:gd name="T13" fmla="*/ 2 h 95"/>
                <a:gd name="T14" fmla="*/ 7 w 10"/>
                <a:gd name="T15" fmla="*/ 2 h 95"/>
                <a:gd name="T16" fmla="*/ 7 w 10"/>
                <a:gd name="T17" fmla="*/ 0 h 95"/>
                <a:gd name="T18" fmla="*/ 7 w 10"/>
                <a:gd name="T19" fmla="*/ 0 h 95"/>
                <a:gd name="T20" fmla="*/ 5 w 10"/>
                <a:gd name="T21" fmla="*/ 0 h 95"/>
                <a:gd name="T22" fmla="*/ 5 w 10"/>
                <a:gd name="T23" fmla="*/ 0 h 95"/>
                <a:gd name="T24" fmla="*/ 0 w 10"/>
                <a:gd name="T25" fmla="*/ 2 h 95"/>
                <a:gd name="T26" fmla="*/ 0 w 10"/>
                <a:gd name="T27" fmla="*/ 2 h 95"/>
                <a:gd name="T28" fmla="*/ 0 w 10"/>
                <a:gd name="T29" fmla="*/ 5 h 95"/>
                <a:gd name="T30" fmla="*/ 3 w 10"/>
                <a:gd name="T31" fmla="*/ 9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5">
                  <a:moveTo>
                    <a:pt x="3" y="93"/>
                  </a:moveTo>
                  <a:lnTo>
                    <a:pt x="5" y="95"/>
                  </a:lnTo>
                  <a:lnTo>
                    <a:pt x="5" y="95"/>
                  </a:lnTo>
                  <a:lnTo>
                    <a:pt x="7" y="93"/>
                  </a:lnTo>
                  <a:lnTo>
                    <a:pt x="10" y="93"/>
                  </a:lnTo>
                  <a:lnTo>
                    <a:pt x="10" y="91"/>
                  </a:lnTo>
                  <a:lnTo>
                    <a:pt x="10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9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97">
              <a:extLst>
                <a:ext uri="{FF2B5EF4-FFF2-40B4-BE49-F238E27FC236}">
                  <a16:creationId xmlns:a16="http://schemas.microsoft.com/office/drawing/2014/main" id="{439E2522-5F0C-416E-9E96-0DF57B2202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" y="1317"/>
              <a:ext cx="196" cy="235"/>
            </a:xfrm>
            <a:custGeom>
              <a:avLst/>
              <a:gdLst>
                <a:gd name="T0" fmla="*/ 191 w 196"/>
                <a:gd name="T1" fmla="*/ 41 h 235"/>
                <a:gd name="T2" fmla="*/ 184 w 196"/>
                <a:gd name="T3" fmla="*/ 39 h 235"/>
                <a:gd name="T4" fmla="*/ 182 w 196"/>
                <a:gd name="T5" fmla="*/ 39 h 235"/>
                <a:gd name="T6" fmla="*/ 140 w 196"/>
                <a:gd name="T7" fmla="*/ 12 h 235"/>
                <a:gd name="T8" fmla="*/ 133 w 196"/>
                <a:gd name="T9" fmla="*/ 2 h 235"/>
                <a:gd name="T10" fmla="*/ 120 w 196"/>
                <a:gd name="T11" fmla="*/ 0 h 235"/>
                <a:gd name="T12" fmla="*/ 64 w 196"/>
                <a:gd name="T13" fmla="*/ 4 h 235"/>
                <a:gd name="T14" fmla="*/ 57 w 196"/>
                <a:gd name="T15" fmla="*/ 17 h 235"/>
                <a:gd name="T16" fmla="*/ 57 w 196"/>
                <a:gd name="T17" fmla="*/ 39 h 235"/>
                <a:gd name="T18" fmla="*/ 5 w 196"/>
                <a:gd name="T19" fmla="*/ 41 h 235"/>
                <a:gd name="T20" fmla="*/ 0 w 196"/>
                <a:gd name="T21" fmla="*/ 51 h 235"/>
                <a:gd name="T22" fmla="*/ 3 w 196"/>
                <a:gd name="T23" fmla="*/ 88 h 235"/>
                <a:gd name="T24" fmla="*/ 15 w 196"/>
                <a:gd name="T25" fmla="*/ 90 h 235"/>
                <a:gd name="T26" fmla="*/ 20 w 196"/>
                <a:gd name="T27" fmla="*/ 235 h 235"/>
                <a:gd name="T28" fmla="*/ 25 w 196"/>
                <a:gd name="T29" fmla="*/ 235 h 235"/>
                <a:gd name="T30" fmla="*/ 177 w 196"/>
                <a:gd name="T31" fmla="*/ 232 h 235"/>
                <a:gd name="T32" fmla="*/ 179 w 196"/>
                <a:gd name="T33" fmla="*/ 230 h 235"/>
                <a:gd name="T34" fmla="*/ 194 w 196"/>
                <a:gd name="T35" fmla="*/ 90 h 235"/>
                <a:gd name="T36" fmla="*/ 196 w 196"/>
                <a:gd name="T37" fmla="*/ 85 h 235"/>
                <a:gd name="T38" fmla="*/ 66 w 196"/>
                <a:gd name="T39" fmla="*/ 17 h 235"/>
                <a:gd name="T40" fmla="*/ 71 w 196"/>
                <a:gd name="T41" fmla="*/ 9 h 235"/>
                <a:gd name="T42" fmla="*/ 76 w 196"/>
                <a:gd name="T43" fmla="*/ 9 h 235"/>
                <a:gd name="T44" fmla="*/ 128 w 196"/>
                <a:gd name="T45" fmla="*/ 12 h 235"/>
                <a:gd name="T46" fmla="*/ 130 w 196"/>
                <a:gd name="T47" fmla="*/ 19 h 235"/>
                <a:gd name="T48" fmla="*/ 66 w 196"/>
                <a:gd name="T49" fmla="*/ 39 h 235"/>
                <a:gd name="T50" fmla="*/ 167 w 196"/>
                <a:gd name="T51" fmla="*/ 225 h 235"/>
                <a:gd name="T52" fmla="*/ 30 w 196"/>
                <a:gd name="T53" fmla="*/ 90 h 235"/>
                <a:gd name="T54" fmla="*/ 167 w 196"/>
                <a:gd name="T55" fmla="*/ 225 h 235"/>
                <a:gd name="T56" fmla="*/ 12 w 196"/>
                <a:gd name="T57" fmla="*/ 80 h 235"/>
                <a:gd name="T58" fmla="*/ 12 w 196"/>
                <a:gd name="T59" fmla="*/ 49 h 235"/>
                <a:gd name="T60" fmla="*/ 184 w 196"/>
                <a:gd name="T61" fmla="*/ 49 h 235"/>
                <a:gd name="T62" fmla="*/ 184 w 196"/>
                <a:gd name="T63" fmla="*/ 5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6" h="235">
                  <a:moveTo>
                    <a:pt x="194" y="44"/>
                  </a:moveTo>
                  <a:lnTo>
                    <a:pt x="191" y="41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2" y="39"/>
                  </a:lnTo>
                  <a:lnTo>
                    <a:pt x="140" y="39"/>
                  </a:lnTo>
                  <a:lnTo>
                    <a:pt x="140" y="12"/>
                  </a:lnTo>
                  <a:lnTo>
                    <a:pt x="135" y="7"/>
                  </a:lnTo>
                  <a:lnTo>
                    <a:pt x="133" y="2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71" y="0"/>
                  </a:lnTo>
                  <a:lnTo>
                    <a:pt x="64" y="4"/>
                  </a:lnTo>
                  <a:lnTo>
                    <a:pt x="59" y="9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39"/>
                  </a:lnTo>
                  <a:lnTo>
                    <a:pt x="8" y="39"/>
                  </a:lnTo>
                  <a:lnTo>
                    <a:pt x="5" y="41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85"/>
                  </a:lnTo>
                  <a:lnTo>
                    <a:pt x="3" y="88"/>
                  </a:lnTo>
                  <a:lnTo>
                    <a:pt x="8" y="90"/>
                  </a:lnTo>
                  <a:lnTo>
                    <a:pt x="15" y="90"/>
                  </a:lnTo>
                  <a:lnTo>
                    <a:pt x="17" y="90"/>
                  </a:lnTo>
                  <a:lnTo>
                    <a:pt x="20" y="235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177" y="235"/>
                  </a:lnTo>
                  <a:lnTo>
                    <a:pt x="177" y="232"/>
                  </a:lnTo>
                  <a:lnTo>
                    <a:pt x="179" y="230"/>
                  </a:lnTo>
                  <a:lnTo>
                    <a:pt x="179" y="230"/>
                  </a:lnTo>
                  <a:lnTo>
                    <a:pt x="179" y="90"/>
                  </a:lnTo>
                  <a:lnTo>
                    <a:pt x="194" y="90"/>
                  </a:lnTo>
                  <a:lnTo>
                    <a:pt x="194" y="88"/>
                  </a:lnTo>
                  <a:lnTo>
                    <a:pt x="196" y="85"/>
                  </a:lnTo>
                  <a:lnTo>
                    <a:pt x="194" y="44"/>
                  </a:lnTo>
                  <a:close/>
                  <a:moveTo>
                    <a:pt x="66" y="17"/>
                  </a:moveTo>
                  <a:lnTo>
                    <a:pt x="69" y="14"/>
                  </a:lnTo>
                  <a:lnTo>
                    <a:pt x="71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123" y="9"/>
                  </a:lnTo>
                  <a:lnTo>
                    <a:pt x="128" y="12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30" y="39"/>
                  </a:lnTo>
                  <a:lnTo>
                    <a:pt x="66" y="39"/>
                  </a:lnTo>
                  <a:lnTo>
                    <a:pt x="66" y="17"/>
                  </a:lnTo>
                  <a:close/>
                  <a:moveTo>
                    <a:pt x="167" y="225"/>
                  </a:moveTo>
                  <a:lnTo>
                    <a:pt x="30" y="225"/>
                  </a:lnTo>
                  <a:lnTo>
                    <a:pt x="30" y="90"/>
                  </a:lnTo>
                  <a:lnTo>
                    <a:pt x="167" y="90"/>
                  </a:lnTo>
                  <a:lnTo>
                    <a:pt x="167" y="225"/>
                  </a:lnTo>
                  <a:close/>
                  <a:moveTo>
                    <a:pt x="184" y="80"/>
                  </a:moveTo>
                  <a:lnTo>
                    <a:pt x="12" y="80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5" y="49"/>
                  </a:lnTo>
                  <a:lnTo>
                    <a:pt x="184" y="49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4" y="8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8">
              <a:extLst>
                <a:ext uri="{FF2B5EF4-FFF2-40B4-BE49-F238E27FC236}">
                  <a16:creationId xmlns:a16="http://schemas.microsoft.com/office/drawing/2014/main" id="{037517F3-FCF1-4B67-9E94-8D6B4FD6D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9" y="1427"/>
              <a:ext cx="10" cy="95"/>
            </a:xfrm>
            <a:custGeom>
              <a:avLst/>
              <a:gdLst>
                <a:gd name="T0" fmla="*/ 10 w 10"/>
                <a:gd name="T1" fmla="*/ 91 h 95"/>
                <a:gd name="T2" fmla="*/ 10 w 10"/>
                <a:gd name="T3" fmla="*/ 2 h 95"/>
                <a:gd name="T4" fmla="*/ 8 w 10"/>
                <a:gd name="T5" fmla="*/ 2 h 95"/>
                <a:gd name="T6" fmla="*/ 8 w 10"/>
                <a:gd name="T7" fmla="*/ 0 h 95"/>
                <a:gd name="T8" fmla="*/ 5 w 10"/>
                <a:gd name="T9" fmla="*/ 0 h 95"/>
                <a:gd name="T10" fmla="*/ 3 w 10"/>
                <a:gd name="T11" fmla="*/ 2 h 95"/>
                <a:gd name="T12" fmla="*/ 0 w 10"/>
                <a:gd name="T13" fmla="*/ 5 h 95"/>
                <a:gd name="T14" fmla="*/ 0 w 10"/>
                <a:gd name="T15" fmla="*/ 5 h 95"/>
                <a:gd name="T16" fmla="*/ 0 w 10"/>
                <a:gd name="T17" fmla="*/ 93 h 95"/>
                <a:gd name="T18" fmla="*/ 3 w 10"/>
                <a:gd name="T19" fmla="*/ 95 h 95"/>
                <a:gd name="T20" fmla="*/ 5 w 10"/>
                <a:gd name="T21" fmla="*/ 95 h 95"/>
                <a:gd name="T22" fmla="*/ 5 w 10"/>
                <a:gd name="T23" fmla="*/ 95 h 95"/>
                <a:gd name="T24" fmla="*/ 8 w 10"/>
                <a:gd name="T25" fmla="*/ 95 h 95"/>
                <a:gd name="T26" fmla="*/ 10 w 10"/>
                <a:gd name="T27" fmla="*/ 93 h 95"/>
                <a:gd name="T28" fmla="*/ 10 w 10"/>
                <a:gd name="T29" fmla="*/ 93 h 95"/>
                <a:gd name="T30" fmla="*/ 10 w 10"/>
                <a:gd name="T31" fmla="*/ 91 h 95"/>
                <a:gd name="T32" fmla="*/ 10 w 10"/>
                <a:gd name="T33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95">
                  <a:moveTo>
                    <a:pt x="10" y="91"/>
                  </a:move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3"/>
                  </a:lnTo>
                  <a:lnTo>
                    <a:pt x="3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8" y="95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10" y="91"/>
                  </a:lnTo>
                  <a:lnTo>
                    <a:pt x="10" y="9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01">
            <a:extLst>
              <a:ext uri="{FF2B5EF4-FFF2-40B4-BE49-F238E27FC236}">
                <a16:creationId xmlns:a16="http://schemas.microsoft.com/office/drawing/2014/main" id="{31C24F71-9034-423F-A7A7-ABC2D6A63D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190" y="1545239"/>
            <a:ext cx="841375" cy="841375"/>
            <a:chOff x="4412" y="1017"/>
            <a:chExt cx="530" cy="530"/>
          </a:xfrm>
        </p:grpSpPr>
        <p:sp>
          <p:nvSpPr>
            <p:cNvPr id="118" name="AutoShape 100">
              <a:extLst>
                <a:ext uri="{FF2B5EF4-FFF2-40B4-BE49-F238E27FC236}">
                  <a16:creationId xmlns:a16="http://schemas.microsoft.com/office/drawing/2014/main" id="{A4304215-69AA-4268-B04F-15712C4C93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2" y="101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Oval 102">
              <a:extLst>
                <a:ext uri="{FF2B5EF4-FFF2-40B4-BE49-F238E27FC236}">
                  <a16:creationId xmlns:a16="http://schemas.microsoft.com/office/drawing/2014/main" id="{B4683D14-3811-4919-9D06-51FFD548FD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2" y="101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3">
              <a:extLst>
                <a:ext uri="{FF2B5EF4-FFF2-40B4-BE49-F238E27FC236}">
                  <a16:creationId xmlns:a16="http://schemas.microsoft.com/office/drawing/2014/main" id="{B7C112AA-E606-48BD-B9EC-D495DADB9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0" y="103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4">
              <a:extLst>
                <a:ext uri="{FF2B5EF4-FFF2-40B4-BE49-F238E27FC236}">
                  <a16:creationId xmlns:a16="http://schemas.microsoft.com/office/drawing/2014/main" id="{4AEDAC9D-8E00-401B-88EC-95A024F92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" y="1275"/>
              <a:ext cx="10" cy="100"/>
            </a:xfrm>
            <a:custGeom>
              <a:avLst/>
              <a:gdLst>
                <a:gd name="T0" fmla="*/ 8 w 10"/>
                <a:gd name="T1" fmla="*/ 0 h 100"/>
                <a:gd name="T2" fmla="*/ 5 w 10"/>
                <a:gd name="T3" fmla="*/ 0 h 100"/>
                <a:gd name="T4" fmla="*/ 3 w 10"/>
                <a:gd name="T5" fmla="*/ 0 h 100"/>
                <a:gd name="T6" fmla="*/ 0 w 10"/>
                <a:gd name="T7" fmla="*/ 3 h 100"/>
                <a:gd name="T8" fmla="*/ 0 w 10"/>
                <a:gd name="T9" fmla="*/ 6 h 100"/>
                <a:gd name="T10" fmla="*/ 0 w 10"/>
                <a:gd name="T11" fmla="*/ 6 h 100"/>
                <a:gd name="T12" fmla="*/ 0 w 10"/>
                <a:gd name="T13" fmla="*/ 98 h 100"/>
                <a:gd name="T14" fmla="*/ 3 w 10"/>
                <a:gd name="T15" fmla="*/ 100 h 100"/>
                <a:gd name="T16" fmla="*/ 5 w 10"/>
                <a:gd name="T17" fmla="*/ 100 h 100"/>
                <a:gd name="T18" fmla="*/ 8 w 10"/>
                <a:gd name="T19" fmla="*/ 98 h 100"/>
                <a:gd name="T20" fmla="*/ 10 w 10"/>
                <a:gd name="T21" fmla="*/ 95 h 100"/>
                <a:gd name="T22" fmla="*/ 10 w 10"/>
                <a:gd name="T23" fmla="*/ 95 h 100"/>
                <a:gd name="T24" fmla="*/ 10 w 10"/>
                <a:gd name="T25" fmla="*/ 3 h 100"/>
                <a:gd name="T26" fmla="*/ 8 w 10"/>
                <a:gd name="T2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0">
                  <a:moveTo>
                    <a:pt x="8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98"/>
                  </a:lnTo>
                  <a:lnTo>
                    <a:pt x="3" y="100"/>
                  </a:lnTo>
                  <a:lnTo>
                    <a:pt x="5" y="100"/>
                  </a:lnTo>
                  <a:lnTo>
                    <a:pt x="8" y="98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0" y="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5">
              <a:extLst>
                <a:ext uri="{FF2B5EF4-FFF2-40B4-BE49-F238E27FC236}">
                  <a16:creationId xmlns:a16="http://schemas.microsoft.com/office/drawing/2014/main" id="{F03DF7B2-BBF1-4211-8428-1801A515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" y="1275"/>
              <a:ext cx="10" cy="100"/>
            </a:xfrm>
            <a:custGeom>
              <a:avLst/>
              <a:gdLst>
                <a:gd name="T0" fmla="*/ 3 w 10"/>
                <a:gd name="T1" fmla="*/ 98 h 100"/>
                <a:gd name="T2" fmla="*/ 5 w 10"/>
                <a:gd name="T3" fmla="*/ 100 h 100"/>
                <a:gd name="T4" fmla="*/ 5 w 10"/>
                <a:gd name="T5" fmla="*/ 100 h 100"/>
                <a:gd name="T6" fmla="*/ 8 w 10"/>
                <a:gd name="T7" fmla="*/ 98 h 100"/>
                <a:gd name="T8" fmla="*/ 10 w 10"/>
                <a:gd name="T9" fmla="*/ 98 h 100"/>
                <a:gd name="T10" fmla="*/ 10 w 10"/>
                <a:gd name="T11" fmla="*/ 95 h 100"/>
                <a:gd name="T12" fmla="*/ 10 w 10"/>
                <a:gd name="T13" fmla="*/ 3 h 100"/>
                <a:gd name="T14" fmla="*/ 8 w 10"/>
                <a:gd name="T15" fmla="*/ 3 h 100"/>
                <a:gd name="T16" fmla="*/ 8 w 10"/>
                <a:gd name="T17" fmla="*/ 0 h 100"/>
                <a:gd name="T18" fmla="*/ 8 w 10"/>
                <a:gd name="T19" fmla="*/ 0 h 100"/>
                <a:gd name="T20" fmla="*/ 5 w 10"/>
                <a:gd name="T21" fmla="*/ 0 h 100"/>
                <a:gd name="T22" fmla="*/ 5 w 10"/>
                <a:gd name="T23" fmla="*/ 0 h 100"/>
                <a:gd name="T24" fmla="*/ 0 w 10"/>
                <a:gd name="T25" fmla="*/ 3 h 100"/>
                <a:gd name="T26" fmla="*/ 0 w 10"/>
                <a:gd name="T27" fmla="*/ 3 h 100"/>
                <a:gd name="T28" fmla="*/ 0 w 10"/>
                <a:gd name="T29" fmla="*/ 6 h 100"/>
                <a:gd name="T30" fmla="*/ 3 w 10"/>
                <a:gd name="T31" fmla="*/ 9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00">
                  <a:moveTo>
                    <a:pt x="3" y="98"/>
                  </a:moveTo>
                  <a:lnTo>
                    <a:pt x="5" y="100"/>
                  </a:lnTo>
                  <a:lnTo>
                    <a:pt x="5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5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6">
              <a:extLst>
                <a:ext uri="{FF2B5EF4-FFF2-40B4-BE49-F238E27FC236}">
                  <a16:creationId xmlns:a16="http://schemas.microsoft.com/office/drawing/2014/main" id="{42F6897B-DA9B-42CA-A024-EDF0748DA1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6" y="1160"/>
              <a:ext cx="205" cy="246"/>
            </a:xfrm>
            <a:custGeom>
              <a:avLst/>
              <a:gdLst>
                <a:gd name="T0" fmla="*/ 199 w 205"/>
                <a:gd name="T1" fmla="*/ 44 h 246"/>
                <a:gd name="T2" fmla="*/ 192 w 205"/>
                <a:gd name="T3" fmla="*/ 41 h 246"/>
                <a:gd name="T4" fmla="*/ 189 w 205"/>
                <a:gd name="T5" fmla="*/ 41 h 246"/>
                <a:gd name="T6" fmla="*/ 146 w 205"/>
                <a:gd name="T7" fmla="*/ 13 h 246"/>
                <a:gd name="T8" fmla="*/ 138 w 205"/>
                <a:gd name="T9" fmla="*/ 3 h 246"/>
                <a:gd name="T10" fmla="*/ 125 w 205"/>
                <a:gd name="T11" fmla="*/ 0 h 246"/>
                <a:gd name="T12" fmla="*/ 66 w 205"/>
                <a:gd name="T13" fmla="*/ 5 h 246"/>
                <a:gd name="T14" fmla="*/ 59 w 205"/>
                <a:gd name="T15" fmla="*/ 18 h 246"/>
                <a:gd name="T16" fmla="*/ 59 w 205"/>
                <a:gd name="T17" fmla="*/ 41 h 246"/>
                <a:gd name="T18" fmla="*/ 5 w 205"/>
                <a:gd name="T19" fmla="*/ 44 h 246"/>
                <a:gd name="T20" fmla="*/ 0 w 205"/>
                <a:gd name="T21" fmla="*/ 54 h 246"/>
                <a:gd name="T22" fmla="*/ 2 w 205"/>
                <a:gd name="T23" fmla="*/ 92 h 246"/>
                <a:gd name="T24" fmla="*/ 15 w 205"/>
                <a:gd name="T25" fmla="*/ 95 h 246"/>
                <a:gd name="T26" fmla="*/ 20 w 205"/>
                <a:gd name="T27" fmla="*/ 246 h 246"/>
                <a:gd name="T28" fmla="*/ 25 w 205"/>
                <a:gd name="T29" fmla="*/ 246 h 246"/>
                <a:gd name="T30" fmla="*/ 184 w 205"/>
                <a:gd name="T31" fmla="*/ 244 h 246"/>
                <a:gd name="T32" fmla="*/ 187 w 205"/>
                <a:gd name="T33" fmla="*/ 241 h 246"/>
                <a:gd name="T34" fmla="*/ 202 w 205"/>
                <a:gd name="T35" fmla="*/ 95 h 246"/>
                <a:gd name="T36" fmla="*/ 205 w 205"/>
                <a:gd name="T37" fmla="*/ 90 h 246"/>
                <a:gd name="T38" fmla="*/ 69 w 205"/>
                <a:gd name="T39" fmla="*/ 18 h 246"/>
                <a:gd name="T40" fmla="*/ 74 w 205"/>
                <a:gd name="T41" fmla="*/ 11 h 246"/>
                <a:gd name="T42" fmla="*/ 79 w 205"/>
                <a:gd name="T43" fmla="*/ 11 h 246"/>
                <a:gd name="T44" fmla="*/ 133 w 205"/>
                <a:gd name="T45" fmla="*/ 13 h 246"/>
                <a:gd name="T46" fmla="*/ 135 w 205"/>
                <a:gd name="T47" fmla="*/ 21 h 246"/>
                <a:gd name="T48" fmla="*/ 69 w 205"/>
                <a:gd name="T49" fmla="*/ 41 h 246"/>
                <a:gd name="T50" fmla="*/ 174 w 205"/>
                <a:gd name="T51" fmla="*/ 236 h 246"/>
                <a:gd name="T52" fmla="*/ 30 w 205"/>
                <a:gd name="T53" fmla="*/ 95 h 246"/>
                <a:gd name="T54" fmla="*/ 174 w 205"/>
                <a:gd name="T55" fmla="*/ 236 h 246"/>
                <a:gd name="T56" fmla="*/ 13 w 205"/>
                <a:gd name="T57" fmla="*/ 85 h 246"/>
                <a:gd name="T58" fmla="*/ 13 w 205"/>
                <a:gd name="T59" fmla="*/ 51 h 246"/>
                <a:gd name="T60" fmla="*/ 192 w 205"/>
                <a:gd name="T61" fmla="*/ 51 h 246"/>
                <a:gd name="T62" fmla="*/ 192 w 205"/>
                <a:gd name="T63" fmla="*/ 5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5" h="246">
                  <a:moveTo>
                    <a:pt x="202" y="46"/>
                  </a:moveTo>
                  <a:lnTo>
                    <a:pt x="199" y="44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89" y="41"/>
                  </a:lnTo>
                  <a:lnTo>
                    <a:pt x="146" y="41"/>
                  </a:lnTo>
                  <a:lnTo>
                    <a:pt x="146" y="13"/>
                  </a:lnTo>
                  <a:lnTo>
                    <a:pt x="141" y="8"/>
                  </a:lnTo>
                  <a:lnTo>
                    <a:pt x="138" y="3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74" y="0"/>
                  </a:lnTo>
                  <a:lnTo>
                    <a:pt x="66" y="5"/>
                  </a:lnTo>
                  <a:lnTo>
                    <a:pt x="61" y="11"/>
                  </a:lnTo>
                  <a:lnTo>
                    <a:pt x="59" y="18"/>
                  </a:lnTo>
                  <a:lnTo>
                    <a:pt x="59" y="21"/>
                  </a:lnTo>
                  <a:lnTo>
                    <a:pt x="59" y="41"/>
                  </a:lnTo>
                  <a:lnTo>
                    <a:pt x="7" y="41"/>
                  </a:lnTo>
                  <a:lnTo>
                    <a:pt x="5" y="44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90"/>
                  </a:lnTo>
                  <a:lnTo>
                    <a:pt x="2" y="92"/>
                  </a:lnTo>
                  <a:lnTo>
                    <a:pt x="7" y="95"/>
                  </a:lnTo>
                  <a:lnTo>
                    <a:pt x="15" y="95"/>
                  </a:lnTo>
                  <a:lnTo>
                    <a:pt x="18" y="95"/>
                  </a:lnTo>
                  <a:lnTo>
                    <a:pt x="20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184" y="246"/>
                  </a:lnTo>
                  <a:lnTo>
                    <a:pt x="184" y="244"/>
                  </a:lnTo>
                  <a:lnTo>
                    <a:pt x="187" y="241"/>
                  </a:lnTo>
                  <a:lnTo>
                    <a:pt x="187" y="241"/>
                  </a:lnTo>
                  <a:lnTo>
                    <a:pt x="187" y="95"/>
                  </a:lnTo>
                  <a:lnTo>
                    <a:pt x="202" y="95"/>
                  </a:lnTo>
                  <a:lnTo>
                    <a:pt x="202" y="92"/>
                  </a:lnTo>
                  <a:lnTo>
                    <a:pt x="205" y="90"/>
                  </a:lnTo>
                  <a:lnTo>
                    <a:pt x="202" y="46"/>
                  </a:lnTo>
                  <a:close/>
                  <a:moveTo>
                    <a:pt x="69" y="18"/>
                  </a:moveTo>
                  <a:lnTo>
                    <a:pt x="71" y="16"/>
                  </a:lnTo>
                  <a:lnTo>
                    <a:pt x="74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128" y="11"/>
                  </a:lnTo>
                  <a:lnTo>
                    <a:pt x="133" y="13"/>
                  </a:lnTo>
                  <a:lnTo>
                    <a:pt x="135" y="18"/>
                  </a:lnTo>
                  <a:lnTo>
                    <a:pt x="135" y="21"/>
                  </a:lnTo>
                  <a:lnTo>
                    <a:pt x="135" y="41"/>
                  </a:lnTo>
                  <a:lnTo>
                    <a:pt x="69" y="41"/>
                  </a:lnTo>
                  <a:lnTo>
                    <a:pt x="69" y="18"/>
                  </a:lnTo>
                  <a:close/>
                  <a:moveTo>
                    <a:pt x="174" y="236"/>
                  </a:moveTo>
                  <a:lnTo>
                    <a:pt x="30" y="236"/>
                  </a:lnTo>
                  <a:lnTo>
                    <a:pt x="30" y="95"/>
                  </a:lnTo>
                  <a:lnTo>
                    <a:pt x="174" y="95"/>
                  </a:lnTo>
                  <a:lnTo>
                    <a:pt x="174" y="236"/>
                  </a:lnTo>
                  <a:close/>
                  <a:moveTo>
                    <a:pt x="192" y="85"/>
                  </a:moveTo>
                  <a:lnTo>
                    <a:pt x="13" y="85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5" y="51"/>
                  </a:lnTo>
                  <a:lnTo>
                    <a:pt x="192" y="51"/>
                  </a:lnTo>
                  <a:lnTo>
                    <a:pt x="192" y="54"/>
                  </a:lnTo>
                  <a:lnTo>
                    <a:pt x="192" y="54"/>
                  </a:lnTo>
                  <a:lnTo>
                    <a:pt x="192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7">
              <a:extLst>
                <a:ext uri="{FF2B5EF4-FFF2-40B4-BE49-F238E27FC236}">
                  <a16:creationId xmlns:a16="http://schemas.microsoft.com/office/drawing/2014/main" id="{EF07D303-A5DA-4F5D-B72D-D19BD55C1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" y="1275"/>
              <a:ext cx="10" cy="100"/>
            </a:xfrm>
            <a:custGeom>
              <a:avLst/>
              <a:gdLst>
                <a:gd name="T0" fmla="*/ 10 w 10"/>
                <a:gd name="T1" fmla="*/ 95 h 100"/>
                <a:gd name="T2" fmla="*/ 10 w 10"/>
                <a:gd name="T3" fmla="*/ 3 h 100"/>
                <a:gd name="T4" fmla="*/ 8 w 10"/>
                <a:gd name="T5" fmla="*/ 3 h 100"/>
                <a:gd name="T6" fmla="*/ 8 w 10"/>
                <a:gd name="T7" fmla="*/ 0 h 100"/>
                <a:gd name="T8" fmla="*/ 5 w 10"/>
                <a:gd name="T9" fmla="*/ 0 h 100"/>
                <a:gd name="T10" fmla="*/ 3 w 10"/>
                <a:gd name="T11" fmla="*/ 3 h 100"/>
                <a:gd name="T12" fmla="*/ 0 w 10"/>
                <a:gd name="T13" fmla="*/ 6 h 100"/>
                <a:gd name="T14" fmla="*/ 0 w 10"/>
                <a:gd name="T15" fmla="*/ 6 h 100"/>
                <a:gd name="T16" fmla="*/ 0 w 10"/>
                <a:gd name="T17" fmla="*/ 98 h 100"/>
                <a:gd name="T18" fmla="*/ 3 w 10"/>
                <a:gd name="T19" fmla="*/ 100 h 100"/>
                <a:gd name="T20" fmla="*/ 5 w 10"/>
                <a:gd name="T21" fmla="*/ 100 h 100"/>
                <a:gd name="T22" fmla="*/ 5 w 10"/>
                <a:gd name="T23" fmla="*/ 100 h 100"/>
                <a:gd name="T24" fmla="*/ 8 w 10"/>
                <a:gd name="T25" fmla="*/ 100 h 100"/>
                <a:gd name="T26" fmla="*/ 10 w 10"/>
                <a:gd name="T27" fmla="*/ 98 h 100"/>
                <a:gd name="T28" fmla="*/ 10 w 10"/>
                <a:gd name="T29" fmla="*/ 98 h 100"/>
                <a:gd name="T30" fmla="*/ 10 w 10"/>
                <a:gd name="T31" fmla="*/ 95 h 100"/>
                <a:gd name="T32" fmla="*/ 10 w 10"/>
                <a:gd name="T33" fmla="*/ 9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00">
                  <a:moveTo>
                    <a:pt x="10" y="95"/>
                  </a:moveTo>
                  <a:lnTo>
                    <a:pt x="10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98"/>
                  </a:lnTo>
                  <a:lnTo>
                    <a:pt x="3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8" y="100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5"/>
                  </a:lnTo>
                  <a:lnTo>
                    <a:pt x="10" y="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Group 110">
            <a:extLst>
              <a:ext uri="{FF2B5EF4-FFF2-40B4-BE49-F238E27FC236}">
                <a16:creationId xmlns:a16="http://schemas.microsoft.com/office/drawing/2014/main" id="{FDB7357E-BD3F-4119-BE0A-9D501D3325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1469" y="2840238"/>
            <a:ext cx="758825" cy="758825"/>
            <a:chOff x="997" y="1986"/>
            <a:chExt cx="478" cy="478"/>
          </a:xfrm>
        </p:grpSpPr>
        <p:sp>
          <p:nvSpPr>
            <p:cNvPr id="130" name="AutoShape 109">
              <a:extLst>
                <a:ext uri="{FF2B5EF4-FFF2-40B4-BE49-F238E27FC236}">
                  <a16:creationId xmlns:a16="http://schemas.microsoft.com/office/drawing/2014/main" id="{797F68D9-B5B2-41E0-A835-0714AE3E4B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97" y="19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1">
              <a:extLst>
                <a:ext uri="{FF2B5EF4-FFF2-40B4-BE49-F238E27FC236}">
                  <a16:creationId xmlns:a16="http://schemas.microsoft.com/office/drawing/2014/main" id="{658F79CC-B2DD-4DFE-AA46-66BF64FA5A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9" y="19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12">
              <a:extLst>
                <a:ext uri="{FF2B5EF4-FFF2-40B4-BE49-F238E27FC236}">
                  <a16:creationId xmlns:a16="http://schemas.microsoft.com/office/drawing/2014/main" id="{09087900-EE1E-4B4B-A035-8446242FD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" y="2074"/>
              <a:ext cx="230" cy="285"/>
            </a:xfrm>
            <a:custGeom>
              <a:avLst/>
              <a:gdLst>
                <a:gd name="T0" fmla="*/ 42 w 230"/>
                <a:gd name="T1" fmla="*/ 128 h 285"/>
                <a:gd name="T2" fmla="*/ 39 w 230"/>
                <a:gd name="T3" fmla="*/ 260 h 285"/>
                <a:gd name="T4" fmla="*/ 44 w 230"/>
                <a:gd name="T5" fmla="*/ 265 h 285"/>
                <a:gd name="T6" fmla="*/ 49 w 230"/>
                <a:gd name="T7" fmla="*/ 263 h 285"/>
                <a:gd name="T8" fmla="*/ 49 w 230"/>
                <a:gd name="T9" fmla="*/ 128 h 285"/>
                <a:gd name="T10" fmla="*/ 47 w 230"/>
                <a:gd name="T11" fmla="*/ 125 h 285"/>
                <a:gd name="T12" fmla="*/ 69 w 230"/>
                <a:gd name="T13" fmla="*/ 128 h 285"/>
                <a:gd name="T14" fmla="*/ 69 w 230"/>
                <a:gd name="T15" fmla="*/ 260 h 285"/>
                <a:gd name="T16" fmla="*/ 71 w 230"/>
                <a:gd name="T17" fmla="*/ 265 h 285"/>
                <a:gd name="T18" fmla="*/ 76 w 230"/>
                <a:gd name="T19" fmla="*/ 263 h 285"/>
                <a:gd name="T20" fmla="*/ 78 w 230"/>
                <a:gd name="T21" fmla="*/ 130 h 285"/>
                <a:gd name="T22" fmla="*/ 74 w 230"/>
                <a:gd name="T23" fmla="*/ 125 h 285"/>
                <a:gd name="T24" fmla="*/ 98 w 230"/>
                <a:gd name="T25" fmla="*/ 125 h 285"/>
                <a:gd name="T26" fmla="*/ 96 w 230"/>
                <a:gd name="T27" fmla="*/ 130 h 285"/>
                <a:gd name="T28" fmla="*/ 98 w 230"/>
                <a:gd name="T29" fmla="*/ 263 h 285"/>
                <a:gd name="T30" fmla="*/ 103 w 230"/>
                <a:gd name="T31" fmla="*/ 263 h 285"/>
                <a:gd name="T32" fmla="*/ 105 w 230"/>
                <a:gd name="T33" fmla="*/ 130 h 285"/>
                <a:gd name="T34" fmla="*/ 103 w 230"/>
                <a:gd name="T35" fmla="*/ 125 h 285"/>
                <a:gd name="T36" fmla="*/ 127 w 230"/>
                <a:gd name="T37" fmla="*/ 125 h 285"/>
                <a:gd name="T38" fmla="*/ 125 w 230"/>
                <a:gd name="T39" fmla="*/ 130 h 285"/>
                <a:gd name="T40" fmla="*/ 127 w 230"/>
                <a:gd name="T41" fmla="*/ 263 h 285"/>
                <a:gd name="T42" fmla="*/ 132 w 230"/>
                <a:gd name="T43" fmla="*/ 263 h 285"/>
                <a:gd name="T44" fmla="*/ 135 w 230"/>
                <a:gd name="T45" fmla="*/ 130 h 285"/>
                <a:gd name="T46" fmla="*/ 132 w 230"/>
                <a:gd name="T47" fmla="*/ 125 h 285"/>
                <a:gd name="T48" fmla="*/ 157 w 230"/>
                <a:gd name="T49" fmla="*/ 125 h 285"/>
                <a:gd name="T50" fmla="*/ 154 w 230"/>
                <a:gd name="T51" fmla="*/ 130 h 285"/>
                <a:gd name="T52" fmla="*/ 154 w 230"/>
                <a:gd name="T53" fmla="*/ 263 h 285"/>
                <a:gd name="T54" fmla="*/ 159 w 230"/>
                <a:gd name="T55" fmla="*/ 265 h 285"/>
                <a:gd name="T56" fmla="*/ 162 w 230"/>
                <a:gd name="T57" fmla="*/ 260 h 285"/>
                <a:gd name="T58" fmla="*/ 162 w 230"/>
                <a:gd name="T59" fmla="*/ 128 h 285"/>
                <a:gd name="T60" fmla="*/ 184 w 230"/>
                <a:gd name="T61" fmla="*/ 125 h 285"/>
                <a:gd name="T62" fmla="*/ 181 w 230"/>
                <a:gd name="T63" fmla="*/ 128 h 285"/>
                <a:gd name="T64" fmla="*/ 181 w 230"/>
                <a:gd name="T65" fmla="*/ 263 h 285"/>
                <a:gd name="T66" fmla="*/ 186 w 230"/>
                <a:gd name="T67" fmla="*/ 265 h 285"/>
                <a:gd name="T68" fmla="*/ 191 w 230"/>
                <a:gd name="T69" fmla="*/ 260 h 285"/>
                <a:gd name="T70" fmla="*/ 189 w 230"/>
                <a:gd name="T71" fmla="*/ 128 h 285"/>
                <a:gd name="T72" fmla="*/ 25 w 230"/>
                <a:gd name="T73" fmla="*/ 113 h 285"/>
                <a:gd name="T74" fmla="*/ 15 w 230"/>
                <a:gd name="T75" fmla="*/ 66 h 285"/>
                <a:gd name="T76" fmla="*/ 96 w 230"/>
                <a:gd name="T77" fmla="*/ 15 h 285"/>
                <a:gd name="T78" fmla="*/ 101 w 230"/>
                <a:gd name="T79" fmla="*/ 10 h 285"/>
                <a:gd name="T80" fmla="*/ 132 w 230"/>
                <a:gd name="T81" fmla="*/ 10 h 285"/>
                <a:gd name="T82" fmla="*/ 135 w 230"/>
                <a:gd name="T83" fmla="*/ 17 h 285"/>
                <a:gd name="T84" fmla="*/ 93 w 230"/>
                <a:gd name="T85" fmla="*/ 3 h 285"/>
                <a:gd name="T86" fmla="*/ 86 w 230"/>
                <a:gd name="T87" fmla="*/ 15 h 285"/>
                <a:gd name="T88" fmla="*/ 5 w 230"/>
                <a:gd name="T89" fmla="*/ 64 h 285"/>
                <a:gd name="T90" fmla="*/ 2 w 230"/>
                <a:gd name="T91" fmla="*/ 79 h 285"/>
                <a:gd name="T92" fmla="*/ 0 w 230"/>
                <a:gd name="T93" fmla="*/ 81 h 285"/>
                <a:gd name="T94" fmla="*/ 5 w 230"/>
                <a:gd name="T95" fmla="*/ 86 h 285"/>
                <a:gd name="T96" fmla="*/ 12 w 230"/>
                <a:gd name="T97" fmla="*/ 106 h 285"/>
                <a:gd name="T98" fmla="*/ 10 w 230"/>
                <a:gd name="T99" fmla="*/ 111 h 285"/>
                <a:gd name="T100" fmla="*/ 15 w 230"/>
                <a:gd name="T101" fmla="*/ 113 h 285"/>
                <a:gd name="T102" fmla="*/ 17 w 230"/>
                <a:gd name="T103" fmla="*/ 285 h 285"/>
                <a:gd name="T104" fmla="*/ 213 w 230"/>
                <a:gd name="T105" fmla="*/ 285 h 285"/>
                <a:gd name="T106" fmla="*/ 216 w 230"/>
                <a:gd name="T107" fmla="*/ 282 h 285"/>
                <a:gd name="T108" fmla="*/ 221 w 230"/>
                <a:gd name="T109" fmla="*/ 113 h 285"/>
                <a:gd name="T110" fmla="*/ 221 w 230"/>
                <a:gd name="T111" fmla="*/ 108 h 285"/>
                <a:gd name="T112" fmla="*/ 216 w 230"/>
                <a:gd name="T113" fmla="*/ 103 h 285"/>
                <a:gd name="T114" fmla="*/ 228 w 230"/>
                <a:gd name="T115" fmla="*/ 84 h 285"/>
                <a:gd name="T116" fmla="*/ 230 w 230"/>
                <a:gd name="T117" fmla="*/ 79 h 285"/>
                <a:gd name="T118" fmla="*/ 226 w 230"/>
                <a:gd name="T119" fmla="*/ 64 h 285"/>
                <a:gd name="T120" fmla="*/ 145 w 230"/>
                <a:gd name="T121" fmla="*/ 17 h 285"/>
                <a:gd name="T122" fmla="*/ 140 w 230"/>
                <a:gd name="T123" fmla="*/ 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0" h="285">
                  <a:moveTo>
                    <a:pt x="44" y="125"/>
                  </a:moveTo>
                  <a:lnTo>
                    <a:pt x="44" y="125"/>
                  </a:lnTo>
                  <a:lnTo>
                    <a:pt x="44" y="125"/>
                  </a:lnTo>
                  <a:lnTo>
                    <a:pt x="44" y="125"/>
                  </a:lnTo>
                  <a:lnTo>
                    <a:pt x="4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39" y="130"/>
                  </a:lnTo>
                  <a:lnTo>
                    <a:pt x="39" y="130"/>
                  </a:lnTo>
                  <a:lnTo>
                    <a:pt x="39" y="130"/>
                  </a:lnTo>
                  <a:lnTo>
                    <a:pt x="39" y="130"/>
                  </a:lnTo>
                  <a:lnTo>
                    <a:pt x="39" y="260"/>
                  </a:lnTo>
                  <a:lnTo>
                    <a:pt x="39" y="260"/>
                  </a:lnTo>
                  <a:lnTo>
                    <a:pt x="39" y="260"/>
                  </a:lnTo>
                  <a:lnTo>
                    <a:pt x="39" y="260"/>
                  </a:lnTo>
                  <a:lnTo>
                    <a:pt x="42" y="260"/>
                  </a:lnTo>
                  <a:lnTo>
                    <a:pt x="42" y="263"/>
                  </a:lnTo>
                  <a:lnTo>
                    <a:pt x="42" y="263"/>
                  </a:lnTo>
                  <a:lnTo>
                    <a:pt x="42" y="263"/>
                  </a:lnTo>
                  <a:lnTo>
                    <a:pt x="42" y="263"/>
                  </a:lnTo>
                  <a:lnTo>
                    <a:pt x="42" y="263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3"/>
                  </a:lnTo>
                  <a:lnTo>
                    <a:pt x="49" y="263"/>
                  </a:lnTo>
                  <a:lnTo>
                    <a:pt x="49" y="263"/>
                  </a:lnTo>
                  <a:lnTo>
                    <a:pt x="49" y="263"/>
                  </a:lnTo>
                  <a:lnTo>
                    <a:pt x="49" y="263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49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4" y="125"/>
                  </a:lnTo>
                  <a:close/>
                  <a:moveTo>
                    <a:pt x="74" y="125"/>
                  </a:moveTo>
                  <a:lnTo>
                    <a:pt x="71" y="125"/>
                  </a:lnTo>
                  <a:lnTo>
                    <a:pt x="71" y="125"/>
                  </a:lnTo>
                  <a:lnTo>
                    <a:pt x="71" y="125"/>
                  </a:lnTo>
                  <a:lnTo>
                    <a:pt x="71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1" y="263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0"/>
                  </a:lnTo>
                  <a:lnTo>
                    <a:pt x="76" y="260"/>
                  </a:lnTo>
                  <a:lnTo>
                    <a:pt x="76" y="260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6" y="125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4" y="125"/>
                  </a:lnTo>
                  <a:close/>
                  <a:moveTo>
                    <a:pt x="101" y="125"/>
                  </a:moveTo>
                  <a:lnTo>
                    <a:pt x="101" y="125"/>
                  </a:lnTo>
                  <a:lnTo>
                    <a:pt x="101" y="125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3"/>
                  </a:lnTo>
                  <a:lnTo>
                    <a:pt x="96" y="263"/>
                  </a:lnTo>
                  <a:lnTo>
                    <a:pt x="98" y="263"/>
                  </a:lnTo>
                  <a:lnTo>
                    <a:pt x="98" y="263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101" y="265"/>
                  </a:lnTo>
                  <a:lnTo>
                    <a:pt x="101" y="265"/>
                  </a:lnTo>
                  <a:lnTo>
                    <a:pt x="101" y="265"/>
                  </a:lnTo>
                  <a:lnTo>
                    <a:pt x="101" y="265"/>
                  </a:lnTo>
                  <a:lnTo>
                    <a:pt x="101" y="265"/>
                  </a:lnTo>
                  <a:lnTo>
                    <a:pt x="103" y="265"/>
                  </a:lnTo>
                  <a:lnTo>
                    <a:pt x="103" y="265"/>
                  </a:lnTo>
                  <a:lnTo>
                    <a:pt x="103" y="263"/>
                  </a:lnTo>
                  <a:lnTo>
                    <a:pt x="103" y="263"/>
                  </a:lnTo>
                  <a:lnTo>
                    <a:pt x="103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3" y="128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101" y="125"/>
                  </a:lnTo>
                  <a:close/>
                  <a:moveTo>
                    <a:pt x="130" y="125"/>
                  </a:moveTo>
                  <a:lnTo>
                    <a:pt x="130" y="125"/>
                  </a:lnTo>
                  <a:lnTo>
                    <a:pt x="130" y="125"/>
                  </a:lnTo>
                  <a:lnTo>
                    <a:pt x="127" y="125"/>
                  </a:lnTo>
                  <a:lnTo>
                    <a:pt x="127" y="125"/>
                  </a:lnTo>
                  <a:lnTo>
                    <a:pt x="127" y="125"/>
                  </a:lnTo>
                  <a:lnTo>
                    <a:pt x="127" y="125"/>
                  </a:lnTo>
                  <a:lnTo>
                    <a:pt x="127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30"/>
                  </a:lnTo>
                  <a:lnTo>
                    <a:pt x="125" y="130"/>
                  </a:lnTo>
                  <a:lnTo>
                    <a:pt x="125" y="130"/>
                  </a:lnTo>
                  <a:lnTo>
                    <a:pt x="125" y="130"/>
                  </a:lnTo>
                  <a:lnTo>
                    <a:pt x="125" y="260"/>
                  </a:lnTo>
                  <a:lnTo>
                    <a:pt x="125" y="260"/>
                  </a:lnTo>
                  <a:lnTo>
                    <a:pt x="125" y="260"/>
                  </a:lnTo>
                  <a:lnTo>
                    <a:pt x="125" y="260"/>
                  </a:lnTo>
                  <a:lnTo>
                    <a:pt x="125" y="260"/>
                  </a:lnTo>
                  <a:lnTo>
                    <a:pt x="125" y="263"/>
                  </a:lnTo>
                  <a:lnTo>
                    <a:pt x="125" y="263"/>
                  </a:lnTo>
                  <a:lnTo>
                    <a:pt x="127" y="263"/>
                  </a:lnTo>
                  <a:lnTo>
                    <a:pt x="127" y="263"/>
                  </a:lnTo>
                  <a:lnTo>
                    <a:pt x="127" y="263"/>
                  </a:lnTo>
                  <a:lnTo>
                    <a:pt x="127" y="265"/>
                  </a:lnTo>
                  <a:lnTo>
                    <a:pt x="127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0"/>
                  </a:lnTo>
                  <a:lnTo>
                    <a:pt x="135" y="260"/>
                  </a:lnTo>
                  <a:lnTo>
                    <a:pt x="135" y="260"/>
                  </a:lnTo>
                  <a:lnTo>
                    <a:pt x="135" y="260"/>
                  </a:lnTo>
                  <a:lnTo>
                    <a:pt x="135" y="26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0" y="125"/>
                  </a:lnTo>
                  <a:lnTo>
                    <a:pt x="130" y="125"/>
                  </a:lnTo>
                  <a:lnTo>
                    <a:pt x="130" y="125"/>
                  </a:lnTo>
                  <a:close/>
                  <a:moveTo>
                    <a:pt x="157" y="125"/>
                  </a:moveTo>
                  <a:lnTo>
                    <a:pt x="157" y="125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4" y="125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260"/>
                  </a:lnTo>
                  <a:lnTo>
                    <a:pt x="152" y="260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4" y="263"/>
                  </a:lnTo>
                  <a:lnTo>
                    <a:pt x="154" y="263"/>
                  </a:lnTo>
                  <a:lnTo>
                    <a:pt x="154" y="263"/>
                  </a:lnTo>
                  <a:lnTo>
                    <a:pt x="154" y="263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9" y="265"/>
                  </a:lnTo>
                  <a:lnTo>
                    <a:pt x="159" y="265"/>
                  </a:lnTo>
                  <a:lnTo>
                    <a:pt x="159" y="265"/>
                  </a:lnTo>
                  <a:lnTo>
                    <a:pt x="159" y="265"/>
                  </a:lnTo>
                  <a:lnTo>
                    <a:pt x="159" y="263"/>
                  </a:lnTo>
                  <a:lnTo>
                    <a:pt x="162" y="263"/>
                  </a:lnTo>
                  <a:lnTo>
                    <a:pt x="162" y="263"/>
                  </a:lnTo>
                  <a:lnTo>
                    <a:pt x="162" y="263"/>
                  </a:lnTo>
                  <a:lnTo>
                    <a:pt x="162" y="263"/>
                  </a:lnTo>
                  <a:lnTo>
                    <a:pt x="162" y="260"/>
                  </a:lnTo>
                  <a:lnTo>
                    <a:pt x="162" y="260"/>
                  </a:lnTo>
                  <a:lnTo>
                    <a:pt x="162" y="260"/>
                  </a:lnTo>
                  <a:lnTo>
                    <a:pt x="162" y="260"/>
                  </a:lnTo>
                  <a:lnTo>
                    <a:pt x="162" y="260"/>
                  </a:lnTo>
                  <a:lnTo>
                    <a:pt x="162" y="130"/>
                  </a:lnTo>
                  <a:lnTo>
                    <a:pt x="162" y="130"/>
                  </a:lnTo>
                  <a:lnTo>
                    <a:pt x="162" y="130"/>
                  </a:lnTo>
                  <a:lnTo>
                    <a:pt x="162" y="130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2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59" y="125"/>
                  </a:lnTo>
                  <a:lnTo>
                    <a:pt x="157" y="125"/>
                  </a:lnTo>
                  <a:close/>
                  <a:moveTo>
                    <a:pt x="186" y="125"/>
                  </a:move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1" y="125"/>
                  </a:lnTo>
                  <a:lnTo>
                    <a:pt x="181" y="128"/>
                  </a:lnTo>
                  <a:lnTo>
                    <a:pt x="181" y="128"/>
                  </a:lnTo>
                  <a:lnTo>
                    <a:pt x="181" y="128"/>
                  </a:lnTo>
                  <a:lnTo>
                    <a:pt x="181" y="128"/>
                  </a:lnTo>
                  <a:lnTo>
                    <a:pt x="181" y="128"/>
                  </a:lnTo>
                  <a:lnTo>
                    <a:pt x="181" y="130"/>
                  </a:lnTo>
                  <a:lnTo>
                    <a:pt x="181" y="130"/>
                  </a:lnTo>
                  <a:lnTo>
                    <a:pt x="181" y="130"/>
                  </a:lnTo>
                  <a:lnTo>
                    <a:pt x="181" y="130"/>
                  </a:lnTo>
                  <a:lnTo>
                    <a:pt x="181" y="260"/>
                  </a:lnTo>
                  <a:lnTo>
                    <a:pt x="181" y="260"/>
                  </a:lnTo>
                  <a:lnTo>
                    <a:pt x="181" y="260"/>
                  </a:lnTo>
                  <a:lnTo>
                    <a:pt x="181" y="260"/>
                  </a:lnTo>
                  <a:lnTo>
                    <a:pt x="181" y="260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84" y="263"/>
                  </a:lnTo>
                  <a:lnTo>
                    <a:pt x="184" y="265"/>
                  </a:lnTo>
                  <a:lnTo>
                    <a:pt x="184" y="265"/>
                  </a:lnTo>
                  <a:lnTo>
                    <a:pt x="184" y="265"/>
                  </a:lnTo>
                  <a:lnTo>
                    <a:pt x="184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0"/>
                  </a:lnTo>
                  <a:lnTo>
                    <a:pt x="191" y="260"/>
                  </a:lnTo>
                  <a:lnTo>
                    <a:pt x="191" y="260"/>
                  </a:lnTo>
                  <a:lnTo>
                    <a:pt x="191" y="260"/>
                  </a:lnTo>
                  <a:lnTo>
                    <a:pt x="191" y="260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86" y="125"/>
                  </a:lnTo>
                  <a:lnTo>
                    <a:pt x="186" y="125"/>
                  </a:lnTo>
                  <a:close/>
                  <a:moveTo>
                    <a:pt x="25" y="113"/>
                  </a:moveTo>
                  <a:lnTo>
                    <a:pt x="206" y="113"/>
                  </a:lnTo>
                  <a:lnTo>
                    <a:pt x="206" y="275"/>
                  </a:lnTo>
                  <a:lnTo>
                    <a:pt x="25" y="275"/>
                  </a:lnTo>
                  <a:lnTo>
                    <a:pt x="25" y="113"/>
                  </a:lnTo>
                  <a:close/>
                  <a:moveTo>
                    <a:pt x="25" y="86"/>
                  </a:moveTo>
                  <a:lnTo>
                    <a:pt x="206" y="86"/>
                  </a:lnTo>
                  <a:lnTo>
                    <a:pt x="206" y="103"/>
                  </a:lnTo>
                  <a:lnTo>
                    <a:pt x="25" y="103"/>
                  </a:lnTo>
                  <a:lnTo>
                    <a:pt x="25" y="86"/>
                  </a:lnTo>
                  <a:close/>
                  <a:moveTo>
                    <a:pt x="15" y="66"/>
                  </a:moveTo>
                  <a:lnTo>
                    <a:pt x="91" y="42"/>
                  </a:lnTo>
                  <a:lnTo>
                    <a:pt x="140" y="42"/>
                  </a:lnTo>
                  <a:lnTo>
                    <a:pt x="216" y="66"/>
                  </a:lnTo>
                  <a:lnTo>
                    <a:pt x="216" y="76"/>
                  </a:lnTo>
                  <a:lnTo>
                    <a:pt x="15" y="76"/>
                  </a:lnTo>
                  <a:lnTo>
                    <a:pt x="15" y="66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5" y="17"/>
                  </a:lnTo>
                  <a:lnTo>
                    <a:pt x="135" y="32"/>
                  </a:lnTo>
                  <a:lnTo>
                    <a:pt x="96" y="32"/>
                  </a:lnTo>
                  <a:lnTo>
                    <a:pt x="96" y="17"/>
                  </a:lnTo>
                  <a:close/>
                  <a:moveTo>
                    <a:pt x="103" y="0"/>
                  </a:moveTo>
                  <a:lnTo>
                    <a:pt x="101" y="0"/>
                  </a:lnTo>
                  <a:lnTo>
                    <a:pt x="101" y="0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6" y="32"/>
                  </a:lnTo>
                  <a:lnTo>
                    <a:pt x="10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15" y="86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280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5" y="282"/>
                  </a:lnTo>
                  <a:lnTo>
                    <a:pt x="17" y="285"/>
                  </a:lnTo>
                  <a:lnTo>
                    <a:pt x="17" y="285"/>
                  </a:lnTo>
                  <a:lnTo>
                    <a:pt x="17" y="285"/>
                  </a:lnTo>
                  <a:lnTo>
                    <a:pt x="17" y="285"/>
                  </a:lnTo>
                  <a:lnTo>
                    <a:pt x="17" y="285"/>
                  </a:lnTo>
                  <a:lnTo>
                    <a:pt x="20" y="285"/>
                  </a:lnTo>
                  <a:lnTo>
                    <a:pt x="20" y="285"/>
                  </a:lnTo>
                  <a:lnTo>
                    <a:pt x="20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3" y="285"/>
                  </a:lnTo>
                  <a:lnTo>
                    <a:pt x="213" y="285"/>
                  </a:lnTo>
                  <a:lnTo>
                    <a:pt x="213" y="285"/>
                  </a:lnTo>
                  <a:lnTo>
                    <a:pt x="213" y="285"/>
                  </a:lnTo>
                  <a:lnTo>
                    <a:pt x="213" y="285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6" y="280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21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6" y="106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6" y="86"/>
                  </a:lnTo>
                  <a:lnTo>
                    <a:pt x="226" y="86"/>
                  </a:lnTo>
                  <a:lnTo>
                    <a:pt x="226" y="86"/>
                  </a:lnTo>
                  <a:lnTo>
                    <a:pt x="226" y="86"/>
                  </a:lnTo>
                  <a:lnTo>
                    <a:pt x="226" y="86"/>
                  </a:lnTo>
                  <a:lnTo>
                    <a:pt x="228" y="84"/>
                  </a:lnTo>
                  <a:lnTo>
                    <a:pt x="228" y="84"/>
                  </a:lnTo>
                  <a:lnTo>
                    <a:pt x="228" y="84"/>
                  </a:lnTo>
                  <a:lnTo>
                    <a:pt x="228" y="84"/>
                  </a:lnTo>
                  <a:lnTo>
                    <a:pt x="228" y="84"/>
                  </a:lnTo>
                  <a:lnTo>
                    <a:pt x="230" y="84"/>
                  </a:lnTo>
                  <a:lnTo>
                    <a:pt x="230" y="81"/>
                  </a:lnTo>
                  <a:lnTo>
                    <a:pt x="230" y="81"/>
                  </a:lnTo>
                  <a:lnTo>
                    <a:pt x="230" y="81"/>
                  </a:lnTo>
                  <a:lnTo>
                    <a:pt x="230" y="81"/>
                  </a:lnTo>
                  <a:lnTo>
                    <a:pt x="230" y="79"/>
                  </a:lnTo>
                  <a:lnTo>
                    <a:pt x="230" y="79"/>
                  </a:lnTo>
                  <a:lnTo>
                    <a:pt x="230" y="79"/>
                  </a:lnTo>
                  <a:lnTo>
                    <a:pt x="230" y="79"/>
                  </a:lnTo>
                  <a:lnTo>
                    <a:pt x="230" y="79"/>
                  </a:lnTo>
                  <a:lnTo>
                    <a:pt x="228" y="79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64"/>
                  </a:lnTo>
                  <a:lnTo>
                    <a:pt x="226" y="64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3" y="62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1" y="59"/>
                  </a:lnTo>
                  <a:lnTo>
                    <a:pt x="145" y="32"/>
                  </a:lnTo>
                  <a:lnTo>
                    <a:pt x="145" y="17"/>
                  </a:lnTo>
                  <a:lnTo>
                    <a:pt x="145" y="15"/>
                  </a:lnTo>
                  <a:lnTo>
                    <a:pt x="145" y="15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5" y="10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40" y="5"/>
                  </a:lnTo>
                  <a:lnTo>
                    <a:pt x="140" y="3"/>
                  </a:lnTo>
                  <a:lnTo>
                    <a:pt x="137" y="3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3" name="Group 115">
            <a:extLst>
              <a:ext uri="{FF2B5EF4-FFF2-40B4-BE49-F238E27FC236}">
                <a16:creationId xmlns:a16="http://schemas.microsoft.com/office/drawing/2014/main" id="{EADF059A-C6F1-43CE-A2AC-BC2F653DBE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119" y="2798963"/>
            <a:ext cx="841375" cy="841375"/>
            <a:chOff x="154" y="1883"/>
            <a:chExt cx="530" cy="530"/>
          </a:xfrm>
        </p:grpSpPr>
        <p:sp>
          <p:nvSpPr>
            <p:cNvPr id="134" name="AutoShape 114">
              <a:extLst>
                <a:ext uri="{FF2B5EF4-FFF2-40B4-BE49-F238E27FC236}">
                  <a16:creationId xmlns:a16="http://schemas.microsoft.com/office/drawing/2014/main" id="{FD321025-B108-4D6D-ADE3-9E570EAD4B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4" y="18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Oval 116">
              <a:extLst>
                <a:ext uri="{FF2B5EF4-FFF2-40B4-BE49-F238E27FC236}">
                  <a16:creationId xmlns:a16="http://schemas.microsoft.com/office/drawing/2014/main" id="{1A7BCE3A-4451-493B-A63E-50CFD8530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" y="18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7">
              <a:extLst>
                <a:ext uri="{FF2B5EF4-FFF2-40B4-BE49-F238E27FC236}">
                  <a16:creationId xmlns:a16="http://schemas.microsoft.com/office/drawing/2014/main" id="{D9F99651-8754-45E7-9FDB-008C790D0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" y="19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18">
              <a:extLst>
                <a:ext uri="{FF2B5EF4-FFF2-40B4-BE49-F238E27FC236}">
                  <a16:creationId xmlns:a16="http://schemas.microsoft.com/office/drawing/2014/main" id="{30516937-4016-4970-B08A-0D0A3AE815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" y="1990"/>
              <a:ext cx="241" cy="297"/>
            </a:xfrm>
            <a:custGeom>
              <a:avLst/>
              <a:gdLst>
                <a:gd name="T0" fmla="*/ 43 w 241"/>
                <a:gd name="T1" fmla="*/ 134 h 297"/>
                <a:gd name="T2" fmla="*/ 41 w 241"/>
                <a:gd name="T3" fmla="*/ 272 h 297"/>
                <a:gd name="T4" fmla="*/ 46 w 241"/>
                <a:gd name="T5" fmla="*/ 277 h 297"/>
                <a:gd name="T6" fmla="*/ 51 w 241"/>
                <a:gd name="T7" fmla="*/ 274 h 297"/>
                <a:gd name="T8" fmla="*/ 51 w 241"/>
                <a:gd name="T9" fmla="*/ 134 h 297"/>
                <a:gd name="T10" fmla="*/ 48 w 241"/>
                <a:gd name="T11" fmla="*/ 131 h 297"/>
                <a:gd name="T12" fmla="*/ 72 w 241"/>
                <a:gd name="T13" fmla="*/ 134 h 297"/>
                <a:gd name="T14" fmla="*/ 72 w 241"/>
                <a:gd name="T15" fmla="*/ 272 h 297"/>
                <a:gd name="T16" fmla="*/ 74 w 241"/>
                <a:gd name="T17" fmla="*/ 277 h 297"/>
                <a:gd name="T18" fmla="*/ 79 w 241"/>
                <a:gd name="T19" fmla="*/ 274 h 297"/>
                <a:gd name="T20" fmla="*/ 82 w 241"/>
                <a:gd name="T21" fmla="*/ 136 h 297"/>
                <a:gd name="T22" fmla="*/ 77 w 241"/>
                <a:gd name="T23" fmla="*/ 131 h 297"/>
                <a:gd name="T24" fmla="*/ 102 w 241"/>
                <a:gd name="T25" fmla="*/ 131 h 297"/>
                <a:gd name="T26" fmla="*/ 100 w 241"/>
                <a:gd name="T27" fmla="*/ 136 h 297"/>
                <a:gd name="T28" fmla="*/ 102 w 241"/>
                <a:gd name="T29" fmla="*/ 274 h 297"/>
                <a:gd name="T30" fmla="*/ 107 w 241"/>
                <a:gd name="T31" fmla="*/ 274 h 297"/>
                <a:gd name="T32" fmla="*/ 110 w 241"/>
                <a:gd name="T33" fmla="*/ 136 h 297"/>
                <a:gd name="T34" fmla="*/ 107 w 241"/>
                <a:gd name="T35" fmla="*/ 131 h 297"/>
                <a:gd name="T36" fmla="*/ 133 w 241"/>
                <a:gd name="T37" fmla="*/ 131 h 297"/>
                <a:gd name="T38" fmla="*/ 130 w 241"/>
                <a:gd name="T39" fmla="*/ 136 h 297"/>
                <a:gd name="T40" fmla="*/ 133 w 241"/>
                <a:gd name="T41" fmla="*/ 274 h 297"/>
                <a:gd name="T42" fmla="*/ 138 w 241"/>
                <a:gd name="T43" fmla="*/ 274 h 297"/>
                <a:gd name="T44" fmla="*/ 141 w 241"/>
                <a:gd name="T45" fmla="*/ 136 h 297"/>
                <a:gd name="T46" fmla="*/ 138 w 241"/>
                <a:gd name="T47" fmla="*/ 131 h 297"/>
                <a:gd name="T48" fmla="*/ 164 w 241"/>
                <a:gd name="T49" fmla="*/ 131 h 297"/>
                <a:gd name="T50" fmla="*/ 161 w 241"/>
                <a:gd name="T51" fmla="*/ 136 h 297"/>
                <a:gd name="T52" fmla="*/ 161 w 241"/>
                <a:gd name="T53" fmla="*/ 274 h 297"/>
                <a:gd name="T54" fmla="*/ 166 w 241"/>
                <a:gd name="T55" fmla="*/ 277 h 297"/>
                <a:gd name="T56" fmla="*/ 169 w 241"/>
                <a:gd name="T57" fmla="*/ 272 h 297"/>
                <a:gd name="T58" fmla="*/ 169 w 241"/>
                <a:gd name="T59" fmla="*/ 134 h 297"/>
                <a:gd name="T60" fmla="*/ 192 w 241"/>
                <a:gd name="T61" fmla="*/ 131 h 297"/>
                <a:gd name="T62" fmla="*/ 189 w 241"/>
                <a:gd name="T63" fmla="*/ 134 h 297"/>
                <a:gd name="T64" fmla="*/ 189 w 241"/>
                <a:gd name="T65" fmla="*/ 274 h 297"/>
                <a:gd name="T66" fmla="*/ 194 w 241"/>
                <a:gd name="T67" fmla="*/ 277 h 297"/>
                <a:gd name="T68" fmla="*/ 200 w 241"/>
                <a:gd name="T69" fmla="*/ 272 h 297"/>
                <a:gd name="T70" fmla="*/ 197 w 241"/>
                <a:gd name="T71" fmla="*/ 134 h 297"/>
                <a:gd name="T72" fmla="*/ 25 w 241"/>
                <a:gd name="T73" fmla="*/ 118 h 297"/>
                <a:gd name="T74" fmla="*/ 15 w 241"/>
                <a:gd name="T75" fmla="*/ 70 h 297"/>
                <a:gd name="T76" fmla="*/ 100 w 241"/>
                <a:gd name="T77" fmla="*/ 16 h 297"/>
                <a:gd name="T78" fmla="*/ 105 w 241"/>
                <a:gd name="T79" fmla="*/ 11 h 297"/>
                <a:gd name="T80" fmla="*/ 138 w 241"/>
                <a:gd name="T81" fmla="*/ 11 h 297"/>
                <a:gd name="T82" fmla="*/ 141 w 241"/>
                <a:gd name="T83" fmla="*/ 18 h 297"/>
                <a:gd name="T84" fmla="*/ 97 w 241"/>
                <a:gd name="T85" fmla="*/ 3 h 297"/>
                <a:gd name="T86" fmla="*/ 89 w 241"/>
                <a:gd name="T87" fmla="*/ 16 h 297"/>
                <a:gd name="T88" fmla="*/ 5 w 241"/>
                <a:gd name="T89" fmla="*/ 67 h 297"/>
                <a:gd name="T90" fmla="*/ 2 w 241"/>
                <a:gd name="T91" fmla="*/ 82 h 297"/>
                <a:gd name="T92" fmla="*/ 0 w 241"/>
                <a:gd name="T93" fmla="*/ 85 h 297"/>
                <a:gd name="T94" fmla="*/ 5 w 241"/>
                <a:gd name="T95" fmla="*/ 90 h 297"/>
                <a:gd name="T96" fmla="*/ 13 w 241"/>
                <a:gd name="T97" fmla="*/ 111 h 297"/>
                <a:gd name="T98" fmla="*/ 10 w 241"/>
                <a:gd name="T99" fmla="*/ 116 h 297"/>
                <a:gd name="T100" fmla="*/ 15 w 241"/>
                <a:gd name="T101" fmla="*/ 118 h 297"/>
                <a:gd name="T102" fmla="*/ 18 w 241"/>
                <a:gd name="T103" fmla="*/ 297 h 297"/>
                <a:gd name="T104" fmla="*/ 223 w 241"/>
                <a:gd name="T105" fmla="*/ 297 h 297"/>
                <a:gd name="T106" fmla="*/ 225 w 241"/>
                <a:gd name="T107" fmla="*/ 295 h 297"/>
                <a:gd name="T108" fmla="*/ 230 w 241"/>
                <a:gd name="T109" fmla="*/ 118 h 297"/>
                <a:gd name="T110" fmla="*/ 230 w 241"/>
                <a:gd name="T111" fmla="*/ 113 h 297"/>
                <a:gd name="T112" fmla="*/ 225 w 241"/>
                <a:gd name="T113" fmla="*/ 108 h 297"/>
                <a:gd name="T114" fmla="*/ 238 w 241"/>
                <a:gd name="T115" fmla="*/ 87 h 297"/>
                <a:gd name="T116" fmla="*/ 241 w 241"/>
                <a:gd name="T117" fmla="*/ 82 h 297"/>
                <a:gd name="T118" fmla="*/ 235 w 241"/>
                <a:gd name="T119" fmla="*/ 67 h 297"/>
                <a:gd name="T120" fmla="*/ 151 w 241"/>
                <a:gd name="T121" fmla="*/ 18 h 297"/>
                <a:gd name="T122" fmla="*/ 146 w 241"/>
                <a:gd name="T123" fmla="*/ 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" h="297">
                  <a:moveTo>
                    <a:pt x="46" y="131"/>
                  </a:moveTo>
                  <a:lnTo>
                    <a:pt x="46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3" y="272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6" y="277"/>
                  </a:lnTo>
                  <a:lnTo>
                    <a:pt x="46" y="277"/>
                  </a:lnTo>
                  <a:lnTo>
                    <a:pt x="46" y="277"/>
                  </a:lnTo>
                  <a:lnTo>
                    <a:pt x="46" y="277"/>
                  </a:lnTo>
                  <a:lnTo>
                    <a:pt x="46" y="277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48" y="277"/>
                  </a:lnTo>
                  <a:lnTo>
                    <a:pt x="48" y="274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272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6" y="131"/>
                  </a:lnTo>
                  <a:close/>
                  <a:moveTo>
                    <a:pt x="77" y="131"/>
                  </a:move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2" y="131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74" y="274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7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2"/>
                  </a:lnTo>
                  <a:lnTo>
                    <a:pt x="79" y="272"/>
                  </a:lnTo>
                  <a:lnTo>
                    <a:pt x="79" y="272"/>
                  </a:lnTo>
                  <a:lnTo>
                    <a:pt x="82" y="272"/>
                  </a:lnTo>
                  <a:lnTo>
                    <a:pt x="82" y="272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79" y="136"/>
                  </a:lnTo>
                  <a:lnTo>
                    <a:pt x="79" y="136"/>
                  </a:lnTo>
                  <a:lnTo>
                    <a:pt x="79" y="134"/>
                  </a:lnTo>
                  <a:lnTo>
                    <a:pt x="79" y="134"/>
                  </a:lnTo>
                  <a:lnTo>
                    <a:pt x="79" y="134"/>
                  </a:lnTo>
                  <a:lnTo>
                    <a:pt x="79" y="134"/>
                  </a:lnTo>
                  <a:lnTo>
                    <a:pt x="79" y="134"/>
                  </a:lnTo>
                  <a:lnTo>
                    <a:pt x="79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close/>
                  <a:moveTo>
                    <a:pt x="105" y="131"/>
                  </a:moveTo>
                  <a:lnTo>
                    <a:pt x="105" y="131"/>
                  </a:lnTo>
                  <a:lnTo>
                    <a:pt x="105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272"/>
                  </a:lnTo>
                  <a:lnTo>
                    <a:pt x="100" y="272"/>
                  </a:lnTo>
                  <a:lnTo>
                    <a:pt x="100" y="272"/>
                  </a:lnTo>
                  <a:lnTo>
                    <a:pt x="100" y="272"/>
                  </a:lnTo>
                  <a:lnTo>
                    <a:pt x="100" y="272"/>
                  </a:lnTo>
                  <a:lnTo>
                    <a:pt x="100" y="274"/>
                  </a:lnTo>
                  <a:lnTo>
                    <a:pt x="100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5" y="277"/>
                  </a:lnTo>
                  <a:lnTo>
                    <a:pt x="105" y="277"/>
                  </a:lnTo>
                  <a:lnTo>
                    <a:pt x="105" y="277"/>
                  </a:lnTo>
                  <a:lnTo>
                    <a:pt x="105" y="277"/>
                  </a:lnTo>
                  <a:lnTo>
                    <a:pt x="105" y="277"/>
                  </a:lnTo>
                  <a:lnTo>
                    <a:pt x="107" y="277"/>
                  </a:lnTo>
                  <a:lnTo>
                    <a:pt x="107" y="277"/>
                  </a:lnTo>
                  <a:lnTo>
                    <a:pt x="107" y="274"/>
                  </a:lnTo>
                  <a:lnTo>
                    <a:pt x="107" y="274"/>
                  </a:lnTo>
                  <a:lnTo>
                    <a:pt x="107" y="274"/>
                  </a:lnTo>
                  <a:lnTo>
                    <a:pt x="110" y="274"/>
                  </a:lnTo>
                  <a:lnTo>
                    <a:pt x="110" y="274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07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31"/>
                  </a:lnTo>
                  <a:lnTo>
                    <a:pt x="105" y="131"/>
                  </a:lnTo>
                  <a:lnTo>
                    <a:pt x="105" y="131"/>
                  </a:lnTo>
                  <a:close/>
                  <a:moveTo>
                    <a:pt x="136" y="131"/>
                  </a:moveTo>
                  <a:lnTo>
                    <a:pt x="136" y="131"/>
                  </a:lnTo>
                  <a:lnTo>
                    <a:pt x="136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6"/>
                  </a:lnTo>
                  <a:lnTo>
                    <a:pt x="130" y="136"/>
                  </a:lnTo>
                  <a:lnTo>
                    <a:pt x="130" y="136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4"/>
                  </a:lnTo>
                  <a:lnTo>
                    <a:pt x="130" y="274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7"/>
                  </a:lnTo>
                  <a:lnTo>
                    <a:pt x="133" y="277"/>
                  </a:lnTo>
                  <a:lnTo>
                    <a:pt x="136" y="277"/>
                  </a:lnTo>
                  <a:lnTo>
                    <a:pt x="136" y="277"/>
                  </a:lnTo>
                  <a:lnTo>
                    <a:pt x="136" y="277"/>
                  </a:lnTo>
                  <a:lnTo>
                    <a:pt x="136" y="277"/>
                  </a:lnTo>
                  <a:lnTo>
                    <a:pt x="136" y="277"/>
                  </a:lnTo>
                  <a:lnTo>
                    <a:pt x="138" y="277"/>
                  </a:lnTo>
                  <a:lnTo>
                    <a:pt x="138" y="277"/>
                  </a:lnTo>
                  <a:lnTo>
                    <a:pt x="138" y="274"/>
                  </a:lnTo>
                  <a:lnTo>
                    <a:pt x="138" y="274"/>
                  </a:lnTo>
                  <a:lnTo>
                    <a:pt x="138" y="274"/>
                  </a:lnTo>
                  <a:lnTo>
                    <a:pt x="141" y="274"/>
                  </a:lnTo>
                  <a:lnTo>
                    <a:pt x="141" y="274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136"/>
                  </a:lnTo>
                  <a:lnTo>
                    <a:pt x="141" y="136"/>
                  </a:lnTo>
                  <a:lnTo>
                    <a:pt x="141" y="136"/>
                  </a:lnTo>
                  <a:lnTo>
                    <a:pt x="141" y="136"/>
                  </a:lnTo>
                  <a:lnTo>
                    <a:pt x="141" y="134"/>
                  </a:lnTo>
                  <a:lnTo>
                    <a:pt x="141" y="134"/>
                  </a:lnTo>
                  <a:lnTo>
                    <a:pt x="141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6" y="131"/>
                  </a:lnTo>
                  <a:close/>
                  <a:moveTo>
                    <a:pt x="164" y="131"/>
                  </a:move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1" y="131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6"/>
                  </a:lnTo>
                  <a:lnTo>
                    <a:pt x="159" y="272"/>
                  </a:lnTo>
                  <a:lnTo>
                    <a:pt x="159" y="272"/>
                  </a:lnTo>
                  <a:lnTo>
                    <a:pt x="161" y="272"/>
                  </a:lnTo>
                  <a:lnTo>
                    <a:pt x="161" y="272"/>
                  </a:lnTo>
                  <a:lnTo>
                    <a:pt x="161" y="272"/>
                  </a:lnTo>
                  <a:lnTo>
                    <a:pt x="161" y="274"/>
                  </a:lnTo>
                  <a:lnTo>
                    <a:pt x="161" y="274"/>
                  </a:lnTo>
                  <a:lnTo>
                    <a:pt x="161" y="274"/>
                  </a:lnTo>
                  <a:lnTo>
                    <a:pt x="161" y="274"/>
                  </a:lnTo>
                  <a:lnTo>
                    <a:pt x="164" y="274"/>
                  </a:lnTo>
                  <a:lnTo>
                    <a:pt x="164" y="277"/>
                  </a:lnTo>
                  <a:lnTo>
                    <a:pt x="164" y="277"/>
                  </a:lnTo>
                  <a:lnTo>
                    <a:pt x="164" y="277"/>
                  </a:lnTo>
                  <a:lnTo>
                    <a:pt x="164" y="277"/>
                  </a:lnTo>
                  <a:lnTo>
                    <a:pt x="164" y="277"/>
                  </a:lnTo>
                  <a:lnTo>
                    <a:pt x="166" y="277"/>
                  </a:lnTo>
                  <a:lnTo>
                    <a:pt x="166" y="277"/>
                  </a:lnTo>
                  <a:lnTo>
                    <a:pt x="166" y="277"/>
                  </a:lnTo>
                  <a:lnTo>
                    <a:pt x="166" y="277"/>
                  </a:lnTo>
                  <a:lnTo>
                    <a:pt x="166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9" y="131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4" y="131"/>
                  </a:lnTo>
                  <a:close/>
                  <a:moveTo>
                    <a:pt x="194" y="131"/>
                  </a:moveTo>
                  <a:lnTo>
                    <a:pt x="192" y="131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89" y="131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89" y="134"/>
                  </a:lnTo>
                  <a:lnTo>
                    <a:pt x="189" y="136"/>
                  </a:lnTo>
                  <a:lnTo>
                    <a:pt x="189" y="136"/>
                  </a:lnTo>
                  <a:lnTo>
                    <a:pt x="189" y="136"/>
                  </a:lnTo>
                  <a:lnTo>
                    <a:pt x="189" y="136"/>
                  </a:lnTo>
                  <a:lnTo>
                    <a:pt x="189" y="272"/>
                  </a:lnTo>
                  <a:lnTo>
                    <a:pt x="189" y="272"/>
                  </a:lnTo>
                  <a:lnTo>
                    <a:pt x="189" y="272"/>
                  </a:lnTo>
                  <a:lnTo>
                    <a:pt x="189" y="272"/>
                  </a:lnTo>
                  <a:lnTo>
                    <a:pt x="189" y="272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92" y="274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4" y="277"/>
                  </a:lnTo>
                  <a:lnTo>
                    <a:pt x="194" y="277"/>
                  </a:lnTo>
                  <a:lnTo>
                    <a:pt x="194" y="277"/>
                  </a:lnTo>
                  <a:lnTo>
                    <a:pt x="194" y="277"/>
                  </a:lnTo>
                  <a:lnTo>
                    <a:pt x="194" y="277"/>
                  </a:lnTo>
                  <a:lnTo>
                    <a:pt x="197" y="274"/>
                  </a:lnTo>
                  <a:lnTo>
                    <a:pt x="197" y="274"/>
                  </a:lnTo>
                  <a:lnTo>
                    <a:pt x="197" y="274"/>
                  </a:lnTo>
                  <a:lnTo>
                    <a:pt x="197" y="274"/>
                  </a:lnTo>
                  <a:lnTo>
                    <a:pt x="197" y="274"/>
                  </a:lnTo>
                  <a:lnTo>
                    <a:pt x="197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136"/>
                  </a:lnTo>
                  <a:lnTo>
                    <a:pt x="200" y="136"/>
                  </a:lnTo>
                  <a:lnTo>
                    <a:pt x="200" y="136"/>
                  </a:lnTo>
                  <a:lnTo>
                    <a:pt x="200" y="136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1"/>
                  </a:lnTo>
                  <a:lnTo>
                    <a:pt x="197" y="131"/>
                  </a:lnTo>
                  <a:lnTo>
                    <a:pt x="194" y="131"/>
                  </a:lnTo>
                  <a:lnTo>
                    <a:pt x="194" y="131"/>
                  </a:lnTo>
                  <a:lnTo>
                    <a:pt x="194" y="131"/>
                  </a:lnTo>
                  <a:lnTo>
                    <a:pt x="194" y="131"/>
                  </a:lnTo>
                  <a:lnTo>
                    <a:pt x="194" y="131"/>
                  </a:lnTo>
                  <a:close/>
                  <a:moveTo>
                    <a:pt x="25" y="118"/>
                  </a:moveTo>
                  <a:lnTo>
                    <a:pt x="215" y="118"/>
                  </a:lnTo>
                  <a:lnTo>
                    <a:pt x="215" y="287"/>
                  </a:lnTo>
                  <a:lnTo>
                    <a:pt x="25" y="287"/>
                  </a:lnTo>
                  <a:lnTo>
                    <a:pt x="25" y="118"/>
                  </a:lnTo>
                  <a:close/>
                  <a:moveTo>
                    <a:pt x="25" y="90"/>
                  </a:moveTo>
                  <a:lnTo>
                    <a:pt x="215" y="90"/>
                  </a:lnTo>
                  <a:lnTo>
                    <a:pt x="215" y="108"/>
                  </a:lnTo>
                  <a:lnTo>
                    <a:pt x="25" y="108"/>
                  </a:lnTo>
                  <a:lnTo>
                    <a:pt x="25" y="90"/>
                  </a:lnTo>
                  <a:close/>
                  <a:moveTo>
                    <a:pt x="15" y="70"/>
                  </a:moveTo>
                  <a:lnTo>
                    <a:pt x="95" y="44"/>
                  </a:lnTo>
                  <a:lnTo>
                    <a:pt x="146" y="44"/>
                  </a:lnTo>
                  <a:lnTo>
                    <a:pt x="225" y="70"/>
                  </a:lnTo>
                  <a:lnTo>
                    <a:pt x="225" y="80"/>
                  </a:lnTo>
                  <a:lnTo>
                    <a:pt x="15" y="80"/>
                  </a:lnTo>
                  <a:lnTo>
                    <a:pt x="15" y="70"/>
                  </a:lnTo>
                  <a:close/>
                  <a:moveTo>
                    <a:pt x="100" y="18"/>
                  </a:move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8"/>
                  </a:lnTo>
                  <a:lnTo>
                    <a:pt x="141" y="34"/>
                  </a:lnTo>
                  <a:lnTo>
                    <a:pt x="100" y="34"/>
                  </a:lnTo>
                  <a:lnTo>
                    <a:pt x="100" y="18"/>
                  </a:lnTo>
                  <a:close/>
                  <a:moveTo>
                    <a:pt x="107" y="0"/>
                  </a:moveTo>
                  <a:lnTo>
                    <a:pt x="105" y="0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7" y="3"/>
                  </a:lnTo>
                  <a:lnTo>
                    <a:pt x="95" y="3"/>
                  </a:lnTo>
                  <a:lnTo>
                    <a:pt x="95" y="6"/>
                  </a:lnTo>
                  <a:lnTo>
                    <a:pt x="92" y="6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9" y="11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34"/>
                  </a:lnTo>
                  <a:lnTo>
                    <a:pt x="10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15" y="90"/>
                  </a:lnTo>
                  <a:lnTo>
                    <a:pt x="15" y="108"/>
                  </a:lnTo>
                  <a:lnTo>
                    <a:pt x="15" y="108"/>
                  </a:lnTo>
                  <a:lnTo>
                    <a:pt x="15" y="108"/>
                  </a:lnTo>
                  <a:lnTo>
                    <a:pt x="15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292"/>
                  </a:lnTo>
                  <a:lnTo>
                    <a:pt x="15" y="295"/>
                  </a:lnTo>
                  <a:lnTo>
                    <a:pt x="15" y="295"/>
                  </a:lnTo>
                  <a:lnTo>
                    <a:pt x="15" y="295"/>
                  </a:lnTo>
                  <a:lnTo>
                    <a:pt x="15" y="295"/>
                  </a:lnTo>
                  <a:lnTo>
                    <a:pt x="15" y="295"/>
                  </a:lnTo>
                  <a:lnTo>
                    <a:pt x="15" y="295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20" y="297"/>
                  </a:lnTo>
                  <a:lnTo>
                    <a:pt x="220" y="297"/>
                  </a:lnTo>
                  <a:lnTo>
                    <a:pt x="220" y="297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5" y="295"/>
                  </a:lnTo>
                  <a:lnTo>
                    <a:pt x="225" y="295"/>
                  </a:lnTo>
                  <a:lnTo>
                    <a:pt x="225" y="295"/>
                  </a:lnTo>
                  <a:lnTo>
                    <a:pt x="225" y="295"/>
                  </a:lnTo>
                  <a:lnTo>
                    <a:pt x="225" y="295"/>
                  </a:lnTo>
                  <a:lnTo>
                    <a:pt x="225" y="295"/>
                  </a:lnTo>
                  <a:lnTo>
                    <a:pt x="225" y="292"/>
                  </a:lnTo>
                  <a:lnTo>
                    <a:pt x="225" y="118"/>
                  </a:lnTo>
                  <a:lnTo>
                    <a:pt x="225" y="118"/>
                  </a:lnTo>
                  <a:lnTo>
                    <a:pt x="225" y="118"/>
                  </a:lnTo>
                  <a:lnTo>
                    <a:pt x="225" y="118"/>
                  </a:lnTo>
                  <a:lnTo>
                    <a:pt x="228" y="118"/>
                  </a:lnTo>
                  <a:lnTo>
                    <a:pt x="228" y="118"/>
                  </a:lnTo>
                  <a:lnTo>
                    <a:pt x="228" y="118"/>
                  </a:lnTo>
                  <a:lnTo>
                    <a:pt x="228" y="118"/>
                  </a:lnTo>
                  <a:lnTo>
                    <a:pt x="230" y="118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111"/>
                  </a:lnTo>
                  <a:lnTo>
                    <a:pt x="230" y="111"/>
                  </a:lnTo>
                  <a:lnTo>
                    <a:pt x="228" y="111"/>
                  </a:lnTo>
                  <a:lnTo>
                    <a:pt x="228" y="111"/>
                  </a:lnTo>
                  <a:lnTo>
                    <a:pt x="228" y="111"/>
                  </a:lnTo>
                  <a:lnTo>
                    <a:pt x="228" y="111"/>
                  </a:lnTo>
                  <a:lnTo>
                    <a:pt x="225" y="111"/>
                  </a:lnTo>
                  <a:lnTo>
                    <a:pt x="225" y="108"/>
                  </a:lnTo>
                  <a:lnTo>
                    <a:pt x="225" y="108"/>
                  </a:lnTo>
                  <a:lnTo>
                    <a:pt x="225" y="108"/>
                  </a:lnTo>
                  <a:lnTo>
                    <a:pt x="225" y="90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38" y="87"/>
                  </a:lnTo>
                  <a:lnTo>
                    <a:pt x="241" y="87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41" y="82"/>
                  </a:lnTo>
                  <a:lnTo>
                    <a:pt x="238" y="82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4"/>
                  </a:lnTo>
                  <a:lnTo>
                    <a:pt x="235" y="64"/>
                  </a:lnTo>
                  <a:lnTo>
                    <a:pt x="233" y="64"/>
                  </a:lnTo>
                  <a:lnTo>
                    <a:pt x="233" y="62"/>
                  </a:lnTo>
                  <a:lnTo>
                    <a:pt x="233" y="62"/>
                  </a:lnTo>
                  <a:lnTo>
                    <a:pt x="233" y="62"/>
                  </a:lnTo>
                  <a:lnTo>
                    <a:pt x="230" y="62"/>
                  </a:lnTo>
                  <a:lnTo>
                    <a:pt x="151" y="34"/>
                  </a:lnTo>
                  <a:lnTo>
                    <a:pt x="151" y="18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1"/>
                  </a:lnTo>
                  <a:lnTo>
                    <a:pt x="148" y="8"/>
                  </a:lnTo>
                  <a:lnTo>
                    <a:pt x="148" y="8"/>
                  </a:lnTo>
                  <a:lnTo>
                    <a:pt x="148" y="6"/>
                  </a:lnTo>
                  <a:lnTo>
                    <a:pt x="146" y="6"/>
                  </a:lnTo>
                  <a:lnTo>
                    <a:pt x="146" y="3"/>
                  </a:lnTo>
                  <a:lnTo>
                    <a:pt x="143" y="3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3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21">
            <a:extLst>
              <a:ext uri="{FF2B5EF4-FFF2-40B4-BE49-F238E27FC236}">
                <a16:creationId xmlns:a16="http://schemas.microsoft.com/office/drawing/2014/main" id="{17F48035-EE88-4AB8-876C-1FF15A5CB7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6497" y="2840238"/>
            <a:ext cx="760413" cy="758825"/>
            <a:chOff x="2254" y="1972"/>
            <a:chExt cx="479" cy="478"/>
          </a:xfrm>
        </p:grpSpPr>
        <p:sp>
          <p:nvSpPr>
            <p:cNvPr id="143" name="AutoShape 120">
              <a:extLst>
                <a:ext uri="{FF2B5EF4-FFF2-40B4-BE49-F238E27FC236}">
                  <a16:creationId xmlns:a16="http://schemas.microsoft.com/office/drawing/2014/main" id="{16327D8A-14FD-42FA-A7BC-05190D03FB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4" y="1972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2">
              <a:extLst>
                <a:ext uri="{FF2B5EF4-FFF2-40B4-BE49-F238E27FC236}">
                  <a16:creationId xmlns:a16="http://schemas.microsoft.com/office/drawing/2014/main" id="{496CBF15-585F-4076-BD32-65696D333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6" y="1974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23">
              <a:extLst>
                <a:ext uri="{FF2B5EF4-FFF2-40B4-BE49-F238E27FC236}">
                  <a16:creationId xmlns:a16="http://schemas.microsoft.com/office/drawing/2014/main" id="{7C1FA303-D5B3-4DCA-A965-B2109B39A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7" y="2237"/>
              <a:ext cx="157" cy="110"/>
            </a:xfrm>
            <a:custGeom>
              <a:avLst/>
              <a:gdLst>
                <a:gd name="T0" fmla="*/ 155 w 157"/>
                <a:gd name="T1" fmla="*/ 108 h 110"/>
                <a:gd name="T2" fmla="*/ 157 w 157"/>
                <a:gd name="T3" fmla="*/ 105 h 110"/>
                <a:gd name="T4" fmla="*/ 157 w 157"/>
                <a:gd name="T5" fmla="*/ 83 h 110"/>
                <a:gd name="T6" fmla="*/ 152 w 157"/>
                <a:gd name="T7" fmla="*/ 78 h 110"/>
                <a:gd name="T8" fmla="*/ 147 w 157"/>
                <a:gd name="T9" fmla="*/ 73 h 110"/>
                <a:gd name="T10" fmla="*/ 138 w 157"/>
                <a:gd name="T11" fmla="*/ 66 h 110"/>
                <a:gd name="T12" fmla="*/ 120 w 157"/>
                <a:gd name="T13" fmla="*/ 59 h 110"/>
                <a:gd name="T14" fmla="*/ 98 w 157"/>
                <a:gd name="T15" fmla="*/ 54 h 110"/>
                <a:gd name="T16" fmla="*/ 69 w 157"/>
                <a:gd name="T17" fmla="*/ 49 h 110"/>
                <a:gd name="T18" fmla="*/ 61 w 157"/>
                <a:gd name="T19" fmla="*/ 49 h 110"/>
                <a:gd name="T20" fmla="*/ 47 w 157"/>
                <a:gd name="T21" fmla="*/ 51 h 110"/>
                <a:gd name="T22" fmla="*/ 47 w 157"/>
                <a:gd name="T23" fmla="*/ 5 h 110"/>
                <a:gd name="T24" fmla="*/ 44 w 157"/>
                <a:gd name="T25" fmla="*/ 2 h 110"/>
                <a:gd name="T26" fmla="*/ 42 w 157"/>
                <a:gd name="T27" fmla="*/ 0 h 110"/>
                <a:gd name="T28" fmla="*/ 37 w 157"/>
                <a:gd name="T29" fmla="*/ 2 h 110"/>
                <a:gd name="T30" fmla="*/ 34 w 157"/>
                <a:gd name="T31" fmla="*/ 7 h 110"/>
                <a:gd name="T32" fmla="*/ 34 w 157"/>
                <a:gd name="T33" fmla="*/ 51 h 110"/>
                <a:gd name="T34" fmla="*/ 22 w 157"/>
                <a:gd name="T35" fmla="*/ 56 h 110"/>
                <a:gd name="T36" fmla="*/ 10 w 157"/>
                <a:gd name="T37" fmla="*/ 63 h 110"/>
                <a:gd name="T38" fmla="*/ 5 w 157"/>
                <a:gd name="T39" fmla="*/ 71 h 110"/>
                <a:gd name="T40" fmla="*/ 0 w 157"/>
                <a:gd name="T41" fmla="*/ 78 h 110"/>
                <a:gd name="T42" fmla="*/ 0 w 157"/>
                <a:gd name="T43" fmla="*/ 86 h 110"/>
                <a:gd name="T44" fmla="*/ 0 w 157"/>
                <a:gd name="T45" fmla="*/ 108 h 110"/>
                <a:gd name="T46" fmla="*/ 5 w 157"/>
                <a:gd name="T47" fmla="*/ 110 h 110"/>
                <a:gd name="T48" fmla="*/ 5 w 157"/>
                <a:gd name="T49" fmla="*/ 110 h 110"/>
                <a:gd name="T50" fmla="*/ 155 w 157"/>
                <a:gd name="T51" fmla="*/ 110 h 110"/>
                <a:gd name="T52" fmla="*/ 155 w 157"/>
                <a:gd name="T53" fmla="*/ 108 h 110"/>
                <a:gd name="T54" fmla="*/ 12 w 157"/>
                <a:gd name="T55" fmla="*/ 98 h 110"/>
                <a:gd name="T56" fmla="*/ 12 w 157"/>
                <a:gd name="T57" fmla="*/ 83 h 110"/>
                <a:gd name="T58" fmla="*/ 15 w 157"/>
                <a:gd name="T59" fmla="*/ 76 h 110"/>
                <a:gd name="T60" fmla="*/ 20 w 157"/>
                <a:gd name="T61" fmla="*/ 71 h 110"/>
                <a:gd name="T62" fmla="*/ 27 w 157"/>
                <a:gd name="T63" fmla="*/ 68 h 110"/>
                <a:gd name="T64" fmla="*/ 34 w 157"/>
                <a:gd name="T65" fmla="*/ 66 h 110"/>
                <a:gd name="T66" fmla="*/ 42 w 157"/>
                <a:gd name="T67" fmla="*/ 63 h 110"/>
                <a:gd name="T68" fmla="*/ 56 w 157"/>
                <a:gd name="T69" fmla="*/ 61 h 110"/>
                <a:gd name="T70" fmla="*/ 64 w 157"/>
                <a:gd name="T71" fmla="*/ 61 h 110"/>
                <a:gd name="T72" fmla="*/ 86 w 157"/>
                <a:gd name="T73" fmla="*/ 63 h 110"/>
                <a:gd name="T74" fmla="*/ 101 w 157"/>
                <a:gd name="T75" fmla="*/ 66 h 110"/>
                <a:gd name="T76" fmla="*/ 123 w 157"/>
                <a:gd name="T77" fmla="*/ 71 h 110"/>
                <a:gd name="T78" fmla="*/ 140 w 157"/>
                <a:gd name="T79" fmla="*/ 81 h 110"/>
                <a:gd name="T80" fmla="*/ 142 w 157"/>
                <a:gd name="T81" fmla="*/ 83 h 110"/>
                <a:gd name="T82" fmla="*/ 145 w 157"/>
                <a:gd name="T83" fmla="*/ 86 h 110"/>
                <a:gd name="T84" fmla="*/ 145 w 157"/>
                <a:gd name="T85" fmla="*/ 88 h 110"/>
                <a:gd name="T86" fmla="*/ 145 w 157"/>
                <a:gd name="T87" fmla="*/ 98 h 110"/>
                <a:gd name="T88" fmla="*/ 12 w 157"/>
                <a:gd name="T89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7" h="110">
                  <a:moveTo>
                    <a:pt x="155" y="108"/>
                  </a:moveTo>
                  <a:lnTo>
                    <a:pt x="157" y="105"/>
                  </a:lnTo>
                  <a:lnTo>
                    <a:pt x="157" y="83"/>
                  </a:lnTo>
                  <a:lnTo>
                    <a:pt x="152" y="78"/>
                  </a:lnTo>
                  <a:lnTo>
                    <a:pt x="147" y="73"/>
                  </a:lnTo>
                  <a:lnTo>
                    <a:pt x="138" y="66"/>
                  </a:lnTo>
                  <a:lnTo>
                    <a:pt x="120" y="59"/>
                  </a:lnTo>
                  <a:lnTo>
                    <a:pt x="98" y="54"/>
                  </a:lnTo>
                  <a:lnTo>
                    <a:pt x="69" y="49"/>
                  </a:lnTo>
                  <a:lnTo>
                    <a:pt x="61" y="49"/>
                  </a:lnTo>
                  <a:lnTo>
                    <a:pt x="47" y="51"/>
                  </a:lnTo>
                  <a:lnTo>
                    <a:pt x="47" y="5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7" y="2"/>
                  </a:lnTo>
                  <a:lnTo>
                    <a:pt x="34" y="7"/>
                  </a:lnTo>
                  <a:lnTo>
                    <a:pt x="34" y="51"/>
                  </a:lnTo>
                  <a:lnTo>
                    <a:pt x="22" y="56"/>
                  </a:lnTo>
                  <a:lnTo>
                    <a:pt x="10" y="63"/>
                  </a:lnTo>
                  <a:lnTo>
                    <a:pt x="5" y="71"/>
                  </a:lnTo>
                  <a:lnTo>
                    <a:pt x="0" y="78"/>
                  </a:lnTo>
                  <a:lnTo>
                    <a:pt x="0" y="86"/>
                  </a:lnTo>
                  <a:lnTo>
                    <a:pt x="0" y="108"/>
                  </a:lnTo>
                  <a:lnTo>
                    <a:pt x="5" y="110"/>
                  </a:lnTo>
                  <a:lnTo>
                    <a:pt x="5" y="110"/>
                  </a:lnTo>
                  <a:lnTo>
                    <a:pt x="155" y="110"/>
                  </a:lnTo>
                  <a:lnTo>
                    <a:pt x="155" y="108"/>
                  </a:lnTo>
                  <a:close/>
                  <a:moveTo>
                    <a:pt x="12" y="98"/>
                  </a:moveTo>
                  <a:lnTo>
                    <a:pt x="12" y="83"/>
                  </a:lnTo>
                  <a:lnTo>
                    <a:pt x="15" y="76"/>
                  </a:lnTo>
                  <a:lnTo>
                    <a:pt x="20" y="71"/>
                  </a:lnTo>
                  <a:lnTo>
                    <a:pt x="27" y="68"/>
                  </a:lnTo>
                  <a:lnTo>
                    <a:pt x="34" y="66"/>
                  </a:lnTo>
                  <a:lnTo>
                    <a:pt x="42" y="63"/>
                  </a:lnTo>
                  <a:lnTo>
                    <a:pt x="56" y="61"/>
                  </a:lnTo>
                  <a:lnTo>
                    <a:pt x="64" y="61"/>
                  </a:lnTo>
                  <a:lnTo>
                    <a:pt x="86" y="63"/>
                  </a:lnTo>
                  <a:lnTo>
                    <a:pt x="101" y="66"/>
                  </a:lnTo>
                  <a:lnTo>
                    <a:pt x="123" y="71"/>
                  </a:lnTo>
                  <a:lnTo>
                    <a:pt x="140" y="81"/>
                  </a:lnTo>
                  <a:lnTo>
                    <a:pt x="142" y="83"/>
                  </a:lnTo>
                  <a:lnTo>
                    <a:pt x="145" y="86"/>
                  </a:lnTo>
                  <a:lnTo>
                    <a:pt x="145" y="88"/>
                  </a:lnTo>
                  <a:lnTo>
                    <a:pt x="145" y="98"/>
                  </a:lnTo>
                  <a:lnTo>
                    <a:pt x="12" y="9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4">
              <a:extLst>
                <a:ext uri="{FF2B5EF4-FFF2-40B4-BE49-F238E27FC236}">
                  <a16:creationId xmlns:a16="http://schemas.microsoft.com/office/drawing/2014/main" id="{9791EBEA-4437-4DEA-B777-E522DD737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4" y="2144"/>
              <a:ext cx="19" cy="19"/>
            </a:xfrm>
            <a:custGeom>
              <a:avLst/>
              <a:gdLst>
                <a:gd name="T0" fmla="*/ 2 w 19"/>
                <a:gd name="T1" fmla="*/ 12 h 19"/>
                <a:gd name="T2" fmla="*/ 2 w 19"/>
                <a:gd name="T3" fmla="*/ 14 h 19"/>
                <a:gd name="T4" fmla="*/ 2 w 19"/>
                <a:gd name="T5" fmla="*/ 17 h 19"/>
                <a:gd name="T6" fmla="*/ 5 w 19"/>
                <a:gd name="T7" fmla="*/ 17 h 19"/>
                <a:gd name="T8" fmla="*/ 7 w 19"/>
                <a:gd name="T9" fmla="*/ 17 h 19"/>
                <a:gd name="T10" fmla="*/ 7 w 19"/>
                <a:gd name="T11" fmla="*/ 19 h 19"/>
                <a:gd name="T12" fmla="*/ 9 w 19"/>
                <a:gd name="T13" fmla="*/ 19 h 19"/>
                <a:gd name="T14" fmla="*/ 12 w 19"/>
                <a:gd name="T15" fmla="*/ 19 h 19"/>
                <a:gd name="T16" fmla="*/ 12 w 19"/>
                <a:gd name="T17" fmla="*/ 17 h 19"/>
                <a:gd name="T18" fmla="*/ 14 w 19"/>
                <a:gd name="T19" fmla="*/ 17 h 19"/>
                <a:gd name="T20" fmla="*/ 17 w 19"/>
                <a:gd name="T21" fmla="*/ 17 h 19"/>
                <a:gd name="T22" fmla="*/ 17 w 19"/>
                <a:gd name="T23" fmla="*/ 14 h 19"/>
                <a:gd name="T24" fmla="*/ 17 w 19"/>
                <a:gd name="T25" fmla="*/ 12 h 19"/>
                <a:gd name="T26" fmla="*/ 19 w 19"/>
                <a:gd name="T27" fmla="*/ 12 h 19"/>
                <a:gd name="T28" fmla="*/ 19 w 19"/>
                <a:gd name="T29" fmla="*/ 9 h 19"/>
                <a:gd name="T30" fmla="*/ 19 w 19"/>
                <a:gd name="T31" fmla="*/ 7 h 19"/>
                <a:gd name="T32" fmla="*/ 17 w 19"/>
                <a:gd name="T33" fmla="*/ 7 h 19"/>
                <a:gd name="T34" fmla="*/ 17 w 19"/>
                <a:gd name="T35" fmla="*/ 4 h 19"/>
                <a:gd name="T36" fmla="*/ 17 w 19"/>
                <a:gd name="T37" fmla="*/ 4 h 19"/>
                <a:gd name="T38" fmla="*/ 14 w 19"/>
                <a:gd name="T39" fmla="*/ 2 h 19"/>
                <a:gd name="T40" fmla="*/ 12 w 19"/>
                <a:gd name="T41" fmla="*/ 2 h 19"/>
                <a:gd name="T42" fmla="*/ 12 w 19"/>
                <a:gd name="T43" fmla="*/ 2 h 19"/>
                <a:gd name="T44" fmla="*/ 9 w 19"/>
                <a:gd name="T45" fmla="*/ 0 h 19"/>
                <a:gd name="T46" fmla="*/ 7 w 19"/>
                <a:gd name="T47" fmla="*/ 2 h 19"/>
                <a:gd name="T48" fmla="*/ 7 w 19"/>
                <a:gd name="T49" fmla="*/ 2 h 19"/>
                <a:gd name="T50" fmla="*/ 5 w 19"/>
                <a:gd name="T51" fmla="*/ 2 h 19"/>
                <a:gd name="T52" fmla="*/ 2 w 19"/>
                <a:gd name="T53" fmla="*/ 4 h 19"/>
                <a:gd name="T54" fmla="*/ 2 w 19"/>
                <a:gd name="T55" fmla="*/ 4 h 19"/>
                <a:gd name="T56" fmla="*/ 2 w 19"/>
                <a:gd name="T57" fmla="*/ 7 h 19"/>
                <a:gd name="T58" fmla="*/ 0 w 19"/>
                <a:gd name="T59" fmla="*/ 7 h 19"/>
                <a:gd name="T60" fmla="*/ 0 w 19"/>
                <a:gd name="T61" fmla="*/ 9 h 19"/>
                <a:gd name="T62" fmla="*/ 0 w 19"/>
                <a:gd name="T63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" h="19">
                  <a:moveTo>
                    <a:pt x="2" y="12"/>
                  </a:move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2" y="19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5">
              <a:extLst>
                <a:ext uri="{FF2B5EF4-FFF2-40B4-BE49-F238E27FC236}">
                  <a16:creationId xmlns:a16="http://schemas.microsoft.com/office/drawing/2014/main" id="{C7D5D7C6-0EE4-4EE4-BE4C-064EF4487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2166"/>
              <a:ext cx="20" cy="19"/>
            </a:xfrm>
            <a:custGeom>
              <a:avLst/>
              <a:gdLst>
                <a:gd name="T0" fmla="*/ 3 w 20"/>
                <a:gd name="T1" fmla="*/ 12 h 19"/>
                <a:gd name="T2" fmla="*/ 3 w 20"/>
                <a:gd name="T3" fmla="*/ 14 h 19"/>
                <a:gd name="T4" fmla="*/ 3 w 20"/>
                <a:gd name="T5" fmla="*/ 14 h 19"/>
                <a:gd name="T6" fmla="*/ 5 w 20"/>
                <a:gd name="T7" fmla="*/ 17 h 19"/>
                <a:gd name="T8" fmla="*/ 5 w 20"/>
                <a:gd name="T9" fmla="*/ 17 h 19"/>
                <a:gd name="T10" fmla="*/ 8 w 20"/>
                <a:gd name="T11" fmla="*/ 17 h 19"/>
                <a:gd name="T12" fmla="*/ 10 w 20"/>
                <a:gd name="T13" fmla="*/ 17 h 19"/>
                <a:gd name="T14" fmla="*/ 10 w 20"/>
                <a:gd name="T15" fmla="*/ 17 h 19"/>
                <a:gd name="T16" fmla="*/ 13 w 20"/>
                <a:gd name="T17" fmla="*/ 17 h 19"/>
                <a:gd name="T18" fmla="*/ 15 w 20"/>
                <a:gd name="T19" fmla="*/ 17 h 19"/>
                <a:gd name="T20" fmla="*/ 15 w 20"/>
                <a:gd name="T21" fmla="*/ 17 h 19"/>
                <a:gd name="T22" fmla="*/ 17 w 20"/>
                <a:gd name="T23" fmla="*/ 14 h 19"/>
                <a:gd name="T24" fmla="*/ 17 w 20"/>
                <a:gd name="T25" fmla="*/ 14 h 19"/>
                <a:gd name="T26" fmla="*/ 17 w 20"/>
                <a:gd name="T27" fmla="*/ 12 h 19"/>
                <a:gd name="T28" fmla="*/ 20 w 20"/>
                <a:gd name="T29" fmla="*/ 9 h 19"/>
                <a:gd name="T30" fmla="*/ 20 w 20"/>
                <a:gd name="T31" fmla="*/ 9 h 19"/>
                <a:gd name="T32" fmla="*/ 17 w 20"/>
                <a:gd name="T33" fmla="*/ 7 h 19"/>
                <a:gd name="T34" fmla="*/ 17 w 20"/>
                <a:gd name="T35" fmla="*/ 5 h 19"/>
                <a:gd name="T36" fmla="*/ 17 w 20"/>
                <a:gd name="T37" fmla="*/ 5 h 19"/>
                <a:gd name="T38" fmla="*/ 15 w 20"/>
                <a:gd name="T39" fmla="*/ 2 h 19"/>
                <a:gd name="T40" fmla="*/ 15 w 20"/>
                <a:gd name="T41" fmla="*/ 2 h 19"/>
                <a:gd name="T42" fmla="*/ 13 w 20"/>
                <a:gd name="T43" fmla="*/ 2 h 19"/>
                <a:gd name="T44" fmla="*/ 10 w 20"/>
                <a:gd name="T45" fmla="*/ 0 h 19"/>
                <a:gd name="T46" fmla="*/ 10 w 20"/>
                <a:gd name="T47" fmla="*/ 0 h 19"/>
                <a:gd name="T48" fmla="*/ 8 w 20"/>
                <a:gd name="T49" fmla="*/ 2 h 19"/>
                <a:gd name="T50" fmla="*/ 5 w 20"/>
                <a:gd name="T51" fmla="*/ 2 h 19"/>
                <a:gd name="T52" fmla="*/ 5 w 20"/>
                <a:gd name="T53" fmla="*/ 2 h 19"/>
                <a:gd name="T54" fmla="*/ 3 w 20"/>
                <a:gd name="T55" fmla="*/ 5 h 19"/>
                <a:gd name="T56" fmla="*/ 3 w 20"/>
                <a:gd name="T57" fmla="*/ 5 h 19"/>
                <a:gd name="T58" fmla="*/ 3 w 20"/>
                <a:gd name="T59" fmla="*/ 7 h 19"/>
                <a:gd name="T60" fmla="*/ 0 w 20"/>
                <a:gd name="T61" fmla="*/ 9 h 19"/>
                <a:gd name="T62" fmla="*/ 0 w 20"/>
                <a:gd name="T63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19">
                  <a:moveTo>
                    <a:pt x="0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20" y="12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6">
              <a:extLst>
                <a:ext uri="{FF2B5EF4-FFF2-40B4-BE49-F238E27FC236}">
                  <a16:creationId xmlns:a16="http://schemas.microsoft.com/office/drawing/2014/main" id="{619E41D5-5CDD-46B8-BA96-0BE67153A3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2077"/>
              <a:ext cx="167" cy="143"/>
            </a:xfrm>
            <a:custGeom>
              <a:avLst/>
              <a:gdLst>
                <a:gd name="T0" fmla="*/ 167 w 167"/>
                <a:gd name="T1" fmla="*/ 37 h 143"/>
                <a:gd name="T2" fmla="*/ 160 w 167"/>
                <a:gd name="T3" fmla="*/ 27 h 143"/>
                <a:gd name="T4" fmla="*/ 150 w 167"/>
                <a:gd name="T5" fmla="*/ 22 h 143"/>
                <a:gd name="T6" fmla="*/ 145 w 167"/>
                <a:gd name="T7" fmla="*/ 22 h 143"/>
                <a:gd name="T8" fmla="*/ 32 w 167"/>
                <a:gd name="T9" fmla="*/ 0 h 143"/>
                <a:gd name="T10" fmla="*/ 30 w 167"/>
                <a:gd name="T11" fmla="*/ 0 h 143"/>
                <a:gd name="T12" fmla="*/ 20 w 167"/>
                <a:gd name="T13" fmla="*/ 3 h 143"/>
                <a:gd name="T14" fmla="*/ 5 w 167"/>
                <a:gd name="T15" fmla="*/ 20 h 143"/>
                <a:gd name="T16" fmla="*/ 0 w 167"/>
                <a:gd name="T17" fmla="*/ 35 h 143"/>
                <a:gd name="T18" fmla="*/ 10 w 167"/>
                <a:gd name="T19" fmla="*/ 52 h 143"/>
                <a:gd name="T20" fmla="*/ 47 w 167"/>
                <a:gd name="T21" fmla="*/ 74 h 143"/>
                <a:gd name="T22" fmla="*/ 91 w 167"/>
                <a:gd name="T23" fmla="*/ 140 h 143"/>
                <a:gd name="T24" fmla="*/ 99 w 167"/>
                <a:gd name="T25" fmla="*/ 143 h 143"/>
                <a:gd name="T26" fmla="*/ 118 w 167"/>
                <a:gd name="T27" fmla="*/ 138 h 143"/>
                <a:gd name="T28" fmla="*/ 140 w 167"/>
                <a:gd name="T29" fmla="*/ 118 h 143"/>
                <a:gd name="T30" fmla="*/ 162 w 167"/>
                <a:gd name="T31" fmla="*/ 79 h 143"/>
                <a:gd name="T32" fmla="*/ 167 w 167"/>
                <a:gd name="T33" fmla="*/ 49 h 143"/>
                <a:gd name="T34" fmla="*/ 45 w 167"/>
                <a:gd name="T35" fmla="*/ 59 h 143"/>
                <a:gd name="T36" fmla="*/ 13 w 167"/>
                <a:gd name="T37" fmla="*/ 35 h 143"/>
                <a:gd name="T38" fmla="*/ 15 w 167"/>
                <a:gd name="T39" fmla="*/ 27 h 143"/>
                <a:gd name="T40" fmla="*/ 20 w 167"/>
                <a:gd name="T41" fmla="*/ 18 h 143"/>
                <a:gd name="T42" fmla="*/ 32 w 167"/>
                <a:gd name="T43" fmla="*/ 13 h 143"/>
                <a:gd name="T44" fmla="*/ 62 w 167"/>
                <a:gd name="T45" fmla="*/ 27 h 143"/>
                <a:gd name="T46" fmla="*/ 47 w 167"/>
                <a:gd name="T47" fmla="*/ 47 h 143"/>
                <a:gd name="T48" fmla="*/ 79 w 167"/>
                <a:gd name="T49" fmla="*/ 106 h 143"/>
                <a:gd name="T50" fmla="*/ 57 w 167"/>
                <a:gd name="T51" fmla="*/ 62 h 143"/>
                <a:gd name="T52" fmla="*/ 59 w 167"/>
                <a:gd name="T53" fmla="*/ 49 h 143"/>
                <a:gd name="T54" fmla="*/ 72 w 167"/>
                <a:gd name="T55" fmla="*/ 35 h 143"/>
                <a:gd name="T56" fmla="*/ 76 w 167"/>
                <a:gd name="T57" fmla="*/ 35 h 143"/>
                <a:gd name="T58" fmla="*/ 108 w 167"/>
                <a:gd name="T59" fmla="*/ 49 h 143"/>
                <a:gd name="T60" fmla="*/ 94 w 167"/>
                <a:gd name="T61" fmla="*/ 67 h 143"/>
                <a:gd name="T62" fmla="*/ 84 w 167"/>
                <a:gd name="T63" fmla="*/ 91 h 143"/>
                <a:gd name="T64" fmla="*/ 126 w 167"/>
                <a:gd name="T65" fmla="*/ 69 h 143"/>
                <a:gd name="T66" fmla="*/ 123 w 167"/>
                <a:gd name="T67" fmla="*/ 76 h 143"/>
                <a:gd name="T68" fmla="*/ 121 w 167"/>
                <a:gd name="T69" fmla="*/ 86 h 143"/>
                <a:gd name="T70" fmla="*/ 108 w 167"/>
                <a:gd name="T71" fmla="*/ 94 h 143"/>
                <a:gd name="T72" fmla="*/ 96 w 167"/>
                <a:gd name="T73" fmla="*/ 91 h 143"/>
                <a:gd name="T74" fmla="*/ 108 w 167"/>
                <a:gd name="T75" fmla="*/ 64 h 143"/>
                <a:gd name="T76" fmla="*/ 123 w 167"/>
                <a:gd name="T77" fmla="*/ 64 h 143"/>
                <a:gd name="T78" fmla="*/ 153 w 167"/>
                <a:gd name="T79" fmla="*/ 71 h 143"/>
                <a:gd name="T80" fmla="*/ 133 w 167"/>
                <a:gd name="T81" fmla="*/ 108 h 143"/>
                <a:gd name="T82" fmla="*/ 106 w 167"/>
                <a:gd name="T83" fmla="*/ 130 h 143"/>
                <a:gd name="T84" fmla="*/ 96 w 167"/>
                <a:gd name="T85" fmla="*/ 133 h 143"/>
                <a:gd name="T86" fmla="*/ 91 w 167"/>
                <a:gd name="T87" fmla="*/ 128 h 143"/>
                <a:gd name="T88" fmla="*/ 91 w 167"/>
                <a:gd name="T89" fmla="*/ 116 h 143"/>
                <a:gd name="T90" fmla="*/ 94 w 167"/>
                <a:gd name="T91" fmla="*/ 98 h 143"/>
                <a:gd name="T92" fmla="*/ 106 w 167"/>
                <a:gd name="T93" fmla="*/ 101 h 143"/>
                <a:gd name="T94" fmla="*/ 121 w 167"/>
                <a:gd name="T95" fmla="*/ 94 h 143"/>
                <a:gd name="T96" fmla="*/ 133 w 167"/>
                <a:gd name="T97" fmla="*/ 74 h 143"/>
                <a:gd name="T98" fmla="*/ 128 w 167"/>
                <a:gd name="T99" fmla="*/ 57 h 143"/>
                <a:gd name="T100" fmla="*/ 121 w 167"/>
                <a:gd name="T101" fmla="*/ 49 h 143"/>
                <a:gd name="T102" fmla="*/ 143 w 167"/>
                <a:gd name="T103" fmla="*/ 35 h 143"/>
                <a:gd name="T104" fmla="*/ 153 w 167"/>
                <a:gd name="T105" fmla="*/ 35 h 143"/>
                <a:gd name="T106" fmla="*/ 155 w 167"/>
                <a:gd name="T107" fmla="*/ 40 h 143"/>
                <a:gd name="T108" fmla="*/ 155 w 167"/>
                <a:gd name="T109" fmla="*/ 5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7" h="143">
                  <a:moveTo>
                    <a:pt x="167" y="49"/>
                  </a:moveTo>
                  <a:lnTo>
                    <a:pt x="167" y="37"/>
                  </a:lnTo>
                  <a:lnTo>
                    <a:pt x="162" y="32"/>
                  </a:lnTo>
                  <a:lnTo>
                    <a:pt x="160" y="27"/>
                  </a:lnTo>
                  <a:lnTo>
                    <a:pt x="155" y="25"/>
                  </a:lnTo>
                  <a:lnTo>
                    <a:pt x="150" y="22"/>
                  </a:lnTo>
                  <a:lnTo>
                    <a:pt x="148" y="22"/>
                  </a:lnTo>
                  <a:lnTo>
                    <a:pt x="145" y="22"/>
                  </a:lnTo>
                  <a:lnTo>
                    <a:pt x="76" y="2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20" y="3"/>
                  </a:lnTo>
                  <a:lnTo>
                    <a:pt x="13" y="10"/>
                  </a:lnTo>
                  <a:lnTo>
                    <a:pt x="5" y="20"/>
                  </a:lnTo>
                  <a:lnTo>
                    <a:pt x="3" y="27"/>
                  </a:lnTo>
                  <a:lnTo>
                    <a:pt x="0" y="35"/>
                  </a:lnTo>
                  <a:lnTo>
                    <a:pt x="3" y="45"/>
                  </a:lnTo>
                  <a:lnTo>
                    <a:pt x="10" y="52"/>
                  </a:lnTo>
                  <a:lnTo>
                    <a:pt x="13" y="54"/>
                  </a:lnTo>
                  <a:lnTo>
                    <a:pt x="47" y="74"/>
                  </a:lnTo>
                  <a:lnTo>
                    <a:pt x="84" y="138"/>
                  </a:lnTo>
                  <a:lnTo>
                    <a:pt x="91" y="140"/>
                  </a:lnTo>
                  <a:lnTo>
                    <a:pt x="96" y="143"/>
                  </a:lnTo>
                  <a:lnTo>
                    <a:pt x="99" y="143"/>
                  </a:lnTo>
                  <a:lnTo>
                    <a:pt x="108" y="143"/>
                  </a:lnTo>
                  <a:lnTo>
                    <a:pt x="118" y="138"/>
                  </a:lnTo>
                  <a:lnTo>
                    <a:pt x="131" y="128"/>
                  </a:lnTo>
                  <a:lnTo>
                    <a:pt x="140" y="118"/>
                  </a:lnTo>
                  <a:lnTo>
                    <a:pt x="150" y="101"/>
                  </a:lnTo>
                  <a:lnTo>
                    <a:pt x="162" y="79"/>
                  </a:lnTo>
                  <a:lnTo>
                    <a:pt x="167" y="64"/>
                  </a:lnTo>
                  <a:lnTo>
                    <a:pt x="167" y="49"/>
                  </a:lnTo>
                  <a:close/>
                  <a:moveTo>
                    <a:pt x="47" y="47"/>
                  </a:moveTo>
                  <a:lnTo>
                    <a:pt x="45" y="59"/>
                  </a:lnTo>
                  <a:lnTo>
                    <a:pt x="15" y="40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5" y="27"/>
                  </a:lnTo>
                  <a:lnTo>
                    <a:pt x="17" y="22"/>
                  </a:lnTo>
                  <a:lnTo>
                    <a:pt x="20" y="18"/>
                  </a:lnTo>
                  <a:lnTo>
                    <a:pt x="27" y="13"/>
                  </a:lnTo>
                  <a:lnTo>
                    <a:pt x="32" y="13"/>
                  </a:lnTo>
                  <a:lnTo>
                    <a:pt x="35" y="13"/>
                  </a:lnTo>
                  <a:lnTo>
                    <a:pt x="62" y="27"/>
                  </a:lnTo>
                  <a:lnTo>
                    <a:pt x="52" y="40"/>
                  </a:lnTo>
                  <a:lnTo>
                    <a:pt x="47" y="47"/>
                  </a:lnTo>
                  <a:close/>
                  <a:moveTo>
                    <a:pt x="84" y="91"/>
                  </a:moveTo>
                  <a:lnTo>
                    <a:pt x="79" y="106"/>
                  </a:lnTo>
                  <a:lnTo>
                    <a:pt x="57" y="67"/>
                  </a:lnTo>
                  <a:lnTo>
                    <a:pt x="57" y="62"/>
                  </a:lnTo>
                  <a:lnTo>
                    <a:pt x="57" y="57"/>
                  </a:lnTo>
                  <a:lnTo>
                    <a:pt x="59" y="49"/>
                  </a:lnTo>
                  <a:lnTo>
                    <a:pt x="67" y="40"/>
                  </a:lnTo>
                  <a:lnTo>
                    <a:pt x="72" y="35"/>
                  </a:lnTo>
                  <a:lnTo>
                    <a:pt x="74" y="35"/>
                  </a:lnTo>
                  <a:lnTo>
                    <a:pt x="76" y="35"/>
                  </a:lnTo>
                  <a:lnTo>
                    <a:pt x="121" y="35"/>
                  </a:lnTo>
                  <a:lnTo>
                    <a:pt x="108" y="49"/>
                  </a:lnTo>
                  <a:lnTo>
                    <a:pt x="101" y="54"/>
                  </a:lnTo>
                  <a:lnTo>
                    <a:pt x="94" y="67"/>
                  </a:lnTo>
                  <a:lnTo>
                    <a:pt x="89" y="79"/>
                  </a:lnTo>
                  <a:lnTo>
                    <a:pt x="84" y="91"/>
                  </a:lnTo>
                  <a:close/>
                  <a:moveTo>
                    <a:pt x="123" y="64"/>
                  </a:moveTo>
                  <a:lnTo>
                    <a:pt x="126" y="69"/>
                  </a:lnTo>
                  <a:lnTo>
                    <a:pt x="126" y="74"/>
                  </a:lnTo>
                  <a:lnTo>
                    <a:pt x="123" y="76"/>
                  </a:lnTo>
                  <a:lnTo>
                    <a:pt x="123" y="81"/>
                  </a:lnTo>
                  <a:lnTo>
                    <a:pt x="121" y="86"/>
                  </a:lnTo>
                  <a:lnTo>
                    <a:pt x="116" y="89"/>
                  </a:lnTo>
                  <a:lnTo>
                    <a:pt x="108" y="94"/>
                  </a:lnTo>
                  <a:lnTo>
                    <a:pt x="103" y="94"/>
                  </a:lnTo>
                  <a:lnTo>
                    <a:pt x="96" y="91"/>
                  </a:lnTo>
                  <a:lnTo>
                    <a:pt x="103" y="76"/>
                  </a:lnTo>
                  <a:lnTo>
                    <a:pt x="108" y="64"/>
                  </a:lnTo>
                  <a:lnTo>
                    <a:pt x="116" y="54"/>
                  </a:lnTo>
                  <a:lnTo>
                    <a:pt x="123" y="64"/>
                  </a:lnTo>
                  <a:close/>
                  <a:moveTo>
                    <a:pt x="155" y="59"/>
                  </a:moveTo>
                  <a:lnTo>
                    <a:pt x="153" y="71"/>
                  </a:lnTo>
                  <a:lnTo>
                    <a:pt x="145" y="86"/>
                  </a:lnTo>
                  <a:lnTo>
                    <a:pt x="133" y="108"/>
                  </a:lnTo>
                  <a:lnTo>
                    <a:pt x="121" y="121"/>
                  </a:lnTo>
                  <a:lnTo>
                    <a:pt x="106" y="130"/>
                  </a:lnTo>
                  <a:lnTo>
                    <a:pt x="99" y="133"/>
                  </a:lnTo>
                  <a:lnTo>
                    <a:pt x="96" y="133"/>
                  </a:lnTo>
                  <a:lnTo>
                    <a:pt x="94" y="130"/>
                  </a:lnTo>
                  <a:lnTo>
                    <a:pt x="91" y="128"/>
                  </a:lnTo>
                  <a:lnTo>
                    <a:pt x="91" y="121"/>
                  </a:lnTo>
                  <a:lnTo>
                    <a:pt x="91" y="116"/>
                  </a:lnTo>
                  <a:lnTo>
                    <a:pt x="91" y="108"/>
                  </a:lnTo>
                  <a:lnTo>
                    <a:pt x="94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3" y="98"/>
                  </a:lnTo>
                  <a:lnTo>
                    <a:pt x="121" y="94"/>
                  </a:lnTo>
                  <a:lnTo>
                    <a:pt x="131" y="84"/>
                  </a:lnTo>
                  <a:lnTo>
                    <a:pt x="133" y="74"/>
                  </a:lnTo>
                  <a:lnTo>
                    <a:pt x="131" y="67"/>
                  </a:lnTo>
                  <a:lnTo>
                    <a:pt x="128" y="57"/>
                  </a:lnTo>
                  <a:lnTo>
                    <a:pt x="123" y="52"/>
                  </a:lnTo>
                  <a:lnTo>
                    <a:pt x="121" y="49"/>
                  </a:lnTo>
                  <a:lnTo>
                    <a:pt x="133" y="40"/>
                  </a:lnTo>
                  <a:lnTo>
                    <a:pt x="143" y="35"/>
                  </a:lnTo>
                  <a:lnTo>
                    <a:pt x="148" y="35"/>
                  </a:lnTo>
                  <a:lnTo>
                    <a:pt x="153" y="35"/>
                  </a:lnTo>
                  <a:lnTo>
                    <a:pt x="155" y="37"/>
                  </a:lnTo>
                  <a:lnTo>
                    <a:pt x="155" y="40"/>
                  </a:lnTo>
                  <a:lnTo>
                    <a:pt x="158" y="49"/>
                  </a:lnTo>
                  <a:lnTo>
                    <a:pt x="155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7">
              <a:extLst>
                <a:ext uri="{FF2B5EF4-FFF2-40B4-BE49-F238E27FC236}">
                  <a16:creationId xmlns:a16="http://schemas.microsoft.com/office/drawing/2014/main" id="{764E1950-1D4C-4BF7-9BDB-602F1FD8E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6" y="2183"/>
              <a:ext cx="32" cy="27"/>
            </a:xfrm>
            <a:custGeom>
              <a:avLst/>
              <a:gdLst>
                <a:gd name="T0" fmla="*/ 32 w 32"/>
                <a:gd name="T1" fmla="*/ 15 h 27"/>
                <a:gd name="T2" fmla="*/ 32 w 32"/>
                <a:gd name="T3" fmla="*/ 12 h 27"/>
                <a:gd name="T4" fmla="*/ 32 w 32"/>
                <a:gd name="T5" fmla="*/ 12 h 27"/>
                <a:gd name="T6" fmla="*/ 29 w 32"/>
                <a:gd name="T7" fmla="*/ 10 h 27"/>
                <a:gd name="T8" fmla="*/ 12 w 32"/>
                <a:gd name="T9" fmla="*/ 0 h 27"/>
                <a:gd name="T10" fmla="*/ 10 w 32"/>
                <a:gd name="T11" fmla="*/ 0 h 27"/>
                <a:gd name="T12" fmla="*/ 7 w 32"/>
                <a:gd name="T13" fmla="*/ 0 h 27"/>
                <a:gd name="T14" fmla="*/ 7 w 32"/>
                <a:gd name="T15" fmla="*/ 0 h 27"/>
                <a:gd name="T16" fmla="*/ 5 w 32"/>
                <a:gd name="T17" fmla="*/ 0 h 27"/>
                <a:gd name="T18" fmla="*/ 2 w 32"/>
                <a:gd name="T19" fmla="*/ 0 h 27"/>
                <a:gd name="T20" fmla="*/ 2 w 32"/>
                <a:gd name="T21" fmla="*/ 2 h 27"/>
                <a:gd name="T22" fmla="*/ 0 w 32"/>
                <a:gd name="T23" fmla="*/ 2 h 27"/>
                <a:gd name="T24" fmla="*/ 0 w 32"/>
                <a:gd name="T25" fmla="*/ 5 h 27"/>
                <a:gd name="T26" fmla="*/ 0 w 32"/>
                <a:gd name="T27" fmla="*/ 5 h 27"/>
                <a:gd name="T28" fmla="*/ 0 w 32"/>
                <a:gd name="T29" fmla="*/ 7 h 27"/>
                <a:gd name="T30" fmla="*/ 0 w 32"/>
                <a:gd name="T31" fmla="*/ 7 h 27"/>
                <a:gd name="T32" fmla="*/ 0 w 32"/>
                <a:gd name="T33" fmla="*/ 10 h 27"/>
                <a:gd name="T34" fmla="*/ 0 w 32"/>
                <a:gd name="T35" fmla="*/ 12 h 27"/>
                <a:gd name="T36" fmla="*/ 0 w 32"/>
                <a:gd name="T37" fmla="*/ 12 h 27"/>
                <a:gd name="T38" fmla="*/ 2 w 32"/>
                <a:gd name="T39" fmla="*/ 15 h 27"/>
                <a:gd name="T40" fmla="*/ 2 w 32"/>
                <a:gd name="T41" fmla="*/ 15 h 27"/>
                <a:gd name="T42" fmla="*/ 19 w 32"/>
                <a:gd name="T43" fmla="*/ 24 h 27"/>
                <a:gd name="T44" fmla="*/ 22 w 32"/>
                <a:gd name="T45" fmla="*/ 27 h 27"/>
                <a:gd name="T46" fmla="*/ 24 w 32"/>
                <a:gd name="T47" fmla="*/ 27 h 27"/>
                <a:gd name="T48" fmla="*/ 24 w 32"/>
                <a:gd name="T49" fmla="*/ 27 h 27"/>
                <a:gd name="T50" fmla="*/ 27 w 32"/>
                <a:gd name="T51" fmla="*/ 24 h 27"/>
                <a:gd name="T52" fmla="*/ 29 w 32"/>
                <a:gd name="T53" fmla="*/ 24 h 27"/>
                <a:gd name="T54" fmla="*/ 29 w 32"/>
                <a:gd name="T55" fmla="*/ 24 h 27"/>
                <a:gd name="T56" fmla="*/ 32 w 32"/>
                <a:gd name="T57" fmla="*/ 22 h 27"/>
                <a:gd name="T58" fmla="*/ 32 w 32"/>
                <a:gd name="T59" fmla="*/ 22 h 27"/>
                <a:gd name="T60" fmla="*/ 32 w 32"/>
                <a:gd name="T61" fmla="*/ 19 h 27"/>
                <a:gd name="T62" fmla="*/ 32 w 32"/>
                <a:gd name="T63" fmla="*/ 17 h 27"/>
                <a:gd name="T64" fmla="*/ 32 w 32"/>
                <a:gd name="T65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27">
                  <a:moveTo>
                    <a:pt x="32" y="15"/>
                  </a:moveTo>
                  <a:lnTo>
                    <a:pt x="32" y="15"/>
                  </a:lnTo>
                  <a:lnTo>
                    <a:pt x="32" y="15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8">
              <a:extLst>
                <a:ext uri="{FF2B5EF4-FFF2-40B4-BE49-F238E27FC236}">
                  <a16:creationId xmlns:a16="http://schemas.microsoft.com/office/drawing/2014/main" id="{DAE9FCBB-061F-4039-B0F0-6DEBEF8CE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4" y="2190"/>
              <a:ext cx="17" cy="17"/>
            </a:xfrm>
            <a:custGeom>
              <a:avLst/>
              <a:gdLst>
                <a:gd name="T0" fmla="*/ 0 w 17"/>
                <a:gd name="T1" fmla="*/ 10 h 17"/>
                <a:gd name="T2" fmla="*/ 0 w 17"/>
                <a:gd name="T3" fmla="*/ 12 h 17"/>
                <a:gd name="T4" fmla="*/ 0 w 17"/>
                <a:gd name="T5" fmla="*/ 12 h 17"/>
                <a:gd name="T6" fmla="*/ 2 w 17"/>
                <a:gd name="T7" fmla="*/ 15 h 17"/>
                <a:gd name="T8" fmla="*/ 2 w 17"/>
                <a:gd name="T9" fmla="*/ 15 h 17"/>
                <a:gd name="T10" fmla="*/ 5 w 17"/>
                <a:gd name="T11" fmla="*/ 17 h 17"/>
                <a:gd name="T12" fmla="*/ 7 w 17"/>
                <a:gd name="T13" fmla="*/ 17 h 17"/>
                <a:gd name="T14" fmla="*/ 10 w 17"/>
                <a:gd name="T15" fmla="*/ 17 h 17"/>
                <a:gd name="T16" fmla="*/ 10 w 17"/>
                <a:gd name="T17" fmla="*/ 17 h 17"/>
                <a:gd name="T18" fmla="*/ 12 w 17"/>
                <a:gd name="T19" fmla="*/ 15 h 17"/>
                <a:gd name="T20" fmla="*/ 12 w 17"/>
                <a:gd name="T21" fmla="*/ 15 h 17"/>
                <a:gd name="T22" fmla="*/ 15 w 17"/>
                <a:gd name="T23" fmla="*/ 12 h 17"/>
                <a:gd name="T24" fmla="*/ 15 w 17"/>
                <a:gd name="T25" fmla="*/ 12 h 17"/>
                <a:gd name="T26" fmla="*/ 17 w 17"/>
                <a:gd name="T27" fmla="*/ 10 h 17"/>
                <a:gd name="T28" fmla="*/ 17 w 17"/>
                <a:gd name="T29" fmla="*/ 10 h 17"/>
                <a:gd name="T30" fmla="*/ 17 w 17"/>
                <a:gd name="T31" fmla="*/ 8 h 17"/>
                <a:gd name="T32" fmla="*/ 17 w 17"/>
                <a:gd name="T33" fmla="*/ 5 h 17"/>
                <a:gd name="T34" fmla="*/ 15 w 17"/>
                <a:gd name="T35" fmla="*/ 3 h 17"/>
                <a:gd name="T36" fmla="*/ 15 w 17"/>
                <a:gd name="T37" fmla="*/ 3 h 17"/>
                <a:gd name="T38" fmla="*/ 12 w 17"/>
                <a:gd name="T39" fmla="*/ 0 h 17"/>
                <a:gd name="T40" fmla="*/ 12 w 17"/>
                <a:gd name="T41" fmla="*/ 0 h 17"/>
                <a:gd name="T42" fmla="*/ 10 w 17"/>
                <a:gd name="T43" fmla="*/ 0 h 17"/>
                <a:gd name="T44" fmla="*/ 10 w 17"/>
                <a:gd name="T45" fmla="*/ 0 h 17"/>
                <a:gd name="T46" fmla="*/ 7 w 17"/>
                <a:gd name="T47" fmla="*/ 0 h 17"/>
                <a:gd name="T48" fmla="*/ 5 w 17"/>
                <a:gd name="T49" fmla="*/ 0 h 17"/>
                <a:gd name="T50" fmla="*/ 2 w 17"/>
                <a:gd name="T51" fmla="*/ 0 h 17"/>
                <a:gd name="T52" fmla="*/ 2 w 17"/>
                <a:gd name="T53" fmla="*/ 0 h 17"/>
                <a:gd name="T54" fmla="*/ 0 w 17"/>
                <a:gd name="T55" fmla="*/ 3 h 17"/>
                <a:gd name="T56" fmla="*/ 0 w 17"/>
                <a:gd name="T57" fmla="*/ 3 h 17"/>
                <a:gd name="T58" fmla="*/ 0 w 17"/>
                <a:gd name="T59" fmla="*/ 5 h 17"/>
                <a:gd name="T60" fmla="*/ 0 w 17"/>
                <a:gd name="T61" fmla="*/ 8 h 17"/>
                <a:gd name="T62" fmla="*/ 0 w 17"/>
                <a:gd name="T63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17">
                  <a:moveTo>
                    <a:pt x="0" y="10"/>
                  </a:move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9">
              <a:extLst>
                <a:ext uri="{FF2B5EF4-FFF2-40B4-BE49-F238E27FC236}">
                  <a16:creationId xmlns:a16="http://schemas.microsoft.com/office/drawing/2014/main" id="{81E965AF-66B6-469E-8699-C464511E0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3" y="2129"/>
              <a:ext cx="32" cy="17"/>
            </a:xfrm>
            <a:custGeom>
              <a:avLst/>
              <a:gdLst>
                <a:gd name="T0" fmla="*/ 32 w 32"/>
                <a:gd name="T1" fmla="*/ 5 h 17"/>
                <a:gd name="T2" fmla="*/ 32 w 32"/>
                <a:gd name="T3" fmla="*/ 5 h 17"/>
                <a:gd name="T4" fmla="*/ 32 w 32"/>
                <a:gd name="T5" fmla="*/ 2 h 17"/>
                <a:gd name="T6" fmla="*/ 29 w 32"/>
                <a:gd name="T7" fmla="*/ 2 h 17"/>
                <a:gd name="T8" fmla="*/ 29 w 32"/>
                <a:gd name="T9" fmla="*/ 0 h 17"/>
                <a:gd name="T10" fmla="*/ 27 w 32"/>
                <a:gd name="T11" fmla="*/ 0 h 17"/>
                <a:gd name="T12" fmla="*/ 27 w 32"/>
                <a:gd name="T13" fmla="*/ 0 h 17"/>
                <a:gd name="T14" fmla="*/ 25 w 32"/>
                <a:gd name="T15" fmla="*/ 0 h 17"/>
                <a:gd name="T16" fmla="*/ 7 w 32"/>
                <a:gd name="T17" fmla="*/ 0 h 17"/>
                <a:gd name="T18" fmla="*/ 7 w 32"/>
                <a:gd name="T19" fmla="*/ 0 h 17"/>
                <a:gd name="T20" fmla="*/ 5 w 32"/>
                <a:gd name="T21" fmla="*/ 0 h 17"/>
                <a:gd name="T22" fmla="*/ 2 w 32"/>
                <a:gd name="T23" fmla="*/ 0 h 17"/>
                <a:gd name="T24" fmla="*/ 2 w 32"/>
                <a:gd name="T25" fmla="*/ 2 h 17"/>
                <a:gd name="T26" fmla="*/ 2 w 32"/>
                <a:gd name="T27" fmla="*/ 2 h 17"/>
                <a:gd name="T28" fmla="*/ 0 w 32"/>
                <a:gd name="T29" fmla="*/ 5 h 17"/>
                <a:gd name="T30" fmla="*/ 0 w 32"/>
                <a:gd name="T31" fmla="*/ 7 h 17"/>
                <a:gd name="T32" fmla="*/ 0 w 32"/>
                <a:gd name="T33" fmla="*/ 7 h 17"/>
                <a:gd name="T34" fmla="*/ 0 w 32"/>
                <a:gd name="T35" fmla="*/ 10 h 17"/>
                <a:gd name="T36" fmla="*/ 2 w 32"/>
                <a:gd name="T37" fmla="*/ 12 h 17"/>
                <a:gd name="T38" fmla="*/ 2 w 32"/>
                <a:gd name="T39" fmla="*/ 12 h 17"/>
                <a:gd name="T40" fmla="*/ 2 w 32"/>
                <a:gd name="T41" fmla="*/ 15 h 17"/>
                <a:gd name="T42" fmla="*/ 5 w 32"/>
                <a:gd name="T43" fmla="*/ 15 h 17"/>
                <a:gd name="T44" fmla="*/ 7 w 32"/>
                <a:gd name="T45" fmla="*/ 15 h 17"/>
                <a:gd name="T46" fmla="*/ 7 w 32"/>
                <a:gd name="T47" fmla="*/ 17 h 17"/>
                <a:gd name="T48" fmla="*/ 25 w 32"/>
                <a:gd name="T49" fmla="*/ 17 h 17"/>
                <a:gd name="T50" fmla="*/ 27 w 32"/>
                <a:gd name="T51" fmla="*/ 17 h 17"/>
                <a:gd name="T52" fmla="*/ 27 w 32"/>
                <a:gd name="T53" fmla="*/ 15 h 17"/>
                <a:gd name="T54" fmla="*/ 29 w 32"/>
                <a:gd name="T55" fmla="*/ 15 h 17"/>
                <a:gd name="T56" fmla="*/ 29 w 32"/>
                <a:gd name="T57" fmla="*/ 15 h 17"/>
                <a:gd name="T58" fmla="*/ 32 w 32"/>
                <a:gd name="T59" fmla="*/ 12 h 17"/>
                <a:gd name="T60" fmla="*/ 32 w 32"/>
                <a:gd name="T61" fmla="*/ 10 h 17"/>
                <a:gd name="T62" fmla="*/ 32 w 32"/>
                <a:gd name="T63" fmla="*/ 10 h 17"/>
                <a:gd name="T64" fmla="*/ 32 w 32"/>
                <a:gd name="T65" fmla="*/ 7 h 17"/>
                <a:gd name="T66" fmla="*/ 32 w 32"/>
                <a:gd name="T67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17">
                  <a:moveTo>
                    <a:pt x="32" y="7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10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30">
              <a:extLst>
                <a:ext uri="{FF2B5EF4-FFF2-40B4-BE49-F238E27FC236}">
                  <a16:creationId xmlns:a16="http://schemas.microsoft.com/office/drawing/2014/main" id="{C29BD0BB-EEC4-451A-8FEC-B916BD7CF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7" y="2224"/>
              <a:ext cx="24" cy="32"/>
            </a:xfrm>
            <a:custGeom>
              <a:avLst/>
              <a:gdLst>
                <a:gd name="T0" fmla="*/ 24 w 24"/>
                <a:gd name="T1" fmla="*/ 20 h 32"/>
                <a:gd name="T2" fmla="*/ 24 w 24"/>
                <a:gd name="T3" fmla="*/ 18 h 32"/>
                <a:gd name="T4" fmla="*/ 14 w 24"/>
                <a:gd name="T5" fmla="*/ 5 h 32"/>
                <a:gd name="T6" fmla="*/ 14 w 24"/>
                <a:gd name="T7" fmla="*/ 3 h 32"/>
                <a:gd name="T8" fmla="*/ 12 w 24"/>
                <a:gd name="T9" fmla="*/ 3 h 32"/>
                <a:gd name="T10" fmla="*/ 12 w 24"/>
                <a:gd name="T11" fmla="*/ 3 h 32"/>
                <a:gd name="T12" fmla="*/ 9 w 24"/>
                <a:gd name="T13" fmla="*/ 0 h 32"/>
                <a:gd name="T14" fmla="*/ 7 w 24"/>
                <a:gd name="T15" fmla="*/ 0 h 32"/>
                <a:gd name="T16" fmla="*/ 7 w 24"/>
                <a:gd name="T17" fmla="*/ 3 h 32"/>
                <a:gd name="T18" fmla="*/ 4 w 24"/>
                <a:gd name="T19" fmla="*/ 3 h 32"/>
                <a:gd name="T20" fmla="*/ 2 w 24"/>
                <a:gd name="T21" fmla="*/ 3 h 32"/>
                <a:gd name="T22" fmla="*/ 2 w 24"/>
                <a:gd name="T23" fmla="*/ 3 h 32"/>
                <a:gd name="T24" fmla="*/ 0 w 24"/>
                <a:gd name="T25" fmla="*/ 5 h 32"/>
                <a:gd name="T26" fmla="*/ 0 w 24"/>
                <a:gd name="T27" fmla="*/ 8 h 32"/>
                <a:gd name="T28" fmla="*/ 0 w 24"/>
                <a:gd name="T29" fmla="*/ 8 h 32"/>
                <a:gd name="T30" fmla="*/ 0 w 24"/>
                <a:gd name="T31" fmla="*/ 10 h 32"/>
                <a:gd name="T32" fmla="*/ 0 w 24"/>
                <a:gd name="T33" fmla="*/ 13 h 32"/>
                <a:gd name="T34" fmla="*/ 0 w 24"/>
                <a:gd name="T35" fmla="*/ 13 h 32"/>
                <a:gd name="T36" fmla="*/ 7 w 24"/>
                <a:gd name="T37" fmla="*/ 27 h 32"/>
                <a:gd name="T38" fmla="*/ 9 w 24"/>
                <a:gd name="T39" fmla="*/ 30 h 32"/>
                <a:gd name="T40" fmla="*/ 9 w 24"/>
                <a:gd name="T41" fmla="*/ 30 h 32"/>
                <a:gd name="T42" fmla="*/ 12 w 24"/>
                <a:gd name="T43" fmla="*/ 30 h 32"/>
                <a:gd name="T44" fmla="*/ 14 w 24"/>
                <a:gd name="T45" fmla="*/ 32 h 32"/>
                <a:gd name="T46" fmla="*/ 14 w 24"/>
                <a:gd name="T47" fmla="*/ 32 h 32"/>
                <a:gd name="T48" fmla="*/ 17 w 24"/>
                <a:gd name="T49" fmla="*/ 32 h 32"/>
                <a:gd name="T50" fmla="*/ 19 w 24"/>
                <a:gd name="T51" fmla="*/ 30 h 32"/>
                <a:gd name="T52" fmla="*/ 19 w 24"/>
                <a:gd name="T53" fmla="*/ 30 h 32"/>
                <a:gd name="T54" fmla="*/ 22 w 24"/>
                <a:gd name="T55" fmla="*/ 30 h 32"/>
                <a:gd name="T56" fmla="*/ 22 w 24"/>
                <a:gd name="T57" fmla="*/ 27 h 32"/>
                <a:gd name="T58" fmla="*/ 24 w 24"/>
                <a:gd name="T59" fmla="*/ 27 h 32"/>
                <a:gd name="T60" fmla="*/ 24 w 24"/>
                <a:gd name="T61" fmla="*/ 25 h 32"/>
                <a:gd name="T62" fmla="*/ 24 w 24"/>
                <a:gd name="T63" fmla="*/ 25 h 32"/>
                <a:gd name="T64" fmla="*/ 24 w 24"/>
                <a:gd name="T6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32">
                  <a:moveTo>
                    <a:pt x="24" y="20"/>
                  </a:moveTo>
                  <a:lnTo>
                    <a:pt x="24" y="20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17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1">
              <a:extLst>
                <a:ext uri="{FF2B5EF4-FFF2-40B4-BE49-F238E27FC236}">
                  <a16:creationId xmlns:a16="http://schemas.microsoft.com/office/drawing/2014/main" id="{042510D4-0789-4D8B-A809-05D48E5C7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1" y="2212"/>
              <a:ext cx="18" cy="17"/>
            </a:xfrm>
            <a:custGeom>
              <a:avLst/>
              <a:gdLst>
                <a:gd name="T0" fmla="*/ 0 w 18"/>
                <a:gd name="T1" fmla="*/ 12 h 17"/>
                <a:gd name="T2" fmla="*/ 0 w 18"/>
                <a:gd name="T3" fmla="*/ 12 h 17"/>
                <a:gd name="T4" fmla="*/ 0 w 18"/>
                <a:gd name="T5" fmla="*/ 15 h 17"/>
                <a:gd name="T6" fmla="*/ 3 w 18"/>
                <a:gd name="T7" fmla="*/ 15 h 17"/>
                <a:gd name="T8" fmla="*/ 3 w 18"/>
                <a:gd name="T9" fmla="*/ 17 h 17"/>
                <a:gd name="T10" fmla="*/ 5 w 18"/>
                <a:gd name="T11" fmla="*/ 17 h 17"/>
                <a:gd name="T12" fmla="*/ 8 w 18"/>
                <a:gd name="T13" fmla="*/ 17 h 17"/>
                <a:gd name="T14" fmla="*/ 10 w 18"/>
                <a:gd name="T15" fmla="*/ 17 h 17"/>
                <a:gd name="T16" fmla="*/ 10 w 18"/>
                <a:gd name="T17" fmla="*/ 17 h 17"/>
                <a:gd name="T18" fmla="*/ 13 w 18"/>
                <a:gd name="T19" fmla="*/ 17 h 17"/>
                <a:gd name="T20" fmla="*/ 13 w 18"/>
                <a:gd name="T21" fmla="*/ 15 h 17"/>
                <a:gd name="T22" fmla="*/ 15 w 18"/>
                <a:gd name="T23" fmla="*/ 15 h 17"/>
                <a:gd name="T24" fmla="*/ 15 w 18"/>
                <a:gd name="T25" fmla="*/ 12 h 17"/>
                <a:gd name="T26" fmla="*/ 18 w 18"/>
                <a:gd name="T27" fmla="*/ 12 h 17"/>
                <a:gd name="T28" fmla="*/ 18 w 18"/>
                <a:gd name="T29" fmla="*/ 10 h 17"/>
                <a:gd name="T30" fmla="*/ 18 w 18"/>
                <a:gd name="T31" fmla="*/ 8 h 17"/>
                <a:gd name="T32" fmla="*/ 18 w 18"/>
                <a:gd name="T33" fmla="*/ 5 h 17"/>
                <a:gd name="T34" fmla="*/ 15 w 18"/>
                <a:gd name="T35" fmla="*/ 5 h 17"/>
                <a:gd name="T36" fmla="*/ 15 w 18"/>
                <a:gd name="T37" fmla="*/ 3 h 17"/>
                <a:gd name="T38" fmla="*/ 13 w 18"/>
                <a:gd name="T39" fmla="*/ 3 h 17"/>
                <a:gd name="T40" fmla="*/ 13 w 18"/>
                <a:gd name="T41" fmla="*/ 0 h 17"/>
                <a:gd name="T42" fmla="*/ 10 w 18"/>
                <a:gd name="T43" fmla="*/ 0 h 17"/>
                <a:gd name="T44" fmla="*/ 10 w 18"/>
                <a:gd name="T45" fmla="*/ 0 h 17"/>
                <a:gd name="T46" fmla="*/ 8 w 18"/>
                <a:gd name="T47" fmla="*/ 0 h 17"/>
                <a:gd name="T48" fmla="*/ 5 w 18"/>
                <a:gd name="T49" fmla="*/ 0 h 17"/>
                <a:gd name="T50" fmla="*/ 3 w 18"/>
                <a:gd name="T51" fmla="*/ 0 h 17"/>
                <a:gd name="T52" fmla="*/ 3 w 18"/>
                <a:gd name="T53" fmla="*/ 3 h 17"/>
                <a:gd name="T54" fmla="*/ 0 w 18"/>
                <a:gd name="T55" fmla="*/ 3 h 17"/>
                <a:gd name="T56" fmla="*/ 0 w 18"/>
                <a:gd name="T57" fmla="*/ 5 h 17"/>
                <a:gd name="T58" fmla="*/ 0 w 18"/>
                <a:gd name="T59" fmla="*/ 5 h 17"/>
                <a:gd name="T60" fmla="*/ 0 w 18"/>
                <a:gd name="T61" fmla="*/ 8 h 17"/>
                <a:gd name="T62" fmla="*/ 0 w 18"/>
                <a:gd name="T63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7">
                  <a:moveTo>
                    <a:pt x="0" y="1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4" name="Group 134">
            <a:extLst>
              <a:ext uri="{FF2B5EF4-FFF2-40B4-BE49-F238E27FC236}">
                <a16:creationId xmlns:a16="http://schemas.microsoft.com/office/drawing/2014/main" id="{57D93924-A0C5-406B-B826-96858E19C0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735" y="2798963"/>
            <a:ext cx="841375" cy="841375"/>
            <a:chOff x="1785" y="1869"/>
            <a:chExt cx="530" cy="530"/>
          </a:xfrm>
        </p:grpSpPr>
        <p:sp>
          <p:nvSpPr>
            <p:cNvPr id="155" name="AutoShape 133">
              <a:extLst>
                <a:ext uri="{FF2B5EF4-FFF2-40B4-BE49-F238E27FC236}">
                  <a16:creationId xmlns:a16="http://schemas.microsoft.com/office/drawing/2014/main" id="{26A7628C-F7D8-4A13-AEB4-60A3F185AD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85" y="186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Oval 135">
              <a:extLst>
                <a:ext uri="{FF2B5EF4-FFF2-40B4-BE49-F238E27FC236}">
                  <a16:creationId xmlns:a16="http://schemas.microsoft.com/office/drawing/2014/main" id="{6537FC99-82C3-410B-8B02-B4225A9B7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5" y="186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6">
              <a:extLst>
                <a:ext uri="{FF2B5EF4-FFF2-40B4-BE49-F238E27FC236}">
                  <a16:creationId xmlns:a16="http://schemas.microsoft.com/office/drawing/2014/main" id="{3B2444F5-BF35-40C3-8AA4-68A033AE6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3" y="188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7">
              <a:extLst>
                <a:ext uri="{FF2B5EF4-FFF2-40B4-BE49-F238E27FC236}">
                  <a16:creationId xmlns:a16="http://schemas.microsoft.com/office/drawing/2014/main" id="{406E97BB-C610-4016-8AC9-99A0C3FAF4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2161"/>
              <a:ext cx="164" cy="115"/>
            </a:xfrm>
            <a:custGeom>
              <a:avLst/>
              <a:gdLst>
                <a:gd name="T0" fmla="*/ 161 w 164"/>
                <a:gd name="T1" fmla="*/ 112 h 115"/>
                <a:gd name="T2" fmla="*/ 164 w 164"/>
                <a:gd name="T3" fmla="*/ 110 h 115"/>
                <a:gd name="T4" fmla="*/ 164 w 164"/>
                <a:gd name="T5" fmla="*/ 87 h 115"/>
                <a:gd name="T6" fmla="*/ 159 w 164"/>
                <a:gd name="T7" fmla="*/ 82 h 115"/>
                <a:gd name="T8" fmla="*/ 154 w 164"/>
                <a:gd name="T9" fmla="*/ 77 h 115"/>
                <a:gd name="T10" fmla="*/ 143 w 164"/>
                <a:gd name="T11" fmla="*/ 69 h 115"/>
                <a:gd name="T12" fmla="*/ 125 w 164"/>
                <a:gd name="T13" fmla="*/ 61 h 115"/>
                <a:gd name="T14" fmla="*/ 102 w 164"/>
                <a:gd name="T15" fmla="*/ 56 h 115"/>
                <a:gd name="T16" fmla="*/ 72 w 164"/>
                <a:gd name="T17" fmla="*/ 51 h 115"/>
                <a:gd name="T18" fmla="*/ 64 w 164"/>
                <a:gd name="T19" fmla="*/ 51 h 115"/>
                <a:gd name="T20" fmla="*/ 49 w 164"/>
                <a:gd name="T21" fmla="*/ 54 h 115"/>
                <a:gd name="T22" fmla="*/ 49 w 164"/>
                <a:gd name="T23" fmla="*/ 5 h 115"/>
                <a:gd name="T24" fmla="*/ 46 w 164"/>
                <a:gd name="T25" fmla="*/ 2 h 115"/>
                <a:gd name="T26" fmla="*/ 44 w 164"/>
                <a:gd name="T27" fmla="*/ 0 h 115"/>
                <a:gd name="T28" fmla="*/ 38 w 164"/>
                <a:gd name="T29" fmla="*/ 2 h 115"/>
                <a:gd name="T30" fmla="*/ 36 w 164"/>
                <a:gd name="T31" fmla="*/ 7 h 115"/>
                <a:gd name="T32" fmla="*/ 36 w 164"/>
                <a:gd name="T33" fmla="*/ 54 h 115"/>
                <a:gd name="T34" fmla="*/ 23 w 164"/>
                <a:gd name="T35" fmla="*/ 59 h 115"/>
                <a:gd name="T36" fmla="*/ 10 w 164"/>
                <a:gd name="T37" fmla="*/ 66 h 115"/>
                <a:gd name="T38" fmla="*/ 5 w 164"/>
                <a:gd name="T39" fmla="*/ 74 h 115"/>
                <a:gd name="T40" fmla="*/ 0 w 164"/>
                <a:gd name="T41" fmla="*/ 82 h 115"/>
                <a:gd name="T42" fmla="*/ 0 w 164"/>
                <a:gd name="T43" fmla="*/ 89 h 115"/>
                <a:gd name="T44" fmla="*/ 0 w 164"/>
                <a:gd name="T45" fmla="*/ 112 h 115"/>
                <a:gd name="T46" fmla="*/ 5 w 164"/>
                <a:gd name="T47" fmla="*/ 115 h 115"/>
                <a:gd name="T48" fmla="*/ 5 w 164"/>
                <a:gd name="T49" fmla="*/ 115 h 115"/>
                <a:gd name="T50" fmla="*/ 161 w 164"/>
                <a:gd name="T51" fmla="*/ 115 h 115"/>
                <a:gd name="T52" fmla="*/ 161 w 164"/>
                <a:gd name="T53" fmla="*/ 112 h 115"/>
                <a:gd name="T54" fmla="*/ 13 w 164"/>
                <a:gd name="T55" fmla="*/ 102 h 115"/>
                <a:gd name="T56" fmla="*/ 13 w 164"/>
                <a:gd name="T57" fmla="*/ 87 h 115"/>
                <a:gd name="T58" fmla="*/ 15 w 164"/>
                <a:gd name="T59" fmla="*/ 79 h 115"/>
                <a:gd name="T60" fmla="*/ 21 w 164"/>
                <a:gd name="T61" fmla="*/ 74 h 115"/>
                <a:gd name="T62" fmla="*/ 28 w 164"/>
                <a:gd name="T63" fmla="*/ 71 h 115"/>
                <a:gd name="T64" fmla="*/ 36 w 164"/>
                <a:gd name="T65" fmla="*/ 69 h 115"/>
                <a:gd name="T66" fmla="*/ 44 w 164"/>
                <a:gd name="T67" fmla="*/ 66 h 115"/>
                <a:gd name="T68" fmla="*/ 59 w 164"/>
                <a:gd name="T69" fmla="*/ 64 h 115"/>
                <a:gd name="T70" fmla="*/ 67 w 164"/>
                <a:gd name="T71" fmla="*/ 64 h 115"/>
                <a:gd name="T72" fmla="*/ 90 w 164"/>
                <a:gd name="T73" fmla="*/ 66 h 115"/>
                <a:gd name="T74" fmla="*/ 105 w 164"/>
                <a:gd name="T75" fmla="*/ 69 h 115"/>
                <a:gd name="T76" fmla="*/ 128 w 164"/>
                <a:gd name="T77" fmla="*/ 74 h 115"/>
                <a:gd name="T78" fmla="*/ 146 w 164"/>
                <a:gd name="T79" fmla="*/ 84 h 115"/>
                <a:gd name="T80" fmla="*/ 149 w 164"/>
                <a:gd name="T81" fmla="*/ 87 h 115"/>
                <a:gd name="T82" fmla="*/ 151 w 164"/>
                <a:gd name="T83" fmla="*/ 89 h 115"/>
                <a:gd name="T84" fmla="*/ 151 w 164"/>
                <a:gd name="T85" fmla="*/ 92 h 115"/>
                <a:gd name="T86" fmla="*/ 151 w 164"/>
                <a:gd name="T87" fmla="*/ 102 h 115"/>
                <a:gd name="T88" fmla="*/ 13 w 164"/>
                <a:gd name="T89" fmla="*/ 10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4" h="115">
                  <a:moveTo>
                    <a:pt x="161" y="112"/>
                  </a:moveTo>
                  <a:lnTo>
                    <a:pt x="164" y="110"/>
                  </a:lnTo>
                  <a:lnTo>
                    <a:pt x="164" y="87"/>
                  </a:lnTo>
                  <a:lnTo>
                    <a:pt x="159" y="82"/>
                  </a:lnTo>
                  <a:lnTo>
                    <a:pt x="154" y="77"/>
                  </a:lnTo>
                  <a:lnTo>
                    <a:pt x="143" y="69"/>
                  </a:lnTo>
                  <a:lnTo>
                    <a:pt x="125" y="61"/>
                  </a:lnTo>
                  <a:lnTo>
                    <a:pt x="102" y="56"/>
                  </a:lnTo>
                  <a:lnTo>
                    <a:pt x="72" y="51"/>
                  </a:lnTo>
                  <a:lnTo>
                    <a:pt x="64" y="51"/>
                  </a:lnTo>
                  <a:lnTo>
                    <a:pt x="49" y="54"/>
                  </a:lnTo>
                  <a:lnTo>
                    <a:pt x="49" y="5"/>
                  </a:lnTo>
                  <a:lnTo>
                    <a:pt x="46" y="2"/>
                  </a:lnTo>
                  <a:lnTo>
                    <a:pt x="44" y="0"/>
                  </a:lnTo>
                  <a:lnTo>
                    <a:pt x="38" y="2"/>
                  </a:lnTo>
                  <a:lnTo>
                    <a:pt x="36" y="7"/>
                  </a:lnTo>
                  <a:lnTo>
                    <a:pt x="36" y="54"/>
                  </a:lnTo>
                  <a:lnTo>
                    <a:pt x="23" y="59"/>
                  </a:lnTo>
                  <a:lnTo>
                    <a:pt x="10" y="66"/>
                  </a:lnTo>
                  <a:lnTo>
                    <a:pt x="5" y="74"/>
                  </a:lnTo>
                  <a:lnTo>
                    <a:pt x="0" y="82"/>
                  </a:lnTo>
                  <a:lnTo>
                    <a:pt x="0" y="89"/>
                  </a:lnTo>
                  <a:lnTo>
                    <a:pt x="0" y="112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161" y="115"/>
                  </a:lnTo>
                  <a:lnTo>
                    <a:pt x="161" y="112"/>
                  </a:lnTo>
                  <a:close/>
                  <a:moveTo>
                    <a:pt x="13" y="102"/>
                  </a:moveTo>
                  <a:lnTo>
                    <a:pt x="13" y="87"/>
                  </a:lnTo>
                  <a:lnTo>
                    <a:pt x="15" y="79"/>
                  </a:lnTo>
                  <a:lnTo>
                    <a:pt x="21" y="74"/>
                  </a:lnTo>
                  <a:lnTo>
                    <a:pt x="28" y="71"/>
                  </a:lnTo>
                  <a:lnTo>
                    <a:pt x="36" y="69"/>
                  </a:lnTo>
                  <a:lnTo>
                    <a:pt x="44" y="66"/>
                  </a:lnTo>
                  <a:lnTo>
                    <a:pt x="59" y="64"/>
                  </a:lnTo>
                  <a:lnTo>
                    <a:pt x="67" y="64"/>
                  </a:lnTo>
                  <a:lnTo>
                    <a:pt x="90" y="66"/>
                  </a:lnTo>
                  <a:lnTo>
                    <a:pt x="105" y="69"/>
                  </a:lnTo>
                  <a:lnTo>
                    <a:pt x="128" y="74"/>
                  </a:lnTo>
                  <a:lnTo>
                    <a:pt x="146" y="84"/>
                  </a:lnTo>
                  <a:lnTo>
                    <a:pt x="149" y="87"/>
                  </a:lnTo>
                  <a:lnTo>
                    <a:pt x="151" y="89"/>
                  </a:lnTo>
                  <a:lnTo>
                    <a:pt x="151" y="92"/>
                  </a:lnTo>
                  <a:lnTo>
                    <a:pt x="151" y="102"/>
                  </a:lnTo>
                  <a:lnTo>
                    <a:pt x="13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8">
              <a:extLst>
                <a:ext uri="{FF2B5EF4-FFF2-40B4-BE49-F238E27FC236}">
                  <a16:creationId xmlns:a16="http://schemas.microsoft.com/office/drawing/2014/main" id="{0D591A61-AC4C-459B-8287-0884D057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" y="2063"/>
              <a:ext cx="20" cy="21"/>
            </a:xfrm>
            <a:custGeom>
              <a:avLst/>
              <a:gdLst>
                <a:gd name="T0" fmla="*/ 2 w 20"/>
                <a:gd name="T1" fmla="*/ 13 h 21"/>
                <a:gd name="T2" fmla="*/ 2 w 20"/>
                <a:gd name="T3" fmla="*/ 16 h 21"/>
                <a:gd name="T4" fmla="*/ 2 w 20"/>
                <a:gd name="T5" fmla="*/ 18 h 21"/>
                <a:gd name="T6" fmla="*/ 5 w 20"/>
                <a:gd name="T7" fmla="*/ 18 h 21"/>
                <a:gd name="T8" fmla="*/ 7 w 20"/>
                <a:gd name="T9" fmla="*/ 18 h 21"/>
                <a:gd name="T10" fmla="*/ 7 w 20"/>
                <a:gd name="T11" fmla="*/ 21 h 21"/>
                <a:gd name="T12" fmla="*/ 10 w 20"/>
                <a:gd name="T13" fmla="*/ 21 h 21"/>
                <a:gd name="T14" fmla="*/ 12 w 20"/>
                <a:gd name="T15" fmla="*/ 21 h 21"/>
                <a:gd name="T16" fmla="*/ 12 w 20"/>
                <a:gd name="T17" fmla="*/ 18 h 21"/>
                <a:gd name="T18" fmla="*/ 15 w 20"/>
                <a:gd name="T19" fmla="*/ 18 h 21"/>
                <a:gd name="T20" fmla="*/ 18 w 20"/>
                <a:gd name="T21" fmla="*/ 18 h 21"/>
                <a:gd name="T22" fmla="*/ 18 w 20"/>
                <a:gd name="T23" fmla="*/ 16 h 21"/>
                <a:gd name="T24" fmla="*/ 18 w 20"/>
                <a:gd name="T25" fmla="*/ 13 h 21"/>
                <a:gd name="T26" fmla="*/ 20 w 20"/>
                <a:gd name="T27" fmla="*/ 13 h 21"/>
                <a:gd name="T28" fmla="*/ 20 w 20"/>
                <a:gd name="T29" fmla="*/ 11 h 21"/>
                <a:gd name="T30" fmla="*/ 20 w 20"/>
                <a:gd name="T31" fmla="*/ 8 h 21"/>
                <a:gd name="T32" fmla="*/ 18 w 20"/>
                <a:gd name="T33" fmla="*/ 8 h 21"/>
                <a:gd name="T34" fmla="*/ 18 w 20"/>
                <a:gd name="T35" fmla="*/ 6 h 21"/>
                <a:gd name="T36" fmla="*/ 18 w 20"/>
                <a:gd name="T37" fmla="*/ 6 h 21"/>
                <a:gd name="T38" fmla="*/ 15 w 20"/>
                <a:gd name="T39" fmla="*/ 3 h 21"/>
                <a:gd name="T40" fmla="*/ 12 w 20"/>
                <a:gd name="T41" fmla="*/ 3 h 21"/>
                <a:gd name="T42" fmla="*/ 12 w 20"/>
                <a:gd name="T43" fmla="*/ 3 h 21"/>
                <a:gd name="T44" fmla="*/ 10 w 20"/>
                <a:gd name="T45" fmla="*/ 0 h 21"/>
                <a:gd name="T46" fmla="*/ 7 w 20"/>
                <a:gd name="T47" fmla="*/ 3 h 21"/>
                <a:gd name="T48" fmla="*/ 7 w 20"/>
                <a:gd name="T49" fmla="*/ 3 h 21"/>
                <a:gd name="T50" fmla="*/ 5 w 20"/>
                <a:gd name="T51" fmla="*/ 3 h 21"/>
                <a:gd name="T52" fmla="*/ 2 w 20"/>
                <a:gd name="T53" fmla="*/ 6 h 21"/>
                <a:gd name="T54" fmla="*/ 2 w 20"/>
                <a:gd name="T55" fmla="*/ 6 h 21"/>
                <a:gd name="T56" fmla="*/ 2 w 20"/>
                <a:gd name="T57" fmla="*/ 8 h 21"/>
                <a:gd name="T58" fmla="*/ 0 w 20"/>
                <a:gd name="T59" fmla="*/ 8 h 21"/>
                <a:gd name="T60" fmla="*/ 0 w 20"/>
                <a:gd name="T61" fmla="*/ 11 h 21"/>
                <a:gd name="T62" fmla="*/ 0 w 20"/>
                <a:gd name="T6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21">
                  <a:moveTo>
                    <a:pt x="2" y="13"/>
                  </a:moveTo>
                  <a:lnTo>
                    <a:pt x="2" y="13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9">
              <a:extLst>
                <a:ext uri="{FF2B5EF4-FFF2-40B4-BE49-F238E27FC236}">
                  <a16:creationId xmlns:a16="http://schemas.microsoft.com/office/drawing/2014/main" id="{152997F3-8EAE-42F3-80DB-225BB6838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2087"/>
              <a:ext cx="20" cy="20"/>
            </a:xfrm>
            <a:custGeom>
              <a:avLst/>
              <a:gdLst>
                <a:gd name="T0" fmla="*/ 3 w 20"/>
                <a:gd name="T1" fmla="*/ 12 h 20"/>
                <a:gd name="T2" fmla="*/ 3 w 20"/>
                <a:gd name="T3" fmla="*/ 15 h 20"/>
                <a:gd name="T4" fmla="*/ 3 w 20"/>
                <a:gd name="T5" fmla="*/ 15 h 20"/>
                <a:gd name="T6" fmla="*/ 5 w 20"/>
                <a:gd name="T7" fmla="*/ 17 h 20"/>
                <a:gd name="T8" fmla="*/ 5 w 20"/>
                <a:gd name="T9" fmla="*/ 17 h 20"/>
                <a:gd name="T10" fmla="*/ 8 w 20"/>
                <a:gd name="T11" fmla="*/ 17 h 20"/>
                <a:gd name="T12" fmla="*/ 10 w 20"/>
                <a:gd name="T13" fmla="*/ 17 h 20"/>
                <a:gd name="T14" fmla="*/ 10 w 20"/>
                <a:gd name="T15" fmla="*/ 17 h 20"/>
                <a:gd name="T16" fmla="*/ 13 w 20"/>
                <a:gd name="T17" fmla="*/ 17 h 20"/>
                <a:gd name="T18" fmla="*/ 15 w 20"/>
                <a:gd name="T19" fmla="*/ 17 h 20"/>
                <a:gd name="T20" fmla="*/ 15 w 20"/>
                <a:gd name="T21" fmla="*/ 17 h 20"/>
                <a:gd name="T22" fmla="*/ 18 w 20"/>
                <a:gd name="T23" fmla="*/ 15 h 20"/>
                <a:gd name="T24" fmla="*/ 18 w 20"/>
                <a:gd name="T25" fmla="*/ 15 h 20"/>
                <a:gd name="T26" fmla="*/ 18 w 20"/>
                <a:gd name="T27" fmla="*/ 12 h 20"/>
                <a:gd name="T28" fmla="*/ 20 w 20"/>
                <a:gd name="T29" fmla="*/ 10 h 20"/>
                <a:gd name="T30" fmla="*/ 20 w 20"/>
                <a:gd name="T31" fmla="*/ 10 h 20"/>
                <a:gd name="T32" fmla="*/ 18 w 20"/>
                <a:gd name="T33" fmla="*/ 7 h 20"/>
                <a:gd name="T34" fmla="*/ 18 w 20"/>
                <a:gd name="T35" fmla="*/ 5 h 20"/>
                <a:gd name="T36" fmla="*/ 18 w 20"/>
                <a:gd name="T37" fmla="*/ 5 h 20"/>
                <a:gd name="T38" fmla="*/ 15 w 20"/>
                <a:gd name="T39" fmla="*/ 2 h 20"/>
                <a:gd name="T40" fmla="*/ 15 w 20"/>
                <a:gd name="T41" fmla="*/ 2 h 20"/>
                <a:gd name="T42" fmla="*/ 13 w 20"/>
                <a:gd name="T43" fmla="*/ 2 h 20"/>
                <a:gd name="T44" fmla="*/ 10 w 20"/>
                <a:gd name="T45" fmla="*/ 0 h 20"/>
                <a:gd name="T46" fmla="*/ 10 w 20"/>
                <a:gd name="T47" fmla="*/ 0 h 20"/>
                <a:gd name="T48" fmla="*/ 8 w 20"/>
                <a:gd name="T49" fmla="*/ 2 h 20"/>
                <a:gd name="T50" fmla="*/ 5 w 20"/>
                <a:gd name="T51" fmla="*/ 2 h 20"/>
                <a:gd name="T52" fmla="*/ 5 w 20"/>
                <a:gd name="T53" fmla="*/ 2 h 20"/>
                <a:gd name="T54" fmla="*/ 3 w 20"/>
                <a:gd name="T55" fmla="*/ 5 h 20"/>
                <a:gd name="T56" fmla="*/ 3 w 20"/>
                <a:gd name="T57" fmla="*/ 5 h 20"/>
                <a:gd name="T58" fmla="*/ 3 w 20"/>
                <a:gd name="T59" fmla="*/ 7 h 20"/>
                <a:gd name="T60" fmla="*/ 0 w 20"/>
                <a:gd name="T61" fmla="*/ 10 h 20"/>
                <a:gd name="T62" fmla="*/ 0 w 20"/>
                <a:gd name="T6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20">
                  <a:moveTo>
                    <a:pt x="0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20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40">
              <a:extLst>
                <a:ext uri="{FF2B5EF4-FFF2-40B4-BE49-F238E27FC236}">
                  <a16:creationId xmlns:a16="http://schemas.microsoft.com/office/drawing/2014/main" id="{6D2A604D-D742-434D-9730-0DD585B65C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9" y="1994"/>
              <a:ext cx="174" cy="149"/>
            </a:xfrm>
            <a:custGeom>
              <a:avLst/>
              <a:gdLst>
                <a:gd name="T0" fmla="*/ 174 w 174"/>
                <a:gd name="T1" fmla="*/ 39 h 149"/>
                <a:gd name="T2" fmla="*/ 166 w 174"/>
                <a:gd name="T3" fmla="*/ 29 h 149"/>
                <a:gd name="T4" fmla="*/ 156 w 174"/>
                <a:gd name="T5" fmla="*/ 23 h 149"/>
                <a:gd name="T6" fmla="*/ 151 w 174"/>
                <a:gd name="T7" fmla="*/ 23 h 149"/>
                <a:gd name="T8" fmla="*/ 33 w 174"/>
                <a:gd name="T9" fmla="*/ 0 h 149"/>
                <a:gd name="T10" fmla="*/ 31 w 174"/>
                <a:gd name="T11" fmla="*/ 0 h 149"/>
                <a:gd name="T12" fmla="*/ 20 w 174"/>
                <a:gd name="T13" fmla="*/ 3 h 149"/>
                <a:gd name="T14" fmla="*/ 5 w 174"/>
                <a:gd name="T15" fmla="*/ 21 h 149"/>
                <a:gd name="T16" fmla="*/ 0 w 174"/>
                <a:gd name="T17" fmla="*/ 36 h 149"/>
                <a:gd name="T18" fmla="*/ 10 w 174"/>
                <a:gd name="T19" fmla="*/ 54 h 149"/>
                <a:gd name="T20" fmla="*/ 49 w 174"/>
                <a:gd name="T21" fmla="*/ 77 h 149"/>
                <a:gd name="T22" fmla="*/ 95 w 174"/>
                <a:gd name="T23" fmla="*/ 146 h 149"/>
                <a:gd name="T24" fmla="*/ 102 w 174"/>
                <a:gd name="T25" fmla="*/ 149 h 149"/>
                <a:gd name="T26" fmla="*/ 123 w 174"/>
                <a:gd name="T27" fmla="*/ 144 h 149"/>
                <a:gd name="T28" fmla="*/ 146 w 174"/>
                <a:gd name="T29" fmla="*/ 123 h 149"/>
                <a:gd name="T30" fmla="*/ 169 w 174"/>
                <a:gd name="T31" fmla="*/ 82 h 149"/>
                <a:gd name="T32" fmla="*/ 174 w 174"/>
                <a:gd name="T33" fmla="*/ 52 h 149"/>
                <a:gd name="T34" fmla="*/ 46 w 174"/>
                <a:gd name="T35" fmla="*/ 62 h 149"/>
                <a:gd name="T36" fmla="*/ 13 w 174"/>
                <a:gd name="T37" fmla="*/ 36 h 149"/>
                <a:gd name="T38" fmla="*/ 15 w 174"/>
                <a:gd name="T39" fmla="*/ 29 h 149"/>
                <a:gd name="T40" fmla="*/ 20 w 174"/>
                <a:gd name="T41" fmla="*/ 18 h 149"/>
                <a:gd name="T42" fmla="*/ 33 w 174"/>
                <a:gd name="T43" fmla="*/ 13 h 149"/>
                <a:gd name="T44" fmla="*/ 64 w 174"/>
                <a:gd name="T45" fmla="*/ 29 h 149"/>
                <a:gd name="T46" fmla="*/ 49 w 174"/>
                <a:gd name="T47" fmla="*/ 49 h 149"/>
                <a:gd name="T48" fmla="*/ 82 w 174"/>
                <a:gd name="T49" fmla="*/ 110 h 149"/>
                <a:gd name="T50" fmla="*/ 59 w 174"/>
                <a:gd name="T51" fmla="*/ 64 h 149"/>
                <a:gd name="T52" fmla="*/ 61 w 174"/>
                <a:gd name="T53" fmla="*/ 52 h 149"/>
                <a:gd name="T54" fmla="*/ 74 w 174"/>
                <a:gd name="T55" fmla="*/ 36 h 149"/>
                <a:gd name="T56" fmla="*/ 79 w 174"/>
                <a:gd name="T57" fmla="*/ 36 h 149"/>
                <a:gd name="T58" fmla="*/ 113 w 174"/>
                <a:gd name="T59" fmla="*/ 52 h 149"/>
                <a:gd name="T60" fmla="*/ 97 w 174"/>
                <a:gd name="T61" fmla="*/ 69 h 149"/>
                <a:gd name="T62" fmla="*/ 87 w 174"/>
                <a:gd name="T63" fmla="*/ 95 h 149"/>
                <a:gd name="T64" fmla="*/ 131 w 174"/>
                <a:gd name="T65" fmla="*/ 72 h 149"/>
                <a:gd name="T66" fmla="*/ 128 w 174"/>
                <a:gd name="T67" fmla="*/ 80 h 149"/>
                <a:gd name="T68" fmla="*/ 125 w 174"/>
                <a:gd name="T69" fmla="*/ 90 h 149"/>
                <a:gd name="T70" fmla="*/ 113 w 174"/>
                <a:gd name="T71" fmla="*/ 98 h 149"/>
                <a:gd name="T72" fmla="*/ 100 w 174"/>
                <a:gd name="T73" fmla="*/ 95 h 149"/>
                <a:gd name="T74" fmla="*/ 113 w 174"/>
                <a:gd name="T75" fmla="*/ 67 h 149"/>
                <a:gd name="T76" fmla="*/ 128 w 174"/>
                <a:gd name="T77" fmla="*/ 67 h 149"/>
                <a:gd name="T78" fmla="*/ 159 w 174"/>
                <a:gd name="T79" fmla="*/ 75 h 149"/>
                <a:gd name="T80" fmla="*/ 138 w 174"/>
                <a:gd name="T81" fmla="*/ 113 h 149"/>
                <a:gd name="T82" fmla="*/ 110 w 174"/>
                <a:gd name="T83" fmla="*/ 136 h 149"/>
                <a:gd name="T84" fmla="*/ 100 w 174"/>
                <a:gd name="T85" fmla="*/ 139 h 149"/>
                <a:gd name="T86" fmla="*/ 95 w 174"/>
                <a:gd name="T87" fmla="*/ 133 h 149"/>
                <a:gd name="T88" fmla="*/ 95 w 174"/>
                <a:gd name="T89" fmla="*/ 121 h 149"/>
                <a:gd name="T90" fmla="*/ 97 w 174"/>
                <a:gd name="T91" fmla="*/ 103 h 149"/>
                <a:gd name="T92" fmla="*/ 110 w 174"/>
                <a:gd name="T93" fmla="*/ 105 h 149"/>
                <a:gd name="T94" fmla="*/ 125 w 174"/>
                <a:gd name="T95" fmla="*/ 98 h 149"/>
                <a:gd name="T96" fmla="*/ 138 w 174"/>
                <a:gd name="T97" fmla="*/ 77 h 149"/>
                <a:gd name="T98" fmla="*/ 133 w 174"/>
                <a:gd name="T99" fmla="*/ 59 h 149"/>
                <a:gd name="T100" fmla="*/ 125 w 174"/>
                <a:gd name="T101" fmla="*/ 52 h 149"/>
                <a:gd name="T102" fmla="*/ 149 w 174"/>
                <a:gd name="T103" fmla="*/ 36 h 149"/>
                <a:gd name="T104" fmla="*/ 159 w 174"/>
                <a:gd name="T105" fmla="*/ 36 h 149"/>
                <a:gd name="T106" fmla="*/ 161 w 174"/>
                <a:gd name="T107" fmla="*/ 41 h 149"/>
                <a:gd name="T108" fmla="*/ 161 w 174"/>
                <a:gd name="T109" fmla="*/ 6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4" h="149">
                  <a:moveTo>
                    <a:pt x="174" y="52"/>
                  </a:moveTo>
                  <a:lnTo>
                    <a:pt x="174" y="39"/>
                  </a:lnTo>
                  <a:lnTo>
                    <a:pt x="169" y="34"/>
                  </a:lnTo>
                  <a:lnTo>
                    <a:pt x="166" y="29"/>
                  </a:lnTo>
                  <a:lnTo>
                    <a:pt x="161" y="26"/>
                  </a:lnTo>
                  <a:lnTo>
                    <a:pt x="156" y="23"/>
                  </a:lnTo>
                  <a:lnTo>
                    <a:pt x="154" y="23"/>
                  </a:lnTo>
                  <a:lnTo>
                    <a:pt x="151" y="23"/>
                  </a:lnTo>
                  <a:lnTo>
                    <a:pt x="79" y="2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3" y="11"/>
                  </a:lnTo>
                  <a:lnTo>
                    <a:pt x="5" y="21"/>
                  </a:lnTo>
                  <a:lnTo>
                    <a:pt x="3" y="29"/>
                  </a:lnTo>
                  <a:lnTo>
                    <a:pt x="0" y="36"/>
                  </a:lnTo>
                  <a:lnTo>
                    <a:pt x="3" y="46"/>
                  </a:lnTo>
                  <a:lnTo>
                    <a:pt x="10" y="54"/>
                  </a:lnTo>
                  <a:lnTo>
                    <a:pt x="13" y="57"/>
                  </a:lnTo>
                  <a:lnTo>
                    <a:pt x="49" y="77"/>
                  </a:lnTo>
                  <a:lnTo>
                    <a:pt x="87" y="144"/>
                  </a:lnTo>
                  <a:lnTo>
                    <a:pt x="95" y="146"/>
                  </a:lnTo>
                  <a:lnTo>
                    <a:pt x="100" y="149"/>
                  </a:lnTo>
                  <a:lnTo>
                    <a:pt x="102" y="149"/>
                  </a:lnTo>
                  <a:lnTo>
                    <a:pt x="113" y="149"/>
                  </a:lnTo>
                  <a:lnTo>
                    <a:pt x="123" y="144"/>
                  </a:lnTo>
                  <a:lnTo>
                    <a:pt x="136" y="133"/>
                  </a:lnTo>
                  <a:lnTo>
                    <a:pt x="146" y="123"/>
                  </a:lnTo>
                  <a:lnTo>
                    <a:pt x="156" y="105"/>
                  </a:lnTo>
                  <a:lnTo>
                    <a:pt x="169" y="82"/>
                  </a:lnTo>
                  <a:lnTo>
                    <a:pt x="174" y="67"/>
                  </a:lnTo>
                  <a:lnTo>
                    <a:pt x="174" y="52"/>
                  </a:lnTo>
                  <a:close/>
                  <a:moveTo>
                    <a:pt x="49" y="49"/>
                  </a:moveTo>
                  <a:lnTo>
                    <a:pt x="46" y="62"/>
                  </a:lnTo>
                  <a:lnTo>
                    <a:pt x="15" y="41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5" y="29"/>
                  </a:lnTo>
                  <a:lnTo>
                    <a:pt x="18" y="23"/>
                  </a:lnTo>
                  <a:lnTo>
                    <a:pt x="20" y="18"/>
                  </a:lnTo>
                  <a:lnTo>
                    <a:pt x="28" y="13"/>
                  </a:lnTo>
                  <a:lnTo>
                    <a:pt x="33" y="13"/>
                  </a:lnTo>
                  <a:lnTo>
                    <a:pt x="36" y="13"/>
                  </a:lnTo>
                  <a:lnTo>
                    <a:pt x="64" y="29"/>
                  </a:lnTo>
                  <a:lnTo>
                    <a:pt x="54" y="41"/>
                  </a:lnTo>
                  <a:lnTo>
                    <a:pt x="49" y="49"/>
                  </a:lnTo>
                  <a:close/>
                  <a:moveTo>
                    <a:pt x="87" y="95"/>
                  </a:moveTo>
                  <a:lnTo>
                    <a:pt x="82" y="110"/>
                  </a:lnTo>
                  <a:lnTo>
                    <a:pt x="59" y="69"/>
                  </a:lnTo>
                  <a:lnTo>
                    <a:pt x="59" y="64"/>
                  </a:lnTo>
                  <a:lnTo>
                    <a:pt x="59" y="59"/>
                  </a:lnTo>
                  <a:lnTo>
                    <a:pt x="61" y="52"/>
                  </a:lnTo>
                  <a:lnTo>
                    <a:pt x="69" y="41"/>
                  </a:lnTo>
                  <a:lnTo>
                    <a:pt x="74" y="36"/>
                  </a:lnTo>
                  <a:lnTo>
                    <a:pt x="77" y="36"/>
                  </a:lnTo>
                  <a:lnTo>
                    <a:pt x="79" y="36"/>
                  </a:lnTo>
                  <a:lnTo>
                    <a:pt x="125" y="36"/>
                  </a:lnTo>
                  <a:lnTo>
                    <a:pt x="113" y="52"/>
                  </a:lnTo>
                  <a:lnTo>
                    <a:pt x="105" y="57"/>
                  </a:lnTo>
                  <a:lnTo>
                    <a:pt x="97" y="69"/>
                  </a:lnTo>
                  <a:lnTo>
                    <a:pt x="92" y="82"/>
                  </a:lnTo>
                  <a:lnTo>
                    <a:pt x="87" y="95"/>
                  </a:lnTo>
                  <a:close/>
                  <a:moveTo>
                    <a:pt x="128" y="67"/>
                  </a:moveTo>
                  <a:lnTo>
                    <a:pt x="131" y="72"/>
                  </a:lnTo>
                  <a:lnTo>
                    <a:pt x="131" y="77"/>
                  </a:lnTo>
                  <a:lnTo>
                    <a:pt x="128" y="80"/>
                  </a:lnTo>
                  <a:lnTo>
                    <a:pt x="128" y="85"/>
                  </a:lnTo>
                  <a:lnTo>
                    <a:pt x="125" y="90"/>
                  </a:lnTo>
                  <a:lnTo>
                    <a:pt x="120" y="93"/>
                  </a:lnTo>
                  <a:lnTo>
                    <a:pt x="113" y="98"/>
                  </a:lnTo>
                  <a:lnTo>
                    <a:pt x="108" y="98"/>
                  </a:lnTo>
                  <a:lnTo>
                    <a:pt x="100" y="95"/>
                  </a:lnTo>
                  <a:lnTo>
                    <a:pt x="108" y="80"/>
                  </a:lnTo>
                  <a:lnTo>
                    <a:pt x="113" y="67"/>
                  </a:lnTo>
                  <a:lnTo>
                    <a:pt x="120" y="57"/>
                  </a:lnTo>
                  <a:lnTo>
                    <a:pt x="128" y="67"/>
                  </a:lnTo>
                  <a:close/>
                  <a:moveTo>
                    <a:pt x="161" y="62"/>
                  </a:moveTo>
                  <a:lnTo>
                    <a:pt x="159" y="75"/>
                  </a:lnTo>
                  <a:lnTo>
                    <a:pt x="151" y="90"/>
                  </a:lnTo>
                  <a:lnTo>
                    <a:pt x="138" y="113"/>
                  </a:lnTo>
                  <a:lnTo>
                    <a:pt x="125" y="126"/>
                  </a:lnTo>
                  <a:lnTo>
                    <a:pt x="110" y="136"/>
                  </a:lnTo>
                  <a:lnTo>
                    <a:pt x="102" y="139"/>
                  </a:lnTo>
                  <a:lnTo>
                    <a:pt x="100" y="139"/>
                  </a:lnTo>
                  <a:lnTo>
                    <a:pt x="97" y="136"/>
                  </a:lnTo>
                  <a:lnTo>
                    <a:pt x="95" y="133"/>
                  </a:lnTo>
                  <a:lnTo>
                    <a:pt x="95" y="126"/>
                  </a:lnTo>
                  <a:lnTo>
                    <a:pt x="95" y="121"/>
                  </a:lnTo>
                  <a:lnTo>
                    <a:pt x="95" y="113"/>
                  </a:lnTo>
                  <a:lnTo>
                    <a:pt x="97" y="103"/>
                  </a:lnTo>
                  <a:lnTo>
                    <a:pt x="105" y="105"/>
                  </a:lnTo>
                  <a:lnTo>
                    <a:pt x="110" y="105"/>
                  </a:lnTo>
                  <a:lnTo>
                    <a:pt x="118" y="103"/>
                  </a:lnTo>
                  <a:lnTo>
                    <a:pt x="125" y="98"/>
                  </a:lnTo>
                  <a:lnTo>
                    <a:pt x="136" y="87"/>
                  </a:lnTo>
                  <a:lnTo>
                    <a:pt x="138" y="77"/>
                  </a:lnTo>
                  <a:lnTo>
                    <a:pt x="136" y="69"/>
                  </a:lnTo>
                  <a:lnTo>
                    <a:pt x="133" y="59"/>
                  </a:lnTo>
                  <a:lnTo>
                    <a:pt x="128" y="54"/>
                  </a:lnTo>
                  <a:lnTo>
                    <a:pt x="125" y="52"/>
                  </a:lnTo>
                  <a:lnTo>
                    <a:pt x="138" y="41"/>
                  </a:lnTo>
                  <a:lnTo>
                    <a:pt x="149" y="36"/>
                  </a:lnTo>
                  <a:lnTo>
                    <a:pt x="154" y="36"/>
                  </a:lnTo>
                  <a:lnTo>
                    <a:pt x="159" y="36"/>
                  </a:lnTo>
                  <a:lnTo>
                    <a:pt x="161" y="39"/>
                  </a:lnTo>
                  <a:lnTo>
                    <a:pt x="161" y="41"/>
                  </a:lnTo>
                  <a:lnTo>
                    <a:pt x="164" y="52"/>
                  </a:lnTo>
                  <a:lnTo>
                    <a:pt x="161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1">
              <a:extLst>
                <a:ext uri="{FF2B5EF4-FFF2-40B4-BE49-F238E27FC236}">
                  <a16:creationId xmlns:a16="http://schemas.microsoft.com/office/drawing/2014/main" id="{75F9749F-4F2B-417F-A76D-6E54A3E98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" y="2104"/>
              <a:ext cx="33" cy="29"/>
            </a:xfrm>
            <a:custGeom>
              <a:avLst/>
              <a:gdLst>
                <a:gd name="T0" fmla="*/ 33 w 33"/>
                <a:gd name="T1" fmla="*/ 16 h 29"/>
                <a:gd name="T2" fmla="*/ 33 w 33"/>
                <a:gd name="T3" fmla="*/ 13 h 29"/>
                <a:gd name="T4" fmla="*/ 33 w 33"/>
                <a:gd name="T5" fmla="*/ 13 h 29"/>
                <a:gd name="T6" fmla="*/ 30 w 33"/>
                <a:gd name="T7" fmla="*/ 11 h 29"/>
                <a:gd name="T8" fmla="*/ 12 w 33"/>
                <a:gd name="T9" fmla="*/ 0 h 29"/>
                <a:gd name="T10" fmla="*/ 10 w 33"/>
                <a:gd name="T11" fmla="*/ 0 h 29"/>
                <a:gd name="T12" fmla="*/ 7 w 33"/>
                <a:gd name="T13" fmla="*/ 0 h 29"/>
                <a:gd name="T14" fmla="*/ 7 w 33"/>
                <a:gd name="T15" fmla="*/ 0 h 29"/>
                <a:gd name="T16" fmla="*/ 5 w 33"/>
                <a:gd name="T17" fmla="*/ 0 h 29"/>
                <a:gd name="T18" fmla="*/ 2 w 33"/>
                <a:gd name="T19" fmla="*/ 0 h 29"/>
                <a:gd name="T20" fmla="*/ 2 w 33"/>
                <a:gd name="T21" fmla="*/ 3 h 29"/>
                <a:gd name="T22" fmla="*/ 0 w 33"/>
                <a:gd name="T23" fmla="*/ 3 h 29"/>
                <a:gd name="T24" fmla="*/ 0 w 33"/>
                <a:gd name="T25" fmla="*/ 6 h 29"/>
                <a:gd name="T26" fmla="*/ 0 w 33"/>
                <a:gd name="T27" fmla="*/ 6 h 29"/>
                <a:gd name="T28" fmla="*/ 0 w 33"/>
                <a:gd name="T29" fmla="*/ 8 h 29"/>
                <a:gd name="T30" fmla="*/ 0 w 33"/>
                <a:gd name="T31" fmla="*/ 8 h 29"/>
                <a:gd name="T32" fmla="*/ 0 w 33"/>
                <a:gd name="T33" fmla="*/ 11 h 29"/>
                <a:gd name="T34" fmla="*/ 0 w 33"/>
                <a:gd name="T35" fmla="*/ 13 h 29"/>
                <a:gd name="T36" fmla="*/ 0 w 33"/>
                <a:gd name="T37" fmla="*/ 13 h 29"/>
                <a:gd name="T38" fmla="*/ 2 w 33"/>
                <a:gd name="T39" fmla="*/ 16 h 29"/>
                <a:gd name="T40" fmla="*/ 2 w 33"/>
                <a:gd name="T41" fmla="*/ 16 h 29"/>
                <a:gd name="T42" fmla="*/ 20 w 33"/>
                <a:gd name="T43" fmla="*/ 26 h 29"/>
                <a:gd name="T44" fmla="*/ 23 w 33"/>
                <a:gd name="T45" fmla="*/ 29 h 29"/>
                <a:gd name="T46" fmla="*/ 25 w 33"/>
                <a:gd name="T47" fmla="*/ 29 h 29"/>
                <a:gd name="T48" fmla="*/ 25 w 33"/>
                <a:gd name="T49" fmla="*/ 29 h 29"/>
                <a:gd name="T50" fmla="*/ 28 w 33"/>
                <a:gd name="T51" fmla="*/ 26 h 29"/>
                <a:gd name="T52" fmla="*/ 30 w 33"/>
                <a:gd name="T53" fmla="*/ 26 h 29"/>
                <a:gd name="T54" fmla="*/ 30 w 33"/>
                <a:gd name="T55" fmla="*/ 26 h 29"/>
                <a:gd name="T56" fmla="*/ 33 w 33"/>
                <a:gd name="T57" fmla="*/ 23 h 29"/>
                <a:gd name="T58" fmla="*/ 33 w 33"/>
                <a:gd name="T59" fmla="*/ 23 h 29"/>
                <a:gd name="T60" fmla="*/ 33 w 33"/>
                <a:gd name="T61" fmla="*/ 21 h 29"/>
                <a:gd name="T62" fmla="*/ 33 w 33"/>
                <a:gd name="T63" fmla="*/ 18 h 29"/>
                <a:gd name="T64" fmla="*/ 33 w 33"/>
                <a:gd name="T65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29">
                  <a:moveTo>
                    <a:pt x="33" y="16"/>
                  </a:moveTo>
                  <a:lnTo>
                    <a:pt x="33" y="16"/>
                  </a:lnTo>
                  <a:lnTo>
                    <a:pt x="33" y="16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8" y="29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42">
              <a:extLst>
                <a:ext uri="{FF2B5EF4-FFF2-40B4-BE49-F238E27FC236}">
                  <a16:creationId xmlns:a16="http://schemas.microsoft.com/office/drawing/2014/main" id="{6DD4895F-84E1-4901-9C9C-DCA91331C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2112"/>
              <a:ext cx="18" cy="18"/>
            </a:xfrm>
            <a:custGeom>
              <a:avLst/>
              <a:gdLst>
                <a:gd name="T0" fmla="*/ 0 w 18"/>
                <a:gd name="T1" fmla="*/ 10 h 18"/>
                <a:gd name="T2" fmla="*/ 0 w 18"/>
                <a:gd name="T3" fmla="*/ 13 h 18"/>
                <a:gd name="T4" fmla="*/ 0 w 18"/>
                <a:gd name="T5" fmla="*/ 13 h 18"/>
                <a:gd name="T6" fmla="*/ 3 w 18"/>
                <a:gd name="T7" fmla="*/ 15 h 18"/>
                <a:gd name="T8" fmla="*/ 3 w 18"/>
                <a:gd name="T9" fmla="*/ 15 h 18"/>
                <a:gd name="T10" fmla="*/ 6 w 18"/>
                <a:gd name="T11" fmla="*/ 18 h 18"/>
                <a:gd name="T12" fmla="*/ 8 w 18"/>
                <a:gd name="T13" fmla="*/ 18 h 18"/>
                <a:gd name="T14" fmla="*/ 11 w 18"/>
                <a:gd name="T15" fmla="*/ 18 h 18"/>
                <a:gd name="T16" fmla="*/ 11 w 18"/>
                <a:gd name="T17" fmla="*/ 18 h 18"/>
                <a:gd name="T18" fmla="*/ 13 w 18"/>
                <a:gd name="T19" fmla="*/ 15 h 18"/>
                <a:gd name="T20" fmla="*/ 13 w 18"/>
                <a:gd name="T21" fmla="*/ 15 h 18"/>
                <a:gd name="T22" fmla="*/ 16 w 18"/>
                <a:gd name="T23" fmla="*/ 13 h 18"/>
                <a:gd name="T24" fmla="*/ 16 w 18"/>
                <a:gd name="T25" fmla="*/ 13 h 18"/>
                <a:gd name="T26" fmla="*/ 18 w 18"/>
                <a:gd name="T27" fmla="*/ 10 h 18"/>
                <a:gd name="T28" fmla="*/ 18 w 18"/>
                <a:gd name="T29" fmla="*/ 10 h 18"/>
                <a:gd name="T30" fmla="*/ 18 w 18"/>
                <a:gd name="T31" fmla="*/ 8 h 18"/>
                <a:gd name="T32" fmla="*/ 18 w 18"/>
                <a:gd name="T33" fmla="*/ 5 h 18"/>
                <a:gd name="T34" fmla="*/ 16 w 18"/>
                <a:gd name="T35" fmla="*/ 3 h 18"/>
                <a:gd name="T36" fmla="*/ 16 w 18"/>
                <a:gd name="T37" fmla="*/ 3 h 18"/>
                <a:gd name="T38" fmla="*/ 13 w 18"/>
                <a:gd name="T39" fmla="*/ 0 h 18"/>
                <a:gd name="T40" fmla="*/ 13 w 18"/>
                <a:gd name="T41" fmla="*/ 0 h 18"/>
                <a:gd name="T42" fmla="*/ 11 w 18"/>
                <a:gd name="T43" fmla="*/ 0 h 18"/>
                <a:gd name="T44" fmla="*/ 11 w 18"/>
                <a:gd name="T45" fmla="*/ 0 h 18"/>
                <a:gd name="T46" fmla="*/ 8 w 18"/>
                <a:gd name="T47" fmla="*/ 0 h 18"/>
                <a:gd name="T48" fmla="*/ 6 w 18"/>
                <a:gd name="T49" fmla="*/ 0 h 18"/>
                <a:gd name="T50" fmla="*/ 3 w 18"/>
                <a:gd name="T51" fmla="*/ 0 h 18"/>
                <a:gd name="T52" fmla="*/ 3 w 18"/>
                <a:gd name="T53" fmla="*/ 0 h 18"/>
                <a:gd name="T54" fmla="*/ 0 w 18"/>
                <a:gd name="T55" fmla="*/ 3 h 18"/>
                <a:gd name="T56" fmla="*/ 0 w 18"/>
                <a:gd name="T57" fmla="*/ 3 h 18"/>
                <a:gd name="T58" fmla="*/ 0 w 18"/>
                <a:gd name="T59" fmla="*/ 5 h 18"/>
                <a:gd name="T60" fmla="*/ 0 w 18"/>
                <a:gd name="T61" fmla="*/ 8 h 18"/>
                <a:gd name="T62" fmla="*/ 0 w 18"/>
                <a:gd name="T6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8">
                  <a:moveTo>
                    <a:pt x="0" y="10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6" y="15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3">
              <a:extLst>
                <a:ext uri="{FF2B5EF4-FFF2-40B4-BE49-F238E27FC236}">
                  <a16:creationId xmlns:a16="http://schemas.microsoft.com/office/drawing/2014/main" id="{BEF5D7E0-F063-45CD-879A-C313FC584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4" y="2048"/>
              <a:ext cx="33" cy="18"/>
            </a:xfrm>
            <a:custGeom>
              <a:avLst/>
              <a:gdLst>
                <a:gd name="T0" fmla="*/ 33 w 33"/>
                <a:gd name="T1" fmla="*/ 5 h 18"/>
                <a:gd name="T2" fmla="*/ 33 w 33"/>
                <a:gd name="T3" fmla="*/ 5 h 18"/>
                <a:gd name="T4" fmla="*/ 33 w 33"/>
                <a:gd name="T5" fmla="*/ 3 h 18"/>
                <a:gd name="T6" fmla="*/ 30 w 33"/>
                <a:gd name="T7" fmla="*/ 3 h 18"/>
                <a:gd name="T8" fmla="*/ 30 w 33"/>
                <a:gd name="T9" fmla="*/ 0 h 18"/>
                <a:gd name="T10" fmla="*/ 28 w 33"/>
                <a:gd name="T11" fmla="*/ 0 h 18"/>
                <a:gd name="T12" fmla="*/ 28 w 33"/>
                <a:gd name="T13" fmla="*/ 0 h 18"/>
                <a:gd name="T14" fmla="*/ 25 w 33"/>
                <a:gd name="T15" fmla="*/ 0 h 18"/>
                <a:gd name="T16" fmla="*/ 7 w 33"/>
                <a:gd name="T17" fmla="*/ 0 h 18"/>
                <a:gd name="T18" fmla="*/ 7 w 33"/>
                <a:gd name="T19" fmla="*/ 0 h 18"/>
                <a:gd name="T20" fmla="*/ 5 w 33"/>
                <a:gd name="T21" fmla="*/ 0 h 18"/>
                <a:gd name="T22" fmla="*/ 2 w 33"/>
                <a:gd name="T23" fmla="*/ 0 h 18"/>
                <a:gd name="T24" fmla="*/ 2 w 33"/>
                <a:gd name="T25" fmla="*/ 3 h 18"/>
                <a:gd name="T26" fmla="*/ 2 w 33"/>
                <a:gd name="T27" fmla="*/ 3 h 18"/>
                <a:gd name="T28" fmla="*/ 0 w 33"/>
                <a:gd name="T29" fmla="*/ 5 h 18"/>
                <a:gd name="T30" fmla="*/ 0 w 33"/>
                <a:gd name="T31" fmla="*/ 8 h 18"/>
                <a:gd name="T32" fmla="*/ 0 w 33"/>
                <a:gd name="T33" fmla="*/ 8 h 18"/>
                <a:gd name="T34" fmla="*/ 0 w 33"/>
                <a:gd name="T35" fmla="*/ 10 h 18"/>
                <a:gd name="T36" fmla="*/ 2 w 33"/>
                <a:gd name="T37" fmla="*/ 13 h 18"/>
                <a:gd name="T38" fmla="*/ 2 w 33"/>
                <a:gd name="T39" fmla="*/ 13 h 18"/>
                <a:gd name="T40" fmla="*/ 2 w 33"/>
                <a:gd name="T41" fmla="*/ 15 h 18"/>
                <a:gd name="T42" fmla="*/ 5 w 33"/>
                <a:gd name="T43" fmla="*/ 15 h 18"/>
                <a:gd name="T44" fmla="*/ 7 w 33"/>
                <a:gd name="T45" fmla="*/ 15 h 18"/>
                <a:gd name="T46" fmla="*/ 7 w 33"/>
                <a:gd name="T47" fmla="*/ 18 h 18"/>
                <a:gd name="T48" fmla="*/ 25 w 33"/>
                <a:gd name="T49" fmla="*/ 18 h 18"/>
                <a:gd name="T50" fmla="*/ 28 w 33"/>
                <a:gd name="T51" fmla="*/ 18 h 18"/>
                <a:gd name="T52" fmla="*/ 28 w 33"/>
                <a:gd name="T53" fmla="*/ 15 h 18"/>
                <a:gd name="T54" fmla="*/ 30 w 33"/>
                <a:gd name="T55" fmla="*/ 15 h 18"/>
                <a:gd name="T56" fmla="*/ 30 w 33"/>
                <a:gd name="T57" fmla="*/ 15 h 18"/>
                <a:gd name="T58" fmla="*/ 33 w 33"/>
                <a:gd name="T59" fmla="*/ 13 h 18"/>
                <a:gd name="T60" fmla="*/ 33 w 33"/>
                <a:gd name="T61" fmla="*/ 10 h 18"/>
                <a:gd name="T62" fmla="*/ 33 w 33"/>
                <a:gd name="T63" fmla="*/ 10 h 18"/>
                <a:gd name="T64" fmla="*/ 33 w 33"/>
                <a:gd name="T65" fmla="*/ 8 h 18"/>
                <a:gd name="T66" fmla="*/ 33 w 33"/>
                <a:gd name="T67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18">
                  <a:moveTo>
                    <a:pt x="33" y="8"/>
                  </a:move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4">
              <a:extLst>
                <a:ext uri="{FF2B5EF4-FFF2-40B4-BE49-F238E27FC236}">
                  <a16:creationId xmlns:a16="http://schemas.microsoft.com/office/drawing/2014/main" id="{27A4C41C-A2DC-4F11-8946-2F1699053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5" y="2148"/>
              <a:ext cx="25" cy="33"/>
            </a:xfrm>
            <a:custGeom>
              <a:avLst/>
              <a:gdLst>
                <a:gd name="T0" fmla="*/ 25 w 25"/>
                <a:gd name="T1" fmla="*/ 20 h 33"/>
                <a:gd name="T2" fmla="*/ 25 w 25"/>
                <a:gd name="T3" fmla="*/ 18 h 33"/>
                <a:gd name="T4" fmla="*/ 15 w 25"/>
                <a:gd name="T5" fmla="*/ 5 h 33"/>
                <a:gd name="T6" fmla="*/ 15 w 25"/>
                <a:gd name="T7" fmla="*/ 3 h 33"/>
                <a:gd name="T8" fmla="*/ 13 w 25"/>
                <a:gd name="T9" fmla="*/ 3 h 33"/>
                <a:gd name="T10" fmla="*/ 13 w 25"/>
                <a:gd name="T11" fmla="*/ 3 h 33"/>
                <a:gd name="T12" fmla="*/ 10 w 25"/>
                <a:gd name="T13" fmla="*/ 0 h 33"/>
                <a:gd name="T14" fmla="*/ 7 w 25"/>
                <a:gd name="T15" fmla="*/ 0 h 33"/>
                <a:gd name="T16" fmla="*/ 7 w 25"/>
                <a:gd name="T17" fmla="*/ 3 h 33"/>
                <a:gd name="T18" fmla="*/ 5 w 25"/>
                <a:gd name="T19" fmla="*/ 3 h 33"/>
                <a:gd name="T20" fmla="*/ 2 w 25"/>
                <a:gd name="T21" fmla="*/ 3 h 33"/>
                <a:gd name="T22" fmla="*/ 2 w 25"/>
                <a:gd name="T23" fmla="*/ 3 h 33"/>
                <a:gd name="T24" fmla="*/ 0 w 25"/>
                <a:gd name="T25" fmla="*/ 5 h 33"/>
                <a:gd name="T26" fmla="*/ 0 w 25"/>
                <a:gd name="T27" fmla="*/ 8 h 33"/>
                <a:gd name="T28" fmla="*/ 0 w 25"/>
                <a:gd name="T29" fmla="*/ 8 h 33"/>
                <a:gd name="T30" fmla="*/ 0 w 25"/>
                <a:gd name="T31" fmla="*/ 10 h 33"/>
                <a:gd name="T32" fmla="*/ 0 w 25"/>
                <a:gd name="T33" fmla="*/ 13 h 33"/>
                <a:gd name="T34" fmla="*/ 0 w 25"/>
                <a:gd name="T35" fmla="*/ 13 h 33"/>
                <a:gd name="T36" fmla="*/ 7 w 25"/>
                <a:gd name="T37" fmla="*/ 28 h 33"/>
                <a:gd name="T38" fmla="*/ 10 w 25"/>
                <a:gd name="T39" fmla="*/ 31 h 33"/>
                <a:gd name="T40" fmla="*/ 10 w 25"/>
                <a:gd name="T41" fmla="*/ 31 h 33"/>
                <a:gd name="T42" fmla="*/ 13 w 25"/>
                <a:gd name="T43" fmla="*/ 31 h 33"/>
                <a:gd name="T44" fmla="*/ 15 w 25"/>
                <a:gd name="T45" fmla="*/ 33 h 33"/>
                <a:gd name="T46" fmla="*/ 15 w 25"/>
                <a:gd name="T47" fmla="*/ 33 h 33"/>
                <a:gd name="T48" fmla="*/ 18 w 25"/>
                <a:gd name="T49" fmla="*/ 33 h 33"/>
                <a:gd name="T50" fmla="*/ 20 w 25"/>
                <a:gd name="T51" fmla="*/ 31 h 33"/>
                <a:gd name="T52" fmla="*/ 20 w 25"/>
                <a:gd name="T53" fmla="*/ 31 h 33"/>
                <a:gd name="T54" fmla="*/ 23 w 25"/>
                <a:gd name="T55" fmla="*/ 31 h 33"/>
                <a:gd name="T56" fmla="*/ 23 w 25"/>
                <a:gd name="T57" fmla="*/ 28 h 33"/>
                <a:gd name="T58" fmla="*/ 25 w 25"/>
                <a:gd name="T59" fmla="*/ 28 h 33"/>
                <a:gd name="T60" fmla="*/ 25 w 25"/>
                <a:gd name="T61" fmla="*/ 26 h 33"/>
                <a:gd name="T62" fmla="*/ 25 w 25"/>
                <a:gd name="T63" fmla="*/ 26 h 33"/>
                <a:gd name="T64" fmla="*/ 25 w 25"/>
                <a:gd name="T65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" h="33">
                  <a:moveTo>
                    <a:pt x="25" y="20"/>
                  </a:moveTo>
                  <a:lnTo>
                    <a:pt x="25" y="20"/>
                  </a:lnTo>
                  <a:lnTo>
                    <a:pt x="25" y="20"/>
                  </a:lnTo>
                  <a:lnTo>
                    <a:pt x="25" y="18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28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5">
              <a:extLst>
                <a:ext uri="{FF2B5EF4-FFF2-40B4-BE49-F238E27FC236}">
                  <a16:creationId xmlns:a16="http://schemas.microsoft.com/office/drawing/2014/main" id="{2B5AAFC8-E140-4995-91F7-AE3DEBCAD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4" y="2135"/>
              <a:ext cx="18" cy="18"/>
            </a:xfrm>
            <a:custGeom>
              <a:avLst/>
              <a:gdLst>
                <a:gd name="T0" fmla="*/ 0 w 18"/>
                <a:gd name="T1" fmla="*/ 13 h 18"/>
                <a:gd name="T2" fmla="*/ 0 w 18"/>
                <a:gd name="T3" fmla="*/ 13 h 18"/>
                <a:gd name="T4" fmla="*/ 0 w 18"/>
                <a:gd name="T5" fmla="*/ 16 h 18"/>
                <a:gd name="T6" fmla="*/ 2 w 18"/>
                <a:gd name="T7" fmla="*/ 16 h 18"/>
                <a:gd name="T8" fmla="*/ 2 w 18"/>
                <a:gd name="T9" fmla="*/ 18 h 18"/>
                <a:gd name="T10" fmla="*/ 5 w 18"/>
                <a:gd name="T11" fmla="*/ 18 h 18"/>
                <a:gd name="T12" fmla="*/ 8 w 18"/>
                <a:gd name="T13" fmla="*/ 18 h 18"/>
                <a:gd name="T14" fmla="*/ 10 w 18"/>
                <a:gd name="T15" fmla="*/ 18 h 18"/>
                <a:gd name="T16" fmla="*/ 10 w 18"/>
                <a:gd name="T17" fmla="*/ 18 h 18"/>
                <a:gd name="T18" fmla="*/ 13 w 18"/>
                <a:gd name="T19" fmla="*/ 18 h 18"/>
                <a:gd name="T20" fmla="*/ 13 w 18"/>
                <a:gd name="T21" fmla="*/ 16 h 18"/>
                <a:gd name="T22" fmla="*/ 15 w 18"/>
                <a:gd name="T23" fmla="*/ 16 h 18"/>
                <a:gd name="T24" fmla="*/ 15 w 18"/>
                <a:gd name="T25" fmla="*/ 13 h 18"/>
                <a:gd name="T26" fmla="*/ 18 w 18"/>
                <a:gd name="T27" fmla="*/ 13 h 18"/>
                <a:gd name="T28" fmla="*/ 18 w 18"/>
                <a:gd name="T29" fmla="*/ 10 h 18"/>
                <a:gd name="T30" fmla="*/ 18 w 18"/>
                <a:gd name="T31" fmla="*/ 8 h 18"/>
                <a:gd name="T32" fmla="*/ 18 w 18"/>
                <a:gd name="T33" fmla="*/ 5 h 18"/>
                <a:gd name="T34" fmla="*/ 15 w 18"/>
                <a:gd name="T35" fmla="*/ 5 h 18"/>
                <a:gd name="T36" fmla="*/ 15 w 18"/>
                <a:gd name="T37" fmla="*/ 3 h 18"/>
                <a:gd name="T38" fmla="*/ 13 w 18"/>
                <a:gd name="T39" fmla="*/ 3 h 18"/>
                <a:gd name="T40" fmla="*/ 13 w 18"/>
                <a:gd name="T41" fmla="*/ 0 h 18"/>
                <a:gd name="T42" fmla="*/ 10 w 18"/>
                <a:gd name="T43" fmla="*/ 0 h 18"/>
                <a:gd name="T44" fmla="*/ 10 w 18"/>
                <a:gd name="T45" fmla="*/ 0 h 18"/>
                <a:gd name="T46" fmla="*/ 8 w 18"/>
                <a:gd name="T47" fmla="*/ 0 h 18"/>
                <a:gd name="T48" fmla="*/ 5 w 18"/>
                <a:gd name="T49" fmla="*/ 0 h 18"/>
                <a:gd name="T50" fmla="*/ 2 w 18"/>
                <a:gd name="T51" fmla="*/ 0 h 18"/>
                <a:gd name="T52" fmla="*/ 2 w 18"/>
                <a:gd name="T53" fmla="*/ 3 h 18"/>
                <a:gd name="T54" fmla="*/ 0 w 18"/>
                <a:gd name="T55" fmla="*/ 3 h 18"/>
                <a:gd name="T56" fmla="*/ 0 w 18"/>
                <a:gd name="T57" fmla="*/ 5 h 18"/>
                <a:gd name="T58" fmla="*/ 0 w 18"/>
                <a:gd name="T59" fmla="*/ 5 h 18"/>
                <a:gd name="T60" fmla="*/ 0 w 18"/>
                <a:gd name="T61" fmla="*/ 8 h 18"/>
                <a:gd name="T62" fmla="*/ 0 w 18"/>
                <a:gd name="T6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8">
                  <a:moveTo>
                    <a:pt x="0" y="10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48">
            <a:extLst>
              <a:ext uri="{FF2B5EF4-FFF2-40B4-BE49-F238E27FC236}">
                <a16:creationId xmlns:a16="http://schemas.microsoft.com/office/drawing/2014/main" id="{C9D22476-4FB1-4863-972E-B3CEC8F1726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3425" y="2840238"/>
            <a:ext cx="758825" cy="758825"/>
            <a:chOff x="3838" y="1923"/>
            <a:chExt cx="478" cy="478"/>
          </a:xfrm>
        </p:grpSpPr>
        <p:sp>
          <p:nvSpPr>
            <p:cNvPr id="172" name="AutoShape 147">
              <a:extLst>
                <a:ext uri="{FF2B5EF4-FFF2-40B4-BE49-F238E27FC236}">
                  <a16:creationId xmlns:a16="http://schemas.microsoft.com/office/drawing/2014/main" id="{6800C186-C280-44FA-B6F0-456E4EA5F3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38" y="192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9">
              <a:extLst>
                <a:ext uri="{FF2B5EF4-FFF2-40B4-BE49-F238E27FC236}">
                  <a16:creationId xmlns:a16="http://schemas.microsoft.com/office/drawing/2014/main" id="{5E9B6724-5AE6-4AB7-AEB7-03EF0A8727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0" y="192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0">
              <a:extLst>
                <a:ext uri="{FF2B5EF4-FFF2-40B4-BE49-F238E27FC236}">
                  <a16:creationId xmlns:a16="http://schemas.microsoft.com/office/drawing/2014/main" id="{8C1453B5-A82F-495C-BB8A-249857A3A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9" y="1992"/>
              <a:ext cx="299" cy="323"/>
            </a:xfrm>
            <a:custGeom>
              <a:avLst/>
              <a:gdLst>
                <a:gd name="T0" fmla="*/ 89 w 122"/>
                <a:gd name="T1" fmla="*/ 76 h 132"/>
                <a:gd name="T2" fmla="*/ 92 w 122"/>
                <a:gd name="T3" fmla="*/ 89 h 132"/>
                <a:gd name="T4" fmla="*/ 94 w 122"/>
                <a:gd name="T5" fmla="*/ 76 h 132"/>
                <a:gd name="T6" fmla="*/ 72 w 122"/>
                <a:gd name="T7" fmla="*/ 71 h 132"/>
                <a:gd name="T8" fmla="*/ 66 w 122"/>
                <a:gd name="T9" fmla="*/ 80 h 132"/>
                <a:gd name="T10" fmla="*/ 69 w 122"/>
                <a:gd name="T11" fmla="*/ 84 h 132"/>
                <a:gd name="T12" fmla="*/ 74 w 122"/>
                <a:gd name="T13" fmla="*/ 74 h 132"/>
                <a:gd name="T14" fmla="*/ 114 w 122"/>
                <a:gd name="T15" fmla="*/ 73 h 132"/>
                <a:gd name="T16" fmla="*/ 110 w 122"/>
                <a:gd name="T17" fmla="*/ 74 h 132"/>
                <a:gd name="T18" fmla="*/ 115 w 122"/>
                <a:gd name="T19" fmla="*/ 84 h 132"/>
                <a:gd name="T20" fmla="*/ 117 w 122"/>
                <a:gd name="T21" fmla="*/ 80 h 132"/>
                <a:gd name="T22" fmla="*/ 66 w 122"/>
                <a:gd name="T23" fmla="*/ 58 h 132"/>
                <a:gd name="T24" fmla="*/ 84 w 122"/>
                <a:gd name="T25" fmla="*/ 23 h 132"/>
                <a:gd name="T26" fmla="*/ 86 w 122"/>
                <a:gd name="T27" fmla="*/ 5 h 132"/>
                <a:gd name="T28" fmla="*/ 99 w 122"/>
                <a:gd name="T29" fmla="*/ 8 h 132"/>
                <a:gd name="T30" fmla="*/ 105 w 122"/>
                <a:gd name="T31" fmla="*/ 34 h 132"/>
                <a:gd name="T32" fmla="*/ 66 w 122"/>
                <a:gd name="T33" fmla="*/ 58 h 132"/>
                <a:gd name="T34" fmla="*/ 51 w 122"/>
                <a:gd name="T35" fmla="*/ 127 h 132"/>
                <a:gd name="T36" fmla="*/ 5 w 122"/>
                <a:gd name="T37" fmla="*/ 123 h 132"/>
                <a:gd name="T38" fmla="*/ 51 w 122"/>
                <a:gd name="T39" fmla="*/ 123 h 132"/>
                <a:gd name="T40" fmla="*/ 104 w 122"/>
                <a:gd name="T41" fmla="*/ 23 h 132"/>
                <a:gd name="T42" fmla="*/ 97 w 122"/>
                <a:gd name="T43" fmla="*/ 0 h 132"/>
                <a:gd name="T44" fmla="*/ 79 w 122"/>
                <a:gd name="T45" fmla="*/ 8 h 132"/>
                <a:gd name="T46" fmla="*/ 18 w 122"/>
                <a:gd name="T47" fmla="*/ 59 h 132"/>
                <a:gd name="T48" fmla="*/ 2 w 122"/>
                <a:gd name="T49" fmla="*/ 118 h 132"/>
                <a:gd name="T50" fmla="*/ 0 w 122"/>
                <a:gd name="T51" fmla="*/ 129 h 132"/>
                <a:gd name="T52" fmla="*/ 53 w 122"/>
                <a:gd name="T53" fmla="*/ 132 h 132"/>
                <a:gd name="T54" fmla="*/ 56 w 122"/>
                <a:gd name="T55" fmla="*/ 121 h 132"/>
                <a:gd name="T56" fmla="*/ 30 w 122"/>
                <a:gd name="T57" fmla="*/ 110 h 132"/>
                <a:gd name="T58" fmla="*/ 79 w 122"/>
                <a:gd name="T59" fmla="*/ 21 h 132"/>
                <a:gd name="T60" fmla="*/ 74 w 122"/>
                <a:gd name="T61" fmla="*/ 31 h 132"/>
                <a:gd name="T62" fmla="*/ 64 w 122"/>
                <a:gd name="T63" fmla="*/ 63 h 132"/>
                <a:gd name="T64" fmla="*/ 122 w 122"/>
                <a:gd name="T65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2" h="132">
                  <a:moveTo>
                    <a:pt x="92" y="74"/>
                  </a:moveTo>
                  <a:cubicBezTo>
                    <a:pt x="90" y="74"/>
                    <a:pt x="89" y="75"/>
                    <a:pt x="89" y="7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8"/>
                    <a:pt x="90" y="89"/>
                    <a:pt x="92" y="89"/>
                  </a:cubicBezTo>
                  <a:cubicBezTo>
                    <a:pt x="93" y="89"/>
                    <a:pt x="94" y="88"/>
                    <a:pt x="94" y="8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5"/>
                    <a:pt x="93" y="74"/>
                    <a:pt x="92" y="74"/>
                  </a:cubicBezTo>
                  <a:moveTo>
                    <a:pt x="72" y="71"/>
                  </a:moveTo>
                  <a:cubicBezTo>
                    <a:pt x="71" y="71"/>
                    <a:pt x="69" y="71"/>
                    <a:pt x="69" y="73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2"/>
                    <a:pt x="67" y="83"/>
                    <a:pt x="68" y="84"/>
                  </a:cubicBezTo>
                  <a:cubicBezTo>
                    <a:pt x="68" y="84"/>
                    <a:pt x="68" y="84"/>
                    <a:pt x="69" y="84"/>
                  </a:cubicBezTo>
                  <a:cubicBezTo>
                    <a:pt x="70" y="84"/>
                    <a:pt x="71" y="83"/>
                    <a:pt x="71" y="82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3"/>
                    <a:pt x="73" y="72"/>
                    <a:pt x="72" y="71"/>
                  </a:cubicBezTo>
                  <a:moveTo>
                    <a:pt x="114" y="73"/>
                  </a:moveTo>
                  <a:cubicBezTo>
                    <a:pt x="114" y="71"/>
                    <a:pt x="113" y="71"/>
                    <a:pt x="111" y="71"/>
                  </a:cubicBezTo>
                  <a:cubicBezTo>
                    <a:pt x="110" y="72"/>
                    <a:pt x="109" y="73"/>
                    <a:pt x="110" y="74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3"/>
                    <a:pt x="113" y="84"/>
                    <a:pt x="115" y="84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7" y="83"/>
                    <a:pt x="117" y="82"/>
                    <a:pt x="117" y="80"/>
                  </a:cubicBezTo>
                  <a:lnTo>
                    <a:pt x="114" y="73"/>
                  </a:lnTo>
                  <a:close/>
                  <a:moveTo>
                    <a:pt x="66" y="58"/>
                  </a:moveTo>
                  <a:cubicBezTo>
                    <a:pt x="67" y="48"/>
                    <a:pt x="73" y="40"/>
                    <a:pt x="78" y="34"/>
                  </a:cubicBezTo>
                  <a:cubicBezTo>
                    <a:pt x="81" y="30"/>
                    <a:pt x="84" y="26"/>
                    <a:pt x="84" y="23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6"/>
                    <a:pt x="85" y="5"/>
                    <a:pt x="86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8" y="5"/>
                    <a:pt x="99" y="6"/>
                    <a:pt x="99" y="8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6"/>
                    <a:pt x="102" y="30"/>
                    <a:pt x="105" y="34"/>
                  </a:cubicBezTo>
                  <a:cubicBezTo>
                    <a:pt x="110" y="40"/>
                    <a:pt x="116" y="48"/>
                    <a:pt x="117" y="58"/>
                  </a:cubicBezTo>
                  <a:lnTo>
                    <a:pt x="66" y="58"/>
                  </a:lnTo>
                  <a:close/>
                  <a:moveTo>
                    <a:pt x="51" y="123"/>
                  </a:moveTo>
                  <a:cubicBezTo>
                    <a:pt x="51" y="127"/>
                    <a:pt x="51" y="127"/>
                    <a:pt x="51" y="127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10" y="122"/>
                    <a:pt x="21" y="120"/>
                    <a:pt x="28" y="115"/>
                  </a:cubicBezTo>
                  <a:cubicBezTo>
                    <a:pt x="35" y="120"/>
                    <a:pt x="46" y="122"/>
                    <a:pt x="51" y="123"/>
                  </a:cubicBezTo>
                  <a:moveTo>
                    <a:pt x="109" y="31"/>
                  </a:moveTo>
                  <a:cubicBezTo>
                    <a:pt x="107" y="28"/>
                    <a:pt x="104" y="25"/>
                    <a:pt x="104" y="2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4"/>
                    <a:pt x="101" y="0"/>
                    <a:pt x="97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2" y="0"/>
                    <a:pt x="79" y="4"/>
                    <a:pt x="79" y="8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54" y="17"/>
                    <a:pt x="29" y="34"/>
                    <a:pt x="18" y="59"/>
                  </a:cubicBezTo>
                  <a:cubicBezTo>
                    <a:pt x="10" y="78"/>
                    <a:pt x="12" y="97"/>
                    <a:pt x="24" y="111"/>
                  </a:cubicBezTo>
                  <a:cubicBezTo>
                    <a:pt x="17" y="117"/>
                    <a:pt x="2" y="118"/>
                    <a:pt x="2" y="118"/>
                  </a:cubicBezTo>
                  <a:cubicBezTo>
                    <a:pt x="1" y="118"/>
                    <a:pt x="0" y="119"/>
                    <a:pt x="0" y="12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1"/>
                    <a:pt x="1" y="132"/>
                    <a:pt x="2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5" y="132"/>
                    <a:pt x="56" y="131"/>
                    <a:pt x="56" y="129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19"/>
                    <a:pt x="55" y="118"/>
                    <a:pt x="54" y="118"/>
                  </a:cubicBezTo>
                  <a:cubicBezTo>
                    <a:pt x="53" y="118"/>
                    <a:pt x="37" y="117"/>
                    <a:pt x="30" y="110"/>
                  </a:cubicBezTo>
                  <a:cubicBezTo>
                    <a:pt x="17" y="97"/>
                    <a:pt x="15" y="79"/>
                    <a:pt x="23" y="61"/>
                  </a:cubicBezTo>
                  <a:cubicBezTo>
                    <a:pt x="33" y="38"/>
                    <a:pt x="56" y="22"/>
                    <a:pt x="79" y="21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5"/>
                    <a:pt x="76" y="28"/>
                    <a:pt x="74" y="31"/>
                  </a:cubicBezTo>
                  <a:cubicBezTo>
                    <a:pt x="68" y="38"/>
                    <a:pt x="61" y="47"/>
                    <a:pt x="61" y="61"/>
                  </a:cubicBezTo>
                  <a:cubicBezTo>
                    <a:pt x="61" y="62"/>
                    <a:pt x="62" y="63"/>
                    <a:pt x="64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1" y="63"/>
                    <a:pt x="122" y="62"/>
                    <a:pt x="122" y="61"/>
                  </a:cubicBezTo>
                  <a:cubicBezTo>
                    <a:pt x="122" y="47"/>
                    <a:pt x="115" y="38"/>
                    <a:pt x="109" y="3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5" name="Group 153">
            <a:extLst>
              <a:ext uri="{FF2B5EF4-FFF2-40B4-BE49-F238E27FC236}">
                <a16:creationId xmlns:a16="http://schemas.microsoft.com/office/drawing/2014/main" id="{01C2375A-010A-4AD7-9010-92E02C6B71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833" y="2798963"/>
            <a:ext cx="841375" cy="841375"/>
            <a:chOff x="2953" y="1854"/>
            <a:chExt cx="530" cy="530"/>
          </a:xfrm>
        </p:grpSpPr>
        <p:sp>
          <p:nvSpPr>
            <p:cNvPr id="176" name="AutoShape 152">
              <a:extLst>
                <a:ext uri="{FF2B5EF4-FFF2-40B4-BE49-F238E27FC236}">
                  <a16:creationId xmlns:a16="http://schemas.microsoft.com/office/drawing/2014/main" id="{17CEC987-91CB-4BE3-B1F5-67BE70207D9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53" y="185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54">
              <a:extLst>
                <a:ext uri="{FF2B5EF4-FFF2-40B4-BE49-F238E27FC236}">
                  <a16:creationId xmlns:a16="http://schemas.microsoft.com/office/drawing/2014/main" id="{5D6A5D95-65DE-461F-8B3F-FB59470889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3" y="185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55">
              <a:extLst>
                <a:ext uri="{FF2B5EF4-FFF2-40B4-BE49-F238E27FC236}">
                  <a16:creationId xmlns:a16="http://schemas.microsoft.com/office/drawing/2014/main" id="{27E6D727-35B3-4C0B-835B-E4EE21B29C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1" y="187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6">
              <a:extLst>
                <a:ext uri="{FF2B5EF4-FFF2-40B4-BE49-F238E27FC236}">
                  <a16:creationId xmlns:a16="http://schemas.microsoft.com/office/drawing/2014/main" id="{9AEB2354-B0E9-49EA-B36F-B0C763DDF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" y="1941"/>
              <a:ext cx="312" cy="338"/>
            </a:xfrm>
            <a:custGeom>
              <a:avLst/>
              <a:gdLst>
                <a:gd name="T0" fmla="*/ 89 w 122"/>
                <a:gd name="T1" fmla="*/ 76 h 132"/>
                <a:gd name="T2" fmla="*/ 92 w 122"/>
                <a:gd name="T3" fmla="*/ 89 h 132"/>
                <a:gd name="T4" fmla="*/ 94 w 122"/>
                <a:gd name="T5" fmla="*/ 76 h 132"/>
                <a:gd name="T6" fmla="*/ 72 w 122"/>
                <a:gd name="T7" fmla="*/ 71 h 132"/>
                <a:gd name="T8" fmla="*/ 66 w 122"/>
                <a:gd name="T9" fmla="*/ 80 h 132"/>
                <a:gd name="T10" fmla="*/ 69 w 122"/>
                <a:gd name="T11" fmla="*/ 84 h 132"/>
                <a:gd name="T12" fmla="*/ 74 w 122"/>
                <a:gd name="T13" fmla="*/ 74 h 132"/>
                <a:gd name="T14" fmla="*/ 114 w 122"/>
                <a:gd name="T15" fmla="*/ 73 h 132"/>
                <a:gd name="T16" fmla="*/ 110 w 122"/>
                <a:gd name="T17" fmla="*/ 74 h 132"/>
                <a:gd name="T18" fmla="*/ 115 w 122"/>
                <a:gd name="T19" fmla="*/ 84 h 132"/>
                <a:gd name="T20" fmla="*/ 117 w 122"/>
                <a:gd name="T21" fmla="*/ 80 h 132"/>
                <a:gd name="T22" fmla="*/ 66 w 122"/>
                <a:gd name="T23" fmla="*/ 58 h 132"/>
                <a:gd name="T24" fmla="*/ 84 w 122"/>
                <a:gd name="T25" fmla="*/ 23 h 132"/>
                <a:gd name="T26" fmla="*/ 86 w 122"/>
                <a:gd name="T27" fmla="*/ 5 h 132"/>
                <a:gd name="T28" fmla="*/ 99 w 122"/>
                <a:gd name="T29" fmla="*/ 8 h 132"/>
                <a:gd name="T30" fmla="*/ 105 w 122"/>
                <a:gd name="T31" fmla="*/ 34 h 132"/>
                <a:gd name="T32" fmla="*/ 66 w 122"/>
                <a:gd name="T33" fmla="*/ 58 h 132"/>
                <a:gd name="T34" fmla="*/ 51 w 122"/>
                <a:gd name="T35" fmla="*/ 127 h 132"/>
                <a:gd name="T36" fmla="*/ 5 w 122"/>
                <a:gd name="T37" fmla="*/ 123 h 132"/>
                <a:gd name="T38" fmla="*/ 51 w 122"/>
                <a:gd name="T39" fmla="*/ 123 h 132"/>
                <a:gd name="T40" fmla="*/ 104 w 122"/>
                <a:gd name="T41" fmla="*/ 23 h 132"/>
                <a:gd name="T42" fmla="*/ 97 w 122"/>
                <a:gd name="T43" fmla="*/ 0 h 132"/>
                <a:gd name="T44" fmla="*/ 79 w 122"/>
                <a:gd name="T45" fmla="*/ 8 h 132"/>
                <a:gd name="T46" fmla="*/ 18 w 122"/>
                <a:gd name="T47" fmla="*/ 59 h 132"/>
                <a:gd name="T48" fmla="*/ 2 w 122"/>
                <a:gd name="T49" fmla="*/ 118 h 132"/>
                <a:gd name="T50" fmla="*/ 0 w 122"/>
                <a:gd name="T51" fmla="*/ 129 h 132"/>
                <a:gd name="T52" fmla="*/ 53 w 122"/>
                <a:gd name="T53" fmla="*/ 132 h 132"/>
                <a:gd name="T54" fmla="*/ 56 w 122"/>
                <a:gd name="T55" fmla="*/ 121 h 132"/>
                <a:gd name="T56" fmla="*/ 30 w 122"/>
                <a:gd name="T57" fmla="*/ 110 h 132"/>
                <a:gd name="T58" fmla="*/ 79 w 122"/>
                <a:gd name="T59" fmla="*/ 21 h 132"/>
                <a:gd name="T60" fmla="*/ 74 w 122"/>
                <a:gd name="T61" fmla="*/ 31 h 132"/>
                <a:gd name="T62" fmla="*/ 64 w 122"/>
                <a:gd name="T63" fmla="*/ 63 h 132"/>
                <a:gd name="T64" fmla="*/ 122 w 122"/>
                <a:gd name="T65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2" h="132">
                  <a:moveTo>
                    <a:pt x="92" y="74"/>
                  </a:moveTo>
                  <a:cubicBezTo>
                    <a:pt x="90" y="74"/>
                    <a:pt x="89" y="75"/>
                    <a:pt x="89" y="7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8"/>
                    <a:pt x="90" y="89"/>
                    <a:pt x="92" y="89"/>
                  </a:cubicBezTo>
                  <a:cubicBezTo>
                    <a:pt x="93" y="89"/>
                    <a:pt x="94" y="88"/>
                    <a:pt x="94" y="8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5"/>
                    <a:pt x="93" y="74"/>
                    <a:pt x="92" y="74"/>
                  </a:cubicBezTo>
                  <a:moveTo>
                    <a:pt x="72" y="71"/>
                  </a:moveTo>
                  <a:cubicBezTo>
                    <a:pt x="71" y="71"/>
                    <a:pt x="69" y="71"/>
                    <a:pt x="69" y="73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2"/>
                    <a:pt x="67" y="83"/>
                    <a:pt x="68" y="84"/>
                  </a:cubicBezTo>
                  <a:cubicBezTo>
                    <a:pt x="68" y="84"/>
                    <a:pt x="68" y="84"/>
                    <a:pt x="69" y="84"/>
                  </a:cubicBezTo>
                  <a:cubicBezTo>
                    <a:pt x="70" y="84"/>
                    <a:pt x="71" y="83"/>
                    <a:pt x="71" y="82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3"/>
                    <a:pt x="73" y="72"/>
                    <a:pt x="72" y="71"/>
                  </a:cubicBezTo>
                  <a:moveTo>
                    <a:pt x="114" y="73"/>
                  </a:moveTo>
                  <a:cubicBezTo>
                    <a:pt x="114" y="71"/>
                    <a:pt x="113" y="71"/>
                    <a:pt x="111" y="71"/>
                  </a:cubicBezTo>
                  <a:cubicBezTo>
                    <a:pt x="110" y="72"/>
                    <a:pt x="109" y="73"/>
                    <a:pt x="110" y="74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3"/>
                    <a:pt x="113" y="84"/>
                    <a:pt x="115" y="84"/>
                  </a:cubicBezTo>
                  <a:cubicBezTo>
                    <a:pt x="115" y="84"/>
                    <a:pt x="115" y="84"/>
                    <a:pt x="115" y="84"/>
                  </a:cubicBezTo>
                  <a:cubicBezTo>
                    <a:pt x="117" y="83"/>
                    <a:pt x="117" y="82"/>
                    <a:pt x="117" y="80"/>
                  </a:cubicBezTo>
                  <a:lnTo>
                    <a:pt x="114" y="73"/>
                  </a:lnTo>
                  <a:close/>
                  <a:moveTo>
                    <a:pt x="66" y="58"/>
                  </a:moveTo>
                  <a:cubicBezTo>
                    <a:pt x="67" y="48"/>
                    <a:pt x="73" y="40"/>
                    <a:pt x="78" y="34"/>
                  </a:cubicBezTo>
                  <a:cubicBezTo>
                    <a:pt x="81" y="30"/>
                    <a:pt x="84" y="26"/>
                    <a:pt x="84" y="23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6"/>
                    <a:pt x="85" y="5"/>
                    <a:pt x="86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8" y="5"/>
                    <a:pt x="99" y="6"/>
                    <a:pt x="99" y="8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6"/>
                    <a:pt x="102" y="30"/>
                    <a:pt x="105" y="34"/>
                  </a:cubicBezTo>
                  <a:cubicBezTo>
                    <a:pt x="110" y="40"/>
                    <a:pt x="116" y="48"/>
                    <a:pt x="117" y="58"/>
                  </a:cubicBezTo>
                  <a:lnTo>
                    <a:pt x="66" y="58"/>
                  </a:lnTo>
                  <a:close/>
                  <a:moveTo>
                    <a:pt x="51" y="123"/>
                  </a:moveTo>
                  <a:cubicBezTo>
                    <a:pt x="51" y="127"/>
                    <a:pt x="51" y="127"/>
                    <a:pt x="51" y="127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10" y="122"/>
                    <a:pt x="21" y="120"/>
                    <a:pt x="28" y="115"/>
                  </a:cubicBezTo>
                  <a:cubicBezTo>
                    <a:pt x="35" y="120"/>
                    <a:pt x="46" y="122"/>
                    <a:pt x="51" y="123"/>
                  </a:cubicBezTo>
                  <a:moveTo>
                    <a:pt x="109" y="31"/>
                  </a:moveTo>
                  <a:cubicBezTo>
                    <a:pt x="107" y="28"/>
                    <a:pt x="104" y="25"/>
                    <a:pt x="104" y="2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4"/>
                    <a:pt x="101" y="0"/>
                    <a:pt x="97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2" y="0"/>
                    <a:pt x="79" y="4"/>
                    <a:pt x="79" y="8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54" y="17"/>
                    <a:pt x="29" y="34"/>
                    <a:pt x="18" y="59"/>
                  </a:cubicBezTo>
                  <a:cubicBezTo>
                    <a:pt x="10" y="78"/>
                    <a:pt x="12" y="97"/>
                    <a:pt x="24" y="111"/>
                  </a:cubicBezTo>
                  <a:cubicBezTo>
                    <a:pt x="17" y="117"/>
                    <a:pt x="2" y="118"/>
                    <a:pt x="2" y="118"/>
                  </a:cubicBezTo>
                  <a:cubicBezTo>
                    <a:pt x="1" y="118"/>
                    <a:pt x="0" y="119"/>
                    <a:pt x="0" y="12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1"/>
                    <a:pt x="1" y="132"/>
                    <a:pt x="2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5" y="132"/>
                    <a:pt x="56" y="131"/>
                    <a:pt x="56" y="129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19"/>
                    <a:pt x="55" y="118"/>
                    <a:pt x="54" y="118"/>
                  </a:cubicBezTo>
                  <a:cubicBezTo>
                    <a:pt x="53" y="118"/>
                    <a:pt x="37" y="117"/>
                    <a:pt x="30" y="110"/>
                  </a:cubicBezTo>
                  <a:cubicBezTo>
                    <a:pt x="17" y="97"/>
                    <a:pt x="15" y="79"/>
                    <a:pt x="23" y="61"/>
                  </a:cubicBezTo>
                  <a:cubicBezTo>
                    <a:pt x="33" y="38"/>
                    <a:pt x="56" y="22"/>
                    <a:pt x="79" y="21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5"/>
                    <a:pt x="76" y="28"/>
                    <a:pt x="74" y="31"/>
                  </a:cubicBezTo>
                  <a:cubicBezTo>
                    <a:pt x="68" y="38"/>
                    <a:pt x="61" y="47"/>
                    <a:pt x="61" y="61"/>
                  </a:cubicBezTo>
                  <a:cubicBezTo>
                    <a:pt x="61" y="62"/>
                    <a:pt x="62" y="63"/>
                    <a:pt x="64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1" y="63"/>
                    <a:pt x="122" y="62"/>
                    <a:pt x="122" y="61"/>
                  </a:cubicBezTo>
                  <a:cubicBezTo>
                    <a:pt x="122" y="47"/>
                    <a:pt x="115" y="38"/>
                    <a:pt x="109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4" name="Group 159">
            <a:extLst>
              <a:ext uri="{FF2B5EF4-FFF2-40B4-BE49-F238E27FC236}">
                <a16:creationId xmlns:a16="http://schemas.microsoft.com/office/drawing/2014/main" id="{B4092B1D-E77A-49AB-B3EF-F2583A93C6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142" y="2840238"/>
            <a:ext cx="758825" cy="758825"/>
            <a:chOff x="5041" y="1936"/>
            <a:chExt cx="478" cy="478"/>
          </a:xfrm>
        </p:grpSpPr>
        <p:sp>
          <p:nvSpPr>
            <p:cNvPr id="185" name="AutoShape 158">
              <a:extLst>
                <a:ext uri="{FF2B5EF4-FFF2-40B4-BE49-F238E27FC236}">
                  <a16:creationId xmlns:a16="http://schemas.microsoft.com/office/drawing/2014/main" id="{F7226CF7-D59F-48D6-AECB-E1E64808A4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41" y="193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0">
              <a:extLst>
                <a:ext uri="{FF2B5EF4-FFF2-40B4-BE49-F238E27FC236}">
                  <a16:creationId xmlns:a16="http://schemas.microsoft.com/office/drawing/2014/main" id="{0B19B700-B2F5-4AB1-8203-1D083F29E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3" y="193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61">
              <a:extLst>
                <a:ext uri="{FF2B5EF4-FFF2-40B4-BE49-F238E27FC236}">
                  <a16:creationId xmlns:a16="http://schemas.microsoft.com/office/drawing/2014/main" id="{482BBA85-B643-495F-AEC6-2D0B6193B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2" y="2034"/>
              <a:ext cx="299" cy="284"/>
            </a:xfrm>
            <a:custGeom>
              <a:avLst/>
              <a:gdLst>
                <a:gd name="T0" fmla="*/ 113 w 122"/>
                <a:gd name="T1" fmla="*/ 52 h 116"/>
                <a:gd name="T2" fmla="*/ 110 w 122"/>
                <a:gd name="T3" fmla="*/ 98 h 116"/>
                <a:gd name="T4" fmla="*/ 17 w 122"/>
                <a:gd name="T5" fmla="*/ 37 h 116"/>
                <a:gd name="T6" fmla="*/ 19 w 122"/>
                <a:gd name="T7" fmla="*/ 40 h 116"/>
                <a:gd name="T8" fmla="*/ 21 w 122"/>
                <a:gd name="T9" fmla="*/ 42 h 116"/>
                <a:gd name="T10" fmla="*/ 26 w 122"/>
                <a:gd name="T11" fmla="*/ 43 h 116"/>
                <a:gd name="T12" fmla="*/ 85 w 122"/>
                <a:gd name="T13" fmla="*/ 49 h 116"/>
                <a:gd name="T14" fmla="*/ 98 w 122"/>
                <a:gd name="T15" fmla="*/ 43 h 116"/>
                <a:gd name="T16" fmla="*/ 101 w 122"/>
                <a:gd name="T17" fmla="*/ 41 h 116"/>
                <a:gd name="T18" fmla="*/ 104 w 122"/>
                <a:gd name="T19" fmla="*/ 38 h 116"/>
                <a:gd name="T20" fmla="*/ 110 w 122"/>
                <a:gd name="T21" fmla="*/ 98 h 116"/>
                <a:gd name="T22" fmla="*/ 12 w 122"/>
                <a:gd name="T23" fmla="*/ 104 h 116"/>
                <a:gd name="T24" fmla="*/ 17 w 122"/>
                <a:gd name="T25" fmla="*/ 105 h 116"/>
                <a:gd name="T26" fmla="*/ 108 w 122"/>
                <a:gd name="T27" fmla="*/ 105 h 116"/>
                <a:gd name="T28" fmla="*/ 91 w 122"/>
                <a:gd name="T29" fmla="*/ 12 h 116"/>
                <a:gd name="T30" fmla="*/ 94 w 122"/>
                <a:gd name="T31" fmla="*/ 40 h 116"/>
                <a:gd name="T32" fmla="*/ 33 w 122"/>
                <a:gd name="T33" fmla="*/ 41 h 116"/>
                <a:gd name="T34" fmla="*/ 95 w 122"/>
                <a:gd name="T35" fmla="*/ 6 h 116"/>
                <a:gd name="T36" fmla="*/ 8 w 122"/>
                <a:gd name="T37" fmla="*/ 66 h 116"/>
                <a:gd name="T38" fmla="*/ 8 w 122"/>
                <a:gd name="T39" fmla="*/ 51 h 116"/>
                <a:gd name="T40" fmla="*/ 113 w 122"/>
                <a:gd name="T41" fmla="*/ 47 h 116"/>
                <a:gd name="T42" fmla="*/ 104 w 122"/>
                <a:gd name="T43" fmla="*/ 12 h 116"/>
                <a:gd name="T44" fmla="*/ 94 w 122"/>
                <a:gd name="T45" fmla="*/ 0 h 116"/>
                <a:gd name="T46" fmla="*/ 18 w 122"/>
                <a:gd name="T47" fmla="*/ 2 h 116"/>
                <a:gd name="T48" fmla="*/ 8 w 122"/>
                <a:gd name="T49" fmla="*/ 47 h 116"/>
                <a:gd name="T50" fmla="*/ 8 w 122"/>
                <a:gd name="T51" fmla="*/ 69 h 116"/>
                <a:gd name="T52" fmla="*/ 113 w 122"/>
                <a:gd name="T53" fmla="*/ 109 h 116"/>
                <a:gd name="T54" fmla="*/ 122 w 122"/>
                <a:gd name="T55" fmla="*/ 52 h 116"/>
                <a:gd name="T56" fmla="*/ 91 w 122"/>
                <a:gd name="T57" fmla="*/ 34 h 116"/>
                <a:gd name="T58" fmla="*/ 91 w 122"/>
                <a:gd name="T59" fmla="*/ 26 h 116"/>
                <a:gd name="T60" fmla="*/ 76 w 122"/>
                <a:gd name="T61" fmla="*/ 18 h 116"/>
                <a:gd name="T62" fmla="*/ 87 w 122"/>
                <a:gd name="T63" fmla="*/ 64 h 116"/>
                <a:gd name="T64" fmla="*/ 83 w 122"/>
                <a:gd name="T65" fmla="*/ 64 h 116"/>
                <a:gd name="T66" fmla="*/ 49 w 122"/>
                <a:gd name="T67" fmla="*/ 64 h 116"/>
                <a:gd name="T68" fmla="*/ 49 w 122"/>
                <a:gd name="T69" fmla="*/ 64 h 116"/>
                <a:gd name="T70" fmla="*/ 45 w 122"/>
                <a:gd name="T71" fmla="*/ 64 h 116"/>
                <a:gd name="T72" fmla="*/ 77 w 122"/>
                <a:gd name="T73" fmla="*/ 76 h 116"/>
                <a:gd name="T74" fmla="*/ 86 w 122"/>
                <a:gd name="T75" fmla="*/ 76 h 116"/>
                <a:gd name="T76" fmla="*/ 80 w 122"/>
                <a:gd name="T77" fmla="*/ 81 h 116"/>
                <a:gd name="T78" fmla="*/ 58 w 122"/>
                <a:gd name="T79" fmla="*/ 75 h 116"/>
                <a:gd name="T80" fmla="*/ 67 w 122"/>
                <a:gd name="T81" fmla="*/ 75 h 116"/>
                <a:gd name="T82" fmla="*/ 67 w 122"/>
                <a:gd name="T83" fmla="*/ 76 h 116"/>
                <a:gd name="T84" fmla="*/ 42 w 122"/>
                <a:gd name="T85" fmla="*/ 73 h 116"/>
                <a:gd name="T86" fmla="*/ 42 w 122"/>
                <a:gd name="T87" fmla="*/ 69 h 116"/>
                <a:gd name="T88" fmla="*/ 35 w 122"/>
                <a:gd name="T89" fmla="*/ 87 h 116"/>
                <a:gd name="T90" fmla="*/ 35 w 122"/>
                <a:gd name="T91" fmla="*/ 87 h 116"/>
                <a:gd name="T92" fmla="*/ 39 w 122"/>
                <a:gd name="T93" fmla="*/ 87 h 116"/>
                <a:gd name="T94" fmla="*/ 35 w 122"/>
                <a:gd name="T95" fmla="*/ 64 h 116"/>
                <a:gd name="T96" fmla="*/ 39 w 122"/>
                <a:gd name="T97" fmla="*/ 64 h 116"/>
                <a:gd name="T98" fmla="*/ 33 w 122"/>
                <a:gd name="T99" fmla="*/ 70 h 116"/>
                <a:gd name="T100" fmla="*/ 71 w 122"/>
                <a:gd name="T101" fmla="*/ 66 h 116"/>
                <a:gd name="T102" fmla="*/ 71 w 122"/>
                <a:gd name="T103" fmla="*/ 58 h 116"/>
                <a:gd name="T104" fmla="*/ 71 w 122"/>
                <a:gd name="T105" fmla="*/ 90 h 116"/>
                <a:gd name="T106" fmla="*/ 71 w 122"/>
                <a:gd name="T107" fmla="*/ 81 h 116"/>
                <a:gd name="T108" fmla="*/ 77 w 122"/>
                <a:gd name="T109" fmla="*/ 87 h 116"/>
                <a:gd name="T110" fmla="*/ 49 w 122"/>
                <a:gd name="T111" fmla="*/ 87 h 116"/>
                <a:gd name="T112" fmla="*/ 45 w 122"/>
                <a:gd name="T113" fmla="*/ 87 h 116"/>
                <a:gd name="T114" fmla="*/ 92 w 122"/>
                <a:gd name="T115" fmla="*/ 87 h 116"/>
                <a:gd name="T116" fmla="*/ 92 w 122"/>
                <a:gd name="T117" fmla="*/ 87 h 116"/>
                <a:gd name="T118" fmla="*/ 96 w 122"/>
                <a:gd name="T119" fmla="*/ 8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" h="116">
                  <a:moveTo>
                    <a:pt x="119" y="65"/>
                  </a:moveTo>
                  <a:cubicBezTo>
                    <a:pt x="119" y="65"/>
                    <a:pt x="119" y="66"/>
                    <a:pt x="118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3" y="66"/>
                    <a:pt x="113" y="65"/>
                    <a:pt x="113" y="65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1"/>
                    <a:pt x="113" y="51"/>
                    <a:pt x="114" y="51"/>
                  </a:cubicBezTo>
                  <a:cubicBezTo>
                    <a:pt x="118" y="51"/>
                    <a:pt x="118" y="51"/>
                    <a:pt x="118" y="51"/>
                  </a:cubicBezTo>
                  <a:cubicBezTo>
                    <a:pt x="119" y="51"/>
                    <a:pt x="119" y="51"/>
                    <a:pt x="119" y="52"/>
                  </a:cubicBezTo>
                  <a:lnTo>
                    <a:pt x="119" y="65"/>
                  </a:lnTo>
                  <a:close/>
                  <a:moveTo>
                    <a:pt x="110" y="98"/>
                  </a:moveTo>
                  <a:cubicBezTo>
                    <a:pt x="110" y="100"/>
                    <a:pt x="108" y="102"/>
                    <a:pt x="105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4" y="102"/>
                    <a:pt x="12" y="100"/>
                    <a:pt x="12" y="98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39"/>
                    <a:pt x="14" y="37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8"/>
                    <a:pt x="18" y="38"/>
                    <a:pt x="18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19" y="39"/>
                    <a:pt x="19" y="39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20" y="40"/>
                    <a:pt x="20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2" y="42"/>
                    <a:pt x="22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7" y="43"/>
                    <a:pt x="28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1" y="46"/>
                    <a:pt x="33" y="49"/>
                    <a:pt x="37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9" y="49"/>
                    <a:pt x="92" y="46"/>
                    <a:pt x="92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5" y="43"/>
                    <a:pt x="96" y="43"/>
                    <a:pt x="96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9" y="43"/>
                  </a:cubicBezTo>
                  <a:cubicBezTo>
                    <a:pt x="99" y="42"/>
                    <a:pt x="99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41"/>
                    <a:pt x="102" y="41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3" y="40"/>
                    <a:pt x="103" y="40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4" y="39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8" y="37"/>
                    <a:pt x="110" y="39"/>
                    <a:pt x="110" y="41"/>
                  </a:cubicBezTo>
                  <a:lnTo>
                    <a:pt x="110" y="98"/>
                  </a:lnTo>
                  <a:close/>
                  <a:moveTo>
                    <a:pt x="110" y="109"/>
                  </a:moveTo>
                  <a:cubicBezTo>
                    <a:pt x="110" y="111"/>
                    <a:pt x="108" y="113"/>
                    <a:pt x="105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4" y="113"/>
                    <a:pt x="12" y="111"/>
                    <a:pt x="12" y="109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3" y="104"/>
                    <a:pt x="13" y="104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6" y="105"/>
                    <a:pt x="17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6" y="105"/>
                    <a:pt x="106" y="105"/>
                    <a:pt x="107" y="105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7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4"/>
                    <a:pt x="109" y="104"/>
                    <a:pt x="110" y="104"/>
                  </a:cubicBezTo>
                  <a:lnTo>
                    <a:pt x="110" y="109"/>
                  </a:lnTo>
                  <a:close/>
                  <a:moveTo>
                    <a:pt x="21" y="3"/>
                  </a:moveTo>
                  <a:cubicBezTo>
                    <a:pt x="91" y="3"/>
                    <a:pt x="91" y="3"/>
                    <a:pt x="91" y="3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13"/>
                    <a:pt x="92" y="13"/>
                    <a:pt x="93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8"/>
                    <a:pt x="98" y="40"/>
                    <a:pt x="94" y="40"/>
                  </a:cubicBezTo>
                  <a:cubicBezTo>
                    <a:pt x="91" y="40"/>
                    <a:pt x="91" y="40"/>
                    <a:pt x="91" y="40"/>
                  </a:cubicBezTo>
                  <a:cubicBezTo>
                    <a:pt x="90" y="40"/>
                    <a:pt x="90" y="41"/>
                    <a:pt x="89" y="41"/>
                  </a:cubicBezTo>
                  <a:cubicBezTo>
                    <a:pt x="89" y="44"/>
                    <a:pt x="87" y="45"/>
                    <a:pt x="85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5" y="45"/>
                    <a:pt x="33" y="44"/>
                    <a:pt x="33" y="41"/>
                  </a:cubicBezTo>
                  <a:cubicBezTo>
                    <a:pt x="32" y="41"/>
                    <a:pt x="32" y="40"/>
                    <a:pt x="31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4" y="40"/>
                    <a:pt x="21" y="38"/>
                    <a:pt x="21" y="36"/>
                  </a:cubicBezTo>
                  <a:lnTo>
                    <a:pt x="21" y="3"/>
                  </a:lnTo>
                  <a:close/>
                  <a:moveTo>
                    <a:pt x="95" y="6"/>
                  </a:moveTo>
                  <a:cubicBezTo>
                    <a:pt x="99" y="10"/>
                    <a:pt x="99" y="10"/>
                    <a:pt x="99" y="10"/>
                  </a:cubicBezTo>
                  <a:cubicBezTo>
                    <a:pt x="95" y="10"/>
                    <a:pt x="95" y="10"/>
                    <a:pt x="95" y="10"/>
                  </a:cubicBezTo>
                  <a:lnTo>
                    <a:pt x="95" y="6"/>
                  </a:lnTo>
                  <a:close/>
                  <a:moveTo>
                    <a:pt x="9" y="65"/>
                  </a:moveTo>
                  <a:cubicBezTo>
                    <a:pt x="9" y="65"/>
                    <a:pt x="9" y="66"/>
                    <a:pt x="8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3" y="65"/>
                    <a:pt x="3" y="65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9" y="51"/>
                    <a:pt x="9" y="51"/>
                    <a:pt x="9" y="52"/>
                  </a:cubicBezTo>
                  <a:lnTo>
                    <a:pt x="9" y="65"/>
                  </a:lnTo>
                  <a:close/>
                  <a:moveTo>
                    <a:pt x="118" y="47"/>
                  </a:moveTo>
                  <a:cubicBezTo>
                    <a:pt x="114" y="47"/>
                    <a:pt x="114" y="47"/>
                    <a:pt x="114" y="47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37"/>
                    <a:pt x="110" y="34"/>
                    <a:pt x="105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2" y="34"/>
                    <a:pt x="9" y="37"/>
                    <a:pt x="9" y="4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9"/>
                    <a:pt x="0" y="52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7"/>
                    <a:pt x="2" y="69"/>
                    <a:pt x="4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13"/>
                    <a:pt x="12" y="116"/>
                    <a:pt x="17" y="116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10" y="116"/>
                    <a:pt x="113" y="113"/>
                    <a:pt x="113" y="10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3" y="69"/>
                    <a:pt x="113" y="69"/>
                    <a:pt x="114" y="69"/>
                  </a:cubicBezTo>
                  <a:cubicBezTo>
                    <a:pt x="118" y="69"/>
                    <a:pt x="118" y="69"/>
                    <a:pt x="118" y="69"/>
                  </a:cubicBezTo>
                  <a:cubicBezTo>
                    <a:pt x="120" y="69"/>
                    <a:pt x="122" y="67"/>
                    <a:pt x="122" y="65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49"/>
                    <a:pt x="120" y="47"/>
                    <a:pt x="118" y="47"/>
                  </a:cubicBezTo>
                  <a:moveTo>
                    <a:pt x="91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91" y="34"/>
                    <a:pt x="91" y="34"/>
                    <a:pt x="91" y="34"/>
                  </a:cubicBezTo>
                  <a:lnTo>
                    <a:pt x="91" y="30"/>
                  </a:lnTo>
                  <a:close/>
                  <a:moveTo>
                    <a:pt x="91" y="23"/>
                  </a:moveTo>
                  <a:cubicBezTo>
                    <a:pt x="30" y="23"/>
                    <a:pt x="30" y="23"/>
                    <a:pt x="30" y="23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91" y="26"/>
                    <a:pt x="91" y="26"/>
                    <a:pt x="91" y="26"/>
                  </a:cubicBezTo>
                  <a:lnTo>
                    <a:pt x="91" y="23"/>
                  </a:lnTo>
                  <a:close/>
                  <a:moveTo>
                    <a:pt x="76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76" y="18"/>
                    <a:pt x="76" y="18"/>
                    <a:pt x="76" y="18"/>
                  </a:cubicBezTo>
                  <a:lnTo>
                    <a:pt x="76" y="15"/>
                  </a:lnTo>
                  <a:close/>
                  <a:moveTo>
                    <a:pt x="92" y="64"/>
                  </a:moveTo>
                  <a:cubicBezTo>
                    <a:pt x="92" y="65"/>
                    <a:pt x="91" y="66"/>
                    <a:pt x="90" y="66"/>
                  </a:cubicBezTo>
                  <a:cubicBezTo>
                    <a:pt x="88" y="66"/>
                    <a:pt x="87" y="65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2"/>
                    <a:pt x="88" y="61"/>
                    <a:pt x="90" y="61"/>
                  </a:cubicBezTo>
                  <a:cubicBezTo>
                    <a:pt x="91" y="61"/>
                    <a:pt x="92" y="62"/>
                    <a:pt x="92" y="64"/>
                  </a:cubicBezTo>
                  <a:close/>
                  <a:moveTo>
                    <a:pt x="90" y="58"/>
                  </a:moveTo>
                  <a:cubicBezTo>
                    <a:pt x="86" y="58"/>
                    <a:pt x="83" y="60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7"/>
                    <a:pt x="86" y="70"/>
                    <a:pt x="90" y="70"/>
                  </a:cubicBezTo>
                  <a:cubicBezTo>
                    <a:pt x="93" y="70"/>
                    <a:pt x="96" y="67"/>
                    <a:pt x="96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60"/>
                    <a:pt x="93" y="58"/>
                    <a:pt x="90" y="58"/>
                  </a:cubicBezTo>
                  <a:moveTo>
                    <a:pt x="49" y="64"/>
                  </a:moveTo>
                  <a:cubicBezTo>
                    <a:pt x="49" y="62"/>
                    <a:pt x="50" y="61"/>
                    <a:pt x="52" y="61"/>
                  </a:cubicBezTo>
                  <a:cubicBezTo>
                    <a:pt x="53" y="61"/>
                    <a:pt x="54" y="62"/>
                    <a:pt x="54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5"/>
                    <a:pt x="53" y="66"/>
                    <a:pt x="52" y="66"/>
                  </a:cubicBezTo>
                  <a:cubicBezTo>
                    <a:pt x="50" y="66"/>
                    <a:pt x="49" y="65"/>
                    <a:pt x="49" y="64"/>
                  </a:cubicBezTo>
                  <a:close/>
                  <a:moveTo>
                    <a:pt x="52" y="70"/>
                  </a:moveTo>
                  <a:cubicBezTo>
                    <a:pt x="55" y="70"/>
                    <a:pt x="58" y="67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0"/>
                    <a:pt x="55" y="58"/>
                    <a:pt x="52" y="58"/>
                  </a:cubicBezTo>
                  <a:cubicBezTo>
                    <a:pt x="48" y="58"/>
                    <a:pt x="45" y="60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7"/>
                    <a:pt x="48" y="70"/>
                    <a:pt x="52" y="70"/>
                  </a:cubicBezTo>
                  <a:moveTo>
                    <a:pt x="83" y="76"/>
                  </a:moveTo>
                  <a:cubicBezTo>
                    <a:pt x="83" y="77"/>
                    <a:pt x="82" y="78"/>
                    <a:pt x="80" y="78"/>
                  </a:cubicBezTo>
                  <a:cubicBezTo>
                    <a:pt x="78" y="78"/>
                    <a:pt x="77" y="77"/>
                    <a:pt x="77" y="76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4"/>
                    <a:pt x="78" y="73"/>
                    <a:pt x="80" y="73"/>
                  </a:cubicBezTo>
                  <a:cubicBezTo>
                    <a:pt x="82" y="73"/>
                    <a:pt x="83" y="74"/>
                    <a:pt x="83" y="75"/>
                  </a:cubicBezTo>
                  <a:lnTo>
                    <a:pt x="83" y="76"/>
                  </a:lnTo>
                  <a:close/>
                  <a:moveTo>
                    <a:pt x="86" y="76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72"/>
                    <a:pt x="83" y="69"/>
                    <a:pt x="80" y="69"/>
                  </a:cubicBezTo>
                  <a:cubicBezTo>
                    <a:pt x="77" y="69"/>
                    <a:pt x="74" y="72"/>
                    <a:pt x="74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9"/>
                    <a:pt x="77" y="81"/>
                    <a:pt x="80" y="81"/>
                  </a:cubicBezTo>
                  <a:cubicBezTo>
                    <a:pt x="83" y="81"/>
                    <a:pt x="86" y="79"/>
                    <a:pt x="86" y="76"/>
                  </a:cubicBezTo>
                  <a:moveTo>
                    <a:pt x="64" y="76"/>
                  </a:moveTo>
                  <a:cubicBezTo>
                    <a:pt x="64" y="77"/>
                    <a:pt x="63" y="78"/>
                    <a:pt x="61" y="78"/>
                  </a:cubicBezTo>
                  <a:cubicBezTo>
                    <a:pt x="60" y="78"/>
                    <a:pt x="58" y="77"/>
                    <a:pt x="58" y="76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9" y="73"/>
                    <a:pt x="61" y="73"/>
                  </a:cubicBezTo>
                  <a:cubicBezTo>
                    <a:pt x="63" y="73"/>
                    <a:pt x="64" y="74"/>
                    <a:pt x="64" y="75"/>
                  </a:cubicBezTo>
                  <a:lnTo>
                    <a:pt x="64" y="76"/>
                  </a:lnTo>
                  <a:close/>
                  <a:moveTo>
                    <a:pt x="67" y="76"/>
                  </a:moveTo>
                  <a:cubicBezTo>
                    <a:pt x="67" y="75"/>
                    <a:pt x="67" y="75"/>
                    <a:pt x="67" y="75"/>
                  </a:cubicBezTo>
                  <a:cubicBezTo>
                    <a:pt x="67" y="72"/>
                    <a:pt x="64" y="69"/>
                    <a:pt x="61" y="69"/>
                  </a:cubicBezTo>
                  <a:cubicBezTo>
                    <a:pt x="58" y="69"/>
                    <a:pt x="55" y="72"/>
                    <a:pt x="55" y="75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9"/>
                    <a:pt x="58" y="81"/>
                    <a:pt x="61" y="81"/>
                  </a:cubicBezTo>
                  <a:cubicBezTo>
                    <a:pt x="64" y="81"/>
                    <a:pt x="67" y="79"/>
                    <a:pt x="67" y="76"/>
                  </a:cubicBezTo>
                  <a:moveTo>
                    <a:pt x="45" y="76"/>
                  </a:moveTo>
                  <a:cubicBezTo>
                    <a:pt x="45" y="77"/>
                    <a:pt x="44" y="78"/>
                    <a:pt x="42" y="78"/>
                  </a:cubicBezTo>
                  <a:cubicBezTo>
                    <a:pt x="41" y="78"/>
                    <a:pt x="39" y="77"/>
                    <a:pt x="39" y="7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4"/>
                    <a:pt x="41" y="73"/>
                    <a:pt x="42" y="73"/>
                  </a:cubicBezTo>
                  <a:cubicBezTo>
                    <a:pt x="44" y="73"/>
                    <a:pt x="45" y="74"/>
                    <a:pt x="45" y="75"/>
                  </a:cubicBezTo>
                  <a:lnTo>
                    <a:pt x="45" y="76"/>
                  </a:lnTo>
                  <a:close/>
                  <a:moveTo>
                    <a:pt x="48" y="76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2"/>
                    <a:pt x="45" y="69"/>
                    <a:pt x="42" y="69"/>
                  </a:cubicBezTo>
                  <a:cubicBezTo>
                    <a:pt x="39" y="69"/>
                    <a:pt x="36" y="72"/>
                    <a:pt x="36" y="75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6" y="79"/>
                    <a:pt x="39" y="81"/>
                    <a:pt x="42" y="81"/>
                  </a:cubicBezTo>
                  <a:cubicBezTo>
                    <a:pt x="45" y="81"/>
                    <a:pt x="48" y="79"/>
                    <a:pt x="48" y="76"/>
                  </a:cubicBezTo>
                  <a:moveTo>
                    <a:pt x="35" y="87"/>
                  </a:moveTo>
                  <a:cubicBezTo>
                    <a:pt x="35" y="89"/>
                    <a:pt x="34" y="90"/>
                    <a:pt x="33" y="90"/>
                  </a:cubicBezTo>
                  <a:cubicBezTo>
                    <a:pt x="31" y="90"/>
                    <a:pt x="30" y="89"/>
                    <a:pt x="30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85"/>
                    <a:pt x="31" y="84"/>
                    <a:pt x="33" y="84"/>
                  </a:cubicBezTo>
                  <a:cubicBezTo>
                    <a:pt x="34" y="84"/>
                    <a:pt x="35" y="85"/>
                    <a:pt x="35" y="87"/>
                  </a:cubicBezTo>
                  <a:close/>
                  <a:moveTo>
                    <a:pt x="33" y="81"/>
                  </a:moveTo>
                  <a:cubicBezTo>
                    <a:pt x="29" y="81"/>
                    <a:pt x="26" y="84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1"/>
                    <a:pt x="29" y="93"/>
                    <a:pt x="33" y="93"/>
                  </a:cubicBezTo>
                  <a:cubicBezTo>
                    <a:pt x="36" y="93"/>
                    <a:pt x="39" y="91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4"/>
                    <a:pt x="36" y="81"/>
                    <a:pt x="33" y="81"/>
                  </a:cubicBezTo>
                  <a:moveTo>
                    <a:pt x="30" y="64"/>
                  </a:moveTo>
                  <a:cubicBezTo>
                    <a:pt x="30" y="62"/>
                    <a:pt x="31" y="61"/>
                    <a:pt x="33" y="61"/>
                  </a:cubicBezTo>
                  <a:cubicBezTo>
                    <a:pt x="34" y="61"/>
                    <a:pt x="35" y="62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5"/>
                    <a:pt x="34" y="66"/>
                    <a:pt x="33" y="66"/>
                  </a:cubicBezTo>
                  <a:cubicBezTo>
                    <a:pt x="31" y="66"/>
                    <a:pt x="30" y="65"/>
                    <a:pt x="30" y="64"/>
                  </a:cubicBezTo>
                  <a:close/>
                  <a:moveTo>
                    <a:pt x="33" y="70"/>
                  </a:moveTo>
                  <a:cubicBezTo>
                    <a:pt x="36" y="70"/>
                    <a:pt x="39" y="67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0"/>
                    <a:pt x="36" y="58"/>
                    <a:pt x="33" y="58"/>
                  </a:cubicBezTo>
                  <a:cubicBezTo>
                    <a:pt x="29" y="58"/>
                    <a:pt x="26" y="60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7"/>
                    <a:pt x="29" y="70"/>
                    <a:pt x="33" y="70"/>
                  </a:cubicBezTo>
                  <a:moveTo>
                    <a:pt x="68" y="64"/>
                  </a:moveTo>
                  <a:cubicBezTo>
                    <a:pt x="68" y="62"/>
                    <a:pt x="69" y="61"/>
                    <a:pt x="71" y="61"/>
                  </a:cubicBezTo>
                  <a:cubicBezTo>
                    <a:pt x="72" y="61"/>
                    <a:pt x="73" y="62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5"/>
                    <a:pt x="72" y="66"/>
                    <a:pt x="71" y="66"/>
                  </a:cubicBezTo>
                  <a:cubicBezTo>
                    <a:pt x="69" y="66"/>
                    <a:pt x="68" y="65"/>
                    <a:pt x="68" y="64"/>
                  </a:cubicBezTo>
                  <a:close/>
                  <a:moveTo>
                    <a:pt x="71" y="70"/>
                  </a:moveTo>
                  <a:cubicBezTo>
                    <a:pt x="74" y="70"/>
                    <a:pt x="77" y="67"/>
                    <a:pt x="77" y="64"/>
                  </a:cubicBezTo>
                  <a:cubicBezTo>
                    <a:pt x="77" y="64"/>
                    <a:pt x="77" y="64"/>
                    <a:pt x="77" y="64"/>
                  </a:cubicBezTo>
                  <a:cubicBezTo>
                    <a:pt x="77" y="60"/>
                    <a:pt x="74" y="58"/>
                    <a:pt x="71" y="58"/>
                  </a:cubicBezTo>
                  <a:cubicBezTo>
                    <a:pt x="67" y="58"/>
                    <a:pt x="64" y="60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7"/>
                    <a:pt x="67" y="70"/>
                    <a:pt x="71" y="70"/>
                  </a:cubicBezTo>
                  <a:moveTo>
                    <a:pt x="73" y="87"/>
                  </a:moveTo>
                  <a:cubicBezTo>
                    <a:pt x="73" y="89"/>
                    <a:pt x="72" y="90"/>
                    <a:pt x="71" y="90"/>
                  </a:cubicBezTo>
                  <a:cubicBezTo>
                    <a:pt x="69" y="90"/>
                    <a:pt x="68" y="89"/>
                    <a:pt x="68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5"/>
                    <a:pt x="69" y="84"/>
                    <a:pt x="71" y="84"/>
                  </a:cubicBezTo>
                  <a:cubicBezTo>
                    <a:pt x="72" y="84"/>
                    <a:pt x="73" y="85"/>
                    <a:pt x="73" y="87"/>
                  </a:cubicBezTo>
                  <a:close/>
                  <a:moveTo>
                    <a:pt x="71" y="81"/>
                  </a:moveTo>
                  <a:cubicBezTo>
                    <a:pt x="67" y="81"/>
                    <a:pt x="64" y="84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91"/>
                    <a:pt x="67" y="93"/>
                    <a:pt x="71" y="93"/>
                  </a:cubicBezTo>
                  <a:cubicBezTo>
                    <a:pt x="74" y="93"/>
                    <a:pt x="77" y="91"/>
                    <a:pt x="77" y="87"/>
                  </a:cubicBezTo>
                  <a:cubicBezTo>
                    <a:pt x="77" y="87"/>
                    <a:pt x="77" y="87"/>
                    <a:pt x="77" y="87"/>
                  </a:cubicBezTo>
                  <a:cubicBezTo>
                    <a:pt x="77" y="84"/>
                    <a:pt x="74" y="81"/>
                    <a:pt x="71" y="81"/>
                  </a:cubicBezTo>
                  <a:moveTo>
                    <a:pt x="54" y="87"/>
                  </a:moveTo>
                  <a:cubicBezTo>
                    <a:pt x="54" y="89"/>
                    <a:pt x="53" y="90"/>
                    <a:pt x="52" y="90"/>
                  </a:cubicBezTo>
                  <a:cubicBezTo>
                    <a:pt x="50" y="90"/>
                    <a:pt x="49" y="89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5"/>
                    <a:pt x="50" y="84"/>
                    <a:pt x="52" y="84"/>
                  </a:cubicBezTo>
                  <a:cubicBezTo>
                    <a:pt x="53" y="84"/>
                    <a:pt x="54" y="85"/>
                    <a:pt x="54" y="87"/>
                  </a:cubicBezTo>
                  <a:close/>
                  <a:moveTo>
                    <a:pt x="52" y="81"/>
                  </a:moveTo>
                  <a:cubicBezTo>
                    <a:pt x="48" y="81"/>
                    <a:pt x="45" y="84"/>
                    <a:pt x="45" y="87"/>
                  </a:cubicBezTo>
                  <a:cubicBezTo>
                    <a:pt x="45" y="87"/>
                    <a:pt x="45" y="87"/>
                    <a:pt x="45" y="87"/>
                  </a:cubicBezTo>
                  <a:cubicBezTo>
                    <a:pt x="45" y="91"/>
                    <a:pt x="48" y="93"/>
                    <a:pt x="52" y="93"/>
                  </a:cubicBezTo>
                  <a:cubicBezTo>
                    <a:pt x="55" y="93"/>
                    <a:pt x="58" y="91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4"/>
                    <a:pt x="55" y="81"/>
                    <a:pt x="52" y="81"/>
                  </a:cubicBezTo>
                  <a:moveTo>
                    <a:pt x="92" y="87"/>
                  </a:moveTo>
                  <a:cubicBezTo>
                    <a:pt x="92" y="89"/>
                    <a:pt x="91" y="90"/>
                    <a:pt x="90" y="90"/>
                  </a:cubicBezTo>
                  <a:cubicBezTo>
                    <a:pt x="88" y="90"/>
                    <a:pt x="87" y="89"/>
                    <a:pt x="87" y="87"/>
                  </a:cubicBezTo>
                  <a:cubicBezTo>
                    <a:pt x="87" y="87"/>
                    <a:pt x="87" y="87"/>
                    <a:pt x="87" y="87"/>
                  </a:cubicBezTo>
                  <a:cubicBezTo>
                    <a:pt x="87" y="85"/>
                    <a:pt x="88" y="84"/>
                    <a:pt x="90" y="84"/>
                  </a:cubicBezTo>
                  <a:cubicBezTo>
                    <a:pt x="91" y="84"/>
                    <a:pt x="92" y="85"/>
                    <a:pt x="92" y="87"/>
                  </a:cubicBezTo>
                  <a:close/>
                  <a:moveTo>
                    <a:pt x="90" y="81"/>
                  </a:moveTo>
                  <a:cubicBezTo>
                    <a:pt x="86" y="81"/>
                    <a:pt x="83" y="84"/>
                    <a:pt x="83" y="87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83" y="91"/>
                    <a:pt x="86" y="93"/>
                    <a:pt x="90" y="93"/>
                  </a:cubicBezTo>
                  <a:cubicBezTo>
                    <a:pt x="93" y="93"/>
                    <a:pt x="96" y="91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4"/>
                    <a:pt x="93" y="81"/>
                    <a:pt x="90" y="8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8" name="Group 164">
            <a:extLst>
              <a:ext uri="{FF2B5EF4-FFF2-40B4-BE49-F238E27FC236}">
                <a16:creationId xmlns:a16="http://schemas.microsoft.com/office/drawing/2014/main" id="{E85E2DF2-BA42-4B35-B1C5-3286360028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190" y="2798963"/>
            <a:ext cx="841375" cy="841375"/>
            <a:chOff x="4369" y="1793"/>
            <a:chExt cx="530" cy="530"/>
          </a:xfrm>
        </p:grpSpPr>
        <p:sp>
          <p:nvSpPr>
            <p:cNvPr id="189" name="AutoShape 163">
              <a:extLst>
                <a:ext uri="{FF2B5EF4-FFF2-40B4-BE49-F238E27FC236}">
                  <a16:creationId xmlns:a16="http://schemas.microsoft.com/office/drawing/2014/main" id="{6D77FE6B-AAB6-4CA1-B7A4-18E2AB9E83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9" y="17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165">
              <a:extLst>
                <a:ext uri="{FF2B5EF4-FFF2-40B4-BE49-F238E27FC236}">
                  <a16:creationId xmlns:a16="http://schemas.microsoft.com/office/drawing/2014/main" id="{2EC01670-B425-4211-AC09-8EF1260C9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9" y="17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66">
              <a:extLst>
                <a:ext uri="{FF2B5EF4-FFF2-40B4-BE49-F238E27FC236}">
                  <a16:creationId xmlns:a16="http://schemas.microsoft.com/office/drawing/2014/main" id="{46F3F261-6886-462F-A08B-7AC4C546A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7" y="18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67">
              <a:extLst>
                <a:ext uri="{FF2B5EF4-FFF2-40B4-BE49-F238E27FC236}">
                  <a16:creationId xmlns:a16="http://schemas.microsoft.com/office/drawing/2014/main" id="{FCECA494-9E5C-4D5E-AB6C-EA88633B50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9" y="1911"/>
              <a:ext cx="312" cy="297"/>
            </a:xfrm>
            <a:custGeom>
              <a:avLst/>
              <a:gdLst>
                <a:gd name="T0" fmla="*/ 113 w 122"/>
                <a:gd name="T1" fmla="*/ 52 h 116"/>
                <a:gd name="T2" fmla="*/ 110 w 122"/>
                <a:gd name="T3" fmla="*/ 98 h 116"/>
                <a:gd name="T4" fmla="*/ 17 w 122"/>
                <a:gd name="T5" fmla="*/ 37 h 116"/>
                <a:gd name="T6" fmla="*/ 19 w 122"/>
                <a:gd name="T7" fmla="*/ 40 h 116"/>
                <a:gd name="T8" fmla="*/ 21 w 122"/>
                <a:gd name="T9" fmla="*/ 42 h 116"/>
                <a:gd name="T10" fmla="*/ 26 w 122"/>
                <a:gd name="T11" fmla="*/ 43 h 116"/>
                <a:gd name="T12" fmla="*/ 85 w 122"/>
                <a:gd name="T13" fmla="*/ 49 h 116"/>
                <a:gd name="T14" fmla="*/ 98 w 122"/>
                <a:gd name="T15" fmla="*/ 43 h 116"/>
                <a:gd name="T16" fmla="*/ 101 w 122"/>
                <a:gd name="T17" fmla="*/ 41 h 116"/>
                <a:gd name="T18" fmla="*/ 104 w 122"/>
                <a:gd name="T19" fmla="*/ 38 h 116"/>
                <a:gd name="T20" fmla="*/ 110 w 122"/>
                <a:gd name="T21" fmla="*/ 98 h 116"/>
                <a:gd name="T22" fmla="*/ 12 w 122"/>
                <a:gd name="T23" fmla="*/ 104 h 116"/>
                <a:gd name="T24" fmla="*/ 17 w 122"/>
                <a:gd name="T25" fmla="*/ 105 h 116"/>
                <a:gd name="T26" fmla="*/ 108 w 122"/>
                <a:gd name="T27" fmla="*/ 105 h 116"/>
                <a:gd name="T28" fmla="*/ 91 w 122"/>
                <a:gd name="T29" fmla="*/ 12 h 116"/>
                <a:gd name="T30" fmla="*/ 94 w 122"/>
                <a:gd name="T31" fmla="*/ 40 h 116"/>
                <a:gd name="T32" fmla="*/ 33 w 122"/>
                <a:gd name="T33" fmla="*/ 41 h 116"/>
                <a:gd name="T34" fmla="*/ 95 w 122"/>
                <a:gd name="T35" fmla="*/ 6 h 116"/>
                <a:gd name="T36" fmla="*/ 8 w 122"/>
                <a:gd name="T37" fmla="*/ 66 h 116"/>
                <a:gd name="T38" fmla="*/ 8 w 122"/>
                <a:gd name="T39" fmla="*/ 51 h 116"/>
                <a:gd name="T40" fmla="*/ 113 w 122"/>
                <a:gd name="T41" fmla="*/ 47 h 116"/>
                <a:gd name="T42" fmla="*/ 104 w 122"/>
                <a:gd name="T43" fmla="*/ 12 h 116"/>
                <a:gd name="T44" fmla="*/ 94 w 122"/>
                <a:gd name="T45" fmla="*/ 0 h 116"/>
                <a:gd name="T46" fmla="*/ 18 w 122"/>
                <a:gd name="T47" fmla="*/ 2 h 116"/>
                <a:gd name="T48" fmla="*/ 8 w 122"/>
                <a:gd name="T49" fmla="*/ 47 h 116"/>
                <a:gd name="T50" fmla="*/ 8 w 122"/>
                <a:gd name="T51" fmla="*/ 69 h 116"/>
                <a:gd name="T52" fmla="*/ 113 w 122"/>
                <a:gd name="T53" fmla="*/ 109 h 116"/>
                <a:gd name="T54" fmla="*/ 122 w 122"/>
                <a:gd name="T55" fmla="*/ 52 h 116"/>
                <a:gd name="T56" fmla="*/ 91 w 122"/>
                <a:gd name="T57" fmla="*/ 34 h 116"/>
                <a:gd name="T58" fmla="*/ 91 w 122"/>
                <a:gd name="T59" fmla="*/ 26 h 116"/>
                <a:gd name="T60" fmla="*/ 76 w 122"/>
                <a:gd name="T61" fmla="*/ 18 h 116"/>
                <a:gd name="T62" fmla="*/ 87 w 122"/>
                <a:gd name="T63" fmla="*/ 64 h 116"/>
                <a:gd name="T64" fmla="*/ 83 w 122"/>
                <a:gd name="T65" fmla="*/ 64 h 116"/>
                <a:gd name="T66" fmla="*/ 49 w 122"/>
                <a:gd name="T67" fmla="*/ 64 h 116"/>
                <a:gd name="T68" fmla="*/ 49 w 122"/>
                <a:gd name="T69" fmla="*/ 64 h 116"/>
                <a:gd name="T70" fmla="*/ 45 w 122"/>
                <a:gd name="T71" fmla="*/ 64 h 116"/>
                <a:gd name="T72" fmla="*/ 77 w 122"/>
                <a:gd name="T73" fmla="*/ 76 h 116"/>
                <a:gd name="T74" fmla="*/ 86 w 122"/>
                <a:gd name="T75" fmla="*/ 76 h 116"/>
                <a:gd name="T76" fmla="*/ 80 w 122"/>
                <a:gd name="T77" fmla="*/ 81 h 116"/>
                <a:gd name="T78" fmla="*/ 58 w 122"/>
                <a:gd name="T79" fmla="*/ 75 h 116"/>
                <a:gd name="T80" fmla="*/ 67 w 122"/>
                <a:gd name="T81" fmla="*/ 75 h 116"/>
                <a:gd name="T82" fmla="*/ 67 w 122"/>
                <a:gd name="T83" fmla="*/ 76 h 116"/>
                <a:gd name="T84" fmla="*/ 42 w 122"/>
                <a:gd name="T85" fmla="*/ 73 h 116"/>
                <a:gd name="T86" fmla="*/ 42 w 122"/>
                <a:gd name="T87" fmla="*/ 69 h 116"/>
                <a:gd name="T88" fmla="*/ 35 w 122"/>
                <a:gd name="T89" fmla="*/ 87 h 116"/>
                <a:gd name="T90" fmla="*/ 35 w 122"/>
                <a:gd name="T91" fmla="*/ 87 h 116"/>
                <a:gd name="T92" fmla="*/ 39 w 122"/>
                <a:gd name="T93" fmla="*/ 87 h 116"/>
                <a:gd name="T94" fmla="*/ 35 w 122"/>
                <a:gd name="T95" fmla="*/ 64 h 116"/>
                <a:gd name="T96" fmla="*/ 39 w 122"/>
                <a:gd name="T97" fmla="*/ 64 h 116"/>
                <a:gd name="T98" fmla="*/ 33 w 122"/>
                <a:gd name="T99" fmla="*/ 70 h 116"/>
                <a:gd name="T100" fmla="*/ 71 w 122"/>
                <a:gd name="T101" fmla="*/ 66 h 116"/>
                <a:gd name="T102" fmla="*/ 71 w 122"/>
                <a:gd name="T103" fmla="*/ 58 h 116"/>
                <a:gd name="T104" fmla="*/ 71 w 122"/>
                <a:gd name="T105" fmla="*/ 90 h 116"/>
                <a:gd name="T106" fmla="*/ 71 w 122"/>
                <a:gd name="T107" fmla="*/ 81 h 116"/>
                <a:gd name="T108" fmla="*/ 77 w 122"/>
                <a:gd name="T109" fmla="*/ 87 h 116"/>
                <a:gd name="T110" fmla="*/ 49 w 122"/>
                <a:gd name="T111" fmla="*/ 87 h 116"/>
                <a:gd name="T112" fmla="*/ 45 w 122"/>
                <a:gd name="T113" fmla="*/ 87 h 116"/>
                <a:gd name="T114" fmla="*/ 92 w 122"/>
                <a:gd name="T115" fmla="*/ 87 h 116"/>
                <a:gd name="T116" fmla="*/ 92 w 122"/>
                <a:gd name="T117" fmla="*/ 87 h 116"/>
                <a:gd name="T118" fmla="*/ 96 w 122"/>
                <a:gd name="T119" fmla="*/ 8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" h="116">
                  <a:moveTo>
                    <a:pt x="119" y="65"/>
                  </a:moveTo>
                  <a:cubicBezTo>
                    <a:pt x="119" y="65"/>
                    <a:pt x="119" y="66"/>
                    <a:pt x="118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3" y="66"/>
                    <a:pt x="113" y="65"/>
                    <a:pt x="113" y="65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3" y="51"/>
                    <a:pt x="113" y="51"/>
                    <a:pt x="114" y="51"/>
                  </a:cubicBezTo>
                  <a:cubicBezTo>
                    <a:pt x="118" y="51"/>
                    <a:pt x="118" y="51"/>
                    <a:pt x="118" y="51"/>
                  </a:cubicBezTo>
                  <a:cubicBezTo>
                    <a:pt x="119" y="51"/>
                    <a:pt x="119" y="51"/>
                    <a:pt x="119" y="52"/>
                  </a:cubicBezTo>
                  <a:lnTo>
                    <a:pt x="119" y="65"/>
                  </a:lnTo>
                  <a:close/>
                  <a:moveTo>
                    <a:pt x="110" y="98"/>
                  </a:moveTo>
                  <a:cubicBezTo>
                    <a:pt x="110" y="100"/>
                    <a:pt x="108" y="102"/>
                    <a:pt x="105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4" y="102"/>
                    <a:pt x="12" y="100"/>
                    <a:pt x="12" y="98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39"/>
                    <a:pt x="14" y="37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8"/>
                    <a:pt x="18" y="38"/>
                    <a:pt x="18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19" y="39"/>
                    <a:pt x="19" y="39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20" y="40"/>
                    <a:pt x="20" y="40"/>
                    <a:pt x="20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2" y="42"/>
                    <a:pt x="22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7" y="43"/>
                    <a:pt x="28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1" y="46"/>
                    <a:pt x="33" y="49"/>
                    <a:pt x="37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9" y="49"/>
                    <a:pt x="92" y="46"/>
                    <a:pt x="92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5" y="43"/>
                    <a:pt x="96" y="43"/>
                    <a:pt x="96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9" y="43"/>
                  </a:cubicBezTo>
                  <a:cubicBezTo>
                    <a:pt x="99" y="42"/>
                    <a:pt x="99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41"/>
                    <a:pt x="102" y="41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3" y="40"/>
                    <a:pt x="103" y="40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4" y="39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8" y="37"/>
                    <a:pt x="110" y="39"/>
                    <a:pt x="110" y="41"/>
                  </a:cubicBezTo>
                  <a:lnTo>
                    <a:pt x="110" y="98"/>
                  </a:lnTo>
                  <a:close/>
                  <a:moveTo>
                    <a:pt x="110" y="109"/>
                  </a:moveTo>
                  <a:cubicBezTo>
                    <a:pt x="110" y="111"/>
                    <a:pt x="108" y="113"/>
                    <a:pt x="105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4" y="113"/>
                    <a:pt x="12" y="111"/>
                    <a:pt x="12" y="109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3" y="104"/>
                    <a:pt x="13" y="104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6" y="105"/>
                    <a:pt x="17" y="105"/>
                  </a:cubicBezTo>
                  <a:cubicBezTo>
                    <a:pt x="105" y="105"/>
                    <a:pt x="105" y="105"/>
                    <a:pt x="105" y="105"/>
                  </a:cubicBezTo>
                  <a:cubicBezTo>
                    <a:pt x="106" y="105"/>
                    <a:pt x="106" y="105"/>
                    <a:pt x="107" y="105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7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4"/>
                    <a:pt x="109" y="104"/>
                    <a:pt x="110" y="104"/>
                  </a:cubicBezTo>
                  <a:lnTo>
                    <a:pt x="110" y="109"/>
                  </a:lnTo>
                  <a:close/>
                  <a:moveTo>
                    <a:pt x="21" y="3"/>
                  </a:moveTo>
                  <a:cubicBezTo>
                    <a:pt x="91" y="3"/>
                    <a:pt x="91" y="3"/>
                    <a:pt x="91" y="3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13"/>
                    <a:pt x="92" y="13"/>
                    <a:pt x="93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8"/>
                    <a:pt x="98" y="40"/>
                    <a:pt x="94" y="40"/>
                  </a:cubicBezTo>
                  <a:cubicBezTo>
                    <a:pt x="91" y="40"/>
                    <a:pt x="91" y="40"/>
                    <a:pt x="91" y="40"/>
                  </a:cubicBezTo>
                  <a:cubicBezTo>
                    <a:pt x="90" y="40"/>
                    <a:pt x="90" y="41"/>
                    <a:pt x="89" y="41"/>
                  </a:cubicBezTo>
                  <a:cubicBezTo>
                    <a:pt x="89" y="44"/>
                    <a:pt x="87" y="45"/>
                    <a:pt x="85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5" y="45"/>
                    <a:pt x="33" y="44"/>
                    <a:pt x="33" y="41"/>
                  </a:cubicBezTo>
                  <a:cubicBezTo>
                    <a:pt x="32" y="41"/>
                    <a:pt x="32" y="40"/>
                    <a:pt x="31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4" y="40"/>
                    <a:pt x="21" y="38"/>
                    <a:pt x="21" y="36"/>
                  </a:cubicBezTo>
                  <a:lnTo>
                    <a:pt x="21" y="3"/>
                  </a:lnTo>
                  <a:close/>
                  <a:moveTo>
                    <a:pt x="95" y="6"/>
                  </a:moveTo>
                  <a:cubicBezTo>
                    <a:pt x="99" y="10"/>
                    <a:pt x="99" y="10"/>
                    <a:pt x="99" y="10"/>
                  </a:cubicBezTo>
                  <a:cubicBezTo>
                    <a:pt x="95" y="10"/>
                    <a:pt x="95" y="10"/>
                    <a:pt x="95" y="10"/>
                  </a:cubicBezTo>
                  <a:lnTo>
                    <a:pt x="95" y="6"/>
                  </a:lnTo>
                  <a:close/>
                  <a:moveTo>
                    <a:pt x="9" y="65"/>
                  </a:moveTo>
                  <a:cubicBezTo>
                    <a:pt x="9" y="65"/>
                    <a:pt x="9" y="66"/>
                    <a:pt x="8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3" y="65"/>
                    <a:pt x="3" y="65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9" y="51"/>
                    <a:pt x="9" y="51"/>
                    <a:pt x="9" y="52"/>
                  </a:cubicBezTo>
                  <a:lnTo>
                    <a:pt x="9" y="65"/>
                  </a:lnTo>
                  <a:close/>
                  <a:moveTo>
                    <a:pt x="118" y="47"/>
                  </a:moveTo>
                  <a:cubicBezTo>
                    <a:pt x="114" y="47"/>
                    <a:pt x="114" y="47"/>
                    <a:pt x="114" y="47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37"/>
                    <a:pt x="110" y="34"/>
                    <a:pt x="105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8" y="1"/>
                    <a:pt x="18" y="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2" y="34"/>
                    <a:pt x="9" y="37"/>
                    <a:pt x="9" y="4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8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2" y="47"/>
                    <a:pt x="0" y="49"/>
                    <a:pt x="0" y="52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7"/>
                    <a:pt x="2" y="69"/>
                    <a:pt x="4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13"/>
                    <a:pt x="12" y="116"/>
                    <a:pt x="17" y="116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10" y="116"/>
                    <a:pt x="113" y="113"/>
                    <a:pt x="113" y="10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3" y="69"/>
                    <a:pt x="113" y="69"/>
                    <a:pt x="114" y="69"/>
                  </a:cubicBezTo>
                  <a:cubicBezTo>
                    <a:pt x="118" y="69"/>
                    <a:pt x="118" y="69"/>
                    <a:pt x="118" y="69"/>
                  </a:cubicBezTo>
                  <a:cubicBezTo>
                    <a:pt x="120" y="69"/>
                    <a:pt x="122" y="67"/>
                    <a:pt x="122" y="65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49"/>
                    <a:pt x="120" y="47"/>
                    <a:pt x="118" y="47"/>
                  </a:cubicBezTo>
                  <a:moveTo>
                    <a:pt x="91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91" y="34"/>
                    <a:pt x="91" y="34"/>
                    <a:pt x="91" y="34"/>
                  </a:cubicBezTo>
                  <a:lnTo>
                    <a:pt x="91" y="30"/>
                  </a:lnTo>
                  <a:close/>
                  <a:moveTo>
                    <a:pt x="91" y="23"/>
                  </a:moveTo>
                  <a:cubicBezTo>
                    <a:pt x="30" y="23"/>
                    <a:pt x="30" y="23"/>
                    <a:pt x="30" y="23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91" y="26"/>
                    <a:pt x="91" y="26"/>
                    <a:pt x="91" y="26"/>
                  </a:cubicBezTo>
                  <a:lnTo>
                    <a:pt x="91" y="23"/>
                  </a:lnTo>
                  <a:close/>
                  <a:moveTo>
                    <a:pt x="76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76" y="18"/>
                    <a:pt x="76" y="18"/>
                    <a:pt x="76" y="18"/>
                  </a:cubicBezTo>
                  <a:lnTo>
                    <a:pt x="76" y="15"/>
                  </a:lnTo>
                  <a:close/>
                  <a:moveTo>
                    <a:pt x="92" y="64"/>
                  </a:moveTo>
                  <a:cubicBezTo>
                    <a:pt x="92" y="65"/>
                    <a:pt x="91" y="66"/>
                    <a:pt x="90" y="66"/>
                  </a:cubicBezTo>
                  <a:cubicBezTo>
                    <a:pt x="88" y="66"/>
                    <a:pt x="87" y="65"/>
                    <a:pt x="87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2"/>
                    <a:pt x="88" y="61"/>
                    <a:pt x="90" y="61"/>
                  </a:cubicBezTo>
                  <a:cubicBezTo>
                    <a:pt x="91" y="61"/>
                    <a:pt x="92" y="62"/>
                    <a:pt x="92" y="64"/>
                  </a:cubicBezTo>
                  <a:close/>
                  <a:moveTo>
                    <a:pt x="90" y="58"/>
                  </a:moveTo>
                  <a:cubicBezTo>
                    <a:pt x="86" y="58"/>
                    <a:pt x="83" y="60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7"/>
                    <a:pt x="86" y="70"/>
                    <a:pt x="90" y="70"/>
                  </a:cubicBezTo>
                  <a:cubicBezTo>
                    <a:pt x="93" y="70"/>
                    <a:pt x="96" y="67"/>
                    <a:pt x="96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60"/>
                    <a:pt x="93" y="58"/>
                    <a:pt x="90" y="58"/>
                  </a:cubicBezTo>
                  <a:moveTo>
                    <a:pt x="49" y="64"/>
                  </a:moveTo>
                  <a:cubicBezTo>
                    <a:pt x="49" y="62"/>
                    <a:pt x="50" y="61"/>
                    <a:pt x="52" y="61"/>
                  </a:cubicBezTo>
                  <a:cubicBezTo>
                    <a:pt x="53" y="61"/>
                    <a:pt x="54" y="62"/>
                    <a:pt x="54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5"/>
                    <a:pt x="53" y="66"/>
                    <a:pt x="52" y="66"/>
                  </a:cubicBezTo>
                  <a:cubicBezTo>
                    <a:pt x="50" y="66"/>
                    <a:pt x="49" y="65"/>
                    <a:pt x="49" y="64"/>
                  </a:cubicBezTo>
                  <a:close/>
                  <a:moveTo>
                    <a:pt x="52" y="70"/>
                  </a:moveTo>
                  <a:cubicBezTo>
                    <a:pt x="55" y="70"/>
                    <a:pt x="58" y="67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0"/>
                    <a:pt x="55" y="58"/>
                    <a:pt x="52" y="58"/>
                  </a:cubicBezTo>
                  <a:cubicBezTo>
                    <a:pt x="48" y="58"/>
                    <a:pt x="45" y="60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7"/>
                    <a:pt x="48" y="70"/>
                    <a:pt x="52" y="70"/>
                  </a:cubicBezTo>
                  <a:moveTo>
                    <a:pt x="83" y="76"/>
                  </a:moveTo>
                  <a:cubicBezTo>
                    <a:pt x="83" y="77"/>
                    <a:pt x="82" y="78"/>
                    <a:pt x="80" y="78"/>
                  </a:cubicBezTo>
                  <a:cubicBezTo>
                    <a:pt x="78" y="78"/>
                    <a:pt x="77" y="77"/>
                    <a:pt x="77" y="76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4"/>
                    <a:pt x="78" y="73"/>
                    <a:pt x="80" y="73"/>
                  </a:cubicBezTo>
                  <a:cubicBezTo>
                    <a:pt x="82" y="73"/>
                    <a:pt x="83" y="74"/>
                    <a:pt x="83" y="75"/>
                  </a:cubicBezTo>
                  <a:lnTo>
                    <a:pt x="83" y="76"/>
                  </a:lnTo>
                  <a:close/>
                  <a:moveTo>
                    <a:pt x="86" y="76"/>
                  </a:moveTo>
                  <a:cubicBezTo>
                    <a:pt x="86" y="75"/>
                    <a:pt x="86" y="75"/>
                    <a:pt x="86" y="75"/>
                  </a:cubicBezTo>
                  <a:cubicBezTo>
                    <a:pt x="86" y="72"/>
                    <a:pt x="83" y="69"/>
                    <a:pt x="80" y="69"/>
                  </a:cubicBezTo>
                  <a:cubicBezTo>
                    <a:pt x="77" y="69"/>
                    <a:pt x="74" y="72"/>
                    <a:pt x="74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9"/>
                    <a:pt x="77" y="81"/>
                    <a:pt x="80" y="81"/>
                  </a:cubicBezTo>
                  <a:cubicBezTo>
                    <a:pt x="83" y="81"/>
                    <a:pt x="86" y="79"/>
                    <a:pt x="86" y="76"/>
                  </a:cubicBezTo>
                  <a:moveTo>
                    <a:pt x="64" y="76"/>
                  </a:moveTo>
                  <a:cubicBezTo>
                    <a:pt x="64" y="77"/>
                    <a:pt x="63" y="78"/>
                    <a:pt x="61" y="78"/>
                  </a:cubicBezTo>
                  <a:cubicBezTo>
                    <a:pt x="60" y="78"/>
                    <a:pt x="58" y="77"/>
                    <a:pt x="58" y="76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9" y="73"/>
                    <a:pt x="61" y="73"/>
                  </a:cubicBezTo>
                  <a:cubicBezTo>
                    <a:pt x="63" y="73"/>
                    <a:pt x="64" y="74"/>
                    <a:pt x="64" y="75"/>
                  </a:cubicBezTo>
                  <a:lnTo>
                    <a:pt x="64" y="76"/>
                  </a:lnTo>
                  <a:close/>
                  <a:moveTo>
                    <a:pt x="67" y="76"/>
                  </a:moveTo>
                  <a:cubicBezTo>
                    <a:pt x="67" y="75"/>
                    <a:pt x="67" y="75"/>
                    <a:pt x="67" y="75"/>
                  </a:cubicBezTo>
                  <a:cubicBezTo>
                    <a:pt x="67" y="72"/>
                    <a:pt x="64" y="69"/>
                    <a:pt x="61" y="69"/>
                  </a:cubicBezTo>
                  <a:cubicBezTo>
                    <a:pt x="58" y="69"/>
                    <a:pt x="55" y="72"/>
                    <a:pt x="55" y="75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9"/>
                    <a:pt x="58" y="81"/>
                    <a:pt x="61" y="81"/>
                  </a:cubicBezTo>
                  <a:cubicBezTo>
                    <a:pt x="64" y="81"/>
                    <a:pt x="67" y="79"/>
                    <a:pt x="67" y="76"/>
                  </a:cubicBezTo>
                  <a:moveTo>
                    <a:pt x="45" y="76"/>
                  </a:moveTo>
                  <a:cubicBezTo>
                    <a:pt x="45" y="77"/>
                    <a:pt x="44" y="78"/>
                    <a:pt x="42" y="78"/>
                  </a:cubicBezTo>
                  <a:cubicBezTo>
                    <a:pt x="41" y="78"/>
                    <a:pt x="39" y="77"/>
                    <a:pt x="39" y="7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4"/>
                    <a:pt x="41" y="73"/>
                    <a:pt x="42" y="73"/>
                  </a:cubicBezTo>
                  <a:cubicBezTo>
                    <a:pt x="44" y="73"/>
                    <a:pt x="45" y="74"/>
                    <a:pt x="45" y="75"/>
                  </a:cubicBezTo>
                  <a:lnTo>
                    <a:pt x="45" y="76"/>
                  </a:lnTo>
                  <a:close/>
                  <a:moveTo>
                    <a:pt x="48" y="76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2"/>
                    <a:pt x="45" y="69"/>
                    <a:pt x="42" y="69"/>
                  </a:cubicBezTo>
                  <a:cubicBezTo>
                    <a:pt x="39" y="69"/>
                    <a:pt x="36" y="72"/>
                    <a:pt x="36" y="75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6" y="79"/>
                    <a:pt x="39" y="81"/>
                    <a:pt x="42" y="81"/>
                  </a:cubicBezTo>
                  <a:cubicBezTo>
                    <a:pt x="45" y="81"/>
                    <a:pt x="48" y="79"/>
                    <a:pt x="48" y="76"/>
                  </a:cubicBezTo>
                  <a:moveTo>
                    <a:pt x="35" y="87"/>
                  </a:moveTo>
                  <a:cubicBezTo>
                    <a:pt x="35" y="89"/>
                    <a:pt x="34" y="90"/>
                    <a:pt x="33" y="90"/>
                  </a:cubicBezTo>
                  <a:cubicBezTo>
                    <a:pt x="31" y="90"/>
                    <a:pt x="30" y="89"/>
                    <a:pt x="30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85"/>
                    <a:pt x="31" y="84"/>
                    <a:pt x="33" y="84"/>
                  </a:cubicBezTo>
                  <a:cubicBezTo>
                    <a:pt x="34" y="84"/>
                    <a:pt x="35" y="85"/>
                    <a:pt x="35" y="87"/>
                  </a:cubicBezTo>
                  <a:close/>
                  <a:moveTo>
                    <a:pt x="33" y="81"/>
                  </a:moveTo>
                  <a:cubicBezTo>
                    <a:pt x="29" y="81"/>
                    <a:pt x="26" y="84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1"/>
                    <a:pt x="29" y="93"/>
                    <a:pt x="33" y="93"/>
                  </a:cubicBezTo>
                  <a:cubicBezTo>
                    <a:pt x="36" y="93"/>
                    <a:pt x="39" y="91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4"/>
                    <a:pt x="36" y="81"/>
                    <a:pt x="33" y="81"/>
                  </a:cubicBezTo>
                  <a:moveTo>
                    <a:pt x="30" y="64"/>
                  </a:moveTo>
                  <a:cubicBezTo>
                    <a:pt x="30" y="62"/>
                    <a:pt x="31" y="61"/>
                    <a:pt x="33" y="61"/>
                  </a:cubicBezTo>
                  <a:cubicBezTo>
                    <a:pt x="34" y="61"/>
                    <a:pt x="35" y="62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5"/>
                    <a:pt x="34" y="66"/>
                    <a:pt x="33" y="66"/>
                  </a:cubicBezTo>
                  <a:cubicBezTo>
                    <a:pt x="31" y="66"/>
                    <a:pt x="30" y="65"/>
                    <a:pt x="30" y="64"/>
                  </a:cubicBezTo>
                  <a:close/>
                  <a:moveTo>
                    <a:pt x="33" y="70"/>
                  </a:moveTo>
                  <a:cubicBezTo>
                    <a:pt x="36" y="70"/>
                    <a:pt x="39" y="67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0"/>
                    <a:pt x="36" y="58"/>
                    <a:pt x="33" y="58"/>
                  </a:cubicBezTo>
                  <a:cubicBezTo>
                    <a:pt x="29" y="58"/>
                    <a:pt x="26" y="60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7"/>
                    <a:pt x="29" y="70"/>
                    <a:pt x="33" y="70"/>
                  </a:cubicBezTo>
                  <a:moveTo>
                    <a:pt x="68" y="64"/>
                  </a:moveTo>
                  <a:cubicBezTo>
                    <a:pt x="68" y="62"/>
                    <a:pt x="69" y="61"/>
                    <a:pt x="71" y="61"/>
                  </a:cubicBezTo>
                  <a:cubicBezTo>
                    <a:pt x="72" y="61"/>
                    <a:pt x="73" y="62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5"/>
                    <a:pt x="72" y="66"/>
                    <a:pt x="71" y="66"/>
                  </a:cubicBezTo>
                  <a:cubicBezTo>
                    <a:pt x="69" y="66"/>
                    <a:pt x="68" y="65"/>
                    <a:pt x="68" y="64"/>
                  </a:cubicBezTo>
                  <a:close/>
                  <a:moveTo>
                    <a:pt x="71" y="70"/>
                  </a:moveTo>
                  <a:cubicBezTo>
                    <a:pt x="74" y="70"/>
                    <a:pt x="77" y="67"/>
                    <a:pt x="77" y="64"/>
                  </a:cubicBezTo>
                  <a:cubicBezTo>
                    <a:pt x="77" y="64"/>
                    <a:pt x="77" y="64"/>
                    <a:pt x="77" y="64"/>
                  </a:cubicBezTo>
                  <a:cubicBezTo>
                    <a:pt x="77" y="60"/>
                    <a:pt x="74" y="58"/>
                    <a:pt x="71" y="58"/>
                  </a:cubicBezTo>
                  <a:cubicBezTo>
                    <a:pt x="67" y="58"/>
                    <a:pt x="64" y="60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7"/>
                    <a:pt x="67" y="70"/>
                    <a:pt x="71" y="70"/>
                  </a:cubicBezTo>
                  <a:moveTo>
                    <a:pt x="73" y="87"/>
                  </a:moveTo>
                  <a:cubicBezTo>
                    <a:pt x="73" y="89"/>
                    <a:pt x="72" y="90"/>
                    <a:pt x="71" y="90"/>
                  </a:cubicBezTo>
                  <a:cubicBezTo>
                    <a:pt x="69" y="90"/>
                    <a:pt x="68" y="89"/>
                    <a:pt x="68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5"/>
                    <a:pt x="69" y="84"/>
                    <a:pt x="71" y="84"/>
                  </a:cubicBezTo>
                  <a:cubicBezTo>
                    <a:pt x="72" y="84"/>
                    <a:pt x="73" y="85"/>
                    <a:pt x="73" y="87"/>
                  </a:cubicBezTo>
                  <a:close/>
                  <a:moveTo>
                    <a:pt x="71" y="81"/>
                  </a:moveTo>
                  <a:cubicBezTo>
                    <a:pt x="67" y="81"/>
                    <a:pt x="64" y="84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91"/>
                    <a:pt x="67" y="93"/>
                    <a:pt x="71" y="93"/>
                  </a:cubicBezTo>
                  <a:cubicBezTo>
                    <a:pt x="74" y="93"/>
                    <a:pt x="77" y="91"/>
                    <a:pt x="77" y="87"/>
                  </a:cubicBezTo>
                  <a:cubicBezTo>
                    <a:pt x="77" y="87"/>
                    <a:pt x="77" y="87"/>
                    <a:pt x="77" y="87"/>
                  </a:cubicBezTo>
                  <a:cubicBezTo>
                    <a:pt x="77" y="84"/>
                    <a:pt x="74" y="81"/>
                    <a:pt x="71" y="81"/>
                  </a:cubicBezTo>
                  <a:moveTo>
                    <a:pt x="54" y="87"/>
                  </a:moveTo>
                  <a:cubicBezTo>
                    <a:pt x="54" y="89"/>
                    <a:pt x="53" y="90"/>
                    <a:pt x="52" y="90"/>
                  </a:cubicBezTo>
                  <a:cubicBezTo>
                    <a:pt x="50" y="90"/>
                    <a:pt x="49" y="89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5"/>
                    <a:pt x="50" y="84"/>
                    <a:pt x="52" y="84"/>
                  </a:cubicBezTo>
                  <a:cubicBezTo>
                    <a:pt x="53" y="84"/>
                    <a:pt x="54" y="85"/>
                    <a:pt x="54" y="87"/>
                  </a:cubicBezTo>
                  <a:close/>
                  <a:moveTo>
                    <a:pt x="52" y="81"/>
                  </a:moveTo>
                  <a:cubicBezTo>
                    <a:pt x="48" y="81"/>
                    <a:pt x="45" y="84"/>
                    <a:pt x="45" y="87"/>
                  </a:cubicBezTo>
                  <a:cubicBezTo>
                    <a:pt x="45" y="87"/>
                    <a:pt x="45" y="87"/>
                    <a:pt x="45" y="87"/>
                  </a:cubicBezTo>
                  <a:cubicBezTo>
                    <a:pt x="45" y="91"/>
                    <a:pt x="48" y="93"/>
                    <a:pt x="52" y="93"/>
                  </a:cubicBezTo>
                  <a:cubicBezTo>
                    <a:pt x="55" y="93"/>
                    <a:pt x="58" y="91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4"/>
                    <a:pt x="55" y="81"/>
                    <a:pt x="52" y="81"/>
                  </a:cubicBezTo>
                  <a:moveTo>
                    <a:pt x="92" y="87"/>
                  </a:moveTo>
                  <a:cubicBezTo>
                    <a:pt x="92" y="89"/>
                    <a:pt x="91" y="90"/>
                    <a:pt x="90" y="90"/>
                  </a:cubicBezTo>
                  <a:cubicBezTo>
                    <a:pt x="88" y="90"/>
                    <a:pt x="87" y="89"/>
                    <a:pt x="87" y="87"/>
                  </a:cubicBezTo>
                  <a:cubicBezTo>
                    <a:pt x="87" y="87"/>
                    <a:pt x="87" y="87"/>
                    <a:pt x="87" y="87"/>
                  </a:cubicBezTo>
                  <a:cubicBezTo>
                    <a:pt x="87" y="85"/>
                    <a:pt x="88" y="84"/>
                    <a:pt x="90" y="84"/>
                  </a:cubicBezTo>
                  <a:cubicBezTo>
                    <a:pt x="91" y="84"/>
                    <a:pt x="92" y="85"/>
                    <a:pt x="92" y="87"/>
                  </a:cubicBezTo>
                  <a:close/>
                  <a:moveTo>
                    <a:pt x="90" y="81"/>
                  </a:moveTo>
                  <a:cubicBezTo>
                    <a:pt x="86" y="81"/>
                    <a:pt x="83" y="84"/>
                    <a:pt x="83" y="87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83" y="91"/>
                    <a:pt x="86" y="93"/>
                    <a:pt x="90" y="93"/>
                  </a:cubicBezTo>
                  <a:cubicBezTo>
                    <a:pt x="93" y="93"/>
                    <a:pt x="96" y="91"/>
                    <a:pt x="96" y="87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6" y="84"/>
                    <a:pt x="93" y="81"/>
                    <a:pt x="90" y="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7" name="Group 170">
            <a:extLst>
              <a:ext uri="{FF2B5EF4-FFF2-40B4-BE49-F238E27FC236}">
                <a16:creationId xmlns:a16="http://schemas.microsoft.com/office/drawing/2014/main" id="{4DB9BC07-4A77-4045-B06C-D971E4BBED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1469" y="4132697"/>
            <a:ext cx="758825" cy="758825"/>
            <a:chOff x="845" y="2815"/>
            <a:chExt cx="478" cy="478"/>
          </a:xfrm>
        </p:grpSpPr>
        <p:sp>
          <p:nvSpPr>
            <p:cNvPr id="198" name="AutoShape 169">
              <a:extLst>
                <a:ext uri="{FF2B5EF4-FFF2-40B4-BE49-F238E27FC236}">
                  <a16:creationId xmlns:a16="http://schemas.microsoft.com/office/drawing/2014/main" id="{B2835AA1-9E46-4621-969C-A7FF1A3C3F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45" y="281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71">
              <a:extLst>
                <a:ext uri="{FF2B5EF4-FFF2-40B4-BE49-F238E27FC236}">
                  <a16:creationId xmlns:a16="http://schemas.microsoft.com/office/drawing/2014/main" id="{0326A378-AEEA-4A41-837E-FDF5412CC3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" y="281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72">
              <a:extLst>
                <a:ext uri="{FF2B5EF4-FFF2-40B4-BE49-F238E27FC236}">
                  <a16:creationId xmlns:a16="http://schemas.microsoft.com/office/drawing/2014/main" id="{4E938E0C-102B-409E-9E24-9A1D6EABA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" y="2972"/>
              <a:ext cx="59" cy="93"/>
            </a:xfrm>
            <a:custGeom>
              <a:avLst/>
              <a:gdLst>
                <a:gd name="T0" fmla="*/ 14 w 24"/>
                <a:gd name="T1" fmla="*/ 0 h 38"/>
                <a:gd name="T2" fmla="*/ 4 w 24"/>
                <a:gd name="T3" fmla="*/ 6 h 38"/>
                <a:gd name="T4" fmla="*/ 4 w 24"/>
                <a:gd name="T5" fmla="*/ 32 h 38"/>
                <a:gd name="T6" fmla="*/ 14 w 24"/>
                <a:gd name="T7" fmla="*/ 38 h 38"/>
                <a:gd name="T8" fmla="*/ 24 w 24"/>
                <a:gd name="T9" fmla="*/ 32 h 38"/>
                <a:gd name="T10" fmla="*/ 23 w 24"/>
                <a:gd name="T11" fmla="*/ 29 h 38"/>
                <a:gd name="T12" fmla="*/ 22 w 24"/>
                <a:gd name="T13" fmla="*/ 29 h 38"/>
                <a:gd name="T14" fmla="*/ 20 w 24"/>
                <a:gd name="T15" fmla="*/ 30 h 38"/>
                <a:gd name="T16" fmla="*/ 14 w 24"/>
                <a:gd name="T17" fmla="*/ 33 h 38"/>
                <a:gd name="T18" fmla="*/ 14 w 24"/>
                <a:gd name="T19" fmla="*/ 33 h 38"/>
                <a:gd name="T20" fmla="*/ 8 w 24"/>
                <a:gd name="T21" fmla="*/ 30 h 38"/>
                <a:gd name="T22" fmla="*/ 8 w 24"/>
                <a:gd name="T23" fmla="*/ 8 h 38"/>
                <a:gd name="T24" fmla="*/ 14 w 24"/>
                <a:gd name="T25" fmla="*/ 4 h 38"/>
                <a:gd name="T26" fmla="*/ 20 w 24"/>
                <a:gd name="T27" fmla="*/ 8 h 38"/>
                <a:gd name="T28" fmla="*/ 22 w 24"/>
                <a:gd name="T29" fmla="*/ 9 h 38"/>
                <a:gd name="T30" fmla="*/ 23 w 24"/>
                <a:gd name="T31" fmla="*/ 9 h 38"/>
                <a:gd name="T32" fmla="*/ 24 w 24"/>
                <a:gd name="T33" fmla="*/ 6 h 38"/>
                <a:gd name="T34" fmla="*/ 14 w 24"/>
                <a:gd name="T3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38">
                  <a:moveTo>
                    <a:pt x="14" y="0"/>
                  </a:moveTo>
                  <a:cubicBezTo>
                    <a:pt x="10" y="0"/>
                    <a:pt x="7" y="2"/>
                    <a:pt x="4" y="6"/>
                  </a:cubicBezTo>
                  <a:cubicBezTo>
                    <a:pt x="0" y="13"/>
                    <a:pt x="0" y="25"/>
                    <a:pt x="4" y="32"/>
                  </a:cubicBezTo>
                  <a:cubicBezTo>
                    <a:pt x="7" y="36"/>
                    <a:pt x="10" y="38"/>
                    <a:pt x="14" y="38"/>
                  </a:cubicBezTo>
                  <a:cubicBezTo>
                    <a:pt x="18" y="38"/>
                    <a:pt x="21" y="36"/>
                    <a:pt x="24" y="32"/>
                  </a:cubicBezTo>
                  <a:cubicBezTo>
                    <a:pt x="24" y="31"/>
                    <a:pt x="24" y="30"/>
                    <a:pt x="23" y="29"/>
                  </a:cubicBezTo>
                  <a:cubicBezTo>
                    <a:pt x="23" y="29"/>
                    <a:pt x="22" y="29"/>
                    <a:pt x="22" y="29"/>
                  </a:cubicBezTo>
                  <a:cubicBezTo>
                    <a:pt x="21" y="29"/>
                    <a:pt x="21" y="29"/>
                    <a:pt x="20" y="30"/>
                  </a:cubicBezTo>
                  <a:cubicBezTo>
                    <a:pt x="19" y="32"/>
                    <a:pt x="16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3"/>
                    <a:pt x="9" y="32"/>
                    <a:pt x="8" y="30"/>
                  </a:cubicBezTo>
                  <a:cubicBezTo>
                    <a:pt x="4" y="24"/>
                    <a:pt x="4" y="14"/>
                    <a:pt x="8" y="8"/>
                  </a:cubicBezTo>
                  <a:cubicBezTo>
                    <a:pt x="9" y="5"/>
                    <a:pt x="12" y="4"/>
                    <a:pt x="14" y="4"/>
                  </a:cubicBezTo>
                  <a:cubicBezTo>
                    <a:pt x="16" y="4"/>
                    <a:pt x="19" y="5"/>
                    <a:pt x="20" y="8"/>
                  </a:cubicBezTo>
                  <a:cubicBezTo>
                    <a:pt x="21" y="8"/>
                    <a:pt x="21" y="9"/>
                    <a:pt x="22" y="9"/>
                  </a:cubicBezTo>
                  <a:cubicBezTo>
                    <a:pt x="22" y="9"/>
                    <a:pt x="23" y="9"/>
                    <a:pt x="23" y="9"/>
                  </a:cubicBezTo>
                  <a:cubicBezTo>
                    <a:pt x="24" y="8"/>
                    <a:pt x="24" y="7"/>
                    <a:pt x="24" y="6"/>
                  </a:cubicBezTo>
                  <a:cubicBezTo>
                    <a:pt x="21" y="2"/>
                    <a:pt x="18" y="0"/>
                    <a:pt x="14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73">
              <a:extLst>
                <a:ext uri="{FF2B5EF4-FFF2-40B4-BE49-F238E27FC236}">
                  <a16:creationId xmlns:a16="http://schemas.microsoft.com/office/drawing/2014/main" id="{B241582E-3B50-4FF2-9C25-762DF829E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" y="2974"/>
              <a:ext cx="66" cy="91"/>
            </a:xfrm>
            <a:custGeom>
              <a:avLst/>
              <a:gdLst>
                <a:gd name="T0" fmla="*/ 26 w 27"/>
                <a:gd name="T1" fmla="*/ 0 h 37"/>
                <a:gd name="T2" fmla="*/ 24 w 27"/>
                <a:gd name="T3" fmla="*/ 0 h 37"/>
                <a:gd name="T4" fmla="*/ 23 w 27"/>
                <a:gd name="T5" fmla="*/ 1 h 37"/>
                <a:gd name="T6" fmla="*/ 14 w 27"/>
                <a:gd name="T7" fmla="*/ 29 h 37"/>
                <a:gd name="T8" fmla="*/ 4 w 27"/>
                <a:gd name="T9" fmla="*/ 1 h 37"/>
                <a:gd name="T10" fmla="*/ 3 w 27"/>
                <a:gd name="T11" fmla="*/ 0 h 37"/>
                <a:gd name="T12" fmla="*/ 2 w 27"/>
                <a:gd name="T13" fmla="*/ 0 h 37"/>
                <a:gd name="T14" fmla="*/ 2 w 27"/>
                <a:gd name="T15" fmla="*/ 0 h 37"/>
                <a:gd name="T16" fmla="*/ 0 w 27"/>
                <a:gd name="T17" fmla="*/ 3 h 37"/>
                <a:gd name="T18" fmla="*/ 12 w 27"/>
                <a:gd name="T19" fmla="*/ 35 h 37"/>
                <a:gd name="T20" fmla="*/ 14 w 27"/>
                <a:gd name="T21" fmla="*/ 37 h 37"/>
                <a:gd name="T22" fmla="*/ 16 w 27"/>
                <a:gd name="T23" fmla="*/ 35 h 37"/>
                <a:gd name="T24" fmla="*/ 27 w 27"/>
                <a:gd name="T25" fmla="*/ 3 h 37"/>
                <a:gd name="T26" fmla="*/ 26 w 27"/>
                <a:gd name="T2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7">
                  <a:moveTo>
                    <a:pt x="26" y="0"/>
                  </a:move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4" y="1"/>
                    <a:pt x="23" y="1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3" y="37"/>
                    <a:pt x="14" y="37"/>
                  </a:cubicBezTo>
                  <a:cubicBezTo>
                    <a:pt x="14" y="37"/>
                    <a:pt x="15" y="36"/>
                    <a:pt x="16" y="35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1"/>
                    <a:pt x="26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174">
              <a:extLst>
                <a:ext uri="{FF2B5EF4-FFF2-40B4-BE49-F238E27FC236}">
                  <a16:creationId xmlns:a16="http://schemas.microsoft.com/office/drawing/2014/main" id="{3CAB63DA-C613-49CB-86A3-3C6372FEF9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" y="3104"/>
              <a:ext cx="123" cy="8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75">
              <a:extLst>
                <a:ext uri="{FF2B5EF4-FFF2-40B4-BE49-F238E27FC236}">
                  <a16:creationId xmlns:a16="http://schemas.microsoft.com/office/drawing/2014/main" id="{C3DF2CE3-85B6-4185-B0E6-04DF22ACA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" y="2915"/>
              <a:ext cx="221" cy="280"/>
            </a:xfrm>
            <a:custGeom>
              <a:avLst/>
              <a:gdLst>
                <a:gd name="T0" fmla="*/ 88 w 90"/>
                <a:gd name="T1" fmla="*/ 0 h 114"/>
                <a:gd name="T2" fmla="*/ 2 w 90"/>
                <a:gd name="T3" fmla="*/ 0 h 114"/>
                <a:gd name="T4" fmla="*/ 0 w 90"/>
                <a:gd name="T5" fmla="*/ 2 h 114"/>
                <a:gd name="T6" fmla="*/ 0 w 90"/>
                <a:gd name="T7" fmla="*/ 112 h 114"/>
                <a:gd name="T8" fmla="*/ 2 w 90"/>
                <a:gd name="T9" fmla="*/ 114 h 114"/>
                <a:gd name="T10" fmla="*/ 88 w 90"/>
                <a:gd name="T11" fmla="*/ 114 h 114"/>
                <a:gd name="T12" fmla="*/ 90 w 90"/>
                <a:gd name="T13" fmla="*/ 112 h 114"/>
                <a:gd name="T14" fmla="*/ 90 w 90"/>
                <a:gd name="T15" fmla="*/ 2 h 114"/>
                <a:gd name="T16" fmla="*/ 88 w 90"/>
                <a:gd name="T17" fmla="*/ 0 h 114"/>
                <a:gd name="T18" fmla="*/ 86 w 90"/>
                <a:gd name="T19" fmla="*/ 110 h 114"/>
                <a:gd name="T20" fmla="*/ 4 w 90"/>
                <a:gd name="T21" fmla="*/ 110 h 114"/>
                <a:gd name="T22" fmla="*/ 4 w 90"/>
                <a:gd name="T23" fmla="*/ 4 h 114"/>
                <a:gd name="T24" fmla="*/ 86 w 90"/>
                <a:gd name="T25" fmla="*/ 4 h 114"/>
                <a:gd name="T26" fmla="*/ 86 w 90"/>
                <a:gd name="T27" fmla="*/ 11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14">
                  <a:moveTo>
                    <a:pt x="8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4"/>
                    <a:pt x="2" y="114"/>
                  </a:cubicBezTo>
                  <a:cubicBezTo>
                    <a:pt x="88" y="114"/>
                    <a:pt x="88" y="114"/>
                    <a:pt x="88" y="114"/>
                  </a:cubicBezTo>
                  <a:cubicBezTo>
                    <a:pt x="89" y="114"/>
                    <a:pt x="90" y="113"/>
                    <a:pt x="90" y="112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0"/>
                    <a:pt x="88" y="0"/>
                  </a:cubicBezTo>
                  <a:close/>
                  <a:moveTo>
                    <a:pt x="86" y="110"/>
                  </a:moveTo>
                  <a:cubicBezTo>
                    <a:pt x="4" y="110"/>
                    <a:pt x="4" y="110"/>
                    <a:pt x="4" y="11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6" y="4"/>
                    <a:pt x="86" y="4"/>
                    <a:pt x="86" y="4"/>
                  </a:cubicBezTo>
                  <a:lnTo>
                    <a:pt x="86" y="1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76">
              <a:extLst>
                <a:ext uri="{FF2B5EF4-FFF2-40B4-BE49-F238E27FC236}">
                  <a16:creationId xmlns:a16="http://schemas.microsoft.com/office/drawing/2014/main" id="{41DBEB38-5E7B-438E-B996-5B84DC478A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" y="3136"/>
              <a:ext cx="123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5" name="Group 179">
            <a:extLst>
              <a:ext uri="{FF2B5EF4-FFF2-40B4-BE49-F238E27FC236}">
                <a16:creationId xmlns:a16="http://schemas.microsoft.com/office/drawing/2014/main" id="{3B5AC875-51D1-4E93-8504-ED5A7B7E7B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119" y="4091422"/>
            <a:ext cx="841375" cy="841375"/>
            <a:chOff x="283" y="2712"/>
            <a:chExt cx="530" cy="530"/>
          </a:xfrm>
        </p:grpSpPr>
        <p:sp>
          <p:nvSpPr>
            <p:cNvPr id="206" name="AutoShape 178">
              <a:extLst>
                <a:ext uri="{FF2B5EF4-FFF2-40B4-BE49-F238E27FC236}">
                  <a16:creationId xmlns:a16="http://schemas.microsoft.com/office/drawing/2014/main" id="{11FB112D-E0D3-4314-8C98-8B7D19AB7A3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3" y="271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180">
              <a:extLst>
                <a:ext uri="{FF2B5EF4-FFF2-40B4-BE49-F238E27FC236}">
                  <a16:creationId xmlns:a16="http://schemas.microsoft.com/office/drawing/2014/main" id="{937C6846-1B2C-4DA3-AFD3-C9664F61A6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" y="271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81">
              <a:extLst>
                <a:ext uri="{FF2B5EF4-FFF2-40B4-BE49-F238E27FC236}">
                  <a16:creationId xmlns:a16="http://schemas.microsoft.com/office/drawing/2014/main" id="{136BB93C-D9CD-4607-9911-6710EF468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" y="273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82">
              <a:extLst>
                <a:ext uri="{FF2B5EF4-FFF2-40B4-BE49-F238E27FC236}">
                  <a16:creationId xmlns:a16="http://schemas.microsoft.com/office/drawing/2014/main" id="{9394EF1F-8A5B-4ED8-9714-8D844A770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" y="2891"/>
              <a:ext cx="62" cy="97"/>
            </a:xfrm>
            <a:custGeom>
              <a:avLst/>
              <a:gdLst>
                <a:gd name="T0" fmla="*/ 14 w 24"/>
                <a:gd name="T1" fmla="*/ 0 h 38"/>
                <a:gd name="T2" fmla="*/ 4 w 24"/>
                <a:gd name="T3" fmla="*/ 6 h 38"/>
                <a:gd name="T4" fmla="*/ 4 w 24"/>
                <a:gd name="T5" fmla="*/ 32 h 38"/>
                <a:gd name="T6" fmla="*/ 14 w 24"/>
                <a:gd name="T7" fmla="*/ 38 h 38"/>
                <a:gd name="T8" fmla="*/ 24 w 24"/>
                <a:gd name="T9" fmla="*/ 32 h 38"/>
                <a:gd name="T10" fmla="*/ 23 w 24"/>
                <a:gd name="T11" fmla="*/ 29 h 38"/>
                <a:gd name="T12" fmla="*/ 22 w 24"/>
                <a:gd name="T13" fmla="*/ 29 h 38"/>
                <a:gd name="T14" fmla="*/ 20 w 24"/>
                <a:gd name="T15" fmla="*/ 30 h 38"/>
                <a:gd name="T16" fmla="*/ 14 w 24"/>
                <a:gd name="T17" fmla="*/ 33 h 38"/>
                <a:gd name="T18" fmla="*/ 14 w 24"/>
                <a:gd name="T19" fmla="*/ 33 h 38"/>
                <a:gd name="T20" fmla="*/ 8 w 24"/>
                <a:gd name="T21" fmla="*/ 30 h 38"/>
                <a:gd name="T22" fmla="*/ 8 w 24"/>
                <a:gd name="T23" fmla="*/ 8 h 38"/>
                <a:gd name="T24" fmla="*/ 14 w 24"/>
                <a:gd name="T25" fmla="*/ 4 h 38"/>
                <a:gd name="T26" fmla="*/ 20 w 24"/>
                <a:gd name="T27" fmla="*/ 8 h 38"/>
                <a:gd name="T28" fmla="*/ 22 w 24"/>
                <a:gd name="T29" fmla="*/ 9 h 38"/>
                <a:gd name="T30" fmla="*/ 23 w 24"/>
                <a:gd name="T31" fmla="*/ 9 h 38"/>
                <a:gd name="T32" fmla="*/ 24 w 24"/>
                <a:gd name="T33" fmla="*/ 6 h 38"/>
                <a:gd name="T34" fmla="*/ 14 w 24"/>
                <a:gd name="T3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38">
                  <a:moveTo>
                    <a:pt x="14" y="0"/>
                  </a:moveTo>
                  <a:cubicBezTo>
                    <a:pt x="10" y="0"/>
                    <a:pt x="7" y="2"/>
                    <a:pt x="4" y="6"/>
                  </a:cubicBezTo>
                  <a:cubicBezTo>
                    <a:pt x="0" y="13"/>
                    <a:pt x="0" y="25"/>
                    <a:pt x="4" y="32"/>
                  </a:cubicBezTo>
                  <a:cubicBezTo>
                    <a:pt x="7" y="36"/>
                    <a:pt x="10" y="38"/>
                    <a:pt x="14" y="38"/>
                  </a:cubicBezTo>
                  <a:cubicBezTo>
                    <a:pt x="18" y="38"/>
                    <a:pt x="21" y="36"/>
                    <a:pt x="24" y="32"/>
                  </a:cubicBezTo>
                  <a:cubicBezTo>
                    <a:pt x="24" y="31"/>
                    <a:pt x="24" y="30"/>
                    <a:pt x="23" y="29"/>
                  </a:cubicBezTo>
                  <a:cubicBezTo>
                    <a:pt x="23" y="29"/>
                    <a:pt x="22" y="29"/>
                    <a:pt x="22" y="29"/>
                  </a:cubicBezTo>
                  <a:cubicBezTo>
                    <a:pt x="21" y="29"/>
                    <a:pt x="21" y="29"/>
                    <a:pt x="20" y="30"/>
                  </a:cubicBezTo>
                  <a:cubicBezTo>
                    <a:pt x="19" y="32"/>
                    <a:pt x="16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3"/>
                    <a:pt x="9" y="32"/>
                    <a:pt x="8" y="30"/>
                  </a:cubicBezTo>
                  <a:cubicBezTo>
                    <a:pt x="4" y="24"/>
                    <a:pt x="4" y="14"/>
                    <a:pt x="8" y="8"/>
                  </a:cubicBezTo>
                  <a:cubicBezTo>
                    <a:pt x="9" y="5"/>
                    <a:pt x="12" y="4"/>
                    <a:pt x="14" y="4"/>
                  </a:cubicBezTo>
                  <a:cubicBezTo>
                    <a:pt x="16" y="4"/>
                    <a:pt x="19" y="5"/>
                    <a:pt x="20" y="8"/>
                  </a:cubicBezTo>
                  <a:cubicBezTo>
                    <a:pt x="21" y="8"/>
                    <a:pt x="21" y="9"/>
                    <a:pt x="22" y="9"/>
                  </a:cubicBezTo>
                  <a:cubicBezTo>
                    <a:pt x="22" y="9"/>
                    <a:pt x="23" y="9"/>
                    <a:pt x="23" y="9"/>
                  </a:cubicBezTo>
                  <a:cubicBezTo>
                    <a:pt x="24" y="8"/>
                    <a:pt x="24" y="7"/>
                    <a:pt x="24" y="6"/>
                  </a:cubicBezTo>
                  <a:cubicBezTo>
                    <a:pt x="21" y="2"/>
                    <a:pt x="18" y="0"/>
                    <a:pt x="1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83">
              <a:extLst>
                <a:ext uri="{FF2B5EF4-FFF2-40B4-BE49-F238E27FC236}">
                  <a16:creationId xmlns:a16="http://schemas.microsoft.com/office/drawing/2014/main" id="{3E2B8218-50A2-457A-A353-5F1EE82DA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" y="2894"/>
              <a:ext cx="69" cy="94"/>
            </a:xfrm>
            <a:custGeom>
              <a:avLst/>
              <a:gdLst>
                <a:gd name="T0" fmla="*/ 26 w 27"/>
                <a:gd name="T1" fmla="*/ 0 h 37"/>
                <a:gd name="T2" fmla="*/ 24 w 27"/>
                <a:gd name="T3" fmla="*/ 0 h 37"/>
                <a:gd name="T4" fmla="*/ 23 w 27"/>
                <a:gd name="T5" fmla="*/ 1 h 37"/>
                <a:gd name="T6" fmla="*/ 14 w 27"/>
                <a:gd name="T7" fmla="*/ 29 h 37"/>
                <a:gd name="T8" fmla="*/ 4 w 27"/>
                <a:gd name="T9" fmla="*/ 1 h 37"/>
                <a:gd name="T10" fmla="*/ 3 w 27"/>
                <a:gd name="T11" fmla="*/ 0 h 37"/>
                <a:gd name="T12" fmla="*/ 2 w 27"/>
                <a:gd name="T13" fmla="*/ 0 h 37"/>
                <a:gd name="T14" fmla="*/ 2 w 27"/>
                <a:gd name="T15" fmla="*/ 0 h 37"/>
                <a:gd name="T16" fmla="*/ 0 w 27"/>
                <a:gd name="T17" fmla="*/ 3 h 37"/>
                <a:gd name="T18" fmla="*/ 12 w 27"/>
                <a:gd name="T19" fmla="*/ 35 h 37"/>
                <a:gd name="T20" fmla="*/ 14 w 27"/>
                <a:gd name="T21" fmla="*/ 37 h 37"/>
                <a:gd name="T22" fmla="*/ 16 w 27"/>
                <a:gd name="T23" fmla="*/ 35 h 37"/>
                <a:gd name="T24" fmla="*/ 27 w 27"/>
                <a:gd name="T25" fmla="*/ 3 h 37"/>
                <a:gd name="T26" fmla="*/ 26 w 27"/>
                <a:gd name="T2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7">
                  <a:moveTo>
                    <a:pt x="26" y="0"/>
                  </a:move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4" y="1"/>
                    <a:pt x="23" y="1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3" y="37"/>
                    <a:pt x="14" y="37"/>
                  </a:cubicBezTo>
                  <a:cubicBezTo>
                    <a:pt x="14" y="37"/>
                    <a:pt x="15" y="36"/>
                    <a:pt x="16" y="35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1"/>
                    <a:pt x="2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184">
              <a:extLst>
                <a:ext uri="{FF2B5EF4-FFF2-40B4-BE49-F238E27FC236}">
                  <a16:creationId xmlns:a16="http://schemas.microsoft.com/office/drawing/2014/main" id="{FB218282-1237-4638-BE02-950889933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" y="3029"/>
              <a:ext cx="128" cy="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85">
              <a:extLst>
                <a:ext uri="{FF2B5EF4-FFF2-40B4-BE49-F238E27FC236}">
                  <a16:creationId xmlns:a16="http://schemas.microsoft.com/office/drawing/2014/main" id="{8D415D2B-FE9D-426B-91DF-E068BDF10D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" y="2832"/>
              <a:ext cx="230" cy="292"/>
            </a:xfrm>
            <a:custGeom>
              <a:avLst/>
              <a:gdLst>
                <a:gd name="T0" fmla="*/ 88 w 90"/>
                <a:gd name="T1" fmla="*/ 0 h 114"/>
                <a:gd name="T2" fmla="*/ 2 w 90"/>
                <a:gd name="T3" fmla="*/ 0 h 114"/>
                <a:gd name="T4" fmla="*/ 0 w 90"/>
                <a:gd name="T5" fmla="*/ 2 h 114"/>
                <a:gd name="T6" fmla="*/ 0 w 90"/>
                <a:gd name="T7" fmla="*/ 112 h 114"/>
                <a:gd name="T8" fmla="*/ 2 w 90"/>
                <a:gd name="T9" fmla="*/ 114 h 114"/>
                <a:gd name="T10" fmla="*/ 88 w 90"/>
                <a:gd name="T11" fmla="*/ 114 h 114"/>
                <a:gd name="T12" fmla="*/ 90 w 90"/>
                <a:gd name="T13" fmla="*/ 112 h 114"/>
                <a:gd name="T14" fmla="*/ 90 w 90"/>
                <a:gd name="T15" fmla="*/ 2 h 114"/>
                <a:gd name="T16" fmla="*/ 88 w 90"/>
                <a:gd name="T17" fmla="*/ 0 h 114"/>
                <a:gd name="T18" fmla="*/ 86 w 90"/>
                <a:gd name="T19" fmla="*/ 110 h 114"/>
                <a:gd name="T20" fmla="*/ 4 w 90"/>
                <a:gd name="T21" fmla="*/ 110 h 114"/>
                <a:gd name="T22" fmla="*/ 4 w 90"/>
                <a:gd name="T23" fmla="*/ 4 h 114"/>
                <a:gd name="T24" fmla="*/ 86 w 90"/>
                <a:gd name="T25" fmla="*/ 4 h 114"/>
                <a:gd name="T26" fmla="*/ 86 w 90"/>
                <a:gd name="T27" fmla="*/ 11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14">
                  <a:moveTo>
                    <a:pt x="8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4"/>
                    <a:pt x="2" y="114"/>
                  </a:cubicBezTo>
                  <a:cubicBezTo>
                    <a:pt x="88" y="114"/>
                    <a:pt x="88" y="114"/>
                    <a:pt x="88" y="114"/>
                  </a:cubicBezTo>
                  <a:cubicBezTo>
                    <a:pt x="89" y="114"/>
                    <a:pt x="90" y="113"/>
                    <a:pt x="90" y="112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1"/>
                    <a:pt x="89" y="0"/>
                    <a:pt x="88" y="0"/>
                  </a:cubicBezTo>
                  <a:close/>
                  <a:moveTo>
                    <a:pt x="86" y="110"/>
                  </a:moveTo>
                  <a:cubicBezTo>
                    <a:pt x="4" y="110"/>
                    <a:pt x="4" y="110"/>
                    <a:pt x="4" y="11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86" y="4"/>
                    <a:pt x="86" y="4"/>
                    <a:pt x="86" y="4"/>
                  </a:cubicBezTo>
                  <a:lnTo>
                    <a:pt x="86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186">
              <a:extLst>
                <a:ext uri="{FF2B5EF4-FFF2-40B4-BE49-F238E27FC236}">
                  <a16:creationId xmlns:a16="http://schemas.microsoft.com/office/drawing/2014/main" id="{4C242255-E2AB-4192-8DE1-CABFD3409D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" y="3063"/>
              <a:ext cx="128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189">
            <a:extLst>
              <a:ext uri="{FF2B5EF4-FFF2-40B4-BE49-F238E27FC236}">
                <a16:creationId xmlns:a16="http://schemas.microsoft.com/office/drawing/2014/main" id="{13F57DE6-8A89-4832-8931-1A02C315CE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6497" y="4132697"/>
            <a:ext cx="760412" cy="758825"/>
            <a:chOff x="2389" y="2759"/>
            <a:chExt cx="479" cy="478"/>
          </a:xfrm>
        </p:grpSpPr>
        <p:sp>
          <p:nvSpPr>
            <p:cNvPr id="219" name="AutoShape 188">
              <a:extLst>
                <a:ext uri="{FF2B5EF4-FFF2-40B4-BE49-F238E27FC236}">
                  <a16:creationId xmlns:a16="http://schemas.microsoft.com/office/drawing/2014/main" id="{A755FEC1-6282-46D6-964B-F51CCA4451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9" y="275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90">
              <a:extLst>
                <a:ext uri="{FF2B5EF4-FFF2-40B4-BE49-F238E27FC236}">
                  <a16:creationId xmlns:a16="http://schemas.microsoft.com/office/drawing/2014/main" id="{5CE0F3C0-7EC0-4ADD-A4D2-63F5416ED8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1" y="276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191">
              <a:extLst>
                <a:ext uri="{FF2B5EF4-FFF2-40B4-BE49-F238E27FC236}">
                  <a16:creationId xmlns:a16="http://schemas.microsoft.com/office/drawing/2014/main" id="{E1D68984-39E3-46F9-BF8B-A703EDBBE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9" y="2943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Rectangle 192">
              <a:extLst>
                <a:ext uri="{FF2B5EF4-FFF2-40B4-BE49-F238E27FC236}">
                  <a16:creationId xmlns:a16="http://schemas.microsoft.com/office/drawing/2014/main" id="{5F3F8901-85AF-493C-9644-6F8090EE69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" y="298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193">
              <a:extLst>
                <a:ext uri="{FF2B5EF4-FFF2-40B4-BE49-F238E27FC236}">
                  <a16:creationId xmlns:a16="http://schemas.microsoft.com/office/drawing/2014/main" id="{26B53705-1251-4415-80A1-D73A244AC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8" y="308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94">
              <a:extLst>
                <a:ext uri="{FF2B5EF4-FFF2-40B4-BE49-F238E27FC236}">
                  <a16:creationId xmlns:a16="http://schemas.microsoft.com/office/drawing/2014/main" id="{458DB9EA-04B4-4971-890F-5C6EEF423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2874"/>
              <a:ext cx="206" cy="250"/>
            </a:xfrm>
            <a:custGeom>
              <a:avLst/>
              <a:gdLst>
                <a:gd name="T0" fmla="*/ 203 w 206"/>
                <a:gd name="T1" fmla="*/ 0 h 250"/>
                <a:gd name="T2" fmla="*/ 14 w 206"/>
                <a:gd name="T3" fmla="*/ 5 h 250"/>
                <a:gd name="T4" fmla="*/ 14 w 206"/>
                <a:gd name="T5" fmla="*/ 35 h 250"/>
                <a:gd name="T6" fmla="*/ 0 w 206"/>
                <a:gd name="T7" fmla="*/ 37 h 250"/>
                <a:gd name="T8" fmla="*/ 0 w 206"/>
                <a:gd name="T9" fmla="*/ 39 h 250"/>
                <a:gd name="T10" fmla="*/ 2 w 206"/>
                <a:gd name="T11" fmla="*/ 42 h 250"/>
                <a:gd name="T12" fmla="*/ 14 w 206"/>
                <a:gd name="T13" fmla="*/ 69 h 250"/>
                <a:gd name="T14" fmla="*/ 0 w 206"/>
                <a:gd name="T15" fmla="*/ 69 h 250"/>
                <a:gd name="T16" fmla="*/ 0 w 206"/>
                <a:gd name="T17" fmla="*/ 74 h 250"/>
                <a:gd name="T18" fmla="*/ 0 w 206"/>
                <a:gd name="T19" fmla="*/ 76 h 250"/>
                <a:gd name="T20" fmla="*/ 14 w 206"/>
                <a:gd name="T21" fmla="*/ 103 h 250"/>
                <a:gd name="T22" fmla="*/ 0 w 206"/>
                <a:gd name="T23" fmla="*/ 106 h 250"/>
                <a:gd name="T24" fmla="*/ 0 w 206"/>
                <a:gd name="T25" fmla="*/ 108 h 250"/>
                <a:gd name="T26" fmla="*/ 2 w 206"/>
                <a:gd name="T27" fmla="*/ 113 h 250"/>
                <a:gd name="T28" fmla="*/ 14 w 206"/>
                <a:gd name="T29" fmla="*/ 137 h 250"/>
                <a:gd name="T30" fmla="*/ 0 w 206"/>
                <a:gd name="T31" fmla="*/ 140 h 250"/>
                <a:gd name="T32" fmla="*/ 0 w 206"/>
                <a:gd name="T33" fmla="*/ 142 h 250"/>
                <a:gd name="T34" fmla="*/ 0 w 206"/>
                <a:gd name="T35" fmla="*/ 147 h 250"/>
                <a:gd name="T36" fmla="*/ 14 w 206"/>
                <a:gd name="T37" fmla="*/ 174 h 250"/>
                <a:gd name="T38" fmla="*/ 0 w 206"/>
                <a:gd name="T39" fmla="*/ 174 h 250"/>
                <a:gd name="T40" fmla="*/ 0 w 206"/>
                <a:gd name="T41" fmla="*/ 174 h 250"/>
                <a:gd name="T42" fmla="*/ 0 w 206"/>
                <a:gd name="T43" fmla="*/ 179 h 250"/>
                <a:gd name="T44" fmla="*/ 0 w 206"/>
                <a:gd name="T45" fmla="*/ 182 h 250"/>
                <a:gd name="T46" fmla="*/ 2 w 206"/>
                <a:gd name="T47" fmla="*/ 182 h 250"/>
                <a:gd name="T48" fmla="*/ 0 w 206"/>
                <a:gd name="T49" fmla="*/ 209 h 250"/>
                <a:gd name="T50" fmla="*/ 0 w 206"/>
                <a:gd name="T51" fmla="*/ 209 h 250"/>
                <a:gd name="T52" fmla="*/ 0 w 206"/>
                <a:gd name="T53" fmla="*/ 211 h 250"/>
                <a:gd name="T54" fmla="*/ 0 w 206"/>
                <a:gd name="T55" fmla="*/ 216 h 250"/>
                <a:gd name="T56" fmla="*/ 2 w 206"/>
                <a:gd name="T57" fmla="*/ 216 h 250"/>
                <a:gd name="T58" fmla="*/ 19 w 206"/>
                <a:gd name="T59" fmla="*/ 250 h 250"/>
                <a:gd name="T60" fmla="*/ 206 w 206"/>
                <a:gd name="T61" fmla="*/ 245 h 250"/>
                <a:gd name="T62" fmla="*/ 27 w 206"/>
                <a:gd name="T63" fmla="*/ 236 h 250"/>
                <a:gd name="T64" fmla="*/ 41 w 206"/>
                <a:gd name="T65" fmla="*/ 216 h 250"/>
                <a:gd name="T66" fmla="*/ 41 w 206"/>
                <a:gd name="T67" fmla="*/ 213 h 250"/>
                <a:gd name="T68" fmla="*/ 41 w 206"/>
                <a:gd name="T69" fmla="*/ 211 h 250"/>
                <a:gd name="T70" fmla="*/ 41 w 206"/>
                <a:gd name="T71" fmla="*/ 209 h 250"/>
                <a:gd name="T72" fmla="*/ 27 w 206"/>
                <a:gd name="T73" fmla="*/ 209 h 250"/>
                <a:gd name="T74" fmla="*/ 41 w 206"/>
                <a:gd name="T75" fmla="*/ 182 h 250"/>
                <a:gd name="T76" fmla="*/ 41 w 206"/>
                <a:gd name="T77" fmla="*/ 179 h 250"/>
                <a:gd name="T78" fmla="*/ 41 w 206"/>
                <a:gd name="T79" fmla="*/ 174 h 250"/>
                <a:gd name="T80" fmla="*/ 41 w 206"/>
                <a:gd name="T81" fmla="*/ 174 h 250"/>
                <a:gd name="T82" fmla="*/ 27 w 206"/>
                <a:gd name="T83" fmla="*/ 147 h 250"/>
                <a:gd name="T84" fmla="*/ 41 w 206"/>
                <a:gd name="T85" fmla="*/ 145 h 250"/>
                <a:gd name="T86" fmla="*/ 41 w 206"/>
                <a:gd name="T87" fmla="*/ 140 h 250"/>
                <a:gd name="T88" fmla="*/ 39 w 206"/>
                <a:gd name="T89" fmla="*/ 137 h 250"/>
                <a:gd name="T90" fmla="*/ 39 w 206"/>
                <a:gd name="T91" fmla="*/ 113 h 250"/>
                <a:gd name="T92" fmla="*/ 41 w 206"/>
                <a:gd name="T93" fmla="*/ 111 h 250"/>
                <a:gd name="T94" fmla="*/ 41 w 206"/>
                <a:gd name="T95" fmla="*/ 106 h 250"/>
                <a:gd name="T96" fmla="*/ 39 w 206"/>
                <a:gd name="T97" fmla="*/ 103 h 250"/>
                <a:gd name="T98" fmla="*/ 39 w 206"/>
                <a:gd name="T99" fmla="*/ 76 h 250"/>
                <a:gd name="T100" fmla="*/ 41 w 206"/>
                <a:gd name="T101" fmla="*/ 76 h 250"/>
                <a:gd name="T102" fmla="*/ 41 w 206"/>
                <a:gd name="T103" fmla="*/ 74 h 250"/>
                <a:gd name="T104" fmla="*/ 41 w 206"/>
                <a:gd name="T105" fmla="*/ 69 h 250"/>
                <a:gd name="T106" fmla="*/ 27 w 206"/>
                <a:gd name="T107" fmla="*/ 42 h 250"/>
                <a:gd name="T108" fmla="*/ 41 w 206"/>
                <a:gd name="T109" fmla="*/ 39 h 250"/>
                <a:gd name="T110" fmla="*/ 44 w 206"/>
                <a:gd name="T111" fmla="*/ 37 h 250"/>
                <a:gd name="T112" fmla="*/ 41 w 206"/>
                <a:gd name="T113" fmla="*/ 35 h 250"/>
                <a:gd name="T114" fmla="*/ 27 w 206"/>
                <a:gd name="T115" fmla="*/ 1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50">
                  <a:moveTo>
                    <a:pt x="206" y="243"/>
                  </a:moveTo>
                  <a:lnTo>
                    <a:pt x="206" y="3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7" y="3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4" y="42"/>
                  </a:lnTo>
                  <a:lnTo>
                    <a:pt x="14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6"/>
                  </a:lnTo>
                  <a:lnTo>
                    <a:pt x="14" y="76"/>
                  </a:lnTo>
                  <a:lnTo>
                    <a:pt x="14" y="103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14" y="113"/>
                  </a:lnTo>
                  <a:lnTo>
                    <a:pt x="14" y="137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2" y="147"/>
                  </a:lnTo>
                  <a:lnTo>
                    <a:pt x="14" y="147"/>
                  </a:lnTo>
                  <a:lnTo>
                    <a:pt x="14" y="174"/>
                  </a:lnTo>
                  <a:lnTo>
                    <a:pt x="2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2" y="182"/>
                  </a:lnTo>
                  <a:lnTo>
                    <a:pt x="2" y="182"/>
                  </a:lnTo>
                  <a:lnTo>
                    <a:pt x="2" y="182"/>
                  </a:lnTo>
                  <a:lnTo>
                    <a:pt x="14" y="182"/>
                  </a:lnTo>
                  <a:lnTo>
                    <a:pt x="14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3"/>
                  </a:lnTo>
                  <a:lnTo>
                    <a:pt x="0" y="213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14" y="216"/>
                  </a:lnTo>
                  <a:lnTo>
                    <a:pt x="14" y="245"/>
                  </a:lnTo>
                  <a:lnTo>
                    <a:pt x="19" y="250"/>
                  </a:lnTo>
                  <a:lnTo>
                    <a:pt x="22" y="250"/>
                  </a:lnTo>
                  <a:lnTo>
                    <a:pt x="203" y="248"/>
                  </a:lnTo>
                  <a:lnTo>
                    <a:pt x="206" y="245"/>
                  </a:lnTo>
                  <a:lnTo>
                    <a:pt x="206" y="243"/>
                  </a:lnTo>
                  <a:close/>
                  <a:moveTo>
                    <a:pt x="194" y="236"/>
                  </a:moveTo>
                  <a:lnTo>
                    <a:pt x="27" y="236"/>
                  </a:lnTo>
                  <a:lnTo>
                    <a:pt x="27" y="216"/>
                  </a:lnTo>
                  <a:lnTo>
                    <a:pt x="39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41" y="213"/>
                  </a:lnTo>
                  <a:lnTo>
                    <a:pt x="41" y="213"/>
                  </a:lnTo>
                  <a:lnTo>
                    <a:pt x="44" y="211"/>
                  </a:lnTo>
                  <a:lnTo>
                    <a:pt x="41" y="211"/>
                  </a:lnTo>
                  <a:lnTo>
                    <a:pt x="41" y="211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39" y="209"/>
                  </a:lnTo>
                  <a:lnTo>
                    <a:pt x="39" y="209"/>
                  </a:lnTo>
                  <a:lnTo>
                    <a:pt x="27" y="209"/>
                  </a:lnTo>
                  <a:lnTo>
                    <a:pt x="27" y="182"/>
                  </a:lnTo>
                  <a:lnTo>
                    <a:pt x="39" y="182"/>
                  </a:lnTo>
                  <a:lnTo>
                    <a:pt x="41" y="182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177"/>
                  </a:lnTo>
                  <a:lnTo>
                    <a:pt x="41" y="177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39" y="174"/>
                  </a:lnTo>
                  <a:lnTo>
                    <a:pt x="27" y="174"/>
                  </a:lnTo>
                  <a:lnTo>
                    <a:pt x="27" y="147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5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39" y="137"/>
                  </a:lnTo>
                  <a:lnTo>
                    <a:pt x="27" y="137"/>
                  </a:lnTo>
                  <a:lnTo>
                    <a:pt x="27" y="113"/>
                  </a:lnTo>
                  <a:lnTo>
                    <a:pt x="39" y="113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39" y="103"/>
                  </a:lnTo>
                  <a:lnTo>
                    <a:pt x="27" y="103"/>
                  </a:lnTo>
                  <a:lnTo>
                    <a:pt x="27" y="76"/>
                  </a:lnTo>
                  <a:lnTo>
                    <a:pt x="39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4"/>
                  </a:lnTo>
                  <a:lnTo>
                    <a:pt x="44" y="74"/>
                  </a:lnTo>
                  <a:lnTo>
                    <a:pt x="41" y="74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41" y="69"/>
                  </a:lnTo>
                  <a:lnTo>
                    <a:pt x="39" y="69"/>
                  </a:lnTo>
                  <a:lnTo>
                    <a:pt x="27" y="69"/>
                  </a:lnTo>
                  <a:lnTo>
                    <a:pt x="27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4" y="37"/>
                  </a:lnTo>
                  <a:lnTo>
                    <a:pt x="41" y="37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39" y="35"/>
                  </a:lnTo>
                  <a:lnTo>
                    <a:pt x="27" y="35"/>
                  </a:lnTo>
                  <a:lnTo>
                    <a:pt x="27" y="12"/>
                  </a:lnTo>
                  <a:lnTo>
                    <a:pt x="194" y="12"/>
                  </a:lnTo>
                  <a:lnTo>
                    <a:pt x="194" y="23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195">
              <a:extLst>
                <a:ext uri="{FF2B5EF4-FFF2-40B4-BE49-F238E27FC236}">
                  <a16:creationId xmlns:a16="http://schemas.microsoft.com/office/drawing/2014/main" id="{1A3A88E3-6C5B-4F00-96EC-23FC58597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" y="301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196">
              <a:extLst>
                <a:ext uri="{FF2B5EF4-FFF2-40B4-BE49-F238E27FC236}">
                  <a16:creationId xmlns:a16="http://schemas.microsoft.com/office/drawing/2014/main" id="{15B8B520-95FE-471C-AC68-253C46E2E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" y="304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Rectangle 197">
              <a:extLst>
                <a:ext uri="{FF2B5EF4-FFF2-40B4-BE49-F238E27FC236}">
                  <a16:creationId xmlns:a16="http://schemas.microsoft.com/office/drawing/2014/main" id="{E6D93858-CA36-41C7-BE3F-7484C6142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3" y="305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Rectangle 198">
              <a:extLst>
                <a:ext uri="{FF2B5EF4-FFF2-40B4-BE49-F238E27FC236}">
                  <a16:creationId xmlns:a16="http://schemas.microsoft.com/office/drawing/2014/main" id="{BCE80101-7113-4A55-BCF5-117646D96B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0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9">
              <a:extLst>
                <a:ext uri="{FF2B5EF4-FFF2-40B4-BE49-F238E27FC236}">
                  <a16:creationId xmlns:a16="http://schemas.microsoft.com/office/drawing/2014/main" id="{F1E9466B-04C7-4858-9BC1-1F87DA94B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0" y="2943"/>
              <a:ext cx="96" cy="78"/>
            </a:xfrm>
            <a:custGeom>
              <a:avLst/>
              <a:gdLst>
                <a:gd name="T0" fmla="*/ 0 w 96"/>
                <a:gd name="T1" fmla="*/ 73 h 78"/>
                <a:gd name="T2" fmla="*/ 0 w 96"/>
                <a:gd name="T3" fmla="*/ 76 h 78"/>
                <a:gd name="T4" fmla="*/ 0 w 96"/>
                <a:gd name="T5" fmla="*/ 76 h 78"/>
                <a:gd name="T6" fmla="*/ 3 w 96"/>
                <a:gd name="T7" fmla="*/ 76 h 78"/>
                <a:gd name="T8" fmla="*/ 3 w 96"/>
                <a:gd name="T9" fmla="*/ 78 h 78"/>
                <a:gd name="T10" fmla="*/ 3 w 96"/>
                <a:gd name="T11" fmla="*/ 78 h 78"/>
                <a:gd name="T12" fmla="*/ 91 w 96"/>
                <a:gd name="T13" fmla="*/ 78 h 78"/>
                <a:gd name="T14" fmla="*/ 94 w 96"/>
                <a:gd name="T15" fmla="*/ 78 h 78"/>
                <a:gd name="T16" fmla="*/ 94 w 96"/>
                <a:gd name="T17" fmla="*/ 76 h 78"/>
                <a:gd name="T18" fmla="*/ 96 w 96"/>
                <a:gd name="T19" fmla="*/ 76 h 78"/>
                <a:gd name="T20" fmla="*/ 96 w 96"/>
                <a:gd name="T21" fmla="*/ 76 h 78"/>
                <a:gd name="T22" fmla="*/ 96 w 96"/>
                <a:gd name="T23" fmla="*/ 73 h 78"/>
                <a:gd name="T24" fmla="*/ 96 w 96"/>
                <a:gd name="T25" fmla="*/ 2 h 78"/>
                <a:gd name="T26" fmla="*/ 94 w 96"/>
                <a:gd name="T27" fmla="*/ 0 h 78"/>
                <a:gd name="T28" fmla="*/ 94 w 96"/>
                <a:gd name="T29" fmla="*/ 0 h 78"/>
                <a:gd name="T30" fmla="*/ 91 w 96"/>
                <a:gd name="T31" fmla="*/ 0 h 78"/>
                <a:gd name="T32" fmla="*/ 5 w 96"/>
                <a:gd name="T33" fmla="*/ 0 h 78"/>
                <a:gd name="T34" fmla="*/ 3 w 96"/>
                <a:gd name="T35" fmla="*/ 0 h 78"/>
                <a:gd name="T36" fmla="*/ 3 w 96"/>
                <a:gd name="T37" fmla="*/ 0 h 78"/>
                <a:gd name="T38" fmla="*/ 0 w 96"/>
                <a:gd name="T39" fmla="*/ 0 h 78"/>
                <a:gd name="T40" fmla="*/ 0 w 96"/>
                <a:gd name="T41" fmla="*/ 2 h 78"/>
                <a:gd name="T42" fmla="*/ 0 w 96"/>
                <a:gd name="T43" fmla="*/ 2 h 78"/>
                <a:gd name="T44" fmla="*/ 0 w 96"/>
                <a:gd name="T45" fmla="*/ 5 h 78"/>
                <a:gd name="T46" fmla="*/ 0 w 96"/>
                <a:gd name="T47" fmla="*/ 73 h 78"/>
                <a:gd name="T48" fmla="*/ 8 w 96"/>
                <a:gd name="T49" fmla="*/ 7 h 78"/>
                <a:gd name="T50" fmla="*/ 89 w 96"/>
                <a:gd name="T51" fmla="*/ 7 h 78"/>
                <a:gd name="T52" fmla="*/ 89 w 96"/>
                <a:gd name="T53" fmla="*/ 68 h 78"/>
                <a:gd name="T54" fmla="*/ 8 w 96"/>
                <a:gd name="T55" fmla="*/ 68 h 78"/>
                <a:gd name="T56" fmla="*/ 8 w 96"/>
                <a:gd name="T57" fmla="*/ 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78">
                  <a:moveTo>
                    <a:pt x="0" y="73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3" y="76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94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6" y="73"/>
                  </a:lnTo>
                  <a:lnTo>
                    <a:pt x="96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1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3"/>
                  </a:lnTo>
                  <a:close/>
                  <a:moveTo>
                    <a:pt x="8" y="7"/>
                  </a:moveTo>
                  <a:lnTo>
                    <a:pt x="89" y="7"/>
                  </a:lnTo>
                  <a:lnTo>
                    <a:pt x="89" y="68"/>
                  </a:lnTo>
                  <a:lnTo>
                    <a:pt x="8" y="68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200">
              <a:extLst>
                <a:ext uri="{FF2B5EF4-FFF2-40B4-BE49-F238E27FC236}">
                  <a16:creationId xmlns:a16="http://schemas.microsoft.com/office/drawing/2014/main" id="{46D9042B-C91A-4D96-9956-D215F17D6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9" y="294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201">
              <a:extLst>
                <a:ext uri="{FF2B5EF4-FFF2-40B4-BE49-F238E27FC236}">
                  <a16:creationId xmlns:a16="http://schemas.microsoft.com/office/drawing/2014/main" id="{8AE56085-0566-4F5B-8C86-ECD079D0A2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3" y="308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Rectangle 202">
              <a:extLst>
                <a:ext uri="{FF2B5EF4-FFF2-40B4-BE49-F238E27FC236}">
                  <a16:creationId xmlns:a16="http://schemas.microsoft.com/office/drawing/2014/main" id="{2E5ED6A7-E4BD-4AB7-93A7-44A1D4C7F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8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203">
              <a:extLst>
                <a:ext uri="{FF2B5EF4-FFF2-40B4-BE49-F238E27FC236}">
                  <a16:creationId xmlns:a16="http://schemas.microsoft.com/office/drawing/2014/main" id="{6404311A-03C9-4317-AFCB-2468A4C5F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16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Rectangle 204">
              <a:extLst>
                <a:ext uri="{FF2B5EF4-FFF2-40B4-BE49-F238E27FC236}">
                  <a16:creationId xmlns:a16="http://schemas.microsoft.com/office/drawing/2014/main" id="{7DDF585F-EBEA-45A5-AF7A-E967ED601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301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205">
              <a:extLst>
                <a:ext uri="{FF2B5EF4-FFF2-40B4-BE49-F238E27FC236}">
                  <a16:creationId xmlns:a16="http://schemas.microsoft.com/office/drawing/2014/main" id="{37A42D1F-73D8-4126-8788-1F9A3D35E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7" y="305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Rectangle 206">
              <a:extLst>
                <a:ext uri="{FF2B5EF4-FFF2-40B4-BE49-F238E27FC236}">
                  <a16:creationId xmlns:a16="http://schemas.microsoft.com/office/drawing/2014/main" id="{DA1B4208-AC3A-4F42-B688-D1AC7EC21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3083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207">
              <a:extLst>
                <a:ext uri="{FF2B5EF4-FFF2-40B4-BE49-F238E27FC236}">
                  <a16:creationId xmlns:a16="http://schemas.microsoft.com/office/drawing/2014/main" id="{44140765-BAF8-4A7D-8001-C5BEF19AB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309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Rectangle 208">
              <a:extLst>
                <a:ext uri="{FF2B5EF4-FFF2-40B4-BE49-F238E27FC236}">
                  <a16:creationId xmlns:a16="http://schemas.microsoft.com/office/drawing/2014/main" id="{C0BBFC3F-3CAF-4222-9E49-5BC608DC9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43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209">
              <a:extLst>
                <a:ext uri="{FF2B5EF4-FFF2-40B4-BE49-F238E27FC236}">
                  <a16:creationId xmlns:a16="http://schemas.microsoft.com/office/drawing/2014/main" id="{A0FB71F5-CB30-4D62-8F6C-ABB2CD1E8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7" y="294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Rectangle 210">
              <a:extLst>
                <a:ext uri="{FF2B5EF4-FFF2-40B4-BE49-F238E27FC236}">
                  <a16:creationId xmlns:a16="http://schemas.microsoft.com/office/drawing/2014/main" id="{C7F66376-185B-46D4-A25D-88F4CB93D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7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Rectangle 211">
              <a:extLst>
                <a:ext uri="{FF2B5EF4-FFF2-40B4-BE49-F238E27FC236}">
                  <a16:creationId xmlns:a16="http://schemas.microsoft.com/office/drawing/2014/main" id="{4AB74203-D531-413B-8759-4BEBA0152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95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2" name="Group 214">
            <a:extLst>
              <a:ext uri="{FF2B5EF4-FFF2-40B4-BE49-F238E27FC236}">
                <a16:creationId xmlns:a16="http://schemas.microsoft.com/office/drawing/2014/main" id="{DD65AA10-473B-49A4-8160-3C152F709D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735" y="4091422"/>
            <a:ext cx="841375" cy="841375"/>
            <a:chOff x="1634" y="2612"/>
            <a:chExt cx="530" cy="530"/>
          </a:xfrm>
        </p:grpSpPr>
        <p:sp>
          <p:nvSpPr>
            <p:cNvPr id="243" name="AutoShape 213">
              <a:extLst>
                <a:ext uri="{FF2B5EF4-FFF2-40B4-BE49-F238E27FC236}">
                  <a16:creationId xmlns:a16="http://schemas.microsoft.com/office/drawing/2014/main" id="{D3FF29BD-7BB3-4214-8207-AA73C175D10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4" y="261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215">
              <a:extLst>
                <a:ext uri="{FF2B5EF4-FFF2-40B4-BE49-F238E27FC236}">
                  <a16:creationId xmlns:a16="http://schemas.microsoft.com/office/drawing/2014/main" id="{C4CEA100-F3EE-4A0C-A9E6-538C863276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" y="261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16">
              <a:extLst>
                <a:ext uri="{FF2B5EF4-FFF2-40B4-BE49-F238E27FC236}">
                  <a16:creationId xmlns:a16="http://schemas.microsoft.com/office/drawing/2014/main" id="{E8EFF493-AC7B-41F3-8CFC-B44D989CF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2" y="263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Rectangle 217">
              <a:extLst>
                <a:ext uri="{FF2B5EF4-FFF2-40B4-BE49-F238E27FC236}">
                  <a16:creationId xmlns:a16="http://schemas.microsoft.com/office/drawing/2014/main" id="{BFA21AF4-8374-4128-82D5-AA33125A0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" y="281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Rectangle 218">
              <a:extLst>
                <a:ext uri="{FF2B5EF4-FFF2-40B4-BE49-F238E27FC236}">
                  <a16:creationId xmlns:a16="http://schemas.microsoft.com/office/drawing/2014/main" id="{8E106017-FF7C-4E6E-A6EF-570A87F98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9" y="286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Rectangle 219">
              <a:extLst>
                <a:ext uri="{FF2B5EF4-FFF2-40B4-BE49-F238E27FC236}">
                  <a16:creationId xmlns:a16="http://schemas.microsoft.com/office/drawing/2014/main" id="{E57D630E-84B8-4617-8B8C-959C3D1B7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6" y="296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20">
              <a:extLst>
                <a:ext uri="{FF2B5EF4-FFF2-40B4-BE49-F238E27FC236}">
                  <a16:creationId xmlns:a16="http://schemas.microsoft.com/office/drawing/2014/main" id="{395DA6BA-BFFD-4367-AF93-61AF481A5C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2748"/>
              <a:ext cx="215" cy="261"/>
            </a:xfrm>
            <a:custGeom>
              <a:avLst/>
              <a:gdLst>
                <a:gd name="T0" fmla="*/ 212 w 215"/>
                <a:gd name="T1" fmla="*/ 0 h 261"/>
                <a:gd name="T2" fmla="*/ 15 w 215"/>
                <a:gd name="T3" fmla="*/ 5 h 261"/>
                <a:gd name="T4" fmla="*/ 15 w 215"/>
                <a:gd name="T5" fmla="*/ 35 h 261"/>
                <a:gd name="T6" fmla="*/ 0 w 215"/>
                <a:gd name="T7" fmla="*/ 38 h 261"/>
                <a:gd name="T8" fmla="*/ 0 w 215"/>
                <a:gd name="T9" fmla="*/ 41 h 261"/>
                <a:gd name="T10" fmla="*/ 2 w 215"/>
                <a:gd name="T11" fmla="*/ 43 h 261"/>
                <a:gd name="T12" fmla="*/ 15 w 215"/>
                <a:gd name="T13" fmla="*/ 71 h 261"/>
                <a:gd name="T14" fmla="*/ 0 w 215"/>
                <a:gd name="T15" fmla="*/ 71 h 261"/>
                <a:gd name="T16" fmla="*/ 0 w 215"/>
                <a:gd name="T17" fmla="*/ 76 h 261"/>
                <a:gd name="T18" fmla="*/ 0 w 215"/>
                <a:gd name="T19" fmla="*/ 79 h 261"/>
                <a:gd name="T20" fmla="*/ 15 w 215"/>
                <a:gd name="T21" fmla="*/ 107 h 261"/>
                <a:gd name="T22" fmla="*/ 0 w 215"/>
                <a:gd name="T23" fmla="*/ 110 h 261"/>
                <a:gd name="T24" fmla="*/ 0 w 215"/>
                <a:gd name="T25" fmla="*/ 112 h 261"/>
                <a:gd name="T26" fmla="*/ 2 w 215"/>
                <a:gd name="T27" fmla="*/ 117 h 261"/>
                <a:gd name="T28" fmla="*/ 15 w 215"/>
                <a:gd name="T29" fmla="*/ 143 h 261"/>
                <a:gd name="T30" fmla="*/ 0 w 215"/>
                <a:gd name="T31" fmla="*/ 146 h 261"/>
                <a:gd name="T32" fmla="*/ 0 w 215"/>
                <a:gd name="T33" fmla="*/ 148 h 261"/>
                <a:gd name="T34" fmla="*/ 0 w 215"/>
                <a:gd name="T35" fmla="*/ 153 h 261"/>
                <a:gd name="T36" fmla="*/ 15 w 215"/>
                <a:gd name="T37" fmla="*/ 181 h 261"/>
                <a:gd name="T38" fmla="*/ 0 w 215"/>
                <a:gd name="T39" fmla="*/ 181 h 261"/>
                <a:gd name="T40" fmla="*/ 0 w 215"/>
                <a:gd name="T41" fmla="*/ 181 h 261"/>
                <a:gd name="T42" fmla="*/ 0 w 215"/>
                <a:gd name="T43" fmla="*/ 187 h 261"/>
                <a:gd name="T44" fmla="*/ 0 w 215"/>
                <a:gd name="T45" fmla="*/ 189 h 261"/>
                <a:gd name="T46" fmla="*/ 2 w 215"/>
                <a:gd name="T47" fmla="*/ 189 h 261"/>
                <a:gd name="T48" fmla="*/ 0 w 215"/>
                <a:gd name="T49" fmla="*/ 217 h 261"/>
                <a:gd name="T50" fmla="*/ 0 w 215"/>
                <a:gd name="T51" fmla="*/ 217 h 261"/>
                <a:gd name="T52" fmla="*/ 0 w 215"/>
                <a:gd name="T53" fmla="*/ 220 h 261"/>
                <a:gd name="T54" fmla="*/ 0 w 215"/>
                <a:gd name="T55" fmla="*/ 225 h 261"/>
                <a:gd name="T56" fmla="*/ 2 w 215"/>
                <a:gd name="T57" fmla="*/ 225 h 261"/>
                <a:gd name="T58" fmla="*/ 20 w 215"/>
                <a:gd name="T59" fmla="*/ 261 h 261"/>
                <a:gd name="T60" fmla="*/ 215 w 215"/>
                <a:gd name="T61" fmla="*/ 256 h 261"/>
                <a:gd name="T62" fmla="*/ 28 w 215"/>
                <a:gd name="T63" fmla="*/ 245 h 261"/>
                <a:gd name="T64" fmla="*/ 43 w 215"/>
                <a:gd name="T65" fmla="*/ 225 h 261"/>
                <a:gd name="T66" fmla="*/ 43 w 215"/>
                <a:gd name="T67" fmla="*/ 222 h 261"/>
                <a:gd name="T68" fmla="*/ 43 w 215"/>
                <a:gd name="T69" fmla="*/ 220 h 261"/>
                <a:gd name="T70" fmla="*/ 43 w 215"/>
                <a:gd name="T71" fmla="*/ 217 h 261"/>
                <a:gd name="T72" fmla="*/ 28 w 215"/>
                <a:gd name="T73" fmla="*/ 217 h 261"/>
                <a:gd name="T74" fmla="*/ 43 w 215"/>
                <a:gd name="T75" fmla="*/ 189 h 261"/>
                <a:gd name="T76" fmla="*/ 43 w 215"/>
                <a:gd name="T77" fmla="*/ 187 h 261"/>
                <a:gd name="T78" fmla="*/ 43 w 215"/>
                <a:gd name="T79" fmla="*/ 181 h 261"/>
                <a:gd name="T80" fmla="*/ 43 w 215"/>
                <a:gd name="T81" fmla="*/ 181 h 261"/>
                <a:gd name="T82" fmla="*/ 28 w 215"/>
                <a:gd name="T83" fmla="*/ 153 h 261"/>
                <a:gd name="T84" fmla="*/ 43 w 215"/>
                <a:gd name="T85" fmla="*/ 151 h 261"/>
                <a:gd name="T86" fmla="*/ 43 w 215"/>
                <a:gd name="T87" fmla="*/ 146 h 261"/>
                <a:gd name="T88" fmla="*/ 41 w 215"/>
                <a:gd name="T89" fmla="*/ 143 h 261"/>
                <a:gd name="T90" fmla="*/ 41 w 215"/>
                <a:gd name="T91" fmla="*/ 117 h 261"/>
                <a:gd name="T92" fmla="*/ 43 w 215"/>
                <a:gd name="T93" fmla="*/ 115 h 261"/>
                <a:gd name="T94" fmla="*/ 43 w 215"/>
                <a:gd name="T95" fmla="*/ 110 h 261"/>
                <a:gd name="T96" fmla="*/ 41 w 215"/>
                <a:gd name="T97" fmla="*/ 107 h 261"/>
                <a:gd name="T98" fmla="*/ 41 w 215"/>
                <a:gd name="T99" fmla="*/ 79 h 261"/>
                <a:gd name="T100" fmla="*/ 43 w 215"/>
                <a:gd name="T101" fmla="*/ 79 h 261"/>
                <a:gd name="T102" fmla="*/ 43 w 215"/>
                <a:gd name="T103" fmla="*/ 76 h 261"/>
                <a:gd name="T104" fmla="*/ 43 w 215"/>
                <a:gd name="T105" fmla="*/ 71 h 261"/>
                <a:gd name="T106" fmla="*/ 28 w 215"/>
                <a:gd name="T107" fmla="*/ 43 h 261"/>
                <a:gd name="T108" fmla="*/ 43 w 215"/>
                <a:gd name="T109" fmla="*/ 41 h 261"/>
                <a:gd name="T110" fmla="*/ 46 w 215"/>
                <a:gd name="T111" fmla="*/ 38 h 261"/>
                <a:gd name="T112" fmla="*/ 43 w 215"/>
                <a:gd name="T113" fmla="*/ 35 h 261"/>
                <a:gd name="T114" fmla="*/ 28 w 215"/>
                <a:gd name="T115" fmla="*/ 12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5" h="261">
                  <a:moveTo>
                    <a:pt x="215" y="253"/>
                  </a:moveTo>
                  <a:lnTo>
                    <a:pt x="215" y="2"/>
                  </a:lnTo>
                  <a:lnTo>
                    <a:pt x="212" y="0"/>
                  </a:lnTo>
                  <a:lnTo>
                    <a:pt x="210" y="0"/>
                  </a:lnTo>
                  <a:lnTo>
                    <a:pt x="18" y="2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15" y="43"/>
                  </a:lnTo>
                  <a:lnTo>
                    <a:pt x="15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15" y="79"/>
                  </a:lnTo>
                  <a:lnTo>
                    <a:pt x="15" y="107"/>
                  </a:lnTo>
                  <a:lnTo>
                    <a:pt x="0" y="107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15" y="117"/>
                  </a:lnTo>
                  <a:lnTo>
                    <a:pt x="15" y="143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2" y="153"/>
                  </a:lnTo>
                  <a:lnTo>
                    <a:pt x="15" y="153"/>
                  </a:lnTo>
                  <a:lnTo>
                    <a:pt x="15" y="181"/>
                  </a:lnTo>
                  <a:lnTo>
                    <a:pt x="2" y="18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9"/>
                  </a:lnTo>
                  <a:lnTo>
                    <a:pt x="2" y="189"/>
                  </a:lnTo>
                  <a:lnTo>
                    <a:pt x="2" y="189"/>
                  </a:lnTo>
                  <a:lnTo>
                    <a:pt x="2" y="189"/>
                  </a:lnTo>
                  <a:lnTo>
                    <a:pt x="15" y="189"/>
                  </a:lnTo>
                  <a:lnTo>
                    <a:pt x="15" y="217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22"/>
                  </a:lnTo>
                  <a:lnTo>
                    <a:pt x="0" y="222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15" y="225"/>
                  </a:lnTo>
                  <a:lnTo>
                    <a:pt x="15" y="256"/>
                  </a:lnTo>
                  <a:lnTo>
                    <a:pt x="20" y="261"/>
                  </a:lnTo>
                  <a:lnTo>
                    <a:pt x="23" y="261"/>
                  </a:lnTo>
                  <a:lnTo>
                    <a:pt x="212" y="258"/>
                  </a:lnTo>
                  <a:lnTo>
                    <a:pt x="215" y="256"/>
                  </a:lnTo>
                  <a:lnTo>
                    <a:pt x="215" y="253"/>
                  </a:lnTo>
                  <a:close/>
                  <a:moveTo>
                    <a:pt x="202" y="245"/>
                  </a:moveTo>
                  <a:lnTo>
                    <a:pt x="28" y="245"/>
                  </a:lnTo>
                  <a:lnTo>
                    <a:pt x="28" y="225"/>
                  </a:lnTo>
                  <a:lnTo>
                    <a:pt x="41" y="225"/>
                  </a:lnTo>
                  <a:lnTo>
                    <a:pt x="43" y="225"/>
                  </a:lnTo>
                  <a:lnTo>
                    <a:pt x="43" y="225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6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1" y="217"/>
                  </a:lnTo>
                  <a:lnTo>
                    <a:pt x="41" y="217"/>
                  </a:lnTo>
                  <a:lnTo>
                    <a:pt x="28" y="217"/>
                  </a:lnTo>
                  <a:lnTo>
                    <a:pt x="28" y="189"/>
                  </a:lnTo>
                  <a:lnTo>
                    <a:pt x="41" y="189"/>
                  </a:lnTo>
                  <a:lnTo>
                    <a:pt x="43" y="189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1" y="181"/>
                  </a:lnTo>
                  <a:lnTo>
                    <a:pt x="28" y="181"/>
                  </a:lnTo>
                  <a:lnTo>
                    <a:pt x="28" y="153"/>
                  </a:lnTo>
                  <a:lnTo>
                    <a:pt x="43" y="153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1" y="143"/>
                  </a:lnTo>
                  <a:lnTo>
                    <a:pt x="28" y="143"/>
                  </a:lnTo>
                  <a:lnTo>
                    <a:pt x="28" y="117"/>
                  </a:lnTo>
                  <a:lnTo>
                    <a:pt x="41" y="117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2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1" y="107"/>
                  </a:lnTo>
                  <a:lnTo>
                    <a:pt x="28" y="107"/>
                  </a:lnTo>
                  <a:lnTo>
                    <a:pt x="28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6"/>
                  </a:lnTo>
                  <a:lnTo>
                    <a:pt x="46" y="76"/>
                  </a:lnTo>
                  <a:lnTo>
                    <a:pt x="43" y="76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1"/>
                  </a:lnTo>
                  <a:lnTo>
                    <a:pt x="41" y="71"/>
                  </a:lnTo>
                  <a:lnTo>
                    <a:pt x="28" y="71"/>
                  </a:lnTo>
                  <a:lnTo>
                    <a:pt x="28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6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1" y="35"/>
                  </a:lnTo>
                  <a:lnTo>
                    <a:pt x="28" y="35"/>
                  </a:lnTo>
                  <a:lnTo>
                    <a:pt x="28" y="12"/>
                  </a:lnTo>
                  <a:lnTo>
                    <a:pt x="202" y="12"/>
                  </a:lnTo>
                  <a:lnTo>
                    <a:pt x="202" y="2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Rectangle 221">
              <a:extLst>
                <a:ext uri="{FF2B5EF4-FFF2-40B4-BE49-F238E27FC236}">
                  <a16:creationId xmlns:a16="http://schemas.microsoft.com/office/drawing/2014/main" id="{360E9B7A-5C0C-46F4-A49C-B1B68F2EF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9" y="289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Rectangle 222">
              <a:extLst>
                <a:ext uri="{FF2B5EF4-FFF2-40B4-BE49-F238E27FC236}">
                  <a16:creationId xmlns:a16="http://schemas.microsoft.com/office/drawing/2014/main" id="{065264A4-6135-45C0-8835-07A4136AD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9" y="292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223">
              <a:extLst>
                <a:ext uri="{FF2B5EF4-FFF2-40B4-BE49-F238E27FC236}">
                  <a16:creationId xmlns:a16="http://schemas.microsoft.com/office/drawing/2014/main" id="{0D450F39-4FD5-489D-8800-D3A724F86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93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224">
              <a:extLst>
                <a:ext uri="{FF2B5EF4-FFF2-40B4-BE49-F238E27FC236}">
                  <a16:creationId xmlns:a16="http://schemas.microsoft.com/office/drawing/2014/main" id="{AE1C0AD3-1E51-4F04-A2CB-6B9B737197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78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25">
              <a:extLst>
                <a:ext uri="{FF2B5EF4-FFF2-40B4-BE49-F238E27FC236}">
                  <a16:creationId xmlns:a16="http://schemas.microsoft.com/office/drawing/2014/main" id="{48A7E33C-23B9-4DA5-8A81-BB8BD932AB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9" y="2819"/>
              <a:ext cx="100" cy="82"/>
            </a:xfrm>
            <a:custGeom>
              <a:avLst/>
              <a:gdLst>
                <a:gd name="T0" fmla="*/ 0 w 100"/>
                <a:gd name="T1" fmla="*/ 77 h 82"/>
                <a:gd name="T2" fmla="*/ 0 w 100"/>
                <a:gd name="T3" fmla="*/ 80 h 82"/>
                <a:gd name="T4" fmla="*/ 0 w 100"/>
                <a:gd name="T5" fmla="*/ 80 h 82"/>
                <a:gd name="T6" fmla="*/ 3 w 100"/>
                <a:gd name="T7" fmla="*/ 80 h 82"/>
                <a:gd name="T8" fmla="*/ 3 w 100"/>
                <a:gd name="T9" fmla="*/ 82 h 82"/>
                <a:gd name="T10" fmla="*/ 3 w 100"/>
                <a:gd name="T11" fmla="*/ 82 h 82"/>
                <a:gd name="T12" fmla="*/ 95 w 100"/>
                <a:gd name="T13" fmla="*/ 82 h 82"/>
                <a:gd name="T14" fmla="*/ 98 w 100"/>
                <a:gd name="T15" fmla="*/ 82 h 82"/>
                <a:gd name="T16" fmla="*/ 98 w 100"/>
                <a:gd name="T17" fmla="*/ 80 h 82"/>
                <a:gd name="T18" fmla="*/ 100 w 100"/>
                <a:gd name="T19" fmla="*/ 80 h 82"/>
                <a:gd name="T20" fmla="*/ 100 w 100"/>
                <a:gd name="T21" fmla="*/ 80 h 82"/>
                <a:gd name="T22" fmla="*/ 100 w 100"/>
                <a:gd name="T23" fmla="*/ 77 h 82"/>
                <a:gd name="T24" fmla="*/ 100 w 100"/>
                <a:gd name="T25" fmla="*/ 3 h 82"/>
                <a:gd name="T26" fmla="*/ 98 w 100"/>
                <a:gd name="T27" fmla="*/ 0 h 82"/>
                <a:gd name="T28" fmla="*/ 98 w 100"/>
                <a:gd name="T29" fmla="*/ 0 h 82"/>
                <a:gd name="T30" fmla="*/ 95 w 100"/>
                <a:gd name="T31" fmla="*/ 0 h 82"/>
                <a:gd name="T32" fmla="*/ 6 w 100"/>
                <a:gd name="T33" fmla="*/ 0 h 82"/>
                <a:gd name="T34" fmla="*/ 3 w 100"/>
                <a:gd name="T35" fmla="*/ 0 h 82"/>
                <a:gd name="T36" fmla="*/ 3 w 100"/>
                <a:gd name="T37" fmla="*/ 0 h 82"/>
                <a:gd name="T38" fmla="*/ 0 w 100"/>
                <a:gd name="T39" fmla="*/ 0 h 82"/>
                <a:gd name="T40" fmla="*/ 0 w 100"/>
                <a:gd name="T41" fmla="*/ 3 h 82"/>
                <a:gd name="T42" fmla="*/ 0 w 100"/>
                <a:gd name="T43" fmla="*/ 3 h 82"/>
                <a:gd name="T44" fmla="*/ 0 w 100"/>
                <a:gd name="T45" fmla="*/ 5 h 82"/>
                <a:gd name="T46" fmla="*/ 0 w 100"/>
                <a:gd name="T47" fmla="*/ 77 h 82"/>
                <a:gd name="T48" fmla="*/ 8 w 100"/>
                <a:gd name="T49" fmla="*/ 8 h 82"/>
                <a:gd name="T50" fmla="*/ 93 w 100"/>
                <a:gd name="T51" fmla="*/ 8 h 82"/>
                <a:gd name="T52" fmla="*/ 93 w 100"/>
                <a:gd name="T53" fmla="*/ 72 h 82"/>
                <a:gd name="T54" fmla="*/ 8 w 100"/>
                <a:gd name="T55" fmla="*/ 72 h 82"/>
                <a:gd name="T56" fmla="*/ 8 w 100"/>
                <a:gd name="T57" fmla="*/ 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0" h="82">
                  <a:moveTo>
                    <a:pt x="0" y="77"/>
                  </a:moveTo>
                  <a:lnTo>
                    <a:pt x="0" y="80"/>
                  </a:lnTo>
                  <a:lnTo>
                    <a:pt x="0" y="80"/>
                  </a:lnTo>
                  <a:lnTo>
                    <a:pt x="3" y="80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95" y="82"/>
                  </a:lnTo>
                  <a:lnTo>
                    <a:pt x="98" y="82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0" y="80"/>
                  </a:lnTo>
                  <a:lnTo>
                    <a:pt x="100" y="77"/>
                  </a:lnTo>
                  <a:lnTo>
                    <a:pt x="100" y="3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7"/>
                  </a:lnTo>
                  <a:close/>
                  <a:moveTo>
                    <a:pt x="8" y="8"/>
                  </a:moveTo>
                  <a:lnTo>
                    <a:pt x="93" y="8"/>
                  </a:lnTo>
                  <a:lnTo>
                    <a:pt x="93" y="72"/>
                  </a:lnTo>
                  <a:lnTo>
                    <a:pt x="8" y="72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Rectangle 226">
              <a:extLst>
                <a:ext uri="{FF2B5EF4-FFF2-40B4-BE49-F238E27FC236}">
                  <a16:creationId xmlns:a16="http://schemas.microsoft.com/office/drawing/2014/main" id="{441CC2AC-9B3F-4368-ABC6-464CAF6F38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" y="282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Rectangle 227">
              <a:extLst>
                <a:ext uri="{FF2B5EF4-FFF2-40B4-BE49-F238E27FC236}">
                  <a16:creationId xmlns:a16="http://schemas.microsoft.com/office/drawing/2014/main" id="{14C9D801-CF92-40DC-BAFC-CC89DFCEC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970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228">
              <a:extLst>
                <a:ext uri="{FF2B5EF4-FFF2-40B4-BE49-F238E27FC236}">
                  <a16:creationId xmlns:a16="http://schemas.microsoft.com/office/drawing/2014/main" id="{09DD7E31-6957-402F-965F-55194D693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86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229">
              <a:extLst>
                <a:ext uri="{FF2B5EF4-FFF2-40B4-BE49-F238E27FC236}">
                  <a16:creationId xmlns:a16="http://schemas.microsoft.com/office/drawing/2014/main" id="{C95F4E74-C169-430C-A7DB-1C287A347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79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230">
              <a:extLst>
                <a:ext uri="{FF2B5EF4-FFF2-40B4-BE49-F238E27FC236}">
                  <a16:creationId xmlns:a16="http://schemas.microsoft.com/office/drawing/2014/main" id="{A0A4FCCF-E046-4E0A-A39D-DC6ADDA9CF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89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Rectangle 231">
              <a:extLst>
                <a:ext uri="{FF2B5EF4-FFF2-40B4-BE49-F238E27FC236}">
                  <a16:creationId xmlns:a16="http://schemas.microsoft.com/office/drawing/2014/main" id="{477FB349-DAD5-4510-BB63-B719FB8CD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3" y="2940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Rectangle 232">
              <a:extLst>
                <a:ext uri="{FF2B5EF4-FFF2-40B4-BE49-F238E27FC236}">
                  <a16:creationId xmlns:a16="http://schemas.microsoft.com/office/drawing/2014/main" id="{F58F2C7E-5A87-4515-B3C6-6FDAEA259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96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233">
              <a:extLst>
                <a:ext uri="{FF2B5EF4-FFF2-40B4-BE49-F238E27FC236}">
                  <a16:creationId xmlns:a16="http://schemas.microsoft.com/office/drawing/2014/main" id="{60256BB6-3926-4127-AEED-F09E8B23A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97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234">
              <a:extLst>
                <a:ext uri="{FF2B5EF4-FFF2-40B4-BE49-F238E27FC236}">
                  <a16:creationId xmlns:a16="http://schemas.microsoft.com/office/drawing/2014/main" id="{77160B30-6F32-4A7A-AB4C-F35BB33F6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81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235">
              <a:extLst>
                <a:ext uri="{FF2B5EF4-FFF2-40B4-BE49-F238E27FC236}">
                  <a16:creationId xmlns:a16="http://schemas.microsoft.com/office/drawing/2014/main" id="{4C35FCD1-CE2D-485B-A036-1964796B5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3" y="281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236">
              <a:extLst>
                <a:ext uri="{FF2B5EF4-FFF2-40B4-BE49-F238E27FC236}">
                  <a16:creationId xmlns:a16="http://schemas.microsoft.com/office/drawing/2014/main" id="{2086100C-31B5-4789-967A-4E60B09B6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85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37">
              <a:extLst>
                <a:ext uri="{FF2B5EF4-FFF2-40B4-BE49-F238E27FC236}">
                  <a16:creationId xmlns:a16="http://schemas.microsoft.com/office/drawing/2014/main" id="{287F88A2-294A-44E4-B6C2-DD9168F8B4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" y="282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1" name="Group 240">
            <a:extLst>
              <a:ext uri="{FF2B5EF4-FFF2-40B4-BE49-F238E27FC236}">
                <a16:creationId xmlns:a16="http://schemas.microsoft.com/office/drawing/2014/main" id="{94294FB4-30C9-4ED9-8219-E4F996403C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3425" y="4132697"/>
            <a:ext cx="760413" cy="758825"/>
            <a:chOff x="3720" y="2791"/>
            <a:chExt cx="479" cy="478"/>
          </a:xfrm>
        </p:grpSpPr>
        <p:sp>
          <p:nvSpPr>
            <p:cNvPr id="272" name="AutoShape 239">
              <a:extLst>
                <a:ext uri="{FF2B5EF4-FFF2-40B4-BE49-F238E27FC236}">
                  <a16:creationId xmlns:a16="http://schemas.microsoft.com/office/drawing/2014/main" id="{061A345E-FD33-4884-B994-9417E07E06A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20" y="279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41">
              <a:extLst>
                <a:ext uri="{FF2B5EF4-FFF2-40B4-BE49-F238E27FC236}">
                  <a16:creationId xmlns:a16="http://schemas.microsoft.com/office/drawing/2014/main" id="{594BA4A5-8CFE-46E7-B4FE-2C2758058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2" y="279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2">
              <a:extLst>
                <a:ext uri="{FF2B5EF4-FFF2-40B4-BE49-F238E27FC236}">
                  <a16:creationId xmlns:a16="http://schemas.microsoft.com/office/drawing/2014/main" id="{083D0875-5C4C-40FF-AC2A-5844324B30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8" y="2909"/>
              <a:ext cx="285" cy="264"/>
            </a:xfrm>
            <a:custGeom>
              <a:avLst/>
              <a:gdLst>
                <a:gd name="T0" fmla="*/ 79 w 285"/>
                <a:gd name="T1" fmla="*/ 250 h 264"/>
                <a:gd name="T2" fmla="*/ 175 w 285"/>
                <a:gd name="T3" fmla="*/ 264 h 264"/>
                <a:gd name="T4" fmla="*/ 162 w 285"/>
                <a:gd name="T5" fmla="*/ 220 h 264"/>
                <a:gd name="T6" fmla="*/ 246 w 285"/>
                <a:gd name="T7" fmla="*/ 44 h 264"/>
                <a:gd name="T8" fmla="*/ 209 w 285"/>
                <a:gd name="T9" fmla="*/ 0 h 264"/>
                <a:gd name="T10" fmla="*/ 162 w 285"/>
                <a:gd name="T11" fmla="*/ 9 h 264"/>
                <a:gd name="T12" fmla="*/ 130 w 285"/>
                <a:gd name="T13" fmla="*/ 14 h 264"/>
                <a:gd name="T14" fmla="*/ 94 w 285"/>
                <a:gd name="T15" fmla="*/ 2 h 264"/>
                <a:gd name="T16" fmla="*/ 47 w 285"/>
                <a:gd name="T17" fmla="*/ 0 h 264"/>
                <a:gd name="T18" fmla="*/ 0 w 285"/>
                <a:gd name="T19" fmla="*/ 44 h 264"/>
                <a:gd name="T20" fmla="*/ 270 w 285"/>
                <a:gd name="T21" fmla="*/ 58 h 264"/>
                <a:gd name="T22" fmla="*/ 172 w 285"/>
                <a:gd name="T23" fmla="*/ 191 h 264"/>
                <a:gd name="T24" fmla="*/ 185 w 285"/>
                <a:gd name="T25" fmla="*/ 174 h 264"/>
                <a:gd name="T26" fmla="*/ 229 w 285"/>
                <a:gd name="T27" fmla="*/ 169 h 264"/>
                <a:gd name="T28" fmla="*/ 150 w 285"/>
                <a:gd name="T29" fmla="*/ 34 h 264"/>
                <a:gd name="T30" fmla="*/ 185 w 285"/>
                <a:gd name="T31" fmla="*/ 19 h 264"/>
                <a:gd name="T32" fmla="*/ 224 w 285"/>
                <a:gd name="T33" fmla="*/ 14 h 264"/>
                <a:gd name="T34" fmla="*/ 216 w 285"/>
                <a:gd name="T35" fmla="*/ 154 h 264"/>
                <a:gd name="T36" fmla="*/ 172 w 285"/>
                <a:gd name="T37" fmla="*/ 154 h 264"/>
                <a:gd name="T38" fmla="*/ 167 w 285"/>
                <a:gd name="T39" fmla="*/ 144 h 264"/>
                <a:gd name="T40" fmla="*/ 155 w 285"/>
                <a:gd name="T41" fmla="*/ 132 h 264"/>
                <a:gd name="T42" fmla="*/ 54 w 285"/>
                <a:gd name="T43" fmla="*/ 14 h 264"/>
                <a:gd name="T44" fmla="*/ 103 w 285"/>
                <a:gd name="T45" fmla="*/ 19 h 264"/>
                <a:gd name="T46" fmla="*/ 135 w 285"/>
                <a:gd name="T47" fmla="*/ 127 h 264"/>
                <a:gd name="T48" fmla="*/ 111 w 285"/>
                <a:gd name="T49" fmla="*/ 81 h 264"/>
                <a:gd name="T50" fmla="*/ 101 w 285"/>
                <a:gd name="T51" fmla="*/ 73 h 264"/>
                <a:gd name="T52" fmla="*/ 91 w 285"/>
                <a:gd name="T53" fmla="*/ 73 h 264"/>
                <a:gd name="T54" fmla="*/ 79 w 285"/>
                <a:gd name="T55" fmla="*/ 83 h 264"/>
                <a:gd name="T56" fmla="*/ 76 w 285"/>
                <a:gd name="T57" fmla="*/ 149 h 264"/>
                <a:gd name="T58" fmla="*/ 57 w 285"/>
                <a:gd name="T59" fmla="*/ 137 h 264"/>
                <a:gd name="T60" fmla="*/ 40 w 285"/>
                <a:gd name="T61" fmla="*/ 149 h 264"/>
                <a:gd name="T62" fmla="*/ 49 w 285"/>
                <a:gd name="T63" fmla="*/ 147 h 264"/>
                <a:gd name="T64" fmla="*/ 64 w 285"/>
                <a:gd name="T65" fmla="*/ 154 h 264"/>
                <a:gd name="T66" fmla="*/ 76 w 285"/>
                <a:gd name="T67" fmla="*/ 176 h 264"/>
                <a:gd name="T68" fmla="*/ 81 w 285"/>
                <a:gd name="T69" fmla="*/ 179 h 264"/>
                <a:gd name="T70" fmla="*/ 86 w 285"/>
                <a:gd name="T71" fmla="*/ 174 h 264"/>
                <a:gd name="T72" fmla="*/ 89 w 285"/>
                <a:gd name="T73" fmla="*/ 88 h 264"/>
                <a:gd name="T74" fmla="*/ 94 w 285"/>
                <a:gd name="T75" fmla="*/ 83 h 264"/>
                <a:gd name="T76" fmla="*/ 103 w 285"/>
                <a:gd name="T77" fmla="*/ 88 h 264"/>
                <a:gd name="T78" fmla="*/ 103 w 285"/>
                <a:gd name="T79" fmla="*/ 127 h 264"/>
                <a:gd name="T80" fmla="*/ 108 w 285"/>
                <a:gd name="T81" fmla="*/ 132 h 264"/>
                <a:gd name="T82" fmla="*/ 157 w 285"/>
                <a:gd name="T83" fmla="*/ 147 h 264"/>
                <a:gd name="T84" fmla="*/ 162 w 285"/>
                <a:gd name="T85" fmla="*/ 157 h 264"/>
                <a:gd name="T86" fmla="*/ 165 w 285"/>
                <a:gd name="T87" fmla="*/ 176 h 264"/>
                <a:gd name="T88" fmla="*/ 157 w 285"/>
                <a:gd name="T89" fmla="*/ 206 h 264"/>
                <a:gd name="T90" fmla="*/ 89 w 285"/>
                <a:gd name="T91" fmla="*/ 250 h 264"/>
                <a:gd name="T92" fmla="*/ 86 w 285"/>
                <a:gd name="T93" fmla="*/ 213 h 264"/>
                <a:gd name="T94" fmla="*/ 71 w 285"/>
                <a:gd name="T95" fmla="*/ 201 h 264"/>
                <a:gd name="T96" fmla="*/ 57 w 285"/>
                <a:gd name="T97" fmla="*/ 179 h 264"/>
                <a:gd name="T98" fmla="*/ 40 w 285"/>
                <a:gd name="T99" fmla="*/ 159 h 264"/>
                <a:gd name="T100" fmla="*/ 40 w 285"/>
                <a:gd name="T101" fmla="*/ 152 h 264"/>
                <a:gd name="T102" fmla="*/ 40 w 285"/>
                <a:gd name="T103" fmla="*/ 58 h 264"/>
                <a:gd name="T104" fmla="*/ 32 w 285"/>
                <a:gd name="T105" fmla="*/ 144 h 264"/>
                <a:gd name="T106" fmla="*/ 27 w 285"/>
                <a:gd name="T107" fmla="*/ 154 h 264"/>
                <a:gd name="T108" fmla="*/ 32 w 285"/>
                <a:gd name="T109" fmla="*/ 164 h 264"/>
                <a:gd name="T110" fmla="*/ 57 w 285"/>
                <a:gd name="T111" fmla="*/ 198 h 264"/>
                <a:gd name="T112" fmla="*/ 15 w 285"/>
                <a:gd name="T113" fmla="*/ 5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5" h="264">
                  <a:moveTo>
                    <a:pt x="0" y="220"/>
                  </a:moveTo>
                  <a:lnTo>
                    <a:pt x="79" y="220"/>
                  </a:lnTo>
                  <a:lnTo>
                    <a:pt x="79" y="250"/>
                  </a:lnTo>
                  <a:lnTo>
                    <a:pt x="67" y="250"/>
                  </a:lnTo>
                  <a:lnTo>
                    <a:pt x="67" y="264"/>
                  </a:lnTo>
                  <a:lnTo>
                    <a:pt x="175" y="264"/>
                  </a:lnTo>
                  <a:lnTo>
                    <a:pt x="175" y="250"/>
                  </a:lnTo>
                  <a:lnTo>
                    <a:pt x="162" y="250"/>
                  </a:lnTo>
                  <a:lnTo>
                    <a:pt x="162" y="220"/>
                  </a:lnTo>
                  <a:lnTo>
                    <a:pt x="285" y="220"/>
                  </a:lnTo>
                  <a:lnTo>
                    <a:pt x="285" y="44"/>
                  </a:lnTo>
                  <a:lnTo>
                    <a:pt x="246" y="44"/>
                  </a:lnTo>
                  <a:lnTo>
                    <a:pt x="246" y="0"/>
                  </a:lnTo>
                  <a:lnTo>
                    <a:pt x="221" y="0"/>
                  </a:lnTo>
                  <a:lnTo>
                    <a:pt x="209" y="0"/>
                  </a:lnTo>
                  <a:lnTo>
                    <a:pt x="192" y="2"/>
                  </a:lnTo>
                  <a:lnTo>
                    <a:pt x="172" y="7"/>
                  </a:lnTo>
                  <a:lnTo>
                    <a:pt x="162" y="9"/>
                  </a:lnTo>
                  <a:lnTo>
                    <a:pt x="150" y="17"/>
                  </a:lnTo>
                  <a:lnTo>
                    <a:pt x="143" y="19"/>
                  </a:lnTo>
                  <a:lnTo>
                    <a:pt x="130" y="14"/>
                  </a:lnTo>
                  <a:lnTo>
                    <a:pt x="123" y="9"/>
                  </a:lnTo>
                  <a:lnTo>
                    <a:pt x="108" y="5"/>
                  </a:lnTo>
                  <a:lnTo>
                    <a:pt x="94" y="2"/>
                  </a:lnTo>
                  <a:lnTo>
                    <a:pt x="76" y="0"/>
                  </a:lnTo>
                  <a:lnTo>
                    <a:pt x="64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40" y="44"/>
                  </a:lnTo>
                  <a:lnTo>
                    <a:pt x="0" y="44"/>
                  </a:lnTo>
                  <a:lnTo>
                    <a:pt x="0" y="220"/>
                  </a:lnTo>
                  <a:close/>
                  <a:moveTo>
                    <a:pt x="246" y="58"/>
                  </a:moveTo>
                  <a:lnTo>
                    <a:pt x="270" y="58"/>
                  </a:lnTo>
                  <a:lnTo>
                    <a:pt x="270" y="206"/>
                  </a:lnTo>
                  <a:lnTo>
                    <a:pt x="167" y="206"/>
                  </a:lnTo>
                  <a:lnTo>
                    <a:pt x="172" y="191"/>
                  </a:lnTo>
                  <a:lnTo>
                    <a:pt x="175" y="181"/>
                  </a:lnTo>
                  <a:lnTo>
                    <a:pt x="175" y="176"/>
                  </a:lnTo>
                  <a:lnTo>
                    <a:pt x="185" y="174"/>
                  </a:lnTo>
                  <a:lnTo>
                    <a:pt x="194" y="171"/>
                  </a:lnTo>
                  <a:lnTo>
                    <a:pt x="212" y="169"/>
                  </a:lnTo>
                  <a:lnTo>
                    <a:pt x="229" y="169"/>
                  </a:lnTo>
                  <a:lnTo>
                    <a:pt x="246" y="169"/>
                  </a:lnTo>
                  <a:lnTo>
                    <a:pt x="246" y="58"/>
                  </a:lnTo>
                  <a:close/>
                  <a:moveTo>
                    <a:pt x="150" y="34"/>
                  </a:moveTo>
                  <a:lnTo>
                    <a:pt x="160" y="27"/>
                  </a:lnTo>
                  <a:lnTo>
                    <a:pt x="175" y="22"/>
                  </a:lnTo>
                  <a:lnTo>
                    <a:pt x="185" y="19"/>
                  </a:lnTo>
                  <a:lnTo>
                    <a:pt x="194" y="17"/>
                  </a:lnTo>
                  <a:lnTo>
                    <a:pt x="209" y="14"/>
                  </a:lnTo>
                  <a:lnTo>
                    <a:pt x="224" y="14"/>
                  </a:lnTo>
                  <a:lnTo>
                    <a:pt x="231" y="14"/>
                  </a:lnTo>
                  <a:lnTo>
                    <a:pt x="231" y="154"/>
                  </a:lnTo>
                  <a:lnTo>
                    <a:pt x="216" y="154"/>
                  </a:lnTo>
                  <a:lnTo>
                    <a:pt x="197" y="157"/>
                  </a:lnTo>
                  <a:lnTo>
                    <a:pt x="175" y="161"/>
                  </a:lnTo>
                  <a:lnTo>
                    <a:pt x="172" y="154"/>
                  </a:lnTo>
                  <a:lnTo>
                    <a:pt x="172" y="152"/>
                  </a:lnTo>
                  <a:lnTo>
                    <a:pt x="170" y="147"/>
                  </a:lnTo>
                  <a:lnTo>
                    <a:pt x="167" y="144"/>
                  </a:lnTo>
                  <a:lnTo>
                    <a:pt x="165" y="139"/>
                  </a:lnTo>
                  <a:lnTo>
                    <a:pt x="160" y="137"/>
                  </a:lnTo>
                  <a:lnTo>
                    <a:pt x="155" y="132"/>
                  </a:lnTo>
                  <a:lnTo>
                    <a:pt x="150" y="132"/>
                  </a:lnTo>
                  <a:lnTo>
                    <a:pt x="150" y="34"/>
                  </a:lnTo>
                  <a:close/>
                  <a:moveTo>
                    <a:pt x="54" y="14"/>
                  </a:moveTo>
                  <a:lnTo>
                    <a:pt x="71" y="14"/>
                  </a:lnTo>
                  <a:lnTo>
                    <a:pt x="86" y="17"/>
                  </a:lnTo>
                  <a:lnTo>
                    <a:pt x="103" y="19"/>
                  </a:lnTo>
                  <a:lnTo>
                    <a:pt x="121" y="24"/>
                  </a:lnTo>
                  <a:lnTo>
                    <a:pt x="135" y="34"/>
                  </a:lnTo>
                  <a:lnTo>
                    <a:pt x="135" y="127"/>
                  </a:lnTo>
                  <a:lnTo>
                    <a:pt x="113" y="122"/>
                  </a:lnTo>
                  <a:lnTo>
                    <a:pt x="113" y="88"/>
                  </a:lnTo>
                  <a:lnTo>
                    <a:pt x="111" y="81"/>
                  </a:lnTo>
                  <a:lnTo>
                    <a:pt x="106" y="78"/>
                  </a:lnTo>
                  <a:lnTo>
                    <a:pt x="103" y="76"/>
                  </a:lnTo>
                  <a:lnTo>
                    <a:pt x="101" y="73"/>
                  </a:lnTo>
                  <a:lnTo>
                    <a:pt x="96" y="73"/>
                  </a:lnTo>
                  <a:lnTo>
                    <a:pt x="94" y="73"/>
                  </a:lnTo>
                  <a:lnTo>
                    <a:pt x="91" y="73"/>
                  </a:lnTo>
                  <a:lnTo>
                    <a:pt x="84" y="76"/>
                  </a:lnTo>
                  <a:lnTo>
                    <a:pt x="81" y="81"/>
                  </a:lnTo>
                  <a:lnTo>
                    <a:pt x="79" y="83"/>
                  </a:lnTo>
                  <a:lnTo>
                    <a:pt x="76" y="90"/>
                  </a:lnTo>
                  <a:lnTo>
                    <a:pt x="76" y="93"/>
                  </a:lnTo>
                  <a:lnTo>
                    <a:pt x="76" y="149"/>
                  </a:lnTo>
                  <a:lnTo>
                    <a:pt x="69" y="144"/>
                  </a:lnTo>
                  <a:lnTo>
                    <a:pt x="64" y="142"/>
                  </a:lnTo>
                  <a:lnTo>
                    <a:pt x="57" y="137"/>
                  </a:lnTo>
                  <a:lnTo>
                    <a:pt x="54" y="137"/>
                  </a:lnTo>
                  <a:lnTo>
                    <a:pt x="54" y="14"/>
                  </a:lnTo>
                  <a:close/>
                  <a:moveTo>
                    <a:pt x="40" y="149"/>
                  </a:moveTo>
                  <a:lnTo>
                    <a:pt x="42" y="147"/>
                  </a:lnTo>
                  <a:lnTo>
                    <a:pt x="44" y="147"/>
                  </a:lnTo>
                  <a:lnTo>
                    <a:pt x="49" y="147"/>
                  </a:lnTo>
                  <a:lnTo>
                    <a:pt x="54" y="147"/>
                  </a:lnTo>
                  <a:lnTo>
                    <a:pt x="59" y="149"/>
                  </a:lnTo>
                  <a:lnTo>
                    <a:pt x="64" y="154"/>
                  </a:lnTo>
                  <a:lnTo>
                    <a:pt x="74" y="159"/>
                  </a:lnTo>
                  <a:lnTo>
                    <a:pt x="76" y="164"/>
                  </a:lnTo>
                  <a:lnTo>
                    <a:pt x="76" y="176"/>
                  </a:lnTo>
                  <a:lnTo>
                    <a:pt x="79" y="179"/>
                  </a:lnTo>
                  <a:lnTo>
                    <a:pt x="81" y="179"/>
                  </a:lnTo>
                  <a:lnTo>
                    <a:pt x="81" y="179"/>
                  </a:lnTo>
                  <a:lnTo>
                    <a:pt x="84" y="179"/>
                  </a:lnTo>
                  <a:lnTo>
                    <a:pt x="86" y="176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6" y="90"/>
                  </a:lnTo>
                  <a:lnTo>
                    <a:pt x="89" y="88"/>
                  </a:lnTo>
                  <a:lnTo>
                    <a:pt x="89" y="85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9" y="83"/>
                  </a:lnTo>
                  <a:lnTo>
                    <a:pt x="101" y="85"/>
                  </a:lnTo>
                  <a:lnTo>
                    <a:pt x="103" y="88"/>
                  </a:lnTo>
                  <a:lnTo>
                    <a:pt x="103" y="90"/>
                  </a:lnTo>
                  <a:lnTo>
                    <a:pt x="103" y="93"/>
                  </a:lnTo>
                  <a:lnTo>
                    <a:pt x="103" y="127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8" y="132"/>
                  </a:lnTo>
                  <a:lnTo>
                    <a:pt x="150" y="144"/>
                  </a:lnTo>
                  <a:lnTo>
                    <a:pt x="153" y="144"/>
                  </a:lnTo>
                  <a:lnTo>
                    <a:pt x="157" y="147"/>
                  </a:lnTo>
                  <a:lnTo>
                    <a:pt x="160" y="149"/>
                  </a:lnTo>
                  <a:lnTo>
                    <a:pt x="162" y="154"/>
                  </a:lnTo>
                  <a:lnTo>
                    <a:pt x="162" y="157"/>
                  </a:lnTo>
                  <a:lnTo>
                    <a:pt x="165" y="164"/>
                  </a:lnTo>
                  <a:lnTo>
                    <a:pt x="165" y="171"/>
                  </a:lnTo>
                  <a:lnTo>
                    <a:pt x="165" y="176"/>
                  </a:lnTo>
                  <a:lnTo>
                    <a:pt x="162" y="186"/>
                  </a:lnTo>
                  <a:lnTo>
                    <a:pt x="160" y="193"/>
                  </a:lnTo>
                  <a:lnTo>
                    <a:pt x="157" y="206"/>
                  </a:lnTo>
                  <a:lnTo>
                    <a:pt x="153" y="218"/>
                  </a:lnTo>
                  <a:lnTo>
                    <a:pt x="153" y="250"/>
                  </a:lnTo>
                  <a:lnTo>
                    <a:pt x="89" y="250"/>
                  </a:lnTo>
                  <a:lnTo>
                    <a:pt x="89" y="215"/>
                  </a:lnTo>
                  <a:lnTo>
                    <a:pt x="86" y="213"/>
                  </a:lnTo>
                  <a:lnTo>
                    <a:pt x="86" y="213"/>
                  </a:lnTo>
                  <a:lnTo>
                    <a:pt x="81" y="210"/>
                  </a:lnTo>
                  <a:lnTo>
                    <a:pt x="74" y="206"/>
                  </a:lnTo>
                  <a:lnTo>
                    <a:pt x="71" y="201"/>
                  </a:lnTo>
                  <a:lnTo>
                    <a:pt x="67" y="196"/>
                  </a:lnTo>
                  <a:lnTo>
                    <a:pt x="62" y="184"/>
                  </a:lnTo>
                  <a:lnTo>
                    <a:pt x="57" y="179"/>
                  </a:lnTo>
                  <a:lnTo>
                    <a:pt x="49" y="169"/>
                  </a:lnTo>
                  <a:lnTo>
                    <a:pt x="44" y="161"/>
                  </a:lnTo>
                  <a:lnTo>
                    <a:pt x="40" y="159"/>
                  </a:lnTo>
                  <a:lnTo>
                    <a:pt x="40" y="157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49"/>
                  </a:lnTo>
                  <a:close/>
                  <a:moveTo>
                    <a:pt x="15" y="58"/>
                  </a:moveTo>
                  <a:lnTo>
                    <a:pt x="40" y="58"/>
                  </a:lnTo>
                  <a:lnTo>
                    <a:pt x="40" y="137"/>
                  </a:lnTo>
                  <a:lnTo>
                    <a:pt x="35" y="139"/>
                  </a:lnTo>
                  <a:lnTo>
                    <a:pt x="32" y="144"/>
                  </a:lnTo>
                  <a:lnTo>
                    <a:pt x="30" y="149"/>
                  </a:lnTo>
                  <a:lnTo>
                    <a:pt x="27" y="152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2" y="164"/>
                  </a:lnTo>
                  <a:lnTo>
                    <a:pt x="44" y="179"/>
                  </a:lnTo>
                  <a:lnTo>
                    <a:pt x="52" y="188"/>
                  </a:lnTo>
                  <a:lnTo>
                    <a:pt x="57" y="198"/>
                  </a:lnTo>
                  <a:lnTo>
                    <a:pt x="62" y="206"/>
                  </a:lnTo>
                  <a:lnTo>
                    <a:pt x="15" y="206"/>
                  </a:lnTo>
                  <a:lnTo>
                    <a:pt x="15" y="5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45">
            <a:extLst>
              <a:ext uri="{FF2B5EF4-FFF2-40B4-BE49-F238E27FC236}">
                <a16:creationId xmlns:a16="http://schemas.microsoft.com/office/drawing/2014/main" id="{98BF3E8A-CC56-4FEA-AB0B-29A822F901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833" y="4091422"/>
            <a:ext cx="841375" cy="841375"/>
            <a:chOff x="3036" y="2616"/>
            <a:chExt cx="530" cy="530"/>
          </a:xfrm>
        </p:grpSpPr>
        <p:sp>
          <p:nvSpPr>
            <p:cNvPr id="276" name="AutoShape 244">
              <a:extLst>
                <a:ext uri="{FF2B5EF4-FFF2-40B4-BE49-F238E27FC236}">
                  <a16:creationId xmlns:a16="http://schemas.microsoft.com/office/drawing/2014/main" id="{92D543AC-FC8A-4D4B-9C7A-CD5DD391A2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6" y="261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246">
              <a:extLst>
                <a:ext uri="{FF2B5EF4-FFF2-40B4-BE49-F238E27FC236}">
                  <a16:creationId xmlns:a16="http://schemas.microsoft.com/office/drawing/2014/main" id="{69D6AE34-6294-4E42-99CC-C7CF08E46C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61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7">
              <a:extLst>
                <a:ext uri="{FF2B5EF4-FFF2-40B4-BE49-F238E27FC236}">
                  <a16:creationId xmlns:a16="http://schemas.microsoft.com/office/drawing/2014/main" id="{7B9FB858-8340-44EE-912A-55F39F1D22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4" y="263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48">
              <a:extLst>
                <a:ext uri="{FF2B5EF4-FFF2-40B4-BE49-F238E27FC236}">
                  <a16:creationId xmlns:a16="http://schemas.microsoft.com/office/drawing/2014/main" id="{46368CEB-A9FA-4BE9-9C2F-08E8CB07DD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4" y="2754"/>
              <a:ext cx="297" cy="277"/>
            </a:xfrm>
            <a:custGeom>
              <a:avLst/>
              <a:gdLst>
                <a:gd name="T0" fmla="*/ 82 w 297"/>
                <a:gd name="T1" fmla="*/ 261 h 277"/>
                <a:gd name="T2" fmla="*/ 181 w 297"/>
                <a:gd name="T3" fmla="*/ 277 h 277"/>
                <a:gd name="T4" fmla="*/ 169 w 297"/>
                <a:gd name="T5" fmla="*/ 231 h 277"/>
                <a:gd name="T6" fmla="*/ 256 w 297"/>
                <a:gd name="T7" fmla="*/ 46 h 277"/>
                <a:gd name="T8" fmla="*/ 217 w 297"/>
                <a:gd name="T9" fmla="*/ 0 h 277"/>
                <a:gd name="T10" fmla="*/ 169 w 297"/>
                <a:gd name="T11" fmla="*/ 10 h 277"/>
                <a:gd name="T12" fmla="*/ 135 w 297"/>
                <a:gd name="T13" fmla="*/ 16 h 277"/>
                <a:gd name="T14" fmla="*/ 97 w 297"/>
                <a:gd name="T15" fmla="*/ 3 h 277"/>
                <a:gd name="T16" fmla="*/ 48 w 297"/>
                <a:gd name="T17" fmla="*/ 0 h 277"/>
                <a:gd name="T18" fmla="*/ 0 w 297"/>
                <a:gd name="T19" fmla="*/ 46 h 277"/>
                <a:gd name="T20" fmla="*/ 281 w 297"/>
                <a:gd name="T21" fmla="*/ 62 h 277"/>
                <a:gd name="T22" fmla="*/ 179 w 297"/>
                <a:gd name="T23" fmla="*/ 200 h 277"/>
                <a:gd name="T24" fmla="*/ 192 w 297"/>
                <a:gd name="T25" fmla="*/ 182 h 277"/>
                <a:gd name="T26" fmla="*/ 238 w 297"/>
                <a:gd name="T27" fmla="*/ 177 h 277"/>
                <a:gd name="T28" fmla="*/ 156 w 297"/>
                <a:gd name="T29" fmla="*/ 36 h 277"/>
                <a:gd name="T30" fmla="*/ 192 w 297"/>
                <a:gd name="T31" fmla="*/ 21 h 277"/>
                <a:gd name="T32" fmla="*/ 233 w 297"/>
                <a:gd name="T33" fmla="*/ 16 h 277"/>
                <a:gd name="T34" fmla="*/ 225 w 297"/>
                <a:gd name="T35" fmla="*/ 161 h 277"/>
                <a:gd name="T36" fmla="*/ 179 w 297"/>
                <a:gd name="T37" fmla="*/ 161 h 277"/>
                <a:gd name="T38" fmla="*/ 174 w 297"/>
                <a:gd name="T39" fmla="*/ 151 h 277"/>
                <a:gd name="T40" fmla="*/ 161 w 297"/>
                <a:gd name="T41" fmla="*/ 138 h 277"/>
                <a:gd name="T42" fmla="*/ 56 w 297"/>
                <a:gd name="T43" fmla="*/ 16 h 277"/>
                <a:gd name="T44" fmla="*/ 107 w 297"/>
                <a:gd name="T45" fmla="*/ 21 h 277"/>
                <a:gd name="T46" fmla="*/ 140 w 297"/>
                <a:gd name="T47" fmla="*/ 133 h 277"/>
                <a:gd name="T48" fmla="*/ 115 w 297"/>
                <a:gd name="T49" fmla="*/ 85 h 277"/>
                <a:gd name="T50" fmla="*/ 105 w 297"/>
                <a:gd name="T51" fmla="*/ 77 h 277"/>
                <a:gd name="T52" fmla="*/ 94 w 297"/>
                <a:gd name="T53" fmla="*/ 77 h 277"/>
                <a:gd name="T54" fmla="*/ 82 w 297"/>
                <a:gd name="T55" fmla="*/ 87 h 277"/>
                <a:gd name="T56" fmla="*/ 79 w 297"/>
                <a:gd name="T57" fmla="*/ 156 h 277"/>
                <a:gd name="T58" fmla="*/ 59 w 297"/>
                <a:gd name="T59" fmla="*/ 144 h 277"/>
                <a:gd name="T60" fmla="*/ 41 w 297"/>
                <a:gd name="T61" fmla="*/ 156 h 277"/>
                <a:gd name="T62" fmla="*/ 51 w 297"/>
                <a:gd name="T63" fmla="*/ 154 h 277"/>
                <a:gd name="T64" fmla="*/ 66 w 297"/>
                <a:gd name="T65" fmla="*/ 161 h 277"/>
                <a:gd name="T66" fmla="*/ 79 w 297"/>
                <a:gd name="T67" fmla="*/ 185 h 277"/>
                <a:gd name="T68" fmla="*/ 84 w 297"/>
                <a:gd name="T69" fmla="*/ 187 h 277"/>
                <a:gd name="T70" fmla="*/ 89 w 297"/>
                <a:gd name="T71" fmla="*/ 182 h 277"/>
                <a:gd name="T72" fmla="*/ 92 w 297"/>
                <a:gd name="T73" fmla="*/ 92 h 277"/>
                <a:gd name="T74" fmla="*/ 97 w 297"/>
                <a:gd name="T75" fmla="*/ 87 h 277"/>
                <a:gd name="T76" fmla="*/ 107 w 297"/>
                <a:gd name="T77" fmla="*/ 92 h 277"/>
                <a:gd name="T78" fmla="*/ 107 w 297"/>
                <a:gd name="T79" fmla="*/ 133 h 277"/>
                <a:gd name="T80" fmla="*/ 112 w 297"/>
                <a:gd name="T81" fmla="*/ 138 h 277"/>
                <a:gd name="T82" fmla="*/ 164 w 297"/>
                <a:gd name="T83" fmla="*/ 154 h 277"/>
                <a:gd name="T84" fmla="*/ 169 w 297"/>
                <a:gd name="T85" fmla="*/ 164 h 277"/>
                <a:gd name="T86" fmla="*/ 171 w 297"/>
                <a:gd name="T87" fmla="*/ 185 h 277"/>
                <a:gd name="T88" fmla="*/ 164 w 297"/>
                <a:gd name="T89" fmla="*/ 215 h 277"/>
                <a:gd name="T90" fmla="*/ 92 w 297"/>
                <a:gd name="T91" fmla="*/ 261 h 277"/>
                <a:gd name="T92" fmla="*/ 89 w 297"/>
                <a:gd name="T93" fmla="*/ 223 h 277"/>
                <a:gd name="T94" fmla="*/ 74 w 297"/>
                <a:gd name="T95" fmla="*/ 210 h 277"/>
                <a:gd name="T96" fmla="*/ 59 w 297"/>
                <a:gd name="T97" fmla="*/ 187 h 277"/>
                <a:gd name="T98" fmla="*/ 41 w 297"/>
                <a:gd name="T99" fmla="*/ 167 h 277"/>
                <a:gd name="T100" fmla="*/ 41 w 297"/>
                <a:gd name="T101" fmla="*/ 159 h 277"/>
                <a:gd name="T102" fmla="*/ 41 w 297"/>
                <a:gd name="T103" fmla="*/ 62 h 277"/>
                <a:gd name="T104" fmla="*/ 33 w 297"/>
                <a:gd name="T105" fmla="*/ 151 h 277"/>
                <a:gd name="T106" fmla="*/ 28 w 297"/>
                <a:gd name="T107" fmla="*/ 161 h 277"/>
                <a:gd name="T108" fmla="*/ 33 w 297"/>
                <a:gd name="T109" fmla="*/ 172 h 277"/>
                <a:gd name="T110" fmla="*/ 59 w 297"/>
                <a:gd name="T111" fmla="*/ 208 h 277"/>
                <a:gd name="T112" fmla="*/ 15 w 297"/>
                <a:gd name="T113" fmla="*/ 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97" h="277">
                  <a:moveTo>
                    <a:pt x="0" y="231"/>
                  </a:moveTo>
                  <a:lnTo>
                    <a:pt x="82" y="231"/>
                  </a:lnTo>
                  <a:lnTo>
                    <a:pt x="82" y="261"/>
                  </a:lnTo>
                  <a:lnTo>
                    <a:pt x="69" y="261"/>
                  </a:lnTo>
                  <a:lnTo>
                    <a:pt x="69" y="277"/>
                  </a:lnTo>
                  <a:lnTo>
                    <a:pt x="181" y="277"/>
                  </a:lnTo>
                  <a:lnTo>
                    <a:pt x="181" y="261"/>
                  </a:lnTo>
                  <a:lnTo>
                    <a:pt x="169" y="261"/>
                  </a:lnTo>
                  <a:lnTo>
                    <a:pt x="169" y="231"/>
                  </a:lnTo>
                  <a:lnTo>
                    <a:pt x="297" y="231"/>
                  </a:lnTo>
                  <a:lnTo>
                    <a:pt x="297" y="46"/>
                  </a:lnTo>
                  <a:lnTo>
                    <a:pt x="256" y="46"/>
                  </a:lnTo>
                  <a:lnTo>
                    <a:pt x="256" y="0"/>
                  </a:lnTo>
                  <a:lnTo>
                    <a:pt x="230" y="0"/>
                  </a:lnTo>
                  <a:lnTo>
                    <a:pt x="217" y="0"/>
                  </a:lnTo>
                  <a:lnTo>
                    <a:pt x="199" y="3"/>
                  </a:lnTo>
                  <a:lnTo>
                    <a:pt x="179" y="8"/>
                  </a:lnTo>
                  <a:lnTo>
                    <a:pt x="169" y="10"/>
                  </a:lnTo>
                  <a:lnTo>
                    <a:pt x="156" y="18"/>
                  </a:lnTo>
                  <a:lnTo>
                    <a:pt x="148" y="21"/>
                  </a:lnTo>
                  <a:lnTo>
                    <a:pt x="135" y="16"/>
                  </a:lnTo>
                  <a:lnTo>
                    <a:pt x="128" y="10"/>
                  </a:lnTo>
                  <a:lnTo>
                    <a:pt x="112" y="5"/>
                  </a:lnTo>
                  <a:lnTo>
                    <a:pt x="97" y="3"/>
                  </a:lnTo>
                  <a:lnTo>
                    <a:pt x="79" y="0"/>
                  </a:lnTo>
                  <a:lnTo>
                    <a:pt x="66" y="0"/>
                  </a:lnTo>
                  <a:lnTo>
                    <a:pt x="48" y="0"/>
                  </a:lnTo>
                  <a:lnTo>
                    <a:pt x="41" y="0"/>
                  </a:lnTo>
                  <a:lnTo>
                    <a:pt x="41" y="46"/>
                  </a:lnTo>
                  <a:lnTo>
                    <a:pt x="0" y="46"/>
                  </a:lnTo>
                  <a:lnTo>
                    <a:pt x="0" y="231"/>
                  </a:lnTo>
                  <a:close/>
                  <a:moveTo>
                    <a:pt x="256" y="62"/>
                  </a:moveTo>
                  <a:lnTo>
                    <a:pt x="281" y="62"/>
                  </a:lnTo>
                  <a:lnTo>
                    <a:pt x="281" y="215"/>
                  </a:lnTo>
                  <a:lnTo>
                    <a:pt x="174" y="215"/>
                  </a:lnTo>
                  <a:lnTo>
                    <a:pt x="179" y="200"/>
                  </a:lnTo>
                  <a:lnTo>
                    <a:pt x="181" y="190"/>
                  </a:lnTo>
                  <a:lnTo>
                    <a:pt x="181" y="185"/>
                  </a:lnTo>
                  <a:lnTo>
                    <a:pt x="192" y="182"/>
                  </a:lnTo>
                  <a:lnTo>
                    <a:pt x="202" y="179"/>
                  </a:lnTo>
                  <a:lnTo>
                    <a:pt x="220" y="177"/>
                  </a:lnTo>
                  <a:lnTo>
                    <a:pt x="238" y="177"/>
                  </a:lnTo>
                  <a:lnTo>
                    <a:pt x="256" y="177"/>
                  </a:lnTo>
                  <a:lnTo>
                    <a:pt x="256" y="62"/>
                  </a:lnTo>
                  <a:close/>
                  <a:moveTo>
                    <a:pt x="156" y="36"/>
                  </a:moveTo>
                  <a:lnTo>
                    <a:pt x="166" y="28"/>
                  </a:lnTo>
                  <a:lnTo>
                    <a:pt x="181" y="23"/>
                  </a:lnTo>
                  <a:lnTo>
                    <a:pt x="192" y="21"/>
                  </a:lnTo>
                  <a:lnTo>
                    <a:pt x="202" y="18"/>
                  </a:lnTo>
                  <a:lnTo>
                    <a:pt x="217" y="16"/>
                  </a:lnTo>
                  <a:lnTo>
                    <a:pt x="233" y="16"/>
                  </a:lnTo>
                  <a:lnTo>
                    <a:pt x="240" y="16"/>
                  </a:lnTo>
                  <a:lnTo>
                    <a:pt x="240" y="161"/>
                  </a:lnTo>
                  <a:lnTo>
                    <a:pt x="225" y="161"/>
                  </a:lnTo>
                  <a:lnTo>
                    <a:pt x="205" y="164"/>
                  </a:lnTo>
                  <a:lnTo>
                    <a:pt x="181" y="169"/>
                  </a:lnTo>
                  <a:lnTo>
                    <a:pt x="179" y="161"/>
                  </a:lnTo>
                  <a:lnTo>
                    <a:pt x="179" y="159"/>
                  </a:lnTo>
                  <a:lnTo>
                    <a:pt x="176" y="154"/>
                  </a:lnTo>
                  <a:lnTo>
                    <a:pt x="174" y="151"/>
                  </a:lnTo>
                  <a:lnTo>
                    <a:pt x="171" y="146"/>
                  </a:lnTo>
                  <a:lnTo>
                    <a:pt x="166" y="144"/>
                  </a:lnTo>
                  <a:lnTo>
                    <a:pt x="161" y="138"/>
                  </a:lnTo>
                  <a:lnTo>
                    <a:pt x="156" y="138"/>
                  </a:lnTo>
                  <a:lnTo>
                    <a:pt x="156" y="36"/>
                  </a:lnTo>
                  <a:close/>
                  <a:moveTo>
                    <a:pt x="56" y="16"/>
                  </a:moveTo>
                  <a:lnTo>
                    <a:pt x="74" y="16"/>
                  </a:lnTo>
                  <a:lnTo>
                    <a:pt x="89" y="18"/>
                  </a:lnTo>
                  <a:lnTo>
                    <a:pt x="107" y="21"/>
                  </a:lnTo>
                  <a:lnTo>
                    <a:pt x="125" y="26"/>
                  </a:lnTo>
                  <a:lnTo>
                    <a:pt x="140" y="36"/>
                  </a:lnTo>
                  <a:lnTo>
                    <a:pt x="140" y="133"/>
                  </a:lnTo>
                  <a:lnTo>
                    <a:pt x="117" y="128"/>
                  </a:lnTo>
                  <a:lnTo>
                    <a:pt x="117" y="92"/>
                  </a:lnTo>
                  <a:lnTo>
                    <a:pt x="115" y="85"/>
                  </a:lnTo>
                  <a:lnTo>
                    <a:pt x="110" y="82"/>
                  </a:lnTo>
                  <a:lnTo>
                    <a:pt x="107" y="80"/>
                  </a:lnTo>
                  <a:lnTo>
                    <a:pt x="105" y="77"/>
                  </a:lnTo>
                  <a:lnTo>
                    <a:pt x="100" y="77"/>
                  </a:lnTo>
                  <a:lnTo>
                    <a:pt x="97" y="77"/>
                  </a:lnTo>
                  <a:lnTo>
                    <a:pt x="94" y="77"/>
                  </a:lnTo>
                  <a:lnTo>
                    <a:pt x="87" y="80"/>
                  </a:lnTo>
                  <a:lnTo>
                    <a:pt x="84" y="85"/>
                  </a:lnTo>
                  <a:lnTo>
                    <a:pt x="82" y="87"/>
                  </a:lnTo>
                  <a:lnTo>
                    <a:pt x="79" y="95"/>
                  </a:lnTo>
                  <a:lnTo>
                    <a:pt x="79" y="97"/>
                  </a:lnTo>
                  <a:lnTo>
                    <a:pt x="79" y="156"/>
                  </a:lnTo>
                  <a:lnTo>
                    <a:pt x="71" y="151"/>
                  </a:lnTo>
                  <a:lnTo>
                    <a:pt x="66" y="149"/>
                  </a:lnTo>
                  <a:lnTo>
                    <a:pt x="59" y="144"/>
                  </a:lnTo>
                  <a:lnTo>
                    <a:pt x="56" y="144"/>
                  </a:lnTo>
                  <a:lnTo>
                    <a:pt x="56" y="16"/>
                  </a:lnTo>
                  <a:close/>
                  <a:moveTo>
                    <a:pt x="41" y="156"/>
                  </a:moveTo>
                  <a:lnTo>
                    <a:pt x="43" y="154"/>
                  </a:lnTo>
                  <a:lnTo>
                    <a:pt x="46" y="154"/>
                  </a:lnTo>
                  <a:lnTo>
                    <a:pt x="51" y="154"/>
                  </a:lnTo>
                  <a:lnTo>
                    <a:pt x="56" y="154"/>
                  </a:lnTo>
                  <a:lnTo>
                    <a:pt x="61" y="156"/>
                  </a:lnTo>
                  <a:lnTo>
                    <a:pt x="66" y="161"/>
                  </a:lnTo>
                  <a:lnTo>
                    <a:pt x="76" y="167"/>
                  </a:lnTo>
                  <a:lnTo>
                    <a:pt x="79" y="172"/>
                  </a:lnTo>
                  <a:lnTo>
                    <a:pt x="79" y="185"/>
                  </a:lnTo>
                  <a:lnTo>
                    <a:pt x="82" y="187"/>
                  </a:lnTo>
                  <a:lnTo>
                    <a:pt x="84" y="187"/>
                  </a:lnTo>
                  <a:lnTo>
                    <a:pt x="84" y="187"/>
                  </a:lnTo>
                  <a:lnTo>
                    <a:pt x="87" y="187"/>
                  </a:lnTo>
                  <a:lnTo>
                    <a:pt x="89" y="185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95"/>
                  </a:lnTo>
                  <a:lnTo>
                    <a:pt x="92" y="92"/>
                  </a:lnTo>
                  <a:lnTo>
                    <a:pt x="92" y="90"/>
                  </a:lnTo>
                  <a:lnTo>
                    <a:pt x="94" y="87"/>
                  </a:lnTo>
                  <a:lnTo>
                    <a:pt x="97" y="87"/>
                  </a:lnTo>
                  <a:lnTo>
                    <a:pt x="102" y="87"/>
                  </a:lnTo>
                  <a:lnTo>
                    <a:pt x="105" y="90"/>
                  </a:lnTo>
                  <a:lnTo>
                    <a:pt x="107" y="92"/>
                  </a:lnTo>
                  <a:lnTo>
                    <a:pt x="107" y="95"/>
                  </a:lnTo>
                  <a:lnTo>
                    <a:pt x="107" y="97"/>
                  </a:lnTo>
                  <a:lnTo>
                    <a:pt x="107" y="133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2" y="138"/>
                  </a:lnTo>
                  <a:lnTo>
                    <a:pt x="156" y="151"/>
                  </a:lnTo>
                  <a:lnTo>
                    <a:pt x="158" y="151"/>
                  </a:lnTo>
                  <a:lnTo>
                    <a:pt x="164" y="154"/>
                  </a:lnTo>
                  <a:lnTo>
                    <a:pt x="166" y="156"/>
                  </a:lnTo>
                  <a:lnTo>
                    <a:pt x="169" y="161"/>
                  </a:lnTo>
                  <a:lnTo>
                    <a:pt x="169" y="164"/>
                  </a:lnTo>
                  <a:lnTo>
                    <a:pt x="171" y="172"/>
                  </a:lnTo>
                  <a:lnTo>
                    <a:pt x="171" y="179"/>
                  </a:lnTo>
                  <a:lnTo>
                    <a:pt x="171" y="185"/>
                  </a:lnTo>
                  <a:lnTo>
                    <a:pt x="169" y="195"/>
                  </a:lnTo>
                  <a:lnTo>
                    <a:pt x="166" y="202"/>
                  </a:lnTo>
                  <a:lnTo>
                    <a:pt x="164" y="215"/>
                  </a:lnTo>
                  <a:lnTo>
                    <a:pt x="158" y="228"/>
                  </a:lnTo>
                  <a:lnTo>
                    <a:pt x="158" y="261"/>
                  </a:lnTo>
                  <a:lnTo>
                    <a:pt x="92" y="261"/>
                  </a:lnTo>
                  <a:lnTo>
                    <a:pt x="92" y="225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4" y="220"/>
                  </a:lnTo>
                  <a:lnTo>
                    <a:pt x="76" y="215"/>
                  </a:lnTo>
                  <a:lnTo>
                    <a:pt x="74" y="210"/>
                  </a:lnTo>
                  <a:lnTo>
                    <a:pt x="69" y="205"/>
                  </a:lnTo>
                  <a:lnTo>
                    <a:pt x="64" y="192"/>
                  </a:lnTo>
                  <a:lnTo>
                    <a:pt x="59" y="187"/>
                  </a:lnTo>
                  <a:lnTo>
                    <a:pt x="51" y="177"/>
                  </a:lnTo>
                  <a:lnTo>
                    <a:pt x="46" y="169"/>
                  </a:lnTo>
                  <a:lnTo>
                    <a:pt x="41" y="167"/>
                  </a:lnTo>
                  <a:lnTo>
                    <a:pt x="41" y="164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41" y="156"/>
                  </a:lnTo>
                  <a:close/>
                  <a:moveTo>
                    <a:pt x="15" y="62"/>
                  </a:moveTo>
                  <a:lnTo>
                    <a:pt x="41" y="62"/>
                  </a:lnTo>
                  <a:lnTo>
                    <a:pt x="41" y="144"/>
                  </a:lnTo>
                  <a:lnTo>
                    <a:pt x="36" y="146"/>
                  </a:lnTo>
                  <a:lnTo>
                    <a:pt x="33" y="151"/>
                  </a:lnTo>
                  <a:lnTo>
                    <a:pt x="30" y="156"/>
                  </a:lnTo>
                  <a:lnTo>
                    <a:pt x="28" y="159"/>
                  </a:lnTo>
                  <a:lnTo>
                    <a:pt x="28" y="161"/>
                  </a:lnTo>
                  <a:lnTo>
                    <a:pt x="30" y="167"/>
                  </a:lnTo>
                  <a:lnTo>
                    <a:pt x="30" y="169"/>
                  </a:lnTo>
                  <a:lnTo>
                    <a:pt x="33" y="172"/>
                  </a:lnTo>
                  <a:lnTo>
                    <a:pt x="46" y="187"/>
                  </a:lnTo>
                  <a:lnTo>
                    <a:pt x="53" y="197"/>
                  </a:lnTo>
                  <a:lnTo>
                    <a:pt x="59" y="208"/>
                  </a:lnTo>
                  <a:lnTo>
                    <a:pt x="64" y="215"/>
                  </a:lnTo>
                  <a:lnTo>
                    <a:pt x="15" y="215"/>
                  </a:lnTo>
                  <a:lnTo>
                    <a:pt x="15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51">
            <a:extLst>
              <a:ext uri="{FF2B5EF4-FFF2-40B4-BE49-F238E27FC236}">
                <a16:creationId xmlns:a16="http://schemas.microsoft.com/office/drawing/2014/main" id="{563E2492-A159-4088-B17F-3B67752758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142" y="4132697"/>
            <a:ext cx="758825" cy="758825"/>
            <a:chOff x="5127" y="2732"/>
            <a:chExt cx="478" cy="478"/>
          </a:xfrm>
        </p:grpSpPr>
        <p:sp>
          <p:nvSpPr>
            <p:cNvPr id="285" name="AutoShape 250">
              <a:extLst>
                <a:ext uri="{FF2B5EF4-FFF2-40B4-BE49-F238E27FC236}">
                  <a16:creationId xmlns:a16="http://schemas.microsoft.com/office/drawing/2014/main" id="{DE16B1CE-B087-4A63-9115-D9E317C8DB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7" y="273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52">
              <a:extLst>
                <a:ext uri="{FF2B5EF4-FFF2-40B4-BE49-F238E27FC236}">
                  <a16:creationId xmlns:a16="http://schemas.microsoft.com/office/drawing/2014/main" id="{C3C0D3B0-E112-4B7D-8B7E-586F2EFD34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9" y="273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53">
              <a:extLst>
                <a:ext uri="{FF2B5EF4-FFF2-40B4-BE49-F238E27FC236}">
                  <a16:creationId xmlns:a16="http://schemas.microsoft.com/office/drawing/2014/main" id="{C963FB11-A967-462D-A8EB-63BBB3C32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5" y="2832"/>
              <a:ext cx="304" cy="260"/>
            </a:xfrm>
            <a:custGeom>
              <a:avLst/>
              <a:gdLst>
                <a:gd name="T0" fmla="*/ 57 w 304"/>
                <a:gd name="T1" fmla="*/ 160 h 260"/>
                <a:gd name="T2" fmla="*/ 69 w 304"/>
                <a:gd name="T3" fmla="*/ 165 h 260"/>
                <a:gd name="T4" fmla="*/ 111 w 304"/>
                <a:gd name="T5" fmla="*/ 170 h 260"/>
                <a:gd name="T6" fmla="*/ 135 w 304"/>
                <a:gd name="T7" fmla="*/ 182 h 260"/>
                <a:gd name="T8" fmla="*/ 130 w 304"/>
                <a:gd name="T9" fmla="*/ 170 h 260"/>
                <a:gd name="T10" fmla="*/ 88 w 304"/>
                <a:gd name="T11" fmla="*/ 155 h 260"/>
                <a:gd name="T12" fmla="*/ 182 w 304"/>
                <a:gd name="T13" fmla="*/ 165 h 260"/>
                <a:gd name="T14" fmla="*/ 167 w 304"/>
                <a:gd name="T15" fmla="*/ 179 h 260"/>
                <a:gd name="T16" fmla="*/ 182 w 304"/>
                <a:gd name="T17" fmla="*/ 177 h 260"/>
                <a:gd name="T18" fmla="*/ 223 w 304"/>
                <a:gd name="T19" fmla="*/ 165 h 260"/>
                <a:gd name="T20" fmla="*/ 245 w 304"/>
                <a:gd name="T21" fmla="*/ 165 h 260"/>
                <a:gd name="T22" fmla="*/ 233 w 304"/>
                <a:gd name="T23" fmla="*/ 155 h 260"/>
                <a:gd name="T24" fmla="*/ 59 w 304"/>
                <a:gd name="T25" fmla="*/ 113 h 260"/>
                <a:gd name="T26" fmla="*/ 64 w 304"/>
                <a:gd name="T27" fmla="*/ 123 h 260"/>
                <a:gd name="T28" fmla="*/ 101 w 304"/>
                <a:gd name="T29" fmla="*/ 123 h 260"/>
                <a:gd name="T30" fmla="*/ 133 w 304"/>
                <a:gd name="T31" fmla="*/ 138 h 260"/>
                <a:gd name="T32" fmla="*/ 135 w 304"/>
                <a:gd name="T33" fmla="*/ 128 h 260"/>
                <a:gd name="T34" fmla="*/ 98 w 304"/>
                <a:gd name="T35" fmla="*/ 111 h 260"/>
                <a:gd name="T36" fmla="*/ 196 w 304"/>
                <a:gd name="T37" fmla="*/ 113 h 260"/>
                <a:gd name="T38" fmla="*/ 167 w 304"/>
                <a:gd name="T39" fmla="*/ 130 h 260"/>
                <a:gd name="T40" fmla="*/ 174 w 304"/>
                <a:gd name="T41" fmla="*/ 138 h 260"/>
                <a:gd name="T42" fmla="*/ 211 w 304"/>
                <a:gd name="T43" fmla="*/ 121 h 260"/>
                <a:gd name="T44" fmla="*/ 243 w 304"/>
                <a:gd name="T45" fmla="*/ 123 h 260"/>
                <a:gd name="T46" fmla="*/ 243 w 304"/>
                <a:gd name="T47" fmla="*/ 113 h 260"/>
                <a:gd name="T48" fmla="*/ 66 w 304"/>
                <a:gd name="T49" fmla="*/ 67 h 260"/>
                <a:gd name="T50" fmla="*/ 59 w 304"/>
                <a:gd name="T51" fmla="*/ 76 h 260"/>
                <a:gd name="T52" fmla="*/ 86 w 304"/>
                <a:gd name="T53" fmla="*/ 76 h 260"/>
                <a:gd name="T54" fmla="*/ 128 w 304"/>
                <a:gd name="T55" fmla="*/ 91 h 260"/>
                <a:gd name="T56" fmla="*/ 138 w 304"/>
                <a:gd name="T57" fmla="*/ 89 h 260"/>
                <a:gd name="T58" fmla="*/ 115 w 304"/>
                <a:gd name="T59" fmla="*/ 72 h 260"/>
                <a:gd name="T60" fmla="*/ 211 w 304"/>
                <a:gd name="T61" fmla="*/ 67 h 260"/>
                <a:gd name="T62" fmla="*/ 172 w 304"/>
                <a:gd name="T63" fmla="*/ 81 h 260"/>
                <a:gd name="T64" fmla="*/ 172 w 304"/>
                <a:gd name="T65" fmla="*/ 94 h 260"/>
                <a:gd name="T66" fmla="*/ 199 w 304"/>
                <a:gd name="T67" fmla="*/ 79 h 260"/>
                <a:gd name="T68" fmla="*/ 240 w 304"/>
                <a:gd name="T69" fmla="*/ 79 h 260"/>
                <a:gd name="T70" fmla="*/ 245 w 304"/>
                <a:gd name="T71" fmla="*/ 72 h 260"/>
                <a:gd name="T72" fmla="*/ 35 w 304"/>
                <a:gd name="T73" fmla="*/ 62 h 260"/>
                <a:gd name="T74" fmla="*/ 57 w 304"/>
                <a:gd name="T75" fmla="*/ 209 h 260"/>
                <a:gd name="T76" fmla="*/ 113 w 304"/>
                <a:gd name="T77" fmla="*/ 216 h 260"/>
                <a:gd name="T78" fmla="*/ 145 w 304"/>
                <a:gd name="T79" fmla="*/ 243 h 260"/>
                <a:gd name="T80" fmla="*/ 267 w 304"/>
                <a:gd name="T81" fmla="*/ 209 h 260"/>
                <a:gd name="T82" fmla="*/ 157 w 304"/>
                <a:gd name="T83" fmla="*/ 246 h 260"/>
                <a:gd name="T84" fmla="*/ 189 w 304"/>
                <a:gd name="T85" fmla="*/ 216 h 260"/>
                <a:gd name="T86" fmla="*/ 245 w 304"/>
                <a:gd name="T87" fmla="*/ 209 h 260"/>
                <a:gd name="T88" fmla="*/ 52 w 304"/>
                <a:gd name="T89" fmla="*/ 13 h 260"/>
                <a:gd name="T90" fmla="*/ 106 w 304"/>
                <a:gd name="T91" fmla="*/ 15 h 260"/>
                <a:gd name="T92" fmla="*/ 140 w 304"/>
                <a:gd name="T93" fmla="*/ 35 h 260"/>
                <a:gd name="T94" fmla="*/ 128 w 304"/>
                <a:gd name="T95" fmla="*/ 211 h 260"/>
                <a:gd name="T96" fmla="*/ 79 w 304"/>
                <a:gd name="T97" fmla="*/ 199 h 260"/>
                <a:gd name="T98" fmla="*/ 167 w 304"/>
                <a:gd name="T99" fmla="*/ 32 h 260"/>
                <a:gd name="T100" fmla="*/ 204 w 304"/>
                <a:gd name="T101" fmla="*/ 13 h 260"/>
                <a:gd name="T102" fmla="*/ 255 w 304"/>
                <a:gd name="T103" fmla="*/ 13 h 260"/>
                <a:gd name="T104" fmla="*/ 204 w 304"/>
                <a:gd name="T105" fmla="*/ 202 h 260"/>
                <a:gd name="T106" fmla="*/ 164 w 304"/>
                <a:gd name="T107" fmla="*/ 219 h 260"/>
                <a:gd name="T108" fmla="*/ 199 w 304"/>
                <a:gd name="T109" fmla="*/ 5 h 260"/>
                <a:gd name="T110" fmla="*/ 162 w 304"/>
                <a:gd name="T111" fmla="*/ 25 h 260"/>
                <a:gd name="T112" fmla="*/ 125 w 304"/>
                <a:gd name="T113" fmla="*/ 13 h 260"/>
                <a:gd name="T114" fmla="*/ 84 w 304"/>
                <a:gd name="T115" fmla="*/ 0 h 260"/>
                <a:gd name="T116" fmla="*/ 37 w 304"/>
                <a:gd name="T117" fmla="*/ 8 h 260"/>
                <a:gd name="T118" fmla="*/ 0 w 304"/>
                <a:gd name="T119" fmla="*/ 59 h 260"/>
                <a:gd name="T120" fmla="*/ 304 w 304"/>
                <a:gd name="T121" fmla="*/ 258 h 260"/>
                <a:gd name="T122" fmla="*/ 270 w 304"/>
                <a:gd name="T123" fmla="*/ 50 h 260"/>
                <a:gd name="T124" fmla="*/ 243 w 304"/>
                <a:gd name="T1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4" h="260">
                  <a:moveTo>
                    <a:pt x="81" y="155"/>
                  </a:moveTo>
                  <a:lnTo>
                    <a:pt x="79" y="155"/>
                  </a:lnTo>
                  <a:lnTo>
                    <a:pt x="74" y="155"/>
                  </a:lnTo>
                  <a:lnTo>
                    <a:pt x="71" y="155"/>
                  </a:lnTo>
                  <a:lnTo>
                    <a:pt x="66" y="155"/>
                  </a:lnTo>
                  <a:lnTo>
                    <a:pt x="64" y="157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59" y="157"/>
                  </a:lnTo>
                  <a:lnTo>
                    <a:pt x="59" y="157"/>
                  </a:lnTo>
                  <a:lnTo>
                    <a:pt x="59" y="157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7" y="165"/>
                  </a:lnTo>
                  <a:lnTo>
                    <a:pt x="59" y="165"/>
                  </a:lnTo>
                  <a:lnTo>
                    <a:pt x="59" y="165"/>
                  </a:lnTo>
                  <a:lnTo>
                    <a:pt x="59" y="165"/>
                  </a:lnTo>
                  <a:lnTo>
                    <a:pt x="59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9" y="165"/>
                  </a:lnTo>
                  <a:lnTo>
                    <a:pt x="71" y="165"/>
                  </a:lnTo>
                  <a:lnTo>
                    <a:pt x="74" y="165"/>
                  </a:lnTo>
                  <a:lnTo>
                    <a:pt x="79" y="165"/>
                  </a:lnTo>
                  <a:lnTo>
                    <a:pt x="81" y="165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91" y="165"/>
                  </a:lnTo>
                  <a:lnTo>
                    <a:pt x="93" y="165"/>
                  </a:lnTo>
                  <a:lnTo>
                    <a:pt x="96" y="165"/>
                  </a:lnTo>
                  <a:lnTo>
                    <a:pt x="98" y="167"/>
                  </a:lnTo>
                  <a:lnTo>
                    <a:pt x="101" y="167"/>
                  </a:lnTo>
                  <a:lnTo>
                    <a:pt x="106" y="167"/>
                  </a:lnTo>
                  <a:lnTo>
                    <a:pt x="108" y="170"/>
                  </a:lnTo>
                  <a:lnTo>
                    <a:pt x="111" y="170"/>
                  </a:lnTo>
                  <a:lnTo>
                    <a:pt x="115" y="172"/>
                  </a:lnTo>
                  <a:lnTo>
                    <a:pt x="118" y="172"/>
                  </a:lnTo>
                  <a:lnTo>
                    <a:pt x="120" y="175"/>
                  </a:lnTo>
                  <a:lnTo>
                    <a:pt x="123" y="177"/>
                  </a:lnTo>
                  <a:lnTo>
                    <a:pt x="125" y="177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5" y="182"/>
                  </a:lnTo>
                  <a:lnTo>
                    <a:pt x="135" y="182"/>
                  </a:lnTo>
                  <a:lnTo>
                    <a:pt x="135" y="182"/>
                  </a:lnTo>
                  <a:lnTo>
                    <a:pt x="138" y="182"/>
                  </a:lnTo>
                  <a:lnTo>
                    <a:pt x="138" y="179"/>
                  </a:lnTo>
                  <a:lnTo>
                    <a:pt x="138" y="179"/>
                  </a:lnTo>
                  <a:lnTo>
                    <a:pt x="138" y="179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5"/>
                  </a:lnTo>
                  <a:lnTo>
                    <a:pt x="138" y="175"/>
                  </a:lnTo>
                  <a:lnTo>
                    <a:pt x="135" y="175"/>
                  </a:lnTo>
                  <a:lnTo>
                    <a:pt x="135" y="172"/>
                  </a:lnTo>
                  <a:lnTo>
                    <a:pt x="133" y="172"/>
                  </a:lnTo>
                  <a:lnTo>
                    <a:pt x="130" y="170"/>
                  </a:lnTo>
                  <a:lnTo>
                    <a:pt x="130" y="170"/>
                  </a:lnTo>
                  <a:lnTo>
                    <a:pt x="128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18" y="162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1" y="157"/>
                  </a:lnTo>
                  <a:lnTo>
                    <a:pt x="98" y="155"/>
                  </a:lnTo>
                  <a:lnTo>
                    <a:pt x="93" y="155"/>
                  </a:lnTo>
                  <a:lnTo>
                    <a:pt x="91" y="155"/>
                  </a:lnTo>
                  <a:lnTo>
                    <a:pt x="88" y="155"/>
                  </a:lnTo>
                  <a:lnTo>
                    <a:pt x="86" y="155"/>
                  </a:lnTo>
                  <a:lnTo>
                    <a:pt x="81" y="155"/>
                  </a:lnTo>
                  <a:close/>
                  <a:moveTo>
                    <a:pt x="218" y="155"/>
                  </a:moveTo>
                  <a:lnTo>
                    <a:pt x="216" y="155"/>
                  </a:lnTo>
                  <a:lnTo>
                    <a:pt x="214" y="155"/>
                  </a:lnTo>
                  <a:lnTo>
                    <a:pt x="211" y="155"/>
                  </a:lnTo>
                  <a:lnTo>
                    <a:pt x="206" y="155"/>
                  </a:lnTo>
                  <a:lnTo>
                    <a:pt x="204" y="157"/>
                  </a:lnTo>
                  <a:lnTo>
                    <a:pt x="199" y="157"/>
                  </a:lnTo>
                  <a:lnTo>
                    <a:pt x="196" y="157"/>
                  </a:lnTo>
                  <a:lnTo>
                    <a:pt x="194" y="160"/>
                  </a:lnTo>
                  <a:lnTo>
                    <a:pt x="189" y="160"/>
                  </a:lnTo>
                  <a:lnTo>
                    <a:pt x="187" y="162"/>
                  </a:lnTo>
                  <a:lnTo>
                    <a:pt x="182" y="165"/>
                  </a:lnTo>
                  <a:lnTo>
                    <a:pt x="179" y="165"/>
                  </a:lnTo>
                  <a:lnTo>
                    <a:pt x="179" y="167"/>
                  </a:lnTo>
                  <a:lnTo>
                    <a:pt x="177" y="167"/>
                  </a:lnTo>
                  <a:lnTo>
                    <a:pt x="174" y="170"/>
                  </a:lnTo>
                  <a:lnTo>
                    <a:pt x="174" y="170"/>
                  </a:lnTo>
                  <a:lnTo>
                    <a:pt x="172" y="172"/>
                  </a:lnTo>
                  <a:lnTo>
                    <a:pt x="169" y="172"/>
                  </a:lnTo>
                  <a:lnTo>
                    <a:pt x="169" y="175"/>
                  </a:lnTo>
                  <a:lnTo>
                    <a:pt x="167" y="175"/>
                  </a:lnTo>
                  <a:lnTo>
                    <a:pt x="167" y="175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82"/>
                  </a:lnTo>
                  <a:lnTo>
                    <a:pt x="169" y="182"/>
                  </a:lnTo>
                  <a:lnTo>
                    <a:pt x="169" y="182"/>
                  </a:lnTo>
                  <a:lnTo>
                    <a:pt x="169" y="182"/>
                  </a:lnTo>
                  <a:lnTo>
                    <a:pt x="172" y="182"/>
                  </a:lnTo>
                  <a:lnTo>
                    <a:pt x="172" y="182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7" y="179"/>
                  </a:lnTo>
                  <a:lnTo>
                    <a:pt x="177" y="179"/>
                  </a:lnTo>
                  <a:lnTo>
                    <a:pt x="179" y="177"/>
                  </a:lnTo>
                  <a:lnTo>
                    <a:pt x="182" y="177"/>
                  </a:lnTo>
                  <a:lnTo>
                    <a:pt x="184" y="175"/>
                  </a:lnTo>
                  <a:lnTo>
                    <a:pt x="187" y="172"/>
                  </a:lnTo>
                  <a:lnTo>
                    <a:pt x="189" y="172"/>
                  </a:lnTo>
                  <a:lnTo>
                    <a:pt x="194" y="170"/>
                  </a:lnTo>
                  <a:lnTo>
                    <a:pt x="196" y="170"/>
                  </a:lnTo>
                  <a:lnTo>
                    <a:pt x="199" y="167"/>
                  </a:lnTo>
                  <a:lnTo>
                    <a:pt x="201" y="167"/>
                  </a:lnTo>
                  <a:lnTo>
                    <a:pt x="206" y="167"/>
                  </a:lnTo>
                  <a:lnTo>
                    <a:pt x="209" y="165"/>
                  </a:lnTo>
                  <a:lnTo>
                    <a:pt x="211" y="165"/>
                  </a:lnTo>
                  <a:lnTo>
                    <a:pt x="214" y="165"/>
                  </a:lnTo>
                  <a:lnTo>
                    <a:pt x="218" y="165"/>
                  </a:lnTo>
                  <a:lnTo>
                    <a:pt x="221" y="165"/>
                  </a:lnTo>
                  <a:lnTo>
                    <a:pt x="223" y="165"/>
                  </a:lnTo>
                  <a:lnTo>
                    <a:pt x="226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6" y="165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3" y="167"/>
                  </a:lnTo>
                  <a:lnTo>
                    <a:pt x="243" y="167"/>
                  </a:lnTo>
                  <a:lnTo>
                    <a:pt x="243" y="167"/>
                  </a:lnTo>
                  <a:lnTo>
                    <a:pt x="245" y="167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8" y="160"/>
                  </a:lnTo>
                  <a:lnTo>
                    <a:pt x="248" y="160"/>
                  </a:lnTo>
                  <a:lnTo>
                    <a:pt x="245" y="160"/>
                  </a:lnTo>
                  <a:lnTo>
                    <a:pt x="245" y="157"/>
                  </a:lnTo>
                  <a:lnTo>
                    <a:pt x="245" y="157"/>
                  </a:lnTo>
                  <a:lnTo>
                    <a:pt x="245" y="157"/>
                  </a:lnTo>
                  <a:lnTo>
                    <a:pt x="243" y="157"/>
                  </a:lnTo>
                  <a:lnTo>
                    <a:pt x="240" y="157"/>
                  </a:lnTo>
                  <a:lnTo>
                    <a:pt x="240" y="157"/>
                  </a:lnTo>
                  <a:lnTo>
                    <a:pt x="238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6" y="155"/>
                  </a:lnTo>
                  <a:lnTo>
                    <a:pt x="223" y="155"/>
                  </a:lnTo>
                  <a:lnTo>
                    <a:pt x="218" y="155"/>
                  </a:lnTo>
                  <a:close/>
                  <a:moveTo>
                    <a:pt x="79" y="111"/>
                  </a:moveTo>
                  <a:lnTo>
                    <a:pt x="74" y="111"/>
                  </a:lnTo>
                  <a:lnTo>
                    <a:pt x="71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59" y="113"/>
                  </a:lnTo>
                  <a:lnTo>
                    <a:pt x="59" y="113"/>
                  </a:lnTo>
                  <a:lnTo>
                    <a:pt x="59" y="113"/>
                  </a:lnTo>
                  <a:lnTo>
                    <a:pt x="59" y="116"/>
                  </a:lnTo>
                  <a:lnTo>
                    <a:pt x="57" y="116"/>
                  </a:lnTo>
                  <a:lnTo>
                    <a:pt x="57" y="116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9" y="121"/>
                  </a:lnTo>
                  <a:lnTo>
                    <a:pt x="71" y="121"/>
                  </a:lnTo>
                  <a:lnTo>
                    <a:pt x="74" y="121"/>
                  </a:lnTo>
                  <a:lnTo>
                    <a:pt x="79" y="121"/>
                  </a:lnTo>
                  <a:lnTo>
                    <a:pt x="81" y="121"/>
                  </a:lnTo>
                  <a:lnTo>
                    <a:pt x="84" y="121"/>
                  </a:lnTo>
                  <a:lnTo>
                    <a:pt x="86" y="121"/>
                  </a:lnTo>
                  <a:lnTo>
                    <a:pt x="91" y="121"/>
                  </a:lnTo>
                  <a:lnTo>
                    <a:pt x="93" y="121"/>
                  </a:lnTo>
                  <a:lnTo>
                    <a:pt x="96" y="121"/>
                  </a:lnTo>
                  <a:lnTo>
                    <a:pt x="98" y="123"/>
                  </a:lnTo>
                  <a:lnTo>
                    <a:pt x="101" y="123"/>
                  </a:lnTo>
                  <a:lnTo>
                    <a:pt x="106" y="123"/>
                  </a:lnTo>
                  <a:lnTo>
                    <a:pt x="108" y="126"/>
                  </a:lnTo>
                  <a:lnTo>
                    <a:pt x="111" y="126"/>
                  </a:lnTo>
                  <a:lnTo>
                    <a:pt x="115" y="128"/>
                  </a:lnTo>
                  <a:lnTo>
                    <a:pt x="118" y="128"/>
                  </a:lnTo>
                  <a:lnTo>
                    <a:pt x="120" y="130"/>
                  </a:lnTo>
                  <a:lnTo>
                    <a:pt x="123" y="133"/>
                  </a:lnTo>
                  <a:lnTo>
                    <a:pt x="125" y="133"/>
                  </a:lnTo>
                  <a:lnTo>
                    <a:pt x="128" y="135"/>
                  </a:lnTo>
                  <a:lnTo>
                    <a:pt x="128" y="135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8" y="138"/>
                  </a:lnTo>
                  <a:lnTo>
                    <a:pt x="138" y="135"/>
                  </a:lnTo>
                  <a:lnTo>
                    <a:pt x="138" y="135"/>
                  </a:lnTo>
                  <a:lnTo>
                    <a:pt x="138" y="135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0"/>
                  </a:lnTo>
                  <a:lnTo>
                    <a:pt x="138" y="130"/>
                  </a:lnTo>
                  <a:lnTo>
                    <a:pt x="135" y="130"/>
                  </a:lnTo>
                  <a:lnTo>
                    <a:pt x="135" y="128"/>
                  </a:lnTo>
                  <a:lnTo>
                    <a:pt x="133" y="128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28" y="123"/>
                  </a:lnTo>
                  <a:lnTo>
                    <a:pt x="125" y="123"/>
                  </a:lnTo>
                  <a:lnTo>
                    <a:pt x="125" y="121"/>
                  </a:lnTo>
                  <a:lnTo>
                    <a:pt x="123" y="121"/>
                  </a:lnTo>
                  <a:lnTo>
                    <a:pt x="118" y="118"/>
                  </a:lnTo>
                  <a:lnTo>
                    <a:pt x="115" y="116"/>
                  </a:lnTo>
                  <a:lnTo>
                    <a:pt x="111" y="116"/>
                  </a:lnTo>
                  <a:lnTo>
                    <a:pt x="108" y="113"/>
                  </a:lnTo>
                  <a:lnTo>
                    <a:pt x="106" y="113"/>
                  </a:lnTo>
                  <a:lnTo>
                    <a:pt x="101" y="113"/>
                  </a:lnTo>
                  <a:lnTo>
                    <a:pt x="98" y="111"/>
                  </a:lnTo>
                  <a:lnTo>
                    <a:pt x="93" y="111"/>
                  </a:lnTo>
                  <a:lnTo>
                    <a:pt x="91" y="111"/>
                  </a:lnTo>
                  <a:lnTo>
                    <a:pt x="88" y="111"/>
                  </a:lnTo>
                  <a:lnTo>
                    <a:pt x="86" y="111"/>
                  </a:lnTo>
                  <a:lnTo>
                    <a:pt x="81" y="111"/>
                  </a:lnTo>
                  <a:lnTo>
                    <a:pt x="79" y="111"/>
                  </a:lnTo>
                  <a:close/>
                  <a:moveTo>
                    <a:pt x="218" y="111"/>
                  </a:moveTo>
                  <a:lnTo>
                    <a:pt x="216" y="111"/>
                  </a:lnTo>
                  <a:lnTo>
                    <a:pt x="214" y="111"/>
                  </a:lnTo>
                  <a:lnTo>
                    <a:pt x="211" y="111"/>
                  </a:lnTo>
                  <a:lnTo>
                    <a:pt x="206" y="111"/>
                  </a:lnTo>
                  <a:lnTo>
                    <a:pt x="204" y="113"/>
                  </a:lnTo>
                  <a:lnTo>
                    <a:pt x="199" y="113"/>
                  </a:lnTo>
                  <a:lnTo>
                    <a:pt x="196" y="113"/>
                  </a:lnTo>
                  <a:lnTo>
                    <a:pt x="194" y="116"/>
                  </a:lnTo>
                  <a:lnTo>
                    <a:pt x="189" y="116"/>
                  </a:lnTo>
                  <a:lnTo>
                    <a:pt x="187" y="118"/>
                  </a:lnTo>
                  <a:lnTo>
                    <a:pt x="182" y="121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3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2" y="128"/>
                  </a:lnTo>
                  <a:lnTo>
                    <a:pt x="169" y="128"/>
                  </a:lnTo>
                  <a:lnTo>
                    <a:pt x="169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67" y="135"/>
                  </a:lnTo>
                  <a:lnTo>
                    <a:pt x="167" y="135"/>
                  </a:lnTo>
                  <a:lnTo>
                    <a:pt x="167" y="135"/>
                  </a:lnTo>
                  <a:lnTo>
                    <a:pt x="167" y="138"/>
                  </a:lnTo>
                  <a:lnTo>
                    <a:pt x="169" y="138"/>
                  </a:lnTo>
                  <a:lnTo>
                    <a:pt x="169" y="138"/>
                  </a:lnTo>
                  <a:lnTo>
                    <a:pt x="169" y="138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4" y="138"/>
                  </a:lnTo>
                  <a:lnTo>
                    <a:pt x="174" y="138"/>
                  </a:lnTo>
                  <a:lnTo>
                    <a:pt x="174" y="138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9" y="133"/>
                  </a:lnTo>
                  <a:lnTo>
                    <a:pt x="182" y="133"/>
                  </a:lnTo>
                  <a:lnTo>
                    <a:pt x="184" y="130"/>
                  </a:lnTo>
                  <a:lnTo>
                    <a:pt x="187" y="128"/>
                  </a:lnTo>
                  <a:lnTo>
                    <a:pt x="189" y="128"/>
                  </a:lnTo>
                  <a:lnTo>
                    <a:pt x="194" y="126"/>
                  </a:lnTo>
                  <a:lnTo>
                    <a:pt x="196" y="126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206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4" y="121"/>
                  </a:lnTo>
                  <a:lnTo>
                    <a:pt x="218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6" y="121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6" y="121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8" y="118"/>
                  </a:lnTo>
                  <a:lnTo>
                    <a:pt x="248" y="118"/>
                  </a:lnTo>
                  <a:lnTo>
                    <a:pt x="248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5" y="113"/>
                  </a:lnTo>
                  <a:lnTo>
                    <a:pt x="243" y="113"/>
                  </a:lnTo>
                  <a:lnTo>
                    <a:pt x="240" y="113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33" y="111"/>
                  </a:lnTo>
                  <a:lnTo>
                    <a:pt x="231" y="111"/>
                  </a:lnTo>
                  <a:lnTo>
                    <a:pt x="226" y="111"/>
                  </a:lnTo>
                  <a:lnTo>
                    <a:pt x="223" y="111"/>
                  </a:lnTo>
                  <a:lnTo>
                    <a:pt x="218" y="111"/>
                  </a:lnTo>
                  <a:close/>
                  <a:moveTo>
                    <a:pt x="81" y="67"/>
                  </a:moveTo>
                  <a:lnTo>
                    <a:pt x="79" y="67"/>
                  </a:lnTo>
                  <a:lnTo>
                    <a:pt x="74" y="67"/>
                  </a:lnTo>
                  <a:lnTo>
                    <a:pt x="71" y="67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4" y="76"/>
                  </a:lnTo>
                  <a:lnTo>
                    <a:pt x="69" y="76"/>
                  </a:lnTo>
                  <a:lnTo>
                    <a:pt x="71" y="76"/>
                  </a:lnTo>
                  <a:lnTo>
                    <a:pt x="74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6" y="76"/>
                  </a:lnTo>
                  <a:lnTo>
                    <a:pt x="91" y="76"/>
                  </a:lnTo>
                  <a:lnTo>
                    <a:pt x="93" y="76"/>
                  </a:lnTo>
                  <a:lnTo>
                    <a:pt x="96" y="76"/>
                  </a:lnTo>
                  <a:lnTo>
                    <a:pt x="98" y="79"/>
                  </a:lnTo>
                  <a:lnTo>
                    <a:pt x="101" y="79"/>
                  </a:lnTo>
                  <a:lnTo>
                    <a:pt x="106" y="79"/>
                  </a:lnTo>
                  <a:lnTo>
                    <a:pt x="108" y="81"/>
                  </a:lnTo>
                  <a:lnTo>
                    <a:pt x="111" y="81"/>
                  </a:lnTo>
                  <a:lnTo>
                    <a:pt x="115" y="84"/>
                  </a:lnTo>
                  <a:lnTo>
                    <a:pt x="118" y="84"/>
                  </a:lnTo>
                  <a:lnTo>
                    <a:pt x="120" y="86"/>
                  </a:lnTo>
                  <a:lnTo>
                    <a:pt x="123" y="89"/>
                  </a:lnTo>
                  <a:lnTo>
                    <a:pt x="125" y="89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3" y="94"/>
                  </a:lnTo>
                  <a:lnTo>
                    <a:pt x="133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5" y="86"/>
                  </a:lnTo>
                  <a:lnTo>
                    <a:pt x="135" y="84"/>
                  </a:lnTo>
                  <a:lnTo>
                    <a:pt x="133" y="81"/>
                  </a:lnTo>
                  <a:lnTo>
                    <a:pt x="130" y="81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5" y="79"/>
                  </a:lnTo>
                  <a:lnTo>
                    <a:pt x="125" y="76"/>
                  </a:lnTo>
                  <a:lnTo>
                    <a:pt x="123" y="76"/>
                  </a:lnTo>
                  <a:lnTo>
                    <a:pt x="118" y="74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08" y="69"/>
                  </a:lnTo>
                  <a:lnTo>
                    <a:pt x="106" y="69"/>
                  </a:lnTo>
                  <a:lnTo>
                    <a:pt x="101" y="69"/>
                  </a:lnTo>
                  <a:lnTo>
                    <a:pt x="98" y="67"/>
                  </a:lnTo>
                  <a:lnTo>
                    <a:pt x="93" y="67"/>
                  </a:lnTo>
                  <a:lnTo>
                    <a:pt x="91" y="67"/>
                  </a:lnTo>
                  <a:lnTo>
                    <a:pt x="88" y="67"/>
                  </a:lnTo>
                  <a:lnTo>
                    <a:pt x="86" y="67"/>
                  </a:lnTo>
                  <a:lnTo>
                    <a:pt x="81" y="67"/>
                  </a:lnTo>
                  <a:close/>
                  <a:moveTo>
                    <a:pt x="218" y="67"/>
                  </a:moveTo>
                  <a:lnTo>
                    <a:pt x="216" y="67"/>
                  </a:lnTo>
                  <a:lnTo>
                    <a:pt x="214" y="67"/>
                  </a:lnTo>
                  <a:lnTo>
                    <a:pt x="211" y="67"/>
                  </a:lnTo>
                  <a:lnTo>
                    <a:pt x="206" y="67"/>
                  </a:lnTo>
                  <a:lnTo>
                    <a:pt x="204" y="69"/>
                  </a:lnTo>
                  <a:lnTo>
                    <a:pt x="199" y="69"/>
                  </a:lnTo>
                  <a:lnTo>
                    <a:pt x="196" y="69"/>
                  </a:lnTo>
                  <a:lnTo>
                    <a:pt x="194" y="72"/>
                  </a:lnTo>
                  <a:lnTo>
                    <a:pt x="189" y="72"/>
                  </a:lnTo>
                  <a:lnTo>
                    <a:pt x="187" y="74"/>
                  </a:lnTo>
                  <a:lnTo>
                    <a:pt x="182" y="76"/>
                  </a:lnTo>
                  <a:lnTo>
                    <a:pt x="179" y="76"/>
                  </a:lnTo>
                  <a:lnTo>
                    <a:pt x="179" y="79"/>
                  </a:lnTo>
                  <a:lnTo>
                    <a:pt x="177" y="79"/>
                  </a:lnTo>
                  <a:lnTo>
                    <a:pt x="174" y="79"/>
                  </a:lnTo>
                  <a:lnTo>
                    <a:pt x="174" y="81"/>
                  </a:lnTo>
                  <a:lnTo>
                    <a:pt x="172" y="81"/>
                  </a:lnTo>
                  <a:lnTo>
                    <a:pt x="169" y="84"/>
                  </a:lnTo>
                  <a:lnTo>
                    <a:pt x="169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9"/>
                  </a:lnTo>
                  <a:lnTo>
                    <a:pt x="167" y="89"/>
                  </a:lnTo>
                  <a:lnTo>
                    <a:pt x="167" y="89"/>
                  </a:lnTo>
                  <a:lnTo>
                    <a:pt x="167" y="91"/>
                  </a:lnTo>
                  <a:lnTo>
                    <a:pt x="167" y="91"/>
                  </a:lnTo>
                  <a:lnTo>
                    <a:pt x="167" y="91"/>
                  </a:lnTo>
                  <a:lnTo>
                    <a:pt x="169" y="94"/>
                  </a:lnTo>
                  <a:lnTo>
                    <a:pt x="169" y="94"/>
                  </a:lnTo>
                  <a:lnTo>
                    <a:pt x="169" y="94"/>
                  </a:lnTo>
                  <a:lnTo>
                    <a:pt x="172" y="94"/>
                  </a:lnTo>
                  <a:lnTo>
                    <a:pt x="172" y="94"/>
                  </a:lnTo>
                  <a:lnTo>
                    <a:pt x="174" y="94"/>
                  </a:lnTo>
                  <a:lnTo>
                    <a:pt x="174" y="94"/>
                  </a:lnTo>
                  <a:lnTo>
                    <a:pt x="174" y="94"/>
                  </a:lnTo>
                  <a:lnTo>
                    <a:pt x="177" y="91"/>
                  </a:lnTo>
                  <a:lnTo>
                    <a:pt x="177" y="91"/>
                  </a:lnTo>
                  <a:lnTo>
                    <a:pt x="179" y="89"/>
                  </a:lnTo>
                  <a:lnTo>
                    <a:pt x="182" y="89"/>
                  </a:lnTo>
                  <a:lnTo>
                    <a:pt x="184" y="86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94" y="81"/>
                  </a:lnTo>
                  <a:lnTo>
                    <a:pt x="196" y="81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6" y="79"/>
                  </a:lnTo>
                  <a:lnTo>
                    <a:pt x="209" y="76"/>
                  </a:lnTo>
                  <a:lnTo>
                    <a:pt x="211" y="76"/>
                  </a:lnTo>
                  <a:lnTo>
                    <a:pt x="214" y="76"/>
                  </a:lnTo>
                  <a:lnTo>
                    <a:pt x="218" y="76"/>
                  </a:lnTo>
                  <a:lnTo>
                    <a:pt x="221" y="76"/>
                  </a:lnTo>
                  <a:lnTo>
                    <a:pt x="223" y="76"/>
                  </a:lnTo>
                  <a:lnTo>
                    <a:pt x="226" y="76"/>
                  </a:lnTo>
                  <a:lnTo>
                    <a:pt x="231" y="76"/>
                  </a:lnTo>
                  <a:lnTo>
                    <a:pt x="233" y="76"/>
                  </a:lnTo>
                  <a:lnTo>
                    <a:pt x="236" y="76"/>
                  </a:lnTo>
                  <a:lnTo>
                    <a:pt x="240" y="79"/>
                  </a:lnTo>
                  <a:lnTo>
                    <a:pt x="240" y="79"/>
                  </a:lnTo>
                  <a:lnTo>
                    <a:pt x="240" y="79"/>
                  </a:lnTo>
                  <a:lnTo>
                    <a:pt x="243" y="79"/>
                  </a:lnTo>
                  <a:lnTo>
                    <a:pt x="243" y="79"/>
                  </a:lnTo>
                  <a:lnTo>
                    <a:pt x="243" y="79"/>
                  </a:lnTo>
                  <a:lnTo>
                    <a:pt x="245" y="76"/>
                  </a:lnTo>
                  <a:lnTo>
                    <a:pt x="245" y="76"/>
                  </a:lnTo>
                  <a:lnTo>
                    <a:pt x="245" y="76"/>
                  </a:lnTo>
                  <a:lnTo>
                    <a:pt x="245" y="76"/>
                  </a:lnTo>
                  <a:lnTo>
                    <a:pt x="245" y="74"/>
                  </a:lnTo>
                  <a:lnTo>
                    <a:pt x="248" y="74"/>
                  </a:lnTo>
                  <a:lnTo>
                    <a:pt x="248" y="74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5" y="72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3" y="69"/>
                  </a:lnTo>
                  <a:lnTo>
                    <a:pt x="240" y="69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6" y="67"/>
                  </a:lnTo>
                  <a:lnTo>
                    <a:pt x="223" y="67"/>
                  </a:lnTo>
                  <a:lnTo>
                    <a:pt x="218" y="67"/>
                  </a:lnTo>
                  <a:close/>
                  <a:moveTo>
                    <a:pt x="10" y="62"/>
                  </a:moveTo>
                  <a:lnTo>
                    <a:pt x="35" y="62"/>
                  </a:lnTo>
                  <a:lnTo>
                    <a:pt x="35" y="204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7" y="209"/>
                  </a:lnTo>
                  <a:lnTo>
                    <a:pt x="39" y="209"/>
                  </a:lnTo>
                  <a:lnTo>
                    <a:pt x="39" y="209"/>
                  </a:lnTo>
                  <a:lnTo>
                    <a:pt x="39" y="209"/>
                  </a:lnTo>
                  <a:lnTo>
                    <a:pt x="42" y="209"/>
                  </a:lnTo>
                  <a:lnTo>
                    <a:pt x="47" y="209"/>
                  </a:lnTo>
                  <a:lnTo>
                    <a:pt x="52" y="209"/>
                  </a:lnTo>
                  <a:lnTo>
                    <a:pt x="57" y="209"/>
                  </a:lnTo>
                  <a:lnTo>
                    <a:pt x="59" y="209"/>
                  </a:lnTo>
                  <a:lnTo>
                    <a:pt x="66" y="209"/>
                  </a:lnTo>
                  <a:lnTo>
                    <a:pt x="71" y="209"/>
                  </a:lnTo>
                  <a:lnTo>
                    <a:pt x="76" y="209"/>
                  </a:lnTo>
                  <a:lnTo>
                    <a:pt x="81" y="209"/>
                  </a:lnTo>
                  <a:lnTo>
                    <a:pt x="88" y="209"/>
                  </a:lnTo>
                  <a:lnTo>
                    <a:pt x="91" y="211"/>
                  </a:lnTo>
                  <a:lnTo>
                    <a:pt x="93" y="211"/>
                  </a:lnTo>
                  <a:lnTo>
                    <a:pt x="96" y="211"/>
                  </a:lnTo>
                  <a:lnTo>
                    <a:pt x="101" y="211"/>
                  </a:lnTo>
                  <a:lnTo>
                    <a:pt x="103" y="211"/>
                  </a:lnTo>
                  <a:lnTo>
                    <a:pt x="106" y="214"/>
                  </a:lnTo>
                  <a:lnTo>
                    <a:pt x="108" y="214"/>
                  </a:lnTo>
                  <a:lnTo>
                    <a:pt x="113" y="216"/>
                  </a:lnTo>
                  <a:lnTo>
                    <a:pt x="115" y="216"/>
                  </a:lnTo>
                  <a:lnTo>
                    <a:pt x="118" y="219"/>
                  </a:lnTo>
                  <a:lnTo>
                    <a:pt x="120" y="219"/>
                  </a:lnTo>
                  <a:lnTo>
                    <a:pt x="123" y="221"/>
                  </a:lnTo>
                  <a:lnTo>
                    <a:pt x="125" y="221"/>
                  </a:lnTo>
                  <a:lnTo>
                    <a:pt x="128" y="224"/>
                  </a:lnTo>
                  <a:lnTo>
                    <a:pt x="130" y="226"/>
                  </a:lnTo>
                  <a:lnTo>
                    <a:pt x="133" y="228"/>
                  </a:lnTo>
                  <a:lnTo>
                    <a:pt x="135" y="228"/>
                  </a:lnTo>
                  <a:lnTo>
                    <a:pt x="138" y="231"/>
                  </a:lnTo>
                  <a:lnTo>
                    <a:pt x="140" y="233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5" y="243"/>
                  </a:lnTo>
                  <a:lnTo>
                    <a:pt x="147" y="246"/>
                  </a:lnTo>
                  <a:lnTo>
                    <a:pt x="147" y="246"/>
                  </a:lnTo>
                  <a:lnTo>
                    <a:pt x="147" y="248"/>
                  </a:lnTo>
                  <a:lnTo>
                    <a:pt x="147" y="248"/>
                  </a:lnTo>
                  <a:lnTo>
                    <a:pt x="147" y="248"/>
                  </a:lnTo>
                  <a:lnTo>
                    <a:pt x="147" y="251"/>
                  </a:lnTo>
                  <a:lnTo>
                    <a:pt x="150" y="251"/>
                  </a:lnTo>
                  <a:lnTo>
                    <a:pt x="10" y="251"/>
                  </a:lnTo>
                  <a:lnTo>
                    <a:pt x="10" y="62"/>
                  </a:lnTo>
                  <a:close/>
                  <a:moveTo>
                    <a:pt x="265" y="209"/>
                  </a:moveTo>
                  <a:lnTo>
                    <a:pt x="265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70" y="209"/>
                  </a:lnTo>
                  <a:lnTo>
                    <a:pt x="270" y="206"/>
                  </a:lnTo>
                  <a:lnTo>
                    <a:pt x="270" y="206"/>
                  </a:lnTo>
                  <a:lnTo>
                    <a:pt x="270" y="204"/>
                  </a:lnTo>
                  <a:lnTo>
                    <a:pt x="270" y="59"/>
                  </a:lnTo>
                  <a:lnTo>
                    <a:pt x="294" y="59"/>
                  </a:lnTo>
                  <a:lnTo>
                    <a:pt x="294" y="251"/>
                  </a:lnTo>
                  <a:lnTo>
                    <a:pt x="155" y="251"/>
                  </a:lnTo>
                  <a:lnTo>
                    <a:pt x="157" y="251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6"/>
                  </a:lnTo>
                  <a:lnTo>
                    <a:pt x="157" y="246"/>
                  </a:lnTo>
                  <a:lnTo>
                    <a:pt x="160" y="243"/>
                  </a:lnTo>
                  <a:lnTo>
                    <a:pt x="162" y="238"/>
                  </a:lnTo>
                  <a:lnTo>
                    <a:pt x="162" y="236"/>
                  </a:lnTo>
                  <a:lnTo>
                    <a:pt x="164" y="233"/>
                  </a:lnTo>
                  <a:lnTo>
                    <a:pt x="167" y="231"/>
                  </a:lnTo>
                  <a:lnTo>
                    <a:pt x="169" y="228"/>
                  </a:lnTo>
                  <a:lnTo>
                    <a:pt x="172" y="228"/>
                  </a:lnTo>
                  <a:lnTo>
                    <a:pt x="174" y="226"/>
                  </a:lnTo>
                  <a:lnTo>
                    <a:pt x="177" y="224"/>
                  </a:lnTo>
                  <a:lnTo>
                    <a:pt x="179" y="221"/>
                  </a:lnTo>
                  <a:lnTo>
                    <a:pt x="182" y="221"/>
                  </a:lnTo>
                  <a:lnTo>
                    <a:pt x="184" y="219"/>
                  </a:lnTo>
                  <a:lnTo>
                    <a:pt x="187" y="219"/>
                  </a:lnTo>
                  <a:lnTo>
                    <a:pt x="189" y="216"/>
                  </a:lnTo>
                  <a:lnTo>
                    <a:pt x="191" y="216"/>
                  </a:lnTo>
                  <a:lnTo>
                    <a:pt x="196" y="214"/>
                  </a:lnTo>
                  <a:lnTo>
                    <a:pt x="199" y="214"/>
                  </a:lnTo>
                  <a:lnTo>
                    <a:pt x="201" y="211"/>
                  </a:lnTo>
                  <a:lnTo>
                    <a:pt x="204" y="211"/>
                  </a:lnTo>
                  <a:lnTo>
                    <a:pt x="209" y="211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6" y="209"/>
                  </a:lnTo>
                  <a:lnTo>
                    <a:pt x="223" y="209"/>
                  </a:lnTo>
                  <a:lnTo>
                    <a:pt x="228" y="209"/>
                  </a:lnTo>
                  <a:lnTo>
                    <a:pt x="233" y="209"/>
                  </a:lnTo>
                  <a:lnTo>
                    <a:pt x="238" y="209"/>
                  </a:lnTo>
                  <a:lnTo>
                    <a:pt x="245" y="209"/>
                  </a:lnTo>
                  <a:lnTo>
                    <a:pt x="248" y="209"/>
                  </a:lnTo>
                  <a:lnTo>
                    <a:pt x="253" y="209"/>
                  </a:lnTo>
                  <a:lnTo>
                    <a:pt x="258" y="209"/>
                  </a:lnTo>
                  <a:lnTo>
                    <a:pt x="263" y="209"/>
                  </a:lnTo>
                  <a:lnTo>
                    <a:pt x="265" y="209"/>
                  </a:lnTo>
                  <a:lnTo>
                    <a:pt x="265" y="209"/>
                  </a:lnTo>
                  <a:close/>
                  <a:moveTo>
                    <a:pt x="44" y="59"/>
                  </a:moveTo>
                  <a:lnTo>
                    <a:pt x="44" y="59"/>
                  </a:lnTo>
                  <a:lnTo>
                    <a:pt x="44" y="59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15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7" y="13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6" y="10"/>
                  </a:lnTo>
                  <a:lnTo>
                    <a:pt x="81" y="10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91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101" y="13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1" y="18"/>
                  </a:lnTo>
                  <a:lnTo>
                    <a:pt x="113" y="18"/>
                  </a:lnTo>
                  <a:lnTo>
                    <a:pt x="115" y="20"/>
                  </a:lnTo>
                  <a:lnTo>
                    <a:pt x="118" y="20"/>
                  </a:lnTo>
                  <a:lnTo>
                    <a:pt x="120" y="23"/>
                  </a:lnTo>
                  <a:lnTo>
                    <a:pt x="123" y="23"/>
                  </a:lnTo>
                  <a:lnTo>
                    <a:pt x="125" y="25"/>
                  </a:lnTo>
                  <a:lnTo>
                    <a:pt x="128" y="25"/>
                  </a:lnTo>
                  <a:lnTo>
                    <a:pt x="130" y="27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8" y="32"/>
                  </a:lnTo>
                  <a:lnTo>
                    <a:pt x="140" y="35"/>
                  </a:lnTo>
                  <a:lnTo>
                    <a:pt x="142" y="37"/>
                  </a:lnTo>
                  <a:lnTo>
                    <a:pt x="145" y="40"/>
                  </a:lnTo>
                  <a:lnTo>
                    <a:pt x="147" y="42"/>
                  </a:lnTo>
                  <a:lnTo>
                    <a:pt x="147" y="45"/>
                  </a:lnTo>
                  <a:lnTo>
                    <a:pt x="147" y="226"/>
                  </a:lnTo>
                  <a:lnTo>
                    <a:pt x="145" y="226"/>
                  </a:lnTo>
                  <a:lnTo>
                    <a:pt x="142" y="224"/>
                  </a:lnTo>
                  <a:lnTo>
                    <a:pt x="140" y="221"/>
                  </a:lnTo>
                  <a:lnTo>
                    <a:pt x="140" y="219"/>
                  </a:lnTo>
                  <a:lnTo>
                    <a:pt x="138" y="216"/>
                  </a:lnTo>
                  <a:lnTo>
                    <a:pt x="135" y="216"/>
                  </a:lnTo>
                  <a:lnTo>
                    <a:pt x="133" y="214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3" y="209"/>
                  </a:lnTo>
                  <a:lnTo>
                    <a:pt x="120" y="209"/>
                  </a:lnTo>
                  <a:lnTo>
                    <a:pt x="118" y="206"/>
                  </a:lnTo>
                  <a:lnTo>
                    <a:pt x="115" y="206"/>
                  </a:lnTo>
                  <a:lnTo>
                    <a:pt x="113" y="206"/>
                  </a:lnTo>
                  <a:lnTo>
                    <a:pt x="111" y="204"/>
                  </a:lnTo>
                  <a:lnTo>
                    <a:pt x="108" y="204"/>
                  </a:lnTo>
                  <a:lnTo>
                    <a:pt x="106" y="202"/>
                  </a:lnTo>
                  <a:lnTo>
                    <a:pt x="101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1" y="199"/>
                  </a:lnTo>
                  <a:lnTo>
                    <a:pt x="86" y="199"/>
                  </a:lnTo>
                  <a:lnTo>
                    <a:pt x="79" y="199"/>
                  </a:lnTo>
                  <a:lnTo>
                    <a:pt x="74" y="199"/>
                  </a:lnTo>
                  <a:lnTo>
                    <a:pt x="69" y="199"/>
                  </a:lnTo>
                  <a:lnTo>
                    <a:pt x="66" y="199"/>
                  </a:lnTo>
                  <a:lnTo>
                    <a:pt x="59" y="199"/>
                  </a:lnTo>
                  <a:lnTo>
                    <a:pt x="54" y="199"/>
                  </a:lnTo>
                  <a:lnTo>
                    <a:pt x="49" y="199"/>
                  </a:lnTo>
                  <a:lnTo>
                    <a:pt x="44" y="199"/>
                  </a:lnTo>
                  <a:lnTo>
                    <a:pt x="44" y="59"/>
                  </a:lnTo>
                  <a:close/>
                  <a:moveTo>
                    <a:pt x="157" y="45"/>
                  </a:moveTo>
                  <a:lnTo>
                    <a:pt x="157" y="42"/>
                  </a:lnTo>
                  <a:lnTo>
                    <a:pt x="160" y="40"/>
                  </a:lnTo>
                  <a:lnTo>
                    <a:pt x="162" y="37"/>
                  </a:lnTo>
                  <a:lnTo>
                    <a:pt x="164" y="35"/>
                  </a:lnTo>
                  <a:lnTo>
                    <a:pt x="167" y="32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7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2" y="23"/>
                  </a:lnTo>
                  <a:lnTo>
                    <a:pt x="184" y="23"/>
                  </a:lnTo>
                  <a:lnTo>
                    <a:pt x="187" y="20"/>
                  </a:lnTo>
                  <a:lnTo>
                    <a:pt x="189" y="20"/>
                  </a:lnTo>
                  <a:lnTo>
                    <a:pt x="191" y="18"/>
                  </a:lnTo>
                  <a:lnTo>
                    <a:pt x="194" y="18"/>
                  </a:lnTo>
                  <a:lnTo>
                    <a:pt x="196" y="15"/>
                  </a:lnTo>
                  <a:lnTo>
                    <a:pt x="199" y="15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9" y="13"/>
                  </a:lnTo>
                  <a:lnTo>
                    <a:pt x="214" y="13"/>
                  </a:lnTo>
                  <a:lnTo>
                    <a:pt x="216" y="10"/>
                  </a:lnTo>
                  <a:lnTo>
                    <a:pt x="221" y="10"/>
                  </a:lnTo>
                  <a:lnTo>
                    <a:pt x="223" y="10"/>
                  </a:lnTo>
                  <a:lnTo>
                    <a:pt x="228" y="10"/>
                  </a:lnTo>
                  <a:lnTo>
                    <a:pt x="233" y="10"/>
                  </a:lnTo>
                  <a:lnTo>
                    <a:pt x="236" y="10"/>
                  </a:lnTo>
                  <a:lnTo>
                    <a:pt x="240" y="10"/>
                  </a:lnTo>
                  <a:lnTo>
                    <a:pt x="243" y="10"/>
                  </a:lnTo>
                  <a:lnTo>
                    <a:pt x="248" y="13"/>
                  </a:lnTo>
                  <a:lnTo>
                    <a:pt x="253" y="13"/>
                  </a:lnTo>
                  <a:lnTo>
                    <a:pt x="255" y="13"/>
                  </a:lnTo>
                  <a:lnTo>
                    <a:pt x="260" y="15"/>
                  </a:lnTo>
                  <a:lnTo>
                    <a:pt x="260" y="199"/>
                  </a:lnTo>
                  <a:lnTo>
                    <a:pt x="255" y="199"/>
                  </a:lnTo>
                  <a:lnTo>
                    <a:pt x="250" y="199"/>
                  </a:lnTo>
                  <a:lnTo>
                    <a:pt x="245" y="199"/>
                  </a:lnTo>
                  <a:lnTo>
                    <a:pt x="238" y="199"/>
                  </a:lnTo>
                  <a:lnTo>
                    <a:pt x="236" y="199"/>
                  </a:lnTo>
                  <a:lnTo>
                    <a:pt x="231" y="199"/>
                  </a:lnTo>
                  <a:lnTo>
                    <a:pt x="226" y="199"/>
                  </a:lnTo>
                  <a:lnTo>
                    <a:pt x="218" y="199"/>
                  </a:lnTo>
                  <a:lnTo>
                    <a:pt x="214" y="199"/>
                  </a:lnTo>
                  <a:lnTo>
                    <a:pt x="209" y="202"/>
                  </a:lnTo>
                  <a:lnTo>
                    <a:pt x="206" y="202"/>
                  </a:lnTo>
                  <a:lnTo>
                    <a:pt x="204" y="202"/>
                  </a:lnTo>
                  <a:lnTo>
                    <a:pt x="201" y="202"/>
                  </a:lnTo>
                  <a:lnTo>
                    <a:pt x="196" y="204"/>
                  </a:lnTo>
                  <a:lnTo>
                    <a:pt x="194" y="204"/>
                  </a:lnTo>
                  <a:lnTo>
                    <a:pt x="191" y="206"/>
                  </a:lnTo>
                  <a:lnTo>
                    <a:pt x="189" y="206"/>
                  </a:lnTo>
                  <a:lnTo>
                    <a:pt x="187" y="206"/>
                  </a:lnTo>
                  <a:lnTo>
                    <a:pt x="184" y="209"/>
                  </a:lnTo>
                  <a:lnTo>
                    <a:pt x="182" y="209"/>
                  </a:lnTo>
                  <a:lnTo>
                    <a:pt x="177" y="211"/>
                  </a:lnTo>
                  <a:lnTo>
                    <a:pt x="174" y="211"/>
                  </a:lnTo>
                  <a:lnTo>
                    <a:pt x="172" y="214"/>
                  </a:lnTo>
                  <a:lnTo>
                    <a:pt x="169" y="216"/>
                  </a:lnTo>
                  <a:lnTo>
                    <a:pt x="167" y="216"/>
                  </a:lnTo>
                  <a:lnTo>
                    <a:pt x="164" y="219"/>
                  </a:lnTo>
                  <a:lnTo>
                    <a:pt x="164" y="221"/>
                  </a:lnTo>
                  <a:lnTo>
                    <a:pt x="162" y="224"/>
                  </a:lnTo>
                  <a:lnTo>
                    <a:pt x="160" y="226"/>
                  </a:lnTo>
                  <a:lnTo>
                    <a:pt x="157" y="226"/>
                  </a:lnTo>
                  <a:lnTo>
                    <a:pt x="157" y="45"/>
                  </a:lnTo>
                  <a:close/>
                  <a:moveTo>
                    <a:pt x="228" y="0"/>
                  </a:moveTo>
                  <a:lnTo>
                    <a:pt x="223" y="0"/>
                  </a:lnTo>
                  <a:lnTo>
                    <a:pt x="221" y="0"/>
                  </a:lnTo>
                  <a:lnTo>
                    <a:pt x="216" y="0"/>
                  </a:lnTo>
                  <a:lnTo>
                    <a:pt x="214" y="0"/>
                  </a:lnTo>
                  <a:lnTo>
                    <a:pt x="209" y="3"/>
                  </a:lnTo>
                  <a:lnTo>
                    <a:pt x="206" y="3"/>
                  </a:lnTo>
                  <a:lnTo>
                    <a:pt x="204" y="3"/>
                  </a:lnTo>
                  <a:lnTo>
                    <a:pt x="199" y="5"/>
                  </a:lnTo>
                  <a:lnTo>
                    <a:pt x="196" y="5"/>
                  </a:lnTo>
                  <a:lnTo>
                    <a:pt x="194" y="5"/>
                  </a:lnTo>
                  <a:lnTo>
                    <a:pt x="191" y="8"/>
                  </a:lnTo>
                  <a:lnTo>
                    <a:pt x="189" y="8"/>
                  </a:lnTo>
                  <a:lnTo>
                    <a:pt x="187" y="10"/>
                  </a:lnTo>
                  <a:lnTo>
                    <a:pt x="184" y="10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2" y="18"/>
                  </a:lnTo>
                  <a:lnTo>
                    <a:pt x="169" y="18"/>
                  </a:lnTo>
                  <a:lnTo>
                    <a:pt x="164" y="23"/>
                  </a:lnTo>
                  <a:lnTo>
                    <a:pt x="162" y="25"/>
                  </a:lnTo>
                  <a:lnTo>
                    <a:pt x="160" y="27"/>
                  </a:lnTo>
                  <a:lnTo>
                    <a:pt x="157" y="30"/>
                  </a:lnTo>
                  <a:lnTo>
                    <a:pt x="155" y="32"/>
                  </a:lnTo>
                  <a:lnTo>
                    <a:pt x="152" y="35"/>
                  </a:lnTo>
                  <a:lnTo>
                    <a:pt x="150" y="32"/>
                  </a:lnTo>
                  <a:lnTo>
                    <a:pt x="147" y="30"/>
                  </a:lnTo>
                  <a:lnTo>
                    <a:pt x="145" y="27"/>
                  </a:lnTo>
                  <a:lnTo>
                    <a:pt x="142" y="25"/>
                  </a:lnTo>
                  <a:lnTo>
                    <a:pt x="140" y="23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30" y="15"/>
                  </a:lnTo>
                  <a:lnTo>
                    <a:pt x="128" y="15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0" y="10"/>
                  </a:lnTo>
                  <a:lnTo>
                    <a:pt x="118" y="10"/>
                  </a:lnTo>
                  <a:lnTo>
                    <a:pt x="115" y="8"/>
                  </a:lnTo>
                  <a:lnTo>
                    <a:pt x="113" y="8"/>
                  </a:lnTo>
                  <a:lnTo>
                    <a:pt x="111" y="5"/>
                  </a:lnTo>
                  <a:lnTo>
                    <a:pt x="108" y="5"/>
                  </a:lnTo>
                  <a:lnTo>
                    <a:pt x="106" y="5"/>
                  </a:lnTo>
                  <a:lnTo>
                    <a:pt x="101" y="3"/>
                  </a:lnTo>
                  <a:lnTo>
                    <a:pt x="98" y="3"/>
                  </a:lnTo>
                  <a:lnTo>
                    <a:pt x="96" y="3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4" y="0"/>
                  </a:lnTo>
                  <a:lnTo>
                    <a:pt x="81" y="0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9" y="3"/>
                  </a:lnTo>
                  <a:lnTo>
                    <a:pt x="44" y="5"/>
                  </a:lnTo>
                  <a:lnTo>
                    <a:pt x="39" y="5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52"/>
                  </a:lnTo>
                  <a:lnTo>
                    <a:pt x="5" y="52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3" y="260"/>
                  </a:lnTo>
                  <a:lnTo>
                    <a:pt x="3" y="260"/>
                  </a:lnTo>
                  <a:lnTo>
                    <a:pt x="3" y="260"/>
                  </a:lnTo>
                  <a:lnTo>
                    <a:pt x="5" y="260"/>
                  </a:lnTo>
                  <a:lnTo>
                    <a:pt x="299" y="260"/>
                  </a:lnTo>
                  <a:lnTo>
                    <a:pt x="299" y="260"/>
                  </a:lnTo>
                  <a:lnTo>
                    <a:pt x="302" y="260"/>
                  </a:lnTo>
                  <a:lnTo>
                    <a:pt x="302" y="260"/>
                  </a:lnTo>
                  <a:lnTo>
                    <a:pt x="304" y="258"/>
                  </a:lnTo>
                  <a:lnTo>
                    <a:pt x="304" y="258"/>
                  </a:lnTo>
                  <a:lnTo>
                    <a:pt x="304" y="258"/>
                  </a:lnTo>
                  <a:lnTo>
                    <a:pt x="304" y="255"/>
                  </a:lnTo>
                  <a:lnTo>
                    <a:pt x="304" y="255"/>
                  </a:lnTo>
                  <a:lnTo>
                    <a:pt x="304" y="54"/>
                  </a:lnTo>
                  <a:lnTo>
                    <a:pt x="304" y="54"/>
                  </a:lnTo>
                  <a:lnTo>
                    <a:pt x="304" y="54"/>
                  </a:lnTo>
                  <a:lnTo>
                    <a:pt x="304" y="52"/>
                  </a:lnTo>
                  <a:lnTo>
                    <a:pt x="304" y="52"/>
                  </a:lnTo>
                  <a:lnTo>
                    <a:pt x="302" y="52"/>
                  </a:lnTo>
                  <a:lnTo>
                    <a:pt x="302" y="52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70" y="5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8"/>
                  </a:lnTo>
                  <a:lnTo>
                    <a:pt x="270" y="8"/>
                  </a:lnTo>
                  <a:lnTo>
                    <a:pt x="267" y="8"/>
                  </a:lnTo>
                  <a:lnTo>
                    <a:pt x="267" y="8"/>
                  </a:lnTo>
                  <a:lnTo>
                    <a:pt x="267" y="8"/>
                  </a:lnTo>
                  <a:lnTo>
                    <a:pt x="265" y="5"/>
                  </a:lnTo>
                  <a:lnTo>
                    <a:pt x="260" y="5"/>
                  </a:lnTo>
                  <a:lnTo>
                    <a:pt x="255" y="3"/>
                  </a:lnTo>
                  <a:lnTo>
                    <a:pt x="253" y="3"/>
                  </a:lnTo>
                  <a:lnTo>
                    <a:pt x="248" y="3"/>
                  </a:lnTo>
                  <a:lnTo>
                    <a:pt x="243" y="0"/>
                  </a:lnTo>
                  <a:lnTo>
                    <a:pt x="238" y="0"/>
                  </a:lnTo>
                  <a:lnTo>
                    <a:pt x="233" y="0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8" name="Group 256">
            <a:extLst>
              <a:ext uri="{FF2B5EF4-FFF2-40B4-BE49-F238E27FC236}">
                <a16:creationId xmlns:a16="http://schemas.microsoft.com/office/drawing/2014/main" id="{D448FDAD-B3E6-45D8-81C5-C0842E10ED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190" y="4091422"/>
            <a:ext cx="841375" cy="841375"/>
            <a:chOff x="4394" y="2597"/>
            <a:chExt cx="530" cy="530"/>
          </a:xfrm>
        </p:grpSpPr>
        <p:sp>
          <p:nvSpPr>
            <p:cNvPr id="289" name="AutoShape 255">
              <a:extLst>
                <a:ext uri="{FF2B5EF4-FFF2-40B4-BE49-F238E27FC236}">
                  <a16:creationId xmlns:a16="http://schemas.microsoft.com/office/drawing/2014/main" id="{01A4738C-2351-4278-8647-AAEEF0C97E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4" y="259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257">
              <a:extLst>
                <a:ext uri="{FF2B5EF4-FFF2-40B4-BE49-F238E27FC236}">
                  <a16:creationId xmlns:a16="http://schemas.microsoft.com/office/drawing/2014/main" id="{6A4A1F4A-1D0C-4DA1-BA19-AE1C4FD33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4" y="259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8">
              <a:extLst>
                <a:ext uri="{FF2B5EF4-FFF2-40B4-BE49-F238E27FC236}">
                  <a16:creationId xmlns:a16="http://schemas.microsoft.com/office/drawing/2014/main" id="{767AD398-0F79-44A7-838A-EFF5363EDC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2" y="261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59">
              <a:extLst>
                <a:ext uri="{FF2B5EF4-FFF2-40B4-BE49-F238E27FC236}">
                  <a16:creationId xmlns:a16="http://schemas.microsoft.com/office/drawing/2014/main" id="{DA498E4A-138A-4AFC-A926-48319F198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1" y="2717"/>
              <a:ext cx="318" cy="272"/>
            </a:xfrm>
            <a:custGeom>
              <a:avLst/>
              <a:gdLst>
                <a:gd name="T0" fmla="*/ 59 w 318"/>
                <a:gd name="T1" fmla="*/ 167 h 272"/>
                <a:gd name="T2" fmla="*/ 72 w 318"/>
                <a:gd name="T3" fmla="*/ 172 h 272"/>
                <a:gd name="T4" fmla="*/ 116 w 318"/>
                <a:gd name="T5" fmla="*/ 177 h 272"/>
                <a:gd name="T6" fmla="*/ 141 w 318"/>
                <a:gd name="T7" fmla="*/ 190 h 272"/>
                <a:gd name="T8" fmla="*/ 136 w 318"/>
                <a:gd name="T9" fmla="*/ 177 h 272"/>
                <a:gd name="T10" fmla="*/ 93 w 318"/>
                <a:gd name="T11" fmla="*/ 162 h 272"/>
                <a:gd name="T12" fmla="*/ 190 w 318"/>
                <a:gd name="T13" fmla="*/ 172 h 272"/>
                <a:gd name="T14" fmla="*/ 175 w 318"/>
                <a:gd name="T15" fmla="*/ 187 h 272"/>
                <a:gd name="T16" fmla="*/ 190 w 318"/>
                <a:gd name="T17" fmla="*/ 185 h 272"/>
                <a:gd name="T18" fmla="*/ 233 w 318"/>
                <a:gd name="T19" fmla="*/ 172 h 272"/>
                <a:gd name="T20" fmla="*/ 256 w 318"/>
                <a:gd name="T21" fmla="*/ 172 h 272"/>
                <a:gd name="T22" fmla="*/ 244 w 318"/>
                <a:gd name="T23" fmla="*/ 162 h 272"/>
                <a:gd name="T24" fmla="*/ 62 w 318"/>
                <a:gd name="T25" fmla="*/ 118 h 272"/>
                <a:gd name="T26" fmla="*/ 67 w 318"/>
                <a:gd name="T27" fmla="*/ 128 h 272"/>
                <a:gd name="T28" fmla="*/ 105 w 318"/>
                <a:gd name="T29" fmla="*/ 128 h 272"/>
                <a:gd name="T30" fmla="*/ 139 w 318"/>
                <a:gd name="T31" fmla="*/ 144 h 272"/>
                <a:gd name="T32" fmla="*/ 141 w 318"/>
                <a:gd name="T33" fmla="*/ 133 h 272"/>
                <a:gd name="T34" fmla="*/ 103 w 318"/>
                <a:gd name="T35" fmla="*/ 115 h 272"/>
                <a:gd name="T36" fmla="*/ 205 w 318"/>
                <a:gd name="T37" fmla="*/ 118 h 272"/>
                <a:gd name="T38" fmla="*/ 175 w 318"/>
                <a:gd name="T39" fmla="*/ 136 h 272"/>
                <a:gd name="T40" fmla="*/ 182 w 318"/>
                <a:gd name="T41" fmla="*/ 144 h 272"/>
                <a:gd name="T42" fmla="*/ 221 w 318"/>
                <a:gd name="T43" fmla="*/ 126 h 272"/>
                <a:gd name="T44" fmla="*/ 254 w 318"/>
                <a:gd name="T45" fmla="*/ 128 h 272"/>
                <a:gd name="T46" fmla="*/ 254 w 318"/>
                <a:gd name="T47" fmla="*/ 118 h 272"/>
                <a:gd name="T48" fmla="*/ 70 w 318"/>
                <a:gd name="T49" fmla="*/ 69 h 272"/>
                <a:gd name="T50" fmla="*/ 62 w 318"/>
                <a:gd name="T51" fmla="*/ 80 h 272"/>
                <a:gd name="T52" fmla="*/ 90 w 318"/>
                <a:gd name="T53" fmla="*/ 80 h 272"/>
                <a:gd name="T54" fmla="*/ 134 w 318"/>
                <a:gd name="T55" fmla="*/ 95 h 272"/>
                <a:gd name="T56" fmla="*/ 144 w 318"/>
                <a:gd name="T57" fmla="*/ 92 h 272"/>
                <a:gd name="T58" fmla="*/ 121 w 318"/>
                <a:gd name="T59" fmla="*/ 74 h 272"/>
                <a:gd name="T60" fmla="*/ 221 w 318"/>
                <a:gd name="T61" fmla="*/ 69 h 272"/>
                <a:gd name="T62" fmla="*/ 180 w 318"/>
                <a:gd name="T63" fmla="*/ 85 h 272"/>
                <a:gd name="T64" fmla="*/ 180 w 318"/>
                <a:gd name="T65" fmla="*/ 98 h 272"/>
                <a:gd name="T66" fmla="*/ 208 w 318"/>
                <a:gd name="T67" fmla="*/ 82 h 272"/>
                <a:gd name="T68" fmla="*/ 251 w 318"/>
                <a:gd name="T69" fmla="*/ 82 h 272"/>
                <a:gd name="T70" fmla="*/ 256 w 318"/>
                <a:gd name="T71" fmla="*/ 74 h 272"/>
                <a:gd name="T72" fmla="*/ 36 w 318"/>
                <a:gd name="T73" fmla="*/ 64 h 272"/>
                <a:gd name="T74" fmla="*/ 59 w 318"/>
                <a:gd name="T75" fmla="*/ 218 h 272"/>
                <a:gd name="T76" fmla="*/ 118 w 318"/>
                <a:gd name="T77" fmla="*/ 226 h 272"/>
                <a:gd name="T78" fmla="*/ 151 w 318"/>
                <a:gd name="T79" fmla="*/ 254 h 272"/>
                <a:gd name="T80" fmla="*/ 280 w 318"/>
                <a:gd name="T81" fmla="*/ 218 h 272"/>
                <a:gd name="T82" fmla="*/ 164 w 318"/>
                <a:gd name="T83" fmla="*/ 256 h 272"/>
                <a:gd name="T84" fmla="*/ 198 w 318"/>
                <a:gd name="T85" fmla="*/ 226 h 272"/>
                <a:gd name="T86" fmla="*/ 256 w 318"/>
                <a:gd name="T87" fmla="*/ 218 h 272"/>
                <a:gd name="T88" fmla="*/ 54 w 318"/>
                <a:gd name="T89" fmla="*/ 13 h 272"/>
                <a:gd name="T90" fmla="*/ 111 w 318"/>
                <a:gd name="T91" fmla="*/ 16 h 272"/>
                <a:gd name="T92" fmla="*/ 146 w 318"/>
                <a:gd name="T93" fmla="*/ 36 h 272"/>
                <a:gd name="T94" fmla="*/ 134 w 318"/>
                <a:gd name="T95" fmla="*/ 220 h 272"/>
                <a:gd name="T96" fmla="*/ 82 w 318"/>
                <a:gd name="T97" fmla="*/ 208 h 272"/>
                <a:gd name="T98" fmla="*/ 175 w 318"/>
                <a:gd name="T99" fmla="*/ 34 h 272"/>
                <a:gd name="T100" fmla="*/ 213 w 318"/>
                <a:gd name="T101" fmla="*/ 13 h 272"/>
                <a:gd name="T102" fmla="*/ 267 w 318"/>
                <a:gd name="T103" fmla="*/ 13 h 272"/>
                <a:gd name="T104" fmla="*/ 213 w 318"/>
                <a:gd name="T105" fmla="*/ 210 h 272"/>
                <a:gd name="T106" fmla="*/ 172 w 318"/>
                <a:gd name="T107" fmla="*/ 228 h 272"/>
                <a:gd name="T108" fmla="*/ 208 w 318"/>
                <a:gd name="T109" fmla="*/ 5 h 272"/>
                <a:gd name="T110" fmla="*/ 169 w 318"/>
                <a:gd name="T111" fmla="*/ 26 h 272"/>
                <a:gd name="T112" fmla="*/ 131 w 318"/>
                <a:gd name="T113" fmla="*/ 13 h 272"/>
                <a:gd name="T114" fmla="*/ 87 w 318"/>
                <a:gd name="T115" fmla="*/ 0 h 272"/>
                <a:gd name="T116" fmla="*/ 39 w 318"/>
                <a:gd name="T117" fmla="*/ 8 h 272"/>
                <a:gd name="T118" fmla="*/ 0 w 318"/>
                <a:gd name="T119" fmla="*/ 62 h 272"/>
                <a:gd name="T120" fmla="*/ 318 w 318"/>
                <a:gd name="T121" fmla="*/ 269 h 272"/>
                <a:gd name="T122" fmla="*/ 282 w 318"/>
                <a:gd name="T123" fmla="*/ 51 h 272"/>
                <a:gd name="T124" fmla="*/ 254 w 318"/>
                <a:gd name="T125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72">
                  <a:moveTo>
                    <a:pt x="85" y="162"/>
                  </a:moveTo>
                  <a:lnTo>
                    <a:pt x="82" y="162"/>
                  </a:lnTo>
                  <a:lnTo>
                    <a:pt x="77" y="162"/>
                  </a:lnTo>
                  <a:lnTo>
                    <a:pt x="75" y="162"/>
                  </a:lnTo>
                  <a:lnTo>
                    <a:pt x="70" y="162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4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4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72" y="172"/>
                  </a:lnTo>
                  <a:lnTo>
                    <a:pt x="75" y="172"/>
                  </a:lnTo>
                  <a:lnTo>
                    <a:pt x="77" y="172"/>
                  </a:lnTo>
                  <a:lnTo>
                    <a:pt x="82" y="172"/>
                  </a:lnTo>
                  <a:lnTo>
                    <a:pt x="85" y="172"/>
                  </a:lnTo>
                  <a:lnTo>
                    <a:pt x="87" y="172"/>
                  </a:lnTo>
                  <a:lnTo>
                    <a:pt x="90" y="172"/>
                  </a:lnTo>
                  <a:lnTo>
                    <a:pt x="95" y="172"/>
                  </a:lnTo>
                  <a:lnTo>
                    <a:pt x="98" y="172"/>
                  </a:lnTo>
                  <a:lnTo>
                    <a:pt x="100" y="172"/>
                  </a:lnTo>
                  <a:lnTo>
                    <a:pt x="103" y="174"/>
                  </a:lnTo>
                  <a:lnTo>
                    <a:pt x="105" y="174"/>
                  </a:lnTo>
                  <a:lnTo>
                    <a:pt x="111" y="174"/>
                  </a:lnTo>
                  <a:lnTo>
                    <a:pt x="113" y="177"/>
                  </a:lnTo>
                  <a:lnTo>
                    <a:pt x="116" y="177"/>
                  </a:lnTo>
                  <a:lnTo>
                    <a:pt x="121" y="179"/>
                  </a:lnTo>
                  <a:lnTo>
                    <a:pt x="123" y="179"/>
                  </a:lnTo>
                  <a:lnTo>
                    <a:pt x="126" y="182"/>
                  </a:lnTo>
                  <a:lnTo>
                    <a:pt x="128" y="185"/>
                  </a:lnTo>
                  <a:lnTo>
                    <a:pt x="131" y="185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9" y="190"/>
                  </a:lnTo>
                  <a:lnTo>
                    <a:pt x="139" y="190"/>
                  </a:lnTo>
                  <a:lnTo>
                    <a:pt x="141" y="190"/>
                  </a:lnTo>
                  <a:lnTo>
                    <a:pt x="141" y="190"/>
                  </a:lnTo>
                  <a:lnTo>
                    <a:pt x="141" y="190"/>
                  </a:lnTo>
                  <a:lnTo>
                    <a:pt x="144" y="190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1" y="182"/>
                  </a:lnTo>
                  <a:lnTo>
                    <a:pt x="141" y="179"/>
                  </a:lnTo>
                  <a:lnTo>
                    <a:pt x="139" y="179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4" y="174"/>
                  </a:lnTo>
                  <a:lnTo>
                    <a:pt x="131" y="174"/>
                  </a:lnTo>
                  <a:lnTo>
                    <a:pt x="131" y="172"/>
                  </a:lnTo>
                  <a:lnTo>
                    <a:pt x="128" y="172"/>
                  </a:lnTo>
                  <a:lnTo>
                    <a:pt x="123" y="169"/>
                  </a:lnTo>
                  <a:lnTo>
                    <a:pt x="121" y="167"/>
                  </a:lnTo>
                  <a:lnTo>
                    <a:pt x="116" y="167"/>
                  </a:lnTo>
                  <a:lnTo>
                    <a:pt x="113" y="164"/>
                  </a:lnTo>
                  <a:lnTo>
                    <a:pt x="111" y="164"/>
                  </a:lnTo>
                  <a:lnTo>
                    <a:pt x="105" y="164"/>
                  </a:lnTo>
                  <a:lnTo>
                    <a:pt x="103" y="162"/>
                  </a:lnTo>
                  <a:lnTo>
                    <a:pt x="98" y="162"/>
                  </a:lnTo>
                  <a:lnTo>
                    <a:pt x="95" y="162"/>
                  </a:lnTo>
                  <a:lnTo>
                    <a:pt x="93" y="162"/>
                  </a:lnTo>
                  <a:lnTo>
                    <a:pt x="90" y="162"/>
                  </a:lnTo>
                  <a:lnTo>
                    <a:pt x="85" y="162"/>
                  </a:lnTo>
                  <a:close/>
                  <a:moveTo>
                    <a:pt x="228" y="162"/>
                  </a:moveTo>
                  <a:lnTo>
                    <a:pt x="226" y="162"/>
                  </a:lnTo>
                  <a:lnTo>
                    <a:pt x="223" y="162"/>
                  </a:lnTo>
                  <a:lnTo>
                    <a:pt x="221" y="162"/>
                  </a:lnTo>
                  <a:lnTo>
                    <a:pt x="216" y="162"/>
                  </a:lnTo>
                  <a:lnTo>
                    <a:pt x="213" y="164"/>
                  </a:lnTo>
                  <a:lnTo>
                    <a:pt x="208" y="164"/>
                  </a:lnTo>
                  <a:lnTo>
                    <a:pt x="205" y="164"/>
                  </a:lnTo>
                  <a:lnTo>
                    <a:pt x="203" y="167"/>
                  </a:lnTo>
                  <a:lnTo>
                    <a:pt x="198" y="167"/>
                  </a:lnTo>
                  <a:lnTo>
                    <a:pt x="195" y="169"/>
                  </a:lnTo>
                  <a:lnTo>
                    <a:pt x="190" y="172"/>
                  </a:lnTo>
                  <a:lnTo>
                    <a:pt x="187" y="172"/>
                  </a:lnTo>
                  <a:lnTo>
                    <a:pt x="187" y="174"/>
                  </a:lnTo>
                  <a:lnTo>
                    <a:pt x="185" y="174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0" y="179"/>
                  </a:lnTo>
                  <a:lnTo>
                    <a:pt x="177" y="179"/>
                  </a:lnTo>
                  <a:lnTo>
                    <a:pt x="177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7"/>
                  </a:lnTo>
                  <a:lnTo>
                    <a:pt x="175" y="187"/>
                  </a:lnTo>
                  <a:lnTo>
                    <a:pt x="175" y="187"/>
                  </a:lnTo>
                  <a:lnTo>
                    <a:pt x="175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80" y="190"/>
                  </a:lnTo>
                  <a:lnTo>
                    <a:pt x="180" y="190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7" y="185"/>
                  </a:lnTo>
                  <a:lnTo>
                    <a:pt x="190" y="185"/>
                  </a:lnTo>
                  <a:lnTo>
                    <a:pt x="192" y="182"/>
                  </a:lnTo>
                  <a:lnTo>
                    <a:pt x="195" y="179"/>
                  </a:lnTo>
                  <a:lnTo>
                    <a:pt x="198" y="179"/>
                  </a:lnTo>
                  <a:lnTo>
                    <a:pt x="203" y="177"/>
                  </a:lnTo>
                  <a:lnTo>
                    <a:pt x="205" y="177"/>
                  </a:lnTo>
                  <a:lnTo>
                    <a:pt x="208" y="174"/>
                  </a:lnTo>
                  <a:lnTo>
                    <a:pt x="210" y="174"/>
                  </a:lnTo>
                  <a:lnTo>
                    <a:pt x="216" y="174"/>
                  </a:lnTo>
                  <a:lnTo>
                    <a:pt x="218" y="172"/>
                  </a:lnTo>
                  <a:lnTo>
                    <a:pt x="221" y="172"/>
                  </a:lnTo>
                  <a:lnTo>
                    <a:pt x="223" y="172"/>
                  </a:lnTo>
                  <a:lnTo>
                    <a:pt x="228" y="172"/>
                  </a:lnTo>
                  <a:lnTo>
                    <a:pt x="231" y="172"/>
                  </a:lnTo>
                  <a:lnTo>
                    <a:pt x="233" y="172"/>
                  </a:lnTo>
                  <a:lnTo>
                    <a:pt x="236" y="172"/>
                  </a:lnTo>
                  <a:lnTo>
                    <a:pt x="241" y="172"/>
                  </a:lnTo>
                  <a:lnTo>
                    <a:pt x="244" y="172"/>
                  </a:lnTo>
                  <a:lnTo>
                    <a:pt x="246" y="172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9" y="169"/>
                  </a:lnTo>
                  <a:lnTo>
                    <a:pt x="259" y="169"/>
                  </a:lnTo>
                  <a:lnTo>
                    <a:pt x="259" y="167"/>
                  </a:lnTo>
                  <a:lnTo>
                    <a:pt x="259" y="167"/>
                  </a:lnTo>
                  <a:lnTo>
                    <a:pt x="256" y="167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4" y="164"/>
                  </a:lnTo>
                  <a:lnTo>
                    <a:pt x="251" y="164"/>
                  </a:lnTo>
                  <a:lnTo>
                    <a:pt x="251" y="164"/>
                  </a:lnTo>
                  <a:lnTo>
                    <a:pt x="249" y="162"/>
                  </a:lnTo>
                  <a:lnTo>
                    <a:pt x="244" y="162"/>
                  </a:lnTo>
                  <a:lnTo>
                    <a:pt x="241" y="162"/>
                  </a:lnTo>
                  <a:lnTo>
                    <a:pt x="236" y="162"/>
                  </a:lnTo>
                  <a:lnTo>
                    <a:pt x="233" y="162"/>
                  </a:lnTo>
                  <a:lnTo>
                    <a:pt x="228" y="162"/>
                  </a:lnTo>
                  <a:close/>
                  <a:moveTo>
                    <a:pt x="82" y="115"/>
                  </a:moveTo>
                  <a:lnTo>
                    <a:pt x="77" y="115"/>
                  </a:lnTo>
                  <a:lnTo>
                    <a:pt x="75" y="115"/>
                  </a:lnTo>
                  <a:lnTo>
                    <a:pt x="70" y="115"/>
                  </a:lnTo>
                  <a:lnTo>
                    <a:pt x="67" y="115"/>
                  </a:lnTo>
                  <a:lnTo>
                    <a:pt x="67" y="118"/>
                  </a:lnTo>
                  <a:lnTo>
                    <a:pt x="64" y="118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4" y="128"/>
                  </a:lnTo>
                  <a:lnTo>
                    <a:pt x="64" y="128"/>
                  </a:lnTo>
                  <a:lnTo>
                    <a:pt x="64" y="128"/>
                  </a:lnTo>
                  <a:lnTo>
                    <a:pt x="67" y="128"/>
                  </a:lnTo>
                  <a:lnTo>
                    <a:pt x="67" y="128"/>
                  </a:lnTo>
                  <a:lnTo>
                    <a:pt x="67" y="128"/>
                  </a:lnTo>
                  <a:lnTo>
                    <a:pt x="72" y="126"/>
                  </a:lnTo>
                  <a:lnTo>
                    <a:pt x="75" y="126"/>
                  </a:lnTo>
                  <a:lnTo>
                    <a:pt x="77" y="126"/>
                  </a:lnTo>
                  <a:lnTo>
                    <a:pt x="82" y="126"/>
                  </a:lnTo>
                  <a:lnTo>
                    <a:pt x="85" y="126"/>
                  </a:lnTo>
                  <a:lnTo>
                    <a:pt x="87" y="126"/>
                  </a:lnTo>
                  <a:lnTo>
                    <a:pt x="90" y="126"/>
                  </a:lnTo>
                  <a:lnTo>
                    <a:pt x="95" y="126"/>
                  </a:lnTo>
                  <a:lnTo>
                    <a:pt x="98" y="126"/>
                  </a:lnTo>
                  <a:lnTo>
                    <a:pt x="100" y="126"/>
                  </a:lnTo>
                  <a:lnTo>
                    <a:pt x="103" y="128"/>
                  </a:lnTo>
                  <a:lnTo>
                    <a:pt x="105" y="128"/>
                  </a:lnTo>
                  <a:lnTo>
                    <a:pt x="111" y="128"/>
                  </a:lnTo>
                  <a:lnTo>
                    <a:pt x="113" y="131"/>
                  </a:lnTo>
                  <a:lnTo>
                    <a:pt x="116" y="131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6" y="136"/>
                  </a:lnTo>
                  <a:lnTo>
                    <a:pt x="128" y="138"/>
                  </a:lnTo>
                  <a:lnTo>
                    <a:pt x="131" y="138"/>
                  </a:lnTo>
                  <a:lnTo>
                    <a:pt x="134" y="141"/>
                  </a:lnTo>
                  <a:lnTo>
                    <a:pt x="134" y="141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41" y="144"/>
                  </a:lnTo>
                  <a:lnTo>
                    <a:pt x="141" y="144"/>
                  </a:lnTo>
                  <a:lnTo>
                    <a:pt x="141" y="144"/>
                  </a:lnTo>
                  <a:lnTo>
                    <a:pt x="144" y="144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1" y="136"/>
                  </a:lnTo>
                  <a:lnTo>
                    <a:pt x="141" y="133"/>
                  </a:lnTo>
                  <a:lnTo>
                    <a:pt x="139" y="133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4" y="128"/>
                  </a:lnTo>
                  <a:lnTo>
                    <a:pt x="131" y="128"/>
                  </a:lnTo>
                  <a:lnTo>
                    <a:pt x="131" y="126"/>
                  </a:lnTo>
                  <a:lnTo>
                    <a:pt x="128" y="126"/>
                  </a:lnTo>
                  <a:lnTo>
                    <a:pt x="123" y="123"/>
                  </a:lnTo>
                  <a:lnTo>
                    <a:pt x="121" y="121"/>
                  </a:lnTo>
                  <a:lnTo>
                    <a:pt x="116" y="121"/>
                  </a:lnTo>
                  <a:lnTo>
                    <a:pt x="113" y="118"/>
                  </a:lnTo>
                  <a:lnTo>
                    <a:pt x="111" y="118"/>
                  </a:lnTo>
                  <a:lnTo>
                    <a:pt x="105" y="118"/>
                  </a:lnTo>
                  <a:lnTo>
                    <a:pt x="103" y="115"/>
                  </a:lnTo>
                  <a:lnTo>
                    <a:pt x="98" y="115"/>
                  </a:lnTo>
                  <a:lnTo>
                    <a:pt x="95" y="115"/>
                  </a:lnTo>
                  <a:lnTo>
                    <a:pt x="93" y="115"/>
                  </a:lnTo>
                  <a:lnTo>
                    <a:pt x="90" y="115"/>
                  </a:lnTo>
                  <a:lnTo>
                    <a:pt x="85" y="115"/>
                  </a:lnTo>
                  <a:lnTo>
                    <a:pt x="82" y="115"/>
                  </a:lnTo>
                  <a:close/>
                  <a:moveTo>
                    <a:pt x="228" y="115"/>
                  </a:moveTo>
                  <a:lnTo>
                    <a:pt x="226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16" y="115"/>
                  </a:lnTo>
                  <a:lnTo>
                    <a:pt x="213" y="118"/>
                  </a:lnTo>
                  <a:lnTo>
                    <a:pt x="208" y="118"/>
                  </a:lnTo>
                  <a:lnTo>
                    <a:pt x="205" y="118"/>
                  </a:lnTo>
                  <a:lnTo>
                    <a:pt x="203" y="121"/>
                  </a:lnTo>
                  <a:lnTo>
                    <a:pt x="198" y="121"/>
                  </a:lnTo>
                  <a:lnTo>
                    <a:pt x="195" y="123"/>
                  </a:lnTo>
                  <a:lnTo>
                    <a:pt x="190" y="126"/>
                  </a:lnTo>
                  <a:lnTo>
                    <a:pt x="187" y="126"/>
                  </a:lnTo>
                  <a:lnTo>
                    <a:pt x="187" y="128"/>
                  </a:lnTo>
                  <a:lnTo>
                    <a:pt x="185" y="128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0" y="133"/>
                  </a:lnTo>
                  <a:lnTo>
                    <a:pt x="177" y="133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5" y="136"/>
                  </a:lnTo>
                  <a:lnTo>
                    <a:pt x="175" y="138"/>
                  </a:lnTo>
                  <a:lnTo>
                    <a:pt x="175" y="138"/>
                  </a:lnTo>
                  <a:lnTo>
                    <a:pt x="175" y="141"/>
                  </a:lnTo>
                  <a:lnTo>
                    <a:pt x="175" y="141"/>
                  </a:lnTo>
                  <a:lnTo>
                    <a:pt x="175" y="141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5" y="141"/>
                  </a:lnTo>
                  <a:lnTo>
                    <a:pt x="185" y="141"/>
                  </a:lnTo>
                  <a:lnTo>
                    <a:pt x="187" y="138"/>
                  </a:lnTo>
                  <a:lnTo>
                    <a:pt x="190" y="138"/>
                  </a:lnTo>
                  <a:lnTo>
                    <a:pt x="192" y="136"/>
                  </a:lnTo>
                  <a:lnTo>
                    <a:pt x="195" y="133"/>
                  </a:lnTo>
                  <a:lnTo>
                    <a:pt x="198" y="133"/>
                  </a:lnTo>
                  <a:lnTo>
                    <a:pt x="203" y="131"/>
                  </a:lnTo>
                  <a:lnTo>
                    <a:pt x="205" y="131"/>
                  </a:lnTo>
                  <a:lnTo>
                    <a:pt x="208" y="128"/>
                  </a:lnTo>
                  <a:lnTo>
                    <a:pt x="210" y="128"/>
                  </a:lnTo>
                  <a:lnTo>
                    <a:pt x="216" y="128"/>
                  </a:lnTo>
                  <a:lnTo>
                    <a:pt x="218" y="126"/>
                  </a:lnTo>
                  <a:lnTo>
                    <a:pt x="221" y="126"/>
                  </a:lnTo>
                  <a:lnTo>
                    <a:pt x="223" y="126"/>
                  </a:lnTo>
                  <a:lnTo>
                    <a:pt x="228" y="126"/>
                  </a:lnTo>
                  <a:lnTo>
                    <a:pt x="231" y="126"/>
                  </a:lnTo>
                  <a:lnTo>
                    <a:pt x="233" y="126"/>
                  </a:lnTo>
                  <a:lnTo>
                    <a:pt x="236" y="126"/>
                  </a:lnTo>
                  <a:lnTo>
                    <a:pt x="241" y="126"/>
                  </a:lnTo>
                  <a:lnTo>
                    <a:pt x="244" y="126"/>
                  </a:lnTo>
                  <a:lnTo>
                    <a:pt x="246" y="126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9" y="123"/>
                  </a:lnTo>
                  <a:lnTo>
                    <a:pt x="259" y="123"/>
                  </a:lnTo>
                  <a:lnTo>
                    <a:pt x="259" y="121"/>
                  </a:lnTo>
                  <a:lnTo>
                    <a:pt x="259" y="121"/>
                  </a:lnTo>
                  <a:lnTo>
                    <a:pt x="256" y="121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4" y="118"/>
                  </a:lnTo>
                  <a:lnTo>
                    <a:pt x="251" y="118"/>
                  </a:lnTo>
                  <a:lnTo>
                    <a:pt x="251" y="115"/>
                  </a:lnTo>
                  <a:lnTo>
                    <a:pt x="249" y="115"/>
                  </a:lnTo>
                  <a:lnTo>
                    <a:pt x="244" y="115"/>
                  </a:lnTo>
                  <a:lnTo>
                    <a:pt x="241" y="115"/>
                  </a:lnTo>
                  <a:lnTo>
                    <a:pt x="236" y="115"/>
                  </a:lnTo>
                  <a:lnTo>
                    <a:pt x="233" y="115"/>
                  </a:lnTo>
                  <a:lnTo>
                    <a:pt x="228" y="115"/>
                  </a:lnTo>
                  <a:close/>
                  <a:moveTo>
                    <a:pt x="85" y="69"/>
                  </a:moveTo>
                  <a:lnTo>
                    <a:pt x="82" y="69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7" y="72"/>
                  </a:lnTo>
                  <a:lnTo>
                    <a:pt x="64" y="72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7" y="82"/>
                  </a:lnTo>
                  <a:lnTo>
                    <a:pt x="67" y="82"/>
                  </a:lnTo>
                  <a:lnTo>
                    <a:pt x="67" y="80"/>
                  </a:lnTo>
                  <a:lnTo>
                    <a:pt x="72" y="80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82" y="80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90" y="80"/>
                  </a:lnTo>
                  <a:lnTo>
                    <a:pt x="95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3" y="82"/>
                  </a:lnTo>
                  <a:lnTo>
                    <a:pt x="105" y="82"/>
                  </a:lnTo>
                  <a:lnTo>
                    <a:pt x="111" y="82"/>
                  </a:lnTo>
                  <a:lnTo>
                    <a:pt x="113" y="85"/>
                  </a:lnTo>
                  <a:lnTo>
                    <a:pt x="116" y="85"/>
                  </a:lnTo>
                  <a:lnTo>
                    <a:pt x="121" y="87"/>
                  </a:lnTo>
                  <a:lnTo>
                    <a:pt x="123" y="87"/>
                  </a:lnTo>
                  <a:lnTo>
                    <a:pt x="126" y="90"/>
                  </a:lnTo>
                  <a:lnTo>
                    <a:pt x="128" y="92"/>
                  </a:lnTo>
                  <a:lnTo>
                    <a:pt x="131" y="92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9" y="98"/>
                  </a:lnTo>
                  <a:lnTo>
                    <a:pt x="139" y="98"/>
                  </a:lnTo>
                  <a:lnTo>
                    <a:pt x="141" y="98"/>
                  </a:lnTo>
                  <a:lnTo>
                    <a:pt x="141" y="98"/>
                  </a:lnTo>
                  <a:lnTo>
                    <a:pt x="141" y="98"/>
                  </a:lnTo>
                  <a:lnTo>
                    <a:pt x="144" y="95"/>
                  </a:lnTo>
                  <a:lnTo>
                    <a:pt x="144" y="95"/>
                  </a:lnTo>
                  <a:lnTo>
                    <a:pt x="144" y="95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39" y="85"/>
                  </a:lnTo>
                  <a:lnTo>
                    <a:pt x="136" y="85"/>
                  </a:lnTo>
                  <a:lnTo>
                    <a:pt x="136" y="82"/>
                  </a:lnTo>
                  <a:lnTo>
                    <a:pt x="134" y="82"/>
                  </a:lnTo>
                  <a:lnTo>
                    <a:pt x="131" y="82"/>
                  </a:lnTo>
                  <a:lnTo>
                    <a:pt x="131" y="80"/>
                  </a:lnTo>
                  <a:lnTo>
                    <a:pt x="128" y="80"/>
                  </a:lnTo>
                  <a:lnTo>
                    <a:pt x="123" y="77"/>
                  </a:lnTo>
                  <a:lnTo>
                    <a:pt x="121" y="74"/>
                  </a:lnTo>
                  <a:lnTo>
                    <a:pt x="116" y="74"/>
                  </a:lnTo>
                  <a:lnTo>
                    <a:pt x="113" y="72"/>
                  </a:lnTo>
                  <a:lnTo>
                    <a:pt x="111" y="72"/>
                  </a:lnTo>
                  <a:lnTo>
                    <a:pt x="105" y="72"/>
                  </a:lnTo>
                  <a:lnTo>
                    <a:pt x="103" y="69"/>
                  </a:lnTo>
                  <a:lnTo>
                    <a:pt x="98" y="69"/>
                  </a:lnTo>
                  <a:lnTo>
                    <a:pt x="95" y="69"/>
                  </a:lnTo>
                  <a:lnTo>
                    <a:pt x="93" y="69"/>
                  </a:lnTo>
                  <a:lnTo>
                    <a:pt x="90" y="69"/>
                  </a:lnTo>
                  <a:lnTo>
                    <a:pt x="85" y="69"/>
                  </a:lnTo>
                  <a:close/>
                  <a:moveTo>
                    <a:pt x="228" y="69"/>
                  </a:moveTo>
                  <a:lnTo>
                    <a:pt x="226" y="69"/>
                  </a:lnTo>
                  <a:lnTo>
                    <a:pt x="223" y="69"/>
                  </a:lnTo>
                  <a:lnTo>
                    <a:pt x="221" y="69"/>
                  </a:lnTo>
                  <a:lnTo>
                    <a:pt x="216" y="69"/>
                  </a:lnTo>
                  <a:lnTo>
                    <a:pt x="213" y="72"/>
                  </a:lnTo>
                  <a:lnTo>
                    <a:pt x="208" y="72"/>
                  </a:lnTo>
                  <a:lnTo>
                    <a:pt x="205" y="72"/>
                  </a:lnTo>
                  <a:lnTo>
                    <a:pt x="203" y="74"/>
                  </a:lnTo>
                  <a:lnTo>
                    <a:pt x="198" y="74"/>
                  </a:lnTo>
                  <a:lnTo>
                    <a:pt x="195" y="77"/>
                  </a:lnTo>
                  <a:lnTo>
                    <a:pt x="190" y="80"/>
                  </a:lnTo>
                  <a:lnTo>
                    <a:pt x="187" y="80"/>
                  </a:lnTo>
                  <a:lnTo>
                    <a:pt x="187" y="82"/>
                  </a:lnTo>
                  <a:lnTo>
                    <a:pt x="185" y="82"/>
                  </a:lnTo>
                  <a:lnTo>
                    <a:pt x="182" y="82"/>
                  </a:lnTo>
                  <a:lnTo>
                    <a:pt x="182" y="85"/>
                  </a:lnTo>
                  <a:lnTo>
                    <a:pt x="180" y="85"/>
                  </a:lnTo>
                  <a:lnTo>
                    <a:pt x="177" y="87"/>
                  </a:lnTo>
                  <a:lnTo>
                    <a:pt x="177" y="90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5" y="92"/>
                  </a:lnTo>
                  <a:lnTo>
                    <a:pt x="175" y="92"/>
                  </a:lnTo>
                  <a:lnTo>
                    <a:pt x="175" y="92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0" y="98"/>
                  </a:lnTo>
                  <a:lnTo>
                    <a:pt x="180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7" y="92"/>
                  </a:lnTo>
                  <a:lnTo>
                    <a:pt x="190" y="92"/>
                  </a:lnTo>
                  <a:lnTo>
                    <a:pt x="192" y="90"/>
                  </a:lnTo>
                  <a:lnTo>
                    <a:pt x="195" y="87"/>
                  </a:lnTo>
                  <a:lnTo>
                    <a:pt x="198" y="87"/>
                  </a:lnTo>
                  <a:lnTo>
                    <a:pt x="203" y="85"/>
                  </a:lnTo>
                  <a:lnTo>
                    <a:pt x="205" y="85"/>
                  </a:lnTo>
                  <a:lnTo>
                    <a:pt x="208" y="82"/>
                  </a:lnTo>
                  <a:lnTo>
                    <a:pt x="210" y="82"/>
                  </a:lnTo>
                  <a:lnTo>
                    <a:pt x="216" y="82"/>
                  </a:lnTo>
                  <a:lnTo>
                    <a:pt x="218" y="80"/>
                  </a:lnTo>
                  <a:lnTo>
                    <a:pt x="221" y="80"/>
                  </a:lnTo>
                  <a:lnTo>
                    <a:pt x="223" y="80"/>
                  </a:lnTo>
                  <a:lnTo>
                    <a:pt x="228" y="80"/>
                  </a:lnTo>
                  <a:lnTo>
                    <a:pt x="231" y="80"/>
                  </a:lnTo>
                  <a:lnTo>
                    <a:pt x="233" y="80"/>
                  </a:lnTo>
                  <a:lnTo>
                    <a:pt x="236" y="80"/>
                  </a:lnTo>
                  <a:lnTo>
                    <a:pt x="241" y="80"/>
                  </a:lnTo>
                  <a:lnTo>
                    <a:pt x="244" y="80"/>
                  </a:lnTo>
                  <a:lnTo>
                    <a:pt x="246" y="80"/>
                  </a:lnTo>
                  <a:lnTo>
                    <a:pt x="251" y="82"/>
                  </a:lnTo>
                  <a:lnTo>
                    <a:pt x="251" y="82"/>
                  </a:lnTo>
                  <a:lnTo>
                    <a:pt x="251" y="82"/>
                  </a:lnTo>
                  <a:lnTo>
                    <a:pt x="254" y="82"/>
                  </a:lnTo>
                  <a:lnTo>
                    <a:pt x="254" y="82"/>
                  </a:lnTo>
                  <a:lnTo>
                    <a:pt x="254" y="82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77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6" y="74"/>
                  </a:lnTo>
                  <a:lnTo>
                    <a:pt x="256" y="72"/>
                  </a:lnTo>
                  <a:lnTo>
                    <a:pt x="256" y="72"/>
                  </a:lnTo>
                  <a:lnTo>
                    <a:pt x="256" y="72"/>
                  </a:lnTo>
                  <a:lnTo>
                    <a:pt x="254" y="72"/>
                  </a:lnTo>
                  <a:lnTo>
                    <a:pt x="251" y="72"/>
                  </a:lnTo>
                  <a:lnTo>
                    <a:pt x="251" y="69"/>
                  </a:lnTo>
                  <a:lnTo>
                    <a:pt x="249" y="69"/>
                  </a:lnTo>
                  <a:lnTo>
                    <a:pt x="244" y="69"/>
                  </a:lnTo>
                  <a:lnTo>
                    <a:pt x="241" y="69"/>
                  </a:lnTo>
                  <a:lnTo>
                    <a:pt x="236" y="69"/>
                  </a:lnTo>
                  <a:lnTo>
                    <a:pt x="233" y="69"/>
                  </a:lnTo>
                  <a:lnTo>
                    <a:pt x="228" y="69"/>
                  </a:lnTo>
                  <a:close/>
                  <a:moveTo>
                    <a:pt x="11" y="64"/>
                  </a:moveTo>
                  <a:lnTo>
                    <a:pt x="36" y="64"/>
                  </a:lnTo>
                  <a:lnTo>
                    <a:pt x="36" y="213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41" y="218"/>
                  </a:lnTo>
                  <a:lnTo>
                    <a:pt x="44" y="218"/>
                  </a:lnTo>
                  <a:lnTo>
                    <a:pt x="49" y="218"/>
                  </a:lnTo>
                  <a:lnTo>
                    <a:pt x="54" y="218"/>
                  </a:lnTo>
                  <a:lnTo>
                    <a:pt x="59" y="218"/>
                  </a:lnTo>
                  <a:lnTo>
                    <a:pt x="62" y="218"/>
                  </a:lnTo>
                  <a:lnTo>
                    <a:pt x="70" y="218"/>
                  </a:lnTo>
                  <a:lnTo>
                    <a:pt x="75" y="218"/>
                  </a:lnTo>
                  <a:lnTo>
                    <a:pt x="80" y="218"/>
                  </a:lnTo>
                  <a:lnTo>
                    <a:pt x="85" y="218"/>
                  </a:lnTo>
                  <a:lnTo>
                    <a:pt x="93" y="218"/>
                  </a:lnTo>
                  <a:lnTo>
                    <a:pt x="95" y="220"/>
                  </a:lnTo>
                  <a:lnTo>
                    <a:pt x="98" y="220"/>
                  </a:lnTo>
                  <a:lnTo>
                    <a:pt x="100" y="220"/>
                  </a:lnTo>
                  <a:lnTo>
                    <a:pt x="105" y="220"/>
                  </a:lnTo>
                  <a:lnTo>
                    <a:pt x="108" y="220"/>
                  </a:lnTo>
                  <a:lnTo>
                    <a:pt x="111" y="223"/>
                  </a:lnTo>
                  <a:lnTo>
                    <a:pt x="113" y="223"/>
                  </a:lnTo>
                  <a:lnTo>
                    <a:pt x="118" y="226"/>
                  </a:lnTo>
                  <a:lnTo>
                    <a:pt x="121" y="226"/>
                  </a:lnTo>
                  <a:lnTo>
                    <a:pt x="123" y="228"/>
                  </a:lnTo>
                  <a:lnTo>
                    <a:pt x="126" y="228"/>
                  </a:lnTo>
                  <a:lnTo>
                    <a:pt x="128" y="231"/>
                  </a:lnTo>
                  <a:lnTo>
                    <a:pt x="131" y="231"/>
                  </a:lnTo>
                  <a:lnTo>
                    <a:pt x="134" y="233"/>
                  </a:lnTo>
                  <a:lnTo>
                    <a:pt x="136" y="236"/>
                  </a:lnTo>
                  <a:lnTo>
                    <a:pt x="139" y="238"/>
                  </a:lnTo>
                  <a:lnTo>
                    <a:pt x="141" y="238"/>
                  </a:lnTo>
                  <a:lnTo>
                    <a:pt x="144" y="241"/>
                  </a:lnTo>
                  <a:lnTo>
                    <a:pt x="146" y="243"/>
                  </a:lnTo>
                  <a:lnTo>
                    <a:pt x="149" y="246"/>
                  </a:lnTo>
                  <a:lnTo>
                    <a:pt x="149" y="249"/>
                  </a:lnTo>
                  <a:lnTo>
                    <a:pt x="151" y="254"/>
                  </a:lnTo>
                  <a:lnTo>
                    <a:pt x="154" y="256"/>
                  </a:lnTo>
                  <a:lnTo>
                    <a:pt x="154" y="256"/>
                  </a:lnTo>
                  <a:lnTo>
                    <a:pt x="154" y="259"/>
                  </a:lnTo>
                  <a:lnTo>
                    <a:pt x="154" y="259"/>
                  </a:lnTo>
                  <a:lnTo>
                    <a:pt x="154" y="259"/>
                  </a:lnTo>
                  <a:lnTo>
                    <a:pt x="154" y="261"/>
                  </a:lnTo>
                  <a:lnTo>
                    <a:pt x="157" y="261"/>
                  </a:lnTo>
                  <a:lnTo>
                    <a:pt x="11" y="261"/>
                  </a:lnTo>
                  <a:lnTo>
                    <a:pt x="11" y="64"/>
                  </a:lnTo>
                  <a:close/>
                  <a:moveTo>
                    <a:pt x="277" y="218"/>
                  </a:moveTo>
                  <a:lnTo>
                    <a:pt x="277" y="218"/>
                  </a:lnTo>
                  <a:lnTo>
                    <a:pt x="280" y="218"/>
                  </a:lnTo>
                  <a:lnTo>
                    <a:pt x="280" y="218"/>
                  </a:lnTo>
                  <a:lnTo>
                    <a:pt x="280" y="218"/>
                  </a:lnTo>
                  <a:lnTo>
                    <a:pt x="282" y="218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82" y="213"/>
                  </a:lnTo>
                  <a:lnTo>
                    <a:pt x="282" y="62"/>
                  </a:lnTo>
                  <a:lnTo>
                    <a:pt x="308" y="62"/>
                  </a:lnTo>
                  <a:lnTo>
                    <a:pt x="308" y="261"/>
                  </a:lnTo>
                  <a:lnTo>
                    <a:pt x="162" y="261"/>
                  </a:lnTo>
                  <a:lnTo>
                    <a:pt x="164" y="261"/>
                  </a:lnTo>
                  <a:lnTo>
                    <a:pt x="164" y="259"/>
                  </a:lnTo>
                  <a:lnTo>
                    <a:pt x="164" y="259"/>
                  </a:lnTo>
                  <a:lnTo>
                    <a:pt x="164" y="259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7" y="254"/>
                  </a:lnTo>
                  <a:lnTo>
                    <a:pt x="169" y="249"/>
                  </a:lnTo>
                  <a:lnTo>
                    <a:pt x="169" y="246"/>
                  </a:lnTo>
                  <a:lnTo>
                    <a:pt x="172" y="243"/>
                  </a:lnTo>
                  <a:lnTo>
                    <a:pt x="175" y="241"/>
                  </a:lnTo>
                  <a:lnTo>
                    <a:pt x="177" y="238"/>
                  </a:lnTo>
                  <a:lnTo>
                    <a:pt x="180" y="238"/>
                  </a:lnTo>
                  <a:lnTo>
                    <a:pt x="182" y="236"/>
                  </a:lnTo>
                  <a:lnTo>
                    <a:pt x="185" y="233"/>
                  </a:lnTo>
                  <a:lnTo>
                    <a:pt x="187" y="231"/>
                  </a:lnTo>
                  <a:lnTo>
                    <a:pt x="190" y="231"/>
                  </a:lnTo>
                  <a:lnTo>
                    <a:pt x="192" y="228"/>
                  </a:lnTo>
                  <a:lnTo>
                    <a:pt x="195" y="228"/>
                  </a:lnTo>
                  <a:lnTo>
                    <a:pt x="198" y="226"/>
                  </a:lnTo>
                  <a:lnTo>
                    <a:pt x="200" y="226"/>
                  </a:lnTo>
                  <a:lnTo>
                    <a:pt x="205" y="223"/>
                  </a:lnTo>
                  <a:lnTo>
                    <a:pt x="208" y="223"/>
                  </a:lnTo>
                  <a:lnTo>
                    <a:pt x="210" y="220"/>
                  </a:lnTo>
                  <a:lnTo>
                    <a:pt x="213" y="220"/>
                  </a:lnTo>
                  <a:lnTo>
                    <a:pt x="218" y="220"/>
                  </a:lnTo>
                  <a:lnTo>
                    <a:pt x="221" y="220"/>
                  </a:lnTo>
                  <a:lnTo>
                    <a:pt x="223" y="220"/>
                  </a:lnTo>
                  <a:lnTo>
                    <a:pt x="226" y="218"/>
                  </a:lnTo>
                  <a:lnTo>
                    <a:pt x="233" y="218"/>
                  </a:lnTo>
                  <a:lnTo>
                    <a:pt x="239" y="218"/>
                  </a:lnTo>
                  <a:lnTo>
                    <a:pt x="244" y="218"/>
                  </a:lnTo>
                  <a:lnTo>
                    <a:pt x="249" y="218"/>
                  </a:lnTo>
                  <a:lnTo>
                    <a:pt x="256" y="218"/>
                  </a:lnTo>
                  <a:lnTo>
                    <a:pt x="259" y="218"/>
                  </a:lnTo>
                  <a:lnTo>
                    <a:pt x="264" y="218"/>
                  </a:lnTo>
                  <a:lnTo>
                    <a:pt x="269" y="218"/>
                  </a:lnTo>
                  <a:lnTo>
                    <a:pt x="274" y="218"/>
                  </a:lnTo>
                  <a:lnTo>
                    <a:pt x="277" y="218"/>
                  </a:lnTo>
                  <a:lnTo>
                    <a:pt x="277" y="218"/>
                  </a:lnTo>
                  <a:close/>
                  <a:moveTo>
                    <a:pt x="47" y="62"/>
                  </a:moveTo>
                  <a:lnTo>
                    <a:pt x="47" y="62"/>
                  </a:lnTo>
                  <a:lnTo>
                    <a:pt x="47" y="62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16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9" y="13"/>
                  </a:lnTo>
                  <a:lnTo>
                    <a:pt x="64" y="10"/>
                  </a:lnTo>
                  <a:lnTo>
                    <a:pt x="67" y="10"/>
                  </a:lnTo>
                  <a:lnTo>
                    <a:pt x="72" y="10"/>
                  </a:lnTo>
                  <a:lnTo>
                    <a:pt x="75" y="10"/>
                  </a:lnTo>
                  <a:lnTo>
                    <a:pt x="80" y="10"/>
                  </a:lnTo>
                  <a:lnTo>
                    <a:pt x="85" y="10"/>
                  </a:lnTo>
                  <a:lnTo>
                    <a:pt x="87" y="10"/>
                  </a:lnTo>
                  <a:lnTo>
                    <a:pt x="93" y="10"/>
                  </a:lnTo>
                  <a:lnTo>
                    <a:pt x="95" y="13"/>
                  </a:lnTo>
                  <a:lnTo>
                    <a:pt x="100" y="13"/>
                  </a:lnTo>
                  <a:lnTo>
                    <a:pt x="103" y="13"/>
                  </a:lnTo>
                  <a:lnTo>
                    <a:pt x="105" y="13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6" y="18"/>
                  </a:lnTo>
                  <a:lnTo>
                    <a:pt x="118" y="18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6" y="23"/>
                  </a:lnTo>
                  <a:lnTo>
                    <a:pt x="128" y="23"/>
                  </a:lnTo>
                  <a:lnTo>
                    <a:pt x="131" y="26"/>
                  </a:lnTo>
                  <a:lnTo>
                    <a:pt x="134" y="26"/>
                  </a:lnTo>
                  <a:lnTo>
                    <a:pt x="136" y="28"/>
                  </a:lnTo>
                  <a:lnTo>
                    <a:pt x="139" y="31"/>
                  </a:lnTo>
                  <a:lnTo>
                    <a:pt x="141" y="31"/>
                  </a:lnTo>
                  <a:lnTo>
                    <a:pt x="144" y="34"/>
                  </a:lnTo>
                  <a:lnTo>
                    <a:pt x="146" y="36"/>
                  </a:lnTo>
                  <a:lnTo>
                    <a:pt x="149" y="39"/>
                  </a:lnTo>
                  <a:lnTo>
                    <a:pt x="151" y="41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236"/>
                  </a:lnTo>
                  <a:lnTo>
                    <a:pt x="151" y="236"/>
                  </a:lnTo>
                  <a:lnTo>
                    <a:pt x="149" y="233"/>
                  </a:lnTo>
                  <a:lnTo>
                    <a:pt x="146" y="231"/>
                  </a:lnTo>
                  <a:lnTo>
                    <a:pt x="146" y="228"/>
                  </a:lnTo>
                  <a:lnTo>
                    <a:pt x="144" y="226"/>
                  </a:lnTo>
                  <a:lnTo>
                    <a:pt x="141" y="226"/>
                  </a:lnTo>
                  <a:lnTo>
                    <a:pt x="139" y="223"/>
                  </a:lnTo>
                  <a:lnTo>
                    <a:pt x="136" y="220"/>
                  </a:lnTo>
                  <a:lnTo>
                    <a:pt x="134" y="220"/>
                  </a:lnTo>
                  <a:lnTo>
                    <a:pt x="128" y="218"/>
                  </a:lnTo>
                  <a:lnTo>
                    <a:pt x="126" y="218"/>
                  </a:lnTo>
                  <a:lnTo>
                    <a:pt x="123" y="215"/>
                  </a:lnTo>
                  <a:lnTo>
                    <a:pt x="121" y="215"/>
                  </a:lnTo>
                  <a:lnTo>
                    <a:pt x="118" y="215"/>
                  </a:lnTo>
                  <a:lnTo>
                    <a:pt x="116" y="213"/>
                  </a:lnTo>
                  <a:lnTo>
                    <a:pt x="113" y="213"/>
                  </a:lnTo>
                  <a:lnTo>
                    <a:pt x="111" y="210"/>
                  </a:lnTo>
                  <a:lnTo>
                    <a:pt x="105" y="210"/>
                  </a:lnTo>
                  <a:lnTo>
                    <a:pt x="103" y="210"/>
                  </a:lnTo>
                  <a:lnTo>
                    <a:pt x="100" y="210"/>
                  </a:lnTo>
                  <a:lnTo>
                    <a:pt x="95" y="208"/>
                  </a:lnTo>
                  <a:lnTo>
                    <a:pt x="90" y="208"/>
                  </a:lnTo>
                  <a:lnTo>
                    <a:pt x="82" y="208"/>
                  </a:lnTo>
                  <a:lnTo>
                    <a:pt x="77" y="208"/>
                  </a:lnTo>
                  <a:lnTo>
                    <a:pt x="72" y="208"/>
                  </a:lnTo>
                  <a:lnTo>
                    <a:pt x="70" y="208"/>
                  </a:lnTo>
                  <a:lnTo>
                    <a:pt x="62" y="208"/>
                  </a:lnTo>
                  <a:lnTo>
                    <a:pt x="57" y="208"/>
                  </a:lnTo>
                  <a:lnTo>
                    <a:pt x="52" y="208"/>
                  </a:lnTo>
                  <a:lnTo>
                    <a:pt x="47" y="208"/>
                  </a:lnTo>
                  <a:lnTo>
                    <a:pt x="47" y="62"/>
                  </a:lnTo>
                  <a:close/>
                  <a:moveTo>
                    <a:pt x="164" y="46"/>
                  </a:moveTo>
                  <a:lnTo>
                    <a:pt x="164" y="44"/>
                  </a:lnTo>
                  <a:lnTo>
                    <a:pt x="167" y="41"/>
                  </a:lnTo>
                  <a:lnTo>
                    <a:pt x="169" y="39"/>
                  </a:lnTo>
                  <a:lnTo>
                    <a:pt x="172" y="36"/>
                  </a:lnTo>
                  <a:lnTo>
                    <a:pt x="175" y="34"/>
                  </a:lnTo>
                  <a:lnTo>
                    <a:pt x="177" y="31"/>
                  </a:lnTo>
                  <a:lnTo>
                    <a:pt x="180" y="31"/>
                  </a:lnTo>
                  <a:lnTo>
                    <a:pt x="182" y="28"/>
                  </a:lnTo>
                  <a:lnTo>
                    <a:pt x="185" y="26"/>
                  </a:lnTo>
                  <a:lnTo>
                    <a:pt x="187" y="26"/>
                  </a:lnTo>
                  <a:lnTo>
                    <a:pt x="190" y="23"/>
                  </a:lnTo>
                  <a:lnTo>
                    <a:pt x="192" y="23"/>
                  </a:lnTo>
                  <a:lnTo>
                    <a:pt x="195" y="21"/>
                  </a:lnTo>
                  <a:lnTo>
                    <a:pt x="198" y="21"/>
                  </a:lnTo>
                  <a:lnTo>
                    <a:pt x="200" y="18"/>
                  </a:lnTo>
                  <a:lnTo>
                    <a:pt x="203" y="18"/>
                  </a:lnTo>
                  <a:lnTo>
                    <a:pt x="205" y="16"/>
                  </a:lnTo>
                  <a:lnTo>
                    <a:pt x="208" y="16"/>
                  </a:lnTo>
                  <a:lnTo>
                    <a:pt x="213" y="13"/>
                  </a:lnTo>
                  <a:lnTo>
                    <a:pt x="216" y="13"/>
                  </a:lnTo>
                  <a:lnTo>
                    <a:pt x="218" y="13"/>
                  </a:lnTo>
                  <a:lnTo>
                    <a:pt x="223" y="13"/>
                  </a:lnTo>
                  <a:lnTo>
                    <a:pt x="226" y="10"/>
                  </a:lnTo>
                  <a:lnTo>
                    <a:pt x="231" y="10"/>
                  </a:lnTo>
                  <a:lnTo>
                    <a:pt x="233" y="10"/>
                  </a:lnTo>
                  <a:lnTo>
                    <a:pt x="239" y="10"/>
                  </a:lnTo>
                  <a:lnTo>
                    <a:pt x="244" y="10"/>
                  </a:lnTo>
                  <a:lnTo>
                    <a:pt x="246" y="10"/>
                  </a:lnTo>
                  <a:lnTo>
                    <a:pt x="251" y="10"/>
                  </a:lnTo>
                  <a:lnTo>
                    <a:pt x="254" y="10"/>
                  </a:lnTo>
                  <a:lnTo>
                    <a:pt x="259" y="13"/>
                  </a:lnTo>
                  <a:lnTo>
                    <a:pt x="264" y="13"/>
                  </a:lnTo>
                  <a:lnTo>
                    <a:pt x="267" y="13"/>
                  </a:lnTo>
                  <a:lnTo>
                    <a:pt x="272" y="16"/>
                  </a:lnTo>
                  <a:lnTo>
                    <a:pt x="272" y="208"/>
                  </a:lnTo>
                  <a:lnTo>
                    <a:pt x="267" y="208"/>
                  </a:lnTo>
                  <a:lnTo>
                    <a:pt x="262" y="208"/>
                  </a:lnTo>
                  <a:lnTo>
                    <a:pt x="256" y="208"/>
                  </a:lnTo>
                  <a:lnTo>
                    <a:pt x="249" y="208"/>
                  </a:lnTo>
                  <a:lnTo>
                    <a:pt x="246" y="208"/>
                  </a:lnTo>
                  <a:lnTo>
                    <a:pt x="241" y="208"/>
                  </a:lnTo>
                  <a:lnTo>
                    <a:pt x="236" y="208"/>
                  </a:lnTo>
                  <a:lnTo>
                    <a:pt x="228" y="208"/>
                  </a:lnTo>
                  <a:lnTo>
                    <a:pt x="223" y="208"/>
                  </a:lnTo>
                  <a:lnTo>
                    <a:pt x="218" y="210"/>
                  </a:lnTo>
                  <a:lnTo>
                    <a:pt x="216" y="210"/>
                  </a:lnTo>
                  <a:lnTo>
                    <a:pt x="213" y="210"/>
                  </a:lnTo>
                  <a:lnTo>
                    <a:pt x="210" y="210"/>
                  </a:lnTo>
                  <a:lnTo>
                    <a:pt x="205" y="213"/>
                  </a:lnTo>
                  <a:lnTo>
                    <a:pt x="203" y="213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5" y="215"/>
                  </a:lnTo>
                  <a:lnTo>
                    <a:pt x="192" y="218"/>
                  </a:lnTo>
                  <a:lnTo>
                    <a:pt x="190" y="218"/>
                  </a:lnTo>
                  <a:lnTo>
                    <a:pt x="185" y="220"/>
                  </a:lnTo>
                  <a:lnTo>
                    <a:pt x="182" y="220"/>
                  </a:lnTo>
                  <a:lnTo>
                    <a:pt x="180" y="223"/>
                  </a:lnTo>
                  <a:lnTo>
                    <a:pt x="177" y="226"/>
                  </a:lnTo>
                  <a:lnTo>
                    <a:pt x="175" y="226"/>
                  </a:lnTo>
                  <a:lnTo>
                    <a:pt x="172" y="228"/>
                  </a:lnTo>
                  <a:lnTo>
                    <a:pt x="172" y="231"/>
                  </a:lnTo>
                  <a:lnTo>
                    <a:pt x="169" y="233"/>
                  </a:lnTo>
                  <a:lnTo>
                    <a:pt x="167" y="236"/>
                  </a:lnTo>
                  <a:lnTo>
                    <a:pt x="164" y="236"/>
                  </a:lnTo>
                  <a:lnTo>
                    <a:pt x="164" y="46"/>
                  </a:lnTo>
                  <a:close/>
                  <a:moveTo>
                    <a:pt x="239" y="0"/>
                  </a:moveTo>
                  <a:lnTo>
                    <a:pt x="233" y="0"/>
                  </a:lnTo>
                  <a:lnTo>
                    <a:pt x="231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18" y="3"/>
                  </a:lnTo>
                  <a:lnTo>
                    <a:pt x="216" y="3"/>
                  </a:lnTo>
                  <a:lnTo>
                    <a:pt x="213" y="3"/>
                  </a:lnTo>
                  <a:lnTo>
                    <a:pt x="208" y="5"/>
                  </a:lnTo>
                  <a:lnTo>
                    <a:pt x="205" y="5"/>
                  </a:lnTo>
                  <a:lnTo>
                    <a:pt x="203" y="5"/>
                  </a:lnTo>
                  <a:lnTo>
                    <a:pt x="200" y="8"/>
                  </a:lnTo>
                  <a:lnTo>
                    <a:pt x="198" y="8"/>
                  </a:lnTo>
                  <a:lnTo>
                    <a:pt x="195" y="10"/>
                  </a:lnTo>
                  <a:lnTo>
                    <a:pt x="192" y="10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5" y="16"/>
                  </a:lnTo>
                  <a:lnTo>
                    <a:pt x="182" y="16"/>
                  </a:lnTo>
                  <a:lnTo>
                    <a:pt x="180" y="18"/>
                  </a:lnTo>
                  <a:lnTo>
                    <a:pt x="177" y="18"/>
                  </a:lnTo>
                  <a:lnTo>
                    <a:pt x="172" y="23"/>
                  </a:lnTo>
                  <a:lnTo>
                    <a:pt x="169" y="26"/>
                  </a:lnTo>
                  <a:lnTo>
                    <a:pt x="167" y="28"/>
                  </a:lnTo>
                  <a:lnTo>
                    <a:pt x="164" y="31"/>
                  </a:lnTo>
                  <a:lnTo>
                    <a:pt x="162" y="34"/>
                  </a:lnTo>
                  <a:lnTo>
                    <a:pt x="159" y="36"/>
                  </a:lnTo>
                  <a:lnTo>
                    <a:pt x="157" y="34"/>
                  </a:lnTo>
                  <a:lnTo>
                    <a:pt x="154" y="31"/>
                  </a:lnTo>
                  <a:lnTo>
                    <a:pt x="151" y="28"/>
                  </a:lnTo>
                  <a:lnTo>
                    <a:pt x="149" y="26"/>
                  </a:lnTo>
                  <a:lnTo>
                    <a:pt x="146" y="23"/>
                  </a:lnTo>
                  <a:lnTo>
                    <a:pt x="141" y="18"/>
                  </a:lnTo>
                  <a:lnTo>
                    <a:pt x="139" y="18"/>
                  </a:lnTo>
                  <a:lnTo>
                    <a:pt x="136" y="16"/>
                  </a:lnTo>
                  <a:lnTo>
                    <a:pt x="134" y="16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26" y="10"/>
                  </a:lnTo>
                  <a:lnTo>
                    <a:pt x="123" y="10"/>
                  </a:lnTo>
                  <a:lnTo>
                    <a:pt x="121" y="8"/>
                  </a:lnTo>
                  <a:lnTo>
                    <a:pt x="118" y="8"/>
                  </a:lnTo>
                  <a:lnTo>
                    <a:pt x="116" y="5"/>
                  </a:lnTo>
                  <a:lnTo>
                    <a:pt x="113" y="5"/>
                  </a:lnTo>
                  <a:lnTo>
                    <a:pt x="111" y="5"/>
                  </a:lnTo>
                  <a:lnTo>
                    <a:pt x="105" y="3"/>
                  </a:lnTo>
                  <a:lnTo>
                    <a:pt x="103" y="3"/>
                  </a:lnTo>
                  <a:lnTo>
                    <a:pt x="100" y="3"/>
                  </a:lnTo>
                  <a:lnTo>
                    <a:pt x="95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4" y="0"/>
                  </a:lnTo>
                  <a:lnTo>
                    <a:pt x="59" y="3"/>
                  </a:lnTo>
                  <a:lnTo>
                    <a:pt x="57" y="3"/>
                  </a:lnTo>
                  <a:lnTo>
                    <a:pt x="52" y="3"/>
                  </a:lnTo>
                  <a:lnTo>
                    <a:pt x="47" y="5"/>
                  </a:lnTo>
                  <a:lnTo>
                    <a:pt x="41" y="5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54"/>
                  </a:lnTo>
                  <a:lnTo>
                    <a:pt x="6" y="54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2"/>
                  </a:lnTo>
                  <a:lnTo>
                    <a:pt x="0" y="267"/>
                  </a:lnTo>
                  <a:lnTo>
                    <a:pt x="0" y="267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0" y="269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6" y="272"/>
                  </a:lnTo>
                  <a:lnTo>
                    <a:pt x="313" y="272"/>
                  </a:lnTo>
                  <a:lnTo>
                    <a:pt x="313" y="272"/>
                  </a:lnTo>
                  <a:lnTo>
                    <a:pt x="315" y="272"/>
                  </a:lnTo>
                  <a:lnTo>
                    <a:pt x="315" y="272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67"/>
                  </a:lnTo>
                  <a:lnTo>
                    <a:pt x="318" y="267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7"/>
                  </a:lnTo>
                  <a:lnTo>
                    <a:pt x="318" y="54"/>
                  </a:lnTo>
                  <a:lnTo>
                    <a:pt x="318" y="54"/>
                  </a:lnTo>
                  <a:lnTo>
                    <a:pt x="315" y="54"/>
                  </a:lnTo>
                  <a:lnTo>
                    <a:pt x="315" y="54"/>
                  </a:lnTo>
                  <a:lnTo>
                    <a:pt x="313" y="51"/>
                  </a:lnTo>
                  <a:lnTo>
                    <a:pt x="313" y="51"/>
                  </a:lnTo>
                  <a:lnTo>
                    <a:pt x="282" y="51"/>
                  </a:lnTo>
                  <a:lnTo>
                    <a:pt x="282" y="10"/>
                  </a:lnTo>
                  <a:lnTo>
                    <a:pt x="282" y="10"/>
                  </a:lnTo>
                  <a:lnTo>
                    <a:pt x="282" y="10"/>
                  </a:lnTo>
                  <a:lnTo>
                    <a:pt x="282" y="8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0" y="8"/>
                  </a:lnTo>
                  <a:lnTo>
                    <a:pt x="280" y="8"/>
                  </a:lnTo>
                  <a:lnTo>
                    <a:pt x="277" y="5"/>
                  </a:lnTo>
                  <a:lnTo>
                    <a:pt x="272" y="5"/>
                  </a:lnTo>
                  <a:lnTo>
                    <a:pt x="267" y="3"/>
                  </a:lnTo>
                  <a:lnTo>
                    <a:pt x="264" y="3"/>
                  </a:lnTo>
                  <a:lnTo>
                    <a:pt x="259" y="3"/>
                  </a:lnTo>
                  <a:lnTo>
                    <a:pt x="254" y="0"/>
                  </a:lnTo>
                  <a:lnTo>
                    <a:pt x="249" y="0"/>
                  </a:lnTo>
                  <a:lnTo>
                    <a:pt x="244" y="0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7" name="Group 262">
            <a:extLst>
              <a:ext uri="{FF2B5EF4-FFF2-40B4-BE49-F238E27FC236}">
                <a16:creationId xmlns:a16="http://schemas.microsoft.com/office/drawing/2014/main" id="{1D8283C9-195D-4804-8761-C8CBC2FD7B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9881" y="5468000"/>
            <a:ext cx="760413" cy="758825"/>
            <a:chOff x="846" y="3636"/>
            <a:chExt cx="479" cy="478"/>
          </a:xfrm>
        </p:grpSpPr>
        <p:sp>
          <p:nvSpPr>
            <p:cNvPr id="298" name="AutoShape 261">
              <a:extLst>
                <a:ext uri="{FF2B5EF4-FFF2-40B4-BE49-F238E27FC236}">
                  <a16:creationId xmlns:a16="http://schemas.microsoft.com/office/drawing/2014/main" id="{9A0D8E97-F068-4D53-BEEB-9306D9D4C3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46" y="363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63">
              <a:extLst>
                <a:ext uri="{FF2B5EF4-FFF2-40B4-BE49-F238E27FC236}">
                  <a16:creationId xmlns:a16="http://schemas.microsoft.com/office/drawing/2014/main" id="{E00BC0B1-2212-4DB2-84D6-38E38A585C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" y="363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64">
              <a:extLst>
                <a:ext uri="{FF2B5EF4-FFF2-40B4-BE49-F238E27FC236}">
                  <a16:creationId xmlns:a16="http://schemas.microsoft.com/office/drawing/2014/main" id="{571CBDDF-92E2-4ABD-8C3E-4C98FAC7F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" y="3741"/>
              <a:ext cx="314" cy="270"/>
            </a:xfrm>
            <a:custGeom>
              <a:avLst/>
              <a:gdLst>
                <a:gd name="T0" fmla="*/ 137 w 314"/>
                <a:gd name="T1" fmla="*/ 54 h 270"/>
                <a:gd name="T2" fmla="*/ 142 w 314"/>
                <a:gd name="T3" fmla="*/ 59 h 270"/>
                <a:gd name="T4" fmla="*/ 144 w 314"/>
                <a:gd name="T5" fmla="*/ 67 h 270"/>
                <a:gd name="T6" fmla="*/ 135 w 314"/>
                <a:gd name="T7" fmla="*/ 219 h 270"/>
                <a:gd name="T8" fmla="*/ 157 w 314"/>
                <a:gd name="T9" fmla="*/ 248 h 270"/>
                <a:gd name="T10" fmla="*/ 159 w 314"/>
                <a:gd name="T11" fmla="*/ 57 h 270"/>
                <a:gd name="T12" fmla="*/ 167 w 314"/>
                <a:gd name="T13" fmla="*/ 45 h 270"/>
                <a:gd name="T14" fmla="*/ 189 w 314"/>
                <a:gd name="T15" fmla="*/ 27 h 270"/>
                <a:gd name="T16" fmla="*/ 216 w 314"/>
                <a:gd name="T17" fmla="*/ 18 h 270"/>
                <a:gd name="T18" fmla="*/ 243 w 314"/>
                <a:gd name="T19" fmla="*/ 13 h 270"/>
                <a:gd name="T20" fmla="*/ 253 w 314"/>
                <a:gd name="T21" fmla="*/ 201 h 270"/>
                <a:gd name="T22" fmla="*/ 218 w 314"/>
                <a:gd name="T23" fmla="*/ 209 h 270"/>
                <a:gd name="T24" fmla="*/ 186 w 314"/>
                <a:gd name="T25" fmla="*/ 223 h 270"/>
                <a:gd name="T26" fmla="*/ 218 w 314"/>
                <a:gd name="T27" fmla="*/ 221 h 270"/>
                <a:gd name="T28" fmla="*/ 248 w 314"/>
                <a:gd name="T29" fmla="*/ 214 h 270"/>
                <a:gd name="T30" fmla="*/ 292 w 314"/>
                <a:gd name="T31" fmla="*/ 67 h 270"/>
                <a:gd name="T32" fmla="*/ 299 w 314"/>
                <a:gd name="T33" fmla="*/ 67 h 270"/>
                <a:gd name="T34" fmla="*/ 302 w 314"/>
                <a:gd name="T35" fmla="*/ 74 h 270"/>
                <a:gd name="T36" fmla="*/ 302 w 314"/>
                <a:gd name="T37" fmla="*/ 243 h 270"/>
                <a:gd name="T38" fmla="*/ 294 w 314"/>
                <a:gd name="T39" fmla="*/ 248 h 270"/>
                <a:gd name="T40" fmla="*/ 184 w 314"/>
                <a:gd name="T41" fmla="*/ 258 h 270"/>
                <a:gd name="T42" fmla="*/ 125 w 314"/>
                <a:gd name="T43" fmla="*/ 255 h 270"/>
                <a:gd name="T44" fmla="*/ 22 w 314"/>
                <a:gd name="T45" fmla="*/ 248 h 270"/>
                <a:gd name="T46" fmla="*/ 12 w 314"/>
                <a:gd name="T47" fmla="*/ 243 h 270"/>
                <a:gd name="T48" fmla="*/ 12 w 314"/>
                <a:gd name="T49" fmla="*/ 74 h 270"/>
                <a:gd name="T50" fmla="*/ 14 w 314"/>
                <a:gd name="T51" fmla="*/ 67 h 270"/>
                <a:gd name="T52" fmla="*/ 29 w 314"/>
                <a:gd name="T53" fmla="*/ 67 h 270"/>
                <a:gd name="T54" fmla="*/ 135 w 314"/>
                <a:gd name="T55" fmla="*/ 231 h 270"/>
                <a:gd name="T56" fmla="*/ 144 w 314"/>
                <a:gd name="T57" fmla="*/ 241 h 270"/>
                <a:gd name="T58" fmla="*/ 248 w 314"/>
                <a:gd name="T59" fmla="*/ 0 h 270"/>
                <a:gd name="T60" fmla="*/ 221 w 314"/>
                <a:gd name="T61" fmla="*/ 3 h 270"/>
                <a:gd name="T62" fmla="*/ 191 w 314"/>
                <a:gd name="T63" fmla="*/ 13 h 270"/>
                <a:gd name="T64" fmla="*/ 167 w 314"/>
                <a:gd name="T65" fmla="*/ 30 h 270"/>
                <a:gd name="T66" fmla="*/ 152 w 314"/>
                <a:gd name="T67" fmla="*/ 45 h 270"/>
                <a:gd name="T68" fmla="*/ 144 w 314"/>
                <a:gd name="T69" fmla="*/ 45 h 270"/>
                <a:gd name="T70" fmla="*/ 135 w 314"/>
                <a:gd name="T71" fmla="*/ 42 h 270"/>
                <a:gd name="T72" fmla="*/ 19 w 314"/>
                <a:gd name="T73" fmla="*/ 54 h 270"/>
                <a:gd name="T74" fmla="*/ 9 w 314"/>
                <a:gd name="T75" fmla="*/ 57 h 270"/>
                <a:gd name="T76" fmla="*/ 4 w 314"/>
                <a:gd name="T77" fmla="*/ 62 h 270"/>
                <a:gd name="T78" fmla="*/ 0 w 314"/>
                <a:gd name="T79" fmla="*/ 69 h 270"/>
                <a:gd name="T80" fmla="*/ 0 w 314"/>
                <a:gd name="T81" fmla="*/ 236 h 270"/>
                <a:gd name="T82" fmla="*/ 2 w 314"/>
                <a:gd name="T83" fmla="*/ 246 h 270"/>
                <a:gd name="T84" fmla="*/ 7 w 314"/>
                <a:gd name="T85" fmla="*/ 253 h 270"/>
                <a:gd name="T86" fmla="*/ 17 w 314"/>
                <a:gd name="T87" fmla="*/ 258 h 270"/>
                <a:gd name="T88" fmla="*/ 110 w 314"/>
                <a:gd name="T89" fmla="*/ 260 h 270"/>
                <a:gd name="T90" fmla="*/ 125 w 314"/>
                <a:gd name="T91" fmla="*/ 270 h 270"/>
                <a:gd name="T92" fmla="*/ 179 w 314"/>
                <a:gd name="T93" fmla="*/ 270 h 270"/>
                <a:gd name="T94" fmla="*/ 189 w 314"/>
                <a:gd name="T95" fmla="*/ 268 h 270"/>
                <a:gd name="T96" fmla="*/ 294 w 314"/>
                <a:gd name="T97" fmla="*/ 260 h 270"/>
                <a:gd name="T98" fmla="*/ 302 w 314"/>
                <a:gd name="T99" fmla="*/ 255 h 270"/>
                <a:gd name="T100" fmla="*/ 309 w 314"/>
                <a:gd name="T101" fmla="*/ 250 h 270"/>
                <a:gd name="T102" fmla="*/ 314 w 314"/>
                <a:gd name="T103" fmla="*/ 243 h 270"/>
                <a:gd name="T104" fmla="*/ 314 w 314"/>
                <a:gd name="T105" fmla="*/ 74 h 270"/>
                <a:gd name="T106" fmla="*/ 312 w 314"/>
                <a:gd name="T107" fmla="*/ 64 h 270"/>
                <a:gd name="T108" fmla="*/ 307 w 314"/>
                <a:gd name="T109" fmla="*/ 59 h 270"/>
                <a:gd name="T110" fmla="*/ 297 w 314"/>
                <a:gd name="T111" fmla="*/ 54 h 270"/>
                <a:gd name="T112" fmla="*/ 267 w 314"/>
                <a:gd name="T113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4" h="270">
                  <a:moveTo>
                    <a:pt x="41" y="52"/>
                  </a:moveTo>
                  <a:lnTo>
                    <a:pt x="130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62"/>
                  </a:lnTo>
                  <a:lnTo>
                    <a:pt x="144" y="62"/>
                  </a:lnTo>
                  <a:lnTo>
                    <a:pt x="144" y="62"/>
                  </a:lnTo>
                  <a:lnTo>
                    <a:pt x="144" y="62"/>
                  </a:lnTo>
                  <a:lnTo>
                    <a:pt x="144" y="64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4" y="223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0" y="221"/>
                  </a:lnTo>
                  <a:lnTo>
                    <a:pt x="137" y="221"/>
                  </a:lnTo>
                  <a:lnTo>
                    <a:pt x="137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0" y="219"/>
                  </a:lnTo>
                  <a:lnTo>
                    <a:pt x="41" y="219"/>
                  </a:lnTo>
                  <a:lnTo>
                    <a:pt x="41" y="52"/>
                  </a:lnTo>
                  <a:close/>
                  <a:moveTo>
                    <a:pt x="157" y="248"/>
                  </a:moveTo>
                  <a:lnTo>
                    <a:pt x="157" y="69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4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7" y="59"/>
                  </a:lnTo>
                  <a:lnTo>
                    <a:pt x="159" y="57"/>
                  </a:lnTo>
                  <a:lnTo>
                    <a:pt x="159" y="57"/>
                  </a:lnTo>
                  <a:lnTo>
                    <a:pt x="162" y="54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7" y="47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1" y="42"/>
                  </a:lnTo>
                  <a:lnTo>
                    <a:pt x="174" y="40"/>
                  </a:lnTo>
                  <a:lnTo>
                    <a:pt x="176" y="37"/>
                  </a:lnTo>
                  <a:lnTo>
                    <a:pt x="179" y="35"/>
                  </a:lnTo>
                  <a:lnTo>
                    <a:pt x="181" y="32"/>
                  </a:lnTo>
                  <a:lnTo>
                    <a:pt x="186" y="30"/>
                  </a:lnTo>
                  <a:lnTo>
                    <a:pt x="189" y="27"/>
                  </a:lnTo>
                  <a:lnTo>
                    <a:pt x="191" y="25"/>
                  </a:lnTo>
                  <a:lnTo>
                    <a:pt x="194" y="25"/>
                  </a:lnTo>
                  <a:lnTo>
                    <a:pt x="199" y="22"/>
                  </a:lnTo>
                  <a:lnTo>
                    <a:pt x="201" y="22"/>
                  </a:lnTo>
                  <a:lnTo>
                    <a:pt x="203" y="20"/>
                  </a:lnTo>
                  <a:lnTo>
                    <a:pt x="208" y="18"/>
                  </a:lnTo>
                  <a:lnTo>
                    <a:pt x="211" y="18"/>
                  </a:lnTo>
                  <a:lnTo>
                    <a:pt x="216" y="18"/>
                  </a:lnTo>
                  <a:lnTo>
                    <a:pt x="218" y="15"/>
                  </a:lnTo>
                  <a:lnTo>
                    <a:pt x="221" y="15"/>
                  </a:lnTo>
                  <a:lnTo>
                    <a:pt x="226" y="15"/>
                  </a:lnTo>
                  <a:lnTo>
                    <a:pt x="228" y="13"/>
                  </a:lnTo>
                  <a:lnTo>
                    <a:pt x="233" y="13"/>
                  </a:lnTo>
                  <a:lnTo>
                    <a:pt x="235" y="13"/>
                  </a:lnTo>
                  <a:lnTo>
                    <a:pt x="238" y="13"/>
                  </a:lnTo>
                  <a:lnTo>
                    <a:pt x="243" y="13"/>
                  </a:lnTo>
                  <a:lnTo>
                    <a:pt x="245" y="10"/>
                  </a:lnTo>
                  <a:lnTo>
                    <a:pt x="248" y="10"/>
                  </a:lnTo>
                  <a:lnTo>
                    <a:pt x="253" y="10"/>
                  </a:lnTo>
                  <a:lnTo>
                    <a:pt x="255" y="10"/>
                  </a:lnTo>
                  <a:lnTo>
                    <a:pt x="255" y="35"/>
                  </a:lnTo>
                  <a:lnTo>
                    <a:pt x="255" y="42"/>
                  </a:lnTo>
                  <a:lnTo>
                    <a:pt x="255" y="201"/>
                  </a:lnTo>
                  <a:lnTo>
                    <a:pt x="253" y="201"/>
                  </a:lnTo>
                  <a:lnTo>
                    <a:pt x="248" y="201"/>
                  </a:lnTo>
                  <a:lnTo>
                    <a:pt x="243" y="204"/>
                  </a:lnTo>
                  <a:lnTo>
                    <a:pt x="238" y="204"/>
                  </a:lnTo>
                  <a:lnTo>
                    <a:pt x="235" y="204"/>
                  </a:lnTo>
                  <a:lnTo>
                    <a:pt x="230" y="204"/>
                  </a:lnTo>
                  <a:lnTo>
                    <a:pt x="226" y="206"/>
                  </a:lnTo>
                  <a:lnTo>
                    <a:pt x="221" y="206"/>
                  </a:lnTo>
                  <a:lnTo>
                    <a:pt x="218" y="209"/>
                  </a:lnTo>
                  <a:lnTo>
                    <a:pt x="213" y="209"/>
                  </a:lnTo>
                  <a:lnTo>
                    <a:pt x="208" y="211"/>
                  </a:lnTo>
                  <a:lnTo>
                    <a:pt x="206" y="214"/>
                  </a:lnTo>
                  <a:lnTo>
                    <a:pt x="201" y="214"/>
                  </a:lnTo>
                  <a:lnTo>
                    <a:pt x="199" y="216"/>
                  </a:lnTo>
                  <a:lnTo>
                    <a:pt x="194" y="219"/>
                  </a:lnTo>
                  <a:lnTo>
                    <a:pt x="191" y="221"/>
                  </a:lnTo>
                  <a:lnTo>
                    <a:pt x="186" y="223"/>
                  </a:lnTo>
                  <a:lnTo>
                    <a:pt x="194" y="233"/>
                  </a:lnTo>
                  <a:lnTo>
                    <a:pt x="196" y="231"/>
                  </a:lnTo>
                  <a:lnTo>
                    <a:pt x="201" y="228"/>
                  </a:lnTo>
                  <a:lnTo>
                    <a:pt x="203" y="226"/>
                  </a:lnTo>
                  <a:lnTo>
                    <a:pt x="208" y="226"/>
                  </a:lnTo>
                  <a:lnTo>
                    <a:pt x="211" y="223"/>
                  </a:lnTo>
                  <a:lnTo>
                    <a:pt x="213" y="221"/>
                  </a:lnTo>
                  <a:lnTo>
                    <a:pt x="218" y="221"/>
                  </a:lnTo>
                  <a:lnTo>
                    <a:pt x="221" y="219"/>
                  </a:lnTo>
                  <a:lnTo>
                    <a:pt x="226" y="219"/>
                  </a:lnTo>
                  <a:lnTo>
                    <a:pt x="228" y="216"/>
                  </a:lnTo>
                  <a:lnTo>
                    <a:pt x="233" y="216"/>
                  </a:lnTo>
                  <a:lnTo>
                    <a:pt x="235" y="216"/>
                  </a:lnTo>
                  <a:lnTo>
                    <a:pt x="240" y="216"/>
                  </a:lnTo>
                  <a:lnTo>
                    <a:pt x="243" y="214"/>
                  </a:lnTo>
                  <a:lnTo>
                    <a:pt x="248" y="214"/>
                  </a:lnTo>
                  <a:lnTo>
                    <a:pt x="253" y="214"/>
                  </a:lnTo>
                  <a:lnTo>
                    <a:pt x="267" y="214"/>
                  </a:lnTo>
                  <a:lnTo>
                    <a:pt x="267" y="42"/>
                  </a:lnTo>
                  <a:lnTo>
                    <a:pt x="280" y="42"/>
                  </a:lnTo>
                  <a:lnTo>
                    <a:pt x="280" y="59"/>
                  </a:lnTo>
                  <a:lnTo>
                    <a:pt x="280" y="76"/>
                  </a:lnTo>
                  <a:lnTo>
                    <a:pt x="292" y="7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7" y="67"/>
                  </a:lnTo>
                  <a:lnTo>
                    <a:pt x="297" y="67"/>
                  </a:lnTo>
                  <a:lnTo>
                    <a:pt x="299" y="67"/>
                  </a:lnTo>
                  <a:lnTo>
                    <a:pt x="299" y="67"/>
                  </a:lnTo>
                  <a:lnTo>
                    <a:pt x="299" y="69"/>
                  </a:lnTo>
                  <a:lnTo>
                    <a:pt x="299" y="69"/>
                  </a:lnTo>
                  <a:lnTo>
                    <a:pt x="302" y="69"/>
                  </a:lnTo>
                  <a:lnTo>
                    <a:pt x="302" y="71"/>
                  </a:lnTo>
                  <a:lnTo>
                    <a:pt x="302" y="71"/>
                  </a:lnTo>
                  <a:lnTo>
                    <a:pt x="302" y="71"/>
                  </a:lnTo>
                  <a:lnTo>
                    <a:pt x="302" y="71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4" y="236"/>
                  </a:lnTo>
                  <a:lnTo>
                    <a:pt x="302" y="238"/>
                  </a:lnTo>
                  <a:lnTo>
                    <a:pt x="302" y="238"/>
                  </a:lnTo>
                  <a:lnTo>
                    <a:pt x="302" y="238"/>
                  </a:lnTo>
                  <a:lnTo>
                    <a:pt x="302" y="241"/>
                  </a:lnTo>
                  <a:lnTo>
                    <a:pt x="302" y="241"/>
                  </a:lnTo>
                  <a:lnTo>
                    <a:pt x="302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8"/>
                  </a:lnTo>
                  <a:lnTo>
                    <a:pt x="294" y="248"/>
                  </a:lnTo>
                  <a:lnTo>
                    <a:pt x="294" y="248"/>
                  </a:lnTo>
                  <a:lnTo>
                    <a:pt x="294" y="248"/>
                  </a:lnTo>
                  <a:lnTo>
                    <a:pt x="292" y="248"/>
                  </a:lnTo>
                  <a:lnTo>
                    <a:pt x="199" y="248"/>
                  </a:lnTo>
                  <a:lnTo>
                    <a:pt x="196" y="248"/>
                  </a:lnTo>
                  <a:lnTo>
                    <a:pt x="191" y="253"/>
                  </a:lnTo>
                  <a:lnTo>
                    <a:pt x="189" y="253"/>
                  </a:lnTo>
                  <a:lnTo>
                    <a:pt x="186" y="255"/>
                  </a:lnTo>
                  <a:lnTo>
                    <a:pt x="184" y="258"/>
                  </a:lnTo>
                  <a:lnTo>
                    <a:pt x="181" y="258"/>
                  </a:lnTo>
                  <a:lnTo>
                    <a:pt x="179" y="258"/>
                  </a:lnTo>
                  <a:lnTo>
                    <a:pt x="179" y="260"/>
                  </a:lnTo>
                  <a:lnTo>
                    <a:pt x="130" y="260"/>
                  </a:lnTo>
                  <a:lnTo>
                    <a:pt x="130" y="258"/>
                  </a:lnTo>
                  <a:lnTo>
                    <a:pt x="127" y="258"/>
                  </a:lnTo>
                  <a:lnTo>
                    <a:pt x="127" y="258"/>
                  </a:lnTo>
                  <a:lnTo>
                    <a:pt x="125" y="255"/>
                  </a:lnTo>
                  <a:lnTo>
                    <a:pt x="122" y="255"/>
                  </a:lnTo>
                  <a:lnTo>
                    <a:pt x="120" y="253"/>
                  </a:lnTo>
                  <a:lnTo>
                    <a:pt x="117" y="250"/>
                  </a:lnTo>
                  <a:lnTo>
                    <a:pt x="115" y="250"/>
                  </a:lnTo>
                  <a:lnTo>
                    <a:pt x="115" y="248"/>
                  </a:lnTo>
                  <a:lnTo>
                    <a:pt x="24" y="248"/>
                  </a:lnTo>
                  <a:lnTo>
                    <a:pt x="24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7" y="246"/>
                  </a:lnTo>
                  <a:lnTo>
                    <a:pt x="17" y="246"/>
                  </a:lnTo>
                  <a:lnTo>
                    <a:pt x="14" y="243"/>
                  </a:lnTo>
                  <a:lnTo>
                    <a:pt x="14" y="243"/>
                  </a:lnTo>
                  <a:lnTo>
                    <a:pt x="12" y="243"/>
                  </a:lnTo>
                  <a:lnTo>
                    <a:pt x="12" y="241"/>
                  </a:lnTo>
                  <a:lnTo>
                    <a:pt x="12" y="241"/>
                  </a:lnTo>
                  <a:lnTo>
                    <a:pt x="12" y="238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9" y="236"/>
                  </a:lnTo>
                  <a:lnTo>
                    <a:pt x="9" y="74"/>
                  </a:lnTo>
                  <a:lnTo>
                    <a:pt x="12" y="74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22" y="67"/>
                  </a:lnTo>
                  <a:lnTo>
                    <a:pt x="29" y="67"/>
                  </a:lnTo>
                  <a:lnTo>
                    <a:pt x="29" y="231"/>
                  </a:lnTo>
                  <a:lnTo>
                    <a:pt x="130" y="231"/>
                  </a:lnTo>
                  <a:lnTo>
                    <a:pt x="132" y="231"/>
                  </a:lnTo>
                  <a:lnTo>
                    <a:pt x="132" y="231"/>
                  </a:lnTo>
                  <a:lnTo>
                    <a:pt x="132" y="231"/>
                  </a:lnTo>
                  <a:lnTo>
                    <a:pt x="132" y="231"/>
                  </a:lnTo>
                  <a:lnTo>
                    <a:pt x="135" y="231"/>
                  </a:lnTo>
                  <a:lnTo>
                    <a:pt x="135" y="231"/>
                  </a:lnTo>
                  <a:lnTo>
                    <a:pt x="137" y="233"/>
                  </a:lnTo>
                  <a:lnTo>
                    <a:pt x="137" y="233"/>
                  </a:lnTo>
                  <a:lnTo>
                    <a:pt x="140" y="236"/>
                  </a:lnTo>
                  <a:lnTo>
                    <a:pt x="140" y="236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41"/>
                  </a:lnTo>
                  <a:lnTo>
                    <a:pt x="144" y="241"/>
                  </a:lnTo>
                  <a:lnTo>
                    <a:pt x="144" y="243"/>
                  </a:lnTo>
                  <a:lnTo>
                    <a:pt x="144" y="246"/>
                  </a:lnTo>
                  <a:lnTo>
                    <a:pt x="144" y="246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57" y="248"/>
                  </a:lnTo>
                  <a:close/>
                  <a:moveTo>
                    <a:pt x="253" y="0"/>
                  </a:moveTo>
                  <a:lnTo>
                    <a:pt x="248" y="0"/>
                  </a:lnTo>
                  <a:lnTo>
                    <a:pt x="245" y="0"/>
                  </a:lnTo>
                  <a:lnTo>
                    <a:pt x="243" y="0"/>
                  </a:lnTo>
                  <a:lnTo>
                    <a:pt x="238" y="0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8" y="0"/>
                  </a:lnTo>
                  <a:lnTo>
                    <a:pt x="223" y="3"/>
                  </a:lnTo>
                  <a:lnTo>
                    <a:pt x="221" y="3"/>
                  </a:lnTo>
                  <a:lnTo>
                    <a:pt x="216" y="3"/>
                  </a:lnTo>
                  <a:lnTo>
                    <a:pt x="213" y="5"/>
                  </a:lnTo>
                  <a:lnTo>
                    <a:pt x="211" y="5"/>
                  </a:lnTo>
                  <a:lnTo>
                    <a:pt x="206" y="8"/>
                  </a:lnTo>
                  <a:lnTo>
                    <a:pt x="203" y="8"/>
                  </a:lnTo>
                  <a:lnTo>
                    <a:pt x="199" y="10"/>
                  </a:lnTo>
                  <a:lnTo>
                    <a:pt x="196" y="10"/>
                  </a:lnTo>
                  <a:lnTo>
                    <a:pt x="191" y="13"/>
                  </a:lnTo>
                  <a:lnTo>
                    <a:pt x="189" y="15"/>
                  </a:lnTo>
                  <a:lnTo>
                    <a:pt x="186" y="15"/>
                  </a:lnTo>
                  <a:lnTo>
                    <a:pt x="181" y="18"/>
                  </a:lnTo>
                  <a:lnTo>
                    <a:pt x="179" y="20"/>
                  </a:lnTo>
                  <a:lnTo>
                    <a:pt x="176" y="22"/>
                  </a:lnTo>
                  <a:lnTo>
                    <a:pt x="171" y="25"/>
                  </a:lnTo>
                  <a:lnTo>
                    <a:pt x="169" y="27"/>
                  </a:lnTo>
                  <a:lnTo>
                    <a:pt x="167" y="30"/>
                  </a:lnTo>
                  <a:lnTo>
                    <a:pt x="164" y="32"/>
                  </a:lnTo>
                  <a:lnTo>
                    <a:pt x="162" y="35"/>
                  </a:lnTo>
                  <a:lnTo>
                    <a:pt x="159" y="37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4" y="42"/>
                  </a:lnTo>
                  <a:lnTo>
                    <a:pt x="154" y="45"/>
                  </a:lnTo>
                  <a:lnTo>
                    <a:pt x="152" y="45"/>
                  </a:lnTo>
                  <a:lnTo>
                    <a:pt x="152" y="47"/>
                  </a:lnTo>
                  <a:lnTo>
                    <a:pt x="149" y="49"/>
                  </a:lnTo>
                  <a:lnTo>
                    <a:pt x="149" y="49"/>
                  </a:lnTo>
                  <a:lnTo>
                    <a:pt x="149" y="49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44" y="47"/>
                  </a:lnTo>
                  <a:lnTo>
                    <a:pt x="144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2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0" y="40"/>
                  </a:lnTo>
                  <a:lnTo>
                    <a:pt x="29" y="40"/>
                  </a:lnTo>
                  <a:lnTo>
                    <a:pt x="29" y="54"/>
                  </a:lnTo>
                  <a:lnTo>
                    <a:pt x="22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2" y="54"/>
                  </a:lnTo>
                  <a:lnTo>
                    <a:pt x="12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4" y="59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2" y="246"/>
                  </a:lnTo>
                  <a:lnTo>
                    <a:pt x="2" y="246"/>
                  </a:lnTo>
                  <a:lnTo>
                    <a:pt x="2" y="246"/>
                  </a:lnTo>
                  <a:lnTo>
                    <a:pt x="2" y="248"/>
                  </a:lnTo>
                  <a:lnTo>
                    <a:pt x="4" y="248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7" y="253"/>
                  </a:lnTo>
                  <a:lnTo>
                    <a:pt x="7" y="253"/>
                  </a:lnTo>
                  <a:lnTo>
                    <a:pt x="9" y="253"/>
                  </a:lnTo>
                  <a:lnTo>
                    <a:pt x="9" y="255"/>
                  </a:lnTo>
                  <a:lnTo>
                    <a:pt x="9" y="255"/>
                  </a:lnTo>
                  <a:lnTo>
                    <a:pt x="12" y="255"/>
                  </a:lnTo>
                  <a:lnTo>
                    <a:pt x="12" y="258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7" y="258"/>
                  </a:lnTo>
                  <a:lnTo>
                    <a:pt x="17" y="258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110" y="260"/>
                  </a:lnTo>
                  <a:lnTo>
                    <a:pt x="113" y="263"/>
                  </a:lnTo>
                  <a:lnTo>
                    <a:pt x="115" y="263"/>
                  </a:lnTo>
                  <a:lnTo>
                    <a:pt x="117" y="265"/>
                  </a:lnTo>
                  <a:lnTo>
                    <a:pt x="120" y="268"/>
                  </a:lnTo>
                  <a:lnTo>
                    <a:pt x="120" y="268"/>
                  </a:lnTo>
                  <a:lnTo>
                    <a:pt x="122" y="268"/>
                  </a:lnTo>
                  <a:lnTo>
                    <a:pt x="122" y="270"/>
                  </a:lnTo>
                  <a:lnTo>
                    <a:pt x="125" y="270"/>
                  </a:lnTo>
                  <a:lnTo>
                    <a:pt x="125" y="270"/>
                  </a:lnTo>
                  <a:lnTo>
                    <a:pt x="127" y="270"/>
                  </a:lnTo>
                  <a:lnTo>
                    <a:pt x="127" y="270"/>
                  </a:lnTo>
                  <a:lnTo>
                    <a:pt x="127" y="270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79" y="270"/>
                  </a:lnTo>
                  <a:lnTo>
                    <a:pt x="179" y="270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6" y="270"/>
                  </a:lnTo>
                  <a:lnTo>
                    <a:pt x="186" y="268"/>
                  </a:lnTo>
                  <a:lnTo>
                    <a:pt x="189" y="268"/>
                  </a:lnTo>
                  <a:lnTo>
                    <a:pt x="191" y="268"/>
                  </a:lnTo>
                  <a:lnTo>
                    <a:pt x="194" y="265"/>
                  </a:lnTo>
                  <a:lnTo>
                    <a:pt x="196" y="263"/>
                  </a:lnTo>
                  <a:lnTo>
                    <a:pt x="199" y="263"/>
                  </a:lnTo>
                  <a:lnTo>
                    <a:pt x="201" y="260"/>
                  </a:lnTo>
                  <a:lnTo>
                    <a:pt x="292" y="260"/>
                  </a:lnTo>
                  <a:lnTo>
                    <a:pt x="294" y="260"/>
                  </a:lnTo>
                  <a:lnTo>
                    <a:pt x="294" y="260"/>
                  </a:lnTo>
                  <a:lnTo>
                    <a:pt x="297" y="260"/>
                  </a:lnTo>
                  <a:lnTo>
                    <a:pt x="297" y="260"/>
                  </a:lnTo>
                  <a:lnTo>
                    <a:pt x="297" y="258"/>
                  </a:lnTo>
                  <a:lnTo>
                    <a:pt x="299" y="258"/>
                  </a:lnTo>
                  <a:lnTo>
                    <a:pt x="299" y="258"/>
                  </a:lnTo>
                  <a:lnTo>
                    <a:pt x="302" y="258"/>
                  </a:lnTo>
                  <a:lnTo>
                    <a:pt x="302" y="258"/>
                  </a:lnTo>
                  <a:lnTo>
                    <a:pt x="302" y="255"/>
                  </a:lnTo>
                  <a:lnTo>
                    <a:pt x="304" y="255"/>
                  </a:lnTo>
                  <a:lnTo>
                    <a:pt x="304" y="255"/>
                  </a:lnTo>
                  <a:lnTo>
                    <a:pt x="307" y="255"/>
                  </a:lnTo>
                  <a:lnTo>
                    <a:pt x="307" y="253"/>
                  </a:lnTo>
                  <a:lnTo>
                    <a:pt x="307" y="253"/>
                  </a:lnTo>
                  <a:lnTo>
                    <a:pt x="309" y="253"/>
                  </a:lnTo>
                  <a:lnTo>
                    <a:pt x="309" y="250"/>
                  </a:lnTo>
                  <a:lnTo>
                    <a:pt x="309" y="250"/>
                  </a:lnTo>
                  <a:lnTo>
                    <a:pt x="309" y="248"/>
                  </a:lnTo>
                  <a:lnTo>
                    <a:pt x="312" y="248"/>
                  </a:lnTo>
                  <a:lnTo>
                    <a:pt x="312" y="248"/>
                  </a:lnTo>
                  <a:lnTo>
                    <a:pt x="312" y="246"/>
                  </a:lnTo>
                  <a:lnTo>
                    <a:pt x="312" y="246"/>
                  </a:lnTo>
                  <a:lnTo>
                    <a:pt x="314" y="243"/>
                  </a:lnTo>
                  <a:lnTo>
                    <a:pt x="314" y="243"/>
                  </a:lnTo>
                  <a:lnTo>
                    <a:pt x="314" y="243"/>
                  </a:lnTo>
                  <a:lnTo>
                    <a:pt x="314" y="241"/>
                  </a:lnTo>
                  <a:lnTo>
                    <a:pt x="314" y="241"/>
                  </a:lnTo>
                  <a:lnTo>
                    <a:pt x="314" y="238"/>
                  </a:lnTo>
                  <a:lnTo>
                    <a:pt x="314" y="238"/>
                  </a:lnTo>
                  <a:lnTo>
                    <a:pt x="314" y="238"/>
                  </a:lnTo>
                  <a:lnTo>
                    <a:pt x="314" y="236"/>
                  </a:lnTo>
                  <a:lnTo>
                    <a:pt x="314" y="74"/>
                  </a:lnTo>
                  <a:lnTo>
                    <a:pt x="314" y="74"/>
                  </a:lnTo>
                  <a:lnTo>
                    <a:pt x="314" y="71"/>
                  </a:lnTo>
                  <a:lnTo>
                    <a:pt x="314" y="71"/>
                  </a:lnTo>
                  <a:lnTo>
                    <a:pt x="314" y="69"/>
                  </a:lnTo>
                  <a:lnTo>
                    <a:pt x="314" y="69"/>
                  </a:lnTo>
                  <a:lnTo>
                    <a:pt x="314" y="69"/>
                  </a:lnTo>
                  <a:lnTo>
                    <a:pt x="314" y="67"/>
                  </a:lnTo>
                  <a:lnTo>
                    <a:pt x="312" y="67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2" y="62"/>
                  </a:lnTo>
                  <a:lnTo>
                    <a:pt x="309" y="62"/>
                  </a:lnTo>
                  <a:lnTo>
                    <a:pt x="309" y="62"/>
                  </a:lnTo>
                  <a:lnTo>
                    <a:pt x="309" y="59"/>
                  </a:lnTo>
                  <a:lnTo>
                    <a:pt x="307" y="59"/>
                  </a:lnTo>
                  <a:lnTo>
                    <a:pt x="307" y="59"/>
                  </a:lnTo>
                  <a:lnTo>
                    <a:pt x="307" y="59"/>
                  </a:lnTo>
                  <a:lnTo>
                    <a:pt x="304" y="57"/>
                  </a:lnTo>
                  <a:lnTo>
                    <a:pt x="304" y="57"/>
                  </a:lnTo>
                  <a:lnTo>
                    <a:pt x="302" y="57"/>
                  </a:lnTo>
                  <a:lnTo>
                    <a:pt x="299" y="54"/>
                  </a:lnTo>
                  <a:lnTo>
                    <a:pt x="299" y="54"/>
                  </a:lnTo>
                  <a:lnTo>
                    <a:pt x="297" y="54"/>
                  </a:lnTo>
                  <a:lnTo>
                    <a:pt x="297" y="54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2" y="30"/>
                  </a:lnTo>
                  <a:lnTo>
                    <a:pt x="267" y="30"/>
                  </a:lnTo>
                  <a:lnTo>
                    <a:pt x="267" y="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1" name="Group 267">
            <a:extLst>
              <a:ext uri="{FF2B5EF4-FFF2-40B4-BE49-F238E27FC236}">
                <a16:creationId xmlns:a16="http://schemas.microsoft.com/office/drawing/2014/main" id="{1DE1C034-DFA5-4C18-91CB-E0D6E3DF78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119" y="5426725"/>
            <a:ext cx="841375" cy="841375"/>
            <a:chOff x="200" y="3611"/>
            <a:chExt cx="530" cy="530"/>
          </a:xfrm>
        </p:grpSpPr>
        <p:sp>
          <p:nvSpPr>
            <p:cNvPr id="302" name="AutoShape 266">
              <a:extLst>
                <a:ext uri="{FF2B5EF4-FFF2-40B4-BE49-F238E27FC236}">
                  <a16:creationId xmlns:a16="http://schemas.microsoft.com/office/drawing/2014/main" id="{4BC4B22B-E68E-4E4C-AF82-FFB574E9CD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0" y="361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268">
              <a:extLst>
                <a:ext uri="{FF2B5EF4-FFF2-40B4-BE49-F238E27FC236}">
                  <a16:creationId xmlns:a16="http://schemas.microsoft.com/office/drawing/2014/main" id="{25E00F8E-AE16-4CA9-B170-C7437750D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" y="361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9">
              <a:extLst>
                <a:ext uri="{FF2B5EF4-FFF2-40B4-BE49-F238E27FC236}">
                  <a16:creationId xmlns:a16="http://schemas.microsoft.com/office/drawing/2014/main" id="{5773C667-03F4-4300-BC96-935FC8D9D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" y="362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70">
              <a:extLst>
                <a:ext uri="{FF2B5EF4-FFF2-40B4-BE49-F238E27FC236}">
                  <a16:creationId xmlns:a16="http://schemas.microsoft.com/office/drawing/2014/main" id="{228CEEC9-204D-4ED2-B8B9-0A5A9A64E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" y="3736"/>
              <a:ext cx="328" cy="282"/>
            </a:xfrm>
            <a:custGeom>
              <a:avLst/>
              <a:gdLst>
                <a:gd name="T0" fmla="*/ 144 w 328"/>
                <a:gd name="T1" fmla="*/ 57 h 282"/>
                <a:gd name="T2" fmla="*/ 149 w 328"/>
                <a:gd name="T3" fmla="*/ 62 h 282"/>
                <a:gd name="T4" fmla="*/ 151 w 328"/>
                <a:gd name="T5" fmla="*/ 69 h 282"/>
                <a:gd name="T6" fmla="*/ 141 w 328"/>
                <a:gd name="T7" fmla="*/ 228 h 282"/>
                <a:gd name="T8" fmla="*/ 164 w 328"/>
                <a:gd name="T9" fmla="*/ 259 h 282"/>
                <a:gd name="T10" fmla="*/ 167 w 328"/>
                <a:gd name="T11" fmla="*/ 59 h 282"/>
                <a:gd name="T12" fmla="*/ 174 w 328"/>
                <a:gd name="T13" fmla="*/ 46 h 282"/>
                <a:gd name="T14" fmla="*/ 197 w 328"/>
                <a:gd name="T15" fmla="*/ 29 h 282"/>
                <a:gd name="T16" fmla="*/ 226 w 328"/>
                <a:gd name="T17" fmla="*/ 18 h 282"/>
                <a:gd name="T18" fmla="*/ 254 w 328"/>
                <a:gd name="T19" fmla="*/ 13 h 282"/>
                <a:gd name="T20" fmla="*/ 264 w 328"/>
                <a:gd name="T21" fmla="*/ 210 h 282"/>
                <a:gd name="T22" fmla="*/ 228 w 328"/>
                <a:gd name="T23" fmla="*/ 218 h 282"/>
                <a:gd name="T24" fmla="*/ 195 w 328"/>
                <a:gd name="T25" fmla="*/ 233 h 282"/>
                <a:gd name="T26" fmla="*/ 228 w 328"/>
                <a:gd name="T27" fmla="*/ 231 h 282"/>
                <a:gd name="T28" fmla="*/ 259 w 328"/>
                <a:gd name="T29" fmla="*/ 223 h 282"/>
                <a:gd name="T30" fmla="*/ 305 w 328"/>
                <a:gd name="T31" fmla="*/ 69 h 282"/>
                <a:gd name="T32" fmla="*/ 313 w 328"/>
                <a:gd name="T33" fmla="*/ 69 h 282"/>
                <a:gd name="T34" fmla="*/ 315 w 328"/>
                <a:gd name="T35" fmla="*/ 77 h 282"/>
                <a:gd name="T36" fmla="*/ 315 w 328"/>
                <a:gd name="T37" fmla="*/ 254 h 282"/>
                <a:gd name="T38" fmla="*/ 308 w 328"/>
                <a:gd name="T39" fmla="*/ 259 h 282"/>
                <a:gd name="T40" fmla="*/ 192 w 328"/>
                <a:gd name="T41" fmla="*/ 269 h 282"/>
                <a:gd name="T42" fmla="*/ 131 w 328"/>
                <a:gd name="T43" fmla="*/ 267 h 282"/>
                <a:gd name="T44" fmla="*/ 23 w 328"/>
                <a:gd name="T45" fmla="*/ 259 h 282"/>
                <a:gd name="T46" fmla="*/ 13 w 328"/>
                <a:gd name="T47" fmla="*/ 254 h 282"/>
                <a:gd name="T48" fmla="*/ 13 w 328"/>
                <a:gd name="T49" fmla="*/ 77 h 282"/>
                <a:gd name="T50" fmla="*/ 16 w 328"/>
                <a:gd name="T51" fmla="*/ 69 h 282"/>
                <a:gd name="T52" fmla="*/ 31 w 328"/>
                <a:gd name="T53" fmla="*/ 69 h 282"/>
                <a:gd name="T54" fmla="*/ 141 w 328"/>
                <a:gd name="T55" fmla="*/ 241 h 282"/>
                <a:gd name="T56" fmla="*/ 151 w 328"/>
                <a:gd name="T57" fmla="*/ 251 h 282"/>
                <a:gd name="T58" fmla="*/ 259 w 328"/>
                <a:gd name="T59" fmla="*/ 0 h 282"/>
                <a:gd name="T60" fmla="*/ 231 w 328"/>
                <a:gd name="T61" fmla="*/ 3 h 282"/>
                <a:gd name="T62" fmla="*/ 200 w 328"/>
                <a:gd name="T63" fmla="*/ 13 h 282"/>
                <a:gd name="T64" fmla="*/ 174 w 328"/>
                <a:gd name="T65" fmla="*/ 31 h 282"/>
                <a:gd name="T66" fmla="*/ 159 w 328"/>
                <a:gd name="T67" fmla="*/ 46 h 282"/>
                <a:gd name="T68" fmla="*/ 151 w 328"/>
                <a:gd name="T69" fmla="*/ 46 h 282"/>
                <a:gd name="T70" fmla="*/ 141 w 328"/>
                <a:gd name="T71" fmla="*/ 44 h 282"/>
                <a:gd name="T72" fmla="*/ 21 w 328"/>
                <a:gd name="T73" fmla="*/ 57 h 282"/>
                <a:gd name="T74" fmla="*/ 11 w 328"/>
                <a:gd name="T75" fmla="*/ 59 h 282"/>
                <a:gd name="T76" fmla="*/ 5 w 328"/>
                <a:gd name="T77" fmla="*/ 64 h 282"/>
                <a:gd name="T78" fmla="*/ 0 w 328"/>
                <a:gd name="T79" fmla="*/ 72 h 282"/>
                <a:gd name="T80" fmla="*/ 0 w 328"/>
                <a:gd name="T81" fmla="*/ 246 h 282"/>
                <a:gd name="T82" fmla="*/ 3 w 328"/>
                <a:gd name="T83" fmla="*/ 256 h 282"/>
                <a:gd name="T84" fmla="*/ 8 w 328"/>
                <a:gd name="T85" fmla="*/ 264 h 282"/>
                <a:gd name="T86" fmla="*/ 18 w 328"/>
                <a:gd name="T87" fmla="*/ 269 h 282"/>
                <a:gd name="T88" fmla="*/ 116 w 328"/>
                <a:gd name="T89" fmla="*/ 272 h 282"/>
                <a:gd name="T90" fmla="*/ 131 w 328"/>
                <a:gd name="T91" fmla="*/ 282 h 282"/>
                <a:gd name="T92" fmla="*/ 187 w 328"/>
                <a:gd name="T93" fmla="*/ 282 h 282"/>
                <a:gd name="T94" fmla="*/ 197 w 328"/>
                <a:gd name="T95" fmla="*/ 279 h 282"/>
                <a:gd name="T96" fmla="*/ 308 w 328"/>
                <a:gd name="T97" fmla="*/ 272 h 282"/>
                <a:gd name="T98" fmla="*/ 315 w 328"/>
                <a:gd name="T99" fmla="*/ 267 h 282"/>
                <a:gd name="T100" fmla="*/ 323 w 328"/>
                <a:gd name="T101" fmla="*/ 262 h 282"/>
                <a:gd name="T102" fmla="*/ 328 w 328"/>
                <a:gd name="T103" fmla="*/ 254 h 282"/>
                <a:gd name="T104" fmla="*/ 328 w 328"/>
                <a:gd name="T105" fmla="*/ 77 h 282"/>
                <a:gd name="T106" fmla="*/ 325 w 328"/>
                <a:gd name="T107" fmla="*/ 67 h 282"/>
                <a:gd name="T108" fmla="*/ 320 w 328"/>
                <a:gd name="T109" fmla="*/ 62 h 282"/>
                <a:gd name="T110" fmla="*/ 310 w 328"/>
                <a:gd name="T111" fmla="*/ 57 h 282"/>
                <a:gd name="T112" fmla="*/ 279 w 328"/>
                <a:gd name="T113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8" h="282">
                  <a:moveTo>
                    <a:pt x="44" y="54"/>
                  </a:moveTo>
                  <a:lnTo>
                    <a:pt x="136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41" y="54"/>
                  </a:lnTo>
                  <a:lnTo>
                    <a:pt x="141" y="57"/>
                  </a:lnTo>
                  <a:lnTo>
                    <a:pt x="141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64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1" y="67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1" y="72"/>
                  </a:lnTo>
                  <a:lnTo>
                    <a:pt x="151" y="233"/>
                  </a:lnTo>
                  <a:lnTo>
                    <a:pt x="151" y="233"/>
                  </a:lnTo>
                  <a:lnTo>
                    <a:pt x="149" y="231"/>
                  </a:lnTo>
                  <a:lnTo>
                    <a:pt x="146" y="231"/>
                  </a:lnTo>
                  <a:lnTo>
                    <a:pt x="144" y="231"/>
                  </a:lnTo>
                  <a:lnTo>
                    <a:pt x="144" y="228"/>
                  </a:lnTo>
                  <a:lnTo>
                    <a:pt x="141" y="228"/>
                  </a:lnTo>
                  <a:lnTo>
                    <a:pt x="141" y="228"/>
                  </a:lnTo>
                  <a:lnTo>
                    <a:pt x="141" y="228"/>
                  </a:lnTo>
                  <a:lnTo>
                    <a:pt x="139" y="228"/>
                  </a:lnTo>
                  <a:lnTo>
                    <a:pt x="139" y="228"/>
                  </a:lnTo>
                  <a:lnTo>
                    <a:pt x="136" y="228"/>
                  </a:lnTo>
                  <a:lnTo>
                    <a:pt x="44" y="228"/>
                  </a:lnTo>
                  <a:lnTo>
                    <a:pt x="44" y="54"/>
                  </a:lnTo>
                  <a:close/>
                  <a:moveTo>
                    <a:pt x="164" y="259"/>
                  </a:moveTo>
                  <a:lnTo>
                    <a:pt x="164" y="72"/>
                  </a:lnTo>
                  <a:lnTo>
                    <a:pt x="164" y="69"/>
                  </a:lnTo>
                  <a:lnTo>
                    <a:pt x="164" y="69"/>
                  </a:lnTo>
                  <a:lnTo>
                    <a:pt x="164" y="67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4" y="62"/>
                  </a:lnTo>
                  <a:lnTo>
                    <a:pt x="167" y="59"/>
                  </a:lnTo>
                  <a:lnTo>
                    <a:pt x="167" y="59"/>
                  </a:lnTo>
                  <a:lnTo>
                    <a:pt x="169" y="57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72" y="52"/>
                  </a:lnTo>
                  <a:lnTo>
                    <a:pt x="172" y="52"/>
                  </a:lnTo>
                  <a:lnTo>
                    <a:pt x="174" y="49"/>
                  </a:lnTo>
                  <a:lnTo>
                    <a:pt x="174" y="46"/>
                  </a:lnTo>
                  <a:lnTo>
                    <a:pt x="177" y="46"/>
                  </a:lnTo>
                  <a:lnTo>
                    <a:pt x="180" y="44"/>
                  </a:lnTo>
                  <a:lnTo>
                    <a:pt x="182" y="41"/>
                  </a:lnTo>
                  <a:lnTo>
                    <a:pt x="185" y="39"/>
                  </a:lnTo>
                  <a:lnTo>
                    <a:pt x="187" y="36"/>
                  </a:lnTo>
                  <a:lnTo>
                    <a:pt x="190" y="34"/>
                  </a:lnTo>
                  <a:lnTo>
                    <a:pt x="195" y="31"/>
                  </a:lnTo>
                  <a:lnTo>
                    <a:pt x="197" y="29"/>
                  </a:lnTo>
                  <a:lnTo>
                    <a:pt x="200" y="26"/>
                  </a:lnTo>
                  <a:lnTo>
                    <a:pt x="203" y="26"/>
                  </a:lnTo>
                  <a:lnTo>
                    <a:pt x="208" y="23"/>
                  </a:lnTo>
                  <a:lnTo>
                    <a:pt x="210" y="23"/>
                  </a:lnTo>
                  <a:lnTo>
                    <a:pt x="213" y="21"/>
                  </a:lnTo>
                  <a:lnTo>
                    <a:pt x="218" y="18"/>
                  </a:lnTo>
                  <a:lnTo>
                    <a:pt x="221" y="18"/>
                  </a:lnTo>
                  <a:lnTo>
                    <a:pt x="226" y="18"/>
                  </a:lnTo>
                  <a:lnTo>
                    <a:pt x="228" y="16"/>
                  </a:lnTo>
                  <a:lnTo>
                    <a:pt x="231" y="16"/>
                  </a:lnTo>
                  <a:lnTo>
                    <a:pt x="236" y="16"/>
                  </a:lnTo>
                  <a:lnTo>
                    <a:pt x="238" y="13"/>
                  </a:lnTo>
                  <a:lnTo>
                    <a:pt x="244" y="13"/>
                  </a:lnTo>
                  <a:lnTo>
                    <a:pt x="246" y="13"/>
                  </a:lnTo>
                  <a:lnTo>
                    <a:pt x="249" y="13"/>
                  </a:lnTo>
                  <a:lnTo>
                    <a:pt x="254" y="13"/>
                  </a:lnTo>
                  <a:lnTo>
                    <a:pt x="256" y="11"/>
                  </a:lnTo>
                  <a:lnTo>
                    <a:pt x="259" y="11"/>
                  </a:lnTo>
                  <a:lnTo>
                    <a:pt x="264" y="11"/>
                  </a:lnTo>
                  <a:lnTo>
                    <a:pt x="267" y="11"/>
                  </a:lnTo>
                  <a:lnTo>
                    <a:pt x="267" y="36"/>
                  </a:lnTo>
                  <a:lnTo>
                    <a:pt x="267" y="44"/>
                  </a:lnTo>
                  <a:lnTo>
                    <a:pt x="267" y="210"/>
                  </a:lnTo>
                  <a:lnTo>
                    <a:pt x="264" y="210"/>
                  </a:lnTo>
                  <a:lnTo>
                    <a:pt x="259" y="210"/>
                  </a:lnTo>
                  <a:lnTo>
                    <a:pt x="254" y="213"/>
                  </a:lnTo>
                  <a:lnTo>
                    <a:pt x="249" y="213"/>
                  </a:lnTo>
                  <a:lnTo>
                    <a:pt x="246" y="213"/>
                  </a:lnTo>
                  <a:lnTo>
                    <a:pt x="241" y="213"/>
                  </a:lnTo>
                  <a:lnTo>
                    <a:pt x="236" y="215"/>
                  </a:lnTo>
                  <a:lnTo>
                    <a:pt x="231" y="215"/>
                  </a:lnTo>
                  <a:lnTo>
                    <a:pt x="228" y="218"/>
                  </a:lnTo>
                  <a:lnTo>
                    <a:pt x="223" y="218"/>
                  </a:lnTo>
                  <a:lnTo>
                    <a:pt x="218" y="221"/>
                  </a:lnTo>
                  <a:lnTo>
                    <a:pt x="215" y="223"/>
                  </a:lnTo>
                  <a:lnTo>
                    <a:pt x="210" y="223"/>
                  </a:lnTo>
                  <a:lnTo>
                    <a:pt x="208" y="226"/>
                  </a:lnTo>
                  <a:lnTo>
                    <a:pt x="203" y="228"/>
                  </a:lnTo>
                  <a:lnTo>
                    <a:pt x="200" y="231"/>
                  </a:lnTo>
                  <a:lnTo>
                    <a:pt x="195" y="233"/>
                  </a:lnTo>
                  <a:lnTo>
                    <a:pt x="203" y="244"/>
                  </a:lnTo>
                  <a:lnTo>
                    <a:pt x="205" y="241"/>
                  </a:lnTo>
                  <a:lnTo>
                    <a:pt x="210" y="238"/>
                  </a:lnTo>
                  <a:lnTo>
                    <a:pt x="213" y="236"/>
                  </a:lnTo>
                  <a:lnTo>
                    <a:pt x="218" y="236"/>
                  </a:lnTo>
                  <a:lnTo>
                    <a:pt x="221" y="233"/>
                  </a:lnTo>
                  <a:lnTo>
                    <a:pt x="223" y="231"/>
                  </a:lnTo>
                  <a:lnTo>
                    <a:pt x="228" y="231"/>
                  </a:lnTo>
                  <a:lnTo>
                    <a:pt x="231" y="228"/>
                  </a:lnTo>
                  <a:lnTo>
                    <a:pt x="236" y="228"/>
                  </a:lnTo>
                  <a:lnTo>
                    <a:pt x="238" y="226"/>
                  </a:lnTo>
                  <a:lnTo>
                    <a:pt x="244" y="226"/>
                  </a:lnTo>
                  <a:lnTo>
                    <a:pt x="246" y="226"/>
                  </a:lnTo>
                  <a:lnTo>
                    <a:pt x="251" y="226"/>
                  </a:lnTo>
                  <a:lnTo>
                    <a:pt x="254" y="223"/>
                  </a:lnTo>
                  <a:lnTo>
                    <a:pt x="259" y="223"/>
                  </a:lnTo>
                  <a:lnTo>
                    <a:pt x="264" y="223"/>
                  </a:lnTo>
                  <a:lnTo>
                    <a:pt x="279" y="223"/>
                  </a:lnTo>
                  <a:lnTo>
                    <a:pt x="279" y="44"/>
                  </a:lnTo>
                  <a:lnTo>
                    <a:pt x="292" y="44"/>
                  </a:lnTo>
                  <a:lnTo>
                    <a:pt x="292" y="62"/>
                  </a:lnTo>
                  <a:lnTo>
                    <a:pt x="292" y="80"/>
                  </a:lnTo>
                  <a:lnTo>
                    <a:pt x="305" y="80"/>
                  </a:lnTo>
                  <a:lnTo>
                    <a:pt x="305" y="69"/>
                  </a:lnTo>
                  <a:lnTo>
                    <a:pt x="305" y="69"/>
                  </a:lnTo>
                  <a:lnTo>
                    <a:pt x="308" y="69"/>
                  </a:lnTo>
                  <a:lnTo>
                    <a:pt x="308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3" y="69"/>
                  </a:lnTo>
                  <a:lnTo>
                    <a:pt x="313" y="69"/>
                  </a:lnTo>
                  <a:lnTo>
                    <a:pt x="313" y="72"/>
                  </a:lnTo>
                  <a:lnTo>
                    <a:pt x="313" y="72"/>
                  </a:lnTo>
                  <a:lnTo>
                    <a:pt x="315" y="72"/>
                  </a:lnTo>
                  <a:lnTo>
                    <a:pt x="315" y="75"/>
                  </a:lnTo>
                  <a:lnTo>
                    <a:pt x="315" y="75"/>
                  </a:lnTo>
                  <a:lnTo>
                    <a:pt x="315" y="75"/>
                  </a:lnTo>
                  <a:lnTo>
                    <a:pt x="315" y="75"/>
                  </a:lnTo>
                  <a:lnTo>
                    <a:pt x="315" y="77"/>
                  </a:lnTo>
                  <a:lnTo>
                    <a:pt x="318" y="77"/>
                  </a:lnTo>
                  <a:lnTo>
                    <a:pt x="318" y="246"/>
                  </a:lnTo>
                  <a:lnTo>
                    <a:pt x="315" y="249"/>
                  </a:lnTo>
                  <a:lnTo>
                    <a:pt x="315" y="249"/>
                  </a:lnTo>
                  <a:lnTo>
                    <a:pt x="315" y="249"/>
                  </a:lnTo>
                  <a:lnTo>
                    <a:pt x="315" y="251"/>
                  </a:lnTo>
                  <a:lnTo>
                    <a:pt x="315" y="251"/>
                  </a:lnTo>
                  <a:lnTo>
                    <a:pt x="315" y="254"/>
                  </a:lnTo>
                  <a:lnTo>
                    <a:pt x="313" y="254"/>
                  </a:lnTo>
                  <a:lnTo>
                    <a:pt x="313" y="254"/>
                  </a:lnTo>
                  <a:lnTo>
                    <a:pt x="313" y="256"/>
                  </a:lnTo>
                  <a:lnTo>
                    <a:pt x="310" y="256"/>
                  </a:lnTo>
                  <a:lnTo>
                    <a:pt x="310" y="256"/>
                  </a:lnTo>
                  <a:lnTo>
                    <a:pt x="310" y="259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05" y="259"/>
                  </a:lnTo>
                  <a:lnTo>
                    <a:pt x="208" y="259"/>
                  </a:lnTo>
                  <a:lnTo>
                    <a:pt x="205" y="259"/>
                  </a:lnTo>
                  <a:lnTo>
                    <a:pt x="200" y="264"/>
                  </a:lnTo>
                  <a:lnTo>
                    <a:pt x="197" y="264"/>
                  </a:lnTo>
                  <a:lnTo>
                    <a:pt x="195" y="267"/>
                  </a:lnTo>
                  <a:lnTo>
                    <a:pt x="192" y="269"/>
                  </a:lnTo>
                  <a:lnTo>
                    <a:pt x="190" y="269"/>
                  </a:lnTo>
                  <a:lnTo>
                    <a:pt x="187" y="269"/>
                  </a:lnTo>
                  <a:lnTo>
                    <a:pt x="187" y="272"/>
                  </a:lnTo>
                  <a:lnTo>
                    <a:pt x="136" y="272"/>
                  </a:lnTo>
                  <a:lnTo>
                    <a:pt x="136" y="269"/>
                  </a:lnTo>
                  <a:lnTo>
                    <a:pt x="133" y="269"/>
                  </a:lnTo>
                  <a:lnTo>
                    <a:pt x="133" y="269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6" y="264"/>
                  </a:lnTo>
                  <a:lnTo>
                    <a:pt x="123" y="262"/>
                  </a:lnTo>
                  <a:lnTo>
                    <a:pt x="121" y="262"/>
                  </a:lnTo>
                  <a:lnTo>
                    <a:pt x="121" y="259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1" y="259"/>
                  </a:lnTo>
                  <a:lnTo>
                    <a:pt x="21" y="256"/>
                  </a:lnTo>
                  <a:lnTo>
                    <a:pt x="18" y="256"/>
                  </a:lnTo>
                  <a:lnTo>
                    <a:pt x="18" y="256"/>
                  </a:lnTo>
                  <a:lnTo>
                    <a:pt x="16" y="254"/>
                  </a:lnTo>
                  <a:lnTo>
                    <a:pt x="16" y="254"/>
                  </a:lnTo>
                  <a:lnTo>
                    <a:pt x="13" y="254"/>
                  </a:lnTo>
                  <a:lnTo>
                    <a:pt x="13" y="251"/>
                  </a:lnTo>
                  <a:lnTo>
                    <a:pt x="13" y="251"/>
                  </a:lnTo>
                  <a:lnTo>
                    <a:pt x="13" y="249"/>
                  </a:lnTo>
                  <a:lnTo>
                    <a:pt x="13" y="249"/>
                  </a:lnTo>
                  <a:lnTo>
                    <a:pt x="13" y="246"/>
                  </a:lnTo>
                  <a:lnTo>
                    <a:pt x="11" y="246"/>
                  </a:lnTo>
                  <a:lnTo>
                    <a:pt x="11" y="77"/>
                  </a:lnTo>
                  <a:lnTo>
                    <a:pt x="13" y="77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3" y="69"/>
                  </a:lnTo>
                  <a:lnTo>
                    <a:pt x="31" y="69"/>
                  </a:lnTo>
                  <a:lnTo>
                    <a:pt x="31" y="241"/>
                  </a:lnTo>
                  <a:lnTo>
                    <a:pt x="136" y="241"/>
                  </a:lnTo>
                  <a:lnTo>
                    <a:pt x="139" y="241"/>
                  </a:lnTo>
                  <a:lnTo>
                    <a:pt x="139" y="241"/>
                  </a:lnTo>
                  <a:lnTo>
                    <a:pt x="139" y="241"/>
                  </a:lnTo>
                  <a:lnTo>
                    <a:pt x="139" y="241"/>
                  </a:lnTo>
                  <a:lnTo>
                    <a:pt x="141" y="241"/>
                  </a:lnTo>
                  <a:lnTo>
                    <a:pt x="141" y="241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46" y="246"/>
                  </a:lnTo>
                  <a:lnTo>
                    <a:pt x="146" y="246"/>
                  </a:lnTo>
                  <a:lnTo>
                    <a:pt x="149" y="249"/>
                  </a:lnTo>
                  <a:lnTo>
                    <a:pt x="149" y="249"/>
                  </a:lnTo>
                  <a:lnTo>
                    <a:pt x="149" y="251"/>
                  </a:lnTo>
                  <a:lnTo>
                    <a:pt x="151" y="251"/>
                  </a:lnTo>
                  <a:lnTo>
                    <a:pt x="151" y="254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1" y="259"/>
                  </a:lnTo>
                  <a:lnTo>
                    <a:pt x="164" y="259"/>
                  </a:lnTo>
                  <a:close/>
                  <a:moveTo>
                    <a:pt x="264" y="0"/>
                  </a:moveTo>
                  <a:lnTo>
                    <a:pt x="259" y="0"/>
                  </a:lnTo>
                  <a:lnTo>
                    <a:pt x="256" y="0"/>
                  </a:lnTo>
                  <a:lnTo>
                    <a:pt x="254" y="0"/>
                  </a:lnTo>
                  <a:lnTo>
                    <a:pt x="249" y="0"/>
                  </a:lnTo>
                  <a:lnTo>
                    <a:pt x="246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3" y="3"/>
                  </a:lnTo>
                  <a:lnTo>
                    <a:pt x="231" y="3"/>
                  </a:lnTo>
                  <a:lnTo>
                    <a:pt x="226" y="3"/>
                  </a:lnTo>
                  <a:lnTo>
                    <a:pt x="223" y="5"/>
                  </a:lnTo>
                  <a:lnTo>
                    <a:pt x="221" y="5"/>
                  </a:lnTo>
                  <a:lnTo>
                    <a:pt x="215" y="8"/>
                  </a:lnTo>
                  <a:lnTo>
                    <a:pt x="213" y="8"/>
                  </a:lnTo>
                  <a:lnTo>
                    <a:pt x="208" y="11"/>
                  </a:lnTo>
                  <a:lnTo>
                    <a:pt x="205" y="11"/>
                  </a:lnTo>
                  <a:lnTo>
                    <a:pt x="200" y="13"/>
                  </a:lnTo>
                  <a:lnTo>
                    <a:pt x="197" y="16"/>
                  </a:lnTo>
                  <a:lnTo>
                    <a:pt x="195" y="16"/>
                  </a:lnTo>
                  <a:lnTo>
                    <a:pt x="190" y="18"/>
                  </a:lnTo>
                  <a:lnTo>
                    <a:pt x="187" y="21"/>
                  </a:lnTo>
                  <a:lnTo>
                    <a:pt x="185" y="23"/>
                  </a:lnTo>
                  <a:lnTo>
                    <a:pt x="180" y="26"/>
                  </a:lnTo>
                  <a:lnTo>
                    <a:pt x="177" y="29"/>
                  </a:lnTo>
                  <a:lnTo>
                    <a:pt x="174" y="31"/>
                  </a:lnTo>
                  <a:lnTo>
                    <a:pt x="172" y="34"/>
                  </a:lnTo>
                  <a:lnTo>
                    <a:pt x="169" y="36"/>
                  </a:lnTo>
                  <a:lnTo>
                    <a:pt x="167" y="39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2" y="44"/>
                  </a:lnTo>
                  <a:lnTo>
                    <a:pt x="162" y="46"/>
                  </a:lnTo>
                  <a:lnTo>
                    <a:pt x="159" y="46"/>
                  </a:lnTo>
                  <a:lnTo>
                    <a:pt x="159" y="49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54" y="49"/>
                  </a:lnTo>
                  <a:lnTo>
                    <a:pt x="154" y="49"/>
                  </a:lnTo>
                  <a:lnTo>
                    <a:pt x="151" y="49"/>
                  </a:lnTo>
                  <a:lnTo>
                    <a:pt x="151" y="46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4" y="44"/>
                  </a:lnTo>
                  <a:lnTo>
                    <a:pt x="144" y="44"/>
                  </a:lnTo>
                  <a:lnTo>
                    <a:pt x="141" y="44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6" y="41"/>
                  </a:lnTo>
                  <a:lnTo>
                    <a:pt x="31" y="41"/>
                  </a:lnTo>
                  <a:lnTo>
                    <a:pt x="3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3" y="57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8" y="59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5" y="259"/>
                  </a:lnTo>
                  <a:lnTo>
                    <a:pt x="5" y="262"/>
                  </a:lnTo>
                  <a:lnTo>
                    <a:pt x="5" y="262"/>
                  </a:lnTo>
                  <a:lnTo>
                    <a:pt x="5" y="262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11" y="264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3" y="267"/>
                  </a:lnTo>
                  <a:lnTo>
                    <a:pt x="13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21" y="272"/>
                  </a:lnTo>
                  <a:lnTo>
                    <a:pt x="21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116" y="272"/>
                  </a:lnTo>
                  <a:lnTo>
                    <a:pt x="118" y="274"/>
                  </a:lnTo>
                  <a:lnTo>
                    <a:pt x="121" y="274"/>
                  </a:lnTo>
                  <a:lnTo>
                    <a:pt x="123" y="277"/>
                  </a:lnTo>
                  <a:lnTo>
                    <a:pt x="126" y="279"/>
                  </a:lnTo>
                  <a:lnTo>
                    <a:pt x="126" y="279"/>
                  </a:lnTo>
                  <a:lnTo>
                    <a:pt x="128" y="279"/>
                  </a:lnTo>
                  <a:lnTo>
                    <a:pt x="128" y="282"/>
                  </a:lnTo>
                  <a:lnTo>
                    <a:pt x="131" y="282"/>
                  </a:lnTo>
                  <a:lnTo>
                    <a:pt x="131" y="282"/>
                  </a:lnTo>
                  <a:lnTo>
                    <a:pt x="133" y="282"/>
                  </a:lnTo>
                  <a:lnTo>
                    <a:pt x="133" y="282"/>
                  </a:lnTo>
                  <a:lnTo>
                    <a:pt x="133" y="282"/>
                  </a:lnTo>
                  <a:lnTo>
                    <a:pt x="136" y="282"/>
                  </a:lnTo>
                  <a:lnTo>
                    <a:pt x="136" y="282"/>
                  </a:lnTo>
                  <a:lnTo>
                    <a:pt x="187" y="282"/>
                  </a:lnTo>
                  <a:lnTo>
                    <a:pt x="187" y="282"/>
                  </a:lnTo>
                  <a:lnTo>
                    <a:pt x="190" y="282"/>
                  </a:lnTo>
                  <a:lnTo>
                    <a:pt x="190" y="282"/>
                  </a:lnTo>
                  <a:lnTo>
                    <a:pt x="190" y="282"/>
                  </a:lnTo>
                  <a:lnTo>
                    <a:pt x="192" y="282"/>
                  </a:lnTo>
                  <a:lnTo>
                    <a:pt x="192" y="282"/>
                  </a:lnTo>
                  <a:lnTo>
                    <a:pt x="195" y="282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200" y="279"/>
                  </a:lnTo>
                  <a:lnTo>
                    <a:pt x="203" y="277"/>
                  </a:lnTo>
                  <a:lnTo>
                    <a:pt x="205" y="274"/>
                  </a:lnTo>
                  <a:lnTo>
                    <a:pt x="208" y="274"/>
                  </a:lnTo>
                  <a:lnTo>
                    <a:pt x="210" y="272"/>
                  </a:lnTo>
                  <a:lnTo>
                    <a:pt x="305" y="272"/>
                  </a:lnTo>
                  <a:lnTo>
                    <a:pt x="308" y="272"/>
                  </a:lnTo>
                  <a:lnTo>
                    <a:pt x="308" y="272"/>
                  </a:lnTo>
                  <a:lnTo>
                    <a:pt x="310" y="272"/>
                  </a:lnTo>
                  <a:lnTo>
                    <a:pt x="310" y="272"/>
                  </a:lnTo>
                  <a:lnTo>
                    <a:pt x="310" y="269"/>
                  </a:lnTo>
                  <a:lnTo>
                    <a:pt x="313" y="269"/>
                  </a:lnTo>
                  <a:lnTo>
                    <a:pt x="313" y="269"/>
                  </a:lnTo>
                  <a:lnTo>
                    <a:pt x="315" y="269"/>
                  </a:lnTo>
                  <a:lnTo>
                    <a:pt x="315" y="269"/>
                  </a:lnTo>
                  <a:lnTo>
                    <a:pt x="315" y="267"/>
                  </a:lnTo>
                  <a:lnTo>
                    <a:pt x="318" y="267"/>
                  </a:lnTo>
                  <a:lnTo>
                    <a:pt x="318" y="267"/>
                  </a:lnTo>
                  <a:lnTo>
                    <a:pt x="320" y="267"/>
                  </a:lnTo>
                  <a:lnTo>
                    <a:pt x="320" y="264"/>
                  </a:lnTo>
                  <a:lnTo>
                    <a:pt x="320" y="264"/>
                  </a:lnTo>
                  <a:lnTo>
                    <a:pt x="323" y="264"/>
                  </a:lnTo>
                  <a:lnTo>
                    <a:pt x="323" y="262"/>
                  </a:lnTo>
                  <a:lnTo>
                    <a:pt x="323" y="262"/>
                  </a:lnTo>
                  <a:lnTo>
                    <a:pt x="323" y="259"/>
                  </a:lnTo>
                  <a:lnTo>
                    <a:pt x="325" y="259"/>
                  </a:lnTo>
                  <a:lnTo>
                    <a:pt x="325" y="259"/>
                  </a:lnTo>
                  <a:lnTo>
                    <a:pt x="325" y="256"/>
                  </a:lnTo>
                  <a:lnTo>
                    <a:pt x="325" y="256"/>
                  </a:lnTo>
                  <a:lnTo>
                    <a:pt x="328" y="254"/>
                  </a:lnTo>
                  <a:lnTo>
                    <a:pt x="328" y="254"/>
                  </a:lnTo>
                  <a:lnTo>
                    <a:pt x="328" y="254"/>
                  </a:lnTo>
                  <a:lnTo>
                    <a:pt x="328" y="251"/>
                  </a:lnTo>
                  <a:lnTo>
                    <a:pt x="328" y="251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8" y="246"/>
                  </a:lnTo>
                  <a:lnTo>
                    <a:pt x="328" y="77"/>
                  </a:lnTo>
                  <a:lnTo>
                    <a:pt x="328" y="77"/>
                  </a:lnTo>
                  <a:lnTo>
                    <a:pt x="328" y="75"/>
                  </a:lnTo>
                  <a:lnTo>
                    <a:pt x="328" y="75"/>
                  </a:lnTo>
                  <a:lnTo>
                    <a:pt x="328" y="72"/>
                  </a:lnTo>
                  <a:lnTo>
                    <a:pt x="328" y="72"/>
                  </a:lnTo>
                  <a:lnTo>
                    <a:pt x="328" y="72"/>
                  </a:lnTo>
                  <a:lnTo>
                    <a:pt x="328" y="69"/>
                  </a:lnTo>
                  <a:lnTo>
                    <a:pt x="325" y="69"/>
                  </a:lnTo>
                  <a:lnTo>
                    <a:pt x="325" y="67"/>
                  </a:lnTo>
                  <a:lnTo>
                    <a:pt x="325" y="67"/>
                  </a:lnTo>
                  <a:lnTo>
                    <a:pt x="325" y="67"/>
                  </a:lnTo>
                  <a:lnTo>
                    <a:pt x="325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3" y="62"/>
                  </a:lnTo>
                  <a:lnTo>
                    <a:pt x="320" y="62"/>
                  </a:lnTo>
                  <a:lnTo>
                    <a:pt x="320" y="62"/>
                  </a:lnTo>
                  <a:lnTo>
                    <a:pt x="320" y="62"/>
                  </a:lnTo>
                  <a:lnTo>
                    <a:pt x="318" y="59"/>
                  </a:lnTo>
                  <a:lnTo>
                    <a:pt x="318" y="59"/>
                  </a:lnTo>
                  <a:lnTo>
                    <a:pt x="315" y="59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0" y="57"/>
                  </a:lnTo>
                  <a:lnTo>
                    <a:pt x="310" y="57"/>
                  </a:lnTo>
                  <a:lnTo>
                    <a:pt x="308" y="57"/>
                  </a:lnTo>
                  <a:lnTo>
                    <a:pt x="308" y="57"/>
                  </a:lnTo>
                  <a:lnTo>
                    <a:pt x="308" y="57"/>
                  </a:lnTo>
                  <a:lnTo>
                    <a:pt x="305" y="57"/>
                  </a:lnTo>
                  <a:lnTo>
                    <a:pt x="305" y="57"/>
                  </a:lnTo>
                  <a:lnTo>
                    <a:pt x="305" y="31"/>
                  </a:lnTo>
                  <a:lnTo>
                    <a:pt x="279" y="31"/>
                  </a:lnTo>
                  <a:lnTo>
                    <a:pt x="279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0" name="Group 273">
            <a:extLst>
              <a:ext uri="{FF2B5EF4-FFF2-40B4-BE49-F238E27FC236}">
                <a16:creationId xmlns:a16="http://schemas.microsoft.com/office/drawing/2014/main" id="{FCFE41A2-0E8C-45D8-B7CB-DA96CE0D15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26496" y="5468000"/>
            <a:ext cx="760413" cy="758825"/>
            <a:chOff x="2190" y="3557"/>
            <a:chExt cx="479" cy="478"/>
          </a:xfrm>
        </p:grpSpPr>
        <p:sp>
          <p:nvSpPr>
            <p:cNvPr id="311" name="AutoShape 272">
              <a:extLst>
                <a:ext uri="{FF2B5EF4-FFF2-40B4-BE49-F238E27FC236}">
                  <a16:creationId xmlns:a16="http://schemas.microsoft.com/office/drawing/2014/main" id="{D91B26D4-C167-41C5-9146-16E982187F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90" y="355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74">
              <a:extLst>
                <a:ext uri="{FF2B5EF4-FFF2-40B4-BE49-F238E27FC236}">
                  <a16:creationId xmlns:a16="http://schemas.microsoft.com/office/drawing/2014/main" id="{A9558EF1-F557-4C74-ACF0-69C57C7C6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2" y="355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75">
              <a:extLst>
                <a:ext uri="{FF2B5EF4-FFF2-40B4-BE49-F238E27FC236}">
                  <a16:creationId xmlns:a16="http://schemas.microsoft.com/office/drawing/2014/main" id="{9974473C-6218-4571-9ACC-9938DB87A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8" y="3623"/>
              <a:ext cx="285" cy="309"/>
            </a:xfrm>
            <a:custGeom>
              <a:avLst/>
              <a:gdLst>
                <a:gd name="T0" fmla="*/ 185 w 285"/>
                <a:gd name="T1" fmla="*/ 272 h 309"/>
                <a:gd name="T2" fmla="*/ 229 w 285"/>
                <a:gd name="T3" fmla="*/ 267 h 309"/>
                <a:gd name="T4" fmla="*/ 275 w 285"/>
                <a:gd name="T5" fmla="*/ 287 h 309"/>
                <a:gd name="T6" fmla="*/ 160 w 285"/>
                <a:gd name="T7" fmla="*/ 294 h 309"/>
                <a:gd name="T8" fmla="*/ 148 w 285"/>
                <a:gd name="T9" fmla="*/ 297 h 309"/>
                <a:gd name="T10" fmla="*/ 135 w 285"/>
                <a:gd name="T11" fmla="*/ 297 h 309"/>
                <a:gd name="T12" fmla="*/ 126 w 285"/>
                <a:gd name="T13" fmla="*/ 292 h 309"/>
                <a:gd name="T14" fmla="*/ 10 w 285"/>
                <a:gd name="T15" fmla="*/ 108 h 309"/>
                <a:gd name="T16" fmla="*/ 64 w 285"/>
                <a:gd name="T17" fmla="*/ 267 h 309"/>
                <a:gd name="T18" fmla="*/ 103 w 285"/>
                <a:gd name="T19" fmla="*/ 272 h 309"/>
                <a:gd name="T20" fmla="*/ 123 w 285"/>
                <a:gd name="T21" fmla="*/ 277 h 309"/>
                <a:gd name="T22" fmla="*/ 130 w 285"/>
                <a:gd name="T23" fmla="*/ 270 h 309"/>
                <a:gd name="T24" fmla="*/ 140 w 285"/>
                <a:gd name="T25" fmla="*/ 267 h 309"/>
                <a:gd name="T26" fmla="*/ 150 w 285"/>
                <a:gd name="T27" fmla="*/ 267 h 309"/>
                <a:gd name="T28" fmla="*/ 157 w 285"/>
                <a:gd name="T29" fmla="*/ 272 h 309"/>
                <a:gd name="T30" fmla="*/ 111 w 285"/>
                <a:gd name="T31" fmla="*/ 262 h 309"/>
                <a:gd name="T32" fmla="*/ 74 w 285"/>
                <a:gd name="T33" fmla="*/ 258 h 309"/>
                <a:gd name="T34" fmla="*/ 37 w 285"/>
                <a:gd name="T35" fmla="*/ 76 h 309"/>
                <a:gd name="T36" fmla="*/ 81 w 285"/>
                <a:gd name="T37" fmla="*/ 211 h 309"/>
                <a:gd name="T38" fmla="*/ 103 w 285"/>
                <a:gd name="T39" fmla="*/ 231 h 309"/>
                <a:gd name="T40" fmla="*/ 123 w 285"/>
                <a:gd name="T41" fmla="*/ 253 h 309"/>
                <a:gd name="T42" fmla="*/ 116 w 285"/>
                <a:gd name="T43" fmla="*/ 262 h 309"/>
                <a:gd name="T44" fmla="*/ 165 w 285"/>
                <a:gd name="T45" fmla="*/ 255 h 309"/>
                <a:gd name="T46" fmla="*/ 180 w 285"/>
                <a:gd name="T47" fmla="*/ 248 h 309"/>
                <a:gd name="T48" fmla="*/ 194 w 285"/>
                <a:gd name="T49" fmla="*/ 240 h 309"/>
                <a:gd name="T50" fmla="*/ 219 w 285"/>
                <a:gd name="T51" fmla="*/ 238 h 309"/>
                <a:gd name="T52" fmla="*/ 234 w 285"/>
                <a:gd name="T53" fmla="*/ 255 h 309"/>
                <a:gd name="T54" fmla="*/ 197 w 285"/>
                <a:gd name="T55" fmla="*/ 260 h 309"/>
                <a:gd name="T56" fmla="*/ 165 w 285"/>
                <a:gd name="T57" fmla="*/ 262 h 309"/>
                <a:gd name="T58" fmla="*/ 157 w 285"/>
                <a:gd name="T59" fmla="*/ 71 h 309"/>
                <a:gd name="T60" fmla="*/ 172 w 285"/>
                <a:gd name="T61" fmla="*/ 61 h 309"/>
                <a:gd name="T62" fmla="*/ 189 w 285"/>
                <a:gd name="T63" fmla="*/ 54 h 309"/>
                <a:gd name="T64" fmla="*/ 207 w 285"/>
                <a:gd name="T65" fmla="*/ 49 h 309"/>
                <a:gd name="T66" fmla="*/ 214 w 285"/>
                <a:gd name="T67" fmla="*/ 228 h 309"/>
                <a:gd name="T68" fmla="*/ 194 w 285"/>
                <a:gd name="T69" fmla="*/ 231 h 309"/>
                <a:gd name="T70" fmla="*/ 180 w 285"/>
                <a:gd name="T71" fmla="*/ 236 h 309"/>
                <a:gd name="T72" fmla="*/ 162 w 285"/>
                <a:gd name="T73" fmla="*/ 243 h 309"/>
                <a:gd name="T74" fmla="*/ 150 w 285"/>
                <a:gd name="T75" fmla="*/ 255 h 309"/>
                <a:gd name="T76" fmla="*/ 126 w 285"/>
                <a:gd name="T77" fmla="*/ 238 h 309"/>
                <a:gd name="T78" fmla="*/ 106 w 285"/>
                <a:gd name="T79" fmla="*/ 216 h 309"/>
                <a:gd name="T80" fmla="*/ 99 w 285"/>
                <a:gd name="T81" fmla="*/ 27 h 309"/>
                <a:gd name="T82" fmla="*/ 121 w 285"/>
                <a:gd name="T83" fmla="*/ 52 h 309"/>
                <a:gd name="T84" fmla="*/ 138 w 285"/>
                <a:gd name="T85" fmla="*/ 81 h 309"/>
                <a:gd name="T86" fmla="*/ 62 w 285"/>
                <a:gd name="T87" fmla="*/ 66 h 309"/>
                <a:gd name="T88" fmla="*/ 116 w 285"/>
                <a:gd name="T89" fmla="*/ 297 h 309"/>
                <a:gd name="T90" fmla="*/ 126 w 285"/>
                <a:gd name="T91" fmla="*/ 304 h 309"/>
                <a:gd name="T92" fmla="*/ 138 w 285"/>
                <a:gd name="T93" fmla="*/ 309 h 309"/>
                <a:gd name="T94" fmla="*/ 153 w 285"/>
                <a:gd name="T95" fmla="*/ 307 h 309"/>
                <a:gd name="T96" fmla="*/ 165 w 285"/>
                <a:gd name="T97" fmla="*/ 302 h 309"/>
                <a:gd name="T98" fmla="*/ 258 w 285"/>
                <a:gd name="T99" fmla="*/ 98 h 309"/>
                <a:gd name="T100" fmla="*/ 216 w 285"/>
                <a:gd name="T101" fmla="*/ 37 h 309"/>
                <a:gd name="T102" fmla="*/ 197 w 285"/>
                <a:gd name="T103" fmla="*/ 42 h 309"/>
                <a:gd name="T104" fmla="*/ 177 w 285"/>
                <a:gd name="T105" fmla="*/ 47 h 309"/>
                <a:gd name="T106" fmla="*/ 160 w 285"/>
                <a:gd name="T107" fmla="*/ 57 h 309"/>
                <a:gd name="T108" fmla="*/ 145 w 285"/>
                <a:gd name="T109" fmla="*/ 71 h 309"/>
                <a:gd name="T110" fmla="*/ 133 w 285"/>
                <a:gd name="T111" fmla="*/ 49 h 309"/>
                <a:gd name="T112" fmla="*/ 121 w 285"/>
                <a:gd name="T113" fmla="*/ 34 h 309"/>
                <a:gd name="T114" fmla="*/ 106 w 285"/>
                <a:gd name="T115" fmla="*/ 20 h 309"/>
                <a:gd name="T116" fmla="*/ 81 w 285"/>
                <a:gd name="T117" fmla="*/ 0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5" h="309">
                  <a:moveTo>
                    <a:pt x="165" y="277"/>
                  </a:moveTo>
                  <a:lnTo>
                    <a:pt x="167" y="275"/>
                  </a:lnTo>
                  <a:lnTo>
                    <a:pt x="170" y="275"/>
                  </a:lnTo>
                  <a:lnTo>
                    <a:pt x="172" y="275"/>
                  </a:lnTo>
                  <a:lnTo>
                    <a:pt x="177" y="272"/>
                  </a:lnTo>
                  <a:lnTo>
                    <a:pt x="180" y="272"/>
                  </a:lnTo>
                  <a:lnTo>
                    <a:pt x="185" y="272"/>
                  </a:lnTo>
                  <a:lnTo>
                    <a:pt x="192" y="270"/>
                  </a:lnTo>
                  <a:lnTo>
                    <a:pt x="197" y="270"/>
                  </a:lnTo>
                  <a:lnTo>
                    <a:pt x="204" y="267"/>
                  </a:lnTo>
                  <a:lnTo>
                    <a:pt x="209" y="267"/>
                  </a:lnTo>
                  <a:lnTo>
                    <a:pt x="216" y="267"/>
                  </a:lnTo>
                  <a:lnTo>
                    <a:pt x="221" y="267"/>
                  </a:lnTo>
                  <a:lnTo>
                    <a:pt x="229" y="267"/>
                  </a:lnTo>
                  <a:lnTo>
                    <a:pt x="234" y="267"/>
                  </a:lnTo>
                  <a:lnTo>
                    <a:pt x="241" y="267"/>
                  </a:lnTo>
                  <a:lnTo>
                    <a:pt x="246" y="267"/>
                  </a:lnTo>
                  <a:lnTo>
                    <a:pt x="258" y="267"/>
                  </a:lnTo>
                  <a:lnTo>
                    <a:pt x="258" y="108"/>
                  </a:lnTo>
                  <a:lnTo>
                    <a:pt x="275" y="108"/>
                  </a:lnTo>
                  <a:lnTo>
                    <a:pt x="275" y="287"/>
                  </a:lnTo>
                  <a:lnTo>
                    <a:pt x="165" y="287"/>
                  </a:lnTo>
                  <a:lnTo>
                    <a:pt x="165" y="287"/>
                  </a:lnTo>
                  <a:lnTo>
                    <a:pt x="162" y="289"/>
                  </a:lnTo>
                  <a:lnTo>
                    <a:pt x="162" y="289"/>
                  </a:lnTo>
                  <a:lnTo>
                    <a:pt x="162" y="292"/>
                  </a:lnTo>
                  <a:lnTo>
                    <a:pt x="160" y="292"/>
                  </a:lnTo>
                  <a:lnTo>
                    <a:pt x="160" y="294"/>
                  </a:lnTo>
                  <a:lnTo>
                    <a:pt x="157" y="294"/>
                  </a:lnTo>
                  <a:lnTo>
                    <a:pt x="155" y="294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0" y="297"/>
                  </a:lnTo>
                  <a:lnTo>
                    <a:pt x="148" y="297"/>
                  </a:lnTo>
                  <a:lnTo>
                    <a:pt x="148" y="297"/>
                  </a:lnTo>
                  <a:lnTo>
                    <a:pt x="145" y="297"/>
                  </a:lnTo>
                  <a:lnTo>
                    <a:pt x="143" y="297"/>
                  </a:lnTo>
                  <a:lnTo>
                    <a:pt x="140" y="297"/>
                  </a:lnTo>
                  <a:lnTo>
                    <a:pt x="138" y="297"/>
                  </a:lnTo>
                  <a:lnTo>
                    <a:pt x="138" y="297"/>
                  </a:lnTo>
                  <a:lnTo>
                    <a:pt x="135" y="297"/>
                  </a:lnTo>
                  <a:lnTo>
                    <a:pt x="133" y="297"/>
                  </a:lnTo>
                  <a:lnTo>
                    <a:pt x="133" y="297"/>
                  </a:lnTo>
                  <a:lnTo>
                    <a:pt x="130" y="297"/>
                  </a:lnTo>
                  <a:lnTo>
                    <a:pt x="130" y="294"/>
                  </a:lnTo>
                  <a:lnTo>
                    <a:pt x="128" y="294"/>
                  </a:lnTo>
                  <a:lnTo>
                    <a:pt x="128" y="294"/>
                  </a:lnTo>
                  <a:lnTo>
                    <a:pt x="126" y="292"/>
                  </a:lnTo>
                  <a:lnTo>
                    <a:pt x="126" y="292"/>
                  </a:lnTo>
                  <a:lnTo>
                    <a:pt x="123" y="289"/>
                  </a:lnTo>
                  <a:lnTo>
                    <a:pt x="123" y="289"/>
                  </a:lnTo>
                  <a:lnTo>
                    <a:pt x="121" y="287"/>
                  </a:lnTo>
                  <a:lnTo>
                    <a:pt x="121" y="287"/>
                  </a:lnTo>
                  <a:lnTo>
                    <a:pt x="10" y="287"/>
                  </a:lnTo>
                  <a:lnTo>
                    <a:pt x="10" y="108"/>
                  </a:lnTo>
                  <a:lnTo>
                    <a:pt x="27" y="108"/>
                  </a:lnTo>
                  <a:lnTo>
                    <a:pt x="27" y="267"/>
                  </a:lnTo>
                  <a:lnTo>
                    <a:pt x="40" y="267"/>
                  </a:lnTo>
                  <a:lnTo>
                    <a:pt x="44" y="267"/>
                  </a:lnTo>
                  <a:lnTo>
                    <a:pt x="52" y="267"/>
                  </a:lnTo>
                  <a:lnTo>
                    <a:pt x="57" y="267"/>
                  </a:lnTo>
                  <a:lnTo>
                    <a:pt x="64" y="267"/>
                  </a:lnTo>
                  <a:lnTo>
                    <a:pt x="69" y="267"/>
                  </a:lnTo>
                  <a:lnTo>
                    <a:pt x="76" y="267"/>
                  </a:lnTo>
                  <a:lnTo>
                    <a:pt x="81" y="267"/>
                  </a:lnTo>
                  <a:lnTo>
                    <a:pt x="89" y="270"/>
                  </a:lnTo>
                  <a:lnTo>
                    <a:pt x="94" y="270"/>
                  </a:lnTo>
                  <a:lnTo>
                    <a:pt x="101" y="270"/>
                  </a:lnTo>
                  <a:lnTo>
                    <a:pt x="103" y="272"/>
                  </a:lnTo>
                  <a:lnTo>
                    <a:pt x="106" y="272"/>
                  </a:lnTo>
                  <a:lnTo>
                    <a:pt x="108" y="272"/>
                  </a:lnTo>
                  <a:lnTo>
                    <a:pt x="113" y="275"/>
                  </a:lnTo>
                  <a:lnTo>
                    <a:pt x="116" y="275"/>
                  </a:lnTo>
                  <a:lnTo>
                    <a:pt x="118" y="275"/>
                  </a:lnTo>
                  <a:lnTo>
                    <a:pt x="121" y="277"/>
                  </a:lnTo>
                  <a:lnTo>
                    <a:pt x="123" y="277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2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33" y="270"/>
                  </a:lnTo>
                  <a:lnTo>
                    <a:pt x="133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8" y="267"/>
                  </a:lnTo>
                  <a:lnTo>
                    <a:pt x="138" y="267"/>
                  </a:lnTo>
                  <a:lnTo>
                    <a:pt x="140" y="267"/>
                  </a:lnTo>
                  <a:lnTo>
                    <a:pt x="140" y="267"/>
                  </a:lnTo>
                  <a:lnTo>
                    <a:pt x="143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50" y="267"/>
                  </a:lnTo>
                  <a:lnTo>
                    <a:pt x="150" y="267"/>
                  </a:lnTo>
                  <a:lnTo>
                    <a:pt x="153" y="267"/>
                  </a:lnTo>
                  <a:lnTo>
                    <a:pt x="153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7" y="272"/>
                  </a:lnTo>
                  <a:lnTo>
                    <a:pt x="157" y="272"/>
                  </a:lnTo>
                  <a:lnTo>
                    <a:pt x="160" y="272"/>
                  </a:lnTo>
                  <a:lnTo>
                    <a:pt x="160" y="275"/>
                  </a:lnTo>
                  <a:lnTo>
                    <a:pt x="160" y="275"/>
                  </a:lnTo>
                  <a:lnTo>
                    <a:pt x="162" y="277"/>
                  </a:lnTo>
                  <a:lnTo>
                    <a:pt x="165" y="277"/>
                  </a:lnTo>
                  <a:close/>
                  <a:moveTo>
                    <a:pt x="116" y="262"/>
                  </a:moveTo>
                  <a:lnTo>
                    <a:pt x="111" y="262"/>
                  </a:lnTo>
                  <a:lnTo>
                    <a:pt x="106" y="260"/>
                  </a:lnTo>
                  <a:lnTo>
                    <a:pt x="101" y="260"/>
                  </a:lnTo>
                  <a:lnTo>
                    <a:pt x="94" y="260"/>
                  </a:lnTo>
                  <a:lnTo>
                    <a:pt x="89" y="258"/>
                  </a:lnTo>
                  <a:lnTo>
                    <a:pt x="84" y="258"/>
                  </a:lnTo>
                  <a:lnTo>
                    <a:pt x="79" y="258"/>
                  </a:lnTo>
                  <a:lnTo>
                    <a:pt x="74" y="258"/>
                  </a:lnTo>
                  <a:lnTo>
                    <a:pt x="69" y="258"/>
                  </a:lnTo>
                  <a:lnTo>
                    <a:pt x="64" y="258"/>
                  </a:lnTo>
                  <a:lnTo>
                    <a:pt x="57" y="255"/>
                  </a:lnTo>
                  <a:lnTo>
                    <a:pt x="52" y="255"/>
                  </a:lnTo>
                  <a:lnTo>
                    <a:pt x="47" y="255"/>
                  </a:lnTo>
                  <a:lnTo>
                    <a:pt x="37" y="255"/>
                  </a:lnTo>
                  <a:lnTo>
                    <a:pt x="37" y="76"/>
                  </a:lnTo>
                  <a:lnTo>
                    <a:pt x="47" y="76"/>
                  </a:lnTo>
                  <a:lnTo>
                    <a:pt x="59" y="76"/>
                  </a:lnTo>
                  <a:lnTo>
                    <a:pt x="64" y="76"/>
                  </a:lnTo>
                  <a:lnTo>
                    <a:pt x="71" y="79"/>
                  </a:lnTo>
                  <a:lnTo>
                    <a:pt x="76" y="79"/>
                  </a:lnTo>
                  <a:lnTo>
                    <a:pt x="81" y="79"/>
                  </a:lnTo>
                  <a:lnTo>
                    <a:pt x="81" y="211"/>
                  </a:lnTo>
                  <a:lnTo>
                    <a:pt x="86" y="213"/>
                  </a:lnTo>
                  <a:lnTo>
                    <a:pt x="89" y="216"/>
                  </a:lnTo>
                  <a:lnTo>
                    <a:pt x="91" y="218"/>
                  </a:lnTo>
                  <a:lnTo>
                    <a:pt x="96" y="221"/>
                  </a:lnTo>
                  <a:lnTo>
                    <a:pt x="99" y="223"/>
                  </a:lnTo>
                  <a:lnTo>
                    <a:pt x="101" y="226"/>
                  </a:lnTo>
                  <a:lnTo>
                    <a:pt x="103" y="231"/>
                  </a:lnTo>
                  <a:lnTo>
                    <a:pt x="108" y="233"/>
                  </a:lnTo>
                  <a:lnTo>
                    <a:pt x="111" y="236"/>
                  </a:lnTo>
                  <a:lnTo>
                    <a:pt x="113" y="238"/>
                  </a:lnTo>
                  <a:lnTo>
                    <a:pt x="116" y="243"/>
                  </a:lnTo>
                  <a:lnTo>
                    <a:pt x="118" y="245"/>
                  </a:lnTo>
                  <a:lnTo>
                    <a:pt x="121" y="248"/>
                  </a:lnTo>
                  <a:lnTo>
                    <a:pt x="123" y="253"/>
                  </a:lnTo>
                  <a:lnTo>
                    <a:pt x="126" y="255"/>
                  </a:lnTo>
                  <a:lnTo>
                    <a:pt x="128" y="260"/>
                  </a:lnTo>
                  <a:lnTo>
                    <a:pt x="126" y="260"/>
                  </a:lnTo>
                  <a:lnTo>
                    <a:pt x="123" y="262"/>
                  </a:lnTo>
                  <a:lnTo>
                    <a:pt x="123" y="262"/>
                  </a:lnTo>
                  <a:lnTo>
                    <a:pt x="121" y="265"/>
                  </a:lnTo>
                  <a:lnTo>
                    <a:pt x="116" y="262"/>
                  </a:lnTo>
                  <a:close/>
                  <a:moveTo>
                    <a:pt x="165" y="262"/>
                  </a:moveTo>
                  <a:lnTo>
                    <a:pt x="162" y="262"/>
                  </a:lnTo>
                  <a:lnTo>
                    <a:pt x="160" y="260"/>
                  </a:lnTo>
                  <a:lnTo>
                    <a:pt x="160" y="260"/>
                  </a:lnTo>
                  <a:lnTo>
                    <a:pt x="160" y="258"/>
                  </a:lnTo>
                  <a:lnTo>
                    <a:pt x="162" y="258"/>
                  </a:lnTo>
                  <a:lnTo>
                    <a:pt x="165" y="255"/>
                  </a:lnTo>
                  <a:lnTo>
                    <a:pt x="167" y="255"/>
                  </a:lnTo>
                  <a:lnTo>
                    <a:pt x="170" y="253"/>
                  </a:lnTo>
                  <a:lnTo>
                    <a:pt x="170" y="253"/>
                  </a:lnTo>
                  <a:lnTo>
                    <a:pt x="172" y="250"/>
                  </a:lnTo>
                  <a:lnTo>
                    <a:pt x="175" y="250"/>
                  </a:lnTo>
                  <a:lnTo>
                    <a:pt x="177" y="248"/>
                  </a:lnTo>
                  <a:lnTo>
                    <a:pt x="180" y="248"/>
                  </a:lnTo>
                  <a:lnTo>
                    <a:pt x="182" y="245"/>
                  </a:lnTo>
                  <a:lnTo>
                    <a:pt x="185" y="245"/>
                  </a:lnTo>
                  <a:lnTo>
                    <a:pt x="185" y="245"/>
                  </a:lnTo>
                  <a:lnTo>
                    <a:pt x="187" y="243"/>
                  </a:lnTo>
                  <a:lnTo>
                    <a:pt x="189" y="243"/>
                  </a:lnTo>
                  <a:lnTo>
                    <a:pt x="192" y="243"/>
                  </a:lnTo>
                  <a:lnTo>
                    <a:pt x="194" y="240"/>
                  </a:lnTo>
                  <a:lnTo>
                    <a:pt x="197" y="240"/>
                  </a:lnTo>
                  <a:lnTo>
                    <a:pt x="199" y="240"/>
                  </a:lnTo>
                  <a:lnTo>
                    <a:pt x="202" y="240"/>
                  </a:lnTo>
                  <a:lnTo>
                    <a:pt x="207" y="240"/>
                  </a:lnTo>
                  <a:lnTo>
                    <a:pt x="212" y="238"/>
                  </a:lnTo>
                  <a:lnTo>
                    <a:pt x="216" y="238"/>
                  </a:lnTo>
                  <a:lnTo>
                    <a:pt x="219" y="238"/>
                  </a:lnTo>
                  <a:lnTo>
                    <a:pt x="224" y="238"/>
                  </a:lnTo>
                  <a:lnTo>
                    <a:pt x="229" y="238"/>
                  </a:lnTo>
                  <a:lnTo>
                    <a:pt x="229" y="76"/>
                  </a:lnTo>
                  <a:lnTo>
                    <a:pt x="248" y="76"/>
                  </a:lnTo>
                  <a:lnTo>
                    <a:pt x="248" y="255"/>
                  </a:lnTo>
                  <a:lnTo>
                    <a:pt x="239" y="255"/>
                  </a:lnTo>
                  <a:lnTo>
                    <a:pt x="234" y="255"/>
                  </a:lnTo>
                  <a:lnTo>
                    <a:pt x="229" y="258"/>
                  </a:lnTo>
                  <a:lnTo>
                    <a:pt x="221" y="258"/>
                  </a:lnTo>
                  <a:lnTo>
                    <a:pt x="216" y="258"/>
                  </a:lnTo>
                  <a:lnTo>
                    <a:pt x="212" y="258"/>
                  </a:lnTo>
                  <a:lnTo>
                    <a:pt x="207" y="258"/>
                  </a:lnTo>
                  <a:lnTo>
                    <a:pt x="202" y="258"/>
                  </a:lnTo>
                  <a:lnTo>
                    <a:pt x="197" y="260"/>
                  </a:lnTo>
                  <a:lnTo>
                    <a:pt x="192" y="260"/>
                  </a:lnTo>
                  <a:lnTo>
                    <a:pt x="187" y="260"/>
                  </a:lnTo>
                  <a:lnTo>
                    <a:pt x="180" y="262"/>
                  </a:lnTo>
                  <a:lnTo>
                    <a:pt x="175" y="262"/>
                  </a:lnTo>
                  <a:lnTo>
                    <a:pt x="170" y="262"/>
                  </a:lnTo>
                  <a:lnTo>
                    <a:pt x="165" y="265"/>
                  </a:lnTo>
                  <a:lnTo>
                    <a:pt x="165" y="262"/>
                  </a:lnTo>
                  <a:close/>
                  <a:moveTo>
                    <a:pt x="148" y="84"/>
                  </a:moveTo>
                  <a:lnTo>
                    <a:pt x="150" y="81"/>
                  </a:lnTo>
                  <a:lnTo>
                    <a:pt x="150" y="79"/>
                  </a:lnTo>
                  <a:lnTo>
                    <a:pt x="153" y="76"/>
                  </a:lnTo>
                  <a:lnTo>
                    <a:pt x="155" y="74"/>
                  </a:lnTo>
                  <a:lnTo>
                    <a:pt x="157" y="74"/>
                  </a:lnTo>
                  <a:lnTo>
                    <a:pt x="157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5" y="66"/>
                  </a:lnTo>
                  <a:lnTo>
                    <a:pt x="167" y="64"/>
                  </a:lnTo>
                  <a:lnTo>
                    <a:pt x="170" y="64"/>
                  </a:lnTo>
                  <a:lnTo>
                    <a:pt x="170" y="61"/>
                  </a:lnTo>
                  <a:lnTo>
                    <a:pt x="172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80" y="57"/>
                  </a:lnTo>
                  <a:lnTo>
                    <a:pt x="182" y="57"/>
                  </a:lnTo>
                  <a:lnTo>
                    <a:pt x="185" y="57"/>
                  </a:lnTo>
                  <a:lnTo>
                    <a:pt x="187" y="54"/>
                  </a:lnTo>
                  <a:lnTo>
                    <a:pt x="189" y="54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7" y="52"/>
                  </a:lnTo>
                  <a:lnTo>
                    <a:pt x="199" y="52"/>
                  </a:lnTo>
                  <a:lnTo>
                    <a:pt x="202" y="49"/>
                  </a:lnTo>
                  <a:lnTo>
                    <a:pt x="204" y="49"/>
                  </a:lnTo>
                  <a:lnTo>
                    <a:pt x="207" y="49"/>
                  </a:lnTo>
                  <a:lnTo>
                    <a:pt x="209" y="49"/>
                  </a:lnTo>
                  <a:lnTo>
                    <a:pt x="212" y="49"/>
                  </a:lnTo>
                  <a:lnTo>
                    <a:pt x="214" y="49"/>
                  </a:lnTo>
                  <a:lnTo>
                    <a:pt x="216" y="49"/>
                  </a:lnTo>
                  <a:lnTo>
                    <a:pt x="219" y="49"/>
                  </a:lnTo>
                  <a:lnTo>
                    <a:pt x="219" y="228"/>
                  </a:lnTo>
                  <a:lnTo>
                    <a:pt x="214" y="228"/>
                  </a:lnTo>
                  <a:lnTo>
                    <a:pt x="209" y="228"/>
                  </a:lnTo>
                  <a:lnTo>
                    <a:pt x="207" y="228"/>
                  </a:lnTo>
                  <a:lnTo>
                    <a:pt x="204" y="228"/>
                  </a:lnTo>
                  <a:lnTo>
                    <a:pt x="202" y="228"/>
                  </a:lnTo>
                  <a:lnTo>
                    <a:pt x="199" y="231"/>
                  </a:lnTo>
                  <a:lnTo>
                    <a:pt x="197" y="231"/>
                  </a:lnTo>
                  <a:lnTo>
                    <a:pt x="194" y="231"/>
                  </a:lnTo>
                  <a:lnTo>
                    <a:pt x="192" y="231"/>
                  </a:lnTo>
                  <a:lnTo>
                    <a:pt x="189" y="231"/>
                  </a:lnTo>
                  <a:lnTo>
                    <a:pt x="187" y="233"/>
                  </a:lnTo>
                  <a:lnTo>
                    <a:pt x="185" y="233"/>
                  </a:lnTo>
                  <a:lnTo>
                    <a:pt x="182" y="233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77" y="238"/>
                  </a:lnTo>
                  <a:lnTo>
                    <a:pt x="175" y="238"/>
                  </a:lnTo>
                  <a:lnTo>
                    <a:pt x="172" y="238"/>
                  </a:lnTo>
                  <a:lnTo>
                    <a:pt x="170" y="240"/>
                  </a:lnTo>
                  <a:lnTo>
                    <a:pt x="167" y="240"/>
                  </a:lnTo>
                  <a:lnTo>
                    <a:pt x="165" y="243"/>
                  </a:lnTo>
                  <a:lnTo>
                    <a:pt x="162" y="243"/>
                  </a:lnTo>
                  <a:lnTo>
                    <a:pt x="162" y="245"/>
                  </a:lnTo>
                  <a:lnTo>
                    <a:pt x="160" y="245"/>
                  </a:lnTo>
                  <a:lnTo>
                    <a:pt x="157" y="248"/>
                  </a:lnTo>
                  <a:lnTo>
                    <a:pt x="155" y="250"/>
                  </a:lnTo>
                  <a:lnTo>
                    <a:pt x="153" y="250"/>
                  </a:lnTo>
                  <a:lnTo>
                    <a:pt x="153" y="253"/>
                  </a:lnTo>
                  <a:lnTo>
                    <a:pt x="150" y="255"/>
                  </a:lnTo>
                  <a:lnTo>
                    <a:pt x="148" y="255"/>
                  </a:lnTo>
                  <a:lnTo>
                    <a:pt x="148" y="84"/>
                  </a:lnTo>
                  <a:close/>
                  <a:moveTo>
                    <a:pt x="135" y="253"/>
                  </a:moveTo>
                  <a:lnTo>
                    <a:pt x="133" y="248"/>
                  </a:lnTo>
                  <a:lnTo>
                    <a:pt x="130" y="245"/>
                  </a:lnTo>
                  <a:lnTo>
                    <a:pt x="128" y="243"/>
                  </a:lnTo>
                  <a:lnTo>
                    <a:pt x="126" y="238"/>
                  </a:lnTo>
                  <a:lnTo>
                    <a:pt x="123" y="236"/>
                  </a:lnTo>
                  <a:lnTo>
                    <a:pt x="121" y="231"/>
                  </a:lnTo>
                  <a:lnTo>
                    <a:pt x="118" y="228"/>
                  </a:lnTo>
                  <a:lnTo>
                    <a:pt x="116" y="226"/>
                  </a:lnTo>
                  <a:lnTo>
                    <a:pt x="111" y="221"/>
                  </a:lnTo>
                  <a:lnTo>
                    <a:pt x="108" y="218"/>
                  </a:lnTo>
                  <a:lnTo>
                    <a:pt x="106" y="216"/>
                  </a:lnTo>
                  <a:lnTo>
                    <a:pt x="101" y="213"/>
                  </a:lnTo>
                  <a:lnTo>
                    <a:pt x="99" y="211"/>
                  </a:lnTo>
                  <a:lnTo>
                    <a:pt x="96" y="209"/>
                  </a:lnTo>
                  <a:lnTo>
                    <a:pt x="91" y="206"/>
                  </a:lnTo>
                  <a:lnTo>
                    <a:pt x="91" y="20"/>
                  </a:lnTo>
                  <a:lnTo>
                    <a:pt x="96" y="25"/>
                  </a:lnTo>
                  <a:lnTo>
                    <a:pt x="99" y="27"/>
                  </a:lnTo>
                  <a:lnTo>
                    <a:pt x="103" y="30"/>
                  </a:lnTo>
                  <a:lnTo>
                    <a:pt x="106" y="34"/>
                  </a:lnTo>
                  <a:lnTo>
                    <a:pt x="111" y="37"/>
                  </a:lnTo>
                  <a:lnTo>
                    <a:pt x="113" y="42"/>
                  </a:lnTo>
                  <a:lnTo>
                    <a:pt x="116" y="44"/>
                  </a:lnTo>
                  <a:lnTo>
                    <a:pt x="118" y="49"/>
                  </a:lnTo>
                  <a:lnTo>
                    <a:pt x="121" y="52"/>
                  </a:lnTo>
                  <a:lnTo>
                    <a:pt x="123" y="57"/>
                  </a:lnTo>
                  <a:lnTo>
                    <a:pt x="126" y="61"/>
                  </a:lnTo>
                  <a:lnTo>
                    <a:pt x="128" y="64"/>
                  </a:lnTo>
                  <a:lnTo>
                    <a:pt x="130" y="69"/>
                  </a:lnTo>
                  <a:lnTo>
                    <a:pt x="133" y="74"/>
                  </a:lnTo>
                  <a:lnTo>
                    <a:pt x="135" y="79"/>
                  </a:lnTo>
                  <a:lnTo>
                    <a:pt x="138" y="81"/>
                  </a:lnTo>
                  <a:lnTo>
                    <a:pt x="138" y="255"/>
                  </a:lnTo>
                  <a:lnTo>
                    <a:pt x="135" y="253"/>
                  </a:lnTo>
                  <a:close/>
                  <a:moveTo>
                    <a:pt x="81" y="0"/>
                  </a:moveTo>
                  <a:lnTo>
                    <a:pt x="81" y="66"/>
                  </a:lnTo>
                  <a:lnTo>
                    <a:pt x="74" y="66"/>
                  </a:lnTo>
                  <a:lnTo>
                    <a:pt x="69" y="66"/>
                  </a:lnTo>
                  <a:lnTo>
                    <a:pt x="62" y="66"/>
                  </a:lnTo>
                  <a:lnTo>
                    <a:pt x="54" y="66"/>
                  </a:lnTo>
                  <a:lnTo>
                    <a:pt x="40" y="66"/>
                  </a:lnTo>
                  <a:lnTo>
                    <a:pt x="27" y="66"/>
                  </a:lnTo>
                  <a:lnTo>
                    <a:pt x="27" y="98"/>
                  </a:lnTo>
                  <a:lnTo>
                    <a:pt x="0" y="98"/>
                  </a:lnTo>
                  <a:lnTo>
                    <a:pt x="0" y="297"/>
                  </a:lnTo>
                  <a:lnTo>
                    <a:pt x="116" y="297"/>
                  </a:lnTo>
                  <a:lnTo>
                    <a:pt x="116" y="297"/>
                  </a:lnTo>
                  <a:lnTo>
                    <a:pt x="118" y="299"/>
                  </a:lnTo>
                  <a:lnTo>
                    <a:pt x="118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0" y="307"/>
                  </a:lnTo>
                  <a:lnTo>
                    <a:pt x="133" y="307"/>
                  </a:lnTo>
                  <a:lnTo>
                    <a:pt x="135" y="307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40" y="309"/>
                  </a:lnTo>
                  <a:lnTo>
                    <a:pt x="143" y="309"/>
                  </a:lnTo>
                  <a:lnTo>
                    <a:pt x="145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50" y="307"/>
                  </a:lnTo>
                  <a:lnTo>
                    <a:pt x="153" y="307"/>
                  </a:lnTo>
                  <a:lnTo>
                    <a:pt x="155" y="307"/>
                  </a:lnTo>
                  <a:lnTo>
                    <a:pt x="157" y="307"/>
                  </a:lnTo>
                  <a:lnTo>
                    <a:pt x="157" y="304"/>
                  </a:lnTo>
                  <a:lnTo>
                    <a:pt x="160" y="304"/>
                  </a:lnTo>
                  <a:lnTo>
                    <a:pt x="162" y="304"/>
                  </a:lnTo>
                  <a:lnTo>
                    <a:pt x="162" y="302"/>
                  </a:lnTo>
                  <a:lnTo>
                    <a:pt x="165" y="302"/>
                  </a:lnTo>
                  <a:lnTo>
                    <a:pt x="167" y="302"/>
                  </a:lnTo>
                  <a:lnTo>
                    <a:pt x="167" y="299"/>
                  </a:lnTo>
                  <a:lnTo>
                    <a:pt x="170" y="297"/>
                  </a:lnTo>
                  <a:lnTo>
                    <a:pt x="172" y="297"/>
                  </a:lnTo>
                  <a:lnTo>
                    <a:pt x="285" y="297"/>
                  </a:lnTo>
                  <a:lnTo>
                    <a:pt x="285" y="98"/>
                  </a:lnTo>
                  <a:lnTo>
                    <a:pt x="258" y="98"/>
                  </a:lnTo>
                  <a:lnTo>
                    <a:pt x="258" y="66"/>
                  </a:lnTo>
                  <a:lnTo>
                    <a:pt x="243" y="66"/>
                  </a:lnTo>
                  <a:lnTo>
                    <a:pt x="229" y="66"/>
                  </a:lnTo>
                  <a:lnTo>
                    <a:pt x="229" y="37"/>
                  </a:lnTo>
                  <a:lnTo>
                    <a:pt x="224" y="37"/>
                  </a:lnTo>
                  <a:lnTo>
                    <a:pt x="221" y="37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2" y="39"/>
                  </a:lnTo>
                  <a:lnTo>
                    <a:pt x="209" y="39"/>
                  </a:lnTo>
                  <a:lnTo>
                    <a:pt x="207" y="39"/>
                  </a:lnTo>
                  <a:lnTo>
                    <a:pt x="202" y="39"/>
                  </a:lnTo>
                  <a:lnTo>
                    <a:pt x="199" y="39"/>
                  </a:lnTo>
                  <a:lnTo>
                    <a:pt x="197" y="42"/>
                  </a:lnTo>
                  <a:lnTo>
                    <a:pt x="194" y="42"/>
                  </a:lnTo>
                  <a:lnTo>
                    <a:pt x="192" y="42"/>
                  </a:lnTo>
                  <a:lnTo>
                    <a:pt x="189" y="42"/>
                  </a:lnTo>
                  <a:lnTo>
                    <a:pt x="187" y="44"/>
                  </a:lnTo>
                  <a:lnTo>
                    <a:pt x="182" y="44"/>
                  </a:lnTo>
                  <a:lnTo>
                    <a:pt x="180" y="47"/>
                  </a:lnTo>
                  <a:lnTo>
                    <a:pt x="177" y="47"/>
                  </a:lnTo>
                  <a:lnTo>
                    <a:pt x="175" y="47"/>
                  </a:lnTo>
                  <a:lnTo>
                    <a:pt x="172" y="49"/>
                  </a:lnTo>
                  <a:lnTo>
                    <a:pt x="170" y="52"/>
                  </a:lnTo>
                  <a:lnTo>
                    <a:pt x="167" y="52"/>
                  </a:lnTo>
                  <a:lnTo>
                    <a:pt x="165" y="54"/>
                  </a:lnTo>
                  <a:lnTo>
                    <a:pt x="162" y="54"/>
                  </a:lnTo>
                  <a:lnTo>
                    <a:pt x="160" y="57"/>
                  </a:lnTo>
                  <a:lnTo>
                    <a:pt x="157" y="59"/>
                  </a:lnTo>
                  <a:lnTo>
                    <a:pt x="155" y="59"/>
                  </a:lnTo>
                  <a:lnTo>
                    <a:pt x="153" y="61"/>
                  </a:lnTo>
                  <a:lnTo>
                    <a:pt x="150" y="64"/>
                  </a:lnTo>
                  <a:lnTo>
                    <a:pt x="148" y="66"/>
                  </a:lnTo>
                  <a:lnTo>
                    <a:pt x="145" y="69"/>
                  </a:lnTo>
                  <a:lnTo>
                    <a:pt x="145" y="71"/>
                  </a:lnTo>
                  <a:lnTo>
                    <a:pt x="140" y="66"/>
                  </a:lnTo>
                  <a:lnTo>
                    <a:pt x="140" y="61"/>
                  </a:lnTo>
                  <a:lnTo>
                    <a:pt x="138" y="59"/>
                  </a:lnTo>
                  <a:lnTo>
                    <a:pt x="138" y="57"/>
                  </a:lnTo>
                  <a:lnTo>
                    <a:pt x="135" y="54"/>
                  </a:lnTo>
                  <a:lnTo>
                    <a:pt x="133" y="52"/>
                  </a:lnTo>
                  <a:lnTo>
                    <a:pt x="133" y="49"/>
                  </a:lnTo>
                  <a:lnTo>
                    <a:pt x="130" y="47"/>
                  </a:lnTo>
                  <a:lnTo>
                    <a:pt x="128" y="44"/>
                  </a:lnTo>
                  <a:lnTo>
                    <a:pt x="128" y="42"/>
                  </a:lnTo>
                  <a:lnTo>
                    <a:pt x="126" y="39"/>
                  </a:lnTo>
                  <a:lnTo>
                    <a:pt x="123" y="37"/>
                  </a:lnTo>
                  <a:lnTo>
                    <a:pt x="123" y="34"/>
                  </a:lnTo>
                  <a:lnTo>
                    <a:pt x="121" y="34"/>
                  </a:lnTo>
                  <a:lnTo>
                    <a:pt x="118" y="32"/>
                  </a:lnTo>
                  <a:lnTo>
                    <a:pt x="116" y="30"/>
                  </a:lnTo>
                  <a:lnTo>
                    <a:pt x="113" y="27"/>
                  </a:lnTo>
                  <a:lnTo>
                    <a:pt x="113" y="25"/>
                  </a:lnTo>
                  <a:lnTo>
                    <a:pt x="111" y="22"/>
                  </a:lnTo>
                  <a:lnTo>
                    <a:pt x="108" y="22"/>
                  </a:lnTo>
                  <a:lnTo>
                    <a:pt x="106" y="20"/>
                  </a:lnTo>
                  <a:lnTo>
                    <a:pt x="103" y="17"/>
                  </a:lnTo>
                  <a:lnTo>
                    <a:pt x="101" y="15"/>
                  </a:lnTo>
                  <a:lnTo>
                    <a:pt x="99" y="12"/>
                  </a:lnTo>
                  <a:lnTo>
                    <a:pt x="96" y="12"/>
                  </a:lnTo>
                  <a:lnTo>
                    <a:pt x="91" y="8"/>
                  </a:lnTo>
                  <a:lnTo>
                    <a:pt x="86" y="5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4" name="Group 278">
            <a:extLst>
              <a:ext uri="{FF2B5EF4-FFF2-40B4-BE49-F238E27FC236}">
                <a16:creationId xmlns:a16="http://schemas.microsoft.com/office/drawing/2014/main" id="{75C999CA-57C4-4C98-AF59-CAAD35CCD1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735" y="5426725"/>
            <a:ext cx="841375" cy="841375"/>
            <a:chOff x="1641" y="3448"/>
            <a:chExt cx="530" cy="530"/>
          </a:xfrm>
        </p:grpSpPr>
        <p:sp>
          <p:nvSpPr>
            <p:cNvPr id="315" name="AutoShape 277">
              <a:extLst>
                <a:ext uri="{FF2B5EF4-FFF2-40B4-BE49-F238E27FC236}">
                  <a16:creationId xmlns:a16="http://schemas.microsoft.com/office/drawing/2014/main" id="{8FD3C9D9-A253-4D64-9A48-F0CB162F2A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1" y="344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Oval 279">
              <a:extLst>
                <a:ext uri="{FF2B5EF4-FFF2-40B4-BE49-F238E27FC236}">
                  <a16:creationId xmlns:a16="http://schemas.microsoft.com/office/drawing/2014/main" id="{248CAB32-9BCE-440E-A344-E83197773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1" y="344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80">
              <a:extLst>
                <a:ext uri="{FF2B5EF4-FFF2-40B4-BE49-F238E27FC236}">
                  <a16:creationId xmlns:a16="http://schemas.microsoft.com/office/drawing/2014/main" id="{B6D4C435-4522-46C6-BFDD-8A6722336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9" y="346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81">
              <a:extLst>
                <a:ext uri="{FF2B5EF4-FFF2-40B4-BE49-F238E27FC236}">
                  <a16:creationId xmlns:a16="http://schemas.microsoft.com/office/drawing/2014/main" id="{EBD99A74-9920-4F7A-8780-37DE5960B6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9" y="3532"/>
              <a:ext cx="297" cy="323"/>
            </a:xfrm>
            <a:custGeom>
              <a:avLst/>
              <a:gdLst>
                <a:gd name="T0" fmla="*/ 192 w 297"/>
                <a:gd name="T1" fmla="*/ 285 h 323"/>
                <a:gd name="T2" fmla="*/ 238 w 297"/>
                <a:gd name="T3" fmla="*/ 279 h 323"/>
                <a:gd name="T4" fmla="*/ 286 w 297"/>
                <a:gd name="T5" fmla="*/ 300 h 323"/>
                <a:gd name="T6" fmla="*/ 166 w 297"/>
                <a:gd name="T7" fmla="*/ 308 h 323"/>
                <a:gd name="T8" fmla="*/ 153 w 297"/>
                <a:gd name="T9" fmla="*/ 310 h 323"/>
                <a:gd name="T10" fmla="*/ 140 w 297"/>
                <a:gd name="T11" fmla="*/ 310 h 323"/>
                <a:gd name="T12" fmla="*/ 130 w 297"/>
                <a:gd name="T13" fmla="*/ 305 h 323"/>
                <a:gd name="T14" fmla="*/ 10 w 297"/>
                <a:gd name="T15" fmla="*/ 113 h 323"/>
                <a:gd name="T16" fmla="*/ 66 w 297"/>
                <a:gd name="T17" fmla="*/ 279 h 323"/>
                <a:gd name="T18" fmla="*/ 107 w 297"/>
                <a:gd name="T19" fmla="*/ 285 h 323"/>
                <a:gd name="T20" fmla="*/ 128 w 297"/>
                <a:gd name="T21" fmla="*/ 290 h 323"/>
                <a:gd name="T22" fmla="*/ 135 w 297"/>
                <a:gd name="T23" fmla="*/ 282 h 323"/>
                <a:gd name="T24" fmla="*/ 146 w 297"/>
                <a:gd name="T25" fmla="*/ 279 h 323"/>
                <a:gd name="T26" fmla="*/ 156 w 297"/>
                <a:gd name="T27" fmla="*/ 279 h 323"/>
                <a:gd name="T28" fmla="*/ 164 w 297"/>
                <a:gd name="T29" fmla="*/ 285 h 323"/>
                <a:gd name="T30" fmla="*/ 115 w 297"/>
                <a:gd name="T31" fmla="*/ 274 h 323"/>
                <a:gd name="T32" fmla="*/ 76 w 297"/>
                <a:gd name="T33" fmla="*/ 269 h 323"/>
                <a:gd name="T34" fmla="*/ 38 w 297"/>
                <a:gd name="T35" fmla="*/ 80 h 323"/>
                <a:gd name="T36" fmla="*/ 84 w 297"/>
                <a:gd name="T37" fmla="*/ 221 h 323"/>
                <a:gd name="T38" fmla="*/ 107 w 297"/>
                <a:gd name="T39" fmla="*/ 241 h 323"/>
                <a:gd name="T40" fmla="*/ 128 w 297"/>
                <a:gd name="T41" fmla="*/ 264 h 323"/>
                <a:gd name="T42" fmla="*/ 120 w 297"/>
                <a:gd name="T43" fmla="*/ 274 h 323"/>
                <a:gd name="T44" fmla="*/ 171 w 297"/>
                <a:gd name="T45" fmla="*/ 267 h 323"/>
                <a:gd name="T46" fmla="*/ 187 w 297"/>
                <a:gd name="T47" fmla="*/ 259 h 323"/>
                <a:gd name="T48" fmla="*/ 202 w 297"/>
                <a:gd name="T49" fmla="*/ 251 h 323"/>
                <a:gd name="T50" fmla="*/ 228 w 297"/>
                <a:gd name="T51" fmla="*/ 249 h 323"/>
                <a:gd name="T52" fmla="*/ 243 w 297"/>
                <a:gd name="T53" fmla="*/ 267 h 323"/>
                <a:gd name="T54" fmla="*/ 205 w 297"/>
                <a:gd name="T55" fmla="*/ 272 h 323"/>
                <a:gd name="T56" fmla="*/ 171 w 297"/>
                <a:gd name="T57" fmla="*/ 274 h 323"/>
                <a:gd name="T58" fmla="*/ 164 w 297"/>
                <a:gd name="T59" fmla="*/ 75 h 323"/>
                <a:gd name="T60" fmla="*/ 179 w 297"/>
                <a:gd name="T61" fmla="*/ 64 h 323"/>
                <a:gd name="T62" fmla="*/ 197 w 297"/>
                <a:gd name="T63" fmla="*/ 57 h 323"/>
                <a:gd name="T64" fmla="*/ 215 w 297"/>
                <a:gd name="T65" fmla="*/ 52 h 323"/>
                <a:gd name="T66" fmla="*/ 222 w 297"/>
                <a:gd name="T67" fmla="*/ 239 h 323"/>
                <a:gd name="T68" fmla="*/ 202 w 297"/>
                <a:gd name="T69" fmla="*/ 241 h 323"/>
                <a:gd name="T70" fmla="*/ 187 w 297"/>
                <a:gd name="T71" fmla="*/ 246 h 323"/>
                <a:gd name="T72" fmla="*/ 169 w 297"/>
                <a:gd name="T73" fmla="*/ 254 h 323"/>
                <a:gd name="T74" fmla="*/ 156 w 297"/>
                <a:gd name="T75" fmla="*/ 267 h 323"/>
                <a:gd name="T76" fmla="*/ 130 w 297"/>
                <a:gd name="T77" fmla="*/ 249 h 323"/>
                <a:gd name="T78" fmla="*/ 110 w 297"/>
                <a:gd name="T79" fmla="*/ 226 h 323"/>
                <a:gd name="T80" fmla="*/ 102 w 297"/>
                <a:gd name="T81" fmla="*/ 29 h 323"/>
                <a:gd name="T82" fmla="*/ 125 w 297"/>
                <a:gd name="T83" fmla="*/ 54 h 323"/>
                <a:gd name="T84" fmla="*/ 143 w 297"/>
                <a:gd name="T85" fmla="*/ 85 h 323"/>
                <a:gd name="T86" fmla="*/ 64 w 297"/>
                <a:gd name="T87" fmla="*/ 70 h 323"/>
                <a:gd name="T88" fmla="*/ 120 w 297"/>
                <a:gd name="T89" fmla="*/ 310 h 323"/>
                <a:gd name="T90" fmla="*/ 130 w 297"/>
                <a:gd name="T91" fmla="*/ 318 h 323"/>
                <a:gd name="T92" fmla="*/ 143 w 297"/>
                <a:gd name="T93" fmla="*/ 323 h 323"/>
                <a:gd name="T94" fmla="*/ 158 w 297"/>
                <a:gd name="T95" fmla="*/ 320 h 323"/>
                <a:gd name="T96" fmla="*/ 171 w 297"/>
                <a:gd name="T97" fmla="*/ 315 h 323"/>
                <a:gd name="T98" fmla="*/ 269 w 297"/>
                <a:gd name="T99" fmla="*/ 103 h 323"/>
                <a:gd name="T100" fmla="*/ 225 w 297"/>
                <a:gd name="T101" fmla="*/ 39 h 323"/>
                <a:gd name="T102" fmla="*/ 205 w 297"/>
                <a:gd name="T103" fmla="*/ 44 h 323"/>
                <a:gd name="T104" fmla="*/ 184 w 297"/>
                <a:gd name="T105" fmla="*/ 49 h 323"/>
                <a:gd name="T106" fmla="*/ 166 w 297"/>
                <a:gd name="T107" fmla="*/ 59 h 323"/>
                <a:gd name="T108" fmla="*/ 151 w 297"/>
                <a:gd name="T109" fmla="*/ 75 h 323"/>
                <a:gd name="T110" fmla="*/ 138 w 297"/>
                <a:gd name="T111" fmla="*/ 52 h 323"/>
                <a:gd name="T112" fmla="*/ 125 w 297"/>
                <a:gd name="T113" fmla="*/ 36 h 323"/>
                <a:gd name="T114" fmla="*/ 110 w 297"/>
                <a:gd name="T115" fmla="*/ 21 h 323"/>
                <a:gd name="T116" fmla="*/ 84 w 297"/>
                <a:gd name="T11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" h="323">
                  <a:moveTo>
                    <a:pt x="171" y="290"/>
                  </a:moveTo>
                  <a:lnTo>
                    <a:pt x="174" y="287"/>
                  </a:lnTo>
                  <a:lnTo>
                    <a:pt x="176" y="287"/>
                  </a:lnTo>
                  <a:lnTo>
                    <a:pt x="179" y="287"/>
                  </a:lnTo>
                  <a:lnTo>
                    <a:pt x="184" y="285"/>
                  </a:lnTo>
                  <a:lnTo>
                    <a:pt x="187" y="285"/>
                  </a:lnTo>
                  <a:lnTo>
                    <a:pt x="192" y="285"/>
                  </a:lnTo>
                  <a:lnTo>
                    <a:pt x="199" y="282"/>
                  </a:lnTo>
                  <a:lnTo>
                    <a:pt x="205" y="282"/>
                  </a:lnTo>
                  <a:lnTo>
                    <a:pt x="212" y="279"/>
                  </a:lnTo>
                  <a:lnTo>
                    <a:pt x="217" y="279"/>
                  </a:lnTo>
                  <a:lnTo>
                    <a:pt x="225" y="279"/>
                  </a:lnTo>
                  <a:lnTo>
                    <a:pt x="230" y="279"/>
                  </a:lnTo>
                  <a:lnTo>
                    <a:pt x="238" y="279"/>
                  </a:lnTo>
                  <a:lnTo>
                    <a:pt x="243" y="279"/>
                  </a:lnTo>
                  <a:lnTo>
                    <a:pt x="251" y="279"/>
                  </a:lnTo>
                  <a:lnTo>
                    <a:pt x="256" y="279"/>
                  </a:lnTo>
                  <a:lnTo>
                    <a:pt x="269" y="279"/>
                  </a:lnTo>
                  <a:lnTo>
                    <a:pt x="269" y="113"/>
                  </a:lnTo>
                  <a:lnTo>
                    <a:pt x="286" y="113"/>
                  </a:lnTo>
                  <a:lnTo>
                    <a:pt x="286" y="300"/>
                  </a:lnTo>
                  <a:lnTo>
                    <a:pt x="171" y="300"/>
                  </a:lnTo>
                  <a:lnTo>
                    <a:pt x="171" y="300"/>
                  </a:lnTo>
                  <a:lnTo>
                    <a:pt x="169" y="303"/>
                  </a:lnTo>
                  <a:lnTo>
                    <a:pt x="169" y="303"/>
                  </a:lnTo>
                  <a:lnTo>
                    <a:pt x="169" y="305"/>
                  </a:lnTo>
                  <a:lnTo>
                    <a:pt x="166" y="305"/>
                  </a:lnTo>
                  <a:lnTo>
                    <a:pt x="166" y="308"/>
                  </a:lnTo>
                  <a:lnTo>
                    <a:pt x="164" y="308"/>
                  </a:lnTo>
                  <a:lnTo>
                    <a:pt x="161" y="308"/>
                  </a:lnTo>
                  <a:lnTo>
                    <a:pt x="161" y="310"/>
                  </a:lnTo>
                  <a:lnTo>
                    <a:pt x="158" y="310"/>
                  </a:lnTo>
                  <a:lnTo>
                    <a:pt x="158" y="310"/>
                  </a:lnTo>
                  <a:lnTo>
                    <a:pt x="156" y="310"/>
                  </a:lnTo>
                  <a:lnTo>
                    <a:pt x="153" y="310"/>
                  </a:lnTo>
                  <a:lnTo>
                    <a:pt x="153" y="310"/>
                  </a:lnTo>
                  <a:lnTo>
                    <a:pt x="151" y="310"/>
                  </a:lnTo>
                  <a:lnTo>
                    <a:pt x="148" y="310"/>
                  </a:lnTo>
                  <a:lnTo>
                    <a:pt x="146" y="310"/>
                  </a:lnTo>
                  <a:lnTo>
                    <a:pt x="143" y="310"/>
                  </a:lnTo>
                  <a:lnTo>
                    <a:pt x="143" y="310"/>
                  </a:lnTo>
                  <a:lnTo>
                    <a:pt x="140" y="310"/>
                  </a:lnTo>
                  <a:lnTo>
                    <a:pt x="138" y="310"/>
                  </a:lnTo>
                  <a:lnTo>
                    <a:pt x="138" y="310"/>
                  </a:lnTo>
                  <a:lnTo>
                    <a:pt x="135" y="310"/>
                  </a:lnTo>
                  <a:lnTo>
                    <a:pt x="135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0" y="305"/>
                  </a:lnTo>
                  <a:lnTo>
                    <a:pt x="130" y="305"/>
                  </a:lnTo>
                  <a:lnTo>
                    <a:pt x="128" y="303"/>
                  </a:lnTo>
                  <a:lnTo>
                    <a:pt x="128" y="303"/>
                  </a:lnTo>
                  <a:lnTo>
                    <a:pt x="125" y="300"/>
                  </a:lnTo>
                  <a:lnTo>
                    <a:pt x="125" y="300"/>
                  </a:lnTo>
                  <a:lnTo>
                    <a:pt x="10" y="300"/>
                  </a:lnTo>
                  <a:lnTo>
                    <a:pt x="10" y="113"/>
                  </a:lnTo>
                  <a:lnTo>
                    <a:pt x="28" y="113"/>
                  </a:lnTo>
                  <a:lnTo>
                    <a:pt x="28" y="279"/>
                  </a:lnTo>
                  <a:lnTo>
                    <a:pt x="41" y="279"/>
                  </a:lnTo>
                  <a:lnTo>
                    <a:pt x="46" y="279"/>
                  </a:lnTo>
                  <a:lnTo>
                    <a:pt x="53" y="279"/>
                  </a:lnTo>
                  <a:lnTo>
                    <a:pt x="59" y="279"/>
                  </a:lnTo>
                  <a:lnTo>
                    <a:pt x="66" y="279"/>
                  </a:lnTo>
                  <a:lnTo>
                    <a:pt x="71" y="279"/>
                  </a:lnTo>
                  <a:lnTo>
                    <a:pt x="79" y="279"/>
                  </a:lnTo>
                  <a:lnTo>
                    <a:pt x="84" y="279"/>
                  </a:lnTo>
                  <a:lnTo>
                    <a:pt x="92" y="282"/>
                  </a:lnTo>
                  <a:lnTo>
                    <a:pt x="97" y="282"/>
                  </a:lnTo>
                  <a:lnTo>
                    <a:pt x="105" y="282"/>
                  </a:lnTo>
                  <a:lnTo>
                    <a:pt x="107" y="285"/>
                  </a:lnTo>
                  <a:lnTo>
                    <a:pt x="110" y="285"/>
                  </a:lnTo>
                  <a:lnTo>
                    <a:pt x="112" y="285"/>
                  </a:lnTo>
                  <a:lnTo>
                    <a:pt x="117" y="287"/>
                  </a:lnTo>
                  <a:lnTo>
                    <a:pt x="120" y="287"/>
                  </a:lnTo>
                  <a:lnTo>
                    <a:pt x="123" y="287"/>
                  </a:lnTo>
                  <a:lnTo>
                    <a:pt x="125" y="290"/>
                  </a:lnTo>
                  <a:lnTo>
                    <a:pt x="128" y="290"/>
                  </a:lnTo>
                  <a:lnTo>
                    <a:pt x="130" y="287"/>
                  </a:lnTo>
                  <a:lnTo>
                    <a:pt x="130" y="287"/>
                  </a:lnTo>
                  <a:lnTo>
                    <a:pt x="130" y="285"/>
                  </a:lnTo>
                  <a:lnTo>
                    <a:pt x="133" y="285"/>
                  </a:lnTo>
                  <a:lnTo>
                    <a:pt x="133" y="285"/>
                  </a:lnTo>
                  <a:lnTo>
                    <a:pt x="135" y="282"/>
                  </a:lnTo>
                  <a:lnTo>
                    <a:pt x="135" y="282"/>
                  </a:lnTo>
                  <a:lnTo>
                    <a:pt x="138" y="282"/>
                  </a:lnTo>
                  <a:lnTo>
                    <a:pt x="138" y="279"/>
                  </a:lnTo>
                  <a:lnTo>
                    <a:pt x="140" y="279"/>
                  </a:lnTo>
                  <a:lnTo>
                    <a:pt x="140" y="279"/>
                  </a:lnTo>
                  <a:lnTo>
                    <a:pt x="143" y="279"/>
                  </a:lnTo>
                  <a:lnTo>
                    <a:pt x="143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8" y="279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3" y="279"/>
                  </a:lnTo>
                  <a:lnTo>
                    <a:pt x="153" y="279"/>
                  </a:lnTo>
                  <a:lnTo>
                    <a:pt x="156" y="279"/>
                  </a:lnTo>
                  <a:lnTo>
                    <a:pt x="156" y="279"/>
                  </a:lnTo>
                  <a:lnTo>
                    <a:pt x="158" y="279"/>
                  </a:lnTo>
                  <a:lnTo>
                    <a:pt x="158" y="282"/>
                  </a:lnTo>
                  <a:lnTo>
                    <a:pt x="161" y="282"/>
                  </a:lnTo>
                  <a:lnTo>
                    <a:pt x="161" y="282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5"/>
                  </a:lnTo>
                  <a:lnTo>
                    <a:pt x="166" y="287"/>
                  </a:lnTo>
                  <a:lnTo>
                    <a:pt x="166" y="287"/>
                  </a:lnTo>
                  <a:lnTo>
                    <a:pt x="169" y="290"/>
                  </a:lnTo>
                  <a:lnTo>
                    <a:pt x="171" y="290"/>
                  </a:lnTo>
                  <a:close/>
                  <a:moveTo>
                    <a:pt x="120" y="274"/>
                  </a:moveTo>
                  <a:lnTo>
                    <a:pt x="115" y="274"/>
                  </a:lnTo>
                  <a:lnTo>
                    <a:pt x="110" y="272"/>
                  </a:lnTo>
                  <a:lnTo>
                    <a:pt x="105" y="272"/>
                  </a:lnTo>
                  <a:lnTo>
                    <a:pt x="97" y="272"/>
                  </a:lnTo>
                  <a:lnTo>
                    <a:pt x="92" y="269"/>
                  </a:lnTo>
                  <a:lnTo>
                    <a:pt x="87" y="269"/>
                  </a:lnTo>
                  <a:lnTo>
                    <a:pt x="82" y="269"/>
                  </a:lnTo>
                  <a:lnTo>
                    <a:pt x="76" y="269"/>
                  </a:lnTo>
                  <a:lnTo>
                    <a:pt x="71" y="269"/>
                  </a:lnTo>
                  <a:lnTo>
                    <a:pt x="66" y="269"/>
                  </a:lnTo>
                  <a:lnTo>
                    <a:pt x="59" y="267"/>
                  </a:lnTo>
                  <a:lnTo>
                    <a:pt x="53" y="267"/>
                  </a:lnTo>
                  <a:lnTo>
                    <a:pt x="48" y="267"/>
                  </a:lnTo>
                  <a:lnTo>
                    <a:pt x="38" y="267"/>
                  </a:lnTo>
                  <a:lnTo>
                    <a:pt x="38" y="80"/>
                  </a:lnTo>
                  <a:lnTo>
                    <a:pt x="48" y="80"/>
                  </a:lnTo>
                  <a:lnTo>
                    <a:pt x="61" y="80"/>
                  </a:lnTo>
                  <a:lnTo>
                    <a:pt x="66" y="80"/>
                  </a:lnTo>
                  <a:lnTo>
                    <a:pt x="74" y="82"/>
                  </a:lnTo>
                  <a:lnTo>
                    <a:pt x="79" y="82"/>
                  </a:lnTo>
                  <a:lnTo>
                    <a:pt x="84" y="82"/>
                  </a:lnTo>
                  <a:lnTo>
                    <a:pt x="84" y="221"/>
                  </a:lnTo>
                  <a:lnTo>
                    <a:pt x="89" y="223"/>
                  </a:lnTo>
                  <a:lnTo>
                    <a:pt x="92" y="226"/>
                  </a:lnTo>
                  <a:lnTo>
                    <a:pt x="94" y="228"/>
                  </a:lnTo>
                  <a:lnTo>
                    <a:pt x="100" y="231"/>
                  </a:lnTo>
                  <a:lnTo>
                    <a:pt x="102" y="233"/>
                  </a:lnTo>
                  <a:lnTo>
                    <a:pt x="105" y="236"/>
                  </a:lnTo>
                  <a:lnTo>
                    <a:pt x="107" y="241"/>
                  </a:lnTo>
                  <a:lnTo>
                    <a:pt x="112" y="244"/>
                  </a:lnTo>
                  <a:lnTo>
                    <a:pt x="115" y="246"/>
                  </a:lnTo>
                  <a:lnTo>
                    <a:pt x="117" y="249"/>
                  </a:lnTo>
                  <a:lnTo>
                    <a:pt x="120" y="254"/>
                  </a:lnTo>
                  <a:lnTo>
                    <a:pt x="123" y="256"/>
                  </a:lnTo>
                  <a:lnTo>
                    <a:pt x="125" y="259"/>
                  </a:lnTo>
                  <a:lnTo>
                    <a:pt x="128" y="264"/>
                  </a:lnTo>
                  <a:lnTo>
                    <a:pt x="130" y="267"/>
                  </a:lnTo>
                  <a:lnTo>
                    <a:pt x="133" y="272"/>
                  </a:lnTo>
                  <a:lnTo>
                    <a:pt x="130" y="272"/>
                  </a:lnTo>
                  <a:lnTo>
                    <a:pt x="128" y="274"/>
                  </a:lnTo>
                  <a:lnTo>
                    <a:pt x="128" y="274"/>
                  </a:lnTo>
                  <a:lnTo>
                    <a:pt x="125" y="277"/>
                  </a:lnTo>
                  <a:lnTo>
                    <a:pt x="120" y="274"/>
                  </a:lnTo>
                  <a:close/>
                  <a:moveTo>
                    <a:pt x="171" y="274"/>
                  </a:moveTo>
                  <a:lnTo>
                    <a:pt x="169" y="274"/>
                  </a:lnTo>
                  <a:lnTo>
                    <a:pt x="166" y="272"/>
                  </a:lnTo>
                  <a:lnTo>
                    <a:pt x="166" y="272"/>
                  </a:lnTo>
                  <a:lnTo>
                    <a:pt x="166" y="269"/>
                  </a:lnTo>
                  <a:lnTo>
                    <a:pt x="169" y="269"/>
                  </a:lnTo>
                  <a:lnTo>
                    <a:pt x="171" y="267"/>
                  </a:lnTo>
                  <a:lnTo>
                    <a:pt x="174" y="267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9" y="262"/>
                  </a:lnTo>
                  <a:lnTo>
                    <a:pt x="181" y="262"/>
                  </a:lnTo>
                  <a:lnTo>
                    <a:pt x="184" y="259"/>
                  </a:lnTo>
                  <a:lnTo>
                    <a:pt x="187" y="259"/>
                  </a:lnTo>
                  <a:lnTo>
                    <a:pt x="189" y="256"/>
                  </a:lnTo>
                  <a:lnTo>
                    <a:pt x="192" y="256"/>
                  </a:lnTo>
                  <a:lnTo>
                    <a:pt x="192" y="256"/>
                  </a:lnTo>
                  <a:lnTo>
                    <a:pt x="194" y="254"/>
                  </a:lnTo>
                  <a:lnTo>
                    <a:pt x="197" y="254"/>
                  </a:lnTo>
                  <a:lnTo>
                    <a:pt x="199" y="254"/>
                  </a:lnTo>
                  <a:lnTo>
                    <a:pt x="202" y="251"/>
                  </a:lnTo>
                  <a:lnTo>
                    <a:pt x="205" y="251"/>
                  </a:lnTo>
                  <a:lnTo>
                    <a:pt x="207" y="251"/>
                  </a:lnTo>
                  <a:lnTo>
                    <a:pt x="210" y="251"/>
                  </a:lnTo>
                  <a:lnTo>
                    <a:pt x="215" y="251"/>
                  </a:lnTo>
                  <a:lnTo>
                    <a:pt x="220" y="249"/>
                  </a:lnTo>
                  <a:lnTo>
                    <a:pt x="225" y="249"/>
                  </a:lnTo>
                  <a:lnTo>
                    <a:pt x="228" y="249"/>
                  </a:lnTo>
                  <a:lnTo>
                    <a:pt x="233" y="249"/>
                  </a:lnTo>
                  <a:lnTo>
                    <a:pt x="238" y="249"/>
                  </a:lnTo>
                  <a:lnTo>
                    <a:pt x="238" y="80"/>
                  </a:lnTo>
                  <a:lnTo>
                    <a:pt x="258" y="80"/>
                  </a:lnTo>
                  <a:lnTo>
                    <a:pt x="258" y="267"/>
                  </a:lnTo>
                  <a:lnTo>
                    <a:pt x="248" y="267"/>
                  </a:lnTo>
                  <a:lnTo>
                    <a:pt x="243" y="267"/>
                  </a:lnTo>
                  <a:lnTo>
                    <a:pt x="238" y="269"/>
                  </a:lnTo>
                  <a:lnTo>
                    <a:pt x="230" y="269"/>
                  </a:lnTo>
                  <a:lnTo>
                    <a:pt x="225" y="269"/>
                  </a:lnTo>
                  <a:lnTo>
                    <a:pt x="220" y="269"/>
                  </a:lnTo>
                  <a:lnTo>
                    <a:pt x="215" y="269"/>
                  </a:lnTo>
                  <a:lnTo>
                    <a:pt x="210" y="269"/>
                  </a:lnTo>
                  <a:lnTo>
                    <a:pt x="205" y="272"/>
                  </a:lnTo>
                  <a:lnTo>
                    <a:pt x="199" y="272"/>
                  </a:lnTo>
                  <a:lnTo>
                    <a:pt x="194" y="272"/>
                  </a:lnTo>
                  <a:lnTo>
                    <a:pt x="187" y="274"/>
                  </a:lnTo>
                  <a:lnTo>
                    <a:pt x="181" y="274"/>
                  </a:lnTo>
                  <a:lnTo>
                    <a:pt x="176" y="274"/>
                  </a:lnTo>
                  <a:lnTo>
                    <a:pt x="171" y="277"/>
                  </a:lnTo>
                  <a:lnTo>
                    <a:pt x="171" y="274"/>
                  </a:lnTo>
                  <a:close/>
                  <a:moveTo>
                    <a:pt x="153" y="87"/>
                  </a:moveTo>
                  <a:lnTo>
                    <a:pt x="156" y="85"/>
                  </a:lnTo>
                  <a:lnTo>
                    <a:pt x="156" y="82"/>
                  </a:lnTo>
                  <a:lnTo>
                    <a:pt x="158" y="80"/>
                  </a:lnTo>
                  <a:lnTo>
                    <a:pt x="161" y="77"/>
                  </a:lnTo>
                  <a:lnTo>
                    <a:pt x="164" y="77"/>
                  </a:lnTo>
                  <a:lnTo>
                    <a:pt x="164" y="75"/>
                  </a:lnTo>
                  <a:lnTo>
                    <a:pt x="166" y="72"/>
                  </a:lnTo>
                  <a:lnTo>
                    <a:pt x="169" y="72"/>
                  </a:lnTo>
                  <a:lnTo>
                    <a:pt x="171" y="70"/>
                  </a:lnTo>
                  <a:lnTo>
                    <a:pt x="174" y="67"/>
                  </a:lnTo>
                  <a:lnTo>
                    <a:pt x="176" y="67"/>
                  </a:lnTo>
                  <a:lnTo>
                    <a:pt x="176" y="64"/>
                  </a:lnTo>
                  <a:lnTo>
                    <a:pt x="179" y="64"/>
                  </a:lnTo>
                  <a:lnTo>
                    <a:pt x="181" y="62"/>
                  </a:lnTo>
                  <a:lnTo>
                    <a:pt x="184" y="62"/>
                  </a:lnTo>
                  <a:lnTo>
                    <a:pt x="187" y="59"/>
                  </a:lnTo>
                  <a:lnTo>
                    <a:pt x="189" y="59"/>
                  </a:lnTo>
                  <a:lnTo>
                    <a:pt x="192" y="59"/>
                  </a:lnTo>
                  <a:lnTo>
                    <a:pt x="194" y="57"/>
                  </a:lnTo>
                  <a:lnTo>
                    <a:pt x="197" y="57"/>
                  </a:lnTo>
                  <a:lnTo>
                    <a:pt x="199" y="57"/>
                  </a:lnTo>
                  <a:lnTo>
                    <a:pt x="202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10" y="52"/>
                  </a:lnTo>
                  <a:lnTo>
                    <a:pt x="212" y="52"/>
                  </a:lnTo>
                  <a:lnTo>
                    <a:pt x="215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2" y="52"/>
                  </a:lnTo>
                  <a:lnTo>
                    <a:pt x="225" y="52"/>
                  </a:lnTo>
                  <a:lnTo>
                    <a:pt x="228" y="52"/>
                  </a:lnTo>
                  <a:lnTo>
                    <a:pt x="228" y="239"/>
                  </a:lnTo>
                  <a:lnTo>
                    <a:pt x="222" y="239"/>
                  </a:lnTo>
                  <a:lnTo>
                    <a:pt x="217" y="239"/>
                  </a:lnTo>
                  <a:lnTo>
                    <a:pt x="215" y="239"/>
                  </a:lnTo>
                  <a:lnTo>
                    <a:pt x="212" y="239"/>
                  </a:lnTo>
                  <a:lnTo>
                    <a:pt x="210" y="239"/>
                  </a:lnTo>
                  <a:lnTo>
                    <a:pt x="207" y="241"/>
                  </a:lnTo>
                  <a:lnTo>
                    <a:pt x="205" y="241"/>
                  </a:lnTo>
                  <a:lnTo>
                    <a:pt x="202" y="241"/>
                  </a:lnTo>
                  <a:lnTo>
                    <a:pt x="199" y="241"/>
                  </a:lnTo>
                  <a:lnTo>
                    <a:pt x="197" y="241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89" y="244"/>
                  </a:lnTo>
                  <a:lnTo>
                    <a:pt x="189" y="246"/>
                  </a:lnTo>
                  <a:lnTo>
                    <a:pt x="187" y="246"/>
                  </a:lnTo>
                  <a:lnTo>
                    <a:pt x="184" y="249"/>
                  </a:lnTo>
                  <a:lnTo>
                    <a:pt x="181" y="249"/>
                  </a:lnTo>
                  <a:lnTo>
                    <a:pt x="179" y="249"/>
                  </a:lnTo>
                  <a:lnTo>
                    <a:pt x="176" y="251"/>
                  </a:lnTo>
                  <a:lnTo>
                    <a:pt x="174" y="251"/>
                  </a:lnTo>
                  <a:lnTo>
                    <a:pt x="171" y="254"/>
                  </a:lnTo>
                  <a:lnTo>
                    <a:pt x="169" y="254"/>
                  </a:lnTo>
                  <a:lnTo>
                    <a:pt x="169" y="256"/>
                  </a:lnTo>
                  <a:lnTo>
                    <a:pt x="166" y="256"/>
                  </a:lnTo>
                  <a:lnTo>
                    <a:pt x="164" y="259"/>
                  </a:lnTo>
                  <a:lnTo>
                    <a:pt x="161" y="262"/>
                  </a:lnTo>
                  <a:lnTo>
                    <a:pt x="158" y="262"/>
                  </a:lnTo>
                  <a:lnTo>
                    <a:pt x="158" y="264"/>
                  </a:lnTo>
                  <a:lnTo>
                    <a:pt x="156" y="267"/>
                  </a:lnTo>
                  <a:lnTo>
                    <a:pt x="153" y="267"/>
                  </a:lnTo>
                  <a:lnTo>
                    <a:pt x="153" y="87"/>
                  </a:lnTo>
                  <a:close/>
                  <a:moveTo>
                    <a:pt x="140" y="264"/>
                  </a:moveTo>
                  <a:lnTo>
                    <a:pt x="138" y="259"/>
                  </a:lnTo>
                  <a:lnTo>
                    <a:pt x="135" y="256"/>
                  </a:lnTo>
                  <a:lnTo>
                    <a:pt x="133" y="254"/>
                  </a:lnTo>
                  <a:lnTo>
                    <a:pt x="130" y="249"/>
                  </a:lnTo>
                  <a:lnTo>
                    <a:pt x="128" y="246"/>
                  </a:lnTo>
                  <a:lnTo>
                    <a:pt x="125" y="241"/>
                  </a:lnTo>
                  <a:lnTo>
                    <a:pt x="123" y="239"/>
                  </a:lnTo>
                  <a:lnTo>
                    <a:pt x="120" y="236"/>
                  </a:lnTo>
                  <a:lnTo>
                    <a:pt x="115" y="231"/>
                  </a:lnTo>
                  <a:lnTo>
                    <a:pt x="112" y="228"/>
                  </a:lnTo>
                  <a:lnTo>
                    <a:pt x="110" y="226"/>
                  </a:lnTo>
                  <a:lnTo>
                    <a:pt x="105" y="223"/>
                  </a:lnTo>
                  <a:lnTo>
                    <a:pt x="102" y="221"/>
                  </a:lnTo>
                  <a:lnTo>
                    <a:pt x="100" y="218"/>
                  </a:lnTo>
                  <a:lnTo>
                    <a:pt x="94" y="215"/>
                  </a:lnTo>
                  <a:lnTo>
                    <a:pt x="94" y="21"/>
                  </a:lnTo>
                  <a:lnTo>
                    <a:pt x="100" y="26"/>
                  </a:lnTo>
                  <a:lnTo>
                    <a:pt x="102" y="29"/>
                  </a:lnTo>
                  <a:lnTo>
                    <a:pt x="107" y="31"/>
                  </a:lnTo>
                  <a:lnTo>
                    <a:pt x="110" y="36"/>
                  </a:lnTo>
                  <a:lnTo>
                    <a:pt x="115" y="39"/>
                  </a:lnTo>
                  <a:lnTo>
                    <a:pt x="117" y="44"/>
                  </a:lnTo>
                  <a:lnTo>
                    <a:pt x="120" y="46"/>
                  </a:lnTo>
                  <a:lnTo>
                    <a:pt x="123" y="52"/>
                  </a:lnTo>
                  <a:lnTo>
                    <a:pt x="125" y="54"/>
                  </a:lnTo>
                  <a:lnTo>
                    <a:pt x="128" y="59"/>
                  </a:lnTo>
                  <a:lnTo>
                    <a:pt x="130" y="64"/>
                  </a:lnTo>
                  <a:lnTo>
                    <a:pt x="133" y="67"/>
                  </a:lnTo>
                  <a:lnTo>
                    <a:pt x="135" y="72"/>
                  </a:lnTo>
                  <a:lnTo>
                    <a:pt x="138" y="77"/>
                  </a:lnTo>
                  <a:lnTo>
                    <a:pt x="140" y="82"/>
                  </a:lnTo>
                  <a:lnTo>
                    <a:pt x="143" y="85"/>
                  </a:lnTo>
                  <a:lnTo>
                    <a:pt x="143" y="267"/>
                  </a:lnTo>
                  <a:lnTo>
                    <a:pt x="140" y="264"/>
                  </a:lnTo>
                  <a:close/>
                  <a:moveTo>
                    <a:pt x="84" y="0"/>
                  </a:moveTo>
                  <a:lnTo>
                    <a:pt x="84" y="70"/>
                  </a:lnTo>
                  <a:lnTo>
                    <a:pt x="76" y="70"/>
                  </a:lnTo>
                  <a:lnTo>
                    <a:pt x="71" y="70"/>
                  </a:lnTo>
                  <a:lnTo>
                    <a:pt x="64" y="70"/>
                  </a:lnTo>
                  <a:lnTo>
                    <a:pt x="56" y="70"/>
                  </a:lnTo>
                  <a:lnTo>
                    <a:pt x="41" y="70"/>
                  </a:lnTo>
                  <a:lnTo>
                    <a:pt x="28" y="70"/>
                  </a:lnTo>
                  <a:lnTo>
                    <a:pt x="28" y="103"/>
                  </a:lnTo>
                  <a:lnTo>
                    <a:pt x="0" y="103"/>
                  </a:lnTo>
                  <a:lnTo>
                    <a:pt x="0" y="310"/>
                  </a:lnTo>
                  <a:lnTo>
                    <a:pt x="120" y="310"/>
                  </a:lnTo>
                  <a:lnTo>
                    <a:pt x="120" y="310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5" y="315"/>
                  </a:lnTo>
                  <a:lnTo>
                    <a:pt x="128" y="315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3" y="320"/>
                  </a:lnTo>
                  <a:lnTo>
                    <a:pt x="135" y="320"/>
                  </a:lnTo>
                  <a:lnTo>
                    <a:pt x="138" y="320"/>
                  </a:lnTo>
                  <a:lnTo>
                    <a:pt x="140" y="320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6" y="323"/>
                  </a:lnTo>
                  <a:lnTo>
                    <a:pt x="148" y="323"/>
                  </a:lnTo>
                  <a:lnTo>
                    <a:pt x="151" y="323"/>
                  </a:lnTo>
                  <a:lnTo>
                    <a:pt x="153" y="323"/>
                  </a:lnTo>
                  <a:lnTo>
                    <a:pt x="153" y="323"/>
                  </a:lnTo>
                  <a:lnTo>
                    <a:pt x="156" y="320"/>
                  </a:lnTo>
                  <a:lnTo>
                    <a:pt x="158" y="320"/>
                  </a:lnTo>
                  <a:lnTo>
                    <a:pt x="161" y="320"/>
                  </a:lnTo>
                  <a:lnTo>
                    <a:pt x="164" y="320"/>
                  </a:lnTo>
                  <a:lnTo>
                    <a:pt x="164" y="318"/>
                  </a:lnTo>
                  <a:lnTo>
                    <a:pt x="166" y="318"/>
                  </a:lnTo>
                  <a:lnTo>
                    <a:pt x="169" y="318"/>
                  </a:lnTo>
                  <a:lnTo>
                    <a:pt x="169" y="315"/>
                  </a:lnTo>
                  <a:lnTo>
                    <a:pt x="171" y="315"/>
                  </a:lnTo>
                  <a:lnTo>
                    <a:pt x="174" y="315"/>
                  </a:lnTo>
                  <a:lnTo>
                    <a:pt x="174" y="313"/>
                  </a:lnTo>
                  <a:lnTo>
                    <a:pt x="176" y="310"/>
                  </a:lnTo>
                  <a:lnTo>
                    <a:pt x="179" y="310"/>
                  </a:lnTo>
                  <a:lnTo>
                    <a:pt x="297" y="310"/>
                  </a:lnTo>
                  <a:lnTo>
                    <a:pt x="297" y="103"/>
                  </a:lnTo>
                  <a:lnTo>
                    <a:pt x="269" y="103"/>
                  </a:lnTo>
                  <a:lnTo>
                    <a:pt x="269" y="70"/>
                  </a:lnTo>
                  <a:lnTo>
                    <a:pt x="253" y="70"/>
                  </a:lnTo>
                  <a:lnTo>
                    <a:pt x="238" y="70"/>
                  </a:lnTo>
                  <a:lnTo>
                    <a:pt x="238" y="39"/>
                  </a:lnTo>
                  <a:lnTo>
                    <a:pt x="233" y="39"/>
                  </a:lnTo>
                  <a:lnTo>
                    <a:pt x="230" y="39"/>
                  </a:lnTo>
                  <a:lnTo>
                    <a:pt x="225" y="39"/>
                  </a:lnTo>
                  <a:lnTo>
                    <a:pt x="222" y="39"/>
                  </a:lnTo>
                  <a:lnTo>
                    <a:pt x="220" y="41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0" y="41"/>
                  </a:lnTo>
                  <a:lnTo>
                    <a:pt x="207" y="41"/>
                  </a:lnTo>
                  <a:lnTo>
                    <a:pt x="205" y="44"/>
                  </a:lnTo>
                  <a:lnTo>
                    <a:pt x="202" y="44"/>
                  </a:lnTo>
                  <a:lnTo>
                    <a:pt x="199" y="44"/>
                  </a:lnTo>
                  <a:lnTo>
                    <a:pt x="197" y="44"/>
                  </a:lnTo>
                  <a:lnTo>
                    <a:pt x="194" y="46"/>
                  </a:lnTo>
                  <a:lnTo>
                    <a:pt x="189" y="46"/>
                  </a:lnTo>
                  <a:lnTo>
                    <a:pt x="187" y="49"/>
                  </a:lnTo>
                  <a:lnTo>
                    <a:pt x="184" y="49"/>
                  </a:lnTo>
                  <a:lnTo>
                    <a:pt x="181" y="49"/>
                  </a:lnTo>
                  <a:lnTo>
                    <a:pt x="179" y="52"/>
                  </a:lnTo>
                  <a:lnTo>
                    <a:pt x="176" y="54"/>
                  </a:lnTo>
                  <a:lnTo>
                    <a:pt x="174" y="54"/>
                  </a:lnTo>
                  <a:lnTo>
                    <a:pt x="171" y="57"/>
                  </a:lnTo>
                  <a:lnTo>
                    <a:pt x="169" y="57"/>
                  </a:lnTo>
                  <a:lnTo>
                    <a:pt x="166" y="59"/>
                  </a:lnTo>
                  <a:lnTo>
                    <a:pt x="164" y="62"/>
                  </a:lnTo>
                  <a:lnTo>
                    <a:pt x="161" y="62"/>
                  </a:lnTo>
                  <a:lnTo>
                    <a:pt x="158" y="64"/>
                  </a:lnTo>
                  <a:lnTo>
                    <a:pt x="156" y="67"/>
                  </a:lnTo>
                  <a:lnTo>
                    <a:pt x="153" y="70"/>
                  </a:lnTo>
                  <a:lnTo>
                    <a:pt x="151" y="72"/>
                  </a:lnTo>
                  <a:lnTo>
                    <a:pt x="151" y="75"/>
                  </a:lnTo>
                  <a:lnTo>
                    <a:pt x="146" y="70"/>
                  </a:lnTo>
                  <a:lnTo>
                    <a:pt x="146" y="64"/>
                  </a:lnTo>
                  <a:lnTo>
                    <a:pt x="143" y="62"/>
                  </a:lnTo>
                  <a:lnTo>
                    <a:pt x="143" y="59"/>
                  </a:lnTo>
                  <a:lnTo>
                    <a:pt x="140" y="57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5" y="49"/>
                  </a:lnTo>
                  <a:lnTo>
                    <a:pt x="133" y="46"/>
                  </a:lnTo>
                  <a:lnTo>
                    <a:pt x="133" y="44"/>
                  </a:lnTo>
                  <a:lnTo>
                    <a:pt x="130" y="41"/>
                  </a:lnTo>
                  <a:lnTo>
                    <a:pt x="128" y="39"/>
                  </a:lnTo>
                  <a:lnTo>
                    <a:pt x="128" y="36"/>
                  </a:lnTo>
                  <a:lnTo>
                    <a:pt x="125" y="36"/>
                  </a:lnTo>
                  <a:lnTo>
                    <a:pt x="123" y="34"/>
                  </a:lnTo>
                  <a:lnTo>
                    <a:pt x="120" y="31"/>
                  </a:lnTo>
                  <a:lnTo>
                    <a:pt x="117" y="29"/>
                  </a:lnTo>
                  <a:lnTo>
                    <a:pt x="117" y="26"/>
                  </a:lnTo>
                  <a:lnTo>
                    <a:pt x="115" y="23"/>
                  </a:lnTo>
                  <a:lnTo>
                    <a:pt x="112" y="23"/>
                  </a:lnTo>
                  <a:lnTo>
                    <a:pt x="110" y="21"/>
                  </a:lnTo>
                  <a:lnTo>
                    <a:pt x="107" y="18"/>
                  </a:lnTo>
                  <a:lnTo>
                    <a:pt x="105" y="16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94" y="8"/>
                  </a:lnTo>
                  <a:lnTo>
                    <a:pt x="89" y="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3" name="Group 284">
            <a:extLst>
              <a:ext uri="{FF2B5EF4-FFF2-40B4-BE49-F238E27FC236}">
                <a16:creationId xmlns:a16="http://schemas.microsoft.com/office/drawing/2014/main" id="{60518BD0-8E02-4575-956A-C82E9DA5B8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3425" y="5468000"/>
            <a:ext cx="760413" cy="758825"/>
            <a:chOff x="3572" y="3571"/>
            <a:chExt cx="479" cy="478"/>
          </a:xfrm>
        </p:grpSpPr>
        <p:sp>
          <p:nvSpPr>
            <p:cNvPr id="324" name="AutoShape 283">
              <a:extLst>
                <a:ext uri="{FF2B5EF4-FFF2-40B4-BE49-F238E27FC236}">
                  <a16:creationId xmlns:a16="http://schemas.microsoft.com/office/drawing/2014/main" id="{55918AC0-83DA-4C32-AEE7-FBDDD6A9C9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72" y="357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85">
              <a:extLst>
                <a:ext uri="{FF2B5EF4-FFF2-40B4-BE49-F238E27FC236}">
                  <a16:creationId xmlns:a16="http://schemas.microsoft.com/office/drawing/2014/main" id="{FDE7784B-50AC-41C1-91AF-2D10DBDA8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" y="357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86">
              <a:extLst>
                <a:ext uri="{FF2B5EF4-FFF2-40B4-BE49-F238E27FC236}">
                  <a16:creationId xmlns:a16="http://schemas.microsoft.com/office/drawing/2014/main" id="{35C46CDE-2F8C-4F71-AB5E-0313FDAC16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5" y="3681"/>
              <a:ext cx="216" cy="260"/>
            </a:xfrm>
            <a:custGeom>
              <a:avLst/>
              <a:gdLst>
                <a:gd name="T0" fmla="*/ 39 w 216"/>
                <a:gd name="T1" fmla="*/ 253 h 260"/>
                <a:gd name="T2" fmla="*/ 24 w 216"/>
                <a:gd name="T3" fmla="*/ 250 h 260"/>
                <a:gd name="T4" fmla="*/ 17 w 216"/>
                <a:gd name="T5" fmla="*/ 245 h 260"/>
                <a:gd name="T6" fmla="*/ 12 w 216"/>
                <a:gd name="T7" fmla="*/ 238 h 260"/>
                <a:gd name="T8" fmla="*/ 9 w 216"/>
                <a:gd name="T9" fmla="*/ 228 h 260"/>
                <a:gd name="T10" fmla="*/ 9 w 216"/>
                <a:gd name="T11" fmla="*/ 62 h 260"/>
                <a:gd name="T12" fmla="*/ 14 w 216"/>
                <a:gd name="T13" fmla="*/ 66 h 260"/>
                <a:gd name="T14" fmla="*/ 22 w 216"/>
                <a:gd name="T15" fmla="*/ 69 h 260"/>
                <a:gd name="T16" fmla="*/ 27 w 216"/>
                <a:gd name="T17" fmla="*/ 69 h 260"/>
                <a:gd name="T18" fmla="*/ 29 w 216"/>
                <a:gd name="T19" fmla="*/ 250 h 260"/>
                <a:gd name="T20" fmla="*/ 29 w 216"/>
                <a:gd name="T21" fmla="*/ 59 h 260"/>
                <a:gd name="T22" fmla="*/ 24 w 216"/>
                <a:gd name="T23" fmla="*/ 59 h 260"/>
                <a:gd name="T24" fmla="*/ 19 w 216"/>
                <a:gd name="T25" fmla="*/ 57 h 260"/>
                <a:gd name="T26" fmla="*/ 17 w 216"/>
                <a:gd name="T27" fmla="*/ 54 h 260"/>
                <a:gd name="T28" fmla="*/ 12 w 216"/>
                <a:gd name="T29" fmla="*/ 49 h 260"/>
                <a:gd name="T30" fmla="*/ 9 w 216"/>
                <a:gd name="T31" fmla="*/ 44 h 260"/>
                <a:gd name="T32" fmla="*/ 9 w 216"/>
                <a:gd name="T33" fmla="*/ 40 h 260"/>
                <a:gd name="T34" fmla="*/ 9 w 216"/>
                <a:gd name="T35" fmla="*/ 35 h 260"/>
                <a:gd name="T36" fmla="*/ 9 w 216"/>
                <a:gd name="T37" fmla="*/ 22 h 260"/>
                <a:gd name="T38" fmla="*/ 14 w 216"/>
                <a:gd name="T39" fmla="*/ 15 h 260"/>
                <a:gd name="T40" fmla="*/ 19 w 216"/>
                <a:gd name="T41" fmla="*/ 10 h 260"/>
                <a:gd name="T42" fmla="*/ 29 w 216"/>
                <a:gd name="T43" fmla="*/ 8 h 260"/>
                <a:gd name="T44" fmla="*/ 36 w 216"/>
                <a:gd name="T45" fmla="*/ 20 h 260"/>
                <a:gd name="T46" fmla="*/ 34 w 216"/>
                <a:gd name="T47" fmla="*/ 20 h 260"/>
                <a:gd name="T48" fmla="*/ 32 w 216"/>
                <a:gd name="T49" fmla="*/ 25 h 260"/>
                <a:gd name="T50" fmla="*/ 34 w 216"/>
                <a:gd name="T51" fmla="*/ 27 h 260"/>
                <a:gd name="T52" fmla="*/ 36 w 216"/>
                <a:gd name="T53" fmla="*/ 27 h 260"/>
                <a:gd name="T54" fmla="*/ 98 w 216"/>
                <a:gd name="T55" fmla="*/ 37 h 260"/>
                <a:gd name="T56" fmla="*/ 95 w 216"/>
                <a:gd name="T57" fmla="*/ 40 h 260"/>
                <a:gd name="T58" fmla="*/ 95 w 216"/>
                <a:gd name="T59" fmla="*/ 42 h 260"/>
                <a:gd name="T60" fmla="*/ 98 w 216"/>
                <a:gd name="T61" fmla="*/ 47 h 260"/>
                <a:gd name="T62" fmla="*/ 206 w 216"/>
                <a:gd name="T63" fmla="*/ 47 h 260"/>
                <a:gd name="T64" fmla="*/ 29 w 216"/>
                <a:gd name="T65" fmla="*/ 0 h 260"/>
                <a:gd name="T66" fmla="*/ 22 w 216"/>
                <a:gd name="T67" fmla="*/ 0 h 260"/>
                <a:gd name="T68" fmla="*/ 17 w 216"/>
                <a:gd name="T69" fmla="*/ 3 h 260"/>
                <a:gd name="T70" fmla="*/ 12 w 216"/>
                <a:gd name="T71" fmla="*/ 5 h 260"/>
                <a:gd name="T72" fmla="*/ 7 w 216"/>
                <a:gd name="T73" fmla="*/ 10 h 260"/>
                <a:gd name="T74" fmla="*/ 5 w 216"/>
                <a:gd name="T75" fmla="*/ 15 h 260"/>
                <a:gd name="T76" fmla="*/ 2 w 216"/>
                <a:gd name="T77" fmla="*/ 20 h 260"/>
                <a:gd name="T78" fmla="*/ 0 w 216"/>
                <a:gd name="T79" fmla="*/ 25 h 260"/>
                <a:gd name="T80" fmla="*/ 0 w 216"/>
                <a:gd name="T81" fmla="*/ 35 h 260"/>
                <a:gd name="T82" fmla="*/ 0 w 216"/>
                <a:gd name="T83" fmla="*/ 231 h 260"/>
                <a:gd name="T84" fmla="*/ 2 w 216"/>
                <a:gd name="T85" fmla="*/ 236 h 260"/>
                <a:gd name="T86" fmla="*/ 5 w 216"/>
                <a:gd name="T87" fmla="*/ 243 h 260"/>
                <a:gd name="T88" fmla="*/ 7 w 216"/>
                <a:gd name="T89" fmla="*/ 248 h 260"/>
                <a:gd name="T90" fmla="*/ 12 w 216"/>
                <a:gd name="T91" fmla="*/ 253 h 260"/>
                <a:gd name="T92" fmla="*/ 19 w 216"/>
                <a:gd name="T93" fmla="*/ 258 h 260"/>
                <a:gd name="T94" fmla="*/ 24 w 216"/>
                <a:gd name="T95" fmla="*/ 260 h 260"/>
                <a:gd name="T96" fmla="*/ 32 w 216"/>
                <a:gd name="T97" fmla="*/ 260 h 260"/>
                <a:gd name="T98" fmla="*/ 213 w 216"/>
                <a:gd name="T99" fmla="*/ 260 h 260"/>
                <a:gd name="T100" fmla="*/ 216 w 216"/>
                <a:gd name="T101" fmla="*/ 258 h 260"/>
                <a:gd name="T102" fmla="*/ 216 w 216"/>
                <a:gd name="T103" fmla="*/ 3 h 260"/>
                <a:gd name="T104" fmla="*/ 213 w 216"/>
                <a:gd name="T10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6" h="260">
                  <a:moveTo>
                    <a:pt x="39" y="69"/>
                  </a:moveTo>
                  <a:lnTo>
                    <a:pt x="206" y="69"/>
                  </a:lnTo>
                  <a:lnTo>
                    <a:pt x="206" y="253"/>
                  </a:lnTo>
                  <a:lnTo>
                    <a:pt x="39" y="253"/>
                  </a:lnTo>
                  <a:lnTo>
                    <a:pt x="39" y="69"/>
                  </a:lnTo>
                  <a:close/>
                  <a:moveTo>
                    <a:pt x="29" y="250"/>
                  </a:moveTo>
                  <a:lnTo>
                    <a:pt x="27" y="250"/>
                  </a:lnTo>
                  <a:lnTo>
                    <a:pt x="24" y="250"/>
                  </a:lnTo>
                  <a:lnTo>
                    <a:pt x="22" y="248"/>
                  </a:lnTo>
                  <a:lnTo>
                    <a:pt x="19" y="248"/>
                  </a:lnTo>
                  <a:lnTo>
                    <a:pt x="19" y="245"/>
                  </a:lnTo>
                  <a:lnTo>
                    <a:pt x="17" y="245"/>
                  </a:lnTo>
                  <a:lnTo>
                    <a:pt x="14" y="243"/>
                  </a:lnTo>
                  <a:lnTo>
                    <a:pt x="14" y="241"/>
                  </a:lnTo>
                  <a:lnTo>
                    <a:pt x="12" y="241"/>
                  </a:lnTo>
                  <a:lnTo>
                    <a:pt x="12" y="238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9" y="231"/>
                  </a:lnTo>
                  <a:lnTo>
                    <a:pt x="9" y="228"/>
                  </a:lnTo>
                  <a:lnTo>
                    <a:pt x="9" y="226"/>
                  </a:lnTo>
                  <a:lnTo>
                    <a:pt x="9" y="59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4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32" y="69"/>
                  </a:lnTo>
                  <a:lnTo>
                    <a:pt x="32" y="253"/>
                  </a:lnTo>
                  <a:lnTo>
                    <a:pt x="29" y="250"/>
                  </a:lnTo>
                  <a:close/>
                  <a:moveTo>
                    <a:pt x="34" y="62"/>
                  </a:moveTo>
                  <a:lnTo>
                    <a:pt x="32" y="62"/>
                  </a:lnTo>
                  <a:lnTo>
                    <a:pt x="32" y="62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49"/>
                  </a:lnTo>
                  <a:lnTo>
                    <a:pt x="12" y="49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32" y="8"/>
                  </a:lnTo>
                  <a:lnTo>
                    <a:pt x="206" y="8"/>
                  </a:lnTo>
                  <a:lnTo>
                    <a:pt x="206" y="20"/>
                  </a:lnTo>
                  <a:lnTo>
                    <a:pt x="36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206" y="27"/>
                  </a:lnTo>
                  <a:lnTo>
                    <a:pt x="206" y="37"/>
                  </a:lnTo>
                  <a:lnTo>
                    <a:pt x="100" y="37"/>
                  </a:lnTo>
                  <a:lnTo>
                    <a:pt x="98" y="37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206" y="47"/>
                  </a:lnTo>
                  <a:lnTo>
                    <a:pt x="206" y="62"/>
                  </a:lnTo>
                  <a:lnTo>
                    <a:pt x="34" y="62"/>
                  </a:lnTo>
                  <a:lnTo>
                    <a:pt x="34" y="62"/>
                  </a:lnTo>
                  <a:close/>
                  <a:moveTo>
                    <a:pt x="29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0" y="226"/>
                  </a:lnTo>
                  <a:lnTo>
                    <a:pt x="0" y="228"/>
                  </a:lnTo>
                  <a:lnTo>
                    <a:pt x="0" y="231"/>
                  </a:lnTo>
                  <a:lnTo>
                    <a:pt x="0" y="231"/>
                  </a:lnTo>
                  <a:lnTo>
                    <a:pt x="0" y="233"/>
                  </a:lnTo>
                  <a:lnTo>
                    <a:pt x="2" y="236"/>
                  </a:lnTo>
                  <a:lnTo>
                    <a:pt x="2" y="236"/>
                  </a:lnTo>
                  <a:lnTo>
                    <a:pt x="2" y="238"/>
                  </a:lnTo>
                  <a:lnTo>
                    <a:pt x="2" y="241"/>
                  </a:lnTo>
                  <a:lnTo>
                    <a:pt x="5" y="241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7" y="245"/>
                  </a:lnTo>
                  <a:lnTo>
                    <a:pt x="7" y="248"/>
                  </a:lnTo>
                  <a:lnTo>
                    <a:pt x="7" y="248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4" y="253"/>
                  </a:lnTo>
                  <a:lnTo>
                    <a:pt x="14" y="255"/>
                  </a:lnTo>
                  <a:lnTo>
                    <a:pt x="17" y="255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4" y="260"/>
                  </a:lnTo>
                  <a:lnTo>
                    <a:pt x="27" y="260"/>
                  </a:lnTo>
                  <a:lnTo>
                    <a:pt x="27" y="260"/>
                  </a:lnTo>
                  <a:lnTo>
                    <a:pt x="29" y="260"/>
                  </a:lnTo>
                  <a:lnTo>
                    <a:pt x="32" y="260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0"/>
                  </a:lnTo>
                  <a:lnTo>
                    <a:pt x="213" y="260"/>
                  </a:lnTo>
                  <a:lnTo>
                    <a:pt x="213" y="260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6" y="258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6" y="0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1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7" name="Group 289">
            <a:extLst>
              <a:ext uri="{FF2B5EF4-FFF2-40B4-BE49-F238E27FC236}">
                <a16:creationId xmlns:a16="http://schemas.microsoft.com/office/drawing/2014/main" id="{1E516CD2-59BF-429A-A394-0E4A4DCFA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833" y="5426725"/>
            <a:ext cx="841375" cy="841375"/>
            <a:chOff x="3023" y="3420"/>
            <a:chExt cx="530" cy="530"/>
          </a:xfrm>
        </p:grpSpPr>
        <p:sp>
          <p:nvSpPr>
            <p:cNvPr id="328" name="AutoShape 288">
              <a:extLst>
                <a:ext uri="{FF2B5EF4-FFF2-40B4-BE49-F238E27FC236}">
                  <a16:creationId xmlns:a16="http://schemas.microsoft.com/office/drawing/2014/main" id="{F9BD3622-ECE0-49B7-A3BF-66066A4BB3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3" y="342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Oval 290">
              <a:extLst>
                <a:ext uri="{FF2B5EF4-FFF2-40B4-BE49-F238E27FC236}">
                  <a16:creationId xmlns:a16="http://schemas.microsoft.com/office/drawing/2014/main" id="{4E51F13A-CD59-443D-9A1A-3E8A051D0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3" y="342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91">
              <a:extLst>
                <a:ext uri="{FF2B5EF4-FFF2-40B4-BE49-F238E27FC236}">
                  <a16:creationId xmlns:a16="http://schemas.microsoft.com/office/drawing/2014/main" id="{4106B362-D50E-4F06-9B2B-50DEEEB1DB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1" y="343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92">
              <a:extLst>
                <a:ext uri="{FF2B5EF4-FFF2-40B4-BE49-F238E27FC236}">
                  <a16:creationId xmlns:a16="http://schemas.microsoft.com/office/drawing/2014/main" id="{CDE30B4B-5D0A-4CAB-AF78-5DF2091C1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7" y="3550"/>
              <a:ext cx="225" cy="272"/>
            </a:xfrm>
            <a:custGeom>
              <a:avLst/>
              <a:gdLst>
                <a:gd name="T0" fmla="*/ 40 w 225"/>
                <a:gd name="T1" fmla="*/ 264 h 272"/>
                <a:gd name="T2" fmla="*/ 25 w 225"/>
                <a:gd name="T3" fmla="*/ 262 h 272"/>
                <a:gd name="T4" fmla="*/ 17 w 225"/>
                <a:gd name="T5" fmla="*/ 257 h 272"/>
                <a:gd name="T6" fmla="*/ 12 w 225"/>
                <a:gd name="T7" fmla="*/ 249 h 272"/>
                <a:gd name="T8" fmla="*/ 10 w 225"/>
                <a:gd name="T9" fmla="*/ 239 h 272"/>
                <a:gd name="T10" fmla="*/ 10 w 225"/>
                <a:gd name="T11" fmla="*/ 64 h 272"/>
                <a:gd name="T12" fmla="*/ 15 w 225"/>
                <a:gd name="T13" fmla="*/ 70 h 272"/>
                <a:gd name="T14" fmla="*/ 23 w 225"/>
                <a:gd name="T15" fmla="*/ 72 h 272"/>
                <a:gd name="T16" fmla="*/ 28 w 225"/>
                <a:gd name="T17" fmla="*/ 72 h 272"/>
                <a:gd name="T18" fmla="*/ 30 w 225"/>
                <a:gd name="T19" fmla="*/ 262 h 272"/>
                <a:gd name="T20" fmla="*/ 30 w 225"/>
                <a:gd name="T21" fmla="*/ 62 h 272"/>
                <a:gd name="T22" fmla="*/ 25 w 225"/>
                <a:gd name="T23" fmla="*/ 62 h 272"/>
                <a:gd name="T24" fmla="*/ 20 w 225"/>
                <a:gd name="T25" fmla="*/ 59 h 272"/>
                <a:gd name="T26" fmla="*/ 17 w 225"/>
                <a:gd name="T27" fmla="*/ 57 h 272"/>
                <a:gd name="T28" fmla="*/ 12 w 225"/>
                <a:gd name="T29" fmla="*/ 52 h 272"/>
                <a:gd name="T30" fmla="*/ 10 w 225"/>
                <a:gd name="T31" fmla="*/ 47 h 272"/>
                <a:gd name="T32" fmla="*/ 10 w 225"/>
                <a:gd name="T33" fmla="*/ 41 h 272"/>
                <a:gd name="T34" fmla="*/ 10 w 225"/>
                <a:gd name="T35" fmla="*/ 36 h 272"/>
                <a:gd name="T36" fmla="*/ 10 w 225"/>
                <a:gd name="T37" fmla="*/ 24 h 272"/>
                <a:gd name="T38" fmla="*/ 15 w 225"/>
                <a:gd name="T39" fmla="*/ 16 h 272"/>
                <a:gd name="T40" fmla="*/ 20 w 225"/>
                <a:gd name="T41" fmla="*/ 11 h 272"/>
                <a:gd name="T42" fmla="*/ 30 w 225"/>
                <a:gd name="T43" fmla="*/ 8 h 272"/>
                <a:gd name="T44" fmla="*/ 38 w 225"/>
                <a:gd name="T45" fmla="*/ 21 h 272"/>
                <a:gd name="T46" fmla="*/ 35 w 225"/>
                <a:gd name="T47" fmla="*/ 21 h 272"/>
                <a:gd name="T48" fmla="*/ 33 w 225"/>
                <a:gd name="T49" fmla="*/ 26 h 272"/>
                <a:gd name="T50" fmla="*/ 35 w 225"/>
                <a:gd name="T51" fmla="*/ 29 h 272"/>
                <a:gd name="T52" fmla="*/ 38 w 225"/>
                <a:gd name="T53" fmla="*/ 29 h 272"/>
                <a:gd name="T54" fmla="*/ 102 w 225"/>
                <a:gd name="T55" fmla="*/ 39 h 272"/>
                <a:gd name="T56" fmla="*/ 99 w 225"/>
                <a:gd name="T57" fmla="*/ 41 h 272"/>
                <a:gd name="T58" fmla="*/ 99 w 225"/>
                <a:gd name="T59" fmla="*/ 44 h 272"/>
                <a:gd name="T60" fmla="*/ 102 w 225"/>
                <a:gd name="T61" fmla="*/ 49 h 272"/>
                <a:gd name="T62" fmla="*/ 215 w 225"/>
                <a:gd name="T63" fmla="*/ 49 h 272"/>
                <a:gd name="T64" fmla="*/ 30 w 225"/>
                <a:gd name="T65" fmla="*/ 0 h 272"/>
                <a:gd name="T66" fmla="*/ 23 w 225"/>
                <a:gd name="T67" fmla="*/ 0 h 272"/>
                <a:gd name="T68" fmla="*/ 17 w 225"/>
                <a:gd name="T69" fmla="*/ 3 h 272"/>
                <a:gd name="T70" fmla="*/ 12 w 225"/>
                <a:gd name="T71" fmla="*/ 6 h 272"/>
                <a:gd name="T72" fmla="*/ 7 w 225"/>
                <a:gd name="T73" fmla="*/ 11 h 272"/>
                <a:gd name="T74" fmla="*/ 5 w 225"/>
                <a:gd name="T75" fmla="*/ 16 h 272"/>
                <a:gd name="T76" fmla="*/ 2 w 225"/>
                <a:gd name="T77" fmla="*/ 21 h 272"/>
                <a:gd name="T78" fmla="*/ 0 w 225"/>
                <a:gd name="T79" fmla="*/ 26 h 272"/>
                <a:gd name="T80" fmla="*/ 0 w 225"/>
                <a:gd name="T81" fmla="*/ 36 h 272"/>
                <a:gd name="T82" fmla="*/ 0 w 225"/>
                <a:gd name="T83" fmla="*/ 241 h 272"/>
                <a:gd name="T84" fmla="*/ 2 w 225"/>
                <a:gd name="T85" fmla="*/ 246 h 272"/>
                <a:gd name="T86" fmla="*/ 5 w 225"/>
                <a:gd name="T87" fmla="*/ 254 h 272"/>
                <a:gd name="T88" fmla="*/ 7 w 225"/>
                <a:gd name="T89" fmla="*/ 259 h 272"/>
                <a:gd name="T90" fmla="*/ 12 w 225"/>
                <a:gd name="T91" fmla="*/ 264 h 272"/>
                <a:gd name="T92" fmla="*/ 20 w 225"/>
                <a:gd name="T93" fmla="*/ 269 h 272"/>
                <a:gd name="T94" fmla="*/ 25 w 225"/>
                <a:gd name="T95" fmla="*/ 272 h 272"/>
                <a:gd name="T96" fmla="*/ 33 w 225"/>
                <a:gd name="T97" fmla="*/ 272 h 272"/>
                <a:gd name="T98" fmla="*/ 222 w 225"/>
                <a:gd name="T99" fmla="*/ 272 h 272"/>
                <a:gd name="T100" fmla="*/ 225 w 225"/>
                <a:gd name="T101" fmla="*/ 269 h 272"/>
                <a:gd name="T102" fmla="*/ 225 w 225"/>
                <a:gd name="T103" fmla="*/ 3 h 272"/>
                <a:gd name="T104" fmla="*/ 222 w 225"/>
                <a:gd name="T105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5" h="272">
                  <a:moveTo>
                    <a:pt x="40" y="72"/>
                  </a:moveTo>
                  <a:lnTo>
                    <a:pt x="215" y="72"/>
                  </a:lnTo>
                  <a:lnTo>
                    <a:pt x="215" y="264"/>
                  </a:lnTo>
                  <a:lnTo>
                    <a:pt x="40" y="264"/>
                  </a:lnTo>
                  <a:lnTo>
                    <a:pt x="40" y="72"/>
                  </a:lnTo>
                  <a:close/>
                  <a:moveTo>
                    <a:pt x="30" y="262"/>
                  </a:moveTo>
                  <a:lnTo>
                    <a:pt x="28" y="262"/>
                  </a:lnTo>
                  <a:lnTo>
                    <a:pt x="25" y="262"/>
                  </a:lnTo>
                  <a:lnTo>
                    <a:pt x="23" y="259"/>
                  </a:lnTo>
                  <a:lnTo>
                    <a:pt x="20" y="259"/>
                  </a:lnTo>
                  <a:lnTo>
                    <a:pt x="20" y="257"/>
                  </a:lnTo>
                  <a:lnTo>
                    <a:pt x="17" y="257"/>
                  </a:lnTo>
                  <a:lnTo>
                    <a:pt x="15" y="254"/>
                  </a:lnTo>
                  <a:lnTo>
                    <a:pt x="15" y="251"/>
                  </a:lnTo>
                  <a:lnTo>
                    <a:pt x="12" y="251"/>
                  </a:lnTo>
                  <a:lnTo>
                    <a:pt x="12" y="249"/>
                  </a:lnTo>
                  <a:lnTo>
                    <a:pt x="10" y="246"/>
                  </a:lnTo>
                  <a:lnTo>
                    <a:pt x="10" y="244"/>
                  </a:lnTo>
                  <a:lnTo>
                    <a:pt x="10" y="241"/>
                  </a:lnTo>
                  <a:lnTo>
                    <a:pt x="10" y="239"/>
                  </a:lnTo>
                  <a:lnTo>
                    <a:pt x="10" y="236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2" y="67"/>
                  </a:lnTo>
                  <a:lnTo>
                    <a:pt x="15" y="67"/>
                  </a:lnTo>
                  <a:lnTo>
                    <a:pt x="15" y="70"/>
                  </a:lnTo>
                  <a:lnTo>
                    <a:pt x="17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0" y="72"/>
                  </a:lnTo>
                  <a:lnTo>
                    <a:pt x="33" y="72"/>
                  </a:lnTo>
                  <a:lnTo>
                    <a:pt x="33" y="264"/>
                  </a:lnTo>
                  <a:lnTo>
                    <a:pt x="30" y="262"/>
                  </a:lnTo>
                  <a:close/>
                  <a:moveTo>
                    <a:pt x="35" y="64"/>
                  </a:moveTo>
                  <a:lnTo>
                    <a:pt x="33" y="64"/>
                  </a:lnTo>
                  <a:lnTo>
                    <a:pt x="33" y="64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0" y="59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2" y="52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39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1"/>
                  </a:lnTo>
                  <a:lnTo>
                    <a:pt x="10" y="29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7" y="13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3" y="8"/>
                  </a:lnTo>
                  <a:lnTo>
                    <a:pt x="215" y="8"/>
                  </a:lnTo>
                  <a:lnTo>
                    <a:pt x="215" y="21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8" y="29"/>
                  </a:lnTo>
                  <a:lnTo>
                    <a:pt x="215" y="29"/>
                  </a:lnTo>
                  <a:lnTo>
                    <a:pt x="215" y="39"/>
                  </a:lnTo>
                  <a:lnTo>
                    <a:pt x="104" y="39"/>
                  </a:lnTo>
                  <a:lnTo>
                    <a:pt x="102" y="39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4" y="49"/>
                  </a:lnTo>
                  <a:lnTo>
                    <a:pt x="215" y="49"/>
                  </a:lnTo>
                  <a:lnTo>
                    <a:pt x="215" y="64"/>
                  </a:lnTo>
                  <a:lnTo>
                    <a:pt x="35" y="64"/>
                  </a:lnTo>
                  <a:lnTo>
                    <a:pt x="35" y="64"/>
                  </a:lnTo>
                  <a:close/>
                  <a:moveTo>
                    <a:pt x="30" y="0"/>
                  </a:moveTo>
                  <a:lnTo>
                    <a:pt x="28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0" y="41"/>
                  </a:lnTo>
                  <a:lnTo>
                    <a:pt x="0" y="236"/>
                  </a:lnTo>
                  <a:lnTo>
                    <a:pt x="0" y="239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4"/>
                  </a:lnTo>
                  <a:lnTo>
                    <a:pt x="2" y="246"/>
                  </a:lnTo>
                  <a:lnTo>
                    <a:pt x="2" y="246"/>
                  </a:lnTo>
                  <a:lnTo>
                    <a:pt x="2" y="249"/>
                  </a:lnTo>
                  <a:lnTo>
                    <a:pt x="2" y="251"/>
                  </a:lnTo>
                  <a:lnTo>
                    <a:pt x="5" y="251"/>
                  </a:lnTo>
                  <a:lnTo>
                    <a:pt x="5" y="254"/>
                  </a:lnTo>
                  <a:lnTo>
                    <a:pt x="5" y="254"/>
                  </a:lnTo>
                  <a:lnTo>
                    <a:pt x="7" y="257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5" y="264"/>
                  </a:lnTo>
                  <a:lnTo>
                    <a:pt x="15" y="267"/>
                  </a:lnTo>
                  <a:lnTo>
                    <a:pt x="17" y="267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3" y="269"/>
                  </a:lnTo>
                  <a:lnTo>
                    <a:pt x="23" y="269"/>
                  </a:lnTo>
                  <a:lnTo>
                    <a:pt x="25" y="272"/>
                  </a:lnTo>
                  <a:lnTo>
                    <a:pt x="28" y="272"/>
                  </a:lnTo>
                  <a:lnTo>
                    <a:pt x="28" y="272"/>
                  </a:lnTo>
                  <a:lnTo>
                    <a:pt x="30" y="272"/>
                  </a:lnTo>
                  <a:lnTo>
                    <a:pt x="33" y="272"/>
                  </a:lnTo>
                  <a:lnTo>
                    <a:pt x="35" y="272"/>
                  </a:lnTo>
                  <a:lnTo>
                    <a:pt x="35" y="272"/>
                  </a:lnTo>
                  <a:lnTo>
                    <a:pt x="220" y="272"/>
                  </a:lnTo>
                  <a:lnTo>
                    <a:pt x="222" y="272"/>
                  </a:lnTo>
                  <a:lnTo>
                    <a:pt x="222" y="272"/>
                  </a:lnTo>
                  <a:lnTo>
                    <a:pt x="222" y="272"/>
                  </a:lnTo>
                  <a:lnTo>
                    <a:pt x="222" y="272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3"/>
                  </a:lnTo>
                  <a:lnTo>
                    <a:pt x="225" y="3"/>
                  </a:lnTo>
                  <a:lnTo>
                    <a:pt x="225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6" name="Group 295">
            <a:extLst>
              <a:ext uri="{FF2B5EF4-FFF2-40B4-BE49-F238E27FC236}">
                <a16:creationId xmlns:a16="http://schemas.microsoft.com/office/drawing/2014/main" id="{87D72BA5-4F83-4419-A91F-1609FD03EE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5142" y="5468000"/>
            <a:ext cx="758825" cy="758825"/>
            <a:chOff x="5041" y="3600"/>
            <a:chExt cx="478" cy="478"/>
          </a:xfrm>
        </p:grpSpPr>
        <p:sp>
          <p:nvSpPr>
            <p:cNvPr id="337" name="AutoShape 294">
              <a:extLst>
                <a:ext uri="{FF2B5EF4-FFF2-40B4-BE49-F238E27FC236}">
                  <a16:creationId xmlns:a16="http://schemas.microsoft.com/office/drawing/2014/main" id="{484DF621-3D5C-4DDA-B834-CFB04D1A69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41" y="360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296">
              <a:extLst>
                <a:ext uri="{FF2B5EF4-FFF2-40B4-BE49-F238E27FC236}">
                  <a16:creationId xmlns:a16="http://schemas.microsoft.com/office/drawing/2014/main" id="{B7315C97-3EA5-4DD6-A058-3B48171EE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3" y="360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297">
              <a:extLst>
                <a:ext uri="{FF2B5EF4-FFF2-40B4-BE49-F238E27FC236}">
                  <a16:creationId xmlns:a16="http://schemas.microsoft.com/office/drawing/2014/main" id="{35B7ED05-0F09-4FA4-B3D7-713D5E8397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6" y="3713"/>
              <a:ext cx="211" cy="255"/>
            </a:xfrm>
            <a:custGeom>
              <a:avLst/>
              <a:gdLst>
                <a:gd name="T0" fmla="*/ 211 w 211"/>
                <a:gd name="T1" fmla="*/ 255 h 255"/>
                <a:gd name="T2" fmla="*/ 211 w 211"/>
                <a:gd name="T3" fmla="*/ 37 h 255"/>
                <a:gd name="T4" fmla="*/ 189 w 211"/>
                <a:gd name="T5" fmla="*/ 37 h 255"/>
                <a:gd name="T6" fmla="*/ 186 w 211"/>
                <a:gd name="T7" fmla="*/ 34 h 255"/>
                <a:gd name="T8" fmla="*/ 184 w 211"/>
                <a:gd name="T9" fmla="*/ 34 h 255"/>
                <a:gd name="T10" fmla="*/ 179 w 211"/>
                <a:gd name="T11" fmla="*/ 29 h 255"/>
                <a:gd name="T12" fmla="*/ 176 w 211"/>
                <a:gd name="T13" fmla="*/ 24 h 255"/>
                <a:gd name="T14" fmla="*/ 176 w 211"/>
                <a:gd name="T15" fmla="*/ 19 h 255"/>
                <a:gd name="T16" fmla="*/ 176 w 211"/>
                <a:gd name="T17" fmla="*/ 19 h 255"/>
                <a:gd name="T18" fmla="*/ 176 w 211"/>
                <a:gd name="T19" fmla="*/ 0 h 255"/>
                <a:gd name="T20" fmla="*/ 10 w 211"/>
                <a:gd name="T21" fmla="*/ 0 h 255"/>
                <a:gd name="T22" fmla="*/ 5 w 211"/>
                <a:gd name="T23" fmla="*/ 2 h 255"/>
                <a:gd name="T24" fmla="*/ 2 w 211"/>
                <a:gd name="T25" fmla="*/ 2 h 255"/>
                <a:gd name="T26" fmla="*/ 2 w 211"/>
                <a:gd name="T27" fmla="*/ 5 h 255"/>
                <a:gd name="T28" fmla="*/ 2 w 211"/>
                <a:gd name="T29" fmla="*/ 7 h 255"/>
                <a:gd name="T30" fmla="*/ 0 w 211"/>
                <a:gd name="T31" fmla="*/ 12 h 255"/>
                <a:gd name="T32" fmla="*/ 2 w 211"/>
                <a:gd name="T33" fmla="*/ 223 h 255"/>
                <a:gd name="T34" fmla="*/ 7 w 211"/>
                <a:gd name="T35" fmla="*/ 233 h 255"/>
                <a:gd name="T36" fmla="*/ 12 w 211"/>
                <a:gd name="T37" fmla="*/ 242 h 255"/>
                <a:gd name="T38" fmla="*/ 22 w 211"/>
                <a:gd name="T39" fmla="*/ 250 h 255"/>
                <a:gd name="T40" fmla="*/ 29 w 211"/>
                <a:gd name="T41" fmla="*/ 255 h 255"/>
                <a:gd name="T42" fmla="*/ 211 w 211"/>
                <a:gd name="T43" fmla="*/ 255 h 255"/>
                <a:gd name="T44" fmla="*/ 51 w 211"/>
                <a:gd name="T45" fmla="*/ 12 h 255"/>
                <a:gd name="T46" fmla="*/ 93 w 211"/>
                <a:gd name="T47" fmla="*/ 12 h 255"/>
                <a:gd name="T48" fmla="*/ 93 w 211"/>
                <a:gd name="T49" fmla="*/ 93 h 255"/>
                <a:gd name="T50" fmla="*/ 71 w 211"/>
                <a:gd name="T51" fmla="*/ 73 h 255"/>
                <a:gd name="T52" fmla="*/ 51 w 211"/>
                <a:gd name="T53" fmla="*/ 93 h 255"/>
                <a:gd name="T54" fmla="*/ 51 w 211"/>
                <a:gd name="T55" fmla="*/ 12 h 255"/>
                <a:gd name="T56" fmla="*/ 12 w 211"/>
                <a:gd name="T57" fmla="*/ 12 h 255"/>
                <a:gd name="T58" fmla="*/ 41 w 211"/>
                <a:gd name="T59" fmla="*/ 12 h 255"/>
                <a:gd name="T60" fmla="*/ 41 w 211"/>
                <a:gd name="T61" fmla="*/ 113 h 255"/>
                <a:gd name="T62" fmla="*/ 71 w 211"/>
                <a:gd name="T63" fmla="*/ 83 h 255"/>
                <a:gd name="T64" fmla="*/ 100 w 211"/>
                <a:gd name="T65" fmla="*/ 113 h 255"/>
                <a:gd name="T66" fmla="*/ 100 w 211"/>
                <a:gd name="T67" fmla="*/ 12 h 255"/>
                <a:gd name="T68" fmla="*/ 164 w 211"/>
                <a:gd name="T69" fmla="*/ 12 h 255"/>
                <a:gd name="T70" fmla="*/ 164 w 211"/>
                <a:gd name="T71" fmla="*/ 206 h 255"/>
                <a:gd name="T72" fmla="*/ 12 w 211"/>
                <a:gd name="T73" fmla="*/ 206 h 255"/>
                <a:gd name="T74" fmla="*/ 12 w 211"/>
                <a:gd name="T75" fmla="*/ 12 h 255"/>
                <a:gd name="T76" fmla="*/ 19 w 211"/>
                <a:gd name="T77" fmla="*/ 230 h 255"/>
                <a:gd name="T78" fmla="*/ 15 w 211"/>
                <a:gd name="T79" fmla="*/ 223 h 255"/>
                <a:gd name="T80" fmla="*/ 15 w 211"/>
                <a:gd name="T81" fmla="*/ 218 h 255"/>
                <a:gd name="T82" fmla="*/ 176 w 211"/>
                <a:gd name="T83" fmla="*/ 218 h 255"/>
                <a:gd name="T84" fmla="*/ 176 w 211"/>
                <a:gd name="T85" fmla="*/ 44 h 255"/>
                <a:gd name="T86" fmla="*/ 186 w 211"/>
                <a:gd name="T87" fmla="*/ 49 h 255"/>
                <a:gd name="T88" fmla="*/ 198 w 211"/>
                <a:gd name="T89" fmla="*/ 49 h 255"/>
                <a:gd name="T90" fmla="*/ 198 w 211"/>
                <a:gd name="T91" fmla="*/ 242 h 255"/>
                <a:gd name="T92" fmla="*/ 32 w 211"/>
                <a:gd name="T93" fmla="*/ 242 h 255"/>
                <a:gd name="T94" fmla="*/ 24 w 211"/>
                <a:gd name="T95" fmla="*/ 238 h 255"/>
                <a:gd name="T96" fmla="*/ 19 w 211"/>
                <a:gd name="T97" fmla="*/ 23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1" h="255">
                  <a:moveTo>
                    <a:pt x="211" y="255"/>
                  </a:moveTo>
                  <a:lnTo>
                    <a:pt x="211" y="37"/>
                  </a:lnTo>
                  <a:lnTo>
                    <a:pt x="189" y="37"/>
                  </a:lnTo>
                  <a:lnTo>
                    <a:pt x="186" y="34"/>
                  </a:lnTo>
                  <a:lnTo>
                    <a:pt x="184" y="34"/>
                  </a:lnTo>
                  <a:lnTo>
                    <a:pt x="179" y="29"/>
                  </a:lnTo>
                  <a:lnTo>
                    <a:pt x="176" y="24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6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12"/>
                  </a:lnTo>
                  <a:lnTo>
                    <a:pt x="2" y="223"/>
                  </a:lnTo>
                  <a:lnTo>
                    <a:pt x="7" y="233"/>
                  </a:lnTo>
                  <a:lnTo>
                    <a:pt x="12" y="242"/>
                  </a:lnTo>
                  <a:lnTo>
                    <a:pt x="22" y="250"/>
                  </a:lnTo>
                  <a:lnTo>
                    <a:pt x="29" y="255"/>
                  </a:lnTo>
                  <a:lnTo>
                    <a:pt x="211" y="255"/>
                  </a:lnTo>
                  <a:close/>
                  <a:moveTo>
                    <a:pt x="51" y="12"/>
                  </a:moveTo>
                  <a:lnTo>
                    <a:pt x="93" y="12"/>
                  </a:lnTo>
                  <a:lnTo>
                    <a:pt x="93" y="93"/>
                  </a:lnTo>
                  <a:lnTo>
                    <a:pt x="71" y="73"/>
                  </a:lnTo>
                  <a:lnTo>
                    <a:pt x="51" y="93"/>
                  </a:lnTo>
                  <a:lnTo>
                    <a:pt x="51" y="12"/>
                  </a:lnTo>
                  <a:close/>
                  <a:moveTo>
                    <a:pt x="12" y="12"/>
                  </a:moveTo>
                  <a:lnTo>
                    <a:pt x="41" y="12"/>
                  </a:lnTo>
                  <a:lnTo>
                    <a:pt x="41" y="113"/>
                  </a:lnTo>
                  <a:lnTo>
                    <a:pt x="71" y="83"/>
                  </a:lnTo>
                  <a:lnTo>
                    <a:pt x="100" y="113"/>
                  </a:lnTo>
                  <a:lnTo>
                    <a:pt x="100" y="12"/>
                  </a:lnTo>
                  <a:lnTo>
                    <a:pt x="164" y="12"/>
                  </a:lnTo>
                  <a:lnTo>
                    <a:pt x="164" y="206"/>
                  </a:lnTo>
                  <a:lnTo>
                    <a:pt x="12" y="206"/>
                  </a:lnTo>
                  <a:lnTo>
                    <a:pt x="12" y="12"/>
                  </a:lnTo>
                  <a:close/>
                  <a:moveTo>
                    <a:pt x="19" y="230"/>
                  </a:moveTo>
                  <a:lnTo>
                    <a:pt x="15" y="223"/>
                  </a:lnTo>
                  <a:lnTo>
                    <a:pt x="15" y="218"/>
                  </a:lnTo>
                  <a:lnTo>
                    <a:pt x="176" y="218"/>
                  </a:lnTo>
                  <a:lnTo>
                    <a:pt x="176" y="44"/>
                  </a:lnTo>
                  <a:lnTo>
                    <a:pt x="186" y="49"/>
                  </a:lnTo>
                  <a:lnTo>
                    <a:pt x="198" y="49"/>
                  </a:lnTo>
                  <a:lnTo>
                    <a:pt x="198" y="242"/>
                  </a:lnTo>
                  <a:lnTo>
                    <a:pt x="32" y="242"/>
                  </a:lnTo>
                  <a:lnTo>
                    <a:pt x="24" y="238"/>
                  </a:lnTo>
                  <a:lnTo>
                    <a:pt x="19" y="23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0" name="Group 300">
            <a:extLst>
              <a:ext uri="{FF2B5EF4-FFF2-40B4-BE49-F238E27FC236}">
                <a16:creationId xmlns:a16="http://schemas.microsoft.com/office/drawing/2014/main" id="{BC87D52A-F89A-41F0-92F9-ABB78C479C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8190" y="5426725"/>
            <a:ext cx="841375" cy="841375"/>
            <a:chOff x="4368" y="3449"/>
            <a:chExt cx="530" cy="530"/>
          </a:xfrm>
        </p:grpSpPr>
        <p:sp>
          <p:nvSpPr>
            <p:cNvPr id="341" name="AutoShape 299">
              <a:extLst>
                <a:ext uri="{FF2B5EF4-FFF2-40B4-BE49-F238E27FC236}">
                  <a16:creationId xmlns:a16="http://schemas.microsoft.com/office/drawing/2014/main" id="{482287B9-4DD9-4C75-B533-2DFD9B6F15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8" y="344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Oval 301">
              <a:extLst>
                <a:ext uri="{FF2B5EF4-FFF2-40B4-BE49-F238E27FC236}">
                  <a16:creationId xmlns:a16="http://schemas.microsoft.com/office/drawing/2014/main" id="{5DFF764A-CCFC-4477-AFC0-677244183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8" y="344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302">
              <a:extLst>
                <a:ext uri="{FF2B5EF4-FFF2-40B4-BE49-F238E27FC236}">
                  <a16:creationId xmlns:a16="http://schemas.microsoft.com/office/drawing/2014/main" id="{D01AF43D-8ABF-4FDD-822D-173E62354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6" y="346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303">
              <a:extLst>
                <a:ext uri="{FF2B5EF4-FFF2-40B4-BE49-F238E27FC236}">
                  <a16:creationId xmlns:a16="http://schemas.microsoft.com/office/drawing/2014/main" id="{C27D430F-B88E-4735-B437-894C658C5F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4" y="3582"/>
              <a:ext cx="220" cy="266"/>
            </a:xfrm>
            <a:custGeom>
              <a:avLst/>
              <a:gdLst>
                <a:gd name="T0" fmla="*/ 220 w 220"/>
                <a:gd name="T1" fmla="*/ 266 h 266"/>
                <a:gd name="T2" fmla="*/ 220 w 220"/>
                <a:gd name="T3" fmla="*/ 38 h 266"/>
                <a:gd name="T4" fmla="*/ 197 w 220"/>
                <a:gd name="T5" fmla="*/ 38 h 266"/>
                <a:gd name="T6" fmla="*/ 195 w 220"/>
                <a:gd name="T7" fmla="*/ 36 h 266"/>
                <a:gd name="T8" fmla="*/ 192 w 220"/>
                <a:gd name="T9" fmla="*/ 36 h 266"/>
                <a:gd name="T10" fmla="*/ 187 w 220"/>
                <a:gd name="T11" fmla="*/ 31 h 266"/>
                <a:gd name="T12" fmla="*/ 184 w 220"/>
                <a:gd name="T13" fmla="*/ 26 h 266"/>
                <a:gd name="T14" fmla="*/ 184 w 220"/>
                <a:gd name="T15" fmla="*/ 21 h 266"/>
                <a:gd name="T16" fmla="*/ 184 w 220"/>
                <a:gd name="T17" fmla="*/ 21 h 266"/>
                <a:gd name="T18" fmla="*/ 184 w 220"/>
                <a:gd name="T19" fmla="*/ 0 h 266"/>
                <a:gd name="T20" fmla="*/ 10 w 220"/>
                <a:gd name="T21" fmla="*/ 0 h 266"/>
                <a:gd name="T22" fmla="*/ 5 w 220"/>
                <a:gd name="T23" fmla="*/ 3 h 266"/>
                <a:gd name="T24" fmla="*/ 3 w 220"/>
                <a:gd name="T25" fmla="*/ 3 h 266"/>
                <a:gd name="T26" fmla="*/ 3 w 220"/>
                <a:gd name="T27" fmla="*/ 5 h 266"/>
                <a:gd name="T28" fmla="*/ 3 w 220"/>
                <a:gd name="T29" fmla="*/ 8 h 266"/>
                <a:gd name="T30" fmla="*/ 0 w 220"/>
                <a:gd name="T31" fmla="*/ 13 h 266"/>
                <a:gd name="T32" fmla="*/ 3 w 220"/>
                <a:gd name="T33" fmla="*/ 233 h 266"/>
                <a:gd name="T34" fmla="*/ 8 w 220"/>
                <a:gd name="T35" fmla="*/ 243 h 266"/>
                <a:gd name="T36" fmla="*/ 13 w 220"/>
                <a:gd name="T37" fmla="*/ 254 h 266"/>
                <a:gd name="T38" fmla="*/ 23 w 220"/>
                <a:gd name="T39" fmla="*/ 261 h 266"/>
                <a:gd name="T40" fmla="*/ 31 w 220"/>
                <a:gd name="T41" fmla="*/ 266 h 266"/>
                <a:gd name="T42" fmla="*/ 220 w 220"/>
                <a:gd name="T43" fmla="*/ 266 h 266"/>
                <a:gd name="T44" fmla="*/ 54 w 220"/>
                <a:gd name="T45" fmla="*/ 13 h 266"/>
                <a:gd name="T46" fmla="*/ 97 w 220"/>
                <a:gd name="T47" fmla="*/ 13 h 266"/>
                <a:gd name="T48" fmla="*/ 97 w 220"/>
                <a:gd name="T49" fmla="*/ 97 h 266"/>
                <a:gd name="T50" fmla="*/ 74 w 220"/>
                <a:gd name="T51" fmla="*/ 77 h 266"/>
                <a:gd name="T52" fmla="*/ 54 w 220"/>
                <a:gd name="T53" fmla="*/ 97 h 266"/>
                <a:gd name="T54" fmla="*/ 54 w 220"/>
                <a:gd name="T55" fmla="*/ 13 h 266"/>
                <a:gd name="T56" fmla="*/ 13 w 220"/>
                <a:gd name="T57" fmla="*/ 13 h 266"/>
                <a:gd name="T58" fmla="*/ 44 w 220"/>
                <a:gd name="T59" fmla="*/ 13 h 266"/>
                <a:gd name="T60" fmla="*/ 44 w 220"/>
                <a:gd name="T61" fmla="*/ 118 h 266"/>
                <a:gd name="T62" fmla="*/ 74 w 220"/>
                <a:gd name="T63" fmla="*/ 87 h 266"/>
                <a:gd name="T64" fmla="*/ 105 w 220"/>
                <a:gd name="T65" fmla="*/ 118 h 266"/>
                <a:gd name="T66" fmla="*/ 105 w 220"/>
                <a:gd name="T67" fmla="*/ 13 h 266"/>
                <a:gd name="T68" fmla="*/ 172 w 220"/>
                <a:gd name="T69" fmla="*/ 13 h 266"/>
                <a:gd name="T70" fmla="*/ 172 w 220"/>
                <a:gd name="T71" fmla="*/ 215 h 266"/>
                <a:gd name="T72" fmla="*/ 13 w 220"/>
                <a:gd name="T73" fmla="*/ 215 h 266"/>
                <a:gd name="T74" fmla="*/ 13 w 220"/>
                <a:gd name="T75" fmla="*/ 13 h 266"/>
                <a:gd name="T76" fmla="*/ 21 w 220"/>
                <a:gd name="T77" fmla="*/ 241 h 266"/>
                <a:gd name="T78" fmla="*/ 15 w 220"/>
                <a:gd name="T79" fmla="*/ 233 h 266"/>
                <a:gd name="T80" fmla="*/ 15 w 220"/>
                <a:gd name="T81" fmla="*/ 228 h 266"/>
                <a:gd name="T82" fmla="*/ 184 w 220"/>
                <a:gd name="T83" fmla="*/ 228 h 266"/>
                <a:gd name="T84" fmla="*/ 184 w 220"/>
                <a:gd name="T85" fmla="*/ 46 h 266"/>
                <a:gd name="T86" fmla="*/ 195 w 220"/>
                <a:gd name="T87" fmla="*/ 51 h 266"/>
                <a:gd name="T88" fmla="*/ 207 w 220"/>
                <a:gd name="T89" fmla="*/ 51 h 266"/>
                <a:gd name="T90" fmla="*/ 207 w 220"/>
                <a:gd name="T91" fmla="*/ 254 h 266"/>
                <a:gd name="T92" fmla="*/ 33 w 220"/>
                <a:gd name="T93" fmla="*/ 254 h 266"/>
                <a:gd name="T94" fmla="*/ 26 w 220"/>
                <a:gd name="T95" fmla="*/ 248 h 266"/>
                <a:gd name="T96" fmla="*/ 21 w 220"/>
                <a:gd name="T97" fmla="*/ 24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0" h="266">
                  <a:moveTo>
                    <a:pt x="220" y="266"/>
                  </a:moveTo>
                  <a:lnTo>
                    <a:pt x="220" y="38"/>
                  </a:lnTo>
                  <a:lnTo>
                    <a:pt x="197" y="38"/>
                  </a:lnTo>
                  <a:lnTo>
                    <a:pt x="195" y="36"/>
                  </a:lnTo>
                  <a:lnTo>
                    <a:pt x="192" y="36"/>
                  </a:lnTo>
                  <a:lnTo>
                    <a:pt x="187" y="31"/>
                  </a:lnTo>
                  <a:lnTo>
                    <a:pt x="184" y="26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13"/>
                  </a:lnTo>
                  <a:lnTo>
                    <a:pt x="3" y="233"/>
                  </a:lnTo>
                  <a:lnTo>
                    <a:pt x="8" y="243"/>
                  </a:lnTo>
                  <a:lnTo>
                    <a:pt x="13" y="254"/>
                  </a:lnTo>
                  <a:lnTo>
                    <a:pt x="23" y="261"/>
                  </a:lnTo>
                  <a:lnTo>
                    <a:pt x="31" y="266"/>
                  </a:lnTo>
                  <a:lnTo>
                    <a:pt x="220" y="266"/>
                  </a:lnTo>
                  <a:close/>
                  <a:moveTo>
                    <a:pt x="54" y="13"/>
                  </a:moveTo>
                  <a:lnTo>
                    <a:pt x="97" y="13"/>
                  </a:lnTo>
                  <a:lnTo>
                    <a:pt x="97" y="97"/>
                  </a:lnTo>
                  <a:lnTo>
                    <a:pt x="74" y="77"/>
                  </a:lnTo>
                  <a:lnTo>
                    <a:pt x="54" y="97"/>
                  </a:lnTo>
                  <a:lnTo>
                    <a:pt x="54" y="13"/>
                  </a:lnTo>
                  <a:close/>
                  <a:moveTo>
                    <a:pt x="13" y="13"/>
                  </a:moveTo>
                  <a:lnTo>
                    <a:pt x="44" y="13"/>
                  </a:lnTo>
                  <a:lnTo>
                    <a:pt x="44" y="118"/>
                  </a:lnTo>
                  <a:lnTo>
                    <a:pt x="74" y="87"/>
                  </a:lnTo>
                  <a:lnTo>
                    <a:pt x="105" y="118"/>
                  </a:lnTo>
                  <a:lnTo>
                    <a:pt x="105" y="13"/>
                  </a:lnTo>
                  <a:lnTo>
                    <a:pt x="172" y="13"/>
                  </a:lnTo>
                  <a:lnTo>
                    <a:pt x="172" y="215"/>
                  </a:lnTo>
                  <a:lnTo>
                    <a:pt x="13" y="215"/>
                  </a:lnTo>
                  <a:lnTo>
                    <a:pt x="13" y="13"/>
                  </a:lnTo>
                  <a:close/>
                  <a:moveTo>
                    <a:pt x="21" y="241"/>
                  </a:moveTo>
                  <a:lnTo>
                    <a:pt x="15" y="233"/>
                  </a:lnTo>
                  <a:lnTo>
                    <a:pt x="15" y="228"/>
                  </a:lnTo>
                  <a:lnTo>
                    <a:pt x="184" y="228"/>
                  </a:lnTo>
                  <a:lnTo>
                    <a:pt x="184" y="46"/>
                  </a:lnTo>
                  <a:lnTo>
                    <a:pt x="195" y="51"/>
                  </a:lnTo>
                  <a:lnTo>
                    <a:pt x="207" y="51"/>
                  </a:lnTo>
                  <a:lnTo>
                    <a:pt x="207" y="254"/>
                  </a:lnTo>
                  <a:lnTo>
                    <a:pt x="33" y="254"/>
                  </a:lnTo>
                  <a:lnTo>
                    <a:pt x="26" y="248"/>
                  </a:lnTo>
                  <a:lnTo>
                    <a:pt x="21" y="2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04991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1F4FD7-AAEF-4A70-BE67-13227B564F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296442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inder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ree Bind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dress Boo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velop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l Envelop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l Open Envelope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l Open Envelope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ipboar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lipboard Data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st-it No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ld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pen Fold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lder With Docu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 Box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l Aler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ag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rtrait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uck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klift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venient &amp; Near MRT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1" name="Group 4">
            <a:extLst>
              <a:ext uri="{FF2B5EF4-FFF2-40B4-BE49-F238E27FC236}">
                <a16:creationId xmlns:a16="http://schemas.microsoft.com/office/drawing/2014/main" id="{0B89EDC3-E740-4F1B-A063-717B4C1D1C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28" y="334169"/>
            <a:ext cx="758825" cy="758825"/>
            <a:chOff x="911" y="376"/>
            <a:chExt cx="478" cy="478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7D91D43B-D7CE-4EF8-96A4-F16E1F1B04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1" y="37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33ECD5CB-F0C7-4DAC-9741-02F139469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" y="37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D1778B26-6383-4A65-8612-C4DFCC84B8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" y="626"/>
              <a:ext cx="29" cy="1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7">
              <a:extLst>
                <a:ext uri="{FF2B5EF4-FFF2-40B4-BE49-F238E27FC236}">
                  <a16:creationId xmlns:a16="http://schemas.microsoft.com/office/drawing/2014/main" id="{439A2AC7-C1B0-48C4-A36B-6D16EDA2C0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" y="589"/>
              <a:ext cx="29" cy="1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8">
              <a:extLst>
                <a:ext uri="{FF2B5EF4-FFF2-40B4-BE49-F238E27FC236}">
                  <a16:creationId xmlns:a16="http://schemas.microsoft.com/office/drawing/2014/main" id="{EE30AA0F-577D-41C3-9E48-EF0E1A7E6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" y="626"/>
              <a:ext cx="27" cy="1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35FE303E-576E-4F01-B576-D5BC31E59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682"/>
              <a:ext cx="17" cy="18"/>
            </a:xfrm>
            <a:custGeom>
              <a:avLst/>
              <a:gdLst>
                <a:gd name="T0" fmla="*/ 17 w 17"/>
                <a:gd name="T1" fmla="*/ 5 h 18"/>
                <a:gd name="T2" fmla="*/ 17 w 17"/>
                <a:gd name="T3" fmla="*/ 3 h 18"/>
                <a:gd name="T4" fmla="*/ 15 w 17"/>
                <a:gd name="T5" fmla="*/ 3 h 18"/>
                <a:gd name="T6" fmla="*/ 15 w 17"/>
                <a:gd name="T7" fmla="*/ 0 h 18"/>
                <a:gd name="T8" fmla="*/ 13 w 17"/>
                <a:gd name="T9" fmla="*/ 0 h 18"/>
                <a:gd name="T10" fmla="*/ 10 w 17"/>
                <a:gd name="T11" fmla="*/ 0 h 18"/>
                <a:gd name="T12" fmla="*/ 10 w 17"/>
                <a:gd name="T13" fmla="*/ 0 h 18"/>
                <a:gd name="T14" fmla="*/ 8 w 17"/>
                <a:gd name="T15" fmla="*/ 0 h 18"/>
                <a:gd name="T16" fmla="*/ 5 w 17"/>
                <a:gd name="T17" fmla="*/ 0 h 18"/>
                <a:gd name="T18" fmla="*/ 3 w 17"/>
                <a:gd name="T19" fmla="*/ 0 h 18"/>
                <a:gd name="T20" fmla="*/ 3 w 17"/>
                <a:gd name="T21" fmla="*/ 3 h 18"/>
                <a:gd name="T22" fmla="*/ 0 w 17"/>
                <a:gd name="T23" fmla="*/ 3 h 18"/>
                <a:gd name="T24" fmla="*/ 0 w 17"/>
                <a:gd name="T25" fmla="*/ 5 h 18"/>
                <a:gd name="T26" fmla="*/ 0 w 17"/>
                <a:gd name="T27" fmla="*/ 8 h 18"/>
                <a:gd name="T28" fmla="*/ 0 w 17"/>
                <a:gd name="T29" fmla="*/ 8 h 18"/>
                <a:gd name="T30" fmla="*/ 0 w 17"/>
                <a:gd name="T31" fmla="*/ 10 h 18"/>
                <a:gd name="T32" fmla="*/ 0 w 17"/>
                <a:gd name="T33" fmla="*/ 13 h 18"/>
                <a:gd name="T34" fmla="*/ 0 w 17"/>
                <a:gd name="T35" fmla="*/ 15 h 18"/>
                <a:gd name="T36" fmla="*/ 3 w 17"/>
                <a:gd name="T37" fmla="*/ 15 h 18"/>
                <a:gd name="T38" fmla="*/ 3 w 17"/>
                <a:gd name="T39" fmla="*/ 18 h 18"/>
                <a:gd name="T40" fmla="*/ 5 w 17"/>
                <a:gd name="T41" fmla="*/ 18 h 18"/>
                <a:gd name="T42" fmla="*/ 8 w 17"/>
                <a:gd name="T43" fmla="*/ 18 h 18"/>
                <a:gd name="T44" fmla="*/ 10 w 17"/>
                <a:gd name="T45" fmla="*/ 18 h 18"/>
                <a:gd name="T46" fmla="*/ 10 w 17"/>
                <a:gd name="T47" fmla="*/ 18 h 18"/>
                <a:gd name="T48" fmla="*/ 13 w 17"/>
                <a:gd name="T49" fmla="*/ 18 h 18"/>
                <a:gd name="T50" fmla="*/ 15 w 17"/>
                <a:gd name="T51" fmla="*/ 18 h 18"/>
                <a:gd name="T52" fmla="*/ 15 w 17"/>
                <a:gd name="T53" fmla="*/ 15 h 18"/>
                <a:gd name="T54" fmla="*/ 17 w 17"/>
                <a:gd name="T55" fmla="*/ 15 h 18"/>
                <a:gd name="T56" fmla="*/ 17 w 17"/>
                <a:gd name="T57" fmla="*/ 13 h 18"/>
                <a:gd name="T58" fmla="*/ 17 w 17"/>
                <a:gd name="T59" fmla="*/ 10 h 18"/>
                <a:gd name="T60" fmla="*/ 17 w 17"/>
                <a:gd name="T61" fmla="*/ 8 h 18"/>
                <a:gd name="T62" fmla="*/ 17 w 17"/>
                <a:gd name="T63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18">
                  <a:moveTo>
                    <a:pt x="17" y="5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71ECC0B-1003-4ABA-8DE6-4B80944EC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" y="682"/>
              <a:ext cx="19" cy="18"/>
            </a:xfrm>
            <a:custGeom>
              <a:avLst/>
              <a:gdLst>
                <a:gd name="T0" fmla="*/ 17 w 19"/>
                <a:gd name="T1" fmla="*/ 5 h 18"/>
                <a:gd name="T2" fmla="*/ 17 w 19"/>
                <a:gd name="T3" fmla="*/ 3 h 18"/>
                <a:gd name="T4" fmla="*/ 14 w 19"/>
                <a:gd name="T5" fmla="*/ 0 h 18"/>
                <a:gd name="T6" fmla="*/ 14 w 19"/>
                <a:gd name="T7" fmla="*/ 0 h 18"/>
                <a:gd name="T8" fmla="*/ 12 w 19"/>
                <a:gd name="T9" fmla="*/ 0 h 18"/>
                <a:gd name="T10" fmla="*/ 10 w 19"/>
                <a:gd name="T11" fmla="*/ 0 h 18"/>
                <a:gd name="T12" fmla="*/ 7 w 19"/>
                <a:gd name="T13" fmla="*/ 0 h 18"/>
                <a:gd name="T14" fmla="*/ 7 w 19"/>
                <a:gd name="T15" fmla="*/ 0 h 18"/>
                <a:gd name="T16" fmla="*/ 5 w 19"/>
                <a:gd name="T17" fmla="*/ 0 h 18"/>
                <a:gd name="T18" fmla="*/ 2 w 19"/>
                <a:gd name="T19" fmla="*/ 0 h 18"/>
                <a:gd name="T20" fmla="*/ 2 w 19"/>
                <a:gd name="T21" fmla="*/ 3 h 18"/>
                <a:gd name="T22" fmla="*/ 0 w 19"/>
                <a:gd name="T23" fmla="*/ 5 h 18"/>
                <a:gd name="T24" fmla="*/ 0 w 19"/>
                <a:gd name="T25" fmla="*/ 5 h 18"/>
                <a:gd name="T26" fmla="*/ 0 w 19"/>
                <a:gd name="T27" fmla="*/ 8 h 18"/>
                <a:gd name="T28" fmla="*/ 0 w 19"/>
                <a:gd name="T29" fmla="*/ 10 h 18"/>
                <a:gd name="T30" fmla="*/ 0 w 19"/>
                <a:gd name="T31" fmla="*/ 13 h 18"/>
                <a:gd name="T32" fmla="*/ 0 w 19"/>
                <a:gd name="T33" fmla="*/ 13 h 18"/>
                <a:gd name="T34" fmla="*/ 2 w 19"/>
                <a:gd name="T35" fmla="*/ 15 h 18"/>
                <a:gd name="T36" fmla="*/ 2 w 19"/>
                <a:gd name="T37" fmla="*/ 15 h 18"/>
                <a:gd name="T38" fmla="*/ 5 w 19"/>
                <a:gd name="T39" fmla="*/ 18 h 18"/>
                <a:gd name="T40" fmla="*/ 7 w 19"/>
                <a:gd name="T41" fmla="*/ 18 h 18"/>
                <a:gd name="T42" fmla="*/ 7 w 19"/>
                <a:gd name="T43" fmla="*/ 18 h 18"/>
                <a:gd name="T44" fmla="*/ 10 w 19"/>
                <a:gd name="T45" fmla="*/ 18 h 18"/>
                <a:gd name="T46" fmla="*/ 12 w 19"/>
                <a:gd name="T47" fmla="*/ 18 h 18"/>
                <a:gd name="T48" fmla="*/ 14 w 19"/>
                <a:gd name="T49" fmla="*/ 18 h 18"/>
                <a:gd name="T50" fmla="*/ 14 w 19"/>
                <a:gd name="T51" fmla="*/ 15 h 18"/>
                <a:gd name="T52" fmla="*/ 17 w 19"/>
                <a:gd name="T53" fmla="*/ 15 h 18"/>
                <a:gd name="T54" fmla="*/ 17 w 19"/>
                <a:gd name="T55" fmla="*/ 13 h 18"/>
                <a:gd name="T56" fmla="*/ 19 w 19"/>
                <a:gd name="T57" fmla="*/ 13 h 18"/>
                <a:gd name="T58" fmla="*/ 19 w 19"/>
                <a:gd name="T59" fmla="*/ 10 h 18"/>
                <a:gd name="T60" fmla="*/ 19 w 19"/>
                <a:gd name="T61" fmla="*/ 8 h 18"/>
                <a:gd name="T62" fmla="*/ 19 w 19"/>
                <a:gd name="T6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" h="18">
                  <a:moveTo>
                    <a:pt x="17" y="5"/>
                  </a:moveTo>
                  <a:lnTo>
                    <a:pt x="17" y="5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5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11">
              <a:extLst>
                <a:ext uri="{FF2B5EF4-FFF2-40B4-BE49-F238E27FC236}">
                  <a16:creationId xmlns:a16="http://schemas.microsoft.com/office/drawing/2014/main" id="{C193C33A-8898-469B-A2FD-4AD73DF78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4" y="47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248E15AF-235E-45EB-B871-3C4E88671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479"/>
              <a:ext cx="226" cy="275"/>
            </a:xfrm>
            <a:custGeom>
              <a:avLst/>
              <a:gdLst>
                <a:gd name="T0" fmla="*/ 224 w 226"/>
                <a:gd name="T1" fmla="*/ 2 h 275"/>
                <a:gd name="T2" fmla="*/ 224 w 226"/>
                <a:gd name="T3" fmla="*/ 2 h 275"/>
                <a:gd name="T4" fmla="*/ 221 w 226"/>
                <a:gd name="T5" fmla="*/ 2 h 275"/>
                <a:gd name="T6" fmla="*/ 221 w 226"/>
                <a:gd name="T7" fmla="*/ 2 h 275"/>
                <a:gd name="T8" fmla="*/ 219 w 226"/>
                <a:gd name="T9" fmla="*/ 2 h 275"/>
                <a:gd name="T10" fmla="*/ 219 w 226"/>
                <a:gd name="T11" fmla="*/ 0 h 275"/>
                <a:gd name="T12" fmla="*/ 219 w 226"/>
                <a:gd name="T13" fmla="*/ 2 h 275"/>
                <a:gd name="T14" fmla="*/ 216 w 226"/>
                <a:gd name="T15" fmla="*/ 2 h 275"/>
                <a:gd name="T16" fmla="*/ 216 w 226"/>
                <a:gd name="T17" fmla="*/ 2 h 275"/>
                <a:gd name="T18" fmla="*/ 214 w 226"/>
                <a:gd name="T19" fmla="*/ 2 h 275"/>
                <a:gd name="T20" fmla="*/ 150 w 226"/>
                <a:gd name="T21" fmla="*/ 66 h 275"/>
                <a:gd name="T22" fmla="*/ 96 w 226"/>
                <a:gd name="T23" fmla="*/ 66 h 275"/>
                <a:gd name="T24" fmla="*/ 152 w 226"/>
                <a:gd name="T25" fmla="*/ 7 h 275"/>
                <a:gd name="T26" fmla="*/ 150 w 226"/>
                <a:gd name="T27" fmla="*/ 5 h 275"/>
                <a:gd name="T28" fmla="*/ 150 w 226"/>
                <a:gd name="T29" fmla="*/ 2 h 275"/>
                <a:gd name="T30" fmla="*/ 148 w 226"/>
                <a:gd name="T31" fmla="*/ 0 h 275"/>
                <a:gd name="T32" fmla="*/ 148 w 226"/>
                <a:gd name="T33" fmla="*/ 0 h 275"/>
                <a:gd name="T34" fmla="*/ 145 w 226"/>
                <a:gd name="T35" fmla="*/ 0 h 275"/>
                <a:gd name="T36" fmla="*/ 143 w 226"/>
                <a:gd name="T37" fmla="*/ 2 h 275"/>
                <a:gd name="T38" fmla="*/ 79 w 226"/>
                <a:gd name="T39" fmla="*/ 66 h 275"/>
                <a:gd name="T40" fmla="*/ 23 w 226"/>
                <a:gd name="T41" fmla="*/ 66 h 275"/>
                <a:gd name="T42" fmla="*/ 79 w 226"/>
                <a:gd name="T43" fmla="*/ 7 h 275"/>
                <a:gd name="T44" fmla="*/ 79 w 226"/>
                <a:gd name="T45" fmla="*/ 5 h 275"/>
                <a:gd name="T46" fmla="*/ 76 w 226"/>
                <a:gd name="T47" fmla="*/ 2 h 275"/>
                <a:gd name="T48" fmla="*/ 74 w 226"/>
                <a:gd name="T49" fmla="*/ 0 h 275"/>
                <a:gd name="T50" fmla="*/ 74 w 226"/>
                <a:gd name="T51" fmla="*/ 0 h 275"/>
                <a:gd name="T52" fmla="*/ 72 w 226"/>
                <a:gd name="T53" fmla="*/ 0 h 275"/>
                <a:gd name="T54" fmla="*/ 69 w 226"/>
                <a:gd name="T55" fmla="*/ 2 h 275"/>
                <a:gd name="T56" fmla="*/ 69 w 226"/>
                <a:gd name="T57" fmla="*/ 2 h 275"/>
                <a:gd name="T58" fmla="*/ 0 w 226"/>
                <a:gd name="T59" fmla="*/ 71 h 275"/>
                <a:gd name="T60" fmla="*/ 0 w 226"/>
                <a:gd name="T61" fmla="*/ 71 h 275"/>
                <a:gd name="T62" fmla="*/ 0 w 226"/>
                <a:gd name="T63" fmla="*/ 71 h 275"/>
                <a:gd name="T64" fmla="*/ 3 w 226"/>
                <a:gd name="T65" fmla="*/ 270 h 275"/>
                <a:gd name="T66" fmla="*/ 5 w 226"/>
                <a:gd name="T67" fmla="*/ 272 h 275"/>
                <a:gd name="T68" fmla="*/ 5 w 226"/>
                <a:gd name="T69" fmla="*/ 272 h 275"/>
                <a:gd name="T70" fmla="*/ 8 w 226"/>
                <a:gd name="T71" fmla="*/ 275 h 275"/>
                <a:gd name="T72" fmla="*/ 157 w 226"/>
                <a:gd name="T73" fmla="*/ 272 h 275"/>
                <a:gd name="T74" fmla="*/ 157 w 226"/>
                <a:gd name="T75" fmla="*/ 272 h 275"/>
                <a:gd name="T76" fmla="*/ 226 w 226"/>
                <a:gd name="T77" fmla="*/ 203 h 275"/>
                <a:gd name="T78" fmla="*/ 226 w 226"/>
                <a:gd name="T79" fmla="*/ 203 h 275"/>
                <a:gd name="T80" fmla="*/ 226 w 226"/>
                <a:gd name="T81" fmla="*/ 7 h 275"/>
                <a:gd name="T82" fmla="*/ 224 w 226"/>
                <a:gd name="T83" fmla="*/ 5 h 275"/>
                <a:gd name="T84" fmla="*/ 224 w 226"/>
                <a:gd name="T85" fmla="*/ 5 h 275"/>
                <a:gd name="T86" fmla="*/ 224 w 226"/>
                <a:gd name="T87" fmla="*/ 2 h 275"/>
                <a:gd name="T88" fmla="*/ 74 w 226"/>
                <a:gd name="T89" fmla="*/ 262 h 275"/>
                <a:gd name="T90" fmla="*/ 13 w 226"/>
                <a:gd name="T91" fmla="*/ 262 h 275"/>
                <a:gd name="T92" fmla="*/ 13 w 226"/>
                <a:gd name="T93" fmla="*/ 78 h 275"/>
                <a:gd name="T94" fmla="*/ 74 w 226"/>
                <a:gd name="T95" fmla="*/ 78 h 275"/>
                <a:gd name="T96" fmla="*/ 74 w 226"/>
                <a:gd name="T97" fmla="*/ 262 h 275"/>
                <a:gd name="T98" fmla="*/ 148 w 226"/>
                <a:gd name="T99" fmla="*/ 262 h 275"/>
                <a:gd name="T100" fmla="*/ 86 w 226"/>
                <a:gd name="T101" fmla="*/ 262 h 275"/>
                <a:gd name="T102" fmla="*/ 86 w 226"/>
                <a:gd name="T103" fmla="*/ 78 h 275"/>
                <a:gd name="T104" fmla="*/ 148 w 226"/>
                <a:gd name="T105" fmla="*/ 78 h 275"/>
                <a:gd name="T106" fmla="*/ 148 w 226"/>
                <a:gd name="T107" fmla="*/ 262 h 275"/>
                <a:gd name="T108" fmla="*/ 214 w 226"/>
                <a:gd name="T109" fmla="*/ 201 h 275"/>
                <a:gd name="T110" fmla="*/ 160 w 226"/>
                <a:gd name="T111" fmla="*/ 252 h 275"/>
                <a:gd name="T112" fmla="*/ 160 w 226"/>
                <a:gd name="T113" fmla="*/ 73 h 275"/>
                <a:gd name="T114" fmla="*/ 214 w 226"/>
                <a:gd name="T115" fmla="*/ 22 h 275"/>
                <a:gd name="T116" fmla="*/ 214 w 226"/>
                <a:gd name="T117" fmla="*/ 20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75">
                  <a:moveTo>
                    <a:pt x="224" y="2"/>
                  </a:moveTo>
                  <a:lnTo>
                    <a:pt x="224" y="2"/>
                  </a:lnTo>
                  <a:lnTo>
                    <a:pt x="221" y="2"/>
                  </a:lnTo>
                  <a:lnTo>
                    <a:pt x="221" y="2"/>
                  </a:lnTo>
                  <a:lnTo>
                    <a:pt x="219" y="2"/>
                  </a:lnTo>
                  <a:lnTo>
                    <a:pt x="219" y="0"/>
                  </a:lnTo>
                  <a:lnTo>
                    <a:pt x="219" y="2"/>
                  </a:lnTo>
                  <a:lnTo>
                    <a:pt x="216" y="2"/>
                  </a:lnTo>
                  <a:lnTo>
                    <a:pt x="216" y="2"/>
                  </a:lnTo>
                  <a:lnTo>
                    <a:pt x="214" y="2"/>
                  </a:lnTo>
                  <a:lnTo>
                    <a:pt x="150" y="66"/>
                  </a:lnTo>
                  <a:lnTo>
                    <a:pt x="96" y="66"/>
                  </a:lnTo>
                  <a:lnTo>
                    <a:pt x="152" y="7"/>
                  </a:lnTo>
                  <a:lnTo>
                    <a:pt x="150" y="5"/>
                  </a:lnTo>
                  <a:lnTo>
                    <a:pt x="150" y="2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3" y="2"/>
                  </a:lnTo>
                  <a:lnTo>
                    <a:pt x="79" y="66"/>
                  </a:lnTo>
                  <a:lnTo>
                    <a:pt x="23" y="66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3" y="270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8" y="275"/>
                  </a:lnTo>
                  <a:lnTo>
                    <a:pt x="157" y="272"/>
                  </a:lnTo>
                  <a:lnTo>
                    <a:pt x="157" y="272"/>
                  </a:lnTo>
                  <a:lnTo>
                    <a:pt x="226" y="203"/>
                  </a:lnTo>
                  <a:lnTo>
                    <a:pt x="226" y="203"/>
                  </a:lnTo>
                  <a:lnTo>
                    <a:pt x="226" y="7"/>
                  </a:lnTo>
                  <a:lnTo>
                    <a:pt x="224" y="5"/>
                  </a:lnTo>
                  <a:lnTo>
                    <a:pt x="224" y="5"/>
                  </a:lnTo>
                  <a:lnTo>
                    <a:pt x="224" y="2"/>
                  </a:lnTo>
                  <a:close/>
                  <a:moveTo>
                    <a:pt x="74" y="262"/>
                  </a:moveTo>
                  <a:lnTo>
                    <a:pt x="13" y="262"/>
                  </a:lnTo>
                  <a:lnTo>
                    <a:pt x="13" y="78"/>
                  </a:lnTo>
                  <a:lnTo>
                    <a:pt x="74" y="78"/>
                  </a:lnTo>
                  <a:lnTo>
                    <a:pt x="74" y="262"/>
                  </a:lnTo>
                  <a:close/>
                  <a:moveTo>
                    <a:pt x="148" y="262"/>
                  </a:moveTo>
                  <a:lnTo>
                    <a:pt x="86" y="262"/>
                  </a:lnTo>
                  <a:lnTo>
                    <a:pt x="86" y="78"/>
                  </a:lnTo>
                  <a:lnTo>
                    <a:pt x="148" y="78"/>
                  </a:lnTo>
                  <a:lnTo>
                    <a:pt x="148" y="262"/>
                  </a:lnTo>
                  <a:close/>
                  <a:moveTo>
                    <a:pt x="214" y="201"/>
                  </a:moveTo>
                  <a:lnTo>
                    <a:pt x="160" y="252"/>
                  </a:lnTo>
                  <a:lnTo>
                    <a:pt x="160" y="73"/>
                  </a:lnTo>
                  <a:lnTo>
                    <a:pt x="214" y="22"/>
                  </a:lnTo>
                  <a:lnTo>
                    <a:pt x="214" y="20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483837D3-C1FD-49FB-887C-DCE525F56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4" y="47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1A6CB96E-6A30-4BEB-9C98-4C036FAA5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" y="589"/>
              <a:ext cx="27" cy="15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17">
            <a:extLst>
              <a:ext uri="{FF2B5EF4-FFF2-40B4-BE49-F238E27FC236}">
                <a16:creationId xmlns:a16="http://schemas.microsoft.com/office/drawing/2014/main" id="{21A4D612-B6B9-4DB7-8712-43475C47A1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853" y="293687"/>
            <a:ext cx="841375" cy="839788"/>
            <a:chOff x="266" y="234"/>
            <a:chExt cx="530" cy="529"/>
          </a:xfrm>
        </p:grpSpPr>
        <p:sp>
          <p:nvSpPr>
            <p:cNvPr id="24" name="AutoShape 16">
              <a:extLst>
                <a:ext uri="{FF2B5EF4-FFF2-40B4-BE49-F238E27FC236}">
                  <a16:creationId xmlns:a16="http://schemas.microsoft.com/office/drawing/2014/main" id="{3069FA05-5376-47AE-8F23-59BCC5D984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6" y="234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8">
              <a:extLst>
                <a:ext uri="{FF2B5EF4-FFF2-40B4-BE49-F238E27FC236}">
                  <a16:creationId xmlns:a16="http://schemas.microsoft.com/office/drawing/2014/main" id="{F7F928CD-2260-4181-92C3-2F8BCB8DF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" y="23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C82BDDDC-F1A7-4535-B1A5-90B242B890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" y="252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0">
              <a:extLst>
                <a:ext uri="{FF2B5EF4-FFF2-40B4-BE49-F238E27FC236}">
                  <a16:creationId xmlns:a16="http://schemas.microsoft.com/office/drawing/2014/main" id="{3F69A505-7D6A-412A-8D5A-116077A60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" y="510"/>
              <a:ext cx="31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1">
              <a:extLst>
                <a:ext uri="{FF2B5EF4-FFF2-40B4-BE49-F238E27FC236}">
                  <a16:creationId xmlns:a16="http://schemas.microsoft.com/office/drawing/2014/main" id="{11808427-6E87-4C3B-8817-74DE7E5559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" y="472"/>
              <a:ext cx="31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2">
              <a:extLst>
                <a:ext uri="{FF2B5EF4-FFF2-40B4-BE49-F238E27FC236}">
                  <a16:creationId xmlns:a16="http://schemas.microsoft.com/office/drawing/2014/main" id="{8992145F-FAC3-4670-BF66-EDC1E65AD4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" y="510"/>
              <a:ext cx="28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5C256822-4A4D-4313-9DDF-6F1BA6CC4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569"/>
              <a:ext cx="18" cy="18"/>
            </a:xfrm>
            <a:custGeom>
              <a:avLst/>
              <a:gdLst>
                <a:gd name="T0" fmla="*/ 18 w 18"/>
                <a:gd name="T1" fmla="*/ 5 h 18"/>
                <a:gd name="T2" fmla="*/ 18 w 18"/>
                <a:gd name="T3" fmla="*/ 2 h 18"/>
                <a:gd name="T4" fmla="*/ 15 w 18"/>
                <a:gd name="T5" fmla="*/ 2 h 18"/>
                <a:gd name="T6" fmla="*/ 15 w 18"/>
                <a:gd name="T7" fmla="*/ 0 h 18"/>
                <a:gd name="T8" fmla="*/ 13 w 18"/>
                <a:gd name="T9" fmla="*/ 0 h 18"/>
                <a:gd name="T10" fmla="*/ 10 w 18"/>
                <a:gd name="T11" fmla="*/ 0 h 18"/>
                <a:gd name="T12" fmla="*/ 10 w 18"/>
                <a:gd name="T13" fmla="*/ 0 h 18"/>
                <a:gd name="T14" fmla="*/ 8 w 18"/>
                <a:gd name="T15" fmla="*/ 0 h 18"/>
                <a:gd name="T16" fmla="*/ 5 w 18"/>
                <a:gd name="T17" fmla="*/ 0 h 18"/>
                <a:gd name="T18" fmla="*/ 3 w 18"/>
                <a:gd name="T19" fmla="*/ 0 h 18"/>
                <a:gd name="T20" fmla="*/ 3 w 18"/>
                <a:gd name="T21" fmla="*/ 2 h 18"/>
                <a:gd name="T22" fmla="*/ 0 w 18"/>
                <a:gd name="T23" fmla="*/ 2 h 18"/>
                <a:gd name="T24" fmla="*/ 0 w 18"/>
                <a:gd name="T25" fmla="*/ 5 h 18"/>
                <a:gd name="T26" fmla="*/ 0 w 18"/>
                <a:gd name="T27" fmla="*/ 7 h 18"/>
                <a:gd name="T28" fmla="*/ 0 w 18"/>
                <a:gd name="T29" fmla="*/ 7 h 18"/>
                <a:gd name="T30" fmla="*/ 0 w 18"/>
                <a:gd name="T31" fmla="*/ 10 h 18"/>
                <a:gd name="T32" fmla="*/ 0 w 18"/>
                <a:gd name="T33" fmla="*/ 12 h 18"/>
                <a:gd name="T34" fmla="*/ 0 w 18"/>
                <a:gd name="T35" fmla="*/ 15 h 18"/>
                <a:gd name="T36" fmla="*/ 3 w 18"/>
                <a:gd name="T37" fmla="*/ 15 h 18"/>
                <a:gd name="T38" fmla="*/ 3 w 18"/>
                <a:gd name="T39" fmla="*/ 18 h 18"/>
                <a:gd name="T40" fmla="*/ 5 w 18"/>
                <a:gd name="T41" fmla="*/ 18 h 18"/>
                <a:gd name="T42" fmla="*/ 8 w 18"/>
                <a:gd name="T43" fmla="*/ 18 h 18"/>
                <a:gd name="T44" fmla="*/ 10 w 18"/>
                <a:gd name="T45" fmla="*/ 18 h 18"/>
                <a:gd name="T46" fmla="*/ 10 w 18"/>
                <a:gd name="T47" fmla="*/ 18 h 18"/>
                <a:gd name="T48" fmla="*/ 13 w 18"/>
                <a:gd name="T49" fmla="*/ 18 h 18"/>
                <a:gd name="T50" fmla="*/ 15 w 18"/>
                <a:gd name="T51" fmla="*/ 18 h 18"/>
                <a:gd name="T52" fmla="*/ 15 w 18"/>
                <a:gd name="T53" fmla="*/ 15 h 18"/>
                <a:gd name="T54" fmla="*/ 18 w 18"/>
                <a:gd name="T55" fmla="*/ 15 h 18"/>
                <a:gd name="T56" fmla="*/ 18 w 18"/>
                <a:gd name="T57" fmla="*/ 12 h 18"/>
                <a:gd name="T58" fmla="*/ 18 w 18"/>
                <a:gd name="T59" fmla="*/ 10 h 18"/>
                <a:gd name="T60" fmla="*/ 18 w 18"/>
                <a:gd name="T61" fmla="*/ 7 h 18"/>
                <a:gd name="T62" fmla="*/ 18 w 18"/>
                <a:gd name="T63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8">
                  <a:moveTo>
                    <a:pt x="18" y="5"/>
                  </a:move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971D2F82-5513-4F52-9837-3C4CFEECC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" y="569"/>
              <a:ext cx="21" cy="18"/>
            </a:xfrm>
            <a:custGeom>
              <a:avLst/>
              <a:gdLst>
                <a:gd name="T0" fmla="*/ 18 w 21"/>
                <a:gd name="T1" fmla="*/ 5 h 18"/>
                <a:gd name="T2" fmla="*/ 18 w 21"/>
                <a:gd name="T3" fmla="*/ 2 h 18"/>
                <a:gd name="T4" fmla="*/ 16 w 21"/>
                <a:gd name="T5" fmla="*/ 0 h 18"/>
                <a:gd name="T6" fmla="*/ 16 w 21"/>
                <a:gd name="T7" fmla="*/ 0 h 18"/>
                <a:gd name="T8" fmla="*/ 13 w 21"/>
                <a:gd name="T9" fmla="*/ 0 h 18"/>
                <a:gd name="T10" fmla="*/ 10 w 21"/>
                <a:gd name="T11" fmla="*/ 0 h 18"/>
                <a:gd name="T12" fmla="*/ 8 w 21"/>
                <a:gd name="T13" fmla="*/ 0 h 18"/>
                <a:gd name="T14" fmla="*/ 8 w 21"/>
                <a:gd name="T15" fmla="*/ 0 h 18"/>
                <a:gd name="T16" fmla="*/ 5 w 21"/>
                <a:gd name="T17" fmla="*/ 0 h 18"/>
                <a:gd name="T18" fmla="*/ 3 w 21"/>
                <a:gd name="T19" fmla="*/ 0 h 18"/>
                <a:gd name="T20" fmla="*/ 3 w 21"/>
                <a:gd name="T21" fmla="*/ 2 h 18"/>
                <a:gd name="T22" fmla="*/ 0 w 21"/>
                <a:gd name="T23" fmla="*/ 5 h 18"/>
                <a:gd name="T24" fmla="*/ 0 w 21"/>
                <a:gd name="T25" fmla="*/ 5 h 18"/>
                <a:gd name="T26" fmla="*/ 0 w 21"/>
                <a:gd name="T27" fmla="*/ 7 h 18"/>
                <a:gd name="T28" fmla="*/ 0 w 21"/>
                <a:gd name="T29" fmla="*/ 10 h 18"/>
                <a:gd name="T30" fmla="*/ 0 w 21"/>
                <a:gd name="T31" fmla="*/ 12 h 18"/>
                <a:gd name="T32" fmla="*/ 0 w 21"/>
                <a:gd name="T33" fmla="*/ 12 h 18"/>
                <a:gd name="T34" fmla="*/ 3 w 21"/>
                <a:gd name="T35" fmla="*/ 15 h 18"/>
                <a:gd name="T36" fmla="*/ 3 w 21"/>
                <a:gd name="T37" fmla="*/ 15 h 18"/>
                <a:gd name="T38" fmla="*/ 5 w 21"/>
                <a:gd name="T39" fmla="*/ 18 h 18"/>
                <a:gd name="T40" fmla="*/ 8 w 21"/>
                <a:gd name="T41" fmla="*/ 18 h 18"/>
                <a:gd name="T42" fmla="*/ 8 w 21"/>
                <a:gd name="T43" fmla="*/ 18 h 18"/>
                <a:gd name="T44" fmla="*/ 10 w 21"/>
                <a:gd name="T45" fmla="*/ 18 h 18"/>
                <a:gd name="T46" fmla="*/ 13 w 21"/>
                <a:gd name="T47" fmla="*/ 18 h 18"/>
                <a:gd name="T48" fmla="*/ 16 w 21"/>
                <a:gd name="T49" fmla="*/ 18 h 18"/>
                <a:gd name="T50" fmla="*/ 16 w 21"/>
                <a:gd name="T51" fmla="*/ 15 h 18"/>
                <a:gd name="T52" fmla="*/ 18 w 21"/>
                <a:gd name="T53" fmla="*/ 15 h 18"/>
                <a:gd name="T54" fmla="*/ 18 w 21"/>
                <a:gd name="T55" fmla="*/ 12 h 18"/>
                <a:gd name="T56" fmla="*/ 21 w 21"/>
                <a:gd name="T57" fmla="*/ 12 h 18"/>
                <a:gd name="T58" fmla="*/ 21 w 21"/>
                <a:gd name="T59" fmla="*/ 10 h 18"/>
                <a:gd name="T60" fmla="*/ 21 w 21"/>
                <a:gd name="T61" fmla="*/ 7 h 18"/>
                <a:gd name="T62" fmla="*/ 21 w 21"/>
                <a:gd name="T6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" h="18">
                  <a:moveTo>
                    <a:pt x="18" y="5"/>
                  </a:moveTo>
                  <a:lnTo>
                    <a:pt x="18" y="5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5">
              <a:extLst>
                <a:ext uri="{FF2B5EF4-FFF2-40B4-BE49-F238E27FC236}">
                  <a16:creationId xmlns:a16="http://schemas.microsoft.com/office/drawing/2014/main" id="{1F3C97E0-9EF4-4F53-884B-74A22166F3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" y="35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070E66B7-6480-4FEC-B693-4D9CA12B3F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" y="357"/>
              <a:ext cx="236" cy="286"/>
            </a:xfrm>
            <a:custGeom>
              <a:avLst/>
              <a:gdLst>
                <a:gd name="T0" fmla="*/ 233 w 236"/>
                <a:gd name="T1" fmla="*/ 2 h 286"/>
                <a:gd name="T2" fmla="*/ 233 w 236"/>
                <a:gd name="T3" fmla="*/ 2 h 286"/>
                <a:gd name="T4" fmla="*/ 231 w 236"/>
                <a:gd name="T5" fmla="*/ 2 h 286"/>
                <a:gd name="T6" fmla="*/ 231 w 236"/>
                <a:gd name="T7" fmla="*/ 2 h 286"/>
                <a:gd name="T8" fmla="*/ 228 w 236"/>
                <a:gd name="T9" fmla="*/ 2 h 286"/>
                <a:gd name="T10" fmla="*/ 228 w 236"/>
                <a:gd name="T11" fmla="*/ 0 h 286"/>
                <a:gd name="T12" fmla="*/ 228 w 236"/>
                <a:gd name="T13" fmla="*/ 2 h 286"/>
                <a:gd name="T14" fmla="*/ 226 w 236"/>
                <a:gd name="T15" fmla="*/ 2 h 286"/>
                <a:gd name="T16" fmla="*/ 226 w 236"/>
                <a:gd name="T17" fmla="*/ 2 h 286"/>
                <a:gd name="T18" fmla="*/ 223 w 236"/>
                <a:gd name="T19" fmla="*/ 2 h 286"/>
                <a:gd name="T20" fmla="*/ 157 w 236"/>
                <a:gd name="T21" fmla="*/ 69 h 286"/>
                <a:gd name="T22" fmla="*/ 100 w 236"/>
                <a:gd name="T23" fmla="*/ 69 h 286"/>
                <a:gd name="T24" fmla="*/ 159 w 236"/>
                <a:gd name="T25" fmla="*/ 7 h 286"/>
                <a:gd name="T26" fmla="*/ 157 w 236"/>
                <a:gd name="T27" fmla="*/ 5 h 286"/>
                <a:gd name="T28" fmla="*/ 157 w 236"/>
                <a:gd name="T29" fmla="*/ 2 h 286"/>
                <a:gd name="T30" fmla="*/ 154 w 236"/>
                <a:gd name="T31" fmla="*/ 0 h 286"/>
                <a:gd name="T32" fmla="*/ 154 w 236"/>
                <a:gd name="T33" fmla="*/ 0 h 286"/>
                <a:gd name="T34" fmla="*/ 151 w 236"/>
                <a:gd name="T35" fmla="*/ 0 h 286"/>
                <a:gd name="T36" fmla="*/ 149 w 236"/>
                <a:gd name="T37" fmla="*/ 2 h 286"/>
                <a:gd name="T38" fmla="*/ 82 w 236"/>
                <a:gd name="T39" fmla="*/ 69 h 286"/>
                <a:gd name="T40" fmla="*/ 23 w 236"/>
                <a:gd name="T41" fmla="*/ 69 h 286"/>
                <a:gd name="T42" fmla="*/ 82 w 236"/>
                <a:gd name="T43" fmla="*/ 7 h 286"/>
                <a:gd name="T44" fmla="*/ 82 w 236"/>
                <a:gd name="T45" fmla="*/ 5 h 286"/>
                <a:gd name="T46" fmla="*/ 80 w 236"/>
                <a:gd name="T47" fmla="*/ 2 h 286"/>
                <a:gd name="T48" fmla="*/ 77 w 236"/>
                <a:gd name="T49" fmla="*/ 0 h 286"/>
                <a:gd name="T50" fmla="*/ 77 w 236"/>
                <a:gd name="T51" fmla="*/ 0 h 286"/>
                <a:gd name="T52" fmla="*/ 75 w 236"/>
                <a:gd name="T53" fmla="*/ 0 h 286"/>
                <a:gd name="T54" fmla="*/ 72 w 236"/>
                <a:gd name="T55" fmla="*/ 2 h 286"/>
                <a:gd name="T56" fmla="*/ 72 w 236"/>
                <a:gd name="T57" fmla="*/ 2 h 286"/>
                <a:gd name="T58" fmla="*/ 0 w 236"/>
                <a:gd name="T59" fmla="*/ 74 h 286"/>
                <a:gd name="T60" fmla="*/ 0 w 236"/>
                <a:gd name="T61" fmla="*/ 74 h 286"/>
                <a:gd name="T62" fmla="*/ 0 w 236"/>
                <a:gd name="T63" fmla="*/ 74 h 286"/>
                <a:gd name="T64" fmla="*/ 3 w 236"/>
                <a:gd name="T65" fmla="*/ 281 h 286"/>
                <a:gd name="T66" fmla="*/ 6 w 236"/>
                <a:gd name="T67" fmla="*/ 283 h 286"/>
                <a:gd name="T68" fmla="*/ 6 w 236"/>
                <a:gd name="T69" fmla="*/ 283 h 286"/>
                <a:gd name="T70" fmla="*/ 8 w 236"/>
                <a:gd name="T71" fmla="*/ 286 h 286"/>
                <a:gd name="T72" fmla="*/ 164 w 236"/>
                <a:gd name="T73" fmla="*/ 283 h 286"/>
                <a:gd name="T74" fmla="*/ 164 w 236"/>
                <a:gd name="T75" fmla="*/ 283 h 286"/>
                <a:gd name="T76" fmla="*/ 236 w 236"/>
                <a:gd name="T77" fmla="*/ 212 h 286"/>
                <a:gd name="T78" fmla="*/ 236 w 236"/>
                <a:gd name="T79" fmla="*/ 212 h 286"/>
                <a:gd name="T80" fmla="*/ 236 w 236"/>
                <a:gd name="T81" fmla="*/ 7 h 286"/>
                <a:gd name="T82" fmla="*/ 233 w 236"/>
                <a:gd name="T83" fmla="*/ 5 h 286"/>
                <a:gd name="T84" fmla="*/ 233 w 236"/>
                <a:gd name="T85" fmla="*/ 5 h 286"/>
                <a:gd name="T86" fmla="*/ 233 w 236"/>
                <a:gd name="T87" fmla="*/ 2 h 286"/>
                <a:gd name="T88" fmla="*/ 77 w 236"/>
                <a:gd name="T89" fmla="*/ 273 h 286"/>
                <a:gd name="T90" fmla="*/ 13 w 236"/>
                <a:gd name="T91" fmla="*/ 273 h 286"/>
                <a:gd name="T92" fmla="*/ 13 w 236"/>
                <a:gd name="T93" fmla="*/ 81 h 286"/>
                <a:gd name="T94" fmla="*/ 77 w 236"/>
                <a:gd name="T95" fmla="*/ 81 h 286"/>
                <a:gd name="T96" fmla="*/ 77 w 236"/>
                <a:gd name="T97" fmla="*/ 273 h 286"/>
                <a:gd name="T98" fmla="*/ 154 w 236"/>
                <a:gd name="T99" fmla="*/ 273 h 286"/>
                <a:gd name="T100" fmla="*/ 90 w 236"/>
                <a:gd name="T101" fmla="*/ 273 h 286"/>
                <a:gd name="T102" fmla="*/ 90 w 236"/>
                <a:gd name="T103" fmla="*/ 81 h 286"/>
                <a:gd name="T104" fmla="*/ 154 w 236"/>
                <a:gd name="T105" fmla="*/ 81 h 286"/>
                <a:gd name="T106" fmla="*/ 154 w 236"/>
                <a:gd name="T107" fmla="*/ 273 h 286"/>
                <a:gd name="T108" fmla="*/ 223 w 236"/>
                <a:gd name="T109" fmla="*/ 209 h 286"/>
                <a:gd name="T110" fmla="*/ 167 w 236"/>
                <a:gd name="T111" fmla="*/ 263 h 286"/>
                <a:gd name="T112" fmla="*/ 167 w 236"/>
                <a:gd name="T113" fmla="*/ 76 h 286"/>
                <a:gd name="T114" fmla="*/ 223 w 236"/>
                <a:gd name="T115" fmla="*/ 23 h 286"/>
                <a:gd name="T116" fmla="*/ 223 w 236"/>
                <a:gd name="T117" fmla="*/ 20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6" h="286">
                  <a:moveTo>
                    <a:pt x="233" y="2"/>
                  </a:moveTo>
                  <a:lnTo>
                    <a:pt x="233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8" y="2"/>
                  </a:lnTo>
                  <a:lnTo>
                    <a:pt x="228" y="0"/>
                  </a:lnTo>
                  <a:lnTo>
                    <a:pt x="228" y="2"/>
                  </a:lnTo>
                  <a:lnTo>
                    <a:pt x="226" y="2"/>
                  </a:lnTo>
                  <a:lnTo>
                    <a:pt x="226" y="2"/>
                  </a:lnTo>
                  <a:lnTo>
                    <a:pt x="223" y="2"/>
                  </a:lnTo>
                  <a:lnTo>
                    <a:pt x="157" y="69"/>
                  </a:lnTo>
                  <a:lnTo>
                    <a:pt x="100" y="69"/>
                  </a:lnTo>
                  <a:lnTo>
                    <a:pt x="159" y="7"/>
                  </a:lnTo>
                  <a:lnTo>
                    <a:pt x="157" y="5"/>
                  </a:lnTo>
                  <a:lnTo>
                    <a:pt x="157" y="2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1" y="0"/>
                  </a:lnTo>
                  <a:lnTo>
                    <a:pt x="149" y="2"/>
                  </a:lnTo>
                  <a:lnTo>
                    <a:pt x="82" y="69"/>
                  </a:lnTo>
                  <a:lnTo>
                    <a:pt x="23" y="69"/>
                  </a:lnTo>
                  <a:lnTo>
                    <a:pt x="82" y="7"/>
                  </a:lnTo>
                  <a:lnTo>
                    <a:pt x="82" y="5"/>
                  </a:lnTo>
                  <a:lnTo>
                    <a:pt x="80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3" y="281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8" y="286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236" y="212"/>
                  </a:lnTo>
                  <a:lnTo>
                    <a:pt x="236" y="212"/>
                  </a:lnTo>
                  <a:lnTo>
                    <a:pt x="236" y="7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33" y="2"/>
                  </a:lnTo>
                  <a:close/>
                  <a:moveTo>
                    <a:pt x="77" y="273"/>
                  </a:moveTo>
                  <a:lnTo>
                    <a:pt x="13" y="273"/>
                  </a:lnTo>
                  <a:lnTo>
                    <a:pt x="13" y="81"/>
                  </a:lnTo>
                  <a:lnTo>
                    <a:pt x="77" y="81"/>
                  </a:lnTo>
                  <a:lnTo>
                    <a:pt x="77" y="273"/>
                  </a:lnTo>
                  <a:close/>
                  <a:moveTo>
                    <a:pt x="154" y="273"/>
                  </a:moveTo>
                  <a:lnTo>
                    <a:pt x="90" y="273"/>
                  </a:lnTo>
                  <a:lnTo>
                    <a:pt x="90" y="81"/>
                  </a:lnTo>
                  <a:lnTo>
                    <a:pt x="154" y="81"/>
                  </a:lnTo>
                  <a:lnTo>
                    <a:pt x="154" y="273"/>
                  </a:lnTo>
                  <a:close/>
                  <a:moveTo>
                    <a:pt x="223" y="209"/>
                  </a:moveTo>
                  <a:lnTo>
                    <a:pt x="167" y="263"/>
                  </a:lnTo>
                  <a:lnTo>
                    <a:pt x="167" y="76"/>
                  </a:lnTo>
                  <a:lnTo>
                    <a:pt x="223" y="23"/>
                  </a:lnTo>
                  <a:lnTo>
                    <a:pt x="223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7">
              <a:extLst>
                <a:ext uri="{FF2B5EF4-FFF2-40B4-BE49-F238E27FC236}">
                  <a16:creationId xmlns:a16="http://schemas.microsoft.com/office/drawing/2014/main" id="{B84CA814-7100-4798-B079-9EFEC965CE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" y="35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8">
              <a:extLst>
                <a:ext uri="{FF2B5EF4-FFF2-40B4-BE49-F238E27FC236}">
                  <a16:creationId xmlns:a16="http://schemas.microsoft.com/office/drawing/2014/main" id="{004E502D-F577-47A1-AD3B-DB90F39A5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" y="472"/>
              <a:ext cx="28" cy="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1">
            <a:extLst>
              <a:ext uri="{FF2B5EF4-FFF2-40B4-BE49-F238E27FC236}">
                <a16:creationId xmlns:a16="http://schemas.microsoft.com/office/drawing/2014/main" id="{7E59201C-5AFD-478F-B332-047733862A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955" y="341336"/>
            <a:ext cx="758825" cy="758825"/>
            <a:chOff x="2309" y="391"/>
            <a:chExt cx="478" cy="478"/>
          </a:xfrm>
        </p:grpSpPr>
        <p:sp>
          <p:nvSpPr>
            <p:cNvPr id="41" name="AutoShape 30">
              <a:extLst>
                <a:ext uri="{FF2B5EF4-FFF2-40B4-BE49-F238E27FC236}">
                  <a16:creationId xmlns:a16="http://schemas.microsoft.com/office/drawing/2014/main" id="{B98DA92C-7F7A-4580-8F36-BF33221C46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9" y="39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909BAB11-F4DC-40A3-8221-1E0CC1F00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1" y="39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E53B93E9-60A9-4A03-AD43-C3A9403FC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" y="489"/>
              <a:ext cx="275" cy="284"/>
            </a:xfrm>
            <a:custGeom>
              <a:avLst/>
              <a:gdLst>
                <a:gd name="T0" fmla="*/ 84 w 112"/>
                <a:gd name="T1" fmla="*/ 111 h 116"/>
                <a:gd name="T2" fmla="*/ 84 w 112"/>
                <a:gd name="T3" fmla="*/ 5 h 116"/>
                <a:gd name="T4" fmla="*/ 107 w 112"/>
                <a:gd name="T5" fmla="*/ 108 h 116"/>
                <a:gd name="T6" fmla="*/ 53 w 112"/>
                <a:gd name="T7" fmla="*/ 111 h 116"/>
                <a:gd name="T8" fmla="*/ 53 w 112"/>
                <a:gd name="T9" fmla="*/ 5 h 116"/>
                <a:gd name="T10" fmla="*/ 77 w 112"/>
                <a:gd name="T11" fmla="*/ 108 h 116"/>
                <a:gd name="T12" fmla="*/ 23 w 112"/>
                <a:gd name="T13" fmla="*/ 111 h 116"/>
                <a:gd name="T14" fmla="*/ 23 w 112"/>
                <a:gd name="T15" fmla="*/ 5 h 116"/>
                <a:gd name="T16" fmla="*/ 46 w 112"/>
                <a:gd name="T17" fmla="*/ 108 h 116"/>
                <a:gd name="T18" fmla="*/ 15 w 112"/>
                <a:gd name="T19" fmla="*/ 111 h 116"/>
                <a:gd name="T20" fmla="*/ 15 w 112"/>
                <a:gd name="T21" fmla="*/ 12 h 116"/>
                <a:gd name="T22" fmla="*/ 84 w 112"/>
                <a:gd name="T23" fmla="*/ 0 h 116"/>
                <a:gd name="T24" fmla="*/ 53 w 112"/>
                <a:gd name="T25" fmla="*/ 0 h 116"/>
                <a:gd name="T26" fmla="*/ 23 w 112"/>
                <a:gd name="T27" fmla="*/ 0 h 116"/>
                <a:gd name="T28" fmla="*/ 16 w 112"/>
                <a:gd name="T29" fmla="*/ 3 h 116"/>
                <a:gd name="T30" fmla="*/ 0 w 112"/>
                <a:gd name="T31" fmla="*/ 113 h 116"/>
                <a:gd name="T32" fmla="*/ 48 w 112"/>
                <a:gd name="T33" fmla="*/ 114 h 116"/>
                <a:gd name="T34" fmla="*/ 79 w 112"/>
                <a:gd name="T35" fmla="*/ 114 h 116"/>
                <a:gd name="T36" fmla="*/ 112 w 112"/>
                <a:gd name="T37" fmla="*/ 108 h 116"/>
                <a:gd name="T38" fmla="*/ 89 w 112"/>
                <a:gd name="T39" fmla="*/ 50 h 116"/>
                <a:gd name="T40" fmla="*/ 100 w 112"/>
                <a:gd name="T41" fmla="*/ 45 h 116"/>
                <a:gd name="T42" fmla="*/ 89 w 112"/>
                <a:gd name="T43" fmla="*/ 50 h 116"/>
                <a:gd name="T44" fmla="*/ 102 w 112"/>
                <a:gd name="T45" fmla="*/ 18 h 116"/>
                <a:gd name="T46" fmla="*/ 87 w 112"/>
                <a:gd name="T47" fmla="*/ 18 h 116"/>
                <a:gd name="T48" fmla="*/ 89 w 112"/>
                <a:gd name="T49" fmla="*/ 88 h 116"/>
                <a:gd name="T50" fmla="*/ 95 w 112"/>
                <a:gd name="T51" fmla="*/ 93 h 116"/>
                <a:gd name="T52" fmla="*/ 95 w 112"/>
                <a:gd name="T53" fmla="*/ 98 h 116"/>
                <a:gd name="T54" fmla="*/ 59 w 112"/>
                <a:gd name="T55" fmla="*/ 50 h 116"/>
                <a:gd name="T56" fmla="*/ 69 w 112"/>
                <a:gd name="T57" fmla="*/ 45 h 116"/>
                <a:gd name="T58" fmla="*/ 59 w 112"/>
                <a:gd name="T59" fmla="*/ 50 h 116"/>
                <a:gd name="T60" fmla="*/ 71 w 112"/>
                <a:gd name="T61" fmla="*/ 18 h 116"/>
                <a:gd name="T62" fmla="*/ 56 w 112"/>
                <a:gd name="T63" fmla="*/ 18 h 116"/>
                <a:gd name="T64" fmla="*/ 59 w 112"/>
                <a:gd name="T65" fmla="*/ 88 h 116"/>
                <a:gd name="T66" fmla="*/ 64 w 112"/>
                <a:gd name="T67" fmla="*/ 93 h 116"/>
                <a:gd name="T68" fmla="*/ 64 w 112"/>
                <a:gd name="T69" fmla="*/ 98 h 116"/>
                <a:gd name="T70" fmla="*/ 28 w 112"/>
                <a:gd name="T71" fmla="*/ 50 h 116"/>
                <a:gd name="T72" fmla="*/ 38 w 112"/>
                <a:gd name="T73" fmla="*/ 45 h 116"/>
                <a:gd name="T74" fmla="*/ 28 w 112"/>
                <a:gd name="T75" fmla="*/ 50 h 116"/>
                <a:gd name="T76" fmla="*/ 41 w 112"/>
                <a:gd name="T77" fmla="*/ 18 h 116"/>
                <a:gd name="T78" fmla="*/ 25 w 112"/>
                <a:gd name="T79" fmla="*/ 18 h 116"/>
                <a:gd name="T80" fmla="*/ 28 w 112"/>
                <a:gd name="T81" fmla="*/ 88 h 116"/>
                <a:gd name="T82" fmla="*/ 33 w 112"/>
                <a:gd name="T83" fmla="*/ 93 h 116"/>
                <a:gd name="T84" fmla="*/ 33 w 112"/>
                <a:gd name="T85" fmla="*/ 9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" h="116">
                  <a:moveTo>
                    <a:pt x="107" y="108"/>
                  </a:moveTo>
                  <a:cubicBezTo>
                    <a:pt x="107" y="110"/>
                    <a:pt x="106" y="111"/>
                    <a:pt x="105" y="111"/>
                  </a:cubicBezTo>
                  <a:cubicBezTo>
                    <a:pt x="84" y="111"/>
                    <a:pt x="84" y="111"/>
                    <a:pt x="84" y="111"/>
                  </a:cubicBezTo>
                  <a:cubicBezTo>
                    <a:pt x="83" y="111"/>
                    <a:pt x="82" y="110"/>
                    <a:pt x="82" y="10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3" y="5"/>
                    <a:pt x="84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6" y="5"/>
                    <a:pt x="107" y="6"/>
                    <a:pt x="107" y="8"/>
                  </a:cubicBezTo>
                  <a:lnTo>
                    <a:pt x="107" y="108"/>
                  </a:lnTo>
                  <a:close/>
                  <a:moveTo>
                    <a:pt x="77" y="108"/>
                  </a:moveTo>
                  <a:cubicBezTo>
                    <a:pt x="77" y="110"/>
                    <a:pt x="75" y="111"/>
                    <a:pt x="74" y="111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2" y="111"/>
                    <a:pt x="51" y="110"/>
                    <a:pt x="51" y="10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6"/>
                    <a:pt x="52" y="5"/>
                    <a:pt x="5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5" y="5"/>
                    <a:pt x="77" y="6"/>
                    <a:pt x="77" y="8"/>
                  </a:cubicBezTo>
                  <a:lnTo>
                    <a:pt x="77" y="108"/>
                  </a:lnTo>
                  <a:close/>
                  <a:moveTo>
                    <a:pt x="46" y="108"/>
                  </a:moveTo>
                  <a:cubicBezTo>
                    <a:pt x="46" y="110"/>
                    <a:pt x="45" y="111"/>
                    <a:pt x="4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1" y="111"/>
                    <a:pt x="20" y="110"/>
                    <a:pt x="20" y="10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6"/>
                    <a:pt x="21" y="5"/>
                    <a:pt x="23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5" y="5"/>
                    <a:pt x="46" y="6"/>
                    <a:pt x="46" y="8"/>
                  </a:cubicBezTo>
                  <a:lnTo>
                    <a:pt x="46" y="108"/>
                  </a:lnTo>
                  <a:close/>
                  <a:moveTo>
                    <a:pt x="15" y="111"/>
                  </a:move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5" y="12"/>
                    <a:pt x="15" y="12"/>
                    <a:pt x="15" y="12"/>
                  </a:cubicBezTo>
                  <a:lnTo>
                    <a:pt x="15" y="111"/>
                  </a:lnTo>
                  <a:close/>
                  <a:moveTo>
                    <a:pt x="105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2" y="0"/>
                    <a:pt x="80" y="1"/>
                    <a:pt x="79" y="2"/>
                  </a:cubicBezTo>
                  <a:cubicBezTo>
                    <a:pt x="78" y="1"/>
                    <a:pt x="76" y="0"/>
                    <a:pt x="7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1" y="0"/>
                    <a:pt x="50" y="1"/>
                    <a:pt x="48" y="2"/>
                  </a:cubicBezTo>
                  <a:cubicBezTo>
                    <a:pt x="47" y="1"/>
                    <a:pt x="45" y="0"/>
                    <a:pt x="4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19" y="1"/>
                    <a:pt x="18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3"/>
                    <a:pt x="16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5"/>
                    <a:pt x="1" y="116"/>
                    <a:pt x="2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5" y="116"/>
                    <a:pt x="47" y="115"/>
                    <a:pt x="48" y="114"/>
                  </a:cubicBezTo>
                  <a:cubicBezTo>
                    <a:pt x="50" y="115"/>
                    <a:pt x="51" y="116"/>
                    <a:pt x="53" y="116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76" y="116"/>
                    <a:pt x="78" y="115"/>
                    <a:pt x="79" y="114"/>
                  </a:cubicBezTo>
                  <a:cubicBezTo>
                    <a:pt x="80" y="115"/>
                    <a:pt x="82" y="116"/>
                    <a:pt x="84" y="116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09" y="116"/>
                    <a:pt x="112" y="113"/>
                    <a:pt x="112" y="10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2" y="3"/>
                    <a:pt x="109" y="0"/>
                    <a:pt x="105" y="0"/>
                  </a:cubicBezTo>
                  <a:moveTo>
                    <a:pt x="89" y="50"/>
                  </a:move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2" y="49"/>
                    <a:pt x="102" y="48"/>
                  </a:cubicBezTo>
                  <a:cubicBezTo>
                    <a:pt x="102" y="47"/>
                    <a:pt x="101" y="45"/>
                    <a:pt x="100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7" y="47"/>
                    <a:pt x="87" y="48"/>
                  </a:cubicBezTo>
                  <a:cubicBezTo>
                    <a:pt x="87" y="49"/>
                    <a:pt x="88" y="50"/>
                    <a:pt x="89" y="50"/>
                  </a:cubicBezTo>
                  <a:moveTo>
                    <a:pt x="89" y="20"/>
                  </a:moveTo>
                  <a:cubicBezTo>
                    <a:pt x="100" y="20"/>
                    <a:pt x="100" y="20"/>
                    <a:pt x="100" y="20"/>
                  </a:cubicBezTo>
                  <a:cubicBezTo>
                    <a:pt x="101" y="20"/>
                    <a:pt x="102" y="19"/>
                    <a:pt x="102" y="18"/>
                  </a:cubicBezTo>
                  <a:cubicBezTo>
                    <a:pt x="102" y="16"/>
                    <a:pt x="101" y="15"/>
                    <a:pt x="100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5"/>
                    <a:pt x="87" y="16"/>
                    <a:pt x="87" y="18"/>
                  </a:cubicBezTo>
                  <a:cubicBezTo>
                    <a:pt x="87" y="19"/>
                    <a:pt x="88" y="20"/>
                    <a:pt x="89" y="20"/>
                  </a:cubicBezTo>
                  <a:moveTo>
                    <a:pt x="95" y="93"/>
                  </a:moveTo>
                  <a:cubicBezTo>
                    <a:pt x="92" y="93"/>
                    <a:pt x="89" y="91"/>
                    <a:pt x="89" y="88"/>
                  </a:cubicBezTo>
                  <a:cubicBezTo>
                    <a:pt x="89" y="85"/>
                    <a:pt x="92" y="83"/>
                    <a:pt x="95" y="83"/>
                  </a:cubicBezTo>
                  <a:cubicBezTo>
                    <a:pt x="97" y="83"/>
                    <a:pt x="100" y="85"/>
                    <a:pt x="100" y="88"/>
                  </a:cubicBezTo>
                  <a:cubicBezTo>
                    <a:pt x="100" y="91"/>
                    <a:pt x="97" y="93"/>
                    <a:pt x="95" y="93"/>
                  </a:cubicBezTo>
                  <a:moveTo>
                    <a:pt x="95" y="78"/>
                  </a:moveTo>
                  <a:cubicBezTo>
                    <a:pt x="89" y="78"/>
                    <a:pt x="84" y="83"/>
                    <a:pt x="84" y="88"/>
                  </a:cubicBezTo>
                  <a:cubicBezTo>
                    <a:pt x="84" y="94"/>
                    <a:pt x="89" y="98"/>
                    <a:pt x="95" y="98"/>
                  </a:cubicBezTo>
                  <a:cubicBezTo>
                    <a:pt x="100" y="98"/>
                    <a:pt x="105" y="94"/>
                    <a:pt x="105" y="88"/>
                  </a:cubicBezTo>
                  <a:cubicBezTo>
                    <a:pt x="105" y="83"/>
                    <a:pt x="100" y="78"/>
                    <a:pt x="95" y="78"/>
                  </a:cubicBezTo>
                  <a:moveTo>
                    <a:pt x="5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70" y="50"/>
                    <a:pt x="71" y="49"/>
                    <a:pt x="71" y="48"/>
                  </a:cubicBezTo>
                  <a:cubicBezTo>
                    <a:pt x="71" y="47"/>
                    <a:pt x="70" y="45"/>
                    <a:pt x="6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7" y="45"/>
                    <a:pt x="56" y="47"/>
                    <a:pt x="56" y="48"/>
                  </a:cubicBezTo>
                  <a:cubicBezTo>
                    <a:pt x="56" y="49"/>
                    <a:pt x="57" y="50"/>
                    <a:pt x="59" y="50"/>
                  </a:cubicBezTo>
                  <a:moveTo>
                    <a:pt x="59" y="2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70" y="20"/>
                    <a:pt x="71" y="19"/>
                    <a:pt x="71" y="18"/>
                  </a:cubicBezTo>
                  <a:cubicBezTo>
                    <a:pt x="71" y="16"/>
                    <a:pt x="70" y="15"/>
                    <a:pt x="6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7" y="15"/>
                    <a:pt x="56" y="16"/>
                    <a:pt x="56" y="18"/>
                  </a:cubicBezTo>
                  <a:cubicBezTo>
                    <a:pt x="56" y="19"/>
                    <a:pt x="57" y="20"/>
                    <a:pt x="59" y="20"/>
                  </a:cubicBezTo>
                  <a:moveTo>
                    <a:pt x="64" y="93"/>
                  </a:moveTo>
                  <a:cubicBezTo>
                    <a:pt x="61" y="93"/>
                    <a:pt x="59" y="91"/>
                    <a:pt x="59" y="88"/>
                  </a:cubicBezTo>
                  <a:cubicBezTo>
                    <a:pt x="59" y="85"/>
                    <a:pt x="61" y="83"/>
                    <a:pt x="64" y="83"/>
                  </a:cubicBezTo>
                  <a:cubicBezTo>
                    <a:pt x="67" y="83"/>
                    <a:pt x="69" y="85"/>
                    <a:pt x="69" y="88"/>
                  </a:cubicBezTo>
                  <a:cubicBezTo>
                    <a:pt x="69" y="91"/>
                    <a:pt x="67" y="93"/>
                    <a:pt x="64" y="93"/>
                  </a:cubicBezTo>
                  <a:moveTo>
                    <a:pt x="64" y="78"/>
                  </a:moveTo>
                  <a:cubicBezTo>
                    <a:pt x="58" y="78"/>
                    <a:pt x="53" y="83"/>
                    <a:pt x="53" y="88"/>
                  </a:cubicBezTo>
                  <a:cubicBezTo>
                    <a:pt x="53" y="94"/>
                    <a:pt x="58" y="98"/>
                    <a:pt x="64" y="98"/>
                  </a:cubicBezTo>
                  <a:cubicBezTo>
                    <a:pt x="69" y="98"/>
                    <a:pt x="74" y="94"/>
                    <a:pt x="74" y="88"/>
                  </a:cubicBezTo>
                  <a:cubicBezTo>
                    <a:pt x="74" y="83"/>
                    <a:pt x="69" y="78"/>
                    <a:pt x="64" y="78"/>
                  </a:cubicBezTo>
                  <a:moveTo>
                    <a:pt x="2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9" y="50"/>
                    <a:pt x="41" y="49"/>
                    <a:pt x="41" y="48"/>
                  </a:cubicBezTo>
                  <a:cubicBezTo>
                    <a:pt x="41" y="47"/>
                    <a:pt x="39" y="45"/>
                    <a:pt x="3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6" y="45"/>
                    <a:pt x="25" y="47"/>
                    <a:pt x="25" y="48"/>
                  </a:cubicBezTo>
                  <a:cubicBezTo>
                    <a:pt x="25" y="49"/>
                    <a:pt x="26" y="50"/>
                    <a:pt x="28" y="50"/>
                  </a:cubicBezTo>
                  <a:moveTo>
                    <a:pt x="2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9" y="20"/>
                    <a:pt x="41" y="19"/>
                    <a:pt x="41" y="18"/>
                  </a:cubicBezTo>
                  <a:cubicBezTo>
                    <a:pt x="41" y="16"/>
                    <a:pt x="39" y="15"/>
                    <a:pt x="3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6" y="15"/>
                    <a:pt x="25" y="16"/>
                    <a:pt x="25" y="18"/>
                  </a:cubicBezTo>
                  <a:cubicBezTo>
                    <a:pt x="25" y="19"/>
                    <a:pt x="26" y="20"/>
                    <a:pt x="28" y="20"/>
                  </a:cubicBezTo>
                  <a:moveTo>
                    <a:pt x="33" y="93"/>
                  </a:moveTo>
                  <a:cubicBezTo>
                    <a:pt x="30" y="93"/>
                    <a:pt x="28" y="91"/>
                    <a:pt x="28" y="88"/>
                  </a:cubicBezTo>
                  <a:cubicBezTo>
                    <a:pt x="28" y="85"/>
                    <a:pt x="30" y="83"/>
                    <a:pt x="33" y="83"/>
                  </a:cubicBezTo>
                  <a:cubicBezTo>
                    <a:pt x="36" y="83"/>
                    <a:pt x="38" y="85"/>
                    <a:pt x="38" y="88"/>
                  </a:cubicBezTo>
                  <a:cubicBezTo>
                    <a:pt x="38" y="91"/>
                    <a:pt x="36" y="93"/>
                    <a:pt x="33" y="93"/>
                  </a:cubicBezTo>
                  <a:moveTo>
                    <a:pt x="33" y="78"/>
                  </a:moveTo>
                  <a:cubicBezTo>
                    <a:pt x="27" y="78"/>
                    <a:pt x="23" y="83"/>
                    <a:pt x="23" y="88"/>
                  </a:cubicBezTo>
                  <a:cubicBezTo>
                    <a:pt x="23" y="94"/>
                    <a:pt x="27" y="98"/>
                    <a:pt x="33" y="98"/>
                  </a:cubicBezTo>
                  <a:cubicBezTo>
                    <a:pt x="39" y="98"/>
                    <a:pt x="43" y="94"/>
                    <a:pt x="43" y="88"/>
                  </a:cubicBezTo>
                  <a:cubicBezTo>
                    <a:pt x="43" y="83"/>
                    <a:pt x="39" y="78"/>
                    <a:pt x="33" y="7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36">
            <a:extLst>
              <a:ext uri="{FF2B5EF4-FFF2-40B4-BE49-F238E27FC236}">
                <a16:creationId xmlns:a16="http://schemas.microsoft.com/office/drawing/2014/main" id="{25CE285E-2943-453A-A4DB-091F0A34CF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9392" y="300061"/>
            <a:ext cx="841375" cy="841375"/>
            <a:chOff x="1714" y="195"/>
            <a:chExt cx="530" cy="530"/>
          </a:xfrm>
        </p:grpSpPr>
        <p:sp>
          <p:nvSpPr>
            <p:cNvPr id="45" name="AutoShape 35">
              <a:extLst>
                <a:ext uri="{FF2B5EF4-FFF2-40B4-BE49-F238E27FC236}">
                  <a16:creationId xmlns:a16="http://schemas.microsoft.com/office/drawing/2014/main" id="{29962094-2963-4FEC-9760-8AF388F0D73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14" y="19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37">
              <a:extLst>
                <a:ext uri="{FF2B5EF4-FFF2-40B4-BE49-F238E27FC236}">
                  <a16:creationId xmlns:a16="http://schemas.microsoft.com/office/drawing/2014/main" id="{3306BCD0-49E6-48F7-8AFA-843DD2A7B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4" y="19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72D75FDE-D839-4C26-BD5C-C537E571DD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2" y="21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0BCB98DE-A8AE-4338-AFA8-97C389B3FF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7" y="313"/>
              <a:ext cx="287" cy="297"/>
            </a:xfrm>
            <a:custGeom>
              <a:avLst/>
              <a:gdLst>
                <a:gd name="T0" fmla="*/ 84 w 112"/>
                <a:gd name="T1" fmla="*/ 111 h 116"/>
                <a:gd name="T2" fmla="*/ 84 w 112"/>
                <a:gd name="T3" fmla="*/ 5 h 116"/>
                <a:gd name="T4" fmla="*/ 107 w 112"/>
                <a:gd name="T5" fmla="*/ 108 h 116"/>
                <a:gd name="T6" fmla="*/ 53 w 112"/>
                <a:gd name="T7" fmla="*/ 111 h 116"/>
                <a:gd name="T8" fmla="*/ 53 w 112"/>
                <a:gd name="T9" fmla="*/ 5 h 116"/>
                <a:gd name="T10" fmla="*/ 77 w 112"/>
                <a:gd name="T11" fmla="*/ 108 h 116"/>
                <a:gd name="T12" fmla="*/ 23 w 112"/>
                <a:gd name="T13" fmla="*/ 111 h 116"/>
                <a:gd name="T14" fmla="*/ 23 w 112"/>
                <a:gd name="T15" fmla="*/ 5 h 116"/>
                <a:gd name="T16" fmla="*/ 46 w 112"/>
                <a:gd name="T17" fmla="*/ 108 h 116"/>
                <a:gd name="T18" fmla="*/ 15 w 112"/>
                <a:gd name="T19" fmla="*/ 111 h 116"/>
                <a:gd name="T20" fmla="*/ 15 w 112"/>
                <a:gd name="T21" fmla="*/ 12 h 116"/>
                <a:gd name="T22" fmla="*/ 84 w 112"/>
                <a:gd name="T23" fmla="*/ 0 h 116"/>
                <a:gd name="T24" fmla="*/ 53 w 112"/>
                <a:gd name="T25" fmla="*/ 0 h 116"/>
                <a:gd name="T26" fmla="*/ 23 w 112"/>
                <a:gd name="T27" fmla="*/ 0 h 116"/>
                <a:gd name="T28" fmla="*/ 16 w 112"/>
                <a:gd name="T29" fmla="*/ 3 h 116"/>
                <a:gd name="T30" fmla="*/ 0 w 112"/>
                <a:gd name="T31" fmla="*/ 113 h 116"/>
                <a:gd name="T32" fmla="*/ 48 w 112"/>
                <a:gd name="T33" fmla="*/ 114 h 116"/>
                <a:gd name="T34" fmla="*/ 79 w 112"/>
                <a:gd name="T35" fmla="*/ 114 h 116"/>
                <a:gd name="T36" fmla="*/ 112 w 112"/>
                <a:gd name="T37" fmla="*/ 108 h 116"/>
                <a:gd name="T38" fmla="*/ 89 w 112"/>
                <a:gd name="T39" fmla="*/ 50 h 116"/>
                <a:gd name="T40" fmla="*/ 100 w 112"/>
                <a:gd name="T41" fmla="*/ 45 h 116"/>
                <a:gd name="T42" fmla="*/ 89 w 112"/>
                <a:gd name="T43" fmla="*/ 50 h 116"/>
                <a:gd name="T44" fmla="*/ 102 w 112"/>
                <a:gd name="T45" fmla="*/ 18 h 116"/>
                <a:gd name="T46" fmla="*/ 87 w 112"/>
                <a:gd name="T47" fmla="*/ 18 h 116"/>
                <a:gd name="T48" fmla="*/ 89 w 112"/>
                <a:gd name="T49" fmla="*/ 88 h 116"/>
                <a:gd name="T50" fmla="*/ 95 w 112"/>
                <a:gd name="T51" fmla="*/ 93 h 116"/>
                <a:gd name="T52" fmla="*/ 95 w 112"/>
                <a:gd name="T53" fmla="*/ 98 h 116"/>
                <a:gd name="T54" fmla="*/ 59 w 112"/>
                <a:gd name="T55" fmla="*/ 50 h 116"/>
                <a:gd name="T56" fmla="*/ 69 w 112"/>
                <a:gd name="T57" fmla="*/ 45 h 116"/>
                <a:gd name="T58" fmla="*/ 59 w 112"/>
                <a:gd name="T59" fmla="*/ 50 h 116"/>
                <a:gd name="T60" fmla="*/ 71 w 112"/>
                <a:gd name="T61" fmla="*/ 18 h 116"/>
                <a:gd name="T62" fmla="*/ 56 w 112"/>
                <a:gd name="T63" fmla="*/ 18 h 116"/>
                <a:gd name="T64" fmla="*/ 59 w 112"/>
                <a:gd name="T65" fmla="*/ 88 h 116"/>
                <a:gd name="T66" fmla="*/ 64 w 112"/>
                <a:gd name="T67" fmla="*/ 93 h 116"/>
                <a:gd name="T68" fmla="*/ 64 w 112"/>
                <a:gd name="T69" fmla="*/ 98 h 116"/>
                <a:gd name="T70" fmla="*/ 28 w 112"/>
                <a:gd name="T71" fmla="*/ 50 h 116"/>
                <a:gd name="T72" fmla="*/ 38 w 112"/>
                <a:gd name="T73" fmla="*/ 45 h 116"/>
                <a:gd name="T74" fmla="*/ 28 w 112"/>
                <a:gd name="T75" fmla="*/ 50 h 116"/>
                <a:gd name="T76" fmla="*/ 41 w 112"/>
                <a:gd name="T77" fmla="*/ 18 h 116"/>
                <a:gd name="T78" fmla="*/ 25 w 112"/>
                <a:gd name="T79" fmla="*/ 18 h 116"/>
                <a:gd name="T80" fmla="*/ 28 w 112"/>
                <a:gd name="T81" fmla="*/ 88 h 116"/>
                <a:gd name="T82" fmla="*/ 33 w 112"/>
                <a:gd name="T83" fmla="*/ 93 h 116"/>
                <a:gd name="T84" fmla="*/ 33 w 112"/>
                <a:gd name="T85" fmla="*/ 9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" h="116">
                  <a:moveTo>
                    <a:pt x="107" y="108"/>
                  </a:moveTo>
                  <a:cubicBezTo>
                    <a:pt x="107" y="110"/>
                    <a:pt x="106" y="111"/>
                    <a:pt x="105" y="111"/>
                  </a:cubicBezTo>
                  <a:cubicBezTo>
                    <a:pt x="84" y="111"/>
                    <a:pt x="84" y="111"/>
                    <a:pt x="84" y="111"/>
                  </a:cubicBezTo>
                  <a:cubicBezTo>
                    <a:pt x="83" y="111"/>
                    <a:pt x="82" y="110"/>
                    <a:pt x="82" y="10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3" y="5"/>
                    <a:pt x="84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6" y="5"/>
                    <a:pt x="107" y="6"/>
                    <a:pt x="107" y="8"/>
                  </a:cubicBezTo>
                  <a:lnTo>
                    <a:pt x="107" y="108"/>
                  </a:lnTo>
                  <a:close/>
                  <a:moveTo>
                    <a:pt x="77" y="108"/>
                  </a:moveTo>
                  <a:cubicBezTo>
                    <a:pt x="77" y="110"/>
                    <a:pt x="75" y="111"/>
                    <a:pt x="74" y="111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2" y="111"/>
                    <a:pt x="51" y="110"/>
                    <a:pt x="51" y="10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6"/>
                    <a:pt x="52" y="5"/>
                    <a:pt x="5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5" y="5"/>
                    <a:pt x="77" y="6"/>
                    <a:pt x="77" y="8"/>
                  </a:cubicBezTo>
                  <a:lnTo>
                    <a:pt x="77" y="108"/>
                  </a:lnTo>
                  <a:close/>
                  <a:moveTo>
                    <a:pt x="46" y="108"/>
                  </a:moveTo>
                  <a:cubicBezTo>
                    <a:pt x="46" y="110"/>
                    <a:pt x="45" y="111"/>
                    <a:pt x="4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1" y="111"/>
                    <a:pt x="20" y="110"/>
                    <a:pt x="20" y="10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6"/>
                    <a:pt x="21" y="5"/>
                    <a:pt x="23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5" y="5"/>
                    <a:pt x="46" y="6"/>
                    <a:pt x="46" y="8"/>
                  </a:cubicBezTo>
                  <a:lnTo>
                    <a:pt x="46" y="108"/>
                  </a:lnTo>
                  <a:close/>
                  <a:moveTo>
                    <a:pt x="15" y="111"/>
                  </a:move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5" y="12"/>
                    <a:pt x="15" y="12"/>
                    <a:pt x="15" y="12"/>
                  </a:cubicBezTo>
                  <a:lnTo>
                    <a:pt x="15" y="111"/>
                  </a:lnTo>
                  <a:close/>
                  <a:moveTo>
                    <a:pt x="105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82" y="0"/>
                    <a:pt x="80" y="1"/>
                    <a:pt x="79" y="2"/>
                  </a:cubicBezTo>
                  <a:cubicBezTo>
                    <a:pt x="78" y="1"/>
                    <a:pt x="76" y="0"/>
                    <a:pt x="7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1" y="0"/>
                    <a:pt x="50" y="1"/>
                    <a:pt x="48" y="2"/>
                  </a:cubicBezTo>
                  <a:cubicBezTo>
                    <a:pt x="47" y="1"/>
                    <a:pt x="45" y="0"/>
                    <a:pt x="4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19" y="1"/>
                    <a:pt x="18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3"/>
                    <a:pt x="16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5"/>
                    <a:pt x="1" y="116"/>
                    <a:pt x="2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5" y="116"/>
                    <a:pt x="47" y="115"/>
                    <a:pt x="48" y="114"/>
                  </a:cubicBezTo>
                  <a:cubicBezTo>
                    <a:pt x="50" y="115"/>
                    <a:pt x="51" y="116"/>
                    <a:pt x="53" y="116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76" y="116"/>
                    <a:pt x="78" y="115"/>
                    <a:pt x="79" y="114"/>
                  </a:cubicBezTo>
                  <a:cubicBezTo>
                    <a:pt x="80" y="115"/>
                    <a:pt x="82" y="116"/>
                    <a:pt x="84" y="116"/>
                  </a:cubicBezTo>
                  <a:cubicBezTo>
                    <a:pt x="105" y="116"/>
                    <a:pt x="105" y="116"/>
                    <a:pt x="105" y="116"/>
                  </a:cubicBezTo>
                  <a:cubicBezTo>
                    <a:pt x="109" y="116"/>
                    <a:pt x="112" y="113"/>
                    <a:pt x="112" y="10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2" y="3"/>
                    <a:pt x="109" y="0"/>
                    <a:pt x="105" y="0"/>
                  </a:cubicBezTo>
                  <a:moveTo>
                    <a:pt x="89" y="50"/>
                  </a:move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2" y="49"/>
                    <a:pt x="102" y="48"/>
                  </a:cubicBezTo>
                  <a:cubicBezTo>
                    <a:pt x="102" y="47"/>
                    <a:pt x="101" y="45"/>
                    <a:pt x="100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7" y="47"/>
                    <a:pt x="87" y="48"/>
                  </a:cubicBezTo>
                  <a:cubicBezTo>
                    <a:pt x="87" y="49"/>
                    <a:pt x="88" y="50"/>
                    <a:pt x="89" y="50"/>
                  </a:cubicBezTo>
                  <a:moveTo>
                    <a:pt x="89" y="20"/>
                  </a:moveTo>
                  <a:cubicBezTo>
                    <a:pt x="100" y="20"/>
                    <a:pt x="100" y="20"/>
                    <a:pt x="100" y="20"/>
                  </a:cubicBezTo>
                  <a:cubicBezTo>
                    <a:pt x="101" y="20"/>
                    <a:pt x="102" y="19"/>
                    <a:pt x="102" y="18"/>
                  </a:cubicBezTo>
                  <a:cubicBezTo>
                    <a:pt x="102" y="16"/>
                    <a:pt x="101" y="15"/>
                    <a:pt x="100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5"/>
                    <a:pt x="87" y="16"/>
                    <a:pt x="87" y="18"/>
                  </a:cubicBezTo>
                  <a:cubicBezTo>
                    <a:pt x="87" y="19"/>
                    <a:pt x="88" y="20"/>
                    <a:pt x="89" y="20"/>
                  </a:cubicBezTo>
                  <a:moveTo>
                    <a:pt x="95" y="93"/>
                  </a:moveTo>
                  <a:cubicBezTo>
                    <a:pt x="92" y="93"/>
                    <a:pt x="89" y="91"/>
                    <a:pt x="89" y="88"/>
                  </a:cubicBezTo>
                  <a:cubicBezTo>
                    <a:pt x="89" y="85"/>
                    <a:pt x="92" y="83"/>
                    <a:pt x="95" y="83"/>
                  </a:cubicBezTo>
                  <a:cubicBezTo>
                    <a:pt x="97" y="83"/>
                    <a:pt x="100" y="85"/>
                    <a:pt x="100" y="88"/>
                  </a:cubicBezTo>
                  <a:cubicBezTo>
                    <a:pt x="100" y="91"/>
                    <a:pt x="97" y="93"/>
                    <a:pt x="95" y="93"/>
                  </a:cubicBezTo>
                  <a:moveTo>
                    <a:pt x="95" y="78"/>
                  </a:moveTo>
                  <a:cubicBezTo>
                    <a:pt x="89" y="78"/>
                    <a:pt x="84" y="83"/>
                    <a:pt x="84" y="88"/>
                  </a:cubicBezTo>
                  <a:cubicBezTo>
                    <a:pt x="84" y="94"/>
                    <a:pt x="89" y="98"/>
                    <a:pt x="95" y="98"/>
                  </a:cubicBezTo>
                  <a:cubicBezTo>
                    <a:pt x="100" y="98"/>
                    <a:pt x="105" y="94"/>
                    <a:pt x="105" y="88"/>
                  </a:cubicBezTo>
                  <a:cubicBezTo>
                    <a:pt x="105" y="83"/>
                    <a:pt x="100" y="78"/>
                    <a:pt x="95" y="78"/>
                  </a:cubicBezTo>
                  <a:moveTo>
                    <a:pt x="5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70" y="50"/>
                    <a:pt x="71" y="49"/>
                    <a:pt x="71" y="48"/>
                  </a:cubicBezTo>
                  <a:cubicBezTo>
                    <a:pt x="71" y="47"/>
                    <a:pt x="70" y="45"/>
                    <a:pt x="6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7" y="45"/>
                    <a:pt x="56" y="47"/>
                    <a:pt x="56" y="48"/>
                  </a:cubicBezTo>
                  <a:cubicBezTo>
                    <a:pt x="56" y="49"/>
                    <a:pt x="57" y="50"/>
                    <a:pt x="59" y="50"/>
                  </a:cubicBezTo>
                  <a:moveTo>
                    <a:pt x="59" y="2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70" y="20"/>
                    <a:pt x="71" y="19"/>
                    <a:pt x="71" y="18"/>
                  </a:cubicBezTo>
                  <a:cubicBezTo>
                    <a:pt x="71" y="16"/>
                    <a:pt x="70" y="15"/>
                    <a:pt x="6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7" y="15"/>
                    <a:pt x="56" y="16"/>
                    <a:pt x="56" y="18"/>
                  </a:cubicBezTo>
                  <a:cubicBezTo>
                    <a:pt x="56" y="19"/>
                    <a:pt x="57" y="20"/>
                    <a:pt x="59" y="20"/>
                  </a:cubicBezTo>
                  <a:moveTo>
                    <a:pt x="64" y="93"/>
                  </a:moveTo>
                  <a:cubicBezTo>
                    <a:pt x="61" y="93"/>
                    <a:pt x="59" y="91"/>
                    <a:pt x="59" y="88"/>
                  </a:cubicBezTo>
                  <a:cubicBezTo>
                    <a:pt x="59" y="85"/>
                    <a:pt x="61" y="83"/>
                    <a:pt x="64" y="83"/>
                  </a:cubicBezTo>
                  <a:cubicBezTo>
                    <a:pt x="67" y="83"/>
                    <a:pt x="69" y="85"/>
                    <a:pt x="69" y="88"/>
                  </a:cubicBezTo>
                  <a:cubicBezTo>
                    <a:pt x="69" y="91"/>
                    <a:pt x="67" y="93"/>
                    <a:pt x="64" y="93"/>
                  </a:cubicBezTo>
                  <a:moveTo>
                    <a:pt x="64" y="78"/>
                  </a:moveTo>
                  <a:cubicBezTo>
                    <a:pt x="58" y="78"/>
                    <a:pt x="53" y="83"/>
                    <a:pt x="53" y="88"/>
                  </a:cubicBezTo>
                  <a:cubicBezTo>
                    <a:pt x="53" y="94"/>
                    <a:pt x="58" y="98"/>
                    <a:pt x="64" y="98"/>
                  </a:cubicBezTo>
                  <a:cubicBezTo>
                    <a:pt x="69" y="98"/>
                    <a:pt x="74" y="94"/>
                    <a:pt x="74" y="88"/>
                  </a:cubicBezTo>
                  <a:cubicBezTo>
                    <a:pt x="74" y="83"/>
                    <a:pt x="69" y="78"/>
                    <a:pt x="64" y="78"/>
                  </a:cubicBezTo>
                  <a:moveTo>
                    <a:pt x="2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9" y="50"/>
                    <a:pt x="41" y="49"/>
                    <a:pt x="41" y="48"/>
                  </a:cubicBezTo>
                  <a:cubicBezTo>
                    <a:pt x="41" y="47"/>
                    <a:pt x="39" y="45"/>
                    <a:pt x="3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6" y="45"/>
                    <a:pt x="25" y="47"/>
                    <a:pt x="25" y="48"/>
                  </a:cubicBezTo>
                  <a:cubicBezTo>
                    <a:pt x="25" y="49"/>
                    <a:pt x="26" y="50"/>
                    <a:pt x="28" y="50"/>
                  </a:cubicBezTo>
                  <a:moveTo>
                    <a:pt x="2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9" y="20"/>
                    <a:pt x="41" y="19"/>
                    <a:pt x="41" y="18"/>
                  </a:cubicBezTo>
                  <a:cubicBezTo>
                    <a:pt x="41" y="16"/>
                    <a:pt x="39" y="15"/>
                    <a:pt x="3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6" y="15"/>
                    <a:pt x="25" y="16"/>
                    <a:pt x="25" y="18"/>
                  </a:cubicBezTo>
                  <a:cubicBezTo>
                    <a:pt x="25" y="19"/>
                    <a:pt x="26" y="20"/>
                    <a:pt x="28" y="20"/>
                  </a:cubicBezTo>
                  <a:moveTo>
                    <a:pt x="33" y="93"/>
                  </a:moveTo>
                  <a:cubicBezTo>
                    <a:pt x="30" y="93"/>
                    <a:pt x="28" y="91"/>
                    <a:pt x="28" y="88"/>
                  </a:cubicBezTo>
                  <a:cubicBezTo>
                    <a:pt x="28" y="85"/>
                    <a:pt x="30" y="83"/>
                    <a:pt x="33" y="83"/>
                  </a:cubicBezTo>
                  <a:cubicBezTo>
                    <a:pt x="36" y="83"/>
                    <a:pt x="38" y="85"/>
                    <a:pt x="38" y="88"/>
                  </a:cubicBezTo>
                  <a:cubicBezTo>
                    <a:pt x="38" y="91"/>
                    <a:pt x="36" y="93"/>
                    <a:pt x="33" y="93"/>
                  </a:cubicBezTo>
                  <a:moveTo>
                    <a:pt x="33" y="78"/>
                  </a:moveTo>
                  <a:cubicBezTo>
                    <a:pt x="27" y="78"/>
                    <a:pt x="23" y="83"/>
                    <a:pt x="23" y="88"/>
                  </a:cubicBezTo>
                  <a:cubicBezTo>
                    <a:pt x="23" y="94"/>
                    <a:pt x="27" y="98"/>
                    <a:pt x="33" y="98"/>
                  </a:cubicBezTo>
                  <a:cubicBezTo>
                    <a:pt x="39" y="98"/>
                    <a:pt x="43" y="94"/>
                    <a:pt x="43" y="88"/>
                  </a:cubicBezTo>
                  <a:cubicBezTo>
                    <a:pt x="43" y="83"/>
                    <a:pt x="39" y="78"/>
                    <a:pt x="33" y="7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42">
            <a:extLst>
              <a:ext uri="{FF2B5EF4-FFF2-40B4-BE49-F238E27FC236}">
                <a16:creationId xmlns:a16="http://schemas.microsoft.com/office/drawing/2014/main" id="{BB91B6C0-E46B-4FB4-A47E-769B7C661D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4541" y="334169"/>
            <a:ext cx="758825" cy="758825"/>
            <a:chOff x="3745" y="382"/>
            <a:chExt cx="478" cy="478"/>
          </a:xfrm>
        </p:grpSpPr>
        <p:sp>
          <p:nvSpPr>
            <p:cNvPr id="54" name="AutoShape 41">
              <a:extLst>
                <a:ext uri="{FF2B5EF4-FFF2-40B4-BE49-F238E27FC236}">
                  <a16:creationId xmlns:a16="http://schemas.microsoft.com/office/drawing/2014/main" id="{9792425B-3A4B-40CC-B67C-1299A0768F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45" y="38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525B4873-3329-4FD9-9F1B-B89B47314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7" y="38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FE9C7234-31F3-45F7-ABD4-57CE6F05C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3" y="495"/>
              <a:ext cx="245" cy="255"/>
            </a:xfrm>
            <a:custGeom>
              <a:avLst/>
              <a:gdLst>
                <a:gd name="T0" fmla="*/ 58 w 245"/>
                <a:gd name="T1" fmla="*/ 181 h 255"/>
                <a:gd name="T2" fmla="*/ 68 w 245"/>
                <a:gd name="T3" fmla="*/ 171 h 255"/>
                <a:gd name="T4" fmla="*/ 90 w 245"/>
                <a:gd name="T5" fmla="*/ 162 h 255"/>
                <a:gd name="T6" fmla="*/ 95 w 245"/>
                <a:gd name="T7" fmla="*/ 154 h 255"/>
                <a:gd name="T8" fmla="*/ 93 w 245"/>
                <a:gd name="T9" fmla="*/ 142 h 255"/>
                <a:gd name="T10" fmla="*/ 85 w 245"/>
                <a:gd name="T11" fmla="*/ 125 h 255"/>
                <a:gd name="T12" fmla="*/ 88 w 245"/>
                <a:gd name="T13" fmla="*/ 108 h 255"/>
                <a:gd name="T14" fmla="*/ 95 w 245"/>
                <a:gd name="T15" fmla="*/ 103 h 255"/>
                <a:gd name="T16" fmla="*/ 112 w 245"/>
                <a:gd name="T17" fmla="*/ 103 h 255"/>
                <a:gd name="T18" fmla="*/ 120 w 245"/>
                <a:gd name="T19" fmla="*/ 110 h 255"/>
                <a:gd name="T20" fmla="*/ 120 w 245"/>
                <a:gd name="T21" fmla="*/ 127 h 255"/>
                <a:gd name="T22" fmla="*/ 112 w 245"/>
                <a:gd name="T23" fmla="*/ 144 h 255"/>
                <a:gd name="T24" fmla="*/ 110 w 245"/>
                <a:gd name="T25" fmla="*/ 154 h 255"/>
                <a:gd name="T26" fmla="*/ 117 w 245"/>
                <a:gd name="T27" fmla="*/ 164 h 255"/>
                <a:gd name="T28" fmla="*/ 139 w 245"/>
                <a:gd name="T29" fmla="*/ 174 h 255"/>
                <a:gd name="T30" fmla="*/ 149 w 245"/>
                <a:gd name="T31" fmla="*/ 184 h 255"/>
                <a:gd name="T32" fmla="*/ 54 w 245"/>
                <a:gd name="T33" fmla="*/ 198 h 255"/>
                <a:gd name="T34" fmla="*/ 93 w 245"/>
                <a:gd name="T35" fmla="*/ 90 h 255"/>
                <a:gd name="T36" fmla="*/ 78 w 245"/>
                <a:gd name="T37" fmla="*/ 100 h 255"/>
                <a:gd name="T38" fmla="*/ 73 w 245"/>
                <a:gd name="T39" fmla="*/ 117 h 255"/>
                <a:gd name="T40" fmla="*/ 78 w 245"/>
                <a:gd name="T41" fmla="*/ 137 h 255"/>
                <a:gd name="T42" fmla="*/ 85 w 245"/>
                <a:gd name="T43" fmla="*/ 154 h 255"/>
                <a:gd name="T44" fmla="*/ 68 w 245"/>
                <a:gd name="T45" fmla="*/ 159 h 255"/>
                <a:gd name="T46" fmla="*/ 51 w 245"/>
                <a:gd name="T47" fmla="*/ 171 h 255"/>
                <a:gd name="T48" fmla="*/ 41 w 245"/>
                <a:gd name="T49" fmla="*/ 193 h 255"/>
                <a:gd name="T50" fmla="*/ 44 w 245"/>
                <a:gd name="T51" fmla="*/ 208 h 255"/>
                <a:gd name="T52" fmla="*/ 159 w 245"/>
                <a:gd name="T53" fmla="*/ 211 h 255"/>
                <a:gd name="T54" fmla="*/ 164 w 245"/>
                <a:gd name="T55" fmla="*/ 206 h 255"/>
                <a:gd name="T56" fmla="*/ 161 w 245"/>
                <a:gd name="T57" fmla="*/ 186 h 255"/>
                <a:gd name="T58" fmla="*/ 152 w 245"/>
                <a:gd name="T59" fmla="*/ 166 h 255"/>
                <a:gd name="T60" fmla="*/ 130 w 245"/>
                <a:gd name="T61" fmla="*/ 157 h 255"/>
                <a:gd name="T62" fmla="*/ 122 w 245"/>
                <a:gd name="T63" fmla="*/ 149 h 255"/>
                <a:gd name="T64" fmla="*/ 132 w 245"/>
                <a:gd name="T65" fmla="*/ 130 h 255"/>
                <a:gd name="T66" fmla="*/ 132 w 245"/>
                <a:gd name="T67" fmla="*/ 113 h 255"/>
                <a:gd name="T68" fmla="*/ 125 w 245"/>
                <a:gd name="T69" fmla="*/ 98 h 255"/>
                <a:gd name="T70" fmla="*/ 110 w 245"/>
                <a:gd name="T71" fmla="*/ 90 h 255"/>
                <a:gd name="T72" fmla="*/ 220 w 245"/>
                <a:gd name="T73" fmla="*/ 86 h 255"/>
                <a:gd name="T74" fmla="*/ 32 w 245"/>
                <a:gd name="T75" fmla="*/ 0 h 255"/>
                <a:gd name="T76" fmla="*/ 14 w 245"/>
                <a:gd name="T77" fmla="*/ 7 h 255"/>
                <a:gd name="T78" fmla="*/ 2 w 245"/>
                <a:gd name="T79" fmla="*/ 24 h 255"/>
                <a:gd name="T80" fmla="*/ 0 w 245"/>
                <a:gd name="T81" fmla="*/ 220 h 255"/>
                <a:gd name="T82" fmla="*/ 7 w 245"/>
                <a:gd name="T83" fmla="*/ 240 h 255"/>
                <a:gd name="T84" fmla="*/ 22 w 245"/>
                <a:gd name="T85" fmla="*/ 250 h 255"/>
                <a:gd name="T86" fmla="*/ 196 w 245"/>
                <a:gd name="T87" fmla="*/ 255 h 255"/>
                <a:gd name="T88" fmla="*/ 198 w 245"/>
                <a:gd name="T89" fmla="*/ 250 h 255"/>
                <a:gd name="T90" fmla="*/ 242 w 245"/>
                <a:gd name="T91" fmla="*/ 122 h 255"/>
                <a:gd name="T92" fmla="*/ 233 w 245"/>
                <a:gd name="T93" fmla="*/ 86 h 255"/>
                <a:gd name="T94" fmla="*/ 242 w 245"/>
                <a:gd name="T95" fmla="*/ 49 h 255"/>
                <a:gd name="T96" fmla="*/ 49 w 245"/>
                <a:gd name="T97" fmla="*/ 49 h 255"/>
                <a:gd name="T98" fmla="*/ 39 w 245"/>
                <a:gd name="T99" fmla="*/ 41 h 255"/>
                <a:gd name="T100" fmla="*/ 27 w 245"/>
                <a:gd name="T101" fmla="*/ 44 h 255"/>
                <a:gd name="T102" fmla="*/ 36 w 245"/>
                <a:gd name="T103" fmla="*/ 54 h 255"/>
                <a:gd name="T104" fmla="*/ 49 w 245"/>
                <a:gd name="T105" fmla="*/ 59 h 255"/>
                <a:gd name="T106" fmla="*/ 29 w 245"/>
                <a:gd name="T107" fmla="*/ 242 h 255"/>
                <a:gd name="T108" fmla="*/ 17 w 245"/>
                <a:gd name="T109" fmla="*/ 235 h 255"/>
                <a:gd name="T110" fmla="*/ 12 w 245"/>
                <a:gd name="T111" fmla="*/ 223 h 255"/>
                <a:gd name="T112" fmla="*/ 12 w 245"/>
                <a:gd name="T113" fmla="*/ 32 h 255"/>
                <a:gd name="T114" fmla="*/ 17 w 245"/>
                <a:gd name="T115" fmla="*/ 19 h 255"/>
                <a:gd name="T116" fmla="*/ 29 w 245"/>
                <a:gd name="T117" fmla="*/ 12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5" h="255">
                  <a:moveTo>
                    <a:pt x="54" y="196"/>
                  </a:moveTo>
                  <a:lnTo>
                    <a:pt x="54" y="193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61" y="179"/>
                  </a:lnTo>
                  <a:lnTo>
                    <a:pt x="61" y="176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4"/>
                  </a:lnTo>
                  <a:lnTo>
                    <a:pt x="66" y="174"/>
                  </a:lnTo>
                  <a:lnTo>
                    <a:pt x="66" y="174"/>
                  </a:lnTo>
                  <a:lnTo>
                    <a:pt x="68" y="171"/>
                  </a:lnTo>
                  <a:lnTo>
                    <a:pt x="71" y="171"/>
                  </a:lnTo>
                  <a:lnTo>
                    <a:pt x="73" y="169"/>
                  </a:lnTo>
                  <a:lnTo>
                    <a:pt x="76" y="169"/>
                  </a:lnTo>
                  <a:lnTo>
                    <a:pt x="81" y="166"/>
                  </a:lnTo>
                  <a:lnTo>
                    <a:pt x="83" y="166"/>
                  </a:lnTo>
                  <a:lnTo>
                    <a:pt x="85" y="164"/>
                  </a:lnTo>
                  <a:lnTo>
                    <a:pt x="85" y="164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3" y="159"/>
                  </a:lnTo>
                  <a:lnTo>
                    <a:pt x="93" y="159"/>
                  </a:lnTo>
                  <a:lnTo>
                    <a:pt x="95" y="159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4"/>
                  </a:lnTo>
                  <a:lnTo>
                    <a:pt x="95" y="154"/>
                  </a:lnTo>
                  <a:lnTo>
                    <a:pt x="95" y="154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5" y="149"/>
                  </a:lnTo>
                  <a:lnTo>
                    <a:pt x="95" y="149"/>
                  </a:lnTo>
                  <a:lnTo>
                    <a:pt x="95" y="149"/>
                  </a:lnTo>
                  <a:lnTo>
                    <a:pt x="95" y="147"/>
                  </a:lnTo>
                  <a:lnTo>
                    <a:pt x="95" y="147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90" y="137"/>
                  </a:lnTo>
                  <a:lnTo>
                    <a:pt x="90" y="137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5" y="127"/>
                  </a:lnTo>
                  <a:lnTo>
                    <a:pt x="85" y="125"/>
                  </a:lnTo>
                  <a:lnTo>
                    <a:pt x="85" y="122"/>
                  </a:lnTo>
                  <a:lnTo>
                    <a:pt x="85" y="120"/>
                  </a:lnTo>
                  <a:lnTo>
                    <a:pt x="85" y="117"/>
                  </a:lnTo>
                  <a:lnTo>
                    <a:pt x="85" y="115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3"/>
                  </a:lnTo>
                  <a:lnTo>
                    <a:pt x="93" y="103"/>
                  </a:lnTo>
                  <a:lnTo>
                    <a:pt x="93" y="103"/>
                  </a:lnTo>
                  <a:lnTo>
                    <a:pt x="95" y="103"/>
                  </a:lnTo>
                  <a:lnTo>
                    <a:pt x="95" y="100"/>
                  </a:lnTo>
                  <a:lnTo>
                    <a:pt x="98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3" y="100"/>
                  </a:lnTo>
                  <a:lnTo>
                    <a:pt x="105" y="100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0" y="100"/>
                  </a:lnTo>
                  <a:lnTo>
                    <a:pt x="112" y="103"/>
                  </a:lnTo>
                  <a:lnTo>
                    <a:pt x="112" y="103"/>
                  </a:lnTo>
                  <a:lnTo>
                    <a:pt x="115" y="103"/>
                  </a:lnTo>
                  <a:lnTo>
                    <a:pt x="115" y="103"/>
                  </a:lnTo>
                  <a:lnTo>
                    <a:pt x="115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3"/>
                  </a:lnTo>
                  <a:lnTo>
                    <a:pt x="120" y="113"/>
                  </a:lnTo>
                  <a:lnTo>
                    <a:pt x="120" y="115"/>
                  </a:lnTo>
                  <a:lnTo>
                    <a:pt x="122" y="115"/>
                  </a:lnTo>
                  <a:lnTo>
                    <a:pt x="122" y="117"/>
                  </a:lnTo>
                  <a:lnTo>
                    <a:pt x="120" y="120"/>
                  </a:lnTo>
                  <a:lnTo>
                    <a:pt x="120" y="122"/>
                  </a:lnTo>
                  <a:lnTo>
                    <a:pt x="120" y="125"/>
                  </a:lnTo>
                  <a:lnTo>
                    <a:pt x="120" y="127"/>
                  </a:lnTo>
                  <a:lnTo>
                    <a:pt x="120" y="130"/>
                  </a:lnTo>
                  <a:lnTo>
                    <a:pt x="120" y="130"/>
                  </a:lnTo>
                  <a:lnTo>
                    <a:pt x="117" y="132"/>
                  </a:lnTo>
                  <a:lnTo>
                    <a:pt x="117" y="135"/>
                  </a:lnTo>
                  <a:lnTo>
                    <a:pt x="117" y="137"/>
                  </a:lnTo>
                  <a:lnTo>
                    <a:pt x="115" y="137"/>
                  </a:lnTo>
                  <a:lnTo>
                    <a:pt x="115" y="139"/>
                  </a:lnTo>
                  <a:lnTo>
                    <a:pt x="112" y="142"/>
                  </a:lnTo>
                  <a:lnTo>
                    <a:pt x="112" y="142"/>
                  </a:lnTo>
                  <a:lnTo>
                    <a:pt x="112" y="142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0" y="147"/>
                  </a:lnTo>
                  <a:lnTo>
                    <a:pt x="110" y="147"/>
                  </a:lnTo>
                  <a:lnTo>
                    <a:pt x="110" y="149"/>
                  </a:lnTo>
                  <a:lnTo>
                    <a:pt x="110" y="149"/>
                  </a:lnTo>
                  <a:lnTo>
                    <a:pt x="110" y="149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0" y="154"/>
                  </a:lnTo>
                  <a:lnTo>
                    <a:pt x="110" y="154"/>
                  </a:lnTo>
                  <a:lnTo>
                    <a:pt x="110" y="154"/>
                  </a:lnTo>
                  <a:lnTo>
                    <a:pt x="110" y="157"/>
                  </a:lnTo>
                  <a:lnTo>
                    <a:pt x="110" y="157"/>
                  </a:lnTo>
                  <a:lnTo>
                    <a:pt x="112" y="157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2" y="166"/>
                  </a:lnTo>
                  <a:lnTo>
                    <a:pt x="127" y="166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71"/>
                  </a:lnTo>
                  <a:lnTo>
                    <a:pt x="137" y="171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76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7" y="179"/>
                  </a:lnTo>
                  <a:lnTo>
                    <a:pt x="147" y="179"/>
                  </a:lnTo>
                  <a:lnTo>
                    <a:pt x="147" y="179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52" y="186"/>
                  </a:lnTo>
                  <a:lnTo>
                    <a:pt x="152" y="186"/>
                  </a:lnTo>
                  <a:lnTo>
                    <a:pt x="152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4" y="193"/>
                  </a:lnTo>
                  <a:lnTo>
                    <a:pt x="154" y="196"/>
                  </a:lnTo>
                  <a:lnTo>
                    <a:pt x="154" y="198"/>
                  </a:lnTo>
                  <a:lnTo>
                    <a:pt x="54" y="198"/>
                  </a:lnTo>
                  <a:lnTo>
                    <a:pt x="54" y="196"/>
                  </a:lnTo>
                  <a:close/>
                  <a:moveTo>
                    <a:pt x="103" y="88"/>
                  </a:moveTo>
                  <a:lnTo>
                    <a:pt x="103" y="88"/>
                  </a:lnTo>
                  <a:lnTo>
                    <a:pt x="100" y="88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0" y="90"/>
                  </a:lnTo>
                  <a:lnTo>
                    <a:pt x="88" y="90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3" y="95"/>
                  </a:lnTo>
                  <a:lnTo>
                    <a:pt x="83" y="95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3"/>
                  </a:lnTo>
                  <a:lnTo>
                    <a:pt x="76" y="103"/>
                  </a:lnTo>
                  <a:lnTo>
                    <a:pt x="76" y="105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3" y="110"/>
                  </a:lnTo>
                  <a:lnTo>
                    <a:pt x="73" y="113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7"/>
                  </a:lnTo>
                  <a:lnTo>
                    <a:pt x="73" y="120"/>
                  </a:lnTo>
                  <a:lnTo>
                    <a:pt x="73" y="122"/>
                  </a:lnTo>
                  <a:lnTo>
                    <a:pt x="73" y="122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7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8" y="135"/>
                  </a:lnTo>
                  <a:lnTo>
                    <a:pt x="78" y="137"/>
                  </a:lnTo>
                  <a:lnTo>
                    <a:pt x="78" y="139"/>
                  </a:lnTo>
                  <a:lnTo>
                    <a:pt x="81" y="142"/>
                  </a:lnTo>
                  <a:lnTo>
                    <a:pt x="81" y="144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5" y="154"/>
                  </a:lnTo>
                  <a:lnTo>
                    <a:pt x="83" y="154"/>
                  </a:lnTo>
                  <a:lnTo>
                    <a:pt x="83" y="154"/>
                  </a:lnTo>
                  <a:lnTo>
                    <a:pt x="83" y="154"/>
                  </a:lnTo>
                  <a:lnTo>
                    <a:pt x="81" y="154"/>
                  </a:lnTo>
                  <a:lnTo>
                    <a:pt x="81" y="154"/>
                  </a:lnTo>
                  <a:lnTo>
                    <a:pt x="81" y="154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3" y="157"/>
                  </a:lnTo>
                  <a:lnTo>
                    <a:pt x="71" y="159"/>
                  </a:lnTo>
                  <a:lnTo>
                    <a:pt x="68" y="159"/>
                  </a:lnTo>
                  <a:lnTo>
                    <a:pt x="66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1" y="164"/>
                  </a:lnTo>
                  <a:lnTo>
                    <a:pt x="61" y="164"/>
                  </a:lnTo>
                  <a:lnTo>
                    <a:pt x="58" y="164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1" y="171"/>
                  </a:lnTo>
                  <a:lnTo>
                    <a:pt x="51" y="171"/>
                  </a:lnTo>
                  <a:lnTo>
                    <a:pt x="49" y="174"/>
                  </a:lnTo>
                  <a:lnTo>
                    <a:pt x="49" y="176"/>
                  </a:lnTo>
                  <a:lnTo>
                    <a:pt x="46" y="176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4" y="184"/>
                  </a:lnTo>
                  <a:lnTo>
                    <a:pt x="44" y="186"/>
                  </a:lnTo>
                  <a:lnTo>
                    <a:pt x="44" y="189"/>
                  </a:lnTo>
                  <a:lnTo>
                    <a:pt x="41" y="191"/>
                  </a:lnTo>
                  <a:lnTo>
                    <a:pt x="41" y="193"/>
                  </a:lnTo>
                  <a:lnTo>
                    <a:pt x="41" y="196"/>
                  </a:lnTo>
                  <a:lnTo>
                    <a:pt x="41" y="198"/>
                  </a:lnTo>
                  <a:lnTo>
                    <a:pt x="41" y="201"/>
                  </a:lnTo>
                  <a:lnTo>
                    <a:pt x="41" y="203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4" y="206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6" y="208"/>
                  </a:lnTo>
                  <a:lnTo>
                    <a:pt x="46" y="208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4" y="206"/>
                  </a:lnTo>
                  <a:lnTo>
                    <a:pt x="164" y="206"/>
                  </a:lnTo>
                  <a:lnTo>
                    <a:pt x="164" y="206"/>
                  </a:lnTo>
                  <a:lnTo>
                    <a:pt x="164" y="206"/>
                  </a:lnTo>
                  <a:lnTo>
                    <a:pt x="164" y="206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4" y="198"/>
                  </a:lnTo>
                  <a:lnTo>
                    <a:pt x="164" y="196"/>
                  </a:lnTo>
                  <a:lnTo>
                    <a:pt x="164" y="193"/>
                  </a:lnTo>
                  <a:lnTo>
                    <a:pt x="164" y="191"/>
                  </a:lnTo>
                  <a:lnTo>
                    <a:pt x="164" y="189"/>
                  </a:lnTo>
                  <a:lnTo>
                    <a:pt x="161" y="186"/>
                  </a:lnTo>
                  <a:lnTo>
                    <a:pt x="161" y="184"/>
                  </a:lnTo>
                  <a:lnTo>
                    <a:pt x="161" y="181"/>
                  </a:lnTo>
                  <a:lnTo>
                    <a:pt x="161" y="179"/>
                  </a:lnTo>
                  <a:lnTo>
                    <a:pt x="159" y="176"/>
                  </a:lnTo>
                  <a:lnTo>
                    <a:pt x="159" y="176"/>
                  </a:lnTo>
                  <a:lnTo>
                    <a:pt x="157" y="174"/>
                  </a:lnTo>
                  <a:lnTo>
                    <a:pt x="157" y="171"/>
                  </a:lnTo>
                  <a:lnTo>
                    <a:pt x="154" y="171"/>
                  </a:lnTo>
                  <a:lnTo>
                    <a:pt x="154" y="169"/>
                  </a:lnTo>
                  <a:lnTo>
                    <a:pt x="152" y="169"/>
                  </a:lnTo>
                  <a:lnTo>
                    <a:pt x="152" y="166"/>
                  </a:lnTo>
                  <a:lnTo>
                    <a:pt x="149" y="166"/>
                  </a:lnTo>
                  <a:lnTo>
                    <a:pt x="147" y="164"/>
                  </a:lnTo>
                  <a:lnTo>
                    <a:pt x="147" y="164"/>
                  </a:lnTo>
                  <a:lnTo>
                    <a:pt x="144" y="164"/>
                  </a:lnTo>
                  <a:lnTo>
                    <a:pt x="144" y="162"/>
                  </a:lnTo>
                  <a:lnTo>
                    <a:pt x="142" y="162"/>
                  </a:lnTo>
                  <a:lnTo>
                    <a:pt x="139" y="162"/>
                  </a:lnTo>
                  <a:lnTo>
                    <a:pt x="139" y="159"/>
                  </a:lnTo>
                  <a:lnTo>
                    <a:pt x="137" y="159"/>
                  </a:lnTo>
                  <a:lnTo>
                    <a:pt x="132" y="157"/>
                  </a:lnTo>
                  <a:lnTo>
                    <a:pt x="130" y="157"/>
                  </a:lnTo>
                  <a:lnTo>
                    <a:pt x="127" y="157"/>
                  </a:lnTo>
                  <a:lnTo>
                    <a:pt x="127" y="154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5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5" y="147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39"/>
                  </a:lnTo>
                  <a:lnTo>
                    <a:pt x="127" y="137"/>
                  </a:lnTo>
                  <a:lnTo>
                    <a:pt x="130" y="135"/>
                  </a:lnTo>
                  <a:lnTo>
                    <a:pt x="130" y="132"/>
                  </a:lnTo>
                  <a:lnTo>
                    <a:pt x="132" y="130"/>
                  </a:lnTo>
                  <a:lnTo>
                    <a:pt x="132" y="127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2" y="120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3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08"/>
                  </a:lnTo>
                  <a:lnTo>
                    <a:pt x="130" y="108"/>
                  </a:lnTo>
                  <a:lnTo>
                    <a:pt x="130" y="105"/>
                  </a:lnTo>
                  <a:lnTo>
                    <a:pt x="130" y="103"/>
                  </a:lnTo>
                  <a:lnTo>
                    <a:pt x="130" y="103"/>
                  </a:lnTo>
                  <a:lnTo>
                    <a:pt x="127" y="100"/>
                  </a:lnTo>
                  <a:lnTo>
                    <a:pt x="127" y="100"/>
                  </a:lnTo>
                  <a:lnTo>
                    <a:pt x="127" y="98"/>
                  </a:lnTo>
                  <a:lnTo>
                    <a:pt x="125" y="98"/>
                  </a:lnTo>
                  <a:lnTo>
                    <a:pt x="125" y="98"/>
                  </a:lnTo>
                  <a:lnTo>
                    <a:pt x="125" y="95"/>
                  </a:lnTo>
                  <a:lnTo>
                    <a:pt x="122" y="95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17" y="90"/>
                  </a:lnTo>
                  <a:lnTo>
                    <a:pt x="115" y="90"/>
                  </a:lnTo>
                  <a:lnTo>
                    <a:pt x="115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3" y="88"/>
                  </a:lnTo>
                  <a:close/>
                  <a:moveTo>
                    <a:pt x="198" y="59"/>
                  </a:moveTo>
                  <a:lnTo>
                    <a:pt x="230" y="59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20" y="88"/>
                  </a:lnTo>
                  <a:lnTo>
                    <a:pt x="220" y="88"/>
                  </a:lnTo>
                  <a:lnTo>
                    <a:pt x="220" y="88"/>
                  </a:lnTo>
                  <a:lnTo>
                    <a:pt x="230" y="113"/>
                  </a:lnTo>
                  <a:lnTo>
                    <a:pt x="198" y="113"/>
                  </a:lnTo>
                  <a:lnTo>
                    <a:pt x="198" y="59"/>
                  </a:lnTo>
                  <a:close/>
                  <a:moveTo>
                    <a:pt x="34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215"/>
                  </a:lnTo>
                  <a:lnTo>
                    <a:pt x="0" y="218"/>
                  </a:lnTo>
                  <a:lnTo>
                    <a:pt x="0" y="220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5" y="235"/>
                  </a:lnTo>
                  <a:lnTo>
                    <a:pt x="5" y="238"/>
                  </a:lnTo>
                  <a:lnTo>
                    <a:pt x="7" y="240"/>
                  </a:lnTo>
                  <a:lnTo>
                    <a:pt x="7" y="240"/>
                  </a:lnTo>
                  <a:lnTo>
                    <a:pt x="9" y="242"/>
                  </a:lnTo>
                  <a:lnTo>
                    <a:pt x="9" y="242"/>
                  </a:lnTo>
                  <a:lnTo>
                    <a:pt x="12" y="245"/>
                  </a:lnTo>
                  <a:lnTo>
                    <a:pt x="12" y="245"/>
                  </a:lnTo>
                  <a:lnTo>
                    <a:pt x="14" y="247"/>
                  </a:lnTo>
                  <a:lnTo>
                    <a:pt x="14" y="247"/>
                  </a:lnTo>
                  <a:lnTo>
                    <a:pt x="17" y="247"/>
                  </a:lnTo>
                  <a:lnTo>
                    <a:pt x="19" y="250"/>
                  </a:lnTo>
                  <a:lnTo>
                    <a:pt x="19" y="250"/>
                  </a:lnTo>
                  <a:lnTo>
                    <a:pt x="22" y="250"/>
                  </a:lnTo>
                  <a:lnTo>
                    <a:pt x="24" y="252"/>
                  </a:lnTo>
                  <a:lnTo>
                    <a:pt x="24" y="252"/>
                  </a:lnTo>
                  <a:lnTo>
                    <a:pt x="27" y="252"/>
                  </a:lnTo>
                  <a:lnTo>
                    <a:pt x="29" y="252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4" y="255"/>
                  </a:lnTo>
                  <a:lnTo>
                    <a:pt x="36" y="255"/>
                  </a:lnTo>
                  <a:lnTo>
                    <a:pt x="193" y="255"/>
                  </a:lnTo>
                  <a:lnTo>
                    <a:pt x="193" y="255"/>
                  </a:lnTo>
                  <a:lnTo>
                    <a:pt x="196" y="255"/>
                  </a:lnTo>
                  <a:lnTo>
                    <a:pt x="196" y="255"/>
                  </a:lnTo>
                  <a:lnTo>
                    <a:pt x="196" y="255"/>
                  </a:lnTo>
                  <a:lnTo>
                    <a:pt x="196" y="252"/>
                  </a:lnTo>
                  <a:lnTo>
                    <a:pt x="196" y="252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198" y="247"/>
                  </a:lnTo>
                  <a:lnTo>
                    <a:pt x="198" y="122"/>
                  </a:lnTo>
                  <a:lnTo>
                    <a:pt x="240" y="122"/>
                  </a:lnTo>
                  <a:lnTo>
                    <a:pt x="240" y="122"/>
                  </a:lnTo>
                  <a:lnTo>
                    <a:pt x="240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5" y="122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15"/>
                  </a:lnTo>
                  <a:lnTo>
                    <a:pt x="233" y="8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0" y="49"/>
                  </a:lnTo>
                  <a:lnTo>
                    <a:pt x="240" y="49"/>
                  </a:lnTo>
                  <a:lnTo>
                    <a:pt x="240" y="49"/>
                  </a:lnTo>
                  <a:lnTo>
                    <a:pt x="196" y="49"/>
                  </a:lnTo>
                  <a:lnTo>
                    <a:pt x="193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6" y="49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7"/>
                  </a:lnTo>
                  <a:lnTo>
                    <a:pt x="27" y="37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188" y="59"/>
                  </a:lnTo>
                  <a:lnTo>
                    <a:pt x="188" y="242"/>
                  </a:lnTo>
                  <a:lnTo>
                    <a:pt x="36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4" y="240"/>
                  </a:lnTo>
                  <a:lnTo>
                    <a:pt x="24" y="240"/>
                  </a:lnTo>
                  <a:lnTo>
                    <a:pt x="22" y="240"/>
                  </a:lnTo>
                  <a:lnTo>
                    <a:pt x="22" y="238"/>
                  </a:lnTo>
                  <a:lnTo>
                    <a:pt x="22" y="238"/>
                  </a:lnTo>
                  <a:lnTo>
                    <a:pt x="19" y="238"/>
                  </a:lnTo>
                  <a:lnTo>
                    <a:pt x="19" y="235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7" y="233"/>
                  </a:lnTo>
                  <a:lnTo>
                    <a:pt x="14" y="233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5"/>
                  </a:lnTo>
                  <a:lnTo>
                    <a:pt x="12" y="225"/>
                  </a:lnTo>
                  <a:lnTo>
                    <a:pt x="12" y="223"/>
                  </a:lnTo>
                  <a:lnTo>
                    <a:pt x="12" y="223"/>
                  </a:lnTo>
                  <a:lnTo>
                    <a:pt x="9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9" y="215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7" y="22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191" y="12"/>
                  </a:lnTo>
                  <a:lnTo>
                    <a:pt x="191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47">
            <a:extLst>
              <a:ext uri="{FF2B5EF4-FFF2-40B4-BE49-F238E27FC236}">
                <a16:creationId xmlns:a16="http://schemas.microsoft.com/office/drawing/2014/main" id="{37F2ADAE-C509-45C1-B6C8-228F940356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466" y="292894"/>
            <a:ext cx="841375" cy="841375"/>
            <a:chOff x="3006" y="296"/>
            <a:chExt cx="530" cy="530"/>
          </a:xfrm>
        </p:grpSpPr>
        <p:sp>
          <p:nvSpPr>
            <p:cNvPr id="58" name="AutoShape 46">
              <a:extLst>
                <a:ext uri="{FF2B5EF4-FFF2-40B4-BE49-F238E27FC236}">
                  <a16:creationId xmlns:a16="http://schemas.microsoft.com/office/drawing/2014/main" id="{6160D81C-2ED8-4439-8912-1A1870E8465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6" y="29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48">
              <a:extLst>
                <a:ext uri="{FF2B5EF4-FFF2-40B4-BE49-F238E27FC236}">
                  <a16:creationId xmlns:a16="http://schemas.microsoft.com/office/drawing/2014/main" id="{77D83ECB-2167-421D-AEB8-19AD2C5CA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29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9">
              <a:extLst>
                <a:ext uri="{FF2B5EF4-FFF2-40B4-BE49-F238E27FC236}">
                  <a16:creationId xmlns:a16="http://schemas.microsoft.com/office/drawing/2014/main" id="{3C136147-2E67-48C2-B8A4-C14665CA08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31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0">
              <a:extLst>
                <a:ext uri="{FF2B5EF4-FFF2-40B4-BE49-F238E27FC236}">
                  <a16:creationId xmlns:a16="http://schemas.microsoft.com/office/drawing/2014/main" id="{ED27F849-6FF4-45BE-B3AC-C01D356A9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4" y="429"/>
              <a:ext cx="256" cy="266"/>
            </a:xfrm>
            <a:custGeom>
              <a:avLst/>
              <a:gdLst>
                <a:gd name="T0" fmla="*/ 62 w 256"/>
                <a:gd name="T1" fmla="*/ 190 h 266"/>
                <a:gd name="T2" fmla="*/ 72 w 256"/>
                <a:gd name="T3" fmla="*/ 179 h 266"/>
                <a:gd name="T4" fmla="*/ 95 w 256"/>
                <a:gd name="T5" fmla="*/ 169 h 266"/>
                <a:gd name="T6" fmla="*/ 100 w 256"/>
                <a:gd name="T7" fmla="*/ 161 h 266"/>
                <a:gd name="T8" fmla="*/ 97 w 256"/>
                <a:gd name="T9" fmla="*/ 149 h 266"/>
                <a:gd name="T10" fmla="*/ 90 w 256"/>
                <a:gd name="T11" fmla="*/ 131 h 266"/>
                <a:gd name="T12" fmla="*/ 92 w 256"/>
                <a:gd name="T13" fmla="*/ 113 h 266"/>
                <a:gd name="T14" fmla="*/ 100 w 256"/>
                <a:gd name="T15" fmla="*/ 108 h 266"/>
                <a:gd name="T16" fmla="*/ 118 w 256"/>
                <a:gd name="T17" fmla="*/ 108 h 266"/>
                <a:gd name="T18" fmla="*/ 126 w 256"/>
                <a:gd name="T19" fmla="*/ 115 h 266"/>
                <a:gd name="T20" fmla="*/ 126 w 256"/>
                <a:gd name="T21" fmla="*/ 133 h 266"/>
                <a:gd name="T22" fmla="*/ 118 w 256"/>
                <a:gd name="T23" fmla="*/ 151 h 266"/>
                <a:gd name="T24" fmla="*/ 115 w 256"/>
                <a:gd name="T25" fmla="*/ 161 h 266"/>
                <a:gd name="T26" fmla="*/ 123 w 256"/>
                <a:gd name="T27" fmla="*/ 172 h 266"/>
                <a:gd name="T28" fmla="*/ 146 w 256"/>
                <a:gd name="T29" fmla="*/ 182 h 266"/>
                <a:gd name="T30" fmla="*/ 156 w 256"/>
                <a:gd name="T31" fmla="*/ 192 h 266"/>
                <a:gd name="T32" fmla="*/ 56 w 256"/>
                <a:gd name="T33" fmla="*/ 207 h 266"/>
                <a:gd name="T34" fmla="*/ 97 w 256"/>
                <a:gd name="T35" fmla="*/ 95 h 266"/>
                <a:gd name="T36" fmla="*/ 82 w 256"/>
                <a:gd name="T37" fmla="*/ 105 h 266"/>
                <a:gd name="T38" fmla="*/ 77 w 256"/>
                <a:gd name="T39" fmla="*/ 123 h 266"/>
                <a:gd name="T40" fmla="*/ 82 w 256"/>
                <a:gd name="T41" fmla="*/ 143 h 266"/>
                <a:gd name="T42" fmla="*/ 90 w 256"/>
                <a:gd name="T43" fmla="*/ 161 h 266"/>
                <a:gd name="T44" fmla="*/ 72 w 256"/>
                <a:gd name="T45" fmla="*/ 166 h 266"/>
                <a:gd name="T46" fmla="*/ 54 w 256"/>
                <a:gd name="T47" fmla="*/ 179 h 266"/>
                <a:gd name="T48" fmla="*/ 44 w 256"/>
                <a:gd name="T49" fmla="*/ 202 h 266"/>
                <a:gd name="T50" fmla="*/ 46 w 256"/>
                <a:gd name="T51" fmla="*/ 218 h 266"/>
                <a:gd name="T52" fmla="*/ 167 w 256"/>
                <a:gd name="T53" fmla="*/ 220 h 266"/>
                <a:gd name="T54" fmla="*/ 172 w 256"/>
                <a:gd name="T55" fmla="*/ 215 h 266"/>
                <a:gd name="T56" fmla="*/ 169 w 256"/>
                <a:gd name="T57" fmla="*/ 195 h 266"/>
                <a:gd name="T58" fmla="*/ 159 w 256"/>
                <a:gd name="T59" fmla="*/ 174 h 266"/>
                <a:gd name="T60" fmla="*/ 136 w 256"/>
                <a:gd name="T61" fmla="*/ 164 h 266"/>
                <a:gd name="T62" fmla="*/ 128 w 256"/>
                <a:gd name="T63" fmla="*/ 156 h 266"/>
                <a:gd name="T64" fmla="*/ 138 w 256"/>
                <a:gd name="T65" fmla="*/ 136 h 266"/>
                <a:gd name="T66" fmla="*/ 138 w 256"/>
                <a:gd name="T67" fmla="*/ 118 h 266"/>
                <a:gd name="T68" fmla="*/ 131 w 256"/>
                <a:gd name="T69" fmla="*/ 102 h 266"/>
                <a:gd name="T70" fmla="*/ 115 w 256"/>
                <a:gd name="T71" fmla="*/ 95 h 266"/>
                <a:gd name="T72" fmla="*/ 231 w 256"/>
                <a:gd name="T73" fmla="*/ 90 h 266"/>
                <a:gd name="T74" fmla="*/ 33 w 256"/>
                <a:gd name="T75" fmla="*/ 0 h 266"/>
                <a:gd name="T76" fmla="*/ 16 w 256"/>
                <a:gd name="T77" fmla="*/ 8 h 266"/>
                <a:gd name="T78" fmla="*/ 3 w 256"/>
                <a:gd name="T79" fmla="*/ 26 h 266"/>
                <a:gd name="T80" fmla="*/ 0 w 256"/>
                <a:gd name="T81" fmla="*/ 230 h 266"/>
                <a:gd name="T82" fmla="*/ 8 w 256"/>
                <a:gd name="T83" fmla="*/ 251 h 266"/>
                <a:gd name="T84" fmla="*/ 23 w 256"/>
                <a:gd name="T85" fmla="*/ 261 h 266"/>
                <a:gd name="T86" fmla="*/ 205 w 256"/>
                <a:gd name="T87" fmla="*/ 266 h 266"/>
                <a:gd name="T88" fmla="*/ 208 w 256"/>
                <a:gd name="T89" fmla="*/ 261 h 266"/>
                <a:gd name="T90" fmla="*/ 254 w 256"/>
                <a:gd name="T91" fmla="*/ 128 h 266"/>
                <a:gd name="T92" fmla="*/ 243 w 256"/>
                <a:gd name="T93" fmla="*/ 90 h 266"/>
                <a:gd name="T94" fmla="*/ 254 w 256"/>
                <a:gd name="T95" fmla="*/ 51 h 266"/>
                <a:gd name="T96" fmla="*/ 51 w 256"/>
                <a:gd name="T97" fmla="*/ 51 h 266"/>
                <a:gd name="T98" fmla="*/ 41 w 256"/>
                <a:gd name="T99" fmla="*/ 44 h 266"/>
                <a:gd name="T100" fmla="*/ 28 w 256"/>
                <a:gd name="T101" fmla="*/ 46 h 266"/>
                <a:gd name="T102" fmla="*/ 39 w 256"/>
                <a:gd name="T103" fmla="*/ 56 h 266"/>
                <a:gd name="T104" fmla="*/ 51 w 256"/>
                <a:gd name="T105" fmla="*/ 61 h 266"/>
                <a:gd name="T106" fmla="*/ 31 w 256"/>
                <a:gd name="T107" fmla="*/ 254 h 266"/>
                <a:gd name="T108" fmla="*/ 18 w 256"/>
                <a:gd name="T109" fmla="*/ 246 h 266"/>
                <a:gd name="T110" fmla="*/ 13 w 256"/>
                <a:gd name="T111" fmla="*/ 233 h 266"/>
                <a:gd name="T112" fmla="*/ 13 w 256"/>
                <a:gd name="T113" fmla="*/ 33 h 266"/>
                <a:gd name="T114" fmla="*/ 18 w 256"/>
                <a:gd name="T115" fmla="*/ 21 h 266"/>
                <a:gd name="T116" fmla="*/ 31 w 256"/>
                <a:gd name="T117" fmla="*/ 1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6" h="266">
                  <a:moveTo>
                    <a:pt x="56" y="205"/>
                  </a:moveTo>
                  <a:lnTo>
                    <a:pt x="56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6" y="197"/>
                  </a:lnTo>
                  <a:lnTo>
                    <a:pt x="56" y="197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4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2"/>
                  </a:lnTo>
                  <a:lnTo>
                    <a:pt x="69" y="182"/>
                  </a:lnTo>
                  <a:lnTo>
                    <a:pt x="69" y="182"/>
                  </a:lnTo>
                  <a:lnTo>
                    <a:pt x="72" y="179"/>
                  </a:lnTo>
                  <a:lnTo>
                    <a:pt x="74" y="179"/>
                  </a:lnTo>
                  <a:lnTo>
                    <a:pt x="77" y="177"/>
                  </a:lnTo>
                  <a:lnTo>
                    <a:pt x="80" y="177"/>
                  </a:lnTo>
                  <a:lnTo>
                    <a:pt x="85" y="174"/>
                  </a:lnTo>
                  <a:lnTo>
                    <a:pt x="87" y="174"/>
                  </a:lnTo>
                  <a:lnTo>
                    <a:pt x="90" y="172"/>
                  </a:lnTo>
                  <a:lnTo>
                    <a:pt x="90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95" y="172"/>
                  </a:lnTo>
                  <a:lnTo>
                    <a:pt x="95" y="169"/>
                  </a:lnTo>
                  <a:lnTo>
                    <a:pt x="95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6"/>
                  </a:lnTo>
                  <a:lnTo>
                    <a:pt x="97" y="166"/>
                  </a:lnTo>
                  <a:lnTo>
                    <a:pt x="100" y="166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59"/>
                  </a:lnTo>
                  <a:lnTo>
                    <a:pt x="100" y="159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4"/>
                  </a:lnTo>
                  <a:lnTo>
                    <a:pt x="100" y="154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5" y="143"/>
                  </a:lnTo>
                  <a:lnTo>
                    <a:pt x="95" y="143"/>
                  </a:lnTo>
                  <a:lnTo>
                    <a:pt x="92" y="141"/>
                  </a:lnTo>
                  <a:lnTo>
                    <a:pt x="92" y="138"/>
                  </a:lnTo>
                  <a:lnTo>
                    <a:pt x="92" y="136"/>
                  </a:lnTo>
                  <a:lnTo>
                    <a:pt x="92" y="136"/>
                  </a:lnTo>
                  <a:lnTo>
                    <a:pt x="90" y="133"/>
                  </a:lnTo>
                  <a:lnTo>
                    <a:pt x="90" y="131"/>
                  </a:lnTo>
                  <a:lnTo>
                    <a:pt x="90" y="128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90" y="115"/>
                  </a:lnTo>
                  <a:lnTo>
                    <a:pt x="90" y="115"/>
                  </a:lnTo>
                  <a:lnTo>
                    <a:pt x="90" y="115"/>
                  </a:lnTo>
                  <a:lnTo>
                    <a:pt x="92" y="113"/>
                  </a:lnTo>
                  <a:lnTo>
                    <a:pt x="92" y="113"/>
                  </a:lnTo>
                  <a:lnTo>
                    <a:pt x="92" y="113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100" y="108"/>
                  </a:lnTo>
                  <a:lnTo>
                    <a:pt x="100" y="105"/>
                  </a:lnTo>
                  <a:lnTo>
                    <a:pt x="103" y="105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8" y="105"/>
                  </a:lnTo>
                  <a:lnTo>
                    <a:pt x="110" y="105"/>
                  </a:lnTo>
                  <a:lnTo>
                    <a:pt x="113" y="105"/>
                  </a:lnTo>
                  <a:lnTo>
                    <a:pt x="115" y="105"/>
                  </a:lnTo>
                  <a:lnTo>
                    <a:pt x="115" y="105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20"/>
                  </a:lnTo>
                  <a:lnTo>
                    <a:pt x="128" y="120"/>
                  </a:lnTo>
                  <a:lnTo>
                    <a:pt x="128" y="123"/>
                  </a:lnTo>
                  <a:lnTo>
                    <a:pt x="126" y="125"/>
                  </a:lnTo>
                  <a:lnTo>
                    <a:pt x="126" y="128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23" y="138"/>
                  </a:lnTo>
                  <a:lnTo>
                    <a:pt x="123" y="141"/>
                  </a:lnTo>
                  <a:lnTo>
                    <a:pt x="123" y="143"/>
                  </a:lnTo>
                  <a:lnTo>
                    <a:pt x="120" y="143"/>
                  </a:lnTo>
                  <a:lnTo>
                    <a:pt x="120" y="146"/>
                  </a:lnTo>
                  <a:lnTo>
                    <a:pt x="118" y="149"/>
                  </a:lnTo>
                  <a:lnTo>
                    <a:pt x="118" y="149"/>
                  </a:lnTo>
                  <a:lnTo>
                    <a:pt x="118" y="149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15" y="154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5" y="156"/>
                  </a:lnTo>
                  <a:lnTo>
                    <a:pt x="115" y="156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5" y="161"/>
                  </a:lnTo>
                  <a:lnTo>
                    <a:pt x="115" y="161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8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6" y="172"/>
                  </a:lnTo>
                  <a:lnTo>
                    <a:pt x="126" y="172"/>
                  </a:lnTo>
                  <a:lnTo>
                    <a:pt x="128" y="174"/>
                  </a:lnTo>
                  <a:lnTo>
                    <a:pt x="133" y="174"/>
                  </a:lnTo>
                  <a:lnTo>
                    <a:pt x="138" y="177"/>
                  </a:lnTo>
                  <a:lnTo>
                    <a:pt x="141" y="177"/>
                  </a:lnTo>
                  <a:lnTo>
                    <a:pt x="141" y="179"/>
                  </a:lnTo>
                  <a:lnTo>
                    <a:pt x="144" y="179"/>
                  </a:lnTo>
                  <a:lnTo>
                    <a:pt x="146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9" y="184"/>
                  </a:lnTo>
                  <a:lnTo>
                    <a:pt x="151" y="184"/>
                  </a:lnTo>
                  <a:lnTo>
                    <a:pt x="151" y="184"/>
                  </a:lnTo>
                  <a:lnTo>
                    <a:pt x="154" y="187"/>
                  </a:lnTo>
                  <a:lnTo>
                    <a:pt x="154" y="187"/>
                  </a:lnTo>
                  <a:lnTo>
                    <a:pt x="154" y="187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7"/>
                  </a:lnTo>
                  <a:lnTo>
                    <a:pt x="159" y="197"/>
                  </a:lnTo>
                  <a:lnTo>
                    <a:pt x="159" y="200"/>
                  </a:lnTo>
                  <a:lnTo>
                    <a:pt x="159" y="202"/>
                  </a:lnTo>
                  <a:lnTo>
                    <a:pt x="161" y="202"/>
                  </a:lnTo>
                  <a:lnTo>
                    <a:pt x="161" y="205"/>
                  </a:lnTo>
                  <a:lnTo>
                    <a:pt x="161" y="207"/>
                  </a:lnTo>
                  <a:lnTo>
                    <a:pt x="56" y="207"/>
                  </a:lnTo>
                  <a:lnTo>
                    <a:pt x="56" y="205"/>
                  </a:lnTo>
                  <a:close/>
                  <a:moveTo>
                    <a:pt x="108" y="92"/>
                  </a:moveTo>
                  <a:lnTo>
                    <a:pt x="108" y="92"/>
                  </a:lnTo>
                  <a:lnTo>
                    <a:pt x="105" y="92"/>
                  </a:lnTo>
                  <a:lnTo>
                    <a:pt x="103" y="95"/>
                  </a:lnTo>
                  <a:lnTo>
                    <a:pt x="103" y="95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97" y="95"/>
                  </a:lnTo>
                  <a:lnTo>
                    <a:pt x="97" y="95"/>
                  </a:lnTo>
                  <a:lnTo>
                    <a:pt x="97" y="95"/>
                  </a:lnTo>
                  <a:lnTo>
                    <a:pt x="95" y="95"/>
                  </a:lnTo>
                  <a:lnTo>
                    <a:pt x="92" y="95"/>
                  </a:lnTo>
                  <a:lnTo>
                    <a:pt x="92" y="97"/>
                  </a:lnTo>
                  <a:lnTo>
                    <a:pt x="90" y="97"/>
                  </a:lnTo>
                  <a:lnTo>
                    <a:pt x="87" y="100"/>
                  </a:lnTo>
                  <a:lnTo>
                    <a:pt x="87" y="100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2" y="108"/>
                  </a:lnTo>
                  <a:lnTo>
                    <a:pt x="80" y="108"/>
                  </a:lnTo>
                  <a:lnTo>
                    <a:pt x="80" y="110"/>
                  </a:lnTo>
                  <a:lnTo>
                    <a:pt x="80" y="113"/>
                  </a:lnTo>
                  <a:lnTo>
                    <a:pt x="80" y="113"/>
                  </a:lnTo>
                  <a:lnTo>
                    <a:pt x="80" y="115"/>
                  </a:lnTo>
                  <a:lnTo>
                    <a:pt x="77" y="115"/>
                  </a:lnTo>
                  <a:lnTo>
                    <a:pt x="77" y="118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7" y="123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8"/>
                  </a:lnTo>
                  <a:lnTo>
                    <a:pt x="77" y="128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33"/>
                  </a:lnTo>
                  <a:lnTo>
                    <a:pt x="80" y="136"/>
                  </a:lnTo>
                  <a:lnTo>
                    <a:pt x="80" y="138"/>
                  </a:lnTo>
                  <a:lnTo>
                    <a:pt x="82" y="141"/>
                  </a:lnTo>
                  <a:lnTo>
                    <a:pt x="82" y="143"/>
                  </a:lnTo>
                  <a:lnTo>
                    <a:pt x="82" y="146"/>
                  </a:lnTo>
                  <a:lnTo>
                    <a:pt x="85" y="149"/>
                  </a:lnTo>
                  <a:lnTo>
                    <a:pt x="85" y="151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87" y="161"/>
                  </a:lnTo>
                  <a:lnTo>
                    <a:pt x="87" y="161"/>
                  </a:lnTo>
                  <a:lnTo>
                    <a:pt x="87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2" y="164"/>
                  </a:lnTo>
                  <a:lnTo>
                    <a:pt x="80" y="164"/>
                  </a:lnTo>
                  <a:lnTo>
                    <a:pt x="77" y="164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69" y="169"/>
                  </a:lnTo>
                  <a:lnTo>
                    <a:pt x="67" y="169"/>
                  </a:lnTo>
                  <a:lnTo>
                    <a:pt x="67" y="169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59" y="174"/>
                  </a:lnTo>
                  <a:lnTo>
                    <a:pt x="59" y="174"/>
                  </a:lnTo>
                  <a:lnTo>
                    <a:pt x="56" y="177"/>
                  </a:lnTo>
                  <a:lnTo>
                    <a:pt x="56" y="177"/>
                  </a:lnTo>
                  <a:lnTo>
                    <a:pt x="54" y="179"/>
                  </a:lnTo>
                  <a:lnTo>
                    <a:pt x="54" y="179"/>
                  </a:lnTo>
                  <a:lnTo>
                    <a:pt x="51" y="182"/>
                  </a:lnTo>
                  <a:lnTo>
                    <a:pt x="51" y="184"/>
                  </a:lnTo>
                  <a:lnTo>
                    <a:pt x="49" y="184"/>
                  </a:lnTo>
                  <a:lnTo>
                    <a:pt x="49" y="187"/>
                  </a:lnTo>
                  <a:lnTo>
                    <a:pt x="49" y="190"/>
                  </a:lnTo>
                  <a:lnTo>
                    <a:pt x="46" y="192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4" y="200"/>
                  </a:lnTo>
                  <a:lnTo>
                    <a:pt x="44" y="202"/>
                  </a:lnTo>
                  <a:lnTo>
                    <a:pt x="44" y="205"/>
                  </a:lnTo>
                  <a:lnTo>
                    <a:pt x="44" y="207"/>
                  </a:lnTo>
                  <a:lnTo>
                    <a:pt x="44" y="210"/>
                  </a:lnTo>
                  <a:lnTo>
                    <a:pt x="44" y="213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6" y="215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6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20"/>
                  </a:lnTo>
                  <a:lnTo>
                    <a:pt x="49" y="220"/>
                  </a:lnTo>
                  <a:lnTo>
                    <a:pt x="49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72" y="218"/>
                  </a:lnTo>
                  <a:lnTo>
                    <a:pt x="172" y="218"/>
                  </a:lnTo>
                  <a:lnTo>
                    <a:pt x="172" y="215"/>
                  </a:lnTo>
                  <a:lnTo>
                    <a:pt x="172" y="215"/>
                  </a:lnTo>
                  <a:lnTo>
                    <a:pt x="172" y="215"/>
                  </a:lnTo>
                  <a:lnTo>
                    <a:pt x="172" y="215"/>
                  </a:lnTo>
                  <a:lnTo>
                    <a:pt x="172" y="215"/>
                  </a:lnTo>
                  <a:lnTo>
                    <a:pt x="172" y="213"/>
                  </a:lnTo>
                  <a:lnTo>
                    <a:pt x="172" y="210"/>
                  </a:lnTo>
                  <a:lnTo>
                    <a:pt x="172" y="207"/>
                  </a:lnTo>
                  <a:lnTo>
                    <a:pt x="172" y="205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72" y="197"/>
                  </a:lnTo>
                  <a:lnTo>
                    <a:pt x="169" y="195"/>
                  </a:lnTo>
                  <a:lnTo>
                    <a:pt x="169" y="192"/>
                  </a:lnTo>
                  <a:lnTo>
                    <a:pt x="169" y="190"/>
                  </a:lnTo>
                  <a:lnTo>
                    <a:pt x="169" y="187"/>
                  </a:lnTo>
                  <a:lnTo>
                    <a:pt x="167" y="184"/>
                  </a:lnTo>
                  <a:lnTo>
                    <a:pt x="167" y="184"/>
                  </a:lnTo>
                  <a:lnTo>
                    <a:pt x="164" y="182"/>
                  </a:lnTo>
                  <a:lnTo>
                    <a:pt x="164" y="179"/>
                  </a:lnTo>
                  <a:lnTo>
                    <a:pt x="161" y="179"/>
                  </a:lnTo>
                  <a:lnTo>
                    <a:pt x="161" y="177"/>
                  </a:lnTo>
                  <a:lnTo>
                    <a:pt x="159" y="177"/>
                  </a:lnTo>
                  <a:lnTo>
                    <a:pt x="159" y="174"/>
                  </a:lnTo>
                  <a:lnTo>
                    <a:pt x="156" y="174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1" y="172"/>
                  </a:lnTo>
                  <a:lnTo>
                    <a:pt x="151" y="169"/>
                  </a:lnTo>
                  <a:lnTo>
                    <a:pt x="149" y="169"/>
                  </a:lnTo>
                  <a:lnTo>
                    <a:pt x="146" y="169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38" y="164"/>
                  </a:lnTo>
                  <a:lnTo>
                    <a:pt x="136" y="164"/>
                  </a:lnTo>
                  <a:lnTo>
                    <a:pt x="133" y="164"/>
                  </a:lnTo>
                  <a:lnTo>
                    <a:pt x="133" y="161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28" y="161"/>
                  </a:lnTo>
                  <a:lnTo>
                    <a:pt x="128" y="161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4"/>
                  </a:lnTo>
                  <a:lnTo>
                    <a:pt x="131" y="154"/>
                  </a:lnTo>
                  <a:lnTo>
                    <a:pt x="131" y="151"/>
                  </a:lnTo>
                  <a:lnTo>
                    <a:pt x="133" y="149"/>
                  </a:lnTo>
                  <a:lnTo>
                    <a:pt x="133" y="146"/>
                  </a:lnTo>
                  <a:lnTo>
                    <a:pt x="133" y="143"/>
                  </a:lnTo>
                  <a:lnTo>
                    <a:pt x="136" y="141"/>
                  </a:lnTo>
                  <a:lnTo>
                    <a:pt x="136" y="138"/>
                  </a:lnTo>
                  <a:lnTo>
                    <a:pt x="138" y="136"/>
                  </a:lnTo>
                  <a:lnTo>
                    <a:pt x="138" y="133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38" y="125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0"/>
                  </a:lnTo>
                  <a:lnTo>
                    <a:pt x="138" y="120"/>
                  </a:lnTo>
                  <a:lnTo>
                    <a:pt x="138" y="118"/>
                  </a:lnTo>
                  <a:lnTo>
                    <a:pt x="138" y="115"/>
                  </a:lnTo>
                  <a:lnTo>
                    <a:pt x="138" y="115"/>
                  </a:lnTo>
                  <a:lnTo>
                    <a:pt x="138" y="113"/>
                  </a:lnTo>
                  <a:lnTo>
                    <a:pt x="136" y="113"/>
                  </a:lnTo>
                  <a:lnTo>
                    <a:pt x="136" y="110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0"/>
                  </a:lnTo>
                  <a:lnTo>
                    <a:pt x="128" y="100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3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08" y="92"/>
                  </a:lnTo>
                  <a:close/>
                  <a:moveTo>
                    <a:pt x="208" y="61"/>
                  </a:moveTo>
                  <a:lnTo>
                    <a:pt x="241" y="61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0"/>
                  </a:lnTo>
                  <a:lnTo>
                    <a:pt x="231" y="90"/>
                  </a:lnTo>
                  <a:lnTo>
                    <a:pt x="231" y="90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2"/>
                  </a:lnTo>
                  <a:lnTo>
                    <a:pt x="231" y="92"/>
                  </a:lnTo>
                  <a:lnTo>
                    <a:pt x="241" y="118"/>
                  </a:lnTo>
                  <a:lnTo>
                    <a:pt x="208" y="118"/>
                  </a:lnTo>
                  <a:lnTo>
                    <a:pt x="208" y="61"/>
                  </a:lnTo>
                  <a:close/>
                  <a:moveTo>
                    <a:pt x="36" y="0"/>
                  </a:moveTo>
                  <a:lnTo>
                    <a:pt x="33" y="0"/>
                  </a:lnTo>
                  <a:lnTo>
                    <a:pt x="33" y="0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3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3" y="241"/>
                  </a:lnTo>
                  <a:lnTo>
                    <a:pt x="3" y="241"/>
                  </a:lnTo>
                  <a:lnTo>
                    <a:pt x="3" y="243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5" y="248"/>
                  </a:lnTo>
                  <a:lnTo>
                    <a:pt x="8" y="251"/>
                  </a:lnTo>
                  <a:lnTo>
                    <a:pt x="8" y="251"/>
                  </a:lnTo>
                  <a:lnTo>
                    <a:pt x="10" y="254"/>
                  </a:lnTo>
                  <a:lnTo>
                    <a:pt x="10" y="254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8" y="259"/>
                  </a:lnTo>
                  <a:lnTo>
                    <a:pt x="21" y="261"/>
                  </a:lnTo>
                  <a:lnTo>
                    <a:pt x="21" y="261"/>
                  </a:lnTo>
                  <a:lnTo>
                    <a:pt x="23" y="261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8" y="264"/>
                  </a:lnTo>
                  <a:lnTo>
                    <a:pt x="31" y="264"/>
                  </a:lnTo>
                  <a:lnTo>
                    <a:pt x="33" y="266"/>
                  </a:lnTo>
                  <a:lnTo>
                    <a:pt x="33" y="266"/>
                  </a:lnTo>
                  <a:lnTo>
                    <a:pt x="36" y="266"/>
                  </a:lnTo>
                  <a:lnTo>
                    <a:pt x="39" y="266"/>
                  </a:lnTo>
                  <a:lnTo>
                    <a:pt x="202" y="266"/>
                  </a:lnTo>
                  <a:lnTo>
                    <a:pt x="202" y="266"/>
                  </a:lnTo>
                  <a:lnTo>
                    <a:pt x="205" y="266"/>
                  </a:lnTo>
                  <a:lnTo>
                    <a:pt x="205" y="266"/>
                  </a:lnTo>
                  <a:lnTo>
                    <a:pt x="205" y="266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8" y="264"/>
                  </a:lnTo>
                  <a:lnTo>
                    <a:pt x="208" y="264"/>
                  </a:lnTo>
                  <a:lnTo>
                    <a:pt x="208" y="264"/>
                  </a:lnTo>
                  <a:lnTo>
                    <a:pt x="208" y="264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59"/>
                  </a:lnTo>
                  <a:lnTo>
                    <a:pt x="208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6" y="128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6" y="120"/>
                  </a:lnTo>
                  <a:lnTo>
                    <a:pt x="243" y="90"/>
                  </a:lnTo>
                  <a:lnTo>
                    <a:pt x="256" y="59"/>
                  </a:lnTo>
                  <a:lnTo>
                    <a:pt x="256" y="59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4" y="51"/>
                  </a:lnTo>
                  <a:lnTo>
                    <a:pt x="254" y="51"/>
                  </a:lnTo>
                  <a:lnTo>
                    <a:pt x="254" y="51"/>
                  </a:lnTo>
                  <a:lnTo>
                    <a:pt x="254" y="51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05" y="51"/>
                  </a:lnTo>
                  <a:lnTo>
                    <a:pt x="202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49" y="51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4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38"/>
                  </a:lnTo>
                  <a:lnTo>
                    <a:pt x="28" y="38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9" y="56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6" y="61"/>
                  </a:lnTo>
                  <a:lnTo>
                    <a:pt x="46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197" y="61"/>
                  </a:lnTo>
                  <a:lnTo>
                    <a:pt x="197" y="254"/>
                  </a:lnTo>
                  <a:lnTo>
                    <a:pt x="39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6" y="251"/>
                  </a:lnTo>
                  <a:lnTo>
                    <a:pt x="26" y="251"/>
                  </a:lnTo>
                  <a:lnTo>
                    <a:pt x="23" y="251"/>
                  </a:lnTo>
                  <a:lnTo>
                    <a:pt x="23" y="248"/>
                  </a:lnTo>
                  <a:lnTo>
                    <a:pt x="23" y="248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18" y="246"/>
                  </a:lnTo>
                  <a:lnTo>
                    <a:pt x="18" y="246"/>
                  </a:lnTo>
                  <a:lnTo>
                    <a:pt x="18" y="243"/>
                  </a:lnTo>
                  <a:lnTo>
                    <a:pt x="16" y="243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0" y="230"/>
                  </a:lnTo>
                  <a:lnTo>
                    <a:pt x="10" y="230"/>
                  </a:lnTo>
                  <a:lnTo>
                    <a:pt x="10" y="228"/>
                  </a:lnTo>
                  <a:lnTo>
                    <a:pt x="10" y="225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9" y="13"/>
                  </a:lnTo>
                  <a:lnTo>
                    <a:pt x="200" y="13"/>
                  </a:lnTo>
                  <a:lnTo>
                    <a:pt x="200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53">
            <a:extLst>
              <a:ext uri="{FF2B5EF4-FFF2-40B4-BE49-F238E27FC236}">
                <a16:creationId xmlns:a16="http://schemas.microsoft.com/office/drawing/2014/main" id="{EAE9370C-39FE-41AE-A4CB-B4851A687A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6525" y="331519"/>
            <a:ext cx="758825" cy="758825"/>
            <a:chOff x="5217" y="388"/>
            <a:chExt cx="478" cy="478"/>
          </a:xfrm>
        </p:grpSpPr>
        <p:sp>
          <p:nvSpPr>
            <p:cNvPr id="67" name="AutoShape 52">
              <a:extLst>
                <a:ext uri="{FF2B5EF4-FFF2-40B4-BE49-F238E27FC236}">
                  <a16:creationId xmlns:a16="http://schemas.microsoft.com/office/drawing/2014/main" id="{B737F64A-0928-438A-A06A-7647DDC05AC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17" y="38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2FE149DA-E358-4EB7-A745-2DC41365B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9" y="39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Rectangle 55">
              <a:extLst>
                <a:ext uri="{FF2B5EF4-FFF2-40B4-BE49-F238E27FC236}">
                  <a16:creationId xmlns:a16="http://schemas.microsoft.com/office/drawing/2014/main" id="{0EC960A6-7CCE-4F37-9BD1-5A759B5F8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3" y="636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6">
              <a:extLst>
                <a:ext uri="{FF2B5EF4-FFF2-40B4-BE49-F238E27FC236}">
                  <a16:creationId xmlns:a16="http://schemas.microsoft.com/office/drawing/2014/main" id="{D52A2642-A4BB-4DDD-9BAC-0B643B8973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5" y="515"/>
              <a:ext cx="265" cy="226"/>
            </a:xfrm>
            <a:custGeom>
              <a:avLst/>
              <a:gdLst>
                <a:gd name="T0" fmla="*/ 265 w 265"/>
                <a:gd name="T1" fmla="*/ 150 h 226"/>
                <a:gd name="T2" fmla="*/ 76 w 265"/>
                <a:gd name="T3" fmla="*/ 0 h 226"/>
                <a:gd name="T4" fmla="*/ 37 w 265"/>
                <a:gd name="T5" fmla="*/ 40 h 226"/>
                <a:gd name="T6" fmla="*/ 0 w 265"/>
                <a:gd name="T7" fmla="*/ 76 h 226"/>
                <a:gd name="T8" fmla="*/ 189 w 265"/>
                <a:gd name="T9" fmla="*/ 226 h 226"/>
                <a:gd name="T10" fmla="*/ 228 w 265"/>
                <a:gd name="T11" fmla="*/ 187 h 226"/>
                <a:gd name="T12" fmla="*/ 86 w 265"/>
                <a:gd name="T13" fmla="*/ 13 h 226"/>
                <a:gd name="T14" fmla="*/ 252 w 265"/>
                <a:gd name="T15" fmla="*/ 20 h 226"/>
                <a:gd name="T16" fmla="*/ 86 w 265"/>
                <a:gd name="T17" fmla="*/ 20 h 226"/>
                <a:gd name="T18" fmla="*/ 86 w 265"/>
                <a:gd name="T19" fmla="*/ 35 h 226"/>
                <a:gd name="T20" fmla="*/ 103 w 265"/>
                <a:gd name="T21" fmla="*/ 116 h 226"/>
                <a:gd name="T22" fmla="*/ 103 w 265"/>
                <a:gd name="T23" fmla="*/ 118 h 226"/>
                <a:gd name="T24" fmla="*/ 105 w 265"/>
                <a:gd name="T25" fmla="*/ 121 h 226"/>
                <a:gd name="T26" fmla="*/ 108 w 265"/>
                <a:gd name="T27" fmla="*/ 121 h 226"/>
                <a:gd name="T28" fmla="*/ 108 w 265"/>
                <a:gd name="T29" fmla="*/ 121 h 226"/>
                <a:gd name="T30" fmla="*/ 147 w 265"/>
                <a:gd name="T31" fmla="*/ 81 h 226"/>
                <a:gd name="T32" fmla="*/ 167 w 265"/>
                <a:gd name="T33" fmla="*/ 99 h 226"/>
                <a:gd name="T34" fmla="*/ 171 w 265"/>
                <a:gd name="T35" fmla="*/ 99 h 226"/>
                <a:gd name="T36" fmla="*/ 194 w 265"/>
                <a:gd name="T37" fmla="*/ 81 h 226"/>
                <a:gd name="T38" fmla="*/ 230 w 265"/>
                <a:gd name="T39" fmla="*/ 121 h 226"/>
                <a:gd name="T40" fmla="*/ 233 w 265"/>
                <a:gd name="T41" fmla="*/ 121 h 226"/>
                <a:gd name="T42" fmla="*/ 235 w 265"/>
                <a:gd name="T43" fmla="*/ 116 h 226"/>
                <a:gd name="T44" fmla="*/ 235 w 265"/>
                <a:gd name="T45" fmla="*/ 116 h 226"/>
                <a:gd name="T46" fmla="*/ 198 w 265"/>
                <a:gd name="T47" fmla="*/ 76 h 226"/>
                <a:gd name="T48" fmla="*/ 252 w 265"/>
                <a:gd name="T49" fmla="*/ 138 h 226"/>
                <a:gd name="T50" fmla="*/ 86 w 265"/>
                <a:gd name="T51" fmla="*/ 35 h 226"/>
                <a:gd name="T52" fmla="*/ 12 w 265"/>
                <a:gd name="T53" fmla="*/ 214 h 226"/>
                <a:gd name="T54" fmla="*/ 37 w 265"/>
                <a:gd name="T55" fmla="*/ 89 h 226"/>
                <a:gd name="T56" fmla="*/ 179 w 265"/>
                <a:gd name="T57" fmla="*/ 187 h 226"/>
                <a:gd name="T58" fmla="*/ 216 w 265"/>
                <a:gd name="T59" fmla="*/ 175 h 226"/>
                <a:gd name="T60" fmla="*/ 49 w 265"/>
                <a:gd name="T61" fmla="*/ 52 h 226"/>
                <a:gd name="T62" fmla="*/ 76 w 265"/>
                <a:gd name="T63" fmla="*/ 150 h 226"/>
                <a:gd name="T64" fmla="*/ 216 w 265"/>
                <a:gd name="T65" fmla="*/ 17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5" h="226">
                  <a:moveTo>
                    <a:pt x="228" y="150"/>
                  </a:moveTo>
                  <a:lnTo>
                    <a:pt x="265" y="150"/>
                  </a:lnTo>
                  <a:lnTo>
                    <a:pt x="265" y="0"/>
                  </a:lnTo>
                  <a:lnTo>
                    <a:pt x="76" y="0"/>
                  </a:lnTo>
                  <a:lnTo>
                    <a:pt x="76" y="40"/>
                  </a:lnTo>
                  <a:lnTo>
                    <a:pt x="37" y="40"/>
                  </a:lnTo>
                  <a:lnTo>
                    <a:pt x="37" y="76"/>
                  </a:lnTo>
                  <a:lnTo>
                    <a:pt x="0" y="76"/>
                  </a:lnTo>
                  <a:lnTo>
                    <a:pt x="0" y="226"/>
                  </a:lnTo>
                  <a:lnTo>
                    <a:pt x="189" y="226"/>
                  </a:lnTo>
                  <a:lnTo>
                    <a:pt x="189" y="187"/>
                  </a:lnTo>
                  <a:lnTo>
                    <a:pt x="228" y="187"/>
                  </a:lnTo>
                  <a:lnTo>
                    <a:pt x="228" y="150"/>
                  </a:lnTo>
                  <a:close/>
                  <a:moveTo>
                    <a:pt x="86" y="13"/>
                  </a:moveTo>
                  <a:lnTo>
                    <a:pt x="252" y="13"/>
                  </a:lnTo>
                  <a:lnTo>
                    <a:pt x="252" y="20"/>
                  </a:lnTo>
                  <a:lnTo>
                    <a:pt x="169" y="84"/>
                  </a:lnTo>
                  <a:lnTo>
                    <a:pt x="86" y="20"/>
                  </a:lnTo>
                  <a:lnTo>
                    <a:pt x="86" y="13"/>
                  </a:lnTo>
                  <a:close/>
                  <a:moveTo>
                    <a:pt x="86" y="35"/>
                  </a:moveTo>
                  <a:lnTo>
                    <a:pt x="140" y="76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03" y="118"/>
                  </a:lnTo>
                  <a:lnTo>
                    <a:pt x="103" y="118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10" y="118"/>
                  </a:lnTo>
                  <a:lnTo>
                    <a:pt x="147" y="81"/>
                  </a:lnTo>
                  <a:lnTo>
                    <a:pt x="167" y="99"/>
                  </a:lnTo>
                  <a:lnTo>
                    <a:pt x="167" y="99"/>
                  </a:lnTo>
                  <a:lnTo>
                    <a:pt x="169" y="99"/>
                  </a:lnTo>
                  <a:lnTo>
                    <a:pt x="171" y="99"/>
                  </a:lnTo>
                  <a:lnTo>
                    <a:pt x="174" y="96"/>
                  </a:lnTo>
                  <a:lnTo>
                    <a:pt x="194" y="81"/>
                  </a:lnTo>
                  <a:lnTo>
                    <a:pt x="230" y="121"/>
                  </a:lnTo>
                  <a:lnTo>
                    <a:pt x="230" y="121"/>
                  </a:lnTo>
                  <a:lnTo>
                    <a:pt x="233" y="121"/>
                  </a:lnTo>
                  <a:lnTo>
                    <a:pt x="233" y="121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5" y="116"/>
                  </a:lnTo>
                  <a:lnTo>
                    <a:pt x="235" y="116"/>
                  </a:lnTo>
                  <a:lnTo>
                    <a:pt x="235" y="113"/>
                  </a:lnTo>
                  <a:lnTo>
                    <a:pt x="198" y="76"/>
                  </a:lnTo>
                  <a:lnTo>
                    <a:pt x="252" y="35"/>
                  </a:lnTo>
                  <a:lnTo>
                    <a:pt x="252" y="138"/>
                  </a:lnTo>
                  <a:lnTo>
                    <a:pt x="86" y="138"/>
                  </a:lnTo>
                  <a:lnTo>
                    <a:pt x="86" y="35"/>
                  </a:lnTo>
                  <a:close/>
                  <a:moveTo>
                    <a:pt x="179" y="214"/>
                  </a:moveTo>
                  <a:lnTo>
                    <a:pt x="12" y="214"/>
                  </a:lnTo>
                  <a:lnTo>
                    <a:pt x="12" y="89"/>
                  </a:lnTo>
                  <a:lnTo>
                    <a:pt x="37" y="89"/>
                  </a:lnTo>
                  <a:lnTo>
                    <a:pt x="37" y="187"/>
                  </a:lnTo>
                  <a:lnTo>
                    <a:pt x="179" y="187"/>
                  </a:lnTo>
                  <a:lnTo>
                    <a:pt x="179" y="214"/>
                  </a:lnTo>
                  <a:close/>
                  <a:moveTo>
                    <a:pt x="216" y="175"/>
                  </a:moveTo>
                  <a:lnTo>
                    <a:pt x="49" y="175"/>
                  </a:lnTo>
                  <a:lnTo>
                    <a:pt x="49" y="52"/>
                  </a:lnTo>
                  <a:lnTo>
                    <a:pt x="76" y="52"/>
                  </a:lnTo>
                  <a:lnTo>
                    <a:pt x="76" y="150"/>
                  </a:lnTo>
                  <a:lnTo>
                    <a:pt x="216" y="150"/>
                  </a:lnTo>
                  <a:lnTo>
                    <a:pt x="216" y="17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9">
            <a:extLst>
              <a:ext uri="{FF2B5EF4-FFF2-40B4-BE49-F238E27FC236}">
                <a16:creationId xmlns:a16="http://schemas.microsoft.com/office/drawing/2014/main" id="{ADA6E80C-89EA-42CE-9410-A8FF961ACE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9200" y="302944"/>
            <a:ext cx="841375" cy="841375"/>
            <a:chOff x="4589" y="313"/>
            <a:chExt cx="530" cy="530"/>
          </a:xfrm>
        </p:grpSpPr>
        <p:sp>
          <p:nvSpPr>
            <p:cNvPr id="72" name="AutoShape 58">
              <a:extLst>
                <a:ext uri="{FF2B5EF4-FFF2-40B4-BE49-F238E27FC236}">
                  <a16:creationId xmlns:a16="http://schemas.microsoft.com/office/drawing/2014/main" id="{832B1190-FB8C-4B24-AD95-CB01910EE64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89" y="31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0">
              <a:extLst>
                <a:ext uri="{FF2B5EF4-FFF2-40B4-BE49-F238E27FC236}">
                  <a16:creationId xmlns:a16="http://schemas.microsoft.com/office/drawing/2014/main" id="{6792F1CD-F25F-468F-B381-B28218F47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9" y="31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1">
              <a:extLst>
                <a:ext uri="{FF2B5EF4-FFF2-40B4-BE49-F238E27FC236}">
                  <a16:creationId xmlns:a16="http://schemas.microsoft.com/office/drawing/2014/main" id="{E163F5C0-413D-4662-8110-02441DDA1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7" y="33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62">
              <a:extLst>
                <a:ext uri="{FF2B5EF4-FFF2-40B4-BE49-F238E27FC236}">
                  <a16:creationId xmlns:a16="http://schemas.microsoft.com/office/drawing/2014/main" id="{9CC5AE81-3670-4E71-9AB0-11FF08BE5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5" y="58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3">
              <a:extLst>
                <a:ext uri="{FF2B5EF4-FFF2-40B4-BE49-F238E27FC236}">
                  <a16:creationId xmlns:a16="http://schemas.microsoft.com/office/drawing/2014/main" id="{3E5652FE-36ED-44A0-A40C-6C966A406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7" y="461"/>
              <a:ext cx="276" cy="236"/>
            </a:xfrm>
            <a:custGeom>
              <a:avLst/>
              <a:gdLst>
                <a:gd name="T0" fmla="*/ 276 w 276"/>
                <a:gd name="T1" fmla="*/ 157 h 236"/>
                <a:gd name="T2" fmla="*/ 79 w 276"/>
                <a:gd name="T3" fmla="*/ 0 h 236"/>
                <a:gd name="T4" fmla="*/ 38 w 276"/>
                <a:gd name="T5" fmla="*/ 41 h 236"/>
                <a:gd name="T6" fmla="*/ 0 w 276"/>
                <a:gd name="T7" fmla="*/ 80 h 236"/>
                <a:gd name="T8" fmla="*/ 197 w 276"/>
                <a:gd name="T9" fmla="*/ 236 h 236"/>
                <a:gd name="T10" fmla="*/ 238 w 276"/>
                <a:gd name="T11" fmla="*/ 195 h 236"/>
                <a:gd name="T12" fmla="*/ 90 w 276"/>
                <a:gd name="T13" fmla="*/ 13 h 236"/>
                <a:gd name="T14" fmla="*/ 264 w 276"/>
                <a:gd name="T15" fmla="*/ 21 h 236"/>
                <a:gd name="T16" fmla="*/ 90 w 276"/>
                <a:gd name="T17" fmla="*/ 21 h 236"/>
                <a:gd name="T18" fmla="*/ 90 w 276"/>
                <a:gd name="T19" fmla="*/ 36 h 236"/>
                <a:gd name="T20" fmla="*/ 107 w 276"/>
                <a:gd name="T21" fmla="*/ 121 h 236"/>
                <a:gd name="T22" fmla="*/ 107 w 276"/>
                <a:gd name="T23" fmla="*/ 123 h 236"/>
                <a:gd name="T24" fmla="*/ 110 w 276"/>
                <a:gd name="T25" fmla="*/ 126 h 236"/>
                <a:gd name="T26" fmla="*/ 113 w 276"/>
                <a:gd name="T27" fmla="*/ 126 h 236"/>
                <a:gd name="T28" fmla="*/ 113 w 276"/>
                <a:gd name="T29" fmla="*/ 126 h 236"/>
                <a:gd name="T30" fmla="*/ 154 w 276"/>
                <a:gd name="T31" fmla="*/ 85 h 236"/>
                <a:gd name="T32" fmla="*/ 174 w 276"/>
                <a:gd name="T33" fmla="*/ 103 h 236"/>
                <a:gd name="T34" fmla="*/ 179 w 276"/>
                <a:gd name="T35" fmla="*/ 103 h 236"/>
                <a:gd name="T36" fmla="*/ 202 w 276"/>
                <a:gd name="T37" fmla="*/ 85 h 236"/>
                <a:gd name="T38" fmla="*/ 241 w 276"/>
                <a:gd name="T39" fmla="*/ 126 h 236"/>
                <a:gd name="T40" fmla="*/ 243 w 276"/>
                <a:gd name="T41" fmla="*/ 126 h 236"/>
                <a:gd name="T42" fmla="*/ 246 w 276"/>
                <a:gd name="T43" fmla="*/ 121 h 236"/>
                <a:gd name="T44" fmla="*/ 246 w 276"/>
                <a:gd name="T45" fmla="*/ 121 h 236"/>
                <a:gd name="T46" fmla="*/ 207 w 276"/>
                <a:gd name="T47" fmla="*/ 80 h 236"/>
                <a:gd name="T48" fmla="*/ 264 w 276"/>
                <a:gd name="T49" fmla="*/ 144 h 236"/>
                <a:gd name="T50" fmla="*/ 90 w 276"/>
                <a:gd name="T51" fmla="*/ 36 h 236"/>
                <a:gd name="T52" fmla="*/ 13 w 276"/>
                <a:gd name="T53" fmla="*/ 223 h 236"/>
                <a:gd name="T54" fmla="*/ 38 w 276"/>
                <a:gd name="T55" fmla="*/ 93 h 236"/>
                <a:gd name="T56" fmla="*/ 187 w 276"/>
                <a:gd name="T57" fmla="*/ 195 h 236"/>
                <a:gd name="T58" fmla="*/ 225 w 276"/>
                <a:gd name="T59" fmla="*/ 182 h 236"/>
                <a:gd name="T60" fmla="*/ 51 w 276"/>
                <a:gd name="T61" fmla="*/ 54 h 236"/>
                <a:gd name="T62" fmla="*/ 79 w 276"/>
                <a:gd name="T63" fmla="*/ 157 h 236"/>
                <a:gd name="T64" fmla="*/ 225 w 276"/>
                <a:gd name="T65" fmla="*/ 18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6" h="236">
                  <a:moveTo>
                    <a:pt x="238" y="157"/>
                  </a:moveTo>
                  <a:lnTo>
                    <a:pt x="276" y="157"/>
                  </a:lnTo>
                  <a:lnTo>
                    <a:pt x="276" y="0"/>
                  </a:lnTo>
                  <a:lnTo>
                    <a:pt x="79" y="0"/>
                  </a:lnTo>
                  <a:lnTo>
                    <a:pt x="79" y="41"/>
                  </a:lnTo>
                  <a:lnTo>
                    <a:pt x="38" y="41"/>
                  </a:lnTo>
                  <a:lnTo>
                    <a:pt x="38" y="80"/>
                  </a:lnTo>
                  <a:lnTo>
                    <a:pt x="0" y="80"/>
                  </a:lnTo>
                  <a:lnTo>
                    <a:pt x="0" y="236"/>
                  </a:lnTo>
                  <a:lnTo>
                    <a:pt x="197" y="236"/>
                  </a:lnTo>
                  <a:lnTo>
                    <a:pt x="197" y="195"/>
                  </a:lnTo>
                  <a:lnTo>
                    <a:pt x="238" y="195"/>
                  </a:lnTo>
                  <a:lnTo>
                    <a:pt x="238" y="157"/>
                  </a:lnTo>
                  <a:close/>
                  <a:moveTo>
                    <a:pt x="90" y="13"/>
                  </a:moveTo>
                  <a:lnTo>
                    <a:pt x="264" y="13"/>
                  </a:lnTo>
                  <a:lnTo>
                    <a:pt x="264" y="21"/>
                  </a:lnTo>
                  <a:lnTo>
                    <a:pt x="177" y="87"/>
                  </a:lnTo>
                  <a:lnTo>
                    <a:pt x="90" y="21"/>
                  </a:lnTo>
                  <a:lnTo>
                    <a:pt x="90" y="13"/>
                  </a:lnTo>
                  <a:close/>
                  <a:moveTo>
                    <a:pt x="90" y="36"/>
                  </a:moveTo>
                  <a:lnTo>
                    <a:pt x="146" y="80"/>
                  </a:lnTo>
                  <a:lnTo>
                    <a:pt x="107" y="121"/>
                  </a:lnTo>
                  <a:lnTo>
                    <a:pt x="107" y="121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5" y="123"/>
                  </a:lnTo>
                  <a:lnTo>
                    <a:pt x="154" y="85"/>
                  </a:lnTo>
                  <a:lnTo>
                    <a:pt x="174" y="103"/>
                  </a:lnTo>
                  <a:lnTo>
                    <a:pt x="174" y="103"/>
                  </a:lnTo>
                  <a:lnTo>
                    <a:pt x="177" y="103"/>
                  </a:lnTo>
                  <a:lnTo>
                    <a:pt x="179" y="103"/>
                  </a:lnTo>
                  <a:lnTo>
                    <a:pt x="182" y="100"/>
                  </a:lnTo>
                  <a:lnTo>
                    <a:pt x="202" y="85"/>
                  </a:lnTo>
                  <a:lnTo>
                    <a:pt x="241" y="126"/>
                  </a:lnTo>
                  <a:lnTo>
                    <a:pt x="241" y="126"/>
                  </a:lnTo>
                  <a:lnTo>
                    <a:pt x="243" y="126"/>
                  </a:lnTo>
                  <a:lnTo>
                    <a:pt x="243" y="126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6" y="121"/>
                  </a:lnTo>
                  <a:lnTo>
                    <a:pt x="246" y="121"/>
                  </a:lnTo>
                  <a:lnTo>
                    <a:pt x="246" y="118"/>
                  </a:lnTo>
                  <a:lnTo>
                    <a:pt x="207" y="80"/>
                  </a:lnTo>
                  <a:lnTo>
                    <a:pt x="264" y="36"/>
                  </a:lnTo>
                  <a:lnTo>
                    <a:pt x="264" y="144"/>
                  </a:lnTo>
                  <a:lnTo>
                    <a:pt x="90" y="144"/>
                  </a:lnTo>
                  <a:lnTo>
                    <a:pt x="90" y="36"/>
                  </a:lnTo>
                  <a:close/>
                  <a:moveTo>
                    <a:pt x="187" y="223"/>
                  </a:moveTo>
                  <a:lnTo>
                    <a:pt x="13" y="223"/>
                  </a:lnTo>
                  <a:lnTo>
                    <a:pt x="13" y="93"/>
                  </a:lnTo>
                  <a:lnTo>
                    <a:pt x="38" y="93"/>
                  </a:lnTo>
                  <a:lnTo>
                    <a:pt x="38" y="195"/>
                  </a:lnTo>
                  <a:lnTo>
                    <a:pt x="187" y="195"/>
                  </a:lnTo>
                  <a:lnTo>
                    <a:pt x="187" y="223"/>
                  </a:lnTo>
                  <a:close/>
                  <a:moveTo>
                    <a:pt x="225" y="182"/>
                  </a:moveTo>
                  <a:lnTo>
                    <a:pt x="51" y="182"/>
                  </a:lnTo>
                  <a:lnTo>
                    <a:pt x="51" y="54"/>
                  </a:lnTo>
                  <a:lnTo>
                    <a:pt x="79" y="54"/>
                  </a:lnTo>
                  <a:lnTo>
                    <a:pt x="79" y="157"/>
                  </a:lnTo>
                  <a:lnTo>
                    <a:pt x="225" y="157"/>
                  </a:lnTo>
                  <a:lnTo>
                    <a:pt x="225" y="1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66">
            <a:extLst>
              <a:ext uri="{FF2B5EF4-FFF2-40B4-BE49-F238E27FC236}">
                <a16:creationId xmlns:a16="http://schemas.microsoft.com/office/drawing/2014/main" id="{90F03A82-FE27-4B30-B54C-DACC30DA02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28" y="1573214"/>
            <a:ext cx="760413" cy="758825"/>
            <a:chOff x="982" y="1191"/>
            <a:chExt cx="479" cy="478"/>
          </a:xfrm>
        </p:grpSpPr>
        <p:sp>
          <p:nvSpPr>
            <p:cNvPr id="82" name="AutoShape 65">
              <a:extLst>
                <a:ext uri="{FF2B5EF4-FFF2-40B4-BE49-F238E27FC236}">
                  <a16:creationId xmlns:a16="http://schemas.microsoft.com/office/drawing/2014/main" id="{3B3D5B22-6445-4161-808B-D61022771F0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2" y="119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7">
              <a:extLst>
                <a:ext uri="{FF2B5EF4-FFF2-40B4-BE49-F238E27FC236}">
                  <a16:creationId xmlns:a16="http://schemas.microsoft.com/office/drawing/2014/main" id="{C981B001-3479-40D2-AA97-9CC8DC8DB5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" y="119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8">
              <a:extLst>
                <a:ext uri="{FF2B5EF4-FFF2-40B4-BE49-F238E27FC236}">
                  <a16:creationId xmlns:a16="http://schemas.microsoft.com/office/drawing/2014/main" id="{45540111-463F-4B5A-8980-BAC451EDBB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" y="1328"/>
              <a:ext cx="275" cy="206"/>
            </a:xfrm>
            <a:custGeom>
              <a:avLst/>
              <a:gdLst>
                <a:gd name="T0" fmla="*/ 140 w 275"/>
                <a:gd name="T1" fmla="*/ 128 h 206"/>
                <a:gd name="T2" fmla="*/ 140 w 275"/>
                <a:gd name="T3" fmla="*/ 128 h 206"/>
                <a:gd name="T4" fmla="*/ 265 w 275"/>
                <a:gd name="T5" fmla="*/ 196 h 206"/>
                <a:gd name="T6" fmla="*/ 116 w 275"/>
                <a:gd name="T7" fmla="*/ 111 h 206"/>
                <a:gd name="T8" fmla="*/ 135 w 275"/>
                <a:gd name="T9" fmla="*/ 128 h 206"/>
                <a:gd name="T10" fmla="*/ 138 w 275"/>
                <a:gd name="T11" fmla="*/ 128 h 206"/>
                <a:gd name="T12" fmla="*/ 138 w 275"/>
                <a:gd name="T13" fmla="*/ 128 h 206"/>
                <a:gd name="T14" fmla="*/ 106 w 275"/>
                <a:gd name="T15" fmla="*/ 103 h 206"/>
                <a:gd name="T16" fmla="*/ 10 w 275"/>
                <a:gd name="T17" fmla="*/ 22 h 206"/>
                <a:gd name="T18" fmla="*/ 265 w 275"/>
                <a:gd name="T19" fmla="*/ 22 h 206"/>
                <a:gd name="T20" fmla="*/ 170 w 275"/>
                <a:gd name="T21" fmla="*/ 103 h 206"/>
                <a:gd name="T22" fmla="*/ 265 w 275"/>
                <a:gd name="T23" fmla="*/ 10 h 206"/>
                <a:gd name="T24" fmla="*/ 10 w 275"/>
                <a:gd name="T25" fmla="*/ 10 h 206"/>
                <a:gd name="T26" fmla="*/ 3 w 275"/>
                <a:gd name="T27" fmla="*/ 0 h 206"/>
                <a:gd name="T28" fmla="*/ 3 w 275"/>
                <a:gd name="T29" fmla="*/ 0 h 206"/>
                <a:gd name="T30" fmla="*/ 0 w 275"/>
                <a:gd name="T31" fmla="*/ 0 h 206"/>
                <a:gd name="T32" fmla="*/ 0 w 275"/>
                <a:gd name="T33" fmla="*/ 3 h 206"/>
                <a:gd name="T34" fmla="*/ 0 w 275"/>
                <a:gd name="T35" fmla="*/ 3 h 206"/>
                <a:gd name="T36" fmla="*/ 0 w 275"/>
                <a:gd name="T37" fmla="*/ 3 h 206"/>
                <a:gd name="T38" fmla="*/ 0 w 275"/>
                <a:gd name="T39" fmla="*/ 5 h 206"/>
                <a:gd name="T40" fmla="*/ 0 w 275"/>
                <a:gd name="T41" fmla="*/ 201 h 206"/>
                <a:gd name="T42" fmla="*/ 0 w 275"/>
                <a:gd name="T43" fmla="*/ 204 h 206"/>
                <a:gd name="T44" fmla="*/ 0 w 275"/>
                <a:gd name="T45" fmla="*/ 204 h 206"/>
                <a:gd name="T46" fmla="*/ 0 w 275"/>
                <a:gd name="T47" fmla="*/ 206 h 206"/>
                <a:gd name="T48" fmla="*/ 3 w 275"/>
                <a:gd name="T49" fmla="*/ 206 h 206"/>
                <a:gd name="T50" fmla="*/ 3 w 275"/>
                <a:gd name="T51" fmla="*/ 206 h 206"/>
                <a:gd name="T52" fmla="*/ 3 w 275"/>
                <a:gd name="T53" fmla="*/ 206 h 206"/>
                <a:gd name="T54" fmla="*/ 270 w 275"/>
                <a:gd name="T55" fmla="*/ 206 h 206"/>
                <a:gd name="T56" fmla="*/ 273 w 275"/>
                <a:gd name="T57" fmla="*/ 206 h 206"/>
                <a:gd name="T58" fmla="*/ 273 w 275"/>
                <a:gd name="T59" fmla="*/ 206 h 206"/>
                <a:gd name="T60" fmla="*/ 275 w 275"/>
                <a:gd name="T61" fmla="*/ 206 h 206"/>
                <a:gd name="T62" fmla="*/ 275 w 275"/>
                <a:gd name="T63" fmla="*/ 204 h 206"/>
                <a:gd name="T64" fmla="*/ 275 w 275"/>
                <a:gd name="T65" fmla="*/ 204 h 206"/>
                <a:gd name="T66" fmla="*/ 275 w 275"/>
                <a:gd name="T67" fmla="*/ 204 h 206"/>
                <a:gd name="T68" fmla="*/ 275 w 275"/>
                <a:gd name="T69" fmla="*/ 201 h 206"/>
                <a:gd name="T70" fmla="*/ 275 w 275"/>
                <a:gd name="T71" fmla="*/ 5 h 206"/>
                <a:gd name="T72" fmla="*/ 275 w 275"/>
                <a:gd name="T73" fmla="*/ 3 h 206"/>
                <a:gd name="T74" fmla="*/ 275 w 275"/>
                <a:gd name="T75" fmla="*/ 3 h 206"/>
                <a:gd name="T76" fmla="*/ 275 w 275"/>
                <a:gd name="T77" fmla="*/ 0 h 206"/>
                <a:gd name="T78" fmla="*/ 273 w 275"/>
                <a:gd name="T79" fmla="*/ 0 h 206"/>
                <a:gd name="T80" fmla="*/ 273 w 275"/>
                <a:gd name="T81" fmla="*/ 0 h 206"/>
                <a:gd name="T82" fmla="*/ 273 w 275"/>
                <a:gd name="T8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5" h="206">
                  <a:moveTo>
                    <a:pt x="138" y="128"/>
                  </a:move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60" y="111"/>
                  </a:lnTo>
                  <a:lnTo>
                    <a:pt x="265" y="196"/>
                  </a:lnTo>
                  <a:lnTo>
                    <a:pt x="10" y="196"/>
                  </a:lnTo>
                  <a:lnTo>
                    <a:pt x="116" y="111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38" y="128"/>
                  </a:lnTo>
                  <a:close/>
                  <a:moveTo>
                    <a:pt x="10" y="22"/>
                  </a:moveTo>
                  <a:lnTo>
                    <a:pt x="106" y="103"/>
                  </a:lnTo>
                  <a:lnTo>
                    <a:pt x="10" y="184"/>
                  </a:lnTo>
                  <a:lnTo>
                    <a:pt x="10" y="22"/>
                  </a:lnTo>
                  <a:close/>
                  <a:moveTo>
                    <a:pt x="170" y="103"/>
                  </a:moveTo>
                  <a:lnTo>
                    <a:pt x="265" y="22"/>
                  </a:lnTo>
                  <a:lnTo>
                    <a:pt x="265" y="184"/>
                  </a:lnTo>
                  <a:lnTo>
                    <a:pt x="170" y="103"/>
                  </a:lnTo>
                  <a:close/>
                  <a:moveTo>
                    <a:pt x="10" y="10"/>
                  </a:moveTo>
                  <a:lnTo>
                    <a:pt x="265" y="10"/>
                  </a:lnTo>
                  <a:lnTo>
                    <a:pt x="138" y="115"/>
                  </a:lnTo>
                  <a:lnTo>
                    <a:pt x="10" y="1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3" y="206"/>
                  </a:lnTo>
                  <a:lnTo>
                    <a:pt x="5" y="206"/>
                  </a:lnTo>
                  <a:lnTo>
                    <a:pt x="270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4"/>
                  </a:lnTo>
                  <a:lnTo>
                    <a:pt x="275" y="204"/>
                  </a:lnTo>
                  <a:lnTo>
                    <a:pt x="275" y="204"/>
                  </a:lnTo>
                  <a:lnTo>
                    <a:pt x="275" y="204"/>
                  </a:lnTo>
                  <a:lnTo>
                    <a:pt x="275" y="204"/>
                  </a:lnTo>
                  <a:lnTo>
                    <a:pt x="275" y="201"/>
                  </a:lnTo>
                  <a:lnTo>
                    <a:pt x="275" y="201"/>
                  </a:lnTo>
                  <a:lnTo>
                    <a:pt x="275" y="5"/>
                  </a:lnTo>
                  <a:lnTo>
                    <a:pt x="275" y="5"/>
                  </a:lnTo>
                  <a:lnTo>
                    <a:pt x="275" y="3"/>
                  </a:lnTo>
                  <a:lnTo>
                    <a:pt x="275" y="3"/>
                  </a:lnTo>
                  <a:lnTo>
                    <a:pt x="275" y="3"/>
                  </a:lnTo>
                  <a:lnTo>
                    <a:pt x="275" y="3"/>
                  </a:lnTo>
                  <a:lnTo>
                    <a:pt x="275" y="3"/>
                  </a:lnTo>
                  <a:lnTo>
                    <a:pt x="275" y="0"/>
                  </a:lnTo>
                  <a:lnTo>
                    <a:pt x="275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71">
            <a:extLst>
              <a:ext uri="{FF2B5EF4-FFF2-40B4-BE49-F238E27FC236}">
                <a16:creationId xmlns:a16="http://schemas.microsoft.com/office/drawing/2014/main" id="{7F0C3E44-1AE8-4421-AD8F-D8317851B4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853" y="1531939"/>
            <a:ext cx="841375" cy="841375"/>
            <a:chOff x="376" y="1061"/>
            <a:chExt cx="530" cy="530"/>
          </a:xfrm>
        </p:grpSpPr>
        <p:sp>
          <p:nvSpPr>
            <p:cNvPr id="86" name="AutoShape 70">
              <a:extLst>
                <a:ext uri="{FF2B5EF4-FFF2-40B4-BE49-F238E27FC236}">
                  <a16:creationId xmlns:a16="http://schemas.microsoft.com/office/drawing/2014/main" id="{C06DC001-AF8C-40E3-9535-9A8E26CB0C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6" y="10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72">
              <a:extLst>
                <a:ext uri="{FF2B5EF4-FFF2-40B4-BE49-F238E27FC236}">
                  <a16:creationId xmlns:a16="http://schemas.microsoft.com/office/drawing/2014/main" id="{1C826559-F9EC-4493-B179-E50FEDD12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" y="106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3">
              <a:extLst>
                <a:ext uri="{FF2B5EF4-FFF2-40B4-BE49-F238E27FC236}">
                  <a16:creationId xmlns:a16="http://schemas.microsoft.com/office/drawing/2014/main" id="{AA129365-0416-4F35-910F-A21918BC5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" y="107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4">
              <a:extLst>
                <a:ext uri="{FF2B5EF4-FFF2-40B4-BE49-F238E27FC236}">
                  <a16:creationId xmlns:a16="http://schemas.microsoft.com/office/drawing/2014/main" id="{0AC1BABC-17B9-4098-A63E-AC5493A627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" y="1220"/>
              <a:ext cx="287" cy="215"/>
            </a:xfrm>
            <a:custGeom>
              <a:avLst/>
              <a:gdLst>
                <a:gd name="T0" fmla="*/ 146 w 287"/>
                <a:gd name="T1" fmla="*/ 133 h 215"/>
                <a:gd name="T2" fmla="*/ 146 w 287"/>
                <a:gd name="T3" fmla="*/ 133 h 215"/>
                <a:gd name="T4" fmla="*/ 276 w 287"/>
                <a:gd name="T5" fmla="*/ 204 h 215"/>
                <a:gd name="T6" fmla="*/ 120 w 287"/>
                <a:gd name="T7" fmla="*/ 115 h 215"/>
                <a:gd name="T8" fmla="*/ 141 w 287"/>
                <a:gd name="T9" fmla="*/ 133 h 215"/>
                <a:gd name="T10" fmla="*/ 143 w 287"/>
                <a:gd name="T11" fmla="*/ 133 h 215"/>
                <a:gd name="T12" fmla="*/ 143 w 287"/>
                <a:gd name="T13" fmla="*/ 133 h 215"/>
                <a:gd name="T14" fmla="*/ 110 w 287"/>
                <a:gd name="T15" fmla="*/ 107 h 215"/>
                <a:gd name="T16" fmla="*/ 10 w 287"/>
                <a:gd name="T17" fmla="*/ 23 h 215"/>
                <a:gd name="T18" fmla="*/ 276 w 287"/>
                <a:gd name="T19" fmla="*/ 23 h 215"/>
                <a:gd name="T20" fmla="*/ 176 w 287"/>
                <a:gd name="T21" fmla="*/ 107 h 215"/>
                <a:gd name="T22" fmla="*/ 276 w 287"/>
                <a:gd name="T23" fmla="*/ 10 h 215"/>
                <a:gd name="T24" fmla="*/ 10 w 287"/>
                <a:gd name="T25" fmla="*/ 10 h 215"/>
                <a:gd name="T26" fmla="*/ 2 w 287"/>
                <a:gd name="T27" fmla="*/ 0 h 215"/>
                <a:gd name="T28" fmla="*/ 2 w 287"/>
                <a:gd name="T29" fmla="*/ 0 h 215"/>
                <a:gd name="T30" fmla="*/ 0 w 287"/>
                <a:gd name="T31" fmla="*/ 0 h 215"/>
                <a:gd name="T32" fmla="*/ 0 w 287"/>
                <a:gd name="T33" fmla="*/ 2 h 215"/>
                <a:gd name="T34" fmla="*/ 0 w 287"/>
                <a:gd name="T35" fmla="*/ 2 h 215"/>
                <a:gd name="T36" fmla="*/ 0 w 287"/>
                <a:gd name="T37" fmla="*/ 2 h 215"/>
                <a:gd name="T38" fmla="*/ 0 w 287"/>
                <a:gd name="T39" fmla="*/ 5 h 215"/>
                <a:gd name="T40" fmla="*/ 0 w 287"/>
                <a:gd name="T41" fmla="*/ 210 h 215"/>
                <a:gd name="T42" fmla="*/ 0 w 287"/>
                <a:gd name="T43" fmla="*/ 212 h 215"/>
                <a:gd name="T44" fmla="*/ 0 w 287"/>
                <a:gd name="T45" fmla="*/ 212 h 215"/>
                <a:gd name="T46" fmla="*/ 0 w 287"/>
                <a:gd name="T47" fmla="*/ 215 h 215"/>
                <a:gd name="T48" fmla="*/ 2 w 287"/>
                <a:gd name="T49" fmla="*/ 215 h 215"/>
                <a:gd name="T50" fmla="*/ 2 w 287"/>
                <a:gd name="T51" fmla="*/ 215 h 215"/>
                <a:gd name="T52" fmla="*/ 2 w 287"/>
                <a:gd name="T53" fmla="*/ 215 h 215"/>
                <a:gd name="T54" fmla="*/ 281 w 287"/>
                <a:gd name="T55" fmla="*/ 215 h 215"/>
                <a:gd name="T56" fmla="*/ 284 w 287"/>
                <a:gd name="T57" fmla="*/ 215 h 215"/>
                <a:gd name="T58" fmla="*/ 284 w 287"/>
                <a:gd name="T59" fmla="*/ 215 h 215"/>
                <a:gd name="T60" fmla="*/ 287 w 287"/>
                <a:gd name="T61" fmla="*/ 215 h 215"/>
                <a:gd name="T62" fmla="*/ 287 w 287"/>
                <a:gd name="T63" fmla="*/ 212 h 215"/>
                <a:gd name="T64" fmla="*/ 287 w 287"/>
                <a:gd name="T65" fmla="*/ 212 h 215"/>
                <a:gd name="T66" fmla="*/ 287 w 287"/>
                <a:gd name="T67" fmla="*/ 212 h 215"/>
                <a:gd name="T68" fmla="*/ 287 w 287"/>
                <a:gd name="T69" fmla="*/ 210 h 215"/>
                <a:gd name="T70" fmla="*/ 287 w 287"/>
                <a:gd name="T71" fmla="*/ 5 h 215"/>
                <a:gd name="T72" fmla="*/ 287 w 287"/>
                <a:gd name="T73" fmla="*/ 2 h 215"/>
                <a:gd name="T74" fmla="*/ 287 w 287"/>
                <a:gd name="T75" fmla="*/ 2 h 215"/>
                <a:gd name="T76" fmla="*/ 287 w 287"/>
                <a:gd name="T77" fmla="*/ 0 h 215"/>
                <a:gd name="T78" fmla="*/ 284 w 287"/>
                <a:gd name="T79" fmla="*/ 0 h 215"/>
                <a:gd name="T80" fmla="*/ 284 w 287"/>
                <a:gd name="T81" fmla="*/ 0 h 215"/>
                <a:gd name="T82" fmla="*/ 284 w 287"/>
                <a:gd name="T83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215">
                  <a:moveTo>
                    <a:pt x="143" y="133"/>
                  </a:moveTo>
                  <a:lnTo>
                    <a:pt x="146" y="133"/>
                  </a:lnTo>
                  <a:lnTo>
                    <a:pt x="146" y="133"/>
                  </a:lnTo>
                  <a:lnTo>
                    <a:pt x="146" y="133"/>
                  </a:lnTo>
                  <a:lnTo>
                    <a:pt x="166" y="115"/>
                  </a:lnTo>
                  <a:lnTo>
                    <a:pt x="276" y="204"/>
                  </a:lnTo>
                  <a:lnTo>
                    <a:pt x="10" y="204"/>
                  </a:lnTo>
                  <a:lnTo>
                    <a:pt x="120" y="115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3" y="133"/>
                  </a:lnTo>
                  <a:close/>
                  <a:moveTo>
                    <a:pt x="10" y="23"/>
                  </a:moveTo>
                  <a:lnTo>
                    <a:pt x="110" y="107"/>
                  </a:lnTo>
                  <a:lnTo>
                    <a:pt x="10" y="192"/>
                  </a:lnTo>
                  <a:lnTo>
                    <a:pt x="10" y="23"/>
                  </a:lnTo>
                  <a:close/>
                  <a:moveTo>
                    <a:pt x="176" y="107"/>
                  </a:moveTo>
                  <a:lnTo>
                    <a:pt x="276" y="23"/>
                  </a:lnTo>
                  <a:lnTo>
                    <a:pt x="276" y="192"/>
                  </a:lnTo>
                  <a:lnTo>
                    <a:pt x="176" y="107"/>
                  </a:lnTo>
                  <a:close/>
                  <a:moveTo>
                    <a:pt x="10" y="10"/>
                  </a:moveTo>
                  <a:lnTo>
                    <a:pt x="276" y="10"/>
                  </a:lnTo>
                  <a:lnTo>
                    <a:pt x="143" y="120"/>
                  </a:lnTo>
                  <a:lnTo>
                    <a:pt x="10" y="10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5" y="215"/>
                  </a:lnTo>
                  <a:lnTo>
                    <a:pt x="281" y="215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7" y="215"/>
                  </a:lnTo>
                  <a:lnTo>
                    <a:pt x="287" y="215"/>
                  </a:lnTo>
                  <a:lnTo>
                    <a:pt x="287" y="212"/>
                  </a:lnTo>
                  <a:lnTo>
                    <a:pt x="287" y="212"/>
                  </a:lnTo>
                  <a:lnTo>
                    <a:pt x="287" y="212"/>
                  </a:lnTo>
                  <a:lnTo>
                    <a:pt x="287" y="212"/>
                  </a:lnTo>
                  <a:lnTo>
                    <a:pt x="287" y="212"/>
                  </a:lnTo>
                  <a:lnTo>
                    <a:pt x="287" y="210"/>
                  </a:lnTo>
                  <a:lnTo>
                    <a:pt x="287" y="210"/>
                  </a:lnTo>
                  <a:lnTo>
                    <a:pt x="287" y="5"/>
                  </a:lnTo>
                  <a:lnTo>
                    <a:pt x="287" y="5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4" name="Group 77">
            <a:extLst>
              <a:ext uri="{FF2B5EF4-FFF2-40B4-BE49-F238E27FC236}">
                <a16:creationId xmlns:a16="http://schemas.microsoft.com/office/drawing/2014/main" id="{E4B4B035-A511-4C4C-9EA9-C1CCFE7242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955" y="1573214"/>
            <a:ext cx="758825" cy="758825"/>
            <a:chOff x="2328" y="1172"/>
            <a:chExt cx="478" cy="478"/>
          </a:xfrm>
        </p:grpSpPr>
        <p:sp>
          <p:nvSpPr>
            <p:cNvPr id="95" name="AutoShape 76">
              <a:extLst>
                <a:ext uri="{FF2B5EF4-FFF2-40B4-BE49-F238E27FC236}">
                  <a16:creationId xmlns:a16="http://schemas.microsoft.com/office/drawing/2014/main" id="{39034FAB-F65F-43F7-B426-E5BC63DD16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28" y="117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78">
              <a:extLst>
                <a:ext uri="{FF2B5EF4-FFF2-40B4-BE49-F238E27FC236}">
                  <a16:creationId xmlns:a16="http://schemas.microsoft.com/office/drawing/2014/main" id="{A50C80F5-0134-4E28-98F9-40EDEBCBD3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0" y="117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79">
              <a:extLst>
                <a:ext uri="{FF2B5EF4-FFF2-40B4-BE49-F238E27FC236}">
                  <a16:creationId xmlns:a16="http://schemas.microsoft.com/office/drawing/2014/main" id="{687B98A2-8FF9-49AF-B8D9-A492EAA3B0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3" y="1282"/>
              <a:ext cx="270" cy="260"/>
            </a:xfrm>
            <a:custGeom>
              <a:avLst/>
              <a:gdLst>
                <a:gd name="T0" fmla="*/ 94 w 270"/>
                <a:gd name="T1" fmla="*/ 96 h 260"/>
                <a:gd name="T2" fmla="*/ 228 w 270"/>
                <a:gd name="T3" fmla="*/ 231 h 260"/>
                <a:gd name="T4" fmla="*/ 233 w 270"/>
                <a:gd name="T5" fmla="*/ 228 h 260"/>
                <a:gd name="T6" fmla="*/ 233 w 270"/>
                <a:gd name="T7" fmla="*/ 226 h 260"/>
                <a:gd name="T8" fmla="*/ 233 w 270"/>
                <a:gd name="T9" fmla="*/ 221 h 260"/>
                <a:gd name="T10" fmla="*/ 255 w 270"/>
                <a:gd name="T11" fmla="*/ 113 h 260"/>
                <a:gd name="T12" fmla="*/ 258 w 270"/>
                <a:gd name="T13" fmla="*/ 236 h 260"/>
                <a:gd name="T14" fmla="*/ 253 w 270"/>
                <a:gd name="T15" fmla="*/ 243 h 260"/>
                <a:gd name="T16" fmla="*/ 246 w 270"/>
                <a:gd name="T17" fmla="*/ 248 h 260"/>
                <a:gd name="T18" fmla="*/ 22 w 270"/>
                <a:gd name="T19" fmla="*/ 248 h 260"/>
                <a:gd name="T20" fmla="*/ 18 w 270"/>
                <a:gd name="T21" fmla="*/ 243 h 260"/>
                <a:gd name="T22" fmla="*/ 13 w 270"/>
                <a:gd name="T23" fmla="*/ 236 h 260"/>
                <a:gd name="T24" fmla="*/ 96 w 270"/>
                <a:gd name="T25" fmla="*/ 177 h 260"/>
                <a:gd name="T26" fmla="*/ 37 w 270"/>
                <a:gd name="T27" fmla="*/ 223 h 260"/>
                <a:gd name="T28" fmla="*/ 37 w 270"/>
                <a:gd name="T29" fmla="*/ 226 h 260"/>
                <a:gd name="T30" fmla="*/ 37 w 270"/>
                <a:gd name="T31" fmla="*/ 228 h 260"/>
                <a:gd name="T32" fmla="*/ 42 w 270"/>
                <a:gd name="T33" fmla="*/ 231 h 260"/>
                <a:gd name="T34" fmla="*/ 106 w 270"/>
                <a:gd name="T35" fmla="*/ 184 h 260"/>
                <a:gd name="T36" fmla="*/ 135 w 270"/>
                <a:gd name="T37" fmla="*/ 206 h 260"/>
                <a:gd name="T38" fmla="*/ 226 w 270"/>
                <a:gd name="T39" fmla="*/ 231 h 260"/>
                <a:gd name="T40" fmla="*/ 62 w 270"/>
                <a:gd name="T41" fmla="*/ 52 h 260"/>
                <a:gd name="T42" fmla="*/ 54 w 270"/>
                <a:gd name="T43" fmla="*/ 40 h 260"/>
                <a:gd name="T44" fmla="*/ 52 w 270"/>
                <a:gd name="T45" fmla="*/ 40 h 260"/>
                <a:gd name="T46" fmla="*/ 49 w 270"/>
                <a:gd name="T47" fmla="*/ 44 h 260"/>
                <a:gd name="T48" fmla="*/ 20 w 270"/>
                <a:gd name="T49" fmla="*/ 101 h 260"/>
                <a:gd name="T50" fmla="*/ 32 w 270"/>
                <a:gd name="T51" fmla="*/ 89 h 260"/>
                <a:gd name="T52" fmla="*/ 13 w 270"/>
                <a:gd name="T53" fmla="*/ 91 h 260"/>
                <a:gd name="T54" fmla="*/ 3 w 270"/>
                <a:gd name="T55" fmla="*/ 106 h 260"/>
                <a:gd name="T56" fmla="*/ 0 w 270"/>
                <a:gd name="T57" fmla="*/ 120 h 260"/>
                <a:gd name="T58" fmla="*/ 0 w 270"/>
                <a:gd name="T59" fmla="*/ 241 h 260"/>
                <a:gd name="T60" fmla="*/ 5 w 270"/>
                <a:gd name="T61" fmla="*/ 248 h 260"/>
                <a:gd name="T62" fmla="*/ 10 w 270"/>
                <a:gd name="T63" fmla="*/ 253 h 260"/>
                <a:gd name="T64" fmla="*/ 15 w 270"/>
                <a:gd name="T65" fmla="*/ 258 h 260"/>
                <a:gd name="T66" fmla="*/ 22 w 270"/>
                <a:gd name="T67" fmla="*/ 260 h 260"/>
                <a:gd name="T68" fmla="*/ 246 w 270"/>
                <a:gd name="T69" fmla="*/ 260 h 260"/>
                <a:gd name="T70" fmla="*/ 253 w 270"/>
                <a:gd name="T71" fmla="*/ 258 h 260"/>
                <a:gd name="T72" fmla="*/ 260 w 270"/>
                <a:gd name="T73" fmla="*/ 255 h 260"/>
                <a:gd name="T74" fmla="*/ 265 w 270"/>
                <a:gd name="T75" fmla="*/ 248 h 260"/>
                <a:gd name="T76" fmla="*/ 268 w 270"/>
                <a:gd name="T77" fmla="*/ 243 h 260"/>
                <a:gd name="T78" fmla="*/ 270 w 270"/>
                <a:gd name="T79" fmla="*/ 120 h 260"/>
                <a:gd name="T80" fmla="*/ 268 w 270"/>
                <a:gd name="T81" fmla="*/ 106 h 260"/>
                <a:gd name="T82" fmla="*/ 258 w 270"/>
                <a:gd name="T83" fmla="*/ 91 h 260"/>
                <a:gd name="T84" fmla="*/ 238 w 270"/>
                <a:gd name="T85" fmla="*/ 89 h 260"/>
                <a:gd name="T86" fmla="*/ 250 w 270"/>
                <a:gd name="T87" fmla="*/ 101 h 260"/>
                <a:gd name="T88" fmla="*/ 221 w 270"/>
                <a:gd name="T89" fmla="*/ 44 h 260"/>
                <a:gd name="T90" fmla="*/ 219 w 270"/>
                <a:gd name="T91" fmla="*/ 40 h 260"/>
                <a:gd name="T92" fmla="*/ 216 w 270"/>
                <a:gd name="T93" fmla="*/ 40 h 260"/>
                <a:gd name="T94" fmla="*/ 130 w 270"/>
                <a:gd name="T95" fmla="*/ 0 h 260"/>
                <a:gd name="T96" fmla="*/ 123 w 270"/>
                <a:gd name="T97" fmla="*/ 3 h 260"/>
                <a:gd name="T98" fmla="*/ 116 w 270"/>
                <a:gd name="T99" fmla="*/ 5 h 260"/>
                <a:gd name="T100" fmla="*/ 128 w 270"/>
                <a:gd name="T101" fmla="*/ 15 h 260"/>
                <a:gd name="T102" fmla="*/ 138 w 270"/>
                <a:gd name="T103" fmla="*/ 13 h 260"/>
                <a:gd name="T104" fmla="*/ 145 w 270"/>
                <a:gd name="T105" fmla="*/ 15 h 260"/>
                <a:gd name="T106" fmla="*/ 152 w 270"/>
                <a:gd name="T107" fmla="*/ 5 h 260"/>
                <a:gd name="T108" fmla="*/ 145 w 270"/>
                <a:gd name="T109" fmla="*/ 0 h 260"/>
                <a:gd name="T110" fmla="*/ 138 w 270"/>
                <a:gd name="T111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0" h="260">
                  <a:moveTo>
                    <a:pt x="94" y="125"/>
                  </a:moveTo>
                  <a:lnTo>
                    <a:pt x="130" y="125"/>
                  </a:lnTo>
                  <a:lnTo>
                    <a:pt x="130" y="111"/>
                  </a:lnTo>
                  <a:lnTo>
                    <a:pt x="94" y="111"/>
                  </a:lnTo>
                  <a:lnTo>
                    <a:pt x="94" y="125"/>
                  </a:lnTo>
                  <a:close/>
                  <a:moveTo>
                    <a:pt x="94" y="96"/>
                  </a:moveTo>
                  <a:lnTo>
                    <a:pt x="177" y="96"/>
                  </a:lnTo>
                  <a:lnTo>
                    <a:pt x="177" y="84"/>
                  </a:lnTo>
                  <a:lnTo>
                    <a:pt x="94" y="84"/>
                  </a:lnTo>
                  <a:lnTo>
                    <a:pt x="94" y="96"/>
                  </a:lnTo>
                  <a:close/>
                  <a:moveTo>
                    <a:pt x="228" y="231"/>
                  </a:moveTo>
                  <a:lnTo>
                    <a:pt x="228" y="231"/>
                  </a:lnTo>
                  <a:lnTo>
                    <a:pt x="231" y="231"/>
                  </a:lnTo>
                  <a:lnTo>
                    <a:pt x="231" y="231"/>
                  </a:lnTo>
                  <a:lnTo>
                    <a:pt x="231" y="231"/>
                  </a:lnTo>
                  <a:lnTo>
                    <a:pt x="231" y="228"/>
                  </a:lnTo>
                  <a:lnTo>
                    <a:pt x="233" y="228"/>
                  </a:lnTo>
                  <a:lnTo>
                    <a:pt x="233" y="228"/>
                  </a:lnTo>
                  <a:lnTo>
                    <a:pt x="233" y="228"/>
                  </a:lnTo>
                  <a:lnTo>
                    <a:pt x="233" y="228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3"/>
                  </a:lnTo>
                  <a:lnTo>
                    <a:pt x="233" y="223"/>
                  </a:lnTo>
                  <a:lnTo>
                    <a:pt x="233" y="223"/>
                  </a:lnTo>
                  <a:lnTo>
                    <a:pt x="233" y="223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1" y="221"/>
                  </a:lnTo>
                  <a:lnTo>
                    <a:pt x="231" y="221"/>
                  </a:lnTo>
                  <a:lnTo>
                    <a:pt x="174" y="177"/>
                  </a:lnTo>
                  <a:lnTo>
                    <a:pt x="255" y="113"/>
                  </a:lnTo>
                  <a:lnTo>
                    <a:pt x="258" y="118"/>
                  </a:lnTo>
                  <a:lnTo>
                    <a:pt x="258" y="120"/>
                  </a:lnTo>
                  <a:lnTo>
                    <a:pt x="258" y="120"/>
                  </a:lnTo>
                  <a:lnTo>
                    <a:pt x="258" y="233"/>
                  </a:lnTo>
                  <a:lnTo>
                    <a:pt x="258" y="236"/>
                  </a:lnTo>
                  <a:lnTo>
                    <a:pt x="258" y="236"/>
                  </a:lnTo>
                  <a:lnTo>
                    <a:pt x="255" y="238"/>
                  </a:lnTo>
                  <a:lnTo>
                    <a:pt x="255" y="241"/>
                  </a:lnTo>
                  <a:lnTo>
                    <a:pt x="255" y="241"/>
                  </a:lnTo>
                  <a:lnTo>
                    <a:pt x="255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53" y="245"/>
                  </a:lnTo>
                  <a:lnTo>
                    <a:pt x="250" y="245"/>
                  </a:lnTo>
                  <a:lnTo>
                    <a:pt x="250" y="245"/>
                  </a:lnTo>
                  <a:lnTo>
                    <a:pt x="248" y="248"/>
                  </a:lnTo>
                  <a:lnTo>
                    <a:pt x="248" y="248"/>
                  </a:lnTo>
                  <a:lnTo>
                    <a:pt x="246" y="248"/>
                  </a:lnTo>
                  <a:lnTo>
                    <a:pt x="246" y="248"/>
                  </a:lnTo>
                  <a:lnTo>
                    <a:pt x="243" y="248"/>
                  </a:lnTo>
                  <a:lnTo>
                    <a:pt x="27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38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3" y="233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18"/>
                  </a:lnTo>
                  <a:lnTo>
                    <a:pt x="15" y="113"/>
                  </a:lnTo>
                  <a:lnTo>
                    <a:pt x="96" y="177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37" y="221"/>
                  </a:lnTo>
                  <a:lnTo>
                    <a:pt x="37" y="221"/>
                  </a:lnTo>
                  <a:lnTo>
                    <a:pt x="37" y="221"/>
                  </a:lnTo>
                  <a:lnTo>
                    <a:pt x="37" y="223"/>
                  </a:lnTo>
                  <a:lnTo>
                    <a:pt x="37" y="223"/>
                  </a:lnTo>
                  <a:lnTo>
                    <a:pt x="37" y="223"/>
                  </a:lnTo>
                  <a:lnTo>
                    <a:pt x="37" y="223"/>
                  </a:lnTo>
                  <a:lnTo>
                    <a:pt x="37" y="226"/>
                  </a:lnTo>
                  <a:lnTo>
                    <a:pt x="37" y="226"/>
                  </a:lnTo>
                  <a:lnTo>
                    <a:pt x="37" y="226"/>
                  </a:lnTo>
                  <a:lnTo>
                    <a:pt x="37" y="226"/>
                  </a:lnTo>
                  <a:lnTo>
                    <a:pt x="37" y="226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37" y="228"/>
                  </a:lnTo>
                  <a:lnTo>
                    <a:pt x="40" y="228"/>
                  </a:lnTo>
                  <a:lnTo>
                    <a:pt x="40" y="231"/>
                  </a:lnTo>
                  <a:lnTo>
                    <a:pt x="40" y="231"/>
                  </a:lnTo>
                  <a:lnTo>
                    <a:pt x="40" y="231"/>
                  </a:lnTo>
                  <a:lnTo>
                    <a:pt x="42" y="231"/>
                  </a:lnTo>
                  <a:lnTo>
                    <a:pt x="42" y="231"/>
                  </a:lnTo>
                  <a:lnTo>
                    <a:pt x="42" y="231"/>
                  </a:lnTo>
                  <a:lnTo>
                    <a:pt x="42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106" y="184"/>
                  </a:lnTo>
                  <a:lnTo>
                    <a:pt x="130" y="204"/>
                  </a:lnTo>
                  <a:lnTo>
                    <a:pt x="133" y="204"/>
                  </a:lnTo>
                  <a:lnTo>
                    <a:pt x="133" y="206"/>
                  </a:lnTo>
                  <a:lnTo>
                    <a:pt x="135" y="206"/>
                  </a:lnTo>
                  <a:lnTo>
                    <a:pt x="135" y="206"/>
                  </a:lnTo>
                  <a:lnTo>
                    <a:pt x="135" y="206"/>
                  </a:lnTo>
                  <a:lnTo>
                    <a:pt x="138" y="206"/>
                  </a:lnTo>
                  <a:lnTo>
                    <a:pt x="138" y="204"/>
                  </a:lnTo>
                  <a:lnTo>
                    <a:pt x="140" y="204"/>
                  </a:lnTo>
                  <a:lnTo>
                    <a:pt x="165" y="184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28" y="231"/>
                  </a:lnTo>
                  <a:lnTo>
                    <a:pt x="228" y="231"/>
                  </a:lnTo>
                  <a:lnTo>
                    <a:pt x="228" y="231"/>
                  </a:lnTo>
                  <a:close/>
                  <a:moveTo>
                    <a:pt x="62" y="135"/>
                  </a:moveTo>
                  <a:lnTo>
                    <a:pt x="62" y="52"/>
                  </a:lnTo>
                  <a:lnTo>
                    <a:pt x="209" y="52"/>
                  </a:lnTo>
                  <a:lnTo>
                    <a:pt x="209" y="135"/>
                  </a:lnTo>
                  <a:lnTo>
                    <a:pt x="135" y="192"/>
                  </a:lnTo>
                  <a:lnTo>
                    <a:pt x="62" y="135"/>
                  </a:lnTo>
                  <a:close/>
                  <a:moveTo>
                    <a:pt x="57" y="40"/>
                  </a:move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125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2" y="98"/>
                  </a:lnTo>
                  <a:lnTo>
                    <a:pt x="22" y="96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7" y="93"/>
                  </a:lnTo>
                  <a:lnTo>
                    <a:pt x="32" y="89"/>
                  </a:lnTo>
                  <a:lnTo>
                    <a:pt x="32" y="71"/>
                  </a:lnTo>
                  <a:lnTo>
                    <a:pt x="20" y="84"/>
                  </a:lnTo>
                  <a:lnTo>
                    <a:pt x="18" y="84"/>
                  </a:lnTo>
                  <a:lnTo>
                    <a:pt x="15" y="86"/>
                  </a:lnTo>
                  <a:lnTo>
                    <a:pt x="13" y="89"/>
                  </a:lnTo>
                  <a:lnTo>
                    <a:pt x="13" y="91"/>
                  </a:lnTo>
                  <a:lnTo>
                    <a:pt x="10" y="93"/>
                  </a:lnTo>
                  <a:lnTo>
                    <a:pt x="8" y="96"/>
                  </a:lnTo>
                  <a:lnTo>
                    <a:pt x="8" y="98"/>
                  </a:lnTo>
                  <a:lnTo>
                    <a:pt x="5" y="101"/>
                  </a:lnTo>
                  <a:lnTo>
                    <a:pt x="5" y="103"/>
                  </a:lnTo>
                  <a:lnTo>
                    <a:pt x="3" y="106"/>
                  </a:lnTo>
                  <a:lnTo>
                    <a:pt x="3" y="108"/>
                  </a:lnTo>
                  <a:lnTo>
                    <a:pt x="3" y="111"/>
                  </a:lnTo>
                  <a:lnTo>
                    <a:pt x="0" y="113"/>
                  </a:lnTo>
                  <a:lnTo>
                    <a:pt x="0" y="116"/>
                  </a:lnTo>
                  <a:lnTo>
                    <a:pt x="0" y="118"/>
                  </a:lnTo>
                  <a:lnTo>
                    <a:pt x="0" y="120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3" y="243"/>
                  </a:lnTo>
                  <a:lnTo>
                    <a:pt x="3" y="243"/>
                  </a:lnTo>
                  <a:lnTo>
                    <a:pt x="3" y="245"/>
                  </a:lnTo>
                  <a:lnTo>
                    <a:pt x="3" y="245"/>
                  </a:lnTo>
                  <a:lnTo>
                    <a:pt x="3" y="248"/>
                  </a:lnTo>
                  <a:lnTo>
                    <a:pt x="5" y="248"/>
                  </a:lnTo>
                  <a:lnTo>
                    <a:pt x="5" y="248"/>
                  </a:lnTo>
                  <a:lnTo>
                    <a:pt x="5" y="250"/>
                  </a:lnTo>
                  <a:lnTo>
                    <a:pt x="8" y="250"/>
                  </a:lnTo>
                  <a:lnTo>
                    <a:pt x="8" y="253"/>
                  </a:lnTo>
                  <a:lnTo>
                    <a:pt x="8" y="253"/>
                  </a:lnTo>
                  <a:lnTo>
                    <a:pt x="10" y="253"/>
                  </a:lnTo>
                  <a:lnTo>
                    <a:pt x="10" y="255"/>
                  </a:lnTo>
                  <a:lnTo>
                    <a:pt x="10" y="255"/>
                  </a:lnTo>
                  <a:lnTo>
                    <a:pt x="13" y="255"/>
                  </a:lnTo>
                  <a:lnTo>
                    <a:pt x="13" y="258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8" y="258"/>
                  </a:lnTo>
                  <a:lnTo>
                    <a:pt x="18" y="260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5" y="260"/>
                  </a:lnTo>
                  <a:lnTo>
                    <a:pt x="25" y="260"/>
                  </a:lnTo>
                  <a:lnTo>
                    <a:pt x="27" y="260"/>
                  </a:lnTo>
                  <a:lnTo>
                    <a:pt x="243" y="260"/>
                  </a:lnTo>
                  <a:lnTo>
                    <a:pt x="246" y="260"/>
                  </a:lnTo>
                  <a:lnTo>
                    <a:pt x="246" y="260"/>
                  </a:lnTo>
                  <a:lnTo>
                    <a:pt x="248" y="260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0"/>
                  </a:lnTo>
                  <a:lnTo>
                    <a:pt x="253" y="260"/>
                  </a:lnTo>
                  <a:lnTo>
                    <a:pt x="253" y="258"/>
                  </a:lnTo>
                  <a:lnTo>
                    <a:pt x="255" y="258"/>
                  </a:lnTo>
                  <a:lnTo>
                    <a:pt x="255" y="258"/>
                  </a:lnTo>
                  <a:lnTo>
                    <a:pt x="258" y="258"/>
                  </a:lnTo>
                  <a:lnTo>
                    <a:pt x="258" y="255"/>
                  </a:lnTo>
                  <a:lnTo>
                    <a:pt x="260" y="255"/>
                  </a:lnTo>
                  <a:lnTo>
                    <a:pt x="260" y="255"/>
                  </a:lnTo>
                  <a:lnTo>
                    <a:pt x="260" y="253"/>
                  </a:lnTo>
                  <a:lnTo>
                    <a:pt x="263" y="253"/>
                  </a:lnTo>
                  <a:lnTo>
                    <a:pt x="263" y="253"/>
                  </a:lnTo>
                  <a:lnTo>
                    <a:pt x="265" y="250"/>
                  </a:lnTo>
                  <a:lnTo>
                    <a:pt x="265" y="250"/>
                  </a:lnTo>
                  <a:lnTo>
                    <a:pt x="265" y="248"/>
                  </a:lnTo>
                  <a:lnTo>
                    <a:pt x="265" y="248"/>
                  </a:lnTo>
                  <a:lnTo>
                    <a:pt x="268" y="248"/>
                  </a:lnTo>
                  <a:lnTo>
                    <a:pt x="268" y="245"/>
                  </a:lnTo>
                  <a:lnTo>
                    <a:pt x="268" y="245"/>
                  </a:lnTo>
                  <a:lnTo>
                    <a:pt x="268" y="243"/>
                  </a:lnTo>
                  <a:lnTo>
                    <a:pt x="268" y="243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38"/>
                  </a:lnTo>
                  <a:lnTo>
                    <a:pt x="270" y="236"/>
                  </a:lnTo>
                  <a:lnTo>
                    <a:pt x="270" y="236"/>
                  </a:lnTo>
                  <a:lnTo>
                    <a:pt x="270" y="120"/>
                  </a:lnTo>
                  <a:lnTo>
                    <a:pt x="270" y="118"/>
                  </a:lnTo>
                  <a:lnTo>
                    <a:pt x="270" y="116"/>
                  </a:lnTo>
                  <a:lnTo>
                    <a:pt x="270" y="113"/>
                  </a:lnTo>
                  <a:lnTo>
                    <a:pt x="268" y="111"/>
                  </a:lnTo>
                  <a:lnTo>
                    <a:pt x="268" y="108"/>
                  </a:lnTo>
                  <a:lnTo>
                    <a:pt x="268" y="106"/>
                  </a:lnTo>
                  <a:lnTo>
                    <a:pt x="265" y="103"/>
                  </a:lnTo>
                  <a:lnTo>
                    <a:pt x="265" y="101"/>
                  </a:lnTo>
                  <a:lnTo>
                    <a:pt x="263" y="98"/>
                  </a:lnTo>
                  <a:lnTo>
                    <a:pt x="263" y="96"/>
                  </a:lnTo>
                  <a:lnTo>
                    <a:pt x="260" y="93"/>
                  </a:lnTo>
                  <a:lnTo>
                    <a:pt x="258" y="91"/>
                  </a:lnTo>
                  <a:lnTo>
                    <a:pt x="258" y="89"/>
                  </a:lnTo>
                  <a:lnTo>
                    <a:pt x="255" y="86"/>
                  </a:lnTo>
                  <a:lnTo>
                    <a:pt x="253" y="84"/>
                  </a:lnTo>
                  <a:lnTo>
                    <a:pt x="253" y="84"/>
                  </a:lnTo>
                  <a:lnTo>
                    <a:pt x="238" y="71"/>
                  </a:lnTo>
                  <a:lnTo>
                    <a:pt x="238" y="89"/>
                  </a:lnTo>
                  <a:lnTo>
                    <a:pt x="243" y="93"/>
                  </a:lnTo>
                  <a:lnTo>
                    <a:pt x="246" y="93"/>
                  </a:lnTo>
                  <a:lnTo>
                    <a:pt x="246" y="93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50" y="101"/>
                  </a:lnTo>
                  <a:lnTo>
                    <a:pt x="250" y="101"/>
                  </a:lnTo>
                  <a:lnTo>
                    <a:pt x="221" y="125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2"/>
                  </a:lnTo>
                  <a:lnTo>
                    <a:pt x="221" y="42"/>
                  </a:lnTo>
                  <a:lnTo>
                    <a:pt x="219" y="42"/>
                  </a:lnTo>
                  <a:lnTo>
                    <a:pt x="219" y="42"/>
                  </a:lnTo>
                  <a:lnTo>
                    <a:pt x="219" y="42"/>
                  </a:lnTo>
                  <a:lnTo>
                    <a:pt x="219" y="40"/>
                  </a:lnTo>
                  <a:lnTo>
                    <a:pt x="219" y="40"/>
                  </a:lnTo>
                  <a:lnTo>
                    <a:pt x="216" y="40"/>
                  </a:lnTo>
                  <a:lnTo>
                    <a:pt x="216" y="40"/>
                  </a:lnTo>
                  <a:lnTo>
                    <a:pt x="216" y="40"/>
                  </a:lnTo>
                  <a:lnTo>
                    <a:pt x="216" y="40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57" y="40"/>
                  </a:lnTo>
                  <a:close/>
                  <a:moveTo>
                    <a:pt x="133" y="0"/>
                  </a:moveTo>
                  <a:lnTo>
                    <a:pt x="133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18" y="3"/>
                  </a:lnTo>
                  <a:lnTo>
                    <a:pt x="118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96" y="22"/>
                  </a:lnTo>
                  <a:lnTo>
                    <a:pt x="116" y="22"/>
                  </a:lnTo>
                  <a:lnTo>
                    <a:pt x="123" y="17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8" y="15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3" y="13"/>
                  </a:lnTo>
                  <a:lnTo>
                    <a:pt x="143" y="15"/>
                  </a:lnTo>
                  <a:lnTo>
                    <a:pt x="145" y="15"/>
                  </a:lnTo>
                  <a:lnTo>
                    <a:pt x="145" y="15"/>
                  </a:lnTo>
                  <a:lnTo>
                    <a:pt x="147" y="17"/>
                  </a:lnTo>
                  <a:lnTo>
                    <a:pt x="155" y="22"/>
                  </a:lnTo>
                  <a:lnTo>
                    <a:pt x="174" y="2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2" y="5"/>
                  </a:lnTo>
                  <a:lnTo>
                    <a:pt x="152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47" y="3"/>
                  </a:lnTo>
                  <a:lnTo>
                    <a:pt x="147" y="3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82">
            <a:extLst>
              <a:ext uri="{FF2B5EF4-FFF2-40B4-BE49-F238E27FC236}">
                <a16:creationId xmlns:a16="http://schemas.microsoft.com/office/drawing/2014/main" id="{4A72A2FB-2988-49E2-85AA-B8DC1324ED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0325" y="1531939"/>
            <a:ext cx="841375" cy="841375"/>
            <a:chOff x="1676" y="1021"/>
            <a:chExt cx="530" cy="530"/>
          </a:xfrm>
        </p:grpSpPr>
        <p:sp>
          <p:nvSpPr>
            <p:cNvPr id="99" name="AutoShape 81">
              <a:extLst>
                <a:ext uri="{FF2B5EF4-FFF2-40B4-BE49-F238E27FC236}">
                  <a16:creationId xmlns:a16="http://schemas.microsoft.com/office/drawing/2014/main" id="{7C7D1AC2-4C2F-4BFF-A047-30355CEE3D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6" y="102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83">
              <a:extLst>
                <a:ext uri="{FF2B5EF4-FFF2-40B4-BE49-F238E27FC236}">
                  <a16:creationId xmlns:a16="http://schemas.microsoft.com/office/drawing/2014/main" id="{4A729A29-9C61-4BC0-86C7-097D0CEFA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6" y="102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84">
              <a:extLst>
                <a:ext uri="{FF2B5EF4-FFF2-40B4-BE49-F238E27FC236}">
                  <a16:creationId xmlns:a16="http://schemas.microsoft.com/office/drawing/2014/main" id="{7A2A2783-6EC0-4271-8D23-44B87B9A59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4" y="103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5">
              <a:extLst>
                <a:ext uri="{FF2B5EF4-FFF2-40B4-BE49-F238E27FC236}">
                  <a16:creationId xmlns:a16="http://schemas.microsoft.com/office/drawing/2014/main" id="{3A1DE8C4-8C5F-42D4-AD86-702D1B4655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1" y="1151"/>
              <a:ext cx="282" cy="272"/>
            </a:xfrm>
            <a:custGeom>
              <a:avLst/>
              <a:gdLst>
                <a:gd name="T0" fmla="*/ 98 w 282"/>
                <a:gd name="T1" fmla="*/ 100 h 272"/>
                <a:gd name="T2" fmla="*/ 238 w 282"/>
                <a:gd name="T3" fmla="*/ 241 h 272"/>
                <a:gd name="T4" fmla="*/ 244 w 282"/>
                <a:gd name="T5" fmla="*/ 239 h 272"/>
                <a:gd name="T6" fmla="*/ 244 w 282"/>
                <a:gd name="T7" fmla="*/ 236 h 272"/>
                <a:gd name="T8" fmla="*/ 244 w 282"/>
                <a:gd name="T9" fmla="*/ 231 h 272"/>
                <a:gd name="T10" fmla="*/ 267 w 282"/>
                <a:gd name="T11" fmla="*/ 118 h 272"/>
                <a:gd name="T12" fmla="*/ 269 w 282"/>
                <a:gd name="T13" fmla="*/ 246 h 272"/>
                <a:gd name="T14" fmla="*/ 264 w 282"/>
                <a:gd name="T15" fmla="*/ 254 h 272"/>
                <a:gd name="T16" fmla="*/ 256 w 282"/>
                <a:gd name="T17" fmla="*/ 259 h 272"/>
                <a:gd name="T18" fmla="*/ 23 w 282"/>
                <a:gd name="T19" fmla="*/ 259 h 272"/>
                <a:gd name="T20" fmla="*/ 18 w 282"/>
                <a:gd name="T21" fmla="*/ 254 h 272"/>
                <a:gd name="T22" fmla="*/ 13 w 282"/>
                <a:gd name="T23" fmla="*/ 246 h 272"/>
                <a:gd name="T24" fmla="*/ 100 w 282"/>
                <a:gd name="T25" fmla="*/ 185 h 272"/>
                <a:gd name="T26" fmla="*/ 39 w 282"/>
                <a:gd name="T27" fmla="*/ 233 h 272"/>
                <a:gd name="T28" fmla="*/ 39 w 282"/>
                <a:gd name="T29" fmla="*/ 236 h 272"/>
                <a:gd name="T30" fmla="*/ 39 w 282"/>
                <a:gd name="T31" fmla="*/ 239 h 272"/>
                <a:gd name="T32" fmla="*/ 44 w 282"/>
                <a:gd name="T33" fmla="*/ 241 h 272"/>
                <a:gd name="T34" fmla="*/ 110 w 282"/>
                <a:gd name="T35" fmla="*/ 193 h 272"/>
                <a:gd name="T36" fmla="*/ 141 w 282"/>
                <a:gd name="T37" fmla="*/ 216 h 272"/>
                <a:gd name="T38" fmla="*/ 236 w 282"/>
                <a:gd name="T39" fmla="*/ 241 h 272"/>
                <a:gd name="T40" fmla="*/ 64 w 282"/>
                <a:gd name="T41" fmla="*/ 54 h 272"/>
                <a:gd name="T42" fmla="*/ 57 w 282"/>
                <a:gd name="T43" fmla="*/ 41 h 272"/>
                <a:gd name="T44" fmla="*/ 54 w 282"/>
                <a:gd name="T45" fmla="*/ 41 h 272"/>
                <a:gd name="T46" fmla="*/ 52 w 282"/>
                <a:gd name="T47" fmla="*/ 47 h 272"/>
                <a:gd name="T48" fmla="*/ 21 w 282"/>
                <a:gd name="T49" fmla="*/ 105 h 272"/>
                <a:gd name="T50" fmla="*/ 34 w 282"/>
                <a:gd name="T51" fmla="*/ 93 h 272"/>
                <a:gd name="T52" fmla="*/ 13 w 282"/>
                <a:gd name="T53" fmla="*/ 95 h 272"/>
                <a:gd name="T54" fmla="*/ 3 w 282"/>
                <a:gd name="T55" fmla="*/ 111 h 272"/>
                <a:gd name="T56" fmla="*/ 0 w 282"/>
                <a:gd name="T57" fmla="*/ 126 h 272"/>
                <a:gd name="T58" fmla="*/ 0 w 282"/>
                <a:gd name="T59" fmla="*/ 251 h 272"/>
                <a:gd name="T60" fmla="*/ 5 w 282"/>
                <a:gd name="T61" fmla="*/ 259 h 272"/>
                <a:gd name="T62" fmla="*/ 11 w 282"/>
                <a:gd name="T63" fmla="*/ 264 h 272"/>
                <a:gd name="T64" fmla="*/ 16 w 282"/>
                <a:gd name="T65" fmla="*/ 269 h 272"/>
                <a:gd name="T66" fmla="*/ 23 w 282"/>
                <a:gd name="T67" fmla="*/ 272 h 272"/>
                <a:gd name="T68" fmla="*/ 256 w 282"/>
                <a:gd name="T69" fmla="*/ 272 h 272"/>
                <a:gd name="T70" fmla="*/ 264 w 282"/>
                <a:gd name="T71" fmla="*/ 269 h 272"/>
                <a:gd name="T72" fmla="*/ 272 w 282"/>
                <a:gd name="T73" fmla="*/ 267 h 272"/>
                <a:gd name="T74" fmla="*/ 277 w 282"/>
                <a:gd name="T75" fmla="*/ 259 h 272"/>
                <a:gd name="T76" fmla="*/ 279 w 282"/>
                <a:gd name="T77" fmla="*/ 254 h 272"/>
                <a:gd name="T78" fmla="*/ 282 w 282"/>
                <a:gd name="T79" fmla="*/ 126 h 272"/>
                <a:gd name="T80" fmla="*/ 279 w 282"/>
                <a:gd name="T81" fmla="*/ 111 h 272"/>
                <a:gd name="T82" fmla="*/ 269 w 282"/>
                <a:gd name="T83" fmla="*/ 95 h 272"/>
                <a:gd name="T84" fmla="*/ 249 w 282"/>
                <a:gd name="T85" fmla="*/ 93 h 272"/>
                <a:gd name="T86" fmla="*/ 262 w 282"/>
                <a:gd name="T87" fmla="*/ 105 h 272"/>
                <a:gd name="T88" fmla="*/ 231 w 282"/>
                <a:gd name="T89" fmla="*/ 47 h 272"/>
                <a:gd name="T90" fmla="*/ 228 w 282"/>
                <a:gd name="T91" fmla="*/ 41 h 272"/>
                <a:gd name="T92" fmla="*/ 226 w 282"/>
                <a:gd name="T93" fmla="*/ 41 h 272"/>
                <a:gd name="T94" fmla="*/ 136 w 282"/>
                <a:gd name="T95" fmla="*/ 0 h 272"/>
                <a:gd name="T96" fmla="*/ 128 w 282"/>
                <a:gd name="T97" fmla="*/ 3 h 272"/>
                <a:gd name="T98" fmla="*/ 121 w 282"/>
                <a:gd name="T99" fmla="*/ 6 h 272"/>
                <a:gd name="T100" fmla="*/ 133 w 282"/>
                <a:gd name="T101" fmla="*/ 16 h 272"/>
                <a:gd name="T102" fmla="*/ 144 w 282"/>
                <a:gd name="T103" fmla="*/ 13 h 272"/>
                <a:gd name="T104" fmla="*/ 151 w 282"/>
                <a:gd name="T105" fmla="*/ 16 h 272"/>
                <a:gd name="T106" fmla="*/ 159 w 282"/>
                <a:gd name="T107" fmla="*/ 6 h 272"/>
                <a:gd name="T108" fmla="*/ 151 w 282"/>
                <a:gd name="T109" fmla="*/ 0 h 272"/>
                <a:gd name="T110" fmla="*/ 144 w 282"/>
                <a:gd name="T111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2" h="272">
                  <a:moveTo>
                    <a:pt x="98" y="131"/>
                  </a:moveTo>
                  <a:lnTo>
                    <a:pt x="136" y="131"/>
                  </a:lnTo>
                  <a:lnTo>
                    <a:pt x="136" y="116"/>
                  </a:lnTo>
                  <a:lnTo>
                    <a:pt x="98" y="116"/>
                  </a:lnTo>
                  <a:lnTo>
                    <a:pt x="98" y="131"/>
                  </a:lnTo>
                  <a:close/>
                  <a:moveTo>
                    <a:pt x="98" y="100"/>
                  </a:moveTo>
                  <a:lnTo>
                    <a:pt x="185" y="100"/>
                  </a:lnTo>
                  <a:lnTo>
                    <a:pt x="185" y="88"/>
                  </a:lnTo>
                  <a:lnTo>
                    <a:pt x="98" y="88"/>
                  </a:lnTo>
                  <a:lnTo>
                    <a:pt x="98" y="100"/>
                  </a:lnTo>
                  <a:close/>
                  <a:moveTo>
                    <a:pt x="238" y="241"/>
                  </a:moveTo>
                  <a:lnTo>
                    <a:pt x="238" y="241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41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6"/>
                  </a:lnTo>
                  <a:lnTo>
                    <a:pt x="244" y="236"/>
                  </a:lnTo>
                  <a:lnTo>
                    <a:pt x="244" y="236"/>
                  </a:lnTo>
                  <a:lnTo>
                    <a:pt x="244" y="236"/>
                  </a:lnTo>
                  <a:lnTo>
                    <a:pt x="244" y="236"/>
                  </a:lnTo>
                  <a:lnTo>
                    <a:pt x="244" y="233"/>
                  </a:lnTo>
                  <a:lnTo>
                    <a:pt x="244" y="233"/>
                  </a:lnTo>
                  <a:lnTo>
                    <a:pt x="244" y="233"/>
                  </a:lnTo>
                  <a:lnTo>
                    <a:pt x="244" y="233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41" y="231"/>
                  </a:lnTo>
                  <a:lnTo>
                    <a:pt x="241" y="231"/>
                  </a:lnTo>
                  <a:lnTo>
                    <a:pt x="182" y="185"/>
                  </a:lnTo>
                  <a:lnTo>
                    <a:pt x="267" y="118"/>
                  </a:lnTo>
                  <a:lnTo>
                    <a:pt x="269" y="123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9" y="246"/>
                  </a:lnTo>
                  <a:lnTo>
                    <a:pt x="267" y="249"/>
                  </a:lnTo>
                  <a:lnTo>
                    <a:pt x="267" y="251"/>
                  </a:lnTo>
                  <a:lnTo>
                    <a:pt x="267" y="251"/>
                  </a:lnTo>
                  <a:lnTo>
                    <a:pt x="267" y="251"/>
                  </a:lnTo>
                  <a:lnTo>
                    <a:pt x="264" y="254"/>
                  </a:lnTo>
                  <a:lnTo>
                    <a:pt x="264" y="254"/>
                  </a:lnTo>
                  <a:lnTo>
                    <a:pt x="264" y="257"/>
                  </a:lnTo>
                  <a:lnTo>
                    <a:pt x="262" y="257"/>
                  </a:lnTo>
                  <a:lnTo>
                    <a:pt x="262" y="257"/>
                  </a:lnTo>
                  <a:lnTo>
                    <a:pt x="259" y="259"/>
                  </a:lnTo>
                  <a:lnTo>
                    <a:pt x="259" y="259"/>
                  </a:lnTo>
                  <a:lnTo>
                    <a:pt x="256" y="259"/>
                  </a:lnTo>
                  <a:lnTo>
                    <a:pt x="256" y="259"/>
                  </a:lnTo>
                  <a:lnTo>
                    <a:pt x="254" y="259"/>
                  </a:lnTo>
                  <a:lnTo>
                    <a:pt x="29" y="259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1" y="257"/>
                  </a:lnTo>
                  <a:lnTo>
                    <a:pt x="21" y="257"/>
                  </a:lnTo>
                  <a:lnTo>
                    <a:pt x="18" y="257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6" y="251"/>
                  </a:lnTo>
                  <a:lnTo>
                    <a:pt x="16" y="251"/>
                  </a:lnTo>
                  <a:lnTo>
                    <a:pt x="16" y="251"/>
                  </a:lnTo>
                  <a:lnTo>
                    <a:pt x="16" y="249"/>
                  </a:lnTo>
                  <a:lnTo>
                    <a:pt x="13" y="246"/>
                  </a:lnTo>
                  <a:lnTo>
                    <a:pt x="13" y="246"/>
                  </a:lnTo>
                  <a:lnTo>
                    <a:pt x="13" y="244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3"/>
                  </a:lnTo>
                  <a:lnTo>
                    <a:pt x="16" y="118"/>
                  </a:lnTo>
                  <a:lnTo>
                    <a:pt x="100" y="185"/>
                  </a:lnTo>
                  <a:lnTo>
                    <a:pt x="41" y="231"/>
                  </a:lnTo>
                  <a:lnTo>
                    <a:pt x="41" y="231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39" y="233"/>
                  </a:lnTo>
                  <a:lnTo>
                    <a:pt x="39" y="233"/>
                  </a:lnTo>
                  <a:lnTo>
                    <a:pt x="39" y="233"/>
                  </a:lnTo>
                  <a:lnTo>
                    <a:pt x="39" y="233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41" y="239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6" y="241"/>
                  </a:lnTo>
                  <a:lnTo>
                    <a:pt x="46" y="241"/>
                  </a:lnTo>
                  <a:lnTo>
                    <a:pt x="46" y="241"/>
                  </a:lnTo>
                  <a:lnTo>
                    <a:pt x="110" y="193"/>
                  </a:lnTo>
                  <a:lnTo>
                    <a:pt x="136" y="213"/>
                  </a:lnTo>
                  <a:lnTo>
                    <a:pt x="139" y="213"/>
                  </a:lnTo>
                  <a:lnTo>
                    <a:pt x="139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4" y="216"/>
                  </a:lnTo>
                  <a:lnTo>
                    <a:pt x="144" y="213"/>
                  </a:lnTo>
                  <a:lnTo>
                    <a:pt x="146" y="213"/>
                  </a:lnTo>
                  <a:lnTo>
                    <a:pt x="172" y="193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8" y="241"/>
                  </a:lnTo>
                  <a:lnTo>
                    <a:pt x="238" y="241"/>
                  </a:lnTo>
                  <a:lnTo>
                    <a:pt x="238" y="241"/>
                  </a:lnTo>
                  <a:close/>
                  <a:moveTo>
                    <a:pt x="64" y="141"/>
                  </a:moveTo>
                  <a:lnTo>
                    <a:pt x="64" y="54"/>
                  </a:lnTo>
                  <a:lnTo>
                    <a:pt x="218" y="54"/>
                  </a:lnTo>
                  <a:lnTo>
                    <a:pt x="218" y="141"/>
                  </a:lnTo>
                  <a:lnTo>
                    <a:pt x="141" y="200"/>
                  </a:lnTo>
                  <a:lnTo>
                    <a:pt x="64" y="141"/>
                  </a:lnTo>
                  <a:close/>
                  <a:moveTo>
                    <a:pt x="59" y="41"/>
                  </a:move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131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3" y="103"/>
                  </a:lnTo>
                  <a:lnTo>
                    <a:pt x="23" y="100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9" y="98"/>
                  </a:lnTo>
                  <a:lnTo>
                    <a:pt x="34" y="93"/>
                  </a:lnTo>
                  <a:lnTo>
                    <a:pt x="34" y="75"/>
                  </a:lnTo>
                  <a:lnTo>
                    <a:pt x="21" y="88"/>
                  </a:lnTo>
                  <a:lnTo>
                    <a:pt x="18" y="88"/>
                  </a:lnTo>
                  <a:lnTo>
                    <a:pt x="16" y="90"/>
                  </a:lnTo>
                  <a:lnTo>
                    <a:pt x="13" y="93"/>
                  </a:lnTo>
                  <a:lnTo>
                    <a:pt x="13" y="95"/>
                  </a:lnTo>
                  <a:lnTo>
                    <a:pt x="11" y="98"/>
                  </a:lnTo>
                  <a:lnTo>
                    <a:pt x="8" y="100"/>
                  </a:lnTo>
                  <a:lnTo>
                    <a:pt x="8" y="103"/>
                  </a:lnTo>
                  <a:lnTo>
                    <a:pt x="5" y="105"/>
                  </a:lnTo>
                  <a:lnTo>
                    <a:pt x="5" y="108"/>
                  </a:lnTo>
                  <a:lnTo>
                    <a:pt x="3" y="111"/>
                  </a:lnTo>
                  <a:lnTo>
                    <a:pt x="3" y="113"/>
                  </a:lnTo>
                  <a:lnTo>
                    <a:pt x="3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244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3" y="254"/>
                  </a:lnTo>
                  <a:lnTo>
                    <a:pt x="3" y="254"/>
                  </a:lnTo>
                  <a:lnTo>
                    <a:pt x="3" y="257"/>
                  </a:lnTo>
                  <a:lnTo>
                    <a:pt x="3" y="257"/>
                  </a:lnTo>
                  <a:lnTo>
                    <a:pt x="3" y="259"/>
                  </a:lnTo>
                  <a:lnTo>
                    <a:pt x="5" y="259"/>
                  </a:lnTo>
                  <a:lnTo>
                    <a:pt x="5" y="259"/>
                  </a:lnTo>
                  <a:lnTo>
                    <a:pt x="5" y="262"/>
                  </a:lnTo>
                  <a:lnTo>
                    <a:pt x="8" y="262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11" y="264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3" y="267"/>
                  </a:lnTo>
                  <a:lnTo>
                    <a:pt x="13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8" y="269"/>
                  </a:lnTo>
                  <a:lnTo>
                    <a:pt x="18" y="272"/>
                  </a:lnTo>
                  <a:lnTo>
                    <a:pt x="21" y="272"/>
                  </a:lnTo>
                  <a:lnTo>
                    <a:pt x="21" y="272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29" y="272"/>
                  </a:lnTo>
                  <a:lnTo>
                    <a:pt x="254" y="272"/>
                  </a:lnTo>
                  <a:lnTo>
                    <a:pt x="256" y="272"/>
                  </a:lnTo>
                  <a:lnTo>
                    <a:pt x="256" y="272"/>
                  </a:lnTo>
                  <a:lnTo>
                    <a:pt x="259" y="272"/>
                  </a:lnTo>
                  <a:lnTo>
                    <a:pt x="259" y="272"/>
                  </a:lnTo>
                  <a:lnTo>
                    <a:pt x="262" y="272"/>
                  </a:lnTo>
                  <a:lnTo>
                    <a:pt x="262" y="272"/>
                  </a:lnTo>
                  <a:lnTo>
                    <a:pt x="264" y="272"/>
                  </a:lnTo>
                  <a:lnTo>
                    <a:pt x="264" y="269"/>
                  </a:lnTo>
                  <a:lnTo>
                    <a:pt x="267" y="269"/>
                  </a:lnTo>
                  <a:lnTo>
                    <a:pt x="267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4"/>
                  </a:lnTo>
                  <a:lnTo>
                    <a:pt x="274" y="264"/>
                  </a:lnTo>
                  <a:lnTo>
                    <a:pt x="274" y="264"/>
                  </a:lnTo>
                  <a:lnTo>
                    <a:pt x="277" y="262"/>
                  </a:lnTo>
                  <a:lnTo>
                    <a:pt x="277" y="262"/>
                  </a:lnTo>
                  <a:lnTo>
                    <a:pt x="277" y="259"/>
                  </a:lnTo>
                  <a:lnTo>
                    <a:pt x="277" y="259"/>
                  </a:lnTo>
                  <a:lnTo>
                    <a:pt x="279" y="259"/>
                  </a:lnTo>
                  <a:lnTo>
                    <a:pt x="279" y="257"/>
                  </a:lnTo>
                  <a:lnTo>
                    <a:pt x="279" y="257"/>
                  </a:lnTo>
                  <a:lnTo>
                    <a:pt x="279" y="254"/>
                  </a:lnTo>
                  <a:lnTo>
                    <a:pt x="279" y="254"/>
                  </a:lnTo>
                  <a:lnTo>
                    <a:pt x="282" y="251"/>
                  </a:lnTo>
                  <a:lnTo>
                    <a:pt x="282" y="251"/>
                  </a:lnTo>
                  <a:lnTo>
                    <a:pt x="282" y="249"/>
                  </a:lnTo>
                  <a:lnTo>
                    <a:pt x="282" y="246"/>
                  </a:lnTo>
                  <a:lnTo>
                    <a:pt x="282" y="246"/>
                  </a:lnTo>
                  <a:lnTo>
                    <a:pt x="282" y="126"/>
                  </a:lnTo>
                  <a:lnTo>
                    <a:pt x="282" y="123"/>
                  </a:lnTo>
                  <a:lnTo>
                    <a:pt x="282" y="121"/>
                  </a:lnTo>
                  <a:lnTo>
                    <a:pt x="282" y="118"/>
                  </a:lnTo>
                  <a:lnTo>
                    <a:pt x="279" y="116"/>
                  </a:lnTo>
                  <a:lnTo>
                    <a:pt x="279" y="113"/>
                  </a:lnTo>
                  <a:lnTo>
                    <a:pt x="279" y="111"/>
                  </a:lnTo>
                  <a:lnTo>
                    <a:pt x="277" y="108"/>
                  </a:lnTo>
                  <a:lnTo>
                    <a:pt x="277" y="105"/>
                  </a:lnTo>
                  <a:lnTo>
                    <a:pt x="274" y="103"/>
                  </a:lnTo>
                  <a:lnTo>
                    <a:pt x="274" y="100"/>
                  </a:lnTo>
                  <a:lnTo>
                    <a:pt x="272" y="98"/>
                  </a:lnTo>
                  <a:lnTo>
                    <a:pt x="269" y="95"/>
                  </a:lnTo>
                  <a:lnTo>
                    <a:pt x="269" y="93"/>
                  </a:lnTo>
                  <a:lnTo>
                    <a:pt x="267" y="90"/>
                  </a:lnTo>
                  <a:lnTo>
                    <a:pt x="264" y="88"/>
                  </a:lnTo>
                  <a:lnTo>
                    <a:pt x="264" y="88"/>
                  </a:lnTo>
                  <a:lnTo>
                    <a:pt x="249" y="75"/>
                  </a:lnTo>
                  <a:lnTo>
                    <a:pt x="249" y="93"/>
                  </a:lnTo>
                  <a:lnTo>
                    <a:pt x="254" y="98"/>
                  </a:lnTo>
                  <a:lnTo>
                    <a:pt x="256" y="98"/>
                  </a:lnTo>
                  <a:lnTo>
                    <a:pt x="256" y="98"/>
                  </a:lnTo>
                  <a:lnTo>
                    <a:pt x="259" y="100"/>
                  </a:lnTo>
                  <a:lnTo>
                    <a:pt x="259" y="103"/>
                  </a:lnTo>
                  <a:lnTo>
                    <a:pt x="262" y="105"/>
                  </a:lnTo>
                  <a:lnTo>
                    <a:pt x="262" y="105"/>
                  </a:lnTo>
                  <a:lnTo>
                    <a:pt x="231" y="131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4"/>
                  </a:lnTo>
                  <a:lnTo>
                    <a:pt x="231" y="44"/>
                  </a:lnTo>
                  <a:lnTo>
                    <a:pt x="228" y="44"/>
                  </a:lnTo>
                  <a:lnTo>
                    <a:pt x="228" y="44"/>
                  </a:lnTo>
                  <a:lnTo>
                    <a:pt x="228" y="44"/>
                  </a:lnTo>
                  <a:lnTo>
                    <a:pt x="228" y="41"/>
                  </a:lnTo>
                  <a:lnTo>
                    <a:pt x="228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3" y="41"/>
                  </a:lnTo>
                  <a:lnTo>
                    <a:pt x="59" y="41"/>
                  </a:lnTo>
                  <a:close/>
                  <a:moveTo>
                    <a:pt x="139" y="0"/>
                  </a:moveTo>
                  <a:lnTo>
                    <a:pt x="139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3" y="3"/>
                  </a:lnTo>
                  <a:lnTo>
                    <a:pt x="123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00" y="24"/>
                  </a:lnTo>
                  <a:lnTo>
                    <a:pt x="121" y="24"/>
                  </a:lnTo>
                  <a:lnTo>
                    <a:pt x="128" y="18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3" y="16"/>
                  </a:lnTo>
                  <a:lnTo>
                    <a:pt x="133" y="13"/>
                  </a:lnTo>
                  <a:lnTo>
                    <a:pt x="136" y="13"/>
                  </a:lnTo>
                  <a:lnTo>
                    <a:pt x="139" y="13"/>
                  </a:lnTo>
                  <a:lnTo>
                    <a:pt x="139" y="13"/>
                  </a:lnTo>
                  <a:lnTo>
                    <a:pt x="141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9" y="13"/>
                  </a:lnTo>
                  <a:lnTo>
                    <a:pt x="149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4" y="18"/>
                  </a:lnTo>
                  <a:lnTo>
                    <a:pt x="162" y="24"/>
                  </a:lnTo>
                  <a:lnTo>
                    <a:pt x="182" y="24"/>
                  </a:lnTo>
                  <a:lnTo>
                    <a:pt x="162" y="6"/>
                  </a:lnTo>
                  <a:lnTo>
                    <a:pt x="162" y="6"/>
                  </a:lnTo>
                  <a:lnTo>
                    <a:pt x="159" y="6"/>
                  </a:lnTo>
                  <a:lnTo>
                    <a:pt x="159" y="3"/>
                  </a:lnTo>
                  <a:lnTo>
                    <a:pt x="157" y="3"/>
                  </a:lnTo>
                  <a:lnTo>
                    <a:pt x="157" y="3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88">
            <a:extLst>
              <a:ext uri="{FF2B5EF4-FFF2-40B4-BE49-F238E27FC236}">
                <a16:creationId xmlns:a16="http://schemas.microsoft.com/office/drawing/2014/main" id="{EB687F21-C2E6-4FF5-B63E-4808C76F7E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4541" y="1573214"/>
            <a:ext cx="758825" cy="758825"/>
            <a:chOff x="3684" y="1096"/>
            <a:chExt cx="478" cy="478"/>
          </a:xfrm>
        </p:grpSpPr>
        <p:sp>
          <p:nvSpPr>
            <p:cNvPr id="108" name="AutoShape 87">
              <a:extLst>
                <a:ext uri="{FF2B5EF4-FFF2-40B4-BE49-F238E27FC236}">
                  <a16:creationId xmlns:a16="http://schemas.microsoft.com/office/drawing/2014/main" id="{93183E8F-BC88-4380-B978-3AA07410E9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84" y="109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9">
              <a:extLst>
                <a:ext uri="{FF2B5EF4-FFF2-40B4-BE49-F238E27FC236}">
                  <a16:creationId xmlns:a16="http://schemas.microsoft.com/office/drawing/2014/main" id="{A858C8FA-18D1-4359-890C-00D0B54E9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" y="109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0">
              <a:extLst>
                <a:ext uri="{FF2B5EF4-FFF2-40B4-BE49-F238E27FC236}">
                  <a16:creationId xmlns:a16="http://schemas.microsoft.com/office/drawing/2014/main" id="{F37FDE22-F3B0-405C-8061-FD292EC19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2" y="1290"/>
              <a:ext cx="59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91">
              <a:extLst>
                <a:ext uri="{FF2B5EF4-FFF2-40B4-BE49-F238E27FC236}">
                  <a16:creationId xmlns:a16="http://schemas.microsoft.com/office/drawing/2014/main" id="{1C59A37B-4EFC-432F-A900-BF3BE6699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2" y="1317"/>
              <a:ext cx="44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2">
              <a:extLst>
                <a:ext uri="{FF2B5EF4-FFF2-40B4-BE49-F238E27FC236}">
                  <a16:creationId xmlns:a16="http://schemas.microsoft.com/office/drawing/2014/main" id="{AC046B95-A3FD-4708-AA83-96BA788F9E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9" y="1194"/>
              <a:ext cx="211" cy="265"/>
            </a:xfrm>
            <a:custGeom>
              <a:avLst/>
              <a:gdLst>
                <a:gd name="T0" fmla="*/ 108 w 211"/>
                <a:gd name="T1" fmla="*/ 0 h 265"/>
                <a:gd name="T2" fmla="*/ 105 w 211"/>
                <a:gd name="T3" fmla="*/ 0 h 265"/>
                <a:gd name="T4" fmla="*/ 100 w 211"/>
                <a:gd name="T5" fmla="*/ 2 h 265"/>
                <a:gd name="T6" fmla="*/ 0 w 211"/>
                <a:gd name="T7" fmla="*/ 103 h 265"/>
                <a:gd name="T8" fmla="*/ 2 w 211"/>
                <a:gd name="T9" fmla="*/ 262 h 265"/>
                <a:gd name="T10" fmla="*/ 7 w 211"/>
                <a:gd name="T11" fmla="*/ 265 h 265"/>
                <a:gd name="T12" fmla="*/ 208 w 211"/>
                <a:gd name="T13" fmla="*/ 262 h 265"/>
                <a:gd name="T14" fmla="*/ 211 w 211"/>
                <a:gd name="T15" fmla="*/ 260 h 265"/>
                <a:gd name="T16" fmla="*/ 208 w 211"/>
                <a:gd name="T17" fmla="*/ 101 h 265"/>
                <a:gd name="T18" fmla="*/ 196 w 211"/>
                <a:gd name="T19" fmla="*/ 105 h 265"/>
                <a:gd name="T20" fmla="*/ 167 w 211"/>
                <a:gd name="T21" fmla="*/ 74 h 265"/>
                <a:gd name="T22" fmla="*/ 149 w 211"/>
                <a:gd name="T23" fmla="*/ 59 h 265"/>
                <a:gd name="T24" fmla="*/ 105 w 211"/>
                <a:gd name="T25" fmla="*/ 15 h 265"/>
                <a:gd name="T26" fmla="*/ 159 w 211"/>
                <a:gd name="T27" fmla="*/ 66 h 265"/>
                <a:gd name="T28" fmla="*/ 127 w 211"/>
                <a:gd name="T29" fmla="*/ 174 h 265"/>
                <a:gd name="T30" fmla="*/ 108 w 211"/>
                <a:gd name="T31" fmla="*/ 154 h 265"/>
                <a:gd name="T32" fmla="*/ 103 w 211"/>
                <a:gd name="T33" fmla="*/ 157 h 265"/>
                <a:gd name="T34" fmla="*/ 83 w 211"/>
                <a:gd name="T35" fmla="*/ 174 h 265"/>
                <a:gd name="T36" fmla="*/ 51 w 211"/>
                <a:gd name="T37" fmla="*/ 66 h 265"/>
                <a:gd name="T38" fmla="*/ 44 w 211"/>
                <a:gd name="T39" fmla="*/ 135 h 265"/>
                <a:gd name="T40" fmla="*/ 44 w 211"/>
                <a:gd name="T41" fmla="*/ 74 h 265"/>
                <a:gd name="T42" fmla="*/ 12 w 211"/>
                <a:gd name="T43" fmla="*/ 253 h 265"/>
                <a:gd name="T44" fmla="*/ 76 w 211"/>
                <a:gd name="T45" fmla="*/ 181 h 265"/>
                <a:gd name="T46" fmla="*/ 32 w 211"/>
                <a:gd name="T47" fmla="*/ 228 h 265"/>
                <a:gd name="T48" fmla="*/ 34 w 211"/>
                <a:gd name="T49" fmla="*/ 233 h 265"/>
                <a:gd name="T50" fmla="*/ 37 w 211"/>
                <a:gd name="T51" fmla="*/ 233 h 265"/>
                <a:gd name="T52" fmla="*/ 39 w 211"/>
                <a:gd name="T53" fmla="*/ 233 h 265"/>
                <a:gd name="T54" fmla="*/ 105 w 211"/>
                <a:gd name="T55" fmla="*/ 169 h 265"/>
                <a:gd name="T56" fmla="*/ 174 w 211"/>
                <a:gd name="T57" fmla="*/ 233 h 265"/>
                <a:gd name="T58" fmla="*/ 179 w 211"/>
                <a:gd name="T59" fmla="*/ 228 h 265"/>
                <a:gd name="T60" fmla="*/ 179 w 211"/>
                <a:gd name="T61" fmla="*/ 228 h 265"/>
                <a:gd name="T62" fmla="*/ 135 w 211"/>
                <a:gd name="T63" fmla="*/ 181 h 265"/>
                <a:gd name="T64" fmla="*/ 198 w 211"/>
                <a:gd name="T65" fmla="*/ 25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265">
                  <a:moveTo>
                    <a:pt x="208" y="101"/>
                  </a:moveTo>
                  <a:lnTo>
                    <a:pt x="108" y="0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5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208" y="262"/>
                  </a:lnTo>
                  <a:lnTo>
                    <a:pt x="211" y="260"/>
                  </a:lnTo>
                  <a:lnTo>
                    <a:pt x="211" y="260"/>
                  </a:lnTo>
                  <a:lnTo>
                    <a:pt x="208" y="101"/>
                  </a:lnTo>
                  <a:lnTo>
                    <a:pt x="208" y="101"/>
                  </a:lnTo>
                  <a:close/>
                  <a:moveTo>
                    <a:pt x="167" y="74"/>
                  </a:moveTo>
                  <a:lnTo>
                    <a:pt x="196" y="105"/>
                  </a:lnTo>
                  <a:lnTo>
                    <a:pt x="167" y="135"/>
                  </a:lnTo>
                  <a:lnTo>
                    <a:pt x="167" y="74"/>
                  </a:lnTo>
                  <a:close/>
                  <a:moveTo>
                    <a:pt x="105" y="15"/>
                  </a:moveTo>
                  <a:lnTo>
                    <a:pt x="149" y="59"/>
                  </a:lnTo>
                  <a:lnTo>
                    <a:pt x="61" y="59"/>
                  </a:lnTo>
                  <a:lnTo>
                    <a:pt x="105" y="15"/>
                  </a:lnTo>
                  <a:close/>
                  <a:moveTo>
                    <a:pt x="51" y="66"/>
                  </a:moveTo>
                  <a:lnTo>
                    <a:pt x="159" y="66"/>
                  </a:lnTo>
                  <a:lnTo>
                    <a:pt x="159" y="142"/>
                  </a:lnTo>
                  <a:lnTo>
                    <a:pt x="127" y="174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5" y="154"/>
                  </a:lnTo>
                  <a:lnTo>
                    <a:pt x="103" y="157"/>
                  </a:lnTo>
                  <a:lnTo>
                    <a:pt x="100" y="157"/>
                  </a:lnTo>
                  <a:lnTo>
                    <a:pt x="83" y="174"/>
                  </a:lnTo>
                  <a:lnTo>
                    <a:pt x="51" y="142"/>
                  </a:lnTo>
                  <a:lnTo>
                    <a:pt x="51" y="66"/>
                  </a:lnTo>
                  <a:close/>
                  <a:moveTo>
                    <a:pt x="44" y="74"/>
                  </a:moveTo>
                  <a:lnTo>
                    <a:pt x="44" y="135"/>
                  </a:lnTo>
                  <a:lnTo>
                    <a:pt x="15" y="105"/>
                  </a:lnTo>
                  <a:lnTo>
                    <a:pt x="44" y="74"/>
                  </a:lnTo>
                  <a:close/>
                  <a:moveTo>
                    <a:pt x="198" y="253"/>
                  </a:moveTo>
                  <a:lnTo>
                    <a:pt x="12" y="253"/>
                  </a:lnTo>
                  <a:lnTo>
                    <a:pt x="12" y="118"/>
                  </a:lnTo>
                  <a:lnTo>
                    <a:pt x="76" y="181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2" y="230"/>
                  </a:lnTo>
                  <a:lnTo>
                    <a:pt x="34" y="233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9" y="233"/>
                  </a:lnTo>
                  <a:lnTo>
                    <a:pt x="41" y="233"/>
                  </a:lnTo>
                  <a:lnTo>
                    <a:pt x="105" y="169"/>
                  </a:lnTo>
                  <a:lnTo>
                    <a:pt x="171" y="233"/>
                  </a:lnTo>
                  <a:lnTo>
                    <a:pt x="174" y="233"/>
                  </a:lnTo>
                  <a:lnTo>
                    <a:pt x="176" y="233"/>
                  </a:lnTo>
                  <a:lnTo>
                    <a:pt x="179" y="228"/>
                  </a:lnTo>
                  <a:lnTo>
                    <a:pt x="179" y="228"/>
                  </a:lnTo>
                  <a:lnTo>
                    <a:pt x="179" y="228"/>
                  </a:lnTo>
                  <a:lnTo>
                    <a:pt x="176" y="223"/>
                  </a:lnTo>
                  <a:lnTo>
                    <a:pt x="135" y="181"/>
                  </a:lnTo>
                  <a:lnTo>
                    <a:pt x="198" y="118"/>
                  </a:lnTo>
                  <a:lnTo>
                    <a:pt x="198" y="25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95">
            <a:extLst>
              <a:ext uri="{FF2B5EF4-FFF2-40B4-BE49-F238E27FC236}">
                <a16:creationId xmlns:a16="http://schemas.microsoft.com/office/drawing/2014/main" id="{0F267FB2-F91C-4AB2-B751-2055F5475B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466" y="1531939"/>
            <a:ext cx="841375" cy="841375"/>
            <a:chOff x="3006" y="1071"/>
            <a:chExt cx="530" cy="530"/>
          </a:xfrm>
        </p:grpSpPr>
        <p:sp>
          <p:nvSpPr>
            <p:cNvPr id="114" name="AutoShape 94">
              <a:extLst>
                <a:ext uri="{FF2B5EF4-FFF2-40B4-BE49-F238E27FC236}">
                  <a16:creationId xmlns:a16="http://schemas.microsoft.com/office/drawing/2014/main" id="{6C303544-0673-45EF-84EC-8A65434D692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6" y="107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Oval 96">
              <a:extLst>
                <a:ext uri="{FF2B5EF4-FFF2-40B4-BE49-F238E27FC236}">
                  <a16:creationId xmlns:a16="http://schemas.microsoft.com/office/drawing/2014/main" id="{ED99017C-486A-4809-A9CC-04DBFA049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107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97">
              <a:extLst>
                <a:ext uri="{FF2B5EF4-FFF2-40B4-BE49-F238E27FC236}">
                  <a16:creationId xmlns:a16="http://schemas.microsoft.com/office/drawing/2014/main" id="{9F5540BE-713D-4CC0-B0D7-D396F564C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" y="108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Rectangle 98">
              <a:extLst>
                <a:ext uri="{FF2B5EF4-FFF2-40B4-BE49-F238E27FC236}">
                  <a16:creationId xmlns:a16="http://schemas.microsoft.com/office/drawing/2014/main" id="{E0FFC1DD-6E4D-4793-9055-4426854010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9" y="1289"/>
              <a:ext cx="61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99">
              <a:extLst>
                <a:ext uri="{FF2B5EF4-FFF2-40B4-BE49-F238E27FC236}">
                  <a16:creationId xmlns:a16="http://schemas.microsoft.com/office/drawing/2014/main" id="{99F7DEFD-664B-4A8E-B676-1E9172DB79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9" y="1317"/>
              <a:ext cx="46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0">
              <a:extLst>
                <a:ext uri="{FF2B5EF4-FFF2-40B4-BE49-F238E27FC236}">
                  <a16:creationId xmlns:a16="http://schemas.microsoft.com/office/drawing/2014/main" id="{802BCF38-8081-4544-A862-5DE22EC46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2" y="1189"/>
              <a:ext cx="220" cy="276"/>
            </a:xfrm>
            <a:custGeom>
              <a:avLst/>
              <a:gdLst>
                <a:gd name="T0" fmla="*/ 113 w 220"/>
                <a:gd name="T1" fmla="*/ 0 h 276"/>
                <a:gd name="T2" fmla="*/ 110 w 220"/>
                <a:gd name="T3" fmla="*/ 0 h 276"/>
                <a:gd name="T4" fmla="*/ 105 w 220"/>
                <a:gd name="T5" fmla="*/ 2 h 276"/>
                <a:gd name="T6" fmla="*/ 0 w 220"/>
                <a:gd name="T7" fmla="*/ 107 h 276"/>
                <a:gd name="T8" fmla="*/ 3 w 220"/>
                <a:gd name="T9" fmla="*/ 274 h 276"/>
                <a:gd name="T10" fmla="*/ 8 w 220"/>
                <a:gd name="T11" fmla="*/ 276 h 276"/>
                <a:gd name="T12" fmla="*/ 218 w 220"/>
                <a:gd name="T13" fmla="*/ 274 h 276"/>
                <a:gd name="T14" fmla="*/ 220 w 220"/>
                <a:gd name="T15" fmla="*/ 271 h 276"/>
                <a:gd name="T16" fmla="*/ 218 w 220"/>
                <a:gd name="T17" fmla="*/ 105 h 276"/>
                <a:gd name="T18" fmla="*/ 205 w 220"/>
                <a:gd name="T19" fmla="*/ 110 h 276"/>
                <a:gd name="T20" fmla="*/ 174 w 220"/>
                <a:gd name="T21" fmla="*/ 76 h 276"/>
                <a:gd name="T22" fmla="*/ 156 w 220"/>
                <a:gd name="T23" fmla="*/ 61 h 276"/>
                <a:gd name="T24" fmla="*/ 110 w 220"/>
                <a:gd name="T25" fmla="*/ 15 h 276"/>
                <a:gd name="T26" fmla="*/ 167 w 220"/>
                <a:gd name="T27" fmla="*/ 69 h 276"/>
                <a:gd name="T28" fmla="*/ 133 w 220"/>
                <a:gd name="T29" fmla="*/ 181 h 276"/>
                <a:gd name="T30" fmla="*/ 113 w 220"/>
                <a:gd name="T31" fmla="*/ 161 h 276"/>
                <a:gd name="T32" fmla="*/ 108 w 220"/>
                <a:gd name="T33" fmla="*/ 164 h 276"/>
                <a:gd name="T34" fmla="*/ 87 w 220"/>
                <a:gd name="T35" fmla="*/ 181 h 276"/>
                <a:gd name="T36" fmla="*/ 54 w 220"/>
                <a:gd name="T37" fmla="*/ 69 h 276"/>
                <a:gd name="T38" fmla="*/ 46 w 220"/>
                <a:gd name="T39" fmla="*/ 140 h 276"/>
                <a:gd name="T40" fmla="*/ 46 w 220"/>
                <a:gd name="T41" fmla="*/ 76 h 276"/>
                <a:gd name="T42" fmla="*/ 13 w 220"/>
                <a:gd name="T43" fmla="*/ 263 h 276"/>
                <a:gd name="T44" fmla="*/ 79 w 220"/>
                <a:gd name="T45" fmla="*/ 189 h 276"/>
                <a:gd name="T46" fmla="*/ 33 w 220"/>
                <a:gd name="T47" fmla="*/ 238 h 276"/>
                <a:gd name="T48" fmla="*/ 36 w 220"/>
                <a:gd name="T49" fmla="*/ 243 h 276"/>
                <a:gd name="T50" fmla="*/ 38 w 220"/>
                <a:gd name="T51" fmla="*/ 243 h 276"/>
                <a:gd name="T52" fmla="*/ 41 w 220"/>
                <a:gd name="T53" fmla="*/ 243 h 276"/>
                <a:gd name="T54" fmla="*/ 110 w 220"/>
                <a:gd name="T55" fmla="*/ 176 h 276"/>
                <a:gd name="T56" fmla="*/ 182 w 220"/>
                <a:gd name="T57" fmla="*/ 243 h 276"/>
                <a:gd name="T58" fmla="*/ 187 w 220"/>
                <a:gd name="T59" fmla="*/ 238 h 276"/>
                <a:gd name="T60" fmla="*/ 187 w 220"/>
                <a:gd name="T61" fmla="*/ 238 h 276"/>
                <a:gd name="T62" fmla="*/ 141 w 220"/>
                <a:gd name="T63" fmla="*/ 189 h 276"/>
                <a:gd name="T64" fmla="*/ 207 w 220"/>
                <a:gd name="T65" fmla="*/ 263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0" h="276">
                  <a:moveTo>
                    <a:pt x="218" y="105"/>
                  </a:moveTo>
                  <a:lnTo>
                    <a:pt x="113" y="0"/>
                  </a:lnTo>
                  <a:lnTo>
                    <a:pt x="113" y="0"/>
                  </a:lnTo>
                  <a:lnTo>
                    <a:pt x="110" y="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10"/>
                  </a:lnTo>
                  <a:lnTo>
                    <a:pt x="3" y="274"/>
                  </a:lnTo>
                  <a:lnTo>
                    <a:pt x="3" y="274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218" y="274"/>
                  </a:lnTo>
                  <a:lnTo>
                    <a:pt x="220" y="271"/>
                  </a:lnTo>
                  <a:lnTo>
                    <a:pt x="220" y="271"/>
                  </a:lnTo>
                  <a:lnTo>
                    <a:pt x="218" y="105"/>
                  </a:lnTo>
                  <a:lnTo>
                    <a:pt x="218" y="105"/>
                  </a:lnTo>
                  <a:close/>
                  <a:moveTo>
                    <a:pt x="174" y="76"/>
                  </a:moveTo>
                  <a:lnTo>
                    <a:pt x="205" y="110"/>
                  </a:lnTo>
                  <a:lnTo>
                    <a:pt x="174" y="140"/>
                  </a:lnTo>
                  <a:lnTo>
                    <a:pt x="174" y="76"/>
                  </a:lnTo>
                  <a:close/>
                  <a:moveTo>
                    <a:pt x="110" y="15"/>
                  </a:moveTo>
                  <a:lnTo>
                    <a:pt x="156" y="61"/>
                  </a:lnTo>
                  <a:lnTo>
                    <a:pt x="64" y="61"/>
                  </a:lnTo>
                  <a:lnTo>
                    <a:pt x="110" y="15"/>
                  </a:lnTo>
                  <a:close/>
                  <a:moveTo>
                    <a:pt x="54" y="69"/>
                  </a:moveTo>
                  <a:lnTo>
                    <a:pt x="167" y="69"/>
                  </a:lnTo>
                  <a:lnTo>
                    <a:pt x="167" y="148"/>
                  </a:lnTo>
                  <a:lnTo>
                    <a:pt x="133" y="181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0" y="161"/>
                  </a:lnTo>
                  <a:lnTo>
                    <a:pt x="108" y="164"/>
                  </a:lnTo>
                  <a:lnTo>
                    <a:pt x="105" y="164"/>
                  </a:lnTo>
                  <a:lnTo>
                    <a:pt x="87" y="181"/>
                  </a:lnTo>
                  <a:lnTo>
                    <a:pt x="54" y="148"/>
                  </a:lnTo>
                  <a:lnTo>
                    <a:pt x="54" y="69"/>
                  </a:lnTo>
                  <a:close/>
                  <a:moveTo>
                    <a:pt x="46" y="76"/>
                  </a:moveTo>
                  <a:lnTo>
                    <a:pt x="46" y="140"/>
                  </a:lnTo>
                  <a:lnTo>
                    <a:pt x="15" y="110"/>
                  </a:lnTo>
                  <a:lnTo>
                    <a:pt x="46" y="76"/>
                  </a:lnTo>
                  <a:close/>
                  <a:moveTo>
                    <a:pt x="207" y="263"/>
                  </a:moveTo>
                  <a:lnTo>
                    <a:pt x="13" y="263"/>
                  </a:lnTo>
                  <a:lnTo>
                    <a:pt x="13" y="123"/>
                  </a:lnTo>
                  <a:lnTo>
                    <a:pt x="79" y="189"/>
                  </a:lnTo>
                  <a:lnTo>
                    <a:pt x="33" y="235"/>
                  </a:lnTo>
                  <a:lnTo>
                    <a:pt x="33" y="238"/>
                  </a:lnTo>
                  <a:lnTo>
                    <a:pt x="33" y="240"/>
                  </a:lnTo>
                  <a:lnTo>
                    <a:pt x="36" y="243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41" y="243"/>
                  </a:lnTo>
                  <a:lnTo>
                    <a:pt x="44" y="243"/>
                  </a:lnTo>
                  <a:lnTo>
                    <a:pt x="110" y="176"/>
                  </a:lnTo>
                  <a:lnTo>
                    <a:pt x="179" y="243"/>
                  </a:lnTo>
                  <a:lnTo>
                    <a:pt x="182" y="243"/>
                  </a:lnTo>
                  <a:lnTo>
                    <a:pt x="184" y="243"/>
                  </a:lnTo>
                  <a:lnTo>
                    <a:pt x="187" y="238"/>
                  </a:lnTo>
                  <a:lnTo>
                    <a:pt x="187" y="238"/>
                  </a:lnTo>
                  <a:lnTo>
                    <a:pt x="187" y="238"/>
                  </a:lnTo>
                  <a:lnTo>
                    <a:pt x="184" y="233"/>
                  </a:lnTo>
                  <a:lnTo>
                    <a:pt x="141" y="189"/>
                  </a:lnTo>
                  <a:lnTo>
                    <a:pt x="207" y="123"/>
                  </a:lnTo>
                  <a:lnTo>
                    <a:pt x="207" y="2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Group 103">
            <a:extLst>
              <a:ext uri="{FF2B5EF4-FFF2-40B4-BE49-F238E27FC236}">
                <a16:creationId xmlns:a16="http://schemas.microsoft.com/office/drawing/2014/main" id="{AFA46DBD-F2A4-4460-951A-95DB7A209E7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6525" y="1581231"/>
            <a:ext cx="758825" cy="758825"/>
            <a:chOff x="4989" y="1104"/>
            <a:chExt cx="478" cy="478"/>
          </a:xfrm>
        </p:grpSpPr>
        <p:sp>
          <p:nvSpPr>
            <p:cNvPr id="125" name="AutoShape 102">
              <a:extLst>
                <a:ext uri="{FF2B5EF4-FFF2-40B4-BE49-F238E27FC236}">
                  <a16:creationId xmlns:a16="http://schemas.microsoft.com/office/drawing/2014/main" id="{88024619-BE1B-4149-930D-8F81500833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89" y="110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4">
              <a:extLst>
                <a:ext uri="{FF2B5EF4-FFF2-40B4-BE49-F238E27FC236}">
                  <a16:creationId xmlns:a16="http://schemas.microsoft.com/office/drawing/2014/main" id="{3F7E9284-C679-45ED-ABC2-EDBACC45A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1" y="110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105">
              <a:extLst>
                <a:ext uri="{FF2B5EF4-FFF2-40B4-BE49-F238E27FC236}">
                  <a16:creationId xmlns:a16="http://schemas.microsoft.com/office/drawing/2014/main" id="{F7BFCC11-C54B-42D0-B61D-62F63823FC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9" y="122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106">
              <a:extLst>
                <a:ext uri="{FF2B5EF4-FFF2-40B4-BE49-F238E27FC236}">
                  <a16:creationId xmlns:a16="http://schemas.microsoft.com/office/drawing/2014/main" id="{339CF54B-6A63-44B8-8CBF-D8D15DEAB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0" y="122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7">
              <a:extLst>
                <a:ext uri="{FF2B5EF4-FFF2-40B4-BE49-F238E27FC236}">
                  <a16:creationId xmlns:a16="http://schemas.microsoft.com/office/drawing/2014/main" id="{E51C3F47-D140-43BE-8B67-4D02C9D84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9" y="1234"/>
              <a:ext cx="20" cy="20"/>
            </a:xfrm>
            <a:custGeom>
              <a:avLst/>
              <a:gdLst>
                <a:gd name="T0" fmla="*/ 0 w 20"/>
                <a:gd name="T1" fmla="*/ 15 h 20"/>
                <a:gd name="T2" fmla="*/ 0 w 20"/>
                <a:gd name="T3" fmla="*/ 15 h 20"/>
                <a:gd name="T4" fmla="*/ 3 w 20"/>
                <a:gd name="T5" fmla="*/ 17 h 20"/>
                <a:gd name="T6" fmla="*/ 5 w 20"/>
                <a:gd name="T7" fmla="*/ 17 h 20"/>
                <a:gd name="T8" fmla="*/ 5 w 20"/>
                <a:gd name="T9" fmla="*/ 20 h 20"/>
                <a:gd name="T10" fmla="*/ 8 w 20"/>
                <a:gd name="T11" fmla="*/ 20 h 20"/>
                <a:gd name="T12" fmla="*/ 10 w 20"/>
                <a:gd name="T13" fmla="*/ 20 h 20"/>
                <a:gd name="T14" fmla="*/ 13 w 20"/>
                <a:gd name="T15" fmla="*/ 20 h 20"/>
                <a:gd name="T16" fmla="*/ 13 w 20"/>
                <a:gd name="T17" fmla="*/ 20 h 20"/>
                <a:gd name="T18" fmla="*/ 15 w 20"/>
                <a:gd name="T19" fmla="*/ 17 h 20"/>
                <a:gd name="T20" fmla="*/ 18 w 20"/>
                <a:gd name="T21" fmla="*/ 17 h 20"/>
                <a:gd name="T22" fmla="*/ 18 w 20"/>
                <a:gd name="T23" fmla="*/ 15 h 20"/>
                <a:gd name="T24" fmla="*/ 18 w 20"/>
                <a:gd name="T25" fmla="*/ 15 h 20"/>
                <a:gd name="T26" fmla="*/ 20 w 20"/>
                <a:gd name="T27" fmla="*/ 12 h 20"/>
                <a:gd name="T28" fmla="*/ 20 w 20"/>
                <a:gd name="T29" fmla="*/ 10 h 20"/>
                <a:gd name="T30" fmla="*/ 20 w 20"/>
                <a:gd name="T31" fmla="*/ 7 h 20"/>
                <a:gd name="T32" fmla="*/ 18 w 20"/>
                <a:gd name="T33" fmla="*/ 7 h 20"/>
                <a:gd name="T34" fmla="*/ 18 w 20"/>
                <a:gd name="T35" fmla="*/ 5 h 20"/>
                <a:gd name="T36" fmla="*/ 18 w 20"/>
                <a:gd name="T37" fmla="*/ 2 h 20"/>
                <a:gd name="T38" fmla="*/ 15 w 20"/>
                <a:gd name="T39" fmla="*/ 2 h 20"/>
                <a:gd name="T40" fmla="*/ 13 w 20"/>
                <a:gd name="T41" fmla="*/ 0 h 20"/>
                <a:gd name="T42" fmla="*/ 13 w 20"/>
                <a:gd name="T43" fmla="*/ 0 h 20"/>
                <a:gd name="T44" fmla="*/ 10 w 20"/>
                <a:gd name="T45" fmla="*/ 0 h 20"/>
                <a:gd name="T46" fmla="*/ 8 w 20"/>
                <a:gd name="T47" fmla="*/ 0 h 20"/>
                <a:gd name="T48" fmla="*/ 5 w 20"/>
                <a:gd name="T49" fmla="*/ 0 h 20"/>
                <a:gd name="T50" fmla="*/ 5 w 20"/>
                <a:gd name="T51" fmla="*/ 2 h 20"/>
                <a:gd name="T52" fmla="*/ 3 w 20"/>
                <a:gd name="T53" fmla="*/ 2 h 20"/>
                <a:gd name="T54" fmla="*/ 0 w 20"/>
                <a:gd name="T55" fmla="*/ 5 h 20"/>
                <a:gd name="T56" fmla="*/ 0 w 20"/>
                <a:gd name="T57" fmla="*/ 7 h 20"/>
                <a:gd name="T58" fmla="*/ 0 w 20"/>
                <a:gd name="T59" fmla="*/ 7 h 20"/>
                <a:gd name="T60" fmla="*/ 0 w 20"/>
                <a:gd name="T61" fmla="*/ 10 h 20"/>
                <a:gd name="T62" fmla="*/ 0 w 20"/>
                <a:gd name="T63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20">
                  <a:moveTo>
                    <a:pt x="0" y="12"/>
                  </a:move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108">
              <a:extLst>
                <a:ext uri="{FF2B5EF4-FFF2-40B4-BE49-F238E27FC236}">
                  <a16:creationId xmlns:a16="http://schemas.microsoft.com/office/drawing/2014/main" id="{EA480F80-0F7C-45ED-9592-116A8F21D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0" y="147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9">
              <a:extLst>
                <a:ext uri="{FF2B5EF4-FFF2-40B4-BE49-F238E27FC236}">
                  <a16:creationId xmlns:a16="http://schemas.microsoft.com/office/drawing/2014/main" id="{F544A70F-50A2-4ED7-9892-76E3A887C0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9" y="1212"/>
              <a:ext cx="198" cy="265"/>
            </a:xfrm>
            <a:custGeom>
              <a:avLst/>
              <a:gdLst>
                <a:gd name="T0" fmla="*/ 196 w 198"/>
                <a:gd name="T1" fmla="*/ 262 h 265"/>
                <a:gd name="T2" fmla="*/ 198 w 198"/>
                <a:gd name="T3" fmla="*/ 260 h 265"/>
                <a:gd name="T4" fmla="*/ 198 w 198"/>
                <a:gd name="T5" fmla="*/ 260 h 265"/>
                <a:gd name="T6" fmla="*/ 198 w 198"/>
                <a:gd name="T7" fmla="*/ 19 h 265"/>
                <a:gd name="T8" fmla="*/ 196 w 198"/>
                <a:gd name="T9" fmla="*/ 17 h 265"/>
                <a:gd name="T10" fmla="*/ 193 w 198"/>
                <a:gd name="T11" fmla="*/ 17 h 265"/>
                <a:gd name="T12" fmla="*/ 120 w 198"/>
                <a:gd name="T13" fmla="*/ 10 h 265"/>
                <a:gd name="T14" fmla="*/ 100 w 198"/>
                <a:gd name="T15" fmla="*/ 0 h 265"/>
                <a:gd name="T16" fmla="*/ 88 w 198"/>
                <a:gd name="T17" fmla="*/ 2 h 265"/>
                <a:gd name="T18" fmla="*/ 73 w 198"/>
                <a:gd name="T19" fmla="*/ 17 h 265"/>
                <a:gd name="T20" fmla="*/ 2 w 198"/>
                <a:gd name="T21" fmla="*/ 17 h 265"/>
                <a:gd name="T22" fmla="*/ 2 w 198"/>
                <a:gd name="T23" fmla="*/ 19 h 265"/>
                <a:gd name="T24" fmla="*/ 0 w 198"/>
                <a:gd name="T25" fmla="*/ 22 h 265"/>
                <a:gd name="T26" fmla="*/ 2 w 198"/>
                <a:gd name="T27" fmla="*/ 260 h 265"/>
                <a:gd name="T28" fmla="*/ 2 w 198"/>
                <a:gd name="T29" fmla="*/ 262 h 265"/>
                <a:gd name="T30" fmla="*/ 5 w 198"/>
                <a:gd name="T31" fmla="*/ 265 h 265"/>
                <a:gd name="T32" fmla="*/ 193 w 198"/>
                <a:gd name="T33" fmla="*/ 265 h 265"/>
                <a:gd name="T34" fmla="*/ 196 w 198"/>
                <a:gd name="T35" fmla="*/ 265 h 265"/>
                <a:gd name="T36" fmla="*/ 86 w 198"/>
                <a:gd name="T37" fmla="*/ 12 h 265"/>
                <a:gd name="T38" fmla="*/ 100 w 198"/>
                <a:gd name="T39" fmla="*/ 7 h 265"/>
                <a:gd name="T40" fmla="*/ 115 w 198"/>
                <a:gd name="T41" fmla="*/ 12 h 265"/>
                <a:gd name="T42" fmla="*/ 125 w 198"/>
                <a:gd name="T43" fmla="*/ 29 h 265"/>
                <a:gd name="T44" fmla="*/ 76 w 198"/>
                <a:gd name="T45" fmla="*/ 54 h 265"/>
                <a:gd name="T46" fmla="*/ 135 w 198"/>
                <a:gd name="T47" fmla="*/ 64 h 265"/>
                <a:gd name="T48" fmla="*/ 137 w 198"/>
                <a:gd name="T49" fmla="*/ 66 h 265"/>
                <a:gd name="T50" fmla="*/ 139 w 198"/>
                <a:gd name="T51" fmla="*/ 68 h 265"/>
                <a:gd name="T52" fmla="*/ 142 w 198"/>
                <a:gd name="T53" fmla="*/ 68 h 265"/>
                <a:gd name="T54" fmla="*/ 144 w 198"/>
                <a:gd name="T55" fmla="*/ 71 h 265"/>
                <a:gd name="T56" fmla="*/ 147 w 198"/>
                <a:gd name="T57" fmla="*/ 73 h 265"/>
                <a:gd name="T58" fmla="*/ 149 w 198"/>
                <a:gd name="T59" fmla="*/ 76 h 265"/>
                <a:gd name="T60" fmla="*/ 149 w 198"/>
                <a:gd name="T61" fmla="*/ 78 h 265"/>
                <a:gd name="T62" fmla="*/ 149 w 198"/>
                <a:gd name="T63" fmla="*/ 81 h 265"/>
                <a:gd name="T64" fmla="*/ 49 w 198"/>
                <a:gd name="T65" fmla="*/ 81 h 265"/>
                <a:gd name="T66" fmla="*/ 51 w 198"/>
                <a:gd name="T67" fmla="*/ 78 h 265"/>
                <a:gd name="T68" fmla="*/ 51 w 198"/>
                <a:gd name="T69" fmla="*/ 76 h 265"/>
                <a:gd name="T70" fmla="*/ 54 w 198"/>
                <a:gd name="T71" fmla="*/ 73 h 265"/>
                <a:gd name="T72" fmla="*/ 56 w 198"/>
                <a:gd name="T73" fmla="*/ 71 h 265"/>
                <a:gd name="T74" fmla="*/ 59 w 198"/>
                <a:gd name="T75" fmla="*/ 68 h 265"/>
                <a:gd name="T76" fmla="*/ 61 w 198"/>
                <a:gd name="T77" fmla="*/ 66 h 265"/>
                <a:gd name="T78" fmla="*/ 63 w 198"/>
                <a:gd name="T79" fmla="*/ 66 h 265"/>
                <a:gd name="T80" fmla="*/ 135 w 198"/>
                <a:gd name="T81" fmla="*/ 64 h 265"/>
                <a:gd name="T82" fmla="*/ 12 w 198"/>
                <a:gd name="T83" fmla="*/ 252 h 265"/>
                <a:gd name="T84" fmla="*/ 68 w 198"/>
                <a:gd name="T85" fmla="*/ 27 h 265"/>
                <a:gd name="T86" fmla="*/ 51 w 198"/>
                <a:gd name="T87" fmla="*/ 61 h 265"/>
                <a:gd name="T88" fmla="*/ 39 w 198"/>
                <a:gd name="T89" fmla="*/ 78 h 265"/>
                <a:gd name="T90" fmla="*/ 36 w 198"/>
                <a:gd name="T91" fmla="*/ 93 h 265"/>
                <a:gd name="T92" fmla="*/ 159 w 198"/>
                <a:gd name="T93" fmla="*/ 76 h 265"/>
                <a:gd name="T94" fmla="*/ 144 w 198"/>
                <a:gd name="T95" fmla="*/ 59 h 265"/>
                <a:gd name="T96" fmla="*/ 132 w 198"/>
                <a:gd name="T97" fmla="*/ 54 h 265"/>
                <a:gd name="T98" fmla="*/ 186 w 198"/>
                <a:gd name="T99" fmla="*/ 27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8" h="265">
                  <a:moveTo>
                    <a:pt x="196" y="265"/>
                  </a:moveTo>
                  <a:lnTo>
                    <a:pt x="196" y="262"/>
                  </a:lnTo>
                  <a:lnTo>
                    <a:pt x="198" y="262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198" y="260"/>
                  </a:lnTo>
                  <a:lnTo>
                    <a:pt x="198" y="22"/>
                  </a:lnTo>
                  <a:lnTo>
                    <a:pt x="198" y="19"/>
                  </a:lnTo>
                  <a:lnTo>
                    <a:pt x="196" y="19"/>
                  </a:lnTo>
                  <a:lnTo>
                    <a:pt x="196" y="17"/>
                  </a:lnTo>
                  <a:lnTo>
                    <a:pt x="196" y="17"/>
                  </a:lnTo>
                  <a:lnTo>
                    <a:pt x="193" y="17"/>
                  </a:lnTo>
                  <a:lnTo>
                    <a:pt x="127" y="17"/>
                  </a:lnTo>
                  <a:lnTo>
                    <a:pt x="120" y="10"/>
                  </a:lnTo>
                  <a:lnTo>
                    <a:pt x="112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2"/>
                  </a:lnTo>
                  <a:lnTo>
                    <a:pt x="81" y="7"/>
                  </a:lnTo>
                  <a:lnTo>
                    <a:pt x="73" y="17"/>
                  </a:lnTo>
                  <a:lnTo>
                    <a:pt x="5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57"/>
                  </a:lnTo>
                  <a:lnTo>
                    <a:pt x="2" y="260"/>
                  </a:lnTo>
                  <a:lnTo>
                    <a:pt x="2" y="260"/>
                  </a:lnTo>
                  <a:lnTo>
                    <a:pt x="2" y="262"/>
                  </a:lnTo>
                  <a:lnTo>
                    <a:pt x="2" y="262"/>
                  </a:lnTo>
                  <a:lnTo>
                    <a:pt x="5" y="265"/>
                  </a:lnTo>
                  <a:lnTo>
                    <a:pt x="7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6" y="265"/>
                  </a:lnTo>
                  <a:close/>
                  <a:moveTo>
                    <a:pt x="78" y="19"/>
                  </a:moveTo>
                  <a:lnTo>
                    <a:pt x="86" y="12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10" y="10"/>
                  </a:lnTo>
                  <a:lnTo>
                    <a:pt x="115" y="12"/>
                  </a:lnTo>
                  <a:lnTo>
                    <a:pt x="122" y="19"/>
                  </a:lnTo>
                  <a:lnTo>
                    <a:pt x="125" y="29"/>
                  </a:lnTo>
                  <a:lnTo>
                    <a:pt x="125" y="54"/>
                  </a:lnTo>
                  <a:lnTo>
                    <a:pt x="76" y="54"/>
                  </a:lnTo>
                  <a:lnTo>
                    <a:pt x="78" y="19"/>
                  </a:lnTo>
                  <a:close/>
                  <a:moveTo>
                    <a:pt x="135" y="64"/>
                  </a:moveTo>
                  <a:lnTo>
                    <a:pt x="135" y="66"/>
                  </a:lnTo>
                  <a:lnTo>
                    <a:pt x="137" y="66"/>
                  </a:lnTo>
                  <a:lnTo>
                    <a:pt x="139" y="66"/>
                  </a:lnTo>
                  <a:lnTo>
                    <a:pt x="139" y="68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4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7" y="73"/>
                  </a:lnTo>
                  <a:lnTo>
                    <a:pt x="147" y="76"/>
                  </a:lnTo>
                  <a:lnTo>
                    <a:pt x="149" y="76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78"/>
                  </a:lnTo>
                  <a:lnTo>
                    <a:pt x="51" y="78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1"/>
                  </a:lnTo>
                  <a:lnTo>
                    <a:pt x="56" y="71"/>
                  </a:lnTo>
                  <a:lnTo>
                    <a:pt x="56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61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6" y="64"/>
                  </a:lnTo>
                  <a:lnTo>
                    <a:pt x="135" y="64"/>
                  </a:lnTo>
                  <a:close/>
                  <a:moveTo>
                    <a:pt x="186" y="252"/>
                  </a:moveTo>
                  <a:lnTo>
                    <a:pt x="12" y="252"/>
                  </a:lnTo>
                  <a:lnTo>
                    <a:pt x="12" y="27"/>
                  </a:lnTo>
                  <a:lnTo>
                    <a:pt x="68" y="27"/>
                  </a:lnTo>
                  <a:lnTo>
                    <a:pt x="68" y="54"/>
                  </a:lnTo>
                  <a:lnTo>
                    <a:pt x="51" y="61"/>
                  </a:lnTo>
                  <a:lnTo>
                    <a:pt x="41" y="71"/>
                  </a:lnTo>
                  <a:lnTo>
                    <a:pt x="39" y="78"/>
                  </a:lnTo>
                  <a:lnTo>
                    <a:pt x="36" y="88"/>
                  </a:lnTo>
                  <a:lnTo>
                    <a:pt x="36" y="93"/>
                  </a:lnTo>
                  <a:lnTo>
                    <a:pt x="162" y="93"/>
                  </a:lnTo>
                  <a:lnTo>
                    <a:pt x="159" y="76"/>
                  </a:lnTo>
                  <a:lnTo>
                    <a:pt x="154" y="66"/>
                  </a:lnTo>
                  <a:lnTo>
                    <a:pt x="144" y="59"/>
                  </a:lnTo>
                  <a:lnTo>
                    <a:pt x="135" y="54"/>
                  </a:lnTo>
                  <a:lnTo>
                    <a:pt x="132" y="54"/>
                  </a:lnTo>
                  <a:lnTo>
                    <a:pt x="132" y="27"/>
                  </a:lnTo>
                  <a:lnTo>
                    <a:pt x="186" y="27"/>
                  </a:lnTo>
                  <a:lnTo>
                    <a:pt x="186" y="25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2" name="Group 112">
            <a:extLst>
              <a:ext uri="{FF2B5EF4-FFF2-40B4-BE49-F238E27FC236}">
                <a16:creationId xmlns:a16="http://schemas.microsoft.com/office/drawing/2014/main" id="{588CC50A-0F0E-4A6E-8A61-537CC4955C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9200" y="1539956"/>
            <a:ext cx="841375" cy="841375"/>
            <a:chOff x="4305" y="1065"/>
            <a:chExt cx="530" cy="530"/>
          </a:xfrm>
        </p:grpSpPr>
        <p:sp>
          <p:nvSpPr>
            <p:cNvPr id="133" name="AutoShape 111">
              <a:extLst>
                <a:ext uri="{FF2B5EF4-FFF2-40B4-BE49-F238E27FC236}">
                  <a16:creationId xmlns:a16="http://schemas.microsoft.com/office/drawing/2014/main" id="{FEAF49E3-0623-4C7C-BE67-B94533F48D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05" y="106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Oval 113">
              <a:extLst>
                <a:ext uri="{FF2B5EF4-FFF2-40B4-BE49-F238E27FC236}">
                  <a16:creationId xmlns:a16="http://schemas.microsoft.com/office/drawing/2014/main" id="{1D273D27-8200-4AD6-9348-7B87BFA4D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5" y="106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4">
              <a:extLst>
                <a:ext uri="{FF2B5EF4-FFF2-40B4-BE49-F238E27FC236}">
                  <a16:creationId xmlns:a16="http://schemas.microsoft.com/office/drawing/2014/main" id="{2628CDCF-7B89-4CD3-93FD-73469F1B39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3" y="108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115">
              <a:extLst>
                <a:ext uri="{FF2B5EF4-FFF2-40B4-BE49-F238E27FC236}">
                  <a16:creationId xmlns:a16="http://schemas.microsoft.com/office/drawing/2014/main" id="{506E33C2-4DA1-4064-905C-EF4F55303B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6" y="120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116">
              <a:extLst>
                <a:ext uri="{FF2B5EF4-FFF2-40B4-BE49-F238E27FC236}">
                  <a16:creationId xmlns:a16="http://schemas.microsoft.com/office/drawing/2014/main" id="{9489671C-1494-4B47-8A36-69D1B3AF8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6" y="121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17">
              <a:extLst>
                <a:ext uri="{FF2B5EF4-FFF2-40B4-BE49-F238E27FC236}">
                  <a16:creationId xmlns:a16="http://schemas.microsoft.com/office/drawing/2014/main" id="{78196B8B-E249-43D1-84A9-9C6FA9AB6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1" y="1216"/>
              <a:ext cx="20" cy="20"/>
            </a:xfrm>
            <a:custGeom>
              <a:avLst/>
              <a:gdLst>
                <a:gd name="T0" fmla="*/ 0 w 20"/>
                <a:gd name="T1" fmla="*/ 15 h 20"/>
                <a:gd name="T2" fmla="*/ 2 w 20"/>
                <a:gd name="T3" fmla="*/ 15 h 20"/>
                <a:gd name="T4" fmla="*/ 2 w 20"/>
                <a:gd name="T5" fmla="*/ 18 h 20"/>
                <a:gd name="T6" fmla="*/ 5 w 20"/>
                <a:gd name="T7" fmla="*/ 18 h 20"/>
                <a:gd name="T8" fmla="*/ 5 w 20"/>
                <a:gd name="T9" fmla="*/ 20 h 20"/>
                <a:gd name="T10" fmla="*/ 8 w 20"/>
                <a:gd name="T11" fmla="*/ 20 h 20"/>
                <a:gd name="T12" fmla="*/ 10 w 20"/>
                <a:gd name="T13" fmla="*/ 20 h 20"/>
                <a:gd name="T14" fmla="*/ 13 w 20"/>
                <a:gd name="T15" fmla="*/ 20 h 20"/>
                <a:gd name="T16" fmla="*/ 15 w 20"/>
                <a:gd name="T17" fmla="*/ 20 h 20"/>
                <a:gd name="T18" fmla="*/ 15 w 20"/>
                <a:gd name="T19" fmla="*/ 18 h 20"/>
                <a:gd name="T20" fmla="*/ 18 w 20"/>
                <a:gd name="T21" fmla="*/ 18 h 20"/>
                <a:gd name="T22" fmla="*/ 18 w 20"/>
                <a:gd name="T23" fmla="*/ 15 h 20"/>
                <a:gd name="T24" fmla="*/ 20 w 20"/>
                <a:gd name="T25" fmla="*/ 15 h 20"/>
                <a:gd name="T26" fmla="*/ 20 w 20"/>
                <a:gd name="T27" fmla="*/ 13 h 20"/>
                <a:gd name="T28" fmla="*/ 20 w 20"/>
                <a:gd name="T29" fmla="*/ 10 h 20"/>
                <a:gd name="T30" fmla="*/ 20 w 20"/>
                <a:gd name="T31" fmla="*/ 8 h 20"/>
                <a:gd name="T32" fmla="*/ 20 w 20"/>
                <a:gd name="T33" fmla="*/ 8 h 20"/>
                <a:gd name="T34" fmla="*/ 18 w 20"/>
                <a:gd name="T35" fmla="*/ 5 h 20"/>
                <a:gd name="T36" fmla="*/ 18 w 20"/>
                <a:gd name="T37" fmla="*/ 3 h 20"/>
                <a:gd name="T38" fmla="*/ 15 w 20"/>
                <a:gd name="T39" fmla="*/ 3 h 20"/>
                <a:gd name="T40" fmla="*/ 15 w 20"/>
                <a:gd name="T41" fmla="*/ 0 h 20"/>
                <a:gd name="T42" fmla="*/ 13 w 20"/>
                <a:gd name="T43" fmla="*/ 0 h 20"/>
                <a:gd name="T44" fmla="*/ 10 w 20"/>
                <a:gd name="T45" fmla="*/ 0 h 20"/>
                <a:gd name="T46" fmla="*/ 8 w 20"/>
                <a:gd name="T47" fmla="*/ 0 h 20"/>
                <a:gd name="T48" fmla="*/ 5 w 20"/>
                <a:gd name="T49" fmla="*/ 0 h 20"/>
                <a:gd name="T50" fmla="*/ 5 w 20"/>
                <a:gd name="T51" fmla="*/ 3 h 20"/>
                <a:gd name="T52" fmla="*/ 2 w 20"/>
                <a:gd name="T53" fmla="*/ 3 h 20"/>
                <a:gd name="T54" fmla="*/ 2 w 20"/>
                <a:gd name="T55" fmla="*/ 5 h 20"/>
                <a:gd name="T56" fmla="*/ 0 w 20"/>
                <a:gd name="T57" fmla="*/ 8 h 20"/>
                <a:gd name="T58" fmla="*/ 0 w 20"/>
                <a:gd name="T59" fmla="*/ 8 h 20"/>
                <a:gd name="T60" fmla="*/ 0 w 20"/>
                <a:gd name="T61" fmla="*/ 10 h 20"/>
                <a:gd name="T62" fmla="*/ 0 w 20"/>
                <a:gd name="T63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20">
                  <a:moveTo>
                    <a:pt x="0" y="13"/>
                  </a:move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118">
              <a:extLst>
                <a:ext uri="{FF2B5EF4-FFF2-40B4-BE49-F238E27FC236}">
                  <a16:creationId xmlns:a16="http://schemas.microsoft.com/office/drawing/2014/main" id="{9A0BF3D0-9099-42C1-BF0D-2ED792016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6" y="146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9">
              <a:extLst>
                <a:ext uri="{FF2B5EF4-FFF2-40B4-BE49-F238E27FC236}">
                  <a16:creationId xmlns:a16="http://schemas.microsoft.com/office/drawing/2014/main" id="{D9A1801A-9185-448D-9513-1A5A871D8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9" y="1193"/>
              <a:ext cx="205" cy="276"/>
            </a:xfrm>
            <a:custGeom>
              <a:avLst/>
              <a:gdLst>
                <a:gd name="T0" fmla="*/ 202 w 205"/>
                <a:gd name="T1" fmla="*/ 274 h 276"/>
                <a:gd name="T2" fmla="*/ 205 w 205"/>
                <a:gd name="T3" fmla="*/ 271 h 276"/>
                <a:gd name="T4" fmla="*/ 205 w 205"/>
                <a:gd name="T5" fmla="*/ 271 h 276"/>
                <a:gd name="T6" fmla="*/ 205 w 205"/>
                <a:gd name="T7" fmla="*/ 20 h 276"/>
                <a:gd name="T8" fmla="*/ 202 w 205"/>
                <a:gd name="T9" fmla="*/ 18 h 276"/>
                <a:gd name="T10" fmla="*/ 199 w 205"/>
                <a:gd name="T11" fmla="*/ 18 h 276"/>
                <a:gd name="T12" fmla="*/ 125 w 205"/>
                <a:gd name="T13" fmla="*/ 10 h 276"/>
                <a:gd name="T14" fmla="*/ 105 w 205"/>
                <a:gd name="T15" fmla="*/ 0 h 276"/>
                <a:gd name="T16" fmla="*/ 89 w 205"/>
                <a:gd name="T17" fmla="*/ 2 h 276"/>
                <a:gd name="T18" fmla="*/ 74 w 205"/>
                <a:gd name="T19" fmla="*/ 18 h 276"/>
                <a:gd name="T20" fmla="*/ 2 w 205"/>
                <a:gd name="T21" fmla="*/ 18 h 276"/>
                <a:gd name="T22" fmla="*/ 0 w 205"/>
                <a:gd name="T23" fmla="*/ 20 h 276"/>
                <a:gd name="T24" fmla="*/ 0 w 205"/>
                <a:gd name="T25" fmla="*/ 23 h 276"/>
                <a:gd name="T26" fmla="*/ 0 w 205"/>
                <a:gd name="T27" fmla="*/ 271 h 276"/>
                <a:gd name="T28" fmla="*/ 0 w 205"/>
                <a:gd name="T29" fmla="*/ 274 h 276"/>
                <a:gd name="T30" fmla="*/ 2 w 205"/>
                <a:gd name="T31" fmla="*/ 276 h 276"/>
                <a:gd name="T32" fmla="*/ 199 w 205"/>
                <a:gd name="T33" fmla="*/ 276 h 276"/>
                <a:gd name="T34" fmla="*/ 202 w 205"/>
                <a:gd name="T35" fmla="*/ 276 h 276"/>
                <a:gd name="T36" fmla="*/ 87 w 205"/>
                <a:gd name="T37" fmla="*/ 13 h 276"/>
                <a:gd name="T38" fmla="*/ 102 w 205"/>
                <a:gd name="T39" fmla="*/ 8 h 276"/>
                <a:gd name="T40" fmla="*/ 118 w 205"/>
                <a:gd name="T41" fmla="*/ 13 h 276"/>
                <a:gd name="T42" fmla="*/ 128 w 205"/>
                <a:gd name="T43" fmla="*/ 31 h 276"/>
                <a:gd name="T44" fmla="*/ 77 w 205"/>
                <a:gd name="T45" fmla="*/ 56 h 276"/>
                <a:gd name="T46" fmla="*/ 138 w 205"/>
                <a:gd name="T47" fmla="*/ 66 h 276"/>
                <a:gd name="T48" fmla="*/ 141 w 205"/>
                <a:gd name="T49" fmla="*/ 69 h 276"/>
                <a:gd name="T50" fmla="*/ 143 w 205"/>
                <a:gd name="T51" fmla="*/ 72 h 276"/>
                <a:gd name="T52" fmla="*/ 146 w 205"/>
                <a:gd name="T53" fmla="*/ 72 h 276"/>
                <a:gd name="T54" fmla="*/ 148 w 205"/>
                <a:gd name="T55" fmla="*/ 74 h 276"/>
                <a:gd name="T56" fmla="*/ 151 w 205"/>
                <a:gd name="T57" fmla="*/ 77 h 276"/>
                <a:gd name="T58" fmla="*/ 153 w 205"/>
                <a:gd name="T59" fmla="*/ 79 h 276"/>
                <a:gd name="T60" fmla="*/ 153 w 205"/>
                <a:gd name="T61" fmla="*/ 82 h 276"/>
                <a:gd name="T62" fmla="*/ 156 w 205"/>
                <a:gd name="T63" fmla="*/ 84 h 276"/>
                <a:gd name="T64" fmla="*/ 48 w 205"/>
                <a:gd name="T65" fmla="*/ 84 h 276"/>
                <a:gd name="T66" fmla="*/ 51 w 205"/>
                <a:gd name="T67" fmla="*/ 82 h 276"/>
                <a:gd name="T68" fmla="*/ 54 w 205"/>
                <a:gd name="T69" fmla="*/ 79 h 276"/>
                <a:gd name="T70" fmla="*/ 54 w 205"/>
                <a:gd name="T71" fmla="*/ 77 h 276"/>
                <a:gd name="T72" fmla="*/ 56 w 205"/>
                <a:gd name="T73" fmla="*/ 74 h 276"/>
                <a:gd name="T74" fmla="*/ 59 w 205"/>
                <a:gd name="T75" fmla="*/ 72 h 276"/>
                <a:gd name="T76" fmla="*/ 61 w 205"/>
                <a:gd name="T77" fmla="*/ 69 h 276"/>
                <a:gd name="T78" fmla="*/ 64 w 205"/>
                <a:gd name="T79" fmla="*/ 69 h 276"/>
                <a:gd name="T80" fmla="*/ 138 w 205"/>
                <a:gd name="T81" fmla="*/ 66 h 276"/>
                <a:gd name="T82" fmla="*/ 10 w 205"/>
                <a:gd name="T83" fmla="*/ 264 h 276"/>
                <a:gd name="T84" fmla="*/ 69 w 205"/>
                <a:gd name="T85" fmla="*/ 28 h 276"/>
                <a:gd name="T86" fmla="*/ 51 w 205"/>
                <a:gd name="T87" fmla="*/ 64 h 276"/>
                <a:gd name="T88" fmla="*/ 38 w 205"/>
                <a:gd name="T89" fmla="*/ 82 h 276"/>
                <a:gd name="T90" fmla="*/ 38 w 205"/>
                <a:gd name="T91" fmla="*/ 97 h 276"/>
                <a:gd name="T92" fmla="*/ 166 w 205"/>
                <a:gd name="T93" fmla="*/ 79 h 276"/>
                <a:gd name="T94" fmla="*/ 151 w 205"/>
                <a:gd name="T95" fmla="*/ 61 h 276"/>
                <a:gd name="T96" fmla="*/ 135 w 205"/>
                <a:gd name="T97" fmla="*/ 56 h 276"/>
                <a:gd name="T98" fmla="*/ 194 w 205"/>
                <a:gd name="T99" fmla="*/ 28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5" h="276">
                  <a:moveTo>
                    <a:pt x="202" y="276"/>
                  </a:moveTo>
                  <a:lnTo>
                    <a:pt x="202" y="274"/>
                  </a:lnTo>
                  <a:lnTo>
                    <a:pt x="205" y="274"/>
                  </a:lnTo>
                  <a:lnTo>
                    <a:pt x="205" y="271"/>
                  </a:lnTo>
                  <a:lnTo>
                    <a:pt x="205" y="271"/>
                  </a:lnTo>
                  <a:lnTo>
                    <a:pt x="205" y="271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199" y="18"/>
                  </a:lnTo>
                  <a:lnTo>
                    <a:pt x="130" y="18"/>
                  </a:lnTo>
                  <a:lnTo>
                    <a:pt x="125" y="10"/>
                  </a:lnTo>
                  <a:lnTo>
                    <a:pt x="115" y="2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89" y="2"/>
                  </a:lnTo>
                  <a:lnTo>
                    <a:pt x="82" y="8"/>
                  </a:lnTo>
                  <a:lnTo>
                    <a:pt x="74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69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0" y="274"/>
                  </a:lnTo>
                  <a:lnTo>
                    <a:pt x="2" y="274"/>
                  </a:lnTo>
                  <a:lnTo>
                    <a:pt x="2" y="276"/>
                  </a:lnTo>
                  <a:lnTo>
                    <a:pt x="5" y="276"/>
                  </a:lnTo>
                  <a:lnTo>
                    <a:pt x="199" y="276"/>
                  </a:lnTo>
                  <a:lnTo>
                    <a:pt x="199" y="276"/>
                  </a:lnTo>
                  <a:lnTo>
                    <a:pt x="202" y="276"/>
                  </a:lnTo>
                  <a:close/>
                  <a:moveTo>
                    <a:pt x="79" y="20"/>
                  </a:moveTo>
                  <a:lnTo>
                    <a:pt x="87" y="13"/>
                  </a:lnTo>
                  <a:lnTo>
                    <a:pt x="100" y="8"/>
                  </a:lnTo>
                  <a:lnTo>
                    <a:pt x="102" y="8"/>
                  </a:lnTo>
                  <a:lnTo>
                    <a:pt x="112" y="10"/>
                  </a:lnTo>
                  <a:lnTo>
                    <a:pt x="118" y="13"/>
                  </a:lnTo>
                  <a:lnTo>
                    <a:pt x="125" y="20"/>
                  </a:lnTo>
                  <a:lnTo>
                    <a:pt x="128" y="31"/>
                  </a:lnTo>
                  <a:lnTo>
                    <a:pt x="128" y="56"/>
                  </a:lnTo>
                  <a:lnTo>
                    <a:pt x="77" y="56"/>
                  </a:lnTo>
                  <a:lnTo>
                    <a:pt x="79" y="20"/>
                  </a:lnTo>
                  <a:close/>
                  <a:moveTo>
                    <a:pt x="138" y="66"/>
                  </a:moveTo>
                  <a:lnTo>
                    <a:pt x="141" y="69"/>
                  </a:lnTo>
                  <a:lnTo>
                    <a:pt x="141" y="69"/>
                  </a:lnTo>
                  <a:lnTo>
                    <a:pt x="143" y="69"/>
                  </a:lnTo>
                  <a:lnTo>
                    <a:pt x="143" y="72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82"/>
                  </a:lnTo>
                  <a:lnTo>
                    <a:pt x="153" y="82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1" y="82"/>
                  </a:lnTo>
                  <a:lnTo>
                    <a:pt x="51" y="82"/>
                  </a:lnTo>
                  <a:lnTo>
                    <a:pt x="51" y="79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61" y="72"/>
                  </a:lnTo>
                  <a:lnTo>
                    <a:pt x="61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6" y="66"/>
                  </a:lnTo>
                  <a:lnTo>
                    <a:pt x="138" y="66"/>
                  </a:lnTo>
                  <a:close/>
                  <a:moveTo>
                    <a:pt x="194" y="264"/>
                  </a:moveTo>
                  <a:lnTo>
                    <a:pt x="10" y="264"/>
                  </a:lnTo>
                  <a:lnTo>
                    <a:pt x="10" y="28"/>
                  </a:lnTo>
                  <a:lnTo>
                    <a:pt x="69" y="28"/>
                  </a:lnTo>
                  <a:lnTo>
                    <a:pt x="69" y="56"/>
                  </a:lnTo>
                  <a:lnTo>
                    <a:pt x="51" y="64"/>
                  </a:lnTo>
                  <a:lnTo>
                    <a:pt x="43" y="74"/>
                  </a:lnTo>
                  <a:lnTo>
                    <a:pt x="38" y="82"/>
                  </a:lnTo>
                  <a:lnTo>
                    <a:pt x="38" y="92"/>
                  </a:lnTo>
                  <a:lnTo>
                    <a:pt x="38" y="97"/>
                  </a:lnTo>
                  <a:lnTo>
                    <a:pt x="166" y="97"/>
                  </a:lnTo>
                  <a:lnTo>
                    <a:pt x="166" y="79"/>
                  </a:lnTo>
                  <a:lnTo>
                    <a:pt x="159" y="69"/>
                  </a:lnTo>
                  <a:lnTo>
                    <a:pt x="151" y="61"/>
                  </a:lnTo>
                  <a:lnTo>
                    <a:pt x="138" y="56"/>
                  </a:lnTo>
                  <a:lnTo>
                    <a:pt x="135" y="56"/>
                  </a:lnTo>
                  <a:lnTo>
                    <a:pt x="135" y="28"/>
                  </a:lnTo>
                  <a:lnTo>
                    <a:pt x="194" y="28"/>
                  </a:lnTo>
                  <a:lnTo>
                    <a:pt x="194" y="2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22">
            <a:extLst>
              <a:ext uri="{FF2B5EF4-FFF2-40B4-BE49-F238E27FC236}">
                <a16:creationId xmlns:a16="http://schemas.microsoft.com/office/drawing/2014/main" id="{9AE68ED5-D066-44D9-A4C3-4C70F927263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28" y="2823470"/>
            <a:ext cx="758825" cy="758825"/>
            <a:chOff x="1046" y="1982"/>
            <a:chExt cx="478" cy="478"/>
          </a:xfrm>
        </p:grpSpPr>
        <p:sp>
          <p:nvSpPr>
            <p:cNvPr id="146" name="AutoShape 121">
              <a:extLst>
                <a:ext uri="{FF2B5EF4-FFF2-40B4-BE49-F238E27FC236}">
                  <a16:creationId xmlns:a16="http://schemas.microsoft.com/office/drawing/2014/main" id="{1BD86395-A24A-4A93-965C-C1D1F4E8CC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46" y="198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3">
              <a:extLst>
                <a:ext uri="{FF2B5EF4-FFF2-40B4-BE49-F238E27FC236}">
                  <a16:creationId xmlns:a16="http://schemas.microsoft.com/office/drawing/2014/main" id="{6E39DDCB-3253-45D4-A175-34E7961616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8" y="198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4">
              <a:extLst>
                <a:ext uri="{FF2B5EF4-FFF2-40B4-BE49-F238E27FC236}">
                  <a16:creationId xmlns:a16="http://schemas.microsoft.com/office/drawing/2014/main" id="{E7C66DE0-91AE-4965-8878-80B2DBB01D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" y="2048"/>
              <a:ext cx="221" cy="329"/>
            </a:xfrm>
            <a:custGeom>
              <a:avLst/>
              <a:gdLst>
                <a:gd name="T0" fmla="*/ 50 w 90"/>
                <a:gd name="T1" fmla="*/ 98 h 134"/>
                <a:gd name="T2" fmla="*/ 50 w 90"/>
                <a:gd name="T3" fmla="*/ 103 h 134"/>
                <a:gd name="T4" fmla="*/ 64 w 90"/>
                <a:gd name="T5" fmla="*/ 101 h 134"/>
                <a:gd name="T6" fmla="*/ 66 w 90"/>
                <a:gd name="T7" fmla="*/ 89 h 134"/>
                <a:gd name="T8" fmla="*/ 47 w 90"/>
                <a:gd name="T9" fmla="*/ 91 h 134"/>
                <a:gd name="T10" fmla="*/ 66 w 90"/>
                <a:gd name="T11" fmla="*/ 93 h 134"/>
                <a:gd name="T12" fmla="*/ 66 w 90"/>
                <a:gd name="T13" fmla="*/ 89 h 134"/>
                <a:gd name="T14" fmla="*/ 62 w 90"/>
                <a:gd name="T15" fmla="*/ 72 h 134"/>
                <a:gd name="T16" fmla="*/ 62 w 90"/>
                <a:gd name="T17" fmla="*/ 67 h 134"/>
                <a:gd name="T18" fmla="*/ 47 w 90"/>
                <a:gd name="T19" fmla="*/ 69 h 134"/>
                <a:gd name="T20" fmla="*/ 66 w 90"/>
                <a:gd name="T21" fmla="*/ 57 h 134"/>
                <a:gd name="T22" fmla="*/ 47 w 90"/>
                <a:gd name="T23" fmla="*/ 60 h 134"/>
                <a:gd name="T24" fmla="*/ 66 w 90"/>
                <a:gd name="T25" fmla="*/ 62 h 134"/>
                <a:gd name="T26" fmla="*/ 66 w 90"/>
                <a:gd name="T27" fmla="*/ 57 h 134"/>
                <a:gd name="T28" fmla="*/ 21 w 90"/>
                <a:gd name="T29" fmla="*/ 96 h 134"/>
                <a:gd name="T30" fmla="*/ 35 w 90"/>
                <a:gd name="T31" fmla="*/ 96 h 134"/>
                <a:gd name="T32" fmla="*/ 28 w 90"/>
                <a:gd name="T33" fmla="*/ 84 h 134"/>
                <a:gd name="T34" fmla="*/ 28 w 90"/>
                <a:gd name="T35" fmla="*/ 108 h 134"/>
                <a:gd name="T36" fmla="*/ 28 w 90"/>
                <a:gd name="T37" fmla="*/ 84 h 134"/>
                <a:gd name="T38" fmla="*/ 21 w 90"/>
                <a:gd name="T39" fmla="*/ 65 h 134"/>
                <a:gd name="T40" fmla="*/ 35 w 90"/>
                <a:gd name="T41" fmla="*/ 65 h 134"/>
                <a:gd name="T42" fmla="*/ 28 w 90"/>
                <a:gd name="T43" fmla="*/ 53 h 134"/>
                <a:gd name="T44" fmla="*/ 28 w 90"/>
                <a:gd name="T45" fmla="*/ 77 h 134"/>
                <a:gd name="T46" fmla="*/ 28 w 90"/>
                <a:gd name="T47" fmla="*/ 53 h 134"/>
                <a:gd name="T48" fmla="*/ 50 w 90"/>
                <a:gd name="T49" fmla="*/ 17 h 134"/>
                <a:gd name="T50" fmla="*/ 40 w 90"/>
                <a:gd name="T51" fmla="*/ 17 h 134"/>
                <a:gd name="T52" fmla="*/ 86 w 90"/>
                <a:gd name="T53" fmla="*/ 127 h 134"/>
                <a:gd name="T54" fmla="*/ 7 w 90"/>
                <a:gd name="T55" fmla="*/ 129 h 134"/>
                <a:gd name="T56" fmla="*/ 4 w 90"/>
                <a:gd name="T57" fmla="*/ 33 h 134"/>
                <a:gd name="T58" fmla="*/ 16 w 90"/>
                <a:gd name="T59" fmla="*/ 31 h 134"/>
                <a:gd name="T60" fmla="*/ 19 w 90"/>
                <a:gd name="T61" fmla="*/ 38 h 134"/>
                <a:gd name="T62" fmla="*/ 73 w 90"/>
                <a:gd name="T63" fmla="*/ 38 h 134"/>
                <a:gd name="T64" fmla="*/ 74 w 90"/>
                <a:gd name="T65" fmla="*/ 31 h 134"/>
                <a:gd name="T66" fmla="*/ 86 w 90"/>
                <a:gd name="T67" fmla="*/ 33 h 134"/>
                <a:gd name="T68" fmla="*/ 31 w 90"/>
                <a:gd name="T69" fmla="*/ 24 h 134"/>
                <a:gd name="T70" fmla="*/ 33 w 90"/>
                <a:gd name="T71" fmla="*/ 17 h 134"/>
                <a:gd name="T72" fmla="*/ 57 w 90"/>
                <a:gd name="T73" fmla="*/ 17 h 134"/>
                <a:gd name="T74" fmla="*/ 59 w 90"/>
                <a:gd name="T75" fmla="*/ 24 h 134"/>
                <a:gd name="T76" fmla="*/ 69 w 90"/>
                <a:gd name="T77" fmla="*/ 33 h 134"/>
                <a:gd name="T78" fmla="*/ 21 w 90"/>
                <a:gd name="T79" fmla="*/ 24 h 134"/>
                <a:gd name="T80" fmla="*/ 83 w 90"/>
                <a:gd name="T81" fmla="*/ 26 h 134"/>
                <a:gd name="T82" fmla="*/ 74 w 90"/>
                <a:gd name="T83" fmla="*/ 22 h 134"/>
                <a:gd name="T84" fmla="*/ 62 w 90"/>
                <a:gd name="T85" fmla="*/ 19 h 134"/>
                <a:gd name="T86" fmla="*/ 45 w 90"/>
                <a:gd name="T87" fmla="*/ 0 h 134"/>
                <a:gd name="T88" fmla="*/ 28 w 90"/>
                <a:gd name="T89" fmla="*/ 19 h 134"/>
                <a:gd name="T90" fmla="*/ 17 w 90"/>
                <a:gd name="T91" fmla="*/ 20 h 134"/>
                <a:gd name="T92" fmla="*/ 16 w 90"/>
                <a:gd name="T93" fmla="*/ 26 h 134"/>
                <a:gd name="T94" fmla="*/ 0 w 90"/>
                <a:gd name="T95" fmla="*/ 33 h 134"/>
                <a:gd name="T96" fmla="*/ 7 w 90"/>
                <a:gd name="T97" fmla="*/ 134 h 134"/>
                <a:gd name="T98" fmla="*/ 90 w 90"/>
                <a:gd name="T99" fmla="*/ 127 h 134"/>
                <a:gd name="T100" fmla="*/ 83 w 90"/>
                <a:gd name="T101" fmla="*/ 2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" h="134">
                  <a:moveTo>
                    <a:pt x="62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48" y="98"/>
                    <a:pt x="47" y="99"/>
                    <a:pt x="47" y="101"/>
                  </a:cubicBezTo>
                  <a:cubicBezTo>
                    <a:pt x="47" y="102"/>
                    <a:pt x="48" y="103"/>
                    <a:pt x="50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3" y="103"/>
                    <a:pt x="64" y="102"/>
                    <a:pt x="64" y="101"/>
                  </a:cubicBezTo>
                  <a:cubicBezTo>
                    <a:pt x="64" y="99"/>
                    <a:pt x="63" y="98"/>
                    <a:pt x="62" y="98"/>
                  </a:cubicBezTo>
                  <a:moveTo>
                    <a:pt x="66" y="89"/>
                  </a:moveTo>
                  <a:cubicBezTo>
                    <a:pt x="50" y="89"/>
                    <a:pt x="50" y="89"/>
                    <a:pt x="50" y="89"/>
                  </a:cubicBezTo>
                  <a:cubicBezTo>
                    <a:pt x="48" y="89"/>
                    <a:pt x="47" y="90"/>
                    <a:pt x="47" y="91"/>
                  </a:cubicBezTo>
                  <a:cubicBezTo>
                    <a:pt x="47" y="92"/>
                    <a:pt x="48" y="93"/>
                    <a:pt x="50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8" y="93"/>
                    <a:pt x="69" y="92"/>
                    <a:pt x="69" y="91"/>
                  </a:cubicBezTo>
                  <a:cubicBezTo>
                    <a:pt x="69" y="90"/>
                    <a:pt x="68" y="89"/>
                    <a:pt x="66" y="89"/>
                  </a:cubicBezTo>
                  <a:moveTo>
                    <a:pt x="50" y="72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4" y="71"/>
                    <a:pt x="64" y="69"/>
                  </a:cubicBezTo>
                  <a:cubicBezTo>
                    <a:pt x="64" y="68"/>
                    <a:pt x="63" y="67"/>
                    <a:pt x="62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48" y="67"/>
                    <a:pt x="47" y="68"/>
                    <a:pt x="47" y="69"/>
                  </a:cubicBezTo>
                  <a:cubicBezTo>
                    <a:pt x="47" y="71"/>
                    <a:pt x="48" y="72"/>
                    <a:pt x="50" y="72"/>
                  </a:cubicBezTo>
                  <a:moveTo>
                    <a:pt x="66" y="57"/>
                  </a:moveTo>
                  <a:cubicBezTo>
                    <a:pt x="50" y="57"/>
                    <a:pt x="50" y="57"/>
                    <a:pt x="50" y="57"/>
                  </a:cubicBezTo>
                  <a:cubicBezTo>
                    <a:pt x="48" y="57"/>
                    <a:pt x="47" y="58"/>
                    <a:pt x="47" y="60"/>
                  </a:cubicBezTo>
                  <a:cubicBezTo>
                    <a:pt x="47" y="61"/>
                    <a:pt x="48" y="62"/>
                    <a:pt x="50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8" y="62"/>
                    <a:pt x="69" y="61"/>
                    <a:pt x="69" y="60"/>
                  </a:cubicBezTo>
                  <a:cubicBezTo>
                    <a:pt x="69" y="58"/>
                    <a:pt x="68" y="57"/>
                    <a:pt x="66" y="57"/>
                  </a:cubicBezTo>
                  <a:moveTo>
                    <a:pt x="28" y="103"/>
                  </a:moveTo>
                  <a:cubicBezTo>
                    <a:pt x="24" y="103"/>
                    <a:pt x="21" y="100"/>
                    <a:pt x="21" y="96"/>
                  </a:cubicBezTo>
                  <a:cubicBezTo>
                    <a:pt x="21" y="92"/>
                    <a:pt x="24" y="89"/>
                    <a:pt x="28" y="89"/>
                  </a:cubicBezTo>
                  <a:cubicBezTo>
                    <a:pt x="32" y="89"/>
                    <a:pt x="35" y="92"/>
                    <a:pt x="35" y="96"/>
                  </a:cubicBezTo>
                  <a:cubicBezTo>
                    <a:pt x="35" y="100"/>
                    <a:pt x="32" y="103"/>
                    <a:pt x="28" y="103"/>
                  </a:cubicBezTo>
                  <a:moveTo>
                    <a:pt x="28" y="84"/>
                  </a:moveTo>
                  <a:cubicBezTo>
                    <a:pt x="22" y="84"/>
                    <a:pt x="16" y="89"/>
                    <a:pt x="16" y="96"/>
                  </a:cubicBezTo>
                  <a:cubicBezTo>
                    <a:pt x="16" y="102"/>
                    <a:pt x="22" y="108"/>
                    <a:pt x="28" y="108"/>
                  </a:cubicBezTo>
                  <a:cubicBezTo>
                    <a:pt x="35" y="108"/>
                    <a:pt x="40" y="102"/>
                    <a:pt x="40" y="96"/>
                  </a:cubicBezTo>
                  <a:cubicBezTo>
                    <a:pt x="40" y="89"/>
                    <a:pt x="35" y="84"/>
                    <a:pt x="28" y="84"/>
                  </a:cubicBezTo>
                  <a:moveTo>
                    <a:pt x="28" y="72"/>
                  </a:moveTo>
                  <a:cubicBezTo>
                    <a:pt x="24" y="72"/>
                    <a:pt x="21" y="69"/>
                    <a:pt x="21" y="65"/>
                  </a:cubicBezTo>
                  <a:cubicBezTo>
                    <a:pt x="21" y="61"/>
                    <a:pt x="24" y="57"/>
                    <a:pt x="28" y="57"/>
                  </a:cubicBezTo>
                  <a:cubicBezTo>
                    <a:pt x="32" y="57"/>
                    <a:pt x="35" y="61"/>
                    <a:pt x="35" y="65"/>
                  </a:cubicBezTo>
                  <a:cubicBezTo>
                    <a:pt x="35" y="69"/>
                    <a:pt x="32" y="72"/>
                    <a:pt x="28" y="72"/>
                  </a:cubicBezTo>
                  <a:moveTo>
                    <a:pt x="28" y="53"/>
                  </a:moveTo>
                  <a:cubicBezTo>
                    <a:pt x="22" y="53"/>
                    <a:pt x="16" y="58"/>
                    <a:pt x="16" y="65"/>
                  </a:cubicBezTo>
                  <a:cubicBezTo>
                    <a:pt x="16" y="71"/>
                    <a:pt x="22" y="77"/>
                    <a:pt x="28" y="77"/>
                  </a:cubicBezTo>
                  <a:cubicBezTo>
                    <a:pt x="35" y="77"/>
                    <a:pt x="40" y="71"/>
                    <a:pt x="40" y="65"/>
                  </a:cubicBezTo>
                  <a:cubicBezTo>
                    <a:pt x="40" y="58"/>
                    <a:pt x="35" y="53"/>
                    <a:pt x="28" y="53"/>
                  </a:cubicBezTo>
                  <a:moveTo>
                    <a:pt x="45" y="22"/>
                  </a:moveTo>
                  <a:cubicBezTo>
                    <a:pt x="48" y="22"/>
                    <a:pt x="50" y="19"/>
                    <a:pt x="50" y="17"/>
                  </a:cubicBezTo>
                  <a:cubicBezTo>
                    <a:pt x="50" y="14"/>
                    <a:pt x="48" y="12"/>
                    <a:pt x="45" y="12"/>
                  </a:cubicBezTo>
                  <a:cubicBezTo>
                    <a:pt x="42" y="12"/>
                    <a:pt x="40" y="14"/>
                    <a:pt x="40" y="17"/>
                  </a:cubicBezTo>
                  <a:cubicBezTo>
                    <a:pt x="40" y="19"/>
                    <a:pt x="42" y="22"/>
                    <a:pt x="45" y="22"/>
                  </a:cubicBezTo>
                  <a:moveTo>
                    <a:pt x="86" y="127"/>
                  </a:moveTo>
                  <a:cubicBezTo>
                    <a:pt x="86" y="128"/>
                    <a:pt x="84" y="129"/>
                    <a:pt x="83" y="129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6" y="129"/>
                    <a:pt x="4" y="128"/>
                    <a:pt x="4" y="127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2"/>
                    <a:pt x="6" y="31"/>
                    <a:pt x="7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7" y="38"/>
                    <a:pt x="19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2" y="38"/>
                    <a:pt x="72" y="38"/>
                    <a:pt x="73" y="38"/>
                  </a:cubicBezTo>
                  <a:cubicBezTo>
                    <a:pt x="73" y="37"/>
                    <a:pt x="74" y="37"/>
                    <a:pt x="74" y="3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6" y="32"/>
                    <a:pt x="86" y="33"/>
                  </a:cubicBezTo>
                  <a:lnTo>
                    <a:pt x="86" y="127"/>
                  </a:lnTo>
                  <a:close/>
                  <a:moveTo>
                    <a:pt x="31" y="24"/>
                  </a:moveTo>
                  <a:cubicBezTo>
                    <a:pt x="32" y="24"/>
                    <a:pt x="33" y="23"/>
                    <a:pt x="33" y="22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0"/>
                    <a:pt x="38" y="5"/>
                    <a:pt x="45" y="5"/>
                  </a:cubicBezTo>
                  <a:cubicBezTo>
                    <a:pt x="52" y="5"/>
                    <a:pt x="57" y="10"/>
                    <a:pt x="57" y="17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3"/>
                    <a:pt x="58" y="24"/>
                    <a:pt x="5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24"/>
                    <a:pt x="21" y="24"/>
                    <a:pt x="21" y="24"/>
                  </a:cubicBezTo>
                  <a:lnTo>
                    <a:pt x="31" y="24"/>
                  </a:lnTo>
                  <a:close/>
                  <a:moveTo>
                    <a:pt x="83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0"/>
                    <a:pt x="73" y="19"/>
                    <a:pt x="7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7"/>
                    <a:pt x="54" y="0"/>
                    <a:pt x="45" y="0"/>
                  </a:cubicBezTo>
                  <a:cubicBezTo>
                    <a:pt x="36" y="0"/>
                    <a:pt x="28" y="7"/>
                    <a:pt x="28" y="17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7" y="20"/>
                  </a:cubicBezTo>
                  <a:cubicBezTo>
                    <a:pt x="17" y="20"/>
                    <a:pt x="16" y="21"/>
                    <a:pt x="16" y="22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" y="26"/>
                    <a:pt x="0" y="30"/>
                    <a:pt x="0" y="33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3" y="134"/>
                    <a:pt x="7" y="134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87" y="134"/>
                    <a:pt x="90" y="131"/>
                    <a:pt x="90" y="127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0"/>
                    <a:pt x="87" y="26"/>
                    <a:pt x="83" y="2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9" name="Group 127">
            <a:extLst>
              <a:ext uri="{FF2B5EF4-FFF2-40B4-BE49-F238E27FC236}">
                <a16:creationId xmlns:a16="http://schemas.microsoft.com/office/drawing/2014/main" id="{2A4C06DB-1720-4D44-BE9F-A4671A37FC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853" y="2782195"/>
            <a:ext cx="841375" cy="841375"/>
            <a:chOff x="321" y="1839"/>
            <a:chExt cx="530" cy="530"/>
          </a:xfrm>
        </p:grpSpPr>
        <p:sp>
          <p:nvSpPr>
            <p:cNvPr id="150" name="AutoShape 126">
              <a:extLst>
                <a:ext uri="{FF2B5EF4-FFF2-40B4-BE49-F238E27FC236}">
                  <a16:creationId xmlns:a16="http://schemas.microsoft.com/office/drawing/2014/main" id="{504265C0-9F89-4D91-AACB-A09C8C970F4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1" y="183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Oval 128">
              <a:extLst>
                <a:ext uri="{FF2B5EF4-FFF2-40B4-BE49-F238E27FC236}">
                  <a16:creationId xmlns:a16="http://schemas.microsoft.com/office/drawing/2014/main" id="{C33EDBAC-14D0-4960-9268-EE7BCAEC03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" y="183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9">
              <a:extLst>
                <a:ext uri="{FF2B5EF4-FFF2-40B4-BE49-F238E27FC236}">
                  <a16:creationId xmlns:a16="http://schemas.microsoft.com/office/drawing/2014/main" id="{1463D506-9729-4D95-A835-026389A179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" y="185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0">
              <a:extLst>
                <a:ext uri="{FF2B5EF4-FFF2-40B4-BE49-F238E27FC236}">
                  <a16:creationId xmlns:a16="http://schemas.microsoft.com/office/drawing/2014/main" id="{568A2514-8BE9-439C-B0FA-880CD9135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" y="1923"/>
              <a:ext cx="230" cy="343"/>
            </a:xfrm>
            <a:custGeom>
              <a:avLst/>
              <a:gdLst>
                <a:gd name="T0" fmla="*/ 50 w 90"/>
                <a:gd name="T1" fmla="*/ 98 h 134"/>
                <a:gd name="T2" fmla="*/ 50 w 90"/>
                <a:gd name="T3" fmla="*/ 103 h 134"/>
                <a:gd name="T4" fmla="*/ 64 w 90"/>
                <a:gd name="T5" fmla="*/ 101 h 134"/>
                <a:gd name="T6" fmla="*/ 66 w 90"/>
                <a:gd name="T7" fmla="*/ 89 h 134"/>
                <a:gd name="T8" fmla="*/ 47 w 90"/>
                <a:gd name="T9" fmla="*/ 91 h 134"/>
                <a:gd name="T10" fmla="*/ 66 w 90"/>
                <a:gd name="T11" fmla="*/ 93 h 134"/>
                <a:gd name="T12" fmla="*/ 66 w 90"/>
                <a:gd name="T13" fmla="*/ 89 h 134"/>
                <a:gd name="T14" fmla="*/ 62 w 90"/>
                <a:gd name="T15" fmla="*/ 72 h 134"/>
                <a:gd name="T16" fmla="*/ 62 w 90"/>
                <a:gd name="T17" fmla="*/ 67 h 134"/>
                <a:gd name="T18" fmla="*/ 47 w 90"/>
                <a:gd name="T19" fmla="*/ 69 h 134"/>
                <a:gd name="T20" fmla="*/ 66 w 90"/>
                <a:gd name="T21" fmla="*/ 57 h 134"/>
                <a:gd name="T22" fmla="*/ 47 w 90"/>
                <a:gd name="T23" fmla="*/ 60 h 134"/>
                <a:gd name="T24" fmla="*/ 66 w 90"/>
                <a:gd name="T25" fmla="*/ 62 h 134"/>
                <a:gd name="T26" fmla="*/ 66 w 90"/>
                <a:gd name="T27" fmla="*/ 57 h 134"/>
                <a:gd name="T28" fmla="*/ 21 w 90"/>
                <a:gd name="T29" fmla="*/ 96 h 134"/>
                <a:gd name="T30" fmla="*/ 35 w 90"/>
                <a:gd name="T31" fmla="*/ 96 h 134"/>
                <a:gd name="T32" fmla="*/ 28 w 90"/>
                <a:gd name="T33" fmla="*/ 84 h 134"/>
                <a:gd name="T34" fmla="*/ 28 w 90"/>
                <a:gd name="T35" fmla="*/ 108 h 134"/>
                <a:gd name="T36" fmla="*/ 28 w 90"/>
                <a:gd name="T37" fmla="*/ 84 h 134"/>
                <a:gd name="T38" fmla="*/ 21 w 90"/>
                <a:gd name="T39" fmla="*/ 65 h 134"/>
                <a:gd name="T40" fmla="*/ 35 w 90"/>
                <a:gd name="T41" fmla="*/ 65 h 134"/>
                <a:gd name="T42" fmla="*/ 28 w 90"/>
                <a:gd name="T43" fmla="*/ 53 h 134"/>
                <a:gd name="T44" fmla="*/ 28 w 90"/>
                <a:gd name="T45" fmla="*/ 77 h 134"/>
                <a:gd name="T46" fmla="*/ 28 w 90"/>
                <a:gd name="T47" fmla="*/ 53 h 134"/>
                <a:gd name="T48" fmla="*/ 50 w 90"/>
                <a:gd name="T49" fmla="*/ 17 h 134"/>
                <a:gd name="T50" fmla="*/ 40 w 90"/>
                <a:gd name="T51" fmla="*/ 17 h 134"/>
                <a:gd name="T52" fmla="*/ 86 w 90"/>
                <a:gd name="T53" fmla="*/ 127 h 134"/>
                <a:gd name="T54" fmla="*/ 7 w 90"/>
                <a:gd name="T55" fmla="*/ 129 h 134"/>
                <a:gd name="T56" fmla="*/ 4 w 90"/>
                <a:gd name="T57" fmla="*/ 33 h 134"/>
                <a:gd name="T58" fmla="*/ 16 w 90"/>
                <a:gd name="T59" fmla="*/ 31 h 134"/>
                <a:gd name="T60" fmla="*/ 19 w 90"/>
                <a:gd name="T61" fmla="*/ 38 h 134"/>
                <a:gd name="T62" fmla="*/ 73 w 90"/>
                <a:gd name="T63" fmla="*/ 38 h 134"/>
                <a:gd name="T64" fmla="*/ 74 w 90"/>
                <a:gd name="T65" fmla="*/ 31 h 134"/>
                <a:gd name="T66" fmla="*/ 86 w 90"/>
                <a:gd name="T67" fmla="*/ 33 h 134"/>
                <a:gd name="T68" fmla="*/ 31 w 90"/>
                <a:gd name="T69" fmla="*/ 24 h 134"/>
                <a:gd name="T70" fmla="*/ 33 w 90"/>
                <a:gd name="T71" fmla="*/ 17 h 134"/>
                <a:gd name="T72" fmla="*/ 57 w 90"/>
                <a:gd name="T73" fmla="*/ 17 h 134"/>
                <a:gd name="T74" fmla="*/ 59 w 90"/>
                <a:gd name="T75" fmla="*/ 24 h 134"/>
                <a:gd name="T76" fmla="*/ 69 w 90"/>
                <a:gd name="T77" fmla="*/ 33 h 134"/>
                <a:gd name="T78" fmla="*/ 21 w 90"/>
                <a:gd name="T79" fmla="*/ 24 h 134"/>
                <a:gd name="T80" fmla="*/ 83 w 90"/>
                <a:gd name="T81" fmla="*/ 26 h 134"/>
                <a:gd name="T82" fmla="*/ 74 w 90"/>
                <a:gd name="T83" fmla="*/ 22 h 134"/>
                <a:gd name="T84" fmla="*/ 62 w 90"/>
                <a:gd name="T85" fmla="*/ 19 h 134"/>
                <a:gd name="T86" fmla="*/ 45 w 90"/>
                <a:gd name="T87" fmla="*/ 0 h 134"/>
                <a:gd name="T88" fmla="*/ 28 w 90"/>
                <a:gd name="T89" fmla="*/ 19 h 134"/>
                <a:gd name="T90" fmla="*/ 17 w 90"/>
                <a:gd name="T91" fmla="*/ 20 h 134"/>
                <a:gd name="T92" fmla="*/ 16 w 90"/>
                <a:gd name="T93" fmla="*/ 26 h 134"/>
                <a:gd name="T94" fmla="*/ 0 w 90"/>
                <a:gd name="T95" fmla="*/ 33 h 134"/>
                <a:gd name="T96" fmla="*/ 7 w 90"/>
                <a:gd name="T97" fmla="*/ 134 h 134"/>
                <a:gd name="T98" fmla="*/ 90 w 90"/>
                <a:gd name="T99" fmla="*/ 127 h 134"/>
                <a:gd name="T100" fmla="*/ 83 w 90"/>
                <a:gd name="T101" fmla="*/ 2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" h="134">
                  <a:moveTo>
                    <a:pt x="62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48" y="98"/>
                    <a:pt x="47" y="99"/>
                    <a:pt x="47" y="101"/>
                  </a:cubicBezTo>
                  <a:cubicBezTo>
                    <a:pt x="47" y="102"/>
                    <a:pt x="48" y="103"/>
                    <a:pt x="50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3" y="103"/>
                    <a:pt x="64" y="102"/>
                    <a:pt x="64" y="101"/>
                  </a:cubicBezTo>
                  <a:cubicBezTo>
                    <a:pt x="64" y="99"/>
                    <a:pt x="63" y="98"/>
                    <a:pt x="62" y="98"/>
                  </a:cubicBezTo>
                  <a:moveTo>
                    <a:pt x="66" y="89"/>
                  </a:moveTo>
                  <a:cubicBezTo>
                    <a:pt x="50" y="89"/>
                    <a:pt x="50" y="89"/>
                    <a:pt x="50" y="89"/>
                  </a:cubicBezTo>
                  <a:cubicBezTo>
                    <a:pt x="48" y="89"/>
                    <a:pt x="47" y="90"/>
                    <a:pt x="47" y="91"/>
                  </a:cubicBezTo>
                  <a:cubicBezTo>
                    <a:pt x="47" y="92"/>
                    <a:pt x="48" y="93"/>
                    <a:pt x="50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8" y="93"/>
                    <a:pt x="69" y="92"/>
                    <a:pt x="69" y="91"/>
                  </a:cubicBezTo>
                  <a:cubicBezTo>
                    <a:pt x="69" y="90"/>
                    <a:pt x="68" y="89"/>
                    <a:pt x="66" y="89"/>
                  </a:cubicBezTo>
                  <a:moveTo>
                    <a:pt x="50" y="72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4" y="71"/>
                    <a:pt x="64" y="69"/>
                  </a:cubicBezTo>
                  <a:cubicBezTo>
                    <a:pt x="64" y="68"/>
                    <a:pt x="63" y="67"/>
                    <a:pt x="62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48" y="67"/>
                    <a:pt x="47" y="68"/>
                    <a:pt x="47" y="69"/>
                  </a:cubicBezTo>
                  <a:cubicBezTo>
                    <a:pt x="47" y="71"/>
                    <a:pt x="48" y="72"/>
                    <a:pt x="50" y="72"/>
                  </a:cubicBezTo>
                  <a:moveTo>
                    <a:pt x="66" y="57"/>
                  </a:moveTo>
                  <a:cubicBezTo>
                    <a:pt x="50" y="57"/>
                    <a:pt x="50" y="57"/>
                    <a:pt x="50" y="57"/>
                  </a:cubicBezTo>
                  <a:cubicBezTo>
                    <a:pt x="48" y="57"/>
                    <a:pt x="47" y="58"/>
                    <a:pt x="47" y="60"/>
                  </a:cubicBezTo>
                  <a:cubicBezTo>
                    <a:pt x="47" y="61"/>
                    <a:pt x="48" y="62"/>
                    <a:pt x="50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8" y="62"/>
                    <a:pt x="69" y="61"/>
                    <a:pt x="69" y="60"/>
                  </a:cubicBezTo>
                  <a:cubicBezTo>
                    <a:pt x="69" y="58"/>
                    <a:pt x="68" y="57"/>
                    <a:pt x="66" y="57"/>
                  </a:cubicBezTo>
                  <a:moveTo>
                    <a:pt x="28" y="103"/>
                  </a:moveTo>
                  <a:cubicBezTo>
                    <a:pt x="24" y="103"/>
                    <a:pt x="21" y="100"/>
                    <a:pt x="21" y="96"/>
                  </a:cubicBezTo>
                  <a:cubicBezTo>
                    <a:pt x="21" y="92"/>
                    <a:pt x="24" y="89"/>
                    <a:pt x="28" y="89"/>
                  </a:cubicBezTo>
                  <a:cubicBezTo>
                    <a:pt x="32" y="89"/>
                    <a:pt x="35" y="92"/>
                    <a:pt x="35" y="96"/>
                  </a:cubicBezTo>
                  <a:cubicBezTo>
                    <a:pt x="35" y="100"/>
                    <a:pt x="32" y="103"/>
                    <a:pt x="28" y="103"/>
                  </a:cubicBezTo>
                  <a:moveTo>
                    <a:pt x="28" y="84"/>
                  </a:moveTo>
                  <a:cubicBezTo>
                    <a:pt x="22" y="84"/>
                    <a:pt x="16" y="89"/>
                    <a:pt x="16" y="96"/>
                  </a:cubicBezTo>
                  <a:cubicBezTo>
                    <a:pt x="16" y="102"/>
                    <a:pt x="22" y="108"/>
                    <a:pt x="28" y="108"/>
                  </a:cubicBezTo>
                  <a:cubicBezTo>
                    <a:pt x="35" y="108"/>
                    <a:pt x="40" y="102"/>
                    <a:pt x="40" y="96"/>
                  </a:cubicBezTo>
                  <a:cubicBezTo>
                    <a:pt x="40" y="89"/>
                    <a:pt x="35" y="84"/>
                    <a:pt x="28" y="84"/>
                  </a:cubicBezTo>
                  <a:moveTo>
                    <a:pt x="28" y="72"/>
                  </a:moveTo>
                  <a:cubicBezTo>
                    <a:pt x="24" y="72"/>
                    <a:pt x="21" y="69"/>
                    <a:pt x="21" y="65"/>
                  </a:cubicBezTo>
                  <a:cubicBezTo>
                    <a:pt x="21" y="61"/>
                    <a:pt x="24" y="57"/>
                    <a:pt x="28" y="57"/>
                  </a:cubicBezTo>
                  <a:cubicBezTo>
                    <a:pt x="32" y="57"/>
                    <a:pt x="35" y="61"/>
                    <a:pt x="35" y="65"/>
                  </a:cubicBezTo>
                  <a:cubicBezTo>
                    <a:pt x="35" y="69"/>
                    <a:pt x="32" y="72"/>
                    <a:pt x="28" y="72"/>
                  </a:cubicBezTo>
                  <a:moveTo>
                    <a:pt x="28" y="53"/>
                  </a:moveTo>
                  <a:cubicBezTo>
                    <a:pt x="22" y="53"/>
                    <a:pt x="16" y="58"/>
                    <a:pt x="16" y="65"/>
                  </a:cubicBezTo>
                  <a:cubicBezTo>
                    <a:pt x="16" y="71"/>
                    <a:pt x="22" y="77"/>
                    <a:pt x="28" y="77"/>
                  </a:cubicBezTo>
                  <a:cubicBezTo>
                    <a:pt x="35" y="77"/>
                    <a:pt x="40" y="71"/>
                    <a:pt x="40" y="65"/>
                  </a:cubicBezTo>
                  <a:cubicBezTo>
                    <a:pt x="40" y="58"/>
                    <a:pt x="35" y="53"/>
                    <a:pt x="28" y="53"/>
                  </a:cubicBezTo>
                  <a:moveTo>
                    <a:pt x="45" y="22"/>
                  </a:moveTo>
                  <a:cubicBezTo>
                    <a:pt x="48" y="22"/>
                    <a:pt x="50" y="19"/>
                    <a:pt x="50" y="17"/>
                  </a:cubicBezTo>
                  <a:cubicBezTo>
                    <a:pt x="50" y="14"/>
                    <a:pt x="48" y="12"/>
                    <a:pt x="45" y="12"/>
                  </a:cubicBezTo>
                  <a:cubicBezTo>
                    <a:pt x="42" y="12"/>
                    <a:pt x="40" y="14"/>
                    <a:pt x="40" y="17"/>
                  </a:cubicBezTo>
                  <a:cubicBezTo>
                    <a:pt x="40" y="19"/>
                    <a:pt x="42" y="22"/>
                    <a:pt x="45" y="22"/>
                  </a:cubicBezTo>
                  <a:moveTo>
                    <a:pt x="86" y="127"/>
                  </a:moveTo>
                  <a:cubicBezTo>
                    <a:pt x="86" y="128"/>
                    <a:pt x="84" y="129"/>
                    <a:pt x="83" y="129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6" y="129"/>
                    <a:pt x="4" y="128"/>
                    <a:pt x="4" y="127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2"/>
                    <a:pt x="6" y="31"/>
                    <a:pt x="7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7" y="38"/>
                    <a:pt x="19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2" y="38"/>
                    <a:pt x="72" y="38"/>
                    <a:pt x="73" y="38"/>
                  </a:cubicBezTo>
                  <a:cubicBezTo>
                    <a:pt x="73" y="37"/>
                    <a:pt x="74" y="37"/>
                    <a:pt x="74" y="36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6" y="32"/>
                    <a:pt x="86" y="33"/>
                  </a:cubicBezTo>
                  <a:lnTo>
                    <a:pt x="86" y="127"/>
                  </a:lnTo>
                  <a:close/>
                  <a:moveTo>
                    <a:pt x="31" y="24"/>
                  </a:moveTo>
                  <a:cubicBezTo>
                    <a:pt x="32" y="24"/>
                    <a:pt x="33" y="23"/>
                    <a:pt x="33" y="22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0"/>
                    <a:pt x="38" y="5"/>
                    <a:pt x="45" y="5"/>
                  </a:cubicBezTo>
                  <a:cubicBezTo>
                    <a:pt x="52" y="5"/>
                    <a:pt x="57" y="10"/>
                    <a:pt x="57" y="17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3"/>
                    <a:pt x="58" y="24"/>
                    <a:pt x="5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24"/>
                    <a:pt x="21" y="24"/>
                    <a:pt x="21" y="24"/>
                  </a:cubicBezTo>
                  <a:lnTo>
                    <a:pt x="31" y="24"/>
                  </a:lnTo>
                  <a:close/>
                  <a:moveTo>
                    <a:pt x="83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0"/>
                    <a:pt x="73" y="19"/>
                    <a:pt x="71" y="19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7"/>
                    <a:pt x="54" y="0"/>
                    <a:pt x="45" y="0"/>
                  </a:cubicBezTo>
                  <a:cubicBezTo>
                    <a:pt x="36" y="0"/>
                    <a:pt x="28" y="7"/>
                    <a:pt x="28" y="17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7" y="20"/>
                  </a:cubicBezTo>
                  <a:cubicBezTo>
                    <a:pt x="17" y="20"/>
                    <a:pt x="16" y="21"/>
                    <a:pt x="16" y="22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" y="26"/>
                    <a:pt x="0" y="30"/>
                    <a:pt x="0" y="33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3" y="134"/>
                    <a:pt x="7" y="134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87" y="134"/>
                    <a:pt x="90" y="131"/>
                    <a:pt x="90" y="127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0"/>
                    <a:pt x="87" y="26"/>
                    <a:pt x="83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8" name="Group 133">
            <a:extLst>
              <a:ext uri="{FF2B5EF4-FFF2-40B4-BE49-F238E27FC236}">
                <a16:creationId xmlns:a16="http://schemas.microsoft.com/office/drawing/2014/main" id="{CDDC235B-D81B-4EC8-B47A-105E88F9C5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955" y="2823470"/>
            <a:ext cx="760412" cy="758825"/>
            <a:chOff x="2335" y="1891"/>
            <a:chExt cx="479" cy="478"/>
          </a:xfrm>
        </p:grpSpPr>
        <p:sp>
          <p:nvSpPr>
            <p:cNvPr id="159" name="AutoShape 132">
              <a:extLst>
                <a:ext uri="{FF2B5EF4-FFF2-40B4-BE49-F238E27FC236}">
                  <a16:creationId xmlns:a16="http://schemas.microsoft.com/office/drawing/2014/main" id="{8CFD92B7-54D5-4AE5-AA8C-293FDFE16E4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35" y="189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4">
              <a:extLst>
                <a:ext uri="{FF2B5EF4-FFF2-40B4-BE49-F238E27FC236}">
                  <a16:creationId xmlns:a16="http://schemas.microsoft.com/office/drawing/2014/main" id="{B3D9AD0F-5B77-4792-AA3C-0711B0E4AB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7" y="189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5">
              <a:extLst>
                <a:ext uri="{FF2B5EF4-FFF2-40B4-BE49-F238E27FC236}">
                  <a16:creationId xmlns:a16="http://schemas.microsoft.com/office/drawing/2014/main" id="{267E3007-64F2-4F80-81EF-7CDA3B45B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8" y="2014"/>
              <a:ext cx="236" cy="235"/>
            </a:xfrm>
            <a:custGeom>
              <a:avLst/>
              <a:gdLst>
                <a:gd name="T0" fmla="*/ 150 w 236"/>
                <a:gd name="T1" fmla="*/ 12 h 235"/>
                <a:gd name="T2" fmla="*/ 150 w 236"/>
                <a:gd name="T3" fmla="*/ 80 h 235"/>
                <a:gd name="T4" fmla="*/ 150 w 236"/>
                <a:gd name="T5" fmla="*/ 83 h 235"/>
                <a:gd name="T6" fmla="*/ 152 w 236"/>
                <a:gd name="T7" fmla="*/ 85 h 235"/>
                <a:gd name="T8" fmla="*/ 155 w 236"/>
                <a:gd name="T9" fmla="*/ 85 h 235"/>
                <a:gd name="T10" fmla="*/ 209 w 236"/>
                <a:gd name="T11" fmla="*/ 85 h 235"/>
                <a:gd name="T12" fmla="*/ 211 w 236"/>
                <a:gd name="T13" fmla="*/ 85 h 235"/>
                <a:gd name="T14" fmla="*/ 214 w 236"/>
                <a:gd name="T15" fmla="*/ 83 h 235"/>
                <a:gd name="T16" fmla="*/ 214 w 236"/>
                <a:gd name="T17" fmla="*/ 80 h 235"/>
                <a:gd name="T18" fmla="*/ 216 w 236"/>
                <a:gd name="T19" fmla="*/ 78 h 235"/>
                <a:gd name="T20" fmla="*/ 214 w 236"/>
                <a:gd name="T21" fmla="*/ 76 h 235"/>
                <a:gd name="T22" fmla="*/ 214 w 236"/>
                <a:gd name="T23" fmla="*/ 73 h 235"/>
                <a:gd name="T24" fmla="*/ 211 w 236"/>
                <a:gd name="T25" fmla="*/ 73 h 235"/>
                <a:gd name="T26" fmla="*/ 209 w 236"/>
                <a:gd name="T27" fmla="*/ 73 h 235"/>
                <a:gd name="T28" fmla="*/ 162 w 236"/>
                <a:gd name="T29" fmla="*/ 22 h 235"/>
                <a:gd name="T30" fmla="*/ 223 w 236"/>
                <a:gd name="T31" fmla="*/ 223 h 235"/>
                <a:gd name="T32" fmla="*/ 12 w 236"/>
                <a:gd name="T33" fmla="*/ 12 h 235"/>
                <a:gd name="T34" fmla="*/ 5 w 236"/>
                <a:gd name="T35" fmla="*/ 0 h 235"/>
                <a:gd name="T36" fmla="*/ 2 w 236"/>
                <a:gd name="T37" fmla="*/ 2 h 235"/>
                <a:gd name="T38" fmla="*/ 2 w 236"/>
                <a:gd name="T39" fmla="*/ 2 h 235"/>
                <a:gd name="T40" fmla="*/ 0 w 236"/>
                <a:gd name="T41" fmla="*/ 4 h 235"/>
                <a:gd name="T42" fmla="*/ 0 w 236"/>
                <a:gd name="T43" fmla="*/ 228 h 235"/>
                <a:gd name="T44" fmla="*/ 0 w 236"/>
                <a:gd name="T45" fmla="*/ 230 h 235"/>
                <a:gd name="T46" fmla="*/ 2 w 236"/>
                <a:gd name="T47" fmla="*/ 232 h 235"/>
                <a:gd name="T48" fmla="*/ 5 w 236"/>
                <a:gd name="T49" fmla="*/ 235 h 235"/>
                <a:gd name="T50" fmla="*/ 7 w 236"/>
                <a:gd name="T51" fmla="*/ 235 h 235"/>
                <a:gd name="T52" fmla="*/ 231 w 236"/>
                <a:gd name="T53" fmla="*/ 235 h 235"/>
                <a:gd name="T54" fmla="*/ 233 w 236"/>
                <a:gd name="T55" fmla="*/ 232 h 235"/>
                <a:gd name="T56" fmla="*/ 233 w 236"/>
                <a:gd name="T57" fmla="*/ 232 h 235"/>
                <a:gd name="T58" fmla="*/ 236 w 236"/>
                <a:gd name="T59" fmla="*/ 230 h 235"/>
                <a:gd name="T60" fmla="*/ 236 w 236"/>
                <a:gd name="T61" fmla="*/ 78 h 235"/>
                <a:gd name="T62" fmla="*/ 236 w 236"/>
                <a:gd name="T63" fmla="*/ 76 h 235"/>
                <a:gd name="T64" fmla="*/ 233 w 236"/>
                <a:gd name="T65" fmla="*/ 73 h 235"/>
                <a:gd name="T66" fmla="*/ 160 w 236"/>
                <a:gd name="T67" fmla="*/ 2 h 235"/>
                <a:gd name="T68" fmla="*/ 160 w 236"/>
                <a:gd name="T69" fmla="*/ 0 h 235"/>
                <a:gd name="T70" fmla="*/ 157 w 236"/>
                <a:gd name="T71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6" h="235">
                  <a:moveTo>
                    <a:pt x="12" y="12"/>
                  </a:moveTo>
                  <a:lnTo>
                    <a:pt x="150" y="12"/>
                  </a:lnTo>
                  <a:lnTo>
                    <a:pt x="150" y="7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5" y="85"/>
                  </a:lnTo>
                  <a:lnTo>
                    <a:pt x="155" y="85"/>
                  </a:lnTo>
                  <a:lnTo>
                    <a:pt x="157" y="85"/>
                  </a:lnTo>
                  <a:lnTo>
                    <a:pt x="209" y="85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14" y="85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0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4" y="76"/>
                  </a:lnTo>
                  <a:lnTo>
                    <a:pt x="214" y="76"/>
                  </a:lnTo>
                  <a:lnTo>
                    <a:pt x="214" y="73"/>
                  </a:lnTo>
                  <a:lnTo>
                    <a:pt x="214" y="73"/>
                  </a:lnTo>
                  <a:lnTo>
                    <a:pt x="211" y="73"/>
                  </a:lnTo>
                  <a:lnTo>
                    <a:pt x="211" y="73"/>
                  </a:lnTo>
                  <a:lnTo>
                    <a:pt x="209" y="73"/>
                  </a:lnTo>
                  <a:lnTo>
                    <a:pt x="162" y="73"/>
                  </a:lnTo>
                  <a:lnTo>
                    <a:pt x="162" y="22"/>
                  </a:lnTo>
                  <a:lnTo>
                    <a:pt x="223" y="80"/>
                  </a:lnTo>
                  <a:lnTo>
                    <a:pt x="223" y="223"/>
                  </a:lnTo>
                  <a:lnTo>
                    <a:pt x="12" y="223"/>
                  </a:lnTo>
                  <a:lnTo>
                    <a:pt x="12" y="12"/>
                  </a:lnTo>
                  <a:close/>
                  <a:moveTo>
                    <a:pt x="7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228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2" y="232"/>
                  </a:lnTo>
                  <a:lnTo>
                    <a:pt x="2" y="232"/>
                  </a:lnTo>
                  <a:lnTo>
                    <a:pt x="2" y="232"/>
                  </a:lnTo>
                  <a:lnTo>
                    <a:pt x="5" y="235"/>
                  </a:lnTo>
                  <a:lnTo>
                    <a:pt x="5" y="235"/>
                  </a:lnTo>
                  <a:lnTo>
                    <a:pt x="7" y="235"/>
                  </a:lnTo>
                  <a:lnTo>
                    <a:pt x="228" y="235"/>
                  </a:lnTo>
                  <a:lnTo>
                    <a:pt x="231" y="235"/>
                  </a:lnTo>
                  <a:lnTo>
                    <a:pt x="231" y="235"/>
                  </a:lnTo>
                  <a:lnTo>
                    <a:pt x="233" y="232"/>
                  </a:lnTo>
                  <a:lnTo>
                    <a:pt x="233" y="232"/>
                  </a:lnTo>
                  <a:lnTo>
                    <a:pt x="233" y="232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28"/>
                  </a:lnTo>
                  <a:lnTo>
                    <a:pt x="236" y="78"/>
                  </a:lnTo>
                  <a:lnTo>
                    <a:pt x="236" y="78"/>
                  </a:lnTo>
                  <a:lnTo>
                    <a:pt x="236" y="76"/>
                  </a:lnTo>
                  <a:lnTo>
                    <a:pt x="233" y="76"/>
                  </a:lnTo>
                  <a:lnTo>
                    <a:pt x="233" y="73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60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138">
            <a:extLst>
              <a:ext uri="{FF2B5EF4-FFF2-40B4-BE49-F238E27FC236}">
                <a16:creationId xmlns:a16="http://schemas.microsoft.com/office/drawing/2014/main" id="{C5D80F1F-E34C-4E7C-99D7-D8F1532774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738" y="2782195"/>
            <a:ext cx="842962" cy="841375"/>
            <a:chOff x="1637" y="1848"/>
            <a:chExt cx="531" cy="530"/>
          </a:xfrm>
        </p:grpSpPr>
        <p:sp>
          <p:nvSpPr>
            <p:cNvPr id="163" name="AutoShape 137">
              <a:extLst>
                <a:ext uri="{FF2B5EF4-FFF2-40B4-BE49-F238E27FC236}">
                  <a16:creationId xmlns:a16="http://schemas.microsoft.com/office/drawing/2014/main" id="{03788E81-C85E-46D6-890D-C77E58F2291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7" y="184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139">
              <a:extLst>
                <a:ext uri="{FF2B5EF4-FFF2-40B4-BE49-F238E27FC236}">
                  <a16:creationId xmlns:a16="http://schemas.microsoft.com/office/drawing/2014/main" id="{71245215-4509-408E-BC70-135ED13F7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7" y="184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0">
              <a:extLst>
                <a:ext uri="{FF2B5EF4-FFF2-40B4-BE49-F238E27FC236}">
                  <a16:creationId xmlns:a16="http://schemas.microsoft.com/office/drawing/2014/main" id="{41031ECB-4476-4494-8F24-7B459EE1CF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86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1">
              <a:extLst>
                <a:ext uri="{FF2B5EF4-FFF2-40B4-BE49-F238E27FC236}">
                  <a16:creationId xmlns:a16="http://schemas.microsoft.com/office/drawing/2014/main" id="{D166DAE9-FD92-4229-BF94-FE44651740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1991"/>
              <a:ext cx="246" cy="246"/>
            </a:xfrm>
            <a:custGeom>
              <a:avLst/>
              <a:gdLst>
                <a:gd name="T0" fmla="*/ 156 w 246"/>
                <a:gd name="T1" fmla="*/ 13 h 246"/>
                <a:gd name="T2" fmla="*/ 156 w 246"/>
                <a:gd name="T3" fmla="*/ 85 h 246"/>
                <a:gd name="T4" fmla="*/ 156 w 246"/>
                <a:gd name="T5" fmla="*/ 87 h 246"/>
                <a:gd name="T6" fmla="*/ 159 w 246"/>
                <a:gd name="T7" fmla="*/ 90 h 246"/>
                <a:gd name="T8" fmla="*/ 161 w 246"/>
                <a:gd name="T9" fmla="*/ 90 h 246"/>
                <a:gd name="T10" fmla="*/ 218 w 246"/>
                <a:gd name="T11" fmla="*/ 90 h 246"/>
                <a:gd name="T12" fmla="*/ 220 w 246"/>
                <a:gd name="T13" fmla="*/ 90 h 246"/>
                <a:gd name="T14" fmla="*/ 223 w 246"/>
                <a:gd name="T15" fmla="*/ 87 h 246"/>
                <a:gd name="T16" fmla="*/ 223 w 246"/>
                <a:gd name="T17" fmla="*/ 85 h 246"/>
                <a:gd name="T18" fmla="*/ 225 w 246"/>
                <a:gd name="T19" fmla="*/ 82 h 246"/>
                <a:gd name="T20" fmla="*/ 223 w 246"/>
                <a:gd name="T21" fmla="*/ 80 h 246"/>
                <a:gd name="T22" fmla="*/ 223 w 246"/>
                <a:gd name="T23" fmla="*/ 77 h 246"/>
                <a:gd name="T24" fmla="*/ 220 w 246"/>
                <a:gd name="T25" fmla="*/ 77 h 246"/>
                <a:gd name="T26" fmla="*/ 218 w 246"/>
                <a:gd name="T27" fmla="*/ 77 h 246"/>
                <a:gd name="T28" fmla="*/ 169 w 246"/>
                <a:gd name="T29" fmla="*/ 23 h 246"/>
                <a:gd name="T30" fmla="*/ 233 w 246"/>
                <a:gd name="T31" fmla="*/ 233 h 246"/>
                <a:gd name="T32" fmla="*/ 12 w 246"/>
                <a:gd name="T33" fmla="*/ 13 h 246"/>
                <a:gd name="T34" fmla="*/ 5 w 246"/>
                <a:gd name="T35" fmla="*/ 0 h 246"/>
                <a:gd name="T36" fmla="*/ 2 w 246"/>
                <a:gd name="T37" fmla="*/ 3 h 246"/>
                <a:gd name="T38" fmla="*/ 2 w 246"/>
                <a:gd name="T39" fmla="*/ 3 h 246"/>
                <a:gd name="T40" fmla="*/ 0 w 246"/>
                <a:gd name="T41" fmla="*/ 5 h 246"/>
                <a:gd name="T42" fmla="*/ 0 w 246"/>
                <a:gd name="T43" fmla="*/ 238 h 246"/>
                <a:gd name="T44" fmla="*/ 0 w 246"/>
                <a:gd name="T45" fmla="*/ 241 h 246"/>
                <a:gd name="T46" fmla="*/ 2 w 246"/>
                <a:gd name="T47" fmla="*/ 244 h 246"/>
                <a:gd name="T48" fmla="*/ 5 w 246"/>
                <a:gd name="T49" fmla="*/ 246 h 246"/>
                <a:gd name="T50" fmla="*/ 7 w 246"/>
                <a:gd name="T51" fmla="*/ 246 h 246"/>
                <a:gd name="T52" fmla="*/ 241 w 246"/>
                <a:gd name="T53" fmla="*/ 246 h 246"/>
                <a:gd name="T54" fmla="*/ 243 w 246"/>
                <a:gd name="T55" fmla="*/ 244 h 246"/>
                <a:gd name="T56" fmla="*/ 243 w 246"/>
                <a:gd name="T57" fmla="*/ 244 h 246"/>
                <a:gd name="T58" fmla="*/ 246 w 246"/>
                <a:gd name="T59" fmla="*/ 241 h 246"/>
                <a:gd name="T60" fmla="*/ 246 w 246"/>
                <a:gd name="T61" fmla="*/ 82 h 246"/>
                <a:gd name="T62" fmla="*/ 246 w 246"/>
                <a:gd name="T63" fmla="*/ 80 h 246"/>
                <a:gd name="T64" fmla="*/ 243 w 246"/>
                <a:gd name="T65" fmla="*/ 77 h 246"/>
                <a:gd name="T66" fmla="*/ 166 w 246"/>
                <a:gd name="T67" fmla="*/ 3 h 246"/>
                <a:gd name="T68" fmla="*/ 166 w 246"/>
                <a:gd name="T69" fmla="*/ 0 h 246"/>
                <a:gd name="T70" fmla="*/ 164 w 246"/>
                <a:gd name="T7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6" h="246">
                  <a:moveTo>
                    <a:pt x="12" y="13"/>
                  </a:moveTo>
                  <a:lnTo>
                    <a:pt x="156" y="13"/>
                  </a:lnTo>
                  <a:lnTo>
                    <a:pt x="156" y="82"/>
                  </a:lnTo>
                  <a:lnTo>
                    <a:pt x="156" y="85"/>
                  </a:lnTo>
                  <a:lnTo>
                    <a:pt x="156" y="85"/>
                  </a:lnTo>
                  <a:lnTo>
                    <a:pt x="156" y="87"/>
                  </a:lnTo>
                  <a:lnTo>
                    <a:pt x="159" y="87"/>
                  </a:lnTo>
                  <a:lnTo>
                    <a:pt x="159" y="90"/>
                  </a:lnTo>
                  <a:lnTo>
                    <a:pt x="161" y="90"/>
                  </a:lnTo>
                  <a:lnTo>
                    <a:pt x="161" y="90"/>
                  </a:lnTo>
                  <a:lnTo>
                    <a:pt x="164" y="90"/>
                  </a:lnTo>
                  <a:lnTo>
                    <a:pt x="218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3" y="90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5" y="82"/>
                  </a:lnTo>
                  <a:lnTo>
                    <a:pt x="225" y="82"/>
                  </a:lnTo>
                  <a:lnTo>
                    <a:pt x="223" y="80"/>
                  </a:lnTo>
                  <a:lnTo>
                    <a:pt x="223" y="80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0" y="77"/>
                  </a:lnTo>
                  <a:lnTo>
                    <a:pt x="220" y="77"/>
                  </a:lnTo>
                  <a:lnTo>
                    <a:pt x="218" y="77"/>
                  </a:lnTo>
                  <a:lnTo>
                    <a:pt x="169" y="77"/>
                  </a:lnTo>
                  <a:lnTo>
                    <a:pt x="169" y="23"/>
                  </a:lnTo>
                  <a:lnTo>
                    <a:pt x="233" y="85"/>
                  </a:lnTo>
                  <a:lnTo>
                    <a:pt x="233" y="233"/>
                  </a:lnTo>
                  <a:lnTo>
                    <a:pt x="12" y="233"/>
                  </a:lnTo>
                  <a:lnTo>
                    <a:pt x="12" y="13"/>
                  </a:lnTo>
                  <a:close/>
                  <a:moveTo>
                    <a:pt x="7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238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2" y="244"/>
                  </a:lnTo>
                  <a:lnTo>
                    <a:pt x="5" y="246"/>
                  </a:lnTo>
                  <a:lnTo>
                    <a:pt x="5" y="246"/>
                  </a:lnTo>
                  <a:lnTo>
                    <a:pt x="7" y="246"/>
                  </a:lnTo>
                  <a:lnTo>
                    <a:pt x="238" y="246"/>
                  </a:lnTo>
                  <a:lnTo>
                    <a:pt x="241" y="246"/>
                  </a:lnTo>
                  <a:lnTo>
                    <a:pt x="241" y="246"/>
                  </a:lnTo>
                  <a:lnTo>
                    <a:pt x="243" y="244"/>
                  </a:lnTo>
                  <a:lnTo>
                    <a:pt x="243" y="244"/>
                  </a:lnTo>
                  <a:lnTo>
                    <a:pt x="243" y="244"/>
                  </a:lnTo>
                  <a:lnTo>
                    <a:pt x="246" y="241"/>
                  </a:lnTo>
                  <a:lnTo>
                    <a:pt x="246" y="241"/>
                  </a:lnTo>
                  <a:lnTo>
                    <a:pt x="246" y="238"/>
                  </a:lnTo>
                  <a:lnTo>
                    <a:pt x="246" y="82"/>
                  </a:lnTo>
                  <a:lnTo>
                    <a:pt x="246" y="82"/>
                  </a:lnTo>
                  <a:lnTo>
                    <a:pt x="246" y="80"/>
                  </a:lnTo>
                  <a:lnTo>
                    <a:pt x="243" y="80"/>
                  </a:lnTo>
                  <a:lnTo>
                    <a:pt x="243" y="77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6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44">
            <a:extLst>
              <a:ext uri="{FF2B5EF4-FFF2-40B4-BE49-F238E27FC236}">
                <a16:creationId xmlns:a16="http://schemas.microsoft.com/office/drawing/2014/main" id="{BA962F4E-3020-417E-8026-91090798F2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4541" y="2823470"/>
            <a:ext cx="760413" cy="758825"/>
            <a:chOff x="3658" y="1880"/>
            <a:chExt cx="479" cy="478"/>
          </a:xfrm>
        </p:grpSpPr>
        <p:sp>
          <p:nvSpPr>
            <p:cNvPr id="172" name="AutoShape 143">
              <a:extLst>
                <a:ext uri="{FF2B5EF4-FFF2-40B4-BE49-F238E27FC236}">
                  <a16:creationId xmlns:a16="http://schemas.microsoft.com/office/drawing/2014/main" id="{73E290D4-0601-4713-BE07-FF3BFAAD9F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8" y="1880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5">
              <a:extLst>
                <a:ext uri="{FF2B5EF4-FFF2-40B4-BE49-F238E27FC236}">
                  <a16:creationId xmlns:a16="http://schemas.microsoft.com/office/drawing/2014/main" id="{9DB77A27-A457-4AD5-9A55-3E9DA3F7C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0" y="1882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46">
              <a:extLst>
                <a:ext uri="{FF2B5EF4-FFF2-40B4-BE49-F238E27FC236}">
                  <a16:creationId xmlns:a16="http://schemas.microsoft.com/office/drawing/2014/main" id="{A5E977B5-3FBF-4A6D-B69E-B1AAD4846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9" y="2022"/>
              <a:ext cx="260" cy="196"/>
            </a:xfrm>
            <a:custGeom>
              <a:avLst/>
              <a:gdLst>
                <a:gd name="T0" fmla="*/ 78 w 260"/>
                <a:gd name="T1" fmla="*/ 12 h 196"/>
                <a:gd name="T2" fmla="*/ 90 w 260"/>
                <a:gd name="T3" fmla="*/ 34 h 196"/>
                <a:gd name="T4" fmla="*/ 19 w 260"/>
                <a:gd name="T5" fmla="*/ 34 h 196"/>
                <a:gd name="T6" fmla="*/ 17 w 260"/>
                <a:gd name="T7" fmla="*/ 37 h 196"/>
                <a:gd name="T8" fmla="*/ 17 w 260"/>
                <a:gd name="T9" fmla="*/ 37 h 196"/>
                <a:gd name="T10" fmla="*/ 14 w 260"/>
                <a:gd name="T11" fmla="*/ 39 h 196"/>
                <a:gd name="T12" fmla="*/ 14 w 260"/>
                <a:gd name="T13" fmla="*/ 42 h 196"/>
                <a:gd name="T14" fmla="*/ 17 w 260"/>
                <a:gd name="T15" fmla="*/ 44 h 196"/>
                <a:gd name="T16" fmla="*/ 17 w 260"/>
                <a:gd name="T17" fmla="*/ 47 h 196"/>
                <a:gd name="T18" fmla="*/ 19 w 260"/>
                <a:gd name="T19" fmla="*/ 47 h 196"/>
                <a:gd name="T20" fmla="*/ 93 w 260"/>
                <a:gd name="T21" fmla="*/ 47 h 196"/>
                <a:gd name="T22" fmla="*/ 95 w 260"/>
                <a:gd name="T23" fmla="*/ 47 h 196"/>
                <a:gd name="T24" fmla="*/ 98 w 260"/>
                <a:gd name="T25" fmla="*/ 47 h 196"/>
                <a:gd name="T26" fmla="*/ 248 w 260"/>
                <a:gd name="T27" fmla="*/ 25 h 196"/>
                <a:gd name="T28" fmla="*/ 12 w 260"/>
                <a:gd name="T29" fmla="*/ 184 h 196"/>
                <a:gd name="T30" fmla="*/ 4 w 260"/>
                <a:gd name="T31" fmla="*/ 0 h 196"/>
                <a:gd name="T32" fmla="*/ 2 w 260"/>
                <a:gd name="T33" fmla="*/ 0 h 196"/>
                <a:gd name="T34" fmla="*/ 0 w 260"/>
                <a:gd name="T35" fmla="*/ 3 h 196"/>
                <a:gd name="T36" fmla="*/ 0 w 260"/>
                <a:gd name="T37" fmla="*/ 5 h 196"/>
                <a:gd name="T38" fmla="*/ 0 w 260"/>
                <a:gd name="T39" fmla="*/ 191 h 196"/>
                <a:gd name="T40" fmla="*/ 0 w 260"/>
                <a:gd name="T41" fmla="*/ 194 h 196"/>
                <a:gd name="T42" fmla="*/ 2 w 260"/>
                <a:gd name="T43" fmla="*/ 196 h 196"/>
                <a:gd name="T44" fmla="*/ 2 w 260"/>
                <a:gd name="T45" fmla="*/ 196 h 196"/>
                <a:gd name="T46" fmla="*/ 4 w 260"/>
                <a:gd name="T47" fmla="*/ 196 h 196"/>
                <a:gd name="T48" fmla="*/ 255 w 260"/>
                <a:gd name="T49" fmla="*/ 196 h 196"/>
                <a:gd name="T50" fmla="*/ 257 w 260"/>
                <a:gd name="T51" fmla="*/ 196 h 196"/>
                <a:gd name="T52" fmla="*/ 260 w 260"/>
                <a:gd name="T53" fmla="*/ 194 h 196"/>
                <a:gd name="T54" fmla="*/ 260 w 260"/>
                <a:gd name="T55" fmla="*/ 191 h 196"/>
                <a:gd name="T56" fmla="*/ 260 w 260"/>
                <a:gd name="T57" fmla="*/ 20 h 196"/>
                <a:gd name="T58" fmla="*/ 260 w 260"/>
                <a:gd name="T59" fmla="*/ 17 h 196"/>
                <a:gd name="T60" fmla="*/ 260 w 260"/>
                <a:gd name="T61" fmla="*/ 15 h 196"/>
                <a:gd name="T62" fmla="*/ 257 w 260"/>
                <a:gd name="T63" fmla="*/ 15 h 196"/>
                <a:gd name="T64" fmla="*/ 255 w 260"/>
                <a:gd name="T65" fmla="*/ 12 h 196"/>
                <a:gd name="T66" fmla="*/ 113 w 260"/>
                <a:gd name="T67" fmla="*/ 12 h 196"/>
                <a:gd name="T68" fmla="*/ 110 w 260"/>
                <a:gd name="T69" fmla="*/ 15 h 196"/>
                <a:gd name="T70" fmla="*/ 105 w 260"/>
                <a:gd name="T71" fmla="*/ 20 h 196"/>
                <a:gd name="T72" fmla="*/ 83 w 260"/>
                <a:gd name="T73" fmla="*/ 0 h 196"/>
                <a:gd name="T74" fmla="*/ 81 w 260"/>
                <a:gd name="T75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0" h="196">
                  <a:moveTo>
                    <a:pt x="12" y="12"/>
                  </a:moveTo>
                  <a:lnTo>
                    <a:pt x="78" y="12"/>
                  </a:lnTo>
                  <a:lnTo>
                    <a:pt x="98" y="27"/>
                  </a:lnTo>
                  <a:lnTo>
                    <a:pt x="90" y="34"/>
                  </a:lnTo>
                  <a:lnTo>
                    <a:pt x="22" y="34"/>
                  </a:lnTo>
                  <a:lnTo>
                    <a:pt x="19" y="34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2" y="47"/>
                  </a:lnTo>
                  <a:lnTo>
                    <a:pt x="93" y="47"/>
                  </a:lnTo>
                  <a:lnTo>
                    <a:pt x="95" y="47"/>
                  </a:lnTo>
                  <a:lnTo>
                    <a:pt x="95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117" y="25"/>
                  </a:lnTo>
                  <a:lnTo>
                    <a:pt x="248" y="25"/>
                  </a:lnTo>
                  <a:lnTo>
                    <a:pt x="248" y="184"/>
                  </a:lnTo>
                  <a:lnTo>
                    <a:pt x="12" y="184"/>
                  </a:lnTo>
                  <a:lnTo>
                    <a:pt x="12" y="12"/>
                  </a:lnTo>
                  <a:close/>
                  <a:moveTo>
                    <a:pt x="4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91"/>
                  </a:lnTo>
                  <a:lnTo>
                    <a:pt x="0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255" y="196"/>
                  </a:lnTo>
                  <a:lnTo>
                    <a:pt x="255" y="196"/>
                  </a:lnTo>
                  <a:lnTo>
                    <a:pt x="257" y="196"/>
                  </a:lnTo>
                  <a:lnTo>
                    <a:pt x="257" y="196"/>
                  </a:lnTo>
                  <a:lnTo>
                    <a:pt x="260" y="196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60" y="191"/>
                  </a:lnTo>
                  <a:lnTo>
                    <a:pt x="260" y="191"/>
                  </a:lnTo>
                  <a:lnTo>
                    <a:pt x="260" y="20"/>
                  </a:lnTo>
                  <a:lnTo>
                    <a:pt x="260" y="17"/>
                  </a:lnTo>
                  <a:lnTo>
                    <a:pt x="260" y="17"/>
                  </a:lnTo>
                  <a:lnTo>
                    <a:pt x="260" y="15"/>
                  </a:lnTo>
                  <a:lnTo>
                    <a:pt x="260" y="15"/>
                  </a:lnTo>
                  <a:lnTo>
                    <a:pt x="257" y="15"/>
                  </a:lnTo>
                  <a:lnTo>
                    <a:pt x="257" y="15"/>
                  </a:lnTo>
                  <a:lnTo>
                    <a:pt x="255" y="12"/>
                  </a:lnTo>
                  <a:lnTo>
                    <a:pt x="255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05" y="2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5" name="Group 149">
            <a:extLst>
              <a:ext uri="{FF2B5EF4-FFF2-40B4-BE49-F238E27FC236}">
                <a16:creationId xmlns:a16="http://schemas.microsoft.com/office/drawing/2014/main" id="{FFA7C4C4-F356-4908-A5A2-D5ED33C20A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466" y="2782195"/>
            <a:ext cx="841375" cy="841375"/>
            <a:chOff x="2999" y="1793"/>
            <a:chExt cx="530" cy="530"/>
          </a:xfrm>
        </p:grpSpPr>
        <p:sp>
          <p:nvSpPr>
            <p:cNvPr id="176" name="AutoShape 148">
              <a:extLst>
                <a:ext uri="{FF2B5EF4-FFF2-40B4-BE49-F238E27FC236}">
                  <a16:creationId xmlns:a16="http://schemas.microsoft.com/office/drawing/2014/main" id="{89F52956-7C06-4D2B-B677-0B01606E991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9" y="17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50">
              <a:extLst>
                <a:ext uri="{FF2B5EF4-FFF2-40B4-BE49-F238E27FC236}">
                  <a16:creationId xmlns:a16="http://schemas.microsoft.com/office/drawing/2014/main" id="{99FA4B93-DC4B-4E1F-B84C-F027A39AB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17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51">
              <a:extLst>
                <a:ext uri="{FF2B5EF4-FFF2-40B4-BE49-F238E27FC236}">
                  <a16:creationId xmlns:a16="http://schemas.microsoft.com/office/drawing/2014/main" id="{9DA4ED1C-C6C9-4F5B-9E95-2C70BE4D9F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7" y="18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2">
              <a:extLst>
                <a:ext uri="{FF2B5EF4-FFF2-40B4-BE49-F238E27FC236}">
                  <a16:creationId xmlns:a16="http://schemas.microsoft.com/office/drawing/2014/main" id="{D7FB54EF-FDD8-463A-B1EB-B741B0B835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9" y="1957"/>
              <a:ext cx="272" cy="205"/>
            </a:xfrm>
            <a:custGeom>
              <a:avLst/>
              <a:gdLst>
                <a:gd name="T0" fmla="*/ 82 w 272"/>
                <a:gd name="T1" fmla="*/ 13 h 205"/>
                <a:gd name="T2" fmla="*/ 95 w 272"/>
                <a:gd name="T3" fmla="*/ 36 h 205"/>
                <a:gd name="T4" fmla="*/ 21 w 272"/>
                <a:gd name="T5" fmla="*/ 36 h 205"/>
                <a:gd name="T6" fmla="*/ 18 w 272"/>
                <a:gd name="T7" fmla="*/ 38 h 205"/>
                <a:gd name="T8" fmla="*/ 18 w 272"/>
                <a:gd name="T9" fmla="*/ 38 h 205"/>
                <a:gd name="T10" fmla="*/ 16 w 272"/>
                <a:gd name="T11" fmla="*/ 41 h 205"/>
                <a:gd name="T12" fmla="*/ 16 w 272"/>
                <a:gd name="T13" fmla="*/ 43 h 205"/>
                <a:gd name="T14" fmla="*/ 18 w 272"/>
                <a:gd name="T15" fmla="*/ 46 h 205"/>
                <a:gd name="T16" fmla="*/ 18 w 272"/>
                <a:gd name="T17" fmla="*/ 48 h 205"/>
                <a:gd name="T18" fmla="*/ 21 w 272"/>
                <a:gd name="T19" fmla="*/ 48 h 205"/>
                <a:gd name="T20" fmla="*/ 98 w 272"/>
                <a:gd name="T21" fmla="*/ 48 h 205"/>
                <a:gd name="T22" fmla="*/ 100 w 272"/>
                <a:gd name="T23" fmla="*/ 48 h 205"/>
                <a:gd name="T24" fmla="*/ 103 w 272"/>
                <a:gd name="T25" fmla="*/ 48 h 205"/>
                <a:gd name="T26" fmla="*/ 259 w 272"/>
                <a:gd name="T27" fmla="*/ 25 h 205"/>
                <a:gd name="T28" fmla="*/ 13 w 272"/>
                <a:gd name="T29" fmla="*/ 192 h 205"/>
                <a:gd name="T30" fmla="*/ 6 w 272"/>
                <a:gd name="T31" fmla="*/ 0 h 205"/>
                <a:gd name="T32" fmla="*/ 3 w 272"/>
                <a:gd name="T33" fmla="*/ 0 h 205"/>
                <a:gd name="T34" fmla="*/ 0 w 272"/>
                <a:gd name="T35" fmla="*/ 2 h 205"/>
                <a:gd name="T36" fmla="*/ 0 w 272"/>
                <a:gd name="T37" fmla="*/ 5 h 205"/>
                <a:gd name="T38" fmla="*/ 0 w 272"/>
                <a:gd name="T39" fmla="*/ 199 h 205"/>
                <a:gd name="T40" fmla="*/ 0 w 272"/>
                <a:gd name="T41" fmla="*/ 202 h 205"/>
                <a:gd name="T42" fmla="*/ 3 w 272"/>
                <a:gd name="T43" fmla="*/ 205 h 205"/>
                <a:gd name="T44" fmla="*/ 3 w 272"/>
                <a:gd name="T45" fmla="*/ 205 h 205"/>
                <a:gd name="T46" fmla="*/ 6 w 272"/>
                <a:gd name="T47" fmla="*/ 205 h 205"/>
                <a:gd name="T48" fmla="*/ 267 w 272"/>
                <a:gd name="T49" fmla="*/ 205 h 205"/>
                <a:gd name="T50" fmla="*/ 269 w 272"/>
                <a:gd name="T51" fmla="*/ 205 h 205"/>
                <a:gd name="T52" fmla="*/ 272 w 272"/>
                <a:gd name="T53" fmla="*/ 202 h 205"/>
                <a:gd name="T54" fmla="*/ 272 w 272"/>
                <a:gd name="T55" fmla="*/ 199 h 205"/>
                <a:gd name="T56" fmla="*/ 272 w 272"/>
                <a:gd name="T57" fmla="*/ 20 h 205"/>
                <a:gd name="T58" fmla="*/ 272 w 272"/>
                <a:gd name="T59" fmla="*/ 18 h 205"/>
                <a:gd name="T60" fmla="*/ 272 w 272"/>
                <a:gd name="T61" fmla="*/ 15 h 205"/>
                <a:gd name="T62" fmla="*/ 269 w 272"/>
                <a:gd name="T63" fmla="*/ 15 h 205"/>
                <a:gd name="T64" fmla="*/ 267 w 272"/>
                <a:gd name="T65" fmla="*/ 13 h 205"/>
                <a:gd name="T66" fmla="*/ 118 w 272"/>
                <a:gd name="T67" fmla="*/ 13 h 205"/>
                <a:gd name="T68" fmla="*/ 116 w 272"/>
                <a:gd name="T69" fmla="*/ 15 h 205"/>
                <a:gd name="T70" fmla="*/ 111 w 272"/>
                <a:gd name="T71" fmla="*/ 20 h 205"/>
                <a:gd name="T72" fmla="*/ 88 w 272"/>
                <a:gd name="T73" fmla="*/ 0 h 205"/>
                <a:gd name="T74" fmla="*/ 85 w 272"/>
                <a:gd name="T7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2" h="205">
                  <a:moveTo>
                    <a:pt x="13" y="13"/>
                  </a:moveTo>
                  <a:lnTo>
                    <a:pt x="82" y="13"/>
                  </a:lnTo>
                  <a:lnTo>
                    <a:pt x="103" y="28"/>
                  </a:lnTo>
                  <a:lnTo>
                    <a:pt x="95" y="36"/>
                  </a:lnTo>
                  <a:lnTo>
                    <a:pt x="24" y="36"/>
                  </a:lnTo>
                  <a:lnTo>
                    <a:pt x="21" y="36"/>
                  </a:lnTo>
                  <a:lnTo>
                    <a:pt x="21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4" y="48"/>
                  </a:lnTo>
                  <a:lnTo>
                    <a:pt x="98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23" y="25"/>
                  </a:lnTo>
                  <a:lnTo>
                    <a:pt x="259" y="25"/>
                  </a:lnTo>
                  <a:lnTo>
                    <a:pt x="259" y="192"/>
                  </a:lnTo>
                  <a:lnTo>
                    <a:pt x="13" y="192"/>
                  </a:lnTo>
                  <a:lnTo>
                    <a:pt x="13" y="13"/>
                  </a:lnTo>
                  <a:close/>
                  <a:moveTo>
                    <a:pt x="6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3" y="205"/>
                  </a:lnTo>
                  <a:lnTo>
                    <a:pt x="3" y="205"/>
                  </a:lnTo>
                  <a:lnTo>
                    <a:pt x="3" y="205"/>
                  </a:lnTo>
                  <a:lnTo>
                    <a:pt x="6" y="205"/>
                  </a:lnTo>
                  <a:lnTo>
                    <a:pt x="6" y="205"/>
                  </a:lnTo>
                  <a:lnTo>
                    <a:pt x="267" y="205"/>
                  </a:lnTo>
                  <a:lnTo>
                    <a:pt x="267" y="205"/>
                  </a:lnTo>
                  <a:lnTo>
                    <a:pt x="269" y="205"/>
                  </a:lnTo>
                  <a:lnTo>
                    <a:pt x="269" y="205"/>
                  </a:lnTo>
                  <a:lnTo>
                    <a:pt x="272" y="205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72" y="199"/>
                  </a:lnTo>
                  <a:lnTo>
                    <a:pt x="272" y="199"/>
                  </a:lnTo>
                  <a:lnTo>
                    <a:pt x="272" y="20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2" y="15"/>
                  </a:lnTo>
                  <a:lnTo>
                    <a:pt x="272" y="15"/>
                  </a:lnTo>
                  <a:lnTo>
                    <a:pt x="269" y="15"/>
                  </a:lnTo>
                  <a:lnTo>
                    <a:pt x="269" y="15"/>
                  </a:lnTo>
                  <a:lnTo>
                    <a:pt x="267" y="13"/>
                  </a:lnTo>
                  <a:lnTo>
                    <a:pt x="267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1" y="2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4" name="Group 155">
            <a:extLst>
              <a:ext uri="{FF2B5EF4-FFF2-40B4-BE49-F238E27FC236}">
                <a16:creationId xmlns:a16="http://schemas.microsoft.com/office/drawing/2014/main" id="{575EB0D4-79F6-46D4-BD94-50CB0416C5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6525" y="2823470"/>
            <a:ext cx="758825" cy="758825"/>
            <a:chOff x="4889" y="1953"/>
            <a:chExt cx="478" cy="478"/>
          </a:xfrm>
        </p:grpSpPr>
        <p:sp>
          <p:nvSpPr>
            <p:cNvPr id="185" name="AutoShape 154">
              <a:extLst>
                <a:ext uri="{FF2B5EF4-FFF2-40B4-BE49-F238E27FC236}">
                  <a16:creationId xmlns:a16="http://schemas.microsoft.com/office/drawing/2014/main" id="{F92EFC2D-3E44-46D7-A9FD-6EA4966A9F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89" y="195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56">
              <a:extLst>
                <a:ext uri="{FF2B5EF4-FFF2-40B4-BE49-F238E27FC236}">
                  <a16:creationId xmlns:a16="http://schemas.microsoft.com/office/drawing/2014/main" id="{03711194-87C8-4478-8DD5-7738F95D04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" y="195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57">
              <a:extLst>
                <a:ext uri="{FF2B5EF4-FFF2-40B4-BE49-F238E27FC236}">
                  <a16:creationId xmlns:a16="http://schemas.microsoft.com/office/drawing/2014/main" id="{87C0B7CB-428B-49F6-A8FF-45C24A897F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5" y="2095"/>
              <a:ext cx="289" cy="196"/>
            </a:xfrm>
            <a:custGeom>
              <a:avLst/>
              <a:gdLst>
                <a:gd name="T0" fmla="*/ 122 w 289"/>
                <a:gd name="T1" fmla="*/ 47 h 196"/>
                <a:gd name="T2" fmla="*/ 125 w 289"/>
                <a:gd name="T3" fmla="*/ 47 h 196"/>
                <a:gd name="T4" fmla="*/ 127 w 289"/>
                <a:gd name="T5" fmla="*/ 47 h 196"/>
                <a:gd name="T6" fmla="*/ 274 w 289"/>
                <a:gd name="T7" fmla="*/ 25 h 196"/>
                <a:gd name="T8" fmla="*/ 14 w 289"/>
                <a:gd name="T9" fmla="*/ 184 h 196"/>
                <a:gd name="T10" fmla="*/ 4 w 289"/>
                <a:gd name="T11" fmla="*/ 0 h 196"/>
                <a:gd name="T12" fmla="*/ 2 w 289"/>
                <a:gd name="T13" fmla="*/ 0 h 196"/>
                <a:gd name="T14" fmla="*/ 2 w 289"/>
                <a:gd name="T15" fmla="*/ 3 h 196"/>
                <a:gd name="T16" fmla="*/ 0 w 289"/>
                <a:gd name="T17" fmla="*/ 5 h 196"/>
                <a:gd name="T18" fmla="*/ 0 w 289"/>
                <a:gd name="T19" fmla="*/ 191 h 196"/>
                <a:gd name="T20" fmla="*/ 0 w 289"/>
                <a:gd name="T21" fmla="*/ 194 h 196"/>
                <a:gd name="T22" fmla="*/ 2 w 289"/>
                <a:gd name="T23" fmla="*/ 196 h 196"/>
                <a:gd name="T24" fmla="*/ 4 w 289"/>
                <a:gd name="T25" fmla="*/ 196 h 196"/>
                <a:gd name="T26" fmla="*/ 7 w 289"/>
                <a:gd name="T27" fmla="*/ 196 h 196"/>
                <a:gd name="T28" fmla="*/ 257 w 289"/>
                <a:gd name="T29" fmla="*/ 196 h 196"/>
                <a:gd name="T30" fmla="*/ 257 w 289"/>
                <a:gd name="T31" fmla="*/ 196 h 196"/>
                <a:gd name="T32" fmla="*/ 259 w 289"/>
                <a:gd name="T33" fmla="*/ 196 h 196"/>
                <a:gd name="T34" fmla="*/ 262 w 289"/>
                <a:gd name="T35" fmla="*/ 194 h 196"/>
                <a:gd name="T36" fmla="*/ 289 w 289"/>
                <a:gd name="T37" fmla="*/ 20 h 196"/>
                <a:gd name="T38" fmla="*/ 289 w 289"/>
                <a:gd name="T39" fmla="*/ 17 h 196"/>
                <a:gd name="T40" fmla="*/ 286 w 289"/>
                <a:gd name="T41" fmla="*/ 15 h 196"/>
                <a:gd name="T42" fmla="*/ 284 w 289"/>
                <a:gd name="T43" fmla="*/ 15 h 196"/>
                <a:gd name="T44" fmla="*/ 282 w 289"/>
                <a:gd name="T45" fmla="*/ 12 h 196"/>
                <a:gd name="T46" fmla="*/ 139 w 289"/>
                <a:gd name="T47" fmla="*/ 12 h 196"/>
                <a:gd name="T48" fmla="*/ 137 w 289"/>
                <a:gd name="T49" fmla="*/ 15 h 196"/>
                <a:gd name="T50" fmla="*/ 120 w 289"/>
                <a:gd name="T51" fmla="*/ 34 h 196"/>
                <a:gd name="T52" fmla="*/ 49 w 289"/>
                <a:gd name="T53" fmla="*/ 34 h 196"/>
                <a:gd name="T54" fmla="*/ 46 w 289"/>
                <a:gd name="T55" fmla="*/ 37 h 196"/>
                <a:gd name="T56" fmla="*/ 44 w 289"/>
                <a:gd name="T57" fmla="*/ 37 h 196"/>
                <a:gd name="T58" fmla="*/ 44 w 289"/>
                <a:gd name="T59" fmla="*/ 39 h 196"/>
                <a:gd name="T60" fmla="*/ 12 w 289"/>
                <a:gd name="T61" fmla="*/ 147 h 196"/>
                <a:gd name="T62" fmla="*/ 78 w 289"/>
                <a:gd name="T63" fmla="*/ 12 h 196"/>
                <a:gd name="T64" fmla="*/ 105 w 289"/>
                <a:gd name="T65" fmla="*/ 32 h 196"/>
                <a:gd name="T66" fmla="*/ 105 w 289"/>
                <a:gd name="T67" fmla="*/ 34 h 196"/>
                <a:gd name="T68" fmla="*/ 107 w 289"/>
                <a:gd name="T69" fmla="*/ 34 h 196"/>
                <a:gd name="T70" fmla="*/ 110 w 289"/>
                <a:gd name="T71" fmla="*/ 32 h 196"/>
                <a:gd name="T72" fmla="*/ 112 w 289"/>
                <a:gd name="T73" fmla="*/ 30 h 196"/>
                <a:gd name="T74" fmla="*/ 112 w 289"/>
                <a:gd name="T75" fmla="*/ 27 h 196"/>
                <a:gd name="T76" fmla="*/ 112 w 289"/>
                <a:gd name="T77" fmla="*/ 25 h 196"/>
                <a:gd name="T78" fmla="*/ 112 w 289"/>
                <a:gd name="T79" fmla="*/ 25 h 196"/>
                <a:gd name="T80" fmla="*/ 85 w 289"/>
                <a:gd name="T81" fmla="*/ 0 h 196"/>
                <a:gd name="T82" fmla="*/ 83 w 289"/>
                <a:gd name="T83" fmla="*/ 0 h 196"/>
                <a:gd name="T84" fmla="*/ 4 w 289"/>
                <a:gd name="T85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9" h="196">
                  <a:moveTo>
                    <a:pt x="54" y="47"/>
                  </a:moveTo>
                  <a:lnTo>
                    <a:pt x="122" y="47"/>
                  </a:lnTo>
                  <a:lnTo>
                    <a:pt x="122" y="47"/>
                  </a:lnTo>
                  <a:lnTo>
                    <a:pt x="125" y="47"/>
                  </a:lnTo>
                  <a:lnTo>
                    <a:pt x="125" y="47"/>
                  </a:lnTo>
                  <a:lnTo>
                    <a:pt x="127" y="47"/>
                  </a:lnTo>
                  <a:lnTo>
                    <a:pt x="144" y="25"/>
                  </a:lnTo>
                  <a:lnTo>
                    <a:pt x="274" y="25"/>
                  </a:lnTo>
                  <a:lnTo>
                    <a:pt x="250" y="184"/>
                  </a:lnTo>
                  <a:lnTo>
                    <a:pt x="14" y="184"/>
                  </a:lnTo>
                  <a:lnTo>
                    <a:pt x="54" y="47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91"/>
                  </a:lnTo>
                  <a:lnTo>
                    <a:pt x="0" y="191"/>
                  </a:lnTo>
                  <a:lnTo>
                    <a:pt x="0" y="194"/>
                  </a:lnTo>
                  <a:lnTo>
                    <a:pt x="2" y="194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7" y="196"/>
                  </a:lnTo>
                  <a:lnTo>
                    <a:pt x="255" y="196"/>
                  </a:lnTo>
                  <a:lnTo>
                    <a:pt x="257" y="196"/>
                  </a:lnTo>
                  <a:lnTo>
                    <a:pt x="257" y="196"/>
                  </a:lnTo>
                  <a:lnTo>
                    <a:pt x="257" y="196"/>
                  </a:lnTo>
                  <a:lnTo>
                    <a:pt x="259" y="196"/>
                  </a:lnTo>
                  <a:lnTo>
                    <a:pt x="259" y="196"/>
                  </a:lnTo>
                  <a:lnTo>
                    <a:pt x="259" y="194"/>
                  </a:lnTo>
                  <a:lnTo>
                    <a:pt x="262" y="194"/>
                  </a:lnTo>
                  <a:lnTo>
                    <a:pt x="262" y="19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86" y="15"/>
                  </a:lnTo>
                  <a:lnTo>
                    <a:pt x="286" y="15"/>
                  </a:lnTo>
                  <a:lnTo>
                    <a:pt x="284" y="15"/>
                  </a:lnTo>
                  <a:lnTo>
                    <a:pt x="284" y="12"/>
                  </a:lnTo>
                  <a:lnTo>
                    <a:pt x="282" y="12"/>
                  </a:lnTo>
                  <a:lnTo>
                    <a:pt x="142" y="12"/>
                  </a:lnTo>
                  <a:lnTo>
                    <a:pt x="139" y="12"/>
                  </a:lnTo>
                  <a:lnTo>
                    <a:pt x="139" y="15"/>
                  </a:lnTo>
                  <a:lnTo>
                    <a:pt x="137" y="15"/>
                  </a:lnTo>
                  <a:lnTo>
                    <a:pt x="137" y="15"/>
                  </a:lnTo>
                  <a:lnTo>
                    <a:pt x="120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12" y="147"/>
                  </a:lnTo>
                  <a:lnTo>
                    <a:pt x="12" y="12"/>
                  </a:lnTo>
                  <a:lnTo>
                    <a:pt x="78" y="12"/>
                  </a:lnTo>
                  <a:lnTo>
                    <a:pt x="103" y="32"/>
                  </a:lnTo>
                  <a:lnTo>
                    <a:pt x="105" y="32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2" y="32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2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8" name="Group 160">
            <a:extLst>
              <a:ext uri="{FF2B5EF4-FFF2-40B4-BE49-F238E27FC236}">
                <a16:creationId xmlns:a16="http://schemas.microsoft.com/office/drawing/2014/main" id="{065AFC92-2973-4A45-8ECE-0F132CA732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9200" y="2782195"/>
            <a:ext cx="841375" cy="841375"/>
            <a:chOff x="4343" y="1848"/>
            <a:chExt cx="530" cy="530"/>
          </a:xfrm>
        </p:grpSpPr>
        <p:sp>
          <p:nvSpPr>
            <p:cNvPr id="189" name="AutoShape 159">
              <a:extLst>
                <a:ext uri="{FF2B5EF4-FFF2-40B4-BE49-F238E27FC236}">
                  <a16:creationId xmlns:a16="http://schemas.microsoft.com/office/drawing/2014/main" id="{3AE08098-8417-417E-9BCD-4B9123A2FC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43" y="184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161">
              <a:extLst>
                <a:ext uri="{FF2B5EF4-FFF2-40B4-BE49-F238E27FC236}">
                  <a16:creationId xmlns:a16="http://schemas.microsoft.com/office/drawing/2014/main" id="{66E1D00D-C5D3-468B-8AE1-6B297A1E6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3" y="184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62">
              <a:extLst>
                <a:ext uri="{FF2B5EF4-FFF2-40B4-BE49-F238E27FC236}">
                  <a16:creationId xmlns:a16="http://schemas.microsoft.com/office/drawing/2014/main" id="{C0125D73-DB9C-4EDC-86FC-9E5B1B5E5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1" y="186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63">
              <a:extLst>
                <a:ext uri="{FF2B5EF4-FFF2-40B4-BE49-F238E27FC236}">
                  <a16:creationId xmlns:a16="http://schemas.microsoft.com/office/drawing/2014/main" id="{00429F23-6B97-46E0-91E2-D07A1B5AC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8" y="2012"/>
              <a:ext cx="302" cy="205"/>
            </a:xfrm>
            <a:custGeom>
              <a:avLst/>
              <a:gdLst>
                <a:gd name="T0" fmla="*/ 128 w 302"/>
                <a:gd name="T1" fmla="*/ 48 h 205"/>
                <a:gd name="T2" fmla="*/ 131 w 302"/>
                <a:gd name="T3" fmla="*/ 48 h 205"/>
                <a:gd name="T4" fmla="*/ 133 w 302"/>
                <a:gd name="T5" fmla="*/ 48 h 205"/>
                <a:gd name="T6" fmla="*/ 287 w 302"/>
                <a:gd name="T7" fmla="*/ 25 h 205"/>
                <a:gd name="T8" fmla="*/ 15 w 302"/>
                <a:gd name="T9" fmla="*/ 192 h 205"/>
                <a:gd name="T10" fmla="*/ 5 w 302"/>
                <a:gd name="T11" fmla="*/ 0 h 205"/>
                <a:gd name="T12" fmla="*/ 3 w 302"/>
                <a:gd name="T13" fmla="*/ 0 h 205"/>
                <a:gd name="T14" fmla="*/ 3 w 302"/>
                <a:gd name="T15" fmla="*/ 2 h 205"/>
                <a:gd name="T16" fmla="*/ 0 w 302"/>
                <a:gd name="T17" fmla="*/ 5 h 205"/>
                <a:gd name="T18" fmla="*/ 0 w 302"/>
                <a:gd name="T19" fmla="*/ 199 h 205"/>
                <a:gd name="T20" fmla="*/ 0 w 302"/>
                <a:gd name="T21" fmla="*/ 202 h 205"/>
                <a:gd name="T22" fmla="*/ 3 w 302"/>
                <a:gd name="T23" fmla="*/ 205 h 205"/>
                <a:gd name="T24" fmla="*/ 5 w 302"/>
                <a:gd name="T25" fmla="*/ 205 h 205"/>
                <a:gd name="T26" fmla="*/ 8 w 302"/>
                <a:gd name="T27" fmla="*/ 205 h 205"/>
                <a:gd name="T28" fmla="*/ 269 w 302"/>
                <a:gd name="T29" fmla="*/ 205 h 205"/>
                <a:gd name="T30" fmla="*/ 269 w 302"/>
                <a:gd name="T31" fmla="*/ 205 h 205"/>
                <a:gd name="T32" fmla="*/ 272 w 302"/>
                <a:gd name="T33" fmla="*/ 205 h 205"/>
                <a:gd name="T34" fmla="*/ 274 w 302"/>
                <a:gd name="T35" fmla="*/ 202 h 205"/>
                <a:gd name="T36" fmla="*/ 302 w 302"/>
                <a:gd name="T37" fmla="*/ 20 h 205"/>
                <a:gd name="T38" fmla="*/ 302 w 302"/>
                <a:gd name="T39" fmla="*/ 18 h 205"/>
                <a:gd name="T40" fmla="*/ 300 w 302"/>
                <a:gd name="T41" fmla="*/ 15 h 205"/>
                <a:gd name="T42" fmla="*/ 297 w 302"/>
                <a:gd name="T43" fmla="*/ 15 h 205"/>
                <a:gd name="T44" fmla="*/ 295 w 302"/>
                <a:gd name="T45" fmla="*/ 13 h 205"/>
                <a:gd name="T46" fmla="*/ 146 w 302"/>
                <a:gd name="T47" fmla="*/ 13 h 205"/>
                <a:gd name="T48" fmla="*/ 143 w 302"/>
                <a:gd name="T49" fmla="*/ 15 h 205"/>
                <a:gd name="T50" fmla="*/ 126 w 302"/>
                <a:gd name="T51" fmla="*/ 36 h 205"/>
                <a:gd name="T52" fmla="*/ 51 w 302"/>
                <a:gd name="T53" fmla="*/ 36 h 205"/>
                <a:gd name="T54" fmla="*/ 49 w 302"/>
                <a:gd name="T55" fmla="*/ 38 h 205"/>
                <a:gd name="T56" fmla="*/ 46 w 302"/>
                <a:gd name="T57" fmla="*/ 38 h 205"/>
                <a:gd name="T58" fmla="*/ 46 w 302"/>
                <a:gd name="T59" fmla="*/ 41 h 205"/>
                <a:gd name="T60" fmla="*/ 13 w 302"/>
                <a:gd name="T61" fmla="*/ 153 h 205"/>
                <a:gd name="T62" fmla="*/ 82 w 302"/>
                <a:gd name="T63" fmla="*/ 13 h 205"/>
                <a:gd name="T64" fmla="*/ 110 w 302"/>
                <a:gd name="T65" fmla="*/ 33 h 205"/>
                <a:gd name="T66" fmla="*/ 110 w 302"/>
                <a:gd name="T67" fmla="*/ 36 h 205"/>
                <a:gd name="T68" fmla="*/ 113 w 302"/>
                <a:gd name="T69" fmla="*/ 36 h 205"/>
                <a:gd name="T70" fmla="*/ 115 w 302"/>
                <a:gd name="T71" fmla="*/ 33 h 205"/>
                <a:gd name="T72" fmla="*/ 118 w 302"/>
                <a:gd name="T73" fmla="*/ 30 h 205"/>
                <a:gd name="T74" fmla="*/ 118 w 302"/>
                <a:gd name="T75" fmla="*/ 28 h 205"/>
                <a:gd name="T76" fmla="*/ 118 w 302"/>
                <a:gd name="T77" fmla="*/ 25 h 205"/>
                <a:gd name="T78" fmla="*/ 118 w 302"/>
                <a:gd name="T79" fmla="*/ 25 h 205"/>
                <a:gd name="T80" fmla="*/ 90 w 302"/>
                <a:gd name="T81" fmla="*/ 0 h 205"/>
                <a:gd name="T82" fmla="*/ 87 w 302"/>
                <a:gd name="T83" fmla="*/ 0 h 205"/>
                <a:gd name="T84" fmla="*/ 5 w 302"/>
                <a:gd name="T8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2" h="205">
                  <a:moveTo>
                    <a:pt x="56" y="48"/>
                  </a:moveTo>
                  <a:lnTo>
                    <a:pt x="128" y="48"/>
                  </a:lnTo>
                  <a:lnTo>
                    <a:pt x="128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51" y="25"/>
                  </a:lnTo>
                  <a:lnTo>
                    <a:pt x="287" y="25"/>
                  </a:lnTo>
                  <a:lnTo>
                    <a:pt x="261" y="192"/>
                  </a:lnTo>
                  <a:lnTo>
                    <a:pt x="15" y="192"/>
                  </a:lnTo>
                  <a:lnTo>
                    <a:pt x="56" y="48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0" y="202"/>
                  </a:lnTo>
                  <a:lnTo>
                    <a:pt x="3" y="202"/>
                  </a:lnTo>
                  <a:lnTo>
                    <a:pt x="3" y="205"/>
                  </a:lnTo>
                  <a:lnTo>
                    <a:pt x="3" y="205"/>
                  </a:lnTo>
                  <a:lnTo>
                    <a:pt x="5" y="205"/>
                  </a:lnTo>
                  <a:lnTo>
                    <a:pt x="5" y="205"/>
                  </a:lnTo>
                  <a:lnTo>
                    <a:pt x="8" y="205"/>
                  </a:lnTo>
                  <a:lnTo>
                    <a:pt x="266" y="205"/>
                  </a:lnTo>
                  <a:lnTo>
                    <a:pt x="269" y="205"/>
                  </a:lnTo>
                  <a:lnTo>
                    <a:pt x="269" y="205"/>
                  </a:lnTo>
                  <a:lnTo>
                    <a:pt x="269" y="205"/>
                  </a:lnTo>
                  <a:lnTo>
                    <a:pt x="272" y="205"/>
                  </a:lnTo>
                  <a:lnTo>
                    <a:pt x="272" y="205"/>
                  </a:lnTo>
                  <a:lnTo>
                    <a:pt x="272" y="202"/>
                  </a:lnTo>
                  <a:lnTo>
                    <a:pt x="274" y="202"/>
                  </a:lnTo>
                  <a:lnTo>
                    <a:pt x="274" y="199"/>
                  </a:lnTo>
                  <a:lnTo>
                    <a:pt x="302" y="20"/>
                  </a:lnTo>
                  <a:lnTo>
                    <a:pt x="302" y="20"/>
                  </a:lnTo>
                  <a:lnTo>
                    <a:pt x="302" y="18"/>
                  </a:lnTo>
                  <a:lnTo>
                    <a:pt x="302" y="18"/>
                  </a:lnTo>
                  <a:lnTo>
                    <a:pt x="300" y="15"/>
                  </a:lnTo>
                  <a:lnTo>
                    <a:pt x="300" y="15"/>
                  </a:lnTo>
                  <a:lnTo>
                    <a:pt x="297" y="15"/>
                  </a:lnTo>
                  <a:lnTo>
                    <a:pt x="297" y="13"/>
                  </a:lnTo>
                  <a:lnTo>
                    <a:pt x="295" y="13"/>
                  </a:lnTo>
                  <a:lnTo>
                    <a:pt x="149" y="13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3" y="15"/>
                  </a:lnTo>
                  <a:lnTo>
                    <a:pt x="143" y="15"/>
                  </a:lnTo>
                  <a:lnTo>
                    <a:pt x="126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13" y="153"/>
                  </a:lnTo>
                  <a:lnTo>
                    <a:pt x="13" y="13"/>
                  </a:lnTo>
                  <a:lnTo>
                    <a:pt x="82" y="13"/>
                  </a:lnTo>
                  <a:lnTo>
                    <a:pt x="108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8" y="33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3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7" name="Group 166">
            <a:extLst>
              <a:ext uri="{FF2B5EF4-FFF2-40B4-BE49-F238E27FC236}">
                <a16:creationId xmlns:a16="http://schemas.microsoft.com/office/drawing/2014/main" id="{72A3B73F-35C2-4669-8AEE-F931780E9A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28" y="4115001"/>
            <a:ext cx="760412" cy="758825"/>
            <a:chOff x="911" y="2717"/>
            <a:chExt cx="479" cy="478"/>
          </a:xfrm>
        </p:grpSpPr>
        <p:sp>
          <p:nvSpPr>
            <p:cNvPr id="198" name="AutoShape 165">
              <a:extLst>
                <a:ext uri="{FF2B5EF4-FFF2-40B4-BE49-F238E27FC236}">
                  <a16:creationId xmlns:a16="http://schemas.microsoft.com/office/drawing/2014/main" id="{7B2FA16F-A87B-41DD-9297-D760638638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11" y="271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67">
              <a:extLst>
                <a:ext uri="{FF2B5EF4-FFF2-40B4-BE49-F238E27FC236}">
                  <a16:creationId xmlns:a16="http://schemas.microsoft.com/office/drawing/2014/main" id="{7FE9AC90-BEA1-4270-ACD6-D8E3628B2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" y="271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68">
              <a:extLst>
                <a:ext uri="{FF2B5EF4-FFF2-40B4-BE49-F238E27FC236}">
                  <a16:creationId xmlns:a16="http://schemas.microsoft.com/office/drawing/2014/main" id="{DF2778F1-7A43-4EC7-B3D5-72AC99E82F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" y="2817"/>
              <a:ext cx="310" cy="280"/>
            </a:xfrm>
            <a:custGeom>
              <a:avLst/>
              <a:gdLst>
                <a:gd name="T0" fmla="*/ 69 w 310"/>
                <a:gd name="T1" fmla="*/ 118 h 280"/>
                <a:gd name="T2" fmla="*/ 22 w 310"/>
                <a:gd name="T3" fmla="*/ 118 h 280"/>
                <a:gd name="T4" fmla="*/ 20 w 310"/>
                <a:gd name="T5" fmla="*/ 121 h 280"/>
                <a:gd name="T6" fmla="*/ 17 w 310"/>
                <a:gd name="T7" fmla="*/ 123 h 280"/>
                <a:gd name="T8" fmla="*/ 20 w 310"/>
                <a:gd name="T9" fmla="*/ 128 h 280"/>
                <a:gd name="T10" fmla="*/ 22 w 310"/>
                <a:gd name="T11" fmla="*/ 130 h 280"/>
                <a:gd name="T12" fmla="*/ 98 w 310"/>
                <a:gd name="T13" fmla="*/ 130 h 280"/>
                <a:gd name="T14" fmla="*/ 101 w 310"/>
                <a:gd name="T15" fmla="*/ 128 h 280"/>
                <a:gd name="T16" fmla="*/ 255 w 310"/>
                <a:gd name="T17" fmla="*/ 108 h 280"/>
                <a:gd name="T18" fmla="*/ 15 w 310"/>
                <a:gd name="T19" fmla="*/ 94 h 280"/>
                <a:gd name="T20" fmla="*/ 221 w 310"/>
                <a:gd name="T21" fmla="*/ 79 h 280"/>
                <a:gd name="T22" fmla="*/ 221 w 310"/>
                <a:gd name="T23" fmla="*/ 84 h 280"/>
                <a:gd name="T24" fmla="*/ 226 w 310"/>
                <a:gd name="T25" fmla="*/ 86 h 280"/>
                <a:gd name="T26" fmla="*/ 282 w 310"/>
                <a:gd name="T27" fmla="*/ 86 h 280"/>
                <a:gd name="T28" fmla="*/ 285 w 310"/>
                <a:gd name="T29" fmla="*/ 84 h 280"/>
                <a:gd name="T30" fmla="*/ 287 w 310"/>
                <a:gd name="T31" fmla="*/ 81 h 280"/>
                <a:gd name="T32" fmla="*/ 287 w 310"/>
                <a:gd name="T33" fmla="*/ 79 h 280"/>
                <a:gd name="T34" fmla="*/ 285 w 310"/>
                <a:gd name="T35" fmla="*/ 76 h 280"/>
                <a:gd name="T36" fmla="*/ 282 w 310"/>
                <a:gd name="T37" fmla="*/ 74 h 280"/>
                <a:gd name="T38" fmla="*/ 233 w 310"/>
                <a:gd name="T39" fmla="*/ 23 h 280"/>
                <a:gd name="T40" fmla="*/ 268 w 310"/>
                <a:gd name="T41" fmla="*/ 224 h 280"/>
                <a:gd name="T42" fmla="*/ 268 w 310"/>
                <a:gd name="T43" fmla="*/ 99 h 280"/>
                <a:gd name="T44" fmla="*/ 265 w 310"/>
                <a:gd name="T45" fmla="*/ 96 h 280"/>
                <a:gd name="T46" fmla="*/ 263 w 310"/>
                <a:gd name="T47" fmla="*/ 96 h 280"/>
                <a:gd name="T48" fmla="*/ 115 w 310"/>
                <a:gd name="T49" fmla="*/ 96 h 280"/>
                <a:gd name="T50" fmla="*/ 96 w 310"/>
                <a:gd name="T51" fmla="*/ 118 h 280"/>
                <a:gd name="T52" fmla="*/ 74 w 310"/>
                <a:gd name="T53" fmla="*/ 0 h 280"/>
                <a:gd name="T54" fmla="*/ 71 w 310"/>
                <a:gd name="T55" fmla="*/ 0 h 280"/>
                <a:gd name="T56" fmla="*/ 69 w 310"/>
                <a:gd name="T57" fmla="*/ 5 h 280"/>
                <a:gd name="T58" fmla="*/ 69 w 310"/>
                <a:gd name="T59" fmla="*/ 81 h 280"/>
                <a:gd name="T60" fmla="*/ 5 w 310"/>
                <a:gd name="T61" fmla="*/ 81 h 280"/>
                <a:gd name="T62" fmla="*/ 2 w 310"/>
                <a:gd name="T63" fmla="*/ 84 h 280"/>
                <a:gd name="T64" fmla="*/ 0 w 310"/>
                <a:gd name="T65" fmla="*/ 86 h 280"/>
                <a:gd name="T66" fmla="*/ 2 w 310"/>
                <a:gd name="T67" fmla="*/ 275 h 280"/>
                <a:gd name="T68" fmla="*/ 5 w 310"/>
                <a:gd name="T69" fmla="*/ 280 h 280"/>
                <a:gd name="T70" fmla="*/ 7 w 310"/>
                <a:gd name="T71" fmla="*/ 280 h 280"/>
                <a:gd name="T72" fmla="*/ 265 w 310"/>
                <a:gd name="T73" fmla="*/ 280 h 280"/>
                <a:gd name="T74" fmla="*/ 268 w 310"/>
                <a:gd name="T75" fmla="*/ 278 h 280"/>
                <a:gd name="T76" fmla="*/ 268 w 310"/>
                <a:gd name="T77" fmla="*/ 273 h 280"/>
                <a:gd name="T78" fmla="*/ 302 w 310"/>
                <a:gd name="T79" fmla="*/ 236 h 280"/>
                <a:gd name="T80" fmla="*/ 307 w 310"/>
                <a:gd name="T81" fmla="*/ 233 h 280"/>
                <a:gd name="T82" fmla="*/ 307 w 310"/>
                <a:gd name="T83" fmla="*/ 231 h 280"/>
                <a:gd name="T84" fmla="*/ 307 w 310"/>
                <a:gd name="T85" fmla="*/ 79 h 280"/>
                <a:gd name="T86" fmla="*/ 307 w 310"/>
                <a:gd name="T87" fmla="*/ 76 h 280"/>
                <a:gd name="T88" fmla="*/ 231 w 310"/>
                <a:gd name="T89" fmla="*/ 0 h 280"/>
                <a:gd name="T90" fmla="*/ 74 w 310"/>
                <a:gd name="T91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0" h="280">
                  <a:moveTo>
                    <a:pt x="15" y="94"/>
                  </a:moveTo>
                  <a:lnTo>
                    <a:pt x="69" y="94"/>
                  </a:lnTo>
                  <a:lnTo>
                    <a:pt x="69" y="118"/>
                  </a:lnTo>
                  <a:lnTo>
                    <a:pt x="25" y="118"/>
                  </a:lnTo>
                  <a:lnTo>
                    <a:pt x="22" y="118"/>
                  </a:lnTo>
                  <a:lnTo>
                    <a:pt x="22" y="118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17" y="121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2" y="130"/>
                  </a:lnTo>
                  <a:lnTo>
                    <a:pt x="22" y="130"/>
                  </a:lnTo>
                  <a:lnTo>
                    <a:pt x="25" y="130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1" y="130"/>
                  </a:lnTo>
                  <a:lnTo>
                    <a:pt x="101" y="128"/>
                  </a:lnTo>
                  <a:lnTo>
                    <a:pt x="103" y="128"/>
                  </a:lnTo>
                  <a:lnTo>
                    <a:pt x="120" y="108"/>
                  </a:lnTo>
                  <a:lnTo>
                    <a:pt x="255" y="108"/>
                  </a:lnTo>
                  <a:lnTo>
                    <a:pt x="255" y="268"/>
                  </a:lnTo>
                  <a:lnTo>
                    <a:pt x="15" y="268"/>
                  </a:lnTo>
                  <a:lnTo>
                    <a:pt x="15" y="94"/>
                  </a:lnTo>
                  <a:close/>
                  <a:moveTo>
                    <a:pt x="81" y="13"/>
                  </a:moveTo>
                  <a:lnTo>
                    <a:pt x="221" y="13"/>
                  </a:lnTo>
                  <a:lnTo>
                    <a:pt x="221" y="79"/>
                  </a:lnTo>
                  <a:lnTo>
                    <a:pt x="221" y="81"/>
                  </a:lnTo>
                  <a:lnTo>
                    <a:pt x="221" y="81"/>
                  </a:lnTo>
                  <a:lnTo>
                    <a:pt x="221" y="84"/>
                  </a:lnTo>
                  <a:lnTo>
                    <a:pt x="224" y="84"/>
                  </a:lnTo>
                  <a:lnTo>
                    <a:pt x="224" y="84"/>
                  </a:lnTo>
                  <a:lnTo>
                    <a:pt x="226" y="86"/>
                  </a:lnTo>
                  <a:lnTo>
                    <a:pt x="226" y="86"/>
                  </a:lnTo>
                  <a:lnTo>
                    <a:pt x="228" y="86"/>
                  </a:lnTo>
                  <a:lnTo>
                    <a:pt x="282" y="86"/>
                  </a:lnTo>
                  <a:lnTo>
                    <a:pt x="282" y="86"/>
                  </a:lnTo>
                  <a:lnTo>
                    <a:pt x="285" y="86"/>
                  </a:lnTo>
                  <a:lnTo>
                    <a:pt x="285" y="84"/>
                  </a:lnTo>
                  <a:lnTo>
                    <a:pt x="285" y="84"/>
                  </a:lnTo>
                  <a:lnTo>
                    <a:pt x="287" y="84"/>
                  </a:lnTo>
                  <a:lnTo>
                    <a:pt x="287" y="81"/>
                  </a:lnTo>
                  <a:lnTo>
                    <a:pt x="287" y="81"/>
                  </a:lnTo>
                  <a:lnTo>
                    <a:pt x="287" y="79"/>
                  </a:lnTo>
                  <a:lnTo>
                    <a:pt x="287" y="79"/>
                  </a:lnTo>
                  <a:lnTo>
                    <a:pt x="287" y="76"/>
                  </a:lnTo>
                  <a:lnTo>
                    <a:pt x="287" y="76"/>
                  </a:lnTo>
                  <a:lnTo>
                    <a:pt x="285" y="76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33" y="74"/>
                  </a:lnTo>
                  <a:lnTo>
                    <a:pt x="233" y="23"/>
                  </a:lnTo>
                  <a:lnTo>
                    <a:pt x="295" y="81"/>
                  </a:lnTo>
                  <a:lnTo>
                    <a:pt x="295" y="224"/>
                  </a:lnTo>
                  <a:lnTo>
                    <a:pt x="268" y="224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8" y="99"/>
                  </a:lnTo>
                  <a:lnTo>
                    <a:pt x="268" y="99"/>
                  </a:lnTo>
                  <a:lnTo>
                    <a:pt x="268" y="96"/>
                  </a:lnTo>
                  <a:lnTo>
                    <a:pt x="265" y="96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6"/>
                  </a:lnTo>
                  <a:lnTo>
                    <a:pt x="118" y="96"/>
                  </a:lnTo>
                  <a:lnTo>
                    <a:pt x="118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96" y="118"/>
                  </a:lnTo>
                  <a:lnTo>
                    <a:pt x="81" y="118"/>
                  </a:lnTo>
                  <a:lnTo>
                    <a:pt x="81" y="13"/>
                  </a:lnTo>
                  <a:close/>
                  <a:moveTo>
                    <a:pt x="74" y="0"/>
                  </a:moveTo>
                  <a:lnTo>
                    <a:pt x="74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8"/>
                  </a:lnTo>
                  <a:lnTo>
                    <a:pt x="69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273"/>
                  </a:lnTo>
                  <a:lnTo>
                    <a:pt x="2" y="275"/>
                  </a:lnTo>
                  <a:lnTo>
                    <a:pt x="2" y="275"/>
                  </a:lnTo>
                  <a:lnTo>
                    <a:pt x="2" y="278"/>
                  </a:lnTo>
                  <a:lnTo>
                    <a:pt x="2" y="278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263" y="280"/>
                  </a:lnTo>
                  <a:lnTo>
                    <a:pt x="263" y="280"/>
                  </a:lnTo>
                  <a:lnTo>
                    <a:pt x="265" y="280"/>
                  </a:lnTo>
                  <a:lnTo>
                    <a:pt x="265" y="280"/>
                  </a:lnTo>
                  <a:lnTo>
                    <a:pt x="268" y="278"/>
                  </a:lnTo>
                  <a:lnTo>
                    <a:pt x="268" y="278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68" y="236"/>
                  </a:lnTo>
                  <a:lnTo>
                    <a:pt x="302" y="236"/>
                  </a:lnTo>
                  <a:lnTo>
                    <a:pt x="302" y="236"/>
                  </a:lnTo>
                  <a:lnTo>
                    <a:pt x="305" y="236"/>
                  </a:lnTo>
                  <a:lnTo>
                    <a:pt x="305" y="236"/>
                  </a:lnTo>
                  <a:lnTo>
                    <a:pt x="307" y="233"/>
                  </a:lnTo>
                  <a:lnTo>
                    <a:pt x="307" y="233"/>
                  </a:lnTo>
                  <a:lnTo>
                    <a:pt x="307" y="233"/>
                  </a:lnTo>
                  <a:lnTo>
                    <a:pt x="307" y="231"/>
                  </a:lnTo>
                  <a:lnTo>
                    <a:pt x="310" y="231"/>
                  </a:lnTo>
                  <a:lnTo>
                    <a:pt x="310" y="79"/>
                  </a:lnTo>
                  <a:lnTo>
                    <a:pt x="307" y="79"/>
                  </a:lnTo>
                  <a:lnTo>
                    <a:pt x="307" y="76"/>
                  </a:lnTo>
                  <a:lnTo>
                    <a:pt x="307" y="76"/>
                  </a:lnTo>
                  <a:lnTo>
                    <a:pt x="307" y="76"/>
                  </a:lnTo>
                  <a:lnTo>
                    <a:pt x="233" y="3"/>
                  </a:lnTo>
                  <a:lnTo>
                    <a:pt x="231" y="3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1" name="Group 171">
            <a:extLst>
              <a:ext uri="{FF2B5EF4-FFF2-40B4-BE49-F238E27FC236}">
                <a16:creationId xmlns:a16="http://schemas.microsoft.com/office/drawing/2014/main" id="{FE7EA1FB-DD10-4027-BDE8-14106DC7A9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853" y="4073726"/>
            <a:ext cx="841375" cy="841375"/>
            <a:chOff x="283" y="2673"/>
            <a:chExt cx="530" cy="530"/>
          </a:xfrm>
        </p:grpSpPr>
        <p:sp>
          <p:nvSpPr>
            <p:cNvPr id="202" name="AutoShape 170">
              <a:extLst>
                <a:ext uri="{FF2B5EF4-FFF2-40B4-BE49-F238E27FC236}">
                  <a16:creationId xmlns:a16="http://schemas.microsoft.com/office/drawing/2014/main" id="{C6F045F0-05BC-435F-A1C3-08F523F87D5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3" y="267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172">
              <a:extLst>
                <a:ext uri="{FF2B5EF4-FFF2-40B4-BE49-F238E27FC236}">
                  <a16:creationId xmlns:a16="http://schemas.microsoft.com/office/drawing/2014/main" id="{EC14911D-13D4-4D9D-A4A7-D044F2801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" y="267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73">
              <a:extLst>
                <a:ext uri="{FF2B5EF4-FFF2-40B4-BE49-F238E27FC236}">
                  <a16:creationId xmlns:a16="http://schemas.microsoft.com/office/drawing/2014/main" id="{885F4ACD-547D-4A35-B0BF-AFE19213F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" y="269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4">
              <a:extLst>
                <a:ext uri="{FF2B5EF4-FFF2-40B4-BE49-F238E27FC236}">
                  <a16:creationId xmlns:a16="http://schemas.microsoft.com/office/drawing/2014/main" id="{0D5B7C99-BAD9-40E0-8929-D25119536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" y="2793"/>
              <a:ext cx="322" cy="292"/>
            </a:xfrm>
            <a:custGeom>
              <a:avLst/>
              <a:gdLst>
                <a:gd name="T0" fmla="*/ 72 w 322"/>
                <a:gd name="T1" fmla="*/ 123 h 292"/>
                <a:gd name="T2" fmla="*/ 23 w 322"/>
                <a:gd name="T3" fmla="*/ 123 h 292"/>
                <a:gd name="T4" fmla="*/ 20 w 322"/>
                <a:gd name="T5" fmla="*/ 126 h 292"/>
                <a:gd name="T6" fmla="*/ 18 w 322"/>
                <a:gd name="T7" fmla="*/ 128 h 292"/>
                <a:gd name="T8" fmla="*/ 20 w 322"/>
                <a:gd name="T9" fmla="*/ 133 h 292"/>
                <a:gd name="T10" fmla="*/ 23 w 322"/>
                <a:gd name="T11" fmla="*/ 136 h 292"/>
                <a:gd name="T12" fmla="*/ 102 w 322"/>
                <a:gd name="T13" fmla="*/ 136 h 292"/>
                <a:gd name="T14" fmla="*/ 105 w 322"/>
                <a:gd name="T15" fmla="*/ 133 h 292"/>
                <a:gd name="T16" fmla="*/ 266 w 322"/>
                <a:gd name="T17" fmla="*/ 113 h 292"/>
                <a:gd name="T18" fmla="*/ 15 w 322"/>
                <a:gd name="T19" fmla="*/ 98 h 292"/>
                <a:gd name="T20" fmla="*/ 230 w 322"/>
                <a:gd name="T21" fmla="*/ 82 h 292"/>
                <a:gd name="T22" fmla="*/ 230 w 322"/>
                <a:gd name="T23" fmla="*/ 87 h 292"/>
                <a:gd name="T24" fmla="*/ 235 w 322"/>
                <a:gd name="T25" fmla="*/ 90 h 292"/>
                <a:gd name="T26" fmla="*/ 294 w 322"/>
                <a:gd name="T27" fmla="*/ 90 h 292"/>
                <a:gd name="T28" fmla="*/ 297 w 322"/>
                <a:gd name="T29" fmla="*/ 87 h 292"/>
                <a:gd name="T30" fmla="*/ 299 w 322"/>
                <a:gd name="T31" fmla="*/ 85 h 292"/>
                <a:gd name="T32" fmla="*/ 299 w 322"/>
                <a:gd name="T33" fmla="*/ 82 h 292"/>
                <a:gd name="T34" fmla="*/ 297 w 322"/>
                <a:gd name="T35" fmla="*/ 80 h 292"/>
                <a:gd name="T36" fmla="*/ 294 w 322"/>
                <a:gd name="T37" fmla="*/ 77 h 292"/>
                <a:gd name="T38" fmla="*/ 243 w 322"/>
                <a:gd name="T39" fmla="*/ 23 h 292"/>
                <a:gd name="T40" fmla="*/ 279 w 322"/>
                <a:gd name="T41" fmla="*/ 233 h 292"/>
                <a:gd name="T42" fmla="*/ 279 w 322"/>
                <a:gd name="T43" fmla="*/ 103 h 292"/>
                <a:gd name="T44" fmla="*/ 276 w 322"/>
                <a:gd name="T45" fmla="*/ 100 h 292"/>
                <a:gd name="T46" fmla="*/ 274 w 322"/>
                <a:gd name="T47" fmla="*/ 100 h 292"/>
                <a:gd name="T48" fmla="*/ 120 w 322"/>
                <a:gd name="T49" fmla="*/ 100 h 292"/>
                <a:gd name="T50" fmla="*/ 100 w 322"/>
                <a:gd name="T51" fmla="*/ 123 h 292"/>
                <a:gd name="T52" fmla="*/ 77 w 322"/>
                <a:gd name="T53" fmla="*/ 0 h 292"/>
                <a:gd name="T54" fmla="*/ 74 w 322"/>
                <a:gd name="T55" fmla="*/ 0 h 292"/>
                <a:gd name="T56" fmla="*/ 72 w 322"/>
                <a:gd name="T57" fmla="*/ 5 h 292"/>
                <a:gd name="T58" fmla="*/ 72 w 322"/>
                <a:gd name="T59" fmla="*/ 85 h 292"/>
                <a:gd name="T60" fmla="*/ 5 w 322"/>
                <a:gd name="T61" fmla="*/ 85 h 292"/>
                <a:gd name="T62" fmla="*/ 2 w 322"/>
                <a:gd name="T63" fmla="*/ 87 h 292"/>
                <a:gd name="T64" fmla="*/ 0 w 322"/>
                <a:gd name="T65" fmla="*/ 90 h 292"/>
                <a:gd name="T66" fmla="*/ 2 w 322"/>
                <a:gd name="T67" fmla="*/ 287 h 292"/>
                <a:gd name="T68" fmla="*/ 5 w 322"/>
                <a:gd name="T69" fmla="*/ 292 h 292"/>
                <a:gd name="T70" fmla="*/ 8 w 322"/>
                <a:gd name="T71" fmla="*/ 292 h 292"/>
                <a:gd name="T72" fmla="*/ 276 w 322"/>
                <a:gd name="T73" fmla="*/ 292 h 292"/>
                <a:gd name="T74" fmla="*/ 279 w 322"/>
                <a:gd name="T75" fmla="*/ 290 h 292"/>
                <a:gd name="T76" fmla="*/ 279 w 322"/>
                <a:gd name="T77" fmla="*/ 284 h 292"/>
                <a:gd name="T78" fmla="*/ 315 w 322"/>
                <a:gd name="T79" fmla="*/ 246 h 292"/>
                <a:gd name="T80" fmla="*/ 320 w 322"/>
                <a:gd name="T81" fmla="*/ 243 h 292"/>
                <a:gd name="T82" fmla="*/ 320 w 322"/>
                <a:gd name="T83" fmla="*/ 241 h 292"/>
                <a:gd name="T84" fmla="*/ 320 w 322"/>
                <a:gd name="T85" fmla="*/ 82 h 292"/>
                <a:gd name="T86" fmla="*/ 320 w 322"/>
                <a:gd name="T87" fmla="*/ 80 h 292"/>
                <a:gd name="T88" fmla="*/ 241 w 322"/>
                <a:gd name="T89" fmla="*/ 0 h 292"/>
                <a:gd name="T90" fmla="*/ 77 w 322"/>
                <a:gd name="T9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2" h="292">
                  <a:moveTo>
                    <a:pt x="15" y="98"/>
                  </a:moveTo>
                  <a:lnTo>
                    <a:pt x="72" y="98"/>
                  </a:lnTo>
                  <a:lnTo>
                    <a:pt x="72" y="123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6"/>
                  </a:lnTo>
                  <a:lnTo>
                    <a:pt x="18" y="126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23" y="136"/>
                  </a:lnTo>
                  <a:lnTo>
                    <a:pt x="23" y="136"/>
                  </a:lnTo>
                  <a:lnTo>
                    <a:pt x="2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5" y="136"/>
                  </a:lnTo>
                  <a:lnTo>
                    <a:pt x="105" y="133"/>
                  </a:lnTo>
                  <a:lnTo>
                    <a:pt x="107" y="133"/>
                  </a:lnTo>
                  <a:lnTo>
                    <a:pt x="125" y="113"/>
                  </a:lnTo>
                  <a:lnTo>
                    <a:pt x="266" y="113"/>
                  </a:lnTo>
                  <a:lnTo>
                    <a:pt x="266" y="279"/>
                  </a:lnTo>
                  <a:lnTo>
                    <a:pt x="15" y="279"/>
                  </a:lnTo>
                  <a:lnTo>
                    <a:pt x="15" y="98"/>
                  </a:lnTo>
                  <a:close/>
                  <a:moveTo>
                    <a:pt x="84" y="13"/>
                  </a:moveTo>
                  <a:lnTo>
                    <a:pt x="230" y="13"/>
                  </a:lnTo>
                  <a:lnTo>
                    <a:pt x="230" y="82"/>
                  </a:lnTo>
                  <a:lnTo>
                    <a:pt x="230" y="85"/>
                  </a:lnTo>
                  <a:lnTo>
                    <a:pt x="230" y="85"/>
                  </a:lnTo>
                  <a:lnTo>
                    <a:pt x="230" y="87"/>
                  </a:lnTo>
                  <a:lnTo>
                    <a:pt x="233" y="87"/>
                  </a:lnTo>
                  <a:lnTo>
                    <a:pt x="233" y="87"/>
                  </a:lnTo>
                  <a:lnTo>
                    <a:pt x="235" y="90"/>
                  </a:lnTo>
                  <a:lnTo>
                    <a:pt x="235" y="90"/>
                  </a:lnTo>
                  <a:lnTo>
                    <a:pt x="238" y="90"/>
                  </a:lnTo>
                  <a:lnTo>
                    <a:pt x="294" y="90"/>
                  </a:lnTo>
                  <a:lnTo>
                    <a:pt x="294" y="90"/>
                  </a:lnTo>
                  <a:lnTo>
                    <a:pt x="297" y="90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9" y="87"/>
                  </a:lnTo>
                  <a:lnTo>
                    <a:pt x="299" y="85"/>
                  </a:lnTo>
                  <a:lnTo>
                    <a:pt x="299" y="85"/>
                  </a:lnTo>
                  <a:lnTo>
                    <a:pt x="299" y="82"/>
                  </a:lnTo>
                  <a:lnTo>
                    <a:pt x="299" y="82"/>
                  </a:lnTo>
                  <a:lnTo>
                    <a:pt x="299" y="80"/>
                  </a:lnTo>
                  <a:lnTo>
                    <a:pt x="299" y="80"/>
                  </a:lnTo>
                  <a:lnTo>
                    <a:pt x="297" y="80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43" y="77"/>
                  </a:lnTo>
                  <a:lnTo>
                    <a:pt x="243" y="23"/>
                  </a:lnTo>
                  <a:lnTo>
                    <a:pt x="307" y="85"/>
                  </a:lnTo>
                  <a:lnTo>
                    <a:pt x="307" y="233"/>
                  </a:lnTo>
                  <a:lnTo>
                    <a:pt x="279" y="233"/>
                  </a:lnTo>
                  <a:lnTo>
                    <a:pt x="279" y="105"/>
                  </a:lnTo>
                  <a:lnTo>
                    <a:pt x="279" y="105"/>
                  </a:lnTo>
                  <a:lnTo>
                    <a:pt x="279" y="103"/>
                  </a:lnTo>
                  <a:lnTo>
                    <a:pt x="279" y="103"/>
                  </a:lnTo>
                  <a:lnTo>
                    <a:pt x="279" y="100"/>
                  </a:lnTo>
                  <a:lnTo>
                    <a:pt x="276" y="100"/>
                  </a:lnTo>
                  <a:lnTo>
                    <a:pt x="276" y="100"/>
                  </a:lnTo>
                  <a:lnTo>
                    <a:pt x="274" y="100"/>
                  </a:lnTo>
                  <a:lnTo>
                    <a:pt x="274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0" y="100"/>
                  </a:lnTo>
                  <a:lnTo>
                    <a:pt x="120" y="100"/>
                  </a:lnTo>
                  <a:lnTo>
                    <a:pt x="118" y="100"/>
                  </a:lnTo>
                  <a:lnTo>
                    <a:pt x="100" y="123"/>
                  </a:lnTo>
                  <a:lnTo>
                    <a:pt x="84" y="123"/>
                  </a:lnTo>
                  <a:lnTo>
                    <a:pt x="84" y="13"/>
                  </a:lnTo>
                  <a:close/>
                  <a:moveTo>
                    <a:pt x="77" y="0"/>
                  </a:moveTo>
                  <a:lnTo>
                    <a:pt x="7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0" y="284"/>
                  </a:lnTo>
                  <a:lnTo>
                    <a:pt x="2" y="287"/>
                  </a:lnTo>
                  <a:lnTo>
                    <a:pt x="2" y="287"/>
                  </a:lnTo>
                  <a:lnTo>
                    <a:pt x="2" y="290"/>
                  </a:lnTo>
                  <a:lnTo>
                    <a:pt x="2" y="290"/>
                  </a:lnTo>
                  <a:lnTo>
                    <a:pt x="5" y="292"/>
                  </a:lnTo>
                  <a:lnTo>
                    <a:pt x="5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274" y="292"/>
                  </a:lnTo>
                  <a:lnTo>
                    <a:pt x="274" y="292"/>
                  </a:lnTo>
                  <a:lnTo>
                    <a:pt x="276" y="292"/>
                  </a:lnTo>
                  <a:lnTo>
                    <a:pt x="276" y="292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9" y="287"/>
                  </a:lnTo>
                  <a:lnTo>
                    <a:pt x="279" y="287"/>
                  </a:lnTo>
                  <a:lnTo>
                    <a:pt x="279" y="284"/>
                  </a:lnTo>
                  <a:lnTo>
                    <a:pt x="279" y="246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20" y="243"/>
                  </a:lnTo>
                  <a:lnTo>
                    <a:pt x="320" y="243"/>
                  </a:lnTo>
                  <a:lnTo>
                    <a:pt x="320" y="243"/>
                  </a:lnTo>
                  <a:lnTo>
                    <a:pt x="320" y="241"/>
                  </a:lnTo>
                  <a:lnTo>
                    <a:pt x="322" y="241"/>
                  </a:lnTo>
                  <a:lnTo>
                    <a:pt x="322" y="82"/>
                  </a:lnTo>
                  <a:lnTo>
                    <a:pt x="320" y="82"/>
                  </a:lnTo>
                  <a:lnTo>
                    <a:pt x="320" y="80"/>
                  </a:lnTo>
                  <a:lnTo>
                    <a:pt x="320" y="80"/>
                  </a:lnTo>
                  <a:lnTo>
                    <a:pt x="320" y="80"/>
                  </a:lnTo>
                  <a:lnTo>
                    <a:pt x="243" y="3"/>
                  </a:lnTo>
                  <a:lnTo>
                    <a:pt x="241" y="3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0" name="Group 177">
            <a:extLst>
              <a:ext uri="{FF2B5EF4-FFF2-40B4-BE49-F238E27FC236}">
                <a16:creationId xmlns:a16="http://schemas.microsoft.com/office/drawing/2014/main" id="{A1CA4A62-39E1-4E3F-A169-C1FF48579BA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955" y="4121902"/>
            <a:ext cx="758825" cy="758825"/>
            <a:chOff x="2381" y="2773"/>
            <a:chExt cx="478" cy="478"/>
          </a:xfrm>
        </p:grpSpPr>
        <p:sp>
          <p:nvSpPr>
            <p:cNvPr id="211" name="AutoShape 176">
              <a:extLst>
                <a:ext uri="{FF2B5EF4-FFF2-40B4-BE49-F238E27FC236}">
                  <a16:creationId xmlns:a16="http://schemas.microsoft.com/office/drawing/2014/main" id="{A35E6710-4EDF-47AB-9599-045EE41074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81" y="277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78">
              <a:extLst>
                <a:ext uri="{FF2B5EF4-FFF2-40B4-BE49-F238E27FC236}">
                  <a16:creationId xmlns:a16="http://schemas.microsoft.com/office/drawing/2014/main" id="{4CD09C74-7506-49D6-8D80-0CF9D9BAB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3" y="277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79">
              <a:extLst>
                <a:ext uri="{FF2B5EF4-FFF2-40B4-BE49-F238E27FC236}">
                  <a16:creationId xmlns:a16="http://schemas.microsoft.com/office/drawing/2014/main" id="{DFE15082-6FFA-434C-8BBC-1A3C79708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2" y="2871"/>
              <a:ext cx="299" cy="265"/>
            </a:xfrm>
            <a:custGeom>
              <a:avLst/>
              <a:gdLst>
                <a:gd name="T0" fmla="*/ 0 w 299"/>
                <a:gd name="T1" fmla="*/ 265 h 265"/>
                <a:gd name="T2" fmla="*/ 299 w 299"/>
                <a:gd name="T3" fmla="*/ 145 h 265"/>
                <a:gd name="T4" fmla="*/ 220 w 299"/>
                <a:gd name="T5" fmla="*/ 34 h 265"/>
                <a:gd name="T6" fmla="*/ 78 w 299"/>
                <a:gd name="T7" fmla="*/ 0 h 265"/>
                <a:gd name="T8" fmla="*/ 32 w 299"/>
                <a:gd name="T9" fmla="*/ 34 h 265"/>
                <a:gd name="T10" fmla="*/ 284 w 299"/>
                <a:gd name="T11" fmla="*/ 250 h 265"/>
                <a:gd name="T12" fmla="*/ 14 w 299"/>
                <a:gd name="T13" fmla="*/ 162 h 265"/>
                <a:gd name="T14" fmla="*/ 98 w 299"/>
                <a:gd name="T15" fmla="*/ 177 h 265"/>
                <a:gd name="T16" fmla="*/ 120 w 299"/>
                <a:gd name="T17" fmla="*/ 194 h 265"/>
                <a:gd name="T18" fmla="*/ 139 w 299"/>
                <a:gd name="T19" fmla="*/ 201 h 265"/>
                <a:gd name="T20" fmla="*/ 164 w 299"/>
                <a:gd name="T21" fmla="*/ 199 h 265"/>
                <a:gd name="T22" fmla="*/ 188 w 299"/>
                <a:gd name="T23" fmla="*/ 189 h 265"/>
                <a:gd name="T24" fmla="*/ 206 w 299"/>
                <a:gd name="T25" fmla="*/ 169 h 265"/>
                <a:gd name="T26" fmla="*/ 284 w 299"/>
                <a:gd name="T27" fmla="*/ 162 h 265"/>
                <a:gd name="T28" fmla="*/ 242 w 299"/>
                <a:gd name="T29" fmla="*/ 120 h 265"/>
                <a:gd name="T30" fmla="*/ 198 w 299"/>
                <a:gd name="T31" fmla="*/ 147 h 265"/>
                <a:gd name="T32" fmla="*/ 184 w 299"/>
                <a:gd name="T33" fmla="*/ 172 h 265"/>
                <a:gd name="T34" fmla="*/ 166 w 299"/>
                <a:gd name="T35" fmla="*/ 184 h 265"/>
                <a:gd name="T36" fmla="*/ 149 w 299"/>
                <a:gd name="T37" fmla="*/ 186 h 265"/>
                <a:gd name="T38" fmla="*/ 132 w 299"/>
                <a:gd name="T39" fmla="*/ 184 h 265"/>
                <a:gd name="T40" fmla="*/ 115 w 299"/>
                <a:gd name="T41" fmla="*/ 172 h 265"/>
                <a:gd name="T42" fmla="*/ 103 w 299"/>
                <a:gd name="T43" fmla="*/ 154 h 265"/>
                <a:gd name="T44" fmla="*/ 56 w 299"/>
                <a:gd name="T45" fmla="*/ 147 h 265"/>
                <a:gd name="T46" fmla="*/ 242 w 299"/>
                <a:gd name="T47" fmla="*/ 120 h 265"/>
                <a:gd name="T48" fmla="*/ 66 w 299"/>
                <a:gd name="T49" fmla="*/ 81 h 265"/>
                <a:gd name="T50" fmla="*/ 233 w 299"/>
                <a:gd name="T51" fmla="*/ 110 h 265"/>
                <a:gd name="T52" fmla="*/ 230 w 299"/>
                <a:gd name="T53" fmla="*/ 49 h 265"/>
                <a:gd name="T54" fmla="*/ 287 w 299"/>
                <a:gd name="T55" fmla="*/ 147 h 265"/>
                <a:gd name="T56" fmla="*/ 252 w 299"/>
                <a:gd name="T57" fmla="*/ 110 h 265"/>
                <a:gd name="T58" fmla="*/ 240 w 299"/>
                <a:gd name="T59" fmla="*/ 71 h 265"/>
                <a:gd name="T60" fmla="*/ 230 w 299"/>
                <a:gd name="T61" fmla="*/ 49 h 265"/>
                <a:gd name="T62" fmla="*/ 211 w 299"/>
                <a:gd name="T63" fmla="*/ 10 h 265"/>
                <a:gd name="T64" fmla="*/ 88 w 299"/>
                <a:gd name="T65" fmla="*/ 37 h 265"/>
                <a:gd name="T66" fmla="*/ 76 w 299"/>
                <a:gd name="T67" fmla="*/ 47 h 265"/>
                <a:gd name="T68" fmla="*/ 223 w 299"/>
                <a:gd name="T69" fmla="*/ 71 h 265"/>
                <a:gd name="T70" fmla="*/ 76 w 299"/>
                <a:gd name="T71" fmla="*/ 47 h 265"/>
                <a:gd name="T72" fmla="*/ 68 w 299"/>
                <a:gd name="T73" fmla="*/ 71 h 265"/>
                <a:gd name="T74" fmla="*/ 59 w 299"/>
                <a:gd name="T75" fmla="*/ 110 h 265"/>
                <a:gd name="T76" fmla="*/ 46 w 299"/>
                <a:gd name="T77" fmla="*/ 147 h 265"/>
                <a:gd name="T78" fmla="*/ 41 w 299"/>
                <a:gd name="T79" fmla="*/ 4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9" h="265">
                  <a:moveTo>
                    <a:pt x="0" y="145"/>
                  </a:moveTo>
                  <a:lnTo>
                    <a:pt x="0" y="265"/>
                  </a:lnTo>
                  <a:lnTo>
                    <a:pt x="299" y="265"/>
                  </a:lnTo>
                  <a:lnTo>
                    <a:pt x="299" y="145"/>
                  </a:lnTo>
                  <a:lnTo>
                    <a:pt x="267" y="34"/>
                  </a:lnTo>
                  <a:lnTo>
                    <a:pt x="220" y="34"/>
                  </a:lnTo>
                  <a:lnTo>
                    <a:pt x="220" y="0"/>
                  </a:lnTo>
                  <a:lnTo>
                    <a:pt x="78" y="0"/>
                  </a:lnTo>
                  <a:lnTo>
                    <a:pt x="78" y="34"/>
                  </a:lnTo>
                  <a:lnTo>
                    <a:pt x="32" y="34"/>
                  </a:lnTo>
                  <a:lnTo>
                    <a:pt x="0" y="145"/>
                  </a:lnTo>
                  <a:close/>
                  <a:moveTo>
                    <a:pt x="284" y="250"/>
                  </a:moveTo>
                  <a:lnTo>
                    <a:pt x="14" y="250"/>
                  </a:lnTo>
                  <a:lnTo>
                    <a:pt x="14" y="162"/>
                  </a:lnTo>
                  <a:lnTo>
                    <a:pt x="90" y="162"/>
                  </a:lnTo>
                  <a:lnTo>
                    <a:pt x="98" y="177"/>
                  </a:lnTo>
                  <a:lnTo>
                    <a:pt x="108" y="186"/>
                  </a:lnTo>
                  <a:lnTo>
                    <a:pt x="120" y="194"/>
                  </a:lnTo>
                  <a:lnTo>
                    <a:pt x="127" y="199"/>
                  </a:lnTo>
                  <a:lnTo>
                    <a:pt x="139" y="201"/>
                  </a:lnTo>
                  <a:lnTo>
                    <a:pt x="149" y="201"/>
                  </a:lnTo>
                  <a:lnTo>
                    <a:pt x="164" y="199"/>
                  </a:lnTo>
                  <a:lnTo>
                    <a:pt x="179" y="196"/>
                  </a:lnTo>
                  <a:lnTo>
                    <a:pt x="188" y="189"/>
                  </a:lnTo>
                  <a:lnTo>
                    <a:pt x="198" y="179"/>
                  </a:lnTo>
                  <a:lnTo>
                    <a:pt x="206" y="169"/>
                  </a:lnTo>
                  <a:lnTo>
                    <a:pt x="208" y="162"/>
                  </a:lnTo>
                  <a:lnTo>
                    <a:pt x="284" y="162"/>
                  </a:lnTo>
                  <a:lnTo>
                    <a:pt x="284" y="250"/>
                  </a:lnTo>
                  <a:close/>
                  <a:moveTo>
                    <a:pt x="242" y="120"/>
                  </a:moveTo>
                  <a:lnTo>
                    <a:pt x="242" y="147"/>
                  </a:lnTo>
                  <a:lnTo>
                    <a:pt x="198" y="147"/>
                  </a:lnTo>
                  <a:lnTo>
                    <a:pt x="191" y="162"/>
                  </a:lnTo>
                  <a:lnTo>
                    <a:pt x="184" y="172"/>
                  </a:lnTo>
                  <a:lnTo>
                    <a:pt x="176" y="179"/>
                  </a:lnTo>
                  <a:lnTo>
                    <a:pt x="166" y="184"/>
                  </a:lnTo>
                  <a:lnTo>
                    <a:pt x="157" y="186"/>
                  </a:lnTo>
                  <a:lnTo>
                    <a:pt x="149" y="186"/>
                  </a:lnTo>
                  <a:lnTo>
                    <a:pt x="137" y="186"/>
                  </a:lnTo>
                  <a:lnTo>
                    <a:pt x="132" y="184"/>
                  </a:lnTo>
                  <a:lnTo>
                    <a:pt x="122" y="179"/>
                  </a:lnTo>
                  <a:lnTo>
                    <a:pt x="115" y="172"/>
                  </a:lnTo>
                  <a:lnTo>
                    <a:pt x="108" y="164"/>
                  </a:lnTo>
                  <a:lnTo>
                    <a:pt x="103" y="154"/>
                  </a:lnTo>
                  <a:lnTo>
                    <a:pt x="100" y="147"/>
                  </a:lnTo>
                  <a:lnTo>
                    <a:pt x="56" y="147"/>
                  </a:lnTo>
                  <a:lnTo>
                    <a:pt x="56" y="120"/>
                  </a:lnTo>
                  <a:lnTo>
                    <a:pt x="242" y="120"/>
                  </a:lnTo>
                  <a:close/>
                  <a:moveTo>
                    <a:pt x="66" y="110"/>
                  </a:moveTo>
                  <a:lnTo>
                    <a:pt x="66" y="81"/>
                  </a:lnTo>
                  <a:lnTo>
                    <a:pt x="233" y="81"/>
                  </a:lnTo>
                  <a:lnTo>
                    <a:pt x="233" y="110"/>
                  </a:lnTo>
                  <a:lnTo>
                    <a:pt x="66" y="110"/>
                  </a:lnTo>
                  <a:close/>
                  <a:moveTo>
                    <a:pt x="230" y="49"/>
                  </a:moveTo>
                  <a:lnTo>
                    <a:pt x="257" y="49"/>
                  </a:lnTo>
                  <a:lnTo>
                    <a:pt x="287" y="147"/>
                  </a:lnTo>
                  <a:lnTo>
                    <a:pt x="252" y="147"/>
                  </a:lnTo>
                  <a:lnTo>
                    <a:pt x="252" y="110"/>
                  </a:lnTo>
                  <a:lnTo>
                    <a:pt x="240" y="110"/>
                  </a:lnTo>
                  <a:lnTo>
                    <a:pt x="240" y="71"/>
                  </a:lnTo>
                  <a:lnTo>
                    <a:pt x="230" y="71"/>
                  </a:lnTo>
                  <a:lnTo>
                    <a:pt x="230" y="49"/>
                  </a:lnTo>
                  <a:close/>
                  <a:moveTo>
                    <a:pt x="88" y="10"/>
                  </a:moveTo>
                  <a:lnTo>
                    <a:pt x="211" y="10"/>
                  </a:lnTo>
                  <a:lnTo>
                    <a:pt x="211" y="37"/>
                  </a:lnTo>
                  <a:lnTo>
                    <a:pt x="88" y="37"/>
                  </a:lnTo>
                  <a:lnTo>
                    <a:pt x="88" y="10"/>
                  </a:lnTo>
                  <a:close/>
                  <a:moveTo>
                    <a:pt x="76" y="47"/>
                  </a:moveTo>
                  <a:lnTo>
                    <a:pt x="223" y="47"/>
                  </a:lnTo>
                  <a:lnTo>
                    <a:pt x="223" y="71"/>
                  </a:lnTo>
                  <a:lnTo>
                    <a:pt x="76" y="71"/>
                  </a:lnTo>
                  <a:lnTo>
                    <a:pt x="76" y="47"/>
                  </a:lnTo>
                  <a:close/>
                  <a:moveTo>
                    <a:pt x="68" y="49"/>
                  </a:moveTo>
                  <a:lnTo>
                    <a:pt x="68" y="71"/>
                  </a:lnTo>
                  <a:lnTo>
                    <a:pt x="59" y="71"/>
                  </a:lnTo>
                  <a:lnTo>
                    <a:pt x="59" y="110"/>
                  </a:lnTo>
                  <a:lnTo>
                    <a:pt x="46" y="110"/>
                  </a:lnTo>
                  <a:lnTo>
                    <a:pt x="46" y="147"/>
                  </a:lnTo>
                  <a:lnTo>
                    <a:pt x="12" y="147"/>
                  </a:lnTo>
                  <a:lnTo>
                    <a:pt x="41" y="49"/>
                  </a:lnTo>
                  <a:lnTo>
                    <a:pt x="68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4" name="Group 182">
            <a:extLst>
              <a:ext uri="{FF2B5EF4-FFF2-40B4-BE49-F238E27FC236}">
                <a16:creationId xmlns:a16="http://schemas.microsoft.com/office/drawing/2014/main" id="{47E08184-3DFD-43EB-9182-DCF138F993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738" y="4080627"/>
            <a:ext cx="841375" cy="841375"/>
            <a:chOff x="1678" y="2630"/>
            <a:chExt cx="530" cy="530"/>
          </a:xfrm>
        </p:grpSpPr>
        <p:sp>
          <p:nvSpPr>
            <p:cNvPr id="215" name="AutoShape 181">
              <a:extLst>
                <a:ext uri="{FF2B5EF4-FFF2-40B4-BE49-F238E27FC236}">
                  <a16:creationId xmlns:a16="http://schemas.microsoft.com/office/drawing/2014/main" id="{03696E71-2E3A-4743-9D85-10E74C1A83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8" y="263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Oval 183">
              <a:extLst>
                <a:ext uri="{FF2B5EF4-FFF2-40B4-BE49-F238E27FC236}">
                  <a16:creationId xmlns:a16="http://schemas.microsoft.com/office/drawing/2014/main" id="{D76B219F-AE1B-4009-99C8-89F31DCF9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" y="263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84">
              <a:extLst>
                <a:ext uri="{FF2B5EF4-FFF2-40B4-BE49-F238E27FC236}">
                  <a16:creationId xmlns:a16="http://schemas.microsoft.com/office/drawing/2014/main" id="{99431F40-B3C0-442A-9FE4-92A48B3C90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6" y="264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5">
              <a:extLst>
                <a:ext uri="{FF2B5EF4-FFF2-40B4-BE49-F238E27FC236}">
                  <a16:creationId xmlns:a16="http://schemas.microsoft.com/office/drawing/2014/main" id="{AFA16FFC-C1D5-4552-9632-95B9F7E76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8" y="2748"/>
              <a:ext cx="312" cy="276"/>
            </a:xfrm>
            <a:custGeom>
              <a:avLst/>
              <a:gdLst>
                <a:gd name="T0" fmla="*/ 0 w 312"/>
                <a:gd name="T1" fmla="*/ 276 h 276"/>
                <a:gd name="T2" fmla="*/ 312 w 312"/>
                <a:gd name="T3" fmla="*/ 151 h 276"/>
                <a:gd name="T4" fmla="*/ 230 w 312"/>
                <a:gd name="T5" fmla="*/ 36 h 276"/>
                <a:gd name="T6" fmla="*/ 82 w 312"/>
                <a:gd name="T7" fmla="*/ 0 h 276"/>
                <a:gd name="T8" fmla="*/ 33 w 312"/>
                <a:gd name="T9" fmla="*/ 36 h 276"/>
                <a:gd name="T10" fmla="*/ 297 w 312"/>
                <a:gd name="T11" fmla="*/ 261 h 276"/>
                <a:gd name="T12" fmla="*/ 15 w 312"/>
                <a:gd name="T13" fmla="*/ 169 h 276"/>
                <a:gd name="T14" fmla="*/ 102 w 312"/>
                <a:gd name="T15" fmla="*/ 184 h 276"/>
                <a:gd name="T16" fmla="*/ 125 w 312"/>
                <a:gd name="T17" fmla="*/ 202 h 276"/>
                <a:gd name="T18" fmla="*/ 146 w 312"/>
                <a:gd name="T19" fmla="*/ 210 h 276"/>
                <a:gd name="T20" fmla="*/ 172 w 312"/>
                <a:gd name="T21" fmla="*/ 207 h 276"/>
                <a:gd name="T22" fmla="*/ 197 w 312"/>
                <a:gd name="T23" fmla="*/ 197 h 276"/>
                <a:gd name="T24" fmla="*/ 215 w 312"/>
                <a:gd name="T25" fmla="*/ 176 h 276"/>
                <a:gd name="T26" fmla="*/ 297 w 312"/>
                <a:gd name="T27" fmla="*/ 169 h 276"/>
                <a:gd name="T28" fmla="*/ 253 w 312"/>
                <a:gd name="T29" fmla="*/ 125 h 276"/>
                <a:gd name="T30" fmla="*/ 207 w 312"/>
                <a:gd name="T31" fmla="*/ 153 h 276"/>
                <a:gd name="T32" fmla="*/ 192 w 312"/>
                <a:gd name="T33" fmla="*/ 179 h 276"/>
                <a:gd name="T34" fmla="*/ 174 w 312"/>
                <a:gd name="T35" fmla="*/ 192 h 276"/>
                <a:gd name="T36" fmla="*/ 156 w 312"/>
                <a:gd name="T37" fmla="*/ 194 h 276"/>
                <a:gd name="T38" fmla="*/ 138 w 312"/>
                <a:gd name="T39" fmla="*/ 192 h 276"/>
                <a:gd name="T40" fmla="*/ 120 w 312"/>
                <a:gd name="T41" fmla="*/ 179 h 276"/>
                <a:gd name="T42" fmla="*/ 108 w 312"/>
                <a:gd name="T43" fmla="*/ 161 h 276"/>
                <a:gd name="T44" fmla="*/ 59 w 312"/>
                <a:gd name="T45" fmla="*/ 153 h 276"/>
                <a:gd name="T46" fmla="*/ 253 w 312"/>
                <a:gd name="T47" fmla="*/ 125 h 276"/>
                <a:gd name="T48" fmla="*/ 69 w 312"/>
                <a:gd name="T49" fmla="*/ 84 h 276"/>
                <a:gd name="T50" fmla="*/ 243 w 312"/>
                <a:gd name="T51" fmla="*/ 115 h 276"/>
                <a:gd name="T52" fmla="*/ 241 w 312"/>
                <a:gd name="T53" fmla="*/ 51 h 276"/>
                <a:gd name="T54" fmla="*/ 300 w 312"/>
                <a:gd name="T55" fmla="*/ 153 h 276"/>
                <a:gd name="T56" fmla="*/ 264 w 312"/>
                <a:gd name="T57" fmla="*/ 115 h 276"/>
                <a:gd name="T58" fmla="*/ 251 w 312"/>
                <a:gd name="T59" fmla="*/ 74 h 276"/>
                <a:gd name="T60" fmla="*/ 241 w 312"/>
                <a:gd name="T61" fmla="*/ 51 h 276"/>
                <a:gd name="T62" fmla="*/ 220 w 312"/>
                <a:gd name="T63" fmla="*/ 10 h 276"/>
                <a:gd name="T64" fmla="*/ 92 w 312"/>
                <a:gd name="T65" fmla="*/ 38 h 276"/>
                <a:gd name="T66" fmla="*/ 79 w 312"/>
                <a:gd name="T67" fmla="*/ 48 h 276"/>
                <a:gd name="T68" fmla="*/ 233 w 312"/>
                <a:gd name="T69" fmla="*/ 74 h 276"/>
                <a:gd name="T70" fmla="*/ 79 w 312"/>
                <a:gd name="T71" fmla="*/ 48 h 276"/>
                <a:gd name="T72" fmla="*/ 72 w 312"/>
                <a:gd name="T73" fmla="*/ 74 h 276"/>
                <a:gd name="T74" fmla="*/ 61 w 312"/>
                <a:gd name="T75" fmla="*/ 115 h 276"/>
                <a:gd name="T76" fmla="*/ 49 w 312"/>
                <a:gd name="T77" fmla="*/ 153 h 276"/>
                <a:gd name="T78" fmla="*/ 44 w 312"/>
                <a:gd name="T79" fmla="*/ 5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2" h="276">
                  <a:moveTo>
                    <a:pt x="0" y="151"/>
                  </a:moveTo>
                  <a:lnTo>
                    <a:pt x="0" y="276"/>
                  </a:lnTo>
                  <a:lnTo>
                    <a:pt x="312" y="276"/>
                  </a:lnTo>
                  <a:lnTo>
                    <a:pt x="312" y="151"/>
                  </a:lnTo>
                  <a:lnTo>
                    <a:pt x="279" y="36"/>
                  </a:lnTo>
                  <a:lnTo>
                    <a:pt x="230" y="36"/>
                  </a:lnTo>
                  <a:lnTo>
                    <a:pt x="230" y="0"/>
                  </a:lnTo>
                  <a:lnTo>
                    <a:pt x="82" y="0"/>
                  </a:lnTo>
                  <a:lnTo>
                    <a:pt x="82" y="36"/>
                  </a:lnTo>
                  <a:lnTo>
                    <a:pt x="33" y="36"/>
                  </a:lnTo>
                  <a:lnTo>
                    <a:pt x="0" y="151"/>
                  </a:lnTo>
                  <a:close/>
                  <a:moveTo>
                    <a:pt x="297" y="261"/>
                  </a:moveTo>
                  <a:lnTo>
                    <a:pt x="15" y="261"/>
                  </a:lnTo>
                  <a:lnTo>
                    <a:pt x="15" y="169"/>
                  </a:lnTo>
                  <a:lnTo>
                    <a:pt x="95" y="169"/>
                  </a:lnTo>
                  <a:lnTo>
                    <a:pt x="102" y="184"/>
                  </a:lnTo>
                  <a:lnTo>
                    <a:pt x="113" y="194"/>
                  </a:lnTo>
                  <a:lnTo>
                    <a:pt x="125" y="202"/>
                  </a:lnTo>
                  <a:lnTo>
                    <a:pt x="133" y="207"/>
                  </a:lnTo>
                  <a:lnTo>
                    <a:pt x="146" y="210"/>
                  </a:lnTo>
                  <a:lnTo>
                    <a:pt x="156" y="210"/>
                  </a:lnTo>
                  <a:lnTo>
                    <a:pt x="172" y="207"/>
                  </a:lnTo>
                  <a:lnTo>
                    <a:pt x="187" y="205"/>
                  </a:lnTo>
                  <a:lnTo>
                    <a:pt x="197" y="197"/>
                  </a:lnTo>
                  <a:lnTo>
                    <a:pt x="207" y="187"/>
                  </a:lnTo>
                  <a:lnTo>
                    <a:pt x="215" y="176"/>
                  </a:lnTo>
                  <a:lnTo>
                    <a:pt x="218" y="169"/>
                  </a:lnTo>
                  <a:lnTo>
                    <a:pt x="297" y="169"/>
                  </a:lnTo>
                  <a:lnTo>
                    <a:pt x="297" y="261"/>
                  </a:lnTo>
                  <a:close/>
                  <a:moveTo>
                    <a:pt x="253" y="125"/>
                  </a:moveTo>
                  <a:lnTo>
                    <a:pt x="253" y="153"/>
                  </a:lnTo>
                  <a:lnTo>
                    <a:pt x="207" y="153"/>
                  </a:lnTo>
                  <a:lnTo>
                    <a:pt x="200" y="169"/>
                  </a:lnTo>
                  <a:lnTo>
                    <a:pt x="192" y="179"/>
                  </a:lnTo>
                  <a:lnTo>
                    <a:pt x="184" y="187"/>
                  </a:lnTo>
                  <a:lnTo>
                    <a:pt x="174" y="192"/>
                  </a:lnTo>
                  <a:lnTo>
                    <a:pt x="164" y="194"/>
                  </a:lnTo>
                  <a:lnTo>
                    <a:pt x="156" y="194"/>
                  </a:lnTo>
                  <a:lnTo>
                    <a:pt x="143" y="194"/>
                  </a:lnTo>
                  <a:lnTo>
                    <a:pt x="138" y="192"/>
                  </a:lnTo>
                  <a:lnTo>
                    <a:pt x="128" y="187"/>
                  </a:lnTo>
                  <a:lnTo>
                    <a:pt x="120" y="179"/>
                  </a:lnTo>
                  <a:lnTo>
                    <a:pt x="113" y="171"/>
                  </a:lnTo>
                  <a:lnTo>
                    <a:pt x="108" y="161"/>
                  </a:lnTo>
                  <a:lnTo>
                    <a:pt x="105" y="153"/>
                  </a:lnTo>
                  <a:lnTo>
                    <a:pt x="59" y="153"/>
                  </a:lnTo>
                  <a:lnTo>
                    <a:pt x="59" y="125"/>
                  </a:lnTo>
                  <a:lnTo>
                    <a:pt x="253" y="125"/>
                  </a:lnTo>
                  <a:close/>
                  <a:moveTo>
                    <a:pt x="69" y="115"/>
                  </a:moveTo>
                  <a:lnTo>
                    <a:pt x="69" y="84"/>
                  </a:lnTo>
                  <a:lnTo>
                    <a:pt x="243" y="84"/>
                  </a:lnTo>
                  <a:lnTo>
                    <a:pt x="243" y="115"/>
                  </a:lnTo>
                  <a:lnTo>
                    <a:pt x="69" y="115"/>
                  </a:lnTo>
                  <a:close/>
                  <a:moveTo>
                    <a:pt x="241" y="51"/>
                  </a:moveTo>
                  <a:lnTo>
                    <a:pt x="269" y="51"/>
                  </a:lnTo>
                  <a:lnTo>
                    <a:pt x="300" y="153"/>
                  </a:lnTo>
                  <a:lnTo>
                    <a:pt x="264" y="153"/>
                  </a:lnTo>
                  <a:lnTo>
                    <a:pt x="264" y="115"/>
                  </a:lnTo>
                  <a:lnTo>
                    <a:pt x="251" y="115"/>
                  </a:lnTo>
                  <a:lnTo>
                    <a:pt x="251" y="74"/>
                  </a:lnTo>
                  <a:lnTo>
                    <a:pt x="241" y="74"/>
                  </a:lnTo>
                  <a:lnTo>
                    <a:pt x="241" y="51"/>
                  </a:lnTo>
                  <a:close/>
                  <a:moveTo>
                    <a:pt x="92" y="10"/>
                  </a:moveTo>
                  <a:lnTo>
                    <a:pt x="220" y="10"/>
                  </a:lnTo>
                  <a:lnTo>
                    <a:pt x="220" y="38"/>
                  </a:lnTo>
                  <a:lnTo>
                    <a:pt x="92" y="38"/>
                  </a:lnTo>
                  <a:lnTo>
                    <a:pt x="92" y="10"/>
                  </a:lnTo>
                  <a:close/>
                  <a:moveTo>
                    <a:pt x="79" y="48"/>
                  </a:moveTo>
                  <a:lnTo>
                    <a:pt x="233" y="48"/>
                  </a:lnTo>
                  <a:lnTo>
                    <a:pt x="233" y="74"/>
                  </a:lnTo>
                  <a:lnTo>
                    <a:pt x="79" y="74"/>
                  </a:lnTo>
                  <a:lnTo>
                    <a:pt x="79" y="48"/>
                  </a:lnTo>
                  <a:close/>
                  <a:moveTo>
                    <a:pt x="72" y="51"/>
                  </a:moveTo>
                  <a:lnTo>
                    <a:pt x="72" y="74"/>
                  </a:lnTo>
                  <a:lnTo>
                    <a:pt x="61" y="74"/>
                  </a:lnTo>
                  <a:lnTo>
                    <a:pt x="61" y="115"/>
                  </a:lnTo>
                  <a:lnTo>
                    <a:pt x="49" y="115"/>
                  </a:lnTo>
                  <a:lnTo>
                    <a:pt x="49" y="153"/>
                  </a:lnTo>
                  <a:lnTo>
                    <a:pt x="13" y="153"/>
                  </a:lnTo>
                  <a:lnTo>
                    <a:pt x="44" y="51"/>
                  </a:lnTo>
                  <a:lnTo>
                    <a:pt x="72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3" name="Group 188">
            <a:extLst>
              <a:ext uri="{FF2B5EF4-FFF2-40B4-BE49-F238E27FC236}">
                <a16:creationId xmlns:a16="http://schemas.microsoft.com/office/drawing/2014/main" id="{A380BE97-32BA-4ABB-B4DA-DE17CBD0A5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4541" y="4130161"/>
            <a:ext cx="760412" cy="758825"/>
            <a:chOff x="3617" y="2686"/>
            <a:chExt cx="479" cy="478"/>
          </a:xfrm>
        </p:grpSpPr>
        <p:sp>
          <p:nvSpPr>
            <p:cNvPr id="224" name="AutoShape 187">
              <a:extLst>
                <a:ext uri="{FF2B5EF4-FFF2-40B4-BE49-F238E27FC236}">
                  <a16:creationId xmlns:a16="http://schemas.microsoft.com/office/drawing/2014/main" id="{32A7FE3D-F01F-41B1-9D52-B625D106B7C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7" y="268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89">
              <a:extLst>
                <a:ext uri="{FF2B5EF4-FFF2-40B4-BE49-F238E27FC236}">
                  <a16:creationId xmlns:a16="http://schemas.microsoft.com/office/drawing/2014/main" id="{E5375CDE-B5F9-439F-8BFA-16D9F8336D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9" y="268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90">
              <a:extLst>
                <a:ext uri="{FF2B5EF4-FFF2-40B4-BE49-F238E27FC236}">
                  <a16:creationId xmlns:a16="http://schemas.microsoft.com/office/drawing/2014/main" id="{2D5F000F-B619-4617-BE8D-C5EA22E95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" y="3002"/>
              <a:ext cx="15" cy="12"/>
            </a:xfrm>
            <a:custGeom>
              <a:avLst/>
              <a:gdLst>
                <a:gd name="T0" fmla="*/ 3 w 15"/>
                <a:gd name="T1" fmla="*/ 0 h 12"/>
                <a:gd name="T2" fmla="*/ 3 w 15"/>
                <a:gd name="T3" fmla="*/ 3 h 12"/>
                <a:gd name="T4" fmla="*/ 3 w 15"/>
                <a:gd name="T5" fmla="*/ 3 h 12"/>
                <a:gd name="T6" fmla="*/ 0 w 15"/>
                <a:gd name="T7" fmla="*/ 5 h 12"/>
                <a:gd name="T8" fmla="*/ 0 w 15"/>
                <a:gd name="T9" fmla="*/ 5 h 12"/>
                <a:gd name="T10" fmla="*/ 0 w 15"/>
                <a:gd name="T11" fmla="*/ 8 h 12"/>
                <a:gd name="T12" fmla="*/ 3 w 15"/>
                <a:gd name="T13" fmla="*/ 10 h 12"/>
                <a:gd name="T14" fmla="*/ 3 w 15"/>
                <a:gd name="T15" fmla="*/ 10 h 12"/>
                <a:gd name="T16" fmla="*/ 3 w 15"/>
                <a:gd name="T17" fmla="*/ 10 h 12"/>
                <a:gd name="T18" fmla="*/ 5 w 15"/>
                <a:gd name="T19" fmla="*/ 12 h 12"/>
                <a:gd name="T20" fmla="*/ 5 w 15"/>
                <a:gd name="T21" fmla="*/ 12 h 12"/>
                <a:gd name="T22" fmla="*/ 8 w 15"/>
                <a:gd name="T23" fmla="*/ 12 h 12"/>
                <a:gd name="T24" fmla="*/ 8 w 15"/>
                <a:gd name="T25" fmla="*/ 12 h 12"/>
                <a:gd name="T26" fmla="*/ 10 w 15"/>
                <a:gd name="T27" fmla="*/ 12 h 12"/>
                <a:gd name="T28" fmla="*/ 10 w 15"/>
                <a:gd name="T29" fmla="*/ 12 h 12"/>
                <a:gd name="T30" fmla="*/ 12 w 15"/>
                <a:gd name="T31" fmla="*/ 12 h 12"/>
                <a:gd name="T32" fmla="*/ 12 w 15"/>
                <a:gd name="T33" fmla="*/ 10 h 12"/>
                <a:gd name="T34" fmla="*/ 15 w 15"/>
                <a:gd name="T35" fmla="*/ 10 h 12"/>
                <a:gd name="T36" fmla="*/ 15 w 15"/>
                <a:gd name="T37" fmla="*/ 10 h 12"/>
                <a:gd name="T38" fmla="*/ 15 w 15"/>
                <a:gd name="T39" fmla="*/ 8 h 12"/>
                <a:gd name="T40" fmla="*/ 15 w 15"/>
                <a:gd name="T41" fmla="*/ 5 h 12"/>
                <a:gd name="T42" fmla="*/ 15 w 15"/>
                <a:gd name="T43" fmla="*/ 5 h 12"/>
                <a:gd name="T44" fmla="*/ 15 w 15"/>
                <a:gd name="T45" fmla="*/ 3 h 12"/>
                <a:gd name="T46" fmla="*/ 15 w 15"/>
                <a:gd name="T47" fmla="*/ 3 h 12"/>
                <a:gd name="T48" fmla="*/ 12 w 15"/>
                <a:gd name="T49" fmla="*/ 0 h 12"/>
                <a:gd name="T50" fmla="*/ 12 w 15"/>
                <a:gd name="T51" fmla="*/ 0 h 12"/>
                <a:gd name="T52" fmla="*/ 10 w 15"/>
                <a:gd name="T53" fmla="*/ 0 h 12"/>
                <a:gd name="T54" fmla="*/ 10 w 15"/>
                <a:gd name="T55" fmla="*/ 0 h 12"/>
                <a:gd name="T56" fmla="*/ 8 w 15"/>
                <a:gd name="T57" fmla="*/ 0 h 12"/>
                <a:gd name="T58" fmla="*/ 8 w 15"/>
                <a:gd name="T59" fmla="*/ 0 h 12"/>
                <a:gd name="T60" fmla="*/ 5 w 15"/>
                <a:gd name="T61" fmla="*/ 0 h 12"/>
                <a:gd name="T62" fmla="*/ 5 w 15"/>
                <a:gd name="T6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3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1">
              <a:extLst>
                <a:ext uri="{FF2B5EF4-FFF2-40B4-BE49-F238E27FC236}">
                  <a16:creationId xmlns:a16="http://schemas.microsoft.com/office/drawing/2014/main" id="{23EDEC15-421E-40EB-BDD3-24C1DB139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7" y="2973"/>
              <a:ext cx="64" cy="15"/>
            </a:xfrm>
            <a:custGeom>
              <a:avLst/>
              <a:gdLst>
                <a:gd name="T0" fmla="*/ 0 w 64"/>
                <a:gd name="T1" fmla="*/ 10 h 15"/>
                <a:gd name="T2" fmla="*/ 0 w 64"/>
                <a:gd name="T3" fmla="*/ 10 h 15"/>
                <a:gd name="T4" fmla="*/ 3 w 64"/>
                <a:gd name="T5" fmla="*/ 12 h 15"/>
                <a:gd name="T6" fmla="*/ 3 w 64"/>
                <a:gd name="T7" fmla="*/ 12 h 15"/>
                <a:gd name="T8" fmla="*/ 3 w 64"/>
                <a:gd name="T9" fmla="*/ 15 h 15"/>
                <a:gd name="T10" fmla="*/ 5 w 64"/>
                <a:gd name="T11" fmla="*/ 15 h 15"/>
                <a:gd name="T12" fmla="*/ 8 w 64"/>
                <a:gd name="T13" fmla="*/ 15 h 15"/>
                <a:gd name="T14" fmla="*/ 59 w 64"/>
                <a:gd name="T15" fmla="*/ 15 h 15"/>
                <a:gd name="T16" fmla="*/ 62 w 64"/>
                <a:gd name="T17" fmla="*/ 15 h 15"/>
                <a:gd name="T18" fmla="*/ 62 w 64"/>
                <a:gd name="T19" fmla="*/ 12 h 15"/>
                <a:gd name="T20" fmla="*/ 64 w 64"/>
                <a:gd name="T21" fmla="*/ 12 h 15"/>
                <a:gd name="T22" fmla="*/ 64 w 64"/>
                <a:gd name="T23" fmla="*/ 12 h 15"/>
                <a:gd name="T24" fmla="*/ 64 w 64"/>
                <a:gd name="T25" fmla="*/ 10 h 15"/>
                <a:gd name="T26" fmla="*/ 64 w 64"/>
                <a:gd name="T27" fmla="*/ 10 h 15"/>
                <a:gd name="T28" fmla="*/ 64 w 64"/>
                <a:gd name="T29" fmla="*/ 7 h 15"/>
                <a:gd name="T30" fmla="*/ 64 w 64"/>
                <a:gd name="T31" fmla="*/ 7 h 15"/>
                <a:gd name="T32" fmla="*/ 64 w 64"/>
                <a:gd name="T33" fmla="*/ 5 h 15"/>
                <a:gd name="T34" fmla="*/ 64 w 64"/>
                <a:gd name="T35" fmla="*/ 5 h 15"/>
                <a:gd name="T36" fmla="*/ 64 w 64"/>
                <a:gd name="T37" fmla="*/ 2 h 15"/>
                <a:gd name="T38" fmla="*/ 64 w 64"/>
                <a:gd name="T39" fmla="*/ 2 h 15"/>
                <a:gd name="T40" fmla="*/ 62 w 64"/>
                <a:gd name="T41" fmla="*/ 2 h 15"/>
                <a:gd name="T42" fmla="*/ 62 w 64"/>
                <a:gd name="T43" fmla="*/ 0 h 15"/>
                <a:gd name="T44" fmla="*/ 59 w 64"/>
                <a:gd name="T45" fmla="*/ 0 h 15"/>
                <a:gd name="T46" fmla="*/ 8 w 64"/>
                <a:gd name="T47" fmla="*/ 0 h 15"/>
                <a:gd name="T48" fmla="*/ 5 w 64"/>
                <a:gd name="T49" fmla="*/ 0 h 15"/>
                <a:gd name="T50" fmla="*/ 3 w 64"/>
                <a:gd name="T51" fmla="*/ 0 h 15"/>
                <a:gd name="T52" fmla="*/ 3 w 64"/>
                <a:gd name="T53" fmla="*/ 2 h 15"/>
                <a:gd name="T54" fmla="*/ 3 w 64"/>
                <a:gd name="T55" fmla="*/ 2 h 15"/>
                <a:gd name="T56" fmla="*/ 0 w 64"/>
                <a:gd name="T57" fmla="*/ 2 h 15"/>
                <a:gd name="T58" fmla="*/ 0 w 64"/>
                <a:gd name="T59" fmla="*/ 5 h 15"/>
                <a:gd name="T60" fmla="*/ 0 w 64"/>
                <a:gd name="T61" fmla="*/ 5 h 15"/>
                <a:gd name="T62" fmla="*/ 0 w 64"/>
                <a:gd name="T63" fmla="*/ 7 h 15"/>
                <a:gd name="T64" fmla="*/ 0 w 64"/>
                <a:gd name="T6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4" h="15"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92">
              <a:extLst>
                <a:ext uri="{FF2B5EF4-FFF2-40B4-BE49-F238E27FC236}">
                  <a16:creationId xmlns:a16="http://schemas.microsoft.com/office/drawing/2014/main" id="{9CD67638-47E6-4FCC-85C6-BE52EAF2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3002"/>
              <a:ext cx="15" cy="12"/>
            </a:xfrm>
            <a:custGeom>
              <a:avLst/>
              <a:gdLst>
                <a:gd name="T0" fmla="*/ 15 w 15"/>
                <a:gd name="T1" fmla="*/ 3 h 12"/>
                <a:gd name="T2" fmla="*/ 12 w 15"/>
                <a:gd name="T3" fmla="*/ 3 h 12"/>
                <a:gd name="T4" fmla="*/ 12 w 15"/>
                <a:gd name="T5" fmla="*/ 0 h 12"/>
                <a:gd name="T6" fmla="*/ 10 w 15"/>
                <a:gd name="T7" fmla="*/ 0 h 12"/>
                <a:gd name="T8" fmla="*/ 10 w 15"/>
                <a:gd name="T9" fmla="*/ 0 h 12"/>
                <a:gd name="T10" fmla="*/ 7 w 15"/>
                <a:gd name="T11" fmla="*/ 0 h 12"/>
                <a:gd name="T12" fmla="*/ 7 w 15"/>
                <a:gd name="T13" fmla="*/ 0 h 12"/>
                <a:gd name="T14" fmla="*/ 5 w 15"/>
                <a:gd name="T15" fmla="*/ 0 h 12"/>
                <a:gd name="T16" fmla="*/ 5 w 15"/>
                <a:gd name="T17" fmla="*/ 0 h 12"/>
                <a:gd name="T18" fmla="*/ 2 w 15"/>
                <a:gd name="T19" fmla="*/ 0 h 12"/>
                <a:gd name="T20" fmla="*/ 2 w 15"/>
                <a:gd name="T21" fmla="*/ 3 h 12"/>
                <a:gd name="T22" fmla="*/ 2 w 15"/>
                <a:gd name="T23" fmla="*/ 3 h 12"/>
                <a:gd name="T24" fmla="*/ 0 w 15"/>
                <a:gd name="T25" fmla="*/ 5 h 12"/>
                <a:gd name="T26" fmla="*/ 0 w 15"/>
                <a:gd name="T27" fmla="*/ 5 h 12"/>
                <a:gd name="T28" fmla="*/ 0 w 15"/>
                <a:gd name="T29" fmla="*/ 8 h 12"/>
                <a:gd name="T30" fmla="*/ 0 w 15"/>
                <a:gd name="T31" fmla="*/ 8 h 12"/>
                <a:gd name="T32" fmla="*/ 2 w 15"/>
                <a:gd name="T33" fmla="*/ 10 h 12"/>
                <a:gd name="T34" fmla="*/ 2 w 15"/>
                <a:gd name="T35" fmla="*/ 10 h 12"/>
                <a:gd name="T36" fmla="*/ 2 w 15"/>
                <a:gd name="T37" fmla="*/ 12 h 12"/>
                <a:gd name="T38" fmla="*/ 5 w 15"/>
                <a:gd name="T39" fmla="*/ 12 h 12"/>
                <a:gd name="T40" fmla="*/ 5 w 15"/>
                <a:gd name="T41" fmla="*/ 12 h 12"/>
                <a:gd name="T42" fmla="*/ 7 w 15"/>
                <a:gd name="T43" fmla="*/ 12 h 12"/>
                <a:gd name="T44" fmla="*/ 7 w 15"/>
                <a:gd name="T45" fmla="*/ 12 h 12"/>
                <a:gd name="T46" fmla="*/ 10 w 15"/>
                <a:gd name="T47" fmla="*/ 12 h 12"/>
                <a:gd name="T48" fmla="*/ 10 w 15"/>
                <a:gd name="T49" fmla="*/ 12 h 12"/>
                <a:gd name="T50" fmla="*/ 12 w 15"/>
                <a:gd name="T51" fmla="*/ 12 h 12"/>
                <a:gd name="T52" fmla="*/ 12 w 15"/>
                <a:gd name="T53" fmla="*/ 10 h 12"/>
                <a:gd name="T54" fmla="*/ 15 w 15"/>
                <a:gd name="T55" fmla="*/ 10 h 12"/>
                <a:gd name="T56" fmla="*/ 15 w 15"/>
                <a:gd name="T57" fmla="*/ 8 h 12"/>
                <a:gd name="T58" fmla="*/ 15 w 15"/>
                <a:gd name="T59" fmla="*/ 8 h 12"/>
                <a:gd name="T60" fmla="*/ 15 w 15"/>
                <a:gd name="T61" fmla="*/ 5 h 12"/>
                <a:gd name="T62" fmla="*/ 15 w 15"/>
                <a:gd name="T6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15" y="3"/>
                  </a:moveTo>
                  <a:lnTo>
                    <a:pt x="15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3">
              <a:extLst>
                <a:ext uri="{FF2B5EF4-FFF2-40B4-BE49-F238E27FC236}">
                  <a16:creationId xmlns:a16="http://schemas.microsoft.com/office/drawing/2014/main" id="{BF893B8E-9B8E-4C71-9EA3-801F0F899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4" y="3002"/>
              <a:ext cx="14" cy="12"/>
            </a:xfrm>
            <a:custGeom>
              <a:avLst/>
              <a:gdLst>
                <a:gd name="T0" fmla="*/ 0 w 14"/>
                <a:gd name="T1" fmla="*/ 10 h 12"/>
                <a:gd name="T2" fmla="*/ 2 w 14"/>
                <a:gd name="T3" fmla="*/ 10 h 12"/>
                <a:gd name="T4" fmla="*/ 2 w 14"/>
                <a:gd name="T5" fmla="*/ 12 h 12"/>
                <a:gd name="T6" fmla="*/ 4 w 14"/>
                <a:gd name="T7" fmla="*/ 12 h 12"/>
                <a:gd name="T8" fmla="*/ 4 w 14"/>
                <a:gd name="T9" fmla="*/ 12 h 12"/>
                <a:gd name="T10" fmla="*/ 7 w 14"/>
                <a:gd name="T11" fmla="*/ 12 h 12"/>
                <a:gd name="T12" fmla="*/ 7 w 14"/>
                <a:gd name="T13" fmla="*/ 12 h 12"/>
                <a:gd name="T14" fmla="*/ 9 w 14"/>
                <a:gd name="T15" fmla="*/ 12 h 12"/>
                <a:gd name="T16" fmla="*/ 9 w 14"/>
                <a:gd name="T17" fmla="*/ 12 h 12"/>
                <a:gd name="T18" fmla="*/ 12 w 14"/>
                <a:gd name="T19" fmla="*/ 12 h 12"/>
                <a:gd name="T20" fmla="*/ 12 w 14"/>
                <a:gd name="T21" fmla="*/ 10 h 12"/>
                <a:gd name="T22" fmla="*/ 12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5 h 12"/>
                <a:gd name="T30" fmla="*/ 14 w 14"/>
                <a:gd name="T31" fmla="*/ 5 h 12"/>
                <a:gd name="T32" fmla="*/ 12 w 14"/>
                <a:gd name="T33" fmla="*/ 3 h 12"/>
                <a:gd name="T34" fmla="*/ 12 w 14"/>
                <a:gd name="T35" fmla="*/ 3 h 12"/>
                <a:gd name="T36" fmla="*/ 12 w 14"/>
                <a:gd name="T37" fmla="*/ 0 h 12"/>
                <a:gd name="T38" fmla="*/ 9 w 14"/>
                <a:gd name="T39" fmla="*/ 0 h 12"/>
                <a:gd name="T40" fmla="*/ 9 w 14"/>
                <a:gd name="T41" fmla="*/ 0 h 12"/>
                <a:gd name="T42" fmla="*/ 7 w 14"/>
                <a:gd name="T43" fmla="*/ 0 h 12"/>
                <a:gd name="T44" fmla="*/ 7 w 14"/>
                <a:gd name="T45" fmla="*/ 0 h 12"/>
                <a:gd name="T46" fmla="*/ 4 w 14"/>
                <a:gd name="T47" fmla="*/ 0 h 12"/>
                <a:gd name="T48" fmla="*/ 4 w 14"/>
                <a:gd name="T49" fmla="*/ 0 h 12"/>
                <a:gd name="T50" fmla="*/ 2 w 14"/>
                <a:gd name="T51" fmla="*/ 0 h 12"/>
                <a:gd name="T52" fmla="*/ 2 w 14"/>
                <a:gd name="T53" fmla="*/ 3 h 12"/>
                <a:gd name="T54" fmla="*/ 0 w 14"/>
                <a:gd name="T55" fmla="*/ 3 h 12"/>
                <a:gd name="T56" fmla="*/ 0 w 14"/>
                <a:gd name="T57" fmla="*/ 5 h 12"/>
                <a:gd name="T58" fmla="*/ 0 w 14"/>
                <a:gd name="T59" fmla="*/ 5 h 12"/>
                <a:gd name="T60" fmla="*/ 0 w 14"/>
                <a:gd name="T61" fmla="*/ 8 h 12"/>
                <a:gd name="T62" fmla="*/ 0 w 14"/>
                <a:gd name="T6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12">
                  <a:moveTo>
                    <a:pt x="0" y="10"/>
                  </a:move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4">
              <a:extLst>
                <a:ext uri="{FF2B5EF4-FFF2-40B4-BE49-F238E27FC236}">
                  <a16:creationId xmlns:a16="http://schemas.microsoft.com/office/drawing/2014/main" id="{C8D9A332-E68F-4703-B89F-C5C884341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5" y="2769"/>
              <a:ext cx="285" cy="275"/>
            </a:xfrm>
            <a:custGeom>
              <a:avLst/>
              <a:gdLst>
                <a:gd name="T0" fmla="*/ 283 w 285"/>
                <a:gd name="T1" fmla="*/ 140 h 275"/>
                <a:gd name="T2" fmla="*/ 275 w 285"/>
                <a:gd name="T3" fmla="*/ 128 h 275"/>
                <a:gd name="T4" fmla="*/ 266 w 285"/>
                <a:gd name="T5" fmla="*/ 113 h 275"/>
                <a:gd name="T6" fmla="*/ 251 w 285"/>
                <a:gd name="T7" fmla="*/ 103 h 275"/>
                <a:gd name="T8" fmla="*/ 234 w 285"/>
                <a:gd name="T9" fmla="*/ 96 h 275"/>
                <a:gd name="T10" fmla="*/ 167 w 285"/>
                <a:gd name="T11" fmla="*/ 93 h 275"/>
                <a:gd name="T12" fmla="*/ 224 w 285"/>
                <a:gd name="T13" fmla="*/ 64 h 275"/>
                <a:gd name="T14" fmla="*/ 226 w 285"/>
                <a:gd name="T15" fmla="*/ 59 h 275"/>
                <a:gd name="T16" fmla="*/ 226 w 285"/>
                <a:gd name="T17" fmla="*/ 13 h 275"/>
                <a:gd name="T18" fmla="*/ 221 w 285"/>
                <a:gd name="T19" fmla="*/ 10 h 275"/>
                <a:gd name="T20" fmla="*/ 157 w 285"/>
                <a:gd name="T21" fmla="*/ 3 h 275"/>
                <a:gd name="T22" fmla="*/ 155 w 285"/>
                <a:gd name="T23" fmla="*/ 8 h 275"/>
                <a:gd name="T24" fmla="*/ 59 w 285"/>
                <a:gd name="T25" fmla="*/ 96 h 275"/>
                <a:gd name="T26" fmla="*/ 40 w 285"/>
                <a:gd name="T27" fmla="*/ 98 h 275"/>
                <a:gd name="T28" fmla="*/ 25 w 285"/>
                <a:gd name="T29" fmla="*/ 108 h 275"/>
                <a:gd name="T30" fmla="*/ 10 w 285"/>
                <a:gd name="T31" fmla="*/ 125 h 275"/>
                <a:gd name="T32" fmla="*/ 3 w 285"/>
                <a:gd name="T33" fmla="*/ 140 h 275"/>
                <a:gd name="T34" fmla="*/ 0 w 285"/>
                <a:gd name="T35" fmla="*/ 157 h 275"/>
                <a:gd name="T36" fmla="*/ 285 w 285"/>
                <a:gd name="T37" fmla="*/ 275 h 275"/>
                <a:gd name="T38" fmla="*/ 167 w 285"/>
                <a:gd name="T39" fmla="*/ 15 h 275"/>
                <a:gd name="T40" fmla="*/ 214 w 285"/>
                <a:gd name="T41" fmla="*/ 52 h 275"/>
                <a:gd name="T42" fmla="*/ 167 w 285"/>
                <a:gd name="T43" fmla="*/ 15 h 275"/>
                <a:gd name="T44" fmla="*/ 15 w 285"/>
                <a:gd name="T45" fmla="*/ 263 h 275"/>
                <a:gd name="T46" fmla="*/ 17 w 285"/>
                <a:gd name="T47" fmla="*/ 138 h 275"/>
                <a:gd name="T48" fmla="*/ 27 w 285"/>
                <a:gd name="T49" fmla="*/ 123 h 275"/>
                <a:gd name="T50" fmla="*/ 44 w 285"/>
                <a:gd name="T51" fmla="*/ 111 h 275"/>
                <a:gd name="T52" fmla="*/ 59 w 285"/>
                <a:gd name="T53" fmla="*/ 108 h 275"/>
                <a:gd name="T54" fmla="*/ 71 w 285"/>
                <a:gd name="T55" fmla="*/ 143 h 275"/>
                <a:gd name="T56" fmla="*/ 84 w 285"/>
                <a:gd name="T57" fmla="*/ 111 h 275"/>
                <a:gd name="T58" fmla="*/ 101 w 285"/>
                <a:gd name="T59" fmla="*/ 123 h 275"/>
                <a:gd name="T60" fmla="*/ 111 w 285"/>
                <a:gd name="T61" fmla="*/ 140 h 275"/>
                <a:gd name="T62" fmla="*/ 116 w 285"/>
                <a:gd name="T63" fmla="*/ 157 h 275"/>
                <a:gd name="T64" fmla="*/ 270 w 285"/>
                <a:gd name="T65" fmla="*/ 263 h 275"/>
                <a:gd name="T66" fmla="*/ 128 w 285"/>
                <a:gd name="T67" fmla="*/ 150 h 275"/>
                <a:gd name="T68" fmla="*/ 123 w 285"/>
                <a:gd name="T69" fmla="*/ 133 h 275"/>
                <a:gd name="T70" fmla="*/ 113 w 285"/>
                <a:gd name="T71" fmla="*/ 116 h 275"/>
                <a:gd name="T72" fmla="*/ 155 w 285"/>
                <a:gd name="T73" fmla="*/ 108 h 275"/>
                <a:gd name="T74" fmla="*/ 160 w 285"/>
                <a:gd name="T75" fmla="*/ 194 h 275"/>
                <a:gd name="T76" fmla="*/ 160 w 285"/>
                <a:gd name="T77" fmla="*/ 194 h 275"/>
                <a:gd name="T78" fmla="*/ 165 w 285"/>
                <a:gd name="T79" fmla="*/ 192 h 275"/>
                <a:gd name="T80" fmla="*/ 167 w 285"/>
                <a:gd name="T81" fmla="*/ 187 h 275"/>
                <a:gd name="T82" fmla="*/ 229 w 285"/>
                <a:gd name="T83" fmla="*/ 108 h 275"/>
                <a:gd name="T84" fmla="*/ 246 w 285"/>
                <a:gd name="T85" fmla="*/ 113 h 275"/>
                <a:gd name="T86" fmla="*/ 261 w 285"/>
                <a:gd name="T87" fmla="*/ 125 h 275"/>
                <a:gd name="T88" fmla="*/ 268 w 285"/>
                <a:gd name="T89" fmla="*/ 143 h 275"/>
                <a:gd name="T90" fmla="*/ 270 w 285"/>
                <a:gd name="T91" fmla="*/ 157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5" h="275">
                  <a:moveTo>
                    <a:pt x="283" y="150"/>
                  </a:moveTo>
                  <a:lnTo>
                    <a:pt x="283" y="140"/>
                  </a:lnTo>
                  <a:lnTo>
                    <a:pt x="280" y="135"/>
                  </a:lnTo>
                  <a:lnTo>
                    <a:pt x="275" y="128"/>
                  </a:lnTo>
                  <a:lnTo>
                    <a:pt x="270" y="120"/>
                  </a:lnTo>
                  <a:lnTo>
                    <a:pt x="266" y="113"/>
                  </a:lnTo>
                  <a:lnTo>
                    <a:pt x="258" y="108"/>
                  </a:lnTo>
                  <a:lnTo>
                    <a:pt x="251" y="103"/>
                  </a:lnTo>
                  <a:lnTo>
                    <a:pt x="243" y="98"/>
                  </a:lnTo>
                  <a:lnTo>
                    <a:pt x="234" y="96"/>
                  </a:lnTo>
                  <a:lnTo>
                    <a:pt x="221" y="93"/>
                  </a:lnTo>
                  <a:lnTo>
                    <a:pt x="167" y="93"/>
                  </a:lnTo>
                  <a:lnTo>
                    <a:pt x="167" y="64"/>
                  </a:lnTo>
                  <a:lnTo>
                    <a:pt x="224" y="64"/>
                  </a:lnTo>
                  <a:lnTo>
                    <a:pt x="226" y="62"/>
                  </a:lnTo>
                  <a:lnTo>
                    <a:pt x="226" y="59"/>
                  </a:lnTo>
                  <a:lnTo>
                    <a:pt x="226" y="59"/>
                  </a:lnTo>
                  <a:lnTo>
                    <a:pt x="226" y="13"/>
                  </a:lnTo>
                  <a:lnTo>
                    <a:pt x="221" y="10"/>
                  </a:lnTo>
                  <a:lnTo>
                    <a:pt x="221" y="10"/>
                  </a:lnTo>
                  <a:lnTo>
                    <a:pt x="162" y="0"/>
                  </a:lnTo>
                  <a:lnTo>
                    <a:pt x="157" y="3"/>
                  </a:lnTo>
                  <a:lnTo>
                    <a:pt x="155" y="5"/>
                  </a:lnTo>
                  <a:lnTo>
                    <a:pt x="155" y="8"/>
                  </a:lnTo>
                  <a:lnTo>
                    <a:pt x="155" y="93"/>
                  </a:lnTo>
                  <a:lnTo>
                    <a:pt x="59" y="96"/>
                  </a:lnTo>
                  <a:lnTo>
                    <a:pt x="49" y="96"/>
                  </a:lnTo>
                  <a:lnTo>
                    <a:pt x="40" y="98"/>
                  </a:lnTo>
                  <a:lnTo>
                    <a:pt x="32" y="103"/>
                  </a:lnTo>
                  <a:lnTo>
                    <a:pt x="25" y="108"/>
                  </a:lnTo>
                  <a:lnTo>
                    <a:pt x="15" y="118"/>
                  </a:lnTo>
                  <a:lnTo>
                    <a:pt x="10" y="125"/>
                  </a:lnTo>
                  <a:lnTo>
                    <a:pt x="5" y="133"/>
                  </a:lnTo>
                  <a:lnTo>
                    <a:pt x="3" y="140"/>
                  </a:lnTo>
                  <a:lnTo>
                    <a:pt x="3" y="150"/>
                  </a:lnTo>
                  <a:lnTo>
                    <a:pt x="0" y="157"/>
                  </a:lnTo>
                  <a:lnTo>
                    <a:pt x="0" y="275"/>
                  </a:lnTo>
                  <a:lnTo>
                    <a:pt x="285" y="275"/>
                  </a:lnTo>
                  <a:lnTo>
                    <a:pt x="283" y="150"/>
                  </a:lnTo>
                  <a:close/>
                  <a:moveTo>
                    <a:pt x="167" y="15"/>
                  </a:moveTo>
                  <a:lnTo>
                    <a:pt x="214" y="22"/>
                  </a:lnTo>
                  <a:lnTo>
                    <a:pt x="214" y="52"/>
                  </a:lnTo>
                  <a:lnTo>
                    <a:pt x="167" y="52"/>
                  </a:lnTo>
                  <a:lnTo>
                    <a:pt x="167" y="15"/>
                  </a:lnTo>
                  <a:close/>
                  <a:moveTo>
                    <a:pt x="116" y="263"/>
                  </a:moveTo>
                  <a:lnTo>
                    <a:pt x="15" y="263"/>
                  </a:lnTo>
                  <a:lnTo>
                    <a:pt x="15" y="150"/>
                  </a:lnTo>
                  <a:lnTo>
                    <a:pt x="17" y="138"/>
                  </a:lnTo>
                  <a:lnTo>
                    <a:pt x="22" y="128"/>
                  </a:lnTo>
                  <a:lnTo>
                    <a:pt x="27" y="123"/>
                  </a:lnTo>
                  <a:lnTo>
                    <a:pt x="37" y="116"/>
                  </a:lnTo>
                  <a:lnTo>
                    <a:pt x="44" y="111"/>
                  </a:lnTo>
                  <a:lnTo>
                    <a:pt x="54" y="108"/>
                  </a:lnTo>
                  <a:lnTo>
                    <a:pt x="59" y="108"/>
                  </a:lnTo>
                  <a:lnTo>
                    <a:pt x="59" y="143"/>
                  </a:lnTo>
                  <a:lnTo>
                    <a:pt x="71" y="143"/>
                  </a:lnTo>
                  <a:lnTo>
                    <a:pt x="71" y="108"/>
                  </a:lnTo>
                  <a:lnTo>
                    <a:pt x="84" y="111"/>
                  </a:lnTo>
                  <a:lnTo>
                    <a:pt x="91" y="116"/>
                  </a:lnTo>
                  <a:lnTo>
                    <a:pt x="101" y="123"/>
                  </a:lnTo>
                  <a:lnTo>
                    <a:pt x="108" y="130"/>
                  </a:lnTo>
                  <a:lnTo>
                    <a:pt x="111" y="140"/>
                  </a:lnTo>
                  <a:lnTo>
                    <a:pt x="113" y="147"/>
                  </a:lnTo>
                  <a:lnTo>
                    <a:pt x="116" y="157"/>
                  </a:lnTo>
                  <a:lnTo>
                    <a:pt x="116" y="263"/>
                  </a:lnTo>
                  <a:close/>
                  <a:moveTo>
                    <a:pt x="270" y="263"/>
                  </a:moveTo>
                  <a:lnTo>
                    <a:pt x="128" y="263"/>
                  </a:lnTo>
                  <a:lnTo>
                    <a:pt x="128" y="150"/>
                  </a:lnTo>
                  <a:lnTo>
                    <a:pt x="126" y="140"/>
                  </a:lnTo>
                  <a:lnTo>
                    <a:pt x="123" y="133"/>
                  </a:lnTo>
                  <a:lnTo>
                    <a:pt x="118" y="125"/>
                  </a:lnTo>
                  <a:lnTo>
                    <a:pt x="113" y="116"/>
                  </a:lnTo>
                  <a:lnTo>
                    <a:pt x="103" y="108"/>
                  </a:lnTo>
                  <a:lnTo>
                    <a:pt x="155" y="108"/>
                  </a:lnTo>
                  <a:lnTo>
                    <a:pt x="155" y="192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2" y="194"/>
                  </a:lnTo>
                  <a:lnTo>
                    <a:pt x="165" y="192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08"/>
                  </a:lnTo>
                  <a:lnTo>
                    <a:pt x="229" y="108"/>
                  </a:lnTo>
                  <a:lnTo>
                    <a:pt x="236" y="108"/>
                  </a:lnTo>
                  <a:lnTo>
                    <a:pt x="246" y="113"/>
                  </a:lnTo>
                  <a:lnTo>
                    <a:pt x="253" y="118"/>
                  </a:lnTo>
                  <a:lnTo>
                    <a:pt x="261" y="125"/>
                  </a:lnTo>
                  <a:lnTo>
                    <a:pt x="266" y="133"/>
                  </a:lnTo>
                  <a:lnTo>
                    <a:pt x="268" y="143"/>
                  </a:lnTo>
                  <a:lnTo>
                    <a:pt x="270" y="150"/>
                  </a:lnTo>
                  <a:lnTo>
                    <a:pt x="270" y="157"/>
                  </a:lnTo>
                  <a:lnTo>
                    <a:pt x="270" y="26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1" name="Group 197">
            <a:extLst>
              <a:ext uri="{FF2B5EF4-FFF2-40B4-BE49-F238E27FC236}">
                <a16:creationId xmlns:a16="http://schemas.microsoft.com/office/drawing/2014/main" id="{50C2DB37-F127-420C-A2CF-FCD061859D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466" y="4088886"/>
            <a:ext cx="841375" cy="841375"/>
            <a:chOff x="3057" y="2583"/>
            <a:chExt cx="530" cy="530"/>
          </a:xfrm>
        </p:grpSpPr>
        <p:sp>
          <p:nvSpPr>
            <p:cNvPr id="232" name="AutoShape 196">
              <a:extLst>
                <a:ext uri="{FF2B5EF4-FFF2-40B4-BE49-F238E27FC236}">
                  <a16:creationId xmlns:a16="http://schemas.microsoft.com/office/drawing/2014/main" id="{EA0CCCE3-FBE5-4B95-8E8A-CD9E5FF7B1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57" y="25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Oval 198">
              <a:extLst>
                <a:ext uri="{FF2B5EF4-FFF2-40B4-BE49-F238E27FC236}">
                  <a16:creationId xmlns:a16="http://schemas.microsoft.com/office/drawing/2014/main" id="{ECA0D313-EB96-4155-BFDA-3A416A354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25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99">
              <a:extLst>
                <a:ext uri="{FF2B5EF4-FFF2-40B4-BE49-F238E27FC236}">
                  <a16:creationId xmlns:a16="http://schemas.microsoft.com/office/drawing/2014/main" id="{69F76215-EAB2-4B56-B37B-8ACD5ECE2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5" y="26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200">
              <a:extLst>
                <a:ext uri="{FF2B5EF4-FFF2-40B4-BE49-F238E27FC236}">
                  <a16:creationId xmlns:a16="http://schemas.microsoft.com/office/drawing/2014/main" id="{268FADF1-3C09-4CC7-89A6-81A5287ED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" y="2929"/>
              <a:ext cx="15" cy="12"/>
            </a:xfrm>
            <a:custGeom>
              <a:avLst/>
              <a:gdLst>
                <a:gd name="T0" fmla="*/ 2 w 15"/>
                <a:gd name="T1" fmla="*/ 0 h 12"/>
                <a:gd name="T2" fmla="*/ 2 w 15"/>
                <a:gd name="T3" fmla="*/ 2 h 12"/>
                <a:gd name="T4" fmla="*/ 2 w 15"/>
                <a:gd name="T5" fmla="*/ 2 h 12"/>
                <a:gd name="T6" fmla="*/ 0 w 15"/>
                <a:gd name="T7" fmla="*/ 5 h 12"/>
                <a:gd name="T8" fmla="*/ 0 w 15"/>
                <a:gd name="T9" fmla="*/ 5 h 12"/>
                <a:gd name="T10" fmla="*/ 0 w 15"/>
                <a:gd name="T11" fmla="*/ 7 h 12"/>
                <a:gd name="T12" fmla="*/ 2 w 15"/>
                <a:gd name="T13" fmla="*/ 10 h 12"/>
                <a:gd name="T14" fmla="*/ 2 w 15"/>
                <a:gd name="T15" fmla="*/ 10 h 12"/>
                <a:gd name="T16" fmla="*/ 2 w 15"/>
                <a:gd name="T17" fmla="*/ 10 h 12"/>
                <a:gd name="T18" fmla="*/ 5 w 15"/>
                <a:gd name="T19" fmla="*/ 12 h 12"/>
                <a:gd name="T20" fmla="*/ 5 w 15"/>
                <a:gd name="T21" fmla="*/ 12 h 12"/>
                <a:gd name="T22" fmla="*/ 7 w 15"/>
                <a:gd name="T23" fmla="*/ 12 h 12"/>
                <a:gd name="T24" fmla="*/ 7 w 15"/>
                <a:gd name="T25" fmla="*/ 12 h 12"/>
                <a:gd name="T26" fmla="*/ 10 w 15"/>
                <a:gd name="T27" fmla="*/ 12 h 12"/>
                <a:gd name="T28" fmla="*/ 10 w 15"/>
                <a:gd name="T29" fmla="*/ 12 h 12"/>
                <a:gd name="T30" fmla="*/ 13 w 15"/>
                <a:gd name="T31" fmla="*/ 12 h 12"/>
                <a:gd name="T32" fmla="*/ 13 w 15"/>
                <a:gd name="T33" fmla="*/ 10 h 12"/>
                <a:gd name="T34" fmla="*/ 15 w 15"/>
                <a:gd name="T35" fmla="*/ 10 h 12"/>
                <a:gd name="T36" fmla="*/ 15 w 15"/>
                <a:gd name="T37" fmla="*/ 10 h 12"/>
                <a:gd name="T38" fmla="*/ 15 w 15"/>
                <a:gd name="T39" fmla="*/ 7 h 12"/>
                <a:gd name="T40" fmla="*/ 15 w 15"/>
                <a:gd name="T41" fmla="*/ 5 h 12"/>
                <a:gd name="T42" fmla="*/ 15 w 15"/>
                <a:gd name="T43" fmla="*/ 5 h 12"/>
                <a:gd name="T44" fmla="*/ 15 w 15"/>
                <a:gd name="T45" fmla="*/ 2 h 12"/>
                <a:gd name="T46" fmla="*/ 15 w 15"/>
                <a:gd name="T47" fmla="*/ 2 h 12"/>
                <a:gd name="T48" fmla="*/ 13 w 15"/>
                <a:gd name="T49" fmla="*/ 0 h 12"/>
                <a:gd name="T50" fmla="*/ 13 w 15"/>
                <a:gd name="T51" fmla="*/ 0 h 12"/>
                <a:gd name="T52" fmla="*/ 10 w 15"/>
                <a:gd name="T53" fmla="*/ 0 h 12"/>
                <a:gd name="T54" fmla="*/ 10 w 15"/>
                <a:gd name="T55" fmla="*/ 0 h 12"/>
                <a:gd name="T56" fmla="*/ 7 w 15"/>
                <a:gd name="T57" fmla="*/ 0 h 12"/>
                <a:gd name="T58" fmla="*/ 7 w 15"/>
                <a:gd name="T59" fmla="*/ 0 h 12"/>
                <a:gd name="T60" fmla="*/ 5 w 15"/>
                <a:gd name="T61" fmla="*/ 0 h 12"/>
                <a:gd name="T62" fmla="*/ 5 w 15"/>
                <a:gd name="T6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1">
              <a:extLst>
                <a:ext uri="{FF2B5EF4-FFF2-40B4-BE49-F238E27FC236}">
                  <a16:creationId xmlns:a16="http://schemas.microsoft.com/office/drawing/2014/main" id="{25790D42-F479-4D6B-B13C-DF16B0BF3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" y="2898"/>
              <a:ext cx="67" cy="15"/>
            </a:xfrm>
            <a:custGeom>
              <a:avLst/>
              <a:gdLst>
                <a:gd name="T0" fmla="*/ 0 w 67"/>
                <a:gd name="T1" fmla="*/ 10 h 15"/>
                <a:gd name="T2" fmla="*/ 0 w 67"/>
                <a:gd name="T3" fmla="*/ 10 h 15"/>
                <a:gd name="T4" fmla="*/ 3 w 67"/>
                <a:gd name="T5" fmla="*/ 13 h 15"/>
                <a:gd name="T6" fmla="*/ 3 w 67"/>
                <a:gd name="T7" fmla="*/ 13 h 15"/>
                <a:gd name="T8" fmla="*/ 3 w 67"/>
                <a:gd name="T9" fmla="*/ 15 h 15"/>
                <a:gd name="T10" fmla="*/ 5 w 67"/>
                <a:gd name="T11" fmla="*/ 15 h 15"/>
                <a:gd name="T12" fmla="*/ 8 w 67"/>
                <a:gd name="T13" fmla="*/ 15 h 15"/>
                <a:gd name="T14" fmla="*/ 61 w 67"/>
                <a:gd name="T15" fmla="*/ 15 h 15"/>
                <a:gd name="T16" fmla="*/ 64 w 67"/>
                <a:gd name="T17" fmla="*/ 15 h 15"/>
                <a:gd name="T18" fmla="*/ 64 w 67"/>
                <a:gd name="T19" fmla="*/ 13 h 15"/>
                <a:gd name="T20" fmla="*/ 67 w 67"/>
                <a:gd name="T21" fmla="*/ 13 h 15"/>
                <a:gd name="T22" fmla="*/ 67 w 67"/>
                <a:gd name="T23" fmla="*/ 13 h 15"/>
                <a:gd name="T24" fmla="*/ 67 w 67"/>
                <a:gd name="T25" fmla="*/ 10 h 15"/>
                <a:gd name="T26" fmla="*/ 67 w 67"/>
                <a:gd name="T27" fmla="*/ 10 h 15"/>
                <a:gd name="T28" fmla="*/ 67 w 67"/>
                <a:gd name="T29" fmla="*/ 8 h 15"/>
                <a:gd name="T30" fmla="*/ 67 w 67"/>
                <a:gd name="T31" fmla="*/ 8 h 15"/>
                <a:gd name="T32" fmla="*/ 67 w 67"/>
                <a:gd name="T33" fmla="*/ 5 h 15"/>
                <a:gd name="T34" fmla="*/ 67 w 67"/>
                <a:gd name="T35" fmla="*/ 5 h 15"/>
                <a:gd name="T36" fmla="*/ 67 w 67"/>
                <a:gd name="T37" fmla="*/ 2 h 15"/>
                <a:gd name="T38" fmla="*/ 67 w 67"/>
                <a:gd name="T39" fmla="*/ 2 h 15"/>
                <a:gd name="T40" fmla="*/ 64 w 67"/>
                <a:gd name="T41" fmla="*/ 2 h 15"/>
                <a:gd name="T42" fmla="*/ 64 w 67"/>
                <a:gd name="T43" fmla="*/ 0 h 15"/>
                <a:gd name="T44" fmla="*/ 61 w 67"/>
                <a:gd name="T45" fmla="*/ 0 h 15"/>
                <a:gd name="T46" fmla="*/ 8 w 67"/>
                <a:gd name="T47" fmla="*/ 0 h 15"/>
                <a:gd name="T48" fmla="*/ 5 w 67"/>
                <a:gd name="T49" fmla="*/ 0 h 15"/>
                <a:gd name="T50" fmla="*/ 3 w 67"/>
                <a:gd name="T51" fmla="*/ 0 h 15"/>
                <a:gd name="T52" fmla="*/ 3 w 67"/>
                <a:gd name="T53" fmla="*/ 2 h 15"/>
                <a:gd name="T54" fmla="*/ 3 w 67"/>
                <a:gd name="T55" fmla="*/ 2 h 15"/>
                <a:gd name="T56" fmla="*/ 0 w 67"/>
                <a:gd name="T57" fmla="*/ 2 h 15"/>
                <a:gd name="T58" fmla="*/ 0 w 67"/>
                <a:gd name="T59" fmla="*/ 5 h 15"/>
                <a:gd name="T60" fmla="*/ 0 w 67"/>
                <a:gd name="T61" fmla="*/ 5 h 15"/>
                <a:gd name="T62" fmla="*/ 0 w 67"/>
                <a:gd name="T63" fmla="*/ 8 h 15"/>
                <a:gd name="T64" fmla="*/ 0 w 67"/>
                <a:gd name="T6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" h="15"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2">
              <a:extLst>
                <a:ext uri="{FF2B5EF4-FFF2-40B4-BE49-F238E27FC236}">
                  <a16:creationId xmlns:a16="http://schemas.microsoft.com/office/drawing/2014/main" id="{57DC175C-BDC5-4D43-A216-6C9063262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4" y="2929"/>
              <a:ext cx="16" cy="12"/>
            </a:xfrm>
            <a:custGeom>
              <a:avLst/>
              <a:gdLst>
                <a:gd name="T0" fmla="*/ 16 w 16"/>
                <a:gd name="T1" fmla="*/ 2 h 12"/>
                <a:gd name="T2" fmla="*/ 13 w 16"/>
                <a:gd name="T3" fmla="*/ 2 h 12"/>
                <a:gd name="T4" fmla="*/ 13 w 16"/>
                <a:gd name="T5" fmla="*/ 0 h 12"/>
                <a:gd name="T6" fmla="*/ 11 w 16"/>
                <a:gd name="T7" fmla="*/ 0 h 12"/>
                <a:gd name="T8" fmla="*/ 11 w 16"/>
                <a:gd name="T9" fmla="*/ 0 h 12"/>
                <a:gd name="T10" fmla="*/ 8 w 16"/>
                <a:gd name="T11" fmla="*/ 0 h 12"/>
                <a:gd name="T12" fmla="*/ 8 w 16"/>
                <a:gd name="T13" fmla="*/ 0 h 12"/>
                <a:gd name="T14" fmla="*/ 6 w 16"/>
                <a:gd name="T15" fmla="*/ 0 h 12"/>
                <a:gd name="T16" fmla="*/ 6 w 16"/>
                <a:gd name="T17" fmla="*/ 0 h 12"/>
                <a:gd name="T18" fmla="*/ 3 w 16"/>
                <a:gd name="T19" fmla="*/ 0 h 12"/>
                <a:gd name="T20" fmla="*/ 3 w 16"/>
                <a:gd name="T21" fmla="*/ 2 h 12"/>
                <a:gd name="T22" fmla="*/ 3 w 16"/>
                <a:gd name="T23" fmla="*/ 2 h 12"/>
                <a:gd name="T24" fmla="*/ 0 w 16"/>
                <a:gd name="T25" fmla="*/ 5 h 12"/>
                <a:gd name="T26" fmla="*/ 0 w 16"/>
                <a:gd name="T27" fmla="*/ 5 h 12"/>
                <a:gd name="T28" fmla="*/ 0 w 16"/>
                <a:gd name="T29" fmla="*/ 7 h 12"/>
                <a:gd name="T30" fmla="*/ 0 w 16"/>
                <a:gd name="T31" fmla="*/ 7 h 12"/>
                <a:gd name="T32" fmla="*/ 3 w 16"/>
                <a:gd name="T33" fmla="*/ 10 h 12"/>
                <a:gd name="T34" fmla="*/ 3 w 16"/>
                <a:gd name="T35" fmla="*/ 10 h 12"/>
                <a:gd name="T36" fmla="*/ 3 w 16"/>
                <a:gd name="T37" fmla="*/ 12 h 12"/>
                <a:gd name="T38" fmla="*/ 6 w 16"/>
                <a:gd name="T39" fmla="*/ 12 h 12"/>
                <a:gd name="T40" fmla="*/ 6 w 16"/>
                <a:gd name="T41" fmla="*/ 12 h 12"/>
                <a:gd name="T42" fmla="*/ 8 w 16"/>
                <a:gd name="T43" fmla="*/ 12 h 12"/>
                <a:gd name="T44" fmla="*/ 8 w 16"/>
                <a:gd name="T45" fmla="*/ 12 h 12"/>
                <a:gd name="T46" fmla="*/ 11 w 16"/>
                <a:gd name="T47" fmla="*/ 12 h 12"/>
                <a:gd name="T48" fmla="*/ 11 w 16"/>
                <a:gd name="T49" fmla="*/ 12 h 12"/>
                <a:gd name="T50" fmla="*/ 13 w 16"/>
                <a:gd name="T51" fmla="*/ 12 h 12"/>
                <a:gd name="T52" fmla="*/ 13 w 16"/>
                <a:gd name="T53" fmla="*/ 10 h 12"/>
                <a:gd name="T54" fmla="*/ 16 w 16"/>
                <a:gd name="T55" fmla="*/ 10 h 12"/>
                <a:gd name="T56" fmla="*/ 16 w 16"/>
                <a:gd name="T57" fmla="*/ 7 h 12"/>
                <a:gd name="T58" fmla="*/ 16 w 16"/>
                <a:gd name="T59" fmla="*/ 7 h 12"/>
                <a:gd name="T60" fmla="*/ 16 w 16"/>
                <a:gd name="T61" fmla="*/ 5 h 12"/>
                <a:gd name="T62" fmla="*/ 16 w 16"/>
                <a:gd name="T6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" h="12">
                  <a:moveTo>
                    <a:pt x="16" y="2"/>
                  </a:moveTo>
                  <a:lnTo>
                    <a:pt x="16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03">
              <a:extLst>
                <a:ext uri="{FF2B5EF4-FFF2-40B4-BE49-F238E27FC236}">
                  <a16:creationId xmlns:a16="http://schemas.microsoft.com/office/drawing/2014/main" id="{B7748AD9-DE95-4EBE-97C4-FCF5708D8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3" y="2929"/>
              <a:ext cx="15" cy="12"/>
            </a:xfrm>
            <a:custGeom>
              <a:avLst/>
              <a:gdLst>
                <a:gd name="T0" fmla="*/ 0 w 15"/>
                <a:gd name="T1" fmla="*/ 10 h 12"/>
                <a:gd name="T2" fmla="*/ 3 w 15"/>
                <a:gd name="T3" fmla="*/ 10 h 12"/>
                <a:gd name="T4" fmla="*/ 3 w 15"/>
                <a:gd name="T5" fmla="*/ 12 h 12"/>
                <a:gd name="T6" fmla="*/ 5 w 15"/>
                <a:gd name="T7" fmla="*/ 12 h 12"/>
                <a:gd name="T8" fmla="*/ 5 w 15"/>
                <a:gd name="T9" fmla="*/ 12 h 12"/>
                <a:gd name="T10" fmla="*/ 8 w 15"/>
                <a:gd name="T11" fmla="*/ 12 h 12"/>
                <a:gd name="T12" fmla="*/ 8 w 15"/>
                <a:gd name="T13" fmla="*/ 12 h 12"/>
                <a:gd name="T14" fmla="*/ 10 w 15"/>
                <a:gd name="T15" fmla="*/ 12 h 12"/>
                <a:gd name="T16" fmla="*/ 10 w 15"/>
                <a:gd name="T17" fmla="*/ 12 h 12"/>
                <a:gd name="T18" fmla="*/ 13 w 15"/>
                <a:gd name="T19" fmla="*/ 12 h 12"/>
                <a:gd name="T20" fmla="*/ 13 w 15"/>
                <a:gd name="T21" fmla="*/ 10 h 12"/>
                <a:gd name="T22" fmla="*/ 13 w 15"/>
                <a:gd name="T23" fmla="*/ 10 h 12"/>
                <a:gd name="T24" fmla="*/ 15 w 15"/>
                <a:gd name="T25" fmla="*/ 7 h 12"/>
                <a:gd name="T26" fmla="*/ 15 w 15"/>
                <a:gd name="T27" fmla="*/ 7 h 12"/>
                <a:gd name="T28" fmla="*/ 15 w 15"/>
                <a:gd name="T29" fmla="*/ 5 h 12"/>
                <a:gd name="T30" fmla="*/ 15 w 15"/>
                <a:gd name="T31" fmla="*/ 5 h 12"/>
                <a:gd name="T32" fmla="*/ 13 w 15"/>
                <a:gd name="T33" fmla="*/ 2 h 12"/>
                <a:gd name="T34" fmla="*/ 13 w 15"/>
                <a:gd name="T35" fmla="*/ 2 h 12"/>
                <a:gd name="T36" fmla="*/ 13 w 15"/>
                <a:gd name="T37" fmla="*/ 0 h 12"/>
                <a:gd name="T38" fmla="*/ 10 w 15"/>
                <a:gd name="T39" fmla="*/ 0 h 12"/>
                <a:gd name="T40" fmla="*/ 10 w 15"/>
                <a:gd name="T41" fmla="*/ 0 h 12"/>
                <a:gd name="T42" fmla="*/ 8 w 15"/>
                <a:gd name="T43" fmla="*/ 0 h 12"/>
                <a:gd name="T44" fmla="*/ 8 w 15"/>
                <a:gd name="T45" fmla="*/ 0 h 12"/>
                <a:gd name="T46" fmla="*/ 5 w 15"/>
                <a:gd name="T47" fmla="*/ 0 h 12"/>
                <a:gd name="T48" fmla="*/ 5 w 15"/>
                <a:gd name="T49" fmla="*/ 0 h 12"/>
                <a:gd name="T50" fmla="*/ 3 w 15"/>
                <a:gd name="T51" fmla="*/ 0 h 12"/>
                <a:gd name="T52" fmla="*/ 3 w 15"/>
                <a:gd name="T53" fmla="*/ 2 h 12"/>
                <a:gd name="T54" fmla="*/ 0 w 15"/>
                <a:gd name="T55" fmla="*/ 2 h 12"/>
                <a:gd name="T56" fmla="*/ 0 w 15"/>
                <a:gd name="T57" fmla="*/ 5 h 12"/>
                <a:gd name="T58" fmla="*/ 0 w 15"/>
                <a:gd name="T59" fmla="*/ 5 h 12"/>
                <a:gd name="T60" fmla="*/ 0 w 15"/>
                <a:gd name="T61" fmla="*/ 7 h 12"/>
                <a:gd name="T62" fmla="*/ 0 w 15"/>
                <a:gd name="T6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" h="12">
                  <a:moveTo>
                    <a:pt x="0" y="10"/>
                  </a:move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04">
              <a:extLst>
                <a:ext uri="{FF2B5EF4-FFF2-40B4-BE49-F238E27FC236}">
                  <a16:creationId xmlns:a16="http://schemas.microsoft.com/office/drawing/2014/main" id="{B077D5C2-5D2E-4517-B31E-8ADAABB23F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" y="2685"/>
              <a:ext cx="297" cy="287"/>
            </a:xfrm>
            <a:custGeom>
              <a:avLst/>
              <a:gdLst>
                <a:gd name="T0" fmla="*/ 294 w 297"/>
                <a:gd name="T1" fmla="*/ 146 h 287"/>
                <a:gd name="T2" fmla="*/ 286 w 297"/>
                <a:gd name="T3" fmla="*/ 133 h 287"/>
                <a:gd name="T4" fmla="*/ 276 w 297"/>
                <a:gd name="T5" fmla="*/ 118 h 287"/>
                <a:gd name="T6" fmla="*/ 261 w 297"/>
                <a:gd name="T7" fmla="*/ 108 h 287"/>
                <a:gd name="T8" fmla="*/ 243 w 297"/>
                <a:gd name="T9" fmla="*/ 100 h 287"/>
                <a:gd name="T10" fmla="*/ 174 w 297"/>
                <a:gd name="T11" fmla="*/ 98 h 287"/>
                <a:gd name="T12" fmla="*/ 233 w 297"/>
                <a:gd name="T13" fmla="*/ 67 h 287"/>
                <a:gd name="T14" fmla="*/ 235 w 297"/>
                <a:gd name="T15" fmla="*/ 62 h 287"/>
                <a:gd name="T16" fmla="*/ 235 w 297"/>
                <a:gd name="T17" fmla="*/ 13 h 287"/>
                <a:gd name="T18" fmla="*/ 230 w 297"/>
                <a:gd name="T19" fmla="*/ 11 h 287"/>
                <a:gd name="T20" fmla="*/ 164 w 297"/>
                <a:gd name="T21" fmla="*/ 3 h 287"/>
                <a:gd name="T22" fmla="*/ 161 w 297"/>
                <a:gd name="T23" fmla="*/ 8 h 287"/>
                <a:gd name="T24" fmla="*/ 61 w 297"/>
                <a:gd name="T25" fmla="*/ 100 h 287"/>
                <a:gd name="T26" fmla="*/ 41 w 297"/>
                <a:gd name="T27" fmla="*/ 103 h 287"/>
                <a:gd name="T28" fmla="*/ 25 w 297"/>
                <a:gd name="T29" fmla="*/ 113 h 287"/>
                <a:gd name="T30" fmla="*/ 10 w 297"/>
                <a:gd name="T31" fmla="*/ 131 h 287"/>
                <a:gd name="T32" fmla="*/ 2 w 297"/>
                <a:gd name="T33" fmla="*/ 146 h 287"/>
                <a:gd name="T34" fmla="*/ 0 w 297"/>
                <a:gd name="T35" fmla="*/ 164 h 287"/>
                <a:gd name="T36" fmla="*/ 297 w 297"/>
                <a:gd name="T37" fmla="*/ 287 h 287"/>
                <a:gd name="T38" fmla="*/ 174 w 297"/>
                <a:gd name="T39" fmla="*/ 16 h 287"/>
                <a:gd name="T40" fmla="*/ 222 w 297"/>
                <a:gd name="T41" fmla="*/ 54 h 287"/>
                <a:gd name="T42" fmla="*/ 174 w 297"/>
                <a:gd name="T43" fmla="*/ 16 h 287"/>
                <a:gd name="T44" fmla="*/ 15 w 297"/>
                <a:gd name="T45" fmla="*/ 274 h 287"/>
                <a:gd name="T46" fmla="*/ 18 w 297"/>
                <a:gd name="T47" fmla="*/ 144 h 287"/>
                <a:gd name="T48" fmla="*/ 28 w 297"/>
                <a:gd name="T49" fmla="*/ 128 h 287"/>
                <a:gd name="T50" fmla="*/ 46 w 297"/>
                <a:gd name="T51" fmla="*/ 116 h 287"/>
                <a:gd name="T52" fmla="*/ 61 w 297"/>
                <a:gd name="T53" fmla="*/ 113 h 287"/>
                <a:gd name="T54" fmla="*/ 74 w 297"/>
                <a:gd name="T55" fmla="*/ 149 h 287"/>
                <a:gd name="T56" fmla="*/ 87 w 297"/>
                <a:gd name="T57" fmla="*/ 116 h 287"/>
                <a:gd name="T58" fmla="*/ 105 w 297"/>
                <a:gd name="T59" fmla="*/ 128 h 287"/>
                <a:gd name="T60" fmla="*/ 115 w 297"/>
                <a:gd name="T61" fmla="*/ 146 h 287"/>
                <a:gd name="T62" fmla="*/ 120 w 297"/>
                <a:gd name="T63" fmla="*/ 164 h 287"/>
                <a:gd name="T64" fmla="*/ 281 w 297"/>
                <a:gd name="T65" fmla="*/ 274 h 287"/>
                <a:gd name="T66" fmla="*/ 133 w 297"/>
                <a:gd name="T67" fmla="*/ 156 h 287"/>
                <a:gd name="T68" fmla="*/ 128 w 297"/>
                <a:gd name="T69" fmla="*/ 139 h 287"/>
                <a:gd name="T70" fmla="*/ 117 w 297"/>
                <a:gd name="T71" fmla="*/ 121 h 287"/>
                <a:gd name="T72" fmla="*/ 161 w 297"/>
                <a:gd name="T73" fmla="*/ 113 h 287"/>
                <a:gd name="T74" fmla="*/ 166 w 297"/>
                <a:gd name="T75" fmla="*/ 203 h 287"/>
                <a:gd name="T76" fmla="*/ 166 w 297"/>
                <a:gd name="T77" fmla="*/ 203 h 287"/>
                <a:gd name="T78" fmla="*/ 171 w 297"/>
                <a:gd name="T79" fmla="*/ 200 h 287"/>
                <a:gd name="T80" fmla="*/ 174 w 297"/>
                <a:gd name="T81" fmla="*/ 195 h 287"/>
                <a:gd name="T82" fmla="*/ 238 w 297"/>
                <a:gd name="T83" fmla="*/ 113 h 287"/>
                <a:gd name="T84" fmla="*/ 256 w 297"/>
                <a:gd name="T85" fmla="*/ 118 h 287"/>
                <a:gd name="T86" fmla="*/ 271 w 297"/>
                <a:gd name="T87" fmla="*/ 131 h 287"/>
                <a:gd name="T88" fmla="*/ 279 w 297"/>
                <a:gd name="T89" fmla="*/ 149 h 287"/>
                <a:gd name="T90" fmla="*/ 281 w 297"/>
                <a:gd name="T91" fmla="*/ 16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7" h="287">
                  <a:moveTo>
                    <a:pt x="294" y="156"/>
                  </a:moveTo>
                  <a:lnTo>
                    <a:pt x="294" y="146"/>
                  </a:lnTo>
                  <a:lnTo>
                    <a:pt x="292" y="141"/>
                  </a:lnTo>
                  <a:lnTo>
                    <a:pt x="286" y="133"/>
                  </a:lnTo>
                  <a:lnTo>
                    <a:pt x="281" y="126"/>
                  </a:lnTo>
                  <a:lnTo>
                    <a:pt x="276" y="118"/>
                  </a:lnTo>
                  <a:lnTo>
                    <a:pt x="269" y="113"/>
                  </a:lnTo>
                  <a:lnTo>
                    <a:pt x="261" y="108"/>
                  </a:lnTo>
                  <a:lnTo>
                    <a:pt x="253" y="103"/>
                  </a:lnTo>
                  <a:lnTo>
                    <a:pt x="243" y="100"/>
                  </a:lnTo>
                  <a:lnTo>
                    <a:pt x="230" y="98"/>
                  </a:lnTo>
                  <a:lnTo>
                    <a:pt x="174" y="98"/>
                  </a:lnTo>
                  <a:lnTo>
                    <a:pt x="174" y="67"/>
                  </a:lnTo>
                  <a:lnTo>
                    <a:pt x="233" y="67"/>
                  </a:lnTo>
                  <a:lnTo>
                    <a:pt x="235" y="64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5" y="13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169" y="0"/>
                  </a:lnTo>
                  <a:lnTo>
                    <a:pt x="164" y="3"/>
                  </a:lnTo>
                  <a:lnTo>
                    <a:pt x="161" y="5"/>
                  </a:lnTo>
                  <a:lnTo>
                    <a:pt x="161" y="8"/>
                  </a:lnTo>
                  <a:lnTo>
                    <a:pt x="161" y="98"/>
                  </a:lnTo>
                  <a:lnTo>
                    <a:pt x="61" y="100"/>
                  </a:lnTo>
                  <a:lnTo>
                    <a:pt x="51" y="100"/>
                  </a:lnTo>
                  <a:lnTo>
                    <a:pt x="41" y="103"/>
                  </a:lnTo>
                  <a:lnTo>
                    <a:pt x="33" y="108"/>
                  </a:lnTo>
                  <a:lnTo>
                    <a:pt x="25" y="113"/>
                  </a:lnTo>
                  <a:lnTo>
                    <a:pt x="15" y="123"/>
                  </a:lnTo>
                  <a:lnTo>
                    <a:pt x="10" y="131"/>
                  </a:lnTo>
                  <a:lnTo>
                    <a:pt x="5" y="139"/>
                  </a:lnTo>
                  <a:lnTo>
                    <a:pt x="2" y="146"/>
                  </a:lnTo>
                  <a:lnTo>
                    <a:pt x="2" y="156"/>
                  </a:lnTo>
                  <a:lnTo>
                    <a:pt x="0" y="164"/>
                  </a:lnTo>
                  <a:lnTo>
                    <a:pt x="0" y="287"/>
                  </a:lnTo>
                  <a:lnTo>
                    <a:pt x="297" y="287"/>
                  </a:lnTo>
                  <a:lnTo>
                    <a:pt x="294" y="156"/>
                  </a:lnTo>
                  <a:close/>
                  <a:moveTo>
                    <a:pt x="174" y="16"/>
                  </a:moveTo>
                  <a:lnTo>
                    <a:pt x="222" y="23"/>
                  </a:lnTo>
                  <a:lnTo>
                    <a:pt x="222" y="54"/>
                  </a:lnTo>
                  <a:lnTo>
                    <a:pt x="174" y="54"/>
                  </a:lnTo>
                  <a:lnTo>
                    <a:pt x="174" y="16"/>
                  </a:lnTo>
                  <a:close/>
                  <a:moveTo>
                    <a:pt x="120" y="274"/>
                  </a:moveTo>
                  <a:lnTo>
                    <a:pt x="15" y="274"/>
                  </a:lnTo>
                  <a:lnTo>
                    <a:pt x="15" y="156"/>
                  </a:lnTo>
                  <a:lnTo>
                    <a:pt x="18" y="144"/>
                  </a:lnTo>
                  <a:lnTo>
                    <a:pt x="23" y="133"/>
                  </a:lnTo>
                  <a:lnTo>
                    <a:pt x="28" y="128"/>
                  </a:lnTo>
                  <a:lnTo>
                    <a:pt x="38" y="121"/>
                  </a:lnTo>
                  <a:lnTo>
                    <a:pt x="46" y="116"/>
                  </a:lnTo>
                  <a:lnTo>
                    <a:pt x="56" y="113"/>
                  </a:lnTo>
                  <a:lnTo>
                    <a:pt x="61" y="113"/>
                  </a:lnTo>
                  <a:lnTo>
                    <a:pt x="61" y="149"/>
                  </a:lnTo>
                  <a:lnTo>
                    <a:pt x="74" y="149"/>
                  </a:lnTo>
                  <a:lnTo>
                    <a:pt x="74" y="113"/>
                  </a:lnTo>
                  <a:lnTo>
                    <a:pt x="87" y="116"/>
                  </a:lnTo>
                  <a:lnTo>
                    <a:pt x="94" y="121"/>
                  </a:lnTo>
                  <a:lnTo>
                    <a:pt x="105" y="128"/>
                  </a:lnTo>
                  <a:lnTo>
                    <a:pt x="112" y="136"/>
                  </a:lnTo>
                  <a:lnTo>
                    <a:pt x="115" y="146"/>
                  </a:lnTo>
                  <a:lnTo>
                    <a:pt x="117" y="154"/>
                  </a:lnTo>
                  <a:lnTo>
                    <a:pt x="120" y="164"/>
                  </a:lnTo>
                  <a:lnTo>
                    <a:pt x="120" y="274"/>
                  </a:lnTo>
                  <a:close/>
                  <a:moveTo>
                    <a:pt x="281" y="274"/>
                  </a:moveTo>
                  <a:lnTo>
                    <a:pt x="133" y="274"/>
                  </a:lnTo>
                  <a:lnTo>
                    <a:pt x="133" y="156"/>
                  </a:lnTo>
                  <a:lnTo>
                    <a:pt x="130" y="146"/>
                  </a:lnTo>
                  <a:lnTo>
                    <a:pt x="128" y="139"/>
                  </a:lnTo>
                  <a:lnTo>
                    <a:pt x="123" y="131"/>
                  </a:lnTo>
                  <a:lnTo>
                    <a:pt x="117" y="121"/>
                  </a:lnTo>
                  <a:lnTo>
                    <a:pt x="107" y="113"/>
                  </a:lnTo>
                  <a:lnTo>
                    <a:pt x="161" y="113"/>
                  </a:lnTo>
                  <a:lnTo>
                    <a:pt x="161" y="200"/>
                  </a:lnTo>
                  <a:lnTo>
                    <a:pt x="166" y="203"/>
                  </a:lnTo>
                  <a:lnTo>
                    <a:pt x="166" y="203"/>
                  </a:lnTo>
                  <a:lnTo>
                    <a:pt x="166" y="203"/>
                  </a:lnTo>
                  <a:lnTo>
                    <a:pt x="169" y="203"/>
                  </a:lnTo>
                  <a:lnTo>
                    <a:pt x="171" y="200"/>
                  </a:lnTo>
                  <a:lnTo>
                    <a:pt x="174" y="197"/>
                  </a:lnTo>
                  <a:lnTo>
                    <a:pt x="174" y="195"/>
                  </a:lnTo>
                  <a:lnTo>
                    <a:pt x="174" y="113"/>
                  </a:lnTo>
                  <a:lnTo>
                    <a:pt x="238" y="113"/>
                  </a:lnTo>
                  <a:lnTo>
                    <a:pt x="245" y="113"/>
                  </a:lnTo>
                  <a:lnTo>
                    <a:pt x="256" y="118"/>
                  </a:lnTo>
                  <a:lnTo>
                    <a:pt x="263" y="123"/>
                  </a:lnTo>
                  <a:lnTo>
                    <a:pt x="271" y="131"/>
                  </a:lnTo>
                  <a:lnTo>
                    <a:pt x="276" y="139"/>
                  </a:lnTo>
                  <a:lnTo>
                    <a:pt x="279" y="149"/>
                  </a:lnTo>
                  <a:lnTo>
                    <a:pt x="281" y="156"/>
                  </a:lnTo>
                  <a:lnTo>
                    <a:pt x="281" y="164"/>
                  </a:lnTo>
                  <a:lnTo>
                    <a:pt x="281" y="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4" name="Group 207">
            <a:extLst>
              <a:ext uri="{FF2B5EF4-FFF2-40B4-BE49-F238E27FC236}">
                <a16:creationId xmlns:a16="http://schemas.microsoft.com/office/drawing/2014/main" id="{2845A155-5D1F-4A15-BEE2-4DF750EC36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6525" y="4130161"/>
            <a:ext cx="758825" cy="758825"/>
            <a:chOff x="4904" y="2701"/>
            <a:chExt cx="478" cy="478"/>
          </a:xfrm>
        </p:grpSpPr>
        <p:sp>
          <p:nvSpPr>
            <p:cNvPr id="245" name="AutoShape 206">
              <a:extLst>
                <a:ext uri="{FF2B5EF4-FFF2-40B4-BE49-F238E27FC236}">
                  <a16:creationId xmlns:a16="http://schemas.microsoft.com/office/drawing/2014/main" id="{7E72C9D2-EF24-480F-8509-0F92EDED2B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04" y="27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08">
              <a:extLst>
                <a:ext uri="{FF2B5EF4-FFF2-40B4-BE49-F238E27FC236}">
                  <a16:creationId xmlns:a16="http://schemas.microsoft.com/office/drawing/2014/main" id="{5F006D5F-F3E2-4C99-8745-06C3D707E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270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09">
              <a:extLst>
                <a:ext uri="{FF2B5EF4-FFF2-40B4-BE49-F238E27FC236}">
                  <a16:creationId xmlns:a16="http://schemas.microsoft.com/office/drawing/2014/main" id="{58C32781-19A7-42C4-9E87-DE7C85B50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5" y="2860"/>
              <a:ext cx="49" cy="49"/>
            </a:xfrm>
            <a:custGeom>
              <a:avLst/>
              <a:gdLst>
                <a:gd name="T0" fmla="*/ 29 w 49"/>
                <a:gd name="T1" fmla="*/ 49 h 49"/>
                <a:gd name="T2" fmla="*/ 34 w 49"/>
                <a:gd name="T3" fmla="*/ 47 h 49"/>
                <a:gd name="T4" fmla="*/ 39 w 49"/>
                <a:gd name="T5" fmla="*/ 44 h 49"/>
                <a:gd name="T6" fmla="*/ 41 w 49"/>
                <a:gd name="T7" fmla="*/ 42 h 49"/>
                <a:gd name="T8" fmla="*/ 44 w 49"/>
                <a:gd name="T9" fmla="*/ 40 h 49"/>
                <a:gd name="T10" fmla="*/ 46 w 49"/>
                <a:gd name="T11" fmla="*/ 35 h 49"/>
                <a:gd name="T12" fmla="*/ 49 w 49"/>
                <a:gd name="T13" fmla="*/ 30 h 49"/>
                <a:gd name="T14" fmla="*/ 49 w 49"/>
                <a:gd name="T15" fmla="*/ 25 h 49"/>
                <a:gd name="T16" fmla="*/ 49 w 49"/>
                <a:gd name="T17" fmla="*/ 20 h 49"/>
                <a:gd name="T18" fmla="*/ 46 w 49"/>
                <a:gd name="T19" fmla="*/ 15 h 49"/>
                <a:gd name="T20" fmla="*/ 44 w 49"/>
                <a:gd name="T21" fmla="*/ 10 h 49"/>
                <a:gd name="T22" fmla="*/ 41 w 49"/>
                <a:gd name="T23" fmla="*/ 8 h 49"/>
                <a:gd name="T24" fmla="*/ 39 w 49"/>
                <a:gd name="T25" fmla="*/ 5 h 49"/>
                <a:gd name="T26" fmla="*/ 34 w 49"/>
                <a:gd name="T27" fmla="*/ 3 h 49"/>
                <a:gd name="T28" fmla="*/ 29 w 49"/>
                <a:gd name="T29" fmla="*/ 0 h 49"/>
                <a:gd name="T30" fmla="*/ 24 w 49"/>
                <a:gd name="T31" fmla="*/ 0 h 49"/>
                <a:gd name="T32" fmla="*/ 19 w 49"/>
                <a:gd name="T33" fmla="*/ 0 h 49"/>
                <a:gd name="T34" fmla="*/ 15 w 49"/>
                <a:gd name="T35" fmla="*/ 3 h 49"/>
                <a:gd name="T36" fmla="*/ 12 w 49"/>
                <a:gd name="T37" fmla="*/ 5 h 49"/>
                <a:gd name="T38" fmla="*/ 7 w 49"/>
                <a:gd name="T39" fmla="*/ 8 h 49"/>
                <a:gd name="T40" fmla="*/ 5 w 49"/>
                <a:gd name="T41" fmla="*/ 10 h 49"/>
                <a:gd name="T42" fmla="*/ 2 w 49"/>
                <a:gd name="T43" fmla="*/ 15 h 49"/>
                <a:gd name="T44" fmla="*/ 0 w 49"/>
                <a:gd name="T45" fmla="*/ 20 h 49"/>
                <a:gd name="T46" fmla="*/ 0 w 49"/>
                <a:gd name="T47" fmla="*/ 25 h 49"/>
                <a:gd name="T48" fmla="*/ 0 w 49"/>
                <a:gd name="T49" fmla="*/ 30 h 49"/>
                <a:gd name="T50" fmla="*/ 2 w 49"/>
                <a:gd name="T51" fmla="*/ 35 h 49"/>
                <a:gd name="T52" fmla="*/ 5 w 49"/>
                <a:gd name="T53" fmla="*/ 40 h 49"/>
                <a:gd name="T54" fmla="*/ 7 w 49"/>
                <a:gd name="T55" fmla="*/ 42 h 49"/>
                <a:gd name="T56" fmla="*/ 12 w 49"/>
                <a:gd name="T57" fmla="*/ 44 h 49"/>
                <a:gd name="T58" fmla="*/ 15 w 49"/>
                <a:gd name="T59" fmla="*/ 47 h 49"/>
                <a:gd name="T60" fmla="*/ 19 w 49"/>
                <a:gd name="T61" fmla="*/ 49 h 49"/>
                <a:gd name="T62" fmla="*/ 24 w 49"/>
                <a:gd name="T63" fmla="*/ 49 h 49"/>
                <a:gd name="T64" fmla="*/ 19 w 49"/>
                <a:gd name="T65" fmla="*/ 35 h 49"/>
                <a:gd name="T66" fmla="*/ 17 w 49"/>
                <a:gd name="T67" fmla="*/ 32 h 49"/>
                <a:gd name="T68" fmla="*/ 15 w 49"/>
                <a:gd name="T69" fmla="*/ 30 h 49"/>
                <a:gd name="T70" fmla="*/ 15 w 49"/>
                <a:gd name="T71" fmla="*/ 25 h 49"/>
                <a:gd name="T72" fmla="*/ 15 w 49"/>
                <a:gd name="T73" fmla="*/ 20 h 49"/>
                <a:gd name="T74" fmla="*/ 17 w 49"/>
                <a:gd name="T75" fmla="*/ 17 h 49"/>
                <a:gd name="T76" fmla="*/ 19 w 49"/>
                <a:gd name="T77" fmla="*/ 15 h 49"/>
                <a:gd name="T78" fmla="*/ 24 w 49"/>
                <a:gd name="T79" fmla="*/ 15 h 49"/>
                <a:gd name="T80" fmla="*/ 29 w 49"/>
                <a:gd name="T81" fmla="*/ 15 h 49"/>
                <a:gd name="T82" fmla="*/ 32 w 49"/>
                <a:gd name="T83" fmla="*/ 17 h 49"/>
                <a:gd name="T84" fmla="*/ 34 w 49"/>
                <a:gd name="T85" fmla="*/ 20 h 49"/>
                <a:gd name="T86" fmla="*/ 34 w 49"/>
                <a:gd name="T87" fmla="*/ 25 h 49"/>
                <a:gd name="T88" fmla="*/ 34 w 49"/>
                <a:gd name="T89" fmla="*/ 30 h 49"/>
                <a:gd name="T90" fmla="*/ 32 w 49"/>
                <a:gd name="T91" fmla="*/ 32 h 49"/>
                <a:gd name="T92" fmla="*/ 29 w 49"/>
                <a:gd name="T93" fmla="*/ 35 h 49"/>
                <a:gd name="T94" fmla="*/ 24 w 49"/>
                <a:gd name="T95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" h="49">
                  <a:moveTo>
                    <a:pt x="27" y="49"/>
                  </a:moveTo>
                  <a:lnTo>
                    <a:pt x="27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9" y="32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5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7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7" y="49"/>
                  </a:lnTo>
                  <a:close/>
                  <a:moveTo>
                    <a:pt x="22" y="35"/>
                  </a:moveTo>
                  <a:lnTo>
                    <a:pt x="22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2" y="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Rectangle 210">
              <a:extLst>
                <a:ext uri="{FF2B5EF4-FFF2-40B4-BE49-F238E27FC236}">
                  <a16:creationId xmlns:a16="http://schemas.microsoft.com/office/drawing/2014/main" id="{DCB964B3-35E6-4958-AE4B-1C2F09DBC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1" y="290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11">
              <a:extLst>
                <a:ext uri="{FF2B5EF4-FFF2-40B4-BE49-F238E27FC236}">
                  <a16:creationId xmlns:a16="http://schemas.microsoft.com/office/drawing/2014/main" id="{A764AA56-D829-4F2B-936D-EC10F1047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7" y="2828"/>
              <a:ext cx="275" cy="226"/>
            </a:xfrm>
            <a:custGeom>
              <a:avLst/>
              <a:gdLst>
                <a:gd name="T0" fmla="*/ 275 w 275"/>
                <a:gd name="T1" fmla="*/ 0 h 226"/>
                <a:gd name="T2" fmla="*/ 47 w 275"/>
                <a:gd name="T3" fmla="*/ 0 h 226"/>
                <a:gd name="T4" fmla="*/ 47 w 275"/>
                <a:gd name="T5" fmla="*/ 47 h 226"/>
                <a:gd name="T6" fmla="*/ 0 w 275"/>
                <a:gd name="T7" fmla="*/ 47 h 226"/>
                <a:gd name="T8" fmla="*/ 0 w 275"/>
                <a:gd name="T9" fmla="*/ 226 h 226"/>
                <a:gd name="T10" fmla="*/ 228 w 275"/>
                <a:gd name="T11" fmla="*/ 226 h 226"/>
                <a:gd name="T12" fmla="*/ 228 w 275"/>
                <a:gd name="T13" fmla="*/ 179 h 226"/>
                <a:gd name="T14" fmla="*/ 275 w 275"/>
                <a:gd name="T15" fmla="*/ 179 h 226"/>
                <a:gd name="T16" fmla="*/ 275 w 275"/>
                <a:gd name="T17" fmla="*/ 0 h 226"/>
                <a:gd name="T18" fmla="*/ 59 w 275"/>
                <a:gd name="T19" fmla="*/ 15 h 226"/>
                <a:gd name="T20" fmla="*/ 262 w 275"/>
                <a:gd name="T21" fmla="*/ 15 h 226"/>
                <a:gd name="T22" fmla="*/ 262 w 275"/>
                <a:gd name="T23" fmla="*/ 150 h 226"/>
                <a:gd name="T24" fmla="*/ 189 w 275"/>
                <a:gd name="T25" fmla="*/ 76 h 226"/>
                <a:gd name="T26" fmla="*/ 189 w 275"/>
                <a:gd name="T27" fmla="*/ 74 h 226"/>
                <a:gd name="T28" fmla="*/ 189 w 275"/>
                <a:gd name="T29" fmla="*/ 76 h 226"/>
                <a:gd name="T30" fmla="*/ 186 w 275"/>
                <a:gd name="T31" fmla="*/ 74 h 226"/>
                <a:gd name="T32" fmla="*/ 186 w 275"/>
                <a:gd name="T33" fmla="*/ 76 h 226"/>
                <a:gd name="T34" fmla="*/ 186 w 275"/>
                <a:gd name="T35" fmla="*/ 74 h 226"/>
                <a:gd name="T36" fmla="*/ 186 w 275"/>
                <a:gd name="T37" fmla="*/ 76 h 226"/>
                <a:gd name="T38" fmla="*/ 184 w 275"/>
                <a:gd name="T39" fmla="*/ 74 h 226"/>
                <a:gd name="T40" fmla="*/ 184 w 275"/>
                <a:gd name="T41" fmla="*/ 76 h 226"/>
                <a:gd name="T42" fmla="*/ 184 w 275"/>
                <a:gd name="T43" fmla="*/ 79 h 226"/>
                <a:gd name="T44" fmla="*/ 132 w 275"/>
                <a:gd name="T45" fmla="*/ 130 h 226"/>
                <a:gd name="T46" fmla="*/ 108 w 275"/>
                <a:gd name="T47" fmla="*/ 106 h 226"/>
                <a:gd name="T48" fmla="*/ 108 w 275"/>
                <a:gd name="T49" fmla="*/ 103 h 226"/>
                <a:gd name="T50" fmla="*/ 108 w 275"/>
                <a:gd name="T51" fmla="*/ 103 h 226"/>
                <a:gd name="T52" fmla="*/ 108 w 275"/>
                <a:gd name="T53" fmla="*/ 106 h 226"/>
                <a:gd name="T54" fmla="*/ 105 w 275"/>
                <a:gd name="T55" fmla="*/ 103 h 226"/>
                <a:gd name="T56" fmla="*/ 105 w 275"/>
                <a:gd name="T57" fmla="*/ 101 h 226"/>
                <a:gd name="T58" fmla="*/ 105 w 275"/>
                <a:gd name="T59" fmla="*/ 103 h 226"/>
                <a:gd name="T60" fmla="*/ 103 w 275"/>
                <a:gd name="T61" fmla="*/ 101 h 226"/>
                <a:gd name="T62" fmla="*/ 103 w 275"/>
                <a:gd name="T63" fmla="*/ 101 h 226"/>
                <a:gd name="T64" fmla="*/ 103 w 275"/>
                <a:gd name="T65" fmla="*/ 106 h 226"/>
                <a:gd name="T66" fmla="*/ 103 w 275"/>
                <a:gd name="T67" fmla="*/ 106 h 226"/>
                <a:gd name="T68" fmla="*/ 59 w 275"/>
                <a:gd name="T69" fmla="*/ 150 h 226"/>
                <a:gd name="T70" fmla="*/ 59 w 275"/>
                <a:gd name="T71" fmla="*/ 15 h 226"/>
                <a:gd name="T72" fmla="*/ 208 w 275"/>
                <a:gd name="T73" fmla="*/ 108 h 226"/>
                <a:gd name="T74" fmla="*/ 152 w 275"/>
                <a:gd name="T75" fmla="*/ 167 h 226"/>
                <a:gd name="T76" fmla="*/ 108 w 275"/>
                <a:gd name="T77" fmla="*/ 167 h 226"/>
                <a:gd name="T78" fmla="*/ 186 w 275"/>
                <a:gd name="T79" fmla="*/ 86 h 226"/>
                <a:gd name="T80" fmla="*/ 208 w 275"/>
                <a:gd name="T81" fmla="*/ 108 h 226"/>
                <a:gd name="T82" fmla="*/ 105 w 275"/>
                <a:gd name="T83" fmla="*/ 113 h 226"/>
                <a:gd name="T84" fmla="*/ 127 w 275"/>
                <a:gd name="T85" fmla="*/ 135 h 226"/>
                <a:gd name="T86" fmla="*/ 98 w 275"/>
                <a:gd name="T87" fmla="*/ 167 h 226"/>
                <a:gd name="T88" fmla="*/ 54 w 275"/>
                <a:gd name="T89" fmla="*/ 167 h 226"/>
                <a:gd name="T90" fmla="*/ 105 w 275"/>
                <a:gd name="T91" fmla="*/ 113 h 226"/>
                <a:gd name="T92" fmla="*/ 216 w 275"/>
                <a:gd name="T93" fmla="*/ 211 h 226"/>
                <a:gd name="T94" fmla="*/ 12 w 275"/>
                <a:gd name="T95" fmla="*/ 211 h 226"/>
                <a:gd name="T96" fmla="*/ 12 w 275"/>
                <a:gd name="T97" fmla="*/ 59 h 226"/>
                <a:gd name="T98" fmla="*/ 47 w 275"/>
                <a:gd name="T99" fmla="*/ 59 h 226"/>
                <a:gd name="T100" fmla="*/ 47 w 275"/>
                <a:gd name="T101" fmla="*/ 179 h 226"/>
                <a:gd name="T102" fmla="*/ 216 w 275"/>
                <a:gd name="T103" fmla="*/ 179 h 226"/>
                <a:gd name="T104" fmla="*/ 216 w 275"/>
                <a:gd name="T105" fmla="*/ 211 h 226"/>
                <a:gd name="T106" fmla="*/ 164 w 275"/>
                <a:gd name="T107" fmla="*/ 167 h 226"/>
                <a:gd name="T108" fmla="*/ 213 w 275"/>
                <a:gd name="T109" fmla="*/ 113 h 226"/>
                <a:gd name="T110" fmla="*/ 265 w 275"/>
                <a:gd name="T111" fmla="*/ 167 h 226"/>
                <a:gd name="T112" fmla="*/ 164 w 275"/>
                <a:gd name="T113" fmla="*/ 16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5" h="226">
                  <a:moveTo>
                    <a:pt x="275" y="0"/>
                  </a:moveTo>
                  <a:lnTo>
                    <a:pt x="47" y="0"/>
                  </a:lnTo>
                  <a:lnTo>
                    <a:pt x="47" y="47"/>
                  </a:lnTo>
                  <a:lnTo>
                    <a:pt x="0" y="47"/>
                  </a:lnTo>
                  <a:lnTo>
                    <a:pt x="0" y="226"/>
                  </a:lnTo>
                  <a:lnTo>
                    <a:pt x="228" y="226"/>
                  </a:lnTo>
                  <a:lnTo>
                    <a:pt x="228" y="179"/>
                  </a:lnTo>
                  <a:lnTo>
                    <a:pt x="275" y="179"/>
                  </a:lnTo>
                  <a:lnTo>
                    <a:pt x="275" y="0"/>
                  </a:lnTo>
                  <a:close/>
                  <a:moveTo>
                    <a:pt x="59" y="15"/>
                  </a:moveTo>
                  <a:lnTo>
                    <a:pt x="262" y="15"/>
                  </a:lnTo>
                  <a:lnTo>
                    <a:pt x="262" y="150"/>
                  </a:lnTo>
                  <a:lnTo>
                    <a:pt x="189" y="76"/>
                  </a:lnTo>
                  <a:lnTo>
                    <a:pt x="189" y="74"/>
                  </a:lnTo>
                  <a:lnTo>
                    <a:pt x="189" y="76"/>
                  </a:lnTo>
                  <a:lnTo>
                    <a:pt x="186" y="74"/>
                  </a:lnTo>
                  <a:lnTo>
                    <a:pt x="186" y="76"/>
                  </a:lnTo>
                  <a:lnTo>
                    <a:pt x="186" y="74"/>
                  </a:lnTo>
                  <a:lnTo>
                    <a:pt x="186" y="76"/>
                  </a:lnTo>
                  <a:lnTo>
                    <a:pt x="184" y="74"/>
                  </a:lnTo>
                  <a:lnTo>
                    <a:pt x="184" y="76"/>
                  </a:lnTo>
                  <a:lnTo>
                    <a:pt x="184" y="79"/>
                  </a:lnTo>
                  <a:lnTo>
                    <a:pt x="132" y="130"/>
                  </a:lnTo>
                  <a:lnTo>
                    <a:pt x="108" y="106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8" y="106"/>
                  </a:lnTo>
                  <a:lnTo>
                    <a:pt x="105" y="103"/>
                  </a:lnTo>
                  <a:lnTo>
                    <a:pt x="105" y="101"/>
                  </a:lnTo>
                  <a:lnTo>
                    <a:pt x="105" y="103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3" y="106"/>
                  </a:lnTo>
                  <a:lnTo>
                    <a:pt x="103" y="106"/>
                  </a:lnTo>
                  <a:lnTo>
                    <a:pt x="59" y="150"/>
                  </a:lnTo>
                  <a:lnTo>
                    <a:pt x="59" y="15"/>
                  </a:lnTo>
                  <a:close/>
                  <a:moveTo>
                    <a:pt x="208" y="108"/>
                  </a:moveTo>
                  <a:lnTo>
                    <a:pt x="152" y="167"/>
                  </a:lnTo>
                  <a:lnTo>
                    <a:pt x="108" y="167"/>
                  </a:lnTo>
                  <a:lnTo>
                    <a:pt x="186" y="86"/>
                  </a:lnTo>
                  <a:lnTo>
                    <a:pt x="208" y="108"/>
                  </a:lnTo>
                  <a:close/>
                  <a:moveTo>
                    <a:pt x="105" y="113"/>
                  </a:moveTo>
                  <a:lnTo>
                    <a:pt x="127" y="135"/>
                  </a:lnTo>
                  <a:lnTo>
                    <a:pt x="98" y="167"/>
                  </a:lnTo>
                  <a:lnTo>
                    <a:pt x="54" y="167"/>
                  </a:lnTo>
                  <a:lnTo>
                    <a:pt x="105" y="113"/>
                  </a:lnTo>
                  <a:close/>
                  <a:moveTo>
                    <a:pt x="216" y="211"/>
                  </a:moveTo>
                  <a:lnTo>
                    <a:pt x="12" y="211"/>
                  </a:lnTo>
                  <a:lnTo>
                    <a:pt x="12" y="59"/>
                  </a:lnTo>
                  <a:lnTo>
                    <a:pt x="47" y="59"/>
                  </a:lnTo>
                  <a:lnTo>
                    <a:pt x="47" y="179"/>
                  </a:lnTo>
                  <a:lnTo>
                    <a:pt x="216" y="179"/>
                  </a:lnTo>
                  <a:lnTo>
                    <a:pt x="216" y="211"/>
                  </a:lnTo>
                  <a:close/>
                  <a:moveTo>
                    <a:pt x="164" y="167"/>
                  </a:moveTo>
                  <a:lnTo>
                    <a:pt x="213" y="113"/>
                  </a:lnTo>
                  <a:lnTo>
                    <a:pt x="265" y="167"/>
                  </a:lnTo>
                  <a:lnTo>
                    <a:pt x="164" y="16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0" name="Group 214">
            <a:extLst>
              <a:ext uri="{FF2B5EF4-FFF2-40B4-BE49-F238E27FC236}">
                <a16:creationId xmlns:a16="http://schemas.microsoft.com/office/drawing/2014/main" id="{0722FD5D-EECB-4169-B247-94DE00BD3A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9200" y="4088886"/>
            <a:ext cx="841375" cy="841375"/>
            <a:chOff x="4436" y="2588"/>
            <a:chExt cx="530" cy="530"/>
          </a:xfrm>
        </p:grpSpPr>
        <p:sp>
          <p:nvSpPr>
            <p:cNvPr id="251" name="AutoShape 213">
              <a:extLst>
                <a:ext uri="{FF2B5EF4-FFF2-40B4-BE49-F238E27FC236}">
                  <a16:creationId xmlns:a16="http://schemas.microsoft.com/office/drawing/2014/main" id="{F6CCDC37-C719-4587-9AAD-D01C0B8C17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36" y="258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215">
              <a:extLst>
                <a:ext uri="{FF2B5EF4-FFF2-40B4-BE49-F238E27FC236}">
                  <a16:creationId xmlns:a16="http://schemas.microsoft.com/office/drawing/2014/main" id="{67EE7896-4672-41FD-A310-798B85150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6" y="258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16">
              <a:extLst>
                <a:ext uri="{FF2B5EF4-FFF2-40B4-BE49-F238E27FC236}">
                  <a16:creationId xmlns:a16="http://schemas.microsoft.com/office/drawing/2014/main" id="{6F227C35-35F2-431C-A2FE-26F74DDC8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4" y="260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17">
              <a:extLst>
                <a:ext uri="{FF2B5EF4-FFF2-40B4-BE49-F238E27FC236}">
                  <a16:creationId xmlns:a16="http://schemas.microsoft.com/office/drawing/2014/main" id="{37BD97E0-E88D-4502-AAA5-6C19BCB42D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1" y="2770"/>
              <a:ext cx="52" cy="51"/>
            </a:xfrm>
            <a:custGeom>
              <a:avLst/>
              <a:gdLst>
                <a:gd name="T0" fmla="*/ 31 w 52"/>
                <a:gd name="T1" fmla="*/ 51 h 51"/>
                <a:gd name="T2" fmla="*/ 36 w 52"/>
                <a:gd name="T3" fmla="*/ 48 h 51"/>
                <a:gd name="T4" fmla="*/ 41 w 52"/>
                <a:gd name="T5" fmla="*/ 46 h 51"/>
                <a:gd name="T6" fmla="*/ 44 w 52"/>
                <a:gd name="T7" fmla="*/ 43 h 51"/>
                <a:gd name="T8" fmla="*/ 47 w 52"/>
                <a:gd name="T9" fmla="*/ 41 h 51"/>
                <a:gd name="T10" fmla="*/ 49 w 52"/>
                <a:gd name="T11" fmla="*/ 36 h 51"/>
                <a:gd name="T12" fmla="*/ 52 w 52"/>
                <a:gd name="T13" fmla="*/ 30 h 51"/>
                <a:gd name="T14" fmla="*/ 52 w 52"/>
                <a:gd name="T15" fmla="*/ 25 h 51"/>
                <a:gd name="T16" fmla="*/ 52 w 52"/>
                <a:gd name="T17" fmla="*/ 20 h 51"/>
                <a:gd name="T18" fmla="*/ 49 w 52"/>
                <a:gd name="T19" fmla="*/ 15 h 51"/>
                <a:gd name="T20" fmla="*/ 47 w 52"/>
                <a:gd name="T21" fmla="*/ 10 h 51"/>
                <a:gd name="T22" fmla="*/ 44 w 52"/>
                <a:gd name="T23" fmla="*/ 7 h 51"/>
                <a:gd name="T24" fmla="*/ 41 w 52"/>
                <a:gd name="T25" fmla="*/ 5 h 51"/>
                <a:gd name="T26" fmla="*/ 36 w 52"/>
                <a:gd name="T27" fmla="*/ 2 h 51"/>
                <a:gd name="T28" fmla="*/ 31 w 52"/>
                <a:gd name="T29" fmla="*/ 0 h 51"/>
                <a:gd name="T30" fmla="*/ 26 w 52"/>
                <a:gd name="T31" fmla="*/ 0 h 51"/>
                <a:gd name="T32" fmla="*/ 21 w 52"/>
                <a:gd name="T33" fmla="*/ 0 h 51"/>
                <a:gd name="T34" fmla="*/ 16 w 52"/>
                <a:gd name="T35" fmla="*/ 2 h 51"/>
                <a:gd name="T36" fmla="*/ 13 w 52"/>
                <a:gd name="T37" fmla="*/ 5 h 51"/>
                <a:gd name="T38" fmla="*/ 8 w 52"/>
                <a:gd name="T39" fmla="*/ 7 h 51"/>
                <a:gd name="T40" fmla="*/ 6 w 52"/>
                <a:gd name="T41" fmla="*/ 10 h 51"/>
                <a:gd name="T42" fmla="*/ 3 w 52"/>
                <a:gd name="T43" fmla="*/ 15 h 51"/>
                <a:gd name="T44" fmla="*/ 0 w 52"/>
                <a:gd name="T45" fmla="*/ 20 h 51"/>
                <a:gd name="T46" fmla="*/ 0 w 52"/>
                <a:gd name="T47" fmla="*/ 25 h 51"/>
                <a:gd name="T48" fmla="*/ 0 w 52"/>
                <a:gd name="T49" fmla="*/ 30 h 51"/>
                <a:gd name="T50" fmla="*/ 3 w 52"/>
                <a:gd name="T51" fmla="*/ 36 h 51"/>
                <a:gd name="T52" fmla="*/ 6 w 52"/>
                <a:gd name="T53" fmla="*/ 41 h 51"/>
                <a:gd name="T54" fmla="*/ 8 w 52"/>
                <a:gd name="T55" fmla="*/ 43 h 51"/>
                <a:gd name="T56" fmla="*/ 13 w 52"/>
                <a:gd name="T57" fmla="*/ 46 h 51"/>
                <a:gd name="T58" fmla="*/ 16 w 52"/>
                <a:gd name="T59" fmla="*/ 48 h 51"/>
                <a:gd name="T60" fmla="*/ 21 w 52"/>
                <a:gd name="T61" fmla="*/ 51 h 51"/>
                <a:gd name="T62" fmla="*/ 26 w 52"/>
                <a:gd name="T63" fmla="*/ 51 h 51"/>
                <a:gd name="T64" fmla="*/ 21 w 52"/>
                <a:gd name="T65" fmla="*/ 36 h 51"/>
                <a:gd name="T66" fmla="*/ 18 w 52"/>
                <a:gd name="T67" fmla="*/ 33 h 51"/>
                <a:gd name="T68" fmla="*/ 16 w 52"/>
                <a:gd name="T69" fmla="*/ 30 h 51"/>
                <a:gd name="T70" fmla="*/ 16 w 52"/>
                <a:gd name="T71" fmla="*/ 25 h 51"/>
                <a:gd name="T72" fmla="*/ 16 w 52"/>
                <a:gd name="T73" fmla="*/ 20 h 51"/>
                <a:gd name="T74" fmla="*/ 18 w 52"/>
                <a:gd name="T75" fmla="*/ 18 h 51"/>
                <a:gd name="T76" fmla="*/ 21 w 52"/>
                <a:gd name="T77" fmla="*/ 15 h 51"/>
                <a:gd name="T78" fmla="*/ 26 w 52"/>
                <a:gd name="T79" fmla="*/ 15 h 51"/>
                <a:gd name="T80" fmla="*/ 31 w 52"/>
                <a:gd name="T81" fmla="*/ 15 h 51"/>
                <a:gd name="T82" fmla="*/ 34 w 52"/>
                <a:gd name="T83" fmla="*/ 18 h 51"/>
                <a:gd name="T84" fmla="*/ 36 w 52"/>
                <a:gd name="T85" fmla="*/ 20 h 51"/>
                <a:gd name="T86" fmla="*/ 36 w 52"/>
                <a:gd name="T87" fmla="*/ 25 h 51"/>
                <a:gd name="T88" fmla="*/ 36 w 52"/>
                <a:gd name="T89" fmla="*/ 30 h 51"/>
                <a:gd name="T90" fmla="*/ 34 w 52"/>
                <a:gd name="T91" fmla="*/ 33 h 51"/>
                <a:gd name="T92" fmla="*/ 31 w 52"/>
                <a:gd name="T93" fmla="*/ 36 h 51"/>
                <a:gd name="T94" fmla="*/ 26 w 52"/>
                <a:gd name="T95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2" h="51">
                  <a:moveTo>
                    <a:pt x="29" y="51"/>
                  </a:moveTo>
                  <a:lnTo>
                    <a:pt x="29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38"/>
                  </a:lnTo>
                  <a:lnTo>
                    <a:pt x="49" y="38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52" y="33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2"/>
                  </a:lnTo>
                  <a:lnTo>
                    <a:pt x="47" y="12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8"/>
                  </a:lnTo>
                  <a:lnTo>
                    <a:pt x="6" y="38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1" y="43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9" y="51"/>
                  </a:lnTo>
                  <a:close/>
                  <a:moveTo>
                    <a:pt x="23" y="36"/>
                  </a:moveTo>
                  <a:lnTo>
                    <a:pt x="23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1" y="18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3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Rectangle 218">
              <a:extLst>
                <a:ext uri="{FF2B5EF4-FFF2-40B4-BE49-F238E27FC236}">
                  <a16:creationId xmlns:a16="http://schemas.microsoft.com/office/drawing/2014/main" id="{3ABA04D7-1CB8-48FC-9D53-9BE0DBED8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1" y="281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19">
              <a:extLst>
                <a:ext uri="{FF2B5EF4-FFF2-40B4-BE49-F238E27FC236}">
                  <a16:creationId xmlns:a16="http://schemas.microsoft.com/office/drawing/2014/main" id="{5DCA48C0-1E8C-4894-BBE4-0A4C9438BA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736"/>
              <a:ext cx="287" cy="236"/>
            </a:xfrm>
            <a:custGeom>
              <a:avLst/>
              <a:gdLst>
                <a:gd name="T0" fmla="*/ 287 w 287"/>
                <a:gd name="T1" fmla="*/ 0 h 236"/>
                <a:gd name="T2" fmla="*/ 48 w 287"/>
                <a:gd name="T3" fmla="*/ 0 h 236"/>
                <a:gd name="T4" fmla="*/ 48 w 287"/>
                <a:gd name="T5" fmla="*/ 49 h 236"/>
                <a:gd name="T6" fmla="*/ 0 w 287"/>
                <a:gd name="T7" fmla="*/ 49 h 236"/>
                <a:gd name="T8" fmla="*/ 0 w 287"/>
                <a:gd name="T9" fmla="*/ 236 h 236"/>
                <a:gd name="T10" fmla="*/ 238 w 287"/>
                <a:gd name="T11" fmla="*/ 236 h 236"/>
                <a:gd name="T12" fmla="*/ 238 w 287"/>
                <a:gd name="T13" fmla="*/ 187 h 236"/>
                <a:gd name="T14" fmla="*/ 287 w 287"/>
                <a:gd name="T15" fmla="*/ 187 h 236"/>
                <a:gd name="T16" fmla="*/ 287 w 287"/>
                <a:gd name="T17" fmla="*/ 0 h 236"/>
                <a:gd name="T18" fmla="*/ 61 w 287"/>
                <a:gd name="T19" fmla="*/ 16 h 236"/>
                <a:gd name="T20" fmla="*/ 274 w 287"/>
                <a:gd name="T21" fmla="*/ 16 h 236"/>
                <a:gd name="T22" fmla="*/ 274 w 287"/>
                <a:gd name="T23" fmla="*/ 157 h 236"/>
                <a:gd name="T24" fmla="*/ 197 w 287"/>
                <a:gd name="T25" fmla="*/ 80 h 236"/>
                <a:gd name="T26" fmla="*/ 197 w 287"/>
                <a:gd name="T27" fmla="*/ 77 h 236"/>
                <a:gd name="T28" fmla="*/ 197 w 287"/>
                <a:gd name="T29" fmla="*/ 80 h 236"/>
                <a:gd name="T30" fmla="*/ 194 w 287"/>
                <a:gd name="T31" fmla="*/ 77 h 236"/>
                <a:gd name="T32" fmla="*/ 194 w 287"/>
                <a:gd name="T33" fmla="*/ 80 h 236"/>
                <a:gd name="T34" fmla="*/ 194 w 287"/>
                <a:gd name="T35" fmla="*/ 77 h 236"/>
                <a:gd name="T36" fmla="*/ 194 w 287"/>
                <a:gd name="T37" fmla="*/ 80 h 236"/>
                <a:gd name="T38" fmla="*/ 192 w 287"/>
                <a:gd name="T39" fmla="*/ 77 h 236"/>
                <a:gd name="T40" fmla="*/ 192 w 287"/>
                <a:gd name="T41" fmla="*/ 80 h 236"/>
                <a:gd name="T42" fmla="*/ 192 w 287"/>
                <a:gd name="T43" fmla="*/ 82 h 236"/>
                <a:gd name="T44" fmla="*/ 138 w 287"/>
                <a:gd name="T45" fmla="*/ 136 h 236"/>
                <a:gd name="T46" fmla="*/ 112 w 287"/>
                <a:gd name="T47" fmla="*/ 110 h 236"/>
                <a:gd name="T48" fmla="*/ 112 w 287"/>
                <a:gd name="T49" fmla="*/ 108 h 236"/>
                <a:gd name="T50" fmla="*/ 112 w 287"/>
                <a:gd name="T51" fmla="*/ 108 h 236"/>
                <a:gd name="T52" fmla="*/ 112 w 287"/>
                <a:gd name="T53" fmla="*/ 110 h 236"/>
                <a:gd name="T54" fmla="*/ 110 w 287"/>
                <a:gd name="T55" fmla="*/ 108 h 236"/>
                <a:gd name="T56" fmla="*/ 110 w 287"/>
                <a:gd name="T57" fmla="*/ 105 h 236"/>
                <a:gd name="T58" fmla="*/ 110 w 287"/>
                <a:gd name="T59" fmla="*/ 108 h 236"/>
                <a:gd name="T60" fmla="*/ 107 w 287"/>
                <a:gd name="T61" fmla="*/ 105 h 236"/>
                <a:gd name="T62" fmla="*/ 107 w 287"/>
                <a:gd name="T63" fmla="*/ 105 h 236"/>
                <a:gd name="T64" fmla="*/ 107 w 287"/>
                <a:gd name="T65" fmla="*/ 110 h 236"/>
                <a:gd name="T66" fmla="*/ 107 w 287"/>
                <a:gd name="T67" fmla="*/ 110 h 236"/>
                <a:gd name="T68" fmla="*/ 61 w 287"/>
                <a:gd name="T69" fmla="*/ 157 h 236"/>
                <a:gd name="T70" fmla="*/ 61 w 287"/>
                <a:gd name="T71" fmla="*/ 16 h 236"/>
                <a:gd name="T72" fmla="*/ 217 w 287"/>
                <a:gd name="T73" fmla="*/ 113 h 236"/>
                <a:gd name="T74" fmla="*/ 159 w 287"/>
                <a:gd name="T75" fmla="*/ 175 h 236"/>
                <a:gd name="T76" fmla="*/ 112 w 287"/>
                <a:gd name="T77" fmla="*/ 175 h 236"/>
                <a:gd name="T78" fmla="*/ 194 w 287"/>
                <a:gd name="T79" fmla="*/ 90 h 236"/>
                <a:gd name="T80" fmla="*/ 217 w 287"/>
                <a:gd name="T81" fmla="*/ 113 h 236"/>
                <a:gd name="T82" fmla="*/ 110 w 287"/>
                <a:gd name="T83" fmla="*/ 118 h 236"/>
                <a:gd name="T84" fmla="*/ 133 w 287"/>
                <a:gd name="T85" fmla="*/ 141 h 236"/>
                <a:gd name="T86" fmla="*/ 102 w 287"/>
                <a:gd name="T87" fmla="*/ 175 h 236"/>
                <a:gd name="T88" fmla="*/ 56 w 287"/>
                <a:gd name="T89" fmla="*/ 175 h 236"/>
                <a:gd name="T90" fmla="*/ 110 w 287"/>
                <a:gd name="T91" fmla="*/ 118 h 236"/>
                <a:gd name="T92" fmla="*/ 225 w 287"/>
                <a:gd name="T93" fmla="*/ 221 h 236"/>
                <a:gd name="T94" fmla="*/ 13 w 287"/>
                <a:gd name="T95" fmla="*/ 221 h 236"/>
                <a:gd name="T96" fmla="*/ 13 w 287"/>
                <a:gd name="T97" fmla="*/ 62 h 236"/>
                <a:gd name="T98" fmla="*/ 48 w 287"/>
                <a:gd name="T99" fmla="*/ 62 h 236"/>
                <a:gd name="T100" fmla="*/ 48 w 287"/>
                <a:gd name="T101" fmla="*/ 187 h 236"/>
                <a:gd name="T102" fmla="*/ 225 w 287"/>
                <a:gd name="T103" fmla="*/ 187 h 236"/>
                <a:gd name="T104" fmla="*/ 225 w 287"/>
                <a:gd name="T105" fmla="*/ 221 h 236"/>
                <a:gd name="T106" fmla="*/ 171 w 287"/>
                <a:gd name="T107" fmla="*/ 175 h 236"/>
                <a:gd name="T108" fmla="*/ 223 w 287"/>
                <a:gd name="T109" fmla="*/ 118 h 236"/>
                <a:gd name="T110" fmla="*/ 276 w 287"/>
                <a:gd name="T111" fmla="*/ 175 h 236"/>
                <a:gd name="T112" fmla="*/ 171 w 287"/>
                <a:gd name="T113" fmla="*/ 17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7" h="236">
                  <a:moveTo>
                    <a:pt x="287" y="0"/>
                  </a:moveTo>
                  <a:lnTo>
                    <a:pt x="48" y="0"/>
                  </a:lnTo>
                  <a:lnTo>
                    <a:pt x="48" y="49"/>
                  </a:lnTo>
                  <a:lnTo>
                    <a:pt x="0" y="49"/>
                  </a:lnTo>
                  <a:lnTo>
                    <a:pt x="0" y="236"/>
                  </a:lnTo>
                  <a:lnTo>
                    <a:pt x="238" y="236"/>
                  </a:lnTo>
                  <a:lnTo>
                    <a:pt x="238" y="187"/>
                  </a:lnTo>
                  <a:lnTo>
                    <a:pt x="287" y="187"/>
                  </a:lnTo>
                  <a:lnTo>
                    <a:pt x="287" y="0"/>
                  </a:lnTo>
                  <a:close/>
                  <a:moveTo>
                    <a:pt x="61" y="16"/>
                  </a:moveTo>
                  <a:lnTo>
                    <a:pt x="274" y="16"/>
                  </a:lnTo>
                  <a:lnTo>
                    <a:pt x="274" y="157"/>
                  </a:lnTo>
                  <a:lnTo>
                    <a:pt x="197" y="80"/>
                  </a:lnTo>
                  <a:lnTo>
                    <a:pt x="197" y="77"/>
                  </a:lnTo>
                  <a:lnTo>
                    <a:pt x="197" y="80"/>
                  </a:lnTo>
                  <a:lnTo>
                    <a:pt x="194" y="77"/>
                  </a:lnTo>
                  <a:lnTo>
                    <a:pt x="194" y="80"/>
                  </a:lnTo>
                  <a:lnTo>
                    <a:pt x="194" y="77"/>
                  </a:lnTo>
                  <a:lnTo>
                    <a:pt x="194" y="80"/>
                  </a:lnTo>
                  <a:lnTo>
                    <a:pt x="192" y="77"/>
                  </a:lnTo>
                  <a:lnTo>
                    <a:pt x="192" y="80"/>
                  </a:lnTo>
                  <a:lnTo>
                    <a:pt x="192" y="82"/>
                  </a:lnTo>
                  <a:lnTo>
                    <a:pt x="138" y="136"/>
                  </a:lnTo>
                  <a:lnTo>
                    <a:pt x="112" y="110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10"/>
                  </a:lnTo>
                  <a:lnTo>
                    <a:pt x="110" y="108"/>
                  </a:lnTo>
                  <a:lnTo>
                    <a:pt x="110" y="105"/>
                  </a:lnTo>
                  <a:lnTo>
                    <a:pt x="110" y="108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61" y="157"/>
                  </a:lnTo>
                  <a:lnTo>
                    <a:pt x="61" y="16"/>
                  </a:lnTo>
                  <a:close/>
                  <a:moveTo>
                    <a:pt x="217" y="113"/>
                  </a:moveTo>
                  <a:lnTo>
                    <a:pt x="159" y="175"/>
                  </a:lnTo>
                  <a:lnTo>
                    <a:pt x="112" y="175"/>
                  </a:lnTo>
                  <a:lnTo>
                    <a:pt x="194" y="90"/>
                  </a:lnTo>
                  <a:lnTo>
                    <a:pt x="217" y="113"/>
                  </a:lnTo>
                  <a:close/>
                  <a:moveTo>
                    <a:pt x="110" y="118"/>
                  </a:moveTo>
                  <a:lnTo>
                    <a:pt x="133" y="141"/>
                  </a:lnTo>
                  <a:lnTo>
                    <a:pt x="102" y="175"/>
                  </a:lnTo>
                  <a:lnTo>
                    <a:pt x="56" y="175"/>
                  </a:lnTo>
                  <a:lnTo>
                    <a:pt x="110" y="118"/>
                  </a:lnTo>
                  <a:close/>
                  <a:moveTo>
                    <a:pt x="225" y="221"/>
                  </a:moveTo>
                  <a:lnTo>
                    <a:pt x="13" y="221"/>
                  </a:lnTo>
                  <a:lnTo>
                    <a:pt x="13" y="62"/>
                  </a:lnTo>
                  <a:lnTo>
                    <a:pt x="48" y="62"/>
                  </a:lnTo>
                  <a:lnTo>
                    <a:pt x="48" y="187"/>
                  </a:lnTo>
                  <a:lnTo>
                    <a:pt x="225" y="187"/>
                  </a:lnTo>
                  <a:lnTo>
                    <a:pt x="225" y="221"/>
                  </a:lnTo>
                  <a:close/>
                  <a:moveTo>
                    <a:pt x="171" y="175"/>
                  </a:moveTo>
                  <a:lnTo>
                    <a:pt x="223" y="118"/>
                  </a:lnTo>
                  <a:lnTo>
                    <a:pt x="276" y="175"/>
                  </a:lnTo>
                  <a:lnTo>
                    <a:pt x="171" y="1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1" name="Group 222">
            <a:extLst>
              <a:ext uri="{FF2B5EF4-FFF2-40B4-BE49-F238E27FC236}">
                <a16:creationId xmlns:a16="http://schemas.microsoft.com/office/drawing/2014/main" id="{1A561318-C438-479D-A9F9-44D86EEE92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28" y="5447711"/>
            <a:ext cx="758825" cy="758825"/>
            <a:chOff x="860" y="3535"/>
            <a:chExt cx="478" cy="478"/>
          </a:xfrm>
        </p:grpSpPr>
        <p:sp>
          <p:nvSpPr>
            <p:cNvPr id="262" name="AutoShape 221">
              <a:extLst>
                <a:ext uri="{FF2B5EF4-FFF2-40B4-BE49-F238E27FC236}">
                  <a16:creationId xmlns:a16="http://schemas.microsoft.com/office/drawing/2014/main" id="{46C8B49C-875F-4EE7-85EB-2AD4FD381E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60" y="353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3">
              <a:extLst>
                <a:ext uri="{FF2B5EF4-FFF2-40B4-BE49-F238E27FC236}">
                  <a16:creationId xmlns:a16="http://schemas.microsoft.com/office/drawing/2014/main" id="{C45F547E-E056-48C6-9CDA-0CE3BF801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" y="353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24">
              <a:extLst>
                <a:ext uri="{FF2B5EF4-FFF2-40B4-BE49-F238E27FC236}">
                  <a16:creationId xmlns:a16="http://schemas.microsoft.com/office/drawing/2014/main" id="{E6EAE23C-5D41-4BFB-AC64-F744EDAD43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" y="3662"/>
              <a:ext cx="275" cy="226"/>
            </a:xfrm>
            <a:custGeom>
              <a:avLst/>
              <a:gdLst>
                <a:gd name="T0" fmla="*/ 47 w 275"/>
                <a:gd name="T1" fmla="*/ 0 h 226"/>
                <a:gd name="T2" fmla="*/ 0 w 275"/>
                <a:gd name="T3" fmla="*/ 47 h 226"/>
                <a:gd name="T4" fmla="*/ 228 w 275"/>
                <a:gd name="T5" fmla="*/ 226 h 226"/>
                <a:gd name="T6" fmla="*/ 275 w 275"/>
                <a:gd name="T7" fmla="*/ 179 h 226"/>
                <a:gd name="T8" fmla="*/ 216 w 275"/>
                <a:gd name="T9" fmla="*/ 211 h 226"/>
                <a:gd name="T10" fmla="*/ 12 w 275"/>
                <a:gd name="T11" fmla="*/ 59 h 226"/>
                <a:gd name="T12" fmla="*/ 47 w 275"/>
                <a:gd name="T13" fmla="*/ 179 h 226"/>
                <a:gd name="T14" fmla="*/ 216 w 275"/>
                <a:gd name="T15" fmla="*/ 211 h 226"/>
                <a:gd name="T16" fmla="*/ 154 w 275"/>
                <a:gd name="T17" fmla="*/ 140 h 226"/>
                <a:gd name="T18" fmla="*/ 140 w 275"/>
                <a:gd name="T19" fmla="*/ 140 h 226"/>
                <a:gd name="T20" fmla="*/ 132 w 275"/>
                <a:gd name="T21" fmla="*/ 111 h 226"/>
                <a:gd name="T22" fmla="*/ 125 w 275"/>
                <a:gd name="T23" fmla="*/ 103 h 226"/>
                <a:gd name="T24" fmla="*/ 118 w 275"/>
                <a:gd name="T25" fmla="*/ 89 h 226"/>
                <a:gd name="T26" fmla="*/ 115 w 275"/>
                <a:gd name="T27" fmla="*/ 74 h 226"/>
                <a:gd name="T28" fmla="*/ 123 w 275"/>
                <a:gd name="T29" fmla="*/ 57 h 226"/>
                <a:gd name="T30" fmla="*/ 132 w 275"/>
                <a:gd name="T31" fmla="*/ 47 h 226"/>
                <a:gd name="T32" fmla="*/ 145 w 275"/>
                <a:gd name="T33" fmla="*/ 45 h 226"/>
                <a:gd name="T34" fmla="*/ 154 w 275"/>
                <a:gd name="T35" fmla="*/ 45 h 226"/>
                <a:gd name="T36" fmla="*/ 164 w 275"/>
                <a:gd name="T37" fmla="*/ 49 h 226"/>
                <a:gd name="T38" fmla="*/ 176 w 275"/>
                <a:gd name="T39" fmla="*/ 64 h 226"/>
                <a:gd name="T40" fmla="*/ 179 w 275"/>
                <a:gd name="T41" fmla="*/ 76 h 226"/>
                <a:gd name="T42" fmla="*/ 174 w 275"/>
                <a:gd name="T43" fmla="*/ 96 h 226"/>
                <a:gd name="T44" fmla="*/ 162 w 275"/>
                <a:gd name="T45" fmla="*/ 113 h 226"/>
                <a:gd name="T46" fmla="*/ 162 w 275"/>
                <a:gd name="T47" fmla="*/ 138 h 226"/>
                <a:gd name="T48" fmla="*/ 137 w 275"/>
                <a:gd name="T49" fmla="*/ 148 h 226"/>
                <a:gd name="T50" fmla="*/ 157 w 275"/>
                <a:gd name="T51" fmla="*/ 148 h 226"/>
                <a:gd name="T52" fmla="*/ 184 w 275"/>
                <a:gd name="T53" fmla="*/ 145 h 226"/>
                <a:gd name="T54" fmla="*/ 196 w 275"/>
                <a:gd name="T55" fmla="*/ 157 h 226"/>
                <a:gd name="T56" fmla="*/ 199 w 275"/>
                <a:gd name="T57" fmla="*/ 167 h 226"/>
                <a:gd name="T58" fmla="*/ 98 w 275"/>
                <a:gd name="T59" fmla="*/ 155 h 226"/>
                <a:gd name="T60" fmla="*/ 108 w 275"/>
                <a:gd name="T61" fmla="*/ 148 h 226"/>
                <a:gd name="T62" fmla="*/ 125 w 275"/>
                <a:gd name="T63" fmla="*/ 143 h 226"/>
                <a:gd name="T64" fmla="*/ 211 w 275"/>
                <a:gd name="T65" fmla="*/ 167 h 226"/>
                <a:gd name="T66" fmla="*/ 203 w 275"/>
                <a:gd name="T67" fmla="*/ 143 h 226"/>
                <a:gd name="T68" fmla="*/ 191 w 275"/>
                <a:gd name="T69" fmla="*/ 135 h 226"/>
                <a:gd name="T70" fmla="*/ 174 w 275"/>
                <a:gd name="T71" fmla="*/ 130 h 226"/>
                <a:gd name="T72" fmla="*/ 181 w 275"/>
                <a:gd name="T73" fmla="*/ 108 h 226"/>
                <a:gd name="T74" fmla="*/ 191 w 275"/>
                <a:gd name="T75" fmla="*/ 81 h 226"/>
                <a:gd name="T76" fmla="*/ 189 w 275"/>
                <a:gd name="T77" fmla="*/ 67 h 226"/>
                <a:gd name="T78" fmla="*/ 179 w 275"/>
                <a:gd name="T79" fmla="*/ 45 h 226"/>
                <a:gd name="T80" fmla="*/ 159 w 275"/>
                <a:gd name="T81" fmla="*/ 32 h 226"/>
                <a:gd name="T82" fmla="*/ 137 w 275"/>
                <a:gd name="T83" fmla="*/ 32 h 226"/>
                <a:gd name="T84" fmla="*/ 120 w 275"/>
                <a:gd name="T85" fmla="*/ 40 h 226"/>
                <a:gd name="T86" fmla="*/ 108 w 275"/>
                <a:gd name="T87" fmla="*/ 54 h 226"/>
                <a:gd name="T88" fmla="*/ 103 w 275"/>
                <a:gd name="T89" fmla="*/ 79 h 226"/>
                <a:gd name="T90" fmla="*/ 110 w 275"/>
                <a:gd name="T91" fmla="*/ 106 h 226"/>
                <a:gd name="T92" fmla="*/ 120 w 275"/>
                <a:gd name="T93" fmla="*/ 118 h 226"/>
                <a:gd name="T94" fmla="*/ 98 w 275"/>
                <a:gd name="T95" fmla="*/ 138 h 226"/>
                <a:gd name="T96" fmla="*/ 88 w 275"/>
                <a:gd name="T97" fmla="*/ 145 h 226"/>
                <a:gd name="T98" fmla="*/ 83 w 275"/>
                <a:gd name="T99" fmla="*/ 165 h 226"/>
                <a:gd name="T100" fmla="*/ 59 w 275"/>
                <a:gd name="T101" fmla="*/ 167 h 226"/>
                <a:gd name="T102" fmla="*/ 262 w 275"/>
                <a:gd name="T103" fmla="*/ 1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5" h="226">
                  <a:moveTo>
                    <a:pt x="275" y="0"/>
                  </a:moveTo>
                  <a:lnTo>
                    <a:pt x="47" y="0"/>
                  </a:lnTo>
                  <a:lnTo>
                    <a:pt x="47" y="47"/>
                  </a:lnTo>
                  <a:lnTo>
                    <a:pt x="0" y="47"/>
                  </a:lnTo>
                  <a:lnTo>
                    <a:pt x="0" y="226"/>
                  </a:lnTo>
                  <a:lnTo>
                    <a:pt x="228" y="226"/>
                  </a:lnTo>
                  <a:lnTo>
                    <a:pt x="228" y="179"/>
                  </a:lnTo>
                  <a:lnTo>
                    <a:pt x="275" y="179"/>
                  </a:lnTo>
                  <a:lnTo>
                    <a:pt x="275" y="0"/>
                  </a:lnTo>
                  <a:close/>
                  <a:moveTo>
                    <a:pt x="216" y="211"/>
                  </a:moveTo>
                  <a:lnTo>
                    <a:pt x="12" y="211"/>
                  </a:lnTo>
                  <a:lnTo>
                    <a:pt x="12" y="59"/>
                  </a:lnTo>
                  <a:lnTo>
                    <a:pt x="47" y="59"/>
                  </a:lnTo>
                  <a:lnTo>
                    <a:pt x="47" y="179"/>
                  </a:lnTo>
                  <a:lnTo>
                    <a:pt x="216" y="179"/>
                  </a:lnTo>
                  <a:lnTo>
                    <a:pt x="216" y="211"/>
                  </a:lnTo>
                  <a:close/>
                  <a:moveTo>
                    <a:pt x="162" y="138"/>
                  </a:moveTo>
                  <a:lnTo>
                    <a:pt x="154" y="140"/>
                  </a:lnTo>
                  <a:lnTo>
                    <a:pt x="147" y="140"/>
                  </a:lnTo>
                  <a:lnTo>
                    <a:pt x="140" y="140"/>
                  </a:lnTo>
                  <a:lnTo>
                    <a:pt x="132" y="138"/>
                  </a:lnTo>
                  <a:lnTo>
                    <a:pt x="132" y="111"/>
                  </a:lnTo>
                  <a:lnTo>
                    <a:pt x="130" y="108"/>
                  </a:lnTo>
                  <a:lnTo>
                    <a:pt x="125" y="103"/>
                  </a:lnTo>
                  <a:lnTo>
                    <a:pt x="120" y="96"/>
                  </a:lnTo>
                  <a:lnTo>
                    <a:pt x="118" y="89"/>
                  </a:lnTo>
                  <a:lnTo>
                    <a:pt x="115" y="81"/>
                  </a:lnTo>
                  <a:lnTo>
                    <a:pt x="115" y="74"/>
                  </a:lnTo>
                  <a:lnTo>
                    <a:pt x="118" y="67"/>
                  </a:lnTo>
                  <a:lnTo>
                    <a:pt x="123" y="57"/>
                  </a:lnTo>
                  <a:lnTo>
                    <a:pt x="127" y="49"/>
                  </a:lnTo>
                  <a:lnTo>
                    <a:pt x="132" y="47"/>
                  </a:lnTo>
                  <a:lnTo>
                    <a:pt x="137" y="47"/>
                  </a:lnTo>
                  <a:lnTo>
                    <a:pt x="145" y="45"/>
                  </a:lnTo>
                  <a:lnTo>
                    <a:pt x="147" y="45"/>
                  </a:lnTo>
                  <a:lnTo>
                    <a:pt x="154" y="45"/>
                  </a:lnTo>
                  <a:lnTo>
                    <a:pt x="159" y="47"/>
                  </a:lnTo>
                  <a:lnTo>
                    <a:pt x="164" y="49"/>
                  </a:lnTo>
                  <a:lnTo>
                    <a:pt x="172" y="57"/>
                  </a:lnTo>
                  <a:lnTo>
                    <a:pt x="176" y="64"/>
                  </a:lnTo>
                  <a:lnTo>
                    <a:pt x="179" y="74"/>
                  </a:lnTo>
                  <a:lnTo>
                    <a:pt x="179" y="76"/>
                  </a:lnTo>
                  <a:lnTo>
                    <a:pt x="176" y="84"/>
                  </a:lnTo>
                  <a:lnTo>
                    <a:pt x="174" y="96"/>
                  </a:lnTo>
                  <a:lnTo>
                    <a:pt x="169" y="106"/>
                  </a:lnTo>
                  <a:lnTo>
                    <a:pt x="162" y="113"/>
                  </a:lnTo>
                  <a:lnTo>
                    <a:pt x="162" y="116"/>
                  </a:lnTo>
                  <a:lnTo>
                    <a:pt x="162" y="138"/>
                  </a:lnTo>
                  <a:close/>
                  <a:moveTo>
                    <a:pt x="125" y="143"/>
                  </a:moveTo>
                  <a:lnTo>
                    <a:pt x="137" y="148"/>
                  </a:lnTo>
                  <a:lnTo>
                    <a:pt x="145" y="150"/>
                  </a:lnTo>
                  <a:lnTo>
                    <a:pt x="157" y="148"/>
                  </a:lnTo>
                  <a:lnTo>
                    <a:pt x="169" y="143"/>
                  </a:lnTo>
                  <a:lnTo>
                    <a:pt x="184" y="145"/>
                  </a:lnTo>
                  <a:lnTo>
                    <a:pt x="191" y="150"/>
                  </a:lnTo>
                  <a:lnTo>
                    <a:pt x="196" y="157"/>
                  </a:lnTo>
                  <a:lnTo>
                    <a:pt x="199" y="162"/>
                  </a:lnTo>
                  <a:lnTo>
                    <a:pt x="199" y="167"/>
                  </a:lnTo>
                  <a:lnTo>
                    <a:pt x="96" y="167"/>
                  </a:lnTo>
                  <a:lnTo>
                    <a:pt x="98" y="155"/>
                  </a:lnTo>
                  <a:lnTo>
                    <a:pt x="103" y="150"/>
                  </a:lnTo>
                  <a:lnTo>
                    <a:pt x="108" y="148"/>
                  </a:lnTo>
                  <a:lnTo>
                    <a:pt x="113" y="145"/>
                  </a:lnTo>
                  <a:lnTo>
                    <a:pt x="125" y="143"/>
                  </a:lnTo>
                  <a:close/>
                  <a:moveTo>
                    <a:pt x="262" y="167"/>
                  </a:moveTo>
                  <a:lnTo>
                    <a:pt x="211" y="167"/>
                  </a:lnTo>
                  <a:lnTo>
                    <a:pt x="208" y="150"/>
                  </a:lnTo>
                  <a:lnTo>
                    <a:pt x="203" y="143"/>
                  </a:lnTo>
                  <a:lnTo>
                    <a:pt x="201" y="140"/>
                  </a:lnTo>
                  <a:lnTo>
                    <a:pt x="191" y="135"/>
                  </a:lnTo>
                  <a:lnTo>
                    <a:pt x="184" y="133"/>
                  </a:lnTo>
                  <a:lnTo>
                    <a:pt x="174" y="130"/>
                  </a:lnTo>
                  <a:lnTo>
                    <a:pt x="174" y="118"/>
                  </a:lnTo>
                  <a:lnTo>
                    <a:pt x="181" y="108"/>
                  </a:lnTo>
                  <a:lnTo>
                    <a:pt x="189" y="94"/>
                  </a:lnTo>
                  <a:lnTo>
                    <a:pt x="191" y="81"/>
                  </a:lnTo>
                  <a:lnTo>
                    <a:pt x="191" y="79"/>
                  </a:lnTo>
                  <a:lnTo>
                    <a:pt x="189" y="67"/>
                  </a:lnTo>
                  <a:lnTo>
                    <a:pt x="186" y="54"/>
                  </a:lnTo>
                  <a:lnTo>
                    <a:pt x="179" y="45"/>
                  </a:lnTo>
                  <a:lnTo>
                    <a:pt x="172" y="40"/>
                  </a:lnTo>
                  <a:lnTo>
                    <a:pt x="159" y="32"/>
                  </a:lnTo>
                  <a:lnTo>
                    <a:pt x="149" y="32"/>
                  </a:lnTo>
                  <a:lnTo>
                    <a:pt x="137" y="32"/>
                  </a:lnTo>
                  <a:lnTo>
                    <a:pt x="127" y="37"/>
                  </a:lnTo>
                  <a:lnTo>
                    <a:pt x="120" y="40"/>
                  </a:lnTo>
                  <a:lnTo>
                    <a:pt x="113" y="47"/>
                  </a:lnTo>
                  <a:lnTo>
                    <a:pt x="108" y="54"/>
                  </a:lnTo>
                  <a:lnTo>
                    <a:pt x="105" y="67"/>
                  </a:lnTo>
                  <a:lnTo>
                    <a:pt x="103" y="79"/>
                  </a:lnTo>
                  <a:lnTo>
                    <a:pt x="105" y="89"/>
                  </a:lnTo>
                  <a:lnTo>
                    <a:pt x="110" y="106"/>
                  </a:lnTo>
                  <a:lnTo>
                    <a:pt x="118" y="116"/>
                  </a:lnTo>
                  <a:lnTo>
                    <a:pt x="120" y="118"/>
                  </a:lnTo>
                  <a:lnTo>
                    <a:pt x="120" y="130"/>
                  </a:lnTo>
                  <a:lnTo>
                    <a:pt x="98" y="138"/>
                  </a:lnTo>
                  <a:lnTo>
                    <a:pt x="93" y="140"/>
                  </a:lnTo>
                  <a:lnTo>
                    <a:pt x="88" y="145"/>
                  </a:lnTo>
                  <a:lnTo>
                    <a:pt x="86" y="152"/>
                  </a:lnTo>
                  <a:lnTo>
                    <a:pt x="83" y="165"/>
                  </a:lnTo>
                  <a:lnTo>
                    <a:pt x="83" y="167"/>
                  </a:lnTo>
                  <a:lnTo>
                    <a:pt x="59" y="167"/>
                  </a:lnTo>
                  <a:lnTo>
                    <a:pt x="59" y="15"/>
                  </a:lnTo>
                  <a:lnTo>
                    <a:pt x="262" y="15"/>
                  </a:lnTo>
                  <a:lnTo>
                    <a:pt x="262" y="16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27">
            <a:extLst>
              <a:ext uri="{FF2B5EF4-FFF2-40B4-BE49-F238E27FC236}">
                <a16:creationId xmlns:a16="http://schemas.microsoft.com/office/drawing/2014/main" id="{36CF252E-D41F-4EB2-B7C1-3452849270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853" y="5407229"/>
            <a:ext cx="841375" cy="839788"/>
            <a:chOff x="282" y="3488"/>
            <a:chExt cx="530" cy="529"/>
          </a:xfrm>
        </p:grpSpPr>
        <p:sp>
          <p:nvSpPr>
            <p:cNvPr id="266" name="AutoShape 226">
              <a:extLst>
                <a:ext uri="{FF2B5EF4-FFF2-40B4-BE49-F238E27FC236}">
                  <a16:creationId xmlns:a16="http://schemas.microsoft.com/office/drawing/2014/main" id="{AF0CF411-0A17-41ED-968F-C569BB2A28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2" y="3488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228">
              <a:extLst>
                <a:ext uri="{FF2B5EF4-FFF2-40B4-BE49-F238E27FC236}">
                  <a16:creationId xmlns:a16="http://schemas.microsoft.com/office/drawing/2014/main" id="{66B8CA46-4BBD-4C6A-87C9-106FBCADC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" y="348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29">
              <a:extLst>
                <a:ext uri="{FF2B5EF4-FFF2-40B4-BE49-F238E27FC236}">
                  <a16:creationId xmlns:a16="http://schemas.microsoft.com/office/drawing/2014/main" id="{A600B871-822C-4548-914F-4A93F748E4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" y="3506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0">
              <a:extLst>
                <a:ext uri="{FF2B5EF4-FFF2-40B4-BE49-F238E27FC236}">
                  <a16:creationId xmlns:a16="http://schemas.microsoft.com/office/drawing/2014/main" id="{D608A348-7766-4805-9D77-47BAD4B8A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" y="3636"/>
              <a:ext cx="287" cy="235"/>
            </a:xfrm>
            <a:custGeom>
              <a:avLst/>
              <a:gdLst>
                <a:gd name="T0" fmla="*/ 48 w 287"/>
                <a:gd name="T1" fmla="*/ 0 h 235"/>
                <a:gd name="T2" fmla="*/ 0 w 287"/>
                <a:gd name="T3" fmla="*/ 49 h 235"/>
                <a:gd name="T4" fmla="*/ 238 w 287"/>
                <a:gd name="T5" fmla="*/ 235 h 235"/>
                <a:gd name="T6" fmla="*/ 287 w 287"/>
                <a:gd name="T7" fmla="*/ 187 h 235"/>
                <a:gd name="T8" fmla="*/ 225 w 287"/>
                <a:gd name="T9" fmla="*/ 220 h 235"/>
                <a:gd name="T10" fmla="*/ 13 w 287"/>
                <a:gd name="T11" fmla="*/ 61 h 235"/>
                <a:gd name="T12" fmla="*/ 48 w 287"/>
                <a:gd name="T13" fmla="*/ 187 h 235"/>
                <a:gd name="T14" fmla="*/ 225 w 287"/>
                <a:gd name="T15" fmla="*/ 220 h 235"/>
                <a:gd name="T16" fmla="*/ 161 w 287"/>
                <a:gd name="T17" fmla="*/ 146 h 235"/>
                <a:gd name="T18" fmla="*/ 146 w 287"/>
                <a:gd name="T19" fmla="*/ 146 h 235"/>
                <a:gd name="T20" fmla="*/ 138 w 287"/>
                <a:gd name="T21" fmla="*/ 115 h 235"/>
                <a:gd name="T22" fmla="*/ 130 w 287"/>
                <a:gd name="T23" fmla="*/ 107 h 235"/>
                <a:gd name="T24" fmla="*/ 123 w 287"/>
                <a:gd name="T25" fmla="*/ 92 h 235"/>
                <a:gd name="T26" fmla="*/ 120 w 287"/>
                <a:gd name="T27" fmla="*/ 77 h 235"/>
                <a:gd name="T28" fmla="*/ 128 w 287"/>
                <a:gd name="T29" fmla="*/ 59 h 235"/>
                <a:gd name="T30" fmla="*/ 138 w 287"/>
                <a:gd name="T31" fmla="*/ 49 h 235"/>
                <a:gd name="T32" fmla="*/ 151 w 287"/>
                <a:gd name="T33" fmla="*/ 46 h 235"/>
                <a:gd name="T34" fmla="*/ 161 w 287"/>
                <a:gd name="T35" fmla="*/ 46 h 235"/>
                <a:gd name="T36" fmla="*/ 171 w 287"/>
                <a:gd name="T37" fmla="*/ 51 h 235"/>
                <a:gd name="T38" fmla="*/ 184 w 287"/>
                <a:gd name="T39" fmla="*/ 67 h 235"/>
                <a:gd name="T40" fmla="*/ 187 w 287"/>
                <a:gd name="T41" fmla="*/ 79 h 235"/>
                <a:gd name="T42" fmla="*/ 182 w 287"/>
                <a:gd name="T43" fmla="*/ 100 h 235"/>
                <a:gd name="T44" fmla="*/ 169 w 287"/>
                <a:gd name="T45" fmla="*/ 118 h 235"/>
                <a:gd name="T46" fmla="*/ 169 w 287"/>
                <a:gd name="T47" fmla="*/ 143 h 235"/>
                <a:gd name="T48" fmla="*/ 143 w 287"/>
                <a:gd name="T49" fmla="*/ 153 h 235"/>
                <a:gd name="T50" fmla="*/ 164 w 287"/>
                <a:gd name="T51" fmla="*/ 153 h 235"/>
                <a:gd name="T52" fmla="*/ 192 w 287"/>
                <a:gd name="T53" fmla="*/ 151 h 235"/>
                <a:gd name="T54" fmla="*/ 205 w 287"/>
                <a:gd name="T55" fmla="*/ 164 h 235"/>
                <a:gd name="T56" fmla="*/ 207 w 287"/>
                <a:gd name="T57" fmla="*/ 174 h 235"/>
                <a:gd name="T58" fmla="*/ 102 w 287"/>
                <a:gd name="T59" fmla="*/ 161 h 235"/>
                <a:gd name="T60" fmla="*/ 112 w 287"/>
                <a:gd name="T61" fmla="*/ 153 h 235"/>
                <a:gd name="T62" fmla="*/ 130 w 287"/>
                <a:gd name="T63" fmla="*/ 148 h 235"/>
                <a:gd name="T64" fmla="*/ 220 w 287"/>
                <a:gd name="T65" fmla="*/ 174 h 235"/>
                <a:gd name="T66" fmla="*/ 212 w 287"/>
                <a:gd name="T67" fmla="*/ 148 h 235"/>
                <a:gd name="T68" fmla="*/ 200 w 287"/>
                <a:gd name="T69" fmla="*/ 141 h 235"/>
                <a:gd name="T70" fmla="*/ 182 w 287"/>
                <a:gd name="T71" fmla="*/ 136 h 235"/>
                <a:gd name="T72" fmla="*/ 189 w 287"/>
                <a:gd name="T73" fmla="*/ 113 h 235"/>
                <a:gd name="T74" fmla="*/ 200 w 287"/>
                <a:gd name="T75" fmla="*/ 84 h 235"/>
                <a:gd name="T76" fmla="*/ 197 w 287"/>
                <a:gd name="T77" fmla="*/ 69 h 235"/>
                <a:gd name="T78" fmla="*/ 187 w 287"/>
                <a:gd name="T79" fmla="*/ 46 h 235"/>
                <a:gd name="T80" fmla="*/ 166 w 287"/>
                <a:gd name="T81" fmla="*/ 33 h 235"/>
                <a:gd name="T82" fmla="*/ 143 w 287"/>
                <a:gd name="T83" fmla="*/ 33 h 235"/>
                <a:gd name="T84" fmla="*/ 125 w 287"/>
                <a:gd name="T85" fmla="*/ 41 h 235"/>
                <a:gd name="T86" fmla="*/ 112 w 287"/>
                <a:gd name="T87" fmla="*/ 56 h 235"/>
                <a:gd name="T88" fmla="*/ 107 w 287"/>
                <a:gd name="T89" fmla="*/ 82 h 235"/>
                <a:gd name="T90" fmla="*/ 115 w 287"/>
                <a:gd name="T91" fmla="*/ 110 h 235"/>
                <a:gd name="T92" fmla="*/ 125 w 287"/>
                <a:gd name="T93" fmla="*/ 123 h 235"/>
                <a:gd name="T94" fmla="*/ 102 w 287"/>
                <a:gd name="T95" fmla="*/ 143 h 235"/>
                <a:gd name="T96" fmla="*/ 92 w 287"/>
                <a:gd name="T97" fmla="*/ 151 h 235"/>
                <a:gd name="T98" fmla="*/ 87 w 287"/>
                <a:gd name="T99" fmla="*/ 171 h 235"/>
                <a:gd name="T100" fmla="*/ 61 w 287"/>
                <a:gd name="T101" fmla="*/ 174 h 235"/>
                <a:gd name="T102" fmla="*/ 274 w 287"/>
                <a:gd name="T103" fmla="*/ 1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7" h="235">
                  <a:moveTo>
                    <a:pt x="287" y="0"/>
                  </a:moveTo>
                  <a:lnTo>
                    <a:pt x="48" y="0"/>
                  </a:lnTo>
                  <a:lnTo>
                    <a:pt x="48" y="49"/>
                  </a:lnTo>
                  <a:lnTo>
                    <a:pt x="0" y="49"/>
                  </a:lnTo>
                  <a:lnTo>
                    <a:pt x="0" y="235"/>
                  </a:lnTo>
                  <a:lnTo>
                    <a:pt x="238" y="235"/>
                  </a:lnTo>
                  <a:lnTo>
                    <a:pt x="238" y="187"/>
                  </a:lnTo>
                  <a:lnTo>
                    <a:pt x="287" y="187"/>
                  </a:lnTo>
                  <a:lnTo>
                    <a:pt x="287" y="0"/>
                  </a:lnTo>
                  <a:close/>
                  <a:moveTo>
                    <a:pt x="225" y="220"/>
                  </a:moveTo>
                  <a:lnTo>
                    <a:pt x="13" y="220"/>
                  </a:lnTo>
                  <a:lnTo>
                    <a:pt x="13" y="61"/>
                  </a:lnTo>
                  <a:lnTo>
                    <a:pt x="48" y="61"/>
                  </a:lnTo>
                  <a:lnTo>
                    <a:pt x="48" y="187"/>
                  </a:lnTo>
                  <a:lnTo>
                    <a:pt x="225" y="187"/>
                  </a:lnTo>
                  <a:lnTo>
                    <a:pt x="225" y="220"/>
                  </a:lnTo>
                  <a:close/>
                  <a:moveTo>
                    <a:pt x="169" y="143"/>
                  </a:moveTo>
                  <a:lnTo>
                    <a:pt x="161" y="146"/>
                  </a:lnTo>
                  <a:lnTo>
                    <a:pt x="153" y="146"/>
                  </a:lnTo>
                  <a:lnTo>
                    <a:pt x="146" y="146"/>
                  </a:lnTo>
                  <a:lnTo>
                    <a:pt x="138" y="143"/>
                  </a:lnTo>
                  <a:lnTo>
                    <a:pt x="138" y="115"/>
                  </a:lnTo>
                  <a:lnTo>
                    <a:pt x="135" y="113"/>
                  </a:lnTo>
                  <a:lnTo>
                    <a:pt x="130" y="107"/>
                  </a:lnTo>
                  <a:lnTo>
                    <a:pt x="125" y="100"/>
                  </a:lnTo>
                  <a:lnTo>
                    <a:pt x="123" y="92"/>
                  </a:lnTo>
                  <a:lnTo>
                    <a:pt x="120" y="84"/>
                  </a:lnTo>
                  <a:lnTo>
                    <a:pt x="120" y="77"/>
                  </a:lnTo>
                  <a:lnTo>
                    <a:pt x="123" y="69"/>
                  </a:lnTo>
                  <a:lnTo>
                    <a:pt x="128" y="59"/>
                  </a:lnTo>
                  <a:lnTo>
                    <a:pt x="133" y="51"/>
                  </a:lnTo>
                  <a:lnTo>
                    <a:pt x="138" y="49"/>
                  </a:lnTo>
                  <a:lnTo>
                    <a:pt x="143" y="49"/>
                  </a:lnTo>
                  <a:lnTo>
                    <a:pt x="151" y="46"/>
                  </a:lnTo>
                  <a:lnTo>
                    <a:pt x="153" y="46"/>
                  </a:lnTo>
                  <a:lnTo>
                    <a:pt x="161" y="46"/>
                  </a:lnTo>
                  <a:lnTo>
                    <a:pt x="166" y="49"/>
                  </a:lnTo>
                  <a:lnTo>
                    <a:pt x="171" y="51"/>
                  </a:lnTo>
                  <a:lnTo>
                    <a:pt x="179" y="59"/>
                  </a:lnTo>
                  <a:lnTo>
                    <a:pt x="184" y="67"/>
                  </a:lnTo>
                  <a:lnTo>
                    <a:pt x="187" y="77"/>
                  </a:lnTo>
                  <a:lnTo>
                    <a:pt x="187" y="79"/>
                  </a:lnTo>
                  <a:lnTo>
                    <a:pt x="184" y="87"/>
                  </a:lnTo>
                  <a:lnTo>
                    <a:pt x="182" y="100"/>
                  </a:lnTo>
                  <a:lnTo>
                    <a:pt x="176" y="110"/>
                  </a:lnTo>
                  <a:lnTo>
                    <a:pt x="169" y="118"/>
                  </a:lnTo>
                  <a:lnTo>
                    <a:pt x="169" y="120"/>
                  </a:lnTo>
                  <a:lnTo>
                    <a:pt x="169" y="143"/>
                  </a:lnTo>
                  <a:close/>
                  <a:moveTo>
                    <a:pt x="130" y="148"/>
                  </a:moveTo>
                  <a:lnTo>
                    <a:pt x="143" y="153"/>
                  </a:lnTo>
                  <a:lnTo>
                    <a:pt x="151" y="156"/>
                  </a:lnTo>
                  <a:lnTo>
                    <a:pt x="164" y="153"/>
                  </a:lnTo>
                  <a:lnTo>
                    <a:pt x="176" y="148"/>
                  </a:lnTo>
                  <a:lnTo>
                    <a:pt x="192" y="151"/>
                  </a:lnTo>
                  <a:lnTo>
                    <a:pt x="200" y="156"/>
                  </a:lnTo>
                  <a:lnTo>
                    <a:pt x="205" y="164"/>
                  </a:lnTo>
                  <a:lnTo>
                    <a:pt x="207" y="169"/>
                  </a:lnTo>
                  <a:lnTo>
                    <a:pt x="207" y="174"/>
                  </a:lnTo>
                  <a:lnTo>
                    <a:pt x="100" y="174"/>
                  </a:lnTo>
                  <a:lnTo>
                    <a:pt x="102" y="161"/>
                  </a:lnTo>
                  <a:lnTo>
                    <a:pt x="107" y="156"/>
                  </a:lnTo>
                  <a:lnTo>
                    <a:pt x="112" y="153"/>
                  </a:lnTo>
                  <a:lnTo>
                    <a:pt x="118" y="151"/>
                  </a:lnTo>
                  <a:lnTo>
                    <a:pt x="130" y="148"/>
                  </a:lnTo>
                  <a:close/>
                  <a:moveTo>
                    <a:pt x="274" y="174"/>
                  </a:moveTo>
                  <a:lnTo>
                    <a:pt x="220" y="174"/>
                  </a:lnTo>
                  <a:lnTo>
                    <a:pt x="217" y="156"/>
                  </a:lnTo>
                  <a:lnTo>
                    <a:pt x="212" y="148"/>
                  </a:lnTo>
                  <a:lnTo>
                    <a:pt x="210" y="146"/>
                  </a:lnTo>
                  <a:lnTo>
                    <a:pt x="200" y="141"/>
                  </a:lnTo>
                  <a:lnTo>
                    <a:pt x="192" y="138"/>
                  </a:lnTo>
                  <a:lnTo>
                    <a:pt x="182" y="136"/>
                  </a:lnTo>
                  <a:lnTo>
                    <a:pt x="182" y="123"/>
                  </a:lnTo>
                  <a:lnTo>
                    <a:pt x="189" y="113"/>
                  </a:lnTo>
                  <a:lnTo>
                    <a:pt x="197" y="97"/>
                  </a:lnTo>
                  <a:lnTo>
                    <a:pt x="200" y="84"/>
                  </a:lnTo>
                  <a:lnTo>
                    <a:pt x="200" y="82"/>
                  </a:lnTo>
                  <a:lnTo>
                    <a:pt x="197" y="69"/>
                  </a:lnTo>
                  <a:lnTo>
                    <a:pt x="194" y="56"/>
                  </a:lnTo>
                  <a:lnTo>
                    <a:pt x="187" y="46"/>
                  </a:lnTo>
                  <a:lnTo>
                    <a:pt x="179" y="41"/>
                  </a:lnTo>
                  <a:lnTo>
                    <a:pt x="166" y="33"/>
                  </a:lnTo>
                  <a:lnTo>
                    <a:pt x="156" y="33"/>
                  </a:lnTo>
                  <a:lnTo>
                    <a:pt x="143" y="33"/>
                  </a:lnTo>
                  <a:lnTo>
                    <a:pt x="133" y="38"/>
                  </a:lnTo>
                  <a:lnTo>
                    <a:pt x="125" y="41"/>
                  </a:lnTo>
                  <a:lnTo>
                    <a:pt x="118" y="49"/>
                  </a:lnTo>
                  <a:lnTo>
                    <a:pt x="112" y="56"/>
                  </a:lnTo>
                  <a:lnTo>
                    <a:pt x="110" y="69"/>
                  </a:lnTo>
                  <a:lnTo>
                    <a:pt x="107" y="82"/>
                  </a:lnTo>
                  <a:lnTo>
                    <a:pt x="110" y="92"/>
                  </a:lnTo>
                  <a:lnTo>
                    <a:pt x="115" y="110"/>
                  </a:lnTo>
                  <a:lnTo>
                    <a:pt x="123" y="120"/>
                  </a:lnTo>
                  <a:lnTo>
                    <a:pt x="125" y="123"/>
                  </a:lnTo>
                  <a:lnTo>
                    <a:pt x="125" y="136"/>
                  </a:lnTo>
                  <a:lnTo>
                    <a:pt x="102" y="143"/>
                  </a:lnTo>
                  <a:lnTo>
                    <a:pt x="97" y="146"/>
                  </a:lnTo>
                  <a:lnTo>
                    <a:pt x="92" y="151"/>
                  </a:lnTo>
                  <a:lnTo>
                    <a:pt x="89" y="159"/>
                  </a:lnTo>
                  <a:lnTo>
                    <a:pt x="87" y="171"/>
                  </a:lnTo>
                  <a:lnTo>
                    <a:pt x="87" y="174"/>
                  </a:lnTo>
                  <a:lnTo>
                    <a:pt x="61" y="174"/>
                  </a:lnTo>
                  <a:lnTo>
                    <a:pt x="61" y="15"/>
                  </a:lnTo>
                  <a:lnTo>
                    <a:pt x="274" y="15"/>
                  </a:lnTo>
                  <a:lnTo>
                    <a:pt x="274" y="1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233">
            <a:extLst>
              <a:ext uri="{FF2B5EF4-FFF2-40B4-BE49-F238E27FC236}">
                <a16:creationId xmlns:a16="http://schemas.microsoft.com/office/drawing/2014/main" id="{489F02D9-559E-4A44-908F-A37846F097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955" y="5447711"/>
            <a:ext cx="760412" cy="758825"/>
            <a:chOff x="2273" y="3554"/>
            <a:chExt cx="479" cy="478"/>
          </a:xfrm>
        </p:grpSpPr>
        <p:sp>
          <p:nvSpPr>
            <p:cNvPr id="275" name="AutoShape 232">
              <a:extLst>
                <a:ext uri="{FF2B5EF4-FFF2-40B4-BE49-F238E27FC236}">
                  <a16:creationId xmlns:a16="http://schemas.microsoft.com/office/drawing/2014/main" id="{233AFDC3-761B-4CF5-8AA0-3F2E7A19D26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73" y="355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34">
              <a:extLst>
                <a:ext uri="{FF2B5EF4-FFF2-40B4-BE49-F238E27FC236}">
                  <a16:creationId xmlns:a16="http://schemas.microsoft.com/office/drawing/2014/main" id="{80CABB28-B254-4BC5-8D1B-8574F02DD4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55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35">
              <a:extLst>
                <a:ext uri="{FF2B5EF4-FFF2-40B4-BE49-F238E27FC236}">
                  <a16:creationId xmlns:a16="http://schemas.microsoft.com/office/drawing/2014/main" id="{11D7D615-85C0-40AA-A078-930643C3FC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3838"/>
              <a:ext cx="59" cy="62"/>
            </a:xfrm>
            <a:custGeom>
              <a:avLst/>
              <a:gdLst>
                <a:gd name="T0" fmla="*/ 12 w 24"/>
                <a:gd name="T1" fmla="*/ 21 h 25"/>
                <a:gd name="T2" fmla="*/ 4 w 24"/>
                <a:gd name="T3" fmla="*/ 13 h 25"/>
                <a:gd name="T4" fmla="*/ 12 w 24"/>
                <a:gd name="T5" fmla="*/ 5 h 25"/>
                <a:gd name="T6" fmla="*/ 20 w 24"/>
                <a:gd name="T7" fmla="*/ 13 h 25"/>
                <a:gd name="T8" fmla="*/ 12 w 24"/>
                <a:gd name="T9" fmla="*/ 21 h 25"/>
                <a:gd name="T10" fmla="*/ 12 w 24"/>
                <a:gd name="T11" fmla="*/ 0 h 25"/>
                <a:gd name="T12" fmla="*/ 0 w 24"/>
                <a:gd name="T13" fmla="*/ 13 h 25"/>
                <a:gd name="T14" fmla="*/ 12 w 24"/>
                <a:gd name="T15" fmla="*/ 25 h 25"/>
                <a:gd name="T16" fmla="*/ 24 w 24"/>
                <a:gd name="T17" fmla="*/ 13 h 25"/>
                <a:gd name="T18" fmla="*/ 12 w 24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1"/>
                  </a:moveTo>
                  <a:cubicBezTo>
                    <a:pt x="8" y="21"/>
                    <a:pt x="4" y="17"/>
                    <a:pt x="4" y="13"/>
                  </a:cubicBezTo>
                  <a:cubicBezTo>
                    <a:pt x="4" y="8"/>
                    <a:pt x="8" y="5"/>
                    <a:pt x="12" y="5"/>
                  </a:cubicBezTo>
                  <a:cubicBezTo>
                    <a:pt x="17" y="5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cubicBezTo>
                    <a:pt x="19" y="25"/>
                    <a:pt x="24" y="20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36">
              <a:extLst>
                <a:ext uri="{FF2B5EF4-FFF2-40B4-BE49-F238E27FC236}">
                  <a16:creationId xmlns:a16="http://schemas.microsoft.com/office/drawing/2014/main" id="{5BA5A692-EF16-4BB1-B9BD-F05BE53320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5" y="3838"/>
              <a:ext cx="59" cy="62"/>
            </a:xfrm>
            <a:custGeom>
              <a:avLst/>
              <a:gdLst>
                <a:gd name="T0" fmla="*/ 12 w 24"/>
                <a:gd name="T1" fmla="*/ 21 h 25"/>
                <a:gd name="T2" fmla="*/ 4 w 24"/>
                <a:gd name="T3" fmla="*/ 13 h 25"/>
                <a:gd name="T4" fmla="*/ 12 w 24"/>
                <a:gd name="T5" fmla="*/ 5 h 25"/>
                <a:gd name="T6" fmla="*/ 20 w 24"/>
                <a:gd name="T7" fmla="*/ 13 h 25"/>
                <a:gd name="T8" fmla="*/ 12 w 24"/>
                <a:gd name="T9" fmla="*/ 21 h 25"/>
                <a:gd name="T10" fmla="*/ 12 w 24"/>
                <a:gd name="T11" fmla="*/ 0 h 25"/>
                <a:gd name="T12" fmla="*/ 0 w 24"/>
                <a:gd name="T13" fmla="*/ 13 h 25"/>
                <a:gd name="T14" fmla="*/ 12 w 24"/>
                <a:gd name="T15" fmla="*/ 25 h 25"/>
                <a:gd name="T16" fmla="*/ 24 w 24"/>
                <a:gd name="T17" fmla="*/ 13 h 25"/>
                <a:gd name="T18" fmla="*/ 12 w 24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1"/>
                  </a:moveTo>
                  <a:cubicBezTo>
                    <a:pt x="7" y="21"/>
                    <a:pt x="4" y="17"/>
                    <a:pt x="4" y="13"/>
                  </a:cubicBezTo>
                  <a:cubicBezTo>
                    <a:pt x="4" y="8"/>
                    <a:pt x="7" y="5"/>
                    <a:pt x="12" y="5"/>
                  </a:cubicBezTo>
                  <a:cubicBezTo>
                    <a:pt x="17" y="5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cubicBezTo>
                    <a:pt x="19" y="25"/>
                    <a:pt x="24" y="20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37">
              <a:extLst>
                <a:ext uri="{FF2B5EF4-FFF2-40B4-BE49-F238E27FC236}">
                  <a16:creationId xmlns:a16="http://schemas.microsoft.com/office/drawing/2014/main" id="{69FA1E34-2C1B-4974-9370-1672BF9C7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3" y="3738"/>
              <a:ext cx="113" cy="137"/>
            </a:xfrm>
            <a:custGeom>
              <a:avLst/>
              <a:gdLst>
                <a:gd name="T0" fmla="*/ 45 w 46"/>
                <a:gd name="T1" fmla="*/ 30 h 56"/>
                <a:gd name="T2" fmla="*/ 27 w 46"/>
                <a:gd name="T3" fmla="*/ 1 h 56"/>
                <a:gd name="T4" fmla="*/ 25 w 46"/>
                <a:gd name="T5" fmla="*/ 0 h 56"/>
                <a:gd name="T6" fmla="*/ 2 w 46"/>
                <a:gd name="T7" fmla="*/ 0 h 56"/>
                <a:gd name="T8" fmla="*/ 0 w 46"/>
                <a:gd name="T9" fmla="*/ 2 h 56"/>
                <a:gd name="T10" fmla="*/ 0 w 46"/>
                <a:gd name="T11" fmla="*/ 54 h 56"/>
                <a:gd name="T12" fmla="*/ 2 w 46"/>
                <a:gd name="T13" fmla="*/ 56 h 56"/>
                <a:gd name="T14" fmla="*/ 11 w 46"/>
                <a:gd name="T15" fmla="*/ 56 h 56"/>
                <a:gd name="T16" fmla="*/ 11 w 46"/>
                <a:gd name="T17" fmla="*/ 52 h 56"/>
                <a:gd name="T18" fmla="*/ 5 w 46"/>
                <a:gd name="T19" fmla="*/ 52 h 56"/>
                <a:gd name="T20" fmla="*/ 5 w 46"/>
                <a:gd name="T21" fmla="*/ 4 h 56"/>
                <a:gd name="T22" fmla="*/ 24 w 46"/>
                <a:gd name="T23" fmla="*/ 4 h 56"/>
                <a:gd name="T24" fmla="*/ 42 w 46"/>
                <a:gd name="T25" fmla="*/ 32 h 56"/>
                <a:gd name="T26" fmla="*/ 42 w 46"/>
                <a:gd name="T27" fmla="*/ 52 h 56"/>
                <a:gd name="T28" fmla="*/ 31 w 46"/>
                <a:gd name="T29" fmla="*/ 52 h 56"/>
                <a:gd name="T30" fmla="*/ 31 w 46"/>
                <a:gd name="T31" fmla="*/ 56 h 56"/>
                <a:gd name="T32" fmla="*/ 44 w 46"/>
                <a:gd name="T33" fmla="*/ 56 h 56"/>
                <a:gd name="T34" fmla="*/ 46 w 46"/>
                <a:gd name="T35" fmla="*/ 54 h 56"/>
                <a:gd name="T36" fmla="*/ 46 w 46"/>
                <a:gd name="T37" fmla="*/ 31 h 56"/>
                <a:gd name="T38" fmla="*/ 45 w 46"/>
                <a:gd name="T3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56">
                  <a:moveTo>
                    <a:pt x="45" y="30"/>
                  </a:moveTo>
                  <a:cubicBezTo>
                    <a:pt x="27" y="1"/>
                    <a:pt x="27" y="1"/>
                    <a:pt x="27" y="1"/>
                  </a:cubicBezTo>
                  <a:cubicBezTo>
                    <a:pt x="26" y="1"/>
                    <a:pt x="26" y="0"/>
                    <a:pt x="2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6" y="55"/>
                    <a:pt x="46" y="54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38">
              <a:extLst>
                <a:ext uri="{FF2B5EF4-FFF2-40B4-BE49-F238E27FC236}">
                  <a16:creationId xmlns:a16="http://schemas.microsoft.com/office/drawing/2014/main" id="{5A7A2D89-352C-4400-AF2B-ED975D32F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" y="3760"/>
              <a:ext cx="81" cy="54"/>
            </a:xfrm>
            <a:custGeom>
              <a:avLst/>
              <a:gdLst>
                <a:gd name="T0" fmla="*/ 4 w 33"/>
                <a:gd name="T1" fmla="*/ 18 h 22"/>
                <a:gd name="T2" fmla="*/ 4 w 33"/>
                <a:gd name="T3" fmla="*/ 4 h 22"/>
                <a:gd name="T4" fmla="*/ 20 w 33"/>
                <a:gd name="T5" fmla="*/ 4 h 22"/>
                <a:gd name="T6" fmla="*/ 20 w 33"/>
                <a:gd name="T7" fmla="*/ 0 h 22"/>
                <a:gd name="T8" fmla="*/ 2 w 33"/>
                <a:gd name="T9" fmla="*/ 0 h 22"/>
                <a:gd name="T10" fmla="*/ 0 w 33"/>
                <a:gd name="T11" fmla="*/ 2 h 22"/>
                <a:gd name="T12" fmla="*/ 0 w 33"/>
                <a:gd name="T13" fmla="*/ 20 h 22"/>
                <a:gd name="T14" fmla="*/ 2 w 33"/>
                <a:gd name="T15" fmla="*/ 22 h 22"/>
                <a:gd name="T16" fmla="*/ 33 w 33"/>
                <a:gd name="T17" fmla="*/ 22 h 22"/>
                <a:gd name="T18" fmla="*/ 33 w 33"/>
                <a:gd name="T19" fmla="*/ 18 h 22"/>
                <a:gd name="T20" fmla="*/ 4 w 33"/>
                <a:gd name="T21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2">
                  <a:moveTo>
                    <a:pt x="4" y="18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4" y="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39">
              <a:extLst>
                <a:ext uri="{FF2B5EF4-FFF2-40B4-BE49-F238E27FC236}">
                  <a16:creationId xmlns:a16="http://schemas.microsoft.com/office/drawing/2014/main" id="{E02090B4-1E21-4D95-B91D-B8E0B2E7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1" y="3704"/>
              <a:ext cx="204" cy="171"/>
            </a:xfrm>
            <a:custGeom>
              <a:avLst/>
              <a:gdLst>
                <a:gd name="T0" fmla="*/ 80 w 83"/>
                <a:gd name="T1" fmla="*/ 0 h 70"/>
                <a:gd name="T2" fmla="*/ 2 w 83"/>
                <a:gd name="T3" fmla="*/ 0 h 70"/>
                <a:gd name="T4" fmla="*/ 0 w 83"/>
                <a:gd name="T5" fmla="*/ 2 h 70"/>
                <a:gd name="T6" fmla="*/ 0 w 83"/>
                <a:gd name="T7" fmla="*/ 68 h 70"/>
                <a:gd name="T8" fmla="*/ 2 w 83"/>
                <a:gd name="T9" fmla="*/ 70 h 70"/>
                <a:gd name="T10" fmla="*/ 19 w 83"/>
                <a:gd name="T11" fmla="*/ 70 h 70"/>
                <a:gd name="T12" fmla="*/ 19 w 83"/>
                <a:gd name="T13" fmla="*/ 66 h 70"/>
                <a:gd name="T14" fmla="*/ 4 w 83"/>
                <a:gd name="T15" fmla="*/ 66 h 70"/>
                <a:gd name="T16" fmla="*/ 4 w 83"/>
                <a:gd name="T17" fmla="*/ 4 h 70"/>
                <a:gd name="T18" fmla="*/ 78 w 83"/>
                <a:gd name="T19" fmla="*/ 4 h 70"/>
                <a:gd name="T20" fmla="*/ 78 w 83"/>
                <a:gd name="T21" fmla="*/ 66 h 70"/>
                <a:gd name="T22" fmla="*/ 39 w 83"/>
                <a:gd name="T23" fmla="*/ 66 h 70"/>
                <a:gd name="T24" fmla="*/ 39 w 83"/>
                <a:gd name="T25" fmla="*/ 70 h 70"/>
                <a:gd name="T26" fmla="*/ 80 w 83"/>
                <a:gd name="T27" fmla="*/ 70 h 70"/>
                <a:gd name="T28" fmla="*/ 83 w 83"/>
                <a:gd name="T29" fmla="*/ 68 h 70"/>
                <a:gd name="T30" fmla="*/ 83 w 83"/>
                <a:gd name="T31" fmla="*/ 2 h 70"/>
                <a:gd name="T32" fmla="*/ 80 w 83"/>
                <a:gd name="T3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70">
                  <a:moveTo>
                    <a:pt x="8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66"/>
                    <a:pt x="78" y="66"/>
                    <a:pt x="78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2" y="70"/>
                    <a:pt x="83" y="69"/>
                    <a:pt x="83" y="68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1"/>
                    <a:pt x="82" y="0"/>
                    <a:pt x="80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Rectangle 240">
              <a:extLst>
                <a:ext uri="{FF2B5EF4-FFF2-40B4-BE49-F238E27FC236}">
                  <a16:creationId xmlns:a16="http://schemas.microsoft.com/office/drawing/2014/main" id="{5A88E5E1-22B0-4878-8AE4-FC148064F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" y="3843"/>
              <a:ext cx="32" cy="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Rectangle 241">
              <a:extLst>
                <a:ext uri="{FF2B5EF4-FFF2-40B4-BE49-F238E27FC236}">
                  <a16:creationId xmlns:a16="http://schemas.microsoft.com/office/drawing/2014/main" id="{A8B0DB6D-FAA1-4B2F-BB52-42EE7621D7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0" y="3843"/>
              <a:ext cx="83" cy="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Rectangle 242">
              <a:extLst>
                <a:ext uri="{FF2B5EF4-FFF2-40B4-BE49-F238E27FC236}">
                  <a16:creationId xmlns:a16="http://schemas.microsoft.com/office/drawing/2014/main" id="{23C4FB52-E804-40B8-9CA3-AAFDABCA66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9" y="3843"/>
              <a:ext cx="22" cy="13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Rectangle 243">
              <a:extLst>
                <a:ext uri="{FF2B5EF4-FFF2-40B4-BE49-F238E27FC236}">
                  <a16:creationId xmlns:a16="http://schemas.microsoft.com/office/drawing/2014/main" id="{BB2AA7D1-00CF-477D-BC32-FD1F1899B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4" y="3723"/>
              <a:ext cx="174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Rectangle 244">
              <a:extLst>
                <a:ext uri="{FF2B5EF4-FFF2-40B4-BE49-F238E27FC236}">
                  <a16:creationId xmlns:a16="http://schemas.microsoft.com/office/drawing/2014/main" id="{F199884E-5842-4F54-9F6C-03EE32191A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8" y="3865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Rectangle 245">
              <a:extLst>
                <a:ext uri="{FF2B5EF4-FFF2-40B4-BE49-F238E27FC236}">
                  <a16:creationId xmlns:a16="http://schemas.microsoft.com/office/drawing/2014/main" id="{443E4BEC-8DA7-4664-B10A-C3E05B6C3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" y="3865"/>
              <a:ext cx="10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8" name="Group 248">
            <a:extLst>
              <a:ext uri="{FF2B5EF4-FFF2-40B4-BE49-F238E27FC236}">
                <a16:creationId xmlns:a16="http://schemas.microsoft.com/office/drawing/2014/main" id="{2EE01EB2-E8FD-4C34-A015-0998FC7B2AE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738" y="5407229"/>
            <a:ext cx="841375" cy="841375"/>
            <a:chOff x="1746" y="3422"/>
            <a:chExt cx="530" cy="530"/>
          </a:xfrm>
        </p:grpSpPr>
        <p:sp>
          <p:nvSpPr>
            <p:cNvPr id="289" name="AutoShape 247">
              <a:extLst>
                <a:ext uri="{FF2B5EF4-FFF2-40B4-BE49-F238E27FC236}">
                  <a16:creationId xmlns:a16="http://schemas.microsoft.com/office/drawing/2014/main" id="{7A5C8511-4A79-4370-9DCD-EF17DF936D0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46" y="342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249">
              <a:extLst>
                <a:ext uri="{FF2B5EF4-FFF2-40B4-BE49-F238E27FC236}">
                  <a16:creationId xmlns:a16="http://schemas.microsoft.com/office/drawing/2014/main" id="{21A064B7-5254-48D2-981D-07B8BFF2F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6" y="342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0">
              <a:extLst>
                <a:ext uri="{FF2B5EF4-FFF2-40B4-BE49-F238E27FC236}">
                  <a16:creationId xmlns:a16="http://schemas.microsoft.com/office/drawing/2014/main" id="{E2BE2676-E965-4389-AAAF-8DF96E120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4" y="344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51">
              <a:extLst>
                <a:ext uri="{FF2B5EF4-FFF2-40B4-BE49-F238E27FC236}">
                  <a16:creationId xmlns:a16="http://schemas.microsoft.com/office/drawing/2014/main" id="{8EC6F3B6-A4A1-4EFA-A492-866FD65A5F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" y="3734"/>
              <a:ext cx="61" cy="64"/>
            </a:xfrm>
            <a:custGeom>
              <a:avLst/>
              <a:gdLst>
                <a:gd name="T0" fmla="*/ 12 w 24"/>
                <a:gd name="T1" fmla="*/ 21 h 25"/>
                <a:gd name="T2" fmla="*/ 4 w 24"/>
                <a:gd name="T3" fmla="*/ 13 h 25"/>
                <a:gd name="T4" fmla="*/ 12 w 24"/>
                <a:gd name="T5" fmla="*/ 5 h 25"/>
                <a:gd name="T6" fmla="*/ 20 w 24"/>
                <a:gd name="T7" fmla="*/ 13 h 25"/>
                <a:gd name="T8" fmla="*/ 12 w 24"/>
                <a:gd name="T9" fmla="*/ 21 h 25"/>
                <a:gd name="T10" fmla="*/ 12 w 24"/>
                <a:gd name="T11" fmla="*/ 0 h 25"/>
                <a:gd name="T12" fmla="*/ 0 w 24"/>
                <a:gd name="T13" fmla="*/ 13 h 25"/>
                <a:gd name="T14" fmla="*/ 12 w 24"/>
                <a:gd name="T15" fmla="*/ 25 h 25"/>
                <a:gd name="T16" fmla="*/ 24 w 24"/>
                <a:gd name="T17" fmla="*/ 13 h 25"/>
                <a:gd name="T18" fmla="*/ 12 w 24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1"/>
                  </a:moveTo>
                  <a:cubicBezTo>
                    <a:pt x="8" y="21"/>
                    <a:pt x="4" y="17"/>
                    <a:pt x="4" y="13"/>
                  </a:cubicBezTo>
                  <a:cubicBezTo>
                    <a:pt x="4" y="8"/>
                    <a:pt x="8" y="5"/>
                    <a:pt x="12" y="5"/>
                  </a:cubicBezTo>
                  <a:cubicBezTo>
                    <a:pt x="17" y="5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cubicBezTo>
                    <a:pt x="19" y="25"/>
                    <a:pt x="24" y="20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52">
              <a:extLst>
                <a:ext uri="{FF2B5EF4-FFF2-40B4-BE49-F238E27FC236}">
                  <a16:creationId xmlns:a16="http://schemas.microsoft.com/office/drawing/2014/main" id="{D453BB1A-0EBE-4B37-B111-EF38D2A5A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6" y="3734"/>
              <a:ext cx="62" cy="64"/>
            </a:xfrm>
            <a:custGeom>
              <a:avLst/>
              <a:gdLst>
                <a:gd name="T0" fmla="*/ 12 w 24"/>
                <a:gd name="T1" fmla="*/ 21 h 25"/>
                <a:gd name="T2" fmla="*/ 4 w 24"/>
                <a:gd name="T3" fmla="*/ 13 h 25"/>
                <a:gd name="T4" fmla="*/ 12 w 24"/>
                <a:gd name="T5" fmla="*/ 5 h 25"/>
                <a:gd name="T6" fmla="*/ 20 w 24"/>
                <a:gd name="T7" fmla="*/ 13 h 25"/>
                <a:gd name="T8" fmla="*/ 12 w 24"/>
                <a:gd name="T9" fmla="*/ 21 h 25"/>
                <a:gd name="T10" fmla="*/ 12 w 24"/>
                <a:gd name="T11" fmla="*/ 0 h 25"/>
                <a:gd name="T12" fmla="*/ 0 w 24"/>
                <a:gd name="T13" fmla="*/ 13 h 25"/>
                <a:gd name="T14" fmla="*/ 12 w 24"/>
                <a:gd name="T15" fmla="*/ 25 h 25"/>
                <a:gd name="T16" fmla="*/ 24 w 24"/>
                <a:gd name="T17" fmla="*/ 13 h 25"/>
                <a:gd name="T18" fmla="*/ 12 w 24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21"/>
                  </a:moveTo>
                  <a:cubicBezTo>
                    <a:pt x="7" y="21"/>
                    <a:pt x="4" y="17"/>
                    <a:pt x="4" y="13"/>
                  </a:cubicBezTo>
                  <a:cubicBezTo>
                    <a:pt x="4" y="8"/>
                    <a:pt x="7" y="5"/>
                    <a:pt x="12" y="5"/>
                  </a:cubicBezTo>
                  <a:cubicBezTo>
                    <a:pt x="17" y="5"/>
                    <a:pt x="20" y="8"/>
                    <a:pt x="20" y="13"/>
                  </a:cubicBezTo>
                  <a:cubicBezTo>
                    <a:pt x="20" y="17"/>
                    <a:pt x="17" y="21"/>
                    <a:pt x="12" y="21"/>
                  </a:cubicBezTo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cubicBezTo>
                    <a:pt x="19" y="25"/>
                    <a:pt x="24" y="20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53">
              <a:extLst>
                <a:ext uri="{FF2B5EF4-FFF2-40B4-BE49-F238E27FC236}">
                  <a16:creationId xmlns:a16="http://schemas.microsoft.com/office/drawing/2014/main" id="{1F79AC23-CF5C-46AD-8778-59630F749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" y="3629"/>
              <a:ext cx="118" cy="144"/>
            </a:xfrm>
            <a:custGeom>
              <a:avLst/>
              <a:gdLst>
                <a:gd name="T0" fmla="*/ 45 w 46"/>
                <a:gd name="T1" fmla="*/ 30 h 56"/>
                <a:gd name="T2" fmla="*/ 27 w 46"/>
                <a:gd name="T3" fmla="*/ 1 h 56"/>
                <a:gd name="T4" fmla="*/ 25 w 46"/>
                <a:gd name="T5" fmla="*/ 0 h 56"/>
                <a:gd name="T6" fmla="*/ 2 w 46"/>
                <a:gd name="T7" fmla="*/ 0 h 56"/>
                <a:gd name="T8" fmla="*/ 0 w 46"/>
                <a:gd name="T9" fmla="*/ 2 h 56"/>
                <a:gd name="T10" fmla="*/ 0 w 46"/>
                <a:gd name="T11" fmla="*/ 54 h 56"/>
                <a:gd name="T12" fmla="*/ 2 w 46"/>
                <a:gd name="T13" fmla="*/ 56 h 56"/>
                <a:gd name="T14" fmla="*/ 11 w 46"/>
                <a:gd name="T15" fmla="*/ 56 h 56"/>
                <a:gd name="T16" fmla="*/ 11 w 46"/>
                <a:gd name="T17" fmla="*/ 52 h 56"/>
                <a:gd name="T18" fmla="*/ 5 w 46"/>
                <a:gd name="T19" fmla="*/ 52 h 56"/>
                <a:gd name="T20" fmla="*/ 5 w 46"/>
                <a:gd name="T21" fmla="*/ 4 h 56"/>
                <a:gd name="T22" fmla="*/ 24 w 46"/>
                <a:gd name="T23" fmla="*/ 4 h 56"/>
                <a:gd name="T24" fmla="*/ 42 w 46"/>
                <a:gd name="T25" fmla="*/ 32 h 56"/>
                <a:gd name="T26" fmla="*/ 42 w 46"/>
                <a:gd name="T27" fmla="*/ 52 h 56"/>
                <a:gd name="T28" fmla="*/ 31 w 46"/>
                <a:gd name="T29" fmla="*/ 52 h 56"/>
                <a:gd name="T30" fmla="*/ 31 w 46"/>
                <a:gd name="T31" fmla="*/ 56 h 56"/>
                <a:gd name="T32" fmla="*/ 44 w 46"/>
                <a:gd name="T33" fmla="*/ 56 h 56"/>
                <a:gd name="T34" fmla="*/ 46 w 46"/>
                <a:gd name="T35" fmla="*/ 54 h 56"/>
                <a:gd name="T36" fmla="*/ 46 w 46"/>
                <a:gd name="T37" fmla="*/ 31 h 56"/>
                <a:gd name="T38" fmla="*/ 45 w 46"/>
                <a:gd name="T3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56">
                  <a:moveTo>
                    <a:pt x="45" y="30"/>
                  </a:moveTo>
                  <a:cubicBezTo>
                    <a:pt x="27" y="1"/>
                    <a:pt x="27" y="1"/>
                    <a:pt x="27" y="1"/>
                  </a:cubicBezTo>
                  <a:cubicBezTo>
                    <a:pt x="26" y="1"/>
                    <a:pt x="26" y="0"/>
                    <a:pt x="2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6" y="55"/>
                    <a:pt x="46" y="54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54">
              <a:extLst>
                <a:ext uri="{FF2B5EF4-FFF2-40B4-BE49-F238E27FC236}">
                  <a16:creationId xmlns:a16="http://schemas.microsoft.com/office/drawing/2014/main" id="{32D4D14C-6338-4612-ABFC-C2D576643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" y="3652"/>
              <a:ext cx="85" cy="57"/>
            </a:xfrm>
            <a:custGeom>
              <a:avLst/>
              <a:gdLst>
                <a:gd name="T0" fmla="*/ 4 w 33"/>
                <a:gd name="T1" fmla="*/ 18 h 22"/>
                <a:gd name="T2" fmla="*/ 4 w 33"/>
                <a:gd name="T3" fmla="*/ 4 h 22"/>
                <a:gd name="T4" fmla="*/ 20 w 33"/>
                <a:gd name="T5" fmla="*/ 4 h 22"/>
                <a:gd name="T6" fmla="*/ 20 w 33"/>
                <a:gd name="T7" fmla="*/ 0 h 22"/>
                <a:gd name="T8" fmla="*/ 2 w 33"/>
                <a:gd name="T9" fmla="*/ 0 h 22"/>
                <a:gd name="T10" fmla="*/ 0 w 33"/>
                <a:gd name="T11" fmla="*/ 2 h 22"/>
                <a:gd name="T12" fmla="*/ 0 w 33"/>
                <a:gd name="T13" fmla="*/ 20 h 22"/>
                <a:gd name="T14" fmla="*/ 2 w 33"/>
                <a:gd name="T15" fmla="*/ 22 h 22"/>
                <a:gd name="T16" fmla="*/ 33 w 33"/>
                <a:gd name="T17" fmla="*/ 22 h 22"/>
                <a:gd name="T18" fmla="*/ 33 w 33"/>
                <a:gd name="T19" fmla="*/ 18 h 22"/>
                <a:gd name="T20" fmla="*/ 4 w 33"/>
                <a:gd name="T21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2">
                  <a:moveTo>
                    <a:pt x="4" y="18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4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55">
              <a:extLst>
                <a:ext uri="{FF2B5EF4-FFF2-40B4-BE49-F238E27FC236}">
                  <a16:creationId xmlns:a16="http://schemas.microsoft.com/office/drawing/2014/main" id="{F6FF4B87-7178-4892-B686-A0C1D6A7E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3" y="3593"/>
              <a:ext cx="213" cy="180"/>
            </a:xfrm>
            <a:custGeom>
              <a:avLst/>
              <a:gdLst>
                <a:gd name="T0" fmla="*/ 80 w 83"/>
                <a:gd name="T1" fmla="*/ 0 h 70"/>
                <a:gd name="T2" fmla="*/ 2 w 83"/>
                <a:gd name="T3" fmla="*/ 0 h 70"/>
                <a:gd name="T4" fmla="*/ 0 w 83"/>
                <a:gd name="T5" fmla="*/ 2 h 70"/>
                <a:gd name="T6" fmla="*/ 0 w 83"/>
                <a:gd name="T7" fmla="*/ 68 h 70"/>
                <a:gd name="T8" fmla="*/ 2 w 83"/>
                <a:gd name="T9" fmla="*/ 70 h 70"/>
                <a:gd name="T10" fmla="*/ 19 w 83"/>
                <a:gd name="T11" fmla="*/ 70 h 70"/>
                <a:gd name="T12" fmla="*/ 19 w 83"/>
                <a:gd name="T13" fmla="*/ 66 h 70"/>
                <a:gd name="T14" fmla="*/ 4 w 83"/>
                <a:gd name="T15" fmla="*/ 66 h 70"/>
                <a:gd name="T16" fmla="*/ 4 w 83"/>
                <a:gd name="T17" fmla="*/ 4 h 70"/>
                <a:gd name="T18" fmla="*/ 78 w 83"/>
                <a:gd name="T19" fmla="*/ 4 h 70"/>
                <a:gd name="T20" fmla="*/ 78 w 83"/>
                <a:gd name="T21" fmla="*/ 66 h 70"/>
                <a:gd name="T22" fmla="*/ 39 w 83"/>
                <a:gd name="T23" fmla="*/ 66 h 70"/>
                <a:gd name="T24" fmla="*/ 39 w 83"/>
                <a:gd name="T25" fmla="*/ 70 h 70"/>
                <a:gd name="T26" fmla="*/ 80 w 83"/>
                <a:gd name="T27" fmla="*/ 70 h 70"/>
                <a:gd name="T28" fmla="*/ 83 w 83"/>
                <a:gd name="T29" fmla="*/ 68 h 70"/>
                <a:gd name="T30" fmla="*/ 83 w 83"/>
                <a:gd name="T31" fmla="*/ 2 h 70"/>
                <a:gd name="T32" fmla="*/ 80 w 83"/>
                <a:gd name="T3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70">
                  <a:moveTo>
                    <a:pt x="8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9"/>
                    <a:pt x="1" y="70"/>
                    <a:pt x="2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66"/>
                    <a:pt x="78" y="66"/>
                    <a:pt x="78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2" y="70"/>
                    <a:pt x="83" y="69"/>
                    <a:pt x="83" y="68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1"/>
                    <a:pt x="82" y="0"/>
                    <a:pt x="8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Rectangle 256">
              <a:extLst>
                <a:ext uri="{FF2B5EF4-FFF2-40B4-BE49-F238E27FC236}">
                  <a16:creationId xmlns:a16="http://schemas.microsoft.com/office/drawing/2014/main" id="{9E44A37C-F3A6-4F3E-938B-61DFE2FFA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9" y="3739"/>
              <a:ext cx="33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Rectangle 257">
              <a:extLst>
                <a:ext uri="{FF2B5EF4-FFF2-40B4-BE49-F238E27FC236}">
                  <a16:creationId xmlns:a16="http://schemas.microsoft.com/office/drawing/2014/main" id="{B26C4080-A7C5-405E-90C7-2245E9CCB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3739"/>
              <a:ext cx="87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Rectangle 258">
              <a:extLst>
                <a:ext uri="{FF2B5EF4-FFF2-40B4-BE49-F238E27FC236}">
                  <a16:creationId xmlns:a16="http://schemas.microsoft.com/office/drawing/2014/main" id="{E6A81746-92FF-48C8-9B72-2236149426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3" y="3739"/>
              <a:ext cx="23" cy="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259">
              <a:extLst>
                <a:ext uri="{FF2B5EF4-FFF2-40B4-BE49-F238E27FC236}">
                  <a16:creationId xmlns:a16="http://schemas.microsoft.com/office/drawing/2014/main" id="{9027F34E-4C43-4963-8B31-A9D6589CF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3614"/>
              <a:ext cx="182" cy="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260">
              <a:extLst>
                <a:ext uri="{FF2B5EF4-FFF2-40B4-BE49-F238E27FC236}">
                  <a16:creationId xmlns:a16="http://schemas.microsoft.com/office/drawing/2014/main" id="{5F0F215F-D90F-46D4-B1E0-78FB4328FB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3" y="3762"/>
              <a:ext cx="10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Rectangle 261">
              <a:extLst>
                <a:ext uri="{FF2B5EF4-FFF2-40B4-BE49-F238E27FC236}">
                  <a16:creationId xmlns:a16="http://schemas.microsoft.com/office/drawing/2014/main" id="{B1D618B2-454B-433E-A9E7-371C6AC1F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2" y="3762"/>
              <a:ext cx="10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7" name="Group 264">
            <a:extLst>
              <a:ext uri="{FF2B5EF4-FFF2-40B4-BE49-F238E27FC236}">
                <a16:creationId xmlns:a16="http://schemas.microsoft.com/office/drawing/2014/main" id="{A19E1436-62CB-4408-AEB8-F00B0BBF86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4541" y="5447711"/>
            <a:ext cx="760412" cy="758825"/>
            <a:chOff x="3611" y="3635"/>
            <a:chExt cx="479" cy="478"/>
          </a:xfrm>
        </p:grpSpPr>
        <p:sp>
          <p:nvSpPr>
            <p:cNvPr id="308" name="AutoShape 263">
              <a:extLst>
                <a:ext uri="{FF2B5EF4-FFF2-40B4-BE49-F238E27FC236}">
                  <a16:creationId xmlns:a16="http://schemas.microsoft.com/office/drawing/2014/main" id="{41064B12-48BD-4DA2-BD9A-540E080E28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1" y="363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65">
              <a:extLst>
                <a:ext uri="{FF2B5EF4-FFF2-40B4-BE49-F238E27FC236}">
                  <a16:creationId xmlns:a16="http://schemas.microsoft.com/office/drawing/2014/main" id="{50484846-7453-423A-9FCE-A01D878A6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363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66">
              <a:extLst>
                <a:ext uri="{FF2B5EF4-FFF2-40B4-BE49-F238E27FC236}">
                  <a16:creationId xmlns:a16="http://schemas.microsoft.com/office/drawing/2014/main" id="{2B0F094F-5211-4127-B1CD-C7ECDCC7EE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2" y="3944"/>
              <a:ext cx="30" cy="29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67">
              <a:extLst>
                <a:ext uri="{FF2B5EF4-FFF2-40B4-BE49-F238E27FC236}">
                  <a16:creationId xmlns:a16="http://schemas.microsoft.com/office/drawing/2014/main" id="{82C9A098-A6DB-4945-A2F8-A84EFB91B3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3" y="3944"/>
              <a:ext cx="29" cy="29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68">
              <a:extLst>
                <a:ext uri="{FF2B5EF4-FFF2-40B4-BE49-F238E27FC236}">
                  <a16:creationId xmlns:a16="http://schemas.microsoft.com/office/drawing/2014/main" id="{A524AA91-ADCB-4403-972E-5944656FE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2" y="3740"/>
              <a:ext cx="300" cy="255"/>
            </a:xfrm>
            <a:custGeom>
              <a:avLst/>
              <a:gdLst>
                <a:gd name="T0" fmla="*/ 14 w 122"/>
                <a:gd name="T1" fmla="*/ 71 h 104"/>
                <a:gd name="T2" fmla="*/ 30 w 122"/>
                <a:gd name="T3" fmla="*/ 63 h 104"/>
                <a:gd name="T4" fmla="*/ 16 w 122"/>
                <a:gd name="T5" fmla="*/ 63 h 104"/>
                <a:gd name="T6" fmla="*/ 16 w 122"/>
                <a:gd name="T7" fmla="*/ 63 h 104"/>
                <a:gd name="T8" fmla="*/ 16 w 122"/>
                <a:gd name="T9" fmla="*/ 46 h 104"/>
                <a:gd name="T10" fmla="*/ 30 w 122"/>
                <a:gd name="T11" fmla="*/ 38 h 104"/>
                <a:gd name="T12" fmla="*/ 18 w 122"/>
                <a:gd name="T13" fmla="*/ 38 h 104"/>
                <a:gd name="T14" fmla="*/ 18 w 122"/>
                <a:gd name="T15" fmla="*/ 38 h 104"/>
                <a:gd name="T16" fmla="*/ 24 w 122"/>
                <a:gd name="T17" fmla="*/ 22 h 104"/>
                <a:gd name="T18" fmla="*/ 30 w 122"/>
                <a:gd name="T19" fmla="*/ 34 h 104"/>
                <a:gd name="T20" fmla="*/ 18 w 122"/>
                <a:gd name="T21" fmla="*/ 14 h 104"/>
                <a:gd name="T22" fmla="*/ 18 w 122"/>
                <a:gd name="T23" fmla="*/ 14 h 104"/>
                <a:gd name="T24" fmla="*/ 39 w 122"/>
                <a:gd name="T25" fmla="*/ 82 h 104"/>
                <a:gd name="T26" fmla="*/ 35 w 122"/>
                <a:gd name="T27" fmla="*/ 6 h 104"/>
                <a:gd name="T28" fmla="*/ 90 w 122"/>
                <a:gd name="T29" fmla="*/ 79 h 104"/>
                <a:gd name="T30" fmla="*/ 49 w 122"/>
                <a:gd name="T31" fmla="*/ 75 h 104"/>
                <a:gd name="T32" fmla="*/ 104 w 122"/>
                <a:gd name="T33" fmla="*/ 22 h 104"/>
                <a:gd name="T34" fmla="*/ 98 w 122"/>
                <a:gd name="T35" fmla="*/ 18 h 104"/>
                <a:gd name="T36" fmla="*/ 108 w 122"/>
                <a:gd name="T37" fmla="*/ 71 h 104"/>
                <a:gd name="T38" fmla="*/ 113 w 122"/>
                <a:gd name="T39" fmla="*/ 93 h 104"/>
                <a:gd name="T40" fmla="*/ 118 w 122"/>
                <a:gd name="T41" fmla="*/ 93 h 104"/>
                <a:gd name="T42" fmla="*/ 100 w 122"/>
                <a:gd name="T43" fmla="*/ 71 h 104"/>
                <a:gd name="T44" fmla="*/ 81 w 122"/>
                <a:gd name="T45" fmla="*/ 61 h 104"/>
                <a:gd name="T46" fmla="*/ 92 w 122"/>
                <a:gd name="T47" fmla="*/ 42 h 104"/>
                <a:gd name="T48" fmla="*/ 63 w 122"/>
                <a:gd name="T49" fmla="*/ 66 h 104"/>
                <a:gd name="T50" fmla="*/ 74 w 122"/>
                <a:gd name="T51" fmla="*/ 52 h 104"/>
                <a:gd name="T52" fmla="*/ 71 w 122"/>
                <a:gd name="T53" fmla="*/ 43 h 104"/>
                <a:gd name="T54" fmla="*/ 67 w 122"/>
                <a:gd name="T55" fmla="*/ 53 h 104"/>
                <a:gd name="T56" fmla="*/ 96 w 122"/>
                <a:gd name="T57" fmla="*/ 37 h 104"/>
                <a:gd name="T58" fmla="*/ 83 w 122"/>
                <a:gd name="T59" fmla="*/ 55 h 104"/>
                <a:gd name="T60" fmla="*/ 63 w 122"/>
                <a:gd name="T61" fmla="*/ 66 h 104"/>
                <a:gd name="T62" fmla="*/ 60 w 122"/>
                <a:gd name="T63" fmla="*/ 63 h 104"/>
                <a:gd name="T64" fmla="*/ 51 w 122"/>
                <a:gd name="T65" fmla="*/ 57 h 104"/>
                <a:gd name="T66" fmla="*/ 81 w 122"/>
                <a:gd name="T67" fmla="*/ 71 h 104"/>
                <a:gd name="T68" fmla="*/ 100 w 122"/>
                <a:gd name="T69" fmla="*/ 79 h 104"/>
                <a:gd name="T70" fmla="*/ 64 w 122"/>
                <a:gd name="T71" fmla="*/ 83 h 104"/>
                <a:gd name="T72" fmla="*/ 51 w 122"/>
                <a:gd name="T73" fmla="*/ 99 h 104"/>
                <a:gd name="T74" fmla="*/ 51 w 122"/>
                <a:gd name="T75" fmla="*/ 99 h 104"/>
                <a:gd name="T76" fmla="*/ 4 w 122"/>
                <a:gd name="T77" fmla="*/ 91 h 104"/>
                <a:gd name="T78" fmla="*/ 30 w 122"/>
                <a:gd name="T79" fmla="*/ 101 h 104"/>
                <a:gd name="T80" fmla="*/ 43 w 122"/>
                <a:gd name="T81" fmla="*/ 101 h 104"/>
                <a:gd name="T82" fmla="*/ 100 w 122"/>
                <a:gd name="T83" fmla="*/ 103 h 104"/>
                <a:gd name="T84" fmla="*/ 122 w 122"/>
                <a:gd name="T85" fmla="*/ 63 h 104"/>
                <a:gd name="T86" fmla="*/ 102 w 122"/>
                <a:gd name="T87" fmla="*/ 14 h 104"/>
                <a:gd name="T88" fmla="*/ 47 w 122"/>
                <a:gd name="T89" fmla="*/ 55 h 104"/>
                <a:gd name="T90" fmla="*/ 37 w 122"/>
                <a:gd name="T91" fmla="*/ 0 h 104"/>
                <a:gd name="T92" fmla="*/ 6 w 122"/>
                <a:gd name="T93" fmla="*/ 12 h 104"/>
                <a:gd name="T94" fmla="*/ 2 w 122"/>
                <a:gd name="T95" fmla="*/ 8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04">
                  <a:moveTo>
                    <a:pt x="6" y="63"/>
                  </a:moveTo>
                  <a:cubicBezTo>
                    <a:pt x="12" y="63"/>
                    <a:pt x="12" y="63"/>
                    <a:pt x="12" y="63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0"/>
                    <a:pt x="13" y="71"/>
                    <a:pt x="14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0"/>
                    <a:pt x="24" y="69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6" y="83"/>
                    <a:pt x="6" y="83"/>
                    <a:pt x="6" y="83"/>
                  </a:cubicBezTo>
                  <a:lnTo>
                    <a:pt x="6" y="63"/>
                  </a:lnTo>
                  <a:close/>
                  <a:moveTo>
                    <a:pt x="16" y="63"/>
                  </a:moveTo>
                  <a:cubicBezTo>
                    <a:pt x="20" y="63"/>
                    <a:pt x="20" y="63"/>
                    <a:pt x="20" y="63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16" y="63"/>
                  </a:lnTo>
                  <a:close/>
                  <a:moveTo>
                    <a:pt x="10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6"/>
                    <a:pt x="15" y="46"/>
                    <a:pt x="16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5" y="46"/>
                    <a:pt x="26" y="46"/>
                    <a:pt x="26" y="44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10" y="59"/>
                    <a:pt x="10" y="59"/>
                    <a:pt x="10" y="59"/>
                  </a:cubicBezTo>
                  <a:lnTo>
                    <a:pt x="10" y="38"/>
                  </a:lnTo>
                  <a:close/>
                  <a:moveTo>
                    <a:pt x="18" y="38"/>
                  </a:moveTo>
                  <a:cubicBezTo>
                    <a:pt x="22" y="38"/>
                    <a:pt x="22" y="38"/>
                    <a:pt x="22" y="38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8" y="42"/>
                    <a:pt x="18" y="42"/>
                    <a:pt x="18" y="42"/>
                  </a:cubicBezTo>
                  <a:lnTo>
                    <a:pt x="18" y="38"/>
                  </a:lnTo>
                  <a:close/>
                  <a:moveTo>
                    <a:pt x="14" y="14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4" y="21"/>
                    <a:pt x="15" y="22"/>
                    <a:pt x="16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6" y="21"/>
                    <a:pt x="26" y="20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14"/>
                    <a:pt x="10" y="14"/>
                    <a:pt x="10" y="14"/>
                  </a:cubicBezTo>
                  <a:lnTo>
                    <a:pt x="14" y="14"/>
                  </a:lnTo>
                  <a:close/>
                  <a:moveTo>
                    <a:pt x="18" y="14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14"/>
                  </a:lnTo>
                  <a:close/>
                  <a:moveTo>
                    <a:pt x="35" y="6"/>
                  </a:moveTo>
                  <a:cubicBezTo>
                    <a:pt x="35" y="5"/>
                    <a:pt x="35" y="4"/>
                    <a:pt x="37" y="4"/>
                  </a:cubicBezTo>
                  <a:cubicBezTo>
                    <a:pt x="38" y="4"/>
                    <a:pt x="39" y="5"/>
                    <a:pt x="39" y="6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36" y="86"/>
                    <a:pt x="36" y="92"/>
                    <a:pt x="39" y="96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5" y="99"/>
                    <a:pt x="35" y="99"/>
                    <a:pt x="35" y="99"/>
                  </a:cubicBezTo>
                  <a:lnTo>
                    <a:pt x="35" y="6"/>
                  </a:lnTo>
                  <a:close/>
                  <a:moveTo>
                    <a:pt x="49" y="75"/>
                  </a:moveTo>
                  <a:cubicBezTo>
                    <a:pt x="104" y="75"/>
                    <a:pt x="104" y="75"/>
                    <a:pt x="104" y="75"/>
                  </a:cubicBezTo>
                  <a:cubicBezTo>
                    <a:pt x="104" y="76"/>
                    <a:pt x="104" y="76"/>
                    <a:pt x="104" y="76"/>
                  </a:cubicBezTo>
                  <a:cubicBezTo>
                    <a:pt x="99" y="74"/>
                    <a:pt x="93" y="75"/>
                    <a:pt x="9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56" y="74"/>
                    <a:pt x="48" y="74"/>
                    <a:pt x="43" y="77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49" y="75"/>
                  </a:lnTo>
                  <a:close/>
                  <a:moveTo>
                    <a:pt x="98" y="18"/>
                  </a:moveTo>
                  <a:cubicBezTo>
                    <a:pt x="102" y="18"/>
                    <a:pt x="102" y="18"/>
                    <a:pt x="102" y="18"/>
                  </a:cubicBezTo>
                  <a:cubicBezTo>
                    <a:pt x="103" y="18"/>
                    <a:pt x="104" y="19"/>
                    <a:pt x="104" y="20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70" y="19"/>
                    <a:pt x="72" y="18"/>
                    <a:pt x="74" y="18"/>
                  </a:cubicBezTo>
                  <a:lnTo>
                    <a:pt x="98" y="18"/>
                  </a:lnTo>
                  <a:close/>
                  <a:moveTo>
                    <a:pt x="112" y="57"/>
                  </a:moveTo>
                  <a:cubicBezTo>
                    <a:pt x="115" y="57"/>
                    <a:pt x="118" y="59"/>
                    <a:pt x="118" y="63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08" y="71"/>
                    <a:pt x="108" y="71"/>
                    <a:pt x="108" y="71"/>
                  </a:cubicBezTo>
                  <a:cubicBezTo>
                    <a:pt x="108" y="57"/>
                    <a:pt x="108" y="57"/>
                    <a:pt x="108" y="57"/>
                  </a:cubicBezTo>
                  <a:lnTo>
                    <a:pt x="112" y="57"/>
                  </a:lnTo>
                  <a:close/>
                  <a:moveTo>
                    <a:pt x="118" y="93"/>
                  </a:moveTo>
                  <a:cubicBezTo>
                    <a:pt x="113" y="93"/>
                    <a:pt x="113" y="93"/>
                    <a:pt x="113" y="93"/>
                  </a:cubicBezTo>
                  <a:cubicBezTo>
                    <a:pt x="115" y="87"/>
                    <a:pt x="113" y="81"/>
                    <a:pt x="108" y="77"/>
                  </a:cubicBezTo>
                  <a:cubicBezTo>
                    <a:pt x="108" y="75"/>
                    <a:pt x="108" y="75"/>
                    <a:pt x="108" y="75"/>
                  </a:cubicBezTo>
                  <a:cubicBezTo>
                    <a:pt x="118" y="75"/>
                    <a:pt x="118" y="75"/>
                    <a:pt x="118" y="75"/>
                  </a:cubicBezTo>
                  <a:lnTo>
                    <a:pt x="118" y="93"/>
                  </a:lnTo>
                  <a:close/>
                  <a:moveTo>
                    <a:pt x="100" y="26"/>
                  </a:moveTo>
                  <a:cubicBezTo>
                    <a:pt x="104" y="26"/>
                    <a:pt x="104" y="26"/>
                    <a:pt x="104" y="26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0" y="71"/>
                    <a:pt x="100" y="71"/>
                    <a:pt x="100" y="71"/>
                  </a:cubicBezTo>
                  <a:lnTo>
                    <a:pt x="100" y="26"/>
                  </a:lnTo>
                  <a:close/>
                  <a:moveTo>
                    <a:pt x="96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2" y="59"/>
                    <a:pt x="83" y="59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1" y="59"/>
                    <a:pt x="92" y="58"/>
                    <a:pt x="92" y="57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1"/>
                    <a:pt x="92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lnTo>
                    <a:pt x="96" y="63"/>
                  </a:lnTo>
                  <a:close/>
                  <a:moveTo>
                    <a:pt x="63" y="66"/>
                  </a:moveTo>
                  <a:cubicBezTo>
                    <a:pt x="68" y="65"/>
                    <a:pt x="68" y="65"/>
                    <a:pt x="68" y="65"/>
                  </a:cubicBezTo>
                  <a:cubicBezTo>
                    <a:pt x="69" y="64"/>
                    <a:pt x="69" y="64"/>
                    <a:pt x="69" y="63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5"/>
                    <a:pt x="79" y="55"/>
                    <a:pt x="80" y="54"/>
                  </a:cubicBezTo>
                  <a:cubicBezTo>
                    <a:pt x="81" y="54"/>
                    <a:pt x="81" y="52"/>
                    <a:pt x="80" y="52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69" y="42"/>
                    <a:pt x="69" y="43"/>
                  </a:cubicBezTo>
                  <a:cubicBezTo>
                    <a:pt x="68" y="44"/>
                    <a:pt x="68" y="45"/>
                    <a:pt x="69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0" y="36"/>
                    <a:pt x="87" y="39"/>
                    <a:pt x="87" y="42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0" y="55"/>
                    <a:pt x="77" y="57"/>
                    <a:pt x="77" y="6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63" y="71"/>
                    <a:pt x="63" y="71"/>
                    <a:pt x="63" y="71"/>
                  </a:cubicBezTo>
                  <a:lnTo>
                    <a:pt x="63" y="66"/>
                  </a:lnTo>
                  <a:close/>
                  <a:moveTo>
                    <a:pt x="51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59" y="64"/>
                    <a:pt x="59" y="65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1" y="71"/>
                    <a:pt x="51" y="71"/>
                    <a:pt x="51" y="71"/>
                  </a:cubicBezTo>
                  <a:lnTo>
                    <a:pt x="51" y="57"/>
                  </a:lnTo>
                  <a:close/>
                  <a:moveTo>
                    <a:pt x="81" y="67"/>
                  </a:moveTo>
                  <a:cubicBezTo>
                    <a:pt x="96" y="67"/>
                    <a:pt x="96" y="67"/>
                    <a:pt x="96" y="67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81" y="71"/>
                    <a:pt x="81" y="71"/>
                    <a:pt x="81" y="71"/>
                  </a:cubicBezTo>
                  <a:lnTo>
                    <a:pt x="81" y="67"/>
                  </a:lnTo>
                  <a:close/>
                  <a:moveTo>
                    <a:pt x="100" y="99"/>
                  </a:moveTo>
                  <a:cubicBezTo>
                    <a:pt x="94" y="99"/>
                    <a:pt x="90" y="95"/>
                    <a:pt x="90" y="89"/>
                  </a:cubicBezTo>
                  <a:cubicBezTo>
                    <a:pt x="90" y="84"/>
                    <a:pt x="94" y="79"/>
                    <a:pt x="100" y="79"/>
                  </a:cubicBezTo>
                  <a:cubicBezTo>
                    <a:pt x="105" y="79"/>
                    <a:pt x="110" y="84"/>
                    <a:pt x="110" y="89"/>
                  </a:cubicBezTo>
                  <a:cubicBezTo>
                    <a:pt x="110" y="95"/>
                    <a:pt x="105" y="99"/>
                    <a:pt x="100" y="99"/>
                  </a:cubicBezTo>
                  <a:moveTo>
                    <a:pt x="64" y="93"/>
                  </a:moveTo>
                  <a:cubicBezTo>
                    <a:pt x="65" y="90"/>
                    <a:pt x="65" y="86"/>
                    <a:pt x="64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5" y="86"/>
                    <a:pt x="85" y="90"/>
                    <a:pt x="86" y="93"/>
                  </a:cubicBezTo>
                  <a:lnTo>
                    <a:pt x="64" y="93"/>
                  </a:lnTo>
                  <a:close/>
                  <a:moveTo>
                    <a:pt x="51" y="99"/>
                  </a:moveTo>
                  <a:cubicBezTo>
                    <a:pt x="45" y="99"/>
                    <a:pt x="41" y="95"/>
                    <a:pt x="41" y="89"/>
                  </a:cubicBezTo>
                  <a:cubicBezTo>
                    <a:pt x="41" y="84"/>
                    <a:pt x="45" y="79"/>
                    <a:pt x="51" y="79"/>
                  </a:cubicBezTo>
                  <a:cubicBezTo>
                    <a:pt x="56" y="79"/>
                    <a:pt x="61" y="84"/>
                    <a:pt x="61" y="89"/>
                  </a:cubicBezTo>
                  <a:cubicBezTo>
                    <a:pt x="61" y="95"/>
                    <a:pt x="56" y="99"/>
                    <a:pt x="51" y="99"/>
                  </a:cubicBezTo>
                  <a:moveTo>
                    <a:pt x="4" y="87"/>
                  </a:move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4" y="91"/>
                    <a:pt x="4" y="91"/>
                    <a:pt x="4" y="91"/>
                  </a:cubicBezTo>
                  <a:lnTo>
                    <a:pt x="4" y="87"/>
                  </a:lnTo>
                  <a:close/>
                  <a:moveTo>
                    <a:pt x="2" y="95"/>
                  </a:moveTo>
                  <a:cubicBezTo>
                    <a:pt x="30" y="95"/>
                    <a:pt x="30" y="95"/>
                    <a:pt x="30" y="95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0" y="102"/>
                    <a:pt x="31" y="103"/>
                    <a:pt x="32" y="103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2" y="103"/>
                    <a:pt x="43" y="102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6" y="103"/>
                    <a:pt x="50" y="104"/>
                    <a:pt x="53" y="103"/>
                  </a:cubicBezTo>
                  <a:cubicBezTo>
                    <a:pt x="57" y="103"/>
                    <a:pt x="60" y="100"/>
                    <a:pt x="63" y="97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91" y="101"/>
                    <a:pt x="95" y="103"/>
                    <a:pt x="100" y="103"/>
                  </a:cubicBezTo>
                  <a:cubicBezTo>
                    <a:pt x="104" y="103"/>
                    <a:pt x="109" y="101"/>
                    <a:pt x="111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21" y="97"/>
                    <a:pt x="122" y="96"/>
                    <a:pt x="122" y="95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57"/>
                    <a:pt x="118" y="53"/>
                    <a:pt x="112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19"/>
                    <a:pt x="108" y="19"/>
                    <a:pt x="108" y="19"/>
                  </a:cubicBezTo>
                  <a:cubicBezTo>
                    <a:pt x="108" y="16"/>
                    <a:pt x="105" y="14"/>
                    <a:pt x="102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0" y="14"/>
                    <a:pt x="67" y="16"/>
                    <a:pt x="65" y="19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5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2"/>
                    <a:pt x="40" y="0"/>
                    <a:pt x="37" y="0"/>
                  </a:cubicBezTo>
                  <a:cubicBezTo>
                    <a:pt x="33" y="0"/>
                    <a:pt x="30" y="2"/>
                    <a:pt x="30" y="6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3" y="59"/>
                    <a:pt x="2" y="60"/>
                    <a:pt x="2" y="61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1" y="83"/>
                    <a:pt x="0" y="84"/>
                    <a:pt x="0" y="85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4"/>
                    <a:pt x="1" y="95"/>
                    <a:pt x="2" y="9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3" name="Group 271">
            <a:extLst>
              <a:ext uri="{FF2B5EF4-FFF2-40B4-BE49-F238E27FC236}">
                <a16:creationId xmlns:a16="http://schemas.microsoft.com/office/drawing/2014/main" id="{CCDDC95F-732F-47E6-B55A-0E84387066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3466" y="5406436"/>
            <a:ext cx="841375" cy="841375"/>
            <a:chOff x="3019" y="3486"/>
            <a:chExt cx="530" cy="530"/>
          </a:xfrm>
        </p:grpSpPr>
        <p:sp>
          <p:nvSpPr>
            <p:cNvPr id="314" name="AutoShape 270">
              <a:extLst>
                <a:ext uri="{FF2B5EF4-FFF2-40B4-BE49-F238E27FC236}">
                  <a16:creationId xmlns:a16="http://schemas.microsoft.com/office/drawing/2014/main" id="{E22D8B67-476F-4491-BA53-7971A53FD61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19" y="348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Oval 272">
              <a:extLst>
                <a:ext uri="{FF2B5EF4-FFF2-40B4-BE49-F238E27FC236}">
                  <a16:creationId xmlns:a16="http://schemas.microsoft.com/office/drawing/2014/main" id="{DF0FE467-E665-41FB-A7F7-0C0C897D8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9" y="348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73">
              <a:extLst>
                <a:ext uri="{FF2B5EF4-FFF2-40B4-BE49-F238E27FC236}">
                  <a16:creationId xmlns:a16="http://schemas.microsoft.com/office/drawing/2014/main" id="{D8DFEB44-A9DB-43BF-82ED-F4943E7BC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7" y="350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74">
              <a:extLst>
                <a:ext uri="{FF2B5EF4-FFF2-40B4-BE49-F238E27FC236}">
                  <a16:creationId xmlns:a16="http://schemas.microsoft.com/office/drawing/2014/main" id="{427A9C80-126D-43B2-B23E-CB728B34AA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" y="3824"/>
              <a:ext cx="31" cy="31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75">
              <a:extLst>
                <a:ext uri="{FF2B5EF4-FFF2-40B4-BE49-F238E27FC236}">
                  <a16:creationId xmlns:a16="http://schemas.microsoft.com/office/drawing/2014/main" id="{F0BE7BF0-6777-4E8C-A7FC-7455F534B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0" y="3824"/>
              <a:ext cx="30" cy="31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9" y="12"/>
                    <a:pt x="12" y="10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76">
              <a:extLst>
                <a:ext uri="{FF2B5EF4-FFF2-40B4-BE49-F238E27FC236}">
                  <a16:creationId xmlns:a16="http://schemas.microsoft.com/office/drawing/2014/main" id="{C8E5B67D-24EA-4E9A-8273-45F5F68D42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9" y="3611"/>
              <a:ext cx="312" cy="267"/>
            </a:xfrm>
            <a:custGeom>
              <a:avLst/>
              <a:gdLst>
                <a:gd name="T0" fmla="*/ 14 w 122"/>
                <a:gd name="T1" fmla="*/ 71 h 104"/>
                <a:gd name="T2" fmla="*/ 30 w 122"/>
                <a:gd name="T3" fmla="*/ 63 h 104"/>
                <a:gd name="T4" fmla="*/ 16 w 122"/>
                <a:gd name="T5" fmla="*/ 63 h 104"/>
                <a:gd name="T6" fmla="*/ 16 w 122"/>
                <a:gd name="T7" fmla="*/ 63 h 104"/>
                <a:gd name="T8" fmla="*/ 16 w 122"/>
                <a:gd name="T9" fmla="*/ 46 h 104"/>
                <a:gd name="T10" fmla="*/ 30 w 122"/>
                <a:gd name="T11" fmla="*/ 38 h 104"/>
                <a:gd name="T12" fmla="*/ 18 w 122"/>
                <a:gd name="T13" fmla="*/ 38 h 104"/>
                <a:gd name="T14" fmla="*/ 18 w 122"/>
                <a:gd name="T15" fmla="*/ 38 h 104"/>
                <a:gd name="T16" fmla="*/ 24 w 122"/>
                <a:gd name="T17" fmla="*/ 22 h 104"/>
                <a:gd name="T18" fmla="*/ 30 w 122"/>
                <a:gd name="T19" fmla="*/ 34 h 104"/>
                <a:gd name="T20" fmla="*/ 18 w 122"/>
                <a:gd name="T21" fmla="*/ 14 h 104"/>
                <a:gd name="T22" fmla="*/ 18 w 122"/>
                <a:gd name="T23" fmla="*/ 14 h 104"/>
                <a:gd name="T24" fmla="*/ 39 w 122"/>
                <a:gd name="T25" fmla="*/ 82 h 104"/>
                <a:gd name="T26" fmla="*/ 35 w 122"/>
                <a:gd name="T27" fmla="*/ 6 h 104"/>
                <a:gd name="T28" fmla="*/ 90 w 122"/>
                <a:gd name="T29" fmla="*/ 79 h 104"/>
                <a:gd name="T30" fmla="*/ 49 w 122"/>
                <a:gd name="T31" fmla="*/ 75 h 104"/>
                <a:gd name="T32" fmla="*/ 104 w 122"/>
                <a:gd name="T33" fmla="*/ 22 h 104"/>
                <a:gd name="T34" fmla="*/ 98 w 122"/>
                <a:gd name="T35" fmla="*/ 18 h 104"/>
                <a:gd name="T36" fmla="*/ 108 w 122"/>
                <a:gd name="T37" fmla="*/ 71 h 104"/>
                <a:gd name="T38" fmla="*/ 113 w 122"/>
                <a:gd name="T39" fmla="*/ 93 h 104"/>
                <a:gd name="T40" fmla="*/ 118 w 122"/>
                <a:gd name="T41" fmla="*/ 93 h 104"/>
                <a:gd name="T42" fmla="*/ 100 w 122"/>
                <a:gd name="T43" fmla="*/ 71 h 104"/>
                <a:gd name="T44" fmla="*/ 81 w 122"/>
                <a:gd name="T45" fmla="*/ 61 h 104"/>
                <a:gd name="T46" fmla="*/ 92 w 122"/>
                <a:gd name="T47" fmla="*/ 42 h 104"/>
                <a:gd name="T48" fmla="*/ 63 w 122"/>
                <a:gd name="T49" fmla="*/ 66 h 104"/>
                <a:gd name="T50" fmla="*/ 74 w 122"/>
                <a:gd name="T51" fmla="*/ 52 h 104"/>
                <a:gd name="T52" fmla="*/ 71 w 122"/>
                <a:gd name="T53" fmla="*/ 43 h 104"/>
                <a:gd name="T54" fmla="*/ 67 w 122"/>
                <a:gd name="T55" fmla="*/ 53 h 104"/>
                <a:gd name="T56" fmla="*/ 96 w 122"/>
                <a:gd name="T57" fmla="*/ 37 h 104"/>
                <a:gd name="T58" fmla="*/ 83 w 122"/>
                <a:gd name="T59" fmla="*/ 55 h 104"/>
                <a:gd name="T60" fmla="*/ 63 w 122"/>
                <a:gd name="T61" fmla="*/ 66 h 104"/>
                <a:gd name="T62" fmla="*/ 60 w 122"/>
                <a:gd name="T63" fmla="*/ 63 h 104"/>
                <a:gd name="T64" fmla="*/ 51 w 122"/>
                <a:gd name="T65" fmla="*/ 57 h 104"/>
                <a:gd name="T66" fmla="*/ 81 w 122"/>
                <a:gd name="T67" fmla="*/ 71 h 104"/>
                <a:gd name="T68" fmla="*/ 100 w 122"/>
                <a:gd name="T69" fmla="*/ 79 h 104"/>
                <a:gd name="T70" fmla="*/ 64 w 122"/>
                <a:gd name="T71" fmla="*/ 83 h 104"/>
                <a:gd name="T72" fmla="*/ 51 w 122"/>
                <a:gd name="T73" fmla="*/ 99 h 104"/>
                <a:gd name="T74" fmla="*/ 51 w 122"/>
                <a:gd name="T75" fmla="*/ 99 h 104"/>
                <a:gd name="T76" fmla="*/ 4 w 122"/>
                <a:gd name="T77" fmla="*/ 91 h 104"/>
                <a:gd name="T78" fmla="*/ 30 w 122"/>
                <a:gd name="T79" fmla="*/ 101 h 104"/>
                <a:gd name="T80" fmla="*/ 43 w 122"/>
                <a:gd name="T81" fmla="*/ 101 h 104"/>
                <a:gd name="T82" fmla="*/ 100 w 122"/>
                <a:gd name="T83" fmla="*/ 103 h 104"/>
                <a:gd name="T84" fmla="*/ 122 w 122"/>
                <a:gd name="T85" fmla="*/ 63 h 104"/>
                <a:gd name="T86" fmla="*/ 102 w 122"/>
                <a:gd name="T87" fmla="*/ 14 h 104"/>
                <a:gd name="T88" fmla="*/ 47 w 122"/>
                <a:gd name="T89" fmla="*/ 55 h 104"/>
                <a:gd name="T90" fmla="*/ 37 w 122"/>
                <a:gd name="T91" fmla="*/ 0 h 104"/>
                <a:gd name="T92" fmla="*/ 6 w 122"/>
                <a:gd name="T93" fmla="*/ 12 h 104"/>
                <a:gd name="T94" fmla="*/ 2 w 122"/>
                <a:gd name="T95" fmla="*/ 8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04">
                  <a:moveTo>
                    <a:pt x="6" y="63"/>
                  </a:moveTo>
                  <a:cubicBezTo>
                    <a:pt x="12" y="63"/>
                    <a:pt x="12" y="63"/>
                    <a:pt x="12" y="63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0"/>
                    <a:pt x="13" y="71"/>
                    <a:pt x="14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3" y="71"/>
                    <a:pt x="24" y="70"/>
                    <a:pt x="24" y="69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6" y="83"/>
                    <a:pt x="6" y="83"/>
                    <a:pt x="6" y="83"/>
                  </a:cubicBezTo>
                  <a:lnTo>
                    <a:pt x="6" y="63"/>
                  </a:lnTo>
                  <a:close/>
                  <a:moveTo>
                    <a:pt x="16" y="63"/>
                  </a:moveTo>
                  <a:cubicBezTo>
                    <a:pt x="20" y="63"/>
                    <a:pt x="20" y="63"/>
                    <a:pt x="20" y="63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16" y="63"/>
                  </a:lnTo>
                  <a:close/>
                  <a:moveTo>
                    <a:pt x="10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6"/>
                    <a:pt x="15" y="46"/>
                    <a:pt x="16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5" y="46"/>
                    <a:pt x="26" y="46"/>
                    <a:pt x="26" y="44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10" y="59"/>
                    <a:pt x="10" y="59"/>
                    <a:pt x="10" y="59"/>
                  </a:cubicBezTo>
                  <a:lnTo>
                    <a:pt x="10" y="38"/>
                  </a:lnTo>
                  <a:close/>
                  <a:moveTo>
                    <a:pt x="18" y="38"/>
                  </a:moveTo>
                  <a:cubicBezTo>
                    <a:pt x="22" y="38"/>
                    <a:pt x="22" y="38"/>
                    <a:pt x="22" y="38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8" y="42"/>
                    <a:pt x="18" y="42"/>
                    <a:pt x="18" y="42"/>
                  </a:cubicBezTo>
                  <a:lnTo>
                    <a:pt x="18" y="38"/>
                  </a:lnTo>
                  <a:close/>
                  <a:moveTo>
                    <a:pt x="14" y="14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4" y="21"/>
                    <a:pt x="15" y="22"/>
                    <a:pt x="16" y="2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5" y="22"/>
                    <a:pt x="26" y="21"/>
                    <a:pt x="26" y="20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14"/>
                    <a:pt x="10" y="14"/>
                    <a:pt x="10" y="14"/>
                  </a:cubicBezTo>
                  <a:lnTo>
                    <a:pt x="14" y="14"/>
                  </a:lnTo>
                  <a:close/>
                  <a:moveTo>
                    <a:pt x="18" y="14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14"/>
                  </a:lnTo>
                  <a:close/>
                  <a:moveTo>
                    <a:pt x="35" y="6"/>
                  </a:moveTo>
                  <a:cubicBezTo>
                    <a:pt x="35" y="5"/>
                    <a:pt x="35" y="4"/>
                    <a:pt x="37" y="4"/>
                  </a:cubicBezTo>
                  <a:cubicBezTo>
                    <a:pt x="38" y="4"/>
                    <a:pt x="39" y="5"/>
                    <a:pt x="39" y="6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36" y="86"/>
                    <a:pt x="36" y="92"/>
                    <a:pt x="39" y="96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5" y="99"/>
                    <a:pt x="35" y="99"/>
                    <a:pt x="35" y="99"/>
                  </a:cubicBezTo>
                  <a:lnTo>
                    <a:pt x="35" y="6"/>
                  </a:lnTo>
                  <a:close/>
                  <a:moveTo>
                    <a:pt x="49" y="75"/>
                  </a:moveTo>
                  <a:cubicBezTo>
                    <a:pt x="104" y="75"/>
                    <a:pt x="104" y="75"/>
                    <a:pt x="104" y="75"/>
                  </a:cubicBezTo>
                  <a:cubicBezTo>
                    <a:pt x="104" y="76"/>
                    <a:pt x="104" y="76"/>
                    <a:pt x="104" y="76"/>
                  </a:cubicBezTo>
                  <a:cubicBezTo>
                    <a:pt x="99" y="74"/>
                    <a:pt x="93" y="75"/>
                    <a:pt x="9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56" y="74"/>
                    <a:pt x="48" y="74"/>
                    <a:pt x="43" y="77"/>
                  </a:cubicBezTo>
                  <a:cubicBezTo>
                    <a:pt x="43" y="75"/>
                    <a:pt x="43" y="75"/>
                    <a:pt x="43" y="75"/>
                  </a:cubicBezTo>
                  <a:lnTo>
                    <a:pt x="49" y="75"/>
                  </a:lnTo>
                  <a:close/>
                  <a:moveTo>
                    <a:pt x="98" y="18"/>
                  </a:moveTo>
                  <a:cubicBezTo>
                    <a:pt x="102" y="18"/>
                    <a:pt x="102" y="18"/>
                    <a:pt x="102" y="18"/>
                  </a:cubicBezTo>
                  <a:cubicBezTo>
                    <a:pt x="103" y="18"/>
                    <a:pt x="104" y="19"/>
                    <a:pt x="104" y="20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70" y="19"/>
                    <a:pt x="72" y="18"/>
                    <a:pt x="74" y="18"/>
                  </a:cubicBezTo>
                  <a:lnTo>
                    <a:pt x="98" y="18"/>
                  </a:lnTo>
                  <a:close/>
                  <a:moveTo>
                    <a:pt x="112" y="57"/>
                  </a:moveTo>
                  <a:cubicBezTo>
                    <a:pt x="115" y="57"/>
                    <a:pt x="118" y="59"/>
                    <a:pt x="118" y="63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08" y="71"/>
                    <a:pt x="108" y="71"/>
                    <a:pt x="108" y="71"/>
                  </a:cubicBezTo>
                  <a:cubicBezTo>
                    <a:pt x="108" y="57"/>
                    <a:pt x="108" y="57"/>
                    <a:pt x="108" y="57"/>
                  </a:cubicBezTo>
                  <a:lnTo>
                    <a:pt x="112" y="57"/>
                  </a:lnTo>
                  <a:close/>
                  <a:moveTo>
                    <a:pt x="118" y="93"/>
                  </a:moveTo>
                  <a:cubicBezTo>
                    <a:pt x="113" y="93"/>
                    <a:pt x="113" y="93"/>
                    <a:pt x="113" y="93"/>
                  </a:cubicBezTo>
                  <a:cubicBezTo>
                    <a:pt x="115" y="87"/>
                    <a:pt x="113" y="81"/>
                    <a:pt x="108" y="77"/>
                  </a:cubicBezTo>
                  <a:cubicBezTo>
                    <a:pt x="108" y="75"/>
                    <a:pt x="108" y="75"/>
                    <a:pt x="108" y="75"/>
                  </a:cubicBezTo>
                  <a:cubicBezTo>
                    <a:pt x="118" y="75"/>
                    <a:pt x="118" y="75"/>
                    <a:pt x="118" y="75"/>
                  </a:cubicBezTo>
                  <a:lnTo>
                    <a:pt x="118" y="93"/>
                  </a:lnTo>
                  <a:close/>
                  <a:moveTo>
                    <a:pt x="100" y="26"/>
                  </a:moveTo>
                  <a:cubicBezTo>
                    <a:pt x="104" y="26"/>
                    <a:pt x="104" y="26"/>
                    <a:pt x="104" y="26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0" y="71"/>
                    <a:pt x="100" y="71"/>
                    <a:pt x="100" y="71"/>
                  </a:cubicBezTo>
                  <a:lnTo>
                    <a:pt x="100" y="26"/>
                  </a:lnTo>
                  <a:close/>
                  <a:moveTo>
                    <a:pt x="96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2" y="59"/>
                    <a:pt x="83" y="59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1" y="59"/>
                    <a:pt x="92" y="58"/>
                    <a:pt x="92" y="57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1"/>
                    <a:pt x="92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lnTo>
                    <a:pt x="96" y="63"/>
                  </a:lnTo>
                  <a:close/>
                  <a:moveTo>
                    <a:pt x="63" y="66"/>
                  </a:moveTo>
                  <a:cubicBezTo>
                    <a:pt x="68" y="65"/>
                    <a:pt x="68" y="65"/>
                    <a:pt x="68" y="65"/>
                  </a:cubicBezTo>
                  <a:cubicBezTo>
                    <a:pt x="69" y="64"/>
                    <a:pt x="69" y="64"/>
                    <a:pt x="69" y="63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5"/>
                    <a:pt x="79" y="55"/>
                    <a:pt x="80" y="54"/>
                  </a:cubicBezTo>
                  <a:cubicBezTo>
                    <a:pt x="81" y="54"/>
                    <a:pt x="81" y="52"/>
                    <a:pt x="80" y="52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69" y="42"/>
                    <a:pt x="69" y="43"/>
                  </a:cubicBezTo>
                  <a:cubicBezTo>
                    <a:pt x="68" y="44"/>
                    <a:pt x="68" y="45"/>
                    <a:pt x="69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0" y="36"/>
                    <a:pt x="87" y="39"/>
                    <a:pt x="87" y="42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0" y="55"/>
                    <a:pt x="77" y="57"/>
                    <a:pt x="77" y="6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63" y="71"/>
                    <a:pt x="63" y="71"/>
                    <a:pt x="63" y="71"/>
                  </a:cubicBezTo>
                  <a:lnTo>
                    <a:pt x="63" y="66"/>
                  </a:lnTo>
                  <a:close/>
                  <a:moveTo>
                    <a:pt x="51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59" y="64"/>
                    <a:pt x="59" y="65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1" y="71"/>
                    <a:pt x="51" y="71"/>
                    <a:pt x="51" y="71"/>
                  </a:cubicBezTo>
                  <a:lnTo>
                    <a:pt x="51" y="57"/>
                  </a:lnTo>
                  <a:close/>
                  <a:moveTo>
                    <a:pt x="81" y="67"/>
                  </a:moveTo>
                  <a:cubicBezTo>
                    <a:pt x="96" y="67"/>
                    <a:pt x="96" y="67"/>
                    <a:pt x="96" y="67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81" y="71"/>
                    <a:pt x="81" y="71"/>
                    <a:pt x="81" y="71"/>
                  </a:cubicBezTo>
                  <a:lnTo>
                    <a:pt x="81" y="67"/>
                  </a:lnTo>
                  <a:close/>
                  <a:moveTo>
                    <a:pt x="100" y="99"/>
                  </a:moveTo>
                  <a:cubicBezTo>
                    <a:pt x="94" y="99"/>
                    <a:pt x="90" y="95"/>
                    <a:pt x="90" y="89"/>
                  </a:cubicBezTo>
                  <a:cubicBezTo>
                    <a:pt x="90" y="84"/>
                    <a:pt x="94" y="79"/>
                    <a:pt x="100" y="79"/>
                  </a:cubicBezTo>
                  <a:cubicBezTo>
                    <a:pt x="105" y="79"/>
                    <a:pt x="110" y="84"/>
                    <a:pt x="110" y="89"/>
                  </a:cubicBezTo>
                  <a:cubicBezTo>
                    <a:pt x="110" y="95"/>
                    <a:pt x="105" y="99"/>
                    <a:pt x="100" y="99"/>
                  </a:cubicBezTo>
                  <a:moveTo>
                    <a:pt x="64" y="93"/>
                  </a:moveTo>
                  <a:cubicBezTo>
                    <a:pt x="65" y="90"/>
                    <a:pt x="65" y="86"/>
                    <a:pt x="64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5" y="86"/>
                    <a:pt x="85" y="90"/>
                    <a:pt x="86" y="93"/>
                  </a:cubicBezTo>
                  <a:lnTo>
                    <a:pt x="64" y="93"/>
                  </a:lnTo>
                  <a:close/>
                  <a:moveTo>
                    <a:pt x="51" y="99"/>
                  </a:moveTo>
                  <a:cubicBezTo>
                    <a:pt x="45" y="99"/>
                    <a:pt x="41" y="95"/>
                    <a:pt x="41" y="89"/>
                  </a:cubicBezTo>
                  <a:cubicBezTo>
                    <a:pt x="41" y="84"/>
                    <a:pt x="45" y="79"/>
                    <a:pt x="51" y="79"/>
                  </a:cubicBezTo>
                  <a:cubicBezTo>
                    <a:pt x="56" y="79"/>
                    <a:pt x="61" y="84"/>
                    <a:pt x="61" y="89"/>
                  </a:cubicBezTo>
                  <a:cubicBezTo>
                    <a:pt x="61" y="95"/>
                    <a:pt x="56" y="99"/>
                    <a:pt x="51" y="99"/>
                  </a:cubicBezTo>
                  <a:moveTo>
                    <a:pt x="4" y="87"/>
                  </a:move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4" y="91"/>
                    <a:pt x="4" y="91"/>
                    <a:pt x="4" y="91"/>
                  </a:cubicBezTo>
                  <a:lnTo>
                    <a:pt x="4" y="87"/>
                  </a:lnTo>
                  <a:close/>
                  <a:moveTo>
                    <a:pt x="2" y="95"/>
                  </a:moveTo>
                  <a:cubicBezTo>
                    <a:pt x="30" y="95"/>
                    <a:pt x="30" y="95"/>
                    <a:pt x="30" y="95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0" y="102"/>
                    <a:pt x="31" y="103"/>
                    <a:pt x="32" y="103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2" y="103"/>
                    <a:pt x="43" y="102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6" y="103"/>
                    <a:pt x="50" y="104"/>
                    <a:pt x="53" y="103"/>
                  </a:cubicBezTo>
                  <a:cubicBezTo>
                    <a:pt x="57" y="103"/>
                    <a:pt x="60" y="100"/>
                    <a:pt x="63" y="97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91" y="101"/>
                    <a:pt x="95" y="103"/>
                    <a:pt x="100" y="103"/>
                  </a:cubicBezTo>
                  <a:cubicBezTo>
                    <a:pt x="104" y="103"/>
                    <a:pt x="109" y="101"/>
                    <a:pt x="111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21" y="97"/>
                    <a:pt x="122" y="96"/>
                    <a:pt x="122" y="95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57"/>
                    <a:pt x="118" y="53"/>
                    <a:pt x="112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19"/>
                    <a:pt x="108" y="19"/>
                    <a:pt x="108" y="19"/>
                  </a:cubicBezTo>
                  <a:cubicBezTo>
                    <a:pt x="108" y="16"/>
                    <a:pt x="105" y="14"/>
                    <a:pt x="102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0" y="14"/>
                    <a:pt x="67" y="16"/>
                    <a:pt x="65" y="19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5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2"/>
                    <a:pt x="40" y="0"/>
                    <a:pt x="37" y="0"/>
                  </a:cubicBezTo>
                  <a:cubicBezTo>
                    <a:pt x="33" y="0"/>
                    <a:pt x="30" y="2"/>
                    <a:pt x="30" y="6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6" y="11"/>
                    <a:pt x="6" y="12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3" y="59"/>
                    <a:pt x="2" y="60"/>
                    <a:pt x="2" y="61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1" y="83"/>
                    <a:pt x="0" y="84"/>
                    <a:pt x="0" y="85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4"/>
                    <a:pt x="1" y="95"/>
                    <a:pt x="2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4" name="Group 279">
            <a:extLst>
              <a:ext uri="{FF2B5EF4-FFF2-40B4-BE49-F238E27FC236}">
                <a16:creationId xmlns:a16="http://schemas.microsoft.com/office/drawing/2014/main" id="{CBB0F6EB-9143-4563-B04D-3192D332F7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6525" y="5447711"/>
            <a:ext cx="758825" cy="758825"/>
            <a:chOff x="5262" y="3581"/>
            <a:chExt cx="478" cy="478"/>
          </a:xfrm>
        </p:grpSpPr>
        <p:sp>
          <p:nvSpPr>
            <p:cNvPr id="325" name="AutoShape 278">
              <a:extLst>
                <a:ext uri="{FF2B5EF4-FFF2-40B4-BE49-F238E27FC236}">
                  <a16:creationId xmlns:a16="http://schemas.microsoft.com/office/drawing/2014/main" id="{CA724AA5-9425-4E19-8414-6ACEEC8D5A3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2" y="358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80">
              <a:extLst>
                <a:ext uri="{FF2B5EF4-FFF2-40B4-BE49-F238E27FC236}">
                  <a16:creationId xmlns:a16="http://schemas.microsoft.com/office/drawing/2014/main" id="{559A1396-3E15-4195-BF3B-77086AE784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4" y="358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81">
              <a:extLst>
                <a:ext uri="{FF2B5EF4-FFF2-40B4-BE49-F238E27FC236}">
                  <a16:creationId xmlns:a16="http://schemas.microsoft.com/office/drawing/2014/main" id="{05D55C46-0180-41FF-8A43-9721D5060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8" y="3836"/>
              <a:ext cx="284" cy="152"/>
            </a:xfrm>
            <a:custGeom>
              <a:avLst/>
              <a:gdLst>
                <a:gd name="T0" fmla="*/ 45 w 116"/>
                <a:gd name="T1" fmla="*/ 48 h 62"/>
                <a:gd name="T2" fmla="*/ 73 w 116"/>
                <a:gd name="T3" fmla="*/ 50 h 62"/>
                <a:gd name="T4" fmla="*/ 77 w 116"/>
                <a:gd name="T5" fmla="*/ 57 h 62"/>
                <a:gd name="T6" fmla="*/ 42 w 116"/>
                <a:gd name="T7" fmla="*/ 53 h 62"/>
                <a:gd name="T8" fmla="*/ 77 w 116"/>
                <a:gd name="T9" fmla="*/ 57 h 62"/>
                <a:gd name="T10" fmla="*/ 37 w 116"/>
                <a:gd name="T11" fmla="*/ 12 h 62"/>
                <a:gd name="T12" fmla="*/ 72 w 116"/>
                <a:gd name="T13" fmla="*/ 3 h 62"/>
                <a:gd name="T14" fmla="*/ 79 w 116"/>
                <a:gd name="T15" fmla="*/ 39 h 62"/>
                <a:gd name="T16" fmla="*/ 79 w 116"/>
                <a:gd name="T17" fmla="*/ 42 h 62"/>
                <a:gd name="T18" fmla="*/ 77 w 116"/>
                <a:gd name="T19" fmla="*/ 44 h 62"/>
                <a:gd name="T20" fmla="*/ 42 w 116"/>
                <a:gd name="T21" fmla="*/ 45 h 62"/>
                <a:gd name="T22" fmla="*/ 79 w 116"/>
                <a:gd name="T23" fmla="*/ 46 h 62"/>
                <a:gd name="T24" fmla="*/ 81 w 116"/>
                <a:gd name="T25" fmla="*/ 43 h 62"/>
                <a:gd name="T26" fmla="*/ 82 w 116"/>
                <a:gd name="T27" fmla="*/ 39 h 62"/>
                <a:gd name="T28" fmla="*/ 116 w 116"/>
                <a:gd name="T29" fmla="*/ 21 h 62"/>
                <a:gd name="T30" fmla="*/ 82 w 116"/>
                <a:gd name="T31" fmla="*/ 19 h 62"/>
                <a:gd name="T32" fmla="*/ 72 w 116"/>
                <a:gd name="T33" fmla="*/ 0 h 62"/>
                <a:gd name="T34" fmla="*/ 34 w 116"/>
                <a:gd name="T35" fmla="*/ 12 h 62"/>
                <a:gd name="T36" fmla="*/ 0 w 116"/>
                <a:gd name="T37" fmla="*/ 19 h 62"/>
                <a:gd name="T38" fmla="*/ 34 w 116"/>
                <a:gd name="T39" fmla="*/ 21 h 62"/>
                <a:gd name="T40" fmla="*/ 42 w 116"/>
                <a:gd name="T41" fmla="*/ 48 h 62"/>
                <a:gd name="T42" fmla="*/ 37 w 116"/>
                <a:gd name="T43" fmla="*/ 50 h 62"/>
                <a:gd name="T44" fmla="*/ 38 w 116"/>
                <a:gd name="T45" fmla="*/ 53 h 62"/>
                <a:gd name="T46" fmla="*/ 35 w 116"/>
                <a:gd name="T47" fmla="*/ 57 h 62"/>
                <a:gd name="T48" fmla="*/ 34 w 116"/>
                <a:gd name="T49" fmla="*/ 60 h 62"/>
                <a:gd name="T50" fmla="*/ 38 w 116"/>
                <a:gd name="T51" fmla="*/ 60 h 62"/>
                <a:gd name="T52" fmla="*/ 80 w 116"/>
                <a:gd name="T53" fmla="*/ 62 h 62"/>
                <a:gd name="T54" fmla="*/ 81 w 116"/>
                <a:gd name="T55" fmla="*/ 59 h 62"/>
                <a:gd name="T56" fmla="*/ 80 w 116"/>
                <a:gd name="T57" fmla="*/ 57 h 62"/>
                <a:gd name="T58" fmla="*/ 79 w 116"/>
                <a:gd name="T59" fmla="*/ 53 h 62"/>
                <a:gd name="T60" fmla="*/ 76 w 116"/>
                <a:gd name="T61" fmla="*/ 50 h 62"/>
                <a:gd name="T62" fmla="*/ 79 w 116"/>
                <a:gd name="T63" fmla="*/ 4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6" h="62">
                  <a:moveTo>
                    <a:pt x="43" y="50"/>
                  </a:moveTo>
                  <a:cubicBezTo>
                    <a:pt x="45" y="48"/>
                    <a:pt x="45" y="48"/>
                    <a:pt x="45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3" y="50"/>
                    <a:pt x="73" y="50"/>
                    <a:pt x="73" y="50"/>
                  </a:cubicBezTo>
                  <a:lnTo>
                    <a:pt x="43" y="50"/>
                  </a:lnTo>
                  <a:close/>
                  <a:moveTo>
                    <a:pt x="77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75" y="53"/>
                    <a:pt x="75" y="53"/>
                    <a:pt x="75" y="53"/>
                  </a:cubicBezTo>
                  <a:lnTo>
                    <a:pt x="77" y="57"/>
                  </a:lnTo>
                  <a:close/>
                  <a:moveTo>
                    <a:pt x="37" y="39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7" y="7"/>
                    <a:pt x="41" y="3"/>
                    <a:pt x="47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6" y="3"/>
                    <a:pt x="79" y="6"/>
                    <a:pt x="79" y="10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79" y="40"/>
                    <a:pt x="79" y="40"/>
                    <a:pt x="79" y="41"/>
                  </a:cubicBezTo>
                  <a:cubicBezTo>
                    <a:pt x="79" y="41"/>
                    <a:pt x="79" y="42"/>
                    <a:pt x="79" y="42"/>
                  </a:cubicBezTo>
                  <a:cubicBezTo>
                    <a:pt x="78" y="42"/>
                    <a:pt x="78" y="43"/>
                    <a:pt x="78" y="43"/>
                  </a:cubicBezTo>
                  <a:cubicBezTo>
                    <a:pt x="78" y="43"/>
                    <a:pt x="77" y="43"/>
                    <a:pt x="77" y="44"/>
                  </a:cubicBezTo>
                  <a:cubicBezTo>
                    <a:pt x="76" y="44"/>
                    <a:pt x="75" y="45"/>
                    <a:pt x="73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39" y="45"/>
                    <a:pt x="37" y="43"/>
                    <a:pt x="37" y="39"/>
                  </a:cubicBezTo>
                  <a:moveTo>
                    <a:pt x="79" y="46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1" y="44"/>
                    <a:pt x="81" y="44"/>
                    <a:pt x="81" y="43"/>
                  </a:cubicBezTo>
                  <a:cubicBezTo>
                    <a:pt x="81" y="43"/>
                    <a:pt x="82" y="42"/>
                    <a:pt x="82" y="42"/>
                  </a:cubicBezTo>
                  <a:cubicBezTo>
                    <a:pt x="82" y="41"/>
                    <a:pt x="82" y="40"/>
                    <a:pt x="82" y="3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4"/>
                    <a:pt x="78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0" y="0"/>
                    <a:pt x="34" y="5"/>
                    <a:pt x="34" y="12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4"/>
                    <a:pt x="37" y="47"/>
                    <a:pt x="42" y="48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6" y="47"/>
                    <a:pt x="78" y="47"/>
                    <a:pt x="79" y="4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282">
              <a:extLst>
                <a:ext uri="{FF2B5EF4-FFF2-40B4-BE49-F238E27FC236}">
                  <a16:creationId xmlns:a16="http://schemas.microsoft.com/office/drawing/2014/main" id="{0A6E7E10-2D0E-4F92-857C-FA8324A59A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1" y="3846"/>
              <a:ext cx="98" cy="49"/>
            </a:xfrm>
            <a:custGeom>
              <a:avLst/>
              <a:gdLst>
                <a:gd name="T0" fmla="*/ 37 w 40"/>
                <a:gd name="T1" fmla="*/ 17 h 20"/>
                <a:gd name="T2" fmla="*/ 3 w 40"/>
                <a:gd name="T3" fmla="*/ 17 h 20"/>
                <a:gd name="T4" fmla="*/ 3 w 40"/>
                <a:gd name="T5" fmla="*/ 8 h 20"/>
                <a:gd name="T6" fmla="*/ 9 w 40"/>
                <a:gd name="T7" fmla="*/ 3 h 20"/>
                <a:gd name="T8" fmla="*/ 34 w 40"/>
                <a:gd name="T9" fmla="*/ 3 h 20"/>
                <a:gd name="T10" fmla="*/ 37 w 40"/>
                <a:gd name="T11" fmla="*/ 6 h 20"/>
                <a:gd name="T12" fmla="*/ 37 w 40"/>
                <a:gd name="T13" fmla="*/ 17 h 20"/>
                <a:gd name="T14" fmla="*/ 40 w 40"/>
                <a:gd name="T15" fmla="*/ 6 h 20"/>
                <a:gd name="T16" fmla="*/ 34 w 40"/>
                <a:gd name="T17" fmla="*/ 0 h 20"/>
                <a:gd name="T18" fmla="*/ 9 w 40"/>
                <a:gd name="T19" fmla="*/ 0 h 20"/>
                <a:gd name="T20" fmla="*/ 0 w 40"/>
                <a:gd name="T21" fmla="*/ 8 h 20"/>
                <a:gd name="T22" fmla="*/ 0 w 40"/>
                <a:gd name="T23" fmla="*/ 20 h 20"/>
                <a:gd name="T24" fmla="*/ 40 w 40"/>
                <a:gd name="T25" fmla="*/ 20 h 20"/>
                <a:gd name="T26" fmla="*/ 40 w 40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0">
                  <a:moveTo>
                    <a:pt x="37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5"/>
                    <a:pt x="5" y="3"/>
                    <a:pt x="9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6" y="3"/>
                    <a:pt x="37" y="4"/>
                    <a:pt x="37" y="6"/>
                  </a:cubicBezTo>
                  <a:lnTo>
                    <a:pt x="37" y="17"/>
                  </a:lnTo>
                  <a:close/>
                  <a:moveTo>
                    <a:pt x="40" y="6"/>
                  </a:moveTo>
                  <a:cubicBezTo>
                    <a:pt x="40" y="3"/>
                    <a:pt x="37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0" y="20"/>
                    <a:pt x="40" y="20"/>
                    <a:pt x="40" y="20"/>
                  </a:cubicBezTo>
                  <a:lnTo>
                    <a:pt x="40" y="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83">
              <a:extLst>
                <a:ext uri="{FF2B5EF4-FFF2-40B4-BE49-F238E27FC236}">
                  <a16:creationId xmlns:a16="http://schemas.microsoft.com/office/drawing/2014/main" id="{473BF900-103E-4A68-AEEA-67C608E13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6" y="3909"/>
              <a:ext cx="27" cy="27"/>
            </a:xfrm>
            <a:custGeom>
              <a:avLst/>
              <a:gdLst>
                <a:gd name="T0" fmla="*/ 3 w 11"/>
                <a:gd name="T1" fmla="*/ 6 h 11"/>
                <a:gd name="T2" fmla="*/ 6 w 11"/>
                <a:gd name="T3" fmla="*/ 3 h 11"/>
                <a:gd name="T4" fmla="*/ 8 w 11"/>
                <a:gd name="T5" fmla="*/ 6 h 11"/>
                <a:gd name="T6" fmla="*/ 6 w 11"/>
                <a:gd name="T7" fmla="*/ 8 h 11"/>
                <a:gd name="T8" fmla="*/ 3 w 11"/>
                <a:gd name="T9" fmla="*/ 6 h 11"/>
                <a:gd name="T10" fmla="*/ 11 w 11"/>
                <a:gd name="T11" fmla="*/ 6 h 11"/>
                <a:gd name="T12" fmla="*/ 6 w 11"/>
                <a:gd name="T13" fmla="*/ 0 h 11"/>
                <a:gd name="T14" fmla="*/ 0 w 11"/>
                <a:gd name="T15" fmla="*/ 6 h 11"/>
                <a:gd name="T16" fmla="*/ 6 w 11"/>
                <a:gd name="T17" fmla="*/ 11 h 11"/>
                <a:gd name="T18" fmla="*/ 11 w 11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3" y="6"/>
                  </a:moveTo>
                  <a:cubicBezTo>
                    <a:pt x="3" y="4"/>
                    <a:pt x="4" y="3"/>
                    <a:pt x="6" y="3"/>
                  </a:cubicBezTo>
                  <a:cubicBezTo>
                    <a:pt x="7" y="3"/>
                    <a:pt x="8" y="4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ubicBezTo>
                    <a:pt x="4" y="8"/>
                    <a:pt x="3" y="7"/>
                    <a:pt x="3" y="6"/>
                  </a:cubicBezTo>
                  <a:moveTo>
                    <a:pt x="11" y="6"/>
                  </a:move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84">
              <a:extLst>
                <a:ext uri="{FF2B5EF4-FFF2-40B4-BE49-F238E27FC236}">
                  <a16:creationId xmlns:a16="http://schemas.microsoft.com/office/drawing/2014/main" id="{91842605-6E1C-413C-B3E2-548A4A616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" y="3909"/>
              <a:ext cx="27" cy="27"/>
            </a:xfrm>
            <a:custGeom>
              <a:avLst/>
              <a:gdLst>
                <a:gd name="T0" fmla="*/ 6 w 11"/>
                <a:gd name="T1" fmla="*/ 8 h 11"/>
                <a:gd name="T2" fmla="*/ 3 w 11"/>
                <a:gd name="T3" fmla="*/ 6 h 11"/>
                <a:gd name="T4" fmla="*/ 6 w 11"/>
                <a:gd name="T5" fmla="*/ 3 h 11"/>
                <a:gd name="T6" fmla="*/ 8 w 11"/>
                <a:gd name="T7" fmla="*/ 6 h 11"/>
                <a:gd name="T8" fmla="*/ 6 w 11"/>
                <a:gd name="T9" fmla="*/ 8 h 11"/>
                <a:gd name="T10" fmla="*/ 6 w 11"/>
                <a:gd name="T11" fmla="*/ 0 h 11"/>
                <a:gd name="T12" fmla="*/ 0 w 11"/>
                <a:gd name="T13" fmla="*/ 6 h 11"/>
                <a:gd name="T14" fmla="*/ 6 w 11"/>
                <a:gd name="T15" fmla="*/ 11 h 11"/>
                <a:gd name="T16" fmla="*/ 11 w 11"/>
                <a:gd name="T17" fmla="*/ 6 h 11"/>
                <a:gd name="T18" fmla="*/ 6 w 11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8"/>
                  </a:moveTo>
                  <a:cubicBezTo>
                    <a:pt x="4" y="8"/>
                    <a:pt x="3" y="7"/>
                    <a:pt x="3" y="6"/>
                  </a:cubicBezTo>
                  <a:cubicBezTo>
                    <a:pt x="3" y="4"/>
                    <a:pt x="4" y="3"/>
                    <a:pt x="6" y="3"/>
                  </a:cubicBezTo>
                  <a:cubicBezTo>
                    <a:pt x="7" y="3"/>
                    <a:pt x="8" y="4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85">
              <a:extLst>
                <a:ext uri="{FF2B5EF4-FFF2-40B4-BE49-F238E27FC236}">
                  <a16:creationId xmlns:a16="http://schemas.microsoft.com/office/drawing/2014/main" id="{111A2CF3-23A9-430B-B217-5DFE529F2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2" y="3753"/>
              <a:ext cx="34" cy="51"/>
            </a:xfrm>
            <a:custGeom>
              <a:avLst/>
              <a:gdLst>
                <a:gd name="T0" fmla="*/ 20 w 34"/>
                <a:gd name="T1" fmla="*/ 39 h 51"/>
                <a:gd name="T2" fmla="*/ 10 w 34"/>
                <a:gd name="T3" fmla="*/ 27 h 51"/>
                <a:gd name="T4" fmla="*/ 17 w 34"/>
                <a:gd name="T5" fmla="*/ 17 h 51"/>
                <a:gd name="T6" fmla="*/ 27 w 34"/>
                <a:gd name="T7" fmla="*/ 29 h 51"/>
                <a:gd name="T8" fmla="*/ 20 w 34"/>
                <a:gd name="T9" fmla="*/ 39 h 51"/>
                <a:gd name="T10" fmla="*/ 20 w 34"/>
                <a:gd name="T11" fmla="*/ 0 h 51"/>
                <a:gd name="T12" fmla="*/ 0 w 34"/>
                <a:gd name="T13" fmla="*/ 27 h 51"/>
                <a:gd name="T14" fmla="*/ 20 w 34"/>
                <a:gd name="T15" fmla="*/ 51 h 51"/>
                <a:gd name="T16" fmla="*/ 34 w 34"/>
                <a:gd name="T17" fmla="*/ 29 h 51"/>
                <a:gd name="T18" fmla="*/ 22 w 34"/>
                <a:gd name="T19" fmla="*/ 12 h 51"/>
                <a:gd name="T20" fmla="*/ 20 w 34"/>
                <a:gd name="T2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1">
                  <a:moveTo>
                    <a:pt x="20" y="39"/>
                  </a:moveTo>
                  <a:lnTo>
                    <a:pt x="10" y="27"/>
                  </a:lnTo>
                  <a:lnTo>
                    <a:pt x="17" y="17"/>
                  </a:lnTo>
                  <a:lnTo>
                    <a:pt x="27" y="29"/>
                  </a:lnTo>
                  <a:lnTo>
                    <a:pt x="20" y="39"/>
                  </a:lnTo>
                  <a:close/>
                  <a:moveTo>
                    <a:pt x="20" y="0"/>
                  </a:moveTo>
                  <a:lnTo>
                    <a:pt x="0" y="27"/>
                  </a:lnTo>
                  <a:lnTo>
                    <a:pt x="20" y="51"/>
                  </a:lnTo>
                  <a:lnTo>
                    <a:pt x="34" y="29"/>
                  </a:lnTo>
                  <a:lnTo>
                    <a:pt x="22" y="1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286">
              <a:extLst>
                <a:ext uri="{FF2B5EF4-FFF2-40B4-BE49-F238E27FC236}">
                  <a16:creationId xmlns:a16="http://schemas.microsoft.com/office/drawing/2014/main" id="{B7A22D9A-5C51-4BD8-8611-E8F95EA686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5" y="3640"/>
              <a:ext cx="230" cy="181"/>
            </a:xfrm>
            <a:custGeom>
              <a:avLst/>
              <a:gdLst>
                <a:gd name="T0" fmla="*/ 36 w 94"/>
                <a:gd name="T1" fmla="*/ 49 h 74"/>
                <a:gd name="T2" fmla="*/ 43 w 94"/>
                <a:gd name="T3" fmla="*/ 25 h 74"/>
                <a:gd name="T4" fmla="*/ 37 w 94"/>
                <a:gd name="T5" fmla="*/ 34 h 74"/>
                <a:gd name="T6" fmla="*/ 24 w 94"/>
                <a:gd name="T7" fmla="*/ 36 h 74"/>
                <a:gd name="T8" fmla="*/ 26 w 94"/>
                <a:gd name="T9" fmla="*/ 34 h 74"/>
                <a:gd name="T10" fmla="*/ 42 w 94"/>
                <a:gd name="T11" fmla="*/ 19 h 74"/>
                <a:gd name="T12" fmla="*/ 46 w 94"/>
                <a:gd name="T13" fmla="*/ 16 h 74"/>
                <a:gd name="T14" fmla="*/ 52 w 94"/>
                <a:gd name="T15" fmla="*/ 17 h 74"/>
                <a:gd name="T16" fmla="*/ 61 w 94"/>
                <a:gd name="T17" fmla="*/ 22 h 74"/>
                <a:gd name="T18" fmla="*/ 63 w 94"/>
                <a:gd name="T19" fmla="*/ 32 h 74"/>
                <a:gd name="T20" fmla="*/ 52 w 94"/>
                <a:gd name="T21" fmla="*/ 21 h 74"/>
                <a:gd name="T22" fmla="*/ 56 w 94"/>
                <a:gd name="T23" fmla="*/ 39 h 74"/>
                <a:gd name="T24" fmla="*/ 52 w 94"/>
                <a:gd name="T25" fmla="*/ 46 h 74"/>
                <a:gd name="T26" fmla="*/ 40 w 94"/>
                <a:gd name="T27" fmla="*/ 51 h 74"/>
                <a:gd name="T28" fmla="*/ 36 w 94"/>
                <a:gd name="T29" fmla="*/ 69 h 74"/>
                <a:gd name="T30" fmla="*/ 35 w 94"/>
                <a:gd name="T31" fmla="*/ 50 h 74"/>
                <a:gd name="T32" fmla="*/ 44 w 94"/>
                <a:gd name="T33" fmla="*/ 3 h 74"/>
                <a:gd name="T34" fmla="*/ 44 w 94"/>
                <a:gd name="T35" fmla="*/ 11 h 74"/>
                <a:gd name="T36" fmla="*/ 69 w 94"/>
                <a:gd name="T37" fmla="*/ 65 h 74"/>
                <a:gd name="T38" fmla="*/ 70 w 94"/>
                <a:gd name="T39" fmla="*/ 68 h 74"/>
                <a:gd name="T40" fmla="*/ 66 w 94"/>
                <a:gd name="T41" fmla="*/ 69 h 74"/>
                <a:gd name="T42" fmla="*/ 94 w 94"/>
                <a:gd name="T43" fmla="*/ 71 h 74"/>
                <a:gd name="T44" fmla="*/ 73 w 94"/>
                <a:gd name="T45" fmla="*/ 68 h 74"/>
                <a:gd name="T46" fmla="*/ 69 w 94"/>
                <a:gd name="T47" fmla="*/ 61 h 74"/>
                <a:gd name="T48" fmla="*/ 63 w 94"/>
                <a:gd name="T49" fmla="*/ 71 h 74"/>
                <a:gd name="T50" fmla="*/ 38 w 94"/>
                <a:gd name="T51" fmla="*/ 71 h 74"/>
                <a:gd name="T52" fmla="*/ 43 w 94"/>
                <a:gd name="T53" fmla="*/ 52 h 74"/>
                <a:gd name="T54" fmla="*/ 50 w 94"/>
                <a:gd name="T55" fmla="*/ 54 h 74"/>
                <a:gd name="T56" fmla="*/ 59 w 94"/>
                <a:gd name="T57" fmla="*/ 39 h 74"/>
                <a:gd name="T58" fmla="*/ 57 w 94"/>
                <a:gd name="T59" fmla="*/ 27 h 74"/>
                <a:gd name="T60" fmla="*/ 68 w 94"/>
                <a:gd name="T61" fmla="*/ 30 h 74"/>
                <a:gd name="T62" fmla="*/ 62 w 94"/>
                <a:gd name="T63" fmla="*/ 19 h 74"/>
                <a:gd name="T64" fmla="*/ 56 w 94"/>
                <a:gd name="T65" fmla="*/ 16 h 74"/>
                <a:gd name="T66" fmla="*/ 48 w 94"/>
                <a:gd name="T67" fmla="*/ 13 h 74"/>
                <a:gd name="T68" fmla="*/ 44 w 94"/>
                <a:gd name="T69" fmla="*/ 0 h 74"/>
                <a:gd name="T70" fmla="*/ 43 w 94"/>
                <a:gd name="T71" fmla="*/ 14 h 74"/>
                <a:gd name="T72" fmla="*/ 34 w 94"/>
                <a:gd name="T73" fmla="*/ 29 h 74"/>
                <a:gd name="T74" fmla="*/ 22 w 94"/>
                <a:gd name="T75" fmla="*/ 33 h 74"/>
                <a:gd name="T76" fmla="*/ 26 w 94"/>
                <a:gd name="T77" fmla="*/ 40 h 74"/>
                <a:gd name="T78" fmla="*/ 38 w 94"/>
                <a:gd name="T79" fmla="*/ 37 h 74"/>
                <a:gd name="T80" fmla="*/ 41 w 94"/>
                <a:gd name="T81" fmla="*/ 34 h 74"/>
                <a:gd name="T82" fmla="*/ 34 w 94"/>
                <a:gd name="T83" fmla="*/ 47 h 74"/>
                <a:gd name="T84" fmla="*/ 33 w 94"/>
                <a:gd name="T85" fmla="*/ 69 h 74"/>
                <a:gd name="T86" fmla="*/ 0 w 94"/>
                <a:gd name="T87" fmla="*/ 71 h 74"/>
                <a:gd name="T88" fmla="*/ 94 w 94"/>
                <a:gd name="T8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74">
                  <a:moveTo>
                    <a:pt x="35" y="50"/>
                  </a:moveTo>
                  <a:cubicBezTo>
                    <a:pt x="35" y="50"/>
                    <a:pt x="36" y="49"/>
                    <a:pt x="36" y="4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4"/>
                    <a:pt x="38" y="34"/>
                    <a:pt x="37" y="34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5" y="36"/>
                    <a:pt x="24" y="36"/>
                  </a:cubicBezTo>
                  <a:cubicBezTo>
                    <a:pt x="24" y="35"/>
                    <a:pt x="24" y="35"/>
                    <a:pt x="25" y="34"/>
                  </a:cubicBezTo>
                  <a:cubicBezTo>
                    <a:pt x="25" y="34"/>
                    <a:pt x="25" y="34"/>
                    <a:pt x="26" y="34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3" y="17"/>
                    <a:pt x="44" y="16"/>
                    <a:pt x="46" y="16"/>
                  </a:cubicBezTo>
                  <a:cubicBezTo>
                    <a:pt x="47" y="16"/>
                    <a:pt x="48" y="16"/>
                    <a:pt x="49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35" y="69"/>
                    <a:pt x="35" y="69"/>
                    <a:pt x="35" y="69"/>
                  </a:cubicBezTo>
                  <a:lnTo>
                    <a:pt x="35" y="50"/>
                  </a:lnTo>
                  <a:close/>
                  <a:moveTo>
                    <a:pt x="40" y="7"/>
                  </a:moveTo>
                  <a:cubicBezTo>
                    <a:pt x="40" y="5"/>
                    <a:pt x="42" y="3"/>
                    <a:pt x="44" y="3"/>
                  </a:cubicBezTo>
                  <a:cubicBezTo>
                    <a:pt x="46" y="3"/>
                    <a:pt x="48" y="5"/>
                    <a:pt x="48" y="7"/>
                  </a:cubicBezTo>
                  <a:cubicBezTo>
                    <a:pt x="48" y="9"/>
                    <a:pt x="46" y="11"/>
                    <a:pt x="44" y="11"/>
                  </a:cubicBezTo>
                  <a:cubicBezTo>
                    <a:pt x="42" y="11"/>
                    <a:pt x="40" y="9"/>
                    <a:pt x="40" y="7"/>
                  </a:cubicBezTo>
                  <a:moveTo>
                    <a:pt x="69" y="65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7"/>
                    <a:pt x="70" y="68"/>
                  </a:cubicBezTo>
                  <a:cubicBezTo>
                    <a:pt x="70" y="68"/>
                    <a:pt x="70" y="69"/>
                    <a:pt x="69" y="69"/>
                  </a:cubicBezTo>
                  <a:cubicBezTo>
                    <a:pt x="68" y="70"/>
                    <a:pt x="67" y="70"/>
                    <a:pt x="66" y="69"/>
                  </a:cubicBezTo>
                  <a:lnTo>
                    <a:pt x="69" y="65"/>
                  </a:lnTo>
                  <a:close/>
                  <a:moveTo>
                    <a:pt x="94" y="71"/>
                  </a:moveTo>
                  <a:cubicBezTo>
                    <a:pt x="71" y="71"/>
                    <a:pt x="71" y="71"/>
                    <a:pt x="71" y="71"/>
                  </a:cubicBezTo>
                  <a:cubicBezTo>
                    <a:pt x="72" y="70"/>
                    <a:pt x="73" y="69"/>
                    <a:pt x="73" y="68"/>
                  </a:cubicBezTo>
                  <a:cubicBezTo>
                    <a:pt x="73" y="66"/>
                    <a:pt x="72" y="65"/>
                    <a:pt x="72" y="64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4" y="71"/>
                    <a:pt x="64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0"/>
                    <a:pt x="62" y="20"/>
                    <a:pt x="62" y="19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3"/>
                    <a:pt x="49" y="13"/>
                    <a:pt x="48" y="13"/>
                  </a:cubicBezTo>
                  <a:cubicBezTo>
                    <a:pt x="50" y="12"/>
                    <a:pt x="51" y="10"/>
                    <a:pt x="51" y="7"/>
                  </a:cubicBezTo>
                  <a:cubicBezTo>
                    <a:pt x="51" y="3"/>
                    <a:pt x="48" y="0"/>
                    <a:pt x="44" y="0"/>
                  </a:cubicBezTo>
                  <a:cubicBezTo>
                    <a:pt x="40" y="0"/>
                    <a:pt x="37" y="3"/>
                    <a:pt x="37" y="7"/>
                  </a:cubicBezTo>
                  <a:cubicBezTo>
                    <a:pt x="37" y="11"/>
                    <a:pt x="40" y="14"/>
                    <a:pt x="43" y="14"/>
                  </a:cubicBezTo>
                  <a:cubicBezTo>
                    <a:pt x="41" y="15"/>
                    <a:pt x="40" y="16"/>
                    <a:pt x="40" y="1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4" y="31"/>
                    <a:pt x="23" y="32"/>
                    <a:pt x="22" y="33"/>
                  </a:cubicBezTo>
                  <a:cubicBezTo>
                    <a:pt x="22" y="34"/>
                    <a:pt x="21" y="35"/>
                    <a:pt x="22" y="36"/>
                  </a:cubicBezTo>
                  <a:cubicBezTo>
                    <a:pt x="22" y="38"/>
                    <a:pt x="24" y="40"/>
                    <a:pt x="26" y="40"/>
                  </a:cubicBezTo>
                  <a:cubicBezTo>
                    <a:pt x="26" y="40"/>
                    <a:pt x="27" y="40"/>
                    <a:pt x="27" y="4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9" y="37"/>
                    <a:pt x="40" y="36"/>
                    <a:pt x="41" y="35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3" y="48"/>
                    <a:pt x="33" y="49"/>
                    <a:pt x="33" y="5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4" y="74"/>
                    <a:pt x="94" y="74"/>
                    <a:pt x="94" y="74"/>
                  </a:cubicBezTo>
                  <a:lnTo>
                    <a:pt x="94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3" name="Group 289">
            <a:extLst>
              <a:ext uri="{FF2B5EF4-FFF2-40B4-BE49-F238E27FC236}">
                <a16:creationId xmlns:a16="http://schemas.microsoft.com/office/drawing/2014/main" id="{199AC779-B71F-4383-A639-40DCA4507D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69200" y="5406436"/>
            <a:ext cx="841375" cy="841375"/>
            <a:chOff x="4683" y="3472"/>
            <a:chExt cx="530" cy="530"/>
          </a:xfrm>
        </p:grpSpPr>
        <p:sp>
          <p:nvSpPr>
            <p:cNvPr id="334" name="AutoShape 288">
              <a:extLst>
                <a:ext uri="{FF2B5EF4-FFF2-40B4-BE49-F238E27FC236}">
                  <a16:creationId xmlns:a16="http://schemas.microsoft.com/office/drawing/2014/main" id="{11AADD76-FAE9-4301-AA95-99117D8A50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683" y="347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290">
              <a:extLst>
                <a:ext uri="{FF2B5EF4-FFF2-40B4-BE49-F238E27FC236}">
                  <a16:creationId xmlns:a16="http://schemas.microsoft.com/office/drawing/2014/main" id="{3B7CF571-9980-4DA6-955C-97BC6F81B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3" y="347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291">
              <a:extLst>
                <a:ext uri="{FF2B5EF4-FFF2-40B4-BE49-F238E27FC236}">
                  <a16:creationId xmlns:a16="http://schemas.microsoft.com/office/drawing/2014/main" id="{57760734-AB5E-4C32-9D12-2FDD3630F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01" y="349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292">
              <a:extLst>
                <a:ext uri="{FF2B5EF4-FFF2-40B4-BE49-F238E27FC236}">
                  <a16:creationId xmlns:a16="http://schemas.microsoft.com/office/drawing/2014/main" id="{203D2BD2-9AF1-426A-AE9D-FF2B6BBD0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8" y="3754"/>
              <a:ext cx="297" cy="158"/>
            </a:xfrm>
            <a:custGeom>
              <a:avLst/>
              <a:gdLst>
                <a:gd name="T0" fmla="*/ 45 w 116"/>
                <a:gd name="T1" fmla="*/ 48 h 62"/>
                <a:gd name="T2" fmla="*/ 73 w 116"/>
                <a:gd name="T3" fmla="*/ 50 h 62"/>
                <a:gd name="T4" fmla="*/ 77 w 116"/>
                <a:gd name="T5" fmla="*/ 57 h 62"/>
                <a:gd name="T6" fmla="*/ 42 w 116"/>
                <a:gd name="T7" fmla="*/ 53 h 62"/>
                <a:gd name="T8" fmla="*/ 77 w 116"/>
                <a:gd name="T9" fmla="*/ 57 h 62"/>
                <a:gd name="T10" fmla="*/ 37 w 116"/>
                <a:gd name="T11" fmla="*/ 12 h 62"/>
                <a:gd name="T12" fmla="*/ 72 w 116"/>
                <a:gd name="T13" fmla="*/ 3 h 62"/>
                <a:gd name="T14" fmla="*/ 79 w 116"/>
                <a:gd name="T15" fmla="*/ 39 h 62"/>
                <a:gd name="T16" fmla="*/ 79 w 116"/>
                <a:gd name="T17" fmla="*/ 42 h 62"/>
                <a:gd name="T18" fmla="*/ 77 w 116"/>
                <a:gd name="T19" fmla="*/ 44 h 62"/>
                <a:gd name="T20" fmla="*/ 42 w 116"/>
                <a:gd name="T21" fmla="*/ 45 h 62"/>
                <a:gd name="T22" fmla="*/ 79 w 116"/>
                <a:gd name="T23" fmla="*/ 46 h 62"/>
                <a:gd name="T24" fmla="*/ 81 w 116"/>
                <a:gd name="T25" fmla="*/ 43 h 62"/>
                <a:gd name="T26" fmla="*/ 82 w 116"/>
                <a:gd name="T27" fmla="*/ 39 h 62"/>
                <a:gd name="T28" fmla="*/ 116 w 116"/>
                <a:gd name="T29" fmla="*/ 21 h 62"/>
                <a:gd name="T30" fmla="*/ 82 w 116"/>
                <a:gd name="T31" fmla="*/ 19 h 62"/>
                <a:gd name="T32" fmla="*/ 72 w 116"/>
                <a:gd name="T33" fmla="*/ 0 h 62"/>
                <a:gd name="T34" fmla="*/ 34 w 116"/>
                <a:gd name="T35" fmla="*/ 12 h 62"/>
                <a:gd name="T36" fmla="*/ 0 w 116"/>
                <a:gd name="T37" fmla="*/ 19 h 62"/>
                <a:gd name="T38" fmla="*/ 34 w 116"/>
                <a:gd name="T39" fmla="*/ 21 h 62"/>
                <a:gd name="T40" fmla="*/ 42 w 116"/>
                <a:gd name="T41" fmla="*/ 48 h 62"/>
                <a:gd name="T42" fmla="*/ 37 w 116"/>
                <a:gd name="T43" fmla="*/ 50 h 62"/>
                <a:gd name="T44" fmla="*/ 38 w 116"/>
                <a:gd name="T45" fmla="*/ 53 h 62"/>
                <a:gd name="T46" fmla="*/ 35 w 116"/>
                <a:gd name="T47" fmla="*/ 57 h 62"/>
                <a:gd name="T48" fmla="*/ 34 w 116"/>
                <a:gd name="T49" fmla="*/ 60 h 62"/>
                <a:gd name="T50" fmla="*/ 38 w 116"/>
                <a:gd name="T51" fmla="*/ 60 h 62"/>
                <a:gd name="T52" fmla="*/ 80 w 116"/>
                <a:gd name="T53" fmla="*/ 62 h 62"/>
                <a:gd name="T54" fmla="*/ 81 w 116"/>
                <a:gd name="T55" fmla="*/ 59 h 62"/>
                <a:gd name="T56" fmla="*/ 80 w 116"/>
                <a:gd name="T57" fmla="*/ 57 h 62"/>
                <a:gd name="T58" fmla="*/ 79 w 116"/>
                <a:gd name="T59" fmla="*/ 53 h 62"/>
                <a:gd name="T60" fmla="*/ 76 w 116"/>
                <a:gd name="T61" fmla="*/ 50 h 62"/>
                <a:gd name="T62" fmla="*/ 79 w 116"/>
                <a:gd name="T63" fmla="*/ 4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6" h="62">
                  <a:moveTo>
                    <a:pt x="43" y="50"/>
                  </a:moveTo>
                  <a:cubicBezTo>
                    <a:pt x="45" y="48"/>
                    <a:pt x="45" y="48"/>
                    <a:pt x="45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3" y="50"/>
                    <a:pt x="73" y="50"/>
                    <a:pt x="73" y="50"/>
                  </a:cubicBezTo>
                  <a:lnTo>
                    <a:pt x="43" y="50"/>
                  </a:lnTo>
                  <a:close/>
                  <a:moveTo>
                    <a:pt x="77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75" y="53"/>
                    <a:pt x="75" y="53"/>
                    <a:pt x="75" y="53"/>
                  </a:cubicBezTo>
                  <a:lnTo>
                    <a:pt x="77" y="57"/>
                  </a:lnTo>
                  <a:close/>
                  <a:moveTo>
                    <a:pt x="37" y="39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7" y="7"/>
                    <a:pt x="41" y="3"/>
                    <a:pt x="47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6" y="3"/>
                    <a:pt x="79" y="6"/>
                    <a:pt x="79" y="10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79" y="40"/>
                    <a:pt x="79" y="40"/>
                    <a:pt x="79" y="41"/>
                  </a:cubicBezTo>
                  <a:cubicBezTo>
                    <a:pt x="79" y="41"/>
                    <a:pt x="79" y="42"/>
                    <a:pt x="79" y="42"/>
                  </a:cubicBezTo>
                  <a:cubicBezTo>
                    <a:pt x="78" y="42"/>
                    <a:pt x="78" y="43"/>
                    <a:pt x="78" y="43"/>
                  </a:cubicBezTo>
                  <a:cubicBezTo>
                    <a:pt x="78" y="43"/>
                    <a:pt x="77" y="43"/>
                    <a:pt x="77" y="44"/>
                  </a:cubicBezTo>
                  <a:cubicBezTo>
                    <a:pt x="76" y="44"/>
                    <a:pt x="75" y="45"/>
                    <a:pt x="73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39" y="45"/>
                    <a:pt x="37" y="43"/>
                    <a:pt x="37" y="39"/>
                  </a:cubicBezTo>
                  <a:moveTo>
                    <a:pt x="79" y="46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1" y="44"/>
                    <a:pt x="81" y="44"/>
                    <a:pt x="81" y="43"/>
                  </a:cubicBezTo>
                  <a:cubicBezTo>
                    <a:pt x="81" y="43"/>
                    <a:pt x="82" y="42"/>
                    <a:pt x="82" y="42"/>
                  </a:cubicBezTo>
                  <a:cubicBezTo>
                    <a:pt x="82" y="41"/>
                    <a:pt x="82" y="40"/>
                    <a:pt x="82" y="3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4"/>
                    <a:pt x="78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0" y="0"/>
                    <a:pt x="34" y="5"/>
                    <a:pt x="34" y="12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4"/>
                    <a:pt x="37" y="47"/>
                    <a:pt x="42" y="48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6" y="47"/>
                    <a:pt x="78" y="47"/>
                    <a:pt x="79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293">
              <a:extLst>
                <a:ext uri="{FF2B5EF4-FFF2-40B4-BE49-F238E27FC236}">
                  <a16:creationId xmlns:a16="http://schemas.microsoft.com/office/drawing/2014/main" id="{F3547A09-4526-4BCF-88A6-C63E2692A4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5" y="3764"/>
              <a:ext cx="103" cy="51"/>
            </a:xfrm>
            <a:custGeom>
              <a:avLst/>
              <a:gdLst>
                <a:gd name="T0" fmla="*/ 37 w 40"/>
                <a:gd name="T1" fmla="*/ 17 h 20"/>
                <a:gd name="T2" fmla="*/ 3 w 40"/>
                <a:gd name="T3" fmla="*/ 17 h 20"/>
                <a:gd name="T4" fmla="*/ 3 w 40"/>
                <a:gd name="T5" fmla="*/ 8 h 20"/>
                <a:gd name="T6" fmla="*/ 9 w 40"/>
                <a:gd name="T7" fmla="*/ 3 h 20"/>
                <a:gd name="T8" fmla="*/ 34 w 40"/>
                <a:gd name="T9" fmla="*/ 3 h 20"/>
                <a:gd name="T10" fmla="*/ 37 w 40"/>
                <a:gd name="T11" fmla="*/ 6 h 20"/>
                <a:gd name="T12" fmla="*/ 37 w 40"/>
                <a:gd name="T13" fmla="*/ 17 h 20"/>
                <a:gd name="T14" fmla="*/ 40 w 40"/>
                <a:gd name="T15" fmla="*/ 6 h 20"/>
                <a:gd name="T16" fmla="*/ 34 w 40"/>
                <a:gd name="T17" fmla="*/ 0 h 20"/>
                <a:gd name="T18" fmla="*/ 9 w 40"/>
                <a:gd name="T19" fmla="*/ 0 h 20"/>
                <a:gd name="T20" fmla="*/ 0 w 40"/>
                <a:gd name="T21" fmla="*/ 8 h 20"/>
                <a:gd name="T22" fmla="*/ 0 w 40"/>
                <a:gd name="T23" fmla="*/ 20 h 20"/>
                <a:gd name="T24" fmla="*/ 40 w 40"/>
                <a:gd name="T25" fmla="*/ 20 h 20"/>
                <a:gd name="T26" fmla="*/ 40 w 40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20">
                  <a:moveTo>
                    <a:pt x="37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5"/>
                    <a:pt x="5" y="3"/>
                    <a:pt x="9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6" y="3"/>
                    <a:pt x="37" y="4"/>
                    <a:pt x="37" y="6"/>
                  </a:cubicBezTo>
                  <a:lnTo>
                    <a:pt x="37" y="17"/>
                  </a:lnTo>
                  <a:close/>
                  <a:moveTo>
                    <a:pt x="40" y="6"/>
                  </a:moveTo>
                  <a:cubicBezTo>
                    <a:pt x="40" y="3"/>
                    <a:pt x="37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0" y="20"/>
                    <a:pt x="40" y="20"/>
                    <a:pt x="40" y="20"/>
                  </a:cubicBezTo>
                  <a:lnTo>
                    <a:pt x="4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294">
              <a:extLst>
                <a:ext uri="{FF2B5EF4-FFF2-40B4-BE49-F238E27FC236}">
                  <a16:creationId xmlns:a16="http://schemas.microsoft.com/office/drawing/2014/main" id="{3093898B-5D71-4813-A123-D88807CAD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1" y="3830"/>
              <a:ext cx="28" cy="29"/>
            </a:xfrm>
            <a:custGeom>
              <a:avLst/>
              <a:gdLst>
                <a:gd name="T0" fmla="*/ 3 w 11"/>
                <a:gd name="T1" fmla="*/ 6 h 11"/>
                <a:gd name="T2" fmla="*/ 6 w 11"/>
                <a:gd name="T3" fmla="*/ 3 h 11"/>
                <a:gd name="T4" fmla="*/ 8 w 11"/>
                <a:gd name="T5" fmla="*/ 6 h 11"/>
                <a:gd name="T6" fmla="*/ 6 w 11"/>
                <a:gd name="T7" fmla="*/ 8 h 11"/>
                <a:gd name="T8" fmla="*/ 3 w 11"/>
                <a:gd name="T9" fmla="*/ 6 h 11"/>
                <a:gd name="T10" fmla="*/ 11 w 11"/>
                <a:gd name="T11" fmla="*/ 6 h 11"/>
                <a:gd name="T12" fmla="*/ 6 w 11"/>
                <a:gd name="T13" fmla="*/ 0 h 11"/>
                <a:gd name="T14" fmla="*/ 0 w 11"/>
                <a:gd name="T15" fmla="*/ 6 h 11"/>
                <a:gd name="T16" fmla="*/ 6 w 11"/>
                <a:gd name="T17" fmla="*/ 11 h 11"/>
                <a:gd name="T18" fmla="*/ 11 w 11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3" y="6"/>
                  </a:moveTo>
                  <a:cubicBezTo>
                    <a:pt x="3" y="4"/>
                    <a:pt x="4" y="3"/>
                    <a:pt x="6" y="3"/>
                  </a:cubicBezTo>
                  <a:cubicBezTo>
                    <a:pt x="7" y="3"/>
                    <a:pt x="8" y="4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ubicBezTo>
                    <a:pt x="4" y="8"/>
                    <a:pt x="3" y="7"/>
                    <a:pt x="3" y="6"/>
                  </a:cubicBezTo>
                  <a:moveTo>
                    <a:pt x="11" y="6"/>
                  </a:move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295">
              <a:extLst>
                <a:ext uri="{FF2B5EF4-FFF2-40B4-BE49-F238E27FC236}">
                  <a16:creationId xmlns:a16="http://schemas.microsoft.com/office/drawing/2014/main" id="{BE5E2C5F-C628-412D-A5E3-DCECE3FE3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5" y="3830"/>
              <a:ext cx="28" cy="29"/>
            </a:xfrm>
            <a:custGeom>
              <a:avLst/>
              <a:gdLst>
                <a:gd name="T0" fmla="*/ 6 w 11"/>
                <a:gd name="T1" fmla="*/ 8 h 11"/>
                <a:gd name="T2" fmla="*/ 3 w 11"/>
                <a:gd name="T3" fmla="*/ 6 h 11"/>
                <a:gd name="T4" fmla="*/ 6 w 11"/>
                <a:gd name="T5" fmla="*/ 3 h 11"/>
                <a:gd name="T6" fmla="*/ 8 w 11"/>
                <a:gd name="T7" fmla="*/ 6 h 11"/>
                <a:gd name="T8" fmla="*/ 6 w 11"/>
                <a:gd name="T9" fmla="*/ 8 h 11"/>
                <a:gd name="T10" fmla="*/ 6 w 11"/>
                <a:gd name="T11" fmla="*/ 0 h 11"/>
                <a:gd name="T12" fmla="*/ 0 w 11"/>
                <a:gd name="T13" fmla="*/ 6 h 11"/>
                <a:gd name="T14" fmla="*/ 6 w 11"/>
                <a:gd name="T15" fmla="*/ 11 h 11"/>
                <a:gd name="T16" fmla="*/ 11 w 11"/>
                <a:gd name="T17" fmla="*/ 6 h 11"/>
                <a:gd name="T18" fmla="*/ 6 w 11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8"/>
                  </a:moveTo>
                  <a:cubicBezTo>
                    <a:pt x="4" y="8"/>
                    <a:pt x="3" y="7"/>
                    <a:pt x="3" y="6"/>
                  </a:cubicBezTo>
                  <a:cubicBezTo>
                    <a:pt x="3" y="4"/>
                    <a:pt x="4" y="3"/>
                    <a:pt x="6" y="3"/>
                  </a:cubicBezTo>
                  <a:cubicBezTo>
                    <a:pt x="7" y="3"/>
                    <a:pt x="8" y="4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296">
              <a:extLst>
                <a:ext uri="{FF2B5EF4-FFF2-40B4-BE49-F238E27FC236}">
                  <a16:creationId xmlns:a16="http://schemas.microsoft.com/office/drawing/2014/main" id="{A4A63D57-3342-4B36-B2AC-97D96B9DD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9" y="3666"/>
              <a:ext cx="36" cy="54"/>
            </a:xfrm>
            <a:custGeom>
              <a:avLst/>
              <a:gdLst>
                <a:gd name="T0" fmla="*/ 21 w 36"/>
                <a:gd name="T1" fmla="*/ 41 h 54"/>
                <a:gd name="T2" fmla="*/ 11 w 36"/>
                <a:gd name="T3" fmla="*/ 29 h 54"/>
                <a:gd name="T4" fmla="*/ 18 w 36"/>
                <a:gd name="T5" fmla="*/ 18 h 54"/>
                <a:gd name="T6" fmla="*/ 29 w 36"/>
                <a:gd name="T7" fmla="*/ 31 h 54"/>
                <a:gd name="T8" fmla="*/ 21 w 36"/>
                <a:gd name="T9" fmla="*/ 41 h 54"/>
                <a:gd name="T10" fmla="*/ 21 w 36"/>
                <a:gd name="T11" fmla="*/ 0 h 54"/>
                <a:gd name="T12" fmla="*/ 0 w 36"/>
                <a:gd name="T13" fmla="*/ 29 h 54"/>
                <a:gd name="T14" fmla="*/ 21 w 36"/>
                <a:gd name="T15" fmla="*/ 54 h 54"/>
                <a:gd name="T16" fmla="*/ 36 w 36"/>
                <a:gd name="T17" fmla="*/ 31 h 54"/>
                <a:gd name="T18" fmla="*/ 23 w 36"/>
                <a:gd name="T19" fmla="*/ 13 h 54"/>
                <a:gd name="T20" fmla="*/ 21 w 36"/>
                <a:gd name="T2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54">
                  <a:moveTo>
                    <a:pt x="21" y="41"/>
                  </a:moveTo>
                  <a:lnTo>
                    <a:pt x="11" y="29"/>
                  </a:lnTo>
                  <a:lnTo>
                    <a:pt x="18" y="18"/>
                  </a:lnTo>
                  <a:lnTo>
                    <a:pt x="29" y="31"/>
                  </a:lnTo>
                  <a:lnTo>
                    <a:pt x="21" y="41"/>
                  </a:lnTo>
                  <a:close/>
                  <a:moveTo>
                    <a:pt x="21" y="0"/>
                  </a:moveTo>
                  <a:lnTo>
                    <a:pt x="0" y="29"/>
                  </a:lnTo>
                  <a:lnTo>
                    <a:pt x="21" y="54"/>
                  </a:lnTo>
                  <a:lnTo>
                    <a:pt x="36" y="31"/>
                  </a:lnTo>
                  <a:lnTo>
                    <a:pt x="23" y="1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297">
              <a:extLst>
                <a:ext uri="{FF2B5EF4-FFF2-40B4-BE49-F238E27FC236}">
                  <a16:creationId xmlns:a16="http://schemas.microsoft.com/office/drawing/2014/main" id="{CDFF61B1-4FBF-4D8C-8930-4421A0A55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6" y="3549"/>
              <a:ext cx="241" cy="189"/>
            </a:xfrm>
            <a:custGeom>
              <a:avLst/>
              <a:gdLst>
                <a:gd name="T0" fmla="*/ 36 w 94"/>
                <a:gd name="T1" fmla="*/ 49 h 74"/>
                <a:gd name="T2" fmla="*/ 43 w 94"/>
                <a:gd name="T3" fmla="*/ 25 h 74"/>
                <a:gd name="T4" fmla="*/ 37 w 94"/>
                <a:gd name="T5" fmla="*/ 34 h 74"/>
                <a:gd name="T6" fmla="*/ 24 w 94"/>
                <a:gd name="T7" fmla="*/ 36 h 74"/>
                <a:gd name="T8" fmla="*/ 26 w 94"/>
                <a:gd name="T9" fmla="*/ 34 h 74"/>
                <a:gd name="T10" fmla="*/ 42 w 94"/>
                <a:gd name="T11" fmla="*/ 19 h 74"/>
                <a:gd name="T12" fmla="*/ 46 w 94"/>
                <a:gd name="T13" fmla="*/ 16 h 74"/>
                <a:gd name="T14" fmla="*/ 52 w 94"/>
                <a:gd name="T15" fmla="*/ 17 h 74"/>
                <a:gd name="T16" fmla="*/ 61 w 94"/>
                <a:gd name="T17" fmla="*/ 22 h 74"/>
                <a:gd name="T18" fmla="*/ 63 w 94"/>
                <a:gd name="T19" fmla="*/ 32 h 74"/>
                <a:gd name="T20" fmla="*/ 52 w 94"/>
                <a:gd name="T21" fmla="*/ 21 h 74"/>
                <a:gd name="T22" fmla="*/ 56 w 94"/>
                <a:gd name="T23" fmla="*/ 39 h 74"/>
                <a:gd name="T24" fmla="*/ 52 w 94"/>
                <a:gd name="T25" fmla="*/ 46 h 74"/>
                <a:gd name="T26" fmla="*/ 40 w 94"/>
                <a:gd name="T27" fmla="*/ 51 h 74"/>
                <a:gd name="T28" fmla="*/ 36 w 94"/>
                <a:gd name="T29" fmla="*/ 69 h 74"/>
                <a:gd name="T30" fmla="*/ 35 w 94"/>
                <a:gd name="T31" fmla="*/ 50 h 74"/>
                <a:gd name="T32" fmla="*/ 44 w 94"/>
                <a:gd name="T33" fmla="*/ 3 h 74"/>
                <a:gd name="T34" fmla="*/ 44 w 94"/>
                <a:gd name="T35" fmla="*/ 11 h 74"/>
                <a:gd name="T36" fmla="*/ 69 w 94"/>
                <a:gd name="T37" fmla="*/ 65 h 74"/>
                <a:gd name="T38" fmla="*/ 70 w 94"/>
                <a:gd name="T39" fmla="*/ 68 h 74"/>
                <a:gd name="T40" fmla="*/ 66 w 94"/>
                <a:gd name="T41" fmla="*/ 69 h 74"/>
                <a:gd name="T42" fmla="*/ 94 w 94"/>
                <a:gd name="T43" fmla="*/ 71 h 74"/>
                <a:gd name="T44" fmla="*/ 73 w 94"/>
                <a:gd name="T45" fmla="*/ 68 h 74"/>
                <a:gd name="T46" fmla="*/ 69 w 94"/>
                <a:gd name="T47" fmla="*/ 61 h 74"/>
                <a:gd name="T48" fmla="*/ 63 w 94"/>
                <a:gd name="T49" fmla="*/ 71 h 74"/>
                <a:gd name="T50" fmla="*/ 38 w 94"/>
                <a:gd name="T51" fmla="*/ 71 h 74"/>
                <a:gd name="T52" fmla="*/ 43 w 94"/>
                <a:gd name="T53" fmla="*/ 52 h 74"/>
                <a:gd name="T54" fmla="*/ 50 w 94"/>
                <a:gd name="T55" fmla="*/ 54 h 74"/>
                <a:gd name="T56" fmla="*/ 59 w 94"/>
                <a:gd name="T57" fmla="*/ 39 h 74"/>
                <a:gd name="T58" fmla="*/ 57 w 94"/>
                <a:gd name="T59" fmla="*/ 27 h 74"/>
                <a:gd name="T60" fmla="*/ 68 w 94"/>
                <a:gd name="T61" fmla="*/ 30 h 74"/>
                <a:gd name="T62" fmla="*/ 62 w 94"/>
                <a:gd name="T63" fmla="*/ 19 h 74"/>
                <a:gd name="T64" fmla="*/ 56 w 94"/>
                <a:gd name="T65" fmla="*/ 16 h 74"/>
                <a:gd name="T66" fmla="*/ 48 w 94"/>
                <a:gd name="T67" fmla="*/ 13 h 74"/>
                <a:gd name="T68" fmla="*/ 44 w 94"/>
                <a:gd name="T69" fmla="*/ 0 h 74"/>
                <a:gd name="T70" fmla="*/ 43 w 94"/>
                <a:gd name="T71" fmla="*/ 14 h 74"/>
                <a:gd name="T72" fmla="*/ 34 w 94"/>
                <a:gd name="T73" fmla="*/ 29 h 74"/>
                <a:gd name="T74" fmla="*/ 22 w 94"/>
                <a:gd name="T75" fmla="*/ 33 h 74"/>
                <a:gd name="T76" fmla="*/ 26 w 94"/>
                <a:gd name="T77" fmla="*/ 40 h 74"/>
                <a:gd name="T78" fmla="*/ 38 w 94"/>
                <a:gd name="T79" fmla="*/ 37 h 74"/>
                <a:gd name="T80" fmla="*/ 41 w 94"/>
                <a:gd name="T81" fmla="*/ 34 h 74"/>
                <a:gd name="T82" fmla="*/ 34 w 94"/>
                <a:gd name="T83" fmla="*/ 47 h 74"/>
                <a:gd name="T84" fmla="*/ 33 w 94"/>
                <a:gd name="T85" fmla="*/ 69 h 74"/>
                <a:gd name="T86" fmla="*/ 0 w 94"/>
                <a:gd name="T87" fmla="*/ 71 h 74"/>
                <a:gd name="T88" fmla="*/ 94 w 94"/>
                <a:gd name="T8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74">
                  <a:moveTo>
                    <a:pt x="35" y="50"/>
                  </a:moveTo>
                  <a:cubicBezTo>
                    <a:pt x="35" y="50"/>
                    <a:pt x="36" y="49"/>
                    <a:pt x="36" y="4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4"/>
                    <a:pt x="38" y="34"/>
                    <a:pt x="37" y="34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5" y="36"/>
                    <a:pt x="24" y="36"/>
                  </a:cubicBezTo>
                  <a:cubicBezTo>
                    <a:pt x="24" y="35"/>
                    <a:pt x="24" y="35"/>
                    <a:pt x="25" y="34"/>
                  </a:cubicBezTo>
                  <a:cubicBezTo>
                    <a:pt x="25" y="34"/>
                    <a:pt x="25" y="34"/>
                    <a:pt x="26" y="34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3" y="17"/>
                    <a:pt x="44" y="16"/>
                    <a:pt x="46" y="16"/>
                  </a:cubicBezTo>
                  <a:cubicBezTo>
                    <a:pt x="47" y="16"/>
                    <a:pt x="48" y="16"/>
                    <a:pt x="49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35" y="69"/>
                    <a:pt x="35" y="69"/>
                    <a:pt x="35" y="69"/>
                  </a:cubicBezTo>
                  <a:lnTo>
                    <a:pt x="35" y="50"/>
                  </a:lnTo>
                  <a:close/>
                  <a:moveTo>
                    <a:pt x="40" y="7"/>
                  </a:moveTo>
                  <a:cubicBezTo>
                    <a:pt x="40" y="5"/>
                    <a:pt x="42" y="3"/>
                    <a:pt x="44" y="3"/>
                  </a:cubicBezTo>
                  <a:cubicBezTo>
                    <a:pt x="46" y="3"/>
                    <a:pt x="48" y="5"/>
                    <a:pt x="48" y="7"/>
                  </a:cubicBezTo>
                  <a:cubicBezTo>
                    <a:pt x="48" y="9"/>
                    <a:pt x="46" y="11"/>
                    <a:pt x="44" y="11"/>
                  </a:cubicBezTo>
                  <a:cubicBezTo>
                    <a:pt x="42" y="11"/>
                    <a:pt x="40" y="9"/>
                    <a:pt x="40" y="7"/>
                  </a:cubicBezTo>
                  <a:moveTo>
                    <a:pt x="69" y="65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7"/>
                    <a:pt x="70" y="68"/>
                  </a:cubicBezTo>
                  <a:cubicBezTo>
                    <a:pt x="70" y="68"/>
                    <a:pt x="70" y="69"/>
                    <a:pt x="69" y="69"/>
                  </a:cubicBezTo>
                  <a:cubicBezTo>
                    <a:pt x="68" y="70"/>
                    <a:pt x="67" y="70"/>
                    <a:pt x="66" y="69"/>
                  </a:cubicBezTo>
                  <a:lnTo>
                    <a:pt x="69" y="65"/>
                  </a:lnTo>
                  <a:close/>
                  <a:moveTo>
                    <a:pt x="94" y="71"/>
                  </a:moveTo>
                  <a:cubicBezTo>
                    <a:pt x="71" y="71"/>
                    <a:pt x="71" y="71"/>
                    <a:pt x="71" y="71"/>
                  </a:cubicBezTo>
                  <a:cubicBezTo>
                    <a:pt x="72" y="70"/>
                    <a:pt x="73" y="69"/>
                    <a:pt x="73" y="68"/>
                  </a:cubicBezTo>
                  <a:cubicBezTo>
                    <a:pt x="73" y="66"/>
                    <a:pt x="72" y="65"/>
                    <a:pt x="72" y="64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4" y="71"/>
                    <a:pt x="64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0"/>
                    <a:pt x="62" y="20"/>
                    <a:pt x="62" y="19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3"/>
                    <a:pt x="49" y="13"/>
                    <a:pt x="48" y="13"/>
                  </a:cubicBezTo>
                  <a:cubicBezTo>
                    <a:pt x="50" y="12"/>
                    <a:pt x="51" y="10"/>
                    <a:pt x="51" y="7"/>
                  </a:cubicBezTo>
                  <a:cubicBezTo>
                    <a:pt x="51" y="3"/>
                    <a:pt x="48" y="0"/>
                    <a:pt x="44" y="0"/>
                  </a:cubicBezTo>
                  <a:cubicBezTo>
                    <a:pt x="40" y="0"/>
                    <a:pt x="37" y="3"/>
                    <a:pt x="37" y="7"/>
                  </a:cubicBezTo>
                  <a:cubicBezTo>
                    <a:pt x="37" y="11"/>
                    <a:pt x="40" y="14"/>
                    <a:pt x="43" y="14"/>
                  </a:cubicBezTo>
                  <a:cubicBezTo>
                    <a:pt x="41" y="15"/>
                    <a:pt x="40" y="16"/>
                    <a:pt x="40" y="18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4" y="31"/>
                    <a:pt x="23" y="32"/>
                    <a:pt x="22" y="33"/>
                  </a:cubicBezTo>
                  <a:cubicBezTo>
                    <a:pt x="22" y="34"/>
                    <a:pt x="21" y="35"/>
                    <a:pt x="22" y="36"/>
                  </a:cubicBezTo>
                  <a:cubicBezTo>
                    <a:pt x="22" y="38"/>
                    <a:pt x="24" y="40"/>
                    <a:pt x="26" y="40"/>
                  </a:cubicBezTo>
                  <a:cubicBezTo>
                    <a:pt x="26" y="40"/>
                    <a:pt x="27" y="40"/>
                    <a:pt x="27" y="40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9" y="37"/>
                    <a:pt x="40" y="36"/>
                    <a:pt x="41" y="35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3" y="48"/>
                    <a:pt x="33" y="49"/>
                    <a:pt x="33" y="5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4" y="74"/>
                    <a:pt x="94" y="74"/>
                    <a:pt x="94" y="74"/>
                  </a:cubicBezTo>
                  <a:lnTo>
                    <a:pt x="94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23909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A32D2CE-EF26-4022-8D99-7D8BB1470E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346226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ave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ckag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lly with Boxe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eering Wheel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as Pum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rgo Shi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a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ipping Box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ipping Box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ree Deliver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klift 3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nd Deliv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oot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mbul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rmored Truck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yal Customer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yal Customer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sum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reat Customer Experie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cquiring New Customer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6D499085-D0C5-4CF6-B701-CF82BBB3FC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85" y="390527"/>
            <a:ext cx="758825" cy="758825"/>
            <a:chOff x="922" y="443"/>
            <a:chExt cx="478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C7794135-288D-4AEB-9814-10C80183CB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22" y="443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8C3D381-33DB-4211-92E2-7BD8D89A6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4" y="445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57DC5BC-68CD-45ED-9967-F56104D440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6" y="563"/>
              <a:ext cx="143" cy="152"/>
            </a:xfrm>
            <a:custGeom>
              <a:avLst/>
              <a:gdLst>
                <a:gd name="T0" fmla="*/ 49 w 58"/>
                <a:gd name="T1" fmla="*/ 4 h 62"/>
                <a:gd name="T2" fmla="*/ 51 w 58"/>
                <a:gd name="T3" fmla="*/ 3 h 62"/>
                <a:gd name="T4" fmla="*/ 51 w 58"/>
                <a:gd name="T5" fmla="*/ 6 h 62"/>
                <a:gd name="T6" fmla="*/ 33 w 58"/>
                <a:gd name="T7" fmla="*/ 31 h 62"/>
                <a:gd name="T8" fmla="*/ 16 w 58"/>
                <a:gd name="T9" fmla="*/ 47 h 62"/>
                <a:gd name="T10" fmla="*/ 15 w 58"/>
                <a:gd name="T11" fmla="*/ 46 h 62"/>
                <a:gd name="T12" fmla="*/ 28 w 58"/>
                <a:gd name="T13" fmla="*/ 27 h 62"/>
                <a:gd name="T14" fmla="*/ 37 w 58"/>
                <a:gd name="T15" fmla="*/ 17 h 62"/>
                <a:gd name="T16" fmla="*/ 1 w 58"/>
                <a:gd name="T17" fmla="*/ 10 h 62"/>
                <a:gd name="T18" fmla="*/ 17 w 58"/>
                <a:gd name="T19" fmla="*/ 23 h 62"/>
                <a:gd name="T20" fmla="*/ 18 w 58"/>
                <a:gd name="T21" fmla="*/ 20 h 62"/>
                <a:gd name="T22" fmla="*/ 7 w 58"/>
                <a:gd name="T23" fmla="*/ 9 h 62"/>
                <a:gd name="T24" fmla="*/ 32 w 58"/>
                <a:gd name="T25" fmla="*/ 17 h 62"/>
                <a:gd name="T26" fmla="*/ 14 w 58"/>
                <a:gd name="T27" fmla="*/ 42 h 62"/>
                <a:gd name="T28" fmla="*/ 8 w 58"/>
                <a:gd name="T29" fmla="*/ 45 h 62"/>
                <a:gd name="T30" fmla="*/ 2 w 58"/>
                <a:gd name="T31" fmla="*/ 51 h 62"/>
                <a:gd name="T32" fmla="*/ 9 w 58"/>
                <a:gd name="T33" fmla="*/ 48 h 62"/>
                <a:gd name="T34" fmla="*/ 14 w 58"/>
                <a:gd name="T35" fmla="*/ 50 h 62"/>
                <a:gd name="T36" fmla="*/ 15 w 58"/>
                <a:gd name="T37" fmla="*/ 61 h 62"/>
                <a:gd name="T38" fmla="*/ 17 w 58"/>
                <a:gd name="T39" fmla="*/ 61 h 62"/>
                <a:gd name="T40" fmla="*/ 21 w 58"/>
                <a:gd name="T41" fmla="*/ 48 h 62"/>
                <a:gd name="T42" fmla="*/ 42 w 58"/>
                <a:gd name="T43" fmla="*/ 25 h 62"/>
                <a:gd name="T44" fmla="*/ 55 w 58"/>
                <a:gd name="T45" fmla="*/ 48 h 62"/>
                <a:gd name="T46" fmla="*/ 42 w 58"/>
                <a:gd name="T47" fmla="*/ 39 h 62"/>
                <a:gd name="T48" fmla="*/ 40 w 58"/>
                <a:gd name="T49" fmla="*/ 42 h 62"/>
                <a:gd name="T50" fmla="*/ 55 w 58"/>
                <a:gd name="T51" fmla="*/ 54 h 62"/>
                <a:gd name="T52" fmla="*/ 57 w 58"/>
                <a:gd name="T53" fmla="*/ 53 h 62"/>
                <a:gd name="T54" fmla="*/ 56 w 58"/>
                <a:gd name="T55" fmla="*/ 43 h 62"/>
                <a:gd name="T56" fmla="*/ 52 w 58"/>
                <a:gd name="T57" fmla="*/ 13 h 62"/>
                <a:gd name="T58" fmla="*/ 55 w 58"/>
                <a:gd name="T59" fmla="*/ 4 h 62"/>
                <a:gd name="T60" fmla="*/ 50 w 58"/>
                <a:gd name="T61" fmla="*/ 0 h 62"/>
                <a:gd name="T62" fmla="*/ 42 w 58"/>
                <a:gd name="T63" fmla="*/ 5 h 62"/>
                <a:gd name="T64" fmla="*/ 11 w 58"/>
                <a:gd name="T65" fmla="*/ 6 h 62"/>
                <a:gd name="T66" fmla="*/ 1 w 58"/>
                <a:gd name="T6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" h="62">
                  <a:moveTo>
                    <a:pt x="45" y="7"/>
                  </a:moveTo>
                  <a:cubicBezTo>
                    <a:pt x="46" y="5"/>
                    <a:pt x="47" y="4"/>
                    <a:pt x="49" y="4"/>
                  </a:cubicBezTo>
                  <a:cubicBezTo>
                    <a:pt x="49" y="4"/>
                    <a:pt x="50" y="3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1" y="4"/>
                    <a:pt x="51" y="4"/>
                  </a:cubicBezTo>
                  <a:cubicBezTo>
                    <a:pt x="51" y="5"/>
                    <a:pt x="51" y="5"/>
                    <a:pt x="51" y="6"/>
                  </a:cubicBezTo>
                  <a:cubicBezTo>
                    <a:pt x="51" y="8"/>
                    <a:pt x="50" y="9"/>
                    <a:pt x="49" y="1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29" y="36"/>
                    <a:pt x="24" y="41"/>
                    <a:pt x="19" y="45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0" y="38"/>
                    <a:pt x="24" y="32"/>
                    <a:pt x="28" y="2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lnTo>
                    <a:pt x="45" y="7"/>
                  </a:lnTo>
                  <a:close/>
                  <a:moveTo>
                    <a:pt x="1" y="10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8" y="23"/>
                    <a:pt x="18" y="23"/>
                    <a:pt x="19" y="22"/>
                  </a:cubicBezTo>
                  <a:cubicBezTo>
                    <a:pt x="19" y="21"/>
                    <a:pt x="19" y="20"/>
                    <a:pt x="18" y="2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8" y="9"/>
                    <a:pt x="9" y="9"/>
                    <a:pt x="10" y="9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1" y="30"/>
                    <a:pt x="17" y="36"/>
                    <a:pt x="14" y="42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9" y="45"/>
                    <a:pt x="8" y="45"/>
                  </a:cubicBezTo>
                  <a:cubicBezTo>
                    <a:pt x="6" y="45"/>
                    <a:pt x="3" y="46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3" y="51"/>
                    <a:pt x="4" y="51"/>
                  </a:cubicBezTo>
                  <a:cubicBezTo>
                    <a:pt x="5" y="49"/>
                    <a:pt x="7" y="48"/>
                    <a:pt x="9" y="48"/>
                  </a:cubicBezTo>
                  <a:cubicBezTo>
                    <a:pt x="10" y="48"/>
                    <a:pt x="12" y="48"/>
                    <a:pt x="13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2"/>
                    <a:pt x="17" y="56"/>
                    <a:pt x="14" y="59"/>
                  </a:cubicBezTo>
                  <a:cubicBezTo>
                    <a:pt x="14" y="60"/>
                    <a:pt x="14" y="61"/>
                    <a:pt x="15" y="61"/>
                  </a:cubicBezTo>
                  <a:cubicBezTo>
                    <a:pt x="15" y="62"/>
                    <a:pt x="15" y="62"/>
                    <a:pt x="16" y="62"/>
                  </a:cubicBezTo>
                  <a:cubicBezTo>
                    <a:pt x="16" y="62"/>
                    <a:pt x="17" y="62"/>
                    <a:pt x="17" y="61"/>
                  </a:cubicBezTo>
                  <a:cubicBezTo>
                    <a:pt x="20" y="58"/>
                    <a:pt x="20" y="54"/>
                    <a:pt x="18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6" y="43"/>
                    <a:pt x="31" y="38"/>
                    <a:pt x="35" y="33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4" y="46"/>
                    <a:pt x="55" y="47"/>
                    <a:pt x="55" y="48"/>
                  </a:cubicBezTo>
                  <a:cubicBezTo>
                    <a:pt x="55" y="48"/>
                    <a:pt x="55" y="49"/>
                    <a:pt x="55" y="49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1" y="38"/>
                    <a:pt x="40" y="38"/>
                    <a:pt x="39" y="39"/>
                  </a:cubicBezTo>
                  <a:cubicBezTo>
                    <a:pt x="39" y="40"/>
                    <a:pt x="39" y="41"/>
                    <a:pt x="40" y="42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4"/>
                    <a:pt x="57" y="54"/>
                    <a:pt x="57" y="53"/>
                  </a:cubicBezTo>
                  <a:cubicBezTo>
                    <a:pt x="58" y="51"/>
                    <a:pt x="58" y="48"/>
                    <a:pt x="58" y="48"/>
                  </a:cubicBezTo>
                  <a:cubicBezTo>
                    <a:pt x="58" y="46"/>
                    <a:pt x="57" y="45"/>
                    <a:pt x="56" y="4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3" y="11"/>
                    <a:pt x="54" y="9"/>
                    <a:pt x="55" y="6"/>
                  </a:cubicBezTo>
                  <a:cubicBezTo>
                    <a:pt x="55" y="6"/>
                    <a:pt x="55" y="5"/>
                    <a:pt x="55" y="4"/>
                  </a:cubicBezTo>
                  <a:cubicBezTo>
                    <a:pt x="55" y="3"/>
                    <a:pt x="54" y="2"/>
                    <a:pt x="53" y="1"/>
                  </a:cubicBezTo>
                  <a:cubicBezTo>
                    <a:pt x="52" y="0"/>
                    <a:pt x="51" y="0"/>
                    <a:pt x="50" y="0"/>
                  </a:cubicBezTo>
                  <a:cubicBezTo>
                    <a:pt x="49" y="0"/>
                    <a:pt x="48" y="0"/>
                    <a:pt x="48" y="1"/>
                  </a:cubicBezTo>
                  <a:cubicBezTo>
                    <a:pt x="45" y="1"/>
                    <a:pt x="43" y="3"/>
                    <a:pt x="42" y="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8" y="5"/>
                    <a:pt x="6" y="6"/>
                  </a:cubicBezTo>
                  <a:cubicBezTo>
                    <a:pt x="4" y="6"/>
                    <a:pt x="2" y="7"/>
                    <a:pt x="1" y="8"/>
                  </a:cubicBezTo>
                  <a:cubicBezTo>
                    <a:pt x="0" y="9"/>
                    <a:pt x="1" y="10"/>
                    <a:pt x="1" y="1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CE35399-A3E7-4F99-902A-63F29A8D08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1" y="568"/>
              <a:ext cx="343" cy="253"/>
            </a:xfrm>
            <a:custGeom>
              <a:avLst/>
              <a:gdLst>
                <a:gd name="T0" fmla="*/ 93 w 140"/>
                <a:gd name="T1" fmla="*/ 96 h 103"/>
                <a:gd name="T2" fmla="*/ 106 w 140"/>
                <a:gd name="T3" fmla="*/ 49 h 103"/>
                <a:gd name="T4" fmla="*/ 132 w 140"/>
                <a:gd name="T5" fmla="*/ 20 h 103"/>
                <a:gd name="T6" fmla="*/ 124 w 140"/>
                <a:gd name="T7" fmla="*/ 11 h 103"/>
                <a:gd name="T8" fmla="*/ 113 w 140"/>
                <a:gd name="T9" fmla="*/ 0 h 103"/>
                <a:gd name="T10" fmla="*/ 102 w 140"/>
                <a:gd name="T11" fmla="*/ 12 h 103"/>
                <a:gd name="T12" fmla="*/ 98 w 140"/>
                <a:gd name="T13" fmla="*/ 22 h 103"/>
                <a:gd name="T14" fmla="*/ 98 w 140"/>
                <a:gd name="T15" fmla="*/ 24 h 103"/>
                <a:gd name="T16" fmla="*/ 100 w 140"/>
                <a:gd name="T17" fmla="*/ 27 h 103"/>
                <a:gd name="T18" fmla="*/ 106 w 140"/>
                <a:gd name="T19" fmla="*/ 21 h 103"/>
                <a:gd name="T20" fmla="*/ 105 w 140"/>
                <a:gd name="T21" fmla="*/ 15 h 103"/>
                <a:gd name="T22" fmla="*/ 109 w 140"/>
                <a:gd name="T23" fmla="*/ 4 h 103"/>
                <a:gd name="T24" fmla="*/ 118 w 140"/>
                <a:gd name="T25" fmla="*/ 7 h 103"/>
                <a:gd name="T26" fmla="*/ 124 w 140"/>
                <a:gd name="T27" fmla="*/ 17 h 103"/>
                <a:gd name="T28" fmla="*/ 135 w 140"/>
                <a:gd name="T29" fmla="*/ 22 h 103"/>
                <a:gd name="T30" fmla="*/ 128 w 140"/>
                <a:gd name="T31" fmla="*/ 31 h 103"/>
                <a:gd name="T32" fmla="*/ 120 w 140"/>
                <a:gd name="T33" fmla="*/ 38 h 103"/>
                <a:gd name="T34" fmla="*/ 107 w 140"/>
                <a:gd name="T35" fmla="*/ 41 h 103"/>
                <a:gd name="T36" fmla="*/ 99 w 140"/>
                <a:gd name="T37" fmla="*/ 48 h 103"/>
                <a:gd name="T38" fmla="*/ 105 w 140"/>
                <a:gd name="T39" fmla="*/ 57 h 103"/>
                <a:gd name="T40" fmla="*/ 106 w 140"/>
                <a:gd name="T41" fmla="*/ 67 h 103"/>
                <a:gd name="T42" fmla="*/ 108 w 140"/>
                <a:gd name="T43" fmla="*/ 76 h 103"/>
                <a:gd name="T44" fmla="*/ 103 w 140"/>
                <a:gd name="T45" fmla="*/ 85 h 103"/>
                <a:gd name="T46" fmla="*/ 95 w 140"/>
                <a:gd name="T47" fmla="*/ 93 h 103"/>
                <a:gd name="T48" fmla="*/ 86 w 140"/>
                <a:gd name="T49" fmla="*/ 96 h 103"/>
                <a:gd name="T50" fmla="*/ 74 w 140"/>
                <a:gd name="T51" fmla="*/ 91 h 103"/>
                <a:gd name="T52" fmla="*/ 61 w 140"/>
                <a:gd name="T53" fmla="*/ 95 h 103"/>
                <a:gd name="T54" fmla="*/ 59 w 140"/>
                <a:gd name="T55" fmla="*/ 80 h 103"/>
                <a:gd name="T56" fmla="*/ 52 w 140"/>
                <a:gd name="T57" fmla="*/ 74 h 103"/>
                <a:gd name="T58" fmla="*/ 38 w 140"/>
                <a:gd name="T59" fmla="*/ 77 h 103"/>
                <a:gd name="T60" fmla="*/ 25 w 140"/>
                <a:gd name="T61" fmla="*/ 74 h 103"/>
                <a:gd name="T62" fmla="*/ 15 w 140"/>
                <a:gd name="T63" fmla="*/ 69 h 103"/>
                <a:gd name="T64" fmla="*/ 15 w 140"/>
                <a:gd name="T65" fmla="*/ 56 h 103"/>
                <a:gd name="T66" fmla="*/ 4 w 140"/>
                <a:gd name="T67" fmla="*/ 47 h 103"/>
                <a:gd name="T68" fmla="*/ 14 w 140"/>
                <a:gd name="T69" fmla="*/ 42 h 103"/>
                <a:gd name="T70" fmla="*/ 20 w 140"/>
                <a:gd name="T71" fmla="*/ 31 h 103"/>
                <a:gd name="T72" fmla="*/ 30 w 140"/>
                <a:gd name="T73" fmla="*/ 21 h 103"/>
                <a:gd name="T74" fmla="*/ 39 w 140"/>
                <a:gd name="T75" fmla="*/ 25 h 103"/>
                <a:gd name="T76" fmla="*/ 42 w 140"/>
                <a:gd name="T77" fmla="*/ 23 h 103"/>
                <a:gd name="T78" fmla="*/ 33 w 140"/>
                <a:gd name="T79" fmla="*/ 15 h 103"/>
                <a:gd name="T80" fmla="*/ 19 w 140"/>
                <a:gd name="T81" fmla="*/ 27 h 103"/>
                <a:gd name="T82" fmla="*/ 15 w 140"/>
                <a:gd name="T83" fmla="*/ 37 h 103"/>
                <a:gd name="T84" fmla="*/ 4 w 140"/>
                <a:gd name="T85" fmla="*/ 42 h 103"/>
                <a:gd name="T86" fmla="*/ 4 w 140"/>
                <a:gd name="T87" fmla="*/ 56 h 103"/>
                <a:gd name="T88" fmla="*/ 14 w 140"/>
                <a:gd name="T89" fmla="*/ 59 h 103"/>
                <a:gd name="T90" fmla="*/ 11 w 140"/>
                <a:gd name="T91" fmla="*/ 66 h 103"/>
                <a:gd name="T92" fmla="*/ 20 w 140"/>
                <a:gd name="T93" fmla="*/ 75 h 103"/>
                <a:gd name="T94" fmla="*/ 31 w 140"/>
                <a:gd name="T95" fmla="*/ 82 h 103"/>
                <a:gd name="T96" fmla="*/ 43 w 140"/>
                <a:gd name="T97" fmla="*/ 83 h 103"/>
                <a:gd name="T98" fmla="*/ 55 w 140"/>
                <a:gd name="T99" fmla="*/ 81 h 103"/>
                <a:gd name="T100" fmla="*/ 57 w 140"/>
                <a:gd name="T101" fmla="*/ 93 h 103"/>
                <a:gd name="T102" fmla="*/ 66 w 140"/>
                <a:gd name="T103" fmla="*/ 98 h 103"/>
                <a:gd name="T104" fmla="*/ 80 w 140"/>
                <a:gd name="T105" fmla="*/ 99 h 103"/>
                <a:gd name="T106" fmla="*/ 88 w 140"/>
                <a:gd name="T107" fmla="*/ 99 h 103"/>
                <a:gd name="T108" fmla="*/ 104 w 140"/>
                <a:gd name="T109" fmla="*/ 90 h 103"/>
                <a:gd name="T110" fmla="*/ 109 w 140"/>
                <a:gd name="T111" fmla="*/ 81 h 103"/>
                <a:gd name="T112" fmla="*/ 112 w 140"/>
                <a:gd name="T113" fmla="*/ 69 h 103"/>
                <a:gd name="T114" fmla="*/ 110 w 140"/>
                <a:gd name="T115" fmla="*/ 56 h 103"/>
                <a:gd name="T116" fmla="*/ 117 w 140"/>
                <a:gd name="T117" fmla="*/ 46 h 103"/>
                <a:gd name="T118" fmla="*/ 128 w 140"/>
                <a:gd name="T119" fmla="*/ 39 h 103"/>
                <a:gd name="T120" fmla="*/ 139 w 140"/>
                <a:gd name="T121" fmla="*/ 2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0" h="103">
                  <a:moveTo>
                    <a:pt x="131" y="28"/>
                  </a:move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moveTo>
                    <a:pt x="109" y="48"/>
                  </a:moveTo>
                  <a:cubicBezTo>
                    <a:pt x="109" y="48"/>
                    <a:pt x="109" y="48"/>
                    <a:pt x="109" y="48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09" y="48"/>
                    <a:pt x="109" y="48"/>
                    <a:pt x="110" y="48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09" y="48"/>
                    <a:pt x="109" y="48"/>
                    <a:pt x="109" y="48"/>
                  </a:cubicBezTo>
                  <a:moveTo>
                    <a:pt x="107" y="78"/>
                  </a:move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moveTo>
                    <a:pt x="93" y="96"/>
                  </a:move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moveTo>
                    <a:pt x="68" y="94"/>
                  </a:move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lose/>
                  <a:moveTo>
                    <a:pt x="106" y="50"/>
                  </a:moveTo>
                  <a:cubicBezTo>
                    <a:pt x="106" y="50"/>
                    <a:pt x="105" y="51"/>
                    <a:pt x="105" y="51"/>
                  </a:cubicBezTo>
                  <a:cubicBezTo>
                    <a:pt x="105" y="50"/>
                    <a:pt x="104" y="50"/>
                    <a:pt x="104" y="50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50"/>
                  </a:cubicBezTo>
                  <a:cubicBezTo>
                    <a:pt x="106" y="50"/>
                    <a:pt x="106" y="50"/>
                    <a:pt x="107" y="50"/>
                  </a:cubicBezTo>
                  <a:cubicBezTo>
                    <a:pt x="106" y="50"/>
                    <a:pt x="106" y="50"/>
                    <a:pt x="106" y="50"/>
                  </a:cubicBezTo>
                  <a:moveTo>
                    <a:pt x="140" y="20"/>
                  </a:moveTo>
                  <a:cubicBezTo>
                    <a:pt x="140" y="20"/>
                    <a:pt x="140" y="20"/>
                    <a:pt x="140" y="20"/>
                  </a:cubicBezTo>
                  <a:cubicBezTo>
                    <a:pt x="140" y="20"/>
                    <a:pt x="140" y="20"/>
                    <a:pt x="140" y="19"/>
                  </a:cubicBezTo>
                  <a:cubicBezTo>
                    <a:pt x="140" y="19"/>
                    <a:pt x="140" y="18"/>
                    <a:pt x="139" y="18"/>
                  </a:cubicBezTo>
                  <a:cubicBezTo>
                    <a:pt x="139" y="17"/>
                    <a:pt x="138" y="17"/>
                    <a:pt x="137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3" y="19"/>
                    <a:pt x="133" y="19"/>
                  </a:cubicBezTo>
                  <a:cubicBezTo>
                    <a:pt x="133" y="19"/>
                    <a:pt x="133" y="19"/>
                    <a:pt x="133" y="19"/>
                  </a:cubicBezTo>
                  <a:cubicBezTo>
                    <a:pt x="133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6"/>
                    <a:pt x="130" y="16"/>
                    <a:pt x="129" y="16"/>
                  </a:cubicBezTo>
                  <a:cubicBezTo>
                    <a:pt x="129" y="16"/>
                    <a:pt x="129" y="15"/>
                    <a:pt x="129" y="15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8" y="15"/>
                    <a:pt x="128" y="14"/>
                    <a:pt x="128" y="14"/>
                  </a:cubicBezTo>
                  <a:cubicBezTo>
                    <a:pt x="128" y="14"/>
                    <a:pt x="127" y="14"/>
                    <a:pt x="127" y="14"/>
                  </a:cubicBezTo>
                  <a:cubicBezTo>
                    <a:pt x="127" y="14"/>
                    <a:pt x="126" y="14"/>
                    <a:pt x="126" y="14"/>
                  </a:cubicBezTo>
                  <a:cubicBezTo>
                    <a:pt x="126" y="14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2"/>
                    <a:pt x="124" y="12"/>
                    <a:pt x="124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5"/>
                    <a:pt x="121" y="5"/>
                    <a:pt x="121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19" y="2"/>
                    <a:pt x="117" y="1"/>
                  </a:cubicBezTo>
                  <a:cubicBezTo>
                    <a:pt x="117" y="1"/>
                    <a:pt x="117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5" y="1"/>
                    <a:pt x="115" y="0"/>
                  </a:cubicBezTo>
                  <a:cubicBezTo>
                    <a:pt x="115" y="0"/>
                    <a:pt x="114" y="0"/>
                    <a:pt x="11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1" y="0"/>
                    <a:pt x="111" y="0"/>
                  </a:cubicBezTo>
                  <a:cubicBezTo>
                    <a:pt x="111" y="0"/>
                    <a:pt x="109" y="1"/>
                    <a:pt x="108" y="1"/>
                  </a:cubicBezTo>
                  <a:cubicBezTo>
                    <a:pt x="106" y="1"/>
                    <a:pt x="106" y="2"/>
                    <a:pt x="105" y="2"/>
                  </a:cubicBezTo>
                  <a:cubicBezTo>
                    <a:pt x="105" y="2"/>
                    <a:pt x="105" y="3"/>
                    <a:pt x="105" y="3"/>
                  </a:cubicBezTo>
                  <a:cubicBezTo>
                    <a:pt x="105" y="3"/>
                    <a:pt x="104" y="4"/>
                    <a:pt x="104" y="4"/>
                  </a:cubicBezTo>
                  <a:cubicBezTo>
                    <a:pt x="104" y="5"/>
                    <a:pt x="104" y="5"/>
                    <a:pt x="10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6"/>
                    <a:pt x="105" y="6"/>
                    <a:pt x="105" y="7"/>
                  </a:cubicBezTo>
                  <a:cubicBezTo>
                    <a:pt x="105" y="7"/>
                    <a:pt x="104" y="7"/>
                    <a:pt x="104" y="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9"/>
                    <a:pt x="104" y="9"/>
                    <a:pt x="103" y="9"/>
                  </a:cubicBezTo>
                  <a:cubicBezTo>
                    <a:pt x="103" y="9"/>
                    <a:pt x="103" y="10"/>
                    <a:pt x="103" y="11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2" y="11"/>
                    <a:pt x="102" y="12"/>
                    <a:pt x="102" y="12"/>
                  </a:cubicBezTo>
                  <a:cubicBezTo>
                    <a:pt x="102" y="12"/>
                    <a:pt x="102" y="13"/>
                    <a:pt x="102" y="1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9" y="13"/>
                    <a:pt x="98" y="13"/>
                    <a:pt x="97" y="13"/>
                  </a:cubicBezTo>
                  <a:cubicBezTo>
                    <a:pt x="97" y="13"/>
                    <a:pt x="97" y="14"/>
                    <a:pt x="97" y="14"/>
                  </a:cubicBezTo>
                  <a:cubicBezTo>
                    <a:pt x="96" y="14"/>
                    <a:pt x="96" y="15"/>
                    <a:pt x="9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6" y="16"/>
                    <a:pt x="95" y="16"/>
                    <a:pt x="95" y="17"/>
                  </a:cubicBezTo>
                  <a:cubicBezTo>
                    <a:pt x="95" y="17"/>
                    <a:pt x="95" y="18"/>
                    <a:pt x="95" y="18"/>
                  </a:cubicBezTo>
                  <a:cubicBezTo>
                    <a:pt x="95" y="18"/>
                    <a:pt x="94" y="19"/>
                    <a:pt x="94" y="19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4" y="20"/>
                    <a:pt x="94" y="20"/>
                    <a:pt x="94" y="21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5" y="22"/>
                    <a:pt x="95" y="23"/>
                    <a:pt x="96" y="23"/>
                  </a:cubicBezTo>
                  <a:cubicBezTo>
                    <a:pt x="97" y="23"/>
                    <a:pt x="97" y="23"/>
                    <a:pt x="97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9" y="22"/>
                    <a:pt x="99" y="23"/>
                  </a:cubicBezTo>
                  <a:cubicBezTo>
                    <a:pt x="99" y="23"/>
                    <a:pt x="100" y="23"/>
                    <a:pt x="100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99" y="24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7" y="25"/>
                    <a:pt x="97" y="25"/>
                    <a:pt x="96" y="25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7"/>
                    <a:pt x="96" y="27"/>
                    <a:pt x="96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2" y="28"/>
                    <a:pt x="92" y="29"/>
                  </a:cubicBezTo>
                  <a:cubicBezTo>
                    <a:pt x="92" y="30"/>
                    <a:pt x="93" y="31"/>
                    <a:pt x="94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7" y="30"/>
                    <a:pt x="97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1" y="27"/>
                    <a:pt x="101" y="27"/>
                  </a:cubicBezTo>
                  <a:cubicBezTo>
                    <a:pt x="101" y="27"/>
                    <a:pt x="101" y="27"/>
                    <a:pt x="102" y="27"/>
                  </a:cubicBezTo>
                  <a:cubicBezTo>
                    <a:pt x="102" y="27"/>
                    <a:pt x="102" y="26"/>
                    <a:pt x="102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7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4" y="27"/>
                    <a:pt x="104" y="27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27"/>
                    <a:pt x="105" y="27"/>
                    <a:pt x="106" y="27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5"/>
                    <a:pt x="107" y="25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2"/>
                    <a:pt x="107" y="21"/>
                    <a:pt x="106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4" y="19"/>
                    <a:pt x="104" y="19"/>
                    <a:pt x="103" y="19"/>
                  </a:cubicBezTo>
                  <a:cubicBezTo>
                    <a:pt x="103" y="18"/>
                    <a:pt x="102" y="18"/>
                    <a:pt x="101" y="18"/>
                  </a:cubicBezTo>
                  <a:cubicBezTo>
                    <a:pt x="101" y="18"/>
                    <a:pt x="100" y="18"/>
                    <a:pt x="100" y="19"/>
                  </a:cubicBezTo>
                  <a:cubicBezTo>
                    <a:pt x="100" y="19"/>
                    <a:pt x="99" y="19"/>
                    <a:pt x="99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1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1" y="17"/>
                    <a:pt x="102" y="17"/>
                    <a:pt x="102" y="17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4" y="16"/>
                    <a:pt x="104" y="15"/>
                    <a:pt x="105" y="15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7" y="12"/>
                    <a:pt x="107" y="11"/>
                    <a:pt x="107" y="11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9"/>
                    <a:pt x="107" y="9"/>
                    <a:pt x="107" y="9"/>
                  </a:cubicBezTo>
                  <a:cubicBezTo>
                    <a:pt x="107" y="9"/>
                    <a:pt x="108" y="9"/>
                    <a:pt x="108" y="8"/>
                  </a:cubicBezTo>
                  <a:cubicBezTo>
                    <a:pt x="108" y="8"/>
                    <a:pt x="108" y="8"/>
                    <a:pt x="109" y="8"/>
                  </a:cubicBezTo>
                  <a:cubicBezTo>
                    <a:pt x="109" y="8"/>
                    <a:pt x="109" y="8"/>
                    <a:pt x="109" y="8"/>
                  </a:cubicBezTo>
                  <a:cubicBezTo>
                    <a:pt x="109" y="8"/>
                    <a:pt x="109" y="7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10" y="4"/>
                    <a:pt x="111" y="4"/>
                    <a:pt x="111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4" y="4"/>
                    <a:pt x="11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5" y="5"/>
                    <a:pt x="116" y="5"/>
                    <a:pt x="116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9" y="9"/>
                    <a:pt x="119" y="9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1"/>
                    <a:pt x="119" y="11"/>
                  </a:cubicBezTo>
                  <a:cubicBezTo>
                    <a:pt x="119" y="11"/>
                    <a:pt x="120" y="11"/>
                    <a:pt x="120" y="11"/>
                  </a:cubicBezTo>
                  <a:cubicBezTo>
                    <a:pt x="120" y="11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3"/>
                  </a:cubicBezTo>
                  <a:cubicBezTo>
                    <a:pt x="120" y="13"/>
                    <a:pt x="120" y="13"/>
                    <a:pt x="121" y="13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1" y="15"/>
                    <a:pt x="121" y="15"/>
                    <a:pt x="121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23" y="17"/>
                    <a:pt x="123" y="17"/>
                    <a:pt x="123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4" y="17"/>
                    <a:pt x="125" y="17"/>
                    <a:pt x="125" y="17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26" y="17"/>
                    <a:pt x="126" y="17"/>
                  </a:cubicBezTo>
                  <a:cubicBezTo>
                    <a:pt x="126" y="18"/>
                    <a:pt x="127" y="18"/>
                    <a:pt x="127" y="19"/>
                  </a:cubicBezTo>
                  <a:cubicBezTo>
                    <a:pt x="127" y="19"/>
                    <a:pt x="128" y="19"/>
                    <a:pt x="128" y="19"/>
                  </a:cubicBezTo>
                  <a:cubicBezTo>
                    <a:pt x="128" y="19"/>
                    <a:pt x="128" y="19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1"/>
                    <a:pt x="128" y="21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29" y="22"/>
                    <a:pt x="129" y="22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29" y="23"/>
                    <a:pt x="130" y="23"/>
                    <a:pt x="130" y="23"/>
                  </a:cubicBezTo>
                  <a:cubicBezTo>
                    <a:pt x="130" y="23"/>
                    <a:pt x="131" y="23"/>
                    <a:pt x="132" y="23"/>
                  </a:cubicBezTo>
                  <a:cubicBezTo>
                    <a:pt x="132" y="23"/>
                    <a:pt x="133" y="23"/>
                    <a:pt x="133" y="23"/>
                  </a:cubicBezTo>
                  <a:cubicBezTo>
                    <a:pt x="133" y="23"/>
                    <a:pt x="133" y="23"/>
                    <a:pt x="134" y="23"/>
                  </a:cubicBezTo>
                  <a:cubicBezTo>
                    <a:pt x="134" y="23"/>
                    <a:pt x="135" y="23"/>
                    <a:pt x="135" y="22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23"/>
                    <a:pt x="135" y="23"/>
                    <a:pt x="135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5" y="25"/>
                    <a:pt x="134" y="26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1" y="27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9" y="32"/>
                  </a:cubicBezTo>
                  <a:cubicBezTo>
                    <a:pt x="129" y="32"/>
                    <a:pt x="129" y="32"/>
                    <a:pt x="129" y="32"/>
                  </a:cubicBezTo>
                  <a:cubicBezTo>
                    <a:pt x="129" y="32"/>
                    <a:pt x="129" y="32"/>
                    <a:pt x="129" y="33"/>
                  </a:cubicBezTo>
                  <a:cubicBezTo>
                    <a:pt x="129" y="33"/>
                    <a:pt x="129" y="33"/>
                    <a:pt x="129" y="34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7" y="34"/>
                    <a:pt x="126" y="35"/>
                    <a:pt x="126" y="36"/>
                  </a:cubicBezTo>
                  <a:cubicBezTo>
                    <a:pt x="125" y="36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3" y="37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5" y="43"/>
                    <a:pt x="114" y="43"/>
                    <a:pt x="114" y="44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2"/>
                  </a:cubicBezTo>
                  <a:cubicBezTo>
                    <a:pt x="111" y="42"/>
                    <a:pt x="111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3" y="44"/>
                    <a:pt x="103" y="44"/>
                    <a:pt x="103" y="45"/>
                  </a:cubicBezTo>
                  <a:cubicBezTo>
                    <a:pt x="103" y="45"/>
                    <a:pt x="102" y="45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7"/>
                  </a:cubicBezTo>
                  <a:cubicBezTo>
                    <a:pt x="99" y="47"/>
                    <a:pt x="99" y="47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3"/>
                    <a:pt x="102" y="53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2" y="55"/>
                    <a:pt x="102" y="55"/>
                  </a:cubicBezTo>
                  <a:cubicBezTo>
                    <a:pt x="103" y="55"/>
                    <a:pt x="103" y="55"/>
                    <a:pt x="104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7"/>
                    <a:pt x="105" y="57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5" y="57"/>
                    <a:pt x="104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8"/>
                    <a:pt x="103" y="58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3"/>
                    <a:pt x="104" y="63"/>
                    <a:pt x="105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5"/>
                    <a:pt x="105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66"/>
                    <a:pt x="105" y="66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5" y="68"/>
                    <a:pt x="105" y="68"/>
                  </a:cubicBezTo>
                  <a:cubicBezTo>
                    <a:pt x="105" y="69"/>
                    <a:pt x="105" y="69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1"/>
                    <a:pt x="107" y="71"/>
                    <a:pt x="107" y="71"/>
                  </a:cubicBezTo>
                  <a:cubicBezTo>
                    <a:pt x="108" y="71"/>
                    <a:pt x="108" y="72"/>
                    <a:pt x="108" y="72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6" y="72"/>
                    <a:pt x="105" y="72"/>
                    <a:pt x="105" y="73"/>
                  </a:cubicBezTo>
                  <a:cubicBezTo>
                    <a:pt x="105" y="73"/>
                    <a:pt x="105" y="74"/>
                    <a:pt x="105" y="74"/>
                  </a:cubicBezTo>
                  <a:cubicBezTo>
                    <a:pt x="106" y="75"/>
                    <a:pt x="106" y="76"/>
                    <a:pt x="107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7" y="76"/>
                    <a:pt x="107" y="76"/>
                    <a:pt x="107" y="77"/>
                  </a:cubicBezTo>
                  <a:cubicBezTo>
                    <a:pt x="107" y="77"/>
                    <a:pt x="107" y="77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80"/>
                    <a:pt x="105" y="80"/>
                    <a:pt x="105" y="81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5" y="81"/>
                    <a:pt x="104" y="82"/>
                    <a:pt x="104" y="82"/>
                  </a:cubicBezTo>
                  <a:cubicBezTo>
                    <a:pt x="104" y="82"/>
                    <a:pt x="104" y="82"/>
                    <a:pt x="104" y="83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4" y="84"/>
                    <a:pt x="104" y="84"/>
                    <a:pt x="103" y="84"/>
                  </a:cubicBezTo>
                  <a:cubicBezTo>
                    <a:pt x="103" y="84"/>
                    <a:pt x="103" y="84"/>
                    <a:pt x="103" y="85"/>
                  </a:cubicBezTo>
                  <a:cubicBezTo>
                    <a:pt x="103" y="85"/>
                    <a:pt x="103" y="85"/>
                    <a:pt x="103" y="85"/>
                  </a:cubicBezTo>
                  <a:cubicBezTo>
                    <a:pt x="103" y="85"/>
                    <a:pt x="103" y="85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2" y="86"/>
                    <a:pt x="102" y="86"/>
                  </a:cubicBezTo>
                  <a:cubicBezTo>
                    <a:pt x="102" y="87"/>
                    <a:pt x="101" y="87"/>
                    <a:pt x="101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9"/>
                    <a:pt x="100" y="90"/>
                    <a:pt x="101" y="90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100" y="90"/>
                    <a:pt x="100" y="90"/>
                    <a:pt x="100" y="9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99" y="90"/>
                    <a:pt x="99" y="90"/>
                    <a:pt x="98" y="91"/>
                  </a:cubicBezTo>
                  <a:cubicBezTo>
                    <a:pt x="98" y="91"/>
                    <a:pt x="97" y="91"/>
                    <a:pt x="97" y="92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7" y="92"/>
                    <a:pt x="96" y="92"/>
                    <a:pt x="96" y="92"/>
                  </a:cubicBezTo>
                  <a:cubicBezTo>
                    <a:pt x="96" y="92"/>
                    <a:pt x="95" y="92"/>
                    <a:pt x="95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4" y="93"/>
                    <a:pt x="93" y="93"/>
                    <a:pt x="93" y="94"/>
                  </a:cubicBezTo>
                  <a:cubicBezTo>
                    <a:pt x="93" y="94"/>
                    <a:pt x="92" y="95"/>
                    <a:pt x="92" y="95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2" y="94"/>
                    <a:pt x="91" y="94"/>
                    <a:pt x="91" y="94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0" y="94"/>
                    <a:pt x="90" y="94"/>
                    <a:pt x="90" y="95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7" y="95"/>
                    <a:pt x="87" y="96"/>
                    <a:pt x="87" y="96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5" y="96"/>
                    <a:pt x="85" y="96"/>
                    <a:pt x="84" y="97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84" y="96"/>
                    <a:pt x="83" y="96"/>
                    <a:pt x="83" y="96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96"/>
                    <a:pt x="81" y="96"/>
                    <a:pt x="81" y="96"/>
                  </a:cubicBezTo>
                  <a:cubicBezTo>
                    <a:pt x="81" y="95"/>
                    <a:pt x="80" y="95"/>
                    <a:pt x="80" y="95"/>
                  </a:cubicBezTo>
                  <a:cubicBezTo>
                    <a:pt x="79" y="95"/>
                    <a:pt x="79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3"/>
                    <a:pt x="77" y="93"/>
                    <a:pt x="77" y="92"/>
                  </a:cubicBezTo>
                  <a:cubicBezTo>
                    <a:pt x="76" y="92"/>
                    <a:pt x="76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74" y="92"/>
                    <a:pt x="74" y="92"/>
                    <a:pt x="74" y="91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3" y="91"/>
                    <a:pt x="72" y="91"/>
                    <a:pt x="72" y="91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1" y="91"/>
                    <a:pt x="71" y="91"/>
                    <a:pt x="71" y="92"/>
                  </a:cubicBezTo>
                  <a:cubicBezTo>
                    <a:pt x="70" y="92"/>
                    <a:pt x="70" y="92"/>
                    <a:pt x="70" y="93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69" y="93"/>
                    <a:pt x="69" y="93"/>
                    <a:pt x="69" y="92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68" y="92"/>
                    <a:pt x="68" y="92"/>
                    <a:pt x="67" y="93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67" y="93"/>
                    <a:pt x="66" y="93"/>
                    <a:pt x="66" y="93"/>
                  </a:cubicBezTo>
                  <a:cubicBezTo>
                    <a:pt x="65" y="93"/>
                    <a:pt x="65" y="93"/>
                    <a:pt x="65" y="94"/>
                  </a:cubicBezTo>
                  <a:cubicBezTo>
                    <a:pt x="64" y="94"/>
                    <a:pt x="63" y="94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0"/>
                    <a:pt x="59" y="89"/>
                    <a:pt x="58" y="89"/>
                  </a:cubicBezTo>
                  <a:cubicBezTo>
                    <a:pt x="58" y="89"/>
                    <a:pt x="58" y="88"/>
                    <a:pt x="58" y="88"/>
                  </a:cubicBezTo>
                  <a:cubicBezTo>
                    <a:pt x="58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7"/>
                    <a:pt x="60" y="87"/>
                    <a:pt x="60" y="86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59" y="8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9" y="80"/>
                    <a:pt x="59" y="80"/>
                    <a:pt x="58" y="80"/>
                  </a:cubicBezTo>
                  <a:cubicBezTo>
                    <a:pt x="58" y="80"/>
                    <a:pt x="58" y="79"/>
                    <a:pt x="58" y="79"/>
                  </a:cubicBezTo>
                  <a:cubicBezTo>
                    <a:pt x="58" y="79"/>
                    <a:pt x="58" y="79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7"/>
                    <a:pt x="56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5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6" y="76"/>
                    <a:pt x="46" y="77"/>
                  </a:cubicBezTo>
                  <a:cubicBezTo>
                    <a:pt x="46" y="77"/>
                    <a:pt x="46" y="77"/>
                    <a:pt x="45" y="77"/>
                  </a:cubicBezTo>
                  <a:cubicBezTo>
                    <a:pt x="45" y="77"/>
                    <a:pt x="44" y="77"/>
                    <a:pt x="44" y="78"/>
                  </a:cubicBezTo>
                  <a:cubicBezTo>
                    <a:pt x="44" y="78"/>
                    <a:pt x="44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0" y="78"/>
                  </a:cubicBezTo>
                  <a:cubicBezTo>
                    <a:pt x="40" y="78"/>
                    <a:pt x="39" y="77"/>
                    <a:pt x="39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8" y="77"/>
                    <a:pt x="37" y="78"/>
                  </a:cubicBezTo>
                  <a:cubicBezTo>
                    <a:pt x="37" y="78"/>
                    <a:pt x="37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8"/>
                    <a:pt x="36" y="78"/>
                    <a:pt x="35" y="78"/>
                  </a:cubicBezTo>
                  <a:cubicBezTo>
                    <a:pt x="34" y="78"/>
                    <a:pt x="34" y="78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2" y="78"/>
                    <a:pt x="32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0" y="78"/>
                  </a:cubicBezTo>
                  <a:cubicBezTo>
                    <a:pt x="30" y="78"/>
                    <a:pt x="30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8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5"/>
                    <a:pt x="26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3" y="74"/>
                    <a:pt x="22" y="73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2"/>
                    <a:pt x="22" y="72"/>
                    <a:pt x="21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8" y="72"/>
                  </a:cubicBezTo>
                  <a:cubicBezTo>
                    <a:pt x="18" y="72"/>
                    <a:pt x="18" y="71"/>
                    <a:pt x="18" y="71"/>
                  </a:cubicBezTo>
                  <a:cubicBezTo>
                    <a:pt x="18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6" y="70"/>
                    <a:pt x="16" y="70"/>
                    <a:pt x="15" y="7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6" y="69"/>
                    <a:pt x="16" y="69"/>
                  </a:cubicBezTo>
                  <a:cubicBezTo>
                    <a:pt x="16" y="68"/>
                    <a:pt x="17" y="68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6" y="65"/>
                    <a:pt x="16" y="65"/>
                  </a:cubicBezTo>
                  <a:cubicBezTo>
                    <a:pt x="16" y="65"/>
                    <a:pt x="16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3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1"/>
                    <a:pt x="18" y="60"/>
                  </a:cubicBezTo>
                  <a:cubicBezTo>
                    <a:pt x="18" y="60"/>
                    <a:pt x="18" y="59"/>
                    <a:pt x="18" y="59"/>
                  </a:cubicBezTo>
                  <a:cubicBezTo>
                    <a:pt x="18" y="58"/>
                    <a:pt x="18" y="58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5" y="56"/>
                    <a:pt x="15" y="56"/>
                  </a:cubicBezTo>
                  <a:cubicBezTo>
                    <a:pt x="15" y="56"/>
                    <a:pt x="14" y="55"/>
                    <a:pt x="14" y="55"/>
                  </a:cubicBezTo>
                  <a:cubicBezTo>
                    <a:pt x="13" y="55"/>
                    <a:pt x="12" y="56"/>
                    <a:pt x="11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57"/>
                    <a:pt x="11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6"/>
                  </a:cubicBezTo>
                  <a:cubicBezTo>
                    <a:pt x="10" y="56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8" y="56"/>
                    <a:pt x="8" y="55"/>
                    <a:pt x="8" y="55"/>
                  </a:cubicBezTo>
                  <a:cubicBezTo>
                    <a:pt x="8" y="54"/>
                    <a:pt x="8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3"/>
                    <a:pt x="7" y="53"/>
                    <a:pt x="6" y="53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4" y="48"/>
                    <a:pt x="4" y="48"/>
                  </a:cubicBezTo>
                  <a:cubicBezTo>
                    <a:pt x="4" y="48"/>
                    <a:pt x="4" y="48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8" y="46"/>
                    <a:pt x="8" y="46"/>
                  </a:cubicBezTo>
                  <a:cubicBezTo>
                    <a:pt x="8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3"/>
                    <a:pt x="14" y="43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6" y="42"/>
                    <a:pt x="17" y="41"/>
                    <a:pt x="17" y="41"/>
                  </a:cubicBezTo>
                  <a:cubicBezTo>
                    <a:pt x="18" y="41"/>
                    <a:pt x="18" y="40"/>
                    <a:pt x="18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9" y="38"/>
                    <a:pt x="19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19" y="34"/>
                    <a:pt x="19" y="33"/>
                  </a:cubicBezTo>
                  <a:cubicBezTo>
                    <a:pt x="19" y="32"/>
                    <a:pt x="19" y="32"/>
                    <a:pt x="18" y="32"/>
                  </a:cubicBezTo>
                  <a:cubicBezTo>
                    <a:pt x="18" y="32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2" y="31"/>
                    <a:pt x="23" y="30"/>
                  </a:cubicBezTo>
                  <a:cubicBezTo>
                    <a:pt x="23" y="30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7"/>
                    <a:pt x="23" y="2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8" y="26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4"/>
                    <a:pt x="30" y="24"/>
                    <a:pt x="30" y="23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0"/>
                    <a:pt x="30" y="20"/>
                  </a:cubicBezTo>
                  <a:cubicBezTo>
                    <a:pt x="30" y="20"/>
                    <a:pt x="31" y="20"/>
                    <a:pt x="31" y="20"/>
                  </a:cubicBezTo>
                  <a:cubicBezTo>
                    <a:pt x="31" y="20"/>
                    <a:pt x="32" y="20"/>
                    <a:pt x="32" y="19"/>
                  </a:cubicBezTo>
                  <a:cubicBezTo>
                    <a:pt x="32" y="20"/>
                    <a:pt x="33" y="20"/>
                    <a:pt x="33" y="2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3"/>
                    <a:pt x="37" y="23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8" y="24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9"/>
                    <a:pt x="38" y="31"/>
                    <a:pt x="40" y="31"/>
                  </a:cubicBezTo>
                  <a:cubicBezTo>
                    <a:pt x="41" y="32"/>
                    <a:pt x="42" y="32"/>
                    <a:pt x="43" y="32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29"/>
                    <a:pt x="44" y="28"/>
                    <a:pt x="43" y="28"/>
                  </a:cubicBezTo>
                  <a:cubicBezTo>
                    <a:pt x="43" y="28"/>
                    <a:pt x="42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8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3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9" y="19"/>
                    <a:pt x="39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5"/>
                    <a:pt x="34" y="15"/>
                  </a:cubicBezTo>
                  <a:cubicBezTo>
                    <a:pt x="34" y="15"/>
                    <a:pt x="34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29" y="16"/>
                    <a:pt x="29" y="17"/>
                  </a:cubicBezTo>
                  <a:cubicBezTo>
                    <a:pt x="29" y="17"/>
                    <a:pt x="28" y="17"/>
                    <a:pt x="28" y="18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5" y="22"/>
                    <a:pt x="25" y="22"/>
                  </a:cubicBezTo>
                  <a:cubicBezTo>
                    <a:pt x="25" y="22"/>
                    <a:pt x="24" y="22"/>
                    <a:pt x="24" y="21"/>
                  </a:cubicBezTo>
                  <a:cubicBezTo>
                    <a:pt x="23" y="21"/>
                    <a:pt x="23" y="21"/>
                    <a:pt x="22" y="21"/>
                  </a:cubicBezTo>
                  <a:cubicBezTo>
                    <a:pt x="22" y="21"/>
                    <a:pt x="22" y="22"/>
                    <a:pt x="21" y="2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5" y="28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30"/>
                    <a:pt x="14" y="30"/>
                    <a:pt x="14" y="31"/>
                  </a:cubicBezTo>
                  <a:cubicBezTo>
                    <a:pt x="14" y="31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4"/>
                    <a:pt x="15" y="34"/>
                  </a:cubicBezTo>
                  <a:cubicBezTo>
                    <a:pt x="16" y="34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4" y="38"/>
                    <a:pt x="14" y="38"/>
                  </a:cubicBezTo>
                  <a:cubicBezTo>
                    <a:pt x="14" y="38"/>
                    <a:pt x="14" y="38"/>
                    <a:pt x="13" y="38"/>
                  </a:cubicBezTo>
                  <a:cubicBezTo>
                    <a:pt x="13" y="39"/>
                    <a:pt x="13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41"/>
                    <a:pt x="8" y="41"/>
                    <a:pt x="7" y="41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4" y="42"/>
                    <a:pt x="4" y="42"/>
                  </a:cubicBezTo>
                  <a:cubicBezTo>
                    <a:pt x="4" y="43"/>
                    <a:pt x="3" y="43"/>
                    <a:pt x="3" y="43"/>
                  </a:cubicBezTo>
                  <a:cubicBezTo>
                    <a:pt x="3" y="44"/>
                    <a:pt x="2" y="44"/>
                    <a:pt x="2" y="44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5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3"/>
                    <a:pt x="2" y="5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5"/>
                    <a:pt x="2" y="55"/>
                    <a:pt x="3" y="56"/>
                  </a:cubicBezTo>
                  <a:cubicBezTo>
                    <a:pt x="3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5" y="58"/>
                    <a:pt x="5" y="58"/>
                  </a:cubicBezTo>
                  <a:cubicBezTo>
                    <a:pt x="6" y="58"/>
                    <a:pt x="6" y="58"/>
                    <a:pt x="6" y="59"/>
                  </a:cubicBezTo>
                  <a:cubicBezTo>
                    <a:pt x="6" y="59"/>
                    <a:pt x="7" y="59"/>
                    <a:pt x="7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0"/>
                    <a:pt x="9" y="60"/>
                    <a:pt x="10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2" y="60"/>
                  </a:cubicBezTo>
                  <a:cubicBezTo>
                    <a:pt x="12" y="60"/>
                    <a:pt x="13" y="60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5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3" y="61"/>
                    <a:pt x="13" y="61"/>
                    <a:pt x="13" y="62"/>
                  </a:cubicBezTo>
                  <a:cubicBezTo>
                    <a:pt x="13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4"/>
                    <a:pt x="12" y="6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6"/>
                    <a:pt x="11" y="67"/>
                    <a:pt x="11" y="67"/>
                  </a:cubicBezTo>
                  <a:cubicBezTo>
                    <a:pt x="11" y="68"/>
                    <a:pt x="11" y="68"/>
                    <a:pt x="11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2"/>
                    <a:pt x="12" y="72"/>
                  </a:cubicBezTo>
                  <a:cubicBezTo>
                    <a:pt x="13" y="72"/>
                    <a:pt x="13" y="73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3"/>
                    <a:pt x="15" y="73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5" y="74"/>
                    <a:pt x="16" y="74"/>
                    <a:pt x="16" y="74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6" y="74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8" y="76"/>
                    <a:pt x="18" y="76"/>
                    <a:pt x="19" y="76"/>
                  </a:cubicBezTo>
                  <a:cubicBezTo>
                    <a:pt x="19" y="76"/>
                    <a:pt x="19" y="76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6"/>
                    <a:pt x="20" y="76"/>
                    <a:pt x="21" y="76"/>
                  </a:cubicBezTo>
                  <a:cubicBezTo>
                    <a:pt x="21" y="76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8"/>
                    <a:pt x="23" y="78"/>
                  </a:cubicBezTo>
                  <a:cubicBezTo>
                    <a:pt x="23" y="78"/>
                    <a:pt x="23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80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1"/>
                    <a:pt x="29" y="81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2"/>
                    <a:pt x="30" y="82"/>
                    <a:pt x="31" y="82"/>
                  </a:cubicBezTo>
                  <a:cubicBezTo>
                    <a:pt x="31" y="82"/>
                    <a:pt x="31" y="82"/>
                    <a:pt x="32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3"/>
                    <a:pt x="34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7" y="83"/>
                    <a:pt x="38" y="83"/>
                    <a:pt x="38" y="82"/>
                  </a:cubicBezTo>
                  <a:cubicBezTo>
                    <a:pt x="38" y="82"/>
                    <a:pt x="38" y="82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9" y="82"/>
                    <a:pt x="39" y="82"/>
                    <a:pt x="40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1" y="83"/>
                    <a:pt x="42" y="83"/>
                  </a:cubicBezTo>
                  <a:cubicBezTo>
                    <a:pt x="42" y="83"/>
                    <a:pt x="43" y="83"/>
                    <a:pt x="43" y="83"/>
                  </a:cubicBezTo>
                  <a:cubicBezTo>
                    <a:pt x="44" y="83"/>
                    <a:pt x="44" y="83"/>
                    <a:pt x="44" y="82"/>
                  </a:cubicBezTo>
                  <a:cubicBezTo>
                    <a:pt x="44" y="82"/>
                    <a:pt x="44" y="82"/>
                    <a:pt x="45" y="82"/>
                  </a:cubicBezTo>
                  <a:cubicBezTo>
                    <a:pt x="45" y="82"/>
                    <a:pt x="45" y="81"/>
                    <a:pt x="46" y="81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8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50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81"/>
                    <a:pt x="53" y="81"/>
                  </a:cubicBezTo>
                  <a:cubicBezTo>
                    <a:pt x="54" y="81"/>
                    <a:pt x="54" y="81"/>
                    <a:pt x="55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81"/>
                    <a:pt x="55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3"/>
                    <a:pt x="56" y="83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5" y="86"/>
                    <a:pt x="55" y="86"/>
                  </a:cubicBezTo>
                  <a:cubicBezTo>
                    <a:pt x="55" y="87"/>
                    <a:pt x="54" y="87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1"/>
                    <a:pt x="54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7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7" y="94"/>
                    <a:pt x="57" y="95"/>
                    <a:pt x="57" y="95"/>
                  </a:cubicBezTo>
                  <a:cubicBezTo>
                    <a:pt x="57" y="95"/>
                    <a:pt x="57" y="96"/>
                    <a:pt x="57" y="96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57" y="97"/>
                    <a:pt x="58" y="98"/>
                    <a:pt x="58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8"/>
                    <a:pt x="59" y="98"/>
                    <a:pt x="60" y="99"/>
                  </a:cubicBezTo>
                  <a:cubicBezTo>
                    <a:pt x="60" y="99"/>
                    <a:pt x="60" y="100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2" y="100"/>
                    <a:pt x="62" y="100"/>
                    <a:pt x="62" y="100"/>
                  </a:cubicBezTo>
                  <a:cubicBezTo>
                    <a:pt x="62" y="100"/>
                    <a:pt x="62" y="100"/>
                    <a:pt x="62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ubicBezTo>
                    <a:pt x="64" y="100"/>
                    <a:pt x="65" y="100"/>
                    <a:pt x="65" y="100"/>
                  </a:cubicBezTo>
                  <a:cubicBezTo>
                    <a:pt x="65" y="100"/>
                    <a:pt x="66" y="100"/>
                    <a:pt x="66" y="100"/>
                  </a:cubicBezTo>
                  <a:cubicBezTo>
                    <a:pt x="66" y="99"/>
                    <a:pt x="66" y="99"/>
                    <a:pt x="66" y="98"/>
                  </a:cubicBezTo>
                  <a:cubicBezTo>
                    <a:pt x="66" y="98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8" y="97"/>
                    <a:pt x="68" y="97"/>
                    <a:pt x="69" y="96"/>
                  </a:cubicBezTo>
                  <a:cubicBezTo>
                    <a:pt x="69" y="97"/>
                    <a:pt x="70" y="97"/>
                    <a:pt x="71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2" y="96"/>
                    <a:pt x="72" y="96"/>
                    <a:pt x="73" y="95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73" y="95"/>
                    <a:pt x="73" y="96"/>
                    <a:pt x="74" y="96"/>
                  </a:cubicBezTo>
                  <a:cubicBezTo>
                    <a:pt x="74" y="96"/>
                    <a:pt x="74" y="97"/>
                    <a:pt x="74" y="97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5" y="98"/>
                    <a:pt x="75" y="98"/>
                    <a:pt x="76" y="98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76" y="99"/>
                    <a:pt x="77" y="99"/>
                    <a:pt x="77" y="99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80" y="100"/>
                    <a:pt x="80" y="100"/>
                    <a:pt x="81" y="100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1" y="101"/>
                    <a:pt x="81" y="101"/>
                    <a:pt x="81" y="101"/>
                  </a:cubicBezTo>
                  <a:cubicBezTo>
                    <a:pt x="81" y="101"/>
                    <a:pt x="81" y="102"/>
                    <a:pt x="81" y="102"/>
                  </a:cubicBezTo>
                  <a:cubicBezTo>
                    <a:pt x="82" y="102"/>
                    <a:pt x="82" y="103"/>
                    <a:pt x="83" y="103"/>
                  </a:cubicBezTo>
                  <a:cubicBezTo>
                    <a:pt x="83" y="103"/>
                    <a:pt x="84" y="103"/>
                    <a:pt x="84" y="103"/>
                  </a:cubicBezTo>
                  <a:cubicBezTo>
                    <a:pt x="84" y="103"/>
                    <a:pt x="85" y="103"/>
                    <a:pt x="85" y="103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6" y="102"/>
                    <a:pt x="86" y="102"/>
                    <a:pt x="86" y="102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99"/>
                    <a:pt x="88" y="99"/>
                    <a:pt x="88" y="99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9" y="99"/>
                    <a:pt x="89" y="99"/>
                    <a:pt x="90" y="99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1" y="99"/>
                    <a:pt x="92" y="100"/>
                    <a:pt x="93" y="100"/>
                  </a:cubicBezTo>
                  <a:cubicBezTo>
                    <a:pt x="94" y="100"/>
                    <a:pt x="96" y="98"/>
                    <a:pt x="96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96"/>
                    <a:pt x="97" y="96"/>
                    <a:pt x="97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97" y="96"/>
                    <a:pt x="97" y="96"/>
                    <a:pt x="98" y="96"/>
                  </a:cubicBezTo>
                  <a:cubicBezTo>
                    <a:pt x="98" y="96"/>
                    <a:pt x="98" y="96"/>
                    <a:pt x="99" y="95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5"/>
                    <a:pt x="100" y="94"/>
                    <a:pt x="100" y="94"/>
                  </a:cubicBezTo>
                  <a:cubicBezTo>
                    <a:pt x="100" y="94"/>
                    <a:pt x="100" y="94"/>
                    <a:pt x="100" y="94"/>
                  </a:cubicBezTo>
                  <a:cubicBezTo>
                    <a:pt x="100" y="94"/>
                    <a:pt x="100" y="94"/>
                    <a:pt x="100" y="94"/>
                  </a:cubicBezTo>
                  <a:cubicBezTo>
                    <a:pt x="103" y="94"/>
                    <a:pt x="104" y="92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5" y="89"/>
                    <a:pt x="105" y="89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6" y="88"/>
                    <a:pt x="107" y="88"/>
                    <a:pt x="107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9" y="83"/>
                    <a:pt x="109" y="82"/>
                    <a:pt x="109" y="82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0" y="81"/>
                    <a:pt x="111" y="80"/>
                    <a:pt x="111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79"/>
                    <a:pt x="111" y="79"/>
                    <a:pt x="111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2" y="77"/>
                    <a:pt x="112" y="77"/>
                    <a:pt x="112" y="76"/>
                  </a:cubicBezTo>
                  <a:cubicBezTo>
                    <a:pt x="112" y="76"/>
                    <a:pt x="112" y="76"/>
                    <a:pt x="112" y="76"/>
                  </a:cubicBezTo>
                  <a:cubicBezTo>
                    <a:pt x="112" y="76"/>
                    <a:pt x="112" y="75"/>
                    <a:pt x="111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2" y="74"/>
                    <a:pt x="112" y="73"/>
                    <a:pt x="112" y="72"/>
                  </a:cubicBezTo>
                  <a:cubicBezTo>
                    <a:pt x="112" y="72"/>
                    <a:pt x="112" y="71"/>
                    <a:pt x="112" y="71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9"/>
                    <a:pt x="111" y="68"/>
                    <a:pt x="111" y="68"/>
                  </a:cubicBezTo>
                  <a:cubicBezTo>
                    <a:pt x="111" y="67"/>
                    <a:pt x="110" y="67"/>
                    <a:pt x="110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0" y="67"/>
                    <a:pt x="110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8" y="62"/>
                    <a:pt x="108" y="62"/>
                    <a:pt x="108" y="61"/>
                  </a:cubicBezTo>
                  <a:cubicBezTo>
                    <a:pt x="107" y="61"/>
                    <a:pt x="107" y="61"/>
                    <a:pt x="107" y="60"/>
                  </a:cubicBezTo>
                  <a:cubicBezTo>
                    <a:pt x="108" y="60"/>
                    <a:pt x="109" y="59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10" y="57"/>
                    <a:pt x="110" y="57"/>
                  </a:cubicBezTo>
                  <a:cubicBezTo>
                    <a:pt x="110" y="57"/>
                    <a:pt x="110" y="57"/>
                    <a:pt x="110" y="56"/>
                  </a:cubicBezTo>
                  <a:cubicBezTo>
                    <a:pt x="111" y="57"/>
                    <a:pt x="111" y="56"/>
                    <a:pt x="111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3" y="56"/>
                    <a:pt x="113" y="55"/>
                    <a:pt x="113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113" y="53"/>
                    <a:pt x="113" y="52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2" y="51"/>
                    <a:pt x="112" y="51"/>
                    <a:pt x="111" y="51"/>
                  </a:cubicBezTo>
                  <a:cubicBezTo>
                    <a:pt x="111" y="51"/>
                    <a:pt x="111" y="51"/>
                    <a:pt x="110" y="51"/>
                  </a:cubicBezTo>
                  <a:cubicBezTo>
                    <a:pt x="112" y="51"/>
                    <a:pt x="113" y="49"/>
                    <a:pt x="113" y="48"/>
                  </a:cubicBezTo>
                  <a:cubicBezTo>
                    <a:pt x="113" y="48"/>
                    <a:pt x="113" y="48"/>
                    <a:pt x="114" y="48"/>
                  </a:cubicBezTo>
                  <a:cubicBezTo>
                    <a:pt x="114" y="48"/>
                    <a:pt x="114" y="48"/>
                    <a:pt x="114" y="48"/>
                  </a:cubicBezTo>
                  <a:cubicBezTo>
                    <a:pt x="114" y="48"/>
                    <a:pt x="114" y="48"/>
                    <a:pt x="114" y="48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5" y="48"/>
                    <a:pt x="115" y="48"/>
                    <a:pt x="116" y="47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47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5"/>
                    <a:pt x="119" y="44"/>
                    <a:pt x="119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1" y="44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2" y="43"/>
                    <a:pt x="122" y="43"/>
                    <a:pt x="123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5" y="42"/>
                    <a:pt x="125" y="42"/>
                  </a:cubicBezTo>
                  <a:cubicBezTo>
                    <a:pt x="125" y="42"/>
                    <a:pt x="126" y="41"/>
                    <a:pt x="126" y="41"/>
                  </a:cubicBezTo>
                  <a:cubicBezTo>
                    <a:pt x="126" y="41"/>
                    <a:pt x="127" y="40"/>
                    <a:pt x="127" y="40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30" y="38"/>
                    <a:pt x="131" y="38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32" y="37"/>
                    <a:pt x="132" y="37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5"/>
                  </a:cubicBezTo>
                  <a:cubicBezTo>
                    <a:pt x="132" y="35"/>
                    <a:pt x="132" y="35"/>
                    <a:pt x="132" y="34"/>
                  </a:cubicBezTo>
                  <a:cubicBezTo>
                    <a:pt x="132" y="34"/>
                    <a:pt x="132" y="33"/>
                    <a:pt x="132" y="33"/>
                  </a:cubicBezTo>
                  <a:cubicBezTo>
                    <a:pt x="132" y="32"/>
                    <a:pt x="132" y="32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2" y="31"/>
                    <a:pt x="133" y="31"/>
                    <a:pt x="133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5" y="31"/>
                    <a:pt x="136" y="31"/>
                  </a:cubicBezTo>
                  <a:cubicBezTo>
                    <a:pt x="136" y="30"/>
                    <a:pt x="136" y="30"/>
                    <a:pt x="137" y="29"/>
                  </a:cubicBezTo>
                  <a:cubicBezTo>
                    <a:pt x="137" y="29"/>
                    <a:pt x="137" y="28"/>
                    <a:pt x="137" y="28"/>
                  </a:cubicBezTo>
                  <a:cubicBezTo>
                    <a:pt x="137" y="27"/>
                    <a:pt x="138" y="27"/>
                    <a:pt x="138" y="26"/>
                  </a:cubicBezTo>
                  <a:cubicBezTo>
                    <a:pt x="138" y="25"/>
                    <a:pt x="138" y="25"/>
                    <a:pt x="139" y="25"/>
                  </a:cubicBezTo>
                  <a:cubicBezTo>
                    <a:pt x="139" y="25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40" y="22"/>
                    <a:pt x="140" y="22"/>
                    <a:pt x="140" y="21"/>
                  </a:cubicBezTo>
                  <a:cubicBezTo>
                    <a:pt x="140" y="21"/>
                    <a:pt x="140" y="21"/>
                    <a:pt x="140" y="2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0">
            <a:extLst>
              <a:ext uri="{FF2B5EF4-FFF2-40B4-BE49-F238E27FC236}">
                <a16:creationId xmlns:a16="http://schemas.microsoft.com/office/drawing/2014/main" id="{6C20BE07-9C50-4F6B-B8CC-D2B9F8A8E6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635" y="349252"/>
            <a:ext cx="841375" cy="841375"/>
            <a:chOff x="338" y="301"/>
            <a:chExt cx="530" cy="530"/>
          </a:xfrm>
        </p:grpSpPr>
        <p:sp>
          <p:nvSpPr>
            <p:cNvPr id="13" name="AutoShape 9">
              <a:extLst>
                <a:ext uri="{FF2B5EF4-FFF2-40B4-BE49-F238E27FC236}">
                  <a16:creationId xmlns:a16="http://schemas.microsoft.com/office/drawing/2014/main" id="{7835DF1A-2F7B-4409-A64B-001729D045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38" y="30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3CDF7620-BD4E-455A-AA2B-08DD3548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" y="30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67F37BB5-8F30-4FDE-8E03-2B2518B0F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" y="31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F835D46-9C7D-476F-B2F5-8B0FF261A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" y="442"/>
              <a:ext cx="148" cy="158"/>
            </a:xfrm>
            <a:custGeom>
              <a:avLst/>
              <a:gdLst>
                <a:gd name="T0" fmla="*/ 49 w 58"/>
                <a:gd name="T1" fmla="*/ 4 h 62"/>
                <a:gd name="T2" fmla="*/ 51 w 58"/>
                <a:gd name="T3" fmla="*/ 3 h 62"/>
                <a:gd name="T4" fmla="*/ 51 w 58"/>
                <a:gd name="T5" fmla="*/ 6 h 62"/>
                <a:gd name="T6" fmla="*/ 33 w 58"/>
                <a:gd name="T7" fmla="*/ 31 h 62"/>
                <a:gd name="T8" fmla="*/ 16 w 58"/>
                <a:gd name="T9" fmla="*/ 47 h 62"/>
                <a:gd name="T10" fmla="*/ 15 w 58"/>
                <a:gd name="T11" fmla="*/ 46 h 62"/>
                <a:gd name="T12" fmla="*/ 28 w 58"/>
                <a:gd name="T13" fmla="*/ 27 h 62"/>
                <a:gd name="T14" fmla="*/ 37 w 58"/>
                <a:gd name="T15" fmla="*/ 17 h 62"/>
                <a:gd name="T16" fmla="*/ 1 w 58"/>
                <a:gd name="T17" fmla="*/ 10 h 62"/>
                <a:gd name="T18" fmla="*/ 17 w 58"/>
                <a:gd name="T19" fmla="*/ 23 h 62"/>
                <a:gd name="T20" fmla="*/ 18 w 58"/>
                <a:gd name="T21" fmla="*/ 20 h 62"/>
                <a:gd name="T22" fmla="*/ 7 w 58"/>
                <a:gd name="T23" fmla="*/ 9 h 62"/>
                <a:gd name="T24" fmla="*/ 32 w 58"/>
                <a:gd name="T25" fmla="*/ 17 h 62"/>
                <a:gd name="T26" fmla="*/ 14 w 58"/>
                <a:gd name="T27" fmla="*/ 42 h 62"/>
                <a:gd name="T28" fmla="*/ 8 w 58"/>
                <a:gd name="T29" fmla="*/ 45 h 62"/>
                <a:gd name="T30" fmla="*/ 2 w 58"/>
                <a:gd name="T31" fmla="*/ 51 h 62"/>
                <a:gd name="T32" fmla="*/ 9 w 58"/>
                <a:gd name="T33" fmla="*/ 48 h 62"/>
                <a:gd name="T34" fmla="*/ 14 w 58"/>
                <a:gd name="T35" fmla="*/ 50 h 62"/>
                <a:gd name="T36" fmla="*/ 15 w 58"/>
                <a:gd name="T37" fmla="*/ 61 h 62"/>
                <a:gd name="T38" fmla="*/ 17 w 58"/>
                <a:gd name="T39" fmla="*/ 61 h 62"/>
                <a:gd name="T40" fmla="*/ 21 w 58"/>
                <a:gd name="T41" fmla="*/ 48 h 62"/>
                <a:gd name="T42" fmla="*/ 42 w 58"/>
                <a:gd name="T43" fmla="*/ 25 h 62"/>
                <a:gd name="T44" fmla="*/ 55 w 58"/>
                <a:gd name="T45" fmla="*/ 48 h 62"/>
                <a:gd name="T46" fmla="*/ 42 w 58"/>
                <a:gd name="T47" fmla="*/ 39 h 62"/>
                <a:gd name="T48" fmla="*/ 40 w 58"/>
                <a:gd name="T49" fmla="*/ 42 h 62"/>
                <a:gd name="T50" fmla="*/ 55 w 58"/>
                <a:gd name="T51" fmla="*/ 54 h 62"/>
                <a:gd name="T52" fmla="*/ 57 w 58"/>
                <a:gd name="T53" fmla="*/ 53 h 62"/>
                <a:gd name="T54" fmla="*/ 56 w 58"/>
                <a:gd name="T55" fmla="*/ 43 h 62"/>
                <a:gd name="T56" fmla="*/ 52 w 58"/>
                <a:gd name="T57" fmla="*/ 13 h 62"/>
                <a:gd name="T58" fmla="*/ 55 w 58"/>
                <a:gd name="T59" fmla="*/ 4 h 62"/>
                <a:gd name="T60" fmla="*/ 50 w 58"/>
                <a:gd name="T61" fmla="*/ 0 h 62"/>
                <a:gd name="T62" fmla="*/ 42 w 58"/>
                <a:gd name="T63" fmla="*/ 5 h 62"/>
                <a:gd name="T64" fmla="*/ 11 w 58"/>
                <a:gd name="T65" fmla="*/ 6 h 62"/>
                <a:gd name="T66" fmla="*/ 1 w 58"/>
                <a:gd name="T67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" h="62">
                  <a:moveTo>
                    <a:pt x="45" y="7"/>
                  </a:moveTo>
                  <a:cubicBezTo>
                    <a:pt x="46" y="5"/>
                    <a:pt x="47" y="4"/>
                    <a:pt x="49" y="4"/>
                  </a:cubicBezTo>
                  <a:cubicBezTo>
                    <a:pt x="49" y="4"/>
                    <a:pt x="50" y="3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1" y="4"/>
                    <a:pt x="51" y="4"/>
                  </a:cubicBezTo>
                  <a:cubicBezTo>
                    <a:pt x="51" y="5"/>
                    <a:pt x="51" y="5"/>
                    <a:pt x="51" y="6"/>
                  </a:cubicBezTo>
                  <a:cubicBezTo>
                    <a:pt x="51" y="8"/>
                    <a:pt x="50" y="9"/>
                    <a:pt x="49" y="1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29" y="36"/>
                    <a:pt x="24" y="41"/>
                    <a:pt x="19" y="45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0" y="38"/>
                    <a:pt x="24" y="32"/>
                    <a:pt x="28" y="2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lnTo>
                    <a:pt x="45" y="7"/>
                  </a:lnTo>
                  <a:close/>
                  <a:moveTo>
                    <a:pt x="1" y="10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7" y="23"/>
                    <a:pt x="17" y="23"/>
                  </a:cubicBezTo>
                  <a:cubicBezTo>
                    <a:pt x="18" y="23"/>
                    <a:pt x="18" y="23"/>
                    <a:pt x="19" y="22"/>
                  </a:cubicBezTo>
                  <a:cubicBezTo>
                    <a:pt x="19" y="21"/>
                    <a:pt x="19" y="20"/>
                    <a:pt x="18" y="2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8" y="9"/>
                    <a:pt x="9" y="9"/>
                    <a:pt x="10" y="9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1" y="30"/>
                    <a:pt x="17" y="36"/>
                    <a:pt x="14" y="42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9" y="45"/>
                    <a:pt x="8" y="45"/>
                  </a:cubicBezTo>
                  <a:cubicBezTo>
                    <a:pt x="6" y="45"/>
                    <a:pt x="3" y="46"/>
                    <a:pt x="1" y="48"/>
                  </a:cubicBezTo>
                  <a:cubicBezTo>
                    <a:pt x="1" y="49"/>
                    <a:pt x="1" y="50"/>
                    <a:pt x="2" y="51"/>
                  </a:cubicBezTo>
                  <a:cubicBezTo>
                    <a:pt x="2" y="51"/>
                    <a:pt x="3" y="51"/>
                    <a:pt x="4" y="51"/>
                  </a:cubicBezTo>
                  <a:cubicBezTo>
                    <a:pt x="5" y="49"/>
                    <a:pt x="7" y="48"/>
                    <a:pt x="9" y="48"/>
                  </a:cubicBezTo>
                  <a:cubicBezTo>
                    <a:pt x="10" y="48"/>
                    <a:pt x="12" y="48"/>
                    <a:pt x="13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2"/>
                    <a:pt x="17" y="56"/>
                    <a:pt x="14" y="59"/>
                  </a:cubicBezTo>
                  <a:cubicBezTo>
                    <a:pt x="14" y="60"/>
                    <a:pt x="14" y="61"/>
                    <a:pt x="15" y="61"/>
                  </a:cubicBezTo>
                  <a:cubicBezTo>
                    <a:pt x="15" y="62"/>
                    <a:pt x="15" y="62"/>
                    <a:pt x="16" y="62"/>
                  </a:cubicBezTo>
                  <a:cubicBezTo>
                    <a:pt x="16" y="62"/>
                    <a:pt x="17" y="62"/>
                    <a:pt x="17" y="61"/>
                  </a:cubicBezTo>
                  <a:cubicBezTo>
                    <a:pt x="20" y="58"/>
                    <a:pt x="20" y="54"/>
                    <a:pt x="18" y="50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6" y="43"/>
                    <a:pt x="31" y="38"/>
                    <a:pt x="35" y="33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4" y="46"/>
                    <a:pt x="55" y="47"/>
                    <a:pt x="55" y="48"/>
                  </a:cubicBezTo>
                  <a:cubicBezTo>
                    <a:pt x="55" y="48"/>
                    <a:pt x="55" y="49"/>
                    <a:pt x="55" y="49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1" y="38"/>
                    <a:pt x="40" y="38"/>
                    <a:pt x="39" y="39"/>
                  </a:cubicBezTo>
                  <a:cubicBezTo>
                    <a:pt x="39" y="40"/>
                    <a:pt x="39" y="41"/>
                    <a:pt x="40" y="42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4"/>
                    <a:pt x="57" y="54"/>
                    <a:pt x="57" y="53"/>
                  </a:cubicBezTo>
                  <a:cubicBezTo>
                    <a:pt x="58" y="51"/>
                    <a:pt x="58" y="48"/>
                    <a:pt x="58" y="48"/>
                  </a:cubicBezTo>
                  <a:cubicBezTo>
                    <a:pt x="58" y="46"/>
                    <a:pt x="57" y="45"/>
                    <a:pt x="56" y="4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3" y="11"/>
                    <a:pt x="54" y="9"/>
                    <a:pt x="55" y="6"/>
                  </a:cubicBezTo>
                  <a:cubicBezTo>
                    <a:pt x="55" y="6"/>
                    <a:pt x="55" y="5"/>
                    <a:pt x="55" y="4"/>
                  </a:cubicBezTo>
                  <a:cubicBezTo>
                    <a:pt x="55" y="3"/>
                    <a:pt x="54" y="2"/>
                    <a:pt x="53" y="1"/>
                  </a:cubicBezTo>
                  <a:cubicBezTo>
                    <a:pt x="52" y="0"/>
                    <a:pt x="51" y="0"/>
                    <a:pt x="50" y="0"/>
                  </a:cubicBezTo>
                  <a:cubicBezTo>
                    <a:pt x="49" y="0"/>
                    <a:pt x="48" y="0"/>
                    <a:pt x="48" y="1"/>
                  </a:cubicBezTo>
                  <a:cubicBezTo>
                    <a:pt x="45" y="1"/>
                    <a:pt x="43" y="3"/>
                    <a:pt x="42" y="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6"/>
                    <a:pt x="8" y="5"/>
                    <a:pt x="6" y="6"/>
                  </a:cubicBezTo>
                  <a:cubicBezTo>
                    <a:pt x="4" y="6"/>
                    <a:pt x="2" y="7"/>
                    <a:pt x="1" y="8"/>
                  </a:cubicBezTo>
                  <a:cubicBezTo>
                    <a:pt x="0" y="9"/>
                    <a:pt x="1" y="10"/>
                    <a:pt x="1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B9E1FAE-AEDC-4F13-92D6-54A75E6C4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" y="447"/>
              <a:ext cx="358" cy="264"/>
            </a:xfrm>
            <a:custGeom>
              <a:avLst/>
              <a:gdLst>
                <a:gd name="T0" fmla="*/ 93 w 140"/>
                <a:gd name="T1" fmla="*/ 96 h 103"/>
                <a:gd name="T2" fmla="*/ 106 w 140"/>
                <a:gd name="T3" fmla="*/ 49 h 103"/>
                <a:gd name="T4" fmla="*/ 132 w 140"/>
                <a:gd name="T5" fmla="*/ 20 h 103"/>
                <a:gd name="T6" fmla="*/ 124 w 140"/>
                <a:gd name="T7" fmla="*/ 11 h 103"/>
                <a:gd name="T8" fmla="*/ 113 w 140"/>
                <a:gd name="T9" fmla="*/ 0 h 103"/>
                <a:gd name="T10" fmla="*/ 102 w 140"/>
                <a:gd name="T11" fmla="*/ 12 h 103"/>
                <a:gd name="T12" fmla="*/ 98 w 140"/>
                <a:gd name="T13" fmla="*/ 22 h 103"/>
                <a:gd name="T14" fmla="*/ 98 w 140"/>
                <a:gd name="T15" fmla="*/ 24 h 103"/>
                <a:gd name="T16" fmla="*/ 100 w 140"/>
                <a:gd name="T17" fmla="*/ 27 h 103"/>
                <a:gd name="T18" fmla="*/ 106 w 140"/>
                <a:gd name="T19" fmla="*/ 21 h 103"/>
                <a:gd name="T20" fmla="*/ 105 w 140"/>
                <a:gd name="T21" fmla="*/ 15 h 103"/>
                <a:gd name="T22" fmla="*/ 109 w 140"/>
                <a:gd name="T23" fmla="*/ 4 h 103"/>
                <a:gd name="T24" fmla="*/ 118 w 140"/>
                <a:gd name="T25" fmla="*/ 7 h 103"/>
                <a:gd name="T26" fmla="*/ 124 w 140"/>
                <a:gd name="T27" fmla="*/ 17 h 103"/>
                <a:gd name="T28" fmla="*/ 135 w 140"/>
                <a:gd name="T29" fmla="*/ 22 h 103"/>
                <a:gd name="T30" fmla="*/ 128 w 140"/>
                <a:gd name="T31" fmla="*/ 31 h 103"/>
                <a:gd name="T32" fmla="*/ 120 w 140"/>
                <a:gd name="T33" fmla="*/ 38 h 103"/>
                <a:gd name="T34" fmla="*/ 107 w 140"/>
                <a:gd name="T35" fmla="*/ 41 h 103"/>
                <a:gd name="T36" fmla="*/ 99 w 140"/>
                <a:gd name="T37" fmla="*/ 48 h 103"/>
                <a:gd name="T38" fmla="*/ 105 w 140"/>
                <a:gd name="T39" fmla="*/ 57 h 103"/>
                <a:gd name="T40" fmla="*/ 106 w 140"/>
                <a:gd name="T41" fmla="*/ 67 h 103"/>
                <a:gd name="T42" fmla="*/ 108 w 140"/>
                <a:gd name="T43" fmla="*/ 76 h 103"/>
                <a:gd name="T44" fmla="*/ 103 w 140"/>
                <a:gd name="T45" fmla="*/ 85 h 103"/>
                <a:gd name="T46" fmla="*/ 95 w 140"/>
                <a:gd name="T47" fmla="*/ 93 h 103"/>
                <a:gd name="T48" fmla="*/ 86 w 140"/>
                <a:gd name="T49" fmla="*/ 96 h 103"/>
                <a:gd name="T50" fmla="*/ 74 w 140"/>
                <a:gd name="T51" fmla="*/ 91 h 103"/>
                <a:gd name="T52" fmla="*/ 61 w 140"/>
                <a:gd name="T53" fmla="*/ 95 h 103"/>
                <a:gd name="T54" fmla="*/ 59 w 140"/>
                <a:gd name="T55" fmla="*/ 80 h 103"/>
                <a:gd name="T56" fmla="*/ 52 w 140"/>
                <a:gd name="T57" fmla="*/ 74 h 103"/>
                <a:gd name="T58" fmla="*/ 38 w 140"/>
                <a:gd name="T59" fmla="*/ 77 h 103"/>
                <a:gd name="T60" fmla="*/ 25 w 140"/>
                <a:gd name="T61" fmla="*/ 74 h 103"/>
                <a:gd name="T62" fmla="*/ 15 w 140"/>
                <a:gd name="T63" fmla="*/ 69 h 103"/>
                <a:gd name="T64" fmla="*/ 15 w 140"/>
                <a:gd name="T65" fmla="*/ 56 h 103"/>
                <a:gd name="T66" fmla="*/ 4 w 140"/>
                <a:gd name="T67" fmla="*/ 47 h 103"/>
                <a:gd name="T68" fmla="*/ 14 w 140"/>
                <a:gd name="T69" fmla="*/ 42 h 103"/>
                <a:gd name="T70" fmla="*/ 20 w 140"/>
                <a:gd name="T71" fmla="*/ 31 h 103"/>
                <a:gd name="T72" fmla="*/ 30 w 140"/>
                <a:gd name="T73" fmla="*/ 21 h 103"/>
                <a:gd name="T74" fmla="*/ 39 w 140"/>
                <a:gd name="T75" fmla="*/ 25 h 103"/>
                <a:gd name="T76" fmla="*/ 42 w 140"/>
                <a:gd name="T77" fmla="*/ 23 h 103"/>
                <a:gd name="T78" fmla="*/ 33 w 140"/>
                <a:gd name="T79" fmla="*/ 15 h 103"/>
                <a:gd name="T80" fmla="*/ 19 w 140"/>
                <a:gd name="T81" fmla="*/ 27 h 103"/>
                <a:gd name="T82" fmla="*/ 15 w 140"/>
                <a:gd name="T83" fmla="*/ 37 h 103"/>
                <a:gd name="T84" fmla="*/ 4 w 140"/>
                <a:gd name="T85" fmla="*/ 42 h 103"/>
                <a:gd name="T86" fmla="*/ 4 w 140"/>
                <a:gd name="T87" fmla="*/ 56 h 103"/>
                <a:gd name="T88" fmla="*/ 14 w 140"/>
                <a:gd name="T89" fmla="*/ 59 h 103"/>
                <a:gd name="T90" fmla="*/ 11 w 140"/>
                <a:gd name="T91" fmla="*/ 66 h 103"/>
                <a:gd name="T92" fmla="*/ 20 w 140"/>
                <a:gd name="T93" fmla="*/ 75 h 103"/>
                <a:gd name="T94" fmla="*/ 31 w 140"/>
                <a:gd name="T95" fmla="*/ 82 h 103"/>
                <a:gd name="T96" fmla="*/ 43 w 140"/>
                <a:gd name="T97" fmla="*/ 83 h 103"/>
                <a:gd name="T98" fmla="*/ 55 w 140"/>
                <a:gd name="T99" fmla="*/ 81 h 103"/>
                <a:gd name="T100" fmla="*/ 57 w 140"/>
                <a:gd name="T101" fmla="*/ 93 h 103"/>
                <a:gd name="T102" fmla="*/ 66 w 140"/>
                <a:gd name="T103" fmla="*/ 98 h 103"/>
                <a:gd name="T104" fmla="*/ 80 w 140"/>
                <a:gd name="T105" fmla="*/ 99 h 103"/>
                <a:gd name="T106" fmla="*/ 88 w 140"/>
                <a:gd name="T107" fmla="*/ 99 h 103"/>
                <a:gd name="T108" fmla="*/ 104 w 140"/>
                <a:gd name="T109" fmla="*/ 90 h 103"/>
                <a:gd name="T110" fmla="*/ 109 w 140"/>
                <a:gd name="T111" fmla="*/ 81 h 103"/>
                <a:gd name="T112" fmla="*/ 112 w 140"/>
                <a:gd name="T113" fmla="*/ 69 h 103"/>
                <a:gd name="T114" fmla="*/ 110 w 140"/>
                <a:gd name="T115" fmla="*/ 56 h 103"/>
                <a:gd name="T116" fmla="*/ 117 w 140"/>
                <a:gd name="T117" fmla="*/ 46 h 103"/>
                <a:gd name="T118" fmla="*/ 128 w 140"/>
                <a:gd name="T119" fmla="*/ 39 h 103"/>
                <a:gd name="T120" fmla="*/ 139 w 140"/>
                <a:gd name="T121" fmla="*/ 2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0" h="103">
                  <a:moveTo>
                    <a:pt x="131" y="28"/>
                  </a:move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moveTo>
                    <a:pt x="109" y="48"/>
                  </a:moveTo>
                  <a:cubicBezTo>
                    <a:pt x="109" y="48"/>
                    <a:pt x="109" y="48"/>
                    <a:pt x="109" y="48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09" y="48"/>
                    <a:pt x="109" y="48"/>
                    <a:pt x="110" y="48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09" y="48"/>
                    <a:pt x="109" y="48"/>
                    <a:pt x="109" y="48"/>
                  </a:cubicBezTo>
                  <a:moveTo>
                    <a:pt x="107" y="78"/>
                  </a:move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moveTo>
                    <a:pt x="93" y="96"/>
                  </a:move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moveTo>
                    <a:pt x="68" y="94"/>
                  </a:move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8" y="94"/>
                  </a:cubicBezTo>
                  <a:close/>
                  <a:moveTo>
                    <a:pt x="106" y="50"/>
                  </a:moveTo>
                  <a:cubicBezTo>
                    <a:pt x="106" y="50"/>
                    <a:pt x="105" y="51"/>
                    <a:pt x="105" y="51"/>
                  </a:cubicBezTo>
                  <a:cubicBezTo>
                    <a:pt x="105" y="50"/>
                    <a:pt x="104" y="50"/>
                    <a:pt x="104" y="50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50"/>
                  </a:cubicBezTo>
                  <a:cubicBezTo>
                    <a:pt x="106" y="50"/>
                    <a:pt x="106" y="50"/>
                    <a:pt x="107" y="50"/>
                  </a:cubicBezTo>
                  <a:cubicBezTo>
                    <a:pt x="106" y="50"/>
                    <a:pt x="106" y="50"/>
                    <a:pt x="106" y="50"/>
                  </a:cubicBezTo>
                  <a:moveTo>
                    <a:pt x="140" y="20"/>
                  </a:moveTo>
                  <a:cubicBezTo>
                    <a:pt x="140" y="20"/>
                    <a:pt x="140" y="20"/>
                    <a:pt x="140" y="20"/>
                  </a:cubicBezTo>
                  <a:cubicBezTo>
                    <a:pt x="140" y="20"/>
                    <a:pt x="140" y="20"/>
                    <a:pt x="140" y="19"/>
                  </a:cubicBezTo>
                  <a:cubicBezTo>
                    <a:pt x="140" y="19"/>
                    <a:pt x="140" y="18"/>
                    <a:pt x="139" y="18"/>
                  </a:cubicBezTo>
                  <a:cubicBezTo>
                    <a:pt x="139" y="17"/>
                    <a:pt x="138" y="17"/>
                    <a:pt x="137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3" y="19"/>
                    <a:pt x="133" y="19"/>
                  </a:cubicBezTo>
                  <a:cubicBezTo>
                    <a:pt x="133" y="19"/>
                    <a:pt x="133" y="19"/>
                    <a:pt x="133" y="19"/>
                  </a:cubicBezTo>
                  <a:cubicBezTo>
                    <a:pt x="133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6"/>
                    <a:pt x="130" y="16"/>
                    <a:pt x="129" y="16"/>
                  </a:cubicBezTo>
                  <a:cubicBezTo>
                    <a:pt x="129" y="16"/>
                    <a:pt x="129" y="15"/>
                    <a:pt x="129" y="15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8" y="15"/>
                    <a:pt x="128" y="14"/>
                    <a:pt x="128" y="14"/>
                  </a:cubicBezTo>
                  <a:cubicBezTo>
                    <a:pt x="128" y="14"/>
                    <a:pt x="127" y="14"/>
                    <a:pt x="127" y="14"/>
                  </a:cubicBezTo>
                  <a:cubicBezTo>
                    <a:pt x="127" y="14"/>
                    <a:pt x="126" y="14"/>
                    <a:pt x="126" y="14"/>
                  </a:cubicBezTo>
                  <a:cubicBezTo>
                    <a:pt x="126" y="14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2"/>
                    <a:pt x="124" y="12"/>
                    <a:pt x="124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5"/>
                    <a:pt x="121" y="5"/>
                    <a:pt x="121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19" y="2"/>
                    <a:pt x="117" y="1"/>
                  </a:cubicBezTo>
                  <a:cubicBezTo>
                    <a:pt x="117" y="1"/>
                    <a:pt x="117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5" y="1"/>
                    <a:pt x="115" y="0"/>
                  </a:cubicBezTo>
                  <a:cubicBezTo>
                    <a:pt x="115" y="0"/>
                    <a:pt x="114" y="0"/>
                    <a:pt x="11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111" y="0"/>
                    <a:pt x="111" y="0"/>
                  </a:cubicBezTo>
                  <a:cubicBezTo>
                    <a:pt x="111" y="0"/>
                    <a:pt x="109" y="1"/>
                    <a:pt x="108" y="1"/>
                  </a:cubicBezTo>
                  <a:cubicBezTo>
                    <a:pt x="106" y="1"/>
                    <a:pt x="106" y="2"/>
                    <a:pt x="105" y="2"/>
                  </a:cubicBezTo>
                  <a:cubicBezTo>
                    <a:pt x="105" y="2"/>
                    <a:pt x="105" y="3"/>
                    <a:pt x="105" y="3"/>
                  </a:cubicBezTo>
                  <a:cubicBezTo>
                    <a:pt x="105" y="3"/>
                    <a:pt x="104" y="4"/>
                    <a:pt x="104" y="4"/>
                  </a:cubicBezTo>
                  <a:cubicBezTo>
                    <a:pt x="104" y="5"/>
                    <a:pt x="104" y="5"/>
                    <a:pt x="10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6"/>
                    <a:pt x="105" y="6"/>
                    <a:pt x="105" y="7"/>
                  </a:cubicBezTo>
                  <a:cubicBezTo>
                    <a:pt x="105" y="7"/>
                    <a:pt x="104" y="7"/>
                    <a:pt x="104" y="8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9"/>
                    <a:pt x="104" y="9"/>
                    <a:pt x="103" y="9"/>
                  </a:cubicBezTo>
                  <a:cubicBezTo>
                    <a:pt x="103" y="9"/>
                    <a:pt x="103" y="10"/>
                    <a:pt x="103" y="11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2" y="11"/>
                    <a:pt x="102" y="12"/>
                    <a:pt x="102" y="12"/>
                  </a:cubicBezTo>
                  <a:cubicBezTo>
                    <a:pt x="102" y="12"/>
                    <a:pt x="102" y="13"/>
                    <a:pt x="102" y="1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9" y="13"/>
                    <a:pt x="98" y="13"/>
                    <a:pt x="97" y="13"/>
                  </a:cubicBezTo>
                  <a:cubicBezTo>
                    <a:pt x="97" y="13"/>
                    <a:pt x="97" y="14"/>
                    <a:pt x="97" y="14"/>
                  </a:cubicBezTo>
                  <a:cubicBezTo>
                    <a:pt x="96" y="14"/>
                    <a:pt x="96" y="15"/>
                    <a:pt x="9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6" y="16"/>
                    <a:pt x="95" y="16"/>
                    <a:pt x="95" y="17"/>
                  </a:cubicBezTo>
                  <a:cubicBezTo>
                    <a:pt x="95" y="17"/>
                    <a:pt x="95" y="18"/>
                    <a:pt x="95" y="18"/>
                  </a:cubicBezTo>
                  <a:cubicBezTo>
                    <a:pt x="95" y="18"/>
                    <a:pt x="94" y="19"/>
                    <a:pt x="94" y="19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4" y="20"/>
                    <a:pt x="94" y="20"/>
                    <a:pt x="94" y="21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5" y="22"/>
                    <a:pt x="95" y="23"/>
                    <a:pt x="96" y="23"/>
                  </a:cubicBezTo>
                  <a:cubicBezTo>
                    <a:pt x="97" y="23"/>
                    <a:pt x="97" y="23"/>
                    <a:pt x="97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8" y="22"/>
                    <a:pt x="98" y="22"/>
                  </a:cubicBezTo>
                  <a:cubicBezTo>
                    <a:pt x="98" y="22"/>
                    <a:pt x="99" y="22"/>
                    <a:pt x="99" y="23"/>
                  </a:cubicBezTo>
                  <a:cubicBezTo>
                    <a:pt x="99" y="23"/>
                    <a:pt x="100" y="23"/>
                    <a:pt x="100" y="23"/>
                  </a:cubicBezTo>
                  <a:cubicBezTo>
                    <a:pt x="101" y="23"/>
                    <a:pt x="101" y="22"/>
                    <a:pt x="101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99" y="24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7" y="25"/>
                    <a:pt x="97" y="25"/>
                    <a:pt x="96" y="25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7"/>
                    <a:pt x="96" y="27"/>
                    <a:pt x="96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3" y="27"/>
                    <a:pt x="92" y="28"/>
                    <a:pt x="92" y="29"/>
                  </a:cubicBezTo>
                  <a:cubicBezTo>
                    <a:pt x="92" y="30"/>
                    <a:pt x="93" y="31"/>
                    <a:pt x="94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7" y="31"/>
                    <a:pt x="97" y="30"/>
                    <a:pt x="97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1" y="27"/>
                    <a:pt x="101" y="27"/>
                  </a:cubicBezTo>
                  <a:cubicBezTo>
                    <a:pt x="101" y="27"/>
                    <a:pt x="101" y="27"/>
                    <a:pt x="102" y="27"/>
                  </a:cubicBezTo>
                  <a:cubicBezTo>
                    <a:pt x="102" y="27"/>
                    <a:pt x="102" y="26"/>
                    <a:pt x="102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7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4" y="27"/>
                    <a:pt x="104" y="27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27"/>
                    <a:pt x="105" y="27"/>
                    <a:pt x="106" y="27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5"/>
                    <a:pt x="107" y="25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2"/>
                    <a:pt x="107" y="21"/>
                    <a:pt x="106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4" y="19"/>
                    <a:pt x="104" y="19"/>
                    <a:pt x="103" y="19"/>
                  </a:cubicBezTo>
                  <a:cubicBezTo>
                    <a:pt x="103" y="18"/>
                    <a:pt x="102" y="18"/>
                    <a:pt x="101" y="18"/>
                  </a:cubicBezTo>
                  <a:cubicBezTo>
                    <a:pt x="101" y="18"/>
                    <a:pt x="100" y="18"/>
                    <a:pt x="100" y="19"/>
                  </a:cubicBezTo>
                  <a:cubicBezTo>
                    <a:pt x="100" y="19"/>
                    <a:pt x="99" y="19"/>
                    <a:pt x="99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1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1" y="17"/>
                    <a:pt x="102" y="17"/>
                    <a:pt x="102" y="17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4" y="16"/>
                    <a:pt x="104" y="15"/>
                    <a:pt x="105" y="15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7" y="12"/>
                    <a:pt x="107" y="11"/>
                    <a:pt x="107" y="11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9"/>
                    <a:pt x="107" y="9"/>
                    <a:pt x="107" y="9"/>
                  </a:cubicBezTo>
                  <a:cubicBezTo>
                    <a:pt x="107" y="9"/>
                    <a:pt x="108" y="9"/>
                    <a:pt x="108" y="8"/>
                  </a:cubicBezTo>
                  <a:cubicBezTo>
                    <a:pt x="108" y="8"/>
                    <a:pt x="108" y="8"/>
                    <a:pt x="109" y="8"/>
                  </a:cubicBezTo>
                  <a:cubicBezTo>
                    <a:pt x="109" y="8"/>
                    <a:pt x="109" y="8"/>
                    <a:pt x="109" y="8"/>
                  </a:cubicBezTo>
                  <a:cubicBezTo>
                    <a:pt x="109" y="8"/>
                    <a:pt x="109" y="7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10" y="4"/>
                    <a:pt x="111" y="4"/>
                    <a:pt x="111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4"/>
                    <a:pt x="114" y="4"/>
                    <a:pt x="11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5" y="5"/>
                    <a:pt x="116" y="5"/>
                    <a:pt x="116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9" y="9"/>
                    <a:pt x="119" y="9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1"/>
                    <a:pt x="119" y="11"/>
                  </a:cubicBezTo>
                  <a:cubicBezTo>
                    <a:pt x="119" y="11"/>
                    <a:pt x="120" y="11"/>
                    <a:pt x="120" y="11"/>
                  </a:cubicBezTo>
                  <a:cubicBezTo>
                    <a:pt x="120" y="11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3"/>
                  </a:cubicBezTo>
                  <a:cubicBezTo>
                    <a:pt x="120" y="13"/>
                    <a:pt x="120" y="13"/>
                    <a:pt x="121" y="13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1" y="15"/>
                    <a:pt x="121" y="15"/>
                    <a:pt x="121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23" y="17"/>
                    <a:pt x="123" y="17"/>
                    <a:pt x="123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4" y="17"/>
                    <a:pt x="125" y="17"/>
                    <a:pt x="125" y="17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26" y="17"/>
                    <a:pt x="126" y="17"/>
                  </a:cubicBezTo>
                  <a:cubicBezTo>
                    <a:pt x="126" y="18"/>
                    <a:pt x="127" y="18"/>
                    <a:pt x="127" y="19"/>
                  </a:cubicBezTo>
                  <a:cubicBezTo>
                    <a:pt x="127" y="19"/>
                    <a:pt x="128" y="19"/>
                    <a:pt x="128" y="19"/>
                  </a:cubicBezTo>
                  <a:cubicBezTo>
                    <a:pt x="128" y="19"/>
                    <a:pt x="128" y="19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1"/>
                    <a:pt x="128" y="21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29" y="22"/>
                    <a:pt x="129" y="22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29" y="23"/>
                    <a:pt x="130" y="23"/>
                    <a:pt x="130" y="23"/>
                  </a:cubicBezTo>
                  <a:cubicBezTo>
                    <a:pt x="130" y="23"/>
                    <a:pt x="131" y="23"/>
                    <a:pt x="132" y="23"/>
                  </a:cubicBezTo>
                  <a:cubicBezTo>
                    <a:pt x="132" y="23"/>
                    <a:pt x="133" y="23"/>
                    <a:pt x="133" y="23"/>
                  </a:cubicBezTo>
                  <a:cubicBezTo>
                    <a:pt x="133" y="23"/>
                    <a:pt x="133" y="23"/>
                    <a:pt x="134" y="23"/>
                  </a:cubicBezTo>
                  <a:cubicBezTo>
                    <a:pt x="134" y="23"/>
                    <a:pt x="135" y="23"/>
                    <a:pt x="135" y="22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23"/>
                    <a:pt x="135" y="23"/>
                    <a:pt x="135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5" y="25"/>
                    <a:pt x="134" y="26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1" y="27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9" y="32"/>
                  </a:cubicBezTo>
                  <a:cubicBezTo>
                    <a:pt x="129" y="32"/>
                    <a:pt x="129" y="32"/>
                    <a:pt x="129" y="32"/>
                  </a:cubicBezTo>
                  <a:cubicBezTo>
                    <a:pt x="129" y="32"/>
                    <a:pt x="129" y="32"/>
                    <a:pt x="129" y="33"/>
                  </a:cubicBezTo>
                  <a:cubicBezTo>
                    <a:pt x="129" y="33"/>
                    <a:pt x="129" y="33"/>
                    <a:pt x="129" y="34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7" y="34"/>
                    <a:pt x="126" y="35"/>
                    <a:pt x="126" y="36"/>
                  </a:cubicBezTo>
                  <a:cubicBezTo>
                    <a:pt x="125" y="36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3" y="37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5" y="43"/>
                    <a:pt x="114" y="43"/>
                    <a:pt x="114" y="44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2"/>
                  </a:cubicBezTo>
                  <a:cubicBezTo>
                    <a:pt x="111" y="42"/>
                    <a:pt x="111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3" y="44"/>
                    <a:pt x="103" y="44"/>
                    <a:pt x="103" y="45"/>
                  </a:cubicBezTo>
                  <a:cubicBezTo>
                    <a:pt x="103" y="45"/>
                    <a:pt x="102" y="45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7"/>
                  </a:cubicBezTo>
                  <a:cubicBezTo>
                    <a:pt x="99" y="47"/>
                    <a:pt x="99" y="47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3"/>
                    <a:pt x="102" y="53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2" y="55"/>
                    <a:pt x="102" y="55"/>
                  </a:cubicBezTo>
                  <a:cubicBezTo>
                    <a:pt x="103" y="55"/>
                    <a:pt x="103" y="55"/>
                    <a:pt x="104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7"/>
                    <a:pt x="105" y="57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5" y="57"/>
                    <a:pt x="104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8"/>
                    <a:pt x="103" y="58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3"/>
                    <a:pt x="104" y="63"/>
                    <a:pt x="105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5"/>
                    <a:pt x="105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5" y="66"/>
                    <a:pt x="105" y="66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5" y="68"/>
                    <a:pt x="105" y="68"/>
                  </a:cubicBezTo>
                  <a:cubicBezTo>
                    <a:pt x="105" y="69"/>
                    <a:pt x="105" y="69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1"/>
                    <a:pt x="107" y="71"/>
                    <a:pt x="107" y="71"/>
                  </a:cubicBezTo>
                  <a:cubicBezTo>
                    <a:pt x="108" y="71"/>
                    <a:pt x="108" y="72"/>
                    <a:pt x="108" y="72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8" y="72"/>
                    <a:pt x="108" y="72"/>
                    <a:pt x="108" y="72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6" y="72"/>
                    <a:pt x="105" y="72"/>
                    <a:pt x="105" y="73"/>
                  </a:cubicBezTo>
                  <a:cubicBezTo>
                    <a:pt x="105" y="73"/>
                    <a:pt x="105" y="74"/>
                    <a:pt x="105" y="74"/>
                  </a:cubicBezTo>
                  <a:cubicBezTo>
                    <a:pt x="106" y="75"/>
                    <a:pt x="106" y="76"/>
                    <a:pt x="107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7" y="76"/>
                    <a:pt x="107" y="76"/>
                    <a:pt x="107" y="77"/>
                  </a:cubicBezTo>
                  <a:cubicBezTo>
                    <a:pt x="107" y="77"/>
                    <a:pt x="107" y="77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80"/>
                    <a:pt x="105" y="80"/>
                    <a:pt x="105" y="81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5" y="81"/>
                    <a:pt x="104" y="82"/>
                    <a:pt x="104" y="82"/>
                  </a:cubicBezTo>
                  <a:cubicBezTo>
                    <a:pt x="104" y="82"/>
                    <a:pt x="104" y="82"/>
                    <a:pt x="104" y="83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104" y="84"/>
                    <a:pt x="104" y="84"/>
                    <a:pt x="103" y="84"/>
                  </a:cubicBezTo>
                  <a:cubicBezTo>
                    <a:pt x="103" y="84"/>
                    <a:pt x="103" y="84"/>
                    <a:pt x="103" y="85"/>
                  </a:cubicBezTo>
                  <a:cubicBezTo>
                    <a:pt x="103" y="85"/>
                    <a:pt x="103" y="85"/>
                    <a:pt x="103" y="85"/>
                  </a:cubicBezTo>
                  <a:cubicBezTo>
                    <a:pt x="103" y="85"/>
                    <a:pt x="103" y="85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2" y="86"/>
                    <a:pt x="102" y="86"/>
                  </a:cubicBezTo>
                  <a:cubicBezTo>
                    <a:pt x="102" y="87"/>
                    <a:pt x="101" y="87"/>
                    <a:pt x="101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9"/>
                    <a:pt x="100" y="90"/>
                    <a:pt x="101" y="90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100" y="90"/>
                    <a:pt x="100" y="90"/>
                    <a:pt x="100" y="9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99" y="90"/>
                    <a:pt x="99" y="90"/>
                    <a:pt x="98" y="91"/>
                  </a:cubicBezTo>
                  <a:cubicBezTo>
                    <a:pt x="98" y="91"/>
                    <a:pt x="97" y="91"/>
                    <a:pt x="97" y="92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7" y="92"/>
                    <a:pt x="96" y="92"/>
                    <a:pt x="96" y="92"/>
                  </a:cubicBezTo>
                  <a:cubicBezTo>
                    <a:pt x="96" y="92"/>
                    <a:pt x="95" y="92"/>
                    <a:pt x="95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4" y="93"/>
                    <a:pt x="93" y="93"/>
                    <a:pt x="93" y="94"/>
                  </a:cubicBezTo>
                  <a:cubicBezTo>
                    <a:pt x="93" y="94"/>
                    <a:pt x="92" y="95"/>
                    <a:pt x="92" y="95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2" y="94"/>
                    <a:pt x="91" y="94"/>
                    <a:pt x="91" y="94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0" y="94"/>
                    <a:pt x="90" y="94"/>
                    <a:pt x="90" y="95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7" y="95"/>
                    <a:pt x="87" y="96"/>
                    <a:pt x="87" y="96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5" y="96"/>
                    <a:pt x="85" y="96"/>
                    <a:pt x="84" y="97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84" y="96"/>
                    <a:pt x="83" y="96"/>
                    <a:pt x="83" y="96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96"/>
                    <a:pt x="81" y="96"/>
                    <a:pt x="81" y="96"/>
                  </a:cubicBezTo>
                  <a:cubicBezTo>
                    <a:pt x="81" y="95"/>
                    <a:pt x="80" y="95"/>
                    <a:pt x="80" y="95"/>
                  </a:cubicBezTo>
                  <a:cubicBezTo>
                    <a:pt x="79" y="95"/>
                    <a:pt x="79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3"/>
                    <a:pt x="77" y="93"/>
                    <a:pt x="77" y="92"/>
                  </a:cubicBezTo>
                  <a:cubicBezTo>
                    <a:pt x="76" y="92"/>
                    <a:pt x="76" y="92"/>
                    <a:pt x="75" y="92"/>
                  </a:cubicBezTo>
                  <a:cubicBezTo>
                    <a:pt x="75" y="92"/>
                    <a:pt x="75" y="92"/>
                    <a:pt x="75" y="9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74" y="92"/>
                    <a:pt x="74" y="92"/>
                    <a:pt x="74" y="91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3" y="91"/>
                    <a:pt x="72" y="91"/>
                    <a:pt x="72" y="91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1" y="91"/>
                    <a:pt x="71" y="91"/>
                    <a:pt x="71" y="92"/>
                  </a:cubicBezTo>
                  <a:cubicBezTo>
                    <a:pt x="70" y="92"/>
                    <a:pt x="70" y="92"/>
                    <a:pt x="70" y="93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69" y="93"/>
                    <a:pt x="69" y="93"/>
                    <a:pt x="69" y="92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68" y="92"/>
                    <a:pt x="68" y="92"/>
                    <a:pt x="67" y="93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67" y="93"/>
                    <a:pt x="66" y="93"/>
                    <a:pt x="66" y="93"/>
                  </a:cubicBezTo>
                  <a:cubicBezTo>
                    <a:pt x="65" y="93"/>
                    <a:pt x="65" y="93"/>
                    <a:pt x="65" y="94"/>
                  </a:cubicBezTo>
                  <a:cubicBezTo>
                    <a:pt x="64" y="94"/>
                    <a:pt x="63" y="94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0"/>
                    <a:pt x="59" y="89"/>
                    <a:pt x="58" y="89"/>
                  </a:cubicBezTo>
                  <a:cubicBezTo>
                    <a:pt x="58" y="89"/>
                    <a:pt x="58" y="88"/>
                    <a:pt x="58" y="88"/>
                  </a:cubicBezTo>
                  <a:cubicBezTo>
                    <a:pt x="58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7"/>
                    <a:pt x="60" y="87"/>
                    <a:pt x="60" y="86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59" y="8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9" y="80"/>
                    <a:pt x="59" y="80"/>
                    <a:pt x="58" y="80"/>
                  </a:cubicBezTo>
                  <a:cubicBezTo>
                    <a:pt x="58" y="80"/>
                    <a:pt x="58" y="79"/>
                    <a:pt x="58" y="79"/>
                  </a:cubicBezTo>
                  <a:cubicBezTo>
                    <a:pt x="58" y="79"/>
                    <a:pt x="58" y="79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7"/>
                    <a:pt x="56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5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6" y="76"/>
                    <a:pt x="46" y="77"/>
                  </a:cubicBezTo>
                  <a:cubicBezTo>
                    <a:pt x="46" y="77"/>
                    <a:pt x="46" y="77"/>
                    <a:pt x="45" y="77"/>
                  </a:cubicBezTo>
                  <a:cubicBezTo>
                    <a:pt x="45" y="77"/>
                    <a:pt x="44" y="77"/>
                    <a:pt x="44" y="78"/>
                  </a:cubicBezTo>
                  <a:cubicBezTo>
                    <a:pt x="44" y="78"/>
                    <a:pt x="44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0" y="78"/>
                  </a:cubicBezTo>
                  <a:cubicBezTo>
                    <a:pt x="40" y="78"/>
                    <a:pt x="39" y="77"/>
                    <a:pt x="39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7"/>
                    <a:pt x="38" y="77"/>
                    <a:pt x="37" y="78"/>
                  </a:cubicBezTo>
                  <a:cubicBezTo>
                    <a:pt x="37" y="78"/>
                    <a:pt x="37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8"/>
                    <a:pt x="36" y="78"/>
                    <a:pt x="35" y="78"/>
                  </a:cubicBezTo>
                  <a:cubicBezTo>
                    <a:pt x="34" y="78"/>
                    <a:pt x="34" y="78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2" y="78"/>
                    <a:pt x="32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0" y="78"/>
                  </a:cubicBezTo>
                  <a:cubicBezTo>
                    <a:pt x="30" y="78"/>
                    <a:pt x="30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8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5"/>
                    <a:pt x="26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3" y="74"/>
                    <a:pt x="22" y="73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2"/>
                    <a:pt x="22" y="72"/>
                    <a:pt x="21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8" y="72"/>
                  </a:cubicBezTo>
                  <a:cubicBezTo>
                    <a:pt x="18" y="72"/>
                    <a:pt x="18" y="71"/>
                    <a:pt x="18" y="71"/>
                  </a:cubicBezTo>
                  <a:cubicBezTo>
                    <a:pt x="18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6" y="70"/>
                    <a:pt x="16" y="70"/>
                    <a:pt x="15" y="7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6" y="69"/>
                    <a:pt x="16" y="69"/>
                  </a:cubicBezTo>
                  <a:cubicBezTo>
                    <a:pt x="16" y="68"/>
                    <a:pt x="17" y="68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6" y="65"/>
                    <a:pt x="16" y="65"/>
                  </a:cubicBezTo>
                  <a:cubicBezTo>
                    <a:pt x="16" y="65"/>
                    <a:pt x="16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3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1"/>
                    <a:pt x="18" y="60"/>
                  </a:cubicBezTo>
                  <a:cubicBezTo>
                    <a:pt x="18" y="60"/>
                    <a:pt x="18" y="59"/>
                    <a:pt x="18" y="59"/>
                  </a:cubicBezTo>
                  <a:cubicBezTo>
                    <a:pt x="18" y="58"/>
                    <a:pt x="18" y="58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6" y="56"/>
                    <a:pt x="1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5" y="56"/>
                    <a:pt x="15" y="56"/>
                  </a:cubicBezTo>
                  <a:cubicBezTo>
                    <a:pt x="15" y="56"/>
                    <a:pt x="14" y="55"/>
                    <a:pt x="14" y="55"/>
                  </a:cubicBezTo>
                  <a:cubicBezTo>
                    <a:pt x="13" y="55"/>
                    <a:pt x="12" y="56"/>
                    <a:pt x="11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57"/>
                    <a:pt x="11" y="57"/>
                    <a:pt x="10" y="5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0" y="57"/>
                    <a:pt x="10" y="57"/>
                    <a:pt x="10" y="56"/>
                  </a:cubicBezTo>
                  <a:cubicBezTo>
                    <a:pt x="10" y="56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8" y="56"/>
                    <a:pt x="8" y="55"/>
                    <a:pt x="8" y="55"/>
                  </a:cubicBezTo>
                  <a:cubicBezTo>
                    <a:pt x="8" y="54"/>
                    <a:pt x="8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3"/>
                    <a:pt x="7" y="53"/>
                    <a:pt x="6" y="53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4" y="48"/>
                    <a:pt x="4" y="48"/>
                  </a:cubicBezTo>
                  <a:cubicBezTo>
                    <a:pt x="4" y="48"/>
                    <a:pt x="4" y="48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8" y="46"/>
                    <a:pt x="8" y="46"/>
                  </a:cubicBezTo>
                  <a:cubicBezTo>
                    <a:pt x="8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3"/>
                    <a:pt x="14" y="43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6" y="42"/>
                    <a:pt x="17" y="41"/>
                    <a:pt x="17" y="41"/>
                  </a:cubicBezTo>
                  <a:cubicBezTo>
                    <a:pt x="18" y="41"/>
                    <a:pt x="18" y="40"/>
                    <a:pt x="18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9" y="38"/>
                    <a:pt x="19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19" y="34"/>
                    <a:pt x="19" y="33"/>
                  </a:cubicBezTo>
                  <a:cubicBezTo>
                    <a:pt x="19" y="32"/>
                    <a:pt x="19" y="32"/>
                    <a:pt x="18" y="32"/>
                  </a:cubicBezTo>
                  <a:cubicBezTo>
                    <a:pt x="18" y="32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2" y="31"/>
                    <a:pt x="23" y="30"/>
                  </a:cubicBezTo>
                  <a:cubicBezTo>
                    <a:pt x="23" y="30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8"/>
                    <a:pt x="24" y="28"/>
                    <a:pt x="23" y="28"/>
                  </a:cubicBezTo>
                  <a:cubicBezTo>
                    <a:pt x="23" y="28"/>
                    <a:pt x="23" y="27"/>
                    <a:pt x="23" y="2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8" y="26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4"/>
                    <a:pt x="30" y="24"/>
                    <a:pt x="30" y="23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0"/>
                    <a:pt x="30" y="20"/>
                  </a:cubicBezTo>
                  <a:cubicBezTo>
                    <a:pt x="30" y="20"/>
                    <a:pt x="31" y="20"/>
                    <a:pt x="31" y="20"/>
                  </a:cubicBezTo>
                  <a:cubicBezTo>
                    <a:pt x="31" y="20"/>
                    <a:pt x="32" y="20"/>
                    <a:pt x="32" y="19"/>
                  </a:cubicBezTo>
                  <a:cubicBezTo>
                    <a:pt x="32" y="20"/>
                    <a:pt x="33" y="20"/>
                    <a:pt x="33" y="2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3"/>
                    <a:pt x="37" y="23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8" y="24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9"/>
                    <a:pt x="38" y="31"/>
                    <a:pt x="40" y="31"/>
                  </a:cubicBezTo>
                  <a:cubicBezTo>
                    <a:pt x="41" y="32"/>
                    <a:pt x="42" y="32"/>
                    <a:pt x="43" y="32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29"/>
                    <a:pt x="44" y="28"/>
                    <a:pt x="43" y="28"/>
                  </a:cubicBezTo>
                  <a:cubicBezTo>
                    <a:pt x="43" y="28"/>
                    <a:pt x="42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8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3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39" y="19"/>
                    <a:pt x="39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5"/>
                    <a:pt x="34" y="15"/>
                  </a:cubicBezTo>
                  <a:cubicBezTo>
                    <a:pt x="34" y="15"/>
                    <a:pt x="34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1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29" y="16"/>
                    <a:pt x="29" y="17"/>
                  </a:cubicBezTo>
                  <a:cubicBezTo>
                    <a:pt x="29" y="17"/>
                    <a:pt x="28" y="17"/>
                    <a:pt x="28" y="18"/>
                  </a:cubicBezTo>
                  <a:cubicBezTo>
                    <a:pt x="27" y="19"/>
                    <a:pt x="27" y="20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5" y="22"/>
                    <a:pt x="25" y="22"/>
                  </a:cubicBezTo>
                  <a:cubicBezTo>
                    <a:pt x="25" y="22"/>
                    <a:pt x="24" y="22"/>
                    <a:pt x="24" y="21"/>
                  </a:cubicBezTo>
                  <a:cubicBezTo>
                    <a:pt x="23" y="21"/>
                    <a:pt x="23" y="21"/>
                    <a:pt x="22" y="21"/>
                  </a:cubicBezTo>
                  <a:cubicBezTo>
                    <a:pt x="22" y="21"/>
                    <a:pt x="22" y="22"/>
                    <a:pt x="21" y="22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5" y="28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30"/>
                    <a:pt x="14" y="30"/>
                    <a:pt x="14" y="31"/>
                  </a:cubicBezTo>
                  <a:cubicBezTo>
                    <a:pt x="14" y="31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4"/>
                    <a:pt x="15" y="34"/>
                  </a:cubicBezTo>
                  <a:cubicBezTo>
                    <a:pt x="16" y="34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4" y="38"/>
                    <a:pt x="14" y="38"/>
                  </a:cubicBezTo>
                  <a:cubicBezTo>
                    <a:pt x="14" y="38"/>
                    <a:pt x="14" y="38"/>
                    <a:pt x="13" y="38"/>
                  </a:cubicBezTo>
                  <a:cubicBezTo>
                    <a:pt x="13" y="39"/>
                    <a:pt x="13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8" y="41"/>
                    <a:pt x="8" y="41"/>
                    <a:pt x="7" y="41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4" y="42"/>
                    <a:pt x="4" y="42"/>
                  </a:cubicBezTo>
                  <a:cubicBezTo>
                    <a:pt x="4" y="43"/>
                    <a:pt x="3" y="43"/>
                    <a:pt x="3" y="43"/>
                  </a:cubicBezTo>
                  <a:cubicBezTo>
                    <a:pt x="3" y="44"/>
                    <a:pt x="2" y="44"/>
                    <a:pt x="2" y="44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5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3"/>
                    <a:pt x="2" y="5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5"/>
                    <a:pt x="2" y="55"/>
                    <a:pt x="3" y="56"/>
                  </a:cubicBezTo>
                  <a:cubicBezTo>
                    <a:pt x="3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5" y="58"/>
                    <a:pt x="5" y="58"/>
                  </a:cubicBezTo>
                  <a:cubicBezTo>
                    <a:pt x="6" y="58"/>
                    <a:pt x="6" y="58"/>
                    <a:pt x="6" y="59"/>
                  </a:cubicBezTo>
                  <a:cubicBezTo>
                    <a:pt x="6" y="59"/>
                    <a:pt x="7" y="59"/>
                    <a:pt x="7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9" y="60"/>
                    <a:pt x="9" y="60"/>
                    <a:pt x="10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2" y="60"/>
                  </a:cubicBezTo>
                  <a:cubicBezTo>
                    <a:pt x="12" y="60"/>
                    <a:pt x="13" y="60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5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3" y="61"/>
                    <a:pt x="13" y="61"/>
                    <a:pt x="13" y="62"/>
                  </a:cubicBezTo>
                  <a:cubicBezTo>
                    <a:pt x="13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4"/>
                    <a:pt x="12" y="64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1" y="66"/>
                    <a:pt x="11" y="67"/>
                    <a:pt x="11" y="67"/>
                  </a:cubicBezTo>
                  <a:cubicBezTo>
                    <a:pt x="11" y="68"/>
                    <a:pt x="11" y="68"/>
                    <a:pt x="11" y="69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2"/>
                    <a:pt x="12" y="72"/>
                  </a:cubicBezTo>
                  <a:cubicBezTo>
                    <a:pt x="13" y="72"/>
                    <a:pt x="13" y="73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3"/>
                    <a:pt x="15" y="73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5" y="74"/>
                    <a:pt x="16" y="74"/>
                    <a:pt x="16" y="74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6" y="74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8" y="76"/>
                    <a:pt x="18" y="76"/>
                    <a:pt x="19" y="76"/>
                  </a:cubicBezTo>
                  <a:cubicBezTo>
                    <a:pt x="19" y="76"/>
                    <a:pt x="19" y="76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6"/>
                    <a:pt x="20" y="76"/>
                    <a:pt x="21" y="76"/>
                  </a:cubicBezTo>
                  <a:cubicBezTo>
                    <a:pt x="21" y="76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8"/>
                    <a:pt x="23" y="78"/>
                  </a:cubicBezTo>
                  <a:cubicBezTo>
                    <a:pt x="23" y="78"/>
                    <a:pt x="23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80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1"/>
                    <a:pt x="29" y="81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2"/>
                    <a:pt x="30" y="82"/>
                    <a:pt x="31" y="82"/>
                  </a:cubicBezTo>
                  <a:cubicBezTo>
                    <a:pt x="31" y="82"/>
                    <a:pt x="31" y="82"/>
                    <a:pt x="32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3"/>
                    <a:pt x="34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7" y="83"/>
                    <a:pt x="38" y="83"/>
                    <a:pt x="38" y="82"/>
                  </a:cubicBezTo>
                  <a:cubicBezTo>
                    <a:pt x="38" y="82"/>
                    <a:pt x="38" y="82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9" y="82"/>
                    <a:pt x="39" y="82"/>
                    <a:pt x="40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1" y="83"/>
                    <a:pt x="42" y="83"/>
                  </a:cubicBezTo>
                  <a:cubicBezTo>
                    <a:pt x="42" y="83"/>
                    <a:pt x="43" y="83"/>
                    <a:pt x="43" y="83"/>
                  </a:cubicBezTo>
                  <a:cubicBezTo>
                    <a:pt x="44" y="83"/>
                    <a:pt x="44" y="83"/>
                    <a:pt x="44" y="82"/>
                  </a:cubicBezTo>
                  <a:cubicBezTo>
                    <a:pt x="44" y="82"/>
                    <a:pt x="44" y="82"/>
                    <a:pt x="45" y="82"/>
                  </a:cubicBezTo>
                  <a:cubicBezTo>
                    <a:pt x="45" y="82"/>
                    <a:pt x="45" y="81"/>
                    <a:pt x="46" y="81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8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50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81"/>
                    <a:pt x="53" y="81"/>
                  </a:cubicBezTo>
                  <a:cubicBezTo>
                    <a:pt x="54" y="81"/>
                    <a:pt x="54" y="81"/>
                    <a:pt x="55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81"/>
                    <a:pt x="55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3"/>
                    <a:pt x="56" y="83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5" y="86"/>
                    <a:pt x="55" y="86"/>
                  </a:cubicBezTo>
                  <a:cubicBezTo>
                    <a:pt x="55" y="87"/>
                    <a:pt x="54" y="87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1"/>
                    <a:pt x="54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7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7" y="94"/>
                    <a:pt x="57" y="95"/>
                    <a:pt x="57" y="95"/>
                  </a:cubicBezTo>
                  <a:cubicBezTo>
                    <a:pt x="57" y="95"/>
                    <a:pt x="57" y="96"/>
                    <a:pt x="57" y="96"/>
                  </a:cubicBezTo>
                  <a:cubicBezTo>
                    <a:pt x="57" y="96"/>
                    <a:pt x="57" y="96"/>
                    <a:pt x="57" y="96"/>
                  </a:cubicBezTo>
                  <a:cubicBezTo>
                    <a:pt x="57" y="97"/>
                    <a:pt x="58" y="98"/>
                    <a:pt x="58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8"/>
                    <a:pt x="59" y="98"/>
                    <a:pt x="60" y="99"/>
                  </a:cubicBezTo>
                  <a:cubicBezTo>
                    <a:pt x="60" y="99"/>
                    <a:pt x="60" y="100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2" y="100"/>
                    <a:pt x="62" y="100"/>
                    <a:pt x="62" y="100"/>
                  </a:cubicBezTo>
                  <a:cubicBezTo>
                    <a:pt x="62" y="100"/>
                    <a:pt x="62" y="100"/>
                    <a:pt x="62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ubicBezTo>
                    <a:pt x="64" y="100"/>
                    <a:pt x="65" y="100"/>
                    <a:pt x="65" y="100"/>
                  </a:cubicBezTo>
                  <a:cubicBezTo>
                    <a:pt x="65" y="100"/>
                    <a:pt x="66" y="100"/>
                    <a:pt x="66" y="100"/>
                  </a:cubicBezTo>
                  <a:cubicBezTo>
                    <a:pt x="66" y="99"/>
                    <a:pt x="66" y="99"/>
                    <a:pt x="66" y="98"/>
                  </a:cubicBezTo>
                  <a:cubicBezTo>
                    <a:pt x="66" y="98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8" y="97"/>
                    <a:pt x="68" y="97"/>
                    <a:pt x="69" y="96"/>
                  </a:cubicBezTo>
                  <a:cubicBezTo>
                    <a:pt x="69" y="97"/>
                    <a:pt x="70" y="97"/>
                    <a:pt x="71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2" y="96"/>
                    <a:pt x="72" y="96"/>
                    <a:pt x="73" y="95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73" y="95"/>
                    <a:pt x="73" y="96"/>
                    <a:pt x="74" y="96"/>
                  </a:cubicBezTo>
                  <a:cubicBezTo>
                    <a:pt x="74" y="96"/>
                    <a:pt x="74" y="97"/>
                    <a:pt x="74" y="97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5" y="98"/>
                    <a:pt x="75" y="98"/>
                    <a:pt x="76" y="98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76" y="99"/>
                    <a:pt x="77" y="99"/>
                    <a:pt x="77" y="99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80" y="100"/>
                    <a:pt x="80" y="100"/>
                    <a:pt x="81" y="100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1" y="101"/>
                    <a:pt x="81" y="101"/>
                    <a:pt x="81" y="101"/>
                  </a:cubicBezTo>
                  <a:cubicBezTo>
                    <a:pt x="81" y="101"/>
                    <a:pt x="81" y="102"/>
                    <a:pt x="81" y="102"/>
                  </a:cubicBezTo>
                  <a:cubicBezTo>
                    <a:pt x="82" y="102"/>
                    <a:pt x="82" y="103"/>
                    <a:pt x="83" y="103"/>
                  </a:cubicBezTo>
                  <a:cubicBezTo>
                    <a:pt x="83" y="103"/>
                    <a:pt x="84" y="103"/>
                    <a:pt x="84" y="103"/>
                  </a:cubicBezTo>
                  <a:cubicBezTo>
                    <a:pt x="84" y="103"/>
                    <a:pt x="85" y="103"/>
                    <a:pt x="85" y="103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6" y="102"/>
                    <a:pt x="86" y="102"/>
                    <a:pt x="86" y="102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99"/>
                    <a:pt x="88" y="99"/>
                    <a:pt x="88" y="99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9" y="99"/>
                    <a:pt x="89" y="99"/>
                    <a:pt x="90" y="99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1" y="99"/>
                    <a:pt x="92" y="100"/>
                    <a:pt x="93" y="100"/>
                  </a:cubicBezTo>
                  <a:cubicBezTo>
                    <a:pt x="94" y="100"/>
                    <a:pt x="96" y="98"/>
                    <a:pt x="96" y="96"/>
                  </a:cubicBezTo>
                  <a:cubicBezTo>
                    <a:pt x="96" y="96"/>
                    <a:pt x="96" y="96"/>
                    <a:pt x="96" y="96"/>
                  </a:cubicBezTo>
                  <a:cubicBezTo>
                    <a:pt x="96" y="96"/>
                    <a:pt x="97" y="96"/>
                    <a:pt x="97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97" y="96"/>
                    <a:pt x="97" y="96"/>
                    <a:pt x="98" y="96"/>
                  </a:cubicBezTo>
                  <a:cubicBezTo>
                    <a:pt x="98" y="96"/>
                    <a:pt x="98" y="96"/>
                    <a:pt x="99" y="95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5"/>
                    <a:pt x="100" y="94"/>
                    <a:pt x="100" y="94"/>
                  </a:cubicBezTo>
                  <a:cubicBezTo>
                    <a:pt x="100" y="94"/>
                    <a:pt x="100" y="94"/>
                    <a:pt x="100" y="94"/>
                  </a:cubicBezTo>
                  <a:cubicBezTo>
                    <a:pt x="100" y="94"/>
                    <a:pt x="100" y="94"/>
                    <a:pt x="100" y="94"/>
                  </a:cubicBezTo>
                  <a:cubicBezTo>
                    <a:pt x="103" y="94"/>
                    <a:pt x="104" y="92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5" y="89"/>
                    <a:pt x="105" y="89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6" y="88"/>
                    <a:pt x="107" y="88"/>
                    <a:pt x="107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9" y="83"/>
                    <a:pt x="109" y="82"/>
                    <a:pt x="109" y="82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0" y="81"/>
                    <a:pt x="111" y="80"/>
                    <a:pt x="111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79"/>
                    <a:pt x="111" y="79"/>
                    <a:pt x="111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2" y="77"/>
                    <a:pt x="112" y="77"/>
                    <a:pt x="112" y="76"/>
                  </a:cubicBezTo>
                  <a:cubicBezTo>
                    <a:pt x="112" y="76"/>
                    <a:pt x="112" y="76"/>
                    <a:pt x="112" y="76"/>
                  </a:cubicBezTo>
                  <a:cubicBezTo>
                    <a:pt x="112" y="76"/>
                    <a:pt x="112" y="75"/>
                    <a:pt x="111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2" y="74"/>
                    <a:pt x="112" y="73"/>
                    <a:pt x="112" y="72"/>
                  </a:cubicBezTo>
                  <a:cubicBezTo>
                    <a:pt x="112" y="72"/>
                    <a:pt x="112" y="71"/>
                    <a:pt x="112" y="71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9"/>
                    <a:pt x="111" y="68"/>
                    <a:pt x="111" y="68"/>
                  </a:cubicBezTo>
                  <a:cubicBezTo>
                    <a:pt x="111" y="67"/>
                    <a:pt x="110" y="67"/>
                    <a:pt x="110" y="67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0" y="67"/>
                    <a:pt x="110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8" y="62"/>
                    <a:pt x="108" y="62"/>
                    <a:pt x="108" y="61"/>
                  </a:cubicBezTo>
                  <a:cubicBezTo>
                    <a:pt x="107" y="61"/>
                    <a:pt x="107" y="61"/>
                    <a:pt x="107" y="60"/>
                  </a:cubicBezTo>
                  <a:cubicBezTo>
                    <a:pt x="108" y="60"/>
                    <a:pt x="109" y="59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10" y="57"/>
                    <a:pt x="110" y="57"/>
                  </a:cubicBezTo>
                  <a:cubicBezTo>
                    <a:pt x="110" y="57"/>
                    <a:pt x="110" y="57"/>
                    <a:pt x="110" y="56"/>
                  </a:cubicBezTo>
                  <a:cubicBezTo>
                    <a:pt x="111" y="57"/>
                    <a:pt x="111" y="56"/>
                    <a:pt x="111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3" y="56"/>
                    <a:pt x="113" y="55"/>
                    <a:pt x="113" y="54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113" y="53"/>
                    <a:pt x="113" y="52"/>
                    <a:pt x="113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2" y="51"/>
                    <a:pt x="112" y="51"/>
                    <a:pt x="111" y="51"/>
                  </a:cubicBezTo>
                  <a:cubicBezTo>
                    <a:pt x="111" y="51"/>
                    <a:pt x="111" y="51"/>
                    <a:pt x="110" y="51"/>
                  </a:cubicBezTo>
                  <a:cubicBezTo>
                    <a:pt x="112" y="51"/>
                    <a:pt x="113" y="49"/>
                    <a:pt x="113" y="48"/>
                  </a:cubicBezTo>
                  <a:cubicBezTo>
                    <a:pt x="113" y="48"/>
                    <a:pt x="113" y="48"/>
                    <a:pt x="114" y="48"/>
                  </a:cubicBezTo>
                  <a:cubicBezTo>
                    <a:pt x="114" y="48"/>
                    <a:pt x="114" y="48"/>
                    <a:pt x="114" y="48"/>
                  </a:cubicBezTo>
                  <a:cubicBezTo>
                    <a:pt x="114" y="48"/>
                    <a:pt x="114" y="48"/>
                    <a:pt x="114" y="48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5" y="48"/>
                    <a:pt x="115" y="48"/>
                    <a:pt x="116" y="47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47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5"/>
                    <a:pt x="119" y="44"/>
                    <a:pt x="119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1" y="44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2" y="43"/>
                    <a:pt x="122" y="43"/>
                    <a:pt x="123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5" y="42"/>
                    <a:pt x="125" y="42"/>
                  </a:cubicBezTo>
                  <a:cubicBezTo>
                    <a:pt x="125" y="42"/>
                    <a:pt x="126" y="41"/>
                    <a:pt x="126" y="41"/>
                  </a:cubicBezTo>
                  <a:cubicBezTo>
                    <a:pt x="126" y="41"/>
                    <a:pt x="127" y="40"/>
                    <a:pt x="127" y="40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30" y="38"/>
                    <a:pt x="131" y="38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32" y="37"/>
                    <a:pt x="132" y="37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5"/>
                  </a:cubicBezTo>
                  <a:cubicBezTo>
                    <a:pt x="132" y="35"/>
                    <a:pt x="132" y="35"/>
                    <a:pt x="132" y="34"/>
                  </a:cubicBezTo>
                  <a:cubicBezTo>
                    <a:pt x="132" y="34"/>
                    <a:pt x="132" y="33"/>
                    <a:pt x="132" y="33"/>
                  </a:cubicBezTo>
                  <a:cubicBezTo>
                    <a:pt x="132" y="32"/>
                    <a:pt x="132" y="32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2" y="31"/>
                    <a:pt x="133" y="31"/>
                    <a:pt x="133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5" y="31"/>
                    <a:pt x="136" y="31"/>
                  </a:cubicBezTo>
                  <a:cubicBezTo>
                    <a:pt x="136" y="30"/>
                    <a:pt x="136" y="30"/>
                    <a:pt x="137" y="29"/>
                  </a:cubicBezTo>
                  <a:cubicBezTo>
                    <a:pt x="137" y="29"/>
                    <a:pt x="137" y="28"/>
                    <a:pt x="137" y="28"/>
                  </a:cubicBezTo>
                  <a:cubicBezTo>
                    <a:pt x="137" y="27"/>
                    <a:pt x="138" y="27"/>
                    <a:pt x="138" y="26"/>
                  </a:cubicBezTo>
                  <a:cubicBezTo>
                    <a:pt x="138" y="25"/>
                    <a:pt x="138" y="25"/>
                    <a:pt x="139" y="25"/>
                  </a:cubicBezTo>
                  <a:cubicBezTo>
                    <a:pt x="139" y="25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40" y="22"/>
                    <a:pt x="140" y="22"/>
                    <a:pt x="140" y="21"/>
                  </a:cubicBezTo>
                  <a:cubicBezTo>
                    <a:pt x="140" y="21"/>
                    <a:pt x="140" y="21"/>
                    <a:pt x="140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17">
            <a:extLst>
              <a:ext uri="{FF2B5EF4-FFF2-40B4-BE49-F238E27FC236}">
                <a16:creationId xmlns:a16="http://schemas.microsoft.com/office/drawing/2014/main" id="{CF27717A-376B-4D99-9C63-3BD5610BD7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1279" y="390527"/>
            <a:ext cx="758825" cy="758825"/>
            <a:chOff x="2282" y="425"/>
            <a:chExt cx="478" cy="478"/>
          </a:xfrm>
        </p:grpSpPr>
        <p:sp>
          <p:nvSpPr>
            <p:cNvPr id="23" name="AutoShape 16">
              <a:extLst>
                <a:ext uri="{FF2B5EF4-FFF2-40B4-BE49-F238E27FC236}">
                  <a16:creationId xmlns:a16="http://schemas.microsoft.com/office/drawing/2014/main" id="{4CF43B0D-F559-4BDF-ACD6-159126232C3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2" y="42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FAA64A9F-96EF-449B-9A6C-0E14028A4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" y="42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D1FFEC0E-ADB0-4B51-BE6F-1002E960E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" y="753"/>
              <a:ext cx="30" cy="30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992C5414-DA47-49E2-98A0-8574B35319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7" y="557"/>
              <a:ext cx="243" cy="246"/>
            </a:xfrm>
            <a:custGeom>
              <a:avLst/>
              <a:gdLst>
                <a:gd name="T0" fmla="*/ 36 w 99"/>
                <a:gd name="T1" fmla="*/ 88 h 100"/>
                <a:gd name="T2" fmla="*/ 36 w 99"/>
                <a:gd name="T3" fmla="*/ 84 h 100"/>
                <a:gd name="T4" fmla="*/ 95 w 99"/>
                <a:gd name="T5" fmla="*/ 86 h 100"/>
                <a:gd name="T6" fmla="*/ 22 w 99"/>
                <a:gd name="T7" fmla="*/ 96 h 100"/>
                <a:gd name="T8" fmla="*/ 22 w 99"/>
                <a:gd name="T9" fmla="*/ 76 h 100"/>
                <a:gd name="T10" fmla="*/ 22 w 99"/>
                <a:gd name="T11" fmla="*/ 96 h 100"/>
                <a:gd name="T12" fmla="*/ 4 w 99"/>
                <a:gd name="T13" fmla="*/ 6 h 100"/>
                <a:gd name="T14" fmla="*/ 22 w 99"/>
                <a:gd name="T15" fmla="*/ 4 h 100"/>
                <a:gd name="T16" fmla="*/ 24 w 99"/>
                <a:gd name="T17" fmla="*/ 72 h 100"/>
                <a:gd name="T18" fmla="*/ 20 w 99"/>
                <a:gd name="T19" fmla="*/ 72 h 100"/>
                <a:gd name="T20" fmla="*/ 18 w 99"/>
                <a:gd name="T21" fmla="*/ 8 h 100"/>
                <a:gd name="T22" fmla="*/ 49 w 99"/>
                <a:gd name="T23" fmla="*/ 12 h 100"/>
                <a:gd name="T24" fmla="*/ 50 w 99"/>
                <a:gd name="T25" fmla="*/ 28 h 100"/>
                <a:gd name="T26" fmla="*/ 57 w 99"/>
                <a:gd name="T27" fmla="*/ 25 h 100"/>
                <a:gd name="T28" fmla="*/ 64 w 99"/>
                <a:gd name="T29" fmla="*/ 28 h 100"/>
                <a:gd name="T30" fmla="*/ 65 w 99"/>
                <a:gd name="T31" fmla="*/ 12 h 100"/>
                <a:gd name="T32" fmla="*/ 75 w 99"/>
                <a:gd name="T33" fmla="*/ 36 h 100"/>
                <a:gd name="T34" fmla="*/ 40 w 99"/>
                <a:gd name="T35" fmla="*/ 12 h 100"/>
                <a:gd name="T36" fmla="*/ 53 w 99"/>
                <a:gd name="T37" fmla="*/ 12 h 100"/>
                <a:gd name="T38" fmla="*/ 61 w 99"/>
                <a:gd name="T39" fmla="*/ 23 h 100"/>
                <a:gd name="T40" fmla="*/ 57 w 99"/>
                <a:gd name="T41" fmla="*/ 21 h 100"/>
                <a:gd name="T42" fmla="*/ 53 w 99"/>
                <a:gd name="T43" fmla="*/ 23 h 100"/>
                <a:gd name="T44" fmla="*/ 57 w 99"/>
                <a:gd name="T45" fmla="*/ 40 h 100"/>
                <a:gd name="T46" fmla="*/ 69 w 99"/>
                <a:gd name="T47" fmla="*/ 57 h 100"/>
                <a:gd name="T48" fmla="*/ 63 w 99"/>
                <a:gd name="T49" fmla="*/ 53 h 100"/>
                <a:gd name="T50" fmla="*/ 57 w 99"/>
                <a:gd name="T51" fmla="*/ 57 h 100"/>
                <a:gd name="T52" fmla="*/ 86 w 99"/>
                <a:gd name="T53" fmla="*/ 80 h 100"/>
                <a:gd name="T54" fmla="*/ 40 w 99"/>
                <a:gd name="T55" fmla="*/ 40 h 100"/>
                <a:gd name="T56" fmla="*/ 53 w 99"/>
                <a:gd name="T57" fmla="*/ 61 h 100"/>
                <a:gd name="T58" fmla="*/ 56 w 99"/>
                <a:gd name="T59" fmla="*/ 62 h 100"/>
                <a:gd name="T60" fmla="*/ 70 w 99"/>
                <a:gd name="T61" fmla="*/ 62 h 100"/>
                <a:gd name="T62" fmla="*/ 73 w 99"/>
                <a:gd name="T63" fmla="*/ 61 h 100"/>
                <a:gd name="T64" fmla="*/ 86 w 99"/>
                <a:gd name="T65" fmla="*/ 40 h 100"/>
                <a:gd name="T66" fmla="*/ 93 w 99"/>
                <a:gd name="T67" fmla="*/ 80 h 100"/>
                <a:gd name="T68" fmla="*/ 90 w 99"/>
                <a:gd name="T69" fmla="*/ 38 h 100"/>
                <a:gd name="T70" fmla="*/ 79 w 99"/>
                <a:gd name="T71" fmla="*/ 36 h 100"/>
                <a:gd name="T72" fmla="*/ 77 w 99"/>
                <a:gd name="T73" fmla="*/ 8 h 100"/>
                <a:gd name="T74" fmla="*/ 36 w 99"/>
                <a:gd name="T75" fmla="*/ 10 h 100"/>
                <a:gd name="T76" fmla="*/ 35 w 99"/>
                <a:gd name="T77" fmla="*/ 80 h 100"/>
                <a:gd name="T78" fmla="*/ 28 w 99"/>
                <a:gd name="T79" fmla="*/ 6 h 100"/>
                <a:gd name="T80" fmla="*/ 6 w 99"/>
                <a:gd name="T81" fmla="*/ 0 h 100"/>
                <a:gd name="T82" fmla="*/ 6 w 99"/>
                <a:gd name="T83" fmla="*/ 12 h 100"/>
                <a:gd name="T84" fmla="*/ 16 w 99"/>
                <a:gd name="T85" fmla="*/ 74 h 100"/>
                <a:gd name="T86" fmla="*/ 22 w 99"/>
                <a:gd name="T87" fmla="*/ 100 h 100"/>
                <a:gd name="T88" fmla="*/ 93 w 99"/>
                <a:gd name="T89" fmla="*/ 92 h 100"/>
                <a:gd name="T90" fmla="*/ 93 w 99"/>
                <a:gd name="T91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9" h="100">
                  <a:moveTo>
                    <a:pt x="93" y="88"/>
                  </a:moveTo>
                  <a:cubicBezTo>
                    <a:pt x="36" y="88"/>
                    <a:pt x="36" y="88"/>
                    <a:pt x="36" y="88"/>
                  </a:cubicBezTo>
                  <a:cubicBezTo>
                    <a:pt x="36" y="87"/>
                    <a:pt x="36" y="87"/>
                    <a:pt x="36" y="86"/>
                  </a:cubicBezTo>
                  <a:cubicBezTo>
                    <a:pt x="36" y="85"/>
                    <a:pt x="36" y="85"/>
                    <a:pt x="36" y="84"/>
                  </a:cubicBezTo>
                  <a:cubicBezTo>
                    <a:pt x="93" y="84"/>
                    <a:pt x="93" y="84"/>
                    <a:pt x="93" y="84"/>
                  </a:cubicBezTo>
                  <a:cubicBezTo>
                    <a:pt x="94" y="84"/>
                    <a:pt x="95" y="85"/>
                    <a:pt x="95" y="86"/>
                  </a:cubicBezTo>
                  <a:cubicBezTo>
                    <a:pt x="95" y="87"/>
                    <a:pt x="94" y="88"/>
                    <a:pt x="93" y="88"/>
                  </a:cubicBezTo>
                  <a:moveTo>
                    <a:pt x="22" y="96"/>
                  </a:moveTo>
                  <a:cubicBezTo>
                    <a:pt x="17" y="96"/>
                    <a:pt x="13" y="91"/>
                    <a:pt x="13" y="86"/>
                  </a:cubicBezTo>
                  <a:cubicBezTo>
                    <a:pt x="13" y="81"/>
                    <a:pt x="17" y="76"/>
                    <a:pt x="22" y="76"/>
                  </a:cubicBezTo>
                  <a:cubicBezTo>
                    <a:pt x="28" y="76"/>
                    <a:pt x="32" y="81"/>
                    <a:pt x="32" y="86"/>
                  </a:cubicBezTo>
                  <a:cubicBezTo>
                    <a:pt x="32" y="91"/>
                    <a:pt x="28" y="96"/>
                    <a:pt x="22" y="96"/>
                  </a:cubicBezTo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5"/>
                    <a:pt x="24" y="6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3" y="72"/>
                    <a:pt x="22" y="72"/>
                  </a:cubicBezTo>
                  <a:cubicBezTo>
                    <a:pt x="22" y="72"/>
                    <a:pt x="21" y="72"/>
                    <a:pt x="20" y="7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9"/>
                    <a:pt x="19" y="8"/>
                    <a:pt x="18" y="8"/>
                  </a:cubicBezTo>
                  <a:lnTo>
                    <a:pt x="6" y="8"/>
                  </a:lnTo>
                  <a:close/>
                  <a:moveTo>
                    <a:pt x="49" y="12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8"/>
                    <a:pt x="50" y="28"/>
                  </a:cubicBezTo>
                  <a:cubicBezTo>
                    <a:pt x="51" y="29"/>
                    <a:pt x="52" y="29"/>
                    <a:pt x="52" y="28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3" y="29"/>
                    <a:pt x="63" y="29"/>
                    <a:pt x="64" y="28"/>
                  </a:cubicBezTo>
                  <a:cubicBezTo>
                    <a:pt x="65" y="28"/>
                    <a:pt x="65" y="27"/>
                    <a:pt x="65" y="27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49" y="12"/>
                  </a:lnTo>
                  <a:close/>
                  <a:moveTo>
                    <a:pt x="53" y="12"/>
                  </a:moveTo>
                  <a:cubicBezTo>
                    <a:pt x="61" y="12"/>
                    <a:pt x="61" y="12"/>
                    <a:pt x="61" y="12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ubicBezTo>
                    <a:pt x="53" y="23"/>
                    <a:pt x="53" y="23"/>
                    <a:pt x="53" y="23"/>
                  </a:cubicBezTo>
                  <a:lnTo>
                    <a:pt x="53" y="12"/>
                  </a:lnTo>
                  <a:close/>
                  <a:moveTo>
                    <a:pt x="57" y="40"/>
                  </a:moveTo>
                  <a:cubicBezTo>
                    <a:pt x="69" y="40"/>
                    <a:pt x="69" y="40"/>
                    <a:pt x="69" y="40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3"/>
                    <a:pt x="63" y="53"/>
                    <a:pt x="63" y="53"/>
                  </a:cubicBezTo>
                  <a:cubicBezTo>
                    <a:pt x="63" y="53"/>
                    <a:pt x="62" y="53"/>
                    <a:pt x="62" y="53"/>
                  </a:cubicBezTo>
                  <a:cubicBezTo>
                    <a:pt x="57" y="57"/>
                    <a:pt x="57" y="57"/>
                    <a:pt x="57" y="57"/>
                  </a:cubicBezTo>
                  <a:lnTo>
                    <a:pt x="57" y="40"/>
                  </a:lnTo>
                  <a:close/>
                  <a:moveTo>
                    <a:pt x="86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4" y="62"/>
                    <a:pt x="54" y="62"/>
                  </a:cubicBezTo>
                  <a:cubicBezTo>
                    <a:pt x="55" y="63"/>
                    <a:pt x="56" y="63"/>
                    <a:pt x="56" y="62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3"/>
                    <a:pt x="71" y="63"/>
                    <a:pt x="72" y="62"/>
                  </a:cubicBezTo>
                  <a:cubicBezTo>
                    <a:pt x="72" y="62"/>
                    <a:pt x="73" y="61"/>
                    <a:pt x="73" y="61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86" y="40"/>
                    <a:pt x="86" y="40"/>
                    <a:pt x="86" y="40"/>
                  </a:cubicBezTo>
                  <a:lnTo>
                    <a:pt x="86" y="80"/>
                  </a:lnTo>
                  <a:close/>
                  <a:moveTo>
                    <a:pt x="93" y="80"/>
                  </a:moveTo>
                  <a:cubicBezTo>
                    <a:pt x="90" y="80"/>
                    <a:pt x="90" y="80"/>
                    <a:pt x="90" y="80"/>
                  </a:cubicBezTo>
                  <a:cubicBezTo>
                    <a:pt x="90" y="38"/>
                    <a:pt x="90" y="38"/>
                    <a:pt x="90" y="38"/>
                  </a:cubicBezTo>
                  <a:cubicBezTo>
                    <a:pt x="90" y="37"/>
                    <a:pt x="89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9"/>
                    <a:pt x="78" y="8"/>
                    <a:pt x="7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7" y="8"/>
                    <a:pt x="36" y="9"/>
                    <a:pt x="36" y="1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3" y="77"/>
                    <a:pt x="31" y="75"/>
                    <a:pt x="28" y="74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3"/>
                    <a:pt x="25" y="0"/>
                    <a:pt x="2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2" y="76"/>
                    <a:pt x="9" y="81"/>
                    <a:pt x="9" y="86"/>
                  </a:cubicBezTo>
                  <a:cubicBezTo>
                    <a:pt x="9" y="93"/>
                    <a:pt x="15" y="100"/>
                    <a:pt x="22" y="100"/>
                  </a:cubicBezTo>
                  <a:cubicBezTo>
                    <a:pt x="28" y="100"/>
                    <a:pt x="32" y="96"/>
                    <a:pt x="35" y="92"/>
                  </a:cubicBezTo>
                  <a:cubicBezTo>
                    <a:pt x="93" y="92"/>
                    <a:pt x="93" y="92"/>
                    <a:pt x="93" y="92"/>
                  </a:cubicBezTo>
                  <a:cubicBezTo>
                    <a:pt x="97" y="92"/>
                    <a:pt x="99" y="89"/>
                    <a:pt x="99" y="86"/>
                  </a:cubicBezTo>
                  <a:cubicBezTo>
                    <a:pt x="99" y="83"/>
                    <a:pt x="97" y="80"/>
                    <a:pt x="93" y="8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677870F9-3555-4427-B253-D2EB20C0B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" y="724"/>
              <a:ext cx="7" cy="20"/>
            </a:xfrm>
            <a:custGeom>
              <a:avLst/>
              <a:gdLst>
                <a:gd name="T0" fmla="*/ 2 w 3"/>
                <a:gd name="T1" fmla="*/ 8 h 8"/>
                <a:gd name="T2" fmla="*/ 3 w 3"/>
                <a:gd name="T3" fmla="*/ 6 h 8"/>
                <a:gd name="T4" fmla="*/ 3 w 3"/>
                <a:gd name="T5" fmla="*/ 2 h 8"/>
                <a:gd name="T6" fmla="*/ 2 w 3"/>
                <a:gd name="T7" fmla="*/ 0 h 8"/>
                <a:gd name="T8" fmla="*/ 0 w 3"/>
                <a:gd name="T9" fmla="*/ 2 h 8"/>
                <a:gd name="T10" fmla="*/ 0 w 3"/>
                <a:gd name="T11" fmla="*/ 6 h 8"/>
                <a:gd name="T12" fmla="*/ 2 w 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cubicBezTo>
                    <a:pt x="3" y="8"/>
                    <a:pt x="3" y="7"/>
                    <a:pt x="3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2" y="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2">
              <a:extLst>
                <a:ext uri="{FF2B5EF4-FFF2-40B4-BE49-F238E27FC236}">
                  <a16:creationId xmlns:a16="http://schemas.microsoft.com/office/drawing/2014/main" id="{3EEE31C5-C938-4D62-8592-5CC51E6B6C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1" y="707"/>
              <a:ext cx="7" cy="10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2A1F6099-F375-4AC2-8B0B-28D216576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1" y="724"/>
              <a:ext cx="10" cy="20"/>
            </a:xfrm>
            <a:custGeom>
              <a:avLst/>
              <a:gdLst>
                <a:gd name="T0" fmla="*/ 2 w 4"/>
                <a:gd name="T1" fmla="*/ 0 h 8"/>
                <a:gd name="T2" fmla="*/ 0 w 4"/>
                <a:gd name="T3" fmla="*/ 2 h 8"/>
                <a:gd name="T4" fmla="*/ 0 w 4"/>
                <a:gd name="T5" fmla="*/ 6 h 8"/>
                <a:gd name="T6" fmla="*/ 2 w 4"/>
                <a:gd name="T7" fmla="*/ 8 h 8"/>
                <a:gd name="T8" fmla="*/ 4 w 4"/>
                <a:gd name="T9" fmla="*/ 6 h 8"/>
                <a:gd name="T10" fmla="*/ 4 w 4"/>
                <a:gd name="T11" fmla="*/ 2 h 8"/>
                <a:gd name="T12" fmla="*/ 2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3" y="8"/>
                    <a:pt x="4" y="7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6">
            <a:extLst>
              <a:ext uri="{FF2B5EF4-FFF2-40B4-BE49-F238E27FC236}">
                <a16:creationId xmlns:a16="http://schemas.microsoft.com/office/drawing/2014/main" id="{57BA47D4-65BB-4FAD-9BF0-CC4C9EB219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502" y="349252"/>
            <a:ext cx="841375" cy="841375"/>
            <a:chOff x="1686" y="282"/>
            <a:chExt cx="530" cy="530"/>
          </a:xfrm>
        </p:grpSpPr>
        <p:sp>
          <p:nvSpPr>
            <p:cNvPr id="31" name="AutoShape 25">
              <a:extLst>
                <a:ext uri="{FF2B5EF4-FFF2-40B4-BE49-F238E27FC236}">
                  <a16:creationId xmlns:a16="http://schemas.microsoft.com/office/drawing/2014/main" id="{99125DB2-618F-4E8D-9FA3-5D28D0047B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6" y="2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7">
              <a:extLst>
                <a:ext uri="{FF2B5EF4-FFF2-40B4-BE49-F238E27FC236}">
                  <a16:creationId xmlns:a16="http://schemas.microsoft.com/office/drawing/2014/main" id="{8653E4FC-2AD4-4B00-9F30-B562C2175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6" y="2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D107C801-3AA1-40BD-9144-870D0ED327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4" y="3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BDCBA118-5164-496E-B352-E99A6182E6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3" y="640"/>
              <a:ext cx="31" cy="31"/>
            </a:xfrm>
            <a:custGeom>
              <a:avLst/>
              <a:gdLst>
                <a:gd name="T0" fmla="*/ 6 w 12"/>
                <a:gd name="T1" fmla="*/ 8 h 12"/>
                <a:gd name="T2" fmla="*/ 4 w 12"/>
                <a:gd name="T3" fmla="*/ 6 h 12"/>
                <a:gd name="T4" fmla="*/ 6 w 12"/>
                <a:gd name="T5" fmla="*/ 4 h 12"/>
                <a:gd name="T6" fmla="*/ 8 w 12"/>
                <a:gd name="T7" fmla="*/ 6 h 12"/>
                <a:gd name="T8" fmla="*/ 6 w 12"/>
                <a:gd name="T9" fmla="*/ 8 h 12"/>
                <a:gd name="T10" fmla="*/ 6 w 12"/>
                <a:gd name="T11" fmla="*/ 0 h 12"/>
                <a:gd name="T12" fmla="*/ 0 w 12"/>
                <a:gd name="T13" fmla="*/ 6 h 12"/>
                <a:gd name="T14" fmla="*/ 6 w 12"/>
                <a:gd name="T15" fmla="*/ 12 h 12"/>
                <a:gd name="T16" fmla="*/ 12 w 12"/>
                <a:gd name="T17" fmla="*/ 6 h 12"/>
                <a:gd name="T18" fmla="*/ 6 w 12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CF65868D-98B3-4224-8CF5-F5BB6A324A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2" y="436"/>
              <a:ext cx="253" cy="256"/>
            </a:xfrm>
            <a:custGeom>
              <a:avLst/>
              <a:gdLst>
                <a:gd name="T0" fmla="*/ 36 w 99"/>
                <a:gd name="T1" fmla="*/ 88 h 100"/>
                <a:gd name="T2" fmla="*/ 36 w 99"/>
                <a:gd name="T3" fmla="*/ 84 h 100"/>
                <a:gd name="T4" fmla="*/ 95 w 99"/>
                <a:gd name="T5" fmla="*/ 86 h 100"/>
                <a:gd name="T6" fmla="*/ 22 w 99"/>
                <a:gd name="T7" fmla="*/ 96 h 100"/>
                <a:gd name="T8" fmla="*/ 22 w 99"/>
                <a:gd name="T9" fmla="*/ 76 h 100"/>
                <a:gd name="T10" fmla="*/ 22 w 99"/>
                <a:gd name="T11" fmla="*/ 96 h 100"/>
                <a:gd name="T12" fmla="*/ 4 w 99"/>
                <a:gd name="T13" fmla="*/ 6 h 100"/>
                <a:gd name="T14" fmla="*/ 22 w 99"/>
                <a:gd name="T15" fmla="*/ 4 h 100"/>
                <a:gd name="T16" fmla="*/ 24 w 99"/>
                <a:gd name="T17" fmla="*/ 72 h 100"/>
                <a:gd name="T18" fmla="*/ 20 w 99"/>
                <a:gd name="T19" fmla="*/ 72 h 100"/>
                <a:gd name="T20" fmla="*/ 18 w 99"/>
                <a:gd name="T21" fmla="*/ 8 h 100"/>
                <a:gd name="T22" fmla="*/ 49 w 99"/>
                <a:gd name="T23" fmla="*/ 12 h 100"/>
                <a:gd name="T24" fmla="*/ 50 w 99"/>
                <a:gd name="T25" fmla="*/ 28 h 100"/>
                <a:gd name="T26" fmla="*/ 57 w 99"/>
                <a:gd name="T27" fmla="*/ 25 h 100"/>
                <a:gd name="T28" fmla="*/ 64 w 99"/>
                <a:gd name="T29" fmla="*/ 28 h 100"/>
                <a:gd name="T30" fmla="*/ 65 w 99"/>
                <a:gd name="T31" fmla="*/ 12 h 100"/>
                <a:gd name="T32" fmla="*/ 75 w 99"/>
                <a:gd name="T33" fmla="*/ 36 h 100"/>
                <a:gd name="T34" fmla="*/ 40 w 99"/>
                <a:gd name="T35" fmla="*/ 12 h 100"/>
                <a:gd name="T36" fmla="*/ 53 w 99"/>
                <a:gd name="T37" fmla="*/ 12 h 100"/>
                <a:gd name="T38" fmla="*/ 61 w 99"/>
                <a:gd name="T39" fmla="*/ 23 h 100"/>
                <a:gd name="T40" fmla="*/ 57 w 99"/>
                <a:gd name="T41" fmla="*/ 21 h 100"/>
                <a:gd name="T42" fmla="*/ 53 w 99"/>
                <a:gd name="T43" fmla="*/ 23 h 100"/>
                <a:gd name="T44" fmla="*/ 57 w 99"/>
                <a:gd name="T45" fmla="*/ 40 h 100"/>
                <a:gd name="T46" fmla="*/ 69 w 99"/>
                <a:gd name="T47" fmla="*/ 57 h 100"/>
                <a:gd name="T48" fmla="*/ 63 w 99"/>
                <a:gd name="T49" fmla="*/ 53 h 100"/>
                <a:gd name="T50" fmla="*/ 57 w 99"/>
                <a:gd name="T51" fmla="*/ 57 h 100"/>
                <a:gd name="T52" fmla="*/ 86 w 99"/>
                <a:gd name="T53" fmla="*/ 80 h 100"/>
                <a:gd name="T54" fmla="*/ 40 w 99"/>
                <a:gd name="T55" fmla="*/ 40 h 100"/>
                <a:gd name="T56" fmla="*/ 53 w 99"/>
                <a:gd name="T57" fmla="*/ 61 h 100"/>
                <a:gd name="T58" fmla="*/ 56 w 99"/>
                <a:gd name="T59" fmla="*/ 62 h 100"/>
                <a:gd name="T60" fmla="*/ 70 w 99"/>
                <a:gd name="T61" fmla="*/ 62 h 100"/>
                <a:gd name="T62" fmla="*/ 73 w 99"/>
                <a:gd name="T63" fmla="*/ 61 h 100"/>
                <a:gd name="T64" fmla="*/ 86 w 99"/>
                <a:gd name="T65" fmla="*/ 40 h 100"/>
                <a:gd name="T66" fmla="*/ 93 w 99"/>
                <a:gd name="T67" fmla="*/ 80 h 100"/>
                <a:gd name="T68" fmla="*/ 90 w 99"/>
                <a:gd name="T69" fmla="*/ 38 h 100"/>
                <a:gd name="T70" fmla="*/ 79 w 99"/>
                <a:gd name="T71" fmla="*/ 36 h 100"/>
                <a:gd name="T72" fmla="*/ 77 w 99"/>
                <a:gd name="T73" fmla="*/ 8 h 100"/>
                <a:gd name="T74" fmla="*/ 36 w 99"/>
                <a:gd name="T75" fmla="*/ 10 h 100"/>
                <a:gd name="T76" fmla="*/ 35 w 99"/>
                <a:gd name="T77" fmla="*/ 80 h 100"/>
                <a:gd name="T78" fmla="*/ 28 w 99"/>
                <a:gd name="T79" fmla="*/ 6 h 100"/>
                <a:gd name="T80" fmla="*/ 6 w 99"/>
                <a:gd name="T81" fmla="*/ 0 h 100"/>
                <a:gd name="T82" fmla="*/ 6 w 99"/>
                <a:gd name="T83" fmla="*/ 12 h 100"/>
                <a:gd name="T84" fmla="*/ 16 w 99"/>
                <a:gd name="T85" fmla="*/ 74 h 100"/>
                <a:gd name="T86" fmla="*/ 22 w 99"/>
                <a:gd name="T87" fmla="*/ 100 h 100"/>
                <a:gd name="T88" fmla="*/ 93 w 99"/>
                <a:gd name="T89" fmla="*/ 92 h 100"/>
                <a:gd name="T90" fmla="*/ 93 w 99"/>
                <a:gd name="T91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9" h="100">
                  <a:moveTo>
                    <a:pt x="93" y="88"/>
                  </a:moveTo>
                  <a:cubicBezTo>
                    <a:pt x="36" y="88"/>
                    <a:pt x="36" y="88"/>
                    <a:pt x="36" y="88"/>
                  </a:cubicBezTo>
                  <a:cubicBezTo>
                    <a:pt x="36" y="87"/>
                    <a:pt x="36" y="87"/>
                    <a:pt x="36" y="86"/>
                  </a:cubicBezTo>
                  <a:cubicBezTo>
                    <a:pt x="36" y="85"/>
                    <a:pt x="36" y="85"/>
                    <a:pt x="36" y="84"/>
                  </a:cubicBezTo>
                  <a:cubicBezTo>
                    <a:pt x="93" y="84"/>
                    <a:pt x="93" y="84"/>
                    <a:pt x="93" y="84"/>
                  </a:cubicBezTo>
                  <a:cubicBezTo>
                    <a:pt x="94" y="84"/>
                    <a:pt x="95" y="85"/>
                    <a:pt x="95" y="86"/>
                  </a:cubicBezTo>
                  <a:cubicBezTo>
                    <a:pt x="95" y="87"/>
                    <a:pt x="94" y="88"/>
                    <a:pt x="93" y="88"/>
                  </a:cubicBezTo>
                  <a:moveTo>
                    <a:pt x="22" y="96"/>
                  </a:moveTo>
                  <a:cubicBezTo>
                    <a:pt x="17" y="96"/>
                    <a:pt x="13" y="91"/>
                    <a:pt x="13" y="86"/>
                  </a:cubicBezTo>
                  <a:cubicBezTo>
                    <a:pt x="13" y="81"/>
                    <a:pt x="17" y="76"/>
                    <a:pt x="22" y="76"/>
                  </a:cubicBezTo>
                  <a:cubicBezTo>
                    <a:pt x="28" y="76"/>
                    <a:pt x="32" y="81"/>
                    <a:pt x="32" y="86"/>
                  </a:cubicBezTo>
                  <a:cubicBezTo>
                    <a:pt x="32" y="91"/>
                    <a:pt x="28" y="96"/>
                    <a:pt x="22" y="96"/>
                  </a:cubicBezTo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5"/>
                    <a:pt x="24" y="6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72"/>
                    <a:pt x="23" y="72"/>
                    <a:pt x="22" y="72"/>
                  </a:cubicBezTo>
                  <a:cubicBezTo>
                    <a:pt x="22" y="72"/>
                    <a:pt x="21" y="72"/>
                    <a:pt x="20" y="7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9"/>
                    <a:pt x="19" y="8"/>
                    <a:pt x="18" y="8"/>
                  </a:cubicBezTo>
                  <a:lnTo>
                    <a:pt x="6" y="8"/>
                  </a:lnTo>
                  <a:close/>
                  <a:moveTo>
                    <a:pt x="49" y="12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8"/>
                    <a:pt x="50" y="28"/>
                  </a:cubicBezTo>
                  <a:cubicBezTo>
                    <a:pt x="51" y="29"/>
                    <a:pt x="52" y="29"/>
                    <a:pt x="52" y="28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3" y="29"/>
                    <a:pt x="63" y="29"/>
                    <a:pt x="64" y="28"/>
                  </a:cubicBezTo>
                  <a:cubicBezTo>
                    <a:pt x="65" y="28"/>
                    <a:pt x="65" y="27"/>
                    <a:pt x="65" y="27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49" y="12"/>
                  </a:lnTo>
                  <a:close/>
                  <a:moveTo>
                    <a:pt x="53" y="12"/>
                  </a:moveTo>
                  <a:cubicBezTo>
                    <a:pt x="61" y="12"/>
                    <a:pt x="61" y="12"/>
                    <a:pt x="61" y="12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ubicBezTo>
                    <a:pt x="53" y="23"/>
                    <a:pt x="53" y="23"/>
                    <a:pt x="53" y="23"/>
                  </a:cubicBezTo>
                  <a:lnTo>
                    <a:pt x="53" y="12"/>
                  </a:lnTo>
                  <a:close/>
                  <a:moveTo>
                    <a:pt x="57" y="40"/>
                  </a:moveTo>
                  <a:cubicBezTo>
                    <a:pt x="69" y="40"/>
                    <a:pt x="69" y="40"/>
                    <a:pt x="69" y="40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3"/>
                    <a:pt x="63" y="53"/>
                    <a:pt x="63" y="53"/>
                  </a:cubicBezTo>
                  <a:cubicBezTo>
                    <a:pt x="63" y="53"/>
                    <a:pt x="62" y="53"/>
                    <a:pt x="62" y="53"/>
                  </a:cubicBezTo>
                  <a:cubicBezTo>
                    <a:pt x="57" y="57"/>
                    <a:pt x="57" y="57"/>
                    <a:pt x="57" y="57"/>
                  </a:cubicBezTo>
                  <a:lnTo>
                    <a:pt x="57" y="40"/>
                  </a:lnTo>
                  <a:close/>
                  <a:moveTo>
                    <a:pt x="86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4" y="62"/>
                    <a:pt x="54" y="62"/>
                  </a:cubicBezTo>
                  <a:cubicBezTo>
                    <a:pt x="55" y="63"/>
                    <a:pt x="56" y="63"/>
                    <a:pt x="56" y="62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3"/>
                    <a:pt x="71" y="63"/>
                    <a:pt x="72" y="62"/>
                  </a:cubicBezTo>
                  <a:cubicBezTo>
                    <a:pt x="72" y="62"/>
                    <a:pt x="73" y="61"/>
                    <a:pt x="73" y="61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86" y="40"/>
                    <a:pt x="86" y="40"/>
                    <a:pt x="86" y="40"/>
                  </a:cubicBezTo>
                  <a:lnTo>
                    <a:pt x="86" y="80"/>
                  </a:lnTo>
                  <a:close/>
                  <a:moveTo>
                    <a:pt x="93" y="80"/>
                  </a:moveTo>
                  <a:cubicBezTo>
                    <a:pt x="90" y="80"/>
                    <a:pt x="90" y="80"/>
                    <a:pt x="90" y="80"/>
                  </a:cubicBezTo>
                  <a:cubicBezTo>
                    <a:pt x="90" y="38"/>
                    <a:pt x="90" y="38"/>
                    <a:pt x="90" y="38"/>
                  </a:cubicBezTo>
                  <a:cubicBezTo>
                    <a:pt x="90" y="37"/>
                    <a:pt x="89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9"/>
                    <a:pt x="78" y="8"/>
                    <a:pt x="7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7" y="8"/>
                    <a:pt x="36" y="9"/>
                    <a:pt x="36" y="1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3" y="77"/>
                    <a:pt x="31" y="75"/>
                    <a:pt x="28" y="74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3"/>
                    <a:pt x="25" y="0"/>
                    <a:pt x="2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74"/>
                    <a:pt x="16" y="74"/>
                    <a:pt x="16" y="74"/>
                  </a:cubicBezTo>
                  <a:cubicBezTo>
                    <a:pt x="12" y="76"/>
                    <a:pt x="9" y="81"/>
                    <a:pt x="9" y="86"/>
                  </a:cubicBezTo>
                  <a:cubicBezTo>
                    <a:pt x="9" y="93"/>
                    <a:pt x="15" y="100"/>
                    <a:pt x="22" y="100"/>
                  </a:cubicBezTo>
                  <a:cubicBezTo>
                    <a:pt x="28" y="100"/>
                    <a:pt x="32" y="96"/>
                    <a:pt x="35" y="92"/>
                  </a:cubicBezTo>
                  <a:cubicBezTo>
                    <a:pt x="93" y="92"/>
                    <a:pt x="93" y="92"/>
                    <a:pt x="93" y="92"/>
                  </a:cubicBezTo>
                  <a:cubicBezTo>
                    <a:pt x="97" y="92"/>
                    <a:pt x="99" y="89"/>
                    <a:pt x="99" y="86"/>
                  </a:cubicBezTo>
                  <a:cubicBezTo>
                    <a:pt x="99" y="83"/>
                    <a:pt x="97" y="80"/>
                    <a:pt x="93" y="8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E0D10682-2479-48FF-92D5-92B8BA944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4" y="610"/>
              <a:ext cx="8" cy="20"/>
            </a:xfrm>
            <a:custGeom>
              <a:avLst/>
              <a:gdLst>
                <a:gd name="T0" fmla="*/ 2 w 3"/>
                <a:gd name="T1" fmla="*/ 8 h 8"/>
                <a:gd name="T2" fmla="*/ 3 w 3"/>
                <a:gd name="T3" fmla="*/ 6 h 8"/>
                <a:gd name="T4" fmla="*/ 3 w 3"/>
                <a:gd name="T5" fmla="*/ 2 h 8"/>
                <a:gd name="T6" fmla="*/ 2 w 3"/>
                <a:gd name="T7" fmla="*/ 0 h 8"/>
                <a:gd name="T8" fmla="*/ 0 w 3"/>
                <a:gd name="T9" fmla="*/ 2 h 8"/>
                <a:gd name="T10" fmla="*/ 0 w 3"/>
                <a:gd name="T11" fmla="*/ 6 h 8"/>
                <a:gd name="T12" fmla="*/ 2 w 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cubicBezTo>
                    <a:pt x="3" y="8"/>
                    <a:pt x="3" y="7"/>
                    <a:pt x="3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2">
              <a:extLst>
                <a:ext uri="{FF2B5EF4-FFF2-40B4-BE49-F238E27FC236}">
                  <a16:creationId xmlns:a16="http://schemas.microsoft.com/office/drawing/2014/main" id="{20D37115-565E-446F-B427-A78B8EE31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4" y="592"/>
              <a:ext cx="8" cy="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A9569DF0-1DFE-4F4F-AB37-AB9B4C441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" y="610"/>
              <a:ext cx="10" cy="20"/>
            </a:xfrm>
            <a:custGeom>
              <a:avLst/>
              <a:gdLst>
                <a:gd name="T0" fmla="*/ 2 w 4"/>
                <a:gd name="T1" fmla="*/ 0 h 8"/>
                <a:gd name="T2" fmla="*/ 0 w 4"/>
                <a:gd name="T3" fmla="*/ 2 h 8"/>
                <a:gd name="T4" fmla="*/ 0 w 4"/>
                <a:gd name="T5" fmla="*/ 6 h 8"/>
                <a:gd name="T6" fmla="*/ 2 w 4"/>
                <a:gd name="T7" fmla="*/ 8 h 8"/>
                <a:gd name="T8" fmla="*/ 4 w 4"/>
                <a:gd name="T9" fmla="*/ 6 h 8"/>
                <a:gd name="T10" fmla="*/ 4 w 4"/>
                <a:gd name="T11" fmla="*/ 2 h 8"/>
                <a:gd name="T12" fmla="*/ 2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3" y="8"/>
                    <a:pt x="4" y="7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Group 36">
            <a:extLst>
              <a:ext uri="{FF2B5EF4-FFF2-40B4-BE49-F238E27FC236}">
                <a16:creationId xmlns:a16="http://schemas.microsoft.com/office/drawing/2014/main" id="{6FDF8C2C-5678-4B92-BCD5-7D595171AA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6349" y="393702"/>
            <a:ext cx="758825" cy="758825"/>
            <a:chOff x="3732" y="434"/>
            <a:chExt cx="478" cy="478"/>
          </a:xfrm>
        </p:grpSpPr>
        <p:sp>
          <p:nvSpPr>
            <p:cNvPr id="44" name="AutoShape 35">
              <a:extLst>
                <a:ext uri="{FF2B5EF4-FFF2-40B4-BE49-F238E27FC236}">
                  <a16:creationId xmlns:a16="http://schemas.microsoft.com/office/drawing/2014/main" id="{E588124D-447E-4612-B18E-869B2CACCC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32" y="43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7885BE1A-670E-4FE3-B9F1-06D62A46C6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4" y="43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EDBB6AA4-1C9D-4A1A-A19E-A2D125B56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8" y="547"/>
              <a:ext cx="289" cy="274"/>
            </a:xfrm>
            <a:custGeom>
              <a:avLst/>
              <a:gdLst>
                <a:gd name="T0" fmla="*/ 289 w 289"/>
                <a:gd name="T1" fmla="*/ 157 h 274"/>
                <a:gd name="T2" fmla="*/ 284 w 289"/>
                <a:gd name="T3" fmla="*/ 152 h 274"/>
                <a:gd name="T4" fmla="*/ 274 w 289"/>
                <a:gd name="T5" fmla="*/ 157 h 274"/>
                <a:gd name="T6" fmla="*/ 201 w 289"/>
                <a:gd name="T7" fmla="*/ 71 h 274"/>
                <a:gd name="T8" fmla="*/ 76 w 289"/>
                <a:gd name="T9" fmla="*/ 49 h 274"/>
                <a:gd name="T10" fmla="*/ 49 w 289"/>
                <a:gd name="T11" fmla="*/ 10 h 274"/>
                <a:gd name="T12" fmla="*/ 39 w 289"/>
                <a:gd name="T13" fmla="*/ 7 h 274"/>
                <a:gd name="T14" fmla="*/ 2 w 289"/>
                <a:gd name="T15" fmla="*/ 7 h 274"/>
                <a:gd name="T16" fmla="*/ 0 w 289"/>
                <a:gd name="T17" fmla="*/ 12 h 274"/>
                <a:gd name="T18" fmla="*/ 2 w 289"/>
                <a:gd name="T19" fmla="*/ 19 h 274"/>
                <a:gd name="T20" fmla="*/ 4 w 289"/>
                <a:gd name="T21" fmla="*/ 19 h 274"/>
                <a:gd name="T22" fmla="*/ 41 w 289"/>
                <a:gd name="T23" fmla="*/ 22 h 274"/>
                <a:gd name="T24" fmla="*/ 46 w 289"/>
                <a:gd name="T25" fmla="*/ 27 h 274"/>
                <a:gd name="T26" fmla="*/ 110 w 289"/>
                <a:gd name="T27" fmla="*/ 203 h 274"/>
                <a:gd name="T28" fmla="*/ 95 w 289"/>
                <a:gd name="T29" fmla="*/ 206 h 274"/>
                <a:gd name="T30" fmla="*/ 80 w 289"/>
                <a:gd name="T31" fmla="*/ 218 h 274"/>
                <a:gd name="T32" fmla="*/ 73 w 289"/>
                <a:gd name="T33" fmla="*/ 230 h 274"/>
                <a:gd name="T34" fmla="*/ 71 w 289"/>
                <a:gd name="T35" fmla="*/ 240 h 274"/>
                <a:gd name="T36" fmla="*/ 76 w 289"/>
                <a:gd name="T37" fmla="*/ 255 h 274"/>
                <a:gd name="T38" fmla="*/ 85 w 289"/>
                <a:gd name="T39" fmla="*/ 267 h 274"/>
                <a:gd name="T40" fmla="*/ 100 w 289"/>
                <a:gd name="T41" fmla="*/ 274 h 274"/>
                <a:gd name="T42" fmla="*/ 120 w 289"/>
                <a:gd name="T43" fmla="*/ 272 h 274"/>
                <a:gd name="T44" fmla="*/ 132 w 289"/>
                <a:gd name="T45" fmla="*/ 262 h 274"/>
                <a:gd name="T46" fmla="*/ 142 w 289"/>
                <a:gd name="T47" fmla="*/ 247 h 274"/>
                <a:gd name="T48" fmla="*/ 142 w 289"/>
                <a:gd name="T49" fmla="*/ 240 h 274"/>
                <a:gd name="T50" fmla="*/ 142 w 289"/>
                <a:gd name="T51" fmla="*/ 228 h 274"/>
                <a:gd name="T52" fmla="*/ 166 w 289"/>
                <a:gd name="T53" fmla="*/ 233 h 274"/>
                <a:gd name="T54" fmla="*/ 289 w 289"/>
                <a:gd name="T55" fmla="*/ 162 h 274"/>
                <a:gd name="T56" fmla="*/ 83 w 289"/>
                <a:gd name="T57" fmla="*/ 61 h 274"/>
                <a:gd name="T58" fmla="*/ 120 w 289"/>
                <a:gd name="T59" fmla="*/ 56 h 274"/>
                <a:gd name="T60" fmla="*/ 125 w 289"/>
                <a:gd name="T61" fmla="*/ 37 h 274"/>
                <a:gd name="T62" fmla="*/ 188 w 289"/>
                <a:gd name="T63" fmla="*/ 78 h 274"/>
                <a:gd name="T64" fmla="*/ 154 w 289"/>
                <a:gd name="T65" fmla="*/ 86 h 274"/>
                <a:gd name="T66" fmla="*/ 147 w 289"/>
                <a:gd name="T67" fmla="*/ 103 h 274"/>
                <a:gd name="T68" fmla="*/ 127 w 289"/>
                <a:gd name="T69" fmla="*/ 247 h 274"/>
                <a:gd name="T70" fmla="*/ 122 w 289"/>
                <a:gd name="T71" fmla="*/ 255 h 274"/>
                <a:gd name="T72" fmla="*/ 112 w 289"/>
                <a:gd name="T73" fmla="*/ 260 h 274"/>
                <a:gd name="T74" fmla="*/ 100 w 289"/>
                <a:gd name="T75" fmla="*/ 260 h 274"/>
                <a:gd name="T76" fmla="*/ 90 w 289"/>
                <a:gd name="T77" fmla="*/ 255 h 274"/>
                <a:gd name="T78" fmla="*/ 85 w 289"/>
                <a:gd name="T79" fmla="*/ 247 h 274"/>
                <a:gd name="T80" fmla="*/ 85 w 289"/>
                <a:gd name="T81" fmla="*/ 240 h 274"/>
                <a:gd name="T82" fmla="*/ 90 w 289"/>
                <a:gd name="T83" fmla="*/ 225 h 274"/>
                <a:gd name="T84" fmla="*/ 98 w 289"/>
                <a:gd name="T85" fmla="*/ 220 h 274"/>
                <a:gd name="T86" fmla="*/ 107 w 289"/>
                <a:gd name="T87" fmla="*/ 218 h 274"/>
                <a:gd name="T88" fmla="*/ 120 w 289"/>
                <a:gd name="T89" fmla="*/ 220 h 274"/>
                <a:gd name="T90" fmla="*/ 125 w 289"/>
                <a:gd name="T91" fmla="*/ 225 h 274"/>
                <a:gd name="T92" fmla="*/ 130 w 289"/>
                <a:gd name="T93" fmla="*/ 238 h 274"/>
                <a:gd name="T94" fmla="*/ 127 w 289"/>
                <a:gd name="T95" fmla="*/ 247 h 274"/>
                <a:gd name="T96" fmla="*/ 125 w 289"/>
                <a:gd name="T97" fmla="*/ 208 h 274"/>
                <a:gd name="T98" fmla="*/ 132 w 289"/>
                <a:gd name="T99" fmla="*/ 174 h 274"/>
                <a:gd name="T100" fmla="*/ 134 w 289"/>
                <a:gd name="T101" fmla="*/ 215 h 274"/>
                <a:gd name="T102" fmla="*/ 213 w 289"/>
                <a:gd name="T103" fmla="*/ 169 h 274"/>
                <a:gd name="T104" fmla="*/ 210 w 289"/>
                <a:gd name="T105" fmla="*/ 193 h 274"/>
                <a:gd name="T106" fmla="*/ 122 w 289"/>
                <a:gd name="T107" fmla="*/ 132 h 274"/>
                <a:gd name="T108" fmla="*/ 174 w 289"/>
                <a:gd name="T109" fmla="*/ 127 h 274"/>
                <a:gd name="T110" fmla="*/ 174 w 289"/>
                <a:gd name="T111" fmla="*/ 103 h 274"/>
                <a:gd name="T112" fmla="*/ 262 w 289"/>
                <a:gd name="T113" fmla="*/ 16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9" h="274">
                  <a:moveTo>
                    <a:pt x="289" y="162"/>
                  </a:moveTo>
                  <a:lnTo>
                    <a:pt x="289" y="157"/>
                  </a:lnTo>
                  <a:lnTo>
                    <a:pt x="286" y="154"/>
                  </a:lnTo>
                  <a:lnTo>
                    <a:pt x="284" y="152"/>
                  </a:lnTo>
                  <a:lnTo>
                    <a:pt x="279" y="154"/>
                  </a:lnTo>
                  <a:lnTo>
                    <a:pt x="274" y="157"/>
                  </a:lnTo>
                  <a:lnTo>
                    <a:pt x="218" y="61"/>
                  </a:lnTo>
                  <a:lnTo>
                    <a:pt x="201" y="71"/>
                  </a:lnTo>
                  <a:lnTo>
                    <a:pt x="159" y="0"/>
                  </a:lnTo>
                  <a:lnTo>
                    <a:pt x="76" y="49"/>
                  </a:lnTo>
                  <a:lnTo>
                    <a:pt x="56" y="17"/>
                  </a:lnTo>
                  <a:lnTo>
                    <a:pt x="49" y="10"/>
                  </a:lnTo>
                  <a:lnTo>
                    <a:pt x="44" y="7"/>
                  </a:lnTo>
                  <a:lnTo>
                    <a:pt x="39" y="7"/>
                  </a:lnTo>
                  <a:lnTo>
                    <a:pt x="34" y="5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6" y="19"/>
                  </a:lnTo>
                  <a:lnTo>
                    <a:pt x="41" y="22"/>
                  </a:lnTo>
                  <a:lnTo>
                    <a:pt x="46" y="24"/>
                  </a:lnTo>
                  <a:lnTo>
                    <a:pt x="46" y="27"/>
                  </a:lnTo>
                  <a:lnTo>
                    <a:pt x="122" y="157"/>
                  </a:lnTo>
                  <a:lnTo>
                    <a:pt x="110" y="203"/>
                  </a:lnTo>
                  <a:lnTo>
                    <a:pt x="105" y="203"/>
                  </a:lnTo>
                  <a:lnTo>
                    <a:pt x="95" y="206"/>
                  </a:lnTo>
                  <a:lnTo>
                    <a:pt x="88" y="211"/>
                  </a:lnTo>
                  <a:lnTo>
                    <a:pt x="80" y="218"/>
                  </a:lnTo>
                  <a:lnTo>
                    <a:pt x="76" y="225"/>
                  </a:lnTo>
                  <a:lnTo>
                    <a:pt x="73" y="230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73" y="247"/>
                  </a:lnTo>
                  <a:lnTo>
                    <a:pt x="76" y="255"/>
                  </a:lnTo>
                  <a:lnTo>
                    <a:pt x="80" y="260"/>
                  </a:lnTo>
                  <a:lnTo>
                    <a:pt x="85" y="267"/>
                  </a:lnTo>
                  <a:lnTo>
                    <a:pt x="93" y="272"/>
                  </a:lnTo>
                  <a:lnTo>
                    <a:pt x="100" y="274"/>
                  </a:lnTo>
                  <a:lnTo>
                    <a:pt x="107" y="274"/>
                  </a:lnTo>
                  <a:lnTo>
                    <a:pt x="120" y="272"/>
                  </a:lnTo>
                  <a:lnTo>
                    <a:pt x="127" y="267"/>
                  </a:lnTo>
                  <a:lnTo>
                    <a:pt x="132" y="262"/>
                  </a:lnTo>
                  <a:lnTo>
                    <a:pt x="139" y="257"/>
                  </a:lnTo>
                  <a:lnTo>
                    <a:pt x="142" y="247"/>
                  </a:lnTo>
                  <a:lnTo>
                    <a:pt x="142" y="242"/>
                  </a:lnTo>
                  <a:lnTo>
                    <a:pt x="142" y="240"/>
                  </a:lnTo>
                  <a:lnTo>
                    <a:pt x="142" y="233"/>
                  </a:lnTo>
                  <a:lnTo>
                    <a:pt x="142" y="228"/>
                  </a:lnTo>
                  <a:lnTo>
                    <a:pt x="159" y="218"/>
                  </a:lnTo>
                  <a:lnTo>
                    <a:pt x="166" y="233"/>
                  </a:lnTo>
                  <a:lnTo>
                    <a:pt x="289" y="164"/>
                  </a:lnTo>
                  <a:lnTo>
                    <a:pt x="289" y="162"/>
                  </a:lnTo>
                  <a:close/>
                  <a:moveTo>
                    <a:pt x="117" y="120"/>
                  </a:moveTo>
                  <a:lnTo>
                    <a:pt x="83" y="61"/>
                  </a:lnTo>
                  <a:lnTo>
                    <a:pt x="112" y="44"/>
                  </a:lnTo>
                  <a:lnTo>
                    <a:pt x="120" y="56"/>
                  </a:lnTo>
                  <a:lnTo>
                    <a:pt x="132" y="49"/>
                  </a:lnTo>
                  <a:lnTo>
                    <a:pt x="125" y="37"/>
                  </a:lnTo>
                  <a:lnTo>
                    <a:pt x="154" y="19"/>
                  </a:lnTo>
                  <a:lnTo>
                    <a:pt x="188" y="78"/>
                  </a:lnTo>
                  <a:lnTo>
                    <a:pt x="159" y="95"/>
                  </a:lnTo>
                  <a:lnTo>
                    <a:pt x="154" y="86"/>
                  </a:lnTo>
                  <a:lnTo>
                    <a:pt x="142" y="93"/>
                  </a:lnTo>
                  <a:lnTo>
                    <a:pt x="147" y="103"/>
                  </a:lnTo>
                  <a:lnTo>
                    <a:pt x="117" y="120"/>
                  </a:lnTo>
                  <a:close/>
                  <a:moveTo>
                    <a:pt x="127" y="247"/>
                  </a:moveTo>
                  <a:lnTo>
                    <a:pt x="125" y="252"/>
                  </a:lnTo>
                  <a:lnTo>
                    <a:pt x="122" y="255"/>
                  </a:lnTo>
                  <a:lnTo>
                    <a:pt x="117" y="257"/>
                  </a:lnTo>
                  <a:lnTo>
                    <a:pt x="112" y="260"/>
                  </a:lnTo>
                  <a:lnTo>
                    <a:pt x="107" y="260"/>
                  </a:lnTo>
                  <a:lnTo>
                    <a:pt x="100" y="260"/>
                  </a:lnTo>
                  <a:lnTo>
                    <a:pt x="95" y="257"/>
                  </a:lnTo>
                  <a:lnTo>
                    <a:pt x="90" y="255"/>
                  </a:lnTo>
                  <a:lnTo>
                    <a:pt x="88" y="250"/>
                  </a:lnTo>
                  <a:lnTo>
                    <a:pt x="85" y="247"/>
                  </a:lnTo>
                  <a:lnTo>
                    <a:pt x="85" y="240"/>
                  </a:lnTo>
                  <a:lnTo>
                    <a:pt x="85" y="240"/>
                  </a:lnTo>
                  <a:lnTo>
                    <a:pt x="88" y="233"/>
                  </a:lnTo>
                  <a:lnTo>
                    <a:pt x="90" y="225"/>
                  </a:lnTo>
                  <a:lnTo>
                    <a:pt x="93" y="223"/>
                  </a:lnTo>
                  <a:lnTo>
                    <a:pt x="98" y="220"/>
                  </a:lnTo>
                  <a:lnTo>
                    <a:pt x="103" y="218"/>
                  </a:lnTo>
                  <a:lnTo>
                    <a:pt x="107" y="218"/>
                  </a:lnTo>
                  <a:lnTo>
                    <a:pt x="115" y="218"/>
                  </a:lnTo>
                  <a:lnTo>
                    <a:pt x="120" y="220"/>
                  </a:lnTo>
                  <a:lnTo>
                    <a:pt x="122" y="223"/>
                  </a:lnTo>
                  <a:lnTo>
                    <a:pt x="125" y="225"/>
                  </a:lnTo>
                  <a:lnTo>
                    <a:pt x="127" y="230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27" y="247"/>
                  </a:lnTo>
                  <a:close/>
                  <a:moveTo>
                    <a:pt x="134" y="215"/>
                  </a:moveTo>
                  <a:lnTo>
                    <a:pt x="125" y="208"/>
                  </a:lnTo>
                  <a:lnTo>
                    <a:pt x="122" y="208"/>
                  </a:lnTo>
                  <a:lnTo>
                    <a:pt x="132" y="174"/>
                  </a:lnTo>
                  <a:lnTo>
                    <a:pt x="152" y="206"/>
                  </a:lnTo>
                  <a:lnTo>
                    <a:pt x="134" y="215"/>
                  </a:lnTo>
                  <a:close/>
                  <a:moveTo>
                    <a:pt x="223" y="186"/>
                  </a:moveTo>
                  <a:lnTo>
                    <a:pt x="213" y="169"/>
                  </a:lnTo>
                  <a:lnTo>
                    <a:pt x="201" y="176"/>
                  </a:lnTo>
                  <a:lnTo>
                    <a:pt x="210" y="193"/>
                  </a:lnTo>
                  <a:lnTo>
                    <a:pt x="171" y="215"/>
                  </a:lnTo>
                  <a:lnTo>
                    <a:pt x="122" y="132"/>
                  </a:lnTo>
                  <a:lnTo>
                    <a:pt x="161" y="110"/>
                  </a:lnTo>
                  <a:lnTo>
                    <a:pt x="174" y="127"/>
                  </a:lnTo>
                  <a:lnTo>
                    <a:pt x="186" y="122"/>
                  </a:lnTo>
                  <a:lnTo>
                    <a:pt x="174" y="103"/>
                  </a:lnTo>
                  <a:lnTo>
                    <a:pt x="213" y="81"/>
                  </a:lnTo>
                  <a:lnTo>
                    <a:pt x="262" y="164"/>
                  </a:lnTo>
                  <a:lnTo>
                    <a:pt x="223" y="18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5127B645-A14F-469B-A3BB-53A3216806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8" y="547"/>
              <a:ext cx="289" cy="274"/>
            </a:xfrm>
            <a:custGeom>
              <a:avLst/>
              <a:gdLst>
                <a:gd name="T0" fmla="*/ 289 w 289"/>
                <a:gd name="T1" fmla="*/ 157 h 274"/>
                <a:gd name="T2" fmla="*/ 284 w 289"/>
                <a:gd name="T3" fmla="*/ 152 h 274"/>
                <a:gd name="T4" fmla="*/ 274 w 289"/>
                <a:gd name="T5" fmla="*/ 157 h 274"/>
                <a:gd name="T6" fmla="*/ 201 w 289"/>
                <a:gd name="T7" fmla="*/ 71 h 274"/>
                <a:gd name="T8" fmla="*/ 76 w 289"/>
                <a:gd name="T9" fmla="*/ 49 h 274"/>
                <a:gd name="T10" fmla="*/ 49 w 289"/>
                <a:gd name="T11" fmla="*/ 10 h 274"/>
                <a:gd name="T12" fmla="*/ 39 w 289"/>
                <a:gd name="T13" fmla="*/ 7 h 274"/>
                <a:gd name="T14" fmla="*/ 2 w 289"/>
                <a:gd name="T15" fmla="*/ 7 h 274"/>
                <a:gd name="T16" fmla="*/ 0 w 289"/>
                <a:gd name="T17" fmla="*/ 12 h 274"/>
                <a:gd name="T18" fmla="*/ 2 w 289"/>
                <a:gd name="T19" fmla="*/ 19 h 274"/>
                <a:gd name="T20" fmla="*/ 4 w 289"/>
                <a:gd name="T21" fmla="*/ 19 h 274"/>
                <a:gd name="T22" fmla="*/ 41 w 289"/>
                <a:gd name="T23" fmla="*/ 22 h 274"/>
                <a:gd name="T24" fmla="*/ 46 w 289"/>
                <a:gd name="T25" fmla="*/ 27 h 274"/>
                <a:gd name="T26" fmla="*/ 110 w 289"/>
                <a:gd name="T27" fmla="*/ 203 h 274"/>
                <a:gd name="T28" fmla="*/ 95 w 289"/>
                <a:gd name="T29" fmla="*/ 206 h 274"/>
                <a:gd name="T30" fmla="*/ 80 w 289"/>
                <a:gd name="T31" fmla="*/ 218 h 274"/>
                <a:gd name="T32" fmla="*/ 73 w 289"/>
                <a:gd name="T33" fmla="*/ 230 h 274"/>
                <a:gd name="T34" fmla="*/ 71 w 289"/>
                <a:gd name="T35" fmla="*/ 240 h 274"/>
                <a:gd name="T36" fmla="*/ 76 w 289"/>
                <a:gd name="T37" fmla="*/ 255 h 274"/>
                <a:gd name="T38" fmla="*/ 85 w 289"/>
                <a:gd name="T39" fmla="*/ 267 h 274"/>
                <a:gd name="T40" fmla="*/ 100 w 289"/>
                <a:gd name="T41" fmla="*/ 274 h 274"/>
                <a:gd name="T42" fmla="*/ 120 w 289"/>
                <a:gd name="T43" fmla="*/ 272 h 274"/>
                <a:gd name="T44" fmla="*/ 132 w 289"/>
                <a:gd name="T45" fmla="*/ 262 h 274"/>
                <a:gd name="T46" fmla="*/ 142 w 289"/>
                <a:gd name="T47" fmla="*/ 247 h 274"/>
                <a:gd name="T48" fmla="*/ 142 w 289"/>
                <a:gd name="T49" fmla="*/ 240 h 274"/>
                <a:gd name="T50" fmla="*/ 142 w 289"/>
                <a:gd name="T51" fmla="*/ 228 h 274"/>
                <a:gd name="T52" fmla="*/ 166 w 289"/>
                <a:gd name="T53" fmla="*/ 233 h 274"/>
                <a:gd name="T54" fmla="*/ 289 w 289"/>
                <a:gd name="T55" fmla="*/ 162 h 274"/>
                <a:gd name="T56" fmla="*/ 83 w 289"/>
                <a:gd name="T57" fmla="*/ 61 h 274"/>
                <a:gd name="T58" fmla="*/ 120 w 289"/>
                <a:gd name="T59" fmla="*/ 56 h 274"/>
                <a:gd name="T60" fmla="*/ 125 w 289"/>
                <a:gd name="T61" fmla="*/ 37 h 274"/>
                <a:gd name="T62" fmla="*/ 188 w 289"/>
                <a:gd name="T63" fmla="*/ 78 h 274"/>
                <a:gd name="T64" fmla="*/ 154 w 289"/>
                <a:gd name="T65" fmla="*/ 86 h 274"/>
                <a:gd name="T66" fmla="*/ 147 w 289"/>
                <a:gd name="T67" fmla="*/ 103 h 274"/>
                <a:gd name="T68" fmla="*/ 127 w 289"/>
                <a:gd name="T69" fmla="*/ 247 h 274"/>
                <a:gd name="T70" fmla="*/ 122 w 289"/>
                <a:gd name="T71" fmla="*/ 255 h 274"/>
                <a:gd name="T72" fmla="*/ 112 w 289"/>
                <a:gd name="T73" fmla="*/ 260 h 274"/>
                <a:gd name="T74" fmla="*/ 100 w 289"/>
                <a:gd name="T75" fmla="*/ 260 h 274"/>
                <a:gd name="T76" fmla="*/ 90 w 289"/>
                <a:gd name="T77" fmla="*/ 255 h 274"/>
                <a:gd name="T78" fmla="*/ 85 w 289"/>
                <a:gd name="T79" fmla="*/ 247 h 274"/>
                <a:gd name="T80" fmla="*/ 85 w 289"/>
                <a:gd name="T81" fmla="*/ 240 h 274"/>
                <a:gd name="T82" fmla="*/ 90 w 289"/>
                <a:gd name="T83" fmla="*/ 225 h 274"/>
                <a:gd name="T84" fmla="*/ 98 w 289"/>
                <a:gd name="T85" fmla="*/ 220 h 274"/>
                <a:gd name="T86" fmla="*/ 107 w 289"/>
                <a:gd name="T87" fmla="*/ 218 h 274"/>
                <a:gd name="T88" fmla="*/ 120 w 289"/>
                <a:gd name="T89" fmla="*/ 220 h 274"/>
                <a:gd name="T90" fmla="*/ 125 w 289"/>
                <a:gd name="T91" fmla="*/ 225 h 274"/>
                <a:gd name="T92" fmla="*/ 130 w 289"/>
                <a:gd name="T93" fmla="*/ 238 h 274"/>
                <a:gd name="T94" fmla="*/ 127 w 289"/>
                <a:gd name="T95" fmla="*/ 247 h 274"/>
                <a:gd name="T96" fmla="*/ 125 w 289"/>
                <a:gd name="T97" fmla="*/ 208 h 274"/>
                <a:gd name="T98" fmla="*/ 132 w 289"/>
                <a:gd name="T99" fmla="*/ 174 h 274"/>
                <a:gd name="T100" fmla="*/ 134 w 289"/>
                <a:gd name="T101" fmla="*/ 215 h 274"/>
                <a:gd name="T102" fmla="*/ 213 w 289"/>
                <a:gd name="T103" fmla="*/ 169 h 274"/>
                <a:gd name="T104" fmla="*/ 210 w 289"/>
                <a:gd name="T105" fmla="*/ 193 h 274"/>
                <a:gd name="T106" fmla="*/ 122 w 289"/>
                <a:gd name="T107" fmla="*/ 132 h 274"/>
                <a:gd name="T108" fmla="*/ 174 w 289"/>
                <a:gd name="T109" fmla="*/ 127 h 274"/>
                <a:gd name="T110" fmla="*/ 174 w 289"/>
                <a:gd name="T111" fmla="*/ 103 h 274"/>
                <a:gd name="T112" fmla="*/ 262 w 289"/>
                <a:gd name="T113" fmla="*/ 16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9" h="274">
                  <a:moveTo>
                    <a:pt x="289" y="162"/>
                  </a:moveTo>
                  <a:lnTo>
                    <a:pt x="289" y="157"/>
                  </a:lnTo>
                  <a:lnTo>
                    <a:pt x="286" y="154"/>
                  </a:lnTo>
                  <a:lnTo>
                    <a:pt x="284" y="152"/>
                  </a:lnTo>
                  <a:lnTo>
                    <a:pt x="279" y="154"/>
                  </a:lnTo>
                  <a:lnTo>
                    <a:pt x="274" y="157"/>
                  </a:lnTo>
                  <a:lnTo>
                    <a:pt x="218" y="61"/>
                  </a:lnTo>
                  <a:lnTo>
                    <a:pt x="201" y="71"/>
                  </a:lnTo>
                  <a:lnTo>
                    <a:pt x="159" y="0"/>
                  </a:lnTo>
                  <a:lnTo>
                    <a:pt x="76" y="49"/>
                  </a:lnTo>
                  <a:lnTo>
                    <a:pt x="56" y="17"/>
                  </a:lnTo>
                  <a:lnTo>
                    <a:pt x="49" y="10"/>
                  </a:lnTo>
                  <a:lnTo>
                    <a:pt x="44" y="7"/>
                  </a:lnTo>
                  <a:lnTo>
                    <a:pt x="39" y="7"/>
                  </a:lnTo>
                  <a:lnTo>
                    <a:pt x="34" y="5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6" y="19"/>
                  </a:lnTo>
                  <a:lnTo>
                    <a:pt x="41" y="22"/>
                  </a:lnTo>
                  <a:lnTo>
                    <a:pt x="46" y="24"/>
                  </a:lnTo>
                  <a:lnTo>
                    <a:pt x="46" y="27"/>
                  </a:lnTo>
                  <a:lnTo>
                    <a:pt x="122" y="157"/>
                  </a:lnTo>
                  <a:lnTo>
                    <a:pt x="110" y="203"/>
                  </a:lnTo>
                  <a:lnTo>
                    <a:pt x="105" y="203"/>
                  </a:lnTo>
                  <a:lnTo>
                    <a:pt x="95" y="206"/>
                  </a:lnTo>
                  <a:lnTo>
                    <a:pt x="88" y="211"/>
                  </a:lnTo>
                  <a:lnTo>
                    <a:pt x="80" y="218"/>
                  </a:lnTo>
                  <a:lnTo>
                    <a:pt x="76" y="225"/>
                  </a:lnTo>
                  <a:lnTo>
                    <a:pt x="73" y="230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73" y="247"/>
                  </a:lnTo>
                  <a:lnTo>
                    <a:pt x="76" y="255"/>
                  </a:lnTo>
                  <a:lnTo>
                    <a:pt x="80" y="260"/>
                  </a:lnTo>
                  <a:lnTo>
                    <a:pt x="85" y="267"/>
                  </a:lnTo>
                  <a:lnTo>
                    <a:pt x="93" y="272"/>
                  </a:lnTo>
                  <a:lnTo>
                    <a:pt x="100" y="274"/>
                  </a:lnTo>
                  <a:lnTo>
                    <a:pt x="107" y="274"/>
                  </a:lnTo>
                  <a:lnTo>
                    <a:pt x="120" y="272"/>
                  </a:lnTo>
                  <a:lnTo>
                    <a:pt x="127" y="267"/>
                  </a:lnTo>
                  <a:lnTo>
                    <a:pt x="132" y="262"/>
                  </a:lnTo>
                  <a:lnTo>
                    <a:pt x="139" y="257"/>
                  </a:lnTo>
                  <a:lnTo>
                    <a:pt x="142" y="247"/>
                  </a:lnTo>
                  <a:lnTo>
                    <a:pt x="142" y="242"/>
                  </a:lnTo>
                  <a:lnTo>
                    <a:pt x="142" y="240"/>
                  </a:lnTo>
                  <a:lnTo>
                    <a:pt x="142" y="233"/>
                  </a:lnTo>
                  <a:lnTo>
                    <a:pt x="142" y="228"/>
                  </a:lnTo>
                  <a:lnTo>
                    <a:pt x="159" y="218"/>
                  </a:lnTo>
                  <a:lnTo>
                    <a:pt x="166" y="233"/>
                  </a:lnTo>
                  <a:lnTo>
                    <a:pt x="289" y="164"/>
                  </a:lnTo>
                  <a:lnTo>
                    <a:pt x="289" y="162"/>
                  </a:lnTo>
                  <a:close/>
                  <a:moveTo>
                    <a:pt x="117" y="120"/>
                  </a:moveTo>
                  <a:lnTo>
                    <a:pt x="83" y="61"/>
                  </a:lnTo>
                  <a:lnTo>
                    <a:pt x="112" y="44"/>
                  </a:lnTo>
                  <a:lnTo>
                    <a:pt x="120" y="56"/>
                  </a:lnTo>
                  <a:lnTo>
                    <a:pt x="132" y="49"/>
                  </a:lnTo>
                  <a:lnTo>
                    <a:pt x="125" y="37"/>
                  </a:lnTo>
                  <a:lnTo>
                    <a:pt x="154" y="19"/>
                  </a:lnTo>
                  <a:lnTo>
                    <a:pt x="188" y="78"/>
                  </a:lnTo>
                  <a:lnTo>
                    <a:pt x="159" y="95"/>
                  </a:lnTo>
                  <a:lnTo>
                    <a:pt x="154" y="86"/>
                  </a:lnTo>
                  <a:lnTo>
                    <a:pt x="142" y="93"/>
                  </a:lnTo>
                  <a:lnTo>
                    <a:pt x="147" y="103"/>
                  </a:lnTo>
                  <a:lnTo>
                    <a:pt x="117" y="120"/>
                  </a:lnTo>
                  <a:close/>
                  <a:moveTo>
                    <a:pt x="127" y="247"/>
                  </a:moveTo>
                  <a:lnTo>
                    <a:pt x="125" y="252"/>
                  </a:lnTo>
                  <a:lnTo>
                    <a:pt x="122" y="255"/>
                  </a:lnTo>
                  <a:lnTo>
                    <a:pt x="117" y="257"/>
                  </a:lnTo>
                  <a:lnTo>
                    <a:pt x="112" y="260"/>
                  </a:lnTo>
                  <a:lnTo>
                    <a:pt x="107" y="260"/>
                  </a:lnTo>
                  <a:lnTo>
                    <a:pt x="100" y="260"/>
                  </a:lnTo>
                  <a:lnTo>
                    <a:pt x="95" y="257"/>
                  </a:lnTo>
                  <a:lnTo>
                    <a:pt x="90" y="255"/>
                  </a:lnTo>
                  <a:lnTo>
                    <a:pt x="88" y="250"/>
                  </a:lnTo>
                  <a:lnTo>
                    <a:pt x="85" y="247"/>
                  </a:lnTo>
                  <a:lnTo>
                    <a:pt x="85" y="240"/>
                  </a:lnTo>
                  <a:lnTo>
                    <a:pt x="85" y="240"/>
                  </a:lnTo>
                  <a:lnTo>
                    <a:pt x="88" y="233"/>
                  </a:lnTo>
                  <a:lnTo>
                    <a:pt x="90" y="225"/>
                  </a:lnTo>
                  <a:lnTo>
                    <a:pt x="93" y="223"/>
                  </a:lnTo>
                  <a:lnTo>
                    <a:pt x="98" y="220"/>
                  </a:lnTo>
                  <a:lnTo>
                    <a:pt x="103" y="218"/>
                  </a:lnTo>
                  <a:lnTo>
                    <a:pt x="107" y="218"/>
                  </a:lnTo>
                  <a:lnTo>
                    <a:pt x="115" y="218"/>
                  </a:lnTo>
                  <a:lnTo>
                    <a:pt x="120" y="220"/>
                  </a:lnTo>
                  <a:lnTo>
                    <a:pt x="122" y="223"/>
                  </a:lnTo>
                  <a:lnTo>
                    <a:pt x="125" y="225"/>
                  </a:lnTo>
                  <a:lnTo>
                    <a:pt x="127" y="230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27" y="247"/>
                  </a:lnTo>
                  <a:close/>
                  <a:moveTo>
                    <a:pt x="134" y="215"/>
                  </a:moveTo>
                  <a:lnTo>
                    <a:pt x="125" y="208"/>
                  </a:lnTo>
                  <a:lnTo>
                    <a:pt x="122" y="208"/>
                  </a:lnTo>
                  <a:lnTo>
                    <a:pt x="132" y="174"/>
                  </a:lnTo>
                  <a:lnTo>
                    <a:pt x="152" y="206"/>
                  </a:lnTo>
                  <a:lnTo>
                    <a:pt x="134" y="215"/>
                  </a:lnTo>
                  <a:close/>
                  <a:moveTo>
                    <a:pt x="223" y="186"/>
                  </a:moveTo>
                  <a:lnTo>
                    <a:pt x="213" y="169"/>
                  </a:lnTo>
                  <a:lnTo>
                    <a:pt x="201" y="176"/>
                  </a:lnTo>
                  <a:lnTo>
                    <a:pt x="210" y="193"/>
                  </a:lnTo>
                  <a:lnTo>
                    <a:pt x="171" y="215"/>
                  </a:lnTo>
                  <a:lnTo>
                    <a:pt x="122" y="132"/>
                  </a:lnTo>
                  <a:lnTo>
                    <a:pt x="161" y="110"/>
                  </a:lnTo>
                  <a:lnTo>
                    <a:pt x="174" y="127"/>
                  </a:lnTo>
                  <a:lnTo>
                    <a:pt x="186" y="122"/>
                  </a:lnTo>
                  <a:lnTo>
                    <a:pt x="174" y="103"/>
                  </a:lnTo>
                  <a:lnTo>
                    <a:pt x="213" y="81"/>
                  </a:lnTo>
                  <a:lnTo>
                    <a:pt x="262" y="164"/>
                  </a:lnTo>
                  <a:lnTo>
                    <a:pt x="223" y="18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42">
            <a:extLst>
              <a:ext uri="{FF2B5EF4-FFF2-40B4-BE49-F238E27FC236}">
                <a16:creationId xmlns:a16="http://schemas.microsoft.com/office/drawing/2014/main" id="{625658AD-DA50-47B4-A5B6-0E11FD89AF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19" y="349251"/>
            <a:ext cx="841375" cy="841375"/>
            <a:chOff x="3246" y="281"/>
            <a:chExt cx="530" cy="530"/>
          </a:xfrm>
        </p:grpSpPr>
        <p:sp>
          <p:nvSpPr>
            <p:cNvPr id="49" name="AutoShape 41">
              <a:extLst>
                <a:ext uri="{FF2B5EF4-FFF2-40B4-BE49-F238E27FC236}">
                  <a16:creationId xmlns:a16="http://schemas.microsoft.com/office/drawing/2014/main" id="{351A8099-30BD-4555-8546-1D9F0F09A7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46" y="28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43">
              <a:extLst>
                <a:ext uri="{FF2B5EF4-FFF2-40B4-BE49-F238E27FC236}">
                  <a16:creationId xmlns:a16="http://schemas.microsoft.com/office/drawing/2014/main" id="{0926EC3C-E095-44D4-9EF6-6FFC54140B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6" y="28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CBAB1DFE-47CF-46E5-9339-7FC462DCE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4" y="29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223D207E-C574-4428-9AC1-6A7CF960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1" y="414"/>
              <a:ext cx="302" cy="287"/>
            </a:xfrm>
            <a:custGeom>
              <a:avLst/>
              <a:gdLst>
                <a:gd name="T0" fmla="*/ 302 w 302"/>
                <a:gd name="T1" fmla="*/ 164 h 287"/>
                <a:gd name="T2" fmla="*/ 297 w 302"/>
                <a:gd name="T3" fmla="*/ 159 h 287"/>
                <a:gd name="T4" fmla="*/ 287 w 302"/>
                <a:gd name="T5" fmla="*/ 164 h 287"/>
                <a:gd name="T6" fmla="*/ 210 w 302"/>
                <a:gd name="T7" fmla="*/ 74 h 287"/>
                <a:gd name="T8" fmla="*/ 79 w 302"/>
                <a:gd name="T9" fmla="*/ 51 h 287"/>
                <a:gd name="T10" fmla="*/ 51 w 302"/>
                <a:gd name="T11" fmla="*/ 10 h 287"/>
                <a:gd name="T12" fmla="*/ 41 w 302"/>
                <a:gd name="T13" fmla="*/ 8 h 287"/>
                <a:gd name="T14" fmla="*/ 3 w 302"/>
                <a:gd name="T15" fmla="*/ 8 h 287"/>
                <a:gd name="T16" fmla="*/ 0 w 302"/>
                <a:gd name="T17" fmla="*/ 13 h 287"/>
                <a:gd name="T18" fmla="*/ 3 w 302"/>
                <a:gd name="T19" fmla="*/ 21 h 287"/>
                <a:gd name="T20" fmla="*/ 5 w 302"/>
                <a:gd name="T21" fmla="*/ 21 h 287"/>
                <a:gd name="T22" fmla="*/ 44 w 302"/>
                <a:gd name="T23" fmla="*/ 23 h 287"/>
                <a:gd name="T24" fmla="*/ 49 w 302"/>
                <a:gd name="T25" fmla="*/ 28 h 287"/>
                <a:gd name="T26" fmla="*/ 115 w 302"/>
                <a:gd name="T27" fmla="*/ 213 h 287"/>
                <a:gd name="T28" fmla="*/ 100 w 302"/>
                <a:gd name="T29" fmla="*/ 215 h 287"/>
                <a:gd name="T30" fmla="*/ 85 w 302"/>
                <a:gd name="T31" fmla="*/ 228 h 287"/>
                <a:gd name="T32" fmla="*/ 77 w 302"/>
                <a:gd name="T33" fmla="*/ 241 h 287"/>
                <a:gd name="T34" fmla="*/ 74 w 302"/>
                <a:gd name="T35" fmla="*/ 251 h 287"/>
                <a:gd name="T36" fmla="*/ 79 w 302"/>
                <a:gd name="T37" fmla="*/ 266 h 287"/>
                <a:gd name="T38" fmla="*/ 90 w 302"/>
                <a:gd name="T39" fmla="*/ 279 h 287"/>
                <a:gd name="T40" fmla="*/ 105 w 302"/>
                <a:gd name="T41" fmla="*/ 287 h 287"/>
                <a:gd name="T42" fmla="*/ 126 w 302"/>
                <a:gd name="T43" fmla="*/ 284 h 287"/>
                <a:gd name="T44" fmla="*/ 138 w 302"/>
                <a:gd name="T45" fmla="*/ 274 h 287"/>
                <a:gd name="T46" fmla="*/ 149 w 302"/>
                <a:gd name="T47" fmla="*/ 259 h 287"/>
                <a:gd name="T48" fmla="*/ 149 w 302"/>
                <a:gd name="T49" fmla="*/ 251 h 287"/>
                <a:gd name="T50" fmla="*/ 149 w 302"/>
                <a:gd name="T51" fmla="*/ 238 h 287"/>
                <a:gd name="T52" fmla="*/ 174 w 302"/>
                <a:gd name="T53" fmla="*/ 243 h 287"/>
                <a:gd name="T54" fmla="*/ 302 w 302"/>
                <a:gd name="T55" fmla="*/ 169 h 287"/>
                <a:gd name="T56" fmla="*/ 87 w 302"/>
                <a:gd name="T57" fmla="*/ 64 h 287"/>
                <a:gd name="T58" fmla="*/ 126 w 302"/>
                <a:gd name="T59" fmla="*/ 59 h 287"/>
                <a:gd name="T60" fmla="*/ 131 w 302"/>
                <a:gd name="T61" fmla="*/ 38 h 287"/>
                <a:gd name="T62" fmla="*/ 197 w 302"/>
                <a:gd name="T63" fmla="*/ 82 h 287"/>
                <a:gd name="T64" fmla="*/ 161 w 302"/>
                <a:gd name="T65" fmla="*/ 90 h 287"/>
                <a:gd name="T66" fmla="*/ 154 w 302"/>
                <a:gd name="T67" fmla="*/ 108 h 287"/>
                <a:gd name="T68" fmla="*/ 133 w 302"/>
                <a:gd name="T69" fmla="*/ 259 h 287"/>
                <a:gd name="T70" fmla="*/ 128 w 302"/>
                <a:gd name="T71" fmla="*/ 266 h 287"/>
                <a:gd name="T72" fmla="*/ 118 w 302"/>
                <a:gd name="T73" fmla="*/ 271 h 287"/>
                <a:gd name="T74" fmla="*/ 105 w 302"/>
                <a:gd name="T75" fmla="*/ 271 h 287"/>
                <a:gd name="T76" fmla="*/ 95 w 302"/>
                <a:gd name="T77" fmla="*/ 266 h 287"/>
                <a:gd name="T78" fmla="*/ 90 w 302"/>
                <a:gd name="T79" fmla="*/ 259 h 287"/>
                <a:gd name="T80" fmla="*/ 90 w 302"/>
                <a:gd name="T81" fmla="*/ 251 h 287"/>
                <a:gd name="T82" fmla="*/ 95 w 302"/>
                <a:gd name="T83" fmla="*/ 236 h 287"/>
                <a:gd name="T84" fmla="*/ 103 w 302"/>
                <a:gd name="T85" fmla="*/ 230 h 287"/>
                <a:gd name="T86" fmla="*/ 113 w 302"/>
                <a:gd name="T87" fmla="*/ 228 h 287"/>
                <a:gd name="T88" fmla="*/ 126 w 302"/>
                <a:gd name="T89" fmla="*/ 230 h 287"/>
                <a:gd name="T90" fmla="*/ 131 w 302"/>
                <a:gd name="T91" fmla="*/ 236 h 287"/>
                <a:gd name="T92" fmla="*/ 136 w 302"/>
                <a:gd name="T93" fmla="*/ 248 h 287"/>
                <a:gd name="T94" fmla="*/ 133 w 302"/>
                <a:gd name="T95" fmla="*/ 259 h 287"/>
                <a:gd name="T96" fmla="*/ 131 w 302"/>
                <a:gd name="T97" fmla="*/ 218 h 287"/>
                <a:gd name="T98" fmla="*/ 138 w 302"/>
                <a:gd name="T99" fmla="*/ 182 h 287"/>
                <a:gd name="T100" fmla="*/ 141 w 302"/>
                <a:gd name="T101" fmla="*/ 225 h 287"/>
                <a:gd name="T102" fmla="*/ 223 w 302"/>
                <a:gd name="T103" fmla="*/ 177 h 287"/>
                <a:gd name="T104" fmla="*/ 220 w 302"/>
                <a:gd name="T105" fmla="*/ 202 h 287"/>
                <a:gd name="T106" fmla="*/ 128 w 302"/>
                <a:gd name="T107" fmla="*/ 138 h 287"/>
                <a:gd name="T108" fmla="*/ 182 w 302"/>
                <a:gd name="T109" fmla="*/ 133 h 287"/>
                <a:gd name="T110" fmla="*/ 182 w 302"/>
                <a:gd name="T111" fmla="*/ 108 h 287"/>
                <a:gd name="T112" fmla="*/ 274 w 302"/>
                <a:gd name="T113" fmla="*/ 17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2" h="287">
                  <a:moveTo>
                    <a:pt x="302" y="169"/>
                  </a:moveTo>
                  <a:lnTo>
                    <a:pt x="302" y="164"/>
                  </a:lnTo>
                  <a:lnTo>
                    <a:pt x="300" y="161"/>
                  </a:lnTo>
                  <a:lnTo>
                    <a:pt x="297" y="159"/>
                  </a:lnTo>
                  <a:lnTo>
                    <a:pt x="292" y="161"/>
                  </a:lnTo>
                  <a:lnTo>
                    <a:pt x="287" y="164"/>
                  </a:lnTo>
                  <a:lnTo>
                    <a:pt x="228" y="64"/>
                  </a:lnTo>
                  <a:lnTo>
                    <a:pt x="210" y="74"/>
                  </a:lnTo>
                  <a:lnTo>
                    <a:pt x="167" y="0"/>
                  </a:lnTo>
                  <a:lnTo>
                    <a:pt x="79" y="51"/>
                  </a:lnTo>
                  <a:lnTo>
                    <a:pt x="59" y="18"/>
                  </a:lnTo>
                  <a:lnTo>
                    <a:pt x="51" y="10"/>
                  </a:lnTo>
                  <a:lnTo>
                    <a:pt x="46" y="8"/>
                  </a:lnTo>
                  <a:lnTo>
                    <a:pt x="41" y="8"/>
                  </a:lnTo>
                  <a:lnTo>
                    <a:pt x="36" y="5"/>
                  </a:lnTo>
                  <a:lnTo>
                    <a:pt x="3" y="8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9" y="21"/>
                  </a:lnTo>
                  <a:lnTo>
                    <a:pt x="44" y="23"/>
                  </a:lnTo>
                  <a:lnTo>
                    <a:pt x="49" y="26"/>
                  </a:lnTo>
                  <a:lnTo>
                    <a:pt x="49" y="28"/>
                  </a:lnTo>
                  <a:lnTo>
                    <a:pt x="128" y="164"/>
                  </a:lnTo>
                  <a:lnTo>
                    <a:pt x="115" y="213"/>
                  </a:lnTo>
                  <a:lnTo>
                    <a:pt x="110" y="213"/>
                  </a:lnTo>
                  <a:lnTo>
                    <a:pt x="100" y="215"/>
                  </a:lnTo>
                  <a:lnTo>
                    <a:pt x="92" y="220"/>
                  </a:lnTo>
                  <a:lnTo>
                    <a:pt x="85" y="228"/>
                  </a:lnTo>
                  <a:lnTo>
                    <a:pt x="79" y="236"/>
                  </a:lnTo>
                  <a:lnTo>
                    <a:pt x="77" y="241"/>
                  </a:lnTo>
                  <a:lnTo>
                    <a:pt x="74" y="248"/>
                  </a:lnTo>
                  <a:lnTo>
                    <a:pt x="74" y="251"/>
                  </a:lnTo>
                  <a:lnTo>
                    <a:pt x="77" y="259"/>
                  </a:lnTo>
                  <a:lnTo>
                    <a:pt x="79" y="266"/>
                  </a:lnTo>
                  <a:lnTo>
                    <a:pt x="85" y="271"/>
                  </a:lnTo>
                  <a:lnTo>
                    <a:pt x="90" y="279"/>
                  </a:lnTo>
                  <a:lnTo>
                    <a:pt x="97" y="284"/>
                  </a:lnTo>
                  <a:lnTo>
                    <a:pt x="105" y="287"/>
                  </a:lnTo>
                  <a:lnTo>
                    <a:pt x="113" y="287"/>
                  </a:lnTo>
                  <a:lnTo>
                    <a:pt x="126" y="284"/>
                  </a:lnTo>
                  <a:lnTo>
                    <a:pt x="133" y="279"/>
                  </a:lnTo>
                  <a:lnTo>
                    <a:pt x="138" y="274"/>
                  </a:lnTo>
                  <a:lnTo>
                    <a:pt x="146" y="269"/>
                  </a:lnTo>
                  <a:lnTo>
                    <a:pt x="149" y="259"/>
                  </a:lnTo>
                  <a:lnTo>
                    <a:pt x="149" y="254"/>
                  </a:lnTo>
                  <a:lnTo>
                    <a:pt x="149" y="251"/>
                  </a:lnTo>
                  <a:lnTo>
                    <a:pt x="149" y="243"/>
                  </a:lnTo>
                  <a:lnTo>
                    <a:pt x="149" y="238"/>
                  </a:lnTo>
                  <a:lnTo>
                    <a:pt x="167" y="228"/>
                  </a:lnTo>
                  <a:lnTo>
                    <a:pt x="174" y="243"/>
                  </a:lnTo>
                  <a:lnTo>
                    <a:pt x="302" y="172"/>
                  </a:lnTo>
                  <a:lnTo>
                    <a:pt x="302" y="169"/>
                  </a:lnTo>
                  <a:close/>
                  <a:moveTo>
                    <a:pt x="123" y="125"/>
                  </a:moveTo>
                  <a:lnTo>
                    <a:pt x="87" y="64"/>
                  </a:lnTo>
                  <a:lnTo>
                    <a:pt x="118" y="46"/>
                  </a:lnTo>
                  <a:lnTo>
                    <a:pt x="126" y="59"/>
                  </a:lnTo>
                  <a:lnTo>
                    <a:pt x="138" y="51"/>
                  </a:lnTo>
                  <a:lnTo>
                    <a:pt x="131" y="38"/>
                  </a:lnTo>
                  <a:lnTo>
                    <a:pt x="161" y="21"/>
                  </a:lnTo>
                  <a:lnTo>
                    <a:pt x="197" y="82"/>
                  </a:lnTo>
                  <a:lnTo>
                    <a:pt x="167" y="100"/>
                  </a:lnTo>
                  <a:lnTo>
                    <a:pt x="161" y="90"/>
                  </a:lnTo>
                  <a:lnTo>
                    <a:pt x="149" y="97"/>
                  </a:lnTo>
                  <a:lnTo>
                    <a:pt x="154" y="108"/>
                  </a:lnTo>
                  <a:lnTo>
                    <a:pt x="123" y="125"/>
                  </a:lnTo>
                  <a:close/>
                  <a:moveTo>
                    <a:pt x="133" y="259"/>
                  </a:moveTo>
                  <a:lnTo>
                    <a:pt x="131" y="264"/>
                  </a:lnTo>
                  <a:lnTo>
                    <a:pt x="128" y="266"/>
                  </a:lnTo>
                  <a:lnTo>
                    <a:pt x="123" y="269"/>
                  </a:lnTo>
                  <a:lnTo>
                    <a:pt x="118" y="271"/>
                  </a:lnTo>
                  <a:lnTo>
                    <a:pt x="113" y="271"/>
                  </a:lnTo>
                  <a:lnTo>
                    <a:pt x="105" y="271"/>
                  </a:lnTo>
                  <a:lnTo>
                    <a:pt x="100" y="269"/>
                  </a:lnTo>
                  <a:lnTo>
                    <a:pt x="95" y="266"/>
                  </a:lnTo>
                  <a:lnTo>
                    <a:pt x="92" y="261"/>
                  </a:lnTo>
                  <a:lnTo>
                    <a:pt x="90" y="259"/>
                  </a:lnTo>
                  <a:lnTo>
                    <a:pt x="90" y="251"/>
                  </a:lnTo>
                  <a:lnTo>
                    <a:pt x="90" y="251"/>
                  </a:lnTo>
                  <a:lnTo>
                    <a:pt x="92" y="243"/>
                  </a:lnTo>
                  <a:lnTo>
                    <a:pt x="95" y="236"/>
                  </a:lnTo>
                  <a:lnTo>
                    <a:pt x="97" y="233"/>
                  </a:lnTo>
                  <a:lnTo>
                    <a:pt x="103" y="230"/>
                  </a:lnTo>
                  <a:lnTo>
                    <a:pt x="108" y="228"/>
                  </a:lnTo>
                  <a:lnTo>
                    <a:pt x="113" y="228"/>
                  </a:lnTo>
                  <a:lnTo>
                    <a:pt x="120" y="228"/>
                  </a:lnTo>
                  <a:lnTo>
                    <a:pt x="126" y="230"/>
                  </a:lnTo>
                  <a:lnTo>
                    <a:pt x="128" y="233"/>
                  </a:lnTo>
                  <a:lnTo>
                    <a:pt x="131" y="236"/>
                  </a:lnTo>
                  <a:lnTo>
                    <a:pt x="133" y="241"/>
                  </a:lnTo>
                  <a:lnTo>
                    <a:pt x="136" y="248"/>
                  </a:lnTo>
                  <a:lnTo>
                    <a:pt x="136" y="251"/>
                  </a:lnTo>
                  <a:lnTo>
                    <a:pt x="133" y="259"/>
                  </a:lnTo>
                  <a:close/>
                  <a:moveTo>
                    <a:pt x="141" y="225"/>
                  </a:moveTo>
                  <a:lnTo>
                    <a:pt x="131" y="218"/>
                  </a:lnTo>
                  <a:lnTo>
                    <a:pt x="128" y="218"/>
                  </a:lnTo>
                  <a:lnTo>
                    <a:pt x="138" y="182"/>
                  </a:lnTo>
                  <a:lnTo>
                    <a:pt x="159" y="215"/>
                  </a:lnTo>
                  <a:lnTo>
                    <a:pt x="141" y="225"/>
                  </a:lnTo>
                  <a:close/>
                  <a:moveTo>
                    <a:pt x="233" y="195"/>
                  </a:moveTo>
                  <a:lnTo>
                    <a:pt x="223" y="177"/>
                  </a:lnTo>
                  <a:lnTo>
                    <a:pt x="210" y="184"/>
                  </a:lnTo>
                  <a:lnTo>
                    <a:pt x="220" y="202"/>
                  </a:lnTo>
                  <a:lnTo>
                    <a:pt x="179" y="225"/>
                  </a:lnTo>
                  <a:lnTo>
                    <a:pt x="128" y="138"/>
                  </a:lnTo>
                  <a:lnTo>
                    <a:pt x="169" y="115"/>
                  </a:lnTo>
                  <a:lnTo>
                    <a:pt x="182" y="133"/>
                  </a:lnTo>
                  <a:lnTo>
                    <a:pt x="195" y="128"/>
                  </a:lnTo>
                  <a:lnTo>
                    <a:pt x="182" y="108"/>
                  </a:lnTo>
                  <a:lnTo>
                    <a:pt x="223" y="85"/>
                  </a:lnTo>
                  <a:lnTo>
                    <a:pt x="274" y="172"/>
                  </a:lnTo>
                  <a:lnTo>
                    <a:pt x="233" y="1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48">
            <a:extLst>
              <a:ext uri="{FF2B5EF4-FFF2-40B4-BE49-F238E27FC236}">
                <a16:creationId xmlns:a16="http://schemas.microsoft.com/office/drawing/2014/main" id="{1996C934-1B97-4A99-B471-D4D6A31CEF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578" y="393702"/>
            <a:ext cx="760412" cy="760412"/>
            <a:chOff x="4869" y="373"/>
            <a:chExt cx="479" cy="479"/>
          </a:xfrm>
        </p:grpSpPr>
        <p:sp>
          <p:nvSpPr>
            <p:cNvPr id="58" name="AutoShape 47">
              <a:extLst>
                <a:ext uri="{FF2B5EF4-FFF2-40B4-BE49-F238E27FC236}">
                  <a16:creationId xmlns:a16="http://schemas.microsoft.com/office/drawing/2014/main" id="{95500A34-9145-4A6C-9714-27BBDD61F8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69" y="373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6B2AC725-220D-4F90-ACC4-89019F087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1" y="375"/>
              <a:ext cx="477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2D1A70E0-79DF-4711-8B8C-F0BFBE2AF2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2" y="498"/>
              <a:ext cx="236" cy="231"/>
            </a:xfrm>
            <a:custGeom>
              <a:avLst/>
              <a:gdLst>
                <a:gd name="T0" fmla="*/ 0 w 96"/>
                <a:gd name="T1" fmla="*/ 47 h 94"/>
                <a:gd name="T2" fmla="*/ 96 w 96"/>
                <a:gd name="T3" fmla="*/ 47 h 94"/>
                <a:gd name="T4" fmla="*/ 4 w 96"/>
                <a:gd name="T5" fmla="*/ 51 h 94"/>
                <a:gd name="T6" fmla="*/ 4 w 96"/>
                <a:gd name="T7" fmla="*/ 43 h 94"/>
                <a:gd name="T8" fmla="*/ 6 w 96"/>
                <a:gd name="T9" fmla="*/ 42 h 94"/>
                <a:gd name="T10" fmla="*/ 17 w 96"/>
                <a:gd name="T11" fmla="*/ 42 h 94"/>
                <a:gd name="T12" fmla="*/ 32 w 96"/>
                <a:gd name="T13" fmla="*/ 39 h 94"/>
                <a:gd name="T14" fmla="*/ 29 w 96"/>
                <a:gd name="T15" fmla="*/ 48 h 94"/>
                <a:gd name="T16" fmla="*/ 31 w 96"/>
                <a:gd name="T17" fmla="*/ 56 h 94"/>
                <a:gd name="T18" fmla="*/ 8 w 96"/>
                <a:gd name="T19" fmla="*/ 53 h 94"/>
                <a:gd name="T20" fmla="*/ 4 w 96"/>
                <a:gd name="T21" fmla="*/ 51 h 94"/>
                <a:gd name="T22" fmla="*/ 37 w 96"/>
                <a:gd name="T23" fmla="*/ 89 h 94"/>
                <a:gd name="T24" fmla="*/ 5 w 96"/>
                <a:gd name="T25" fmla="*/ 58 h 94"/>
                <a:gd name="T26" fmla="*/ 8 w 96"/>
                <a:gd name="T27" fmla="*/ 56 h 94"/>
                <a:gd name="T28" fmla="*/ 34 w 96"/>
                <a:gd name="T29" fmla="*/ 61 h 94"/>
                <a:gd name="T30" fmla="*/ 35 w 96"/>
                <a:gd name="T31" fmla="*/ 66 h 94"/>
                <a:gd name="T32" fmla="*/ 38 w 96"/>
                <a:gd name="T33" fmla="*/ 78 h 94"/>
                <a:gd name="T34" fmla="*/ 33 w 96"/>
                <a:gd name="T35" fmla="*/ 48 h 94"/>
                <a:gd name="T36" fmla="*/ 62 w 96"/>
                <a:gd name="T37" fmla="*/ 48 h 94"/>
                <a:gd name="T38" fmla="*/ 33 w 96"/>
                <a:gd name="T39" fmla="*/ 48 h 94"/>
                <a:gd name="T40" fmla="*/ 53 w 96"/>
                <a:gd name="T41" fmla="*/ 77 h 94"/>
                <a:gd name="T42" fmla="*/ 53 w 96"/>
                <a:gd name="T43" fmla="*/ 90 h 94"/>
                <a:gd name="T44" fmla="*/ 48 w 96"/>
                <a:gd name="T45" fmla="*/ 90 h 94"/>
                <a:gd name="T46" fmla="*/ 41 w 96"/>
                <a:gd name="T47" fmla="*/ 90 h 94"/>
                <a:gd name="T48" fmla="*/ 42 w 96"/>
                <a:gd name="T49" fmla="*/ 77 h 94"/>
                <a:gd name="T50" fmla="*/ 38 w 96"/>
                <a:gd name="T51" fmla="*/ 64 h 94"/>
                <a:gd name="T52" fmla="*/ 47 w 96"/>
                <a:gd name="T53" fmla="*/ 66 h 94"/>
                <a:gd name="T54" fmla="*/ 56 w 96"/>
                <a:gd name="T55" fmla="*/ 64 h 94"/>
                <a:gd name="T56" fmla="*/ 91 w 96"/>
                <a:gd name="T57" fmla="*/ 60 h 94"/>
                <a:gd name="T58" fmla="*/ 57 w 96"/>
                <a:gd name="T59" fmla="*/ 89 h 94"/>
                <a:gd name="T60" fmla="*/ 57 w 96"/>
                <a:gd name="T61" fmla="*/ 78 h 94"/>
                <a:gd name="T62" fmla="*/ 60 w 96"/>
                <a:gd name="T63" fmla="*/ 62 h 94"/>
                <a:gd name="T64" fmla="*/ 61 w 96"/>
                <a:gd name="T65" fmla="*/ 61 h 94"/>
                <a:gd name="T66" fmla="*/ 87 w 96"/>
                <a:gd name="T67" fmla="*/ 56 h 94"/>
                <a:gd name="T68" fmla="*/ 91 w 96"/>
                <a:gd name="T69" fmla="*/ 60 h 94"/>
                <a:gd name="T70" fmla="*/ 93 w 96"/>
                <a:gd name="T71" fmla="*/ 47 h 94"/>
                <a:gd name="T72" fmla="*/ 92 w 96"/>
                <a:gd name="T73" fmla="*/ 53 h 94"/>
                <a:gd name="T74" fmla="*/ 66 w 96"/>
                <a:gd name="T75" fmla="*/ 55 h 94"/>
                <a:gd name="T76" fmla="*/ 65 w 96"/>
                <a:gd name="T77" fmla="*/ 53 h 94"/>
                <a:gd name="T78" fmla="*/ 64 w 96"/>
                <a:gd name="T79" fmla="*/ 41 h 94"/>
                <a:gd name="T80" fmla="*/ 67 w 96"/>
                <a:gd name="T81" fmla="*/ 40 h 94"/>
                <a:gd name="T82" fmla="*/ 90 w 96"/>
                <a:gd name="T83" fmla="*/ 42 h 94"/>
                <a:gd name="T84" fmla="*/ 92 w 96"/>
                <a:gd name="T85" fmla="*/ 43 h 94"/>
                <a:gd name="T86" fmla="*/ 90 w 96"/>
                <a:gd name="T87" fmla="*/ 39 h 94"/>
                <a:gd name="T88" fmla="*/ 86 w 96"/>
                <a:gd name="T89" fmla="*/ 39 h 94"/>
                <a:gd name="T90" fmla="*/ 58 w 96"/>
                <a:gd name="T91" fmla="*/ 33 h 94"/>
                <a:gd name="T92" fmla="*/ 56 w 96"/>
                <a:gd name="T93" fmla="*/ 32 h 94"/>
                <a:gd name="T94" fmla="*/ 39 w 96"/>
                <a:gd name="T95" fmla="*/ 32 h 94"/>
                <a:gd name="T96" fmla="*/ 37 w 96"/>
                <a:gd name="T97" fmla="*/ 33 h 94"/>
                <a:gd name="T98" fmla="*/ 11 w 96"/>
                <a:gd name="T99" fmla="*/ 39 h 94"/>
                <a:gd name="T100" fmla="*/ 6 w 96"/>
                <a:gd name="T101" fmla="*/ 39 h 94"/>
                <a:gd name="T102" fmla="*/ 5 w 96"/>
                <a:gd name="T103" fmla="*/ 36 h 94"/>
                <a:gd name="T104" fmla="*/ 91 w 96"/>
                <a:gd name="T105" fmla="*/ 3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4">
                  <a:moveTo>
                    <a:pt x="48" y="0"/>
                  </a:moveTo>
                  <a:cubicBezTo>
                    <a:pt x="21" y="0"/>
                    <a:pt x="0" y="21"/>
                    <a:pt x="0" y="47"/>
                  </a:cubicBezTo>
                  <a:cubicBezTo>
                    <a:pt x="0" y="73"/>
                    <a:pt x="21" y="94"/>
                    <a:pt x="48" y="94"/>
                  </a:cubicBezTo>
                  <a:cubicBezTo>
                    <a:pt x="75" y="94"/>
                    <a:pt x="96" y="73"/>
                    <a:pt x="96" y="47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" y="51"/>
                  </a:moveTo>
                  <a:cubicBezTo>
                    <a:pt x="3" y="50"/>
                    <a:pt x="3" y="49"/>
                    <a:pt x="3" y="47"/>
                  </a:cubicBezTo>
                  <a:cubicBezTo>
                    <a:pt x="3" y="45"/>
                    <a:pt x="3" y="44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3"/>
                    <a:pt x="8" y="43"/>
                    <a:pt x="10" y="43"/>
                  </a:cubicBezTo>
                  <a:cubicBezTo>
                    <a:pt x="12" y="43"/>
                    <a:pt x="14" y="42"/>
                    <a:pt x="17" y="42"/>
                  </a:cubicBezTo>
                  <a:cubicBezTo>
                    <a:pt x="21" y="42"/>
                    <a:pt x="24" y="41"/>
                    <a:pt x="28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3"/>
                    <a:pt x="29" y="46"/>
                    <a:pt x="29" y="48"/>
                  </a:cubicBezTo>
                  <a:cubicBezTo>
                    <a:pt x="29" y="50"/>
                    <a:pt x="29" y="51"/>
                    <a:pt x="30" y="53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2" y="53"/>
                    <a:pt x="15" y="52"/>
                    <a:pt x="8" y="53"/>
                  </a:cubicBezTo>
                  <a:cubicBezTo>
                    <a:pt x="4" y="53"/>
                    <a:pt x="4" y="53"/>
                    <a:pt x="4" y="53"/>
                  </a:cubicBezTo>
                  <a:lnTo>
                    <a:pt x="4" y="51"/>
                  </a:lnTo>
                  <a:close/>
                  <a:moveTo>
                    <a:pt x="38" y="87"/>
                  </a:moveTo>
                  <a:cubicBezTo>
                    <a:pt x="37" y="89"/>
                    <a:pt x="37" y="89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21" y="85"/>
                    <a:pt x="9" y="73"/>
                    <a:pt x="5" y="58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15" y="56"/>
                    <a:pt x="22" y="57"/>
                    <a:pt x="29" y="59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5" y="64"/>
                    <a:pt x="35" y="66"/>
                  </a:cubicBezTo>
                  <a:cubicBezTo>
                    <a:pt x="35" y="67"/>
                    <a:pt x="36" y="69"/>
                    <a:pt x="36" y="70"/>
                  </a:cubicBezTo>
                  <a:cubicBezTo>
                    <a:pt x="37" y="73"/>
                    <a:pt x="37" y="75"/>
                    <a:pt x="38" y="78"/>
                  </a:cubicBezTo>
                  <a:cubicBezTo>
                    <a:pt x="38" y="81"/>
                    <a:pt x="38" y="85"/>
                    <a:pt x="38" y="87"/>
                  </a:cubicBezTo>
                  <a:close/>
                  <a:moveTo>
                    <a:pt x="33" y="48"/>
                  </a:moveTo>
                  <a:cubicBezTo>
                    <a:pt x="33" y="40"/>
                    <a:pt x="39" y="34"/>
                    <a:pt x="47" y="34"/>
                  </a:cubicBezTo>
                  <a:cubicBezTo>
                    <a:pt x="55" y="34"/>
                    <a:pt x="62" y="40"/>
                    <a:pt x="62" y="48"/>
                  </a:cubicBezTo>
                  <a:cubicBezTo>
                    <a:pt x="62" y="56"/>
                    <a:pt x="55" y="62"/>
                    <a:pt x="47" y="62"/>
                  </a:cubicBezTo>
                  <a:cubicBezTo>
                    <a:pt x="39" y="62"/>
                    <a:pt x="33" y="56"/>
                    <a:pt x="33" y="48"/>
                  </a:cubicBezTo>
                  <a:close/>
                  <a:moveTo>
                    <a:pt x="54" y="69"/>
                  </a:moveTo>
                  <a:cubicBezTo>
                    <a:pt x="54" y="71"/>
                    <a:pt x="53" y="74"/>
                    <a:pt x="53" y="77"/>
                  </a:cubicBezTo>
                  <a:cubicBezTo>
                    <a:pt x="52" y="81"/>
                    <a:pt x="52" y="85"/>
                    <a:pt x="53" y="88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7" y="90"/>
                    <a:pt x="45" y="90"/>
                    <a:pt x="44" y="90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5"/>
                    <a:pt x="42" y="81"/>
                    <a:pt x="42" y="77"/>
                  </a:cubicBezTo>
                  <a:cubicBezTo>
                    <a:pt x="41" y="74"/>
                    <a:pt x="40" y="72"/>
                    <a:pt x="40" y="69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6"/>
                    <a:pt x="45" y="66"/>
                    <a:pt x="47" y="66"/>
                  </a:cubicBezTo>
                  <a:cubicBezTo>
                    <a:pt x="50" y="66"/>
                    <a:pt x="52" y="65"/>
                    <a:pt x="54" y="65"/>
                  </a:cubicBezTo>
                  <a:cubicBezTo>
                    <a:pt x="56" y="64"/>
                    <a:pt x="56" y="64"/>
                    <a:pt x="56" y="64"/>
                  </a:cubicBezTo>
                  <a:lnTo>
                    <a:pt x="54" y="69"/>
                  </a:lnTo>
                  <a:close/>
                  <a:moveTo>
                    <a:pt x="91" y="60"/>
                  </a:moveTo>
                  <a:cubicBezTo>
                    <a:pt x="86" y="74"/>
                    <a:pt x="75" y="84"/>
                    <a:pt x="61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5"/>
                    <a:pt x="56" y="81"/>
                    <a:pt x="57" y="78"/>
                  </a:cubicBezTo>
                  <a:cubicBezTo>
                    <a:pt x="57" y="73"/>
                    <a:pt x="59" y="68"/>
                    <a:pt x="60" y="63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8" y="58"/>
                    <a:pt x="76" y="55"/>
                    <a:pt x="87" y="56"/>
                  </a:cubicBezTo>
                  <a:cubicBezTo>
                    <a:pt x="91" y="57"/>
                    <a:pt x="91" y="57"/>
                    <a:pt x="91" y="57"/>
                  </a:cubicBezTo>
                  <a:lnTo>
                    <a:pt x="91" y="60"/>
                  </a:lnTo>
                  <a:close/>
                  <a:moveTo>
                    <a:pt x="92" y="43"/>
                  </a:moveTo>
                  <a:cubicBezTo>
                    <a:pt x="93" y="44"/>
                    <a:pt x="93" y="45"/>
                    <a:pt x="93" y="47"/>
                  </a:cubicBezTo>
                  <a:cubicBezTo>
                    <a:pt x="93" y="49"/>
                    <a:pt x="93" y="50"/>
                    <a:pt x="92" y="5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2"/>
                    <a:pt x="73" y="53"/>
                    <a:pt x="66" y="55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5" y="52"/>
                    <a:pt x="66" y="50"/>
                    <a:pt x="66" y="48"/>
                  </a:cubicBezTo>
                  <a:cubicBezTo>
                    <a:pt x="66" y="46"/>
                    <a:pt x="65" y="43"/>
                    <a:pt x="64" y="41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71" y="41"/>
                    <a:pt x="75" y="42"/>
                    <a:pt x="78" y="42"/>
                  </a:cubicBezTo>
                  <a:cubicBezTo>
                    <a:pt x="83" y="43"/>
                    <a:pt x="86" y="43"/>
                    <a:pt x="90" y="42"/>
                  </a:cubicBezTo>
                  <a:cubicBezTo>
                    <a:pt x="92" y="42"/>
                    <a:pt x="92" y="42"/>
                    <a:pt x="92" y="42"/>
                  </a:cubicBezTo>
                  <a:lnTo>
                    <a:pt x="92" y="43"/>
                  </a:lnTo>
                  <a:close/>
                  <a:moveTo>
                    <a:pt x="92" y="38"/>
                  </a:moveTo>
                  <a:cubicBezTo>
                    <a:pt x="90" y="39"/>
                    <a:pt x="90" y="39"/>
                    <a:pt x="90" y="39"/>
                  </a:cubicBezTo>
                  <a:cubicBezTo>
                    <a:pt x="88" y="39"/>
                    <a:pt x="87" y="39"/>
                    <a:pt x="86" y="39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4" y="39"/>
                    <a:pt x="81" y="39"/>
                    <a:pt x="78" y="38"/>
                  </a:cubicBezTo>
                  <a:cubicBezTo>
                    <a:pt x="73" y="38"/>
                    <a:pt x="65" y="36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3" y="31"/>
                    <a:pt x="50" y="30"/>
                    <a:pt x="47" y="30"/>
                  </a:cubicBezTo>
                  <a:cubicBezTo>
                    <a:pt x="44" y="30"/>
                    <a:pt x="41" y="31"/>
                    <a:pt x="39" y="32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9" y="36"/>
                    <a:pt x="23" y="38"/>
                    <a:pt x="17" y="38"/>
                  </a:cubicBezTo>
                  <a:cubicBezTo>
                    <a:pt x="15" y="39"/>
                    <a:pt x="13" y="39"/>
                    <a:pt x="11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7" y="39"/>
                    <a:pt x="6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10" y="17"/>
                    <a:pt x="28" y="4"/>
                    <a:pt x="48" y="4"/>
                  </a:cubicBezTo>
                  <a:cubicBezTo>
                    <a:pt x="68" y="4"/>
                    <a:pt x="86" y="17"/>
                    <a:pt x="91" y="36"/>
                  </a:cubicBezTo>
                  <a:lnTo>
                    <a:pt x="92" y="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1">
              <a:extLst>
                <a:ext uri="{FF2B5EF4-FFF2-40B4-BE49-F238E27FC236}">
                  <a16:creationId xmlns:a16="http://schemas.microsoft.com/office/drawing/2014/main" id="{A6577FC2-4476-46D2-BF1F-8E270BAF8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" y="592"/>
              <a:ext cx="27" cy="29"/>
            </a:xfrm>
            <a:custGeom>
              <a:avLst/>
              <a:gdLst>
                <a:gd name="T0" fmla="*/ 11 w 11"/>
                <a:gd name="T1" fmla="*/ 2 h 12"/>
                <a:gd name="T2" fmla="*/ 9 w 11"/>
                <a:gd name="T3" fmla="*/ 0 h 12"/>
                <a:gd name="T4" fmla="*/ 3 w 11"/>
                <a:gd name="T5" fmla="*/ 3 h 12"/>
                <a:gd name="T6" fmla="*/ 0 w 11"/>
                <a:gd name="T7" fmla="*/ 10 h 12"/>
                <a:gd name="T8" fmla="*/ 1 w 11"/>
                <a:gd name="T9" fmla="*/ 12 h 12"/>
                <a:gd name="T10" fmla="*/ 3 w 11"/>
                <a:gd name="T11" fmla="*/ 10 h 12"/>
                <a:gd name="T12" fmla="*/ 5 w 11"/>
                <a:gd name="T13" fmla="*/ 6 h 12"/>
                <a:gd name="T14" fmla="*/ 9 w 11"/>
                <a:gd name="T15" fmla="*/ 4 h 12"/>
                <a:gd name="T16" fmla="*/ 11 w 1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2">
                  <a:moveTo>
                    <a:pt x="11" y="2"/>
                  </a:moveTo>
                  <a:cubicBezTo>
                    <a:pt x="11" y="1"/>
                    <a:pt x="10" y="0"/>
                    <a:pt x="9" y="0"/>
                  </a:cubicBezTo>
                  <a:cubicBezTo>
                    <a:pt x="7" y="0"/>
                    <a:pt x="5" y="1"/>
                    <a:pt x="3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3" y="12"/>
                    <a:pt x="3" y="11"/>
                    <a:pt x="3" y="10"/>
                  </a:cubicBezTo>
                  <a:cubicBezTo>
                    <a:pt x="3" y="8"/>
                    <a:pt x="4" y="7"/>
                    <a:pt x="5" y="6"/>
                  </a:cubicBezTo>
                  <a:cubicBezTo>
                    <a:pt x="6" y="5"/>
                    <a:pt x="8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A792757-2B72-48D1-B2B0-51606E67CF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5" y="474"/>
              <a:ext cx="290" cy="280"/>
            </a:xfrm>
            <a:custGeom>
              <a:avLst/>
              <a:gdLst>
                <a:gd name="T0" fmla="*/ 59 w 118"/>
                <a:gd name="T1" fmla="*/ 0 h 114"/>
                <a:gd name="T2" fmla="*/ 0 w 118"/>
                <a:gd name="T3" fmla="*/ 57 h 114"/>
                <a:gd name="T4" fmla="*/ 59 w 118"/>
                <a:gd name="T5" fmla="*/ 114 h 114"/>
                <a:gd name="T6" fmla="*/ 118 w 118"/>
                <a:gd name="T7" fmla="*/ 57 h 114"/>
                <a:gd name="T8" fmla="*/ 59 w 118"/>
                <a:gd name="T9" fmla="*/ 0 h 114"/>
                <a:gd name="T10" fmla="*/ 59 w 118"/>
                <a:gd name="T11" fmla="*/ 111 h 114"/>
                <a:gd name="T12" fmla="*/ 4 w 118"/>
                <a:gd name="T13" fmla="*/ 57 h 114"/>
                <a:gd name="T14" fmla="*/ 59 w 118"/>
                <a:gd name="T15" fmla="*/ 3 h 114"/>
                <a:gd name="T16" fmla="*/ 114 w 118"/>
                <a:gd name="T17" fmla="*/ 57 h 114"/>
                <a:gd name="T18" fmla="*/ 59 w 118"/>
                <a:gd name="T19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4">
                  <a:moveTo>
                    <a:pt x="59" y="0"/>
                  </a:moveTo>
                  <a:cubicBezTo>
                    <a:pt x="27" y="0"/>
                    <a:pt x="0" y="25"/>
                    <a:pt x="0" y="57"/>
                  </a:cubicBezTo>
                  <a:cubicBezTo>
                    <a:pt x="0" y="89"/>
                    <a:pt x="27" y="114"/>
                    <a:pt x="59" y="114"/>
                  </a:cubicBezTo>
                  <a:cubicBezTo>
                    <a:pt x="92" y="114"/>
                    <a:pt x="118" y="89"/>
                    <a:pt x="118" y="57"/>
                  </a:cubicBezTo>
                  <a:cubicBezTo>
                    <a:pt x="118" y="25"/>
                    <a:pt x="92" y="0"/>
                    <a:pt x="59" y="0"/>
                  </a:cubicBezTo>
                  <a:close/>
                  <a:moveTo>
                    <a:pt x="59" y="111"/>
                  </a:moveTo>
                  <a:cubicBezTo>
                    <a:pt x="29" y="111"/>
                    <a:pt x="4" y="87"/>
                    <a:pt x="4" y="57"/>
                  </a:cubicBezTo>
                  <a:cubicBezTo>
                    <a:pt x="4" y="27"/>
                    <a:pt x="29" y="3"/>
                    <a:pt x="59" y="3"/>
                  </a:cubicBezTo>
                  <a:cubicBezTo>
                    <a:pt x="89" y="3"/>
                    <a:pt x="114" y="27"/>
                    <a:pt x="114" y="57"/>
                  </a:cubicBezTo>
                  <a:cubicBezTo>
                    <a:pt x="114" y="87"/>
                    <a:pt x="89" y="111"/>
                    <a:pt x="59" y="11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3F02E8DC-983C-4435-AB93-6A51676218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2" y="498"/>
              <a:ext cx="236" cy="231"/>
            </a:xfrm>
            <a:custGeom>
              <a:avLst/>
              <a:gdLst>
                <a:gd name="T0" fmla="*/ 0 w 96"/>
                <a:gd name="T1" fmla="*/ 47 h 94"/>
                <a:gd name="T2" fmla="*/ 96 w 96"/>
                <a:gd name="T3" fmla="*/ 47 h 94"/>
                <a:gd name="T4" fmla="*/ 4 w 96"/>
                <a:gd name="T5" fmla="*/ 51 h 94"/>
                <a:gd name="T6" fmla="*/ 4 w 96"/>
                <a:gd name="T7" fmla="*/ 43 h 94"/>
                <a:gd name="T8" fmla="*/ 6 w 96"/>
                <a:gd name="T9" fmla="*/ 42 h 94"/>
                <a:gd name="T10" fmla="*/ 17 w 96"/>
                <a:gd name="T11" fmla="*/ 42 h 94"/>
                <a:gd name="T12" fmla="*/ 32 w 96"/>
                <a:gd name="T13" fmla="*/ 39 h 94"/>
                <a:gd name="T14" fmla="*/ 29 w 96"/>
                <a:gd name="T15" fmla="*/ 48 h 94"/>
                <a:gd name="T16" fmla="*/ 31 w 96"/>
                <a:gd name="T17" fmla="*/ 56 h 94"/>
                <a:gd name="T18" fmla="*/ 8 w 96"/>
                <a:gd name="T19" fmla="*/ 53 h 94"/>
                <a:gd name="T20" fmla="*/ 4 w 96"/>
                <a:gd name="T21" fmla="*/ 51 h 94"/>
                <a:gd name="T22" fmla="*/ 37 w 96"/>
                <a:gd name="T23" fmla="*/ 89 h 94"/>
                <a:gd name="T24" fmla="*/ 5 w 96"/>
                <a:gd name="T25" fmla="*/ 58 h 94"/>
                <a:gd name="T26" fmla="*/ 8 w 96"/>
                <a:gd name="T27" fmla="*/ 56 h 94"/>
                <a:gd name="T28" fmla="*/ 34 w 96"/>
                <a:gd name="T29" fmla="*/ 61 h 94"/>
                <a:gd name="T30" fmla="*/ 35 w 96"/>
                <a:gd name="T31" fmla="*/ 66 h 94"/>
                <a:gd name="T32" fmla="*/ 38 w 96"/>
                <a:gd name="T33" fmla="*/ 78 h 94"/>
                <a:gd name="T34" fmla="*/ 33 w 96"/>
                <a:gd name="T35" fmla="*/ 48 h 94"/>
                <a:gd name="T36" fmla="*/ 62 w 96"/>
                <a:gd name="T37" fmla="*/ 48 h 94"/>
                <a:gd name="T38" fmla="*/ 33 w 96"/>
                <a:gd name="T39" fmla="*/ 48 h 94"/>
                <a:gd name="T40" fmla="*/ 53 w 96"/>
                <a:gd name="T41" fmla="*/ 77 h 94"/>
                <a:gd name="T42" fmla="*/ 53 w 96"/>
                <a:gd name="T43" fmla="*/ 90 h 94"/>
                <a:gd name="T44" fmla="*/ 48 w 96"/>
                <a:gd name="T45" fmla="*/ 90 h 94"/>
                <a:gd name="T46" fmla="*/ 41 w 96"/>
                <a:gd name="T47" fmla="*/ 90 h 94"/>
                <a:gd name="T48" fmla="*/ 42 w 96"/>
                <a:gd name="T49" fmla="*/ 77 h 94"/>
                <a:gd name="T50" fmla="*/ 38 w 96"/>
                <a:gd name="T51" fmla="*/ 64 h 94"/>
                <a:gd name="T52" fmla="*/ 47 w 96"/>
                <a:gd name="T53" fmla="*/ 66 h 94"/>
                <a:gd name="T54" fmla="*/ 56 w 96"/>
                <a:gd name="T55" fmla="*/ 64 h 94"/>
                <a:gd name="T56" fmla="*/ 91 w 96"/>
                <a:gd name="T57" fmla="*/ 60 h 94"/>
                <a:gd name="T58" fmla="*/ 57 w 96"/>
                <a:gd name="T59" fmla="*/ 89 h 94"/>
                <a:gd name="T60" fmla="*/ 57 w 96"/>
                <a:gd name="T61" fmla="*/ 78 h 94"/>
                <a:gd name="T62" fmla="*/ 60 w 96"/>
                <a:gd name="T63" fmla="*/ 62 h 94"/>
                <a:gd name="T64" fmla="*/ 61 w 96"/>
                <a:gd name="T65" fmla="*/ 61 h 94"/>
                <a:gd name="T66" fmla="*/ 87 w 96"/>
                <a:gd name="T67" fmla="*/ 56 h 94"/>
                <a:gd name="T68" fmla="*/ 91 w 96"/>
                <a:gd name="T69" fmla="*/ 60 h 94"/>
                <a:gd name="T70" fmla="*/ 93 w 96"/>
                <a:gd name="T71" fmla="*/ 47 h 94"/>
                <a:gd name="T72" fmla="*/ 92 w 96"/>
                <a:gd name="T73" fmla="*/ 53 h 94"/>
                <a:gd name="T74" fmla="*/ 66 w 96"/>
                <a:gd name="T75" fmla="*/ 55 h 94"/>
                <a:gd name="T76" fmla="*/ 65 w 96"/>
                <a:gd name="T77" fmla="*/ 53 h 94"/>
                <a:gd name="T78" fmla="*/ 64 w 96"/>
                <a:gd name="T79" fmla="*/ 41 h 94"/>
                <a:gd name="T80" fmla="*/ 67 w 96"/>
                <a:gd name="T81" fmla="*/ 40 h 94"/>
                <a:gd name="T82" fmla="*/ 90 w 96"/>
                <a:gd name="T83" fmla="*/ 42 h 94"/>
                <a:gd name="T84" fmla="*/ 92 w 96"/>
                <a:gd name="T85" fmla="*/ 43 h 94"/>
                <a:gd name="T86" fmla="*/ 90 w 96"/>
                <a:gd name="T87" fmla="*/ 39 h 94"/>
                <a:gd name="T88" fmla="*/ 86 w 96"/>
                <a:gd name="T89" fmla="*/ 39 h 94"/>
                <a:gd name="T90" fmla="*/ 58 w 96"/>
                <a:gd name="T91" fmla="*/ 33 h 94"/>
                <a:gd name="T92" fmla="*/ 56 w 96"/>
                <a:gd name="T93" fmla="*/ 32 h 94"/>
                <a:gd name="T94" fmla="*/ 39 w 96"/>
                <a:gd name="T95" fmla="*/ 32 h 94"/>
                <a:gd name="T96" fmla="*/ 37 w 96"/>
                <a:gd name="T97" fmla="*/ 33 h 94"/>
                <a:gd name="T98" fmla="*/ 11 w 96"/>
                <a:gd name="T99" fmla="*/ 39 h 94"/>
                <a:gd name="T100" fmla="*/ 6 w 96"/>
                <a:gd name="T101" fmla="*/ 39 h 94"/>
                <a:gd name="T102" fmla="*/ 5 w 96"/>
                <a:gd name="T103" fmla="*/ 36 h 94"/>
                <a:gd name="T104" fmla="*/ 91 w 96"/>
                <a:gd name="T105" fmla="*/ 3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4">
                  <a:moveTo>
                    <a:pt x="48" y="0"/>
                  </a:moveTo>
                  <a:cubicBezTo>
                    <a:pt x="21" y="0"/>
                    <a:pt x="0" y="21"/>
                    <a:pt x="0" y="47"/>
                  </a:cubicBezTo>
                  <a:cubicBezTo>
                    <a:pt x="0" y="73"/>
                    <a:pt x="21" y="94"/>
                    <a:pt x="48" y="94"/>
                  </a:cubicBezTo>
                  <a:cubicBezTo>
                    <a:pt x="75" y="94"/>
                    <a:pt x="96" y="73"/>
                    <a:pt x="96" y="47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" y="51"/>
                  </a:moveTo>
                  <a:cubicBezTo>
                    <a:pt x="3" y="50"/>
                    <a:pt x="3" y="49"/>
                    <a:pt x="3" y="47"/>
                  </a:cubicBezTo>
                  <a:cubicBezTo>
                    <a:pt x="3" y="45"/>
                    <a:pt x="3" y="44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3"/>
                    <a:pt x="8" y="43"/>
                    <a:pt x="10" y="43"/>
                  </a:cubicBezTo>
                  <a:cubicBezTo>
                    <a:pt x="12" y="43"/>
                    <a:pt x="14" y="42"/>
                    <a:pt x="17" y="42"/>
                  </a:cubicBezTo>
                  <a:cubicBezTo>
                    <a:pt x="21" y="42"/>
                    <a:pt x="24" y="41"/>
                    <a:pt x="28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3"/>
                    <a:pt x="29" y="46"/>
                    <a:pt x="29" y="48"/>
                  </a:cubicBezTo>
                  <a:cubicBezTo>
                    <a:pt x="29" y="50"/>
                    <a:pt x="29" y="51"/>
                    <a:pt x="30" y="53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2" y="53"/>
                    <a:pt x="15" y="52"/>
                    <a:pt x="8" y="53"/>
                  </a:cubicBezTo>
                  <a:cubicBezTo>
                    <a:pt x="4" y="53"/>
                    <a:pt x="4" y="53"/>
                    <a:pt x="4" y="53"/>
                  </a:cubicBezTo>
                  <a:lnTo>
                    <a:pt x="4" y="51"/>
                  </a:lnTo>
                  <a:close/>
                  <a:moveTo>
                    <a:pt x="38" y="87"/>
                  </a:moveTo>
                  <a:cubicBezTo>
                    <a:pt x="37" y="89"/>
                    <a:pt x="37" y="89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21" y="85"/>
                    <a:pt x="9" y="73"/>
                    <a:pt x="5" y="58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15" y="56"/>
                    <a:pt x="22" y="57"/>
                    <a:pt x="29" y="59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5" y="64"/>
                    <a:pt x="35" y="66"/>
                  </a:cubicBezTo>
                  <a:cubicBezTo>
                    <a:pt x="35" y="67"/>
                    <a:pt x="36" y="69"/>
                    <a:pt x="36" y="70"/>
                  </a:cubicBezTo>
                  <a:cubicBezTo>
                    <a:pt x="37" y="73"/>
                    <a:pt x="37" y="75"/>
                    <a:pt x="38" y="78"/>
                  </a:cubicBezTo>
                  <a:cubicBezTo>
                    <a:pt x="38" y="81"/>
                    <a:pt x="38" y="85"/>
                    <a:pt x="38" y="87"/>
                  </a:cubicBezTo>
                  <a:close/>
                  <a:moveTo>
                    <a:pt x="33" y="48"/>
                  </a:moveTo>
                  <a:cubicBezTo>
                    <a:pt x="33" y="40"/>
                    <a:pt x="39" y="34"/>
                    <a:pt x="47" y="34"/>
                  </a:cubicBezTo>
                  <a:cubicBezTo>
                    <a:pt x="55" y="34"/>
                    <a:pt x="62" y="40"/>
                    <a:pt x="62" y="48"/>
                  </a:cubicBezTo>
                  <a:cubicBezTo>
                    <a:pt x="62" y="56"/>
                    <a:pt x="55" y="62"/>
                    <a:pt x="47" y="62"/>
                  </a:cubicBezTo>
                  <a:cubicBezTo>
                    <a:pt x="39" y="62"/>
                    <a:pt x="33" y="56"/>
                    <a:pt x="33" y="48"/>
                  </a:cubicBezTo>
                  <a:close/>
                  <a:moveTo>
                    <a:pt x="54" y="69"/>
                  </a:moveTo>
                  <a:cubicBezTo>
                    <a:pt x="54" y="71"/>
                    <a:pt x="53" y="74"/>
                    <a:pt x="53" y="77"/>
                  </a:cubicBezTo>
                  <a:cubicBezTo>
                    <a:pt x="52" y="81"/>
                    <a:pt x="52" y="85"/>
                    <a:pt x="53" y="88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7" y="90"/>
                    <a:pt x="45" y="90"/>
                    <a:pt x="44" y="90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5"/>
                    <a:pt x="42" y="81"/>
                    <a:pt x="42" y="77"/>
                  </a:cubicBezTo>
                  <a:cubicBezTo>
                    <a:pt x="41" y="74"/>
                    <a:pt x="40" y="72"/>
                    <a:pt x="40" y="69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6"/>
                    <a:pt x="45" y="66"/>
                    <a:pt x="47" y="66"/>
                  </a:cubicBezTo>
                  <a:cubicBezTo>
                    <a:pt x="50" y="66"/>
                    <a:pt x="52" y="65"/>
                    <a:pt x="54" y="65"/>
                  </a:cubicBezTo>
                  <a:cubicBezTo>
                    <a:pt x="56" y="64"/>
                    <a:pt x="56" y="64"/>
                    <a:pt x="56" y="64"/>
                  </a:cubicBezTo>
                  <a:lnTo>
                    <a:pt x="54" y="69"/>
                  </a:lnTo>
                  <a:close/>
                  <a:moveTo>
                    <a:pt x="91" y="60"/>
                  </a:moveTo>
                  <a:cubicBezTo>
                    <a:pt x="86" y="74"/>
                    <a:pt x="75" y="84"/>
                    <a:pt x="61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5"/>
                    <a:pt x="56" y="81"/>
                    <a:pt x="57" y="78"/>
                  </a:cubicBezTo>
                  <a:cubicBezTo>
                    <a:pt x="57" y="73"/>
                    <a:pt x="59" y="68"/>
                    <a:pt x="60" y="63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8" y="58"/>
                    <a:pt x="76" y="55"/>
                    <a:pt x="87" y="56"/>
                  </a:cubicBezTo>
                  <a:cubicBezTo>
                    <a:pt x="91" y="57"/>
                    <a:pt x="91" y="57"/>
                    <a:pt x="91" y="57"/>
                  </a:cubicBezTo>
                  <a:lnTo>
                    <a:pt x="91" y="60"/>
                  </a:lnTo>
                  <a:close/>
                  <a:moveTo>
                    <a:pt x="92" y="43"/>
                  </a:moveTo>
                  <a:cubicBezTo>
                    <a:pt x="93" y="44"/>
                    <a:pt x="93" y="45"/>
                    <a:pt x="93" y="47"/>
                  </a:cubicBezTo>
                  <a:cubicBezTo>
                    <a:pt x="93" y="49"/>
                    <a:pt x="93" y="50"/>
                    <a:pt x="92" y="5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2"/>
                    <a:pt x="73" y="53"/>
                    <a:pt x="66" y="55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5" y="52"/>
                    <a:pt x="66" y="50"/>
                    <a:pt x="66" y="48"/>
                  </a:cubicBezTo>
                  <a:cubicBezTo>
                    <a:pt x="66" y="46"/>
                    <a:pt x="65" y="43"/>
                    <a:pt x="64" y="41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71" y="41"/>
                    <a:pt x="75" y="42"/>
                    <a:pt x="78" y="42"/>
                  </a:cubicBezTo>
                  <a:cubicBezTo>
                    <a:pt x="83" y="43"/>
                    <a:pt x="86" y="43"/>
                    <a:pt x="90" y="42"/>
                  </a:cubicBezTo>
                  <a:cubicBezTo>
                    <a:pt x="92" y="42"/>
                    <a:pt x="92" y="42"/>
                    <a:pt x="92" y="42"/>
                  </a:cubicBezTo>
                  <a:lnTo>
                    <a:pt x="92" y="43"/>
                  </a:lnTo>
                  <a:close/>
                  <a:moveTo>
                    <a:pt x="92" y="38"/>
                  </a:moveTo>
                  <a:cubicBezTo>
                    <a:pt x="90" y="39"/>
                    <a:pt x="90" y="39"/>
                    <a:pt x="90" y="39"/>
                  </a:cubicBezTo>
                  <a:cubicBezTo>
                    <a:pt x="88" y="39"/>
                    <a:pt x="87" y="39"/>
                    <a:pt x="86" y="39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4" y="39"/>
                    <a:pt x="81" y="39"/>
                    <a:pt x="78" y="38"/>
                  </a:cubicBezTo>
                  <a:cubicBezTo>
                    <a:pt x="73" y="38"/>
                    <a:pt x="65" y="36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3" y="31"/>
                    <a:pt x="50" y="30"/>
                    <a:pt x="47" y="30"/>
                  </a:cubicBezTo>
                  <a:cubicBezTo>
                    <a:pt x="44" y="30"/>
                    <a:pt x="41" y="31"/>
                    <a:pt x="39" y="32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9" y="36"/>
                    <a:pt x="23" y="38"/>
                    <a:pt x="17" y="38"/>
                  </a:cubicBezTo>
                  <a:cubicBezTo>
                    <a:pt x="15" y="39"/>
                    <a:pt x="13" y="39"/>
                    <a:pt x="11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7" y="39"/>
                    <a:pt x="6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10" y="17"/>
                    <a:pt x="28" y="4"/>
                    <a:pt x="48" y="4"/>
                  </a:cubicBezTo>
                  <a:cubicBezTo>
                    <a:pt x="68" y="4"/>
                    <a:pt x="86" y="17"/>
                    <a:pt x="91" y="36"/>
                  </a:cubicBezTo>
                  <a:lnTo>
                    <a:pt x="92" y="3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7507EC42-9395-4051-88B7-43559059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" y="592"/>
              <a:ext cx="27" cy="29"/>
            </a:xfrm>
            <a:custGeom>
              <a:avLst/>
              <a:gdLst>
                <a:gd name="T0" fmla="*/ 11 w 11"/>
                <a:gd name="T1" fmla="*/ 2 h 12"/>
                <a:gd name="T2" fmla="*/ 9 w 11"/>
                <a:gd name="T3" fmla="*/ 0 h 12"/>
                <a:gd name="T4" fmla="*/ 3 w 11"/>
                <a:gd name="T5" fmla="*/ 3 h 12"/>
                <a:gd name="T6" fmla="*/ 0 w 11"/>
                <a:gd name="T7" fmla="*/ 10 h 12"/>
                <a:gd name="T8" fmla="*/ 1 w 11"/>
                <a:gd name="T9" fmla="*/ 12 h 12"/>
                <a:gd name="T10" fmla="*/ 3 w 11"/>
                <a:gd name="T11" fmla="*/ 10 h 12"/>
                <a:gd name="T12" fmla="*/ 5 w 11"/>
                <a:gd name="T13" fmla="*/ 6 h 12"/>
                <a:gd name="T14" fmla="*/ 9 w 11"/>
                <a:gd name="T15" fmla="*/ 4 h 12"/>
                <a:gd name="T16" fmla="*/ 11 w 1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2">
                  <a:moveTo>
                    <a:pt x="11" y="2"/>
                  </a:moveTo>
                  <a:cubicBezTo>
                    <a:pt x="11" y="1"/>
                    <a:pt x="10" y="0"/>
                    <a:pt x="9" y="0"/>
                  </a:cubicBezTo>
                  <a:cubicBezTo>
                    <a:pt x="7" y="0"/>
                    <a:pt x="5" y="1"/>
                    <a:pt x="3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3" y="12"/>
                    <a:pt x="3" y="11"/>
                    <a:pt x="3" y="10"/>
                  </a:cubicBezTo>
                  <a:cubicBezTo>
                    <a:pt x="3" y="8"/>
                    <a:pt x="4" y="7"/>
                    <a:pt x="5" y="6"/>
                  </a:cubicBezTo>
                  <a:cubicBezTo>
                    <a:pt x="6" y="5"/>
                    <a:pt x="8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id="{49FF1B5B-BC0A-4C5F-A131-5CC28D4D43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5" y="474"/>
              <a:ext cx="290" cy="280"/>
            </a:xfrm>
            <a:custGeom>
              <a:avLst/>
              <a:gdLst>
                <a:gd name="T0" fmla="*/ 59 w 118"/>
                <a:gd name="T1" fmla="*/ 0 h 114"/>
                <a:gd name="T2" fmla="*/ 0 w 118"/>
                <a:gd name="T3" fmla="*/ 57 h 114"/>
                <a:gd name="T4" fmla="*/ 59 w 118"/>
                <a:gd name="T5" fmla="*/ 114 h 114"/>
                <a:gd name="T6" fmla="*/ 118 w 118"/>
                <a:gd name="T7" fmla="*/ 57 h 114"/>
                <a:gd name="T8" fmla="*/ 59 w 118"/>
                <a:gd name="T9" fmla="*/ 0 h 114"/>
                <a:gd name="T10" fmla="*/ 59 w 118"/>
                <a:gd name="T11" fmla="*/ 111 h 114"/>
                <a:gd name="T12" fmla="*/ 4 w 118"/>
                <a:gd name="T13" fmla="*/ 57 h 114"/>
                <a:gd name="T14" fmla="*/ 59 w 118"/>
                <a:gd name="T15" fmla="*/ 3 h 114"/>
                <a:gd name="T16" fmla="*/ 114 w 118"/>
                <a:gd name="T17" fmla="*/ 57 h 114"/>
                <a:gd name="T18" fmla="*/ 59 w 118"/>
                <a:gd name="T19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4">
                  <a:moveTo>
                    <a:pt x="59" y="0"/>
                  </a:moveTo>
                  <a:cubicBezTo>
                    <a:pt x="27" y="0"/>
                    <a:pt x="0" y="25"/>
                    <a:pt x="0" y="57"/>
                  </a:cubicBezTo>
                  <a:cubicBezTo>
                    <a:pt x="0" y="89"/>
                    <a:pt x="27" y="114"/>
                    <a:pt x="59" y="114"/>
                  </a:cubicBezTo>
                  <a:cubicBezTo>
                    <a:pt x="92" y="114"/>
                    <a:pt x="118" y="89"/>
                    <a:pt x="118" y="57"/>
                  </a:cubicBezTo>
                  <a:cubicBezTo>
                    <a:pt x="118" y="25"/>
                    <a:pt x="92" y="0"/>
                    <a:pt x="59" y="0"/>
                  </a:cubicBezTo>
                  <a:close/>
                  <a:moveTo>
                    <a:pt x="59" y="111"/>
                  </a:moveTo>
                  <a:cubicBezTo>
                    <a:pt x="29" y="111"/>
                    <a:pt x="4" y="87"/>
                    <a:pt x="4" y="57"/>
                  </a:cubicBezTo>
                  <a:cubicBezTo>
                    <a:pt x="4" y="27"/>
                    <a:pt x="29" y="3"/>
                    <a:pt x="59" y="3"/>
                  </a:cubicBezTo>
                  <a:cubicBezTo>
                    <a:pt x="89" y="3"/>
                    <a:pt x="114" y="27"/>
                    <a:pt x="114" y="57"/>
                  </a:cubicBezTo>
                  <a:cubicBezTo>
                    <a:pt x="114" y="87"/>
                    <a:pt x="89" y="111"/>
                    <a:pt x="59" y="11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58">
            <a:extLst>
              <a:ext uri="{FF2B5EF4-FFF2-40B4-BE49-F238E27FC236}">
                <a16:creationId xmlns:a16="http://schemas.microsoft.com/office/drawing/2014/main" id="{38BB1F2C-6D49-4D16-8B7C-68AAA95731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8215" y="349251"/>
            <a:ext cx="841375" cy="841375"/>
            <a:chOff x="4365" y="337"/>
            <a:chExt cx="530" cy="530"/>
          </a:xfrm>
        </p:grpSpPr>
        <p:sp>
          <p:nvSpPr>
            <p:cNvPr id="67" name="AutoShape 57">
              <a:extLst>
                <a:ext uri="{FF2B5EF4-FFF2-40B4-BE49-F238E27FC236}">
                  <a16:creationId xmlns:a16="http://schemas.microsoft.com/office/drawing/2014/main" id="{8343459D-2BB0-49B7-B721-75F428812B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5" y="33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Oval 59">
              <a:extLst>
                <a:ext uri="{FF2B5EF4-FFF2-40B4-BE49-F238E27FC236}">
                  <a16:creationId xmlns:a16="http://schemas.microsoft.com/office/drawing/2014/main" id="{496D764F-65E1-417D-B05C-21C8732F7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5" y="33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0125689E-137A-4EA0-AE94-5910C4A0E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3" y="35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0A05D951-896C-48FF-8E9E-E82E31BC43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8" y="483"/>
              <a:ext cx="246" cy="241"/>
            </a:xfrm>
            <a:custGeom>
              <a:avLst/>
              <a:gdLst>
                <a:gd name="T0" fmla="*/ 0 w 96"/>
                <a:gd name="T1" fmla="*/ 47 h 94"/>
                <a:gd name="T2" fmla="*/ 96 w 96"/>
                <a:gd name="T3" fmla="*/ 47 h 94"/>
                <a:gd name="T4" fmla="*/ 4 w 96"/>
                <a:gd name="T5" fmla="*/ 51 h 94"/>
                <a:gd name="T6" fmla="*/ 4 w 96"/>
                <a:gd name="T7" fmla="*/ 43 h 94"/>
                <a:gd name="T8" fmla="*/ 6 w 96"/>
                <a:gd name="T9" fmla="*/ 42 h 94"/>
                <a:gd name="T10" fmla="*/ 17 w 96"/>
                <a:gd name="T11" fmla="*/ 42 h 94"/>
                <a:gd name="T12" fmla="*/ 32 w 96"/>
                <a:gd name="T13" fmla="*/ 39 h 94"/>
                <a:gd name="T14" fmla="*/ 29 w 96"/>
                <a:gd name="T15" fmla="*/ 48 h 94"/>
                <a:gd name="T16" fmla="*/ 31 w 96"/>
                <a:gd name="T17" fmla="*/ 56 h 94"/>
                <a:gd name="T18" fmla="*/ 8 w 96"/>
                <a:gd name="T19" fmla="*/ 53 h 94"/>
                <a:gd name="T20" fmla="*/ 4 w 96"/>
                <a:gd name="T21" fmla="*/ 51 h 94"/>
                <a:gd name="T22" fmla="*/ 37 w 96"/>
                <a:gd name="T23" fmla="*/ 89 h 94"/>
                <a:gd name="T24" fmla="*/ 5 w 96"/>
                <a:gd name="T25" fmla="*/ 58 h 94"/>
                <a:gd name="T26" fmla="*/ 8 w 96"/>
                <a:gd name="T27" fmla="*/ 56 h 94"/>
                <a:gd name="T28" fmla="*/ 34 w 96"/>
                <a:gd name="T29" fmla="*/ 61 h 94"/>
                <a:gd name="T30" fmla="*/ 35 w 96"/>
                <a:gd name="T31" fmla="*/ 66 h 94"/>
                <a:gd name="T32" fmla="*/ 38 w 96"/>
                <a:gd name="T33" fmla="*/ 78 h 94"/>
                <a:gd name="T34" fmla="*/ 33 w 96"/>
                <a:gd name="T35" fmla="*/ 48 h 94"/>
                <a:gd name="T36" fmla="*/ 62 w 96"/>
                <a:gd name="T37" fmla="*/ 48 h 94"/>
                <a:gd name="T38" fmla="*/ 33 w 96"/>
                <a:gd name="T39" fmla="*/ 48 h 94"/>
                <a:gd name="T40" fmla="*/ 53 w 96"/>
                <a:gd name="T41" fmla="*/ 77 h 94"/>
                <a:gd name="T42" fmla="*/ 53 w 96"/>
                <a:gd name="T43" fmla="*/ 90 h 94"/>
                <a:gd name="T44" fmla="*/ 48 w 96"/>
                <a:gd name="T45" fmla="*/ 90 h 94"/>
                <a:gd name="T46" fmla="*/ 41 w 96"/>
                <a:gd name="T47" fmla="*/ 90 h 94"/>
                <a:gd name="T48" fmla="*/ 42 w 96"/>
                <a:gd name="T49" fmla="*/ 77 h 94"/>
                <a:gd name="T50" fmla="*/ 38 w 96"/>
                <a:gd name="T51" fmla="*/ 64 h 94"/>
                <a:gd name="T52" fmla="*/ 47 w 96"/>
                <a:gd name="T53" fmla="*/ 66 h 94"/>
                <a:gd name="T54" fmla="*/ 56 w 96"/>
                <a:gd name="T55" fmla="*/ 64 h 94"/>
                <a:gd name="T56" fmla="*/ 91 w 96"/>
                <a:gd name="T57" fmla="*/ 60 h 94"/>
                <a:gd name="T58" fmla="*/ 57 w 96"/>
                <a:gd name="T59" fmla="*/ 89 h 94"/>
                <a:gd name="T60" fmla="*/ 57 w 96"/>
                <a:gd name="T61" fmla="*/ 78 h 94"/>
                <a:gd name="T62" fmla="*/ 60 w 96"/>
                <a:gd name="T63" fmla="*/ 62 h 94"/>
                <a:gd name="T64" fmla="*/ 61 w 96"/>
                <a:gd name="T65" fmla="*/ 61 h 94"/>
                <a:gd name="T66" fmla="*/ 87 w 96"/>
                <a:gd name="T67" fmla="*/ 56 h 94"/>
                <a:gd name="T68" fmla="*/ 91 w 96"/>
                <a:gd name="T69" fmla="*/ 60 h 94"/>
                <a:gd name="T70" fmla="*/ 93 w 96"/>
                <a:gd name="T71" fmla="*/ 47 h 94"/>
                <a:gd name="T72" fmla="*/ 92 w 96"/>
                <a:gd name="T73" fmla="*/ 53 h 94"/>
                <a:gd name="T74" fmla="*/ 66 w 96"/>
                <a:gd name="T75" fmla="*/ 55 h 94"/>
                <a:gd name="T76" fmla="*/ 65 w 96"/>
                <a:gd name="T77" fmla="*/ 53 h 94"/>
                <a:gd name="T78" fmla="*/ 64 w 96"/>
                <a:gd name="T79" fmla="*/ 41 h 94"/>
                <a:gd name="T80" fmla="*/ 67 w 96"/>
                <a:gd name="T81" fmla="*/ 40 h 94"/>
                <a:gd name="T82" fmla="*/ 90 w 96"/>
                <a:gd name="T83" fmla="*/ 42 h 94"/>
                <a:gd name="T84" fmla="*/ 92 w 96"/>
                <a:gd name="T85" fmla="*/ 43 h 94"/>
                <a:gd name="T86" fmla="*/ 90 w 96"/>
                <a:gd name="T87" fmla="*/ 39 h 94"/>
                <a:gd name="T88" fmla="*/ 86 w 96"/>
                <a:gd name="T89" fmla="*/ 39 h 94"/>
                <a:gd name="T90" fmla="*/ 58 w 96"/>
                <a:gd name="T91" fmla="*/ 33 h 94"/>
                <a:gd name="T92" fmla="*/ 56 w 96"/>
                <a:gd name="T93" fmla="*/ 32 h 94"/>
                <a:gd name="T94" fmla="*/ 39 w 96"/>
                <a:gd name="T95" fmla="*/ 32 h 94"/>
                <a:gd name="T96" fmla="*/ 37 w 96"/>
                <a:gd name="T97" fmla="*/ 33 h 94"/>
                <a:gd name="T98" fmla="*/ 11 w 96"/>
                <a:gd name="T99" fmla="*/ 39 h 94"/>
                <a:gd name="T100" fmla="*/ 6 w 96"/>
                <a:gd name="T101" fmla="*/ 39 h 94"/>
                <a:gd name="T102" fmla="*/ 5 w 96"/>
                <a:gd name="T103" fmla="*/ 36 h 94"/>
                <a:gd name="T104" fmla="*/ 91 w 96"/>
                <a:gd name="T105" fmla="*/ 3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94">
                  <a:moveTo>
                    <a:pt x="48" y="0"/>
                  </a:moveTo>
                  <a:cubicBezTo>
                    <a:pt x="21" y="0"/>
                    <a:pt x="0" y="21"/>
                    <a:pt x="0" y="47"/>
                  </a:cubicBezTo>
                  <a:cubicBezTo>
                    <a:pt x="0" y="73"/>
                    <a:pt x="21" y="94"/>
                    <a:pt x="48" y="94"/>
                  </a:cubicBezTo>
                  <a:cubicBezTo>
                    <a:pt x="75" y="94"/>
                    <a:pt x="96" y="73"/>
                    <a:pt x="96" y="47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" y="51"/>
                  </a:moveTo>
                  <a:cubicBezTo>
                    <a:pt x="3" y="50"/>
                    <a:pt x="3" y="49"/>
                    <a:pt x="3" y="47"/>
                  </a:cubicBezTo>
                  <a:cubicBezTo>
                    <a:pt x="3" y="45"/>
                    <a:pt x="3" y="44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3"/>
                    <a:pt x="8" y="43"/>
                    <a:pt x="10" y="43"/>
                  </a:cubicBezTo>
                  <a:cubicBezTo>
                    <a:pt x="12" y="43"/>
                    <a:pt x="14" y="42"/>
                    <a:pt x="17" y="42"/>
                  </a:cubicBezTo>
                  <a:cubicBezTo>
                    <a:pt x="21" y="42"/>
                    <a:pt x="24" y="41"/>
                    <a:pt x="28" y="40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3"/>
                    <a:pt x="29" y="46"/>
                    <a:pt x="29" y="48"/>
                  </a:cubicBezTo>
                  <a:cubicBezTo>
                    <a:pt x="29" y="50"/>
                    <a:pt x="29" y="51"/>
                    <a:pt x="30" y="53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2" y="53"/>
                    <a:pt x="15" y="52"/>
                    <a:pt x="8" y="53"/>
                  </a:cubicBezTo>
                  <a:cubicBezTo>
                    <a:pt x="4" y="53"/>
                    <a:pt x="4" y="53"/>
                    <a:pt x="4" y="53"/>
                  </a:cubicBezTo>
                  <a:lnTo>
                    <a:pt x="4" y="51"/>
                  </a:lnTo>
                  <a:close/>
                  <a:moveTo>
                    <a:pt x="38" y="87"/>
                  </a:moveTo>
                  <a:cubicBezTo>
                    <a:pt x="37" y="89"/>
                    <a:pt x="37" y="89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21" y="85"/>
                    <a:pt x="9" y="73"/>
                    <a:pt x="5" y="58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15" y="56"/>
                    <a:pt x="22" y="57"/>
                    <a:pt x="29" y="59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5" y="64"/>
                    <a:pt x="35" y="66"/>
                  </a:cubicBezTo>
                  <a:cubicBezTo>
                    <a:pt x="35" y="67"/>
                    <a:pt x="36" y="69"/>
                    <a:pt x="36" y="70"/>
                  </a:cubicBezTo>
                  <a:cubicBezTo>
                    <a:pt x="37" y="73"/>
                    <a:pt x="37" y="75"/>
                    <a:pt x="38" y="78"/>
                  </a:cubicBezTo>
                  <a:cubicBezTo>
                    <a:pt x="38" y="81"/>
                    <a:pt x="38" y="85"/>
                    <a:pt x="38" y="87"/>
                  </a:cubicBezTo>
                  <a:close/>
                  <a:moveTo>
                    <a:pt x="33" y="48"/>
                  </a:moveTo>
                  <a:cubicBezTo>
                    <a:pt x="33" y="40"/>
                    <a:pt x="39" y="34"/>
                    <a:pt x="47" y="34"/>
                  </a:cubicBezTo>
                  <a:cubicBezTo>
                    <a:pt x="55" y="34"/>
                    <a:pt x="62" y="40"/>
                    <a:pt x="62" y="48"/>
                  </a:cubicBezTo>
                  <a:cubicBezTo>
                    <a:pt x="62" y="56"/>
                    <a:pt x="55" y="62"/>
                    <a:pt x="47" y="62"/>
                  </a:cubicBezTo>
                  <a:cubicBezTo>
                    <a:pt x="39" y="62"/>
                    <a:pt x="33" y="56"/>
                    <a:pt x="33" y="48"/>
                  </a:cubicBezTo>
                  <a:close/>
                  <a:moveTo>
                    <a:pt x="54" y="69"/>
                  </a:moveTo>
                  <a:cubicBezTo>
                    <a:pt x="54" y="71"/>
                    <a:pt x="53" y="74"/>
                    <a:pt x="53" y="77"/>
                  </a:cubicBezTo>
                  <a:cubicBezTo>
                    <a:pt x="52" y="81"/>
                    <a:pt x="52" y="85"/>
                    <a:pt x="53" y="88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7" y="90"/>
                    <a:pt x="45" y="90"/>
                    <a:pt x="44" y="90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5"/>
                    <a:pt x="42" y="81"/>
                    <a:pt x="42" y="77"/>
                  </a:cubicBezTo>
                  <a:cubicBezTo>
                    <a:pt x="41" y="74"/>
                    <a:pt x="40" y="72"/>
                    <a:pt x="40" y="69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3" y="66"/>
                    <a:pt x="45" y="66"/>
                    <a:pt x="47" y="66"/>
                  </a:cubicBezTo>
                  <a:cubicBezTo>
                    <a:pt x="50" y="66"/>
                    <a:pt x="52" y="65"/>
                    <a:pt x="54" y="65"/>
                  </a:cubicBezTo>
                  <a:cubicBezTo>
                    <a:pt x="56" y="64"/>
                    <a:pt x="56" y="64"/>
                    <a:pt x="56" y="64"/>
                  </a:cubicBezTo>
                  <a:lnTo>
                    <a:pt x="54" y="69"/>
                  </a:lnTo>
                  <a:close/>
                  <a:moveTo>
                    <a:pt x="91" y="60"/>
                  </a:moveTo>
                  <a:cubicBezTo>
                    <a:pt x="86" y="74"/>
                    <a:pt x="75" y="84"/>
                    <a:pt x="61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5"/>
                    <a:pt x="56" y="81"/>
                    <a:pt x="57" y="78"/>
                  </a:cubicBezTo>
                  <a:cubicBezTo>
                    <a:pt x="57" y="73"/>
                    <a:pt x="59" y="68"/>
                    <a:pt x="60" y="63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8" y="58"/>
                    <a:pt x="76" y="55"/>
                    <a:pt x="87" y="56"/>
                  </a:cubicBezTo>
                  <a:cubicBezTo>
                    <a:pt x="91" y="57"/>
                    <a:pt x="91" y="57"/>
                    <a:pt x="91" y="57"/>
                  </a:cubicBezTo>
                  <a:lnTo>
                    <a:pt x="91" y="60"/>
                  </a:lnTo>
                  <a:close/>
                  <a:moveTo>
                    <a:pt x="92" y="43"/>
                  </a:moveTo>
                  <a:cubicBezTo>
                    <a:pt x="93" y="44"/>
                    <a:pt x="93" y="45"/>
                    <a:pt x="93" y="47"/>
                  </a:cubicBezTo>
                  <a:cubicBezTo>
                    <a:pt x="93" y="49"/>
                    <a:pt x="93" y="50"/>
                    <a:pt x="92" y="5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2"/>
                    <a:pt x="73" y="53"/>
                    <a:pt x="66" y="55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5" y="52"/>
                    <a:pt x="66" y="50"/>
                    <a:pt x="66" y="48"/>
                  </a:cubicBezTo>
                  <a:cubicBezTo>
                    <a:pt x="66" y="46"/>
                    <a:pt x="65" y="43"/>
                    <a:pt x="64" y="41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71" y="41"/>
                    <a:pt x="75" y="42"/>
                    <a:pt x="78" y="42"/>
                  </a:cubicBezTo>
                  <a:cubicBezTo>
                    <a:pt x="83" y="43"/>
                    <a:pt x="86" y="43"/>
                    <a:pt x="90" y="42"/>
                  </a:cubicBezTo>
                  <a:cubicBezTo>
                    <a:pt x="92" y="42"/>
                    <a:pt x="92" y="42"/>
                    <a:pt x="92" y="42"/>
                  </a:cubicBezTo>
                  <a:lnTo>
                    <a:pt x="92" y="43"/>
                  </a:lnTo>
                  <a:close/>
                  <a:moveTo>
                    <a:pt x="92" y="38"/>
                  </a:moveTo>
                  <a:cubicBezTo>
                    <a:pt x="90" y="39"/>
                    <a:pt x="90" y="39"/>
                    <a:pt x="90" y="39"/>
                  </a:cubicBezTo>
                  <a:cubicBezTo>
                    <a:pt x="88" y="39"/>
                    <a:pt x="87" y="39"/>
                    <a:pt x="86" y="39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4" y="39"/>
                    <a:pt x="81" y="39"/>
                    <a:pt x="78" y="38"/>
                  </a:cubicBezTo>
                  <a:cubicBezTo>
                    <a:pt x="73" y="38"/>
                    <a:pt x="65" y="36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3" y="31"/>
                    <a:pt x="50" y="30"/>
                    <a:pt x="47" y="30"/>
                  </a:cubicBezTo>
                  <a:cubicBezTo>
                    <a:pt x="44" y="30"/>
                    <a:pt x="41" y="31"/>
                    <a:pt x="39" y="32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9" y="36"/>
                    <a:pt x="23" y="38"/>
                    <a:pt x="17" y="38"/>
                  </a:cubicBezTo>
                  <a:cubicBezTo>
                    <a:pt x="15" y="39"/>
                    <a:pt x="13" y="39"/>
                    <a:pt x="11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7" y="39"/>
                    <a:pt x="6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10" y="17"/>
                    <a:pt x="28" y="4"/>
                    <a:pt x="48" y="4"/>
                  </a:cubicBezTo>
                  <a:cubicBezTo>
                    <a:pt x="68" y="4"/>
                    <a:pt x="86" y="17"/>
                    <a:pt x="91" y="36"/>
                  </a:cubicBezTo>
                  <a:lnTo>
                    <a:pt x="92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F8BCD05C-C980-44BC-861A-E0D3B19AC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" y="580"/>
              <a:ext cx="28" cy="31"/>
            </a:xfrm>
            <a:custGeom>
              <a:avLst/>
              <a:gdLst>
                <a:gd name="T0" fmla="*/ 11 w 11"/>
                <a:gd name="T1" fmla="*/ 2 h 12"/>
                <a:gd name="T2" fmla="*/ 9 w 11"/>
                <a:gd name="T3" fmla="*/ 0 h 12"/>
                <a:gd name="T4" fmla="*/ 3 w 11"/>
                <a:gd name="T5" fmla="*/ 3 h 12"/>
                <a:gd name="T6" fmla="*/ 0 w 11"/>
                <a:gd name="T7" fmla="*/ 10 h 12"/>
                <a:gd name="T8" fmla="*/ 1 w 11"/>
                <a:gd name="T9" fmla="*/ 12 h 12"/>
                <a:gd name="T10" fmla="*/ 3 w 11"/>
                <a:gd name="T11" fmla="*/ 10 h 12"/>
                <a:gd name="T12" fmla="*/ 5 w 11"/>
                <a:gd name="T13" fmla="*/ 6 h 12"/>
                <a:gd name="T14" fmla="*/ 9 w 11"/>
                <a:gd name="T15" fmla="*/ 4 h 12"/>
                <a:gd name="T16" fmla="*/ 11 w 1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2">
                  <a:moveTo>
                    <a:pt x="11" y="2"/>
                  </a:moveTo>
                  <a:cubicBezTo>
                    <a:pt x="11" y="1"/>
                    <a:pt x="10" y="0"/>
                    <a:pt x="9" y="0"/>
                  </a:cubicBezTo>
                  <a:cubicBezTo>
                    <a:pt x="7" y="0"/>
                    <a:pt x="5" y="1"/>
                    <a:pt x="3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3" y="12"/>
                    <a:pt x="3" y="11"/>
                    <a:pt x="3" y="10"/>
                  </a:cubicBezTo>
                  <a:cubicBezTo>
                    <a:pt x="3" y="8"/>
                    <a:pt x="4" y="7"/>
                    <a:pt x="5" y="6"/>
                  </a:cubicBezTo>
                  <a:cubicBezTo>
                    <a:pt x="6" y="5"/>
                    <a:pt x="8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3">
              <a:extLst>
                <a:ext uri="{FF2B5EF4-FFF2-40B4-BE49-F238E27FC236}">
                  <a16:creationId xmlns:a16="http://schemas.microsoft.com/office/drawing/2014/main" id="{49FF74CA-BEBB-4661-BD90-5C6914C94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457"/>
              <a:ext cx="302" cy="292"/>
            </a:xfrm>
            <a:custGeom>
              <a:avLst/>
              <a:gdLst>
                <a:gd name="T0" fmla="*/ 59 w 118"/>
                <a:gd name="T1" fmla="*/ 0 h 114"/>
                <a:gd name="T2" fmla="*/ 0 w 118"/>
                <a:gd name="T3" fmla="*/ 57 h 114"/>
                <a:gd name="T4" fmla="*/ 59 w 118"/>
                <a:gd name="T5" fmla="*/ 114 h 114"/>
                <a:gd name="T6" fmla="*/ 118 w 118"/>
                <a:gd name="T7" fmla="*/ 57 h 114"/>
                <a:gd name="T8" fmla="*/ 59 w 118"/>
                <a:gd name="T9" fmla="*/ 0 h 114"/>
                <a:gd name="T10" fmla="*/ 59 w 118"/>
                <a:gd name="T11" fmla="*/ 111 h 114"/>
                <a:gd name="T12" fmla="*/ 4 w 118"/>
                <a:gd name="T13" fmla="*/ 57 h 114"/>
                <a:gd name="T14" fmla="*/ 59 w 118"/>
                <a:gd name="T15" fmla="*/ 3 h 114"/>
                <a:gd name="T16" fmla="*/ 114 w 118"/>
                <a:gd name="T17" fmla="*/ 57 h 114"/>
                <a:gd name="T18" fmla="*/ 59 w 118"/>
                <a:gd name="T19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4">
                  <a:moveTo>
                    <a:pt x="59" y="0"/>
                  </a:moveTo>
                  <a:cubicBezTo>
                    <a:pt x="27" y="0"/>
                    <a:pt x="0" y="25"/>
                    <a:pt x="0" y="57"/>
                  </a:cubicBezTo>
                  <a:cubicBezTo>
                    <a:pt x="0" y="89"/>
                    <a:pt x="27" y="114"/>
                    <a:pt x="59" y="114"/>
                  </a:cubicBezTo>
                  <a:cubicBezTo>
                    <a:pt x="92" y="114"/>
                    <a:pt x="118" y="89"/>
                    <a:pt x="118" y="57"/>
                  </a:cubicBezTo>
                  <a:cubicBezTo>
                    <a:pt x="118" y="25"/>
                    <a:pt x="92" y="0"/>
                    <a:pt x="59" y="0"/>
                  </a:cubicBezTo>
                  <a:close/>
                  <a:moveTo>
                    <a:pt x="59" y="111"/>
                  </a:moveTo>
                  <a:cubicBezTo>
                    <a:pt x="29" y="111"/>
                    <a:pt x="4" y="87"/>
                    <a:pt x="4" y="57"/>
                  </a:cubicBezTo>
                  <a:cubicBezTo>
                    <a:pt x="4" y="27"/>
                    <a:pt x="29" y="3"/>
                    <a:pt x="59" y="3"/>
                  </a:cubicBezTo>
                  <a:cubicBezTo>
                    <a:pt x="89" y="3"/>
                    <a:pt x="114" y="27"/>
                    <a:pt x="114" y="57"/>
                  </a:cubicBezTo>
                  <a:cubicBezTo>
                    <a:pt x="114" y="87"/>
                    <a:pt x="89" y="111"/>
                    <a:pt x="59" y="1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66">
            <a:extLst>
              <a:ext uri="{FF2B5EF4-FFF2-40B4-BE49-F238E27FC236}">
                <a16:creationId xmlns:a16="http://schemas.microsoft.com/office/drawing/2014/main" id="{0633CCF9-7AD4-413C-8297-D57F85EBAB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85" y="1592927"/>
            <a:ext cx="758825" cy="758825"/>
            <a:chOff x="983" y="1150"/>
            <a:chExt cx="478" cy="478"/>
          </a:xfrm>
        </p:grpSpPr>
        <p:sp>
          <p:nvSpPr>
            <p:cNvPr id="78" name="AutoShape 65">
              <a:extLst>
                <a:ext uri="{FF2B5EF4-FFF2-40B4-BE49-F238E27FC236}">
                  <a16:creationId xmlns:a16="http://schemas.microsoft.com/office/drawing/2014/main" id="{9675F54F-1F74-4C1F-AEA8-242A26064F7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3" y="115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0207C381-2BB9-498A-B6F6-C7B620ACD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5" y="115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A7C604FC-9D55-479B-86CD-8105B90A5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" y="1246"/>
              <a:ext cx="265" cy="289"/>
            </a:xfrm>
            <a:custGeom>
              <a:avLst/>
              <a:gdLst>
                <a:gd name="T0" fmla="*/ 30 w 108"/>
                <a:gd name="T1" fmla="*/ 30 h 118"/>
                <a:gd name="T2" fmla="*/ 28 w 108"/>
                <a:gd name="T3" fmla="*/ 24 h 118"/>
                <a:gd name="T4" fmla="*/ 33 w 108"/>
                <a:gd name="T5" fmla="*/ 19 h 118"/>
                <a:gd name="T6" fmla="*/ 38 w 108"/>
                <a:gd name="T7" fmla="*/ 21 h 118"/>
                <a:gd name="T8" fmla="*/ 33 w 108"/>
                <a:gd name="T9" fmla="*/ 24 h 118"/>
                <a:gd name="T10" fmla="*/ 32 w 108"/>
                <a:gd name="T11" fmla="*/ 28 h 118"/>
                <a:gd name="T12" fmla="*/ 56 w 108"/>
                <a:gd name="T13" fmla="*/ 43 h 118"/>
                <a:gd name="T14" fmla="*/ 58 w 108"/>
                <a:gd name="T15" fmla="*/ 18 h 118"/>
                <a:gd name="T16" fmla="*/ 26 w 108"/>
                <a:gd name="T17" fmla="*/ 16 h 118"/>
                <a:gd name="T18" fmla="*/ 24 w 108"/>
                <a:gd name="T19" fmla="*/ 40 h 118"/>
                <a:gd name="T20" fmla="*/ 56 w 108"/>
                <a:gd name="T21" fmla="*/ 43 h 118"/>
                <a:gd name="T22" fmla="*/ 20 w 108"/>
                <a:gd name="T23" fmla="*/ 40 h 118"/>
                <a:gd name="T24" fmla="*/ 26 w 108"/>
                <a:gd name="T25" fmla="*/ 12 h 118"/>
                <a:gd name="T26" fmla="*/ 62 w 108"/>
                <a:gd name="T27" fmla="*/ 18 h 118"/>
                <a:gd name="T28" fmla="*/ 56 w 108"/>
                <a:gd name="T29" fmla="*/ 47 h 118"/>
                <a:gd name="T30" fmla="*/ 24 w 108"/>
                <a:gd name="T31" fmla="*/ 56 h 118"/>
                <a:gd name="T32" fmla="*/ 24 w 108"/>
                <a:gd name="T33" fmla="*/ 52 h 118"/>
                <a:gd name="T34" fmla="*/ 60 w 108"/>
                <a:gd name="T35" fmla="*/ 54 h 118"/>
                <a:gd name="T36" fmla="*/ 24 w 108"/>
                <a:gd name="T37" fmla="*/ 56 h 118"/>
                <a:gd name="T38" fmla="*/ 69 w 108"/>
                <a:gd name="T39" fmla="*/ 104 h 118"/>
                <a:gd name="T40" fmla="*/ 57 w 108"/>
                <a:gd name="T41" fmla="*/ 5 h 118"/>
                <a:gd name="T42" fmla="*/ 14 w 108"/>
                <a:gd name="T43" fmla="*/ 19 h 118"/>
                <a:gd name="T44" fmla="*/ 14 w 108"/>
                <a:gd name="T45" fmla="*/ 105 h 118"/>
                <a:gd name="T46" fmla="*/ 2 w 108"/>
                <a:gd name="T47" fmla="*/ 109 h 118"/>
                <a:gd name="T48" fmla="*/ 2 w 108"/>
                <a:gd name="T49" fmla="*/ 105 h 118"/>
                <a:gd name="T50" fmla="*/ 10 w 108"/>
                <a:gd name="T51" fmla="*/ 104 h 118"/>
                <a:gd name="T52" fmla="*/ 26 w 108"/>
                <a:gd name="T53" fmla="*/ 0 h 118"/>
                <a:gd name="T54" fmla="*/ 73 w 108"/>
                <a:gd name="T55" fmla="*/ 19 h 118"/>
                <a:gd name="T56" fmla="*/ 75 w 108"/>
                <a:gd name="T57" fmla="*/ 59 h 118"/>
                <a:gd name="T58" fmla="*/ 81 w 108"/>
                <a:gd name="T59" fmla="*/ 64 h 118"/>
                <a:gd name="T60" fmla="*/ 89 w 108"/>
                <a:gd name="T61" fmla="*/ 91 h 118"/>
                <a:gd name="T62" fmla="*/ 103 w 108"/>
                <a:gd name="T63" fmla="*/ 80 h 118"/>
                <a:gd name="T64" fmla="*/ 87 w 108"/>
                <a:gd name="T65" fmla="*/ 47 h 118"/>
                <a:gd name="T66" fmla="*/ 83 w 108"/>
                <a:gd name="T67" fmla="*/ 46 h 118"/>
                <a:gd name="T68" fmla="*/ 81 w 108"/>
                <a:gd name="T69" fmla="*/ 43 h 118"/>
                <a:gd name="T70" fmla="*/ 82 w 108"/>
                <a:gd name="T71" fmla="*/ 30 h 118"/>
                <a:gd name="T72" fmla="*/ 92 w 108"/>
                <a:gd name="T73" fmla="*/ 26 h 118"/>
                <a:gd name="T74" fmla="*/ 86 w 108"/>
                <a:gd name="T75" fmla="*/ 33 h 118"/>
                <a:gd name="T76" fmla="*/ 93 w 108"/>
                <a:gd name="T77" fmla="*/ 40 h 118"/>
                <a:gd name="T78" fmla="*/ 94 w 108"/>
                <a:gd name="T79" fmla="*/ 26 h 118"/>
                <a:gd name="T80" fmla="*/ 85 w 108"/>
                <a:gd name="T81" fmla="*/ 10 h 118"/>
                <a:gd name="T82" fmla="*/ 87 w 108"/>
                <a:gd name="T83" fmla="*/ 5 h 118"/>
                <a:gd name="T84" fmla="*/ 98 w 108"/>
                <a:gd name="T85" fmla="*/ 27 h 118"/>
                <a:gd name="T86" fmla="*/ 96 w 108"/>
                <a:gd name="T87" fmla="*/ 44 h 118"/>
                <a:gd name="T88" fmla="*/ 91 w 108"/>
                <a:gd name="T89" fmla="*/ 46 h 118"/>
                <a:gd name="T90" fmla="*/ 108 w 108"/>
                <a:gd name="T91" fmla="*/ 80 h 118"/>
                <a:gd name="T92" fmla="*/ 91 w 108"/>
                <a:gd name="T93" fmla="*/ 96 h 118"/>
                <a:gd name="T94" fmla="*/ 81 w 108"/>
                <a:gd name="T95" fmla="*/ 90 h 118"/>
                <a:gd name="T96" fmla="*/ 77 w 108"/>
                <a:gd name="T97" fmla="*/ 65 h 118"/>
                <a:gd name="T98" fmla="*/ 74 w 108"/>
                <a:gd name="T99" fmla="*/ 65 h 118"/>
                <a:gd name="T100" fmla="*/ 73 w 108"/>
                <a:gd name="T101" fmla="*/ 65 h 118"/>
                <a:gd name="T102" fmla="*/ 73 w 108"/>
                <a:gd name="T103" fmla="*/ 105 h 118"/>
                <a:gd name="T104" fmla="*/ 82 w 108"/>
                <a:gd name="T105" fmla="*/ 107 h 118"/>
                <a:gd name="T106" fmla="*/ 2 w 108"/>
                <a:gd name="T107" fmla="*/ 109 h 118"/>
                <a:gd name="T108" fmla="*/ 0 w 108"/>
                <a:gd name="T109" fmla="*/ 116 h 118"/>
                <a:gd name="T110" fmla="*/ 80 w 108"/>
                <a:gd name="T111" fmla="*/ 113 h 118"/>
                <a:gd name="T112" fmla="*/ 80 w 108"/>
                <a:gd name="T11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18">
                  <a:moveTo>
                    <a:pt x="30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28" y="30"/>
                    <a:pt x="27" y="29"/>
                    <a:pt x="27" y="28"/>
                  </a:cubicBezTo>
                  <a:cubicBezTo>
                    <a:pt x="27" y="26"/>
                    <a:pt x="28" y="25"/>
                    <a:pt x="28" y="24"/>
                  </a:cubicBezTo>
                  <a:cubicBezTo>
                    <a:pt x="29" y="22"/>
                    <a:pt x="29" y="21"/>
                    <a:pt x="30" y="21"/>
                  </a:cubicBezTo>
                  <a:cubicBezTo>
                    <a:pt x="31" y="20"/>
                    <a:pt x="32" y="19"/>
                    <a:pt x="33" y="19"/>
                  </a:cubicBezTo>
                  <a:cubicBezTo>
                    <a:pt x="34" y="19"/>
                    <a:pt x="35" y="19"/>
                    <a:pt x="36" y="19"/>
                  </a:cubicBezTo>
                  <a:cubicBezTo>
                    <a:pt x="37" y="19"/>
                    <a:pt x="38" y="19"/>
                    <a:pt x="38" y="21"/>
                  </a:cubicBezTo>
                  <a:cubicBezTo>
                    <a:pt x="38" y="22"/>
                    <a:pt x="37" y="23"/>
                    <a:pt x="36" y="23"/>
                  </a:cubicBezTo>
                  <a:cubicBezTo>
                    <a:pt x="35" y="23"/>
                    <a:pt x="34" y="24"/>
                    <a:pt x="33" y="24"/>
                  </a:cubicBezTo>
                  <a:cubicBezTo>
                    <a:pt x="33" y="24"/>
                    <a:pt x="33" y="25"/>
                    <a:pt x="32" y="25"/>
                  </a:cubicBezTo>
                  <a:cubicBezTo>
                    <a:pt x="32" y="26"/>
                    <a:pt x="32" y="27"/>
                    <a:pt x="32" y="28"/>
                  </a:cubicBezTo>
                  <a:cubicBezTo>
                    <a:pt x="32" y="29"/>
                    <a:pt x="31" y="30"/>
                    <a:pt x="30" y="30"/>
                  </a:cubicBezTo>
                  <a:moveTo>
                    <a:pt x="56" y="43"/>
                  </a:moveTo>
                  <a:cubicBezTo>
                    <a:pt x="57" y="43"/>
                    <a:pt x="58" y="42"/>
                    <a:pt x="58" y="4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4" y="17"/>
                    <a:pt x="24" y="1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2"/>
                    <a:pt x="25" y="43"/>
                    <a:pt x="26" y="43"/>
                  </a:cubicBezTo>
                  <a:lnTo>
                    <a:pt x="56" y="43"/>
                  </a:lnTo>
                  <a:close/>
                  <a:moveTo>
                    <a:pt x="26" y="47"/>
                  </a:moveTo>
                  <a:cubicBezTo>
                    <a:pt x="22" y="47"/>
                    <a:pt x="20" y="44"/>
                    <a:pt x="20" y="40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5"/>
                    <a:pt x="22" y="12"/>
                    <a:pt x="2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2" y="15"/>
                    <a:pt x="62" y="18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4"/>
                    <a:pt x="60" y="47"/>
                    <a:pt x="56" y="47"/>
                  </a:cubicBezTo>
                  <a:lnTo>
                    <a:pt x="26" y="47"/>
                  </a:lnTo>
                  <a:close/>
                  <a:moveTo>
                    <a:pt x="24" y="56"/>
                  </a:moveTo>
                  <a:cubicBezTo>
                    <a:pt x="22" y="56"/>
                    <a:pt x="21" y="55"/>
                    <a:pt x="21" y="54"/>
                  </a:cubicBezTo>
                  <a:cubicBezTo>
                    <a:pt x="21" y="53"/>
                    <a:pt x="22" y="52"/>
                    <a:pt x="24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60" y="53"/>
                    <a:pt x="60" y="54"/>
                  </a:cubicBezTo>
                  <a:cubicBezTo>
                    <a:pt x="60" y="55"/>
                    <a:pt x="59" y="56"/>
                    <a:pt x="58" y="56"/>
                  </a:cubicBezTo>
                  <a:lnTo>
                    <a:pt x="24" y="56"/>
                  </a:lnTo>
                  <a:close/>
                  <a:moveTo>
                    <a:pt x="69" y="105"/>
                  </a:moveTo>
                  <a:cubicBezTo>
                    <a:pt x="69" y="104"/>
                    <a:pt x="69" y="104"/>
                    <a:pt x="69" y="104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9" y="11"/>
                    <a:pt x="63" y="5"/>
                    <a:pt x="5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0" y="5"/>
                    <a:pt x="14" y="11"/>
                    <a:pt x="14" y="19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5"/>
                    <a:pt x="14" y="105"/>
                    <a:pt x="14" y="105"/>
                  </a:cubicBezTo>
                  <a:lnTo>
                    <a:pt x="69" y="105"/>
                  </a:lnTo>
                  <a:close/>
                  <a:moveTo>
                    <a:pt x="2" y="109"/>
                  </a:moveTo>
                  <a:cubicBezTo>
                    <a:pt x="1" y="109"/>
                    <a:pt x="0" y="108"/>
                    <a:pt x="0" y="107"/>
                  </a:cubicBezTo>
                  <a:cubicBezTo>
                    <a:pt x="0" y="105"/>
                    <a:pt x="1" y="105"/>
                    <a:pt x="2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9"/>
                    <a:pt x="17" y="0"/>
                    <a:pt x="2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6" y="0"/>
                    <a:pt x="73" y="9"/>
                    <a:pt x="73" y="1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8" y="59"/>
                    <a:pt x="81" y="61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2" y="76"/>
                    <a:pt x="83" y="83"/>
                    <a:pt x="85" y="88"/>
                  </a:cubicBezTo>
                  <a:cubicBezTo>
                    <a:pt x="86" y="89"/>
                    <a:pt x="88" y="90"/>
                    <a:pt x="89" y="91"/>
                  </a:cubicBezTo>
                  <a:cubicBezTo>
                    <a:pt x="91" y="91"/>
                    <a:pt x="94" y="91"/>
                    <a:pt x="98" y="90"/>
                  </a:cubicBezTo>
                  <a:cubicBezTo>
                    <a:pt x="102" y="88"/>
                    <a:pt x="104" y="85"/>
                    <a:pt x="103" y="80"/>
                  </a:cubicBezTo>
                  <a:cubicBezTo>
                    <a:pt x="103" y="75"/>
                    <a:pt x="99" y="67"/>
                    <a:pt x="90" y="55"/>
                  </a:cubicBezTo>
                  <a:cubicBezTo>
                    <a:pt x="89" y="53"/>
                    <a:pt x="87" y="50"/>
                    <a:pt x="87" y="47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1" y="46"/>
                    <a:pt x="80" y="45"/>
                    <a:pt x="81" y="4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1"/>
                    <a:pt x="82" y="30"/>
                    <a:pt x="82" y="30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90" y="24"/>
                    <a:pt x="92" y="25"/>
                    <a:pt x="92" y="26"/>
                  </a:cubicBezTo>
                  <a:cubicBezTo>
                    <a:pt x="93" y="27"/>
                    <a:pt x="93" y="28"/>
                    <a:pt x="92" y="29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4"/>
                    <a:pt x="93" y="20"/>
                    <a:pt x="92" y="17"/>
                  </a:cubicBezTo>
                  <a:cubicBezTo>
                    <a:pt x="90" y="13"/>
                    <a:pt x="88" y="11"/>
                    <a:pt x="85" y="10"/>
                  </a:cubicBezTo>
                  <a:cubicBezTo>
                    <a:pt x="84" y="9"/>
                    <a:pt x="84" y="8"/>
                    <a:pt x="84" y="7"/>
                  </a:cubicBezTo>
                  <a:cubicBezTo>
                    <a:pt x="85" y="6"/>
                    <a:pt x="86" y="5"/>
                    <a:pt x="87" y="5"/>
                  </a:cubicBezTo>
                  <a:cubicBezTo>
                    <a:pt x="94" y="8"/>
                    <a:pt x="98" y="18"/>
                    <a:pt x="98" y="26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3"/>
                    <a:pt x="97" y="44"/>
                    <a:pt x="96" y="44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2" y="49"/>
                    <a:pt x="92" y="51"/>
                    <a:pt x="94" y="52"/>
                  </a:cubicBezTo>
                  <a:cubicBezTo>
                    <a:pt x="102" y="64"/>
                    <a:pt x="107" y="73"/>
                    <a:pt x="108" y="80"/>
                  </a:cubicBezTo>
                  <a:cubicBezTo>
                    <a:pt x="108" y="87"/>
                    <a:pt x="105" y="91"/>
                    <a:pt x="99" y="94"/>
                  </a:cubicBezTo>
                  <a:cubicBezTo>
                    <a:pt x="96" y="95"/>
                    <a:pt x="93" y="96"/>
                    <a:pt x="91" y="96"/>
                  </a:cubicBezTo>
                  <a:cubicBezTo>
                    <a:pt x="90" y="96"/>
                    <a:pt x="89" y="96"/>
                    <a:pt x="88" y="95"/>
                  </a:cubicBezTo>
                  <a:cubicBezTo>
                    <a:pt x="85" y="95"/>
                    <a:pt x="83" y="93"/>
                    <a:pt x="81" y="90"/>
                  </a:cubicBezTo>
                  <a:cubicBezTo>
                    <a:pt x="79" y="85"/>
                    <a:pt x="77" y="78"/>
                    <a:pt x="77" y="69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6" y="64"/>
                    <a:pt x="75" y="63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0" y="105"/>
                    <a:pt x="80" y="105"/>
                    <a:pt x="80" y="105"/>
                  </a:cubicBezTo>
                  <a:cubicBezTo>
                    <a:pt x="81" y="105"/>
                    <a:pt x="82" y="105"/>
                    <a:pt x="82" y="107"/>
                  </a:cubicBezTo>
                  <a:cubicBezTo>
                    <a:pt x="82" y="108"/>
                    <a:pt x="81" y="109"/>
                    <a:pt x="80" y="109"/>
                  </a:cubicBezTo>
                  <a:lnTo>
                    <a:pt x="2" y="109"/>
                  </a:lnTo>
                  <a:close/>
                  <a:moveTo>
                    <a:pt x="2" y="118"/>
                  </a:moveTo>
                  <a:cubicBezTo>
                    <a:pt x="1" y="118"/>
                    <a:pt x="0" y="117"/>
                    <a:pt x="0" y="116"/>
                  </a:cubicBezTo>
                  <a:cubicBezTo>
                    <a:pt x="0" y="114"/>
                    <a:pt x="1" y="113"/>
                    <a:pt x="2" y="113"/>
                  </a:cubicBezTo>
                  <a:cubicBezTo>
                    <a:pt x="80" y="113"/>
                    <a:pt x="80" y="113"/>
                    <a:pt x="80" y="113"/>
                  </a:cubicBezTo>
                  <a:cubicBezTo>
                    <a:pt x="81" y="113"/>
                    <a:pt x="82" y="114"/>
                    <a:pt x="82" y="116"/>
                  </a:cubicBezTo>
                  <a:cubicBezTo>
                    <a:pt x="82" y="117"/>
                    <a:pt x="81" y="118"/>
                    <a:pt x="80" y="118"/>
                  </a:cubicBezTo>
                  <a:lnTo>
                    <a:pt x="2" y="1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589383CA-E73C-469F-9EF1-29C353015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" y="1246"/>
              <a:ext cx="265" cy="289"/>
            </a:xfrm>
            <a:custGeom>
              <a:avLst/>
              <a:gdLst>
                <a:gd name="T0" fmla="*/ 30 w 108"/>
                <a:gd name="T1" fmla="*/ 30 h 118"/>
                <a:gd name="T2" fmla="*/ 28 w 108"/>
                <a:gd name="T3" fmla="*/ 24 h 118"/>
                <a:gd name="T4" fmla="*/ 33 w 108"/>
                <a:gd name="T5" fmla="*/ 19 h 118"/>
                <a:gd name="T6" fmla="*/ 38 w 108"/>
                <a:gd name="T7" fmla="*/ 21 h 118"/>
                <a:gd name="T8" fmla="*/ 33 w 108"/>
                <a:gd name="T9" fmla="*/ 24 h 118"/>
                <a:gd name="T10" fmla="*/ 32 w 108"/>
                <a:gd name="T11" fmla="*/ 28 h 118"/>
                <a:gd name="T12" fmla="*/ 56 w 108"/>
                <a:gd name="T13" fmla="*/ 43 h 118"/>
                <a:gd name="T14" fmla="*/ 58 w 108"/>
                <a:gd name="T15" fmla="*/ 18 h 118"/>
                <a:gd name="T16" fmla="*/ 26 w 108"/>
                <a:gd name="T17" fmla="*/ 16 h 118"/>
                <a:gd name="T18" fmla="*/ 24 w 108"/>
                <a:gd name="T19" fmla="*/ 40 h 118"/>
                <a:gd name="T20" fmla="*/ 56 w 108"/>
                <a:gd name="T21" fmla="*/ 43 h 118"/>
                <a:gd name="T22" fmla="*/ 20 w 108"/>
                <a:gd name="T23" fmla="*/ 40 h 118"/>
                <a:gd name="T24" fmla="*/ 26 w 108"/>
                <a:gd name="T25" fmla="*/ 12 h 118"/>
                <a:gd name="T26" fmla="*/ 62 w 108"/>
                <a:gd name="T27" fmla="*/ 18 h 118"/>
                <a:gd name="T28" fmla="*/ 56 w 108"/>
                <a:gd name="T29" fmla="*/ 47 h 118"/>
                <a:gd name="T30" fmla="*/ 24 w 108"/>
                <a:gd name="T31" fmla="*/ 56 h 118"/>
                <a:gd name="T32" fmla="*/ 24 w 108"/>
                <a:gd name="T33" fmla="*/ 52 h 118"/>
                <a:gd name="T34" fmla="*/ 60 w 108"/>
                <a:gd name="T35" fmla="*/ 54 h 118"/>
                <a:gd name="T36" fmla="*/ 24 w 108"/>
                <a:gd name="T37" fmla="*/ 56 h 118"/>
                <a:gd name="T38" fmla="*/ 69 w 108"/>
                <a:gd name="T39" fmla="*/ 104 h 118"/>
                <a:gd name="T40" fmla="*/ 57 w 108"/>
                <a:gd name="T41" fmla="*/ 5 h 118"/>
                <a:gd name="T42" fmla="*/ 14 w 108"/>
                <a:gd name="T43" fmla="*/ 19 h 118"/>
                <a:gd name="T44" fmla="*/ 14 w 108"/>
                <a:gd name="T45" fmla="*/ 105 h 118"/>
                <a:gd name="T46" fmla="*/ 2 w 108"/>
                <a:gd name="T47" fmla="*/ 109 h 118"/>
                <a:gd name="T48" fmla="*/ 2 w 108"/>
                <a:gd name="T49" fmla="*/ 105 h 118"/>
                <a:gd name="T50" fmla="*/ 10 w 108"/>
                <a:gd name="T51" fmla="*/ 104 h 118"/>
                <a:gd name="T52" fmla="*/ 26 w 108"/>
                <a:gd name="T53" fmla="*/ 0 h 118"/>
                <a:gd name="T54" fmla="*/ 73 w 108"/>
                <a:gd name="T55" fmla="*/ 19 h 118"/>
                <a:gd name="T56" fmla="*/ 75 w 108"/>
                <a:gd name="T57" fmla="*/ 59 h 118"/>
                <a:gd name="T58" fmla="*/ 81 w 108"/>
                <a:gd name="T59" fmla="*/ 64 h 118"/>
                <a:gd name="T60" fmla="*/ 89 w 108"/>
                <a:gd name="T61" fmla="*/ 91 h 118"/>
                <a:gd name="T62" fmla="*/ 103 w 108"/>
                <a:gd name="T63" fmla="*/ 80 h 118"/>
                <a:gd name="T64" fmla="*/ 87 w 108"/>
                <a:gd name="T65" fmla="*/ 47 h 118"/>
                <a:gd name="T66" fmla="*/ 83 w 108"/>
                <a:gd name="T67" fmla="*/ 46 h 118"/>
                <a:gd name="T68" fmla="*/ 81 w 108"/>
                <a:gd name="T69" fmla="*/ 43 h 118"/>
                <a:gd name="T70" fmla="*/ 82 w 108"/>
                <a:gd name="T71" fmla="*/ 30 h 118"/>
                <a:gd name="T72" fmla="*/ 92 w 108"/>
                <a:gd name="T73" fmla="*/ 26 h 118"/>
                <a:gd name="T74" fmla="*/ 86 w 108"/>
                <a:gd name="T75" fmla="*/ 33 h 118"/>
                <a:gd name="T76" fmla="*/ 93 w 108"/>
                <a:gd name="T77" fmla="*/ 40 h 118"/>
                <a:gd name="T78" fmla="*/ 94 w 108"/>
                <a:gd name="T79" fmla="*/ 26 h 118"/>
                <a:gd name="T80" fmla="*/ 85 w 108"/>
                <a:gd name="T81" fmla="*/ 10 h 118"/>
                <a:gd name="T82" fmla="*/ 87 w 108"/>
                <a:gd name="T83" fmla="*/ 5 h 118"/>
                <a:gd name="T84" fmla="*/ 98 w 108"/>
                <a:gd name="T85" fmla="*/ 27 h 118"/>
                <a:gd name="T86" fmla="*/ 96 w 108"/>
                <a:gd name="T87" fmla="*/ 44 h 118"/>
                <a:gd name="T88" fmla="*/ 91 w 108"/>
                <a:gd name="T89" fmla="*/ 46 h 118"/>
                <a:gd name="T90" fmla="*/ 108 w 108"/>
                <a:gd name="T91" fmla="*/ 80 h 118"/>
                <a:gd name="T92" fmla="*/ 91 w 108"/>
                <a:gd name="T93" fmla="*/ 96 h 118"/>
                <a:gd name="T94" fmla="*/ 81 w 108"/>
                <a:gd name="T95" fmla="*/ 90 h 118"/>
                <a:gd name="T96" fmla="*/ 77 w 108"/>
                <a:gd name="T97" fmla="*/ 65 h 118"/>
                <a:gd name="T98" fmla="*/ 74 w 108"/>
                <a:gd name="T99" fmla="*/ 65 h 118"/>
                <a:gd name="T100" fmla="*/ 73 w 108"/>
                <a:gd name="T101" fmla="*/ 65 h 118"/>
                <a:gd name="T102" fmla="*/ 73 w 108"/>
                <a:gd name="T103" fmla="*/ 105 h 118"/>
                <a:gd name="T104" fmla="*/ 82 w 108"/>
                <a:gd name="T105" fmla="*/ 107 h 118"/>
                <a:gd name="T106" fmla="*/ 2 w 108"/>
                <a:gd name="T107" fmla="*/ 109 h 118"/>
                <a:gd name="T108" fmla="*/ 0 w 108"/>
                <a:gd name="T109" fmla="*/ 116 h 118"/>
                <a:gd name="T110" fmla="*/ 80 w 108"/>
                <a:gd name="T111" fmla="*/ 113 h 118"/>
                <a:gd name="T112" fmla="*/ 80 w 108"/>
                <a:gd name="T11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18">
                  <a:moveTo>
                    <a:pt x="30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28" y="30"/>
                    <a:pt x="27" y="29"/>
                    <a:pt x="27" y="28"/>
                  </a:cubicBezTo>
                  <a:cubicBezTo>
                    <a:pt x="27" y="26"/>
                    <a:pt x="28" y="25"/>
                    <a:pt x="28" y="24"/>
                  </a:cubicBezTo>
                  <a:cubicBezTo>
                    <a:pt x="29" y="22"/>
                    <a:pt x="29" y="21"/>
                    <a:pt x="30" y="21"/>
                  </a:cubicBezTo>
                  <a:cubicBezTo>
                    <a:pt x="31" y="20"/>
                    <a:pt x="32" y="19"/>
                    <a:pt x="33" y="19"/>
                  </a:cubicBezTo>
                  <a:cubicBezTo>
                    <a:pt x="34" y="19"/>
                    <a:pt x="35" y="19"/>
                    <a:pt x="36" y="19"/>
                  </a:cubicBezTo>
                  <a:cubicBezTo>
                    <a:pt x="37" y="19"/>
                    <a:pt x="38" y="19"/>
                    <a:pt x="38" y="21"/>
                  </a:cubicBezTo>
                  <a:cubicBezTo>
                    <a:pt x="38" y="22"/>
                    <a:pt x="37" y="23"/>
                    <a:pt x="36" y="23"/>
                  </a:cubicBezTo>
                  <a:cubicBezTo>
                    <a:pt x="35" y="23"/>
                    <a:pt x="34" y="24"/>
                    <a:pt x="33" y="24"/>
                  </a:cubicBezTo>
                  <a:cubicBezTo>
                    <a:pt x="33" y="24"/>
                    <a:pt x="33" y="25"/>
                    <a:pt x="32" y="25"/>
                  </a:cubicBezTo>
                  <a:cubicBezTo>
                    <a:pt x="32" y="26"/>
                    <a:pt x="32" y="27"/>
                    <a:pt x="32" y="28"/>
                  </a:cubicBezTo>
                  <a:cubicBezTo>
                    <a:pt x="32" y="29"/>
                    <a:pt x="31" y="30"/>
                    <a:pt x="30" y="30"/>
                  </a:cubicBezTo>
                  <a:moveTo>
                    <a:pt x="56" y="43"/>
                  </a:moveTo>
                  <a:cubicBezTo>
                    <a:pt x="57" y="43"/>
                    <a:pt x="58" y="42"/>
                    <a:pt x="58" y="4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4" y="17"/>
                    <a:pt x="24" y="1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2"/>
                    <a:pt x="25" y="43"/>
                    <a:pt x="26" y="43"/>
                  </a:cubicBezTo>
                  <a:lnTo>
                    <a:pt x="56" y="43"/>
                  </a:lnTo>
                  <a:close/>
                  <a:moveTo>
                    <a:pt x="26" y="47"/>
                  </a:moveTo>
                  <a:cubicBezTo>
                    <a:pt x="22" y="47"/>
                    <a:pt x="20" y="44"/>
                    <a:pt x="20" y="40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5"/>
                    <a:pt x="22" y="12"/>
                    <a:pt x="2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2" y="15"/>
                    <a:pt x="62" y="18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4"/>
                    <a:pt x="60" y="47"/>
                    <a:pt x="56" y="47"/>
                  </a:cubicBezTo>
                  <a:lnTo>
                    <a:pt x="26" y="47"/>
                  </a:lnTo>
                  <a:close/>
                  <a:moveTo>
                    <a:pt x="24" y="56"/>
                  </a:moveTo>
                  <a:cubicBezTo>
                    <a:pt x="22" y="56"/>
                    <a:pt x="21" y="55"/>
                    <a:pt x="21" y="54"/>
                  </a:cubicBezTo>
                  <a:cubicBezTo>
                    <a:pt x="21" y="53"/>
                    <a:pt x="22" y="52"/>
                    <a:pt x="24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60" y="53"/>
                    <a:pt x="60" y="54"/>
                  </a:cubicBezTo>
                  <a:cubicBezTo>
                    <a:pt x="60" y="55"/>
                    <a:pt x="59" y="56"/>
                    <a:pt x="58" y="56"/>
                  </a:cubicBezTo>
                  <a:lnTo>
                    <a:pt x="24" y="56"/>
                  </a:lnTo>
                  <a:close/>
                  <a:moveTo>
                    <a:pt x="69" y="105"/>
                  </a:moveTo>
                  <a:cubicBezTo>
                    <a:pt x="69" y="104"/>
                    <a:pt x="69" y="104"/>
                    <a:pt x="69" y="104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9" y="11"/>
                    <a:pt x="63" y="5"/>
                    <a:pt x="5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0" y="5"/>
                    <a:pt x="14" y="11"/>
                    <a:pt x="14" y="19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5"/>
                    <a:pt x="14" y="105"/>
                    <a:pt x="14" y="105"/>
                  </a:cubicBezTo>
                  <a:lnTo>
                    <a:pt x="69" y="105"/>
                  </a:lnTo>
                  <a:close/>
                  <a:moveTo>
                    <a:pt x="2" y="109"/>
                  </a:moveTo>
                  <a:cubicBezTo>
                    <a:pt x="1" y="109"/>
                    <a:pt x="0" y="108"/>
                    <a:pt x="0" y="107"/>
                  </a:cubicBezTo>
                  <a:cubicBezTo>
                    <a:pt x="0" y="105"/>
                    <a:pt x="1" y="105"/>
                    <a:pt x="2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9"/>
                    <a:pt x="17" y="0"/>
                    <a:pt x="2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6" y="0"/>
                    <a:pt x="73" y="9"/>
                    <a:pt x="73" y="1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8" y="59"/>
                    <a:pt x="81" y="61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2" y="76"/>
                    <a:pt x="83" y="83"/>
                    <a:pt x="85" y="88"/>
                  </a:cubicBezTo>
                  <a:cubicBezTo>
                    <a:pt x="86" y="89"/>
                    <a:pt x="88" y="90"/>
                    <a:pt x="89" y="91"/>
                  </a:cubicBezTo>
                  <a:cubicBezTo>
                    <a:pt x="91" y="91"/>
                    <a:pt x="94" y="91"/>
                    <a:pt x="98" y="90"/>
                  </a:cubicBezTo>
                  <a:cubicBezTo>
                    <a:pt x="102" y="88"/>
                    <a:pt x="104" y="85"/>
                    <a:pt x="103" y="80"/>
                  </a:cubicBezTo>
                  <a:cubicBezTo>
                    <a:pt x="103" y="75"/>
                    <a:pt x="99" y="67"/>
                    <a:pt x="90" y="55"/>
                  </a:cubicBezTo>
                  <a:cubicBezTo>
                    <a:pt x="89" y="53"/>
                    <a:pt x="87" y="50"/>
                    <a:pt x="87" y="47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1" y="46"/>
                    <a:pt x="80" y="45"/>
                    <a:pt x="81" y="4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1"/>
                    <a:pt x="82" y="30"/>
                    <a:pt x="82" y="30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90" y="24"/>
                    <a:pt x="92" y="25"/>
                    <a:pt x="92" y="26"/>
                  </a:cubicBezTo>
                  <a:cubicBezTo>
                    <a:pt x="93" y="27"/>
                    <a:pt x="93" y="28"/>
                    <a:pt x="92" y="29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4"/>
                    <a:pt x="93" y="20"/>
                    <a:pt x="92" y="17"/>
                  </a:cubicBezTo>
                  <a:cubicBezTo>
                    <a:pt x="90" y="13"/>
                    <a:pt x="88" y="11"/>
                    <a:pt x="85" y="10"/>
                  </a:cubicBezTo>
                  <a:cubicBezTo>
                    <a:pt x="84" y="9"/>
                    <a:pt x="84" y="8"/>
                    <a:pt x="84" y="7"/>
                  </a:cubicBezTo>
                  <a:cubicBezTo>
                    <a:pt x="85" y="6"/>
                    <a:pt x="86" y="5"/>
                    <a:pt x="87" y="5"/>
                  </a:cubicBezTo>
                  <a:cubicBezTo>
                    <a:pt x="94" y="8"/>
                    <a:pt x="98" y="18"/>
                    <a:pt x="98" y="26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3"/>
                    <a:pt x="97" y="44"/>
                    <a:pt x="96" y="44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2" y="49"/>
                    <a:pt x="92" y="51"/>
                    <a:pt x="94" y="52"/>
                  </a:cubicBezTo>
                  <a:cubicBezTo>
                    <a:pt x="102" y="64"/>
                    <a:pt x="107" y="73"/>
                    <a:pt x="108" y="80"/>
                  </a:cubicBezTo>
                  <a:cubicBezTo>
                    <a:pt x="108" y="87"/>
                    <a:pt x="105" y="91"/>
                    <a:pt x="99" y="94"/>
                  </a:cubicBezTo>
                  <a:cubicBezTo>
                    <a:pt x="96" y="95"/>
                    <a:pt x="93" y="96"/>
                    <a:pt x="91" y="96"/>
                  </a:cubicBezTo>
                  <a:cubicBezTo>
                    <a:pt x="90" y="96"/>
                    <a:pt x="89" y="96"/>
                    <a:pt x="88" y="95"/>
                  </a:cubicBezTo>
                  <a:cubicBezTo>
                    <a:pt x="85" y="95"/>
                    <a:pt x="83" y="93"/>
                    <a:pt x="81" y="90"/>
                  </a:cubicBezTo>
                  <a:cubicBezTo>
                    <a:pt x="79" y="85"/>
                    <a:pt x="77" y="78"/>
                    <a:pt x="77" y="69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6" y="64"/>
                    <a:pt x="75" y="63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0" y="105"/>
                    <a:pt x="80" y="105"/>
                    <a:pt x="80" y="105"/>
                  </a:cubicBezTo>
                  <a:cubicBezTo>
                    <a:pt x="81" y="105"/>
                    <a:pt x="82" y="105"/>
                    <a:pt x="82" y="107"/>
                  </a:cubicBezTo>
                  <a:cubicBezTo>
                    <a:pt x="82" y="108"/>
                    <a:pt x="81" y="109"/>
                    <a:pt x="80" y="109"/>
                  </a:cubicBezTo>
                  <a:lnTo>
                    <a:pt x="2" y="109"/>
                  </a:lnTo>
                  <a:close/>
                  <a:moveTo>
                    <a:pt x="2" y="118"/>
                  </a:moveTo>
                  <a:cubicBezTo>
                    <a:pt x="1" y="118"/>
                    <a:pt x="0" y="117"/>
                    <a:pt x="0" y="116"/>
                  </a:cubicBezTo>
                  <a:cubicBezTo>
                    <a:pt x="0" y="114"/>
                    <a:pt x="1" y="113"/>
                    <a:pt x="2" y="113"/>
                  </a:cubicBezTo>
                  <a:cubicBezTo>
                    <a:pt x="80" y="113"/>
                    <a:pt x="80" y="113"/>
                    <a:pt x="80" y="113"/>
                  </a:cubicBezTo>
                  <a:cubicBezTo>
                    <a:pt x="81" y="113"/>
                    <a:pt x="82" y="114"/>
                    <a:pt x="82" y="116"/>
                  </a:cubicBezTo>
                  <a:cubicBezTo>
                    <a:pt x="82" y="117"/>
                    <a:pt x="81" y="118"/>
                    <a:pt x="80" y="118"/>
                  </a:cubicBezTo>
                  <a:lnTo>
                    <a:pt x="2" y="11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72">
            <a:extLst>
              <a:ext uri="{FF2B5EF4-FFF2-40B4-BE49-F238E27FC236}">
                <a16:creationId xmlns:a16="http://schemas.microsoft.com/office/drawing/2014/main" id="{8A7C550D-49C7-4459-BC48-9F918032EF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635" y="1551652"/>
            <a:ext cx="841375" cy="841375"/>
            <a:chOff x="317" y="1134"/>
            <a:chExt cx="530" cy="530"/>
          </a:xfrm>
        </p:grpSpPr>
        <p:sp>
          <p:nvSpPr>
            <p:cNvPr id="83" name="AutoShape 71">
              <a:extLst>
                <a:ext uri="{FF2B5EF4-FFF2-40B4-BE49-F238E27FC236}">
                  <a16:creationId xmlns:a16="http://schemas.microsoft.com/office/drawing/2014/main" id="{245FA1D1-E365-4CFD-AF9D-2F89ADFF22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7" y="113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3">
              <a:extLst>
                <a:ext uri="{FF2B5EF4-FFF2-40B4-BE49-F238E27FC236}">
                  <a16:creationId xmlns:a16="http://schemas.microsoft.com/office/drawing/2014/main" id="{3FCD9C09-06BA-478F-8911-8ADB8547E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" y="113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4">
              <a:extLst>
                <a:ext uri="{FF2B5EF4-FFF2-40B4-BE49-F238E27FC236}">
                  <a16:creationId xmlns:a16="http://schemas.microsoft.com/office/drawing/2014/main" id="{1ACAEC34-8B8B-4A65-8CA4-049242A1EA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" y="115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5">
              <a:extLst>
                <a:ext uri="{FF2B5EF4-FFF2-40B4-BE49-F238E27FC236}">
                  <a16:creationId xmlns:a16="http://schemas.microsoft.com/office/drawing/2014/main" id="{A91C4B6E-3B39-4A45-A0DE-020436C0CA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" y="1249"/>
              <a:ext cx="276" cy="302"/>
            </a:xfrm>
            <a:custGeom>
              <a:avLst/>
              <a:gdLst>
                <a:gd name="T0" fmla="*/ 30 w 108"/>
                <a:gd name="T1" fmla="*/ 30 h 118"/>
                <a:gd name="T2" fmla="*/ 28 w 108"/>
                <a:gd name="T3" fmla="*/ 24 h 118"/>
                <a:gd name="T4" fmla="*/ 33 w 108"/>
                <a:gd name="T5" fmla="*/ 19 h 118"/>
                <a:gd name="T6" fmla="*/ 38 w 108"/>
                <a:gd name="T7" fmla="*/ 21 h 118"/>
                <a:gd name="T8" fmla="*/ 33 w 108"/>
                <a:gd name="T9" fmla="*/ 24 h 118"/>
                <a:gd name="T10" fmla="*/ 32 w 108"/>
                <a:gd name="T11" fmla="*/ 28 h 118"/>
                <a:gd name="T12" fmla="*/ 56 w 108"/>
                <a:gd name="T13" fmla="*/ 43 h 118"/>
                <a:gd name="T14" fmla="*/ 58 w 108"/>
                <a:gd name="T15" fmla="*/ 18 h 118"/>
                <a:gd name="T16" fmla="*/ 26 w 108"/>
                <a:gd name="T17" fmla="*/ 16 h 118"/>
                <a:gd name="T18" fmla="*/ 24 w 108"/>
                <a:gd name="T19" fmla="*/ 40 h 118"/>
                <a:gd name="T20" fmla="*/ 56 w 108"/>
                <a:gd name="T21" fmla="*/ 43 h 118"/>
                <a:gd name="T22" fmla="*/ 20 w 108"/>
                <a:gd name="T23" fmla="*/ 40 h 118"/>
                <a:gd name="T24" fmla="*/ 26 w 108"/>
                <a:gd name="T25" fmla="*/ 12 h 118"/>
                <a:gd name="T26" fmla="*/ 62 w 108"/>
                <a:gd name="T27" fmla="*/ 18 h 118"/>
                <a:gd name="T28" fmla="*/ 56 w 108"/>
                <a:gd name="T29" fmla="*/ 47 h 118"/>
                <a:gd name="T30" fmla="*/ 24 w 108"/>
                <a:gd name="T31" fmla="*/ 56 h 118"/>
                <a:gd name="T32" fmla="*/ 24 w 108"/>
                <a:gd name="T33" fmla="*/ 52 h 118"/>
                <a:gd name="T34" fmla="*/ 60 w 108"/>
                <a:gd name="T35" fmla="*/ 54 h 118"/>
                <a:gd name="T36" fmla="*/ 24 w 108"/>
                <a:gd name="T37" fmla="*/ 56 h 118"/>
                <a:gd name="T38" fmla="*/ 69 w 108"/>
                <a:gd name="T39" fmla="*/ 104 h 118"/>
                <a:gd name="T40" fmla="*/ 57 w 108"/>
                <a:gd name="T41" fmla="*/ 5 h 118"/>
                <a:gd name="T42" fmla="*/ 14 w 108"/>
                <a:gd name="T43" fmla="*/ 19 h 118"/>
                <a:gd name="T44" fmla="*/ 14 w 108"/>
                <a:gd name="T45" fmla="*/ 105 h 118"/>
                <a:gd name="T46" fmla="*/ 2 w 108"/>
                <a:gd name="T47" fmla="*/ 109 h 118"/>
                <a:gd name="T48" fmla="*/ 2 w 108"/>
                <a:gd name="T49" fmla="*/ 105 h 118"/>
                <a:gd name="T50" fmla="*/ 10 w 108"/>
                <a:gd name="T51" fmla="*/ 104 h 118"/>
                <a:gd name="T52" fmla="*/ 26 w 108"/>
                <a:gd name="T53" fmla="*/ 0 h 118"/>
                <a:gd name="T54" fmla="*/ 73 w 108"/>
                <a:gd name="T55" fmla="*/ 19 h 118"/>
                <a:gd name="T56" fmla="*/ 75 w 108"/>
                <a:gd name="T57" fmla="*/ 59 h 118"/>
                <a:gd name="T58" fmla="*/ 81 w 108"/>
                <a:gd name="T59" fmla="*/ 64 h 118"/>
                <a:gd name="T60" fmla="*/ 89 w 108"/>
                <a:gd name="T61" fmla="*/ 91 h 118"/>
                <a:gd name="T62" fmla="*/ 103 w 108"/>
                <a:gd name="T63" fmla="*/ 80 h 118"/>
                <a:gd name="T64" fmla="*/ 87 w 108"/>
                <a:gd name="T65" fmla="*/ 47 h 118"/>
                <a:gd name="T66" fmla="*/ 83 w 108"/>
                <a:gd name="T67" fmla="*/ 46 h 118"/>
                <a:gd name="T68" fmla="*/ 81 w 108"/>
                <a:gd name="T69" fmla="*/ 43 h 118"/>
                <a:gd name="T70" fmla="*/ 82 w 108"/>
                <a:gd name="T71" fmla="*/ 30 h 118"/>
                <a:gd name="T72" fmla="*/ 92 w 108"/>
                <a:gd name="T73" fmla="*/ 26 h 118"/>
                <a:gd name="T74" fmla="*/ 86 w 108"/>
                <a:gd name="T75" fmla="*/ 33 h 118"/>
                <a:gd name="T76" fmla="*/ 93 w 108"/>
                <a:gd name="T77" fmla="*/ 40 h 118"/>
                <a:gd name="T78" fmla="*/ 94 w 108"/>
                <a:gd name="T79" fmla="*/ 26 h 118"/>
                <a:gd name="T80" fmla="*/ 85 w 108"/>
                <a:gd name="T81" fmla="*/ 10 h 118"/>
                <a:gd name="T82" fmla="*/ 87 w 108"/>
                <a:gd name="T83" fmla="*/ 5 h 118"/>
                <a:gd name="T84" fmla="*/ 98 w 108"/>
                <a:gd name="T85" fmla="*/ 27 h 118"/>
                <a:gd name="T86" fmla="*/ 96 w 108"/>
                <a:gd name="T87" fmla="*/ 44 h 118"/>
                <a:gd name="T88" fmla="*/ 91 w 108"/>
                <a:gd name="T89" fmla="*/ 46 h 118"/>
                <a:gd name="T90" fmla="*/ 108 w 108"/>
                <a:gd name="T91" fmla="*/ 80 h 118"/>
                <a:gd name="T92" fmla="*/ 91 w 108"/>
                <a:gd name="T93" fmla="*/ 96 h 118"/>
                <a:gd name="T94" fmla="*/ 81 w 108"/>
                <a:gd name="T95" fmla="*/ 90 h 118"/>
                <a:gd name="T96" fmla="*/ 77 w 108"/>
                <a:gd name="T97" fmla="*/ 65 h 118"/>
                <a:gd name="T98" fmla="*/ 74 w 108"/>
                <a:gd name="T99" fmla="*/ 65 h 118"/>
                <a:gd name="T100" fmla="*/ 73 w 108"/>
                <a:gd name="T101" fmla="*/ 65 h 118"/>
                <a:gd name="T102" fmla="*/ 73 w 108"/>
                <a:gd name="T103" fmla="*/ 105 h 118"/>
                <a:gd name="T104" fmla="*/ 82 w 108"/>
                <a:gd name="T105" fmla="*/ 107 h 118"/>
                <a:gd name="T106" fmla="*/ 2 w 108"/>
                <a:gd name="T107" fmla="*/ 109 h 118"/>
                <a:gd name="T108" fmla="*/ 0 w 108"/>
                <a:gd name="T109" fmla="*/ 116 h 118"/>
                <a:gd name="T110" fmla="*/ 80 w 108"/>
                <a:gd name="T111" fmla="*/ 113 h 118"/>
                <a:gd name="T112" fmla="*/ 80 w 108"/>
                <a:gd name="T11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18">
                  <a:moveTo>
                    <a:pt x="30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28" y="30"/>
                    <a:pt x="27" y="29"/>
                    <a:pt x="27" y="28"/>
                  </a:cubicBezTo>
                  <a:cubicBezTo>
                    <a:pt x="27" y="26"/>
                    <a:pt x="28" y="25"/>
                    <a:pt x="28" y="24"/>
                  </a:cubicBezTo>
                  <a:cubicBezTo>
                    <a:pt x="29" y="22"/>
                    <a:pt x="29" y="21"/>
                    <a:pt x="30" y="21"/>
                  </a:cubicBezTo>
                  <a:cubicBezTo>
                    <a:pt x="31" y="20"/>
                    <a:pt x="32" y="19"/>
                    <a:pt x="33" y="19"/>
                  </a:cubicBezTo>
                  <a:cubicBezTo>
                    <a:pt x="34" y="19"/>
                    <a:pt x="35" y="19"/>
                    <a:pt x="36" y="19"/>
                  </a:cubicBezTo>
                  <a:cubicBezTo>
                    <a:pt x="37" y="19"/>
                    <a:pt x="38" y="19"/>
                    <a:pt x="38" y="21"/>
                  </a:cubicBezTo>
                  <a:cubicBezTo>
                    <a:pt x="38" y="22"/>
                    <a:pt x="37" y="23"/>
                    <a:pt x="36" y="23"/>
                  </a:cubicBezTo>
                  <a:cubicBezTo>
                    <a:pt x="35" y="23"/>
                    <a:pt x="34" y="24"/>
                    <a:pt x="33" y="24"/>
                  </a:cubicBezTo>
                  <a:cubicBezTo>
                    <a:pt x="33" y="24"/>
                    <a:pt x="33" y="25"/>
                    <a:pt x="32" y="25"/>
                  </a:cubicBezTo>
                  <a:cubicBezTo>
                    <a:pt x="32" y="26"/>
                    <a:pt x="32" y="27"/>
                    <a:pt x="32" y="28"/>
                  </a:cubicBezTo>
                  <a:cubicBezTo>
                    <a:pt x="32" y="29"/>
                    <a:pt x="31" y="30"/>
                    <a:pt x="30" y="30"/>
                  </a:cubicBezTo>
                  <a:moveTo>
                    <a:pt x="56" y="43"/>
                  </a:moveTo>
                  <a:cubicBezTo>
                    <a:pt x="57" y="43"/>
                    <a:pt x="58" y="42"/>
                    <a:pt x="58" y="4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4" y="17"/>
                    <a:pt x="24" y="1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2"/>
                    <a:pt x="25" y="43"/>
                    <a:pt x="26" y="43"/>
                  </a:cubicBezTo>
                  <a:lnTo>
                    <a:pt x="56" y="43"/>
                  </a:lnTo>
                  <a:close/>
                  <a:moveTo>
                    <a:pt x="26" y="47"/>
                  </a:moveTo>
                  <a:cubicBezTo>
                    <a:pt x="22" y="47"/>
                    <a:pt x="20" y="44"/>
                    <a:pt x="20" y="40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5"/>
                    <a:pt x="22" y="12"/>
                    <a:pt x="2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2" y="15"/>
                    <a:pt x="62" y="18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4"/>
                    <a:pt x="60" y="47"/>
                    <a:pt x="56" y="47"/>
                  </a:cubicBezTo>
                  <a:lnTo>
                    <a:pt x="26" y="47"/>
                  </a:lnTo>
                  <a:close/>
                  <a:moveTo>
                    <a:pt x="24" y="56"/>
                  </a:moveTo>
                  <a:cubicBezTo>
                    <a:pt x="22" y="56"/>
                    <a:pt x="21" y="55"/>
                    <a:pt x="21" y="54"/>
                  </a:cubicBezTo>
                  <a:cubicBezTo>
                    <a:pt x="21" y="53"/>
                    <a:pt x="22" y="52"/>
                    <a:pt x="24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60" y="53"/>
                    <a:pt x="60" y="54"/>
                  </a:cubicBezTo>
                  <a:cubicBezTo>
                    <a:pt x="60" y="55"/>
                    <a:pt x="59" y="56"/>
                    <a:pt x="58" y="56"/>
                  </a:cubicBezTo>
                  <a:lnTo>
                    <a:pt x="24" y="56"/>
                  </a:lnTo>
                  <a:close/>
                  <a:moveTo>
                    <a:pt x="69" y="105"/>
                  </a:moveTo>
                  <a:cubicBezTo>
                    <a:pt x="69" y="104"/>
                    <a:pt x="69" y="104"/>
                    <a:pt x="69" y="104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9" y="11"/>
                    <a:pt x="63" y="5"/>
                    <a:pt x="5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0" y="5"/>
                    <a:pt x="14" y="11"/>
                    <a:pt x="14" y="19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5"/>
                    <a:pt x="14" y="105"/>
                    <a:pt x="14" y="105"/>
                  </a:cubicBezTo>
                  <a:lnTo>
                    <a:pt x="69" y="105"/>
                  </a:lnTo>
                  <a:close/>
                  <a:moveTo>
                    <a:pt x="2" y="109"/>
                  </a:moveTo>
                  <a:cubicBezTo>
                    <a:pt x="1" y="109"/>
                    <a:pt x="0" y="108"/>
                    <a:pt x="0" y="107"/>
                  </a:cubicBezTo>
                  <a:cubicBezTo>
                    <a:pt x="0" y="105"/>
                    <a:pt x="1" y="105"/>
                    <a:pt x="2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9"/>
                    <a:pt x="17" y="0"/>
                    <a:pt x="2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6" y="0"/>
                    <a:pt x="73" y="9"/>
                    <a:pt x="73" y="1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8" y="59"/>
                    <a:pt x="81" y="61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2" y="76"/>
                    <a:pt x="83" y="83"/>
                    <a:pt x="85" y="88"/>
                  </a:cubicBezTo>
                  <a:cubicBezTo>
                    <a:pt x="86" y="89"/>
                    <a:pt x="88" y="90"/>
                    <a:pt x="89" y="91"/>
                  </a:cubicBezTo>
                  <a:cubicBezTo>
                    <a:pt x="91" y="91"/>
                    <a:pt x="94" y="91"/>
                    <a:pt x="98" y="90"/>
                  </a:cubicBezTo>
                  <a:cubicBezTo>
                    <a:pt x="102" y="88"/>
                    <a:pt x="104" y="85"/>
                    <a:pt x="103" y="80"/>
                  </a:cubicBezTo>
                  <a:cubicBezTo>
                    <a:pt x="103" y="75"/>
                    <a:pt x="99" y="67"/>
                    <a:pt x="90" y="55"/>
                  </a:cubicBezTo>
                  <a:cubicBezTo>
                    <a:pt x="89" y="53"/>
                    <a:pt x="87" y="50"/>
                    <a:pt x="87" y="47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1" y="46"/>
                    <a:pt x="80" y="45"/>
                    <a:pt x="81" y="4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1"/>
                    <a:pt x="82" y="30"/>
                    <a:pt x="82" y="30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90" y="24"/>
                    <a:pt x="92" y="25"/>
                    <a:pt x="92" y="26"/>
                  </a:cubicBezTo>
                  <a:cubicBezTo>
                    <a:pt x="93" y="27"/>
                    <a:pt x="93" y="28"/>
                    <a:pt x="92" y="29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4"/>
                    <a:pt x="93" y="20"/>
                    <a:pt x="92" y="17"/>
                  </a:cubicBezTo>
                  <a:cubicBezTo>
                    <a:pt x="90" y="13"/>
                    <a:pt x="88" y="11"/>
                    <a:pt x="85" y="10"/>
                  </a:cubicBezTo>
                  <a:cubicBezTo>
                    <a:pt x="84" y="9"/>
                    <a:pt x="84" y="8"/>
                    <a:pt x="84" y="7"/>
                  </a:cubicBezTo>
                  <a:cubicBezTo>
                    <a:pt x="85" y="6"/>
                    <a:pt x="86" y="5"/>
                    <a:pt x="87" y="5"/>
                  </a:cubicBezTo>
                  <a:cubicBezTo>
                    <a:pt x="94" y="8"/>
                    <a:pt x="98" y="18"/>
                    <a:pt x="98" y="26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3"/>
                    <a:pt x="97" y="44"/>
                    <a:pt x="96" y="44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2" y="49"/>
                    <a:pt x="92" y="51"/>
                    <a:pt x="94" y="52"/>
                  </a:cubicBezTo>
                  <a:cubicBezTo>
                    <a:pt x="102" y="64"/>
                    <a:pt x="107" y="73"/>
                    <a:pt x="108" y="80"/>
                  </a:cubicBezTo>
                  <a:cubicBezTo>
                    <a:pt x="108" y="87"/>
                    <a:pt x="105" y="91"/>
                    <a:pt x="99" y="94"/>
                  </a:cubicBezTo>
                  <a:cubicBezTo>
                    <a:pt x="96" y="95"/>
                    <a:pt x="93" y="96"/>
                    <a:pt x="91" y="96"/>
                  </a:cubicBezTo>
                  <a:cubicBezTo>
                    <a:pt x="90" y="96"/>
                    <a:pt x="89" y="96"/>
                    <a:pt x="88" y="95"/>
                  </a:cubicBezTo>
                  <a:cubicBezTo>
                    <a:pt x="85" y="95"/>
                    <a:pt x="83" y="93"/>
                    <a:pt x="81" y="90"/>
                  </a:cubicBezTo>
                  <a:cubicBezTo>
                    <a:pt x="79" y="85"/>
                    <a:pt x="77" y="78"/>
                    <a:pt x="77" y="69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6" y="64"/>
                    <a:pt x="75" y="63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80" y="105"/>
                    <a:pt x="80" y="105"/>
                    <a:pt x="80" y="105"/>
                  </a:cubicBezTo>
                  <a:cubicBezTo>
                    <a:pt x="81" y="105"/>
                    <a:pt x="82" y="105"/>
                    <a:pt x="82" y="107"/>
                  </a:cubicBezTo>
                  <a:cubicBezTo>
                    <a:pt x="82" y="108"/>
                    <a:pt x="81" y="109"/>
                    <a:pt x="80" y="109"/>
                  </a:cubicBezTo>
                  <a:lnTo>
                    <a:pt x="2" y="109"/>
                  </a:lnTo>
                  <a:close/>
                  <a:moveTo>
                    <a:pt x="2" y="118"/>
                  </a:moveTo>
                  <a:cubicBezTo>
                    <a:pt x="1" y="118"/>
                    <a:pt x="0" y="117"/>
                    <a:pt x="0" y="116"/>
                  </a:cubicBezTo>
                  <a:cubicBezTo>
                    <a:pt x="0" y="114"/>
                    <a:pt x="1" y="113"/>
                    <a:pt x="2" y="113"/>
                  </a:cubicBezTo>
                  <a:cubicBezTo>
                    <a:pt x="80" y="113"/>
                    <a:pt x="80" y="113"/>
                    <a:pt x="80" y="113"/>
                  </a:cubicBezTo>
                  <a:cubicBezTo>
                    <a:pt x="81" y="113"/>
                    <a:pt x="82" y="114"/>
                    <a:pt x="82" y="116"/>
                  </a:cubicBezTo>
                  <a:cubicBezTo>
                    <a:pt x="82" y="117"/>
                    <a:pt x="81" y="118"/>
                    <a:pt x="80" y="118"/>
                  </a:cubicBezTo>
                  <a:lnTo>
                    <a:pt x="2" y="1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78">
            <a:extLst>
              <a:ext uri="{FF2B5EF4-FFF2-40B4-BE49-F238E27FC236}">
                <a16:creationId xmlns:a16="http://schemas.microsoft.com/office/drawing/2014/main" id="{5BDA41CA-A424-4325-A05F-F63A9C1482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1279" y="1592927"/>
            <a:ext cx="760412" cy="758825"/>
            <a:chOff x="2319" y="1241"/>
            <a:chExt cx="479" cy="478"/>
          </a:xfrm>
        </p:grpSpPr>
        <p:sp>
          <p:nvSpPr>
            <p:cNvPr id="92" name="AutoShape 77">
              <a:extLst>
                <a:ext uri="{FF2B5EF4-FFF2-40B4-BE49-F238E27FC236}">
                  <a16:creationId xmlns:a16="http://schemas.microsoft.com/office/drawing/2014/main" id="{090FA1BE-8792-41CA-8FC4-59A5EBDD66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19" y="124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053B5DD4-8716-4ECB-9C44-0F17B1C60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1" y="124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80">
              <a:extLst>
                <a:ext uri="{FF2B5EF4-FFF2-40B4-BE49-F238E27FC236}">
                  <a16:creationId xmlns:a16="http://schemas.microsoft.com/office/drawing/2014/main" id="{BCE72C26-B4FF-4C18-A611-E835643037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4" y="1533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1">
              <a:extLst>
                <a:ext uri="{FF2B5EF4-FFF2-40B4-BE49-F238E27FC236}">
                  <a16:creationId xmlns:a16="http://schemas.microsoft.com/office/drawing/2014/main" id="{FD86FCC2-B80F-4268-A330-0AEF34F74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1533"/>
              <a:ext cx="10" cy="12"/>
            </a:xfrm>
            <a:custGeom>
              <a:avLst/>
              <a:gdLst>
                <a:gd name="T0" fmla="*/ 8 w 10"/>
                <a:gd name="T1" fmla="*/ 7 h 12"/>
                <a:gd name="T2" fmla="*/ 8 w 10"/>
                <a:gd name="T3" fmla="*/ 5 h 12"/>
                <a:gd name="T4" fmla="*/ 10 w 10"/>
                <a:gd name="T5" fmla="*/ 2 h 12"/>
                <a:gd name="T6" fmla="*/ 10 w 10"/>
                <a:gd name="T7" fmla="*/ 2 h 12"/>
                <a:gd name="T8" fmla="*/ 10 w 10"/>
                <a:gd name="T9" fmla="*/ 2 h 12"/>
                <a:gd name="T10" fmla="*/ 8 w 10"/>
                <a:gd name="T11" fmla="*/ 5 h 12"/>
                <a:gd name="T12" fmla="*/ 8 w 10"/>
                <a:gd name="T13" fmla="*/ 5 h 12"/>
                <a:gd name="T14" fmla="*/ 10 w 10"/>
                <a:gd name="T15" fmla="*/ 2 h 12"/>
                <a:gd name="T16" fmla="*/ 10 w 10"/>
                <a:gd name="T17" fmla="*/ 2 h 12"/>
                <a:gd name="T18" fmla="*/ 8 w 10"/>
                <a:gd name="T19" fmla="*/ 2 h 12"/>
                <a:gd name="T20" fmla="*/ 8 w 10"/>
                <a:gd name="T21" fmla="*/ 0 h 12"/>
                <a:gd name="T22" fmla="*/ 5 w 10"/>
                <a:gd name="T23" fmla="*/ 2 h 12"/>
                <a:gd name="T24" fmla="*/ 5 w 10"/>
                <a:gd name="T25" fmla="*/ 2 h 12"/>
                <a:gd name="T26" fmla="*/ 5 w 10"/>
                <a:gd name="T27" fmla="*/ 2 h 12"/>
                <a:gd name="T28" fmla="*/ 5 w 10"/>
                <a:gd name="T29" fmla="*/ 2 h 12"/>
                <a:gd name="T30" fmla="*/ 3 w 10"/>
                <a:gd name="T31" fmla="*/ 0 h 12"/>
                <a:gd name="T32" fmla="*/ 3 w 10"/>
                <a:gd name="T33" fmla="*/ 0 h 12"/>
                <a:gd name="T34" fmla="*/ 3 w 10"/>
                <a:gd name="T35" fmla="*/ 2 h 12"/>
                <a:gd name="T36" fmla="*/ 3 w 10"/>
                <a:gd name="T37" fmla="*/ 5 h 12"/>
                <a:gd name="T38" fmla="*/ 0 w 10"/>
                <a:gd name="T39" fmla="*/ 2 h 12"/>
                <a:gd name="T40" fmla="*/ 3 w 10"/>
                <a:gd name="T41" fmla="*/ 5 h 12"/>
                <a:gd name="T42" fmla="*/ 0 w 10"/>
                <a:gd name="T43" fmla="*/ 5 h 12"/>
                <a:gd name="T44" fmla="*/ 3 w 10"/>
                <a:gd name="T45" fmla="*/ 7 h 12"/>
                <a:gd name="T46" fmla="*/ 0 w 10"/>
                <a:gd name="T47" fmla="*/ 10 h 12"/>
                <a:gd name="T48" fmla="*/ 3 w 10"/>
                <a:gd name="T49" fmla="*/ 10 h 12"/>
                <a:gd name="T50" fmla="*/ 5 w 10"/>
                <a:gd name="T51" fmla="*/ 10 h 12"/>
                <a:gd name="T52" fmla="*/ 5 w 10"/>
                <a:gd name="T53" fmla="*/ 10 h 12"/>
                <a:gd name="T54" fmla="*/ 5 w 10"/>
                <a:gd name="T55" fmla="*/ 10 h 12"/>
                <a:gd name="T56" fmla="*/ 8 w 10"/>
                <a:gd name="T57" fmla="*/ 12 h 12"/>
                <a:gd name="T58" fmla="*/ 8 w 10"/>
                <a:gd name="T59" fmla="*/ 12 h 12"/>
                <a:gd name="T60" fmla="*/ 5 w 10"/>
                <a:gd name="T61" fmla="*/ 10 h 12"/>
                <a:gd name="T62" fmla="*/ 8 w 10"/>
                <a:gd name="T63" fmla="*/ 12 h 12"/>
                <a:gd name="T64" fmla="*/ 8 w 10"/>
                <a:gd name="T65" fmla="*/ 10 h 12"/>
                <a:gd name="T66" fmla="*/ 10 w 10"/>
                <a:gd name="T67" fmla="*/ 10 h 12"/>
                <a:gd name="T68" fmla="*/ 10 w 10"/>
                <a:gd name="T69" fmla="*/ 10 h 12"/>
                <a:gd name="T70" fmla="*/ 8 w 10"/>
                <a:gd name="T71" fmla="*/ 7 h 12"/>
                <a:gd name="T72" fmla="*/ 8 w 10"/>
                <a:gd name="T73" fmla="*/ 7 h 12"/>
                <a:gd name="T74" fmla="*/ 10 w 10"/>
                <a:gd name="T75" fmla="*/ 7 h 12"/>
                <a:gd name="T76" fmla="*/ 10 w 10"/>
                <a:gd name="T77" fmla="*/ 7 h 12"/>
                <a:gd name="T78" fmla="*/ 8 w 10"/>
                <a:gd name="T7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" h="12">
                  <a:moveTo>
                    <a:pt x="8" y="7"/>
                  </a:moveTo>
                  <a:lnTo>
                    <a:pt x="8" y="5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5" y="10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2">
              <a:extLst>
                <a:ext uri="{FF2B5EF4-FFF2-40B4-BE49-F238E27FC236}">
                  <a16:creationId xmlns:a16="http://schemas.microsoft.com/office/drawing/2014/main" id="{FA5AEB69-EB42-4942-AF3C-454FC56926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7" y="1359"/>
              <a:ext cx="285" cy="245"/>
            </a:xfrm>
            <a:custGeom>
              <a:avLst/>
              <a:gdLst>
                <a:gd name="T0" fmla="*/ 8 w 285"/>
                <a:gd name="T1" fmla="*/ 203 h 245"/>
                <a:gd name="T2" fmla="*/ 0 w 285"/>
                <a:gd name="T3" fmla="*/ 230 h 245"/>
                <a:gd name="T4" fmla="*/ 285 w 285"/>
                <a:gd name="T5" fmla="*/ 230 h 245"/>
                <a:gd name="T6" fmla="*/ 246 w 285"/>
                <a:gd name="T7" fmla="*/ 213 h 245"/>
                <a:gd name="T8" fmla="*/ 275 w 285"/>
                <a:gd name="T9" fmla="*/ 171 h 245"/>
                <a:gd name="T10" fmla="*/ 285 w 285"/>
                <a:gd name="T11" fmla="*/ 139 h 245"/>
                <a:gd name="T12" fmla="*/ 266 w 285"/>
                <a:gd name="T13" fmla="*/ 120 h 245"/>
                <a:gd name="T14" fmla="*/ 236 w 285"/>
                <a:gd name="T15" fmla="*/ 68 h 245"/>
                <a:gd name="T16" fmla="*/ 229 w 285"/>
                <a:gd name="T17" fmla="*/ 68 h 245"/>
                <a:gd name="T18" fmla="*/ 229 w 285"/>
                <a:gd name="T19" fmla="*/ 71 h 245"/>
                <a:gd name="T20" fmla="*/ 150 w 285"/>
                <a:gd name="T21" fmla="*/ 90 h 245"/>
                <a:gd name="T22" fmla="*/ 162 w 285"/>
                <a:gd name="T23" fmla="*/ 27 h 245"/>
                <a:gd name="T24" fmla="*/ 81 w 285"/>
                <a:gd name="T25" fmla="*/ 0 h 245"/>
                <a:gd name="T26" fmla="*/ 32 w 285"/>
                <a:gd name="T27" fmla="*/ 61 h 245"/>
                <a:gd name="T28" fmla="*/ 20 w 285"/>
                <a:gd name="T29" fmla="*/ 90 h 245"/>
                <a:gd name="T30" fmla="*/ 0 w 285"/>
                <a:gd name="T31" fmla="*/ 186 h 245"/>
                <a:gd name="T32" fmla="*/ 258 w 285"/>
                <a:gd name="T33" fmla="*/ 120 h 245"/>
                <a:gd name="T34" fmla="*/ 207 w 285"/>
                <a:gd name="T35" fmla="*/ 98 h 245"/>
                <a:gd name="T36" fmla="*/ 207 w 285"/>
                <a:gd name="T37" fmla="*/ 120 h 245"/>
                <a:gd name="T38" fmla="*/ 199 w 285"/>
                <a:gd name="T39" fmla="*/ 98 h 245"/>
                <a:gd name="T40" fmla="*/ 177 w 285"/>
                <a:gd name="T41" fmla="*/ 98 h 245"/>
                <a:gd name="T42" fmla="*/ 148 w 285"/>
                <a:gd name="T43" fmla="*/ 120 h 245"/>
                <a:gd name="T44" fmla="*/ 167 w 285"/>
                <a:gd name="T45" fmla="*/ 127 h 245"/>
                <a:gd name="T46" fmla="*/ 162 w 285"/>
                <a:gd name="T47" fmla="*/ 144 h 245"/>
                <a:gd name="T48" fmla="*/ 153 w 285"/>
                <a:gd name="T49" fmla="*/ 149 h 245"/>
                <a:gd name="T50" fmla="*/ 148 w 285"/>
                <a:gd name="T51" fmla="*/ 127 h 245"/>
                <a:gd name="T52" fmla="*/ 106 w 285"/>
                <a:gd name="T53" fmla="*/ 9 h 245"/>
                <a:gd name="T54" fmla="*/ 89 w 285"/>
                <a:gd name="T55" fmla="*/ 9 h 245"/>
                <a:gd name="T56" fmla="*/ 150 w 285"/>
                <a:gd name="T57" fmla="*/ 41 h 245"/>
                <a:gd name="T58" fmla="*/ 135 w 285"/>
                <a:gd name="T59" fmla="*/ 90 h 245"/>
                <a:gd name="T60" fmla="*/ 59 w 285"/>
                <a:gd name="T61" fmla="*/ 149 h 245"/>
                <a:gd name="T62" fmla="*/ 118 w 285"/>
                <a:gd name="T63" fmla="*/ 120 h 245"/>
                <a:gd name="T64" fmla="*/ 138 w 285"/>
                <a:gd name="T65" fmla="*/ 120 h 245"/>
                <a:gd name="T66" fmla="*/ 138 w 285"/>
                <a:gd name="T67" fmla="*/ 149 h 245"/>
                <a:gd name="T68" fmla="*/ 138 w 285"/>
                <a:gd name="T69" fmla="*/ 127 h 245"/>
                <a:gd name="T70" fmla="*/ 108 w 285"/>
                <a:gd name="T71" fmla="*/ 98 h 245"/>
                <a:gd name="T72" fmla="*/ 108 w 285"/>
                <a:gd name="T73" fmla="*/ 127 h 245"/>
                <a:gd name="T74" fmla="*/ 86 w 285"/>
                <a:gd name="T75" fmla="*/ 127 h 245"/>
                <a:gd name="T76" fmla="*/ 47 w 285"/>
                <a:gd name="T77" fmla="*/ 98 h 245"/>
                <a:gd name="T78" fmla="*/ 27 w 285"/>
                <a:gd name="T79" fmla="*/ 98 h 245"/>
                <a:gd name="T80" fmla="*/ 47 w 285"/>
                <a:gd name="T81" fmla="*/ 149 h 245"/>
                <a:gd name="T82" fmla="*/ 15 w 285"/>
                <a:gd name="T83" fmla="*/ 161 h 245"/>
                <a:gd name="T84" fmla="*/ 170 w 285"/>
                <a:gd name="T85" fmla="*/ 154 h 245"/>
                <a:gd name="T86" fmla="*/ 182 w 285"/>
                <a:gd name="T87" fmla="*/ 132 h 245"/>
                <a:gd name="T88" fmla="*/ 266 w 285"/>
                <a:gd name="T89" fmla="*/ 161 h 245"/>
                <a:gd name="T90" fmla="*/ 231 w 285"/>
                <a:gd name="T91" fmla="*/ 208 h 245"/>
                <a:gd name="T92" fmla="*/ 224 w 285"/>
                <a:gd name="T93" fmla="*/ 230 h 245"/>
                <a:gd name="T94" fmla="*/ 15 w 285"/>
                <a:gd name="T95" fmla="*/ 18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" h="245">
                  <a:moveTo>
                    <a:pt x="0" y="186"/>
                  </a:moveTo>
                  <a:lnTo>
                    <a:pt x="3" y="193"/>
                  </a:lnTo>
                  <a:lnTo>
                    <a:pt x="8" y="203"/>
                  </a:lnTo>
                  <a:lnTo>
                    <a:pt x="13" y="210"/>
                  </a:lnTo>
                  <a:lnTo>
                    <a:pt x="30" y="230"/>
                  </a:lnTo>
                  <a:lnTo>
                    <a:pt x="0" y="230"/>
                  </a:lnTo>
                  <a:lnTo>
                    <a:pt x="0" y="245"/>
                  </a:lnTo>
                  <a:lnTo>
                    <a:pt x="285" y="245"/>
                  </a:lnTo>
                  <a:lnTo>
                    <a:pt x="285" y="230"/>
                  </a:lnTo>
                  <a:lnTo>
                    <a:pt x="239" y="230"/>
                  </a:lnTo>
                  <a:lnTo>
                    <a:pt x="241" y="220"/>
                  </a:lnTo>
                  <a:lnTo>
                    <a:pt x="246" y="213"/>
                  </a:lnTo>
                  <a:lnTo>
                    <a:pt x="253" y="203"/>
                  </a:lnTo>
                  <a:lnTo>
                    <a:pt x="266" y="186"/>
                  </a:lnTo>
                  <a:lnTo>
                    <a:pt x="275" y="171"/>
                  </a:lnTo>
                  <a:lnTo>
                    <a:pt x="280" y="161"/>
                  </a:lnTo>
                  <a:lnTo>
                    <a:pt x="283" y="149"/>
                  </a:lnTo>
                  <a:lnTo>
                    <a:pt x="285" y="139"/>
                  </a:lnTo>
                  <a:lnTo>
                    <a:pt x="285" y="127"/>
                  </a:lnTo>
                  <a:lnTo>
                    <a:pt x="285" y="120"/>
                  </a:lnTo>
                  <a:lnTo>
                    <a:pt x="266" y="120"/>
                  </a:lnTo>
                  <a:lnTo>
                    <a:pt x="266" y="90"/>
                  </a:lnTo>
                  <a:lnTo>
                    <a:pt x="236" y="90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29" y="68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90"/>
                  </a:lnTo>
                  <a:lnTo>
                    <a:pt x="150" y="90"/>
                  </a:lnTo>
                  <a:lnTo>
                    <a:pt x="150" y="71"/>
                  </a:lnTo>
                  <a:lnTo>
                    <a:pt x="162" y="61"/>
                  </a:lnTo>
                  <a:lnTo>
                    <a:pt x="162" y="27"/>
                  </a:lnTo>
                  <a:lnTo>
                    <a:pt x="121" y="27"/>
                  </a:lnTo>
                  <a:lnTo>
                    <a:pt x="113" y="0"/>
                  </a:lnTo>
                  <a:lnTo>
                    <a:pt x="81" y="0"/>
                  </a:lnTo>
                  <a:lnTo>
                    <a:pt x="76" y="27"/>
                  </a:lnTo>
                  <a:lnTo>
                    <a:pt x="32" y="27"/>
                  </a:lnTo>
                  <a:lnTo>
                    <a:pt x="32" y="61"/>
                  </a:lnTo>
                  <a:lnTo>
                    <a:pt x="47" y="71"/>
                  </a:lnTo>
                  <a:lnTo>
                    <a:pt x="47" y="90"/>
                  </a:lnTo>
                  <a:lnTo>
                    <a:pt x="20" y="90"/>
                  </a:lnTo>
                  <a:lnTo>
                    <a:pt x="20" y="149"/>
                  </a:lnTo>
                  <a:lnTo>
                    <a:pt x="0" y="149"/>
                  </a:lnTo>
                  <a:lnTo>
                    <a:pt x="0" y="186"/>
                  </a:lnTo>
                  <a:close/>
                  <a:moveTo>
                    <a:pt x="236" y="98"/>
                  </a:moveTo>
                  <a:lnTo>
                    <a:pt x="258" y="98"/>
                  </a:lnTo>
                  <a:lnTo>
                    <a:pt x="258" y="120"/>
                  </a:lnTo>
                  <a:lnTo>
                    <a:pt x="236" y="120"/>
                  </a:lnTo>
                  <a:lnTo>
                    <a:pt x="236" y="98"/>
                  </a:lnTo>
                  <a:close/>
                  <a:moveTo>
                    <a:pt x="207" y="98"/>
                  </a:moveTo>
                  <a:lnTo>
                    <a:pt x="229" y="98"/>
                  </a:lnTo>
                  <a:lnTo>
                    <a:pt x="229" y="120"/>
                  </a:lnTo>
                  <a:lnTo>
                    <a:pt x="207" y="120"/>
                  </a:lnTo>
                  <a:lnTo>
                    <a:pt x="207" y="98"/>
                  </a:lnTo>
                  <a:close/>
                  <a:moveTo>
                    <a:pt x="177" y="98"/>
                  </a:moveTo>
                  <a:lnTo>
                    <a:pt x="199" y="98"/>
                  </a:lnTo>
                  <a:lnTo>
                    <a:pt x="199" y="120"/>
                  </a:lnTo>
                  <a:lnTo>
                    <a:pt x="177" y="120"/>
                  </a:lnTo>
                  <a:lnTo>
                    <a:pt x="177" y="98"/>
                  </a:lnTo>
                  <a:close/>
                  <a:moveTo>
                    <a:pt x="167" y="98"/>
                  </a:moveTo>
                  <a:lnTo>
                    <a:pt x="167" y="120"/>
                  </a:lnTo>
                  <a:lnTo>
                    <a:pt x="148" y="120"/>
                  </a:lnTo>
                  <a:lnTo>
                    <a:pt x="148" y="98"/>
                  </a:lnTo>
                  <a:lnTo>
                    <a:pt x="167" y="98"/>
                  </a:lnTo>
                  <a:close/>
                  <a:moveTo>
                    <a:pt x="167" y="127"/>
                  </a:moveTo>
                  <a:lnTo>
                    <a:pt x="167" y="137"/>
                  </a:lnTo>
                  <a:lnTo>
                    <a:pt x="165" y="139"/>
                  </a:lnTo>
                  <a:lnTo>
                    <a:pt x="162" y="144"/>
                  </a:lnTo>
                  <a:lnTo>
                    <a:pt x="160" y="147"/>
                  </a:lnTo>
                  <a:lnTo>
                    <a:pt x="157" y="147"/>
                  </a:lnTo>
                  <a:lnTo>
                    <a:pt x="153" y="149"/>
                  </a:lnTo>
                  <a:lnTo>
                    <a:pt x="150" y="149"/>
                  </a:lnTo>
                  <a:lnTo>
                    <a:pt x="148" y="149"/>
                  </a:lnTo>
                  <a:lnTo>
                    <a:pt x="148" y="127"/>
                  </a:lnTo>
                  <a:lnTo>
                    <a:pt x="167" y="127"/>
                  </a:lnTo>
                  <a:close/>
                  <a:moveTo>
                    <a:pt x="89" y="9"/>
                  </a:moveTo>
                  <a:lnTo>
                    <a:pt x="106" y="9"/>
                  </a:lnTo>
                  <a:lnTo>
                    <a:pt x="113" y="32"/>
                  </a:lnTo>
                  <a:lnTo>
                    <a:pt x="84" y="32"/>
                  </a:lnTo>
                  <a:lnTo>
                    <a:pt x="89" y="9"/>
                  </a:lnTo>
                  <a:close/>
                  <a:moveTo>
                    <a:pt x="47" y="54"/>
                  </a:moveTo>
                  <a:lnTo>
                    <a:pt x="47" y="41"/>
                  </a:lnTo>
                  <a:lnTo>
                    <a:pt x="150" y="41"/>
                  </a:lnTo>
                  <a:lnTo>
                    <a:pt x="150" y="54"/>
                  </a:lnTo>
                  <a:lnTo>
                    <a:pt x="135" y="63"/>
                  </a:lnTo>
                  <a:lnTo>
                    <a:pt x="135" y="90"/>
                  </a:lnTo>
                  <a:lnTo>
                    <a:pt x="79" y="90"/>
                  </a:lnTo>
                  <a:lnTo>
                    <a:pt x="79" y="149"/>
                  </a:lnTo>
                  <a:lnTo>
                    <a:pt x="59" y="149"/>
                  </a:lnTo>
                  <a:lnTo>
                    <a:pt x="59" y="63"/>
                  </a:lnTo>
                  <a:lnTo>
                    <a:pt x="47" y="54"/>
                  </a:lnTo>
                  <a:close/>
                  <a:moveTo>
                    <a:pt x="118" y="120"/>
                  </a:moveTo>
                  <a:lnTo>
                    <a:pt x="118" y="98"/>
                  </a:lnTo>
                  <a:lnTo>
                    <a:pt x="138" y="98"/>
                  </a:lnTo>
                  <a:lnTo>
                    <a:pt x="138" y="120"/>
                  </a:lnTo>
                  <a:lnTo>
                    <a:pt x="118" y="120"/>
                  </a:lnTo>
                  <a:close/>
                  <a:moveTo>
                    <a:pt x="138" y="127"/>
                  </a:moveTo>
                  <a:lnTo>
                    <a:pt x="138" y="149"/>
                  </a:lnTo>
                  <a:lnTo>
                    <a:pt x="118" y="149"/>
                  </a:lnTo>
                  <a:lnTo>
                    <a:pt x="118" y="127"/>
                  </a:lnTo>
                  <a:lnTo>
                    <a:pt x="138" y="127"/>
                  </a:lnTo>
                  <a:close/>
                  <a:moveTo>
                    <a:pt x="86" y="120"/>
                  </a:moveTo>
                  <a:lnTo>
                    <a:pt x="86" y="98"/>
                  </a:lnTo>
                  <a:lnTo>
                    <a:pt x="108" y="98"/>
                  </a:lnTo>
                  <a:lnTo>
                    <a:pt x="108" y="120"/>
                  </a:lnTo>
                  <a:lnTo>
                    <a:pt x="86" y="120"/>
                  </a:lnTo>
                  <a:close/>
                  <a:moveTo>
                    <a:pt x="108" y="127"/>
                  </a:moveTo>
                  <a:lnTo>
                    <a:pt x="108" y="149"/>
                  </a:lnTo>
                  <a:lnTo>
                    <a:pt x="86" y="149"/>
                  </a:lnTo>
                  <a:lnTo>
                    <a:pt x="86" y="127"/>
                  </a:lnTo>
                  <a:lnTo>
                    <a:pt x="108" y="127"/>
                  </a:lnTo>
                  <a:close/>
                  <a:moveTo>
                    <a:pt x="27" y="98"/>
                  </a:moveTo>
                  <a:lnTo>
                    <a:pt x="47" y="98"/>
                  </a:lnTo>
                  <a:lnTo>
                    <a:pt x="47" y="120"/>
                  </a:lnTo>
                  <a:lnTo>
                    <a:pt x="27" y="120"/>
                  </a:lnTo>
                  <a:lnTo>
                    <a:pt x="27" y="98"/>
                  </a:lnTo>
                  <a:close/>
                  <a:moveTo>
                    <a:pt x="27" y="127"/>
                  </a:moveTo>
                  <a:lnTo>
                    <a:pt x="47" y="127"/>
                  </a:lnTo>
                  <a:lnTo>
                    <a:pt x="47" y="149"/>
                  </a:lnTo>
                  <a:lnTo>
                    <a:pt x="27" y="149"/>
                  </a:lnTo>
                  <a:lnTo>
                    <a:pt x="27" y="127"/>
                  </a:lnTo>
                  <a:close/>
                  <a:moveTo>
                    <a:pt x="15" y="161"/>
                  </a:moveTo>
                  <a:lnTo>
                    <a:pt x="155" y="161"/>
                  </a:lnTo>
                  <a:lnTo>
                    <a:pt x="165" y="159"/>
                  </a:lnTo>
                  <a:lnTo>
                    <a:pt x="170" y="154"/>
                  </a:lnTo>
                  <a:lnTo>
                    <a:pt x="175" y="149"/>
                  </a:lnTo>
                  <a:lnTo>
                    <a:pt x="180" y="137"/>
                  </a:lnTo>
                  <a:lnTo>
                    <a:pt x="182" y="132"/>
                  </a:lnTo>
                  <a:lnTo>
                    <a:pt x="270" y="132"/>
                  </a:lnTo>
                  <a:lnTo>
                    <a:pt x="270" y="147"/>
                  </a:lnTo>
                  <a:lnTo>
                    <a:pt x="266" y="161"/>
                  </a:lnTo>
                  <a:lnTo>
                    <a:pt x="261" y="169"/>
                  </a:lnTo>
                  <a:lnTo>
                    <a:pt x="253" y="181"/>
                  </a:lnTo>
                  <a:lnTo>
                    <a:pt x="231" y="208"/>
                  </a:lnTo>
                  <a:lnTo>
                    <a:pt x="229" y="215"/>
                  </a:lnTo>
                  <a:lnTo>
                    <a:pt x="226" y="223"/>
                  </a:lnTo>
                  <a:lnTo>
                    <a:pt x="224" y="230"/>
                  </a:lnTo>
                  <a:lnTo>
                    <a:pt x="49" y="230"/>
                  </a:lnTo>
                  <a:lnTo>
                    <a:pt x="17" y="193"/>
                  </a:lnTo>
                  <a:lnTo>
                    <a:pt x="15" y="188"/>
                  </a:lnTo>
                  <a:lnTo>
                    <a:pt x="15" y="181"/>
                  </a:lnTo>
                  <a:lnTo>
                    <a:pt x="15" y="16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83">
              <a:extLst>
                <a:ext uri="{FF2B5EF4-FFF2-40B4-BE49-F238E27FC236}">
                  <a16:creationId xmlns:a16="http://schemas.microsoft.com/office/drawing/2014/main" id="{DC05A4D0-4EF6-4A55-823F-C88B336CFB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1" y="153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84">
              <a:extLst>
                <a:ext uri="{FF2B5EF4-FFF2-40B4-BE49-F238E27FC236}">
                  <a16:creationId xmlns:a16="http://schemas.microsoft.com/office/drawing/2014/main" id="{7CF1D0D9-333C-40EA-A64B-C696640CB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4" y="1533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5">
              <a:extLst>
                <a:ext uri="{FF2B5EF4-FFF2-40B4-BE49-F238E27FC236}">
                  <a16:creationId xmlns:a16="http://schemas.microsoft.com/office/drawing/2014/main" id="{C135FEFC-1FD0-4EF7-9CF6-F8895AEE4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1533"/>
              <a:ext cx="10" cy="12"/>
            </a:xfrm>
            <a:custGeom>
              <a:avLst/>
              <a:gdLst>
                <a:gd name="T0" fmla="*/ 8 w 10"/>
                <a:gd name="T1" fmla="*/ 7 h 12"/>
                <a:gd name="T2" fmla="*/ 8 w 10"/>
                <a:gd name="T3" fmla="*/ 5 h 12"/>
                <a:gd name="T4" fmla="*/ 10 w 10"/>
                <a:gd name="T5" fmla="*/ 2 h 12"/>
                <a:gd name="T6" fmla="*/ 10 w 10"/>
                <a:gd name="T7" fmla="*/ 2 h 12"/>
                <a:gd name="T8" fmla="*/ 10 w 10"/>
                <a:gd name="T9" fmla="*/ 2 h 12"/>
                <a:gd name="T10" fmla="*/ 8 w 10"/>
                <a:gd name="T11" fmla="*/ 5 h 12"/>
                <a:gd name="T12" fmla="*/ 8 w 10"/>
                <a:gd name="T13" fmla="*/ 5 h 12"/>
                <a:gd name="T14" fmla="*/ 10 w 10"/>
                <a:gd name="T15" fmla="*/ 2 h 12"/>
                <a:gd name="T16" fmla="*/ 10 w 10"/>
                <a:gd name="T17" fmla="*/ 2 h 12"/>
                <a:gd name="T18" fmla="*/ 8 w 10"/>
                <a:gd name="T19" fmla="*/ 2 h 12"/>
                <a:gd name="T20" fmla="*/ 8 w 10"/>
                <a:gd name="T21" fmla="*/ 0 h 12"/>
                <a:gd name="T22" fmla="*/ 5 w 10"/>
                <a:gd name="T23" fmla="*/ 2 h 12"/>
                <a:gd name="T24" fmla="*/ 5 w 10"/>
                <a:gd name="T25" fmla="*/ 2 h 12"/>
                <a:gd name="T26" fmla="*/ 5 w 10"/>
                <a:gd name="T27" fmla="*/ 2 h 12"/>
                <a:gd name="T28" fmla="*/ 5 w 10"/>
                <a:gd name="T29" fmla="*/ 2 h 12"/>
                <a:gd name="T30" fmla="*/ 3 w 10"/>
                <a:gd name="T31" fmla="*/ 0 h 12"/>
                <a:gd name="T32" fmla="*/ 3 w 10"/>
                <a:gd name="T33" fmla="*/ 0 h 12"/>
                <a:gd name="T34" fmla="*/ 3 w 10"/>
                <a:gd name="T35" fmla="*/ 2 h 12"/>
                <a:gd name="T36" fmla="*/ 3 w 10"/>
                <a:gd name="T37" fmla="*/ 5 h 12"/>
                <a:gd name="T38" fmla="*/ 0 w 10"/>
                <a:gd name="T39" fmla="*/ 2 h 12"/>
                <a:gd name="T40" fmla="*/ 3 w 10"/>
                <a:gd name="T41" fmla="*/ 5 h 12"/>
                <a:gd name="T42" fmla="*/ 0 w 10"/>
                <a:gd name="T43" fmla="*/ 5 h 12"/>
                <a:gd name="T44" fmla="*/ 3 w 10"/>
                <a:gd name="T45" fmla="*/ 7 h 12"/>
                <a:gd name="T46" fmla="*/ 0 w 10"/>
                <a:gd name="T47" fmla="*/ 10 h 12"/>
                <a:gd name="T48" fmla="*/ 3 w 10"/>
                <a:gd name="T49" fmla="*/ 10 h 12"/>
                <a:gd name="T50" fmla="*/ 5 w 10"/>
                <a:gd name="T51" fmla="*/ 10 h 12"/>
                <a:gd name="T52" fmla="*/ 5 w 10"/>
                <a:gd name="T53" fmla="*/ 10 h 12"/>
                <a:gd name="T54" fmla="*/ 5 w 10"/>
                <a:gd name="T55" fmla="*/ 10 h 12"/>
                <a:gd name="T56" fmla="*/ 8 w 10"/>
                <a:gd name="T57" fmla="*/ 12 h 12"/>
                <a:gd name="T58" fmla="*/ 8 w 10"/>
                <a:gd name="T59" fmla="*/ 12 h 12"/>
                <a:gd name="T60" fmla="*/ 5 w 10"/>
                <a:gd name="T61" fmla="*/ 10 h 12"/>
                <a:gd name="T62" fmla="*/ 8 w 10"/>
                <a:gd name="T63" fmla="*/ 12 h 12"/>
                <a:gd name="T64" fmla="*/ 8 w 10"/>
                <a:gd name="T65" fmla="*/ 10 h 12"/>
                <a:gd name="T66" fmla="*/ 10 w 10"/>
                <a:gd name="T67" fmla="*/ 10 h 12"/>
                <a:gd name="T68" fmla="*/ 10 w 10"/>
                <a:gd name="T69" fmla="*/ 10 h 12"/>
                <a:gd name="T70" fmla="*/ 8 w 10"/>
                <a:gd name="T71" fmla="*/ 7 h 12"/>
                <a:gd name="T72" fmla="*/ 8 w 10"/>
                <a:gd name="T73" fmla="*/ 7 h 12"/>
                <a:gd name="T74" fmla="*/ 10 w 10"/>
                <a:gd name="T75" fmla="*/ 7 h 12"/>
                <a:gd name="T76" fmla="*/ 10 w 10"/>
                <a:gd name="T77" fmla="*/ 7 h 12"/>
                <a:gd name="T78" fmla="*/ 8 w 10"/>
                <a:gd name="T7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" h="12">
                  <a:moveTo>
                    <a:pt x="8" y="7"/>
                  </a:moveTo>
                  <a:lnTo>
                    <a:pt x="8" y="5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5" y="10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6">
              <a:extLst>
                <a:ext uri="{FF2B5EF4-FFF2-40B4-BE49-F238E27FC236}">
                  <a16:creationId xmlns:a16="http://schemas.microsoft.com/office/drawing/2014/main" id="{38A387E1-C663-49B1-A468-D64DD8227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7" y="1359"/>
              <a:ext cx="285" cy="245"/>
            </a:xfrm>
            <a:custGeom>
              <a:avLst/>
              <a:gdLst>
                <a:gd name="T0" fmla="*/ 8 w 285"/>
                <a:gd name="T1" fmla="*/ 203 h 245"/>
                <a:gd name="T2" fmla="*/ 0 w 285"/>
                <a:gd name="T3" fmla="*/ 230 h 245"/>
                <a:gd name="T4" fmla="*/ 285 w 285"/>
                <a:gd name="T5" fmla="*/ 230 h 245"/>
                <a:gd name="T6" fmla="*/ 246 w 285"/>
                <a:gd name="T7" fmla="*/ 213 h 245"/>
                <a:gd name="T8" fmla="*/ 275 w 285"/>
                <a:gd name="T9" fmla="*/ 171 h 245"/>
                <a:gd name="T10" fmla="*/ 285 w 285"/>
                <a:gd name="T11" fmla="*/ 139 h 245"/>
                <a:gd name="T12" fmla="*/ 266 w 285"/>
                <a:gd name="T13" fmla="*/ 120 h 245"/>
                <a:gd name="T14" fmla="*/ 236 w 285"/>
                <a:gd name="T15" fmla="*/ 68 h 245"/>
                <a:gd name="T16" fmla="*/ 229 w 285"/>
                <a:gd name="T17" fmla="*/ 68 h 245"/>
                <a:gd name="T18" fmla="*/ 229 w 285"/>
                <a:gd name="T19" fmla="*/ 71 h 245"/>
                <a:gd name="T20" fmla="*/ 150 w 285"/>
                <a:gd name="T21" fmla="*/ 90 h 245"/>
                <a:gd name="T22" fmla="*/ 162 w 285"/>
                <a:gd name="T23" fmla="*/ 27 h 245"/>
                <a:gd name="T24" fmla="*/ 81 w 285"/>
                <a:gd name="T25" fmla="*/ 0 h 245"/>
                <a:gd name="T26" fmla="*/ 32 w 285"/>
                <a:gd name="T27" fmla="*/ 61 h 245"/>
                <a:gd name="T28" fmla="*/ 20 w 285"/>
                <a:gd name="T29" fmla="*/ 90 h 245"/>
                <a:gd name="T30" fmla="*/ 0 w 285"/>
                <a:gd name="T31" fmla="*/ 186 h 245"/>
                <a:gd name="T32" fmla="*/ 258 w 285"/>
                <a:gd name="T33" fmla="*/ 120 h 245"/>
                <a:gd name="T34" fmla="*/ 207 w 285"/>
                <a:gd name="T35" fmla="*/ 98 h 245"/>
                <a:gd name="T36" fmla="*/ 207 w 285"/>
                <a:gd name="T37" fmla="*/ 120 h 245"/>
                <a:gd name="T38" fmla="*/ 199 w 285"/>
                <a:gd name="T39" fmla="*/ 98 h 245"/>
                <a:gd name="T40" fmla="*/ 177 w 285"/>
                <a:gd name="T41" fmla="*/ 98 h 245"/>
                <a:gd name="T42" fmla="*/ 148 w 285"/>
                <a:gd name="T43" fmla="*/ 120 h 245"/>
                <a:gd name="T44" fmla="*/ 167 w 285"/>
                <a:gd name="T45" fmla="*/ 127 h 245"/>
                <a:gd name="T46" fmla="*/ 162 w 285"/>
                <a:gd name="T47" fmla="*/ 144 h 245"/>
                <a:gd name="T48" fmla="*/ 153 w 285"/>
                <a:gd name="T49" fmla="*/ 149 h 245"/>
                <a:gd name="T50" fmla="*/ 148 w 285"/>
                <a:gd name="T51" fmla="*/ 127 h 245"/>
                <a:gd name="T52" fmla="*/ 106 w 285"/>
                <a:gd name="T53" fmla="*/ 9 h 245"/>
                <a:gd name="T54" fmla="*/ 89 w 285"/>
                <a:gd name="T55" fmla="*/ 9 h 245"/>
                <a:gd name="T56" fmla="*/ 150 w 285"/>
                <a:gd name="T57" fmla="*/ 41 h 245"/>
                <a:gd name="T58" fmla="*/ 135 w 285"/>
                <a:gd name="T59" fmla="*/ 90 h 245"/>
                <a:gd name="T60" fmla="*/ 59 w 285"/>
                <a:gd name="T61" fmla="*/ 149 h 245"/>
                <a:gd name="T62" fmla="*/ 118 w 285"/>
                <a:gd name="T63" fmla="*/ 120 h 245"/>
                <a:gd name="T64" fmla="*/ 138 w 285"/>
                <a:gd name="T65" fmla="*/ 120 h 245"/>
                <a:gd name="T66" fmla="*/ 138 w 285"/>
                <a:gd name="T67" fmla="*/ 149 h 245"/>
                <a:gd name="T68" fmla="*/ 138 w 285"/>
                <a:gd name="T69" fmla="*/ 127 h 245"/>
                <a:gd name="T70" fmla="*/ 108 w 285"/>
                <a:gd name="T71" fmla="*/ 98 h 245"/>
                <a:gd name="T72" fmla="*/ 108 w 285"/>
                <a:gd name="T73" fmla="*/ 127 h 245"/>
                <a:gd name="T74" fmla="*/ 86 w 285"/>
                <a:gd name="T75" fmla="*/ 127 h 245"/>
                <a:gd name="T76" fmla="*/ 47 w 285"/>
                <a:gd name="T77" fmla="*/ 98 h 245"/>
                <a:gd name="T78" fmla="*/ 27 w 285"/>
                <a:gd name="T79" fmla="*/ 98 h 245"/>
                <a:gd name="T80" fmla="*/ 47 w 285"/>
                <a:gd name="T81" fmla="*/ 149 h 245"/>
                <a:gd name="T82" fmla="*/ 15 w 285"/>
                <a:gd name="T83" fmla="*/ 161 h 245"/>
                <a:gd name="T84" fmla="*/ 170 w 285"/>
                <a:gd name="T85" fmla="*/ 154 h 245"/>
                <a:gd name="T86" fmla="*/ 182 w 285"/>
                <a:gd name="T87" fmla="*/ 132 h 245"/>
                <a:gd name="T88" fmla="*/ 266 w 285"/>
                <a:gd name="T89" fmla="*/ 161 h 245"/>
                <a:gd name="T90" fmla="*/ 231 w 285"/>
                <a:gd name="T91" fmla="*/ 208 h 245"/>
                <a:gd name="T92" fmla="*/ 224 w 285"/>
                <a:gd name="T93" fmla="*/ 230 h 245"/>
                <a:gd name="T94" fmla="*/ 15 w 285"/>
                <a:gd name="T95" fmla="*/ 18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" h="245">
                  <a:moveTo>
                    <a:pt x="0" y="186"/>
                  </a:moveTo>
                  <a:lnTo>
                    <a:pt x="3" y="193"/>
                  </a:lnTo>
                  <a:lnTo>
                    <a:pt x="8" y="203"/>
                  </a:lnTo>
                  <a:lnTo>
                    <a:pt x="13" y="210"/>
                  </a:lnTo>
                  <a:lnTo>
                    <a:pt x="30" y="230"/>
                  </a:lnTo>
                  <a:lnTo>
                    <a:pt x="0" y="230"/>
                  </a:lnTo>
                  <a:lnTo>
                    <a:pt x="0" y="245"/>
                  </a:lnTo>
                  <a:lnTo>
                    <a:pt x="285" y="245"/>
                  </a:lnTo>
                  <a:lnTo>
                    <a:pt x="285" y="230"/>
                  </a:lnTo>
                  <a:lnTo>
                    <a:pt x="239" y="230"/>
                  </a:lnTo>
                  <a:lnTo>
                    <a:pt x="241" y="220"/>
                  </a:lnTo>
                  <a:lnTo>
                    <a:pt x="246" y="213"/>
                  </a:lnTo>
                  <a:lnTo>
                    <a:pt x="253" y="203"/>
                  </a:lnTo>
                  <a:lnTo>
                    <a:pt x="266" y="186"/>
                  </a:lnTo>
                  <a:lnTo>
                    <a:pt x="275" y="171"/>
                  </a:lnTo>
                  <a:lnTo>
                    <a:pt x="280" y="161"/>
                  </a:lnTo>
                  <a:lnTo>
                    <a:pt x="283" y="149"/>
                  </a:lnTo>
                  <a:lnTo>
                    <a:pt x="285" y="139"/>
                  </a:lnTo>
                  <a:lnTo>
                    <a:pt x="285" y="127"/>
                  </a:lnTo>
                  <a:lnTo>
                    <a:pt x="285" y="120"/>
                  </a:lnTo>
                  <a:lnTo>
                    <a:pt x="266" y="120"/>
                  </a:lnTo>
                  <a:lnTo>
                    <a:pt x="266" y="90"/>
                  </a:lnTo>
                  <a:lnTo>
                    <a:pt x="236" y="90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29" y="68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90"/>
                  </a:lnTo>
                  <a:lnTo>
                    <a:pt x="150" y="90"/>
                  </a:lnTo>
                  <a:lnTo>
                    <a:pt x="150" y="71"/>
                  </a:lnTo>
                  <a:lnTo>
                    <a:pt x="162" y="61"/>
                  </a:lnTo>
                  <a:lnTo>
                    <a:pt x="162" y="27"/>
                  </a:lnTo>
                  <a:lnTo>
                    <a:pt x="121" y="27"/>
                  </a:lnTo>
                  <a:lnTo>
                    <a:pt x="113" y="0"/>
                  </a:lnTo>
                  <a:lnTo>
                    <a:pt x="81" y="0"/>
                  </a:lnTo>
                  <a:lnTo>
                    <a:pt x="76" y="27"/>
                  </a:lnTo>
                  <a:lnTo>
                    <a:pt x="32" y="27"/>
                  </a:lnTo>
                  <a:lnTo>
                    <a:pt x="32" y="61"/>
                  </a:lnTo>
                  <a:lnTo>
                    <a:pt x="47" y="71"/>
                  </a:lnTo>
                  <a:lnTo>
                    <a:pt x="47" y="90"/>
                  </a:lnTo>
                  <a:lnTo>
                    <a:pt x="20" y="90"/>
                  </a:lnTo>
                  <a:lnTo>
                    <a:pt x="20" y="149"/>
                  </a:lnTo>
                  <a:lnTo>
                    <a:pt x="0" y="149"/>
                  </a:lnTo>
                  <a:lnTo>
                    <a:pt x="0" y="186"/>
                  </a:lnTo>
                  <a:close/>
                  <a:moveTo>
                    <a:pt x="236" y="98"/>
                  </a:moveTo>
                  <a:lnTo>
                    <a:pt x="258" y="98"/>
                  </a:lnTo>
                  <a:lnTo>
                    <a:pt x="258" y="120"/>
                  </a:lnTo>
                  <a:lnTo>
                    <a:pt x="236" y="120"/>
                  </a:lnTo>
                  <a:lnTo>
                    <a:pt x="236" y="98"/>
                  </a:lnTo>
                  <a:close/>
                  <a:moveTo>
                    <a:pt x="207" y="98"/>
                  </a:moveTo>
                  <a:lnTo>
                    <a:pt x="229" y="98"/>
                  </a:lnTo>
                  <a:lnTo>
                    <a:pt x="229" y="120"/>
                  </a:lnTo>
                  <a:lnTo>
                    <a:pt x="207" y="120"/>
                  </a:lnTo>
                  <a:lnTo>
                    <a:pt x="207" y="98"/>
                  </a:lnTo>
                  <a:close/>
                  <a:moveTo>
                    <a:pt x="177" y="98"/>
                  </a:moveTo>
                  <a:lnTo>
                    <a:pt x="199" y="98"/>
                  </a:lnTo>
                  <a:lnTo>
                    <a:pt x="199" y="120"/>
                  </a:lnTo>
                  <a:lnTo>
                    <a:pt x="177" y="120"/>
                  </a:lnTo>
                  <a:lnTo>
                    <a:pt x="177" y="98"/>
                  </a:lnTo>
                  <a:close/>
                  <a:moveTo>
                    <a:pt x="167" y="98"/>
                  </a:moveTo>
                  <a:lnTo>
                    <a:pt x="167" y="120"/>
                  </a:lnTo>
                  <a:lnTo>
                    <a:pt x="148" y="120"/>
                  </a:lnTo>
                  <a:lnTo>
                    <a:pt x="148" y="98"/>
                  </a:lnTo>
                  <a:lnTo>
                    <a:pt x="167" y="98"/>
                  </a:lnTo>
                  <a:close/>
                  <a:moveTo>
                    <a:pt x="167" y="127"/>
                  </a:moveTo>
                  <a:lnTo>
                    <a:pt x="167" y="137"/>
                  </a:lnTo>
                  <a:lnTo>
                    <a:pt x="165" y="139"/>
                  </a:lnTo>
                  <a:lnTo>
                    <a:pt x="162" y="144"/>
                  </a:lnTo>
                  <a:lnTo>
                    <a:pt x="160" y="147"/>
                  </a:lnTo>
                  <a:lnTo>
                    <a:pt x="157" y="147"/>
                  </a:lnTo>
                  <a:lnTo>
                    <a:pt x="153" y="149"/>
                  </a:lnTo>
                  <a:lnTo>
                    <a:pt x="150" y="149"/>
                  </a:lnTo>
                  <a:lnTo>
                    <a:pt x="148" y="149"/>
                  </a:lnTo>
                  <a:lnTo>
                    <a:pt x="148" y="127"/>
                  </a:lnTo>
                  <a:lnTo>
                    <a:pt x="167" y="127"/>
                  </a:lnTo>
                  <a:close/>
                  <a:moveTo>
                    <a:pt x="89" y="9"/>
                  </a:moveTo>
                  <a:lnTo>
                    <a:pt x="106" y="9"/>
                  </a:lnTo>
                  <a:lnTo>
                    <a:pt x="113" y="32"/>
                  </a:lnTo>
                  <a:lnTo>
                    <a:pt x="84" y="32"/>
                  </a:lnTo>
                  <a:lnTo>
                    <a:pt x="89" y="9"/>
                  </a:lnTo>
                  <a:close/>
                  <a:moveTo>
                    <a:pt x="47" y="54"/>
                  </a:moveTo>
                  <a:lnTo>
                    <a:pt x="47" y="41"/>
                  </a:lnTo>
                  <a:lnTo>
                    <a:pt x="150" y="41"/>
                  </a:lnTo>
                  <a:lnTo>
                    <a:pt x="150" y="54"/>
                  </a:lnTo>
                  <a:lnTo>
                    <a:pt x="135" y="63"/>
                  </a:lnTo>
                  <a:lnTo>
                    <a:pt x="135" y="90"/>
                  </a:lnTo>
                  <a:lnTo>
                    <a:pt x="79" y="90"/>
                  </a:lnTo>
                  <a:lnTo>
                    <a:pt x="79" y="149"/>
                  </a:lnTo>
                  <a:lnTo>
                    <a:pt x="59" y="149"/>
                  </a:lnTo>
                  <a:lnTo>
                    <a:pt x="59" y="63"/>
                  </a:lnTo>
                  <a:lnTo>
                    <a:pt x="47" y="54"/>
                  </a:lnTo>
                  <a:close/>
                  <a:moveTo>
                    <a:pt x="118" y="120"/>
                  </a:moveTo>
                  <a:lnTo>
                    <a:pt x="118" y="98"/>
                  </a:lnTo>
                  <a:lnTo>
                    <a:pt x="138" y="98"/>
                  </a:lnTo>
                  <a:lnTo>
                    <a:pt x="138" y="120"/>
                  </a:lnTo>
                  <a:lnTo>
                    <a:pt x="118" y="120"/>
                  </a:lnTo>
                  <a:close/>
                  <a:moveTo>
                    <a:pt x="138" y="127"/>
                  </a:moveTo>
                  <a:lnTo>
                    <a:pt x="138" y="149"/>
                  </a:lnTo>
                  <a:lnTo>
                    <a:pt x="118" y="149"/>
                  </a:lnTo>
                  <a:lnTo>
                    <a:pt x="118" y="127"/>
                  </a:lnTo>
                  <a:lnTo>
                    <a:pt x="138" y="127"/>
                  </a:lnTo>
                  <a:close/>
                  <a:moveTo>
                    <a:pt x="86" y="120"/>
                  </a:moveTo>
                  <a:lnTo>
                    <a:pt x="86" y="98"/>
                  </a:lnTo>
                  <a:lnTo>
                    <a:pt x="108" y="98"/>
                  </a:lnTo>
                  <a:lnTo>
                    <a:pt x="108" y="120"/>
                  </a:lnTo>
                  <a:lnTo>
                    <a:pt x="86" y="120"/>
                  </a:lnTo>
                  <a:close/>
                  <a:moveTo>
                    <a:pt x="108" y="127"/>
                  </a:moveTo>
                  <a:lnTo>
                    <a:pt x="108" y="149"/>
                  </a:lnTo>
                  <a:lnTo>
                    <a:pt x="86" y="149"/>
                  </a:lnTo>
                  <a:lnTo>
                    <a:pt x="86" y="127"/>
                  </a:lnTo>
                  <a:lnTo>
                    <a:pt x="108" y="127"/>
                  </a:lnTo>
                  <a:close/>
                  <a:moveTo>
                    <a:pt x="27" y="98"/>
                  </a:moveTo>
                  <a:lnTo>
                    <a:pt x="47" y="98"/>
                  </a:lnTo>
                  <a:lnTo>
                    <a:pt x="47" y="120"/>
                  </a:lnTo>
                  <a:lnTo>
                    <a:pt x="27" y="120"/>
                  </a:lnTo>
                  <a:lnTo>
                    <a:pt x="27" y="98"/>
                  </a:lnTo>
                  <a:close/>
                  <a:moveTo>
                    <a:pt x="27" y="127"/>
                  </a:moveTo>
                  <a:lnTo>
                    <a:pt x="47" y="127"/>
                  </a:lnTo>
                  <a:lnTo>
                    <a:pt x="47" y="149"/>
                  </a:lnTo>
                  <a:lnTo>
                    <a:pt x="27" y="149"/>
                  </a:lnTo>
                  <a:lnTo>
                    <a:pt x="27" y="127"/>
                  </a:lnTo>
                  <a:close/>
                  <a:moveTo>
                    <a:pt x="15" y="161"/>
                  </a:moveTo>
                  <a:lnTo>
                    <a:pt x="155" y="161"/>
                  </a:lnTo>
                  <a:lnTo>
                    <a:pt x="165" y="159"/>
                  </a:lnTo>
                  <a:lnTo>
                    <a:pt x="170" y="154"/>
                  </a:lnTo>
                  <a:lnTo>
                    <a:pt x="175" y="149"/>
                  </a:lnTo>
                  <a:lnTo>
                    <a:pt x="180" y="137"/>
                  </a:lnTo>
                  <a:lnTo>
                    <a:pt x="182" y="132"/>
                  </a:lnTo>
                  <a:lnTo>
                    <a:pt x="270" y="132"/>
                  </a:lnTo>
                  <a:lnTo>
                    <a:pt x="270" y="147"/>
                  </a:lnTo>
                  <a:lnTo>
                    <a:pt x="266" y="161"/>
                  </a:lnTo>
                  <a:lnTo>
                    <a:pt x="261" y="169"/>
                  </a:lnTo>
                  <a:lnTo>
                    <a:pt x="253" y="181"/>
                  </a:lnTo>
                  <a:lnTo>
                    <a:pt x="231" y="208"/>
                  </a:lnTo>
                  <a:lnTo>
                    <a:pt x="229" y="215"/>
                  </a:lnTo>
                  <a:lnTo>
                    <a:pt x="226" y="223"/>
                  </a:lnTo>
                  <a:lnTo>
                    <a:pt x="224" y="230"/>
                  </a:lnTo>
                  <a:lnTo>
                    <a:pt x="49" y="230"/>
                  </a:lnTo>
                  <a:lnTo>
                    <a:pt x="17" y="193"/>
                  </a:lnTo>
                  <a:lnTo>
                    <a:pt x="15" y="188"/>
                  </a:lnTo>
                  <a:lnTo>
                    <a:pt x="15" y="181"/>
                  </a:lnTo>
                  <a:lnTo>
                    <a:pt x="15" y="16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87">
              <a:extLst>
                <a:ext uri="{FF2B5EF4-FFF2-40B4-BE49-F238E27FC236}">
                  <a16:creationId xmlns:a16="http://schemas.microsoft.com/office/drawing/2014/main" id="{A8C4444D-479B-42B5-81D3-79B3B78E2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1" y="153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90">
            <a:extLst>
              <a:ext uri="{FF2B5EF4-FFF2-40B4-BE49-F238E27FC236}">
                <a16:creationId xmlns:a16="http://schemas.microsoft.com/office/drawing/2014/main" id="{914FD1F0-32F0-448D-9143-93EE4F389F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502" y="1551652"/>
            <a:ext cx="841375" cy="841375"/>
            <a:chOff x="1597" y="1092"/>
            <a:chExt cx="530" cy="530"/>
          </a:xfrm>
        </p:grpSpPr>
        <p:sp>
          <p:nvSpPr>
            <p:cNvPr id="103" name="AutoShape 89">
              <a:extLst>
                <a:ext uri="{FF2B5EF4-FFF2-40B4-BE49-F238E27FC236}">
                  <a16:creationId xmlns:a16="http://schemas.microsoft.com/office/drawing/2014/main" id="{E916B7B5-BA8D-4EB7-A1D8-6419D5974D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97" y="109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91">
              <a:extLst>
                <a:ext uri="{FF2B5EF4-FFF2-40B4-BE49-F238E27FC236}">
                  <a16:creationId xmlns:a16="http://schemas.microsoft.com/office/drawing/2014/main" id="{F402EA74-0845-496B-BCFD-DB5C91786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" y="109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2">
              <a:extLst>
                <a:ext uri="{FF2B5EF4-FFF2-40B4-BE49-F238E27FC236}">
                  <a16:creationId xmlns:a16="http://schemas.microsoft.com/office/drawing/2014/main" id="{FF874719-4A76-4D81-AFFE-9626525AA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5" y="111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93">
              <a:extLst>
                <a:ext uri="{FF2B5EF4-FFF2-40B4-BE49-F238E27FC236}">
                  <a16:creationId xmlns:a16="http://schemas.microsoft.com/office/drawing/2014/main" id="{E1F7ADD9-09F2-4844-A8A6-84D23FD77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" y="141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4">
              <a:extLst>
                <a:ext uri="{FF2B5EF4-FFF2-40B4-BE49-F238E27FC236}">
                  <a16:creationId xmlns:a16="http://schemas.microsoft.com/office/drawing/2014/main" id="{A4899205-C311-4405-B02E-F6AFC2EBB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412"/>
              <a:ext cx="10" cy="13"/>
            </a:xfrm>
            <a:custGeom>
              <a:avLst/>
              <a:gdLst>
                <a:gd name="T0" fmla="*/ 8 w 10"/>
                <a:gd name="T1" fmla="*/ 8 h 13"/>
                <a:gd name="T2" fmla="*/ 8 w 10"/>
                <a:gd name="T3" fmla="*/ 5 h 13"/>
                <a:gd name="T4" fmla="*/ 10 w 10"/>
                <a:gd name="T5" fmla="*/ 3 h 13"/>
                <a:gd name="T6" fmla="*/ 10 w 10"/>
                <a:gd name="T7" fmla="*/ 3 h 13"/>
                <a:gd name="T8" fmla="*/ 10 w 10"/>
                <a:gd name="T9" fmla="*/ 3 h 13"/>
                <a:gd name="T10" fmla="*/ 8 w 10"/>
                <a:gd name="T11" fmla="*/ 5 h 13"/>
                <a:gd name="T12" fmla="*/ 8 w 10"/>
                <a:gd name="T13" fmla="*/ 5 h 13"/>
                <a:gd name="T14" fmla="*/ 10 w 10"/>
                <a:gd name="T15" fmla="*/ 3 h 13"/>
                <a:gd name="T16" fmla="*/ 10 w 10"/>
                <a:gd name="T17" fmla="*/ 3 h 13"/>
                <a:gd name="T18" fmla="*/ 8 w 10"/>
                <a:gd name="T19" fmla="*/ 3 h 13"/>
                <a:gd name="T20" fmla="*/ 8 w 10"/>
                <a:gd name="T21" fmla="*/ 0 h 13"/>
                <a:gd name="T22" fmla="*/ 5 w 10"/>
                <a:gd name="T23" fmla="*/ 3 h 13"/>
                <a:gd name="T24" fmla="*/ 5 w 10"/>
                <a:gd name="T25" fmla="*/ 3 h 13"/>
                <a:gd name="T26" fmla="*/ 5 w 10"/>
                <a:gd name="T27" fmla="*/ 3 h 13"/>
                <a:gd name="T28" fmla="*/ 5 w 10"/>
                <a:gd name="T29" fmla="*/ 3 h 13"/>
                <a:gd name="T30" fmla="*/ 3 w 10"/>
                <a:gd name="T31" fmla="*/ 0 h 13"/>
                <a:gd name="T32" fmla="*/ 3 w 10"/>
                <a:gd name="T33" fmla="*/ 0 h 13"/>
                <a:gd name="T34" fmla="*/ 3 w 10"/>
                <a:gd name="T35" fmla="*/ 3 h 13"/>
                <a:gd name="T36" fmla="*/ 3 w 10"/>
                <a:gd name="T37" fmla="*/ 5 h 13"/>
                <a:gd name="T38" fmla="*/ 0 w 10"/>
                <a:gd name="T39" fmla="*/ 3 h 13"/>
                <a:gd name="T40" fmla="*/ 3 w 10"/>
                <a:gd name="T41" fmla="*/ 5 h 13"/>
                <a:gd name="T42" fmla="*/ 0 w 10"/>
                <a:gd name="T43" fmla="*/ 5 h 13"/>
                <a:gd name="T44" fmla="*/ 3 w 10"/>
                <a:gd name="T45" fmla="*/ 8 h 13"/>
                <a:gd name="T46" fmla="*/ 0 w 10"/>
                <a:gd name="T47" fmla="*/ 10 h 13"/>
                <a:gd name="T48" fmla="*/ 3 w 10"/>
                <a:gd name="T49" fmla="*/ 10 h 13"/>
                <a:gd name="T50" fmla="*/ 5 w 10"/>
                <a:gd name="T51" fmla="*/ 10 h 13"/>
                <a:gd name="T52" fmla="*/ 5 w 10"/>
                <a:gd name="T53" fmla="*/ 10 h 13"/>
                <a:gd name="T54" fmla="*/ 5 w 10"/>
                <a:gd name="T55" fmla="*/ 10 h 13"/>
                <a:gd name="T56" fmla="*/ 8 w 10"/>
                <a:gd name="T57" fmla="*/ 13 h 13"/>
                <a:gd name="T58" fmla="*/ 8 w 10"/>
                <a:gd name="T59" fmla="*/ 13 h 13"/>
                <a:gd name="T60" fmla="*/ 5 w 10"/>
                <a:gd name="T61" fmla="*/ 10 h 13"/>
                <a:gd name="T62" fmla="*/ 8 w 10"/>
                <a:gd name="T63" fmla="*/ 13 h 13"/>
                <a:gd name="T64" fmla="*/ 8 w 10"/>
                <a:gd name="T65" fmla="*/ 10 h 13"/>
                <a:gd name="T66" fmla="*/ 10 w 10"/>
                <a:gd name="T67" fmla="*/ 10 h 13"/>
                <a:gd name="T68" fmla="*/ 10 w 10"/>
                <a:gd name="T69" fmla="*/ 10 h 13"/>
                <a:gd name="T70" fmla="*/ 8 w 10"/>
                <a:gd name="T71" fmla="*/ 8 h 13"/>
                <a:gd name="T72" fmla="*/ 8 w 10"/>
                <a:gd name="T73" fmla="*/ 8 h 13"/>
                <a:gd name="T74" fmla="*/ 10 w 10"/>
                <a:gd name="T75" fmla="*/ 8 h 13"/>
                <a:gd name="T76" fmla="*/ 10 w 10"/>
                <a:gd name="T77" fmla="*/ 8 h 13"/>
                <a:gd name="T78" fmla="*/ 8 w 10"/>
                <a:gd name="T7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lnTo>
                    <a:pt x="8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8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0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5">
              <a:extLst>
                <a:ext uri="{FF2B5EF4-FFF2-40B4-BE49-F238E27FC236}">
                  <a16:creationId xmlns:a16="http://schemas.microsoft.com/office/drawing/2014/main" id="{47CC3DD4-DA57-4AA3-AE6C-2C47692587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5" y="1230"/>
              <a:ext cx="297" cy="256"/>
            </a:xfrm>
            <a:custGeom>
              <a:avLst/>
              <a:gdLst>
                <a:gd name="T0" fmla="*/ 7 w 297"/>
                <a:gd name="T1" fmla="*/ 213 h 256"/>
                <a:gd name="T2" fmla="*/ 0 w 297"/>
                <a:gd name="T3" fmla="*/ 241 h 256"/>
                <a:gd name="T4" fmla="*/ 297 w 297"/>
                <a:gd name="T5" fmla="*/ 241 h 256"/>
                <a:gd name="T6" fmla="*/ 256 w 297"/>
                <a:gd name="T7" fmla="*/ 223 h 256"/>
                <a:gd name="T8" fmla="*/ 286 w 297"/>
                <a:gd name="T9" fmla="*/ 179 h 256"/>
                <a:gd name="T10" fmla="*/ 297 w 297"/>
                <a:gd name="T11" fmla="*/ 146 h 256"/>
                <a:gd name="T12" fmla="*/ 276 w 297"/>
                <a:gd name="T13" fmla="*/ 126 h 256"/>
                <a:gd name="T14" fmla="*/ 245 w 297"/>
                <a:gd name="T15" fmla="*/ 72 h 256"/>
                <a:gd name="T16" fmla="*/ 238 w 297"/>
                <a:gd name="T17" fmla="*/ 72 h 256"/>
                <a:gd name="T18" fmla="*/ 238 w 297"/>
                <a:gd name="T19" fmla="*/ 74 h 256"/>
                <a:gd name="T20" fmla="*/ 156 w 297"/>
                <a:gd name="T21" fmla="*/ 95 h 256"/>
                <a:gd name="T22" fmla="*/ 169 w 297"/>
                <a:gd name="T23" fmla="*/ 28 h 256"/>
                <a:gd name="T24" fmla="*/ 84 w 297"/>
                <a:gd name="T25" fmla="*/ 0 h 256"/>
                <a:gd name="T26" fmla="*/ 33 w 297"/>
                <a:gd name="T27" fmla="*/ 64 h 256"/>
                <a:gd name="T28" fmla="*/ 20 w 297"/>
                <a:gd name="T29" fmla="*/ 95 h 256"/>
                <a:gd name="T30" fmla="*/ 0 w 297"/>
                <a:gd name="T31" fmla="*/ 195 h 256"/>
                <a:gd name="T32" fmla="*/ 269 w 297"/>
                <a:gd name="T33" fmla="*/ 126 h 256"/>
                <a:gd name="T34" fmla="*/ 215 w 297"/>
                <a:gd name="T35" fmla="*/ 103 h 256"/>
                <a:gd name="T36" fmla="*/ 215 w 297"/>
                <a:gd name="T37" fmla="*/ 126 h 256"/>
                <a:gd name="T38" fmla="*/ 207 w 297"/>
                <a:gd name="T39" fmla="*/ 103 h 256"/>
                <a:gd name="T40" fmla="*/ 184 w 297"/>
                <a:gd name="T41" fmla="*/ 103 h 256"/>
                <a:gd name="T42" fmla="*/ 153 w 297"/>
                <a:gd name="T43" fmla="*/ 126 h 256"/>
                <a:gd name="T44" fmla="*/ 174 w 297"/>
                <a:gd name="T45" fmla="*/ 133 h 256"/>
                <a:gd name="T46" fmla="*/ 169 w 297"/>
                <a:gd name="T47" fmla="*/ 151 h 256"/>
                <a:gd name="T48" fmla="*/ 158 w 297"/>
                <a:gd name="T49" fmla="*/ 156 h 256"/>
                <a:gd name="T50" fmla="*/ 153 w 297"/>
                <a:gd name="T51" fmla="*/ 133 h 256"/>
                <a:gd name="T52" fmla="*/ 110 w 297"/>
                <a:gd name="T53" fmla="*/ 10 h 256"/>
                <a:gd name="T54" fmla="*/ 92 w 297"/>
                <a:gd name="T55" fmla="*/ 10 h 256"/>
                <a:gd name="T56" fmla="*/ 156 w 297"/>
                <a:gd name="T57" fmla="*/ 44 h 256"/>
                <a:gd name="T58" fmla="*/ 140 w 297"/>
                <a:gd name="T59" fmla="*/ 95 h 256"/>
                <a:gd name="T60" fmla="*/ 61 w 297"/>
                <a:gd name="T61" fmla="*/ 156 h 256"/>
                <a:gd name="T62" fmla="*/ 123 w 297"/>
                <a:gd name="T63" fmla="*/ 126 h 256"/>
                <a:gd name="T64" fmla="*/ 143 w 297"/>
                <a:gd name="T65" fmla="*/ 126 h 256"/>
                <a:gd name="T66" fmla="*/ 143 w 297"/>
                <a:gd name="T67" fmla="*/ 156 h 256"/>
                <a:gd name="T68" fmla="*/ 143 w 297"/>
                <a:gd name="T69" fmla="*/ 133 h 256"/>
                <a:gd name="T70" fmla="*/ 112 w 297"/>
                <a:gd name="T71" fmla="*/ 103 h 256"/>
                <a:gd name="T72" fmla="*/ 112 w 297"/>
                <a:gd name="T73" fmla="*/ 133 h 256"/>
                <a:gd name="T74" fmla="*/ 89 w 297"/>
                <a:gd name="T75" fmla="*/ 133 h 256"/>
                <a:gd name="T76" fmla="*/ 48 w 297"/>
                <a:gd name="T77" fmla="*/ 103 h 256"/>
                <a:gd name="T78" fmla="*/ 28 w 297"/>
                <a:gd name="T79" fmla="*/ 103 h 256"/>
                <a:gd name="T80" fmla="*/ 48 w 297"/>
                <a:gd name="T81" fmla="*/ 156 h 256"/>
                <a:gd name="T82" fmla="*/ 15 w 297"/>
                <a:gd name="T83" fmla="*/ 169 h 256"/>
                <a:gd name="T84" fmla="*/ 176 w 297"/>
                <a:gd name="T85" fmla="*/ 161 h 256"/>
                <a:gd name="T86" fmla="*/ 189 w 297"/>
                <a:gd name="T87" fmla="*/ 138 h 256"/>
                <a:gd name="T88" fmla="*/ 276 w 297"/>
                <a:gd name="T89" fmla="*/ 169 h 256"/>
                <a:gd name="T90" fmla="*/ 240 w 297"/>
                <a:gd name="T91" fmla="*/ 218 h 256"/>
                <a:gd name="T92" fmla="*/ 233 w 297"/>
                <a:gd name="T93" fmla="*/ 241 h 256"/>
                <a:gd name="T94" fmla="*/ 15 w 297"/>
                <a:gd name="T95" fmla="*/ 19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7" h="256">
                  <a:moveTo>
                    <a:pt x="0" y="195"/>
                  </a:moveTo>
                  <a:lnTo>
                    <a:pt x="2" y="202"/>
                  </a:lnTo>
                  <a:lnTo>
                    <a:pt x="7" y="213"/>
                  </a:lnTo>
                  <a:lnTo>
                    <a:pt x="12" y="220"/>
                  </a:lnTo>
                  <a:lnTo>
                    <a:pt x="30" y="241"/>
                  </a:lnTo>
                  <a:lnTo>
                    <a:pt x="0" y="241"/>
                  </a:lnTo>
                  <a:lnTo>
                    <a:pt x="0" y="256"/>
                  </a:lnTo>
                  <a:lnTo>
                    <a:pt x="297" y="256"/>
                  </a:lnTo>
                  <a:lnTo>
                    <a:pt x="297" y="241"/>
                  </a:lnTo>
                  <a:lnTo>
                    <a:pt x="248" y="241"/>
                  </a:lnTo>
                  <a:lnTo>
                    <a:pt x="251" y="231"/>
                  </a:lnTo>
                  <a:lnTo>
                    <a:pt x="256" y="223"/>
                  </a:lnTo>
                  <a:lnTo>
                    <a:pt x="263" y="213"/>
                  </a:lnTo>
                  <a:lnTo>
                    <a:pt x="276" y="195"/>
                  </a:lnTo>
                  <a:lnTo>
                    <a:pt x="286" y="179"/>
                  </a:lnTo>
                  <a:lnTo>
                    <a:pt x="292" y="169"/>
                  </a:lnTo>
                  <a:lnTo>
                    <a:pt x="294" y="156"/>
                  </a:lnTo>
                  <a:lnTo>
                    <a:pt x="297" y="146"/>
                  </a:lnTo>
                  <a:lnTo>
                    <a:pt x="297" y="133"/>
                  </a:lnTo>
                  <a:lnTo>
                    <a:pt x="297" y="126"/>
                  </a:lnTo>
                  <a:lnTo>
                    <a:pt x="276" y="126"/>
                  </a:lnTo>
                  <a:lnTo>
                    <a:pt x="276" y="95"/>
                  </a:lnTo>
                  <a:lnTo>
                    <a:pt x="245" y="95"/>
                  </a:lnTo>
                  <a:lnTo>
                    <a:pt x="245" y="72"/>
                  </a:lnTo>
                  <a:lnTo>
                    <a:pt x="243" y="72"/>
                  </a:lnTo>
                  <a:lnTo>
                    <a:pt x="243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38" y="95"/>
                  </a:lnTo>
                  <a:lnTo>
                    <a:pt x="156" y="95"/>
                  </a:lnTo>
                  <a:lnTo>
                    <a:pt x="156" y="74"/>
                  </a:lnTo>
                  <a:lnTo>
                    <a:pt x="169" y="64"/>
                  </a:lnTo>
                  <a:lnTo>
                    <a:pt x="169" y="28"/>
                  </a:lnTo>
                  <a:lnTo>
                    <a:pt x="125" y="28"/>
                  </a:lnTo>
                  <a:lnTo>
                    <a:pt x="117" y="0"/>
                  </a:lnTo>
                  <a:lnTo>
                    <a:pt x="84" y="0"/>
                  </a:lnTo>
                  <a:lnTo>
                    <a:pt x="79" y="28"/>
                  </a:lnTo>
                  <a:lnTo>
                    <a:pt x="33" y="28"/>
                  </a:lnTo>
                  <a:lnTo>
                    <a:pt x="33" y="64"/>
                  </a:lnTo>
                  <a:lnTo>
                    <a:pt x="48" y="74"/>
                  </a:lnTo>
                  <a:lnTo>
                    <a:pt x="48" y="95"/>
                  </a:lnTo>
                  <a:lnTo>
                    <a:pt x="20" y="95"/>
                  </a:lnTo>
                  <a:lnTo>
                    <a:pt x="20" y="156"/>
                  </a:lnTo>
                  <a:lnTo>
                    <a:pt x="0" y="156"/>
                  </a:lnTo>
                  <a:lnTo>
                    <a:pt x="0" y="195"/>
                  </a:lnTo>
                  <a:close/>
                  <a:moveTo>
                    <a:pt x="245" y="103"/>
                  </a:moveTo>
                  <a:lnTo>
                    <a:pt x="269" y="103"/>
                  </a:lnTo>
                  <a:lnTo>
                    <a:pt x="269" y="126"/>
                  </a:lnTo>
                  <a:lnTo>
                    <a:pt x="245" y="126"/>
                  </a:lnTo>
                  <a:lnTo>
                    <a:pt x="245" y="103"/>
                  </a:lnTo>
                  <a:close/>
                  <a:moveTo>
                    <a:pt x="215" y="103"/>
                  </a:moveTo>
                  <a:lnTo>
                    <a:pt x="238" y="103"/>
                  </a:lnTo>
                  <a:lnTo>
                    <a:pt x="238" y="126"/>
                  </a:lnTo>
                  <a:lnTo>
                    <a:pt x="215" y="126"/>
                  </a:lnTo>
                  <a:lnTo>
                    <a:pt x="215" y="103"/>
                  </a:lnTo>
                  <a:close/>
                  <a:moveTo>
                    <a:pt x="184" y="103"/>
                  </a:moveTo>
                  <a:lnTo>
                    <a:pt x="207" y="103"/>
                  </a:lnTo>
                  <a:lnTo>
                    <a:pt x="207" y="126"/>
                  </a:lnTo>
                  <a:lnTo>
                    <a:pt x="184" y="126"/>
                  </a:lnTo>
                  <a:lnTo>
                    <a:pt x="184" y="103"/>
                  </a:lnTo>
                  <a:close/>
                  <a:moveTo>
                    <a:pt x="174" y="103"/>
                  </a:moveTo>
                  <a:lnTo>
                    <a:pt x="174" y="126"/>
                  </a:lnTo>
                  <a:lnTo>
                    <a:pt x="153" y="126"/>
                  </a:lnTo>
                  <a:lnTo>
                    <a:pt x="153" y="103"/>
                  </a:lnTo>
                  <a:lnTo>
                    <a:pt x="174" y="103"/>
                  </a:lnTo>
                  <a:close/>
                  <a:moveTo>
                    <a:pt x="174" y="133"/>
                  </a:moveTo>
                  <a:lnTo>
                    <a:pt x="174" y="144"/>
                  </a:lnTo>
                  <a:lnTo>
                    <a:pt x="171" y="146"/>
                  </a:lnTo>
                  <a:lnTo>
                    <a:pt x="169" y="151"/>
                  </a:lnTo>
                  <a:lnTo>
                    <a:pt x="166" y="154"/>
                  </a:lnTo>
                  <a:lnTo>
                    <a:pt x="164" y="154"/>
                  </a:lnTo>
                  <a:lnTo>
                    <a:pt x="158" y="156"/>
                  </a:lnTo>
                  <a:lnTo>
                    <a:pt x="156" y="156"/>
                  </a:lnTo>
                  <a:lnTo>
                    <a:pt x="153" y="156"/>
                  </a:lnTo>
                  <a:lnTo>
                    <a:pt x="153" y="133"/>
                  </a:lnTo>
                  <a:lnTo>
                    <a:pt x="174" y="133"/>
                  </a:lnTo>
                  <a:close/>
                  <a:moveTo>
                    <a:pt x="92" y="10"/>
                  </a:moveTo>
                  <a:lnTo>
                    <a:pt x="110" y="10"/>
                  </a:lnTo>
                  <a:lnTo>
                    <a:pt x="117" y="33"/>
                  </a:lnTo>
                  <a:lnTo>
                    <a:pt x="87" y="33"/>
                  </a:lnTo>
                  <a:lnTo>
                    <a:pt x="92" y="10"/>
                  </a:lnTo>
                  <a:close/>
                  <a:moveTo>
                    <a:pt x="48" y="56"/>
                  </a:moveTo>
                  <a:lnTo>
                    <a:pt x="48" y="44"/>
                  </a:lnTo>
                  <a:lnTo>
                    <a:pt x="156" y="44"/>
                  </a:lnTo>
                  <a:lnTo>
                    <a:pt x="156" y="56"/>
                  </a:lnTo>
                  <a:lnTo>
                    <a:pt x="140" y="67"/>
                  </a:lnTo>
                  <a:lnTo>
                    <a:pt x="140" y="95"/>
                  </a:lnTo>
                  <a:lnTo>
                    <a:pt x="82" y="95"/>
                  </a:lnTo>
                  <a:lnTo>
                    <a:pt x="82" y="156"/>
                  </a:lnTo>
                  <a:lnTo>
                    <a:pt x="61" y="156"/>
                  </a:lnTo>
                  <a:lnTo>
                    <a:pt x="61" y="67"/>
                  </a:lnTo>
                  <a:lnTo>
                    <a:pt x="48" y="56"/>
                  </a:lnTo>
                  <a:close/>
                  <a:moveTo>
                    <a:pt x="123" y="126"/>
                  </a:moveTo>
                  <a:lnTo>
                    <a:pt x="123" y="103"/>
                  </a:lnTo>
                  <a:lnTo>
                    <a:pt x="143" y="103"/>
                  </a:lnTo>
                  <a:lnTo>
                    <a:pt x="143" y="126"/>
                  </a:lnTo>
                  <a:lnTo>
                    <a:pt x="123" y="126"/>
                  </a:lnTo>
                  <a:close/>
                  <a:moveTo>
                    <a:pt x="143" y="133"/>
                  </a:moveTo>
                  <a:lnTo>
                    <a:pt x="143" y="156"/>
                  </a:lnTo>
                  <a:lnTo>
                    <a:pt x="123" y="156"/>
                  </a:lnTo>
                  <a:lnTo>
                    <a:pt x="123" y="133"/>
                  </a:lnTo>
                  <a:lnTo>
                    <a:pt x="143" y="133"/>
                  </a:lnTo>
                  <a:close/>
                  <a:moveTo>
                    <a:pt x="89" y="126"/>
                  </a:moveTo>
                  <a:lnTo>
                    <a:pt x="89" y="103"/>
                  </a:lnTo>
                  <a:lnTo>
                    <a:pt x="112" y="103"/>
                  </a:lnTo>
                  <a:lnTo>
                    <a:pt x="112" y="126"/>
                  </a:lnTo>
                  <a:lnTo>
                    <a:pt x="89" y="126"/>
                  </a:lnTo>
                  <a:close/>
                  <a:moveTo>
                    <a:pt x="112" y="133"/>
                  </a:moveTo>
                  <a:lnTo>
                    <a:pt x="112" y="156"/>
                  </a:lnTo>
                  <a:lnTo>
                    <a:pt x="89" y="156"/>
                  </a:lnTo>
                  <a:lnTo>
                    <a:pt x="89" y="133"/>
                  </a:lnTo>
                  <a:lnTo>
                    <a:pt x="112" y="133"/>
                  </a:lnTo>
                  <a:close/>
                  <a:moveTo>
                    <a:pt x="28" y="103"/>
                  </a:moveTo>
                  <a:lnTo>
                    <a:pt x="48" y="103"/>
                  </a:lnTo>
                  <a:lnTo>
                    <a:pt x="48" y="126"/>
                  </a:lnTo>
                  <a:lnTo>
                    <a:pt x="28" y="126"/>
                  </a:lnTo>
                  <a:lnTo>
                    <a:pt x="28" y="103"/>
                  </a:lnTo>
                  <a:close/>
                  <a:moveTo>
                    <a:pt x="28" y="133"/>
                  </a:moveTo>
                  <a:lnTo>
                    <a:pt x="48" y="133"/>
                  </a:lnTo>
                  <a:lnTo>
                    <a:pt x="48" y="156"/>
                  </a:lnTo>
                  <a:lnTo>
                    <a:pt x="28" y="156"/>
                  </a:lnTo>
                  <a:lnTo>
                    <a:pt x="28" y="133"/>
                  </a:lnTo>
                  <a:close/>
                  <a:moveTo>
                    <a:pt x="15" y="169"/>
                  </a:moveTo>
                  <a:lnTo>
                    <a:pt x="161" y="169"/>
                  </a:lnTo>
                  <a:lnTo>
                    <a:pt x="171" y="167"/>
                  </a:lnTo>
                  <a:lnTo>
                    <a:pt x="176" y="161"/>
                  </a:lnTo>
                  <a:lnTo>
                    <a:pt x="181" y="156"/>
                  </a:lnTo>
                  <a:lnTo>
                    <a:pt x="187" y="144"/>
                  </a:lnTo>
                  <a:lnTo>
                    <a:pt x="189" y="138"/>
                  </a:lnTo>
                  <a:lnTo>
                    <a:pt x="281" y="138"/>
                  </a:lnTo>
                  <a:lnTo>
                    <a:pt x="281" y="154"/>
                  </a:lnTo>
                  <a:lnTo>
                    <a:pt x="276" y="169"/>
                  </a:lnTo>
                  <a:lnTo>
                    <a:pt x="271" y="177"/>
                  </a:lnTo>
                  <a:lnTo>
                    <a:pt x="263" y="190"/>
                  </a:lnTo>
                  <a:lnTo>
                    <a:pt x="240" y="218"/>
                  </a:lnTo>
                  <a:lnTo>
                    <a:pt x="238" y="225"/>
                  </a:lnTo>
                  <a:lnTo>
                    <a:pt x="235" y="233"/>
                  </a:lnTo>
                  <a:lnTo>
                    <a:pt x="233" y="241"/>
                  </a:lnTo>
                  <a:lnTo>
                    <a:pt x="51" y="241"/>
                  </a:lnTo>
                  <a:lnTo>
                    <a:pt x="18" y="202"/>
                  </a:lnTo>
                  <a:lnTo>
                    <a:pt x="15" y="197"/>
                  </a:lnTo>
                  <a:lnTo>
                    <a:pt x="15" y="190"/>
                  </a:lnTo>
                  <a:lnTo>
                    <a:pt x="15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96">
              <a:extLst>
                <a:ext uri="{FF2B5EF4-FFF2-40B4-BE49-F238E27FC236}">
                  <a16:creationId xmlns:a16="http://schemas.microsoft.com/office/drawing/2014/main" id="{BCABB279-340D-4196-8CB3-3B786B2D0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7" y="141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99">
            <a:extLst>
              <a:ext uri="{FF2B5EF4-FFF2-40B4-BE49-F238E27FC236}">
                <a16:creationId xmlns:a16="http://schemas.microsoft.com/office/drawing/2014/main" id="{347279E9-69FD-4826-8C3C-BC550941BB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6349" y="1592927"/>
            <a:ext cx="758825" cy="758825"/>
            <a:chOff x="3795" y="1176"/>
            <a:chExt cx="478" cy="478"/>
          </a:xfrm>
        </p:grpSpPr>
        <p:sp>
          <p:nvSpPr>
            <p:cNvPr id="115" name="AutoShape 98">
              <a:extLst>
                <a:ext uri="{FF2B5EF4-FFF2-40B4-BE49-F238E27FC236}">
                  <a16:creationId xmlns:a16="http://schemas.microsoft.com/office/drawing/2014/main" id="{96D838D9-5A2F-49BD-829B-E5955562996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95" y="117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0">
              <a:extLst>
                <a:ext uri="{FF2B5EF4-FFF2-40B4-BE49-F238E27FC236}">
                  <a16:creationId xmlns:a16="http://schemas.microsoft.com/office/drawing/2014/main" id="{6EC18242-1AE3-49AE-B858-BD3670B4C4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7" y="117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1">
              <a:extLst>
                <a:ext uri="{FF2B5EF4-FFF2-40B4-BE49-F238E27FC236}">
                  <a16:creationId xmlns:a16="http://schemas.microsoft.com/office/drawing/2014/main" id="{705B18D4-D53F-4549-B0B6-8942B6C5D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419"/>
              <a:ext cx="12" cy="14"/>
            </a:xfrm>
            <a:custGeom>
              <a:avLst/>
              <a:gdLst>
                <a:gd name="T0" fmla="*/ 2 w 12"/>
                <a:gd name="T1" fmla="*/ 12 h 14"/>
                <a:gd name="T2" fmla="*/ 5 w 12"/>
                <a:gd name="T3" fmla="*/ 14 h 14"/>
                <a:gd name="T4" fmla="*/ 10 w 12"/>
                <a:gd name="T5" fmla="*/ 12 h 14"/>
                <a:gd name="T6" fmla="*/ 12 w 12"/>
                <a:gd name="T7" fmla="*/ 9 h 14"/>
                <a:gd name="T8" fmla="*/ 12 w 12"/>
                <a:gd name="T9" fmla="*/ 7 h 14"/>
                <a:gd name="T10" fmla="*/ 10 w 12"/>
                <a:gd name="T11" fmla="*/ 5 h 14"/>
                <a:gd name="T12" fmla="*/ 7 w 12"/>
                <a:gd name="T13" fmla="*/ 2 h 14"/>
                <a:gd name="T14" fmla="*/ 5 w 12"/>
                <a:gd name="T15" fmla="*/ 0 h 14"/>
                <a:gd name="T16" fmla="*/ 5 w 12"/>
                <a:gd name="T17" fmla="*/ 0 h 14"/>
                <a:gd name="T18" fmla="*/ 5 w 12"/>
                <a:gd name="T19" fmla="*/ 0 h 14"/>
                <a:gd name="T20" fmla="*/ 0 w 12"/>
                <a:gd name="T21" fmla="*/ 2 h 14"/>
                <a:gd name="T22" fmla="*/ 0 w 12"/>
                <a:gd name="T23" fmla="*/ 5 h 14"/>
                <a:gd name="T24" fmla="*/ 0 w 12"/>
                <a:gd name="T25" fmla="*/ 7 h 14"/>
                <a:gd name="T26" fmla="*/ 0 w 12"/>
                <a:gd name="T27" fmla="*/ 9 h 14"/>
                <a:gd name="T28" fmla="*/ 2 w 12"/>
                <a:gd name="T2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2" y="12"/>
                  </a:moveTo>
                  <a:lnTo>
                    <a:pt x="5" y="14"/>
                  </a:lnTo>
                  <a:lnTo>
                    <a:pt x="10" y="12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2">
              <a:extLst>
                <a:ext uri="{FF2B5EF4-FFF2-40B4-BE49-F238E27FC236}">
                  <a16:creationId xmlns:a16="http://schemas.microsoft.com/office/drawing/2014/main" id="{132C5BA0-B122-430B-92C4-00552941B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3" y="1318"/>
              <a:ext cx="284" cy="196"/>
            </a:xfrm>
            <a:custGeom>
              <a:avLst/>
              <a:gdLst>
                <a:gd name="T0" fmla="*/ 284 w 284"/>
                <a:gd name="T1" fmla="*/ 167 h 196"/>
                <a:gd name="T2" fmla="*/ 277 w 284"/>
                <a:gd name="T3" fmla="*/ 98 h 196"/>
                <a:gd name="T4" fmla="*/ 255 w 284"/>
                <a:gd name="T5" fmla="*/ 81 h 196"/>
                <a:gd name="T6" fmla="*/ 191 w 284"/>
                <a:gd name="T7" fmla="*/ 5 h 196"/>
                <a:gd name="T8" fmla="*/ 167 w 284"/>
                <a:gd name="T9" fmla="*/ 0 h 196"/>
                <a:gd name="T10" fmla="*/ 12 w 284"/>
                <a:gd name="T11" fmla="*/ 5 h 196"/>
                <a:gd name="T12" fmla="*/ 2 w 284"/>
                <a:gd name="T13" fmla="*/ 172 h 196"/>
                <a:gd name="T14" fmla="*/ 47 w 284"/>
                <a:gd name="T15" fmla="*/ 172 h 196"/>
                <a:gd name="T16" fmla="*/ 64 w 284"/>
                <a:gd name="T17" fmla="*/ 194 h 196"/>
                <a:gd name="T18" fmla="*/ 83 w 284"/>
                <a:gd name="T19" fmla="*/ 196 h 196"/>
                <a:gd name="T20" fmla="*/ 103 w 284"/>
                <a:gd name="T21" fmla="*/ 179 h 196"/>
                <a:gd name="T22" fmla="*/ 196 w 284"/>
                <a:gd name="T23" fmla="*/ 182 h 196"/>
                <a:gd name="T24" fmla="*/ 216 w 284"/>
                <a:gd name="T25" fmla="*/ 196 h 196"/>
                <a:gd name="T26" fmla="*/ 238 w 284"/>
                <a:gd name="T27" fmla="*/ 191 h 196"/>
                <a:gd name="T28" fmla="*/ 250 w 284"/>
                <a:gd name="T29" fmla="*/ 172 h 196"/>
                <a:gd name="T30" fmla="*/ 284 w 284"/>
                <a:gd name="T31" fmla="*/ 167 h 196"/>
                <a:gd name="T32" fmla="*/ 162 w 284"/>
                <a:gd name="T33" fmla="*/ 79 h 196"/>
                <a:gd name="T34" fmla="*/ 91 w 284"/>
                <a:gd name="T35" fmla="*/ 172 h 196"/>
                <a:gd name="T36" fmla="*/ 86 w 284"/>
                <a:gd name="T37" fmla="*/ 182 h 196"/>
                <a:gd name="T38" fmla="*/ 76 w 284"/>
                <a:gd name="T39" fmla="*/ 184 h 196"/>
                <a:gd name="T40" fmla="*/ 64 w 284"/>
                <a:gd name="T41" fmla="*/ 179 h 196"/>
                <a:gd name="T42" fmla="*/ 59 w 284"/>
                <a:gd name="T43" fmla="*/ 169 h 196"/>
                <a:gd name="T44" fmla="*/ 64 w 284"/>
                <a:gd name="T45" fmla="*/ 157 h 196"/>
                <a:gd name="T46" fmla="*/ 74 w 284"/>
                <a:gd name="T47" fmla="*/ 152 h 196"/>
                <a:gd name="T48" fmla="*/ 83 w 284"/>
                <a:gd name="T49" fmla="*/ 155 h 196"/>
                <a:gd name="T50" fmla="*/ 91 w 284"/>
                <a:gd name="T51" fmla="*/ 162 h 196"/>
                <a:gd name="T52" fmla="*/ 91 w 284"/>
                <a:gd name="T53" fmla="*/ 172 h 196"/>
                <a:gd name="T54" fmla="*/ 233 w 284"/>
                <a:gd name="T55" fmla="*/ 179 h 196"/>
                <a:gd name="T56" fmla="*/ 221 w 284"/>
                <a:gd name="T57" fmla="*/ 184 h 196"/>
                <a:gd name="T58" fmla="*/ 211 w 284"/>
                <a:gd name="T59" fmla="*/ 179 h 196"/>
                <a:gd name="T60" fmla="*/ 206 w 284"/>
                <a:gd name="T61" fmla="*/ 167 h 196"/>
                <a:gd name="T62" fmla="*/ 208 w 284"/>
                <a:gd name="T63" fmla="*/ 157 h 196"/>
                <a:gd name="T64" fmla="*/ 221 w 284"/>
                <a:gd name="T65" fmla="*/ 152 h 196"/>
                <a:gd name="T66" fmla="*/ 230 w 284"/>
                <a:gd name="T67" fmla="*/ 157 h 196"/>
                <a:gd name="T68" fmla="*/ 238 w 284"/>
                <a:gd name="T69" fmla="*/ 167 h 196"/>
                <a:gd name="T70" fmla="*/ 257 w 284"/>
                <a:gd name="T71" fmla="*/ 128 h 196"/>
                <a:gd name="T72" fmla="*/ 260 w 284"/>
                <a:gd name="T73" fmla="*/ 130 h 196"/>
                <a:gd name="T74" fmla="*/ 262 w 284"/>
                <a:gd name="T75" fmla="*/ 133 h 196"/>
                <a:gd name="T76" fmla="*/ 270 w 284"/>
                <a:gd name="T77" fmla="*/ 160 h 196"/>
                <a:gd name="T78" fmla="*/ 238 w 284"/>
                <a:gd name="T79" fmla="*/ 145 h 196"/>
                <a:gd name="T80" fmla="*/ 211 w 284"/>
                <a:gd name="T81" fmla="*/ 140 h 196"/>
                <a:gd name="T82" fmla="*/ 194 w 284"/>
                <a:gd name="T83" fmla="*/ 160 h 196"/>
                <a:gd name="T84" fmla="*/ 98 w 284"/>
                <a:gd name="T85" fmla="*/ 150 h 196"/>
                <a:gd name="T86" fmla="*/ 76 w 284"/>
                <a:gd name="T87" fmla="*/ 140 h 196"/>
                <a:gd name="T88" fmla="*/ 54 w 284"/>
                <a:gd name="T89" fmla="*/ 150 h 196"/>
                <a:gd name="T90" fmla="*/ 15 w 284"/>
                <a:gd name="T91" fmla="*/ 160 h 196"/>
                <a:gd name="T92" fmla="*/ 174 w 284"/>
                <a:gd name="T93" fmla="*/ 12 h 196"/>
                <a:gd name="T94" fmla="*/ 189 w 284"/>
                <a:gd name="T95" fmla="*/ 17 h 196"/>
                <a:gd name="T96" fmla="*/ 201 w 284"/>
                <a:gd name="T97" fmla="*/ 34 h 196"/>
                <a:gd name="T98" fmla="*/ 152 w 284"/>
                <a:gd name="T99" fmla="*/ 37 h 196"/>
                <a:gd name="T100" fmla="*/ 154 w 284"/>
                <a:gd name="T101" fmla="*/ 86 h 196"/>
                <a:gd name="T102" fmla="*/ 250 w 284"/>
                <a:gd name="T103" fmla="*/ 91 h 196"/>
                <a:gd name="T104" fmla="*/ 270 w 284"/>
                <a:gd name="T105" fmla="*/ 110 h 196"/>
                <a:gd name="T106" fmla="*/ 260 w 284"/>
                <a:gd name="T107" fmla="*/ 12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4" h="196">
                  <a:moveTo>
                    <a:pt x="284" y="167"/>
                  </a:moveTo>
                  <a:lnTo>
                    <a:pt x="284" y="167"/>
                  </a:lnTo>
                  <a:lnTo>
                    <a:pt x="284" y="167"/>
                  </a:lnTo>
                  <a:lnTo>
                    <a:pt x="284" y="115"/>
                  </a:lnTo>
                  <a:lnTo>
                    <a:pt x="282" y="106"/>
                  </a:lnTo>
                  <a:lnTo>
                    <a:pt x="277" y="98"/>
                  </a:lnTo>
                  <a:lnTo>
                    <a:pt x="272" y="91"/>
                  </a:lnTo>
                  <a:lnTo>
                    <a:pt x="265" y="86"/>
                  </a:lnTo>
                  <a:lnTo>
                    <a:pt x="255" y="81"/>
                  </a:lnTo>
                  <a:lnTo>
                    <a:pt x="250" y="76"/>
                  </a:lnTo>
                  <a:lnTo>
                    <a:pt x="204" y="15"/>
                  </a:lnTo>
                  <a:lnTo>
                    <a:pt x="191" y="5"/>
                  </a:lnTo>
                  <a:lnTo>
                    <a:pt x="18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0" y="84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5" y="172"/>
                  </a:lnTo>
                  <a:lnTo>
                    <a:pt x="7" y="172"/>
                  </a:lnTo>
                  <a:lnTo>
                    <a:pt x="47" y="172"/>
                  </a:lnTo>
                  <a:lnTo>
                    <a:pt x="49" y="182"/>
                  </a:lnTo>
                  <a:lnTo>
                    <a:pt x="56" y="189"/>
                  </a:lnTo>
                  <a:lnTo>
                    <a:pt x="64" y="194"/>
                  </a:lnTo>
                  <a:lnTo>
                    <a:pt x="71" y="196"/>
                  </a:lnTo>
                  <a:lnTo>
                    <a:pt x="76" y="196"/>
                  </a:lnTo>
                  <a:lnTo>
                    <a:pt x="83" y="196"/>
                  </a:lnTo>
                  <a:lnTo>
                    <a:pt x="93" y="191"/>
                  </a:lnTo>
                  <a:lnTo>
                    <a:pt x="98" y="186"/>
                  </a:lnTo>
                  <a:lnTo>
                    <a:pt x="103" y="179"/>
                  </a:lnTo>
                  <a:lnTo>
                    <a:pt x="105" y="174"/>
                  </a:lnTo>
                  <a:lnTo>
                    <a:pt x="191" y="174"/>
                  </a:lnTo>
                  <a:lnTo>
                    <a:pt x="196" y="182"/>
                  </a:lnTo>
                  <a:lnTo>
                    <a:pt x="201" y="189"/>
                  </a:lnTo>
                  <a:lnTo>
                    <a:pt x="208" y="194"/>
                  </a:lnTo>
                  <a:lnTo>
                    <a:pt x="216" y="196"/>
                  </a:lnTo>
                  <a:lnTo>
                    <a:pt x="223" y="196"/>
                  </a:lnTo>
                  <a:lnTo>
                    <a:pt x="230" y="196"/>
                  </a:lnTo>
                  <a:lnTo>
                    <a:pt x="238" y="191"/>
                  </a:lnTo>
                  <a:lnTo>
                    <a:pt x="245" y="186"/>
                  </a:lnTo>
                  <a:lnTo>
                    <a:pt x="248" y="179"/>
                  </a:lnTo>
                  <a:lnTo>
                    <a:pt x="250" y="172"/>
                  </a:lnTo>
                  <a:lnTo>
                    <a:pt x="280" y="172"/>
                  </a:lnTo>
                  <a:lnTo>
                    <a:pt x="282" y="169"/>
                  </a:lnTo>
                  <a:lnTo>
                    <a:pt x="284" y="167"/>
                  </a:lnTo>
                  <a:close/>
                  <a:moveTo>
                    <a:pt x="208" y="42"/>
                  </a:moveTo>
                  <a:lnTo>
                    <a:pt x="235" y="79"/>
                  </a:lnTo>
                  <a:lnTo>
                    <a:pt x="162" y="79"/>
                  </a:lnTo>
                  <a:lnTo>
                    <a:pt x="162" y="42"/>
                  </a:lnTo>
                  <a:lnTo>
                    <a:pt x="208" y="42"/>
                  </a:lnTo>
                  <a:close/>
                  <a:moveTo>
                    <a:pt x="91" y="172"/>
                  </a:moveTo>
                  <a:lnTo>
                    <a:pt x="91" y="177"/>
                  </a:lnTo>
                  <a:lnTo>
                    <a:pt x="88" y="179"/>
                  </a:lnTo>
                  <a:lnTo>
                    <a:pt x="86" y="182"/>
                  </a:lnTo>
                  <a:lnTo>
                    <a:pt x="83" y="182"/>
                  </a:lnTo>
                  <a:lnTo>
                    <a:pt x="81" y="184"/>
                  </a:lnTo>
                  <a:lnTo>
                    <a:pt x="76" y="184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4" y="179"/>
                  </a:lnTo>
                  <a:lnTo>
                    <a:pt x="61" y="177"/>
                  </a:lnTo>
                  <a:lnTo>
                    <a:pt x="61" y="174"/>
                  </a:lnTo>
                  <a:lnTo>
                    <a:pt x="59" y="169"/>
                  </a:lnTo>
                  <a:lnTo>
                    <a:pt x="61" y="164"/>
                  </a:lnTo>
                  <a:lnTo>
                    <a:pt x="61" y="160"/>
                  </a:lnTo>
                  <a:lnTo>
                    <a:pt x="64" y="157"/>
                  </a:lnTo>
                  <a:lnTo>
                    <a:pt x="66" y="155"/>
                  </a:lnTo>
                  <a:lnTo>
                    <a:pt x="71" y="152"/>
                  </a:lnTo>
                  <a:lnTo>
                    <a:pt x="74" y="152"/>
                  </a:lnTo>
                  <a:lnTo>
                    <a:pt x="76" y="152"/>
                  </a:lnTo>
                  <a:lnTo>
                    <a:pt x="78" y="152"/>
                  </a:lnTo>
                  <a:lnTo>
                    <a:pt x="83" y="155"/>
                  </a:lnTo>
                  <a:lnTo>
                    <a:pt x="86" y="157"/>
                  </a:lnTo>
                  <a:lnTo>
                    <a:pt x="88" y="160"/>
                  </a:lnTo>
                  <a:lnTo>
                    <a:pt x="91" y="162"/>
                  </a:lnTo>
                  <a:lnTo>
                    <a:pt x="91" y="167"/>
                  </a:lnTo>
                  <a:lnTo>
                    <a:pt x="91" y="169"/>
                  </a:lnTo>
                  <a:lnTo>
                    <a:pt x="91" y="172"/>
                  </a:lnTo>
                  <a:close/>
                  <a:moveTo>
                    <a:pt x="235" y="172"/>
                  </a:moveTo>
                  <a:lnTo>
                    <a:pt x="235" y="177"/>
                  </a:lnTo>
                  <a:lnTo>
                    <a:pt x="233" y="179"/>
                  </a:lnTo>
                  <a:lnTo>
                    <a:pt x="228" y="182"/>
                  </a:lnTo>
                  <a:lnTo>
                    <a:pt x="226" y="184"/>
                  </a:lnTo>
                  <a:lnTo>
                    <a:pt x="221" y="184"/>
                  </a:lnTo>
                  <a:lnTo>
                    <a:pt x="216" y="184"/>
                  </a:lnTo>
                  <a:lnTo>
                    <a:pt x="213" y="182"/>
                  </a:lnTo>
                  <a:lnTo>
                    <a:pt x="211" y="179"/>
                  </a:lnTo>
                  <a:lnTo>
                    <a:pt x="206" y="177"/>
                  </a:lnTo>
                  <a:lnTo>
                    <a:pt x="206" y="172"/>
                  </a:lnTo>
                  <a:lnTo>
                    <a:pt x="206" y="167"/>
                  </a:lnTo>
                  <a:lnTo>
                    <a:pt x="206" y="164"/>
                  </a:lnTo>
                  <a:lnTo>
                    <a:pt x="208" y="160"/>
                  </a:lnTo>
                  <a:lnTo>
                    <a:pt x="208" y="157"/>
                  </a:lnTo>
                  <a:lnTo>
                    <a:pt x="213" y="155"/>
                  </a:lnTo>
                  <a:lnTo>
                    <a:pt x="218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8" y="155"/>
                  </a:lnTo>
                  <a:lnTo>
                    <a:pt x="230" y="157"/>
                  </a:lnTo>
                  <a:lnTo>
                    <a:pt x="233" y="157"/>
                  </a:lnTo>
                  <a:lnTo>
                    <a:pt x="235" y="162"/>
                  </a:lnTo>
                  <a:lnTo>
                    <a:pt x="238" y="167"/>
                  </a:lnTo>
                  <a:lnTo>
                    <a:pt x="238" y="169"/>
                  </a:lnTo>
                  <a:lnTo>
                    <a:pt x="235" y="172"/>
                  </a:lnTo>
                  <a:close/>
                  <a:moveTo>
                    <a:pt x="257" y="128"/>
                  </a:moveTo>
                  <a:lnTo>
                    <a:pt x="257" y="130"/>
                  </a:lnTo>
                  <a:lnTo>
                    <a:pt x="257" y="130"/>
                  </a:lnTo>
                  <a:lnTo>
                    <a:pt x="260" y="130"/>
                  </a:lnTo>
                  <a:lnTo>
                    <a:pt x="260" y="133"/>
                  </a:lnTo>
                  <a:lnTo>
                    <a:pt x="262" y="133"/>
                  </a:lnTo>
                  <a:lnTo>
                    <a:pt x="262" y="133"/>
                  </a:lnTo>
                  <a:lnTo>
                    <a:pt x="262" y="133"/>
                  </a:lnTo>
                  <a:lnTo>
                    <a:pt x="270" y="133"/>
                  </a:lnTo>
                  <a:lnTo>
                    <a:pt x="270" y="160"/>
                  </a:lnTo>
                  <a:lnTo>
                    <a:pt x="250" y="160"/>
                  </a:lnTo>
                  <a:lnTo>
                    <a:pt x="243" y="150"/>
                  </a:lnTo>
                  <a:lnTo>
                    <a:pt x="238" y="145"/>
                  </a:lnTo>
                  <a:lnTo>
                    <a:pt x="230" y="140"/>
                  </a:lnTo>
                  <a:lnTo>
                    <a:pt x="223" y="140"/>
                  </a:lnTo>
                  <a:lnTo>
                    <a:pt x="211" y="140"/>
                  </a:lnTo>
                  <a:lnTo>
                    <a:pt x="204" y="145"/>
                  </a:lnTo>
                  <a:lnTo>
                    <a:pt x="196" y="152"/>
                  </a:lnTo>
                  <a:lnTo>
                    <a:pt x="194" y="160"/>
                  </a:lnTo>
                  <a:lnTo>
                    <a:pt x="191" y="162"/>
                  </a:lnTo>
                  <a:lnTo>
                    <a:pt x="105" y="162"/>
                  </a:lnTo>
                  <a:lnTo>
                    <a:pt x="98" y="150"/>
                  </a:lnTo>
                  <a:lnTo>
                    <a:pt x="93" y="145"/>
                  </a:lnTo>
                  <a:lnTo>
                    <a:pt x="83" y="140"/>
                  </a:lnTo>
                  <a:lnTo>
                    <a:pt x="76" y="140"/>
                  </a:lnTo>
                  <a:lnTo>
                    <a:pt x="66" y="140"/>
                  </a:lnTo>
                  <a:lnTo>
                    <a:pt x="59" y="145"/>
                  </a:lnTo>
                  <a:lnTo>
                    <a:pt x="54" y="150"/>
                  </a:lnTo>
                  <a:lnTo>
                    <a:pt x="49" y="157"/>
                  </a:lnTo>
                  <a:lnTo>
                    <a:pt x="47" y="160"/>
                  </a:lnTo>
                  <a:lnTo>
                    <a:pt x="15" y="160"/>
                  </a:lnTo>
                  <a:lnTo>
                    <a:pt x="15" y="84"/>
                  </a:lnTo>
                  <a:lnTo>
                    <a:pt x="25" y="12"/>
                  </a:lnTo>
                  <a:lnTo>
                    <a:pt x="174" y="12"/>
                  </a:lnTo>
                  <a:lnTo>
                    <a:pt x="179" y="15"/>
                  </a:lnTo>
                  <a:lnTo>
                    <a:pt x="184" y="15"/>
                  </a:lnTo>
                  <a:lnTo>
                    <a:pt x="189" y="17"/>
                  </a:lnTo>
                  <a:lnTo>
                    <a:pt x="191" y="22"/>
                  </a:lnTo>
                  <a:lnTo>
                    <a:pt x="199" y="30"/>
                  </a:lnTo>
                  <a:lnTo>
                    <a:pt x="201" y="34"/>
                  </a:lnTo>
                  <a:lnTo>
                    <a:pt x="154" y="34"/>
                  </a:lnTo>
                  <a:lnTo>
                    <a:pt x="154" y="37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4" y="86"/>
                  </a:lnTo>
                  <a:lnTo>
                    <a:pt x="154" y="86"/>
                  </a:lnTo>
                  <a:lnTo>
                    <a:pt x="157" y="88"/>
                  </a:lnTo>
                  <a:lnTo>
                    <a:pt x="243" y="88"/>
                  </a:lnTo>
                  <a:lnTo>
                    <a:pt x="250" y="91"/>
                  </a:lnTo>
                  <a:lnTo>
                    <a:pt x="257" y="96"/>
                  </a:lnTo>
                  <a:lnTo>
                    <a:pt x="265" y="103"/>
                  </a:lnTo>
                  <a:lnTo>
                    <a:pt x="270" y="110"/>
                  </a:lnTo>
                  <a:lnTo>
                    <a:pt x="270" y="120"/>
                  </a:lnTo>
                  <a:lnTo>
                    <a:pt x="270" y="123"/>
                  </a:lnTo>
                  <a:lnTo>
                    <a:pt x="260" y="125"/>
                  </a:lnTo>
                  <a:lnTo>
                    <a:pt x="257" y="128"/>
                  </a:lnTo>
                  <a:lnTo>
                    <a:pt x="257" y="1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3">
              <a:extLst>
                <a:ext uri="{FF2B5EF4-FFF2-40B4-BE49-F238E27FC236}">
                  <a16:creationId xmlns:a16="http://schemas.microsoft.com/office/drawing/2014/main" id="{321D3C0D-C6B3-4B2B-81BA-426310BCC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1397"/>
              <a:ext cx="113" cy="9"/>
            </a:xfrm>
            <a:custGeom>
              <a:avLst/>
              <a:gdLst>
                <a:gd name="T0" fmla="*/ 110 w 113"/>
                <a:gd name="T1" fmla="*/ 9 h 9"/>
                <a:gd name="T2" fmla="*/ 110 w 113"/>
                <a:gd name="T3" fmla="*/ 7 h 9"/>
                <a:gd name="T4" fmla="*/ 110 w 113"/>
                <a:gd name="T5" fmla="*/ 7 h 9"/>
                <a:gd name="T6" fmla="*/ 113 w 113"/>
                <a:gd name="T7" fmla="*/ 5 h 9"/>
                <a:gd name="T8" fmla="*/ 113 w 113"/>
                <a:gd name="T9" fmla="*/ 5 h 9"/>
                <a:gd name="T10" fmla="*/ 113 w 113"/>
                <a:gd name="T11" fmla="*/ 2 h 9"/>
                <a:gd name="T12" fmla="*/ 110 w 113"/>
                <a:gd name="T13" fmla="*/ 2 h 9"/>
                <a:gd name="T14" fmla="*/ 110 w 113"/>
                <a:gd name="T15" fmla="*/ 2 h 9"/>
                <a:gd name="T16" fmla="*/ 110 w 113"/>
                <a:gd name="T17" fmla="*/ 2 h 9"/>
                <a:gd name="T18" fmla="*/ 108 w 113"/>
                <a:gd name="T19" fmla="*/ 0 h 9"/>
                <a:gd name="T20" fmla="*/ 108 w 113"/>
                <a:gd name="T21" fmla="*/ 0 h 9"/>
                <a:gd name="T22" fmla="*/ 2 w 113"/>
                <a:gd name="T23" fmla="*/ 2 h 9"/>
                <a:gd name="T24" fmla="*/ 0 w 113"/>
                <a:gd name="T25" fmla="*/ 5 h 9"/>
                <a:gd name="T26" fmla="*/ 0 w 113"/>
                <a:gd name="T27" fmla="*/ 5 h 9"/>
                <a:gd name="T28" fmla="*/ 0 w 113"/>
                <a:gd name="T29" fmla="*/ 5 h 9"/>
                <a:gd name="T30" fmla="*/ 0 w 113"/>
                <a:gd name="T31" fmla="*/ 7 h 9"/>
                <a:gd name="T32" fmla="*/ 2 w 113"/>
                <a:gd name="T33" fmla="*/ 7 h 9"/>
                <a:gd name="T34" fmla="*/ 2 w 113"/>
                <a:gd name="T35" fmla="*/ 7 h 9"/>
                <a:gd name="T36" fmla="*/ 5 w 113"/>
                <a:gd name="T37" fmla="*/ 9 h 9"/>
                <a:gd name="T38" fmla="*/ 110 w 113"/>
                <a:gd name="T3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3" h="9">
                  <a:moveTo>
                    <a:pt x="110" y="9"/>
                  </a:moveTo>
                  <a:lnTo>
                    <a:pt x="110" y="7"/>
                  </a:lnTo>
                  <a:lnTo>
                    <a:pt x="110" y="7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9"/>
                  </a:lnTo>
                  <a:lnTo>
                    <a:pt x="110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4">
              <a:extLst>
                <a:ext uri="{FF2B5EF4-FFF2-40B4-BE49-F238E27FC236}">
                  <a16:creationId xmlns:a16="http://schemas.microsoft.com/office/drawing/2014/main" id="{0B1260D7-B88A-4DAC-A385-7381B8856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1419"/>
              <a:ext cx="12" cy="14"/>
            </a:xfrm>
            <a:custGeom>
              <a:avLst/>
              <a:gdLst>
                <a:gd name="T0" fmla="*/ 2 w 12"/>
                <a:gd name="T1" fmla="*/ 12 h 14"/>
                <a:gd name="T2" fmla="*/ 5 w 12"/>
                <a:gd name="T3" fmla="*/ 14 h 14"/>
                <a:gd name="T4" fmla="*/ 10 w 12"/>
                <a:gd name="T5" fmla="*/ 12 h 14"/>
                <a:gd name="T6" fmla="*/ 12 w 12"/>
                <a:gd name="T7" fmla="*/ 9 h 14"/>
                <a:gd name="T8" fmla="*/ 12 w 12"/>
                <a:gd name="T9" fmla="*/ 7 h 14"/>
                <a:gd name="T10" fmla="*/ 10 w 12"/>
                <a:gd name="T11" fmla="*/ 5 h 14"/>
                <a:gd name="T12" fmla="*/ 7 w 12"/>
                <a:gd name="T13" fmla="*/ 2 h 14"/>
                <a:gd name="T14" fmla="*/ 5 w 12"/>
                <a:gd name="T15" fmla="*/ 0 h 14"/>
                <a:gd name="T16" fmla="*/ 5 w 12"/>
                <a:gd name="T17" fmla="*/ 0 h 14"/>
                <a:gd name="T18" fmla="*/ 5 w 12"/>
                <a:gd name="T19" fmla="*/ 0 h 14"/>
                <a:gd name="T20" fmla="*/ 0 w 12"/>
                <a:gd name="T21" fmla="*/ 2 h 14"/>
                <a:gd name="T22" fmla="*/ 0 w 12"/>
                <a:gd name="T23" fmla="*/ 5 h 14"/>
                <a:gd name="T24" fmla="*/ 0 w 12"/>
                <a:gd name="T25" fmla="*/ 7 h 14"/>
                <a:gd name="T26" fmla="*/ 0 w 12"/>
                <a:gd name="T27" fmla="*/ 9 h 14"/>
                <a:gd name="T28" fmla="*/ 2 w 12"/>
                <a:gd name="T2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2" y="12"/>
                  </a:moveTo>
                  <a:lnTo>
                    <a:pt x="5" y="14"/>
                  </a:lnTo>
                  <a:lnTo>
                    <a:pt x="10" y="12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5">
              <a:extLst>
                <a:ext uri="{FF2B5EF4-FFF2-40B4-BE49-F238E27FC236}">
                  <a16:creationId xmlns:a16="http://schemas.microsoft.com/office/drawing/2014/main" id="{C20EE23E-B401-4713-A7CB-6FF0B4B23B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3" y="1318"/>
              <a:ext cx="284" cy="196"/>
            </a:xfrm>
            <a:custGeom>
              <a:avLst/>
              <a:gdLst>
                <a:gd name="T0" fmla="*/ 284 w 284"/>
                <a:gd name="T1" fmla="*/ 167 h 196"/>
                <a:gd name="T2" fmla="*/ 277 w 284"/>
                <a:gd name="T3" fmla="*/ 98 h 196"/>
                <a:gd name="T4" fmla="*/ 255 w 284"/>
                <a:gd name="T5" fmla="*/ 81 h 196"/>
                <a:gd name="T6" fmla="*/ 191 w 284"/>
                <a:gd name="T7" fmla="*/ 5 h 196"/>
                <a:gd name="T8" fmla="*/ 167 w 284"/>
                <a:gd name="T9" fmla="*/ 0 h 196"/>
                <a:gd name="T10" fmla="*/ 12 w 284"/>
                <a:gd name="T11" fmla="*/ 5 h 196"/>
                <a:gd name="T12" fmla="*/ 2 w 284"/>
                <a:gd name="T13" fmla="*/ 172 h 196"/>
                <a:gd name="T14" fmla="*/ 47 w 284"/>
                <a:gd name="T15" fmla="*/ 172 h 196"/>
                <a:gd name="T16" fmla="*/ 64 w 284"/>
                <a:gd name="T17" fmla="*/ 194 h 196"/>
                <a:gd name="T18" fmla="*/ 83 w 284"/>
                <a:gd name="T19" fmla="*/ 196 h 196"/>
                <a:gd name="T20" fmla="*/ 103 w 284"/>
                <a:gd name="T21" fmla="*/ 179 h 196"/>
                <a:gd name="T22" fmla="*/ 196 w 284"/>
                <a:gd name="T23" fmla="*/ 182 h 196"/>
                <a:gd name="T24" fmla="*/ 216 w 284"/>
                <a:gd name="T25" fmla="*/ 196 h 196"/>
                <a:gd name="T26" fmla="*/ 238 w 284"/>
                <a:gd name="T27" fmla="*/ 191 h 196"/>
                <a:gd name="T28" fmla="*/ 250 w 284"/>
                <a:gd name="T29" fmla="*/ 172 h 196"/>
                <a:gd name="T30" fmla="*/ 284 w 284"/>
                <a:gd name="T31" fmla="*/ 167 h 196"/>
                <a:gd name="T32" fmla="*/ 162 w 284"/>
                <a:gd name="T33" fmla="*/ 79 h 196"/>
                <a:gd name="T34" fmla="*/ 91 w 284"/>
                <a:gd name="T35" fmla="*/ 172 h 196"/>
                <a:gd name="T36" fmla="*/ 86 w 284"/>
                <a:gd name="T37" fmla="*/ 182 h 196"/>
                <a:gd name="T38" fmla="*/ 76 w 284"/>
                <a:gd name="T39" fmla="*/ 184 h 196"/>
                <a:gd name="T40" fmla="*/ 64 w 284"/>
                <a:gd name="T41" fmla="*/ 179 h 196"/>
                <a:gd name="T42" fmla="*/ 59 w 284"/>
                <a:gd name="T43" fmla="*/ 169 h 196"/>
                <a:gd name="T44" fmla="*/ 64 w 284"/>
                <a:gd name="T45" fmla="*/ 157 h 196"/>
                <a:gd name="T46" fmla="*/ 74 w 284"/>
                <a:gd name="T47" fmla="*/ 152 h 196"/>
                <a:gd name="T48" fmla="*/ 83 w 284"/>
                <a:gd name="T49" fmla="*/ 155 h 196"/>
                <a:gd name="T50" fmla="*/ 91 w 284"/>
                <a:gd name="T51" fmla="*/ 162 h 196"/>
                <a:gd name="T52" fmla="*/ 91 w 284"/>
                <a:gd name="T53" fmla="*/ 172 h 196"/>
                <a:gd name="T54" fmla="*/ 233 w 284"/>
                <a:gd name="T55" fmla="*/ 179 h 196"/>
                <a:gd name="T56" fmla="*/ 221 w 284"/>
                <a:gd name="T57" fmla="*/ 184 h 196"/>
                <a:gd name="T58" fmla="*/ 211 w 284"/>
                <a:gd name="T59" fmla="*/ 179 h 196"/>
                <a:gd name="T60" fmla="*/ 206 w 284"/>
                <a:gd name="T61" fmla="*/ 167 h 196"/>
                <a:gd name="T62" fmla="*/ 208 w 284"/>
                <a:gd name="T63" fmla="*/ 157 h 196"/>
                <a:gd name="T64" fmla="*/ 221 w 284"/>
                <a:gd name="T65" fmla="*/ 152 h 196"/>
                <a:gd name="T66" fmla="*/ 230 w 284"/>
                <a:gd name="T67" fmla="*/ 157 h 196"/>
                <a:gd name="T68" fmla="*/ 238 w 284"/>
                <a:gd name="T69" fmla="*/ 167 h 196"/>
                <a:gd name="T70" fmla="*/ 257 w 284"/>
                <a:gd name="T71" fmla="*/ 128 h 196"/>
                <a:gd name="T72" fmla="*/ 260 w 284"/>
                <a:gd name="T73" fmla="*/ 130 h 196"/>
                <a:gd name="T74" fmla="*/ 262 w 284"/>
                <a:gd name="T75" fmla="*/ 133 h 196"/>
                <a:gd name="T76" fmla="*/ 270 w 284"/>
                <a:gd name="T77" fmla="*/ 160 h 196"/>
                <a:gd name="T78" fmla="*/ 238 w 284"/>
                <a:gd name="T79" fmla="*/ 145 h 196"/>
                <a:gd name="T80" fmla="*/ 211 w 284"/>
                <a:gd name="T81" fmla="*/ 140 h 196"/>
                <a:gd name="T82" fmla="*/ 194 w 284"/>
                <a:gd name="T83" fmla="*/ 160 h 196"/>
                <a:gd name="T84" fmla="*/ 98 w 284"/>
                <a:gd name="T85" fmla="*/ 150 h 196"/>
                <a:gd name="T86" fmla="*/ 76 w 284"/>
                <a:gd name="T87" fmla="*/ 140 h 196"/>
                <a:gd name="T88" fmla="*/ 54 w 284"/>
                <a:gd name="T89" fmla="*/ 150 h 196"/>
                <a:gd name="T90" fmla="*/ 15 w 284"/>
                <a:gd name="T91" fmla="*/ 160 h 196"/>
                <a:gd name="T92" fmla="*/ 174 w 284"/>
                <a:gd name="T93" fmla="*/ 12 h 196"/>
                <a:gd name="T94" fmla="*/ 189 w 284"/>
                <a:gd name="T95" fmla="*/ 17 h 196"/>
                <a:gd name="T96" fmla="*/ 201 w 284"/>
                <a:gd name="T97" fmla="*/ 34 h 196"/>
                <a:gd name="T98" fmla="*/ 152 w 284"/>
                <a:gd name="T99" fmla="*/ 37 h 196"/>
                <a:gd name="T100" fmla="*/ 154 w 284"/>
                <a:gd name="T101" fmla="*/ 86 h 196"/>
                <a:gd name="T102" fmla="*/ 250 w 284"/>
                <a:gd name="T103" fmla="*/ 91 h 196"/>
                <a:gd name="T104" fmla="*/ 270 w 284"/>
                <a:gd name="T105" fmla="*/ 110 h 196"/>
                <a:gd name="T106" fmla="*/ 260 w 284"/>
                <a:gd name="T107" fmla="*/ 12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4" h="196">
                  <a:moveTo>
                    <a:pt x="284" y="167"/>
                  </a:moveTo>
                  <a:lnTo>
                    <a:pt x="284" y="167"/>
                  </a:lnTo>
                  <a:lnTo>
                    <a:pt x="284" y="167"/>
                  </a:lnTo>
                  <a:lnTo>
                    <a:pt x="284" y="115"/>
                  </a:lnTo>
                  <a:lnTo>
                    <a:pt x="282" y="106"/>
                  </a:lnTo>
                  <a:lnTo>
                    <a:pt x="277" y="98"/>
                  </a:lnTo>
                  <a:lnTo>
                    <a:pt x="272" y="91"/>
                  </a:lnTo>
                  <a:lnTo>
                    <a:pt x="265" y="86"/>
                  </a:lnTo>
                  <a:lnTo>
                    <a:pt x="255" y="81"/>
                  </a:lnTo>
                  <a:lnTo>
                    <a:pt x="250" y="76"/>
                  </a:lnTo>
                  <a:lnTo>
                    <a:pt x="204" y="15"/>
                  </a:lnTo>
                  <a:lnTo>
                    <a:pt x="191" y="5"/>
                  </a:lnTo>
                  <a:lnTo>
                    <a:pt x="18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0" y="84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5" y="172"/>
                  </a:lnTo>
                  <a:lnTo>
                    <a:pt x="7" y="172"/>
                  </a:lnTo>
                  <a:lnTo>
                    <a:pt x="47" y="172"/>
                  </a:lnTo>
                  <a:lnTo>
                    <a:pt x="49" y="182"/>
                  </a:lnTo>
                  <a:lnTo>
                    <a:pt x="56" y="189"/>
                  </a:lnTo>
                  <a:lnTo>
                    <a:pt x="64" y="194"/>
                  </a:lnTo>
                  <a:lnTo>
                    <a:pt x="71" y="196"/>
                  </a:lnTo>
                  <a:lnTo>
                    <a:pt x="76" y="196"/>
                  </a:lnTo>
                  <a:lnTo>
                    <a:pt x="83" y="196"/>
                  </a:lnTo>
                  <a:lnTo>
                    <a:pt x="93" y="191"/>
                  </a:lnTo>
                  <a:lnTo>
                    <a:pt x="98" y="186"/>
                  </a:lnTo>
                  <a:lnTo>
                    <a:pt x="103" y="179"/>
                  </a:lnTo>
                  <a:lnTo>
                    <a:pt x="105" y="174"/>
                  </a:lnTo>
                  <a:lnTo>
                    <a:pt x="191" y="174"/>
                  </a:lnTo>
                  <a:lnTo>
                    <a:pt x="196" y="182"/>
                  </a:lnTo>
                  <a:lnTo>
                    <a:pt x="201" y="189"/>
                  </a:lnTo>
                  <a:lnTo>
                    <a:pt x="208" y="194"/>
                  </a:lnTo>
                  <a:lnTo>
                    <a:pt x="216" y="196"/>
                  </a:lnTo>
                  <a:lnTo>
                    <a:pt x="223" y="196"/>
                  </a:lnTo>
                  <a:lnTo>
                    <a:pt x="230" y="196"/>
                  </a:lnTo>
                  <a:lnTo>
                    <a:pt x="238" y="191"/>
                  </a:lnTo>
                  <a:lnTo>
                    <a:pt x="245" y="186"/>
                  </a:lnTo>
                  <a:lnTo>
                    <a:pt x="248" y="179"/>
                  </a:lnTo>
                  <a:lnTo>
                    <a:pt x="250" y="172"/>
                  </a:lnTo>
                  <a:lnTo>
                    <a:pt x="280" y="172"/>
                  </a:lnTo>
                  <a:lnTo>
                    <a:pt x="282" y="169"/>
                  </a:lnTo>
                  <a:lnTo>
                    <a:pt x="284" y="167"/>
                  </a:lnTo>
                  <a:close/>
                  <a:moveTo>
                    <a:pt x="208" y="42"/>
                  </a:moveTo>
                  <a:lnTo>
                    <a:pt x="235" y="79"/>
                  </a:lnTo>
                  <a:lnTo>
                    <a:pt x="162" y="79"/>
                  </a:lnTo>
                  <a:lnTo>
                    <a:pt x="162" y="42"/>
                  </a:lnTo>
                  <a:lnTo>
                    <a:pt x="208" y="42"/>
                  </a:lnTo>
                  <a:close/>
                  <a:moveTo>
                    <a:pt x="91" y="172"/>
                  </a:moveTo>
                  <a:lnTo>
                    <a:pt x="91" y="177"/>
                  </a:lnTo>
                  <a:lnTo>
                    <a:pt x="88" y="179"/>
                  </a:lnTo>
                  <a:lnTo>
                    <a:pt x="86" y="182"/>
                  </a:lnTo>
                  <a:lnTo>
                    <a:pt x="83" y="182"/>
                  </a:lnTo>
                  <a:lnTo>
                    <a:pt x="81" y="184"/>
                  </a:lnTo>
                  <a:lnTo>
                    <a:pt x="76" y="184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4" y="179"/>
                  </a:lnTo>
                  <a:lnTo>
                    <a:pt x="61" y="177"/>
                  </a:lnTo>
                  <a:lnTo>
                    <a:pt x="61" y="174"/>
                  </a:lnTo>
                  <a:lnTo>
                    <a:pt x="59" y="169"/>
                  </a:lnTo>
                  <a:lnTo>
                    <a:pt x="61" y="164"/>
                  </a:lnTo>
                  <a:lnTo>
                    <a:pt x="61" y="160"/>
                  </a:lnTo>
                  <a:lnTo>
                    <a:pt x="64" y="157"/>
                  </a:lnTo>
                  <a:lnTo>
                    <a:pt x="66" y="155"/>
                  </a:lnTo>
                  <a:lnTo>
                    <a:pt x="71" y="152"/>
                  </a:lnTo>
                  <a:lnTo>
                    <a:pt x="74" y="152"/>
                  </a:lnTo>
                  <a:lnTo>
                    <a:pt x="76" y="152"/>
                  </a:lnTo>
                  <a:lnTo>
                    <a:pt x="78" y="152"/>
                  </a:lnTo>
                  <a:lnTo>
                    <a:pt x="83" y="155"/>
                  </a:lnTo>
                  <a:lnTo>
                    <a:pt x="86" y="157"/>
                  </a:lnTo>
                  <a:lnTo>
                    <a:pt x="88" y="160"/>
                  </a:lnTo>
                  <a:lnTo>
                    <a:pt x="91" y="162"/>
                  </a:lnTo>
                  <a:lnTo>
                    <a:pt x="91" y="167"/>
                  </a:lnTo>
                  <a:lnTo>
                    <a:pt x="91" y="169"/>
                  </a:lnTo>
                  <a:lnTo>
                    <a:pt x="91" y="172"/>
                  </a:lnTo>
                  <a:close/>
                  <a:moveTo>
                    <a:pt x="235" y="172"/>
                  </a:moveTo>
                  <a:lnTo>
                    <a:pt x="235" y="177"/>
                  </a:lnTo>
                  <a:lnTo>
                    <a:pt x="233" y="179"/>
                  </a:lnTo>
                  <a:lnTo>
                    <a:pt x="228" y="182"/>
                  </a:lnTo>
                  <a:lnTo>
                    <a:pt x="226" y="184"/>
                  </a:lnTo>
                  <a:lnTo>
                    <a:pt x="221" y="184"/>
                  </a:lnTo>
                  <a:lnTo>
                    <a:pt x="216" y="184"/>
                  </a:lnTo>
                  <a:lnTo>
                    <a:pt x="213" y="182"/>
                  </a:lnTo>
                  <a:lnTo>
                    <a:pt x="211" y="179"/>
                  </a:lnTo>
                  <a:lnTo>
                    <a:pt x="206" y="177"/>
                  </a:lnTo>
                  <a:lnTo>
                    <a:pt x="206" y="172"/>
                  </a:lnTo>
                  <a:lnTo>
                    <a:pt x="206" y="167"/>
                  </a:lnTo>
                  <a:lnTo>
                    <a:pt x="206" y="164"/>
                  </a:lnTo>
                  <a:lnTo>
                    <a:pt x="208" y="160"/>
                  </a:lnTo>
                  <a:lnTo>
                    <a:pt x="208" y="157"/>
                  </a:lnTo>
                  <a:lnTo>
                    <a:pt x="213" y="155"/>
                  </a:lnTo>
                  <a:lnTo>
                    <a:pt x="218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8" y="155"/>
                  </a:lnTo>
                  <a:lnTo>
                    <a:pt x="230" y="157"/>
                  </a:lnTo>
                  <a:lnTo>
                    <a:pt x="233" y="157"/>
                  </a:lnTo>
                  <a:lnTo>
                    <a:pt x="235" y="162"/>
                  </a:lnTo>
                  <a:lnTo>
                    <a:pt x="238" y="167"/>
                  </a:lnTo>
                  <a:lnTo>
                    <a:pt x="238" y="169"/>
                  </a:lnTo>
                  <a:lnTo>
                    <a:pt x="235" y="172"/>
                  </a:lnTo>
                  <a:close/>
                  <a:moveTo>
                    <a:pt x="257" y="128"/>
                  </a:moveTo>
                  <a:lnTo>
                    <a:pt x="257" y="130"/>
                  </a:lnTo>
                  <a:lnTo>
                    <a:pt x="257" y="130"/>
                  </a:lnTo>
                  <a:lnTo>
                    <a:pt x="260" y="130"/>
                  </a:lnTo>
                  <a:lnTo>
                    <a:pt x="260" y="133"/>
                  </a:lnTo>
                  <a:lnTo>
                    <a:pt x="262" y="133"/>
                  </a:lnTo>
                  <a:lnTo>
                    <a:pt x="262" y="133"/>
                  </a:lnTo>
                  <a:lnTo>
                    <a:pt x="262" y="133"/>
                  </a:lnTo>
                  <a:lnTo>
                    <a:pt x="270" y="133"/>
                  </a:lnTo>
                  <a:lnTo>
                    <a:pt x="270" y="160"/>
                  </a:lnTo>
                  <a:lnTo>
                    <a:pt x="250" y="160"/>
                  </a:lnTo>
                  <a:lnTo>
                    <a:pt x="243" y="150"/>
                  </a:lnTo>
                  <a:lnTo>
                    <a:pt x="238" y="145"/>
                  </a:lnTo>
                  <a:lnTo>
                    <a:pt x="230" y="140"/>
                  </a:lnTo>
                  <a:lnTo>
                    <a:pt x="223" y="140"/>
                  </a:lnTo>
                  <a:lnTo>
                    <a:pt x="211" y="140"/>
                  </a:lnTo>
                  <a:lnTo>
                    <a:pt x="204" y="145"/>
                  </a:lnTo>
                  <a:lnTo>
                    <a:pt x="196" y="152"/>
                  </a:lnTo>
                  <a:lnTo>
                    <a:pt x="194" y="160"/>
                  </a:lnTo>
                  <a:lnTo>
                    <a:pt x="191" y="162"/>
                  </a:lnTo>
                  <a:lnTo>
                    <a:pt x="105" y="162"/>
                  </a:lnTo>
                  <a:lnTo>
                    <a:pt x="98" y="150"/>
                  </a:lnTo>
                  <a:lnTo>
                    <a:pt x="93" y="145"/>
                  </a:lnTo>
                  <a:lnTo>
                    <a:pt x="83" y="140"/>
                  </a:lnTo>
                  <a:lnTo>
                    <a:pt x="76" y="140"/>
                  </a:lnTo>
                  <a:lnTo>
                    <a:pt x="66" y="140"/>
                  </a:lnTo>
                  <a:lnTo>
                    <a:pt x="59" y="145"/>
                  </a:lnTo>
                  <a:lnTo>
                    <a:pt x="54" y="150"/>
                  </a:lnTo>
                  <a:lnTo>
                    <a:pt x="49" y="157"/>
                  </a:lnTo>
                  <a:lnTo>
                    <a:pt x="47" y="160"/>
                  </a:lnTo>
                  <a:lnTo>
                    <a:pt x="15" y="160"/>
                  </a:lnTo>
                  <a:lnTo>
                    <a:pt x="15" y="84"/>
                  </a:lnTo>
                  <a:lnTo>
                    <a:pt x="25" y="12"/>
                  </a:lnTo>
                  <a:lnTo>
                    <a:pt x="174" y="12"/>
                  </a:lnTo>
                  <a:lnTo>
                    <a:pt x="179" y="15"/>
                  </a:lnTo>
                  <a:lnTo>
                    <a:pt x="184" y="15"/>
                  </a:lnTo>
                  <a:lnTo>
                    <a:pt x="189" y="17"/>
                  </a:lnTo>
                  <a:lnTo>
                    <a:pt x="191" y="22"/>
                  </a:lnTo>
                  <a:lnTo>
                    <a:pt x="199" y="30"/>
                  </a:lnTo>
                  <a:lnTo>
                    <a:pt x="201" y="34"/>
                  </a:lnTo>
                  <a:lnTo>
                    <a:pt x="154" y="34"/>
                  </a:lnTo>
                  <a:lnTo>
                    <a:pt x="154" y="37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4" y="86"/>
                  </a:lnTo>
                  <a:lnTo>
                    <a:pt x="154" y="86"/>
                  </a:lnTo>
                  <a:lnTo>
                    <a:pt x="157" y="88"/>
                  </a:lnTo>
                  <a:lnTo>
                    <a:pt x="243" y="88"/>
                  </a:lnTo>
                  <a:lnTo>
                    <a:pt x="250" y="91"/>
                  </a:lnTo>
                  <a:lnTo>
                    <a:pt x="257" y="96"/>
                  </a:lnTo>
                  <a:lnTo>
                    <a:pt x="265" y="103"/>
                  </a:lnTo>
                  <a:lnTo>
                    <a:pt x="270" y="110"/>
                  </a:lnTo>
                  <a:lnTo>
                    <a:pt x="270" y="120"/>
                  </a:lnTo>
                  <a:lnTo>
                    <a:pt x="270" y="123"/>
                  </a:lnTo>
                  <a:lnTo>
                    <a:pt x="260" y="125"/>
                  </a:lnTo>
                  <a:lnTo>
                    <a:pt x="257" y="128"/>
                  </a:lnTo>
                  <a:lnTo>
                    <a:pt x="257" y="12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6">
              <a:extLst>
                <a:ext uri="{FF2B5EF4-FFF2-40B4-BE49-F238E27FC236}">
                  <a16:creationId xmlns:a16="http://schemas.microsoft.com/office/drawing/2014/main" id="{18C141CD-5640-43CE-8E93-686A3CFD6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1397"/>
              <a:ext cx="113" cy="9"/>
            </a:xfrm>
            <a:custGeom>
              <a:avLst/>
              <a:gdLst>
                <a:gd name="T0" fmla="*/ 110 w 113"/>
                <a:gd name="T1" fmla="*/ 9 h 9"/>
                <a:gd name="T2" fmla="*/ 110 w 113"/>
                <a:gd name="T3" fmla="*/ 7 h 9"/>
                <a:gd name="T4" fmla="*/ 110 w 113"/>
                <a:gd name="T5" fmla="*/ 7 h 9"/>
                <a:gd name="T6" fmla="*/ 113 w 113"/>
                <a:gd name="T7" fmla="*/ 5 h 9"/>
                <a:gd name="T8" fmla="*/ 113 w 113"/>
                <a:gd name="T9" fmla="*/ 5 h 9"/>
                <a:gd name="T10" fmla="*/ 113 w 113"/>
                <a:gd name="T11" fmla="*/ 2 h 9"/>
                <a:gd name="T12" fmla="*/ 110 w 113"/>
                <a:gd name="T13" fmla="*/ 2 h 9"/>
                <a:gd name="T14" fmla="*/ 110 w 113"/>
                <a:gd name="T15" fmla="*/ 2 h 9"/>
                <a:gd name="T16" fmla="*/ 110 w 113"/>
                <a:gd name="T17" fmla="*/ 2 h 9"/>
                <a:gd name="T18" fmla="*/ 108 w 113"/>
                <a:gd name="T19" fmla="*/ 0 h 9"/>
                <a:gd name="T20" fmla="*/ 108 w 113"/>
                <a:gd name="T21" fmla="*/ 0 h 9"/>
                <a:gd name="T22" fmla="*/ 2 w 113"/>
                <a:gd name="T23" fmla="*/ 2 h 9"/>
                <a:gd name="T24" fmla="*/ 0 w 113"/>
                <a:gd name="T25" fmla="*/ 5 h 9"/>
                <a:gd name="T26" fmla="*/ 0 w 113"/>
                <a:gd name="T27" fmla="*/ 5 h 9"/>
                <a:gd name="T28" fmla="*/ 0 w 113"/>
                <a:gd name="T29" fmla="*/ 5 h 9"/>
                <a:gd name="T30" fmla="*/ 0 w 113"/>
                <a:gd name="T31" fmla="*/ 7 h 9"/>
                <a:gd name="T32" fmla="*/ 2 w 113"/>
                <a:gd name="T33" fmla="*/ 7 h 9"/>
                <a:gd name="T34" fmla="*/ 2 w 113"/>
                <a:gd name="T35" fmla="*/ 7 h 9"/>
                <a:gd name="T36" fmla="*/ 5 w 113"/>
                <a:gd name="T37" fmla="*/ 9 h 9"/>
                <a:gd name="T38" fmla="*/ 110 w 113"/>
                <a:gd name="T3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3" h="9">
                  <a:moveTo>
                    <a:pt x="110" y="9"/>
                  </a:moveTo>
                  <a:lnTo>
                    <a:pt x="110" y="7"/>
                  </a:lnTo>
                  <a:lnTo>
                    <a:pt x="110" y="7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9"/>
                  </a:lnTo>
                  <a:lnTo>
                    <a:pt x="110" y="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Group 109">
            <a:extLst>
              <a:ext uri="{FF2B5EF4-FFF2-40B4-BE49-F238E27FC236}">
                <a16:creationId xmlns:a16="http://schemas.microsoft.com/office/drawing/2014/main" id="{07B7A1E8-5F42-4276-BE85-B900EF1374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19" y="1551652"/>
            <a:ext cx="841375" cy="841375"/>
            <a:chOff x="3066" y="1089"/>
            <a:chExt cx="530" cy="530"/>
          </a:xfrm>
        </p:grpSpPr>
        <p:sp>
          <p:nvSpPr>
            <p:cNvPr id="124" name="AutoShape 108">
              <a:extLst>
                <a:ext uri="{FF2B5EF4-FFF2-40B4-BE49-F238E27FC236}">
                  <a16:creationId xmlns:a16="http://schemas.microsoft.com/office/drawing/2014/main" id="{1E755E5D-7160-4075-9C62-021069AB37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6" y="108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110">
              <a:extLst>
                <a:ext uri="{FF2B5EF4-FFF2-40B4-BE49-F238E27FC236}">
                  <a16:creationId xmlns:a16="http://schemas.microsoft.com/office/drawing/2014/main" id="{E5DC4B8A-4ACA-4C97-89B2-FDEE411C2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6" y="108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1">
              <a:extLst>
                <a:ext uri="{FF2B5EF4-FFF2-40B4-BE49-F238E27FC236}">
                  <a16:creationId xmlns:a16="http://schemas.microsoft.com/office/drawing/2014/main" id="{B401C179-04F0-4969-99A6-2AE5E689B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" y="110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2">
              <a:extLst>
                <a:ext uri="{FF2B5EF4-FFF2-40B4-BE49-F238E27FC236}">
                  <a16:creationId xmlns:a16="http://schemas.microsoft.com/office/drawing/2014/main" id="{2CC36A11-CDC7-4140-A220-93BEDEBE7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" y="1358"/>
              <a:ext cx="13" cy="15"/>
            </a:xfrm>
            <a:custGeom>
              <a:avLst/>
              <a:gdLst>
                <a:gd name="T0" fmla="*/ 3 w 13"/>
                <a:gd name="T1" fmla="*/ 13 h 15"/>
                <a:gd name="T2" fmla="*/ 6 w 13"/>
                <a:gd name="T3" fmla="*/ 15 h 15"/>
                <a:gd name="T4" fmla="*/ 11 w 13"/>
                <a:gd name="T5" fmla="*/ 13 h 15"/>
                <a:gd name="T6" fmla="*/ 13 w 13"/>
                <a:gd name="T7" fmla="*/ 10 h 15"/>
                <a:gd name="T8" fmla="*/ 13 w 13"/>
                <a:gd name="T9" fmla="*/ 7 h 15"/>
                <a:gd name="T10" fmla="*/ 11 w 13"/>
                <a:gd name="T11" fmla="*/ 5 h 15"/>
                <a:gd name="T12" fmla="*/ 8 w 13"/>
                <a:gd name="T13" fmla="*/ 2 h 15"/>
                <a:gd name="T14" fmla="*/ 6 w 13"/>
                <a:gd name="T15" fmla="*/ 0 h 15"/>
                <a:gd name="T16" fmla="*/ 6 w 13"/>
                <a:gd name="T17" fmla="*/ 0 h 15"/>
                <a:gd name="T18" fmla="*/ 6 w 13"/>
                <a:gd name="T19" fmla="*/ 0 h 15"/>
                <a:gd name="T20" fmla="*/ 0 w 13"/>
                <a:gd name="T21" fmla="*/ 2 h 15"/>
                <a:gd name="T22" fmla="*/ 0 w 13"/>
                <a:gd name="T23" fmla="*/ 5 h 15"/>
                <a:gd name="T24" fmla="*/ 0 w 13"/>
                <a:gd name="T25" fmla="*/ 7 h 15"/>
                <a:gd name="T26" fmla="*/ 0 w 13"/>
                <a:gd name="T27" fmla="*/ 10 h 15"/>
                <a:gd name="T28" fmla="*/ 3 w 13"/>
                <a:gd name="T2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5">
                  <a:moveTo>
                    <a:pt x="3" y="13"/>
                  </a:moveTo>
                  <a:lnTo>
                    <a:pt x="6" y="15"/>
                  </a:lnTo>
                  <a:lnTo>
                    <a:pt x="11" y="13"/>
                  </a:lnTo>
                  <a:lnTo>
                    <a:pt x="13" y="10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8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3">
              <a:extLst>
                <a:ext uri="{FF2B5EF4-FFF2-40B4-BE49-F238E27FC236}">
                  <a16:creationId xmlns:a16="http://schemas.microsoft.com/office/drawing/2014/main" id="{7971B74B-BABA-4F33-8823-03393BD47F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4" y="1253"/>
              <a:ext cx="297" cy="205"/>
            </a:xfrm>
            <a:custGeom>
              <a:avLst/>
              <a:gdLst>
                <a:gd name="T0" fmla="*/ 297 w 297"/>
                <a:gd name="T1" fmla="*/ 174 h 205"/>
                <a:gd name="T2" fmla="*/ 289 w 297"/>
                <a:gd name="T3" fmla="*/ 102 h 205"/>
                <a:gd name="T4" fmla="*/ 266 w 297"/>
                <a:gd name="T5" fmla="*/ 84 h 205"/>
                <a:gd name="T6" fmla="*/ 199 w 297"/>
                <a:gd name="T7" fmla="*/ 5 h 205"/>
                <a:gd name="T8" fmla="*/ 174 w 297"/>
                <a:gd name="T9" fmla="*/ 0 h 205"/>
                <a:gd name="T10" fmla="*/ 12 w 297"/>
                <a:gd name="T11" fmla="*/ 5 h 205"/>
                <a:gd name="T12" fmla="*/ 2 w 297"/>
                <a:gd name="T13" fmla="*/ 179 h 205"/>
                <a:gd name="T14" fmla="*/ 48 w 297"/>
                <a:gd name="T15" fmla="*/ 179 h 205"/>
                <a:gd name="T16" fmla="*/ 66 w 297"/>
                <a:gd name="T17" fmla="*/ 202 h 205"/>
                <a:gd name="T18" fmla="*/ 87 w 297"/>
                <a:gd name="T19" fmla="*/ 205 h 205"/>
                <a:gd name="T20" fmla="*/ 107 w 297"/>
                <a:gd name="T21" fmla="*/ 187 h 205"/>
                <a:gd name="T22" fmla="*/ 205 w 297"/>
                <a:gd name="T23" fmla="*/ 189 h 205"/>
                <a:gd name="T24" fmla="*/ 225 w 297"/>
                <a:gd name="T25" fmla="*/ 205 h 205"/>
                <a:gd name="T26" fmla="*/ 248 w 297"/>
                <a:gd name="T27" fmla="*/ 199 h 205"/>
                <a:gd name="T28" fmla="*/ 261 w 297"/>
                <a:gd name="T29" fmla="*/ 179 h 205"/>
                <a:gd name="T30" fmla="*/ 297 w 297"/>
                <a:gd name="T31" fmla="*/ 174 h 205"/>
                <a:gd name="T32" fmla="*/ 169 w 297"/>
                <a:gd name="T33" fmla="*/ 82 h 205"/>
                <a:gd name="T34" fmla="*/ 94 w 297"/>
                <a:gd name="T35" fmla="*/ 179 h 205"/>
                <a:gd name="T36" fmla="*/ 89 w 297"/>
                <a:gd name="T37" fmla="*/ 189 h 205"/>
                <a:gd name="T38" fmla="*/ 79 w 297"/>
                <a:gd name="T39" fmla="*/ 192 h 205"/>
                <a:gd name="T40" fmla="*/ 66 w 297"/>
                <a:gd name="T41" fmla="*/ 187 h 205"/>
                <a:gd name="T42" fmla="*/ 61 w 297"/>
                <a:gd name="T43" fmla="*/ 176 h 205"/>
                <a:gd name="T44" fmla="*/ 66 w 297"/>
                <a:gd name="T45" fmla="*/ 164 h 205"/>
                <a:gd name="T46" fmla="*/ 76 w 297"/>
                <a:gd name="T47" fmla="*/ 159 h 205"/>
                <a:gd name="T48" fmla="*/ 87 w 297"/>
                <a:gd name="T49" fmla="*/ 161 h 205"/>
                <a:gd name="T50" fmla="*/ 94 w 297"/>
                <a:gd name="T51" fmla="*/ 169 h 205"/>
                <a:gd name="T52" fmla="*/ 94 w 297"/>
                <a:gd name="T53" fmla="*/ 179 h 205"/>
                <a:gd name="T54" fmla="*/ 243 w 297"/>
                <a:gd name="T55" fmla="*/ 187 h 205"/>
                <a:gd name="T56" fmla="*/ 230 w 297"/>
                <a:gd name="T57" fmla="*/ 192 h 205"/>
                <a:gd name="T58" fmla="*/ 220 w 297"/>
                <a:gd name="T59" fmla="*/ 187 h 205"/>
                <a:gd name="T60" fmla="*/ 215 w 297"/>
                <a:gd name="T61" fmla="*/ 174 h 205"/>
                <a:gd name="T62" fmla="*/ 217 w 297"/>
                <a:gd name="T63" fmla="*/ 164 h 205"/>
                <a:gd name="T64" fmla="*/ 230 w 297"/>
                <a:gd name="T65" fmla="*/ 159 h 205"/>
                <a:gd name="T66" fmla="*/ 240 w 297"/>
                <a:gd name="T67" fmla="*/ 164 h 205"/>
                <a:gd name="T68" fmla="*/ 248 w 297"/>
                <a:gd name="T69" fmla="*/ 174 h 205"/>
                <a:gd name="T70" fmla="*/ 269 w 297"/>
                <a:gd name="T71" fmla="*/ 133 h 205"/>
                <a:gd name="T72" fmla="*/ 271 w 297"/>
                <a:gd name="T73" fmla="*/ 135 h 205"/>
                <a:gd name="T74" fmla="*/ 274 w 297"/>
                <a:gd name="T75" fmla="*/ 138 h 205"/>
                <a:gd name="T76" fmla="*/ 281 w 297"/>
                <a:gd name="T77" fmla="*/ 166 h 205"/>
                <a:gd name="T78" fmla="*/ 248 w 297"/>
                <a:gd name="T79" fmla="*/ 151 h 205"/>
                <a:gd name="T80" fmla="*/ 220 w 297"/>
                <a:gd name="T81" fmla="*/ 146 h 205"/>
                <a:gd name="T82" fmla="*/ 202 w 297"/>
                <a:gd name="T83" fmla="*/ 166 h 205"/>
                <a:gd name="T84" fmla="*/ 102 w 297"/>
                <a:gd name="T85" fmla="*/ 156 h 205"/>
                <a:gd name="T86" fmla="*/ 79 w 297"/>
                <a:gd name="T87" fmla="*/ 146 h 205"/>
                <a:gd name="T88" fmla="*/ 56 w 297"/>
                <a:gd name="T89" fmla="*/ 156 h 205"/>
                <a:gd name="T90" fmla="*/ 15 w 297"/>
                <a:gd name="T91" fmla="*/ 166 h 205"/>
                <a:gd name="T92" fmla="*/ 181 w 297"/>
                <a:gd name="T93" fmla="*/ 13 h 205"/>
                <a:gd name="T94" fmla="*/ 197 w 297"/>
                <a:gd name="T95" fmla="*/ 18 h 205"/>
                <a:gd name="T96" fmla="*/ 210 w 297"/>
                <a:gd name="T97" fmla="*/ 36 h 205"/>
                <a:gd name="T98" fmla="*/ 158 w 297"/>
                <a:gd name="T99" fmla="*/ 38 h 205"/>
                <a:gd name="T100" fmla="*/ 161 w 297"/>
                <a:gd name="T101" fmla="*/ 89 h 205"/>
                <a:gd name="T102" fmla="*/ 261 w 297"/>
                <a:gd name="T103" fmla="*/ 94 h 205"/>
                <a:gd name="T104" fmla="*/ 281 w 297"/>
                <a:gd name="T105" fmla="*/ 115 h 205"/>
                <a:gd name="T106" fmla="*/ 271 w 297"/>
                <a:gd name="T107" fmla="*/ 13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7" h="205">
                  <a:moveTo>
                    <a:pt x="297" y="174"/>
                  </a:moveTo>
                  <a:lnTo>
                    <a:pt x="297" y="174"/>
                  </a:lnTo>
                  <a:lnTo>
                    <a:pt x="297" y="174"/>
                  </a:lnTo>
                  <a:lnTo>
                    <a:pt x="297" y="120"/>
                  </a:lnTo>
                  <a:lnTo>
                    <a:pt x="294" y="110"/>
                  </a:lnTo>
                  <a:lnTo>
                    <a:pt x="289" y="102"/>
                  </a:lnTo>
                  <a:lnTo>
                    <a:pt x="284" y="94"/>
                  </a:lnTo>
                  <a:lnTo>
                    <a:pt x="276" y="89"/>
                  </a:lnTo>
                  <a:lnTo>
                    <a:pt x="266" y="84"/>
                  </a:lnTo>
                  <a:lnTo>
                    <a:pt x="261" y="79"/>
                  </a:lnTo>
                  <a:lnTo>
                    <a:pt x="212" y="15"/>
                  </a:lnTo>
                  <a:lnTo>
                    <a:pt x="199" y="5"/>
                  </a:lnTo>
                  <a:lnTo>
                    <a:pt x="189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5" y="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0" y="87"/>
                  </a:lnTo>
                  <a:lnTo>
                    <a:pt x="0" y="176"/>
                  </a:lnTo>
                  <a:lnTo>
                    <a:pt x="2" y="179"/>
                  </a:lnTo>
                  <a:lnTo>
                    <a:pt x="5" y="179"/>
                  </a:lnTo>
                  <a:lnTo>
                    <a:pt x="7" y="179"/>
                  </a:lnTo>
                  <a:lnTo>
                    <a:pt x="48" y="179"/>
                  </a:lnTo>
                  <a:lnTo>
                    <a:pt x="51" y="189"/>
                  </a:lnTo>
                  <a:lnTo>
                    <a:pt x="59" y="197"/>
                  </a:lnTo>
                  <a:lnTo>
                    <a:pt x="66" y="202"/>
                  </a:lnTo>
                  <a:lnTo>
                    <a:pt x="74" y="205"/>
                  </a:lnTo>
                  <a:lnTo>
                    <a:pt x="79" y="205"/>
                  </a:lnTo>
                  <a:lnTo>
                    <a:pt x="87" y="205"/>
                  </a:lnTo>
                  <a:lnTo>
                    <a:pt x="97" y="199"/>
                  </a:lnTo>
                  <a:lnTo>
                    <a:pt x="102" y="194"/>
                  </a:lnTo>
                  <a:lnTo>
                    <a:pt x="107" y="187"/>
                  </a:lnTo>
                  <a:lnTo>
                    <a:pt x="110" y="182"/>
                  </a:lnTo>
                  <a:lnTo>
                    <a:pt x="199" y="182"/>
                  </a:lnTo>
                  <a:lnTo>
                    <a:pt x="205" y="189"/>
                  </a:lnTo>
                  <a:lnTo>
                    <a:pt x="210" y="197"/>
                  </a:lnTo>
                  <a:lnTo>
                    <a:pt x="217" y="202"/>
                  </a:lnTo>
                  <a:lnTo>
                    <a:pt x="225" y="205"/>
                  </a:lnTo>
                  <a:lnTo>
                    <a:pt x="233" y="205"/>
                  </a:lnTo>
                  <a:lnTo>
                    <a:pt x="240" y="205"/>
                  </a:lnTo>
                  <a:lnTo>
                    <a:pt x="248" y="199"/>
                  </a:lnTo>
                  <a:lnTo>
                    <a:pt x="256" y="194"/>
                  </a:lnTo>
                  <a:lnTo>
                    <a:pt x="258" y="187"/>
                  </a:lnTo>
                  <a:lnTo>
                    <a:pt x="261" y="179"/>
                  </a:lnTo>
                  <a:lnTo>
                    <a:pt x="292" y="179"/>
                  </a:lnTo>
                  <a:lnTo>
                    <a:pt x="294" y="176"/>
                  </a:lnTo>
                  <a:lnTo>
                    <a:pt x="297" y="174"/>
                  </a:lnTo>
                  <a:close/>
                  <a:moveTo>
                    <a:pt x="217" y="43"/>
                  </a:moveTo>
                  <a:lnTo>
                    <a:pt x="245" y="82"/>
                  </a:lnTo>
                  <a:lnTo>
                    <a:pt x="169" y="82"/>
                  </a:lnTo>
                  <a:lnTo>
                    <a:pt x="169" y="43"/>
                  </a:lnTo>
                  <a:lnTo>
                    <a:pt x="217" y="43"/>
                  </a:lnTo>
                  <a:close/>
                  <a:moveTo>
                    <a:pt x="94" y="179"/>
                  </a:moveTo>
                  <a:lnTo>
                    <a:pt x="94" y="184"/>
                  </a:lnTo>
                  <a:lnTo>
                    <a:pt x="92" y="187"/>
                  </a:lnTo>
                  <a:lnTo>
                    <a:pt x="89" y="189"/>
                  </a:lnTo>
                  <a:lnTo>
                    <a:pt x="87" y="189"/>
                  </a:lnTo>
                  <a:lnTo>
                    <a:pt x="84" y="192"/>
                  </a:lnTo>
                  <a:lnTo>
                    <a:pt x="79" y="192"/>
                  </a:lnTo>
                  <a:lnTo>
                    <a:pt x="74" y="192"/>
                  </a:lnTo>
                  <a:lnTo>
                    <a:pt x="71" y="189"/>
                  </a:lnTo>
                  <a:lnTo>
                    <a:pt x="66" y="187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1" y="176"/>
                  </a:lnTo>
                  <a:lnTo>
                    <a:pt x="64" y="171"/>
                  </a:lnTo>
                  <a:lnTo>
                    <a:pt x="64" y="166"/>
                  </a:lnTo>
                  <a:lnTo>
                    <a:pt x="66" y="164"/>
                  </a:lnTo>
                  <a:lnTo>
                    <a:pt x="69" y="161"/>
                  </a:lnTo>
                  <a:lnTo>
                    <a:pt x="74" y="159"/>
                  </a:lnTo>
                  <a:lnTo>
                    <a:pt x="76" y="159"/>
                  </a:lnTo>
                  <a:lnTo>
                    <a:pt x="79" y="159"/>
                  </a:lnTo>
                  <a:lnTo>
                    <a:pt x="82" y="159"/>
                  </a:lnTo>
                  <a:lnTo>
                    <a:pt x="87" y="161"/>
                  </a:lnTo>
                  <a:lnTo>
                    <a:pt x="89" y="164"/>
                  </a:lnTo>
                  <a:lnTo>
                    <a:pt x="92" y="166"/>
                  </a:lnTo>
                  <a:lnTo>
                    <a:pt x="94" y="169"/>
                  </a:lnTo>
                  <a:lnTo>
                    <a:pt x="94" y="174"/>
                  </a:lnTo>
                  <a:lnTo>
                    <a:pt x="94" y="176"/>
                  </a:lnTo>
                  <a:lnTo>
                    <a:pt x="94" y="179"/>
                  </a:lnTo>
                  <a:close/>
                  <a:moveTo>
                    <a:pt x="245" y="179"/>
                  </a:moveTo>
                  <a:lnTo>
                    <a:pt x="245" y="184"/>
                  </a:lnTo>
                  <a:lnTo>
                    <a:pt x="243" y="187"/>
                  </a:lnTo>
                  <a:lnTo>
                    <a:pt x="238" y="189"/>
                  </a:lnTo>
                  <a:lnTo>
                    <a:pt x="235" y="192"/>
                  </a:lnTo>
                  <a:lnTo>
                    <a:pt x="230" y="192"/>
                  </a:lnTo>
                  <a:lnTo>
                    <a:pt x="225" y="192"/>
                  </a:lnTo>
                  <a:lnTo>
                    <a:pt x="222" y="189"/>
                  </a:lnTo>
                  <a:lnTo>
                    <a:pt x="220" y="187"/>
                  </a:lnTo>
                  <a:lnTo>
                    <a:pt x="215" y="184"/>
                  </a:lnTo>
                  <a:lnTo>
                    <a:pt x="215" y="179"/>
                  </a:lnTo>
                  <a:lnTo>
                    <a:pt x="215" y="174"/>
                  </a:lnTo>
                  <a:lnTo>
                    <a:pt x="215" y="171"/>
                  </a:lnTo>
                  <a:lnTo>
                    <a:pt x="217" y="166"/>
                  </a:lnTo>
                  <a:lnTo>
                    <a:pt x="217" y="164"/>
                  </a:lnTo>
                  <a:lnTo>
                    <a:pt x="222" y="161"/>
                  </a:lnTo>
                  <a:lnTo>
                    <a:pt x="228" y="159"/>
                  </a:lnTo>
                  <a:lnTo>
                    <a:pt x="230" y="159"/>
                  </a:lnTo>
                  <a:lnTo>
                    <a:pt x="233" y="159"/>
                  </a:lnTo>
                  <a:lnTo>
                    <a:pt x="238" y="161"/>
                  </a:lnTo>
                  <a:lnTo>
                    <a:pt x="240" y="164"/>
                  </a:lnTo>
                  <a:lnTo>
                    <a:pt x="243" y="164"/>
                  </a:lnTo>
                  <a:lnTo>
                    <a:pt x="245" y="169"/>
                  </a:lnTo>
                  <a:lnTo>
                    <a:pt x="248" y="174"/>
                  </a:lnTo>
                  <a:lnTo>
                    <a:pt x="248" y="176"/>
                  </a:lnTo>
                  <a:lnTo>
                    <a:pt x="245" y="179"/>
                  </a:lnTo>
                  <a:close/>
                  <a:moveTo>
                    <a:pt x="269" y="133"/>
                  </a:moveTo>
                  <a:lnTo>
                    <a:pt x="269" y="135"/>
                  </a:lnTo>
                  <a:lnTo>
                    <a:pt x="269" y="135"/>
                  </a:lnTo>
                  <a:lnTo>
                    <a:pt x="271" y="135"/>
                  </a:lnTo>
                  <a:lnTo>
                    <a:pt x="271" y="138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81" y="138"/>
                  </a:lnTo>
                  <a:lnTo>
                    <a:pt x="281" y="166"/>
                  </a:lnTo>
                  <a:lnTo>
                    <a:pt x="261" y="166"/>
                  </a:lnTo>
                  <a:lnTo>
                    <a:pt x="253" y="156"/>
                  </a:lnTo>
                  <a:lnTo>
                    <a:pt x="248" y="151"/>
                  </a:lnTo>
                  <a:lnTo>
                    <a:pt x="240" y="146"/>
                  </a:lnTo>
                  <a:lnTo>
                    <a:pt x="233" y="146"/>
                  </a:lnTo>
                  <a:lnTo>
                    <a:pt x="220" y="146"/>
                  </a:lnTo>
                  <a:lnTo>
                    <a:pt x="212" y="151"/>
                  </a:lnTo>
                  <a:lnTo>
                    <a:pt x="205" y="159"/>
                  </a:lnTo>
                  <a:lnTo>
                    <a:pt x="202" y="166"/>
                  </a:lnTo>
                  <a:lnTo>
                    <a:pt x="199" y="169"/>
                  </a:lnTo>
                  <a:lnTo>
                    <a:pt x="110" y="169"/>
                  </a:lnTo>
                  <a:lnTo>
                    <a:pt x="102" y="156"/>
                  </a:lnTo>
                  <a:lnTo>
                    <a:pt x="97" y="151"/>
                  </a:lnTo>
                  <a:lnTo>
                    <a:pt x="87" y="146"/>
                  </a:lnTo>
                  <a:lnTo>
                    <a:pt x="79" y="146"/>
                  </a:lnTo>
                  <a:lnTo>
                    <a:pt x="69" y="146"/>
                  </a:lnTo>
                  <a:lnTo>
                    <a:pt x="61" y="151"/>
                  </a:lnTo>
                  <a:lnTo>
                    <a:pt x="56" y="156"/>
                  </a:lnTo>
                  <a:lnTo>
                    <a:pt x="51" y="164"/>
                  </a:lnTo>
                  <a:lnTo>
                    <a:pt x="48" y="166"/>
                  </a:lnTo>
                  <a:lnTo>
                    <a:pt x="15" y="166"/>
                  </a:lnTo>
                  <a:lnTo>
                    <a:pt x="15" y="87"/>
                  </a:lnTo>
                  <a:lnTo>
                    <a:pt x="25" y="13"/>
                  </a:lnTo>
                  <a:lnTo>
                    <a:pt x="181" y="13"/>
                  </a:lnTo>
                  <a:lnTo>
                    <a:pt x="187" y="15"/>
                  </a:lnTo>
                  <a:lnTo>
                    <a:pt x="192" y="15"/>
                  </a:lnTo>
                  <a:lnTo>
                    <a:pt x="197" y="18"/>
                  </a:lnTo>
                  <a:lnTo>
                    <a:pt x="199" y="23"/>
                  </a:lnTo>
                  <a:lnTo>
                    <a:pt x="207" y="30"/>
                  </a:lnTo>
                  <a:lnTo>
                    <a:pt x="210" y="36"/>
                  </a:lnTo>
                  <a:lnTo>
                    <a:pt x="161" y="36"/>
                  </a:lnTo>
                  <a:lnTo>
                    <a:pt x="161" y="38"/>
                  </a:lnTo>
                  <a:lnTo>
                    <a:pt x="158" y="38"/>
                  </a:lnTo>
                  <a:lnTo>
                    <a:pt x="158" y="41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64" y="92"/>
                  </a:lnTo>
                  <a:lnTo>
                    <a:pt x="253" y="92"/>
                  </a:lnTo>
                  <a:lnTo>
                    <a:pt x="261" y="94"/>
                  </a:lnTo>
                  <a:lnTo>
                    <a:pt x="269" y="100"/>
                  </a:lnTo>
                  <a:lnTo>
                    <a:pt x="276" y="107"/>
                  </a:lnTo>
                  <a:lnTo>
                    <a:pt x="281" y="115"/>
                  </a:lnTo>
                  <a:lnTo>
                    <a:pt x="281" y="125"/>
                  </a:lnTo>
                  <a:lnTo>
                    <a:pt x="281" y="128"/>
                  </a:lnTo>
                  <a:lnTo>
                    <a:pt x="271" y="130"/>
                  </a:lnTo>
                  <a:lnTo>
                    <a:pt x="269" y="133"/>
                  </a:lnTo>
                  <a:lnTo>
                    <a:pt x="269" y="13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4">
              <a:extLst>
                <a:ext uri="{FF2B5EF4-FFF2-40B4-BE49-F238E27FC236}">
                  <a16:creationId xmlns:a16="http://schemas.microsoft.com/office/drawing/2014/main" id="{8FADB3B0-50D2-49F6-9788-A0293B13B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2" y="1335"/>
              <a:ext cx="118" cy="10"/>
            </a:xfrm>
            <a:custGeom>
              <a:avLst/>
              <a:gdLst>
                <a:gd name="T0" fmla="*/ 115 w 118"/>
                <a:gd name="T1" fmla="*/ 10 h 10"/>
                <a:gd name="T2" fmla="*/ 115 w 118"/>
                <a:gd name="T3" fmla="*/ 7 h 10"/>
                <a:gd name="T4" fmla="*/ 115 w 118"/>
                <a:gd name="T5" fmla="*/ 7 h 10"/>
                <a:gd name="T6" fmla="*/ 118 w 118"/>
                <a:gd name="T7" fmla="*/ 5 h 10"/>
                <a:gd name="T8" fmla="*/ 118 w 118"/>
                <a:gd name="T9" fmla="*/ 5 h 10"/>
                <a:gd name="T10" fmla="*/ 118 w 118"/>
                <a:gd name="T11" fmla="*/ 2 h 10"/>
                <a:gd name="T12" fmla="*/ 115 w 118"/>
                <a:gd name="T13" fmla="*/ 2 h 10"/>
                <a:gd name="T14" fmla="*/ 115 w 118"/>
                <a:gd name="T15" fmla="*/ 2 h 10"/>
                <a:gd name="T16" fmla="*/ 115 w 118"/>
                <a:gd name="T17" fmla="*/ 2 h 10"/>
                <a:gd name="T18" fmla="*/ 112 w 118"/>
                <a:gd name="T19" fmla="*/ 0 h 10"/>
                <a:gd name="T20" fmla="*/ 112 w 118"/>
                <a:gd name="T21" fmla="*/ 0 h 10"/>
                <a:gd name="T22" fmla="*/ 2 w 118"/>
                <a:gd name="T23" fmla="*/ 2 h 10"/>
                <a:gd name="T24" fmla="*/ 0 w 118"/>
                <a:gd name="T25" fmla="*/ 5 h 10"/>
                <a:gd name="T26" fmla="*/ 0 w 118"/>
                <a:gd name="T27" fmla="*/ 5 h 10"/>
                <a:gd name="T28" fmla="*/ 0 w 118"/>
                <a:gd name="T29" fmla="*/ 5 h 10"/>
                <a:gd name="T30" fmla="*/ 0 w 118"/>
                <a:gd name="T31" fmla="*/ 7 h 10"/>
                <a:gd name="T32" fmla="*/ 2 w 118"/>
                <a:gd name="T33" fmla="*/ 7 h 10"/>
                <a:gd name="T34" fmla="*/ 2 w 118"/>
                <a:gd name="T35" fmla="*/ 7 h 10"/>
                <a:gd name="T36" fmla="*/ 5 w 118"/>
                <a:gd name="T37" fmla="*/ 10 h 10"/>
                <a:gd name="T38" fmla="*/ 115 w 118"/>
                <a:gd name="T3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0">
                  <a:moveTo>
                    <a:pt x="115" y="10"/>
                  </a:moveTo>
                  <a:lnTo>
                    <a:pt x="115" y="7"/>
                  </a:lnTo>
                  <a:lnTo>
                    <a:pt x="115" y="7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18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10"/>
                  </a:lnTo>
                  <a:lnTo>
                    <a:pt x="115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4" name="Group 117">
            <a:extLst>
              <a:ext uri="{FF2B5EF4-FFF2-40B4-BE49-F238E27FC236}">
                <a16:creationId xmlns:a16="http://schemas.microsoft.com/office/drawing/2014/main" id="{8DFD0E2E-B71F-4210-8458-C637F77E6C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5165" y="1592927"/>
            <a:ext cx="758825" cy="758825"/>
            <a:chOff x="5048" y="1089"/>
            <a:chExt cx="478" cy="478"/>
          </a:xfrm>
        </p:grpSpPr>
        <p:sp>
          <p:nvSpPr>
            <p:cNvPr id="135" name="AutoShape 116">
              <a:extLst>
                <a:ext uri="{FF2B5EF4-FFF2-40B4-BE49-F238E27FC236}">
                  <a16:creationId xmlns:a16="http://schemas.microsoft.com/office/drawing/2014/main" id="{EC6D603B-55EE-41DF-9BF2-73BD79CAAB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48" y="108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8">
              <a:extLst>
                <a:ext uri="{FF2B5EF4-FFF2-40B4-BE49-F238E27FC236}">
                  <a16:creationId xmlns:a16="http://schemas.microsoft.com/office/drawing/2014/main" id="{663153D0-E9FB-4ECC-BD85-1637C1741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0" y="109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19">
              <a:extLst>
                <a:ext uri="{FF2B5EF4-FFF2-40B4-BE49-F238E27FC236}">
                  <a16:creationId xmlns:a16="http://schemas.microsoft.com/office/drawing/2014/main" id="{C216433D-7D94-4C71-8570-992ACE648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4" y="1199"/>
              <a:ext cx="309" cy="263"/>
            </a:xfrm>
            <a:custGeom>
              <a:avLst/>
              <a:gdLst>
                <a:gd name="T0" fmla="*/ 107 w 126"/>
                <a:gd name="T1" fmla="*/ 90 h 107"/>
                <a:gd name="T2" fmla="*/ 108 w 126"/>
                <a:gd name="T3" fmla="*/ 58 h 107"/>
                <a:gd name="T4" fmla="*/ 109 w 126"/>
                <a:gd name="T5" fmla="*/ 35 h 107"/>
                <a:gd name="T6" fmla="*/ 109 w 126"/>
                <a:gd name="T7" fmla="*/ 33 h 107"/>
                <a:gd name="T8" fmla="*/ 80 w 126"/>
                <a:gd name="T9" fmla="*/ 0 h 107"/>
                <a:gd name="T10" fmla="*/ 62 w 126"/>
                <a:gd name="T11" fmla="*/ 16 h 107"/>
                <a:gd name="T12" fmla="*/ 0 w 126"/>
                <a:gd name="T13" fmla="*/ 17 h 107"/>
                <a:gd name="T14" fmla="*/ 17 w 126"/>
                <a:gd name="T15" fmla="*/ 34 h 107"/>
                <a:gd name="T16" fmla="*/ 0 w 126"/>
                <a:gd name="T17" fmla="*/ 51 h 107"/>
                <a:gd name="T18" fmla="*/ 19 w 126"/>
                <a:gd name="T19" fmla="*/ 59 h 107"/>
                <a:gd name="T20" fmla="*/ 63 w 126"/>
                <a:gd name="T21" fmla="*/ 107 h 107"/>
                <a:gd name="T22" fmla="*/ 60 w 126"/>
                <a:gd name="T23" fmla="*/ 100 h 107"/>
                <a:gd name="T24" fmla="*/ 59 w 126"/>
                <a:gd name="T25" fmla="*/ 100 h 107"/>
                <a:gd name="T26" fmla="*/ 44 w 126"/>
                <a:gd name="T27" fmla="*/ 94 h 107"/>
                <a:gd name="T28" fmla="*/ 40 w 126"/>
                <a:gd name="T29" fmla="*/ 84 h 107"/>
                <a:gd name="T30" fmla="*/ 39 w 126"/>
                <a:gd name="T31" fmla="*/ 92 h 107"/>
                <a:gd name="T32" fmla="*/ 25 w 126"/>
                <a:gd name="T33" fmla="*/ 87 h 107"/>
                <a:gd name="T34" fmla="*/ 24 w 126"/>
                <a:gd name="T35" fmla="*/ 62 h 107"/>
                <a:gd name="T36" fmla="*/ 26 w 126"/>
                <a:gd name="T37" fmla="*/ 61 h 107"/>
                <a:gd name="T38" fmla="*/ 58 w 126"/>
                <a:gd name="T39" fmla="*/ 56 h 107"/>
                <a:gd name="T40" fmla="*/ 61 w 126"/>
                <a:gd name="T41" fmla="*/ 57 h 107"/>
                <a:gd name="T42" fmla="*/ 102 w 126"/>
                <a:gd name="T43" fmla="*/ 86 h 107"/>
                <a:gd name="T44" fmla="*/ 67 w 126"/>
                <a:gd name="T45" fmla="*/ 100 h 107"/>
                <a:gd name="T46" fmla="*/ 66 w 126"/>
                <a:gd name="T47" fmla="*/ 100 h 107"/>
                <a:gd name="T48" fmla="*/ 65 w 126"/>
                <a:gd name="T49" fmla="*/ 57 h 107"/>
                <a:gd name="T50" fmla="*/ 68 w 126"/>
                <a:gd name="T51" fmla="*/ 56 h 107"/>
                <a:gd name="T52" fmla="*/ 100 w 126"/>
                <a:gd name="T53" fmla="*/ 61 h 107"/>
                <a:gd name="T54" fmla="*/ 102 w 126"/>
                <a:gd name="T55" fmla="*/ 62 h 107"/>
                <a:gd name="T56" fmla="*/ 115 w 126"/>
                <a:gd name="T57" fmla="*/ 48 h 107"/>
                <a:gd name="T58" fmla="*/ 115 w 126"/>
                <a:gd name="T59" fmla="*/ 50 h 107"/>
                <a:gd name="T60" fmla="*/ 82 w 126"/>
                <a:gd name="T61" fmla="*/ 63 h 107"/>
                <a:gd name="T62" fmla="*/ 70 w 126"/>
                <a:gd name="T63" fmla="*/ 52 h 107"/>
                <a:gd name="T64" fmla="*/ 71 w 126"/>
                <a:gd name="T65" fmla="*/ 49 h 107"/>
                <a:gd name="T66" fmla="*/ 105 w 126"/>
                <a:gd name="T67" fmla="*/ 37 h 107"/>
                <a:gd name="T68" fmla="*/ 70 w 126"/>
                <a:gd name="T69" fmla="*/ 16 h 107"/>
                <a:gd name="T70" fmla="*/ 83 w 126"/>
                <a:gd name="T71" fmla="*/ 5 h 107"/>
                <a:gd name="T72" fmla="*/ 116 w 126"/>
                <a:gd name="T73" fmla="*/ 19 h 107"/>
                <a:gd name="T74" fmla="*/ 105 w 126"/>
                <a:gd name="T75" fmla="*/ 30 h 107"/>
                <a:gd name="T76" fmla="*/ 103 w 126"/>
                <a:gd name="T77" fmla="*/ 31 h 107"/>
                <a:gd name="T78" fmla="*/ 70 w 126"/>
                <a:gd name="T79" fmla="*/ 17 h 107"/>
                <a:gd name="T80" fmla="*/ 62 w 126"/>
                <a:gd name="T81" fmla="*/ 21 h 107"/>
                <a:gd name="T82" fmla="*/ 94 w 126"/>
                <a:gd name="T83" fmla="*/ 32 h 107"/>
                <a:gd name="T84" fmla="*/ 94 w 126"/>
                <a:gd name="T85" fmla="*/ 35 h 107"/>
                <a:gd name="T86" fmla="*/ 63 w 126"/>
                <a:gd name="T87" fmla="*/ 47 h 107"/>
                <a:gd name="T88" fmla="*/ 32 w 126"/>
                <a:gd name="T89" fmla="*/ 35 h 107"/>
                <a:gd name="T90" fmla="*/ 32 w 126"/>
                <a:gd name="T91" fmla="*/ 32 h 107"/>
                <a:gd name="T92" fmla="*/ 11 w 126"/>
                <a:gd name="T93" fmla="*/ 20 h 107"/>
                <a:gd name="T94" fmla="*/ 11 w 126"/>
                <a:gd name="T95" fmla="*/ 18 h 107"/>
                <a:gd name="T96" fmla="*/ 45 w 126"/>
                <a:gd name="T97" fmla="*/ 6 h 107"/>
                <a:gd name="T98" fmla="*/ 56 w 126"/>
                <a:gd name="T99" fmla="*/ 17 h 107"/>
                <a:gd name="T100" fmla="*/ 23 w 126"/>
                <a:gd name="T101" fmla="*/ 31 h 107"/>
                <a:gd name="T102" fmla="*/ 21 w 126"/>
                <a:gd name="T103" fmla="*/ 30 h 107"/>
                <a:gd name="T104" fmla="*/ 11 w 126"/>
                <a:gd name="T105" fmla="*/ 50 h 107"/>
                <a:gd name="T106" fmla="*/ 11 w 126"/>
                <a:gd name="T107" fmla="*/ 48 h 107"/>
                <a:gd name="T108" fmla="*/ 23 w 126"/>
                <a:gd name="T109" fmla="*/ 37 h 107"/>
                <a:gd name="T110" fmla="*/ 56 w 126"/>
                <a:gd name="T111" fmla="*/ 50 h 107"/>
                <a:gd name="T112" fmla="*/ 45 w 126"/>
                <a:gd name="T113" fmla="*/ 62 h 107"/>
                <a:gd name="T114" fmla="*/ 43 w 126"/>
                <a:gd name="T115" fmla="*/ 6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7">
                  <a:moveTo>
                    <a:pt x="63" y="107"/>
                  </a:moveTo>
                  <a:cubicBezTo>
                    <a:pt x="107" y="90"/>
                    <a:pt x="107" y="90"/>
                    <a:pt x="107" y="90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8"/>
                    <a:pt x="108" y="58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4"/>
                    <a:pt x="109" y="34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2" y="16"/>
                    <a:pt x="62" y="16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4"/>
                  </a:cubicBezTo>
                  <a:cubicBezTo>
                    <a:pt x="17" y="34"/>
                    <a:pt x="17" y="35"/>
                    <a:pt x="17" y="35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8"/>
                    <a:pt x="19" y="59"/>
                    <a:pt x="19" y="59"/>
                  </a:cubicBezTo>
                  <a:cubicBezTo>
                    <a:pt x="19" y="90"/>
                    <a:pt x="19" y="90"/>
                    <a:pt x="19" y="90"/>
                  </a:cubicBezTo>
                  <a:lnTo>
                    <a:pt x="63" y="107"/>
                  </a:lnTo>
                  <a:close/>
                  <a:moveTo>
                    <a:pt x="61" y="99"/>
                  </a:moveTo>
                  <a:cubicBezTo>
                    <a:pt x="61" y="99"/>
                    <a:pt x="60" y="100"/>
                    <a:pt x="60" y="100"/>
                  </a:cubicBezTo>
                  <a:cubicBezTo>
                    <a:pt x="60" y="100"/>
                    <a:pt x="59" y="100"/>
                    <a:pt x="59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4" y="94"/>
                    <a:pt x="44" y="9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2"/>
                    <a:pt x="39" y="92"/>
                  </a:cubicBezTo>
                  <a:cubicBezTo>
                    <a:pt x="39" y="92"/>
                    <a:pt x="38" y="92"/>
                    <a:pt x="38" y="9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4" y="87"/>
                    <a:pt x="24" y="86"/>
                    <a:pt x="24" y="8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9" y="55"/>
                    <a:pt x="60" y="56"/>
                  </a:cubicBezTo>
                  <a:cubicBezTo>
                    <a:pt x="60" y="56"/>
                    <a:pt x="61" y="57"/>
                    <a:pt x="61" y="57"/>
                  </a:cubicBezTo>
                  <a:lnTo>
                    <a:pt x="61" y="99"/>
                  </a:lnTo>
                  <a:close/>
                  <a:moveTo>
                    <a:pt x="102" y="86"/>
                  </a:moveTo>
                  <a:cubicBezTo>
                    <a:pt x="102" y="86"/>
                    <a:pt x="102" y="87"/>
                    <a:pt x="101" y="87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5" y="99"/>
                    <a:pt x="65" y="99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6" y="56"/>
                    <a:pt x="66" y="56"/>
                  </a:cubicBezTo>
                  <a:cubicBezTo>
                    <a:pt x="67" y="55"/>
                    <a:pt x="68" y="56"/>
                    <a:pt x="68" y="56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1" y="61"/>
                    <a:pt x="101" y="61"/>
                    <a:pt x="102" y="61"/>
                  </a:cubicBezTo>
                  <a:cubicBezTo>
                    <a:pt x="102" y="61"/>
                    <a:pt x="102" y="62"/>
                    <a:pt x="102" y="62"/>
                  </a:cubicBezTo>
                  <a:lnTo>
                    <a:pt x="102" y="86"/>
                  </a:lnTo>
                  <a:close/>
                  <a:moveTo>
                    <a:pt x="115" y="48"/>
                  </a:moveTo>
                  <a:cubicBezTo>
                    <a:pt x="116" y="48"/>
                    <a:pt x="116" y="49"/>
                    <a:pt x="116" y="49"/>
                  </a:cubicBezTo>
                  <a:cubicBezTo>
                    <a:pt x="116" y="50"/>
                    <a:pt x="115" y="50"/>
                    <a:pt x="115" y="50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0"/>
                  </a:cubicBezTo>
                  <a:cubicBezTo>
                    <a:pt x="70" y="50"/>
                    <a:pt x="70" y="49"/>
                    <a:pt x="71" y="49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4" y="37"/>
                    <a:pt x="104" y="37"/>
                    <a:pt x="105" y="37"/>
                  </a:cubicBezTo>
                  <a:lnTo>
                    <a:pt x="115" y="48"/>
                  </a:lnTo>
                  <a:close/>
                  <a:moveTo>
                    <a:pt x="70" y="16"/>
                  </a:moveTo>
                  <a:cubicBezTo>
                    <a:pt x="81" y="6"/>
                    <a:pt x="81" y="6"/>
                    <a:pt x="81" y="6"/>
                  </a:cubicBezTo>
                  <a:cubicBezTo>
                    <a:pt x="81" y="5"/>
                    <a:pt x="82" y="5"/>
                    <a:pt x="83" y="5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6" y="18"/>
                    <a:pt x="116" y="19"/>
                  </a:cubicBezTo>
                  <a:cubicBezTo>
                    <a:pt x="116" y="19"/>
                    <a:pt x="116" y="20"/>
                    <a:pt x="115" y="2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1"/>
                    <a:pt x="104" y="31"/>
                    <a:pt x="104" y="31"/>
                  </a:cubicBezTo>
                  <a:cubicBezTo>
                    <a:pt x="104" y="31"/>
                    <a:pt x="103" y="31"/>
                    <a:pt x="103" y="31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0" y="18"/>
                    <a:pt x="70" y="18"/>
                    <a:pt x="70" y="17"/>
                  </a:cubicBezTo>
                  <a:cubicBezTo>
                    <a:pt x="70" y="17"/>
                    <a:pt x="70" y="16"/>
                    <a:pt x="70" y="16"/>
                  </a:cubicBezTo>
                  <a:close/>
                  <a:moveTo>
                    <a:pt x="62" y="21"/>
                  </a:moveTo>
                  <a:cubicBezTo>
                    <a:pt x="63" y="21"/>
                    <a:pt x="63" y="21"/>
                    <a:pt x="64" y="2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3"/>
                    <a:pt x="95" y="33"/>
                    <a:pt x="95" y="34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7"/>
                    <a:pt x="63" y="47"/>
                    <a:pt x="62" y="4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5"/>
                    <a:pt x="31" y="35"/>
                    <a:pt x="31" y="34"/>
                  </a:cubicBezTo>
                  <a:cubicBezTo>
                    <a:pt x="31" y="33"/>
                    <a:pt x="31" y="33"/>
                    <a:pt x="32" y="32"/>
                  </a:cubicBezTo>
                  <a:lnTo>
                    <a:pt x="62" y="21"/>
                  </a:lnTo>
                  <a:close/>
                  <a:moveTo>
                    <a:pt x="11" y="20"/>
                  </a:moveTo>
                  <a:cubicBezTo>
                    <a:pt x="10" y="20"/>
                    <a:pt x="10" y="19"/>
                    <a:pt x="10" y="19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7"/>
                    <a:pt x="56" y="17"/>
                  </a:cubicBezTo>
                  <a:cubicBezTo>
                    <a:pt x="56" y="18"/>
                    <a:pt x="56" y="18"/>
                    <a:pt x="55" y="19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2" y="31"/>
                    <a:pt x="22" y="31"/>
                  </a:cubicBezTo>
                  <a:cubicBezTo>
                    <a:pt x="22" y="31"/>
                    <a:pt x="21" y="31"/>
                    <a:pt x="21" y="30"/>
                  </a:cubicBezTo>
                  <a:lnTo>
                    <a:pt x="11" y="20"/>
                  </a:lnTo>
                  <a:close/>
                  <a:moveTo>
                    <a:pt x="11" y="50"/>
                  </a:moveTo>
                  <a:cubicBezTo>
                    <a:pt x="11" y="50"/>
                    <a:pt x="10" y="50"/>
                    <a:pt x="10" y="49"/>
                  </a:cubicBezTo>
                  <a:cubicBezTo>
                    <a:pt x="10" y="49"/>
                    <a:pt x="10" y="48"/>
                    <a:pt x="11" y="4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2" y="37"/>
                    <a:pt x="22" y="37"/>
                    <a:pt x="23" y="37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1"/>
                    <a:pt x="56" y="51"/>
                    <a:pt x="56" y="5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3"/>
                    <a:pt x="44" y="63"/>
                    <a:pt x="44" y="63"/>
                  </a:cubicBezTo>
                  <a:cubicBezTo>
                    <a:pt x="44" y="63"/>
                    <a:pt x="44" y="63"/>
                    <a:pt x="43" y="63"/>
                  </a:cubicBezTo>
                  <a:lnTo>
                    <a:pt x="11" y="5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0">
              <a:extLst>
                <a:ext uri="{FF2B5EF4-FFF2-40B4-BE49-F238E27FC236}">
                  <a16:creationId xmlns:a16="http://schemas.microsoft.com/office/drawing/2014/main" id="{DDF74A2D-8F66-4AFB-B805-B75786A07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4" y="1199"/>
              <a:ext cx="309" cy="263"/>
            </a:xfrm>
            <a:custGeom>
              <a:avLst/>
              <a:gdLst>
                <a:gd name="T0" fmla="*/ 107 w 126"/>
                <a:gd name="T1" fmla="*/ 90 h 107"/>
                <a:gd name="T2" fmla="*/ 108 w 126"/>
                <a:gd name="T3" fmla="*/ 58 h 107"/>
                <a:gd name="T4" fmla="*/ 109 w 126"/>
                <a:gd name="T5" fmla="*/ 35 h 107"/>
                <a:gd name="T6" fmla="*/ 109 w 126"/>
                <a:gd name="T7" fmla="*/ 33 h 107"/>
                <a:gd name="T8" fmla="*/ 80 w 126"/>
                <a:gd name="T9" fmla="*/ 0 h 107"/>
                <a:gd name="T10" fmla="*/ 62 w 126"/>
                <a:gd name="T11" fmla="*/ 16 h 107"/>
                <a:gd name="T12" fmla="*/ 0 w 126"/>
                <a:gd name="T13" fmla="*/ 17 h 107"/>
                <a:gd name="T14" fmla="*/ 17 w 126"/>
                <a:gd name="T15" fmla="*/ 34 h 107"/>
                <a:gd name="T16" fmla="*/ 0 w 126"/>
                <a:gd name="T17" fmla="*/ 51 h 107"/>
                <a:gd name="T18" fmla="*/ 19 w 126"/>
                <a:gd name="T19" fmla="*/ 59 h 107"/>
                <a:gd name="T20" fmla="*/ 63 w 126"/>
                <a:gd name="T21" fmla="*/ 107 h 107"/>
                <a:gd name="T22" fmla="*/ 60 w 126"/>
                <a:gd name="T23" fmla="*/ 100 h 107"/>
                <a:gd name="T24" fmla="*/ 59 w 126"/>
                <a:gd name="T25" fmla="*/ 100 h 107"/>
                <a:gd name="T26" fmla="*/ 44 w 126"/>
                <a:gd name="T27" fmla="*/ 94 h 107"/>
                <a:gd name="T28" fmla="*/ 40 w 126"/>
                <a:gd name="T29" fmla="*/ 84 h 107"/>
                <a:gd name="T30" fmla="*/ 39 w 126"/>
                <a:gd name="T31" fmla="*/ 92 h 107"/>
                <a:gd name="T32" fmla="*/ 25 w 126"/>
                <a:gd name="T33" fmla="*/ 87 h 107"/>
                <a:gd name="T34" fmla="*/ 24 w 126"/>
                <a:gd name="T35" fmla="*/ 62 h 107"/>
                <a:gd name="T36" fmla="*/ 26 w 126"/>
                <a:gd name="T37" fmla="*/ 61 h 107"/>
                <a:gd name="T38" fmla="*/ 58 w 126"/>
                <a:gd name="T39" fmla="*/ 56 h 107"/>
                <a:gd name="T40" fmla="*/ 61 w 126"/>
                <a:gd name="T41" fmla="*/ 57 h 107"/>
                <a:gd name="T42" fmla="*/ 102 w 126"/>
                <a:gd name="T43" fmla="*/ 86 h 107"/>
                <a:gd name="T44" fmla="*/ 67 w 126"/>
                <a:gd name="T45" fmla="*/ 100 h 107"/>
                <a:gd name="T46" fmla="*/ 66 w 126"/>
                <a:gd name="T47" fmla="*/ 100 h 107"/>
                <a:gd name="T48" fmla="*/ 65 w 126"/>
                <a:gd name="T49" fmla="*/ 57 h 107"/>
                <a:gd name="T50" fmla="*/ 68 w 126"/>
                <a:gd name="T51" fmla="*/ 56 h 107"/>
                <a:gd name="T52" fmla="*/ 100 w 126"/>
                <a:gd name="T53" fmla="*/ 61 h 107"/>
                <a:gd name="T54" fmla="*/ 102 w 126"/>
                <a:gd name="T55" fmla="*/ 62 h 107"/>
                <a:gd name="T56" fmla="*/ 115 w 126"/>
                <a:gd name="T57" fmla="*/ 48 h 107"/>
                <a:gd name="T58" fmla="*/ 115 w 126"/>
                <a:gd name="T59" fmla="*/ 50 h 107"/>
                <a:gd name="T60" fmla="*/ 82 w 126"/>
                <a:gd name="T61" fmla="*/ 63 h 107"/>
                <a:gd name="T62" fmla="*/ 70 w 126"/>
                <a:gd name="T63" fmla="*/ 52 h 107"/>
                <a:gd name="T64" fmla="*/ 71 w 126"/>
                <a:gd name="T65" fmla="*/ 49 h 107"/>
                <a:gd name="T66" fmla="*/ 105 w 126"/>
                <a:gd name="T67" fmla="*/ 37 h 107"/>
                <a:gd name="T68" fmla="*/ 70 w 126"/>
                <a:gd name="T69" fmla="*/ 16 h 107"/>
                <a:gd name="T70" fmla="*/ 83 w 126"/>
                <a:gd name="T71" fmla="*/ 5 h 107"/>
                <a:gd name="T72" fmla="*/ 116 w 126"/>
                <a:gd name="T73" fmla="*/ 19 h 107"/>
                <a:gd name="T74" fmla="*/ 105 w 126"/>
                <a:gd name="T75" fmla="*/ 30 h 107"/>
                <a:gd name="T76" fmla="*/ 103 w 126"/>
                <a:gd name="T77" fmla="*/ 31 h 107"/>
                <a:gd name="T78" fmla="*/ 70 w 126"/>
                <a:gd name="T79" fmla="*/ 17 h 107"/>
                <a:gd name="T80" fmla="*/ 62 w 126"/>
                <a:gd name="T81" fmla="*/ 21 h 107"/>
                <a:gd name="T82" fmla="*/ 94 w 126"/>
                <a:gd name="T83" fmla="*/ 32 h 107"/>
                <a:gd name="T84" fmla="*/ 94 w 126"/>
                <a:gd name="T85" fmla="*/ 35 h 107"/>
                <a:gd name="T86" fmla="*/ 63 w 126"/>
                <a:gd name="T87" fmla="*/ 47 h 107"/>
                <a:gd name="T88" fmla="*/ 32 w 126"/>
                <a:gd name="T89" fmla="*/ 35 h 107"/>
                <a:gd name="T90" fmla="*/ 32 w 126"/>
                <a:gd name="T91" fmla="*/ 32 h 107"/>
                <a:gd name="T92" fmla="*/ 11 w 126"/>
                <a:gd name="T93" fmla="*/ 20 h 107"/>
                <a:gd name="T94" fmla="*/ 11 w 126"/>
                <a:gd name="T95" fmla="*/ 18 h 107"/>
                <a:gd name="T96" fmla="*/ 45 w 126"/>
                <a:gd name="T97" fmla="*/ 6 h 107"/>
                <a:gd name="T98" fmla="*/ 56 w 126"/>
                <a:gd name="T99" fmla="*/ 17 h 107"/>
                <a:gd name="T100" fmla="*/ 23 w 126"/>
                <a:gd name="T101" fmla="*/ 31 h 107"/>
                <a:gd name="T102" fmla="*/ 21 w 126"/>
                <a:gd name="T103" fmla="*/ 30 h 107"/>
                <a:gd name="T104" fmla="*/ 11 w 126"/>
                <a:gd name="T105" fmla="*/ 50 h 107"/>
                <a:gd name="T106" fmla="*/ 11 w 126"/>
                <a:gd name="T107" fmla="*/ 48 h 107"/>
                <a:gd name="T108" fmla="*/ 23 w 126"/>
                <a:gd name="T109" fmla="*/ 37 h 107"/>
                <a:gd name="T110" fmla="*/ 56 w 126"/>
                <a:gd name="T111" fmla="*/ 50 h 107"/>
                <a:gd name="T112" fmla="*/ 45 w 126"/>
                <a:gd name="T113" fmla="*/ 62 h 107"/>
                <a:gd name="T114" fmla="*/ 43 w 126"/>
                <a:gd name="T115" fmla="*/ 6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7">
                  <a:moveTo>
                    <a:pt x="63" y="107"/>
                  </a:moveTo>
                  <a:cubicBezTo>
                    <a:pt x="107" y="90"/>
                    <a:pt x="107" y="90"/>
                    <a:pt x="107" y="90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8"/>
                    <a:pt x="108" y="58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4"/>
                    <a:pt x="109" y="34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2" y="16"/>
                    <a:pt x="62" y="16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4"/>
                  </a:cubicBezTo>
                  <a:cubicBezTo>
                    <a:pt x="17" y="34"/>
                    <a:pt x="17" y="35"/>
                    <a:pt x="17" y="35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8"/>
                    <a:pt x="19" y="59"/>
                    <a:pt x="19" y="59"/>
                  </a:cubicBezTo>
                  <a:cubicBezTo>
                    <a:pt x="19" y="90"/>
                    <a:pt x="19" y="90"/>
                    <a:pt x="19" y="90"/>
                  </a:cubicBezTo>
                  <a:lnTo>
                    <a:pt x="63" y="107"/>
                  </a:lnTo>
                  <a:close/>
                  <a:moveTo>
                    <a:pt x="61" y="99"/>
                  </a:moveTo>
                  <a:cubicBezTo>
                    <a:pt x="61" y="99"/>
                    <a:pt x="60" y="100"/>
                    <a:pt x="60" y="100"/>
                  </a:cubicBezTo>
                  <a:cubicBezTo>
                    <a:pt x="60" y="100"/>
                    <a:pt x="59" y="100"/>
                    <a:pt x="59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4" y="94"/>
                    <a:pt x="44" y="9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2"/>
                    <a:pt x="39" y="92"/>
                  </a:cubicBezTo>
                  <a:cubicBezTo>
                    <a:pt x="39" y="92"/>
                    <a:pt x="38" y="92"/>
                    <a:pt x="38" y="9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4" y="87"/>
                    <a:pt x="24" y="86"/>
                    <a:pt x="24" y="8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9" y="55"/>
                    <a:pt x="60" y="56"/>
                  </a:cubicBezTo>
                  <a:cubicBezTo>
                    <a:pt x="60" y="56"/>
                    <a:pt x="61" y="57"/>
                    <a:pt x="61" y="57"/>
                  </a:cubicBezTo>
                  <a:lnTo>
                    <a:pt x="61" y="99"/>
                  </a:lnTo>
                  <a:close/>
                  <a:moveTo>
                    <a:pt x="102" y="86"/>
                  </a:moveTo>
                  <a:cubicBezTo>
                    <a:pt x="102" y="86"/>
                    <a:pt x="102" y="87"/>
                    <a:pt x="101" y="87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5" y="99"/>
                    <a:pt x="65" y="99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6" y="56"/>
                    <a:pt x="66" y="56"/>
                  </a:cubicBezTo>
                  <a:cubicBezTo>
                    <a:pt x="67" y="55"/>
                    <a:pt x="68" y="56"/>
                    <a:pt x="68" y="56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1" y="61"/>
                    <a:pt x="101" y="61"/>
                    <a:pt x="102" y="61"/>
                  </a:cubicBezTo>
                  <a:cubicBezTo>
                    <a:pt x="102" y="61"/>
                    <a:pt x="102" y="62"/>
                    <a:pt x="102" y="62"/>
                  </a:cubicBezTo>
                  <a:lnTo>
                    <a:pt x="102" y="86"/>
                  </a:lnTo>
                  <a:close/>
                  <a:moveTo>
                    <a:pt x="115" y="48"/>
                  </a:moveTo>
                  <a:cubicBezTo>
                    <a:pt x="116" y="48"/>
                    <a:pt x="116" y="49"/>
                    <a:pt x="116" y="49"/>
                  </a:cubicBezTo>
                  <a:cubicBezTo>
                    <a:pt x="116" y="50"/>
                    <a:pt x="115" y="50"/>
                    <a:pt x="115" y="50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0"/>
                  </a:cubicBezTo>
                  <a:cubicBezTo>
                    <a:pt x="70" y="50"/>
                    <a:pt x="70" y="49"/>
                    <a:pt x="71" y="49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4" y="37"/>
                    <a:pt x="104" y="37"/>
                    <a:pt x="105" y="37"/>
                  </a:cubicBezTo>
                  <a:lnTo>
                    <a:pt x="115" y="48"/>
                  </a:lnTo>
                  <a:close/>
                  <a:moveTo>
                    <a:pt x="70" y="16"/>
                  </a:moveTo>
                  <a:cubicBezTo>
                    <a:pt x="81" y="6"/>
                    <a:pt x="81" y="6"/>
                    <a:pt x="81" y="6"/>
                  </a:cubicBezTo>
                  <a:cubicBezTo>
                    <a:pt x="81" y="5"/>
                    <a:pt x="82" y="5"/>
                    <a:pt x="83" y="5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6" y="18"/>
                    <a:pt x="116" y="19"/>
                  </a:cubicBezTo>
                  <a:cubicBezTo>
                    <a:pt x="116" y="19"/>
                    <a:pt x="116" y="20"/>
                    <a:pt x="115" y="2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1"/>
                    <a:pt x="104" y="31"/>
                    <a:pt x="104" y="31"/>
                  </a:cubicBezTo>
                  <a:cubicBezTo>
                    <a:pt x="104" y="31"/>
                    <a:pt x="103" y="31"/>
                    <a:pt x="103" y="31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0" y="18"/>
                    <a:pt x="70" y="18"/>
                    <a:pt x="70" y="17"/>
                  </a:cubicBezTo>
                  <a:cubicBezTo>
                    <a:pt x="70" y="17"/>
                    <a:pt x="70" y="16"/>
                    <a:pt x="70" y="16"/>
                  </a:cubicBezTo>
                  <a:close/>
                  <a:moveTo>
                    <a:pt x="62" y="21"/>
                  </a:moveTo>
                  <a:cubicBezTo>
                    <a:pt x="63" y="21"/>
                    <a:pt x="63" y="21"/>
                    <a:pt x="64" y="2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3"/>
                    <a:pt x="95" y="33"/>
                    <a:pt x="95" y="34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7"/>
                    <a:pt x="63" y="47"/>
                    <a:pt x="62" y="4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5"/>
                    <a:pt x="31" y="35"/>
                    <a:pt x="31" y="34"/>
                  </a:cubicBezTo>
                  <a:cubicBezTo>
                    <a:pt x="31" y="33"/>
                    <a:pt x="31" y="33"/>
                    <a:pt x="32" y="32"/>
                  </a:cubicBezTo>
                  <a:lnTo>
                    <a:pt x="62" y="21"/>
                  </a:lnTo>
                  <a:close/>
                  <a:moveTo>
                    <a:pt x="11" y="20"/>
                  </a:moveTo>
                  <a:cubicBezTo>
                    <a:pt x="10" y="20"/>
                    <a:pt x="10" y="19"/>
                    <a:pt x="10" y="19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7"/>
                    <a:pt x="56" y="17"/>
                  </a:cubicBezTo>
                  <a:cubicBezTo>
                    <a:pt x="56" y="18"/>
                    <a:pt x="56" y="18"/>
                    <a:pt x="55" y="19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2" y="31"/>
                    <a:pt x="22" y="31"/>
                  </a:cubicBezTo>
                  <a:cubicBezTo>
                    <a:pt x="22" y="31"/>
                    <a:pt x="21" y="31"/>
                    <a:pt x="21" y="30"/>
                  </a:cubicBezTo>
                  <a:lnTo>
                    <a:pt x="11" y="20"/>
                  </a:lnTo>
                  <a:close/>
                  <a:moveTo>
                    <a:pt x="11" y="50"/>
                  </a:moveTo>
                  <a:cubicBezTo>
                    <a:pt x="11" y="50"/>
                    <a:pt x="10" y="50"/>
                    <a:pt x="10" y="49"/>
                  </a:cubicBezTo>
                  <a:cubicBezTo>
                    <a:pt x="10" y="49"/>
                    <a:pt x="10" y="48"/>
                    <a:pt x="11" y="4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2" y="37"/>
                    <a:pt x="22" y="37"/>
                    <a:pt x="23" y="37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1"/>
                    <a:pt x="56" y="51"/>
                    <a:pt x="56" y="5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3"/>
                    <a:pt x="44" y="63"/>
                    <a:pt x="44" y="63"/>
                  </a:cubicBezTo>
                  <a:cubicBezTo>
                    <a:pt x="44" y="63"/>
                    <a:pt x="44" y="63"/>
                    <a:pt x="43" y="63"/>
                  </a:cubicBezTo>
                  <a:lnTo>
                    <a:pt x="11" y="5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9" name="Group 123">
            <a:extLst>
              <a:ext uri="{FF2B5EF4-FFF2-40B4-BE49-F238E27FC236}">
                <a16:creationId xmlns:a16="http://schemas.microsoft.com/office/drawing/2014/main" id="{320CB40E-A0BF-4CDB-80DA-6019F393041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8215" y="1551652"/>
            <a:ext cx="841375" cy="841375"/>
            <a:chOff x="4361" y="1099"/>
            <a:chExt cx="530" cy="530"/>
          </a:xfrm>
        </p:grpSpPr>
        <p:sp>
          <p:nvSpPr>
            <p:cNvPr id="140" name="AutoShape 122">
              <a:extLst>
                <a:ext uri="{FF2B5EF4-FFF2-40B4-BE49-F238E27FC236}">
                  <a16:creationId xmlns:a16="http://schemas.microsoft.com/office/drawing/2014/main" id="{D1ED5FBD-0D5B-4910-99B3-61F1EA7BFE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1" y="109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Oval 124">
              <a:extLst>
                <a:ext uri="{FF2B5EF4-FFF2-40B4-BE49-F238E27FC236}">
                  <a16:creationId xmlns:a16="http://schemas.microsoft.com/office/drawing/2014/main" id="{A778A538-41BA-4C39-B197-6AE2B600D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1" y="109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25">
              <a:extLst>
                <a:ext uri="{FF2B5EF4-FFF2-40B4-BE49-F238E27FC236}">
                  <a16:creationId xmlns:a16="http://schemas.microsoft.com/office/drawing/2014/main" id="{73B35AC2-B034-4E1A-885C-47D79BC864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9" y="111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26">
              <a:extLst>
                <a:ext uri="{FF2B5EF4-FFF2-40B4-BE49-F238E27FC236}">
                  <a16:creationId xmlns:a16="http://schemas.microsoft.com/office/drawing/2014/main" id="{007AA84F-4F0D-4C01-B89D-CB6893756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6" y="1229"/>
              <a:ext cx="322" cy="274"/>
            </a:xfrm>
            <a:custGeom>
              <a:avLst/>
              <a:gdLst>
                <a:gd name="T0" fmla="*/ 107 w 126"/>
                <a:gd name="T1" fmla="*/ 90 h 107"/>
                <a:gd name="T2" fmla="*/ 108 w 126"/>
                <a:gd name="T3" fmla="*/ 58 h 107"/>
                <a:gd name="T4" fmla="*/ 109 w 126"/>
                <a:gd name="T5" fmla="*/ 35 h 107"/>
                <a:gd name="T6" fmla="*/ 109 w 126"/>
                <a:gd name="T7" fmla="*/ 33 h 107"/>
                <a:gd name="T8" fmla="*/ 80 w 126"/>
                <a:gd name="T9" fmla="*/ 0 h 107"/>
                <a:gd name="T10" fmla="*/ 62 w 126"/>
                <a:gd name="T11" fmla="*/ 16 h 107"/>
                <a:gd name="T12" fmla="*/ 0 w 126"/>
                <a:gd name="T13" fmla="*/ 17 h 107"/>
                <a:gd name="T14" fmla="*/ 17 w 126"/>
                <a:gd name="T15" fmla="*/ 34 h 107"/>
                <a:gd name="T16" fmla="*/ 0 w 126"/>
                <a:gd name="T17" fmla="*/ 51 h 107"/>
                <a:gd name="T18" fmla="*/ 19 w 126"/>
                <a:gd name="T19" fmla="*/ 59 h 107"/>
                <a:gd name="T20" fmla="*/ 63 w 126"/>
                <a:gd name="T21" fmla="*/ 107 h 107"/>
                <a:gd name="T22" fmla="*/ 60 w 126"/>
                <a:gd name="T23" fmla="*/ 100 h 107"/>
                <a:gd name="T24" fmla="*/ 59 w 126"/>
                <a:gd name="T25" fmla="*/ 100 h 107"/>
                <a:gd name="T26" fmla="*/ 44 w 126"/>
                <a:gd name="T27" fmla="*/ 94 h 107"/>
                <a:gd name="T28" fmla="*/ 40 w 126"/>
                <a:gd name="T29" fmla="*/ 84 h 107"/>
                <a:gd name="T30" fmla="*/ 39 w 126"/>
                <a:gd name="T31" fmla="*/ 92 h 107"/>
                <a:gd name="T32" fmla="*/ 25 w 126"/>
                <a:gd name="T33" fmla="*/ 87 h 107"/>
                <a:gd name="T34" fmla="*/ 24 w 126"/>
                <a:gd name="T35" fmla="*/ 62 h 107"/>
                <a:gd name="T36" fmla="*/ 26 w 126"/>
                <a:gd name="T37" fmla="*/ 61 h 107"/>
                <a:gd name="T38" fmla="*/ 58 w 126"/>
                <a:gd name="T39" fmla="*/ 56 h 107"/>
                <a:gd name="T40" fmla="*/ 61 w 126"/>
                <a:gd name="T41" fmla="*/ 57 h 107"/>
                <a:gd name="T42" fmla="*/ 102 w 126"/>
                <a:gd name="T43" fmla="*/ 86 h 107"/>
                <a:gd name="T44" fmla="*/ 67 w 126"/>
                <a:gd name="T45" fmla="*/ 100 h 107"/>
                <a:gd name="T46" fmla="*/ 66 w 126"/>
                <a:gd name="T47" fmla="*/ 100 h 107"/>
                <a:gd name="T48" fmla="*/ 65 w 126"/>
                <a:gd name="T49" fmla="*/ 57 h 107"/>
                <a:gd name="T50" fmla="*/ 68 w 126"/>
                <a:gd name="T51" fmla="*/ 56 h 107"/>
                <a:gd name="T52" fmla="*/ 100 w 126"/>
                <a:gd name="T53" fmla="*/ 61 h 107"/>
                <a:gd name="T54" fmla="*/ 102 w 126"/>
                <a:gd name="T55" fmla="*/ 62 h 107"/>
                <a:gd name="T56" fmla="*/ 115 w 126"/>
                <a:gd name="T57" fmla="*/ 48 h 107"/>
                <a:gd name="T58" fmla="*/ 115 w 126"/>
                <a:gd name="T59" fmla="*/ 50 h 107"/>
                <a:gd name="T60" fmla="*/ 82 w 126"/>
                <a:gd name="T61" fmla="*/ 63 h 107"/>
                <a:gd name="T62" fmla="*/ 70 w 126"/>
                <a:gd name="T63" fmla="*/ 52 h 107"/>
                <a:gd name="T64" fmla="*/ 71 w 126"/>
                <a:gd name="T65" fmla="*/ 49 h 107"/>
                <a:gd name="T66" fmla="*/ 105 w 126"/>
                <a:gd name="T67" fmla="*/ 37 h 107"/>
                <a:gd name="T68" fmla="*/ 70 w 126"/>
                <a:gd name="T69" fmla="*/ 16 h 107"/>
                <a:gd name="T70" fmla="*/ 83 w 126"/>
                <a:gd name="T71" fmla="*/ 5 h 107"/>
                <a:gd name="T72" fmla="*/ 116 w 126"/>
                <a:gd name="T73" fmla="*/ 19 h 107"/>
                <a:gd name="T74" fmla="*/ 105 w 126"/>
                <a:gd name="T75" fmla="*/ 30 h 107"/>
                <a:gd name="T76" fmla="*/ 103 w 126"/>
                <a:gd name="T77" fmla="*/ 31 h 107"/>
                <a:gd name="T78" fmla="*/ 70 w 126"/>
                <a:gd name="T79" fmla="*/ 17 h 107"/>
                <a:gd name="T80" fmla="*/ 62 w 126"/>
                <a:gd name="T81" fmla="*/ 21 h 107"/>
                <a:gd name="T82" fmla="*/ 94 w 126"/>
                <a:gd name="T83" fmla="*/ 32 h 107"/>
                <a:gd name="T84" fmla="*/ 94 w 126"/>
                <a:gd name="T85" fmla="*/ 35 h 107"/>
                <a:gd name="T86" fmla="*/ 63 w 126"/>
                <a:gd name="T87" fmla="*/ 47 h 107"/>
                <a:gd name="T88" fmla="*/ 32 w 126"/>
                <a:gd name="T89" fmla="*/ 35 h 107"/>
                <a:gd name="T90" fmla="*/ 32 w 126"/>
                <a:gd name="T91" fmla="*/ 32 h 107"/>
                <a:gd name="T92" fmla="*/ 11 w 126"/>
                <a:gd name="T93" fmla="*/ 20 h 107"/>
                <a:gd name="T94" fmla="*/ 11 w 126"/>
                <a:gd name="T95" fmla="*/ 18 h 107"/>
                <a:gd name="T96" fmla="*/ 45 w 126"/>
                <a:gd name="T97" fmla="*/ 6 h 107"/>
                <a:gd name="T98" fmla="*/ 56 w 126"/>
                <a:gd name="T99" fmla="*/ 17 h 107"/>
                <a:gd name="T100" fmla="*/ 23 w 126"/>
                <a:gd name="T101" fmla="*/ 31 h 107"/>
                <a:gd name="T102" fmla="*/ 21 w 126"/>
                <a:gd name="T103" fmla="*/ 30 h 107"/>
                <a:gd name="T104" fmla="*/ 11 w 126"/>
                <a:gd name="T105" fmla="*/ 50 h 107"/>
                <a:gd name="T106" fmla="*/ 11 w 126"/>
                <a:gd name="T107" fmla="*/ 48 h 107"/>
                <a:gd name="T108" fmla="*/ 23 w 126"/>
                <a:gd name="T109" fmla="*/ 37 h 107"/>
                <a:gd name="T110" fmla="*/ 56 w 126"/>
                <a:gd name="T111" fmla="*/ 50 h 107"/>
                <a:gd name="T112" fmla="*/ 45 w 126"/>
                <a:gd name="T113" fmla="*/ 62 h 107"/>
                <a:gd name="T114" fmla="*/ 43 w 126"/>
                <a:gd name="T115" fmla="*/ 6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7">
                  <a:moveTo>
                    <a:pt x="63" y="107"/>
                  </a:moveTo>
                  <a:cubicBezTo>
                    <a:pt x="107" y="90"/>
                    <a:pt x="107" y="90"/>
                    <a:pt x="107" y="90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8"/>
                    <a:pt x="108" y="58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4"/>
                    <a:pt x="109" y="34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2" y="16"/>
                    <a:pt x="62" y="16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4"/>
                  </a:cubicBezTo>
                  <a:cubicBezTo>
                    <a:pt x="17" y="34"/>
                    <a:pt x="17" y="35"/>
                    <a:pt x="17" y="35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8"/>
                    <a:pt x="19" y="59"/>
                    <a:pt x="19" y="59"/>
                  </a:cubicBezTo>
                  <a:cubicBezTo>
                    <a:pt x="19" y="90"/>
                    <a:pt x="19" y="90"/>
                    <a:pt x="19" y="90"/>
                  </a:cubicBezTo>
                  <a:lnTo>
                    <a:pt x="63" y="107"/>
                  </a:lnTo>
                  <a:close/>
                  <a:moveTo>
                    <a:pt x="61" y="99"/>
                  </a:moveTo>
                  <a:cubicBezTo>
                    <a:pt x="61" y="99"/>
                    <a:pt x="60" y="100"/>
                    <a:pt x="60" y="100"/>
                  </a:cubicBezTo>
                  <a:cubicBezTo>
                    <a:pt x="60" y="100"/>
                    <a:pt x="59" y="100"/>
                    <a:pt x="59" y="10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4" y="94"/>
                    <a:pt x="44" y="9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2"/>
                    <a:pt x="39" y="92"/>
                  </a:cubicBezTo>
                  <a:cubicBezTo>
                    <a:pt x="39" y="92"/>
                    <a:pt x="38" y="92"/>
                    <a:pt x="38" y="9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4" y="87"/>
                    <a:pt x="24" y="86"/>
                    <a:pt x="24" y="8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1"/>
                    <a:pt x="24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9" y="55"/>
                    <a:pt x="60" y="56"/>
                  </a:cubicBezTo>
                  <a:cubicBezTo>
                    <a:pt x="60" y="56"/>
                    <a:pt x="61" y="57"/>
                    <a:pt x="61" y="57"/>
                  </a:cubicBezTo>
                  <a:lnTo>
                    <a:pt x="61" y="99"/>
                  </a:lnTo>
                  <a:close/>
                  <a:moveTo>
                    <a:pt x="102" y="86"/>
                  </a:moveTo>
                  <a:cubicBezTo>
                    <a:pt x="102" y="86"/>
                    <a:pt x="102" y="87"/>
                    <a:pt x="101" y="87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5" y="99"/>
                    <a:pt x="65" y="99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6" y="56"/>
                    <a:pt x="66" y="56"/>
                  </a:cubicBezTo>
                  <a:cubicBezTo>
                    <a:pt x="67" y="55"/>
                    <a:pt x="68" y="56"/>
                    <a:pt x="68" y="56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1" y="61"/>
                    <a:pt x="101" y="61"/>
                    <a:pt x="102" y="61"/>
                  </a:cubicBezTo>
                  <a:cubicBezTo>
                    <a:pt x="102" y="61"/>
                    <a:pt x="102" y="62"/>
                    <a:pt x="102" y="62"/>
                  </a:cubicBezTo>
                  <a:lnTo>
                    <a:pt x="102" y="86"/>
                  </a:lnTo>
                  <a:close/>
                  <a:moveTo>
                    <a:pt x="115" y="48"/>
                  </a:moveTo>
                  <a:cubicBezTo>
                    <a:pt x="116" y="48"/>
                    <a:pt x="116" y="49"/>
                    <a:pt x="116" y="49"/>
                  </a:cubicBezTo>
                  <a:cubicBezTo>
                    <a:pt x="116" y="50"/>
                    <a:pt x="115" y="50"/>
                    <a:pt x="115" y="50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0"/>
                  </a:cubicBezTo>
                  <a:cubicBezTo>
                    <a:pt x="70" y="50"/>
                    <a:pt x="70" y="49"/>
                    <a:pt x="71" y="49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4" y="37"/>
                    <a:pt x="104" y="37"/>
                    <a:pt x="105" y="37"/>
                  </a:cubicBezTo>
                  <a:lnTo>
                    <a:pt x="115" y="48"/>
                  </a:lnTo>
                  <a:close/>
                  <a:moveTo>
                    <a:pt x="70" y="16"/>
                  </a:moveTo>
                  <a:cubicBezTo>
                    <a:pt x="81" y="6"/>
                    <a:pt x="81" y="6"/>
                    <a:pt x="81" y="6"/>
                  </a:cubicBezTo>
                  <a:cubicBezTo>
                    <a:pt x="81" y="5"/>
                    <a:pt x="82" y="5"/>
                    <a:pt x="83" y="5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6" y="18"/>
                    <a:pt x="116" y="19"/>
                  </a:cubicBezTo>
                  <a:cubicBezTo>
                    <a:pt x="116" y="19"/>
                    <a:pt x="116" y="20"/>
                    <a:pt x="115" y="2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1"/>
                    <a:pt x="104" y="31"/>
                    <a:pt x="104" y="31"/>
                  </a:cubicBezTo>
                  <a:cubicBezTo>
                    <a:pt x="104" y="31"/>
                    <a:pt x="103" y="31"/>
                    <a:pt x="103" y="31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0" y="18"/>
                    <a:pt x="70" y="18"/>
                    <a:pt x="70" y="17"/>
                  </a:cubicBezTo>
                  <a:cubicBezTo>
                    <a:pt x="70" y="17"/>
                    <a:pt x="70" y="16"/>
                    <a:pt x="70" y="16"/>
                  </a:cubicBezTo>
                  <a:close/>
                  <a:moveTo>
                    <a:pt x="62" y="21"/>
                  </a:moveTo>
                  <a:cubicBezTo>
                    <a:pt x="63" y="21"/>
                    <a:pt x="63" y="21"/>
                    <a:pt x="64" y="2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3"/>
                    <a:pt x="95" y="33"/>
                    <a:pt x="95" y="34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7"/>
                    <a:pt x="63" y="47"/>
                    <a:pt x="62" y="4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5"/>
                    <a:pt x="31" y="35"/>
                    <a:pt x="31" y="34"/>
                  </a:cubicBezTo>
                  <a:cubicBezTo>
                    <a:pt x="31" y="33"/>
                    <a:pt x="31" y="33"/>
                    <a:pt x="32" y="32"/>
                  </a:cubicBezTo>
                  <a:lnTo>
                    <a:pt x="62" y="21"/>
                  </a:lnTo>
                  <a:close/>
                  <a:moveTo>
                    <a:pt x="11" y="20"/>
                  </a:moveTo>
                  <a:cubicBezTo>
                    <a:pt x="10" y="20"/>
                    <a:pt x="10" y="19"/>
                    <a:pt x="10" y="19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7"/>
                    <a:pt x="56" y="17"/>
                  </a:cubicBezTo>
                  <a:cubicBezTo>
                    <a:pt x="56" y="18"/>
                    <a:pt x="56" y="18"/>
                    <a:pt x="55" y="19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2" y="31"/>
                    <a:pt x="22" y="31"/>
                  </a:cubicBezTo>
                  <a:cubicBezTo>
                    <a:pt x="22" y="31"/>
                    <a:pt x="21" y="31"/>
                    <a:pt x="21" y="30"/>
                  </a:cubicBezTo>
                  <a:lnTo>
                    <a:pt x="11" y="20"/>
                  </a:lnTo>
                  <a:close/>
                  <a:moveTo>
                    <a:pt x="11" y="50"/>
                  </a:moveTo>
                  <a:cubicBezTo>
                    <a:pt x="11" y="50"/>
                    <a:pt x="10" y="50"/>
                    <a:pt x="10" y="49"/>
                  </a:cubicBezTo>
                  <a:cubicBezTo>
                    <a:pt x="10" y="49"/>
                    <a:pt x="10" y="48"/>
                    <a:pt x="11" y="4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2" y="37"/>
                    <a:pt x="22" y="37"/>
                    <a:pt x="23" y="37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1"/>
                    <a:pt x="56" y="51"/>
                    <a:pt x="56" y="5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3"/>
                    <a:pt x="44" y="63"/>
                    <a:pt x="44" y="63"/>
                  </a:cubicBezTo>
                  <a:cubicBezTo>
                    <a:pt x="44" y="63"/>
                    <a:pt x="44" y="63"/>
                    <a:pt x="43" y="63"/>
                  </a:cubicBezTo>
                  <a:lnTo>
                    <a:pt x="11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29">
            <a:extLst>
              <a:ext uri="{FF2B5EF4-FFF2-40B4-BE49-F238E27FC236}">
                <a16:creationId xmlns:a16="http://schemas.microsoft.com/office/drawing/2014/main" id="{426D851D-7FC8-42D5-A5B6-599A9B9ECD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85" y="2844817"/>
            <a:ext cx="758825" cy="758825"/>
            <a:chOff x="908" y="1929"/>
            <a:chExt cx="478" cy="478"/>
          </a:xfrm>
        </p:grpSpPr>
        <p:sp>
          <p:nvSpPr>
            <p:cNvPr id="149" name="AutoShape 128">
              <a:extLst>
                <a:ext uri="{FF2B5EF4-FFF2-40B4-BE49-F238E27FC236}">
                  <a16:creationId xmlns:a16="http://schemas.microsoft.com/office/drawing/2014/main" id="{6BB33755-5959-4DE0-8A88-3C29A4A909D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08" y="1929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0">
              <a:extLst>
                <a:ext uri="{FF2B5EF4-FFF2-40B4-BE49-F238E27FC236}">
                  <a16:creationId xmlns:a16="http://schemas.microsoft.com/office/drawing/2014/main" id="{F22DE25B-A3D3-42F8-A0BF-3F16537CD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0" y="1931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1">
              <a:extLst>
                <a:ext uri="{FF2B5EF4-FFF2-40B4-BE49-F238E27FC236}">
                  <a16:creationId xmlns:a16="http://schemas.microsoft.com/office/drawing/2014/main" id="{3B7113C4-F87A-4615-B90B-655180AA6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" y="2164"/>
              <a:ext cx="24" cy="62"/>
            </a:xfrm>
            <a:custGeom>
              <a:avLst/>
              <a:gdLst>
                <a:gd name="T0" fmla="*/ 0 w 10"/>
                <a:gd name="T1" fmla="*/ 13 h 25"/>
                <a:gd name="T2" fmla="*/ 2 w 10"/>
                <a:gd name="T3" fmla="*/ 12 h 25"/>
                <a:gd name="T4" fmla="*/ 2 w 10"/>
                <a:gd name="T5" fmla="*/ 12 h 25"/>
                <a:gd name="T6" fmla="*/ 3 w 10"/>
                <a:gd name="T7" fmla="*/ 12 h 25"/>
                <a:gd name="T8" fmla="*/ 3 w 10"/>
                <a:gd name="T9" fmla="*/ 13 h 25"/>
                <a:gd name="T10" fmla="*/ 3 w 10"/>
                <a:gd name="T11" fmla="*/ 25 h 25"/>
                <a:gd name="T12" fmla="*/ 7 w 10"/>
                <a:gd name="T13" fmla="*/ 24 h 25"/>
                <a:gd name="T14" fmla="*/ 7 w 10"/>
                <a:gd name="T15" fmla="*/ 11 h 25"/>
                <a:gd name="T16" fmla="*/ 8 w 10"/>
                <a:gd name="T17" fmla="*/ 10 h 25"/>
                <a:gd name="T18" fmla="*/ 10 w 10"/>
                <a:gd name="T19" fmla="*/ 9 h 25"/>
                <a:gd name="T20" fmla="*/ 5 w 10"/>
                <a:gd name="T21" fmla="*/ 0 h 25"/>
                <a:gd name="T22" fmla="*/ 0 w 10"/>
                <a:gd name="T2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3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32">
              <a:extLst>
                <a:ext uri="{FF2B5EF4-FFF2-40B4-BE49-F238E27FC236}">
                  <a16:creationId xmlns:a16="http://schemas.microsoft.com/office/drawing/2014/main" id="{D12A26D9-5160-4787-B79E-ED68F1C13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" y="2223"/>
              <a:ext cx="64" cy="34"/>
            </a:xfrm>
            <a:custGeom>
              <a:avLst/>
              <a:gdLst>
                <a:gd name="T0" fmla="*/ 64 w 64"/>
                <a:gd name="T1" fmla="*/ 10 h 34"/>
                <a:gd name="T2" fmla="*/ 64 w 64"/>
                <a:gd name="T3" fmla="*/ 0 h 34"/>
                <a:gd name="T4" fmla="*/ 0 w 64"/>
                <a:gd name="T5" fmla="*/ 25 h 34"/>
                <a:gd name="T6" fmla="*/ 0 w 64"/>
                <a:gd name="T7" fmla="*/ 34 h 34"/>
                <a:gd name="T8" fmla="*/ 64 w 64"/>
                <a:gd name="T9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4">
                  <a:moveTo>
                    <a:pt x="64" y="10"/>
                  </a:moveTo>
                  <a:lnTo>
                    <a:pt x="64" y="0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64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3">
              <a:extLst>
                <a:ext uri="{FF2B5EF4-FFF2-40B4-BE49-F238E27FC236}">
                  <a16:creationId xmlns:a16="http://schemas.microsoft.com/office/drawing/2014/main" id="{8A012787-9C36-4A0F-A5BA-8449EF31D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" y="2027"/>
              <a:ext cx="275" cy="284"/>
            </a:xfrm>
            <a:custGeom>
              <a:avLst/>
              <a:gdLst>
                <a:gd name="T0" fmla="*/ 56 w 112"/>
                <a:gd name="T1" fmla="*/ 116 h 116"/>
                <a:gd name="T2" fmla="*/ 112 w 112"/>
                <a:gd name="T3" fmla="*/ 22 h 116"/>
                <a:gd name="T4" fmla="*/ 0 w 112"/>
                <a:gd name="T5" fmla="*/ 22 h 116"/>
                <a:gd name="T6" fmla="*/ 106 w 112"/>
                <a:gd name="T7" fmla="*/ 28 h 116"/>
                <a:gd name="T8" fmla="*/ 106 w 112"/>
                <a:gd name="T9" fmla="*/ 90 h 116"/>
                <a:gd name="T10" fmla="*/ 60 w 112"/>
                <a:gd name="T11" fmla="*/ 108 h 116"/>
                <a:gd name="T12" fmla="*/ 59 w 112"/>
                <a:gd name="T13" fmla="*/ 108 h 116"/>
                <a:gd name="T14" fmla="*/ 59 w 112"/>
                <a:gd name="T15" fmla="*/ 46 h 116"/>
                <a:gd name="T16" fmla="*/ 105 w 112"/>
                <a:gd name="T17" fmla="*/ 28 h 116"/>
                <a:gd name="T18" fmla="*/ 83 w 112"/>
                <a:gd name="T19" fmla="*/ 17 h 116"/>
                <a:gd name="T20" fmla="*/ 99 w 112"/>
                <a:gd name="T21" fmla="*/ 24 h 116"/>
                <a:gd name="T22" fmla="*/ 56 w 112"/>
                <a:gd name="T23" fmla="*/ 40 h 116"/>
                <a:gd name="T24" fmla="*/ 56 w 112"/>
                <a:gd name="T25" fmla="*/ 40 h 116"/>
                <a:gd name="T26" fmla="*/ 39 w 112"/>
                <a:gd name="T27" fmla="*/ 33 h 116"/>
                <a:gd name="T28" fmla="*/ 82 w 112"/>
                <a:gd name="T29" fmla="*/ 17 h 116"/>
                <a:gd name="T30" fmla="*/ 13 w 112"/>
                <a:gd name="T31" fmla="*/ 23 h 116"/>
                <a:gd name="T32" fmla="*/ 56 w 112"/>
                <a:gd name="T33" fmla="*/ 7 h 116"/>
                <a:gd name="T34" fmla="*/ 72 w 112"/>
                <a:gd name="T35" fmla="*/ 13 h 116"/>
                <a:gd name="T36" fmla="*/ 29 w 112"/>
                <a:gd name="T37" fmla="*/ 30 h 116"/>
                <a:gd name="T38" fmla="*/ 29 w 112"/>
                <a:gd name="T39" fmla="*/ 30 h 116"/>
                <a:gd name="T40" fmla="*/ 13 w 112"/>
                <a:gd name="T41" fmla="*/ 24 h 116"/>
                <a:gd name="T42" fmla="*/ 6 w 112"/>
                <a:gd name="T43" fmla="*/ 29 h 116"/>
                <a:gd name="T44" fmla="*/ 7 w 112"/>
                <a:gd name="T45" fmla="*/ 28 h 116"/>
                <a:gd name="T46" fmla="*/ 26 w 112"/>
                <a:gd name="T47" fmla="*/ 36 h 116"/>
                <a:gd name="T48" fmla="*/ 32 w 112"/>
                <a:gd name="T49" fmla="*/ 53 h 116"/>
                <a:gd name="T50" fmla="*/ 32 w 112"/>
                <a:gd name="T51" fmla="*/ 38 h 116"/>
                <a:gd name="T52" fmla="*/ 52 w 112"/>
                <a:gd name="T53" fmla="*/ 45 h 116"/>
                <a:gd name="T54" fmla="*/ 53 w 112"/>
                <a:gd name="T55" fmla="*/ 107 h 116"/>
                <a:gd name="T56" fmla="*/ 52 w 112"/>
                <a:gd name="T57" fmla="*/ 108 h 116"/>
                <a:gd name="T58" fmla="*/ 32 w 112"/>
                <a:gd name="T59" fmla="*/ 100 h 116"/>
                <a:gd name="T60" fmla="*/ 32 w 112"/>
                <a:gd name="T61" fmla="*/ 91 h 116"/>
                <a:gd name="T62" fmla="*/ 26 w 112"/>
                <a:gd name="T63" fmla="*/ 97 h 116"/>
                <a:gd name="T64" fmla="*/ 24 w 112"/>
                <a:gd name="T65" fmla="*/ 98 h 116"/>
                <a:gd name="T66" fmla="*/ 6 w 112"/>
                <a:gd name="T67" fmla="*/ 9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2" h="116">
                  <a:moveTo>
                    <a:pt x="0" y="94"/>
                  </a:moveTo>
                  <a:cubicBezTo>
                    <a:pt x="56" y="116"/>
                    <a:pt x="56" y="116"/>
                    <a:pt x="56" y="116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94"/>
                  </a:lnTo>
                  <a:close/>
                  <a:moveTo>
                    <a:pt x="106" y="28"/>
                  </a:moveTo>
                  <a:cubicBezTo>
                    <a:pt x="106" y="28"/>
                    <a:pt x="106" y="29"/>
                    <a:pt x="106" y="29"/>
                  </a:cubicBezTo>
                  <a:cubicBezTo>
                    <a:pt x="106" y="90"/>
                    <a:pt x="106" y="90"/>
                    <a:pt x="106" y="90"/>
                  </a:cubicBezTo>
                  <a:cubicBezTo>
                    <a:pt x="106" y="90"/>
                    <a:pt x="106" y="91"/>
                    <a:pt x="106" y="91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59" y="108"/>
                  </a:cubicBezTo>
                  <a:cubicBezTo>
                    <a:pt x="59" y="108"/>
                    <a:pt x="59" y="107"/>
                    <a:pt x="59" y="10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5"/>
                    <a:pt x="60" y="4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28"/>
                    <a:pt x="106" y="28"/>
                    <a:pt x="106" y="28"/>
                  </a:cubicBezTo>
                  <a:close/>
                  <a:moveTo>
                    <a:pt x="83" y="17"/>
                  </a:moveTo>
                  <a:cubicBezTo>
                    <a:pt x="99" y="23"/>
                    <a:pt x="99" y="23"/>
                    <a:pt x="99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3"/>
                    <a:pt x="39" y="33"/>
                    <a:pt x="40" y="32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3" y="17"/>
                  </a:cubicBezTo>
                  <a:close/>
                  <a:moveTo>
                    <a:pt x="13" y="23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3"/>
                    <a:pt x="13" y="23"/>
                    <a:pt x="13" y="23"/>
                  </a:cubicBezTo>
                  <a:close/>
                  <a:moveTo>
                    <a:pt x="6" y="29"/>
                  </a:moveTo>
                  <a:cubicBezTo>
                    <a:pt x="6" y="29"/>
                    <a:pt x="6" y="28"/>
                    <a:pt x="6" y="28"/>
                  </a:cubicBezTo>
                  <a:cubicBezTo>
                    <a:pt x="6" y="28"/>
                    <a:pt x="7" y="28"/>
                    <a:pt x="7" y="28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6" y="36"/>
                    <a:pt x="26" y="36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8"/>
                    <a:pt x="32" y="38"/>
                  </a:cubicBezTo>
                  <a:cubicBezTo>
                    <a:pt x="32" y="38"/>
                    <a:pt x="33" y="38"/>
                    <a:pt x="33" y="3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3" y="45"/>
                    <a:pt x="53" y="46"/>
                    <a:pt x="53" y="4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8"/>
                    <a:pt x="53" y="108"/>
                  </a:cubicBezTo>
                  <a:cubicBezTo>
                    <a:pt x="53" y="108"/>
                    <a:pt x="52" y="108"/>
                    <a:pt x="52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6" y="97"/>
                    <a:pt x="26" y="97"/>
                    <a:pt x="25" y="97"/>
                  </a:cubicBezTo>
                  <a:cubicBezTo>
                    <a:pt x="25" y="98"/>
                    <a:pt x="25" y="98"/>
                    <a:pt x="24" y="98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0"/>
                    <a:pt x="6" y="90"/>
                  </a:cubicBezTo>
                  <a:lnTo>
                    <a:pt x="6" y="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4">
              <a:extLst>
                <a:ext uri="{FF2B5EF4-FFF2-40B4-BE49-F238E27FC236}">
                  <a16:creationId xmlns:a16="http://schemas.microsoft.com/office/drawing/2014/main" id="{531434C0-2991-4ABB-89BE-53EBB7B26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" y="2152"/>
              <a:ext cx="24" cy="61"/>
            </a:xfrm>
            <a:custGeom>
              <a:avLst/>
              <a:gdLst>
                <a:gd name="T0" fmla="*/ 0 w 10"/>
                <a:gd name="T1" fmla="*/ 12 h 25"/>
                <a:gd name="T2" fmla="*/ 2 w 10"/>
                <a:gd name="T3" fmla="*/ 11 h 25"/>
                <a:gd name="T4" fmla="*/ 2 w 10"/>
                <a:gd name="T5" fmla="*/ 11 h 25"/>
                <a:gd name="T6" fmla="*/ 3 w 10"/>
                <a:gd name="T7" fmla="*/ 12 h 25"/>
                <a:gd name="T8" fmla="*/ 3 w 10"/>
                <a:gd name="T9" fmla="*/ 12 h 25"/>
                <a:gd name="T10" fmla="*/ 3 w 10"/>
                <a:gd name="T11" fmla="*/ 25 h 25"/>
                <a:gd name="T12" fmla="*/ 7 w 10"/>
                <a:gd name="T13" fmla="*/ 23 h 25"/>
                <a:gd name="T14" fmla="*/ 7 w 10"/>
                <a:gd name="T15" fmla="*/ 10 h 25"/>
                <a:gd name="T16" fmla="*/ 8 w 10"/>
                <a:gd name="T17" fmla="*/ 9 h 25"/>
                <a:gd name="T18" fmla="*/ 10 w 10"/>
                <a:gd name="T19" fmla="*/ 8 h 25"/>
                <a:gd name="T20" fmla="*/ 5 w 10"/>
                <a:gd name="T21" fmla="*/ 0 h 25"/>
                <a:gd name="T22" fmla="*/ 0 w 10"/>
                <a:gd name="T2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35">
              <a:extLst>
                <a:ext uri="{FF2B5EF4-FFF2-40B4-BE49-F238E27FC236}">
                  <a16:creationId xmlns:a16="http://schemas.microsoft.com/office/drawing/2014/main" id="{C7DD2972-5418-4CE6-A520-5600A8D0C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" y="2164"/>
              <a:ext cx="24" cy="62"/>
            </a:xfrm>
            <a:custGeom>
              <a:avLst/>
              <a:gdLst>
                <a:gd name="T0" fmla="*/ 0 w 10"/>
                <a:gd name="T1" fmla="*/ 13 h 25"/>
                <a:gd name="T2" fmla="*/ 2 w 10"/>
                <a:gd name="T3" fmla="*/ 12 h 25"/>
                <a:gd name="T4" fmla="*/ 2 w 10"/>
                <a:gd name="T5" fmla="*/ 12 h 25"/>
                <a:gd name="T6" fmla="*/ 3 w 10"/>
                <a:gd name="T7" fmla="*/ 12 h 25"/>
                <a:gd name="T8" fmla="*/ 3 w 10"/>
                <a:gd name="T9" fmla="*/ 13 h 25"/>
                <a:gd name="T10" fmla="*/ 3 w 10"/>
                <a:gd name="T11" fmla="*/ 25 h 25"/>
                <a:gd name="T12" fmla="*/ 7 w 10"/>
                <a:gd name="T13" fmla="*/ 24 h 25"/>
                <a:gd name="T14" fmla="*/ 7 w 10"/>
                <a:gd name="T15" fmla="*/ 11 h 25"/>
                <a:gd name="T16" fmla="*/ 8 w 10"/>
                <a:gd name="T17" fmla="*/ 10 h 25"/>
                <a:gd name="T18" fmla="*/ 10 w 10"/>
                <a:gd name="T19" fmla="*/ 9 h 25"/>
                <a:gd name="T20" fmla="*/ 5 w 10"/>
                <a:gd name="T21" fmla="*/ 0 h 25"/>
                <a:gd name="T22" fmla="*/ 0 w 10"/>
                <a:gd name="T2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3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36">
              <a:extLst>
                <a:ext uri="{FF2B5EF4-FFF2-40B4-BE49-F238E27FC236}">
                  <a16:creationId xmlns:a16="http://schemas.microsoft.com/office/drawing/2014/main" id="{A50E1FC9-5733-4F9C-B193-CC45A742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" y="2223"/>
              <a:ext cx="64" cy="34"/>
            </a:xfrm>
            <a:custGeom>
              <a:avLst/>
              <a:gdLst>
                <a:gd name="T0" fmla="*/ 64 w 64"/>
                <a:gd name="T1" fmla="*/ 10 h 34"/>
                <a:gd name="T2" fmla="*/ 64 w 64"/>
                <a:gd name="T3" fmla="*/ 0 h 34"/>
                <a:gd name="T4" fmla="*/ 0 w 64"/>
                <a:gd name="T5" fmla="*/ 25 h 34"/>
                <a:gd name="T6" fmla="*/ 0 w 64"/>
                <a:gd name="T7" fmla="*/ 34 h 34"/>
                <a:gd name="T8" fmla="*/ 64 w 64"/>
                <a:gd name="T9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4">
                  <a:moveTo>
                    <a:pt x="64" y="10"/>
                  </a:moveTo>
                  <a:lnTo>
                    <a:pt x="64" y="0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64" y="1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7">
              <a:extLst>
                <a:ext uri="{FF2B5EF4-FFF2-40B4-BE49-F238E27FC236}">
                  <a16:creationId xmlns:a16="http://schemas.microsoft.com/office/drawing/2014/main" id="{A47C37E6-1EA8-4DEA-8B7D-F322B04051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" y="2027"/>
              <a:ext cx="275" cy="284"/>
            </a:xfrm>
            <a:custGeom>
              <a:avLst/>
              <a:gdLst>
                <a:gd name="T0" fmla="*/ 56 w 112"/>
                <a:gd name="T1" fmla="*/ 116 h 116"/>
                <a:gd name="T2" fmla="*/ 112 w 112"/>
                <a:gd name="T3" fmla="*/ 22 h 116"/>
                <a:gd name="T4" fmla="*/ 0 w 112"/>
                <a:gd name="T5" fmla="*/ 22 h 116"/>
                <a:gd name="T6" fmla="*/ 106 w 112"/>
                <a:gd name="T7" fmla="*/ 28 h 116"/>
                <a:gd name="T8" fmla="*/ 106 w 112"/>
                <a:gd name="T9" fmla="*/ 90 h 116"/>
                <a:gd name="T10" fmla="*/ 60 w 112"/>
                <a:gd name="T11" fmla="*/ 108 h 116"/>
                <a:gd name="T12" fmla="*/ 59 w 112"/>
                <a:gd name="T13" fmla="*/ 108 h 116"/>
                <a:gd name="T14" fmla="*/ 59 w 112"/>
                <a:gd name="T15" fmla="*/ 46 h 116"/>
                <a:gd name="T16" fmla="*/ 105 w 112"/>
                <a:gd name="T17" fmla="*/ 28 h 116"/>
                <a:gd name="T18" fmla="*/ 83 w 112"/>
                <a:gd name="T19" fmla="*/ 17 h 116"/>
                <a:gd name="T20" fmla="*/ 99 w 112"/>
                <a:gd name="T21" fmla="*/ 24 h 116"/>
                <a:gd name="T22" fmla="*/ 56 w 112"/>
                <a:gd name="T23" fmla="*/ 40 h 116"/>
                <a:gd name="T24" fmla="*/ 56 w 112"/>
                <a:gd name="T25" fmla="*/ 40 h 116"/>
                <a:gd name="T26" fmla="*/ 39 w 112"/>
                <a:gd name="T27" fmla="*/ 33 h 116"/>
                <a:gd name="T28" fmla="*/ 82 w 112"/>
                <a:gd name="T29" fmla="*/ 17 h 116"/>
                <a:gd name="T30" fmla="*/ 13 w 112"/>
                <a:gd name="T31" fmla="*/ 23 h 116"/>
                <a:gd name="T32" fmla="*/ 56 w 112"/>
                <a:gd name="T33" fmla="*/ 7 h 116"/>
                <a:gd name="T34" fmla="*/ 72 w 112"/>
                <a:gd name="T35" fmla="*/ 13 h 116"/>
                <a:gd name="T36" fmla="*/ 29 w 112"/>
                <a:gd name="T37" fmla="*/ 30 h 116"/>
                <a:gd name="T38" fmla="*/ 29 w 112"/>
                <a:gd name="T39" fmla="*/ 30 h 116"/>
                <a:gd name="T40" fmla="*/ 13 w 112"/>
                <a:gd name="T41" fmla="*/ 24 h 116"/>
                <a:gd name="T42" fmla="*/ 6 w 112"/>
                <a:gd name="T43" fmla="*/ 29 h 116"/>
                <a:gd name="T44" fmla="*/ 7 w 112"/>
                <a:gd name="T45" fmla="*/ 28 h 116"/>
                <a:gd name="T46" fmla="*/ 26 w 112"/>
                <a:gd name="T47" fmla="*/ 36 h 116"/>
                <a:gd name="T48" fmla="*/ 32 w 112"/>
                <a:gd name="T49" fmla="*/ 53 h 116"/>
                <a:gd name="T50" fmla="*/ 32 w 112"/>
                <a:gd name="T51" fmla="*/ 38 h 116"/>
                <a:gd name="T52" fmla="*/ 52 w 112"/>
                <a:gd name="T53" fmla="*/ 45 h 116"/>
                <a:gd name="T54" fmla="*/ 53 w 112"/>
                <a:gd name="T55" fmla="*/ 107 h 116"/>
                <a:gd name="T56" fmla="*/ 52 w 112"/>
                <a:gd name="T57" fmla="*/ 108 h 116"/>
                <a:gd name="T58" fmla="*/ 32 w 112"/>
                <a:gd name="T59" fmla="*/ 100 h 116"/>
                <a:gd name="T60" fmla="*/ 32 w 112"/>
                <a:gd name="T61" fmla="*/ 91 h 116"/>
                <a:gd name="T62" fmla="*/ 26 w 112"/>
                <a:gd name="T63" fmla="*/ 97 h 116"/>
                <a:gd name="T64" fmla="*/ 24 w 112"/>
                <a:gd name="T65" fmla="*/ 98 h 116"/>
                <a:gd name="T66" fmla="*/ 6 w 112"/>
                <a:gd name="T67" fmla="*/ 9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2" h="116">
                  <a:moveTo>
                    <a:pt x="0" y="94"/>
                  </a:moveTo>
                  <a:cubicBezTo>
                    <a:pt x="56" y="116"/>
                    <a:pt x="56" y="116"/>
                    <a:pt x="56" y="116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94"/>
                  </a:lnTo>
                  <a:close/>
                  <a:moveTo>
                    <a:pt x="106" y="28"/>
                  </a:moveTo>
                  <a:cubicBezTo>
                    <a:pt x="106" y="28"/>
                    <a:pt x="106" y="29"/>
                    <a:pt x="106" y="29"/>
                  </a:cubicBezTo>
                  <a:cubicBezTo>
                    <a:pt x="106" y="90"/>
                    <a:pt x="106" y="90"/>
                    <a:pt x="106" y="90"/>
                  </a:cubicBezTo>
                  <a:cubicBezTo>
                    <a:pt x="106" y="90"/>
                    <a:pt x="106" y="91"/>
                    <a:pt x="106" y="91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59" y="108"/>
                  </a:cubicBezTo>
                  <a:cubicBezTo>
                    <a:pt x="59" y="108"/>
                    <a:pt x="59" y="107"/>
                    <a:pt x="59" y="10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5"/>
                    <a:pt x="60" y="4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28"/>
                    <a:pt x="106" y="28"/>
                    <a:pt x="106" y="28"/>
                  </a:cubicBezTo>
                  <a:close/>
                  <a:moveTo>
                    <a:pt x="83" y="17"/>
                  </a:moveTo>
                  <a:cubicBezTo>
                    <a:pt x="99" y="23"/>
                    <a:pt x="99" y="23"/>
                    <a:pt x="99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3"/>
                    <a:pt x="39" y="33"/>
                    <a:pt x="40" y="32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3" y="17"/>
                  </a:cubicBezTo>
                  <a:close/>
                  <a:moveTo>
                    <a:pt x="13" y="23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3"/>
                    <a:pt x="13" y="23"/>
                    <a:pt x="13" y="23"/>
                  </a:cubicBezTo>
                  <a:close/>
                  <a:moveTo>
                    <a:pt x="6" y="29"/>
                  </a:moveTo>
                  <a:cubicBezTo>
                    <a:pt x="6" y="29"/>
                    <a:pt x="6" y="28"/>
                    <a:pt x="6" y="28"/>
                  </a:cubicBezTo>
                  <a:cubicBezTo>
                    <a:pt x="6" y="28"/>
                    <a:pt x="7" y="28"/>
                    <a:pt x="7" y="28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6" y="36"/>
                    <a:pt x="26" y="36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8"/>
                    <a:pt x="32" y="38"/>
                  </a:cubicBezTo>
                  <a:cubicBezTo>
                    <a:pt x="32" y="38"/>
                    <a:pt x="33" y="38"/>
                    <a:pt x="33" y="3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3" y="45"/>
                    <a:pt x="53" y="46"/>
                    <a:pt x="53" y="4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8"/>
                    <a:pt x="53" y="108"/>
                  </a:cubicBezTo>
                  <a:cubicBezTo>
                    <a:pt x="53" y="108"/>
                    <a:pt x="52" y="108"/>
                    <a:pt x="52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6" y="97"/>
                    <a:pt x="26" y="97"/>
                    <a:pt x="25" y="97"/>
                  </a:cubicBezTo>
                  <a:cubicBezTo>
                    <a:pt x="25" y="98"/>
                    <a:pt x="25" y="98"/>
                    <a:pt x="24" y="98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0"/>
                    <a:pt x="6" y="90"/>
                  </a:cubicBezTo>
                  <a:lnTo>
                    <a:pt x="6" y="2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8">
              <a:extLst>
                <a:ext uri="{FF2B5EF4-FFF2-40B4-BE49-F238E27FC236}">
                  <a16:creationId xmlns:a16="http://schemas.microsoft.com/office/drawing/2014/main" id="{D6E1F25D-EC07-4A61-8C1B-0EB966889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" y="2152"/>
              <a:ext cx="24" cy="61"/>
            </a:xfrm>
            <a:custGeom>
              <a:avLst/>
              <a:gdLst>
                <a:gd name="T0" fmla="*/ 0 w 10"/>
                <a:gd name="T1" fmla="*/ 12 h 25"/>
                <a:gd name="T2" fmla="*/ 2 w 10"/>
                <a:gd name="T3" fmla="*/ 11 h 25"/>
                <a:gd name="T4" fmla="*/ 2 w 10"/>
                <a:gd name="T5" fmla="*/ 11 h 25"/>
                <a:gd name="T6" fmla="*/ 3 w 10"/>
                <a:gd name="T7" fmla="*/ 12 h 25"/>
                <a:gd name="T8" fmla="*/ 3 w 10"/>
                <a:gd name="T9" fmla="*/ 12 h 25"/>
                <a:gd name="T10" fmla="*/ 3 w 10"/>
                <a:gd name="T11" fmla="*/ 25 h 25"/>
                <a:gd name="T12" fmla="*/ 7 w 10"/>
                <a:gd name="T13" fmla="*/ 23 h 25"/>
                <a:gd name="T14" fmla="*/ 7 w 10"/>
                <a:gd name="T15" fmla="*/ 10 h 25"/>
                <a:gd name="T16" fmla="*/ 8 w 10"/>
                <a:gd name="T17" fmla="*/ 9 h 25"/>
                <a:gd name="T18" fmla="*/ 10 w 10"/>
                <a:gd name="T19" fmla="*/ 8 h 25"/>
                <a:gd name="T20" fmla="*/ 5 w 10"/>
                <a:gd name="T21" fmla="*/ 0 h 25"/>
                <a:gd name="T22" fmla="*/ 0 w 10"/>
                <a:gd name="T2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141">
            <a:extLst>
              <a:ext uri="{FF2B5EF4-FFF2-40B4-BE49-F238E27FC236}">
                <a16:creationId xmlns:a16="http://schemas.microsoft.com/office/drawing/2014/main" id="{4DE07362-DBAF-40A0-ACC6-A4645994F2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635" y="2803542"/>
            <a:ext cx="841375" cy="841375"/>
            <a:chOff x="345" y="1899"/>
            <a:chExt cx="530" cy="530"/>
          </a:xfrm>
        </p:grpSpPr>
        <p:sp>
          <p:nvSpPr>
            <p:cNvPr id="160" name="AutoShape 140">
              <a:extLst>
                <a:ext uri="{FF2B5EF4-FFF2-40B4-BE49-F238E27FC236}">
                  <a16:creationId xmlns:a16="http://schemas.microsoft.com/office/drawing/2014/main" id="{A5749BA9-8BDA-44E9-A406-12C0BA8149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5" y="189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142">
              <a:extLst>
                <a:ext uri="{FF2B5EF4-FFF2-40B4-BE49-F238E27FC236}">
                  <a16:creationId xmlns:a16="http://schemas.microsoft.com/office/drawing/2014/main" id="{228E0407-F766-416A-9F15-881EB853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" y="189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43">
              <a:extLst>
                <a:ext uri="{FF2B5EF4-FFF2-40B4-BE49-F238E27FC236}">
                  <a16:creationId xmlns:a16="http://schemas.microsoft.com/office/drawing/2014/main" id="{6556AB3B-7837-49C2-AFF1-ACB8410D9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191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44">
              <a:extLst>
                <a:ext uri="{FF2B5EF4-FFF2-40B4-BE49-F238E27FC236}">
                  <a16:creationId xmlns:a16="http://schemas.microsoft.com/office/drawing/2014/main" id="{65173FB0-EDE7-4A94-80DF-306380420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" y="2160"/>
              <a:ext cx="25" cy="64"/>
            </a:xfrm>
            <a:custGeom>
              <a:avLst/>
              <a:gdLst>
                <a:gd name="T0" fmla="*/ 0 w 10"/>
                <a:gd name="T1" fmla="*/ 13 h 25"/>
                <a:gd name="T2" fmla="*/ 2 w 10"/>
                <a:gd name="T3" fmla="*/ 12 h 25"/>
                <a:gd name="T4" fmla="*/ 2 w 10"/>
                <a:gd name="T5" fmla="*/ 12 h 25"/>
                <a:gd name="T6" fmla="*/ 3 w 10"/>
                <a:gd name="T7" fmla="*/ 12 h 25"/>
                <a:gd name="T8" fmla="*/ 3 w 10"/>
                <a:gd name="T9" fmla="*/ 13 h 25"/>
                <a:gd name="T10" fmla="*/ 3 w 10"/>
                <a:gd name="T11" fmla="*/ 25 h 25"/>
                <a:gd name="T12" fmla="*/ 7 w 10"/>
                <a:gd name="T13" fmla="*/ 24 h 25"/>
                <a:gd name="T14" fmla="*/ 7 w 10"/>
                <a:gd name="T15" fmla="*/ 11 h 25"/>
                <a:gd name="T16" fmla="*/ 8 w 10"/>
                <a:gd name="T17" fmla="*/ 10 h 25"/>
                <a:gd name="T18" fmla="*/ 10 w 10"/>
                <a:gd name="T19" fmla="*/ 9 h 25"/>
                <a:gd name="T20" fmla="*/ 5 w 10"/>
                <a:gd name="T21" fmla="*/ 0 h 25"/>
                <a:gd name="T22" fmla="*/ 0 w 10"/>
                <a:gd name="T2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3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45">
              <a:extLst>
                <a:ext uri="{FF2B5EF4-FFF2-40B4-BE49-F238E27FC236}">
                  <a16:creationId xmlns:a16="http://schemas.microsoft.com/office/drawing/2014/main" id="{ECDA9DB9-4C21-4096-9230-1C100A815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" y="2222"/>
              <a:ext cx="66" cy="35"/>
            </a:xfrm>
            <a:custGeom>
              <a:avLst/>
              <a:gdLst>
                <a:gd name="T0" fmla="*/ 66 w 66"/>
                <a:gd name="T1" fmla="*/ 10 h 35"/>
                <a:gd name="T2" fmla="*/ 66 w 66"/>
                <a:gd name="T3" fmla="*/ 0 h 35"/>
                <a:gd name="T4" fmla="*/ 0 w 66"/>
                <a:gd name="T5" fmla="*/ 25 h 35"/>
                <a:gd name="T6" fmla="*/ 0 w 66"/>
                <a:gd name="T7" fmla="*/ 35 h 35"/>
                <a:gd name="T8" fmla="*/ 66 w 66"/>
                <a:gd name="T9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5">
                  <a:moveTo>
                    <a:pt x="66" y="10"/>
                  </a:moveTo>
                  <a:lnTo>
                    <a:pt x="66" y="0"/>
                  </a:lnTo>
                  <a:lnTo>
                    <a:pt x="0" y="25"/>
                  </a:lnTo>
                  <a:lnTo>
                    <a:pt x="0" y="35"/>
                  </a:lnTo>
                  <a:lnTo>
                    <a:pt x="66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46">
              <a:extLst>
                <a:ext uri="{FF2B5EF4-FFF2-40B4-BE49-F238E27FC236}">
                  <a16:creationId xmlns:a16="http://schemas.microsoft.com/office/drawing/2014/main" id="{535DA5D3-2CA9-4914-9F86-EB654789F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" y="2017"/>
              <a:ext cx="287" cy="297"/>
            </a:xfrm>
            <a:custGeom>
              <a:avLst/>
              <a:gdLst>
                <a:gd name="T0" fmla="*/ 56 w 112"/>
                <a:gd name="T1" fmla="*/ 116 h 116"/>
                <a:gd name="T2" fmla="*/ 112 w 112"/>
                <a:gd name="T3" fmla="*/ 22 h 116"/>
                <a:gd name="T4" fmla="*/ 0 w 112"/>
                <a:gd name="T5" fmla="*/ 22 h 116"/>
                <a:gd name="T6" fmla="*/ 106 w 112"/>
                <a:gd name="T7" fmla="*/ 28 h 116"/>
                <a:gd name="T8" fmla="*/ 106 w 112"/>
                <a:gd name="T9" fmla="*/ 90 h 116"/>
                <a:gd name="T10" fmla="*/ 60 w 112"/>
                <a:gd name="T11" fmla="*/ 108 h 116"/>
                <a:gd name="T12" fmla="*/ 59 w 112"/>
                <a:gd name="T13" fmla="*/ 108 h 116"/>
                <a:gd name="T14" fmla="*/ 59 w 112"/>
                <a:gd name="T15" fmla="*/ 46 h 116"/>
                <a:gd name="T16" fmla="*/ 105 w 112"/>
                <a:gd name="T17" fmla="*/ 28 h 116"/>
                <a:gd name="T18" fmla="*/ 83 w 112"/>
                <a:gd name="T19" fmla="*/ 17 h 116"/>
                <a:gd name="T20" fmla="*/ 99 w 112"/>
                <a:gd name="T21" fmla="*/ 24 h 116"/>
                <a:gd name="T22" fmla="*/ 56 w 112"/>
                <a:gd name="T23" fmla="*/ 40 h 116"/>
                <a:gd name="T24" fmla="*/ 56 w 112"/>
                <a:gd name="T25" fmla="*/ 40 h 116"/>
                <a:gd name="T26" fmla="*/ 39 w 112"/>
                <a:gd name="T27" fmla="*/ 33 h 116"/>
                <a:gd name="T28" fmla="*/ 82 w 112"/>
                <a:gd name="T29" fmla="*/ 17 h 116"/>
                <a:gd name="T30" fmla="*/ 13 w 112"/>
                <a:gd name="T31" fmla="*/ 23 h 116"/>
                <a:gd name="T32" fmla="*/ 56 w 112"/>
                <a:gd name="T33" fmla="*/ 7 h 116"/>
                <a:gd name="T34" fmla="*/ 72 w 112"/>
                <a:gd name="T35" fmla="*/ 13 h 116"/>
                <a:gd name="T36" fmla="*/ 29 w 112"/>
                <a:gd name="T37" fmla="*/ 30 h 116"/>
                <a:gd name="T38" fmla="*/ 29 w 112"/>
                <a:gd name="T39" fmla="*/ 30 h 116"/>
                <a:gd name="T40" fmla="*/ 13 w 112"/>
                <a:gd name="T41" fmla="*/ 24 h 116"/>
                <a:gd name="T42" fmla="*/ 6 w 112"/>
                <a:gd name="T43" fmla="*/ 29 h 116"/>
                <a:gd name="T44" fmla="*/ 7 w 112"/>
                <a:gd name="T45" fmla="*/ 28 h 116"/>
                <a:gd name="T46" fmla="*/ 26 w 112"/>
                <a:gd name="T47" fmla="*/ 36 h 116"/>
                <a:gd name="T48" fmla="*/ 32 w 112"/>
                <a:gd name="T49" fmla="*/ 53 h 116"/>
                <a:gd name="T50" fmla="*/ 32 w 112"/>
                <a:gd name="T51" fmla="*/ 38 h 116"/>
                <a:gd name="T52" fmla="*/ 52 w 112"/>
                <a:gd name="T53" fmla="*/ 45 h 116"/>
                <a:gd name="T54" fmla="*/ 53 w 112"/>
                <a:gd name="T55" fmla="*/ 107 h 116"/>
                <a:gd name="T56" fmla="*/ 52 w 112"/>
                <a:gd name="T57" fmla="*/ 108 h 116"/>
                <a:gd name="T58" fmla="*/ 32 w 112"/>
                <a:gd name="T59" fmla="*/ 100 h 116"/>
                <a:gd name="T60" fmla="*/ 32 w 112"/>
                <a:gd name="T61" fmla="*/ 91 h 116"/>
                <a:gd name="T62" fmla="*/ 26 w 112"/>
                <a:gd name="T63" fmla="*/ 97 h 116"/>
                <a:gd name="T64" fmla="*/ 24 w 112"/>
                <a:gd name="T65" fmla="*/ 98 h 116"/>
                <a:gd name="T66" fmla="*/ 6 w 112"/>
                <a:gd name="T67" fmla="*/ 9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2" h="116">
                  <a:moveTo>
                    <a:pt x="0" y="94"/>
                  </a:moveTo>
                  <a:cubicBezTo>
                    <a:pt x="56" y="116"/>
                    <a:pt x="56" y="116"/>
                    <a:pt x="56" y="116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94"/>
                  </a:lnTo>
                  <a:close/>
                  <a:moveTo>
                    <a:pt x="106" y="28"/>
                  </a:moveTo>
                  <a:cubicBezTo>
                    <a:pt x="106" y="28"/>
                    <a:pt x="106" y="29"/>
                    <a:pt x="106" y="29"/>
                  </a:cubicBezTo>
                  <a:cubicBezTo>
                    <a:pt x="106" y="90"/>
                    <a:pt x="106" y="90"/>
                    <a:pt x="106" y="90"/>
                  </a:cubicBezTo>
                  <a:cubicBezTo>
                    <a:pt x="106" y="90"/>
                    <a:pt x="106" y="91"/>
                    <a:pt x="106" y="91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08"/>
                    <a:pt x="60" y="108"/>
                    <a:pt x="59" y="108"/>
                  </a:cubicBezTo>
                  <a:cubicBezTo>
                    <a:pt x="59" y="108"/>
                    <a:pt x="59" y="107"/>
                    <a:pt x="59" y="10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5"/>
                    <a:pt x="60" y="45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28"/>
                    <a:pt x="106" y="28"/>
                    <a:pt x="106" y="28"/>
                  </a:cubicBezTo>
                  <a:close/>
                  <a:moveTo>
                    <a:pt x="83" y="17"/>
                  </a:moveTo>
                  <a:cubicBezTo>
                    <a:pt x="99" y="23"/>
                    <a:pt x="99" y="23"/>
                    <a:pt x="99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3"/>
                    <a:pt x="39" y="33"/>
                    <a:pt x="40" y="32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3" y="17"/>
                  </a:cubicBezTo>
                  <a:close/>
                  <a:moveTo>
                    <a:pt x="13" y="23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3"/>
                    <a:pt x="13" y="23"/>
                    <a:pt x="13" y="23"/>
                  </a:cubicBezTo>
                  <a:close/>
                  <a:moveTo>
                    <a:pt x="6" y="29"/>
                  </a:moveTo>
                  <a:cubicBezTo>
                    <a:pt x="6" y="29"/>
                    <a:pt x="6" y="28"/>
                    <a:pt x="6" y="28"/>
                  </a:cubicBezTo>
                  <a:cubicBezTo>
                    <a:pt x="6" y="28"/>
                    <a:pt x="7" y="28"/>
                    <a:pt x="7" y="28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6" y="36"/>
                    <a:pt x="26" y="36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2" y="38"/>
                    <a:pt x="32" y="38"/>
                  </a:cubicBezTo>
                  <a:cubicBezTo>
                    <a:pt x="32" y="38"/>
                    <a:pt x="33" y="38"/>
                    <a:pt x="33" y="3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3" y="45"/>
                    <a:pt x="53" y="46"/>
                    <a:pt x="53" y="4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7"/>
                    <a:pt x="53" y="108"/>
                    <a:pt x="53" y="108"/>
                  </a:cubicBezTo>
                  <a:cubicBezTo>
                    <a:pt x="53" y="108"/>
                    <a:pt x="52" y="108"/>
                    <a:pt x="52" y="108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6" y="97"/>
                    <a:pt x="26" y="97"/>
                    <a:pt x="25" y="97"/>
                  </a:cubicBezTo>
                  <a:cubicBezTo>
                    <a:pt x="25" y="98"/>
                    <a:pt x="25" y="98"/>
                    <a:pt x="24" y="98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0"/>
                    <a:pt x="6" y="90"/>
                  </a:cubicBezTo>
                  <a:lnTo>
                    <a:pt x="6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47">
              <a:extLst>
                <a:ext uri="{FF2B5EF4-FFF2-40B4-BE49-F238E27FC236}">
                  <a16:creationId xmlns:a16="http://schemas.microsoft.com/office/drawing/2014/main" id="{ED2BD090-9880-4462-9542-4A648E71D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" y="2147"/>
              <a:ext cx="26" cy="64"/>
            </a:xfrm>
            <a:custGeom>
              <a:avLst/>
              <a:gdLst>
                <a:gd name="T0" fmla="*/ 0 w 10"/>
                <a:gd name="T1" fmla="*/ 12 h 25"/>
                <a:gd name="T2" fmla="*/ 2 w 10"/>
                <a:gd name="T3" fmla="*/ 11 h 25"/>
                <a:gd name="T4" fmla="*/ 2 w 10"/>
                <a:gd name="T5" fmla="*/ 11 h 25"/>
                <a:gd name="T6" fmla="*/ 3 w 10"/>
                <a:gd name="T7" fmla="*/ 12 h 25"/>
                <a:gd name="T8" fmla="*/ 3 w 10"/>
                <a:gd name="T9" fmla="*/ 12 h 25"/>
                <a:gd name="T10" fmla="*/ 3 w 10"/>
                <a:gd name="T11" fmla="*/ 25 h 25"/>
                <a:gd name="T12" fmla="*/ 7 w 10"/>
                <a:gd name="T13" fmla="*/ 23 h 25"/>
                <a:gd name="T14" fmla="*/ 7 w 10"/>
                <a:gd name="T15" fmla="*/ 10 h 25"/>
                <a:gd name="T16" fmla="*/ 8 w 10"/>
                <a:gd name="T17" fmla="*/ 9 h 25"/>
                <a:gd name="T18" fmla="*/ 10 w 10"/>
                <a:gd name="T19" fmla="*/ 8 h 25"/>
                <a:gd name="T20" fmla="*/ 5 w 10"/>
                <a:gd name="T21" fmla="*/ 0 h 25"/>
                <a:gd name="T22" fmla="*/ 0 w 10"/>
                <a:gd name="T2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5">
                  <a:moveTo>
                    <a:pt x="0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9"/>
                    <a:pt x="8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50">
            <a:extLst>
              <a:ext uri="{FF2B5EF4-FFF2-40B4-BE49-F238E27FC236}">
                <a16:creationId xmlns:a16="http://schemas.microsoft.com/office/drawing/2014/main" id="{3F2F2EF8-B29D-4EAD-9A92-2EDD2574C2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2866" y="2844817"/>
            <a:ext cx="758825" cy="758825"/>
            <a:chOff x="2225" y="1982"/>
            <a:chExt cx="478" cy="478"/>
          </a:xfrm>
        </p:grpSpPr>
        <p:sp>
          <p:nvSpPr>
            <p:cNvPr id="172" name="AutoShape 149">
              <a:extLst>
                <a:ext uri="{FF2B5EF4-FFF2-40B4-BE49-F238E27FC236}">
                  <a16:creationId xmlns:a16="http://schemas.microsoft.com/office/drawing/2014/main" id="{99B1E2F2-E50F-456A-A359-968A151C68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25" y="198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51">
              <a:extLst>
                <a:ext uri="{FF2B5EF4-FFF2-40B4-BE49-F238E27FC236}">
                  <a16:creationId xmlns:a16="http://schemas.microsoft.com/office/drawing/2014/main" id="{3400FFBE-A3FC-49FA-BD40-65C5294C69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7" y="198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52">
              <a:extLst>
                <a:ext uri="{FF2B5EF4-FFF2-40B4-BE49-F238E27FC236}">
                  <a16:creationId xmlns:a16="http://schemas.microsoft.com/office/drawing/2014/main" id="{1479EBB1-8FE9-4AD5-A056-B26A7A330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" y="2154"/>
              <a:ext cx="32" cy="61"/>
            </a:xfrm>
            <a:custGeom>
              <a:avLst/>
              <a:gdLst>
                <a:gd name="T0" fmla="*/ 32 w 32"/>
                <a:gd name="T1" fmla="*/ 7 h 61"/>
                <a:gd name="T2" fmla="*/ 32 w 32"/>
                <a:gd name="T3" fmla="*/ 0 h 61"/>
                <a:gd name="T4" fmla="*/ 0 w 32"/>
                <a:gd name="T5" fmla="*/ 0 h 61"/>
                <a:gd name="T6" fmla="*/ 0 w 32"/>
                <a:gd name="T7" fmla="*/ 61 h 61"/>
                <a:gd name="T8" fmla="*/ 10 w 32"/>
                <a:gd name="T9" fmla="*/ 61 h 61"/>
                <a:gd name="T10" fmla="*/ 10 w 32"/>
                <a:gd name="T11" fmla="*/ 34 h 61"/>
                <a:gd name="T12" fmla="*/ 29 w 32"/>
                <a:gd name="T13" fmla="*/ 34 h 61"/>
                <a:gd name="T14" fmla="*/ 29 w 32"/>
                <a:gd name="T15" fmla="*/ 27 h 61"/>
                <a:gd name="T16" fmla="*/ 10 w 32"/>
                <a:gd name="T17" fmla="*/ 27 h 61"/>
                <a:gd name="T18" fmla="*/ 10 w 32"/>
                <a:gd name="T19" fmla="*/ 7 h 61"/>
                <a:gd name="T20" fmla="*/ 32 w 32"/>
                <a:gd name="T21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61">
                  <a:moveTo>
                    <a:pt x="32" y="7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0" y="61"/>
                  </a:lnTo>
                  <a:lnTo>
                    <a:pt x="10" y="34"/>
                  </a:lnTo>
                  <a:lnTo>
                    <a:pt x="29" y="34"/>
                  </a:lnTo>
                  <a:lnTo>
                    <a:pt x="29" y="27"/>
                  </a:lnTo>
                  <a:lnTo>
                    <a:pt x="10" y="27"/>
                  </a:lnTo>
                  <a:lnTo>
                    <a:pt x="10" y="7"/>
                  </a:lnTo>
                  <a:lnTo>
                    <a:pt x="3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53">
              <a:extLst>
                <a:ext uri="{FF2B5EF4-FFF2-40B4-BE49-F238E27FC236}">
                  <a16:creationId xmlns:a16="http://schemas.microsoft.com/office/drawing/2014/main" id="{F9A17B6F-8AB5-456D-863D-8F96471267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2154"/>
              <a:ext cx="45" cy="61"/>
            </a:xfrm>
            <a:custGeom>
              <a:avLst/>
              <a:gdLst>
                <a:gd name="T0" fmla="*/ 10 w 45"/>
                <a:gd name="T1" fmla="*/ 36 h 61"/>
                <a:gd name="T2" fmla="*/ 20 w 45"/>
                <a:gd name="T3" fmla="*/ 36 h 61"/>
                <a:gd name="T4" fmla="*/ 32 w 45"/>
                <a:gd name="T5" fmla="*/ 61 h 61"/>
                <a:gd name="T6" fmla="*/ 45 w 45"/>
                <a:gd name="T7" fmla="*/ 61 h 61"/>
                <a:gd name="T8" fmla="*/ 30 w 45"/>
                <a:gd name="T9" fmla="*/ 34 h 61"/>
                <a:gd name="T10" fmla="*/ 37 w 45"/>
                <a:gd name="T11" fmla="*/ 31 h 61"/>
                <a:gd name="T12" fmla="*/ 40 w 45"/>
                <a:gd name="T13" fmla="*/ 27 h 61"/>
                <a:gd name="T14" fmla="*/ 40 w 45"/>
                <a:gd name="T15" fmla="*/ 19 h 61"/>
                <a:gd name="T16" fmla="*/ 40 w 45"/>
                <a:gd name="T17" fmla="*/ 17 h 61"/>
                <a:gd name="T18" fmla="*/ 37 w 45"/>
                <a:gd name="T19" fmla="*/ 7 h 61"/>
                <a:gd name="T20" fmla="*/ 35 w 45"/>
                <a:gd name="T21" fmla="*/ 4 h 61"/>
                <a:gd name="T22" fmla="*/ 30 w 45"/>
                <a:gd name="T23" fmla="*/ 2 h 61"/>
                <a:gd name="T24" fmla="*/ 22 w 45"/>
                <a:gd name="T25" fmla="*/ 0 h 61"/>
                <a:gd name="T26" fmla="*/ 20 w 45"/>
                <a:gd name="T27" fmla="*/ 0 h 61"/>
                <a:gd name="T28" fmla="*/ 0 w 45"/>
                <a:gd name="T29" fmla="*/ 0 h 61"/>
                <a:gd name="T30" fmla="*/ 0 w 45"/>
                <a:gd name="T31" fmla="*/ 61 h 61"/>
                <a:gd name="T32" fmla="*/ 10 w 45"/>
                <a:gd name="T33" fmla="*/ 61 h 61"/>
                <a:gd name="T34" fmla="*/ 10 w 45"/>
                <a:gd name="T35" fmla="*/ 36 h 61"/>
                <a:gd name="T36" fmla="*/ 10 w 45"/>
                <a:gd name="T37" fmla="*/ 7 h 61"/>
                <a:gd name="T38" fmla="*/ 22 w 45"/>
                <a:gd name="T39" fmla="*/ 9 h 61"/>
                <a:gd name="T40" fmla="*/ 27 w 45"/>
                <a:gd name="T41" fmla="*/ 9 h 61"/>
                <a:gd name="T42" fmla="*/ 27 w 45"/>
                <a:gd name="T43" fmla="*/ 12 h 61"/>
                <a:gd name="T44" fmla="*/ 30 w 45"/>
                <a:gd name="T45" fmla="*/ 17 h 61"/>
                <a:gd name="T46" fmla="*/ 30 w 45"/>
                <a:gd name="T47" fmla="*/ 19 h 61"/>
                <a:gd name="T48" fmla="*/ 27 w 45"/>
                <a:gd name="T49" fmla="*/ 24 h 61"/>
                <a:gd name="T50" fmla="*/ 25 w 45"/>
                <a:gd name="T51" fmla="*/ 27 h 61"/>
                <a:gd name="T52" fmla="*/ 22 w 45"/>
                <a:gd name="T53" fmla="*/ 29 h 61"/>
                <a:gd name="T54" fmla="*/ 15 w 45"/>
                <a:gd name="T55" fmla="*/ 29 h 61"/>
                <a:gd name="T56" fmla="*/ 10 w 45"/>
                <a:gd name="T57" fmla="*/ 29 h 61"/>
                <a:gd name="T58" fmla="*/ 10 w 45"/>
                <a:gd name="T59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61">
                  <a:moveTo>
                    <a:pt x="10" y="36"/>
                  </a:moveTo>
                  <a:lnTo>
                    <a:pt x="20" y="36"/>
                  </a:lnTo>
                  <a:lnTo>
                    <a:pt x="32" y="61"/>
                  </a:lnTo>
                  <a:lnTo>
                    <a:pt x="45" y="61"/>
                  </a:lnTo>
                  <a:lnTo>
                    <a:pt x="30" y="34"/>
                  </a:lnTo>
                  <a:lnTo>
                    <a:pt x="37" y="31"/>
                  </a:lnTo>
                  <a:lnTo>
                    <a:pt x="40" y="27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7" y="7"/>
                  </a:lnTo>
                  <a:lnTo>
                    <a:pt x="35" y="4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0" y="61"/>
                  </a:lnTo>
                  <a:lnTo>
                    <a:pt x="10" y="36"/>
                  </a:lnTo>
                  <a:close/>
                  <a:moveTo>
                    <a:pt x="10" y="7"/>
                  </a:moveTo>
                  <a:lnTo>
                    <a:pt x="22" y="9"/>
                  </a:lnTo>
                  <a:lnTo>
                    <a:pt x="27" y="9"/>
                  </a:lnTo>
                  <a:lnTo>
                    <a:pt x="27" y="12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27" y="24"/>
                  </a:lnTo>
                  <a:lnTo>
                    <a:pt x="25" y="27"/>
                  </a:lnTo>
                  <a:lnTo>
                    <a:pt x="22" y="29"/>
                  </a:lnTo>
                  <a:lnTo>
                    <a:pt x="15" y="29"/>
                  </a:lnTo>
                  <a:lnTo>
                    <a:pt x="10" y="29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54">
              <a:extLst>
                <a:ext uri="{FF2B5EF4-FFF2-40B4-BE49-F238E27FC236}">
                  <a16:creationId xmlns:a16="http://schemas.microsoft.com/office/drawing/2014/main" id="{BFF81013-D9EA-45E0-9158-F3B93067B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2154"/>
              <a:ext cx="34" cy="61"/>
            </a:xfrm>
            <a:custGeom>
              <a:avLst/>
              <a:gdLst>
                <a:gd name="T0" fmla="*/ 34 w 34"/>
                <a:gd name="T1" fmla="*/ 7 h 61"/>
                <a:gd name="T2" fmla="*/ 34 w 34"/>
                <a:gd name="T3" fmla="*/ 0 h 61"/>
                <a:gd name="T4" fmla="*/ 0 w 34"/>
                <a:gd name="T5" fmla="*/ 0 h 61"/>
                <a:gd name="T6" fmla="*/ 0 w 34"/>
                <a:gd name="T7" fmla="*/ 61 h 61"/>
                <a:gd name="T8" fmla="*/ 34 w 34"/>
                <a:gd name="T9" fmla="*/ 61 h 61"/>
                <a:gd name="T10" fmla="*/ 34 w 34"/>
                <a:gd name="T11" fmla="*/ 54 h 61"/>
                <a:gd name="T12" fmla="*/ 12 w 34"/>
                <a:gd name="T13" fmla="*/ 54 h 61"/>
                <a:gd name="T14" fmla="*/ 12 w 34"/>
                <a:gd name="T15" fmla="*/ 34 h 61"/>
                <a:gd name="T16" fmla="*/ 29 w 34"/>
                <a:gd name="T17" fmla="*/ 34 h 61"/>
                <a:gd name="T18" fmla="*/ 29 w 34"/>
                <a:gd name="T19" fmla="*/ 27 h 61"/>
                <a:gd name="T20" fmla="*/ 12 w 34"/>
                <a:gd name="T21" fmla="*/ 27 h 61"/>
                <a:gd name="T22" fmla="*/ 12 w 34"/>
                <a:gd name="T23" fmla="*/ 7 h 61"/>
                <a:gd name="T24" fmla="*/ 34 w 34"/>
                <a:gd name="T25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61">
                  <a:moveTo>
                    <a:pt x="34" y="7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4" y="61"/>
                  </a:lnTo>
                  <a:lnTo>
                    <a:pt x="34" y="54"/>
                  </a:lnTo>
                  <a:lnTo>
                    <a:pt x="12" y="54"/>
                  </a:lnTo>
                  <a:lnTo>
                    <a:pt x="12" y="34"/>
                  </a:lnTo>
                  <a:lnTo>
                    <a:pt x="29" y="34"/>
                  </a:lnTo>
                  <a:lnTo>
                    <a:pt x="29" y="27"/>
                  </a:lnTo>
                  <a:lnTo>
                    <a:pt x="12" y="27"/>
                  </a:lnTo>
                  <a:lnTo>
                    <a:pt x="12" y="7"/>
                  </a:lnTo>
                  <a:lnTo>
                    <a:pt x="34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55">
              <a:extLst>
                <a:ext uri="{FF2B5EF4-FFF2-40B4-BE49-F238E27FC236}">
                  <a16:creationId xmlns:a16="http://schemas.microsoft.com/office/drawing/2014/main" id="{37A7FD81-4B12-421C-9342-95BA7AE72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5" y="2119"/>
              <a:ext cx="300" cy="206"/>
            </a:xfrm>
            <a:custGeom>
              <a:avLst/>
              <a:gdLst>
                <a:gd name="T0" fmla="*/ 282 w 300"/>
                <a:gd name="T1" fmla="*/ 91 h 206"/>
                <a:gd name="T2" fmla="*/ 214 w 300"/>
                <a:gd name="T3" fmla="*/ 15 h 206"/>
                <a:gd name="T4" fmla="*/ 182 w 300"/>
                <a:gd name="T5" fmla="*/ 0 h 206"/>
                <a:gd name="T6" fmla="*/ 0 w 300"/>
                <a:gd name="T7" fmla="*/ 3 h 206"/>
                <a:gd name="T8" fmla="*/ 5 w 300"/>
                <a:gd name="T9" fmla="*/ 182 h 206"/>
                <a:gd name="T10" fmla="*/ 50 w 300"/>
                <a:gd name="T11" fmla="*/ 182 h 206"/>
                <a:gd name="T12" fmla="*/ 67 w 300"/>
                <a:gd name="T13" fmla="*/ 204 h 206"/>
                <a:gd name="T14" fmla="*/ 96 w 300"/>
                <a:gd name="T15" fmla="*/ 204 h 206"/>
                <a:gd name="T16" fmla="*/ 111 w 300"/>
                <a:gd name="T17" fmla="*/ 182 h 206"/>
                <a:gd name="T18" fmla="*/ 211 w 300"/>
                <a:gd name="T19" fmla="*/ 196 h 206"/>
                <a:gd name="T20" fmla="*/ 233 w 300"/>
                <a:gd name="T21" fmla="*/ 206 h 206"/>
                <a:gd name="T22" fmla="*/ 263 w 300"/>
                <a:gd name="T23" fmla="*/ 187 h 206"/>
                <a:gd name="T24" fmla="*/ 300 w 300"/>
                <a:gd name="T25" fmla="*/ 177 h 206"/>
                <a:gd name="T26" fmla="*/ 295 w 300"/>
                <a:gd name="T27" fmla="*/ 111 h 206"/>
                <a:gd name="T28" fmla="*/ 197 w 300"/>
                <a:gd name="T29" fmla="*/ 89 h 206"/>
                <a:gd name="T30" fmla="*/ 216 w 300"/>
                <a:gd name="T31" fmla="*/ 62 h 206"/>
                <a:gd name="T32" fmla="*/ 219 w 300"/>
                <a:gd name="T33" fmla="*/ 42 h 206"/>
                <a:gd name="T34" fmla="*/ 91 w 300"/>
                <a:gd name="T35" fmla="*/ 189 h 206"/>
                <a:gd name="T36" fmla="*/ 79 w 300"/>
                <a:gd name="T37" fmla="*/ 194 h 206"/>
                <a:gd name="T38" fmla="*/ 67 w 300"/>
                <a:gd name="T39" fmla="*/ 189 h 206"/>
                <a:gd name="T40" fmla="*/ 62 w 300"/>
                <a:gd name="T41" fmla="*/ 177 h 206"/>
                <a:gd name="T42" fmla="*/ 67 w 300"/>
                <a:gd name="T43" fmla="*/ 167 h 206"/>
                <a:gd name="T44" fmla="*/ 79 w 300"/>
                <a:gd name="T45" fmla="*/ 160 h 206"/>
                <a:gd name="T46" fmla="*/ 91 w 300"/>
                <a:gd name="T47" fmla="*/ 165 h 206"/>
                <a:gd name="T48" fmla="*/ 96 w 300"/>
                <a:gd name="T49" fmla="*/ 177 h 206"/>
                <a:gd name="T50" fmla="*/ 248 w 300"/>
                <a:gd name="T51" fmla="*/ 187 h 206"/>
                <a:gd name="T52" fmla="*/ 236 w 300"/>
                <a:gd name="T53" fmla="*/ 194 h 206"/>
                <a:gd name="T54" fmla="*/ 226 w 300"/>
                <a:gd name="T55" fmla="*/ 191 h 206"/>
                <a:gd name="T56" fmla="*/ 216 w 300"/>
                <a:gd name="T57" fmla="*/ 182 h 206"/>
                <a:gd name="T58" fmla="*/ 219 w 300"/>
                <a:gd name="T59" fmla="*/ 169 h 206"/>
                <a:gd name="T60" fmla="*/ 228 w 300"/>
                <a:gd name="T61" fmla="*/ 160 h 206"/>
                <a:gd name="T62" fmla="*/ 243 w 300"/>
                <a:gd name="T63" fmla="*/ 162 h 206"/>
                <a:gd name="T64" fmla="*/ 251 w 300"/>
                <a:gd name="T65" fmla="*/ 174 h 206"/>
                <a:gd name="T66" fmla="*/ 273 w 300"/>
                <a:gd name="T67" fmla="*/ 135 h 206"/>
                <a:gd name="T68" fmla="*/ 275 w 300"/>
                <a:gd name="T69" fmla="*/ 138 h 206"/>
                <a:gd name="T70" fmla="*/ 278 w 300"/>
                <a:gd name="T71" fmla="*/ 138 h 206"/>
                <a:gd name="T72" fmla="*/ 263 w 300"/>
                <a:gd name="T73" fmla="*/ 169 h 206"/>
                <a:gd name="T74" fmla="*/ 238 w 300"/>
                <a:gd name="T75" fmla="*/ 147 h 206"/>
                <a:gd name="T76" fmla="*/ 214 w 300"/>
                <a:gd name="T77" fmla="*/ 155 h 206"/>
                <a:gd name="T78" fmla="*/ 108 w 300"/>
                <a:gd name="T79" fmla="*/ 169 h 206"/>
                <a:gd name="T80" fmla="*/ 84 w 300"/>
                <a:gd name="T81" fmla="*/ 147 h 206"/>
                <a:gd name="T82" fmla="*/ 59 w 300"/>
                <a:gd name="T83" fmla="*/ 155 h 206"/>
                <a:gd name="T84" fmla="*/ 15 w 300"/>
                <a:gd name="T85" fmla="*/ 169 h 206"/>
                <a:gd name="T86" fmla="*/ 189 w 300"/>
                <a:gd name="T87" fmla="*/ 15 h 206"/>
                <a:gd name="T88" fmla="*/ 206 w 300"/>
                <a:gd name="T89" fmla="*/ 27 h 206"/>
                <a:gd name="T90" fmla="*/ 187 w 300"/>
                <a:gd name="T91" fmla="*/ 96 h 206"/>
                <a:gd name="T92" fmla="*/ 282 w 300"/>
                <a:gd name="T93" fmla="*/ 111 h 206"/>
                <a:gd name="T94" fmla="*/ 287 w 300"/>
                <a:gd name="T95" fmla="*/ 130 h 206"/>
                <a:gd name="T96" fmla="*/ 275 w 300"/>
                <a:gd name="T97" fmla="*/ 130 h 206"/>
                <a:gd name="T98" fmla="*/ 273 w 300"/>
                <a:gd name="T99" fmla="*/ 13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0" h="206">
                  <a:moveTo>
                    <a:pt x="295" y="111"/>
                  </a:moveTo>
                  <a:lnTo>
                    <a:pt x="290" y="101"/>
                  </a:lnTo>
                  <a:lnTo>
                    <a:pt x="282" y="91"/>
                  </a:lnTo>
                  <a:lnTo>
                    <a:pt x="268" y="84"/>
                  </a:lnTo>
                  <a:lnTo>
                    <a:pt x="263" y="81"/>
                  </a:lnTo>
                  <a:lnTo>
                    <a:pt x="214" y="15"/>
                  </a:lnTo>
                  <a:lnTo>
                    <a:pt x="204" y="5"/>
                  </a:lnTo>
                  <a:lnTo>
                    <a:pt x="192" y="0"/>
                  </a:lnTo>
                  <a:lnTo>
                    <a:pt x="182" y="0"/>
                  </a:lnTo>
                  <a:lnTo>
                    <a:pt x="17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7"/>
                  </a:lnTo>
                  <a:lnTo>
                    <a:pt x="5" y="182"/>
                  </a:lnTo>
                  <a:lnTo>
                    <a:pt x="8" y="182"/>
                  </a:lnTo>
                  <a:lnTo>
                    <a:pt x="47" y="182"/>
                  </a:lnTo>
                  <a:lnTo>
                    <a:pt x="50" y="182"/>
                  </a:lnTo>
                  <a:lnTo>
                    <a:pt x="54" y="194"/>
                  </a:lnTo>
                  <a:lnTo>
                    <a:pt x="59" y="201"/>
                  </a:lnTo>
                  <a:lnTo>
                    <a:pt x="67" y="204"/>
                  </a:lnTo>
                  <a:lnTo>
                    <a:pt x="76" y="206"/>
                  </a:lnTo>
                  <a:lnTo>
                    <a:pt x="79" y="206"/>
                  </a:lnTo>
                  <a:lnTo>
                    <a:pt x="96" y="204"/>
                  </a:lnTo>
                  <a:lnTo>
                    <a:pt x="103" y="194"/>
                  </a:lnTo>
                  <a:lnTo>
                    <a:pt x="108" y="187"/>
                  </a:lnTo>
                  <a:lnTo>
                    <a:pt x="111" y="182"/>
                  </a:lnTo>
                  <a:lnTo>
                    <a:pt x="204" y="182"/>
                  </a:lnTo>
                  <a:lnTo>
                    <a:pt x="206" y="191"/>
                  </a:lnTo>
                  <a:lnTo>
                    <a:pt x="211" y="196"/>
                  </a:lnTo>
                  <a:lnTo>
                    <a:pt x="216" y="204"/>
                  </a:lnTo>
                  <a:lnTo>
                    <a:pt x="226" y="206"/>
                  </a:lnTo>
                  <a:lnTo>
                    <a:pt x="233" y="206"/>
                  </a:lnTo>
                  <a:lnTo>
                    <a:pt x="248" y="204"/>
                  </a:lnTo>
                  <a:lnTo>
                    <a:pt x="258" y="194"/>
                  </a:lnTo>
                  <a:lnTo>
                    <a:pt x="263" y="187"/>
                  </a:lnTo>
                  <a:lnTo>
                    <a:pt x="263" y="182"/>
                  </a:lnTo>
                  <a:lnTo>
                    <a:pt x="297" y="179"/>
                  </a:lnTo>
                  <a:lnTo>
                    <a:pt x="300" y="177"/>
                  </a:lnTo>
                  <a:lnTo>
                    <a:pt x="300" y="174"/>
                  </a:lnTo>
                  <a:lnTo>
                    <a:pt x="300" y="120"/>
                  </a:lnTo>
                  <a:lnTo>
                    <a:pt x="295" y="111"/>
                  </a:lnTo>
                  <a:close/>
                  <a:moveTo>
                    <a:pt x="219" y="42"/>
                  </a:moveTo>
                  <a:lnTo>
                    <a:pt x="253" y="89"/>
                  </a:lnTo>
                  <a:lnTo>
                    <a:pt x="197" y="89"/>
                  </a:lnTo>
                  <a:lnTo>
                    <a:pt x="197" y="69"/>
                  </a:lnTo>
                  <a:lnTo>
                    <a:pt x="216" y="69"/>
                  </a:lnTo>
                  <a:lnTo>
                    <a:pt x="216" y="62"/>
                  </a:lnTo>
                  <a:lnTo>
                    <a:pt x="197" y="62"/>
                  </a:lnTo>
                  <a:lnTo>
                    <a:pt x="197" y="42"/>
                  </a:lnTo>
                  <a:lnTo>
                    <a:pt x="219" y="42"/>
                  </a:lnTo>
                  <a:close/>
                  <a:moveTo>
                    <a:pt x="96" y="179"/>
                  </a:moveTo>
                  <a:lnTo>
                    <a:pt x="96" y="184"/>
                  </a:lnTo>
                  <a:lnTo>
                    <a:pt x="91" y="189"/>
                  </a:lnTo>
                  <a:lnTo>
                    <a:pt x="89" y="191"/>
                  </a:lnTo>
                  <a:lnTo>
                    <a:pt x="84" y="194"/>
                  </a:lnTo>
                  <a:lnTo>
                    <a:pt x="79" y="194"/>
                  </a:lnTo>
                  <a:lnTo>
                    <a:pt x="74" y="194"/>
                  </a:lnTo>
                  <a:lnTo>
                    <a:pt x="72" y="191"/>
                  </a:lnTo>
                  <a:lnTo>
                    <a:pt x="67" y="189"/>
                  </a:lnTo>
                  <a:lnTo>
                    <a:pt x="67" y="187"/>
                  </a:lnTo>
                  <a:lnTo>
                    <a:pt x="64" y="182"/>
                  </a:lnTo>
                  <a:lnTo>
                    <a:pt x="62" y="177"/>
                  </a:lnTo>
                  <a:lnTo>
                    <a:pt x="62" y="174"/>
                  </a:lnTo>
                  <a:lnTo>
                    <a:pt x="64" y="169"/>
                  </a:lnTo>
                  <a:lnTo>
                    <a:pt x="67" y="167"/>
                  </a:lnTo>
                  <a:lnTo>
                    <a:pt x="72" y="162"/>
                  </a:lnTo>
                  <a:lnTo>
                    <a:pt x="76" y="160"/>
                  </a:lnTo>
                  <a:lnTo>
                    <a:pt x="79" y="160"/>
                  </a:lnTo>
                  <a:lnTo>
                    <a:pt x="84" y="160"/>
                  </a:lnTo>
                  <a:lnTo>
                    <a:pt x="89" y="162"/>
                  </a:lnTo>
                  <a:lnTo>
                    <a:pt x="91" y="165"/>
                  </a:lnTo>
                  <a:lnTo>
                    <a:pt x="96" y="169"/>
                  </a:lnTo>
                  <a:lnTo>
                    <a:pt x="96" y="174"/>
                  </a:lnTo>
                  <a:lnTo>
                    <a:pt x="96" y="177"/>
                  </a:lnTo>
                  <a:lnTo>
                    <a:pt x="96" y="179"/>
                  </a:lnTo>
                  <a:close/>
                  <a:moveTo>
                    <a:pt x="251" y="182"/>
                  </a:moveTo>
                  <a:lnTo>
                    <a:pt x="248" y="187"/>
                  </a:lnTo>
                  <a:lnTo>
                    <a:pt x="243" y="191"/>
                  </a:lnTo>
                  <a:lnTo>
                    <a:pt x="241" y="194"/>
                  </a:lnTo>
                  <a:lnTo>
                    <a:pt x="236" y="194"/>
                  </a:lnTo>
                  <a:lnTo>
                    <a:pt x="233" y="194"/>
                  </a:lnTo>
                  <a:lnTo>
                    <a:pt x="228" y="194"/>
                  </a:lnTo>
                  <a:lnTo>
                    <a:pt x="226" y="191"/>
                  </a:lnTo>
                  <a:lnTo>
                    <a:pt x="221" y="189"/>
                  </a:lnTo>
                  <a:lnTo>
                    <a:pt x="219" y="184"/>
                  </a:lnTo>
                  <a:lnTo>
                    <a:pt x="216" y="182"/>
                  </a:lnTo>
                  <a:lnTo>
                    <a:pt x="216" y="177"/>
                  </a:lnTo>
                  <a:lnTo>
                    <a:pt x="216" y="172"/>
                  </a:lnTo>
                  <a:lnTo>
                    <a:pt x="219" y="169"/>
                  </a:lnTo>
                  <a:lnTo>
                    <a:pt x="221" y="165"/>
                  </a:lnTo>
                  <a:lnTo>
                    <a:pt x="224" y="162"/>
                  </a:lnTo>
                  <a:lnTo>
                    <a:pt x="228" y="160"/>
                  </a:lnTo>
                  <a:lnTo>
                    <a:pt x="233" y="160"/>
                  </a:lnTo>
                  <a:lnTo>
                    <a:pt x="238" y="160"/>
                  </a:lnTo>
                  <a:lnTo>
                    <a:pt x="243" y="162"/>
                  </a:lnTo>
                  <a:lnTo>
                    <a:pt x="246" y="167"/>
                  </a:lnTo>
                  <a:lnTo>
                    <a:pt x="248" y="169"/>
                  </a:lnTo>
                  <a:lnTo>
                    <a:pt x="251" y="174"/>
                  </a:lnTo>
                  <a:lnTo>
                    <a:pt x="251" y="177"/>
                  </a:lnTo>
                  <a:lnTo>
                    <a:pt x="251" y="182"/>
                  </a:lnTo>
                  <a:close/>
                  <a:moveTo>
                    <a:pt x="273" y="135"/>
                  </a:moveTo>
                  <a:lnTo>
                    <a:pt x="273" y="135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87" y="138"/>
                  </a:lnTo>
                  <a:lnTo>
                    <a:pt x="287" y="169"/>
                  </a:lnTo>
                  <a:lnTo>
                    <a:pt x="263" y="169"/>
                  </a:lnTo>
                  <a:lnTo>
                    <a:pt x="258" y="160"/>
                  </a:lnTo>
                  <a:lnTo>
                    <a:pt x="251" y="152"/>
                  </a:lnTo>
                  <a:lnTo>
                    <a:pt x="238" y="147"/>
                  </a:lnTo>
                  <a:lnTo>
                    <a:pt x="233" y="147"/>
                  </a:lnTo>
                  <a:lnTo>
                    <a:pt x="221" y="150"/>
                  </a:lnTo>
                  <a:lnTo>
                    <a:pt x="214" y="155"/>
                  </a:lnTo>
                  <a:lnTo>
                    <a:pt x="206" y="165"/>
                  </a:lnTo>
                  <a:lnTo>
                    <a:pt x="204" y="169"/>
                  </a:lnTo>
                  <a:lnTo>
                    <a:pt x="108" y="169"/>
                  </a:lnTo>
                  <a:lnTo>
                    <a:pt x="103" y="157"/>
                  </a:lnTo>
                  <a:lnTo>
                    <a:pt x="96" y="152"/>
                  </a:lnTo>
                  <a:lnTo>
                    <a:pt x="84" y="147"/>
                  </a:lnTo>
                  <a:lnTo>
                    <a:pt x="79" y="147"/>
                  </a:lnTo>
                  <a:lnTo>
                    <a:pt x="67" y="150"/>
                  </a:lnTo>
                  <a:lnTo>
                    <a:pt x="59" y="155"/>
                  </a:lnTo>
                  <a:lnTo>
                    <a:pt x="52" y="162"/>
                  </a:lnTo>
                  <a:lnTo>
                    <a:pt x="50" y="169"/>
                  </a:lnTo>
                  <a:lnTo>
                    <a:pt x="15" y="169"/>
                  </a:lnTo>
                  <a:lnTo>
                    <a:pt x="15" y="13"/>
                  </a:lnTo>
                  <a:lnTo>
                    <a:pt x="184" y="13"/>
                  </a:lnTo>
                  <a:lnTo>
                    <a:pt x="189" y="15"/>
                  </a:lnTo>
                  <a:lnTo>
                    <a:pt x="197" y="17"/>
                  </a:lnTo>
                  <a:lnTo>
                    <a:pt x="202" y="20"/>
                  </a:lnTo>
                  <a:lnTo>
                    <a:pt x="206" y="27"/>
                  </a:lnTo>
                  <a:lnTo>
                    <a:pt x="214" y="35"/>
                  </a:lnTo>
                  <a:lnTo>
                    <a:pt x="187" y="35"/>
                  </a:lnTo>
                  <a:lnTo>
                    <a:pt x="187" y="96"/>
                  </a:lnTo>
                  <a:lnTo>
                    <a:pt x="265" y="96"/>
                  </a:lnTo>
                  <a:lnTo>
                    <a:pt x="275" y="103"/>
                  </a:lnTo>
                  <a:lnTo>
                    <a:pt x="282" y="111"/>
                  </a:lnTo>
                  <a:lnTo>
                    <a:pt x="285" y="118"/>
                  </a:lnTo>
                  <a:lnTo>
                    <a:pt x="285" y="123"/>
                  </a:lnTo>
                  <a:lnTo>
                    <a:pt x="287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3" y="133"/>
                  </a:lnTo>
                  <a:lnTo>
                    <a:pt x="273" y="135"/>
                  </a:lnTo>
                  <a:lnTo>
                    <a:pt x="273" y="1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56">
              <a:extLst>
                <a:ext uri="{FF2B5EF4-FFF2-40B4-BE49-F238E27FC236}">
                  <a16:creationId xmlns:a16="http://schemas.microsoft.com/office/drawing/2014/main" id="{AE3940F8-3F86-45B3-AF3E-D61AE6B9B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" y="2154"/>
              <a:ext cx="32" cy="61"/>
            </a:xfrm>
            <a:custGeom>
              <a:avLst/>
              <a:gdLst>
                <a:gd name="T0" fmla="*/ 32 w 32"/>
                <a:gd name="T1" fmla="*/ 7 h 61"/>
                <a:gd name="T2" fmla="*/ 32 w 32"/>
                <a:gd name="T3" fmla="*/ 0 h 61"/>
                <a:gd name="T4" fmla="*/ 0 w 32"/>
                <a:gd name="T5" fmla="*/ 0 h 61"/>
                <a:gd name="T6" fmla="*/ 0 w 32"/>
                <a:gd name="T7" fmla="*/ 61 h 61"/>
                <a:gd name="T8" fmla="*/ 10 w 32"/>
                <a:gd name="T9" fmla="*/ 61 h 61"/>
                <a:gd name="T10" fmla="*/ 10 w 32"/>
                <a:gd name="T11" fmla="*/ 34 h 61"/>
                <a:gd name="T12" fmla="*/ 29 w 32"/>
                <a:gd name="T13" fmla="*/ 34 h 61"/>
                <a:gd name="T14" fmla="*/ 29 w 32"/>
                <a:gd name="T15" fmla="*/ 27 h 61"/>
                <a:gd name="T16" fmla="*/ 10 w 32"/>
                <a:gd name="T17" fmla="*/ 27 h 61"/>
                <a:gd name="T18" fmla="*/ 10 w 32"/>
                <a:gd name="T19" fmla="*/ 7 h 61"/>
                <a:gd name="T20" fmla="*/ 32 w 32"/>
                <a:gd name="T21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61">
                  <a:moveTo>
                    <a:pt x="32" y="7"/>
                  </a:moveTo>
                  <a:lnTo>
                    <a:pt x="3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0" y="61"/>
                  </a:lnTo>
                  <a:lnTo>
                    <a:pt x="10" y="34"/>
                  </a:lnTo>
                  <a:lnTo>
                    <a:pt x="29" y="34"/>
                  </a:lnTo>
                  <a:lnTo>
                    <a:pt x="29" y="27"/>
                  </a:lnTo>
                  <a:lnTo>
                    <a:pt x="10" y="27"/>
                  </a:lnTo>
                  <a:lnTo>
                    <a:pt x="10" y="7"/>
                  </a:lnTo>
                  <a:lnTo>
                    <a:pt x="32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7">
              <a:extLst>
                <a:ext uri="{FF2B5EF4-FFF2-40B4-BE49-F238E27FC236}">
                  <a16:creationId xmlns:a16="http://schemas.microsoft.com/office/drawing/2014/main" id="{E23C2CEB-A3C5-46C6-A61E-C61E1E9E3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2154"/>
              <a:ext cx="45" cy="61"/>
            </a:xfrm>
            <a:custGeom>
              <a:avLst/>
              <a:gdLst>
                <a:gd name="T0" fmla="*/ 10 w 45"/>
                <a:gd name="T1" fmla="*/ 36 h 61"/>
                <a:gd name="T2" fmla="*/ 20 w 45"/>
                <a:gd name="T3" fmla="*/ 36 h 61"/>
                <a:gd name="T4" fmla="*/ 32 w 45"/>
                <a:gd name="T5" fmla="*/ 61 h 61"/>
                <a:gd name="T6" fmla="*/ 45 w 45"/>
                <a:gd name="T7" fmla="*/ 61 h 61"/>
                <a:gd name="T8" fmla="*/ 30 w 45"/>
                <a:gd name="T9" fmla="*/ 34 h 61"/>
                <a:gd name="T10" fmla="*/ 37 w 45"/>
                <a:gd name="T11" fmla="*/ 31 h 61"/>
                <a:gd name="T12" fmla="*/ 40 w 45"/>
                <a:gd name="T13" fmla="*/ 27 h 61"/>
                <a:gd name="T14" fmla="*/ 40 w 45"/>
                <a:gd name="T15" fmla="*/ 19 h 61"/>
                <a:gd name="T16" fmla="*/ 40 w 45"/>
                <a:gd name="T17" fmla="*/ 17 h 61"/>
                <a:gd name="T18" fmla="*/ 37 w 45"/>
                <a:gd name="T19" fmla="*/ 7 h 61"/>
                <a:gd name="T20" fmla="*/ 35 w 45"/>
                <a:gd name="T21" fmla="*/ 4 h 61"/>
                <a:gd name="T22" fmla="*/ 30 w 45"/>
                <a:gd name="T23" fmla="*/ 2 h 61"/>
                <a:gd name="T24" fmla="*/ 22 w 45"/>
                <a:gd name="T25" fmla="*/ 0 h 61"/>
                <a:gd name="T26" fmla="*/ 20 w 45"/>
                <a:gd name="T27" fmla="*/ 0 h 61"/>
                <a:gd name="T28" fmla="*/ 0 w 45"/>
                <a:gd name="T29" fmla="*/ 0 h 61"/>
                <a:gd name="T30" fmla="*/ 0 w 45"/>
                <a:gd name="T31" fmla="*/ 61 h 61"/>
                <a:gd name="T32" fmla="*/ 10 w 45"/>
                <a:gd name="T33" fmla="*/ 61 h 61"/>
                <a:gd name="T34" fmla="*/ 10 w 45"/>
                <a:gd name="T35" fmla="*/ 36 h 61"/>
                <a:gd name="T36" fmla="*/ 10 w 45"/>
                <a:gd name="T37" fmla="*/ 7 h 61"/>
                <a:gd name="T38" fmla="*/ 22 w 45"/>
                <a:gd name="T39" fmla="*/ 9 h 61"/>
                <a:gd name="T40" fmla="*/ 27 w 45"/>
                <a:gd name="T41" fmla="*/ 9 h 61"/>
                <a:gd name="T42" fmla="*/ 27 w 45"/>
                <a:gd name="T43" fmla="*/ 12 h 61"/>
                <a:gd name="T44" fmla="*/ 30 w 45"/>
                <a:gd name="T45" fmla="*/ 17 h 61"/>
                <a:gd name="T46" fmla="*/ 30 w 45"/>
                <a:gd name="T47" fmla="*/ 19 h 61"/>
                <a:gd name="T48" fmla="*/ 27 w 45"/>
                <a:gd name="T49" fmla="*/ 24 h 61"/>
                <a:gd name="T50" fmla="*/ 25 w 45"/>
                <a:gd name="T51" fmla="*/ 27 h 61"/>
                <a:gd name="T52" fmla="*/ 22 w 45"/>
                <a:gd name="T53" fmla="*/ 29 h 61"/>
                <a:gd name="T54" fmla="*/ 15 w 45"/>
                <a:gd name="T55" fmla="*/ 29 h 61"/>
                <a:gd name="T56" fmla="*/ 10 w 45"/>
                <a:gd name="T57" fmla="*/ 29 h 61"/>
                <a:gd name="T58" fmla="*/ 10 w 45"/>
                <a:gd name="T59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61">
                  <a:moveTo>
                    <a:pt x="10" y="36"/>
                  </a:moveTo>
                  <a:lnTo>
                    <a:pt x="20" y="36"/>
                  </a:lnTo>
                  <a:lnTo>
                    <a:pt x="32" y="61"/>
                  </a:lnTo>
                  <a:lnTo>
                    <a:pt x="45" y="61"/>
                  </a:lnTo>
                  <a:lnTo>
                    <a:pt x="30" y="34"/>
                  </a:lnTo>
                  <a:lnTo>
                    <a:pt x="37" y="31"/>
                  </a:lnTo>
                  <a:lnTo>
                    <a:pt x="40" y="27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7" y="7"/>
                  </a:lnTo>
                  <a:lnTo>
                    <a:pt x="35" y="4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0" y="61"/>
                  </a:lnTo>
                  <a:lnTo>
                    <a:pt x="10" y="36"/>
                  </a:lnTo>
                  <a:close/>
                  <a:moveTo>
                    <a:pt x="10" y="7"/>
                  </a:moveTo>
                  <a:lnTo>
                    <a:pt x="22" y="9"/>
                  </a:lnTo>
                  <a:lnTo>
                    <a:pt x="27" y="9"/>
                  </a:lnTo>
                  <a:lnTo>
                    <a:pt x="27" y="12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27" y="24"/>
                  </a:lnTo>
                  <a:lnTo>
                    <a:pt x="25" y="27"/>
                  </a:lnTo>
                  <a:lnTo>
                    <a:pt x="22" y="29"/>
                  </a:lnTo>
                  <a:lnTo>
                    <a:pt x="15" y="29"/>
                  </a:lnTo>
                  <a:lnTo>
                    <a:pt x="10" y="29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8">
              <a:extLst>
                <a:ext uri="{FF2B5EF4-FFF2-40B4-BE49-F238E27FC236}">
                  <a16:creationId xmlns:a16="http://schemas.microsoft.com/office/drawing/2014/main" id="{479C7F54-5E4D-4F9F-890D-E375B440C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3" y="2154"/>
              <a:ext cx="34" cy="61"/>
            </a:xfrm>
            <a:custGeom>
              <a:avLst/>
              <a:gdLst>
                <a:gd name="T0" fmla="*/ 34 w 34"/>
                <a:gd name="T1" fmla="*/ 7 h 61"/>
                <a:gd name="T2" fmla="*/ 34 w 34"/>
                <a:gd name="T3" fmla="*/ 0 h 61"/>
                <a:gd name="T4" fmla="*/ 0 w 34"/>
                <a:gd name="T5" fmla="*/ 0 h 61"/>
                <a:gd name="T6" fmla="*/ 0 w 34"/>
                <a:gd name="T7" fmla="*/ 61 h 61"/>
                <a:gd name="T8" fmla="*/ 34 w 34"/>
                <a:gd name="T9" fmla="*/ 61 h 61"/>
                <a:gd name="T10" fmla="*/ 34 w 34"/>
                <a:gd name="T11" fmla="*/ 54 h 61"/>
                <a:gd name="T12" fmla="*/ 12 w 34"/>
                <a:gd name="T13" fmla="*/ 54 h 61"/>
                <a:gd name="T14" fmla="*/ 12 w 34"/>
                <a:gd name="T15" fmla="*/ 34 h 61"/>
                <a:gd name="T16" fmla="*/ 29 w 34"/>
                <a:gd name="T17" fmla="*/ 34 h 61"/>
                <a:gd name="T18" fmla="*/ 29 w 34"/>
                <a:gd name="T19" fmla="*/ 27 h 61"/>
                <a:gd name="T20" fmla="*/ 12 w 34"/>
                <a:gd name="T21" fmla="*/ 27 h 61"/>
                <a:gd name="T22" fmla="*/ 12 w 34"/>
                <a:gd name="T23" fmla="*/ 7 h 61"/>
                <a:gd name="T24" fmla="*/ 34 w 34"/>
                <a:gd name="T25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61">
                  <a:moveTo>
                    <a:pt x="34" y="7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4" y="61"/>
                  </a:lnTo>
                  <a:lnTo>
                    <a:pt x="34" y="54"/>
                  </a:lnTo>
                  <a:lnTo>
                    <a:pt x="12" y="54"/>
                  </a:lnTo>
                  <a:lnTo>
                    <a:pt x="12" y="34"/>
                  </a:lnTo>
                  <a:lnTo>
                    <a:pt x="29" y="34"/>
                  </a:lnTo>
                  <a:lnTo>
                    <a:pt x="29" y="27"/>
                  </a:lnTo>
                  <a:lnTo>
                    <a:pt x="12" y="27"/>
                  </a:lnTo>
                  <a:lnTo>
                    <a:pt x="12" y="7"/>
                  </a:lnTo>
                  <a:lnTo>
                    <a:pt x="34" y="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9">
              <a:extLst>
                <a:ext uri="{FF2B5EF4-FFF2-40B4-BE49-F238E27FC236}">
                  <a16:creationId xmlns:a16="http://schemas.microsoft.com/office/drawing/2014/main" id="{7CB4C989-21B9-4DDC-969B-92ACFADF00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5" y="2119"/>
              <a:ext cx="300" cy="206"/>
            </a:xfrm>
            <a:custGeom>
              <a:avLst/>
              <a:gdLst>
                <a:gd name="T0" fmla="*/ 282 w 300"/>
                <a:gd name="T1" fmla="*/ 91 h 206"/>
                <a:gd name="T2" fmla="*/ 214 w 300"/>
                <a:gd name="T3" fmla="*/ 15 h 206"/>
                <a:gd name="T4" fmla="*/ 182 w 300"/>
                <a:gd name="T5" fmla="*/ 0 h 206"/>
                <a:gd name="T6" fmla="*/ 0 w 300"/>
                <a:gd name="T7" fmla="*/ 3 h 206"/>
                <a:gd name="T8" fmla="*/ 5 w 300"/>
                <a:gd name="T9" fmla="*/ 182 h 206"/>
                <a:gd name="T10" fmla="*/ 50 w 300"/>
                <a:gd name="T11" fmla="*/ 182 h 206"/>
                <a:gd name="T12" fmla="*/ 67 w 300"/>
                <a:gd name="T13" fmla="*/ 204 h 206"/>
                <a:gd name="T14" fmla="*/ 96 w 300"/>
                <a:gd name="T15" fmla="*/ 204 h 206"/>
                <a:gd name="T16" fmla="*/ 111 w 300"/>
                <a:gd name="T17" fmla="*/ 182 h 206"/>
                <a:gd name="T18" fmla="*/ 211 w 300"/>
                <a:gd name="T19" fmla="*/ 196 h 206"/>
                <a:gd name="T20" fmla="*/ 233 w 300"/>
                <a:gd name="T21" fmla="*/ 206 h 206"/>
                <a:gd name="T22" fmla="*/ 263 w 300"/>
                <a:gd name="T23" fmla="*/ 187 h 206"/>
                <a:gd name="T24" fmla="*/ 300 w 300"/>
                <a:gd name="T25" fmla="*/ 177 h 206"/>
                <a:gd name="T26" fmla="*/ 295 w 300"/>
                <a:gd name="T27" fmla="*/ 111 h 206"/>
                <a:gd name="T28" fmla="*/ 197 w 300"/>
                <a:gd name="T29" fmla="*/ 89 h 206"/>
                <a:gd name="T30" fmla="*/ 216 w 300"/>
                <a:gd name="T31" fmla="*/ 62 h 206"/>
                <a:gd name="T32" fmla="*/ 219 w 300"/>
                <a:gd name="T33" fmla="*/ 42 h 206"/>
                <a:gd name="T34" fmla="*/ 91 w 300"/>
                <a:gd name="T35" fmla="*/ 189 h 206"/>
                <a:gd name="T36" fmla="*/ 79 w 300"/>
                <a:gd name="T37" fmla="*/ 194 h 206"/>
                <a:gd name="T38" fmla="*/ 67 w 300"/>
                <a:gd name="T39" fmla="*/ 189 h 206"/>
                <a:gd name="T40" fmla="*/ 62 w 300"/>
                <a:gd name="T41" fmla="*/ 177 h 206"/>
                <a:gd name="T42" fmla="*/ 67 w 300"/>
                <a:gd name="T43" fmla="*/ 167 h 206"/>
                <a:gd name="T44" fmla="*/ 79 w 300"/>
                <a:gd name="T45" fmla="*/ 160 h 206"/>
                <a:gd name="T46" fmla="*/ 91 w 300"/>
                <a:gd name="T47" fmla="*/ 165 h 206"/>
                <a:gd name="T48" fmla="*/ 96 w 300"/>
                <a:gd name="T49" fmla="*/ 177 h 206"/>
                <a:gd name="T50" fmla="*/ 248 w 300"/>
                <a:gd name="T51" fmla="*/ 187 h 206"/>
                <a:gd name="T52" fmla="*/ 236 w 300"/>
                <a:gd name="T53" fmla="*/ 194 h 206"/>
                <a:gd name="T54" fmla="*/ 226 w 300"/>
                <a:gd name="T55" fmla="*/ 191 h 206"/>
                <a:gd name="T56" fmla="*/ 216 w 300"/>
                <a:gd name="T57" fmla="*/ 182 h 206"/>
                <a:gd name="T58" fmla="*/ 219 w 300"/>
                <a:gd name="T59" fmla="*/ 169 h 206"/>
                <a:gd name="T60" fmla="*/ 228 w 300"/>
                <a:gd name="T61" fmla="*/ 160 h 206"/>
                <a:gd name="T62" fmla="*/ 243 w 300"/>
                <a:gd name="T63" fmla="*/ 162 h 206"/>
                <a:gd name="T64" fmla="*/ 251 w 300"/>
                <a:gd name="T65" fmla="*/ 174 h 206"/>
                <a:gd name="T66" fmla="*/ 273 w 300"/>
                <a:gd name="T67" fmla="*/ 135 h 206"/>
                <a:gd name="T68" fmla="*/ 275 w 300"/>
                <a:gd name="T69" fmla="*/ 138 h 206"/>
                <a:gd name="T70" fmla="*/ 278 w 300"/>
                <a:gd name="T71" fmla="*/ 138 h 206"/>
                <a:gd name="T72" fmla="*/ 263 w 300"/>
                <a:gd name="T73" fmla="*/ 169 h 206"/>
                <a:gd name="T74" fmla="*/ 238 w 300"/>
                <a:gd name="T75" fmla="*/ 147 h 206"/>
                <a:gd name="T76" fmla="*/ 214 w 300"/>
                <a:gd name="T77" fmla="*/ 155 h 206"/>
                <a:gd name="T78" fmla="*/ 108 w 300"/>
                <a:gd name="T79" fmla="*/ 169 h 206"/>
                <a:gd name="T80" fmla="*/ 84 w 300"/>
                <a:gd name="T81" fmla="*/ 147 h 206"/>
                <a:gd name="T82" fmla="*/ 59 w 300"/>
                <a:gd name="T83" fmla="*/ 155 h 206"/>
                <a:gd name="T84" fmla="*/ 15 w 300"/>
                <a:gd name="T85" fmla="*/ 169 h 206"/>
                <a:gd name="T86" fmla="*/ 189 w 300"/>
                <a:gd name="T87" fmla="*/ 15 h 206"/>
                <a:gd name="T88" fmla="*/ 206 w 300"/>
                <a:gd name="T89" fmla="*/ 27 h 206"/>
                <a:gd name="T90" fmla="*/ 187 w 300"/>
                <a:gd name="T91" fmla="*/ 96 h 206"/>
                <a:gd name="T92" fmla="*/ 282 w 300"/>
                <a:gd name="T93" fmla="*/ 111 h 206"/>
                <a:gd name="T94" fmla="*/ 287 w 300"/>
                <a:gd name="T95" fmla="*/ 130 h 206"/>
                <a:gd name="T96" fmla="*/ 275 w 300"/>
                <a:gd name="T97" fmla="*/ 130 h 206"/>
                <a:gd name="T98" fmla="*/ 273 w 300"/>
                <a:gd name="T99" fmla="*/ 13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0" h="206">
                  <a:moveTo>
                    <a:pt x="295" y="111"/>
                  </a:moveTo>
                  <a:lnTo>
                    <a:pt x="290" y="101"/>
                  </a:lnTo>
                  <a:lnTo>
                    <a:pt x="282" y="91"/>
                  </a:lnTo>
                  <a:lnTo>
                    <a:pt x="268" y="84"/>
                  </a:lnTo>
                  <a:lnTo>
                    <a:pt x="263" y="81"/>
                  </a:lnTo>
                  <a:lnTo>
                    <a:pt x="214" y="15"/>
                  </a:lnTo>
                  <a:lnTo>
                    <a:pt x="204" y="5"/>
                  </a:lnTo>
                  <a:lnTo>
                    <a:pt x="192" y="0"/>
                  </a:lnTo>
                  <a:lnTo>
                    <a:pt x="182" y="0"/>
                  </a:lnTo>
                  <a:lnTo>
                    <a:pt x="17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7"/>
                  </a:lnTo>
                  <a:lnTo>
                    <a:pt x="5" y="182"/>
                  </a:lnTo>
                  <a:lnTo>
                    <a:pt x="8" y="182"/>
                  </a:lnTo>
                  <a:lnTo>
                    <a:pt x="47" y="182"/>
                  </a:lnTo>
                  <a:lnTo>
                    <a:pt x="50" y="182"/>
                  </a:lnTo>
                  <a:lnTo>
                    <a:pt x="54" y="194"/>
                  </a:lnTo>
                  <a:lnTo>
                    <a:pt x="59" y="201"/>
                  </a:lnTo>
                  <a:lnTo>
                    <a:pt x="67" y="204"/>
                  </a:lnTo>
                  <a:lnTo>
                    <a:pt x="76" y="206"/>
                  </a:lnTo>
                  <a:lnTo>
                    <a:pt x="79" y="206"/>
                  </a:lnTo>
                  <a:lnTo>
                    <a:pt x="96" y="204"/>
                  </a:lnTo>
                  <a:lnTo>
                    <a:pt x="103" y="194"/>
                  </a:lnTo>
                  <a:lnTo>
                    <a:pt x="108" y="187"/>
                  </a:lnTo>
                  <a:lnTo>
                    <a:pt x="111" y="182"/>
                  </a:lnTo>
                  <a:lnTo>
                    <a:pt x="204" y="182"/>
                  </a:lnTo>
                  <a:lnTo>
                    <a:pt x="206" y="191"/>
                  </a:lnTo>
                  <a:lnTo>
                    <a:pt x="211" y="196"/>
                  </a:lnTo>
                  <a:lnTo>
                    <a:pt x="216" y="204"/>
                  </a:lnTo>
                  <a:lnTo>
                    <a:pt x="226" y="206"/>
                  </a:lnTo>
                  <a:lnTo>
                    <a:pt x="233" y="206"/>
                  </a:lnTo>
                  <a:lnTo>
                    <a:pt x="248" y="204"/>
                  </a:lnTo>
                  <a:lnTo>
                    <a:pt x="258" y="194"/>
                  </a:lnTo>
                  <a:lnTo>
                    <a:pt x="263" y="187"/>
                  </a:lnTo>
                  <a:lnTo>
                    <a:pt x="263" y="182"/>
                  </a:lnTo>
                  <a:lnTo>
                    <a:pt x="297" y="179"/>
                  </a:lnTo>
                  <a:lnTo>
                    <a:pt x="300" y="177"/>
                  </a:lnTo>
                  <a:lnTo>
                    <a:pt x="300" y="174"/>
                  </a:lnTo>
                  <a:lnTo>
                    <a:pt x="300" y="120"/>
                  </a:lnTo>
                  <a:lnTo>
                    <a:pt x="295" y="111"/>
                  </a:lnTo>
                  <a:close/>
                  <a:moveTo>
                    <a:pt x="219" y="42"/>
                  </a:moveTo>
                  <a:lnTo>
                    <a:pt x="253" y="89"/>
                  </a:lnTo>
                  <a:lnTo>
                    <a:pt x="197" y="89"/>
                  </a:lnTo>
                  <a:lnTo>
                    <a:pt x="197" y="69"/>
                  </a:lnTo>
                  <a:lnTo>
                    <a:pt x="216" y="69"/>
                  </a:lnTo>
                  <a:lnTo>
                    <a:pt x="216" y="62"/>
                  </a:lnTo>
                  <a:lnTo>
                    <a:pt x="197" y="62"/>
                  </a:lnTo>
                  <a:lnTo>
                    <a:pt x="197" y="42"/>
                  </a:lnTo>
                  <a:lnTo>
                    <a:pt x="219" y="42"/>
                  </a:lnTo>
                  <a:close/>
                  <a:moveTo>
                    <a:pt x="96" y="179"/>
                  </a:moveTo>
                  <a:lnTo>
                    <a:pt x="96" y="184"/>
                  </a:lnTo>
                  <a:lnTo>
                    <a:pt x="91" y="189"/>
                  </a:lnTo>
                  <a:lnTo>
                    <a:pt x="89" y="191"/>
                  </a:lnTo>
                  <a:lnTo>
                    <a:pt x="84" y="194"/>
                  </a:lnTo>
                  <a:lnTo>
                    <a:pt x="79" y="194"/>
                  </a:lnTo>
                  <a:lnTo>
                    <a:pt x="74" y="194"/>
                  </a:lnTo>
                  <a:lnTo>
                    <a:pt x="72" y="191"/>
                  </a:lnTo>
                  <a:lnTo>
                    <a:pt x="67" y="189"/>
                  </a:lnTo>
                  <a:lnTo>
                    <a:pt x="67" y="187"/>
                  </a:lnTo>
                  <a:lnTo>
                    <a:pt x="64" y="182"/>
                  </a:lnTo>
                  <a:lnTo>
                    <a:pt x="62" y="177"/>
                  </a:lnTo>
                  <a:lnTo>
                    <a:pt x="62" y="174"/>
                  </a:lnTo>
                  <a:lnTo>
                    <a:pt x="64" y="169"/>
                  </a:lnTo>
                  <a:lnTo>
                    <a:pt x="67" y="167"/>
                  </a:lnTo>
                  <a:lnTo>
                    <a:pt x="72" y="162"/>
                  </a:lnTo>
                  <a:lnTo>
                    <a:pt x="76" y="160"/>
                  </a:lnTo>
                  <a:lnTo>
                    <a:pt x="79" y="160"/>
                  </a:lnTo>
                  <a:lnTo>
                    <a:pt x="84" y="160"/>
                  </a:lnTo>
                  <a:lnTo>
                    <a:pt x="89" y="162"/>
                  </a:lnTo>
                  <a:lnTo>
                    <a:pt x="91" y="165"/>
                  </a:lnTo>
                  <a:lnTo>
                    <a:pt x="96" y="169"/>
                  </a:lnTo>
                  <a:lnTo>
                    <a:pt x="96" y="174"/>
                  </a:lnTo>
                  <a:lnTo>
                    <a:pt x="96" y="177"/>
                  </a:lnTo>
                  <a:lnTo>
                    <a:pt x="96" y="179"/>
                  </a:lnTo>
                  <a:close/>
                  <a:moveTo>
                    <a:pt x="251" y="182"/>
                  </a:moveTo>
                  <a:lnTo>
                    <a:pt x="248" y="187"/>
                  </a:lnTo>
                  <a:lnTo>
                    <a:pt x="243" y="191"/>
                  </a:lnTo>
                  <a:lnTo>
                    <a:pt x="241" y="194"/>
                  </a:lnTo>
                  <a:lnTo>
                    <a:pt x="236" y="194"/>
                  </a:lnTo>
                  <a:lnTo>
                    <a:pt x="233" y="194"/>
                  </a:lnTo>
                  <a:lnTo>
                    <a:pt x="228" y="194"/>
                  </a:lnTo>
                  <a:lnTo>
                    <a:pt x="226" y="191"/>
                  </a:lnTo>
                  <a:lnTo>
                    <a:pt x="221" y="189"/>
                  </a:lnTo>
                  <a:lnTo>
                    <a:pt x="219" y="184"/>
                  </a:lnTo>
                  <a:lnTo>
                    <a:pt x="216" y="182"/>
                  </a:lnTo>
                  <a:lnTo>
                    <a:pt x="216" y="177"/>
                  </a:lnTo>
                  <a:lnTo>
                    <a:pt x="216" y="172"/>
                  </a:lnTo>
                  <a:lnTo>
                    <a:pt x="219" y="169"/>
                  </a:lnTo>
                  <a:lnTo>
                    <a:pt x="221" y="165"/>
                  </a:lnTo>
                  <a:lnTo>
                    <a:pt x="224" y="162"/>
                  </a:lnTo>
                  <a:lnTo>
                    <a:pt x="228" y="160"/>
                  </a:lnTo>
                  <a:lnTo>
                    <a:pt x="233" y="160"/>
                  </a:lnTo>
                  <a:lnTo>
                    <a:pt x="238" y="160"/>
                  </a:lnTo>
                  <a:lnTo>
                    <a:pt x="243" y="162"/>
                  </a:lnTo>
                  <a:lnTo>
                    <a:pt x="246" y="167"/>
                  </a:lnTo>
                  <a:lnTo>
                    <a:pt x="248" y="169"/>
                  </a:lnTo>
                  <a:lnTo>
                    <a:pt x="251" y="174"/>
                  </a:lnTo>
                  <a:lnTo>
                    <a:pt x="251" y="177"/>
                  </a:lnTo>
                  <a:lnTo>
                    <a:pt x="251" y="182"/>
                  </a:lnTo>
                  <a:close/>
                  <a:moveTo>
                    <a:pt x="273" y="135"/>
                  </a:moveTo>
                  <a:lnTo>
                    <a:pt x="273" y="135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87" y="138"/>
                  </a:lnTo>
                  <a:lnTo>
                    <a:pt x="287" y="169"/>
                  </a:lnTo>
                  <a:lnTo>
                    <a:pt x="263" y="169"/>
                  </a:lnTo>
                  <a:lnTo>
                    <a:pt x="258" y="160"/>
                  </a:lnTo>
                  <a:lnTo>
                    <a:pt x="251" y="152"/>
                  </a:lnTo>
                  <a:lnTo>
                    <a:pt x="238" y="147"/>
                  </a:lnTo>
                  <a:lnTo>
                    <a:pt x="233" y="147"/>
                  </a:lnTo>
                  <a:lnTo>
                    <a:pt x="221" y="150"/>
                  </a:lnTo>
                  <a:lnTo>
                    <a:pt x="214" y="155"/>
                  </a:lnTo>
                  <a:lnTo>
                    <a:pt x="206" y="165"/>
                  </a:lnTo>
                  <a:lnTo>
                    <a:pt x="204" y="169"/>
                  </a:lnTo>
                  <a:lnTo>
                    <a:pt x="108" y="169"/>
                  </a:lnTo>
                  <a:lnTo>
                    <a:pt x="103" y="157"/>
                  </a:lnTo>
                  <a:lnTo>
                    <a:pt x="96" y="152"/>
                  </a:lnTo>
                  <a:lnTo>
                    <a:pt x="84" y="147"/>
                  </a:lnTo>
                  <a:lnTo>
                    <a:pt x="79" y="147"/>
                  </a:lnTo>
                  <a:lnTo>
                    <a:pt x="67" y="150"/>
                  </a:lnTo>
                  <a:lnTo>
                    <a:pt x="59" y="155"/>
                  </a:lnTo>
                  <a:lnTo>
                    <a:pt x="52" y="162"/>
                  </a:lnTo>
                  <a:lnTo>
                    <a:pt x="50" y="169"/>
                  </a:lnTo>
                  <a:lnTo>
                    <a:pt x="15" y="169"/>
                  </a:lnTo>
                  <a:lnTo>
                    <a:pt x="15" y="13"/>
                  </a:lnTo>
                  <a:lnTo>
                    <a:pt x="184" y="13"/>
                  </a:lnTo>
                  <a:lnTo>
                    <a:pt x="189" y="15"/>
                  </a:lnTo>
                  <a:lnTo>
                    <a:pt x="197" y="17"/>
                  </a:lnTo>
                  <a:lnTo>
                    <a:pt x="202" y="20"/>
                  </a:lnTo>
                  <a:lnTo>
                    <a:pt x="206" y="27"/>
                  </a:lnTo>
                  <a:lnTo>
                    <a:pt x="214" y="35"/>
                  </a:lnTo>
                  <a:lnTo>
                    <a:pt x="187" y="35"/>
                  </a:lnTo>
                  <a:lnTo>
                    <a:pt x="187" y="96"/>
                  </a:lnTo>
                  <a:lnTo>
                    <a:pt x="265" y="96"/>
                  </a:lnTo>
                  <a:lnTo>
                    <a:pt x="275" y="103"/>
                  </a:lnTo>
                  <a:lnTo>
                    <a:pt x="282" y="111"/>
                  </a:lnTo>
                  <a:lnTo>
                    <a:pt x="285" y="118"/>
                  </a:lnTo>
                  <a:lnTo>
                    <a:pt x="285" y="123"/>
                  </a:lnTo>
                  <a:lnTo>
                    <a:pt x="287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3" y="133"/>
                  </a:lnTo>
                  <a:lnTo>
                    <a:pt x="273" y="135"/>
                  </a:lnTo>
                  <a:lnTo>
                    <a:pt x="273" y="13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62">
            <a:extLst>
              <a:ext uri="{FF2B5EF4-FFF2-40B4-BE49-F238E27FC236}">
                <a16:creationId xmlns:a16="http://schemas.microsoft.com/office/drawing/2014/main" id="{6C55968D-CA71-4414-AC54-A9274F9A44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502" y="2803542"/>
            <a:ext cx="841375" cy="841375"/>
            <a:chOff x="1800" y="1839"/>
            <a:chExt cx="530" cy="530"/>
          </a:xfrm>
        </p:grpSpPr>
        <p:sp>
          <p:nvSpPr>
            <p:cNvPr id="183" name="AutoShape 161">
              <a:extLst>
                <a:ext uri="{FF2B5EF4-FFF2-40B4-BE49-F238E27FC236}">
                  <a16:creationId xmlns:a16="http://schemas.microsoft.com/office/drawing/2014/main" id="{660EB86D-0DD4-4EA5-BA85-A2F85B2D3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00" y="183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163">
              <a:extLst>
                <a:ext uri="{FF2B5EF4-FFF2-40B4-BE49-F238E27FC236}">
                  <a16:creationId xmlns:a16="http://schemas.microsoft.com/office/drawing/2014/main" id="{7447245F-6626-452B-AF93-02C6C6F2E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" y="183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64">
              <a:extLst>
                <a:ext uri="{FF2B5EF4-FFF2-40B4-BE49-F238E27FC236}">
                  <a16:creationId xmlns:a16="http://schemas.microsoft.com/office/drawing/2014/main" id="{328586A0-7E1F-4051-A6E0-F5AF32DA0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8" y="185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65">
              <a:extLst>
                <a:ext uri="{FF2B5EF4-FFF2-40B4-BE49-F238E27FC236}">
                  <a16:creationId xmlns:a16="http://schemas.microsoft.com/office/drawing/2014/main" id="{A92E5B88-7412-461B-AAA7-F085E17DD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2033"/>
              <a:ext cx="33" cy="64"/>
            </a:xfrm>
            <a:custGeom>
              <a:avLst/>
              <a:gdLst>
                <a:gd name="T0" fmla="*/ 33 w 33"/>
                <a:gd name="T1" fmla="*/ 8 h 64"/>
                <a:gd name="T2" fmla="*/ 33 w 33"/>
                <a:gd name="T3" fmla="*/ 0 h 64"/>
                <a:gd name="T4" fmla="*/ 0 w 33"/>
                <a:gd name="T5" fmla="*/ 0 h 64"/>
                <a:gd name="T6" fmla="*/ 0 w 33"/>
                <a:gd name="T7" fmla="*/ 64 h 64"/>
                <a:gd name="T8" fmla="*/ 10 w 33"/>
                <a:gd name="T9" fmla="*/ 64 h 64"/>
                <a:gd name="T10" fmla="*/ 10 w 33"/>
                <a:gd name="T11" fmla="*/ 36 h 64"/>
                <a:gd name="T12" fmla="*/ 31 w 33"/>
                <a:gd name="T13" fmla="*/ 36 h 64"/>
                <a:gd name="T14" fmla="*/ 31 w 33"/>
                <a:gd name="T15" fmla="*/ 29 h 64"/>
                <a:gd name="T16" fmla="*/ 10 w 33"/>
                <a:gd name="T17" fmla="*/ 29 h 64"/>
                <a:gd name="T18" fmla="*/ 10 w 33"/>
                <a:gd name="T19" fmla="*/ 8 h 64"/>
                <a:gd name="T20" fmla="*/ 33 w 33"/>
                <a:gd name="T21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64">
                  <a:moveTo>
                    <a:pt x="33" y="8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0" y="64"/>
                  </a:lnTo>
                  <a:lnTo>
                    <a:pt x="10" y="36"/>
                  </a:lnTo>
                  <a:lnTo>
                    <a:pt x="31" y="36"/>
                  </a:lnTo>
                  <a:lnTo>
                    <a:pt x="31" y="29"/>
                  </a:lnTo>
                  <a:lnTo>
                    <a:pt x="10" y="29"/>
                  </a:lnTo>
                  <a:lnTo>
                    <a:pt x="10" y="8"/>
                  </a:lnTo>
                  <a:lnTo>
                    <a:pt x="3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66">
              <a:extLst>
                <a:ext uri="{FF2B5EF4-FFF2-40B4-BE49-F238E27FC236}">
                  <a16:creationId xmlns:a16="http://schemas.microsoft.com/office/drawing/2014/main" id="{652FDD57-6132-46A1-AF45-432E8F5383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5" y="2033"/>
              <a:ext cx="46" cy="64"/>
            </a:xfrm>
            <a:custGeom>
              <a:avLst/>
              <a:gdLst>
                <a:gd name="T0" fmla="*/ 10 w 46"/>
                <a:gd name="T1" fmla="*/ 39 h 64"/>
                <a:gd name="T2" fmla="*/ 20 w 46"/>
                <a:gd name="T3" fmla="*/ 39 h 64"/>
                <a:gd name="T4" fmla="*/ 33 w 46"/>
                <a:gd name="T5" fmla="*/ 64 h 64"/>
                <a:gd name="T6" fmla="*/ 46 w 46"/>
                <a:gd name="T7" fmla="*/ 64 h 64"/>
                <a:gd name="T8" fmla="*/ 30 w 46"/>
                <a:gd name="T9" fmla="*/ 36 h 64"/>
                <a:gd name="T10" fmla="*/ 38 w 46"/>
                <a:gd name="T11" fmla="*/ 34 h 64"/>
                <a:gd name="T12" fmla="*/ 41 w 46"/>
                <a:gd name="T13" fmla="*/ 29 h 64"/>
                <a:gd name="T14" fmla="*/ 41 w 46"/>
                <a:gd name="T15" fmla="*/ 21 h 64"/>
                <a:gd name="T16" fmla="*/ 41 w 46"/>
                <a:gd name="T17" fmla="*/ 18 h 64"/>
                <a:gd name="T18" fmla="*/ 38 w 46"/>
                <a:gd name="T19" fmla="*/ 8 h 64"/>
                <a:gd name="T20" fmla="*/ 36 w 46"/>
                <a:gd name="T21" fmla="*/ 6 h 64"/>
                <a:gd name="T22" fmla="*/ 30 w 46"/>
                <a:gd name="T23" fmla="*/ 3 h 64"/>
                <a:gd name="T24" fmla="*/ 23 w 46"/>
                <a:gd name="T25" fmla="*/ 0 h 64"/>
                <a:gd name="T26" fmla="*/ 20 w 46"/>
                <a:gd name="T27" fmla="*/ 0 h 64"/>
                <a:gd name="T28" fmla="*/ 0 w 46"/>
                <a:gd name="T29" fmla="*/ 0 h 64"/>
                <a:gd name="T30" fmla="*/ 0 w 46"/>
                <a:gd name="T31" fmla="*/ 64 h 64"/>
                <a:gd name="T32" fmla="*/ 10 w 46"/>
                <a:gd name="T33" fmla="*/ 64 h 64"/>
                <a:gd name="T34" fmla="*/ 10 w 46"/>
                <a:gd name="T35" fmla="*/ 39 h 64"/>
                <a:gd name="T36" fmla="*/ 10 w 46"/>
                <a:gd name="T37" fmla="*/ 8 h 64"/>
                <a:gd name="T38" fmla="*/ 23 w 46"/>
                <a:gd name="T39" fmla="*/ 11 h 64"/>
                <a:gd name="T40" fmla="*/ 28 w 46"/>
                <a:gd name="T41" fmla="*/ 11 h 64"/>
                <a:gd name="T42" fmla="*/ 28 w 46"/>
                <a:gd name="T43" fmla="*/ 13 h 64"/>
                <a:gd name="T44" fmla="*/ 30 w 46"/>
                <a:gd name="T45" fmla="*/ 18 h 64"/>
                <a:gd name="T46" fmla="*/ 30 w 46"/>
                <a:gd name="T47" fmla="*/ 21 h 64"/>
                <a:gd name="T48" fmla="*/ 28 w 46"/>
                <a:gd name="T49" fmla="*/ 26 h 64"/>
                <a:gd name="T50" fmla="*/ 25 w 46"/>
                <a:gd name="T51" fmla="*/ 29 h 64"/>
                <a:gd name="T52" fmla="*/ 23 w 46"/>
                <a:gd name="T53" fmla="*/ 31 h 64"/>
                <a:gd name="T54" fmla="*/ 15 w 46"/>
                <a:gd name="T55" fmla="*/ 31 h 64"/>
                <a:gd name="T56" fmla="*/ 10 w 46"/>
                <a:gd name="T57" fmla="*/ 31 h 64"/>
                <a:gd name="T58" fmla="*/ 10 w 46"/>
                <a:gd name="T5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6" h="64">
                  <a:moveTo>
                    <a:pt x="10" y="39"/>
                  </a:moveTo>
                  <a:lnTo>
                    <a:pt x="20" y="39"/>
                  </a:lnTo>
                  <a:lnTo>
                    <a:pt x="33" y="64"/>
                  </a:lnTo>
                  <a:lnTo>
                    <a:pt x="46" y="64"/>
                  </a:lnTo>
                  <a:lnTo>
                    <a:pt x="30" y="36"/>
                  </a:lnTo>
                  <a:lnTo>
                    <a:pt x="38" y="34"/>
                  </a:lnTo>
                  <a:lnTo>
                    <a:pt x="41" y="29"/>
                  </a:lnTo>
                  <a:lnTo>
                    <a:pt x="41" y="21"/>
                  </a:lnTo>
                  <a:lnTo>
                    <a:pt x="41" y="18"/>
                  </a:lnTo>
                  <a:lnTo>
                    <a:pt x="38" y="8"/>
                  </a:lnTo>
                  <a:lnTo>
                    <a:pt x="36" y="6"/>
                  </a:lnTo>
                  <a:lnTo>
                    <a:pt x="30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0" y="64"/>
                  </a:lnTo>
                  <a:lnTo>
                    <a:pt x="10" y="39"/>
                  </a:lnTo>
                  <a:close/>
                  <a:moveTo>
                    <a:pt x="10" y="8"/>
                  </a:moveTo>
                  <a:lnTo>
                    <a:pt x="23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8"/>
                  </a:lnTo>
                  <a:lnTo>
                    <a:pt x="30" y="21"/>
                  </a:lnTo>
                  <a:lnTo>
                    <a:pt x="28" y="26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15" y="31"/>
                  </a:lnTo>
                  <a:lnTo>
                    <a:pt x="10" y="31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67">
              <a:extLst>
                <a:ext uri="{FF2B5EF4-FFF2-40B4-BE49-F238E27FC236}">
                  <a16:creationId xmlns:a16="http://schemas.microsoft.com/office/drawing/2014/main" id="{05011040-051F-4750-8CB9-B0A155C42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4" y="2033"/>
              <a:ext cx="35" cy="64"/>
            </a:xfrm>
            <a:custGeom>
              <a:avLst/>
              <a:gdLst>
                <a:gd name="T0" fmla="*/ 35 w 35"/>
                <a:gd name="T1" fmla="*/ 8 h 64"/>
                <a:gd name="T2" fmla="*/ 35 w 35"/>
                <a:gd name="T3" fmla="*/ 0 h 64"/>
                <a:gd name="T4" fmla="*/ 0 w 35"/>
                <a:gd name="T5" fmla="*/ 0 h 64"/>
                <a:gd name="T6" fmla="*/ 0 w 35"/>
                <a:gd name="T7" fmla="*/ 64 h 64"/>
                <a:gd name="T8" fmla="*/ 35 w 35"/>
                <a:gd name="T9" fmla="*/ 64 h 64"/>
                <a:gd name="T10" fmla="*/ 35 w 35"/>
                <a:gd name="T11" fmla="*/ 57 h 64"/>
                <a:gd name="T12" fmla="*/ 12 w 35"/>
                <a:gd name="T13" fmla="*/ 57 h 64"/>
                <a:gd name="T14" fmla="*/ 12 w 35"/>
                <a:gd name="T15" fmla="*/ 36 h 64"/>
                <a:gd name="T16" fmla="*/ 30 w 35"/>
                <a:gd name="T17" fmla="*/ 36 h 64"/>
                <a:gd name="T18" fmla="*/ 30 w 35"/>
                <a:gd name="T19" fmla="*/ 29 h 64"/>
                <a:gd name="T20" fmla="*/ 12 w 35"/>
                <a:gd name="T21" fmla="*/ 29 h 64"/>
                <a:gd name="T22" fmla="*/ 12 w 35"/>
                <a:gd name="T23" fmla="*/ 8 h 64"/>
                <a:gd name="T24" fmla="*/ 35 w 35"/>
                <a:gd name="T25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64">
                  <a:moveTo>
                    <a:pt x="35" y="8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35" y="64"/>
                  </a:lnTo>
                  <a:lnTo>
                    <a:pt x="35" y="57"/>
                  </a:lnTo>
                  <a:lnTo>
                    <a:pt x="12" y="57"/>
                  </a:lnTo>
                  <a:lnTo>
                    <a:pt x="12" y="36"/>
                  </a:lnTo>
                  <a:lnTo>
                    <a:pt x="30" y="36"/>
                  </a:lnTo>
                  <a:lnTo>
                    <a:pt x="30" y="29"/>
                  </a:lnTo>
                  <a:lnTo>
                    <a:pt x="12" y="29"/>
                  </a:lnTo>
                  <a:lnTo>
                    <a:pt x="12" y="8"/>
                  </a:lnTo>
                  <a:lnTo>
                    <a:pt x="35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8">
              <a:extLst>
                <a:ext uri="{FF2B5EF4-FFF2-40B4-BE49-F238E27FC236}">
                  <a16:creationId xmlns:a16="http://schemas.microsoft.com/office/drawing/2014/main" id="{E91C14C5-9028-4DEE-9377-CFDDDA3781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0" y="1998"/>
              <a:ext cx="313" cy="215"/>
            </a:xfrm>
            <a:custGeom>
              <a:avLst/>
              <a:gdLst>
                <a:gd name="T0" fmla="*/ 295 w 313"/>
                <a:gd name="T1" fmla="*/ 94 h 215"/>
                <a:gd name="T2" fmla="*/ 223 w 313"/>
                <a:gd name="T3" fmla="*/ 15 h 215"/>
                <a:gd name="T4" fmla="*/ 190 w 313"/>
                <a:gd name="T5" fmla="*/ 0 h 215"/>
                <a:gd name="T6" fmla="*/ 0 w 313"/>
                <a:gd name="T7" fmla="*/ 2 h 215"/>
                <a:gd name="T8" fmla="*/ 5 w 313"/>
                <a:gd name="T9" fmla="*/ 189 h 215"/>
                <a:gd name="T10" fmla="*/ 51 w 313"/>
                <a:gd name="T11" fmla="*/ 189 h 215"/>
                <a:gd name="T12" fmla="*/ 69 w 313"/>
                <a:gd name="T13" fmla="*/ 212 h 215"/>
                <a:gd name="T14" fmla="*/ 100 w 313"/>
                <a:gd name="T15" fmla="*/ 212 h 215"/>
                <a:gd name="T16" fmla="*/ 115 w 313"/>
                <a:gd name="T17" fmla="*/ 189 h 215"/>
                <a:gd name="T18" fmla="*/ 220 w 313"/>
                <a:gd name="T19" fmla="*/ 204 h 215"/>
                <a:gd name="T20" fmla="*/ 243 w 313"/>
                <a:gd name="T21" fmla="*/ 215 h 215"/>
                <a:gd name="T22" fmla="*/ 274 w 313"/>
                <a:gd name="T23" fmla="*/ 194 h 215"/>
                <a:gd name="T24" fmla="*/ 313 w 313"/>
                <a:gd name="T25" fmla="*/ 184 h 215"/>
                <a:gd name="T26" fmla="*/ 307 w 313"/>
                <a:gd name="T27" fmla="*/ 115 h 215"/>
                <a:gd name="T28" fmla="*/ 205 w 313"/>
                <a:gd name="T29" fmla="*/ 92 h 215"/>
                <a:gd name="T30" fmla="*/ 226 w 313"/>
                <a:gd name="T31" fmla="*/ 64 h 215"/>
                <a:gd name="T32" fmla="*/ 228 w 313"/>
                <a:gd name="T33" fmla="*/ 43 h 215"/>
                <a:gd name="T34" fmla="*/ 95 w 313"/>
                <a:gd name="T35" fmla="*/ 197 h 215"/>
                <a:gd name="T36" fmla="*/ 82 w 313"/>
                <a:gd name="T37" fmla="*/ 202 h 215"/>
                <a:gd name="T38" fmla="*/ 69 w 313"/>
                <a:gd name="T39" fmla="*/ 197 h 215"/>
                <a:gd name="T40" fmla="*/ 64 w 313"/>
                <a:gd name="T41" fmla="*/ 184 h 215"/>
                <a:gd name="T42" fmla="*/ 69 w 313"/>
                <a:gd name="T43" fmla="*/ 174 h 215"/>
                <a:gd name="T44" fmla="*/ 82 w 313"/>
                <a:gd name="T45" fmla="*/ 166 h 215"/>
                <a:gd name="T46" fmla="*/ 95 w 313"/>
                <a:gd name="T47" fmla="*/ 171 h 215"/>
                <a:gd name="T48" fmla="*/ 100 w 313"/>
                <a:gd name="T49" fmla="*/ 184 h 215"/>
                <a:gd name="T50" fmla="*/ 259 w 313"/>
                <a:gd name="T51" fmla="*/ 194 h 215"/>
                <a:gd name="T52" fmla="*/ 246 w 313"/>
                <a:gd name="T53" fmla="*/ 202 h 215"/>
                <a:gd name="T54" fmla="*/ 236 w 313"/>
                <a:gd name="T55" fmla="*/ 199 h 215"/>
                <a:gd name="T56" fmla="*/ 226 w 313"/>
                <a:gd name="T57" fmla="*/ 189 h 215"/>
                <a:gd name="T58" fmla="*/ 228 w 313"/>
                <a:gd name="T59" fmla="*/ 176 h 215"/>
                <a:gd name="T60" fmla="*/ 238 w 313"/>
                <a:gd name="T61" fmla="*/ 166 h 215"/>
                <a:gd name="T62" fmla="*/ 254 w 313"/>
                <a:gd name="T63" fmla="*/ 169 h 215"/>
                <a:gd name="T64" fmla="*/ 261 w 313"/>
                <a:gd name="T65" fmla="*/ 181 h 215"/>
                <a:gd name="T66" fmla="*/ 284 w 313"/>
                <a:gd name="T67" fmla="*/ 140 h 215"/>
                <a:gd name="T68" fmla="*/ 287 w 313"/>
                <a:gd name="T69" fmla="*/ 143 h 215"/>
                <a:gd name="T70" fmla="*/ 290 w 313"/>
                <a:gd name="T71" fmla="*/ 143 h 215"/>
                <a:gd name="T72" fmla="*/ 274 w 313"/>
                <a:gd name="T73" fmla="*/ 176 h 215"/>
                <a:gd name="T74" fmla="*/ 249 w 313"/>
                <a:gd name="T75" fmla="*/ 153 h 215"/>
                <a:gd name="T76" fmla="*/ 223 w 313"/>
                <a:gd name="T77" fmla="*/ 161 h 215"/>
                <a:gd name="T78" fmla="*/ 113 w 313"/>
                <a:gd name="T79" fmla="*/ 176 h 215"/>
                <a:gd name="T80" fmla="*/ 87 w 313"/>
                <a:gd name="T81" fmla="*/ 153 h 215"/>
                <a:gd name="T82" fmla="*/ 62 w 313"/>
                <a:gd name="T83" fmla="*/ 161 h 215"/>
                <a:gd name="T84" fmla="*/ 16 w 313"/>
                <a:gd name="T85" fmla="*/ 176 h 215"/>
                <a:gd name="T86" fmla="*/ 197 w 313"/>
                <a:gd name="T87" fmla="*/ 15 h 215"/>
                <a:gd name="T88" fmla="*/ 215 w 313"/>
                <a:gd name="T89" fmla="*/ 28 h 215"/>
                <a:gd name="T90" fmla="*/ 195 w 313"/>
                <a:gd name="T91" fmla="*/ 99 h 215"/>
                <a:gd name="T92" fmla="*/ 295 w 313"/>
                <a:gd name="T93" fmla="*/ 115 h 215"/>
                <a:gd name="T94" fmla="*/ 300 w 313"/>
                <a:gd name="T95" fmla="*/ 135 h 215"/>
                <a:gd name="T96" fmla="*/ 287 w 313"/>
                <a:gd name="T97" fmla="*/ 135 h 215"/>
                <a:gd name="T98" fmla="*/ 284 w 313"/>
                <a:gd name="T99" fmla="*/ 14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3" h="215">
                  <a:moveTo>
                    <a:pt x="307" y="115"/>
                  </a:moveTo>
                  <a:lnTo>
                    <a:pt x="302" y="105"/>
                  </a:lnTo>
                  <a:lnTo>
                    <a:pt x="295" y="94"/>
                  </a:lnTo>
                  <a:lnTo>
                    <a:pt x="279" y="87"/>
                  </a:lnTo>
                  <a:lnTo>
                    <a:pt x="274" y="84"/>
                  </a:lnTo>
                  <a:lnTo>
                    <a:pt x="223" y="15"/>
                  </a:lnTo>
                  <a:lnTo>
                    <a:pt x="213" y="5"/>
                  </a:lnTo>
                  <a:lnTo>
                    <a:pt x="200" y="0"/>
                  </a:lnTo>
                  <a:lnTo>
                    <a:pt x="190" y="0"/>
                  </a:lnTo>
                  <a:lnTo>
                    <a:pt x="187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184"/>
                  </a:lnTo>
                  <a:lnTo>
                    <a:pt x="5" y="189"/>
                  </a:lnTo>
                  <a:lnTo>
                    <a:pt x="8" y="189"/>
                  </a:lnTo>
                  <a:lnTo>
                    <a:pt x="49" y="189"/>
                  </a:lnTo>
                  <a:lnTo>
                    <a:pt x="51" y="189"/>
                  </a:lnTo>
                  <a:lnTo>
                    <a:pt x="57" y="202"/>
                  </a:lnTo>
                  <a:lnTo>
                    <a:pt x="62" y="210"/>
                  </a:lnTo>
                  <a:lnTo>
                    <a:pt x="69" y="212"/>
                  </a:lnTo>
                  <a:lnTo>
                    <a:pt x="80" y="215"/>
                  </a:lnTo>
                  <a:lnTo>
                    <a:pt x="82" y="215"/>
                  </a:lnTo>
                  <a:lnTo>
                    <a:pt x="100" y="212"/>
                  </a:lnTo>
                  <a:lnTo>
                    <a:pt x="108" y="202"/>
                  </a:lnTo>
                  <a:lnTo>
                    <a:pt x="113" y="194"/>
                  </a:lnTo>
                  <a:lnTo>
                    <a:pt x="115" y="189"/>
                  </a:lnTo>
                  <a:lnTo>
                    <a:pt x="213" y="189"/>
                  </a:lnTo>
                  <a:lnTo>
                    <a:pt x="215" y="199"/>
                  </a:lnTo>
                  <a:lnTo>
                    <a:pt x="220" y="204"/>
                  </a:lnTo>
                  <a:lnTo>
                    <a:pt x="226" y="212"/>
                  </a:lnTo>
                  <a:lnTo>
                    <a:pt x="236" y="215"/>
                  </a:lnTo>
                  <a:lnTo>
                    <a:pt x="243" y="215"/>
                  </a:lnTo>
                  <a:lnTo>
                    <a:pt x="259" y="212"/>
                  </a:lnTo>
                  <a:lnTo>
                    <a:pt x="269" y="202"/>
                  </a:lnTo>
                  <a:lnTo>
                    <a:pt x="274" y="194"/>
                  </a:lnTo>
                  <a:lnTo>
                    <a:pt x="274" y="189"/>
                  </a:lnTo>
                  <a:lnTo>
                    <a:pt x="310" y="187"/>
                  </a:lnTo>
                  <a:lnTo>
                    <a:pt x="313" y="184"/>
                  </a:lnTo>
                  <a:lnTo>
                    <a:pt x="313" y="181"/>
                  </a:lnTo>
                  <a:lnTo>
                    <a:pt x="313" y="125"/>
                  </a:lnTo>
                  <a:lnTo>
                    <a:pt x="307" y="115"/>
                  </a:lnTo>
                  <a:close/>
                  <a:moveTo>
                    <a:pt x="228" y="43"/>
                  </a:moveTo>
                  <a:lnTo>
                    <a:pt x="264" y="92"/>
                  </a:lnTo>
                  <a:lnTo>
                    <a:pt x="205" y="92"/>
                  </a:lnTo>
                  <a:lnTo>
                    <a:pt x="205" y="71"/>
                  </a:lnTo>
                  <a:lnTo>
                    <a:pt x="226" y="71"/>
                  </a:lnTo>
                  <a:lnTo>
                    <a:pt x="226" y="64"/>
                  </a:lnTo>
                  <a:lnTo>
                    <a:pt x="205" y="64"/>
                  </a:lnTo>
                  <a:lnTo>
                    <a:pt x="205" y="43"/>
                  </a:lnTo>
                  <a:lnTo>
                    <a:pt x="228" y="43"/>
                  </a:lnTo>
                  <a:close/>
                  <a:moveTo>
                    <a:pt x="100" y="187"/>
                  </a:moveTo>
                  <a:lnTo>
                    <a:pt x="100" y="192"/>
                  </a:lnTo>
                  <a:lnTo>
                    <a:pt x="95" y="197"/>
                  </a:lnTo>
                  <a:lnTo>
                    <a:pt x="92" y="199"/>
                  </a:lnTo>
                  <a:lnTo>
                    <a:pt x="87" y="202"/>
                  </a:lnTo>
                  <a:lnTo>
                    <a:pt x="82" y="202"/>
                  </a:lnTo>
                  <a:lnTo>
                    <a:pt x="77" y="202"/>
                  </a:lnTo>
                  <a:lnTo>
                    <a:pt x="74" y="199"/>
                  </a:lnTo>
                  <a:lnTo>
                    <a:pt x="69" y="197"/>
                  </a:lnTo>
                  <a:lnTo>
                    <a:pt x="69" y="194"/>
                  </a:lnTo>
                  <a:lnTo>
                    <a:pt x="67" y="189"/>
                  </a:lnTo>
                  <a:lnTo>
                    <a:pt x="64" y="184"/>
                  </a:lnTo>
                  <a:lnTo>
                    <a:pt x="64" y="181"/>
                  </a:lnTo>
                  <a:lnTo>
                    <a:pt x="67" y="176"/>
                  </a:lnTo>
                  <a:lnTo>
                    <a:pt x="69" y="174"/>
                  </a:lnTo>
                  <a:lnTo>
                    <a:pt x="74" y="169"/>
                  </a:lnTo>
                  <a:lnTo>
                    <a:pt x="80" y="166"/>
                  </a:lnTo>
                  <a:lnTo>
                    <a:pt x="82" y="166"/>
                  </a:lnTo>
                  <a:lnTo>
                    <a:pt x="87" y="166"/>
                  </a:lnTo>
                  <a:lnTo>
                    <a:pt x="92" y="169"/>
                  </a:lnTo>
                  <a:lnTo>
                    <a:pt x="95" y="171"/>
                  </a:lnTo>
                  <a:lnTo>
                    <a:pt x="100" y="176"/>
                  </a:lnTo>
                  <a:lnTo>
                    <a:pt x="100" y="181"/>
                  </a:lnTo>
                  <a:lnTo>
                    <a:pt x="100" y="184"/>
                  </a:lnTo>
                  <a:lnTo>
                    <a:pt x="100" y="187"/>
                  </a:lnTo>
                  <a:close/>
                  <a:moveTo>
                    <a:pt x="261" y="189"/>
                  </a:moveTo>
                  <a:lnTo>
                    <a:pt x="259" y="194"/>
                  </a:lnTo>
                  <a:lnTo>
                    <a:pt x="254" y="199"/>
                  </a:lnTo>
                  <a:lnTo>
                    <a:pt x="251" y="202"/>
                  </a:lnTo>
                  <a:lnTo>
                    <a:pt x="246" y="202"/>
                  </a:lnTo>
                  <a:lnTo>
                    <a:pt x="243" y="202"/>
                  </a:lnTo>
                  <a:lnTo>
                    <a:pt x="238" y="202"/>
                  </a:lnTo>
                  <a:lnTo>
                    <a:pt x="236" y="199"/>
                  </a:lnTo>
                  <a:lnTo>
                    <a:pt x="231" y="197"/>
                  </a:lnTo>
                  <a:lnTo>
                    <a:pt x="228" y="192"/>
                  </a:lnTo>
                  <a:lnTo>
                    <a:pt x="226" y="189"/>
                  </a:lnTo>
                  <a:lnTo>
                    <a:pt x="226" y="184"/>
                  </a:lnTo>
                  <a:lnTo>
                    <a:pt x="226" y="179"/>
                  </a:lnTo>
                  <a:lnTo>
                    <a:pt x="228" y="176"/>
                  </a:lnTo>
                  <a:lnTo>
                    <a:pt x="231" y="171"/>
                  </a:lnTo>
                  <a:lnTo>
                    <a:pt x="233" y="169"/>
                  </a:lnTo>
                  <a:lnTo>
                    <a:pt x="238" y="166"/>
                  </a:lnTo>
                  <a:lnTo>
                    <a:pt x="243" y="166"/>
                  </a:lnTo>
                  <a:lnTo>
                    <a:pt x="249" y="166"/>
                  </a:lnTo>
                  <a:lnTo>
                    <a:pt x="254" y="169"/>
                  </a:lnTo>
                  <a:lnTo>
                    <a:pt x="256" y="174"/>
                  </a:lnTo>
                  <a:lnTo>
                    <a:pt x="259" y="176"/>
                  </a:lnTo>
                  <a:lnTo>
                    <a:pt x="261" y="181"/>
                  </a:lnTo>
                  <a:lnTo>
                    <a:pt x="261" y="184"/>
                  </a:lnTo>
                  <a:lnTo>
                    <a:pt x="261" y="189"/>
                  </a:lnTo>
                  <a:close/>
                  <a:moveTo>
                    <a:pt x="284" y="140"/>
                  </a:moveTo>
                  <a:lnTo>
                    <a:pt x="284" y="140"/>
                  </a:lnTo>
                  <a:lnTo>
                    <a:pt x="287" y="143"/>
                  </a:lnTo>
                  <a:lnTo>
                    <a:pt x="287" y="143"/>
                  </a:lnTo>
                  <a:lnTo>
                    <a:pt x="287" y="143"/>
                  </a:lnTo>
                  <a:lnTo>
                    <a:pt x="290" y="143"/>
                  </a:lnTo>
                  <a:lnTo>
                    <a:pt x="290" y="143"/>
                  </a:lnTo>
                  <a:lnTo>
                    <a:pt x="300" y="143"/>
                  </a:lnTo>
                  <a:lnTo>
                    <a:pt x="300" y="176"/>
                  </a:lnTo>
                  <a:lnTo>
                    <a:pt x="274" y="176"/>
                  </a:lnTo>
                  <a:lnTo>
                    <a:pt x="269" y="166"/>
                  </a:lnTo>
                  <a:lnTo>
                    <a:pt x="261" y="158"/>
                  </a:lnTo>
                  <a:lnTo>
                    <a:pt x="249" y="153"/>
                  </a:lnTo>
                  <a:lnTo>
                    <a:pt x="243" y="153"/>
                  </a:lnTo>
                  <a:lnTo>
                    <a:pt x="231" y="156"/>
                  </a:lnTo>
                  <a:lnTo>
                    <a:pt x="223" y="161"/>
                  </a:lnTo>
                  <a:lnTo>
                    <a:pt x="215" y="171"/>
                  </a:lnTo>
                  <a:lnTo>
                    <a:pt x="213" y="176"/>
                  </a:lnTo>
                  <a:lnTo>
                    <a:pt x="113" y="176"/>
                  </a:lnTo>
                  <a:lnTo>
                    <a:pt x="108" y="164"/>
                  </a:lnTo>
                  <a:lnTo>
                    <a:pt x="100" y="158"/>
                  </a:lnTo>
                  <a:lnTo>
                    <a:pt x="87" y="153"/>
                  </a:lnTo>
                  <a:lnTo>
                    <a:pt x="82" y="153"/>
                  </a:lnTo>
                  <a:lnTo>
                    <a:pt x="69" y="156"/>
                  </a:lnTo>
                  <a:lnTo>
                    <a:pt x="62" y="161"/>
                  </a:lnTo>
                  <a:lnTo>
                    <a:pt x="54" y="169"/>
                  </a:lnTo>
                  <a:lnTo>
                    <a:pt x="51" y="176"/>
                  </a:lnTo>
                  <a:lnTo>
                    <a:pt x="16" y="176"/>
                  </a:lnTo>
                  <a:lnTo>
                    <a:pt x="16" y="12"/>
                  </a:lnTo>
                  <a:lnTo>
                    <a:pt x="192" y="12"/>
                  </a:lnTo>
                  <a:lnTo>
                    <a:pt x="197" y="15"/>
                  </a:lnTo>
                  <a:lnTo>
                    <a:pt x="205" y="18"/>
                  </a:lnTo>
                  <a:lnTo>
                    <a:pt x="210" y="20"/>
                  </a:lnTo>
                  <a:lnTo>
                    <a:pt x="215" y="28"/>
                  </a:lnTo>
                  <a:lnTo>
                    <a:pt x="223" y="35"/>
                  </a:lnTo>
                  <a:lnTo>
                    <a:pt x="195" y="35"/>
                  </a:lnTo>
                  <a:lnTo>
                    <a:pt x="195" y="99"/>
                  </a:lnTo>
                  <a:lnTo>
                    <a:pt x="277" y="99"/>
                  </a:lnTo>
                  <a:lnTo>
                    <a:pt x="287" y="107"/>
                  </a:lnTo>
                  <a:lnTo>
                    <a:pt x="295" y="115"/>
                  </a:lnTo>
                  <a:lnTo>
                    <a:pt x="297" y="123"/>
                  </a:lnTo>
                  <a:lnTo>
                    <a:pt x="297" y="128"/>
                  </a:lnTo>
                  <a:lnTo>
                    <a:pt x="300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4" y="138"/>
                  </a:lnTo>
                  <a:lnTo>
                    <a:pt x="284" y="140"/>
                  </a:lnTo>
                  <a:lnTo>
                    <a:pt x="284" y="1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71">
            <a:extLst>
              <a:ext uri="{FF2B5EF4-FFF2-40B4-BE49-F238E27FC236}">
                <a16:creationId xmlns:a16="http://schemas.microsoft.com/office/drawing/2014/main" id="{88D8FF36-235C-42E8-9EFA-CBEEB34DE1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6349" y="2848769"/>
            <a:ext cx="760413" cy="758825"/>
            <a:chOff x="3766" y="1964"/>
            <a:chExt cx="479" cy="478"/>
          </a:xfrm>
        </p:grpSpPr>
        <p:sp>
          <p:nvSpPr>
            <p:cNvPr id="195" name="AutoShape 170">
              <a:extLst>
                <a:ext uri="{FF2B5EF4-FFF2-40B4-BE49-F238E27FC236}">
                  <a16:creationId xmlns:a16="http://schemas.microsoft.com/office/drawing/2014/main" id="{E7605C46-8E0B-452B-AC06-1DD3567F18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66" y="196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72">
              <a:extLst>
                <a:ext uri="{FF2B5EF4-FFF2-40B4-BE49-F238E27FC236}">
                  <a16:creationId xmlns:a16="http://schemas.microsoft.com/office/drawing/2014/main" id="{9827D627-D223-42E3-84D1-7D2667B67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" y="196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73">
              <a:extLst>
                <a:ext uri="{FF2B5EF4-FFF2-40B4-BE49-F238E27FC236}">
                  <a16:creationId xmlns:a16="http://schemas.microsoft.com/office/drawing/2014/main" id="{CA5E6796-D112-4CC9-882E-3117FAF28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3" y="222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Rectangle 174">
              <a:extLst>
                <a:ext uri="{FF2B5EF4-FFF2-40B4-BE49-F238E27FC236}">
                  <a16:creationId xmlns:a16="http://schemas.microsoft.com/office/drawing/2014/main" id="{02AC8A25-62F2-4C11-98E8-F5E504EF5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1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Rectangle 175">
              <a:extLst>
                <a:ext uri="{FF2B5EF4-FFF2-40B4-BE49-F238E27FC236}">
                  <a16:creationId xmlns:a16="http://schemas.microsoft.com/office/drawing/2014/main" id="{FD321827-CF96-44D7-8478-5A6B5BD8A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6" y="217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76">
              <a:extLst>
                <a:ext uri="{FF2B5EF4-FFF2-40B4-BE49-F238E27FC236}">
                  <a16:creationId xmlns:a16="http://schemas.microsoft.com/office/drawing/2014/main" id="{E27D0162-46E0-4DC2-B719-FDF9BC80C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" y="2251"/>
              <a:ext cx="54" cy="56"/>
            </a:xfrm>
            <a:custGeom>
              <a:avLst/>
              <a:gdLst>
                <a:gd name="T0" fmla="*/ 0 w 54"/>
                <a:gd name="T1" fmla="*/ 0 h 56"/>
                <a:gd name="T2" fmla="*/ 0 w 54"/>
                <a:gd name="T3" fmla="*/ 56 h 56"/>
                <a:gd name="T4" fmla="*/ 54 w 54"/>
                <a:gd name="T5" fmla="*/ 56 h 56"/>
                <a:gd name="T6" fmla="*/ 54 w 54"/>
                <a:gd name="T7" fmla="*/ 49 h 56"/>
                <a:gd name="T8" fmla="*/ 7 w 54"/>
                <a:gd name="T9" fmla="*/ 49 h 56"/>
                <a:gd name="T10" fmla="*/ 7 w 54"/>
                <a:gd name="T11" fmla="*/ 0 h 56"/>
                <a:gd name="T12" fmla="*/ 0 w 5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56">
                  <a:moveTo>
                    <a:pt x="0" y="0"/>
                  </a:moveTo>
                  <a:lnTo>
                    <a:pt x="0" y="56"/>
                  </a:lnTo>
                  <a:lnTo>
                    <a:pt x="54" y="56"/>
                  </a:lnTo>
                  <a:lnTo>
                    <a:pt x="54" y="49"/>
                  </a:lnTo>
                  <a:lnTo>
                    <a:pt x="7" y="49"/>
                  </a:ln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77">
              <a:extLst>
                <a:ext uri="{FF2B5EF4-FFF2-40B4-BE49-F238E27FC236}">
                  <a16:creationId xmlns:a16="http://schemas.microsoft.com/office/drawing/2014/main" id="{E94C48A4-C8B3-4209-8983-F6F171961C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3" y="216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178">
              <a:extLst>
                <a:ext uri="{FF2B5EF4-FFF2-40B4-BE49-F238E27FC236}">
                  <a16:creationId xmlns:a16="http://schemas.microsoft.com/office/drawing/2014/main" id="{AF3171A4-8FA1-4149-8632-580A2D17E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22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Rectangle 179">
              <a:extLst>
                <a:ext uri="{FF2B5EF4-FFF2-40B4-BE49-F238E27FC236}">
                  <a16:creationId xmlns:a16="http://schemas.microsoft.com/office/drawing/2014/main" id="{A33BB5ED-7E3B-4873-9096-D7EF5AAC2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17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180">
              <a:extLst>
                <a:ext uri="{FF2B5EF4-FFF2-40B4-BE49-F238E27FC236}">
                  <a16:creationId xmlns:a16="http://schemas.microsoft.com/office/drawing/2014/main" id="{A7EBC176-E71A-4A64-81C3-CD4F39DC1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22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81">
              <a:extLst>
                <a:ext uri="{FF2B5EF4-FFF2-40B4-BE49-F238E27FC236}">
                  <a16:creationId xmlns:a16="http://schemas.microsoft.com/office/drawing/2014/main" id="{D7D5FCF6-D05F-407E-A0AF-982AD797C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7" y="2084"/>
              <a:ext cx="226" cy="240"/>
            </a:xfrm>
            <a:custGeom>
              <a:avLst/>
              <a:gdLst>
                <a:gd name="T0" fmla="*/ 221 w 226"/>
                <a:gd name="T1" fmla="*/ 0 h 240"/>
                <a:gd name="T2" fmla="*/ 189 w 226"/>
                <a:gd name="T3" fmla="*/ 7 h 240"/>
                <a:gd name="T4" fmla="*/ 214 w 226"/>
                <a:gd name="T5" fmla="*/ 137 h 240"/>
                <a:gd name="T6" fmla="*/ 128 w 226"/>
                <a:gd name="T7" fmla="*/ 12 h 240"/>
                <a:gd name="T8" fmla="*/ 47 w 226"/>
                <a:gd name="T9" fmla="*/ 22 h 240"/>
                <a:gd name="T10" fmla="*/ 20 w 226"/>
                <a:gd name="T11" fmla="*/ 120 h 240"/>
                <a:gd name="T12" fmla="*/ 0 w 226"/>
                <a:gd name="T13" fmla="*/ 142 h 240"/>
                <a:gd name="T14" fmla="*/ 22 w 226"/>
                <a:gd name="T15" fmla="*/ 211 h 240"/>
                <a:gd name="T16" fmla="*/ 42 w 226"/>
                <a:gd name="T17" fmla="*/ 238 h 240"/>
                <a:gd name="T18" fmla="*/ 71 w 226"/>
                <a:gd name="T19" fmla="*/ 231 h 240"/>
                <a:gd name="T20" fmla="*/ 157 w 226"/>
                <a:gd name="T21" fmla="*/ 213 h 240"/>
                <a:gd name="T22" fmla="*/ 192 w 226"/>
                <a:gd name="T23" fmla="*/ 240 h 240"/>
                <a:gd name="T24" fmla="*/ 223 w 226"/>
                <a:gd name="T25" fmla="*/ 221 h 240"/>
                <a:gd name="T26" fmla="*/ 59 w 226"/>
                <a:gd name="T27" fmla="*/ 27 h 240"/>
                <a:gd name="T28" fmla="*/ 123 w 226"/>
                <a:gd name="T29" fmla="*/ 25 h 240"/>
                <a:gd name="T30" fmla="*/ 137 w 226"/>
                <a:gd name="T31" fmla="*/ 42 h 240"/>
                <a:gd name="T32" fmla="*/ 123 w 226"/>
                <a:gd name="T33" fmla="*/ 157 h 240"/>
                <a:gd name="T34" fmla="*/ 98 w 226"/>
                <a:gd name="T35" fmla="*/ 120 h 240"/>
                <a:gd name="T36" fmla="*/ 78 w 226"/>
                <a:gd name="T37" fmla="*/ 83 h 240"/>
                <a:gd name="T38" fmla="*/ 74 w 226"/>
                <a:gd name="T39" fmla="*/ 83 h 240"/>
                <a:gd name="T40" fmla="*/ 74 w 226"/>
                <a:gd name="T41" fmla="*/ 83 h 240"/>
                <a:gd name="T42" fmla="*/ 71 w 226"/>
                <a:gd name="T43" fmla="*/ 86 h 240"/>
                <a:gd name="T44" fmla="*/ 69 w 226"/>
                <a:gd name="T45" fmla="*/ 88 h 240"/>
                <a:gd name="T46" fmla="*/ 69 w 226"/>
                <a:gd name="T47" fmla="*/ 120 h 240"/>
                <a:gd name="T48" fmla="*/ 64 w 226"/>
                <a:gd name="T49" fmla="*/ 221 h 240"/>
                <a:gd name="T50" fmla="*/ 47 w 226"/>
                <a:gd name="T51" fmla="*/ 226 h 240"/>
                <a:gd name="T52" fmla="*/ 37 w 226"/>
                <a:gd name="T53" fmla="*/ 211 h 240"/>
                <a:gd name="T54" fmla="*/ 47 w 226"/>
                <a:gd name="T55" fmla="*/ 196 h 240"/>
                <a:gd name="T56" fmla="*/ 64 w 226"/>
                <a:gd name="T57" fmla="*/ 204 h 240"/>
                <a:gd name="T58" fmla="*/ 160 w 226"/>
                <a:gd name="T59" fmla="*/ 189 h 240"/>
                <a:gd name="T60" fmla="*/ 74 w 226"/>
                <a:gd name="T61" fmla="*/ 194 h 240"/>
                <a:gd name="T62" fmla="*/ 51 w 226"/>
                <a:gd name="T63" fmla="*/ 184 h 240"/>
                <a:gd name="T64" fmla="*/ 27 w 226"/>
                <a:gd name="T65" fmla="*/ 196 h 240"/>
                <a:gd name="T66" fmla="*/ 15 w 226"/>
                <a:gd name="T67" fmla="*/ 189 h 240"/>
                <a:gd name="T68" fmla="*/ 17 w 226"/>
                <a:gd name="T69" fmla="*/ 142 h 240"/>
                <a:gd name="T70" fmla="*/ 20 w 226"/>
                <a:gd name="T71" fmla="*/ 137 h 240"/>
                <a:gd name="T72" fmla="*/ 22 w 226"/>
                <a:gd name="T73" fmla="*/ 137 h 240"/>
                <a:gd name="T74" fmla="*/ 101 w 226"/>
                <a:gd name="T75" fmla="*/ 132 h 240"/>
                <a:gd name="T76" fmla="*/ 106 w 226"/>
                <a:gd name="T77" fmla="*/ 135 h 240"/>
                <a:gd name="T78" fmla="*/ 150 w 226"/>
                <a:gd name="T79" fmla="*/ 169 h 240"/>
                <a:gd name="T80" fmla="*/ 182 w 226"/>
                <a:gd name="T81" fmla="*/ 152 h 240"/>
                <a:gd name="T82" fmla="*/ 160 w 226"/>
                <a:gd name="T83" fmla="*/ 189 h 240"/>
                <a:gd name="T84" fmla="*/ 206 w 226"/>
                <a:gd name="T85" fmla="*/ 221 h 240"/>
                <a:gd name="T86" fmla="*/ 189 w 226"/>
                <a:gd name="T87" fmla="*/ 226 h 240"/>
                <a:gd name="T88" fmla="*/ 172 w 226"/>
                <a:gd name="T89" fmla="*/ 211 h 240"/>
                <a:gd name="T90" fmla="*/ 177 w 226"/>
                <a:gd name="T91" fmla="*/ 189 h 240"/>
                <a:gd name="T92" fmla="*/ 192 w 226"/>
                <a:gd name="T93" fmla="*/ 184 h 240"/>
                <a:gd name="T94" fmla="*/ 209 w 226"/>
                <a:gd name="T95" fmla="*/ 194 h 240"/>
                <a:gd name="T96" fmla="*/ 214 w 226"/>
                <a:gd name="T97" fmla="*/ 208 h 240"/>
                <a:gd name="T98" fmla="*/ 194 w 226"/>
                <a:gd name="T99" fmla="*/ 150 h 240"/>
                <a:gd name="T100" fmla="*/ 196 w 226"/>
                <a:gd name="T101" fmla="*/ 4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6" h="240">
                  <a:moveTo>
                    <a:pt x="226" y="213"/>
                  </a:moveTo>
                  <a:lnTo>
                    <a:pt x="226" y="204"/>
                  </a:lnTo>
                  <a:lnTo>
                    <a:pt x="226" y="3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192" y="3"/>
                  </a:lnTo>
                  <a:lnTo>
                    <a:pt x="189" y="5"/>
                  </a:lnTo>
                  <a:lnTo>
                    <a:pt x="189" y="7"/>
                  </a:lnTo>
                  <a:lnTo>
                    <a:pt x="189" y="7"/>
                  </a:lnTo>
                  <a:lnTo>
                    <a:pt x="189" y="44"/>
                  </a:lnTo>
                  <a:lnTo>
                    <a:pt x="214" y="69"/>
                  </a:lnTo>
                  <a:lnTo>
                    <a:pt x="214" y="137"/>
                  </a:lnTo>
                  <a:lnTo>
                    <a:pt x="179" y="137"/>
                  </a:lnTo>
                  <a:lnTo>
                    <a:pt x="145" y="27"/>
                  </a:lnTo>
                  <a:lnTo>
                    <a:pt x="137" y="17"/>
                  </a:lnTo>
                  <a:lnTo>
                    <a:pt x="128" y="12"/>
                  </a:lnTo>
                  <a:lnTo>
                    <a:pt x="120" y="12"/>
                  </a:lnTo>
                  <a:lnTo>
                    <a:pt x="61" y="12"/>
                  </a:lnTo>
                  <a:lnTo>
                    <a:pt x="54" y="15"/>
                  </a:lnTo>
                  <a:lnTo>
                    <a:pt x="47" y="22"/>
                  </a:lnTo>
                  <a:lnTo>
                    <a:pt x="44" y="30"/>
                  </a:lnTo>
                  <a:lnTo>
                    <a:pt x="42" y="39"/>
                  </a:lnTo>
                  <a:lnTo>
                    <a:pt x="32" y="120"/>
                  </a:lnTo>
                  <a:lnTo>
                    <a:pt x="20" y="120"/>
                  </a:lnTo>
                  <a:lnTo>
                    <a:pt x="10" y="125"/>
                  </a:lnTo>
                  <a:lnTo>
                    <a:pt x="2" y="132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2" y="196"/>
                  </a:lnTo>
                  <a:lnTo>
                    <a:pt x="7" y="204"/>
                  </a:lnTo>
                  <a:lnTo>
                    <a:pt x="15" y="208"/>
                  </a:lnTo>
                  <a:lnTo>
                    <a:pt x="22" y="211"/>
                  </a:lnTo>
                  <a:lnTo>
                    <a:pt x="22" y="213"/>
                  </a:lnTo>
                  <a:lnTo>
                    <a:pt x="27" y="226"/>
                  </a:lnTo>
                  <a:lnTo>
                    <a:pt x="32" y="233"/>
                  </a:lnTo>
                  <a:lnTo>
                    <a:pt x="42" y="238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64" y="238"/>
                  </a:lnTo>
                  <a:lnTo>
                    <a:pt x="71" y="231"/>
                  </a:lnTo>
                  <a:lnTo>
                    <a:pt x="76" y="223"/>
                  </a:lnTo>
                  <a:lnTo>
                    <a:pt x="81" y="216"/>
                  </a:lnTo>
                  <a:lnTo>
                    <a:pt x="81" y="213"/>
                  </a:lnTo>
                  <a:lnTo>
                    <a:pt x="157" y="213"/>
                  </a:lnTo>
                  <a:lnTo>
                    <a:pt x="164" y="226"/>
                  </a:lnTo>
                  <a:lnTo>
                    <a:pt x="172" y="233"/>
                  </a:lnTo>
                  <a:lnTo>
                    <a:pt x="184" y="238"/>
                  </a:lnTo>
                  <a:lnTo>
                    <a:pt x="192" y="240"/>
                  </a:lnTo>
                  <a:lnTo>
                    <a:pt x="201" y="238"/>
                  </a:lnTo>
                  <a:lnTo>
                    <a:pt x="211" y="235"/>
                  </a:lnTo>
                  <a:lnTo>
                    <a:pt x="219" y="228"/>
                  </a:lnTo>
                  <a:lnTo>
                    <a:pt x="223" y="221"/>
                  </a:lnTo>
                  <a:lnTo>
                    <a:pt x="226" y="213"/>
                  </a:lnTo>
                  <a:close/>
                  <a:moveTo>
                    <a:pt x="54" y="37"/>
                  </a:moveTo>
                  <a:lnTo>
                    <a:pt x="56" y="32"/>
                  </a:lnTo>
                  <a:lnTo>
                    <a:pt x="59" y="27"/>
                  </a:lnTo>
                  <a:lnTo>
                    <a:pt x="64" y="25"/>
                  </a:lnTo>
                  <a:lnTo>
                    <a:pt x="69" y="25"/>
                  </a:lnTo>
                  <a:lnTo>
                    <a:pt x="118" y="25"/>
                  </a:lnTo>
                  <a:lnTo>
                    <a:pt x="123" y="25"/>
                  </a:lnTo>
                  <a:lnTo>
                    <a:pt x="128" y="27"/>
                  </a:lnTo>
                  <a:lnTo>
                    <a:pt x="133" y="30"/>
                  </a:lnTo>
                  <a:lnTo>
                    <a:pt x="135" y="34"/>
                  </a:lnTo>
                  <a:lnTo>
                    <a:pt x="137" y="42"/>
                  </a:lnTo>
                  <a:lnTo>
                    <a:pt x="164" y="142"/>
                  </a:lnTo>
                  <a:lnTo>
                    <a:pt x="152" y="147"/>
                  </a:lnTo>
                  <a:lnTo>
                    <a:pt x="142" y="157"/>
                  </a:lnTo>
                  <a:lnTo>
                    <a:pt x="123" y="157"/>
                  </a:lnTo>
                  <a:lnTo>
                    <a:pt x="120" y="135"/>
                  </a:lnTo>
                  <a:lnTo>
                    <a:pt x="115" y="128"/>
                  </a:lnTo>
                  <a:lnTo>
                    <a:pt x="106" y="120"/>
                  </a:lnTo>
                  <a:lnTo>
                    <a:pt x="98" y="120"/>
                  </a:lnTo>
                  <a:lnTo>
                    <a:pt x="78" y="120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8" y="83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6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6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6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120"/>
                  </a:lnTo>
                  <a:lnTo>
                    <a:pt x="47" y="120"/>
                  </a:lnTo>
                  <a:lnTo>
                    <a:pt x="54" y="37"/>
                  </a:lnTo>
                  <a:close/>
                  <a:moveTo>
                    <a:pt x="66" y="216"/>
                  </a:moveTo>
                  <a:lnTo>
                    <a:pt x="64" y="221"/>
                  </a:lnTo>
                  <a:lnTo>
                    <a:pt x="61" y="223"/>
                  </a:lnTo>
                  <a:lnTo>
                    <a:pt x="56" y="226"/>
                  </a:lnTo>
                  <a:lnTo>
                    <a:pt x="51" y="226"/>
                  </a:lnTo>
                  <a:lnTo>
                    <a:pt x="47" y="226"/>
                  </a:lnTo>
                  <a:lnTo>
                    <a:pt x="42" y="223"/>
                  </a:lnTo>
                  <a:lnTo>
                    <a:pt x="37" y="218"/>
                  </a:lnTo>
                  <a:lnTo>
                    <a:pt x="37" y="213"/>
                  </a:lnTo>
                  <a:lnTo>
                    <a:pt x="37" y="211"/>
                  </a:lnTo>
                  <a:lnTo>
                    <a:pt x="37" y="206"/>
                  </a:lnTo>
                  <a:lnTo>
                    <a:pt x="39" y="204"/>
                  </a:lnTo>
                  <a:lnTo>
                    <a:pt x="42" y="199"/>
                  </a:lnTo>
                  <a:lnTo>
                    <a:pt x="47" y="196"/>
                  </a:lnTo>
                  <a:lnTo>
                    <a:pt x="51" y="196"/>
                  </a:lnTo>
                  <a:lnTo>
                    <a:pt x="56" y="196"/>
                  </a:lnTo>
                  <a:lnTo>
                    <a:pt x="59" y="199"/>
                  </a:lnTo>
                  <a:lnTo>
                    <a:pt x="64" y="204"/>
                  </a:lnTo>
                  <a:lnTo>
                    <a:pt x="66" y="208"/>
                  </a:lnTo>
                  <a:lnTo>
                    <a:pt x="66" y="211"/>
                  </a:lnTo>
                  <a:lnTo>
                    <a:pt x="66" y="216"/>
                  </a:lnTo>
                  <a:close/>
                  <a:moveTo>
                    <a:pt x="160" y="189"/>
                  </a:moveTo>
                  <a:lnTo>
                    <a:pt x="157" y="199"/>
                  </a:lnTo>
                  <a:lnTo>
                    <a:pt x="157" y="199"/>
                  </a:lnTo>
                  <a:lnTo>
                    <a:pt x="78" y="199"/>
                  </a:lnTo>
                  <a:lnTo>
                    <a:pt x="74" y="194"/>
                  </a:lnTo>
                  <a:lnTo>
                    <a:pt x="69" y="189"/>
                  </a:lnTo>
                  <a:lnTo>
                    <a:pt x="64" y="186"/>
                  </a:lnTo>
                  <a:lnTo>
                    <a:pt x="56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37" y="186"/>
                  </a:lnTo>
                  <a:lnTo>
                    <a:pt x="32" y="191"/>
                  </a:lnTo>
                  <a:lnTo>
                    <a:pt x="27" y="196"/>
                  </a:lnTo>
                  <a:lnTo>
                    <a:pt x="24" y="199"/>
                  </a:lnTo>
                  <a:lnTo>
                    <a:pt x="20" y="196"/>
                  </a:lnTo>
                  <a:lnTo>
                    <a:pt x="15" y="194"/>
                  </a:lnTo>
                  <a:lnTo>
                    <a:pt x="15" y="189"/>
                  </a:lnTo>
                  <a:lnTo>
                    <a:pt x="15" y="186"/>
                  </a:lnTo>
                  <a:lnTo>
                    <a:pt x="15" y="142"/>
                  </a:lnTo>
                  <a:lnTo>
                    <a:pt x="17" y="142"/>
                  </a:lnTo>
                  <a:lnTo>
                    <a:pt x="17" y="142"/>
                  </a:lnTo>
                  <a:lnTo>
                    <a:pt x="15" y="142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5"/>
                  </a:lnTo>
                  <a:lnTo>
                    <a:pt x="22" y="135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2" y="132"/>
                  </a:lnTo>
                  <a:lnTo>
                    <a:pt x="24" y="132"/>
                  </a:lnTo>
                  <a:lnTo>
                    <a:pt x="101" y="132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3" y="135"/>
                  </a:lnTo>
                  <a:lnTo>
                    <a:pt x="106" y="135"/>
                  </a:lnTo>
                  <a:lnTo>
                    <a:pt x="108" y="140"/>
                  </a:lnTo>
                  <a:lnTo>
                    <a:pt x="110" y="145"/>
                  </a:lnTo>
                  <a:lnTo>
                    <a:pt x="110" y="169"/>
                  </a:lnTo>
                  <a:lnTo>
                    <a:pt x="150" y="169"/>
                  </a:lnTo>
                  <a:lnTo>
                    <a:pt x="157" y="162"/>
                  </a:lnTo>
                  <a:lnTo>
                    <a:pt x="167" y="157"/>
                  </a:lnTo>
                  <a:lnTo>
                    <a:pt x="177" y="152"/>
                  </a:lnTo>
                  <a:lnTo>
                    <a:pt x="182" y="152"/>
                  </a:lnTo>
                  <a:lnTo>
                    <a:pt x="182" y="172"/>
                  </a:lnTo>
                  <a:lnTo>
                    <a:pt x="172" y="177"/>
                  </a:lnTo>
                  <a:lnTo>
                    <a:pt x="164" y="184"/>
                  </a:lnTo>
                  <a:lnTo>
                    <a:pt x="160" y="189"/>
                  </a:lnTo>
                  <a:close/>
                  <a:moveTo>
                    <a:pt x="214" y="208"/>
                  </a:moveTo>
                  <a:lnTo>
                    <a:pt x="211" y="216"/>
                  </a:lnTo>
                  <a:lnTo>
                    <a:pt x="209" y="218"/>
                  </a:lnTo>
                  <a:lnTo>
                    <a:pt x="206" y="221"/>
                  </a:lnTo>
                  <a:lnTo>
                    <a:pt x="204" y="223"/>
                  </a:lnTo>
                  <a:lnTo>
                    <a:pt x="196" y="226"/>
                  </a:lnTo>
                  <a:lnTo>
                    <a:pt x="192" y="226"/>
                  </a:lnTo>
                  <a:lnTo>
                    <a:pt x="189" y="226"/>
                  </a:lnTo>
                  <a:lnTo>
                    <a:pt x="182" y="223"/>
                  </a:lnTo>
                  <a:lnTo>
                    <a:pt x="177" y="221"/>
                  </a:lnTo>
                  <a:lnTo>
                    <a:pt x="174" y="216"/>
                  </a:lnTo>
                  <a:lnTo>
                    <a:pt x="172" y="211"/>
                  </a:lnTo>
                  <a:lnTo>
                    <a:pt x="169" y="206"/>
                  </a:lnTo>
                  <a:lnTo>
                    <a:pt x="172" y="199"/>
                  </a:lnTo>
                  <a:lnTo>
                    <a:pt x="174" y="194"/>
                  </a:lnTo>
                  <a:lnTo>
                    <a:pt x="177" y="189"/>
                  </a:lnTo>
                  <a:lnTo>
                    <a:pt x="179" y="186"/>
                  </a:lnTo>
                  <a:lnTo>
                    <a:pt x="184" y="184"/>
                  </a:lnTo>
                  <a:lnTo>
                    <a:pt x="189" y="184"/>
                  </a:lnTo>
                  <a:lnTo>
                    <a:pt x="192" y="184"/>
                  </a:lnTo>
                  <a:lnTo>
                    <a:pt x="199" y="184"/>
                  </a:lnTo>
                  <a:lnTo>
                    <a:pt x="201" y="186"/>
                  </a:lnTo>
                  <a:lnTo>
                    <a:pt x="206" y="189"/>
                  </a:lnTo>
                  <a:lnTo>
                    <a:pt x="209" y="194"/>
                  </a:lnTo>
                  <a:lnTo>
                    <a:pt x="211" y="196"/>
                  </a:lnTo>
                  <a:lnTo>
                    <a:pt x="214" y="201"/>
                  </a:lnTo>
                  <a:lnTo>
                    <a:pt x="214" y="204"/>
                  </a:lnTo>
                  <a:lnTo>
                    <a:pt x="214" y="208"/>
                  </a:lnTo>
                  <a:close/>
                  <a:moveTo>
                    <a:pt x="214" y="177"/>
                  </a:moveTo>
                  <a:lnTo>
                    <a:pt x="199" y="172"/>
                  </a:lnTo>
                  <a:lnTo>
                    <a:pt x="194" y="169"/>
                  </a:lnTo>
                  <a:lnTo>
                    <a:pt x="194" y="150"/>
                  </a:lnTo>
                  <a:lnTo>
                    <a:pt x="214" y="150"/>
                  </a:lnTo>
                  <a:lnTo>
                    <a:pt x="214" y="177"/>
                  </a:lnTo>
                  <a:close/>
                  <a:moveTo>
                    <a:pt x="214" y="56"/>
                  </a:moveTo>
                  <a:lnTo>
                    <a:pt x="196" y="42"/>
                  </a:lnTo>
                  <a:lnTo>
                    <a:pt x="196" y="15"/>
                  </a:lnTo>
                  <a:lnTo>
                    <a:pt x="214" y="15"/>
                  </a:lnTo>
                  <a:lnTo>
                    <a:pt x="214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182">
              <a:extLst>
                <a:ext uri="{FF2B5EF4-FFF2-40B4-BE49-F238E27FC236}">
                  <a16:creationId xmlns:a16="http://schemas.microsoft.com/office/drawing/2014/main" id="{19256A36-7196-4A9C-9177-56A92B594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9" y="227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183">
              <a:extLst>
                <a:ext uri="{FF2B5EF4-FFF2-40B4-BE49-F238E27FC236}">
                  <a16:creationId xmlns:a16="http://schemas.microsoft.com/office/drawing/2014/main" id="{0845D55E-ADE5-4431-A8B2-E1A30B434E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3" y="222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184">
              <a:extLst>
                <a:ext uri="{FF2B5EF4-FFF2-40B4-BE49-F238E27FC236}">
                  <a16:creationId xmlns:a16="http://schemas.microsoft.com/office/drawing/2014/main" id="{F77A60E4-3AEC-4FFE-8D46-C4B41DBD65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172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185">
              <a:extLst>
                <a:ext uri="{FF2B5EF4-FFF2-40B4-BE49-F238E27FC236}">
                  <a16:creationId xmlns:a16="http://schemas.microsoft.com/office/drawing/2014/main" id="{A18D5E63-18F1-40B9-8BDD-94DD3C8579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6" y="217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86">
              <a:extLst>
                <a:ext uri="{FF2B5EF4-FFF2-40B4-BE49-F238E27FC236}">
                  <a16:creationId xmlns:a16="http://schemas.microsoft.com/office/drawing/2014/main" id="{A118C675-5D19-422A-898B-A1553C9B4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" y="2251"/>
              <a:ext cx="54" cy="56"/>
            </a:xfrm>
            <a:custGeom>
              <a:avLst/>
              <a:gdLst>
                <a:gd name="T0" fmla="*/ 0 w 54"/>
                <a:gd name="T1" fmla="*/ 0 h 56"/>
                <a:gd name="T2" fmla="*/ 0 w 54"/>
                <a:gd name="T3" fmla="*/ 56 h 56"/>
                <a:gd name="T4" fmla="*/ 54 w 54"/>
                <a:gd name="T5" fmla="*/ 56 h 56"/>
                <a:gd name="T6" fmla="*/ 54 w 54"/>
                <a:gd name="T7" fmla="*/ 49 h 56"/>
                <a:gd name="T8" fmla="*/ 7 w 54"/>
                <a:gd name="T9" fmla="*/ 49 h 56"/>
                <a:gd name="T10" fmla="*/ 7 w 54"/>
                <a:gd name="T11" fmla="*/ 0 h 56"/>
                <a:gd name="T12" fmla="*/ 0 w 5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56">
                  <a:moveTo>
                    <a:pt x="0" y="0"/>
                  </a:moveTo>
                  <a:lnTo>
                    <a:pt x="0" y="56"/>
                  </a:lnTo>
                  <a:lnTo>
                    <a:pt x="54" y="56"/>
                  </a:lnTo>
                  <a:lnTo>
                    <a:pt x="54" y="49"/>
                  </a:lnTo>
                  <a:lnTo>
                    <a:pt x="7" y="49"/>
                  </a:ln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187">
              <a:extLst>
                <a:ext uri="{FF2B5EF4-FFF2-40B4-BE49-F238E27FC236}">
                  <a16:creationId xmlns:a16="http://schemas.microsoft.com/office/drawing/2014/main" id="{D5282103-28ED-49B3-BB29-7652BD829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3" y="2167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188">
              <a:extLst>
                <a:ext uri="{FF2B5EF4-FFF2-40B4-BE49-F238E27FC236}">
                  <a16:creationId xmlns:a16="http://schemas.microsoft.com/office/drawing/2014/main" id="{B92AC486-F629-4000-83BF-FBB024DD2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22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189">
              <a:extLst>
                <a:ext uri="{FF2B5EF4-FFF2-40B4-BE49-F238E27FC236}">
                  <a16:creationId xmlns:a16="http://schemas.microsoft.com/office/drawing/2014/main" id="{598B74E9-B33E-48D2-9ADF-137DB87148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170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Rectangle 190">
              <a:extLst>
                <a:ext uri="{FF2B5EF4-FFF2-40B4-BE49-F238E27FC236}">
                  <a16:creationId xmlns:a16="http://schemas.microsoft.com/office/drawing/2014/main" id="{03EE22B7-A317-4921-A98E-1982B668A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224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91">
              <a:extLst>
                <a:ext uri="{FF2B5EF4-FFF2-40B4-BE49-F238E27FC236}">
                  <a16:creationId xmlns:a16="http://schemas.microsoft.com/office/drawing/2014/main" id="{4E6819D4-4FEE-4386-BC1E-04CFED9208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7" y="2084"/>
              <a:ext cx="226" cy="240"/>
            </a:xfrm>
            <a:custGeom>
              <a:avLst/>
              <a:gdLst>
                <a:gd name="T0" fmla="*/ 221 w 226"/>
                <a:gd name="T1" fmla="*/ 0 h 240"/>
                <a:gd name="T2" fmla="*/ 189 w 226"/>
                <a:gd name="T3" fmla="*/ 7 h 240"/>
                <a:gd name="T4" fmla="*/ 214 w 226"/>
                <a:gd name="T5" fmla="*/ 137 h 240"/>
                <a:gd name="T6" fmla="*/ 128 w 226"/>
                <a:gd name="T7" fmla="*/ 12 h 240"/>
                <a:gd name="T8" fmla="*/ 47 w 226"/>
                <a:gd name="T9" fmla="*/ 22 h 240"/>
                <a:gd name="T10" fmla="*/ 20 w 226"/>
                <a:gd name="T11" fmla="*/ 120 h 240"/>
                <a:gd name="T12" fmla="*/ 0 w 226"/>
                <a:gd name="T13" fmla="*/ 142 h 240"/>
                <a:gd name="T14" fmla="*/ 22 w 226"/>
                <a:gd name="T15" fmla="*/ 211 h 240"/>
                <a:gd name="T16" fmla="*/ 42 w 226"/>
                <a:gd name="T17" fmla="*/ 238 h 240"/>
                <a:gd name="T18" fmla="*/ 71 w 226"/>
                <a:gd name="T19" fmla="*/ 231 h 240"/>
                <a:gd name="T20" fmla="*/ 157 w 226"/>
                <a:gd name="T21" fmla="*/ 213 h 240"/>
                <a:gd name="T22" fmla="*/ 192 w 226"/>
                <a:gd name="T23" fmla="*/ 240 h 240"/>
                <a:gd name="T24" fmla="*/ 223 w 226"/>
                <a:gd name="T25" fmla="*/ 221 h 240"/>
                <a:gd name="T26" fmla="*/ 59 w 226"/>
                <a:gd name="T27" fmla="*/ 27 h 240"/>
                <a:gd name="T28" fmla="*/ 123 w 226"/>
                <a:gd name="T29" fmla="*/ 25 h 240"/>
                <a:gd name="T30" fmla="*/ 137 w 226"/>
                <a:gd name="T31" fmla="*/ 42 h 240"/>
                <a:gd name="T32" fmla="*/ 123 w 226"/>
                <a:gd name="T33" fmla="*/ 157 h 240"/>
                <a:gd name="T34" fmla="*/ 98 w 226"/>
                <a:gd name="T35" fmla="*/ 120 h 240"/>
                <a:gd name="T36" fmla="*/ 78 w 226"/>
                <a:gd name="T37" fmla="*/ 83 h 240"/>
                <a:gd name="T38" fmla="*/ 74 w 226"/>
                <a:gd name="T39" fmla="*/ 83 h 240"/>
                <a:gd name="T40" fmla="*/ 74 w 226"/>
                <a:gd name="T41" fmla="*/ 83 h 240"/>
                <a:gd name="T42" fmla="*/ 71 w 226"/>
                <a:gd name="T43" fmla="*/ 86 h 240"/>
                <a:gd name="T44" fmla="*/ 69 w 226"/>
                <a:gd name="T45" fmla="*/ 88 h 240"/>
                <a:gd name="T46" fmla="*/ 69 w 226"/>
                <a:gd name="T47" fmla="*/ 120 h 240"/>
                <a:gd name="T48" fmla="*/ 64 w 226"/>
                <a:gd name="T49" fmla="*/ 221 h 240"/>
                <a:gd name="T50" fmla="*/ 47 w 226"/>
                <a:gd name="T51" fmla="*/ 226 h 240"/>
                <a:gd name="T52" fmla="*/ 37 w 226"/>
                <a:gd name="T53" fmla="*/ 211 h 240"/>
                <a:gd name="T54" fmla="*/ 47 w 226"/>
                <a:gd name="T55" fmla="*/ 196 h 240"/>
                <a:gd name="T56" fmla="*/ 64 w 226"/>
                <a:gd name="T57" fmla="*/ 204 h 240"/>
                <a:gd name="T58" fmla="*/ 160 w 226"/>
                <a:gd name="T59" fmla="*/ 189 h 240"/>
                <a:gd name="T60" fmla="*/ 74 w 226"/>
                <a:gd name="T61" fmla="*/ 194 h 240"/>
                <a:gd name="T62" fmla="*/ 51 w 226"/>
                <a:gd name="T63" fmla="*/ 184 h 240"/>
                <a:gd name="T64" fmla="*/ 27 w 226"/>
                <a:gd name="T65" fmla="*/ 196 h 240"/>
                <a:gd name="T66" fmla="*/ 15 w 226"/>
                <a:gd name="T67" fmla="*/ 189 h 240"/>
                <a:gd name="T68" fmla="*/ 17 w 226"/>
                <a:gd name="T69" fmla="*/ 142 h 240"/>
                <a:gd name="T70" fmla="*/ 20 w 226"/>
                <a:gd name="T71" fmla="*/ 137 h 240"/>
                <a:gd name="T72" fmla="*/ 22 w 226"/>
                <a:gd name="T73" fmla="*/ 137 h 240"/>
                <a:gd name="T74" fmla="*/ 101 w 226"/>
                <a:gd name="T75" fmla="*/ 132 h 240"/>
                <a:gd name="T76" fmla="*/ 106 w 226"/>
                <a:gd name="T77" fmla="*/ 135 h 240"/>
                <a:gd name="T78" fmla="*/ 150 w 226"/>
                <a:gd name="T79" fmla="*/ 169 h 240"/>
                <a:gd name="T80" fmla="*/ 182 w 226"/>
                <a:gd name="T81" fmla="*/ 152 h 240"/>
                <a:gd name="T82" fmla="*/ 160 w 226"/>
                <a:gd name="T83" fmla="*/ 189 h 240"/>
                <a:gd name="T84" fmla="*/ 206 w 226"/>
                <a:gd name="T85" fmla="*/ 221 h 240"/>
                <a:gd name="T86" fmla="*/ 189 w 226"/>
                <a:gd name="T87" fmla="*/ 226 h 240"/>
                <a:gd name="T88" fmla="*/ 172 w 226"/>
                <a:gd name="T89" fmla="*/ 211 h 240"/>
                <a:gd name="T90" fmla="*/ 177 w 226"/>
                <a:gd name="T91" fmla="*/ 189 h 240"/>
                <a:gd name="T92" fmla="*/ 192 w 226"/>
                <a:gd name="T93" fmla="*/ 184 h 240"/>
                <a:gd name="T94" fmla="*/ 209 w 226"/>
                <a:gd name="T95" fmla="*/ 194 h 240"/>
                <a:gd name="T96" fmla="*/ 214 w 226"/>
                <a:gd name="T97" fmla="*/ 208 h 240"/>
                <a:gd name="T98" fmla="*/ 194 w 226"/>
                <a:gd name="T99" fmla="*/ 150 h 240"/>
                <a:gd name="T100" fmla="*/ 196 w 226"/>
                <a:gd name="T101" fmla="*/ 4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6" h="240">
                  <a:moveTo>
                    <a:pt x="226" y="213"/>
                  </a:moveTo>
                  <a:lnTo>
                    <a:pt x="226" y="204"/>
                  </a:lnTo>
                  <a:lnTo>
                    <a:pt x="226" y="3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192" y="3"/>
                  </a:lnTo>
                  <a:lnTo>
                    <a:pt x="189" y="5"/>
                  </a:lnTo>
                  <a:lnTo>
                    <a:pt x="189" y="7"/>
                  </a:lnTo>
                  <a:lnTo>
                    <a:pt x="189" y="7"/>
                  </a:lnTo>
                  <a:lnTo>
                    <a:pt x="189" y="44"/>
                  </a:lnTo>
                  <a:lnTo>
                    <a:pt x="214" y="69"/>
                  </a:lnTo>
                  <a:lnTo>
                    <a:pt x="214" y="137"/>
                  </a:lnTo>
                  <a:lnTo>
                    <a:pt x="179" y="137"/>
                  </a:lnTo>
                  <a:lnTo>
                    <a:pt x="145" y="27"/>
                  </a:lnTo>
                  <a:lnTo>
                    <a:pt x="137" y="17"/>
                  </a:lnTo>
                  <a:lnTo>
                    <a:pt x="128" y="12"/>
                  </a:lnTo>
                  <a:lnTo>
                    <a:pt x="120" y="12"/>
                  </a:lnTo>
                  <a:lnTo>
                    <a:pt x="61" y="12"/>
                  </a:lnTo>
                  <a:lnTo>
                    <a:pt x="54" y="15"/>
                  </a:lnTo>
                  <a:lnTo>
                    <a:pt x="47" y="22"/>
                  </a:lnTo>
                  <a:lnTo>
                    <a:pt x="44" y="30"/>
                  </a:lnTo>
                  <a:lnTo>
                    <a:pt x="42" y="39"/>
                  </a:lnTo>
                  <a:lnTo>
                    <a:pt x="32" y="120"/>
                  </a:lnTo>
                  <a:lnTo>
                    <a:pt x="20" y="120"/>
                  </a:lnTo>
                  <a:lnTo>
                    <a:pt x="10" y="125"/>
                  </a:lnTo>
                  <a:lnTo>
                    <a:pt x="2" y="132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2" y="196"/>
                  </a:lnTo>
                  <a:lnTo>
                    <a:pt x="7" y="204"/>
                  </a:lnTo>
                  <a:lnTo>
                    <a:pt x="15" y="208"/>
                  </a:lnTo>
                  <a:lnTo>
                    <a:pt x="22" y="211"/>
                  </a:lnTo>
                  <a:lnTo>
                    <a:pt x="22" y="213"/>
                  </a:lnTo>
                  <a:lnTo>
                    <a:pt x="27" y="226"/>
                  </a:lnTo>
                  <a:lnTo>
                    <a:pt x="32" y="233"/>
                  </a:lnTo>
                  <a:lnTo>
                    <a:pt x="42" y="238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64" y="238"/>
                  </a:lnTo>
                  <a:lnTo>
                    <a:pt x="71" y="231"/>
                  </a:lnTo>
                  <a:lnTo>
                    <a:pt x="76" y="223"/>
                  </a:lnTo>
                  <a:lnTo>
                    <a:pt x="81" y="216"/>
                  </a:lnTo>
                  <a:lnTo>
                    <a:pt x="81" y="213"/>
                  </a:lnTo>
                  <a:lnTo>
                    <a:pt x="157" y="213"/>
                  </a:lnTo>
                  <a:lnTo>
                    <a:pt x="164" y="226"/>
                  </a:lnTo>
                  <a:lnTo>
                    <a:pt x="172" y="233"/>
                  </a:lnTo>
                  <a:lnTo>
                    <a:pt x="184" y="238"/>
                  </a:lnTo>
                  <a:lnTo>
                    <a:pt x="192" y="240"/>
                  </a:lnTo>
                  <a:lnTo>
                    <a:pt x="201" y="238"/>
                  </a:lnTo>
                  <a:lnTo>
                    <a:pt x="211" y="235"/>
                  </a:lnTo>
                  <a:lnTo>
                    <a:pt x="219" y="228"/>
                  </a:lnTo>
                  <a:lnTo>
                    <a:pt x="223" y="221"/>
                  </a:lnTo>
                  <a:lnTo>
                    <a:pt x="226" y="213"/>
                  </a:lnTo>
                  <a:close/>
                  <a:moveTo>
                    <a:pt x="54" y="37"/>
                  </a:moveTo>
                  <a:lnTo>
                    <a:pt x="56" y="32"/>
                  </a:lnTo>
                  <a:lnTo>
                    <a:pt x="59" y="27"/>
                  </a:lnTo>
                  <a:lnTo>
                    <a:pt x="64" y="25"/>
                  </a:lnTo>
                  <a:lnTo>
                    <a:pt x="69" y="25"/>
                  </a:lnTo>
                  <a:lnTo>
                    <a:pt x="118" y="25"/>
                  </a:lnTo>
                  <a:lnTo>
                    <a:pt x="123" y="25"/>
                  </a:lnTo>
                  <a:lnTo>
                    <a:pt x="128" y="27"/>
                  </a:lnTo>
                  <a:lnTo>
                    <a:pt x="133" y="30"/>
                  </a:lnTo>
                  <a:lnTo>
                    <a:pt x="135" y="34"/>
                  </a:lnTo>
                  <a:lnTo>
                    <a:pt x="137" y="42"/>
                  </a:lnTo>
                  <a:lnTo>
                    <a:pt x="164" y="142"/>
                  </a:lnTo>
                  <a:lnTo>
                    <a:pt x="152" y="147"/>
                  </a:lnTo>
                  <a:lnTo>
                    <a:pt x="142" y="157"/>
                  </a:lnTo>
                  <a:lnTo>
                    <a:pt x="123" y="157"/>
                  </a:lnTo>
                  <a:lnTo>
                    <a:pt x="120" y="135"/>
                  </a:lnTo>
                  <a:lnTo>
                    <a:pt x="115" y="128"/>
                  </a:lnTo>
                  <a:lnTo>
                    <a:pt x="106" y="120"/>
                  </a:lnTo>
                  <a:lnTo>
                    <a:pt x="98" y="120"/>
                  </a:lnTo>
                  <a:lnTo>
                    <a:pt x="78" y="120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8" y="83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6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6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6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120"/>
                  </a:lnTo>
                  <a:lnTo>
                    <a:pt x="47" y="120"/>
                  </a:lnTo>
                  <a:lnTo>
                    <a:pt x="54" y="37"/>
                  </a:lnTo>
                  <a:close/>
                  <a:moveTo>
                    <a:pt x="66" y="216"/>
                  </a:moveTo>
                  <a:lnTo>
                    <a:pt x="64" y="221"/>
                  </a:lnTo>
                  <a:lnTo>
                    <a:pt x="61" y="223"/>
                  </a:lnTo>
                  <a:lnTo>
                    <a:pt x="56" y="226"/>
                  </a:lnTo>
                  <a:lnTo>
                    <a:pt x="51" y="226"/>
                  </a:lnTo>
                  <a:lnTo>
                    <a:pt x="47" y="226"/>
                  </a:lnTo>
                  <a:lnTo>
                    <a:pt x="42" y="223"/>
                  </a:lnTo>
                  <a:lnTo>
                    <a:pt x="37" y="218"/>
                  </a:lnTo>
                  <a:lnTo>
                    <a:pt x="37" y="213"/>
                  </a:lnTo>
                  <a:lnTo>
                    <a:pt x="37" y="211"/>
                  </a:lnTo>
                  <a:lnTo>
                    <a:pt x="37" y="206"/>
                  </a:lnTo>
                  <a:lnTo>
                    <a:pt x="39" y="204"/>
                  </a:lnTo>
                  <a:lnTo>
                    <a:pt x="42" y="199"/>
                  </a:lnTo>
                  <a:lnTo>
                    <a:pt x="47" y="196"/>
                  </a:lnTo>
                  <a:lnTo>
                    <a:pt x="51" y="196"/>
                  </a:lnTo>
                  <a:lnTo>
                    <a:pt x="56" y="196"/>
                  </a:lnTo>
                  <a:lnTo>
                    <a:pt x="59" y="199"/>
                  </a:lnTo>
                  <a:lnTo>
                    <a:pt x="64" y="204"/>
                  </a:lnTo>
                  <a:lnTo>
                    <a:pt x="66" y="208"/>
                  </a:lnTo>
                  <a:lnTo>
                    <a:pt x="66" y="211"/>
                  </a:lnTo>
                  <a:lnTo>
                    <a:pt x="66" y="216"/>
                  </a:lnTo>
                  <a:close/>
                  <a:moveTo>
                    <a:pt x="160" y="189"/>
                  </a:moveTo>
                  <a:lnTo>
                    <a:pt x="157" y="199"/>
                  </a:lnTo>
                  <a:lnTo>
                    <a:pt x="157" y="199"/>
                  </a:lnTo>
                  <a:lnTo>
                    <a:pt x="78" y="199"/>
                  </a:lnTo>
                  <a:lnTo>
                    <a:pt x="74" y="194"/>
                  </a:lnTo>
                  <a:lnTo>
                    <a:pt x="69" y="189"/>
                  </a:lnTo>
                  <a:lnTo>
                    <a:pt x="64" y="186"/>
                  </a:lnTo>
                  <a:lnTo>
                    <a:pt x="56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37" y="186"/>
                  </a:lnTo>
                  <a:lnTo>
                    <a:pt x="32" y="191"/>
                  </a:lnTo>
                  <a:lnTo>
                    <a:pt x="27" y="196"/>
                  </a:lnTo>
                  <a:lnTo>
                    <a:pt x="24" y="199"/>
                  </a:lnTo>
                  <a:lnTo>
                    <a:pt x="20" y="196"/>
                  </a:lnTo>
                  <a:lnTo>
                    <a:pt x="15" y="194"/>
                  </a:lnTo>
                  <a:lnTo>
                    <a:pt x="15" y="189"/>
                  </a:lnTo>
                  <a:lnTo>
                    <a:pt x="15" y="186"/>
                  </a:lnTo>
                  <a:lnTo>
                    <a:pt x="15" y="142"/>
                  </a:lnTo>
                  <a:lnTo>
                    <a:pt x="17" y="142"/>
                  </a:lnTo>
                  <a:lnTo>
                    <a:pt x="17" y="142"/>
                  </a:lnTo>
                  <a:lnTo>
                    <a:pt x="15" y="142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5"/>
                  </a:lnTo>
                  <a:lnTo>
                    <a:pt x="22" y="135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2" y="132"/>
                  </a:lnTo>
                  <a:lnTo>
                    <a:pt x="24" y="132"/>
                  </a:lnTo>
                  <a:lnTo>
                    <a:pt x="101" y="132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3" y="135"/>
                  </a:lnTo>
                  <a:lnTo>
                    <a:pt x="106" y="135"/>
                  </a:lnTo>
                  <a:lnTo>
                    <a:pt x="108" y="140"/>
                  </a:lnTo>
                  <a:lnTo>
                    <a:pt x="110" y="145"/>
                  </a:lnTo>
                  <a:lnTo>
                    <a:pt x="110" y="169"/>
                  </a:lnTo>
                  <a:lnTo>
                    <a:pt x="150" y="169"/>
                  </a:lnTo>
                  <a:lnTo>
                    <a:pt x="157" y="162"/>
                  </a:lnTo>
                  <a:lnTo>
                    <a:pt x="167" y="157"/>
                  </a:lnTo>
                  <a:lnTo>
                    <a:pt x="177" y="152"/>
                  </a:lnTo>
                  <a:lnTo>
                    <a:pt x="182" y="152"/>
                  </a:lnTo>
                  <a:lnTo>
                    <a:pt x="182" y="172"/>
                  </a:lnTo>
                  <a:lnTo>
                    <a:pt x="172" y="177"/>
                  </a:lnTo>
                  <a:lnTo>
                    <a:pt x="164" y="184"/>
                  </a:lnTo>
                  <a:lnTo>
                    <a:pt x="160" y="189"/>
                  </a:lnTo>
                  <a:close/>
                  <a:moveTo>
                    <a:pt x="214" y="208"/>
                  </a:moveTo>
                  <a:lnTo>
                    <a:pt x="211" y="216"/>
                  </a:lnTo>
                  <a:lnTo>
                    <a:pt x="209" y="218"/>
                  </a:lnTo>
                  <a:lnTo>
                    <a:pt x="206" y="221"/>
                  </a:lnTo>
                  <a:lnTo>
                    <a:pt x="204" y="223"/>
                  </a:lnTo>
                  <a:lnTo>
                    <a:pt x="196" y="226"/>
                  </a:lnTo>
                  <a:lnTo>
                    <a:pt x="192" y="226"/>
                  </a:lnTo>
                  <a:lnTo>
                    <a:pt x="189" y="226"/>
                  </a:lnTo>
                  <a:lnTo>
                    <a:pt x="182" y="223"/>
                  </a:lnTo>
                  <a:lnTo>
                    <a:pt x="177" y="221"/>
                  </a:lnTo>
                  <a:lnTo>
                    <a:pt x="174" y="216"/>
                  </a:lnTo>
                  <a:lnTo>
                    <a:pt x="172" y="211"/>
                  </a:lnTo>
                  <a:lnTo>
                    <a:pt x="169" y="206"/>
                  </a:lnTo>
                  <a:lnTo>
                    <a:pt x="172" y="199"/>
                  </a:lnTo>
                  <a:lnTo>
                    <a:pt x="174" y="194"/>
                  </a:lnTo>
                  <a:lnTo>
                    <a:pt x="177" y="189"/>
                  </a:lnTo>
                  <a:lnTo>
                    <a:pt x="179" y="186"/>
                  </a:lnTo>
                  <a:lnTo>
                    <a:pt x="184" y="184"/>
                  </a:lnTo>
                  <a:lnTo>
                    <a:pt x="189" y="184"/>
                  </a:lnTo>
                  <a:lnTo>
                    <a:pt x="192" y="184"/>
                  </a:lnTo>
                  <a:lnTo>
                    <a:pt x="199" y="184"/>
                  </a:lnTo>
                  <a:lnTo>
                    <a:pt x="201" y="186"/>
                  </a:lnTo>
                  <a:lnTo>
                    <a:pt x="206" y="189"/>
                  </a:lnTo>
                  <a:lnTo>
                    <a:pt x="209" y="194"/>
                  </a:lnTo>
                  <a:lnTo>
                    <a:pt x="211" y="196"/>
                  </a:lnTo>
                  <a:lnTo>
                    <a:pt x="214" y="201"/>
                  </a:lnTo>
                  <a:lnTo>
                    <a:pt x="214" y="204"/>
                  </a:lnTo>
                  <a:lnTo>
                    <a:pt x="214" y="208"/>
                  </a:lnTo>
                  <a:close/>
                  <a:moveTo>
                    <a:pt x="214" y="177"/>
                  </a:moveTo>
                  <a:lnTo>
                    <a:pt x="199" y="172"/>
                  </a:lnTo>
                  <a:lnTo>
                    <a:pt x="194" y="169"/>
                  </a:lnTo>
                  <a:lnTo>
                    <a:pt x="194" y="150"/>
                  </a:lnTo>
                  <a:lnTo>
                    <a:pt x="214" y="150"/>
                  </a:lnTo>
                  <a:lnTo>
                    <a:pt x="214" y="177"/>
                  </a:lnTo>
                  <a:close/>
                  <a:moveTo>
                    <a:pt x="214" y="56"/>
                  </a:moveTo>
                  <a:lnTo>
                    <a:pt x="196" y="42"/>
                  </a:lnTo>
                  <a:lnTo>
                    <a:pt x="196" y="15"/>
                  </a:lnTo>
                  <a:lnTo>
                    <a:pt x="214" y="15"/>
                  </a:lnTo>
                  <a:lnTo>
                    <a:pt x="214" y="5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Rectangle 192">
              <a:extLst>
                <a:ext uri="{FF2B5EF4-FFF2-40B4-BE49-F238E27FC236}">
                  <a16:creationId xmlns:a16="http://schemas.microsoft.com/office/drawing/2014/main" id="{2217C69F-A215-4420-A2CE-51AC07C2F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9" y="2278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7" name="Group 195">
            <a:extLst>
              <a:ext uri="{FF2B5EF4-FFF2-40B4-BE49-F238E27FC236}">
                <a16:creationId xmlns:a16="http://schemas.microsoft.com/office/drawing/2014/main" id="{7A4A2F2E-BD63-4518-9FAA-B36130DC79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19" y="2807494"/>
            <a:ext cx="841375" cy="841375"/>
            <a:chOff x="2971" y="1861"/>
            <a:chExt cx="530" cy="530"/>
          </a:xfrm>
        </p:grpSpPr>
        <p:sp>
          <p:nvSpPr>
            <p:cNvPr id="218" name="AutoShape 194">
              <a:extLst>
                <a:ext uri="{FF2B5EF4-FFF2-40B4-BE49-F238E27FC236}">
                  <a16:creationId xmlns:a16="http://schemas.microsoft.com/office/drawing/2014/main" id="{66E887E3-A726-455E-B2B1-907599F209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71" y="186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Oval 196">
              <a:extLst>
                <a:ext uri="{FF2B5EF4-FFF2-40B4-BE49-F238E27FC236}">
                  <a16:creationId xmlns:a16="http://schemas.microsoft.com/office/drawing/2014/main" id="{3E1C53F6-C7C0-475B-BF91-08C6CA6DE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1" y="186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97">
              <a:extLst>
                <a:ext uri="{FF2B5EF4-FFF2-40B4-BE49-F238E27FC236}">
                  <a16:creationId xmlns:a16="http://schemas.microsoft.com/office/drawing/2014/main" id="{2B9F9B9C-DE31-4393-9B00-6E89867CF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9" y="187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198">
              <a:extLst>
                <a:ext uri="{FF2B5EF4-FFF2-40B4-BE49-F238E27FC236}">
                  <a16:creationId xmlns:a16="http://schemas.microsoft.com/office/drawing/2014/main" id="{3EF4312B-F2C9-408A-BB9A-85C94A19F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1" y="214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Rectangle 199">
              <a:extLst>
                <a:ext uri="{FF2B5EF4-FFF2-40B4-BE49-F238E27FC236}">
                  <a16:creationId xmlns:a16="http://schemas.microsoft.com/office/drawing/2014/main" id="{D2FB6FBB-084F-46C4-80C3-BAD8C47751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09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200">
              <a:extLst>
                <a:ext uri="{FF2B5EF4-FFF2-40B4-BE49-F238E27FC236}">
                  <a16:creationId xmlns:a16="http://schemas.microsoft.com/office/drawing/2014/main" id="{8AC6B317-441A-4299-A042-FF06DF5B8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3" y="209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1">
              <a:extLst>
                <a:ext uri="{FF2B5EF4-FFF2-40B4-BE49-F238E27FC236}">
                  <a16:creationId xmlns:a16="http://schemas.microsoft.com/office/drawing/2014/main" id="{88E47A2D-2C09-49AA-A38D-A649D5256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7" y="2176"/>
              <a:ext cx="56" cy="59"/>
            </a:xfrm>
            <a:custGeom>
              <a:avLst/>
              <a:gdLst>
                <a:gd name="T0" fmla="*/ 0 w 56"/>
                <a:gd name="T1" fmla="*/ 0 h 59"/>
                <a:gd name="T2" fmla="*/ 0 w 56"/>
                <a:gd name="T3" fmla="*/ 59 h 59"/>
                <a:gd name="T4" fmla="*/ 56 w 56"/>
                <a:gd name="T5" fmla="*/ 59 h 59"/>
                <a:gd name="T6" fmla="*/ 56 w 56"/>
                <a:gd name="T7" fmla="*/ 51 h 59"/>
                <a:gd name="T8" fmla="*/ 8 w 56"/>
                <a:gd name="T9" fmla="*/ 51 h 59"/>
                <a:gd name="T10" fmla="*/ 8 w 56"/>
                <a:gd name="T11" fmla="*/ 0 h 59"/>
                <a:gd name="T12" fmla="*/ 0 w 56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9">
                  <a:moveTo>
                    <a:pt x="0" y="0"/>
                  </a:moveTo>
                  <a:lnTo>
                    <a:pt x="0" y="59"/>
                  </a:lnTo>
                  <a:lnTo>
                    <a:pt x="56" y="59"/>
                  </a:lnTo>
                  <a:lnTo>
                    <a:pt x="56" y="51"/>
                  </a:lnTo>
                  <a:lnTo>
                    <a:pt x="8" y="51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202">
              <a:extLst>
                <a:ext uri="{FF2B5EF4-FFF2-40B4-BE49-F238E27FC236}">
                  <a16:creationId xmlns:a16="http://schemas.microsoft.com/office/drawing/2014/main" id="{8D2DF805-2E34-4591-ADCA-0AD3B7FE9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2089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203">
              <a:extLst>
                <a:ext uri="{FF2B5EF4-FFF2-40B4-BE49-F238E27FC236}">
                  <a16:creationId xmlns:a16="http://schemas.microsoft.com/office/drawing/2014/main" id="{AB0AC725-1084-4F1C-B7C7-2BD171980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" y="2145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Rectangle 204">
              <a:extLst>
                <a:ext uri="{FF2B5EF4-FFF2-40B4-BE49-F238E27FC236}">
                  <a16:creationId xmlns:a16="http://schemas.microsoft.com/office/drawing/2014/main" id="{EC228246-6B9A-4F63-8C9A-D662D93A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091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Rectangle 205">
              <a:extLst>
                <a:ext uri="{FF2B5EF4-FFF2-40B4-BE49-F238E27FC236}">
                  <a16:creationId xmlns:a16="http://schemas.microsoft.com/office/drawing/2014/main" id="{521BB3CA-55DC-4454-B12F-76CADAC57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" y="214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06">
              <a:extLst>
                <a:ext uri="{FF2B5EF4-FFF2-40B4-BE49-F238E27FC236}">
                  <a16:creationId xmlns:a16="http://schemas.microsoft.com/office/drawing/2014/main" id="{43CFD98D-4252-42D4-BD0F-B3EBB9DAA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1" y="2002"/>
              <a:ext cx="236" cy="251"/>
            </a:xfrm>
            <a:custGeom>
              <a:avLst/>
              <a:gdLst>
                <a:gd name="T0" fmla="*/ 230 w 236"/>
                <a:gd name="T1" fmla="*/ 0 h 251"/>
                <a:gd name="T2" fmla="*/ 197 w 236"/>
                <a:gd name="T3" fmla="*/ 7 h 251"/>
                <a:gd name="T4" fmla="*/ 223 w 236"/>
                <a:gd name="T5" fmla="*/ 143 h 251"/>
                <a:gd name="T6" fmla="*/ 133 w 236"/>
                <a:gd name="T7" fmla="*/ 13 h 251"/>
                <a:gd name="T8" fmla="*/ 49 w 236"/>
                <a:gd name="T9" fmla="*/ 23 h 251"/>
                <a:gd name="T10" fmla="*/ 20 w 236"/>
                <a:gd name="T11" fmla="*/ 125 h 251"/>
                <a:gd name="T12" fmla="*/ 0 w 236"/>
                <a:gd name="T13" fmla="*/ 148 h 251"/>
                <a:gd name="T14" fmla="*/ 23 w 236"/>
                <a:gd name="T15" fmla="*/ 220 h 251"/>
                <a:gd name="T16" fmla="*/ 44 w 236"/>
                <a:gd name="T17" fmla="*/ 248 h 251"/>
                <a:gd name="T18" fmla="*/ 74 w 236"/>
                <a:gd name="T19" fmla="*/ 240 h 251"/>
                <a:gd name="T20" fmla="*/ 164 w 236"/>
                <a:gd name="T21" fmla="*/ 222 h 251"/>
                <a:gd name="T22" fmla="*/ 200 w 236"/>
                <a:gd name="T23" fmla="*/ 251 h 251"/>
                <a:gd name="T24" fmla="*/ 233 w 236"/>
                <a:gd name="T25" fmla="*/ 230 h 251"/>
                <a:gd name="T26" fmla="*/ 61 w 236"/>
                <a:gd name="T27" fmla="*/ 28 h 251"/>
                <a:gd name="T28" fmla="*/ 128 w 236"/>
                <a:gd name="T29" fmla="*/ 25 h 251"/>
                <a:gd name="T30" fmla="*/ 143 w 236"/>
                <a:gd name="T31" fmla="*/ 43 h 251"/>
                <a:gd name="T32" fmla="*/ 128 w 236"/>
                <a:gd name="T33" fmla="*/ 164 h 251"/>
                <a:gd name="T34" fmla="*/ 102 w 236"/>
                <a:gd name="T35" fmla="*/ 125 h 251"/>
                <a:gd name="T36" fmla="*/ 82 w 236"/>
                <a:gd name="T37" fmla="*/ 87 h 251"/>
                <a:gd name="T38" fmla="*/ 77 w 236"/>
                <a:gd name="T39" fmla="*/ 87 h 251"/>
                <a:gd name="T40" fmla="*/ 77 w 236"/>
                <a:gd name="T41" fmla="*/ 87 h 251"/>
                <a:gd name="T42" fmla="*/ 74 w 236"/>
                <a:gd name="T43" fmla="*/ 89 h 251"/>
                <a:gd name="T44" fmla="*/ 72 w 236"/>
                <a:gd name="T45" fmla="*/ 92 h 251"/>
                <a:gd name="T46" fmla="*/ 72 w 236"/>
                <a:gd name="T47" fmla="*/ 125 h 251"/>
                <a:gd name="T48" fmla="*/ 67 w 236"/>
                <a:gd name="T49" fmla="*/ 230 h 251"/>
                <a:gd name="T50" fmla="*/ 49 w 236"/>
                <a:gd name="T51" fmla="*/ 235 h 251"/>
                <a:gd name="T52" fmla="*/ 38 w 236"/>
                <a:gd name="T53" fmla="*/ 220 h 251"/>
                <a:gd name="T54" fmla="*/ 49 w 236"/>
                <a:gd name="T55" fmla="*/ 205 h 251"/>
                <a:gd name="T56" fmla="*/ 67 w 236"/>
                <a:gd name="T57" fmla="*/ 212 h 251"/>
                <a:gd name="T58" fmla="*/ 166 w 236"/>
                <a:gd name="T59" fmla="*/ 197 h 251"/>
                <a:gd name="T60" fmla="*/ 77 w 236"/>
                <a:gd name="T61" fmla="*/ 202 h 251"/>
                <a:gd name="T62" fmla="*/ 54 w 236"/>
                <a:gd name="T63" fmla="*/ 192 h 251"/>
                <a:gd name="T64" fmla="*/ 28 w 236"/>
                <a:gd name="T65" fmla="*/ 205 h 251"/>
                <a:gd name="T66" fmla="*/ 15 w 236"/>
                <a:gd name="T67" fmla="*/ 197 h 251"/>
                <a:gd name="T68" fmla="*/ 18 w 236"/>
                <a:gd name="T69" fmla="*/ 148 h 251"/>
                <a:gd name="T70" fmla="*/ 20 w 236"/>
                <a:gd name="T71" fmla="*/ 143 h 251"/>
                <a:gd name="T72" fmla="*/ 23 w 236"/>
                <a:gd name="T73" fmla="*/ 143 h 251"/>
                <a:gd name="T74" fmla="*/ 105 w 236"/>
                <a:gd name="T75" fmla="*/ 138 h 251"/>
                <a:gd name="T76" fmla="*/ 110 w 236"/>
                <a:gd name="T77" fmla="*/ 141 h 251"/>
                <a:gd name="T78" fmla="*/ 156 w 236"/>
                <a:gd name="T79" fmla="*/ 176 h 251"/>
                <a:gd name="T80" fmla="*/ 189 w 236"/>
                <a:gd name="T81" fmla="*/ 158 h 251"/>
                <a:gd name="T82" fmla="*/ 166 w 236"/>
                <a:gd name="T83" fmla="*/ 197 h 251"/>
                <a:gd name="T84" fmla="*/ 215 w 236"/>
                <a:gd name="T85" fmla="*/ 230 h 251"/>
                <a:gd name="T86" fmla="*/ 197 w 236"/>
                <a:gd name="T87" fmla="*/ 235 h 251"/>
                <a:gd name="T88" fmla="*/ 179 w 236"/>
                <a:gd name="T89" fmla="*/ 220 h 251"/>
                <a:gd name="T90" fmla="*/ 184 w 236"/>
                <a:gd name="T91" fmla="*/ 197 h 251"/>
                <a:gd name="T92" fmla="*/ 200 w 236"/>
                <a:gd name="T93" fmla="*/ 192 h 251"/>
                <a:gd name="T94" fmla="*/ 218 w 236"/>
                <a:gd name="T95" fmla="*/ 202 h 251"/>
                <a:gd name="T96" fmla="*/ 223 w 236"/>
                <a:gd name="T97" fmla="*/ 217 h 251"/>
                <a:gd name="T98" fmla="*/ 202 w 236"/>
                <a:gd name="T99" fmla="*/ 156 h 251"/>
                <a:gd name="T100" fmla="*/ 205 w 236"/>
                <a:gd name="T101" fmla="*/ 43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6" h="251">
                  <a:moveTo>
                    <a:pt x="236" y="222"/>
                  </a:moveTo>
                  <a:lnTo>
                    <a:pt x="236" y="212"/>
                  </a:lnTo>
                  <a:lnTo>
                    <a:pt x="236" y="2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00" y="2"/>
                  </a:lnTo>
                  <a:lnTo>
                    <a:pt x="197" y="5"/>
                  </a:lnTo>
                  <a:lnTo>
                    <a:pt x="197" y="7"/>
                  </a:lnTo>
                  <a:lnTo>
                    <a:pt x="197" y="7"/>
                  </a:lnTo>
                  <a:lnTo>
                    <a:pt x="197" y="46"/>
                  </a:lnTo>
                  <a:lnTo>
                    <a:pt x="223" y="71"/>
                  </a:lnTo>
                  <a:lnTo>
                    <a:pt x="223" y="143"/>
                  </a:lnTo>
                  <a:lnTo>
                    <a:pt x="187" y="143"/>
                  </a:lnTo>
                  <a:lnTo>
                    <a:pt x="151" y="28"/>
                  </a:lnTo>
                  <a:lnTo>
                    <a:pt x="143" y="18"/>
                  </a:lnTo>
                  <a:lnTo>
                    <a:pt x="133" y="13"/>
                  </a:lnTo>
                  <a:lnTo>
                    <a:pt x="125" y="13"/>
                  </a:lnTo>
                  <a:lnTo>
                    <a:pt x="64" y="13"/>
                  </a:lnTo>
                  <a:lnTo>
                    <a:pt x="56" y="15"/>
                  </a:lnTo>
                  <a:lnTo>
                    <a:pt x="49" y="23"/>
                  </a:lnTo>
                  <a:lnTo>
                    <a:pt x="46" y="30"/>
                  </a:lnTo>
                  <a:lnTo>
                    <a:pt x="44" y="41"/>
                  </a:lnTo>
                  <a:lnTo>
                    <a:pt x="33" y="125"/>
                  </a:lnTo>
                  <a:lnTo>
                    <a:pt x="20" y="125"/>
                  </a:lnTo>
                  <a:lnTo>
                    <a:pt x="10" y="130"/>
                  </a:lnTo>
                  <a:lnTo>
                    <a:pt x="3" y="138"/>
                  </a:lnTo>
                  <a:lnTo>
                    <a:pt x="0" y="146"/>
                  </a:lnTo>
                  <a:lnTo>
                    <a:pt x="0" y="148"/>
                  </a:lnTo>
                  <a:lnTo>
                    <a:pt x="3" y="205"/>
                  </a:lnTo>
                  <a:lnTo>
                    <a:pt x="8" y="212"/>
                  </a:lnTo>
                  <a:lnTo>
                    <a:pt x="15" y="217"/>
                  </a:lnTo>
                  <a:lnTo>
                    <a:pt x="23" y="220"/>
                  </a:lnTo>
                  <a:lnTo>
                    <a:pt x="23" y="222"/>
                  </a:lnTo>
                  <a:lnTo>
                    <a:pt x="28" y="235"/>
                  </a:lnTo>
                  <a:lnTo>
                    <a:pt x="33" y="243"/>
                  </a:lnTo>
                  <a:lnTo>
                    <a:pt x="44" y="248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67" y="248"/>
                  </a:lnTo>
                  <a:lnTo>
                    <a:pt x="74" y="240"/>
                  </a:lnTo>
                  <a:lnTo>
                    <a:pt x="79" y="233"/>
                  </a:lnTo>
                  <a:lnTo>
                    <a:pt x="84" y="225"/>
                  </a:lnTo>
                  <a:lnTo>
                    <a:pt x="84" y="222"/>
                  </a:lnTo>
                  <a:lnTo>
                    <a:pt x="164" y="222"/>
                  </a:lnTo>
                  <a:lnTo>
                    <a:pt x="172" y="235"/>
                  </a:lnTo>
                  <a:lnTo>
                    <a:pt x="179" y="243"/>
                  </a:lnTo>
                  <a:lnTo>
                    <a:pt x="192" y="248"/>
                  </a:lnTo>
                  <a:lnTo>
                    <a:pt x="200" y="251"/>
                  </a:lnTo>
                  <a:lnTo>
                    <a:pt x="210" y="248"/>
                  </a:lnTo>
                  <a:lnTo>
                    <a:pt x="220" y="246"/>
                  </a:lnTo>
                  <a:lnTo>
                    <a:pt x="228" y="238"/>
                  </a:lnTo>
                  <a:lnTo>
                    <a:pt x="233" y="230"/>
                  </a:lnTo>
                  <a:lnTo>
                    <a:pt x="236" y="222"/>
                  </a:lnTo>
                  <a:close/>
                  <a:moveTo>
                    <a:pt x="56" y="38"/>
                  </a:moveTo>
                  <a:lnTo>
                    <a:pt x="59" y="33"/>
                  </a:lnTo>
                  <a:lnTo>
                    <a:pt x="61" y="28"/>
                  </a:lnTo>
                  <a:lnTo>
                    <a:pt x="67" y="25"/>
                  </a:lnTo>
                  <a:lnTo>
                    <a:pt x="72" y="25"/>
                  </a:lnTo>
                  <a:lnTo>
                    <a:pt x="123" y="25"/>
                  </a:lnTo>
                  <a:lnTo>
                    <a:pt x="128" y="25"/>
                  </a:lnTo>
                  <a:lnTo>
                    <a:pt x="133" y="28"/>
                  </a:lnTo>
                  <a:lnTo>
                    <a:pt x="138" y="30"/>
                  </a:lnTo>
                  <a:lnTo>
                    <a:pt x="141" y="36"/>
                  </a:lnTo>
                  <a:lnTo>
                    <a:pt x="143" y="43"/>
                  </a:lnTo>
                  <a:lnTo>
                    <a:pt x="172" y="148"/>
                  </a:lnTo>
                  <a:lnTo>
                    <a:pt x="159" y="153"/>
                  </a:lnTo>
                  <a:lnTo>
                    <a:pt x="148" y="164"/>
                  </a:lnTo>
                  <a:lnTo>
                    <a:pt x="128" y="164"/>
                  </a:lnTo>
                  <a:lnTo>
                    <a:pt x="125" y="141"/>
                  </a:lnTo>
                  <a:lnTo>
                    <a:pt x="120" y="133"/>
                  </a:lnTo>
                  <a:lnTo>
                    <a:pt x="110" y="125"/>
                  </a:lnTo>
                  <a:lnTo>
                    <a:pt x="102" y="125"/>
                  </a:lnTo>
                  <a:lnTo>
                    <a:pt x="82" y="125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82" y="87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9"/>
                  </a:lnTo>
                  <a:lnTo>
                    <a:pt x="72" y="87"/>
                  </a:lnTo>
                  <a:lnTo>
                    <a:pt x="72" y="87"/>
                  </a:lnTo>
                  <a:lnTo>
                    <a:pt x="74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125"/>
                  </a:lnTo>
                  <a:lnTo>
                    <a:pt x="49" y="125"/>
                  </a:lnTo>
                  <a:lnTo>
                    <a:pt x="56" y="38"/>
                  </a:lnTo>
                  <a:close/>
                  <a:moveTo>
                    <a:pt x="69" y="225"/>
                  </a:moveTo>
                  <a:lnTo>
                    <a:pt x="67" y="230"/>
                  </a:lnTo>
                  <a:lnTo>
                    <a:pt x="64" y="233"/>
                  </a:lnTo>
                  <a:lnTo>
                    <a:pt x="59" y="235"/>
                  </a:lnTo>
                  <a:lnTo>
                    <a:pt x="54" y="235"/>
                  </a:lnTo>
                  <a:lnTo>
                    <a:pt x="49" y="235"/>
                  </a:lnTo>
                  <a:lnTo>
                    <a:pt x="44" y="233"/>
                  </a:lnTo>
                  <a:lnTo>
                    <a:pt x="38" y="228"/>
                  </a:lnTo>
                  <a:lnTo>
                    <a:pt x="38" y="222"/>
                  </a:lnTo>
                  <a:lnTo>
                    <a:pt x="38" y="220"/>
                  </a:lnTo>
                  <a:lnTo>
                    <a:pt x="38" y="215"/>
                  </a:lnTo>
                  <a:lnTo>
                    <a:pt x="41" y="212"/>
                  </a:lnTo>
                  <a:lnTo>
                    <a:pt x="44" y="207"/>
                  </a:lnTo>
                  <a:lnTo>
                    <a:pt x="49" y="205"/>
                  </a:lnTo>
                  <a:lnTo>
                    <a:pt x="54" y="205"/>
                  </a:lnTo>
                  <a:lnTo>
                    <a:pt x="59" y="205"/>
                  </a:lnTo>
                  <a:lnTo>
                    <a:pt x="61" y="207"/>
                  </a:lnTo>
                  <a:lnTo>
                    <a:pt x="67" y="212"/>
                  </a:lnTo>
                  <a:lnTo>
                    <a:pt x="69" y="217"/>
                  </a:lnTo>
                  <a:lnTo>
                    <a:pt x="69" y="220"/>
                  </a:lnTo>
                  <a:lnTo>
                    <a:pt x="69" y="225"/>
                  </a:lnTo>
                  <a:close/>
                  <a:moveTo>
                    <a:pt x="166" y="197"/>
                  </a:moveTo>
                  <a:lnTo>
                    <a:pt x="164" y="207"/>
                  </a:lnTo>
                  <a:lnTo>
                    <a:pt x="164" y="207"/>
                  </a:lnTo>
                  <a:lnTo>
                    <a:pt x="82" y="207"/>
                  </a:lnTo>
                  <a:lnTo>
                    <a:pt x="77" y="202"/>
                  </a:lnTo>
                  <a:lnTo>
                    <a:pt x="72" y="197"/>
                  </a:lnTo>
                  <a:lnTo>
                    <a:pt x="67" y="194"/>
                  </a:lnTo>
                  <a:lnTo>
                    <a:pt x="59" y="192"/>
                  </a:lnTo>
                  <a:lnTo>
                    <a:pt x="54" y="192"/>
                  </a:lnTo>
                  <a:lnTo>
                    <a:pt x="46" y="192"/>
                  </a:lnTo>
                  <a:lnTo>
                    <a:pt x="38" y="194"/>
                  </a:lnTo>
                  <a:lnTo>
                    <a:pt x="33" y="199"/>
                  </a:lnTo>
                  <a:lnTo>
                    <a:pt x="28" y="205"/>
                  </a:lnTo>
                  <a:lnTo>
                    <a:pt x="26" y="207"/>
                  </a:lnTo>
                  <a:lnTo>
                    <a:pt x="20" y="205"/>
                  </a:lnTo>
                  <a:lnTo>
                    <a:pt x="15" y="202"/>
                  </a:lnTo>
                  <a:lnTo>
                    <a:pt x="15" y="197"/>
                  </a:lnTo>
                  <a:lnTo>
                    <a:pt x="15" y="194"/>
                  </a:lnTo>
                  <a:lnTo>
                    <a:pt x="15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5" y="148"/>
                  </a:lnTo>
                  <a:lnTo>
                    <a:pt x="18" y="143"/>
                  </a:lnTo>
                  <a:lnTo>
                    <a:pt x="18" y="141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20" y="141"/>
                  </a:lnTo>
                  <a:lnTo>
                    <a:pt x="23" y="141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3" y="138"/>
                  </a:lnTo>
                  <a:lnTo>
                    <a:pt x="26" y="138"/>
                  </a:lnTo>
                  <a:lnTo>
                    <a:pt x="105" y="138"/>
                  </a:lnTo>
                  <a:lnTo>
                    <a:pt x="105" y="143"/>
                  </a:lnTo>
                  <a:lnTo>
                    <a:pt x="105" y="143"/>
                  </a:lnTo>
                  <a:lnTo>
                    <a:pt x="108" y="141"/>
                  </a:lnTo>
                  <a:lnTo>
                    <a:pt x="110" y="141"/>
                  </a:lnTo>
                  <a:lnTo>
                    <a:pt x="113" y="146"/>
                  </a:lnTo>
                  <a:lnTo>
                    <a:pt x="115" y="151"/>
                  </a:lnTo>
                  <a:lnTo>
                    <a:pt x="115" y="176"/>
                  </a:lnTo>
                  <a:lnTo>
                    <a:pt x="156" y="176"/>
                  </a:lnTo>
                  <a:lnTo>
                    <a:pt x="164" y="169"/>
                  </a:lnTo>
                  <a:lnTo>
                    <a:pt x="174" y="164"/>
                  </a:lnTo>
                  <a:lnTo>
                    <a:pt x="184" y="158"/>
                  </a:lnTo>
                  <a:lnTo>
                    <a:pt x="189" y="158"/>
                  </a:lnTo>
                  <a:lnTo>
                    <a:pt x="189" y="179"/>
                  </a:lnTo>
                  <a:lnTo>
                    <a:pt x="179" y="184"/>
                  </a:lnTo>
                  <a:lnTo>
                    <a:pt x="172" y="192"/>
                  </a:lnTo>
                  <a:lnTo>
                    <a:pt x="166" y="197"/>
                  </a:lnTo>
                  <a:close/>
                  <a:moveTo>
                    <a:pt x="223" y="217"/>
                  </a:moveTo>
                  <a:lnTo>
                    <a:pt x="220" y="225"/>
                  </a:lnTo>
                  <a:lnTo>
                    <a:pt x="218" y="228"/>
                  </a:lnTo>
                  <a:lnTo>
                    <a:pt x="215" y="230"/>
                  </a:lnTo>
                  <a:lnTo>
                    <a:pt x="213" y="233"/>
                  </a:lnTo>
                  <a:lnTo>
                    <a:pt x="205" y="235"/>
                  </a:lnTo>
                  <a:lnTo>
                    <a:pt x="200" y="235"/>
                  </a:lnTo>
                  <a:lnTo>
                    <a:pt x="197" y="235"/>
                  </a:lnTo>
                  <a:lnTo>
                    <a:pt x="189" y="233"/>
                  </a:lnTo>
                  <a:lnTo>
                    <a:pt x="184" y="230"/>
                  </a:lnTo>
                  <a:lnTo>
                    <a:pt x="182" y="225"/>
                  </a:lnTo>
                  <a:lnTo>
                    <a:pt x="179" y="220"/>
                  </a:lnTo>
                  <a:lnTo>
                    <a:pt x="177" y="215"/>
                  </a:lnTo>
                  <a:lnTo>
                    <a:pt x="179" y="207"/>
                  </a:lnTo>
                  <a:lnTo>
                    <a:pt x="182" y="202"/>
                  </a:lnTo>
                  <a:lnTo>
                    <a:pt x="184" y="197"/>
                  </a:lnTo>
                  <a:lnTo>
                    <a:pt x="187" y="194"/>
                  </a:lnTo>
                  <a:lnTo>
                    <a:pt x="192" y="192"/>
                  </a:lnTo>
                  <a:lnTo>
                    <a:pt x="197" y="192"/>
                  </a:lnTo>
                  <a:lnTo>
                    <a:pt x="200" y="192"/>
                  </a:lnTo>
                  <a:lnTo>
                    <a:pt x="207" y="192"/>
                  </a:lnTo>
                  <a:lnTo>
                    <a:pt x="210" y="194"/>
                  </a:lnTo>
                  <a:lnTo>
                    <a:pt x="215" y="197"/>
                  </a:lnTo>
                  <a:lnTo>
                    <a:pt x="218" y="202"/>
                  </a:lnTo>
                  <a:lnTo>
                    <a:pt x="220" y="205"/>
                  </a:lnTo>
                  <a:lnTo>
                    <a:pt x="223" y="210"/>
                  </a:lnTo>
                  <a:lnTo>
                    <a:pt x="223" y="212"/>
                  </a:lnTo>
                  <a:lnTo>
                    <a:pt x="223" y="217"/>
                  </a:lnTo>
                  <a:close/>
                  <a:moveTo>
                    <a:pt x="223" y="184"/>
                  </a:moveTo>
                  <a:lnTo>
                    <a:pt x="207" y="179"/>
                  </a:lnTo>
                  <a:lnTo>
                    <a:pt x="202" y="176"/>
                  </a:lnTo>
                  <a:lnTo>
                    <a:pt x="202" y="156"/>
                  </a:lnTo>
                  <a:lnTo>
                    <a:pt x="223" y="156"/>
                  </a:lnTo>
                  <a:lnTo>
                    <a:pt x="223" y="184"/>
                  </a:lnTo>
                  <a:close/>
                  <a:moveTo>
                    <a:pt x="223" y="59"/>
                  </a:moveTo>
                  <a:lnTo>
                    <a:pt x="205" y="43"/>
                  </a:lnTo>
                  <a:lnTo>
                    <a:pt x="205" y="15"/>
                  </a:lnTo>
                  <a:lnTo>
                    <a:pt x="223" y="15"/>
                  </a:lnTo>
                  <a:lnTo>
                    <a:pt x="223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207">
              <a:extLst>
                <a:ext uri="{FF2B5EF4-FFF2-40B4-BE49-F238E27FC236}">
                  <a16:creationId xmlns:a16="http://schemas.microsoft.com/office/drawing/2014/main" id="{894740C6-1F4E-41DC-8E73-0A6809B37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4" y="220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5" name="Group 210">
            <a:extLst>
              <a:ext uri="{FF2B5EF4-FFF2-40B4-BE49-F238E27FC236}">
                <a16:creationId xmlns:a16="http://schemas.microsoft.com/office/drawing/2014/main" id="{101EF30D-D98C-495F-AA73-C796FDB902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5165" y="2848769"/>
            <a:ext cx="758825" cy="758825"/>
            <a:chOff x="4885" y="1957"/>
            <a:chExt cx="478" cy="478"/>
          </a:xfrm>
        </p:grpSpPr>
        <p:sp>
          <p:nvSpPr>
            <p:cNvPr id="236" name="AutoShape 209">
              <a:extLst>
                <a:ext uri="{FF2B5EF4-FFF2-40B4-BE49-F238E27FC236}">
                  <a16:creationId xmlns:a16="http://schemas.microsoft.com/office/drawing/2014/main" id="{C69D6A30-E997-4446-A5F3-63F83323601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85" y="195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11">
              <a:extLst>
                <a:ext uri="{FF2B5EF4-FFF2-40B4-BE49-F238E27FC236}">
                  <a16:creationId xmlns:a16="http://schemas.microsoft.com/office/drawing/2014/main" id="{7938F84D-835E-4029-B381-A5CE1948F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7" y="195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Rectangle 212">
              <a:extLst>
                <a:ext uri="{FF2B5EF4-FFF2-40B4-BE49-F238E27FC236}">
                  <a16:creationId xmlns:a16="http://schemas.microsoft.com/office/drawing/2014/main" id="{373A0488-BFE8-4B82-9ED4-5E7A2C22BF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2" y="2185"/>
              <a:ext cx="3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13">
              <a:extLst>
                <a:ext uri="{FF2B5EF4-FFF2-40B4-BE49-F238E27FC236}">
                  <a16:creationId xmlns:a16="http://schemas.microsoft.com/office/drawing/2014/main" id="{833079C0-7A23-4813-9CF0-7EA5CF6DD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5" y="2077"/>
              <a:ext cx="260" cy="240"/>
            </a:xfrm>
            <a:custGeom>
              <a:avLst/>
              <a:gdLst>
                <a:gd name="T0" fmla="*/ 260 w 260"/>
                <a:gd name="T1" fmla="*/ 189 h 240"/>
                <a:gd name="T2" fmla="*/ 255 w 260"/>
                <a:gd name="T3" fmla="*/ 177 h 240"/>
                <a:gd name="T4" fmla="*/ 248 w 260"/>
                <a:gd name="T5" fmla="*/ 169 h 240"/>
                <a:gd name="T6" fmla="*/ 40 w 260"/>
                <a:gd name="T7" fmla="*/ 0 h 240"/>
                <a:gd name="T8" fmla="*/ 27 w 260"/>
                <a:gd name="T9" fmla="*/ 132 h 240"/>
                <a:gd name="T10" fmla="*/ 0 w 260"/>
                <a:gd name="T11" fmla="*/ 150 h 240"/>
                <a:gd name="T12" fmla="*/ 142 w 260"/>
                <a:gd name="T13" fmla="*/ 238 h 240"/>
                <a:gd name="T14" fmla="*/ 184 w 260"/>
                <a:gd name="T15" fmla="*/ 228 h 240"/>
                <a:gd name="T16" fmla="*/ 236 w 260"/>
                <a:gd name="T17" fmla="*/ 218 h 240"/>
                <a:gd name="T18" fmla="*/ 260 w 260"/>
                <a:gd name="T19" fmla="*/ 201 h 240"/>
                <a:gd name="T20" fmla="*/ 155 w 260"/>
                <a:gd name="T21" fmla="*/ 15 h 240"/>
                <a:gd name="T22" fmla="*/ 133 w 260"/>
                <a:gd name="T23" fmla="*/ 15 h 240"/>
                <a:gd name="T24" fmla="*/ 120 w 260"/>
                <a:gd name="T25" fmla="*/ 56 h 240"/>
                <a:gd name="T26" fmla="*/ 231 w 260"/>
                <a:gd name="T27" fmla="*/ 15 h 240"/>
                <a:gd name="T28" fmla="*/ 187 w 260"/>
                <a:gd name="T29" fmla="*/ 159 h 240"/>
                <a:gd name="T30" fmla="*/ 182 w 260"/>
                <a:gd name="T31" fmla="*/ 152 h 240"/>
                <a:gd name="T32" fmla="*/ 172 w 260"/>
                <a:gd name="T33" fmla="*/ 142 h 240"/>
                <a:gd name="T34" fmla="*/ 157 w 260"/>
                <a:gd name="T35" fmla="*/ 137 h 240"/>
                <a:gd name="T36" fmla="*/ 135 w 260"/>
                <a:gd name="T37" fmla="*/ 137 h 240"/>
                <a:gd name="T38" fmla="*/ 116 w 260"/>
                <a:gd name="T39" fmla="*/ 137 h 240"/>
                <a:gd name="T40" fmla="*/ 91 w 260"/>
                <a:gd name="T41" fmla="*/ 125 h 240"/>
                <a:gd name="T42" fmla="*/ 74 w 260"/>
                <a:gd name="T43" fmla="*/ 123 h 240"/>
                <a:gd name="T44" fmla="*/ 54 w 260"/>
                <a:gd name="T45" fmla="*/ 123 h 240"/>
                <a:gd name="T46" fmla="*/ 245 w 260"/>
                <a:gd name="T47" fmla="*/ 196 h 240"/>
                <a:gd name="T48" fmla="*/ 184 w 260"/>
                <a:gd name="T49" fmla="*/ 213 h 240"/>
                <a:gd name="T50" fmla="*/ 140 w 260"/>
                <a:gd name="T51" fmla="*/ 223 h 240"/>
                <a:gd name="T52" fmla="*/ 15 w 260"/>
                <a:gd name="T53" fmla="*/ 226 h 240"/>
                <a:gd name="T54" fmla="*/ 30 w 260"/>
                <a:gd name="T55" fmla="*/ 147 h 240"/>
                <a:gd name="T56" fmla="*/ 49 w 260"/>
                <a:gd name="T57" fmla="*/ 140 h 240"/>
                <a:gd name="T58" fmla="*/ 66 w 260"/>
                <a:gd name="T59" fmla="*/ 137 h 240"/>
                <a:gd name="T60" fmla="*/ 81 w 260"/>
                <a:gd name="T61" fmla="*/ 140 h 240"/>
                <a:gd name="T62" fmla="*/ 108 w 260"/>
                <a:gd name="T63" fmla="*/ 150 h 240"/>
                <a:gd name="T64" fmla="*/ 128 w 260"/>
                <a:gd name="T65" fmla="*/ 152 h 240"/>
                <a:gd name="T66" fmla="*/ 160 w 260"/>
                <a:gd name="T67" fmla="*/ 155 h 240"/>
                <a:gd name="T68" fmla="*/ 167 w 260"/>
                <a:gd name="T69" fmla="*/ 157 h 240"/>
                <a:gd name="T70" fmla="*/ 172 w 260"/>
                <a:gd name="T71" fmla="*/ 164 h 240"/>
                <a:gd name="T72" fmla="*/ 169 w 260"/>
                <a:gd name="T73" fmla="*/ 172 h 240"/>
                <a:gd name="T74" fmla="*/ 167 w 260"/>
                <a:gd name="T75" fmla="*/ 177 h 240"/>
                <a:gd name="T76" fmla="*/ 152 w 260"/>
                <a:gd name="T77" fmla="*/ 179 h 240"/>
                <a:gd name="T78" fmla="*/ 120 w 260"/>
                <a:gd name="T79" fmla="*/ 179 h 240"/>
                <a:gd name="T80" fmla="*/ 96 w 260"/>
                <a:gd name="T81" fmla="*/ 186 h 240"/>
                <a:gd name="T82" fmla="*/ 91 w 260"/>
                <a:gd name="T83" fmla="*/ 191 h 240"/>
                <a:gd name="T84" fmla="*/ 96 w 260"/>
                <a:gd name="T85" fmla="*/ 199 h 240"/>
                <a:gd name="T86" fmla="*/ 101 w 260"/>
                <a:gd name="T87" fmla="*/ 199 h 240"/>
                <a:gd name="T88" fmla="*/ 111 w 260"/>
                <a:gd name="T89" fmla="*/ 196 h 240"/>
                <a:gd name="T90" fmla="*/ 135 w 260"/>
                <a:gd name="T91" fmla="*/ 194 h 240"/>
                <a:gd name="T92" fmla="*/ 169 w 260"/>
                <a:gd name="T93" fmla="*/ 194 h 240"/>
                <a:gd name="T94" fmla="*/ 179 w 260"/>
                <a:gd name="T95" fmla="*/ 186 h 240"/>
                <a:gd name="T96" fmla="*/ 233 w 260"/>
                <a:gd name="T97" fmla="*/ 179 h 240"/>
                <a:gd name="T98" fmla="*/ 243 w 260"/>
                <a:gd name="T99" fmla="*/ 184 h 240"/>
                <a:gd name="T100" fmla="*/ 245 w 260"/>
                <a:gd name="T101" fmla="*/ 19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0" h="240">
                  <a:moveTo>
                    <a:pt x="260" y="196"/>
                  </a:moveTo>
                  <a:lnTo>
                    <a:pt x="260" y="194"/>
                  </a:lnTo>
                  <a:lnTo>
                    <a:pt x="260" y="189"/>
                  </a:lnTo>
                  <a:lnTo>
                    <a:pt x="260" y="184"/>
                  </a:lnTo>
                  <a:lnTo>
                    <a:pt x="258" y="179"/>
                  </a:lnTo>
                  <a:lnTo>
                    <a:pt x="255" y="177"/>
                  </a:lnTo>
                  <a:lnTo>
                    <a:pt x="255" y="174"/>
                  </a:lnTo>
                  <a:lnTo>
                    <a:pt x="250" y="172"/>
                  </a:lnTo>
                  <a:lnTo>
                    <a:pt x="248" y="169"/>
                  </a:lnTo>
                  <a:lnTo>
                    <a:pt x="245" y="169"/>
                  </a:lnTo>
                  <a:lnTo>
                    <a:pt x="245" y="0"/>
                  </a:lnTo>
                  <a:lnTo>
                    <a:pt x="40" y="0"/>
                  </a:lnTo>
                  <a:lnTo>
                    <a:pt x="40" y="128"/>
                  </a:lnTo>
                  <a:lnTo>
                    <a:pt x="37" y="128"/>
                  </a:lnTo>
                  <a:lnTo>
                    <a:pt x="27" y="132"/>
                  </a:lnTo>
                  <a:lnTo>
                    <a:pt x="17" y="137"/>
                  </a:lnTo>
                  <a:lnTo>
                    <a:pt x="5" y="145"/>
                  </a:lnTo>
                  <a:lnTo>
                    <a:pt x="0" y="150"/>
                  </a:lnTo>
                  <a:lnTo>
                    <a:pt x="0" y="240"/>
                  </a:lnTo>
                  <a:lnTo>
                    <a:pt x="135" y="240"/>
                  </a:lnTo>
                  <a:lnTo>
                    <a:pt x="142" y="238"/>
                  </a:lnTo>
                  <a:lnTo>
                    <a:pt x="155" y="238"/>
                  </a:lnTo>
                  <a:lnTo>
                    <a:pt x="165" y="233"/>
                  </a:lnTo>
                  <a:lnTo>
                    <a:pt x="184" y="228"/>
                  </a:lnTo>
                  <a:lnTo>
                    <a:pt x="199" y="223"/>
                  </a:lnTo>
                  <a:lnTo>
                    <a:pt x="214" y="221"/>
                  </a:lnTo>
                  <a:lnTo>
                    <a:pt x="236" y="218"/>
                  </a:lnTo>
                  <a:lnTo>
                    <a:pt x="253" y="216"/>
                  </a:lnTo>
                  <a:lnTo>
                    <a:pt x="260" y="204"/>
                  </a:lnTo>
                  <a:lnTo>
                    <a:pt x="260" y="201"/>
                  </a:lnTo>
                  <a:lnTo>
                    <a:pt x="260" y="196"/>
                  </a:lnTo>
                  <a:close/>
                  <a:moveTo>
                    <a:pt x="133" y="15"/>
                  </a:moveTo>
                  <a:lnTo>
                    <a:pt x="155" y="15"/>
                  </a:lnTo>
                  <a:lnTo>
                    <a:pt x="155" y="47"/>
                  </a:lnTo>
                  <a:lnTo>
                    <a:pt x="133" y="47"/>
                  </a:lnTo>
                  <a:lnTo>
                    <a:pt x="133" y="15"/>
                  </a:lnTo>
                  <a:close/>
                  <a:moveTo>
                    <a:pt x="54" y="15"/>
                  </a:moveTo>
                  <a:lnTo>
                    <a:pt x="120" y="15"/>
                  </a:lnTo>
                  <a:lnTo>
                    <a:pt x="120" y="56"/>
                  </a:lnTo>
                  <a:lnTo>
                    <a:pt x="165" y="56"/>
                  </a:lnTo>
                  <a:lnTo>
                    <a:pt x="165" y="15"/>
                  </a:lnTo>
                  <a:lnTo>
                    <a:pt x="231" y="15"/>
                  </a:lnTo>
                  <a:lnTo>
                    <a:pt x="231" y="164"/>
                  </a:lnTo>
                  <a:lnTo>
                    <a:pt x="187" y="164"/>
                  </a:lnTo>
                  <a:lnTo>
                    <a:pt x="187" y="159"/>
                  </a:lnTo>
                  <a:lnTo>
                    <a:pt x="184" y="157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79" y="147"/>
                  </a:lnTo>
                  <a:lnTo>
                    <a:pt x="177" y="145"/>
                  </a:lnTo>
                  <a:lnTo>
                    <a:pt x="172" y="142"/>
                  </a:lnTo>
                  <a:lnTo>
                    <a:pt x="169" y="140"/>
                  </a:lnTo>
                  <a:lnTo>
                    <a:pt x="165" y="140"/>
                  </a:lnTo>
                  <a:lnTo>
                    <a:pt x="157" y="137"/>
                  </a:lnTo>
                  <a:lnTo>
                    <a:pt x="150" y="137"/>
                  </a:lnTo>
                  <a:lnTo>
                    <a:pt x="145" y="137"/>
                  </a:lnTo>
                  <a:lnTo>
                    <a:pt x="135" y="137"/>
                  </a:lnTo>
                  <a:lnTo>
                    <a:pt x="128" y="137"/>
                  </a:lnTo>
                  <a:lnTo>
                    <a:pt x="123" y="137"/>
                  </a:lnTo>
                  <a:lnTo>
                    <a:pt x="116" y="137"/>
                  </a:lnTo>
                  <a:lnTo>
                    <a:pt x="111" y="135"/>
                  </a:lnTo>
                  <a:lnTo>
                    <a:pt x="106" y="132"/>
                  </a:lnTo>
                  <a:lnTo>
                    <a:pt x="91" y="125"/>
                  </a:lnTo>
                  <a:lnTo>
                    <a:pt x="84" y="123"/>
                  </a:lnTo>
                  <a:lnTo>
                    <a:pt x="76" y="123"/>
                  </a:lnTo>
                  <a:lnTo>
                    <a:pt x="74" y="123"/>
                  </a:lnTo>
                  <a:lnTo>
                    <a:pt x="69" y="123"/>
                  </a:lnTo>
                  <a:lnTo>
                    <a:pt x="59" y="123"/>
                  </a:lnTo>
                  <a:lnTo>
                    <a:pt x="54" y="123"/>
                  </a:lnTo>
                  <a:lnTo>
                    <a:pt x="54" y="15"/>
                  </a:lnTo>
                  <a:close/>
                  <a:moveTo>
                    <a:pt x="245" y="194"/>
                  </a:moveTo>
                  <a:lnTo>
                    <a:pt x="245" y="196"/>
                  </a:lnTo>
                  <a:lnTo>
                    <a:pt x="243" y="201"/>
                  </a:lnTo>
                  <a:lnTo>
                    <a:pt x="201" y="208"/>
                  </a:lnTo>
                  <a:lnTo>
                    <a:pt x="184" y="213"/>
                  </a:lnTo>
                  <a:lnTo>
                    <a:pt x="155" y="221"/>
                  </a:lnTo>
                  <a:lnTo>
                    <a:pt x="147" y="223"/>
                  </a:lnTo>
                  <a:lnTo>
                    <a:pt x="140" y="223"/>
                  </a:lnTo>
                  <a:lnTo>
                    <a:pt x="130" y="226"/>
                  </a:lnTo>
                  <a:lnTo>
                    <a:pt x="125" y="226"/>
                  </a:lnTo>
                  <a:lnTo>
                    <a:pt x="15" y="226"/>
                  </a:lnTo>
                  <a:lnTo>
                    <a:pt x="15" y="157"/>
                  </a:lnTo>
                  <a:lnTo>
                    <a:pt x="20" y="152"/>
                  </a:lnTo>
                  <a:lnTo>
                    <a:pt x="30" y="147"/>
                  </a:lnTo>
                  <a:lnTo>
                    <a:pt x="35" y="145"/>
                  </a:lnTo>
                  <a:lnTo>
                    <a:pt x="40" y="142"/>
                  </a:lnTo>
                  <a:lnTo>
                    <a:pt x="49" y="140"/>
                  </a:lnTo>
                  <a:lnTo>
                    <a:pt x="54" y="137"/>
                  </a:lnTo>
                  <a:lnTo>
                    <a:pt x="59" y="137"/>
                  </a:lnTo>
                  <a:lnTo>
                    <a:pt x="66" y="137"/>
                  </a:lnTo>
                  <a:lnTo>
                    <a:pt x="71" y="137"/>
                  </a:lnTo>
                  <a:lnTo>
                    <a:pt x="76" y="137"/>
                  </a:lnTo>
                  <a:lnTo>
                    <a:pt x="81" y="140"/>
                  </a:lnTo>
                  <a:lnTo>
                    <a:pt x="89" y="142"/>
                  </a:lnTo>
                  <a:lnTo>
                    <a:pt x="106" y="150"/>
                  </a:lnTo>
                  <a:lnTo>
                    <a:pt x="108" y="150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47" y="152"/>
                  </a:lnTo>
                  <a:lnTo>
                    <a:pt x="155" y="152"/>
                  </a:lnTo>
                  <a:lnTo>
                    <a:pt x="160" y="155"/>
                  </a:lnTo>
                  <a:lnTo>
                    <a:pt x="165" y="155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9" y="159"/>
                  </a:lnTo>
                  <a:lnTo>
                    <a:pt x="169" y="162"/>
                  </a:lnTo>
                  <a:lnTo>
                    <a:pt x="172" y="164"/>
                  </a:lnTo>
                  <a:lnTo>
                    <a:pt x="172" y="167"/>
                  </a:lnTo>
                  <a:lnTo>
                    <a:pt x="172" y="169"/>
                  </a:lnTo>
                  <a:lnTo>
                    <a:pt x="169" y="172"/>
                  </a:lnTo>
                  <a:lnTo>
                    <a:pt x="169" y="174"/>
                  </a:lnTo>
                  <a:lnTo>
                    <a:pt x="167" y="174"/>
                  </a:lnTo>
                  <a:lnTo>
                    <a:pt x="167" y="177"/>
                  </a:lnTo>
                  <a:lnTo>
                    <a:pt x="162" y="179"/>
                  </a:lnTo>
                  <a:lnTo>
                    <a:pt x="157" y="179"/>
                  </a:lnTo>
                  <a:lnTo>
                    <a:pt x="152" y="179"/>
                  </a:lnTo>
                  <a:lnTo>
                    <a:pt x="145" y="179"/>
                  </a:lnTo>
                  <a:lnTo>
                    <a:pt x="128" y="179"/>
                  </a:lnTo>
                  <a:lnTo>
                    <a:pt x="120" y="179"/>
                  </a:lnTo>
                  <a:lnTo>
                    <a:pt x="113" y="182"/>
                  </a:lnTo>
                  <a:lnTo>
                    <a:pt x="106" y="182"/>
                  </a:lnTo>
                  <a:lnTo>
                    <a:pt x="96" y="186"/>
                  </a:lnTo>
                  <a:lnTo>
                    <a:pt x="93" y="186"/>
                  </a:lnTo>
                  <a:lnTo>
                    <a:pt x="93" y="189"/>
                  </a:lnTo>
                  <a:lnTo>
                    <a:pt x="91" y="191"/>
                  </a:lnTo>
                  <a:lnTo>
                    <a:pt x="93" y="194"/>
                  </a:lnTo>
                  <a:lnTo>
                    <a:pt x="93" y="196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8" y="199"/>
                  </a:lnTo>
                  <a:lnTo>
                    <a:pt x="101" y="199"/>
                  </a:lnTo>
                  <a:lnTo>
                    <a:pt x="103" y="199"/>
                  </a:lnTo>
                  <a:lnTo>
                    <a:pt x="106" y="199"/>
                  </a:lnTo>
                  <a:lnTo>
                    <a:pt x="111" y="196"/>
                  </a:lnTo>
                  <a:lnTo>
                    <a:pt x="118" y="194"/>
                  </a:lnTo>
                  <a:lnTo>
                    <a:pt x="128" y="194"/>
                  </a:lnTo>
                  <a:lnTo>
                    <a:pt x="135" y="194"/>
                  </a:lnTo>
                  <a:lnTo>
                    <a:pt x="152" y="196"/>
                  </a:lnTo>
                  <a:lnTo>
                    <a:pt x="162" y="194"/>
                  </a:lnTo>
                  <a:lnTo>
                    <a:pt x="169" y="194"/>
                  </a:lnTo>
                  <a:lnTo>
                    <a:pt x="172" y="191"/>
                  </a:lnTo>
                  <a:lnTo>
                    <a:pt x="174" y="189"/>
                  </a:lnTo>
                  <a:lnTo>
                    <a:pt x="179" y="186"/>
                  </a:lnTo>
                  <a:lnTo>
                    <a:pt x="179" y="184"/>
                  </a:lnTo>
                  <a:lnTo>
                    <a:pt x="184" y="179"/>
                  </a:lnTo>
                  <a:lnTo>
                    <a:pt x="233" y="179"/>
                  </a:lnTo>
                  <a:lnTo>
                    <a:pt x="238" y="182"/>
                  </a:lnTo>
                  <a:lnTo>
                    <a:pt x="241" y="182"/>
                  </a:lnTo>
                  <a:lnTo>
                    <a:pt x="243" y="184"/>
                  </a:lnTo>
                  <a:lnTo>
                    <a:pt x="245" y="186"/>
                  </a:lnTo>
                  <a:lnTo>
                    <a:pt x="245" y="189"/>
                  </a:lnTo>
                  <a:lnTo>
                    <a:pt x="245" y="191"/>
                  </a:lnTo>
                  <a:lnTo>
                    <a:pt x="245" y="194"/>
                  </a:lnTo>
                  <a:lnTo>
                    <a:pt x="245" y="19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Rectangle 214">
              <a:extLst>
                <a:ext uri="{FF2B5EF4-FFF2-40B4-BE49-F238E27FC236}">
                  <a16:creationId xmlns:a16="http://schemas.microsoft.com/office/drawing/2014/main" id="{B17D711E-4800-4F70-B575-1D6DF6D875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2" y="2156"/>
              <a:ext cx="39" cy="1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Rectangle 215">
              <a:extLst>
                <a:ext uri="{FF2B5EF4-FFF2-40B4-BE49-F238E27FC236}">
                  <a16:creationId xmlns:a16="http://schemas.microsoft.com/office/drawing/2014/main" id="{73A7DB3E-29EB-479E-8A9C-E8F3EEE4B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2" y="2185"/>
              <a:ext cx="39" cy="1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16">
              <a:extLst>
                <a:ext uri="{FF2B5EF4-FFF2-40B4-BE49-F238E27FC236}">
                  <a16:creationId xmlns:a16="http://schemas.microsoft.com/office/drawing/2014/main" id="{7BCB2399-3313-49E5-9715-576D036631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5" y="2077"/>
              <a:ext cx="260" cy="240"/>
            </a:xfrm>
            <a:custGeom>
              <a:avLst/>
              <a:gdLst>
                <a:gd name="T0" fmla="*/ 260 w 260"/>
                <a:gd name="T1" fmla="*/ 189 h 240"/>
                <a:gd name="T2" fmla="*/ 255 w 260"/>
                <a:gd name="T3" fmla="*/ 177 h 240"/>
                <a:gd name="T4" fmla="*/ 248 w 260"/>
                <a:gd name="T5" fmla="*/ 169 h 240"/>
                <a:gd name="T6" fmla="*/ 40 w 260"/>
                <a:gd name="T7" fmla="*/ 0 h 240"/>
                <a:gd name="T8" fmla="*/ 27 w 260"/>
                <a:gd name="T9" fmla="*/ 132 h 240"/>
                <a:gd name="T10" fmla="*/ 0 w 260"/>
                <a:gd name="T11" fmla="*/ 150 h 240"/>
                <a:gd name="T12" fmla="*/ 142 w 260"/>
                <a:gd name="T13" fmla="*/ 238 h 240"/>
                <a:gd name="T14" fmla="*/ 184 w 260"/>
                <a:gd name="T15" fmla="*/ 228 h 240"/>
                <a:gd name="T16" fmla="*/ 236 w 260"/>
                <a:gd name="T17" fmla="*/ 218 h 240"/>
                <a:gd name="T18" fmla="*/ 260 w 260"/>
                <a:gd name="T19" fmla="*/ 201 h 240"/>
                <a:gd name="T20" fmla="*/ 155 w 260"/>
                <a:gd name="T21" fmla="*/ 15 h 240"/>
                <a:gd name="T22" fmla="*/ 133 w 260"/>
                <a:gd name="T23" fmla="*/ 15 h 240"/>
                <a:gd name="T24" fmla="*/ 120 w 260"/>
                <a:gd name="T25" fmla="*/ 56 h 240"/>
                <a:gd name="T26" fmla="*/ 231 w 260"/>
                <a:gd name="T27" fmla="*/ 15 h 240"/>
                <a:gd name="T28" fmla="*/ 187 w 260"/>
                <a:gd name="T29" fmla="*/ 159 h 240"/>
                <a:gd name="T30" fmla="*/ 182 w 260"/>
                <a:gd name="T31" fmla="*/ 152 h 240"/>
                <a:gd name="T32" fmla="*/ 172 w 260"/>
                <a:gd name="T33" fmla="*/ 142 h 240"/>
                <a:gd name="T34" fmla="*/ 157 w 260"/>
                <a:gd name="T35" fmla="*/ 137 h 240"/>
                <a:gd name="T36" fmla="*/ 135 w 260"/>
                <a:gd name="T37" fmla="*/ 137 h 240"/>
                <a:gd name="T38" fmla="*/ 116 w 260"/>
                <a:gd name="T39" fmla="*/ 137 h 240"/>
                <a:gd name="T40" fmla="*/ 91 w 260"/>
                <a:gd name="T41" fmla="*/ 125 h 240"/>
                <a:gd name="T42" fmla="*/ 74 w 260"/>
                <a:gd name="T43" fmla="*/ 123 h 240"/>
                <a:gd name="T44" fmla="*/ 54 w 260"/>
                <a:gd name="T45" fmla="*/ 123 h 240"/>
                <a:gd name="T46" fmla="*/ 245 w 260"/>
                <a:gd name="T47" fmla="*/ 196 h 240"/>
                <a:gd name="T48" fmla="*/ 184 w 260"/>
                <a:gd name="T49" fmla="*/ 213 h 240"/>
                <a:gd name="T50" fmla="*/ 140 w 260"/>
                <a:gd name="T51" fmla="*/ 223 h 240"/>
                <a:gd name="T52" fmla="*/ 15 w 260"/>
                <a:gd name="T53" fmla="*/ 226 h 240"/>
                <a:gd name="T54" fmla="*/ 30 w 260"/>
                <a:gd name="T55" fmla="*/ 147 h 240"/>
                <a:gd name="T56" fmla="*/ 49 w 260"/>
                <a:gd name="T57" fmla="*/ 140 h 240"/>
                <a:gd name="T58" fmla="*/ 66 w 260"/>
                <a:gd name="T59" fmla="*/ 137 h 240"/>
                <a:gd name="T60" fmla="*/ 81 w 260"/>
                <a:gd name="T61" fmla="*/ 140 h 240"/>
                <a:gd name="T62" fmla="*/ 108 w 260"/>
                <a:gd name="T63" fmla="*/ 150 h 240"/>
                <a:gd name="T64" fmla="*/ 128 w 260"/>
                <a:gd name="T65" fmla="*/ 152 h 240"/>
                <a:gd name="T66" fmla="*/ 160 w 260"/>
                <a:gd name="T67" fmla="*/ 155 h 240"/>
                <a:gd name="T68" fmla="*/ 167 w 260"/>
                <a:gd name="T69" fmla="*/ 157 h 240"/>
                <a:gd name="T70" fmla="*/ 172 w 260"/>
                <a:gd name="T71" fmla="*/ 164 h 240"/>
                <a:gd name="T72" fmla="*/ 169 w 260"/>
                <a:gd name="T73" fmla="*/ 172 h 240"/>
                <a:gd name="T74" fmla="*/ 167 w 260"/>
                <a:gd name="T75" fmla="*/ 177 h 240"/>
                <a:gd name="T76" fmla="*/ 152 w 260"/>
                <a:gd name="T77" fmla="*/ 179 h 240"/>
                <a:gd name="T78" fmla="*/ 120 w 260"/>
                <a:gd name="T79" fmla="*/ 179 h 240"/>
                <a:gd name="T80" fmla="*/ 96 w 260"/>
                <a:gd name="T81" fmla="*/ 186 h 240"/>
                <a:gd name="T82" fmla="*/ 91 w 260"/>
                <a:gd name="T83" fmla="*/ 191 h 240"/>
                <a:gd name="T84" fmla="*/ 96 w 260"/>
                <a:gd name="T85" fmla="*/ 199 h 240"/>
                <a:gd name="T86" fmla="*/ 101 w 260"/>
                <a:gd name="T87" fmla="*/ 199 h 240"/>
                <a:gd name="T88" fmla="*/ 111 w 260"/>
                <a:gd name="T89" fmla="*/ 196 h 240"/>
                <a:gd name="T90" fmla="*/ 135 w 260"/>
                <a:gd name="T91" fmla="*/ 194 h 240"/>
                <a:gd name="T92" fmla="*/ 169 w 260"/>
                <a:gd name="T93" fmla="*/ 194 h 240"/>
                <a:gd name="T94" fmla="*/ 179 w 260"/>
                <a:gd name="T95" fmla="*/ 186 h 240"/>
                <a:gd name="T96" fmla="*/ 233 w 260"/>
                <a:gd name="T97" fmla="*/ 179 h 240"/>
                <a:gd name="T98" fmla="*/ 243 w 260"/>
                <a:gd name="T99" fmla="*/ 184 h 240"/>
                <a:gd name="T100" fmla="*/ 245 w 260"/>
                <a:gd name="T101" fmla="*/ 19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0" h="240">
                  <a:moveTo>
                    <a:pt x="260" y="196"/>
                  </a:moveTo>
                  <a:lnTo>
                    <a:pt x="260" y="194"/>
                  </a:lnTo>
                  <a:lnTo>
                    <a:pt x="260" y="189"/>
                  </a:lnTo>
                  <a:lnTo>
                    <a:pt x="260" y="184"/>
                  </a:lnTo>
                  <a:lnTo>
                    <a:pt x="258" y="179"/>
                  </a:lnTo>
                  <a:lnTo>
                    <a:pt x="255" y="177"/>
                  </a:lnTo>
                  <a:lnTo>
                    <a:pt x="255" y="174"/>
                  </a:lnTo>
                  <a:lnTo>
                    <a:pt x="250" y="172"/>
                  </a:lnTo>
                  <a:lnTo>
                    <a:pt x="248" y="169"/>
                  </a:lnTo>
                  <a:lnTo>
                    <a:pt x="245" y="169"/>
                  </a:lnTo>
                  <a:lnTo>
                    <a:pt x="245" y="0"/>
                  </a:lnTo>
                  <a:lnTo>
                    <a:pt x="40" y="0"/>
                  </a:lnTo>
                  <a:lnTo>
                    <a:pt x="40" y="128"/>
                  </a:lnTo>
                  <a:lnTo>
                    <a:pt x="37" y="128"/>
                  </a:lnTo>
                  <a:lnTo>
                    <a:pt x="27" y="132"/>
                  </a:lnTo>
                  <a:lnTo>
                    <a:pt x="17" y="137"/>
                  </a:lnTo>
                  <a:lnTo>
                    <a:pt x="5" y="145"/>
                  </a:lnTo>
                  <a:lnTo>
                    <a:pt x="0" y="150"/>
                  </a:lnTo>
                  <a:lnTo>
                    <a:pt x="0" y="240"/>
                  </a:lnTo>
                  <a:lnTo>
                    <a:pt x="135" y="240"/>
                  </a:lnTo>
                  <a:lnTo>
                    <a:pt x="142" y="238"/>
                  </a:lnTo>
                  <a:lnTo>
                    <a:pt x="155" y="238"/>
                  </a:lnTo>
                  <a:lnTo>
                    <a:pt x="165" y="233"/>
                  </a:lnTo>
                  <a:lnTo>
                    <a:pt x="184" y="228"/>
                  </a:lnTo>
                  <a:lnTo>
                    <a:pt x="199" y="223"/>
                  </a:lnTo>
                  <a:lnTo>
                    <a:pt x="214" y="221"/>
                  </a:lnTo>
                  <a:lnTo>
                    <a:pt x="236" y="218"/>
                  </a:lnTo>
                  <a:lnTo>
                    <a:pt x="253" y="216"/>
                  </a:lnTo>
                  <a:lnTo>
                    <a:pt x="260" y="204"/>
                  </a:lnTo>
                  <a:lnTo>
                    <a:pt x="260" y="201"/>
                  </a:lnTo>
                  <a:lnTo>
                    <a:pt x="260" y="196"/>
                  </a:lnTo>
                  <a:close/>
                  <a:moveTo>
                    <a:pt x="133" y="15"/>
                  </a:moveTo>
                  <a:lnTo>
                    <a:pt x="155" y="15"/>
                  </a:lnTo>
                  <a:lnTo>
                    <a:pt x="155" y="47"/>
                  </a:lnTo>
                  <a:lnTo>
                    <a:pt x="133" y="47"/>
                  </a:lnTo>
                  <a:lnTo>
                    <a:pt x="133" y="15"/>
                  </a:lnTo>
                  <a:close/>
                  <a:moveTo>
                    <a:pt x="54" y="15"/>
                  </a:moveTo>
                  <a:lnTo>
                    <a:pt x="120" y="15"/>
                  </a:lnTo>
                  <a:lnTo>
                    <a:pt x="120" y="56"/>
                  </a:lnTo>
                  <a:lnTo>
                    <a:pt x="165" y="56"/>
                  </a:lnTo>
                  <a:lnTo>
                    <a:pt x="165" y="15"/>
                  </a:lnTo>
                  <a:lnTo>
                    <a:pt x="231" y="15"/>
                  </a:lnTo>
                  <a:lnTo>
                    <a:pt x="231" y="164"/>
                  </a:lnTo>
                  <a:lnTo>
                    <a:pt x="187" y="164"/>
                  </a:lnTo>
                  <a:lnTo>
                    <a:pt x="187" y="159"/>
                  </a:lnTo>
                  <a:lnTo>
                    <a:pt x="184" y="157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79" y="147"/>
                  </a:lnTo>
                  <a:lnTo>
                    <a:pt x="177" y="145"/>
                  </a:lnTo>
                  <a:lnTo>
                    <a:pt x="172" y="142"/>
                  </a:lnTo>
                  <a:lnTo>
                    <a:pt x="169" y="140"/>
                  </a:lnTo>
                  <a:lnTo>
                    <a:pt x="165" y="140"/>
                  </a:lnTo>
                  <a:lnTo>
                    <a:pt x="157" y="137"/>
                  </a:lnTo>
                  <a:lnTo>
                    <a:pt x="150" y="137"/>
                  </a:lnTo>
                  <a:lnTo>
                    <a:pt x="145" y="137"/>
                  </a:lnTo>
                  <a:lnTo>
                    <a:pt x="135" y="137"/>
                  </a:lnTo>
                  <a:lnTo>
                    <a:pt x="128" y="137"/>
                  </a:lnTo>
                  <a:lnTo>
                    <a:pt x="123" y="137"/>
                  </a:lnTo>
                  <a:lnTo>
                    <a:pt x="116" y="137"/>
                  </a:lnTo>
                  <a:lnTo>
                    <a:pt x="111" y="135"/>
                  </a:lnTo>
                  <a:lnTo>
                    <a:pt x="106" y="132"/>
                  </a:lnTo>
                  <a:lnTo>
                    <a:pt x="91" y="125"/>
                  </a:lnTo>
                  <a:lnTo>
                    <a:pt x="84" y="123"/>
                  </a:lnTo>
                  <a:lnTo>
                    <a:pt x="76" y="123"/>
                  </a:lnTo>
                  <a:lnTo>
                    <a:pt x="74" y="123"/>
                  </a:lnTo>
                  <a:lnTo>
                    <a:pt x="69" y="123"/>
                  </a:lnTo>
                  <a:lnTo>
                    <a:pt x="59" y="123"/>
                  </a:lnTo>
                  <a:lnTo>
                    <a:pt x="54" y="123"/>
                  </a:lnTo>
                  <a:lnTo>
                    <a:pt x="54" y="15"/>
                  </a:lnTo>
                  <a:close/>
                  <a:moveTo>
                    <a:pt x="245" y="194"/>
                  </a:moveTo>
                  <a:lnTo>
                    <a:pt x="245" y="196"/>
                  </a:lnTo>
                  <a:lnTo>
                    <a:pt x="243" y="201"/>
                  </a:lnTo>
                  <a:lnTo>
                    <a:pt x="201" y="208"/>
                  </a:lnTo>
                  <a:lnTo>
                    <a:pt x="184" y="213"/>
                  </a:lnTo>
                  <a:lnTo>
                    <a:pt x="155" y="221"/>
                  </a:lnTo>
                  <a:lnTo>
                    <a:pt x="147" y="223"/>
                  </a:lnTo>
                  <a:lnTo>
                    <a:pt x="140" y="223"/>
                  </a:lnTo>
                  <a:lnTo>
                    <a:pt x="130" y="226"/>
                  </a:lnTo>
                  <a:lnTo>
                    <a:pt x="125" y="226"/>
                  </a:lnTo>
                  <a:lnTo>
                    <a:pt x="15" y="226"/>
                  </a:lnTo>
                  <a:lnTo>
                    <a:pt x="15" y="157"/>
                  </a:lnTo>
                  <a:lnTo>
                    <a:pt x="20" y="152"/>
                  </a:lnTo>
                  <a:lnTo>
                    <a:pt x="30" y="147"/>
                  </a:lnTo>
                  <a:lnTo>
                    <a:pt x="35" y="145"/>
                  </a:lnTo>
                  <a:lnTo>
                    <a:pt x="40" y="142"/>
                  </a:lnTo>
                  <a:lnTo>
                    <a:pt x="49" y="140"/>
                  </a:lnTo>
                  <a:lnTo>
                    <a:pt x="54" y="137"/>
                  </a:lnTo>
                  <a:lnTo>
                    <a:pt x="59" y="137"/>
                  </a:lnTo>
                  <a:lnTo>
                    <a:pt x="66" y="137"/>
                  </a:lnTo>
                  <a:lnTo>
                    <a:pt x="71" y="137"/>
                  </a:lnTo>
                  <a:lnTo>
                    <a:pt x="76" y="137"/>
                  </a:lnTo>
                  <a:lnTo>
                    <a:pt x="81" y="140"/>
                  </a:lnTo>
                  <a:lnTo>
                    <a:pt x="89" y="142"/>
                  </a:lnTo>
                  <a:lnTo>
                    <a:pt x="106" y="150"/>
                  </a:lnTo>
                  <a:lnTo>
                    <a:pt x="108" y="150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47" y="152"/>
                  </a:lnTo>
                  <a:lnTo>
                    <a:pt x="155" y="152"/>
                  </a:lnTo>
                  <a:lnTo>
                    <a:pt x="160" y="155"/>
                  </a:lnTo>
                  <a:lnTo>
                    <a:pt x="165" y="155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9" y="159"/>
                  </a:lnTo>
                  <a:lnTo>
                    <a:pt x="169" y="162"/>
                  </a:lnTo>
                  <a:lnTo>
                    <a:pt x="172" y="164"/>
                  </a:lnTo>
                  <a:lnTo>
                    <a:pt x="172" y="167"/>
                  </a:lnTo>
                  <a:lnTo>
                    <a:pt x="172" y="169"/>
                  </a:lnTo>
                  <a:lnTo>
                    <a:pt x="169" y="172"/>
                  </a:lnTo>
                  <a:lnTo>
                    <a:pt x="169" y="174"/>
                  </a:lnTo>
                  <a:lnTo>
                    <a:pt x="167" y="174"/>
                  </a:lnTo>
                  <a:lnTo>
                    <a:pt x="167" y="177"/>
                  </a:lnTo>
                  <a:lnTo>
                    <a:pt x="162" y="179"/>
                  </a:lnTo>
                  <a:lnTo>
                    <a:pt x="157" y="179"/>
                  </a:lnTo>
                  <a:lnTo>
                    <a:pt x="152" y="179"/>
                  </a:lnTo>
                  <a:lnTo>
                    <a:pt x="145" y="179"/>
                  </a:lnTo>
                  <a:lnTo>
                    <a:pt x="128" y="179"/>
                  </a:lnTo>
                  <a:lnTo>
                    <a:pt x="120" y="179"/>
                  </a:lnTo>
                  <a:lnTo>
                    <a:pt x="113" y="182"/>
                  </a:lnTo>
                  <a:lnTo>
                    <a:pt x="106" y="182"/>
                  </a:lnTo>
                  <a:lnTo>
                    <a:pt x="96" y="186"/>
                  </a:lnTo>
                  <a:lnTo>
                    <a:pt x="93" y="186"/>
                  </a:lnTo>
                  <a:lnTo>
                    <a:pt x="93" y="189"/>
                  </a:lnTo>
                  <a:lnTo>
                    <a:pt x="91" y="191"/>
                  </a:lnTo>
                  <a:lnTo>
                    <a:pt x="93" y="194"/>
                  </a:lnTo>
                  <a:lnTo>
                    <a:pt x="93" y="196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8" y="199"/>
                  </a:lnTo>
                  <a:lnTo>
                    <a:pt x="101" y="199"/>
                  </a:lnTo>
                  <a:lnTo>
                    <a:pt x="103" y="199"/>
                  </a:lnTo>
                  <a:lnTo>
                    <a:pt x="106" y="199"/>
                  </a:lnTo>
                  <a:lnTo>
                    <a:pt x="111" y="196"/>
                  </a:lnTo>
                  <a:lnTo>
                    <a:pt x="118" y="194"/>
                  </a:lnTo>
                  <a:lnTo>
                    <a:pt x="128" y="194"/>
                  </a:lnTo>
                  <a:lnTo>
                    <a:pt x="135" y="194"/>
                  </a:lnTo>
                  <a:lnTo>
                    <a:pt x="152" y="196"/>
                  </a:lnTo>
                  <a:lnTo>
                    <a:pt x="162" y="194"/>
                  </a:lnTo>
                  <a:lnTo>
                    <a:pt x="169" y="194"/>
                  </a:lnTo>
                  <a:lnTo>
                    <a:pt x="172" y="191"/>
                  </a:lnTo>
                  <a:lnTo>
                    <a:pt x="174" y="189"/>
                  </a:lnTo>
                  <a:lnTo>
                    <a:pt x="179" y="186"/>
                  </a:lnTo>
                  <a:lnTo>
                    <a:pt x="179" y="184"/>
                  </a:lnTo>
                  <a:lnTo>
                    <a:pt x="184" y="179"/>
                  </a:lnTo>
                  <a:lnTo>
                    <a:pt x="233" y="179"/>
                  </a:lnTo>
                  <a:lnTo>
                    <a:pt x="238" y="182"/>
                  </a:lnTo>
                  <a:lnTo>
                    <a:pt x="241" y="182"/>
                  </a:lnTo>
                  <a:lnTo>
                    <a:pt x="243" y="184"/>
                  </a:lnTo>
                  <a:lnTo>
                    <a:pt x="245" y="186"/>
                  </a:lnTo>
                  <a:lnTo>
                    <a:pt x="245" y="189"/>
                  </a:lnTo>
                  <a:lnTo>
                    <a:pt x="245" y="191"/>
                  </a:lnTo>
                  <a:lnTo>
                    <a:pt x="245" y="194"/>
                  </a:lnTo>
                  <a:lnTo>
                    <a:pt x="245" y="19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Rectangle 217">
              <a:extLst>
                <a:ext uri="{FF2B5EF4-FFF2-40B4-BE49-F238E27FC236}">
                  <a16:creationId xmlns:a16="http://schemas.microsoft.com/office/drawing/2014/main" id="{DA76217F-25FA-41AB-A8F6-45CEB8CE3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2" y="2156"/>
              <a:ext cx="39" cy="1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4" name="Group 220">
            <a:extLst>
              <a:ext uri="{FF2B5EF4-FFF2-40B4-BE49-F238E27FC236}">
                <a16:creationId xmlns:a16="http://schemas.microsoft.com/office/drawing/2014/main" id="{9471AB3C-E4A0-4E92-9482-1C612508190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8215" y="2807494"/>
            <a:ext cx="841375" cy="841375"/>
            <a:chOff x="4382" y="1883"/>
            <a:chExt cx="530" cy="530"/>
          </a:xfrm>
        </p:grpSpPr>
        <p:sp>
          <p:nvSpPr>
            <p:cNvPr id="245" name="AutoShape 219">
              <a:extLst>
                <a:ext uri="{FF2B5EF4-FFF2-40B4-BE49-F238E27FC236}">
                  <a16:creationId xmlns:a16="http://schemas.microsoft.com/office/drawing/2014/main" id="{81B95062-CF62-48F4-A055-CB8D638D7F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82" y="18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221">
              <a:extLst>
                <a:ext uri="{FF2B5EF4-FFF2-40B4-BE49-F238E27FC236}">
                  <a16:creationId xmlns:a16="http://schemas.microsoft.com/office/drawing/2014/main" id="{60CA55E7-DE2D-4A83-85A8-378B71852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" y="18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22">
              <a:extLst>
                <a:ext uri="{FF2B5EF4-FFF2-40B4-BE49-F238E27FC236}">
                  <a16:creationId xmlns:a16="http://schemas.microsoft.com/office/drawing/2014/main" id="{450D5777-6A3D-4B90-AA16-630A491382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0" y="19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Rectangle 223">
              <a:extLst>
                <a:ext uri="{FF2B5EF4-FFF2-40B4-BE49-F238E27FC236}">
                  <a16:creationId xmlns:a16="http://schemas.microsoft.com/office/drawing/2014/main" id="{23A3B7ED-FF37-4505-AAEC-C5B7B191A6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" y="2136"/>
              <a:ext cx="41" cy="1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24">
              <a:extLst>
                <a:ext uri="{FF2B5EF4-FFF2-40B4-BE49-F238E27FC236}">
                  <a16:creationId xmlns:a16="http://schemas.microsoft.com/office/drawing/2014/main" id="{60E7EDE4-C3DF-43AE-9360-CC79F9E15C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2" y="2024"/>
              <a:ext cx="272" cy="251"/>
            </a:xfrm>
            <a:custGeom>
              <a:avLst/>
              <a:gdLst>
                <a:gd name="T0" fmla="*/ 272 w 272"/>
                <a:gd name="T1" fmla="*/ 197 h 251"/>
                <a:gd name="T2" fmla="*/ 267 w 272"/>
                <a:gd name="T3" fmla="*/ 184 h 251"/>
                <a:gd name="T4" fmla="*/ 259 w 272"/>
                <a:gd name="T5" fmla="*/ 176 h 251"/>
                <a:gd name="T6" fmla="*/ 41 w 272"/>
                <a:gd name="T7" fmla="*/ 0 h 251"/>
                <a:gd name="T8" fmla="*/ 29 w 272"/>
                <a:gd name="T9" fmla="*/ 138 h 251"/>
                <a:gd name="T10" fmla="*/ 0 w 272"/>
                <a:gd name="T11" fmla="*/ 156 h 251"/>
                <a:gd name="T12" fmla="*/ 149 w 272"/>
                <a:gd name="T13" fmla="*/ 248 h 251"/>
                <a:gd name="T14" fmla="*/ 193 w 272"/>
                <a:gd name="T15" fmla="*/ 238 h 251"/>
                <a:gd name="T16" fmla="*/ 246 w 272"/>
                <a:gd name="T17" fmla="*/ 228 h 251"/>
                <a:gd name="T18" fmla="*/ 272 w 272"/>
                <a:gd name="T19" fmla="*/ 210 h 251"/>
                <a:gd name="T20" fmla="*/ 162 w 272"/>
                <a:gd name="T21" fmla="*/ 15 h 251"/>
                <a:gd name="T22" fmla="*/ 139 w 272"/>
                <a:gd name="T23" fmla="*/ 15 h 251"/>
                <a:gd name="T24" fmla="*/ 126 w 272"/>
                <a:gd name="T25" fmla="*/ 59 h 251"/>
                <a:gd name="T26" fmla="*/ 241 w 272"/>
                <a:gd name="T27" fmla="*/ 15 h 251"/>
                <a:gd name="T28" fmla="*/ 195 w 272"/>
                <a:gd name="T29" fmla="*/ 166 h 251"/>
                <a:gd name="T30" fmla="*/ 190 w 272"/>
                <a:gd name="T31" fmla="*/ 158 h 251"/>
                <a:gd name="T32" fmla="*/ 180 w 272"/>
                <a:gd name="T33" fmla="*/ 148 h 251"/>
                <a:gd name="T34" fmla="*/ 164 w 272"/>
                <a:gd name="T35" fmla="*/ 143 h 251"/>
                <a:gd name="T36" fmla="*/ 141 w 272"/>
                <a:gd name="T37" fmla="*/ 143 h 251"/>
                <a:gd name="T38" fmla="*/ 121 w 272"/>
                <a:gd name="T39" fmla="*/ 143 h 251"/>
                <a:gd name="T40" fmla="*/ 95 w 272"/>
                <a:gd name="T41" fmla="*/ 130 h 251"/>
                <a:gd name="T42" fmla="*/ 77 w 272"/>
                <a:gd name="T43" fmla="*/ 128 h 251"/>
                <a:gd name="T44" fmla="*/ 57 w 272"/>
                <a:gd name="T45" fmla="*/ 128 h 251"/>
                <a:gd name="T46" fmla="*/ 257 w 272"/>
                <a:gd name="T47" fmla="*/ 205 h 251"/>
                <a:gd name="T48" fmla="*/ 193 w 272"/>
                <a:gd name="T49" fmla="*/ 222 h 251"/>
                <a:gd name="T50" fmla="*/ 146 w 272"/>
                <a:gd name="T51" fmla="*/ 233 h 251"/>
                <a:gd name="T52" fmla="*/ 16 w 272"/>
                <a:gd name="T53" fmla="*/ 235 h 251"/>
                <a:gd name="T54" fmla="*/ 31 w 272"/>
                <a:gd name="T55" fmla="*/ 153 h 251"/>
                <a:gd name="T56" fmla="*/ 52 w 272"/>
                <a:gd name="T57" fmla="*/ 146 h 251"/>
                <a:gd name="T58" fmla="*/ 70 w 272"/>
                <a:gd name="T59" fmla="*/ 143 h 251"/>
                <a:gd name="T60" fmla="*/ 85 w 272"/>
                <a:gd name="T61" fmla="*/ 146 h 251"/>
                <a:gd name="T62" fmla="*/ 113 w 272"/>
                <a:gd name="T63" fmla="*/ 156 h 251"/>
                <a:gd name="T64" fmla="*/ 134 w 272"/>
                <a:gd name="T65" fmla="*/ 158 h 251"/>
                <a:gd name="T66" fmla="*/ 167 w 272"/>
                <a:gd name="T67" fmla="*/ 161 h 251"/>
                <a:gd name="T68" fmla="*/ 175 w 272"/>
                <a:gd name="T69" fmla="*/ 164 h 251"/>
                <a:gd name="T70" fmla="*/ 180 w 272"/>
                <a:gd name="T71" fmla="*/ 171 h 251"/>
                <a:gd name="T72" fmla="*/ 177 w 272"/>
                <a:gd name="T73" fmla="*/ 179 h 251"/>
                <a:gd name="T74" fmla="*/ 175 w 272"/>
                <a:gd name="T75" fmla="*/ 184 h 251"/>
                <a:gd name="T76" fmla="*/ 159 w 272"/>
                <a:gd name="T77" fmla="*/ 187 h 251"/>
                <a:gd name="T78" fmla="*/ 126 w 272"/>
                <a:gd name="T79" fmla="*/ 187 h 251"/>
                <a:gd name="T80" fmla="*/ 100 w 272"/>
                <a:gd name="T81" fmla="*/ 194 h 251"/>
                <a:gd name="T82" fmla="*/ 95 w 272"/>
                <a:gd name="T83" fmla="*/ 199 h 251"/>
                <a:gd name="T84" fmla="*/ 100 w 272"/>
                <a:gd name="T85" fmla="*/ 207 h 251"/>
                <a:gd name="T86" fmla="*/ 105 w 272"/>
                <a:gd name="T87" fmla="*/ 207 h 251"/>
                <a:gd name="T88" fmla="*/ 116 w 272"/>
                <a:gd name="T89" fmla="*/ 205 h 251"/>
                <a:gd name="T90" fmla="*/ 141 w 272"/>
                <a:gd name="T91" fmla="*/ 202 h 251"/>
                <a:gd name="T92" fmla="*/ 177 w 272"/>
                <a:gd name="T93" fmla="*/ 202 h 251"/>
                <a:gd name="T94" fmla="*/ 187 w 272"/>
                <a:gd name="T95" fmla="*/ 194 h 251"/>
                <a:gd name="T96" fmla="*/ 244 w 272"/>
                <a:gd name="T97" fmla="*/ 187 h 251"/>
                <a:gd name="T98" fmla="*/ 254 w 272"/>
                <a:gd name="T99" fmla="*/ 192 h 251"/>
                <a:gd name="T100" fmla="*/ 257 w 272"/>
                <a:gd name="T101" fmla="*/ 199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2" h="251">
                  <a:moveTo>
                    <a:pt x="272" y="205"/>
                  </a:moveTo>
                  <a:lnTo>
                    <a:pt x="272" y="202"/>
                  </a:lnTo>
                  <a:lnTo>
                    <a:pt x="272" y="197"/>
                  </a:lnTo>
                  <a:lnTo>
                    <a:pt x="272" y="192"/>
                  </a:lnTo>
                  <a:lnTo>
                    <a:pt x="269" y="187"/>
                  </a:lnTo>
                  <a:lnTo>
                    <a:pt x="267" y="184"/>
                  </a:lnTo>
                  <a:lnTo>
                    <a:pt x="267" y="182"/>
                  </a:lnTo>
                  <a:lnTo>
                    <a:pt x="262" y="179"/>
                  </a:lnTo>
                  <a:lnTo>
                    <a:pt x="259" y="176"/>
                  </a:lnTo>
                  <a:lnTo>
                    <a:pt x="257" y="176"/>
                  </a:lnTo>
                  <a:lnTo>
                    <a:pt x="257" y="0"/>
                  </a:lnTo>
                  <a:lnTo>
                    <a:pt x="41" y="0"/>
                  </a:lnTo>
                  <a:lnTo>
                    <a:pt x="41" y="133"/>
                  </a:lnTo>
                  <a:lnTo>
                    <a:pt x="39" y="133"/>
                  </a:lnTo>
                  <a:lnTo>
                    <a:pt x="29" y="138"/>
                  </a:lnTo>
                  <a:lnTo>
                    <a:pt x="18" y="143"/>
                  </a:lnTo>
                  <a:lnTo>
                    <a:pt x="6" y="151"/>
                  </a:lnTo>
                  <a:lnTo>
                    <a:pt x="0" y="156"/>
                  </a:lnTo>
                  <a:lnTo>
                    <a:pt x="0" y="251"/>
                  </a:lnTo>
                  <a:lnTo>
                    <a:pt x="141" y="251"/>
                  </a:lnTo>
                  <a:lnTo>
                    <a:pt x="149" y="248"/>
                  </a:lnTo>
                  <a:lnTo>
                    <a:pt x="162" y="248"/>
                  </a:lnTo>
                  <a:lnTo>
                    <a:pt x="172" y="243"/>
                  </a:lnTo>
                  <a:lnTo>
                    <a:pt x="193" y="238"/>
                  </a:lnTo>
                  <a:lnTo>
                    <a:pt x="208" y="233"/>
                  </a:lnTo>
                  <a:lnTo>
                    <a:pt x="223" y="230"/>
                  </a:lnTo>
                  <a:lnTo>
                    <a:pt x="246" y="228"/>
                  </a:lnTo>
                  <a:lnTo>
                    <a:pt x="264" y="225"/>
                  </a:lnTo>
                  <a:lnTo>
                    <a:pt x="272" y="212"/>
                  </a:lnTo>
                  <a:lnTo>
                    <a:pt x="272" y="210"/>
                  </a:lnTo>
                  <a:lnTo>
                    <a:pt x="272" y="205"/>
                  </a:lnTo>
                  <a:close/>
                  <a:moveTo>
                    <a:pt x="139" y="15"/>
                  </a:moveTo>
                  <a:lnTo>
                    <a:pt x="162" y="15"/>
                  </a:lnTo>
                  <a:lnTo>
                    <a:pt x="162" y="48"/>
                  </a:lnTo>
                  <a:lnTo>
                    <a:pt x="139" y="48"/>
                  </a:lnTo>
                  <a:lnTo>
                    <a:pt x="139" y="15"/>
                  </a:lnTo>
                  <a:close/>
                  <a:moveTo>
                    <a:pt x="57" y="15"/>
                  </a:moveTo>
                  <a:lnTo>
                    <a:pt x="126" y="15"/>
                  </a:lnTo>
                  <a:lnTo>
                    <a:pt x="126" y="59"/>
                  </a:lnTo>
                  <a:lnTo>
                    <a:pt x="172" y="59"/>
                  </a:lnTo>
                  <a:lnTo>
                    <a:pt x="172" y="15"/>
                  </a:lnTo>
                  <a:lnTo>
                    <a:pt x="241" y="15"/>
                  </a:lnTo>
                  <a:lnTo>
                    <a:pt x="241" y="171"/>
                  </a:lnTo>
                  <a:lnTo>
                    <a:pt x="195" y="171"/>
                  </a:lnTo>
                  <a:lnTo>
                    <a:pt x="195" y="166"/>
                  </a:lnTo>
                  <a:lnTo>
                    <a:pt x="193" y="164"/>
                  </a:lnTo>
                  <a:lnTo>
                    <a:pt x="193" y="158"/>
                  </a:lnTo>
                  <a:lnTo>
                    <a:pt x="190" y="158"/>
                  </a:lnTo>
                  <a:lnTo>
                    <a:pt x="187" y="153"/>
                  </a:lnTo>
                  <a:lnTo>
                    <a:pt x="185" y="151"/>
                  </a:lnTo>
                  <a:lnTo>
                    <a:pt x="180" y="148"/>
                  </a:lnTo>
                  <a:lnTo>
                    <a:pt x="177" y="146"/>
                  </a:lnTo>
                  <a:lnTo>
                    <a:pt x="172" y="146"/>
                  </a:lnTo>
                  <a:lnTo>
                    <a:pt x="164" y="143"/>
                  </a:lnTo>
                  <a:lnTo>
                    <a:pt x="157" y="143"/>
                  </a:lnTo>
                  <a:lnTo>
                    <a:pt x="152" y="143"/>
                  </a:lnTo>
                  <a:lnTo>
                    <a:pt x="141" y="143"/>
                  </a:lnTo>
                  <a:lnTo>
                    <a:pt x="134" y="143"/>
                  </a:lnTo>
                  <a:lnTo>
                    <a:pt x="128" y="143"/>
                  </a:lnTo>
                  <a:lnTo>
                    <a:pt x="121" y="143"/>
                  </a:lnTo>
                  <a:lnTo>
                    <a:pt x="116" y="141"/>
                  </a:lnTo>
                  <a:lnTo>
                    <a:pt x="111" y="138"/>
                  </a:lnTo>
                  <a:lnTo>
                    <a:pt x="95" y="130"/>
                  </a:lnTo>
                  <a:lnTo>
                    <a:pt x="88" y="128"/>
                  </a:lnTo>
                  <a:lnTo>
                    <a:pt x="80" y="128"/>
                  </a:lnTo>
                  <a:lnTo>
                    <a:pt x="77" y="128"/>
                  </a:lnTo>
                  <a:lnTo>
                    <a:pt x="72" y="128"/>
                  </a:lnTo>
                  <a:lnTo>
                    <a:pt x="62" y="128"/>
                  </a:lnTo>
                  <a:lnTo>
                    <a:pt x="57" y="128"/>
                  </a:lnTo>
                  <a:lnTo>
                    <a:pt x="57" y="15"/>
                  </a:lnTo>
                  <a:close/>
                  <a:moveTo>
                    <a:pt x="257" y="202"/>
                  </a:moveTo>
                  <a:lnTo>
                    <a:pt x="257" y="205"/>
                  </a:lnTo>
                  <a:lnTo>
                    <a:pt x="254" y="210"/>
                  </a:lnTo>
                  <a:lnTo>
                    <a:pt x="210" y="217"/>
                  </a:lnTo>
                  <a:lnTo>
                    <a:pt x="193" y="222"/>
                  </a:lnTo>
                  <a:lnTo>
                    <a:pt x="162" y="230"/>
                  </a:lnTo>
                  <a:lnTo>
                    <a:pt x="154" y="233"/>
                  </a:lnTo>
                  <a:lnTo>
                    <a:pt x="146" y="233"/>
                  </a:lnTo>
                  <a:lnTo>
                    <a:pt x="136" y="235"/>
                  </a:lnTo>
                  <a:lnTo>
                    <a:pt x="131" y="235"/>
                  </a:lnTo>
                  <a:lnTo>
                    <a:pt x="16" y="235"/>
                  </a:lnTo>
                  <a:lnTo>
                    <a:pt x="16" y="164"/>
                  </a:lnTo>
                  <a:lnTo>
                    <a:pt x="21" y="158"/>
                  </a:lnTo>
                  <a:lnTo>
                    <a:pt x="31" y="153"/>
                  </a:lnTo>
                  <a:lnTo>
                    <a:pt x="36" y="151"/>
                  </a:lnTo>
                  <a:lnTo>
                    <a:pt x="41" y="148"/>
                  </a:lnTo>
                  <a:lnTo>
                    <a:pt x="52" y="146"/>
                  </a:lnTo>
                  <a:lnTo>
                    <a:pt x="57" y="143"/>
                  </a:lnTo>
                  <a:lnTo>
                    <a:pt x="62" y="143"/>
                  </a:lnTo>
                  <a:lnTo>
                    <a:pt x="70" y="143"/>
                  </a:lnTo>
                  <a:lnTo>
                    <a:pt x="75" y="143"/>
                  </a:lnTo>
                  <a:lnTo>
                    <a:pt x="80" y="143"/>
                  </a:lnTo>
                  <a:lnTo>
                    <a:pt x="85" y="146"/>
                  </a:lnTo>
                  <a:lnTo>
                    <a:pt x="93" y="148"/>
                  </a:lnTo>
                  <a:lnTo>
                    <a:pt x="111" y="156"/>
                  </a:lnTo>
                  <a:lnTo>
                    <a:pt x="113" y="156"/>
                  </a:lnTo>
                  <a:lnTo>
                    <a:pt x="121" y="158"/>
                  </a:lnTo>
                  <a:lnTo>
                    <a:pt x="126" y="158"/>
                  </a:lnTo>
                  <a:lnTo>
                    <a:pt x="134" y="158"/>
                  </a:lnTo>
                  <a:lnTo>
                    <a:pt x="154" y="158"/>
                  </a:lnTo>
                  <a:lnTo>
                    <a:pt x="162" y="158"/>
                  </a:lnTo>
                  <a:lnTo>
                    <a:pt x="167" y="161"/>
                  </a:lnTo>
                  <a:lnTo>
                    <a:pt x="172" y="161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7" y="166"/>
                  </a:lnTo>
                  <a:lnTo>
                    <a:pt x="177" y="169"/>
                  </a:lnTo>
                  <a:lnTo>
                    <a:pt x="180" y="171"/>
                  </a:lnTo>
                  <a:lnTo>
                    <a:pt x="180" y="174"/>
                  </a:lnTo>
                  <a:lnTo>
                    <a:pt x="180" y="176"/>
                  </a:lnTo>
                  <a:lnTo>
                    <a:pt x="177" y="179"/>
                  </a:lnTo>
                  <a:lnTo>
                    <a:pt x="177" y="182"/>
                  </a:lnTo>
                  <a:lnTo>
                    <a:pt x="175" y="182"/>
                  </a:lnTo>
                  <a:lnTo>
                    <a:pt x="175" y="184"/>
                  </a:lnTo>
                  <a:lnTo>
                    <a:pt x="169" y="187"/>
                  </a:lnTo>
                  <a:lnTo>
                    <a:pt x="164" y="187"/>
                  </a:lnTo>
                  <a:lnTo>
                    <a:pt x="159" y="187"/>
                  </a:lnTo>
                  <a:lnTo>
                    <a:pt x="152" y="187"/>
                  </a:lnTo>
                  <a:lnTo>
                    <a:pt x="134" y="187"/>
                  </a:lnTo>
                  <a:lnTo>
                    <a:pt x="126" y="187"/>
                  </a:lnTo>
                  <a:lnTo>
                    <a:pt x="118" y="189"/>
                  </a:lnTo>
                  <a:lnTo>
                    <a:pt x="111" y="189"/>
                  </a:lnTo>
                  <a:lnTo>
                    <a:pt x="100" y="194"/>
                  </a:lnTo>
                  <a:lnTo>
                    <a:pt x="98" y="194"/>
                  </a:lnTo>
                  <a:lnTo>
                    <a:pt x="98" y="197"/>
                  </a:lnTo>
                  <a:lnTo>
                    <a:pt x="95" y="199"/>
                  </a:lnTo>
                  <a:lnTo>
                    <a:pt x="98" y="202"/>
                  </a:lnTo>
                  <a:lnTo>
                    <a:pt x="98" y="205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3" y="207"/>
                  </a:lnTo>
                  <a:lnTo>
                    <a:pt x="105" y="207"/>
                  </a:lnTo>
                  <a:lnTo>
                    <a:pt x="108" y="207"/>
                  </a:lnTo>
                  <a:lnTo>
                    <a:pt x="111" y="207"/>
                  </a:lnTo>
                  <a:lnTo>
                    <a:pt x="116" y="205"/>
                  </a:lnTo>
                  <a:lnTo>
                    <a:pt x="123" y="202"/>
                  </a:lnTo>
                  <a:lnTo>
                    <a:pt x="134" y="202"/>
                  </a:lnTo>
                  <a:lnTo>
                    <a:pt x="141" y="202"/>
                  </a:lnTo>
                  <a:lnTo>
                    <a:pt x="159" y="205"/>
                  </a:lnTo>
                  <a:lnTo>
                    <a:pt x="169" y="202"/>
                  </a:lnTo>
                  <a:lnTo>
                    <a:pt x="177" y="202"/>
                  </a:lnTo>
                  <a:lnTo>
                    <a:pt x="180" y="199"/>
                  </a:lnTo>
                  <a:lnTo>
                    <a:pt x="182" y="197"/>
                  </a:lnTo>
                  <a:lnTo>
                    <a:pt x="187" y="194"/>
                  </a:lnTo>
                  <a:lnTo>
                    <a:pt x="187" y="192"/>
                  </a:lnTo>
                  <a:lnTo>
                    <a:pt x="193" y="187"/>
                  </a:lnTo>
                  <a:lnTo>
                    <a:pt x="244" y="187"/>
                  </a:lnTo>
                  <a:lnTo>
                    <a:pt x="249" y="189"/>
                  </a:lnTo>
                  <a:lnTo>
                    <a:pt x="251" y="189"/>
                  </a:lnTo>
                  <a:lnTo>
                    <a:pt x="254" y="192"/>
                  </a:lnTo>
                  <a:lnTo>
                    <a:pt x="257" y="194"/>
                  </a:lnTo>
                  <a:lnTo>
                    <a:pt x="257" y="197"/>
                  </a:lnTo>
                  <a:lnTo>
                    <a:pt x="257" y="199"/>
                  </a:lnTo>
                  <a:lnTo>
                    <a:pt x="257" y="202"/>
                  </a:lnTo>
                  <a:lnTo>
                    <a:pt x="25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Rectangle 225">
              <a:extLst>
                <a:ext uri="{FF2B5EF4-FFF2-40B4-BE49-F238E27FC236}">
                  <a16:creationId xmlns:a16="http://schemas.microsoft.com/office/drawing/2014/main" id="{BE195656-57AD-4A6E-BE40-1554B927F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" y="2106"/>
              <a:ext cx="41" cy="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5" name="Group 228">
            <a:extLst>
              <a:ext uri="{FF2B5EF4-FFF2-40B4-BE49-F238E27FC236}">
                <a16:creationId xmlns:a16="http://schemas.microsoft.com/office/drawing/2014/main" id="{9E2A9543-C339-4839-BCA3-E750D84720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85" y="4150520"/>
            <a:ext cx="758825" cy="758825"/>
            <a:chOff x="874" y="2795"/>
            <a:chExt cx="478" cy="478"/>
          </a:xfrm>
        </p:grpSpPr>
        <p:sp>
          <p:nvSpPr>
            <p:cNvPr id="256" name="AutoShape 227">
              <a:extLst>
                <a:ext uri="{FF2B5EF4-FFF2-40B4-BE49-F238E27FC236}">
                  <a16:creationId xmlns:a16="http://schemas.microsoft.com/office/drawing/2014/main" id="{162117C6-4533-4CD1-9792-AF9E9E7CDD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4" y="27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9">
              <a:extLst>
                <a:ext uri="{FF2B5EF4-FFF2-40B4-BE49-F238E27FC236}">
                  <a16:creationId xmlns:a16="http://schemas.microsoft.com/office/drawing/2014/main" id="{B8520B6F-D84C-47E5-A7B7-3341976B6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" y="27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30">
              <a:extLst>
                <a:ext uri="{FF2B5EF4-FFF2-40B4-BE49-F238E27FC236}">
                  <a16:creationId xmlns:a16="http://schemas.microsoft.com/office/drawing/2014/main" id="{0C7718C1-4CC7-41B1-A098-CA490D1A8A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" y="2935"/>
              <a:ext cx="284" cy="201"/>
            </a:xfrm>
            <a:custGeom>
              <a:avLst/>
              <a:gdLst>
                <a:gd name="T0" fmla="*/ 112 w 116"/>
                <a:gd name="T1" fmla="*/ 61 h 82"/>
                <a:gd name="T2" fmla="*/ 115 w 116"/>
                <a:gd name="T3" fmla="*/ 55 h 82"/>
                <a:gd name="T4" fmla="*/ 112 w 116"/>
                <a:gd name="T5" fmla="*/ 48 h 82"/>
                <a:gd name="T6" fmla="*/ 101 w 116"/>
                <a:gd name="T7" fmla="*/ 43 h 82"/>
                <a:gd name="T8" fmla="*/ 101 w 116"/>
                <a:gd name="T9" fmla="*/ 33 h 82"/>
                <a:gd name="T10" fmla="*/ 88 w 116"/>
                <a:gd name="T11" fmla="*/ 30 h 82"/>
                <a:gd name="T12" fmla="*/ 78 w 116"/>
                <a:gd name="T13" fmla="*/ 14 h 82"/>
                <a:gd name="T14" fmla="*/ 69 w 116"/>
                <a:gd name="T15" fmla="*/ 14 h 82"/>
                <a:gd name="T16" fmla="*/ 71 w 116"/>
                <a:gd name="T17" fmla="*/ 17 h 82"/>
                <a:gd name="T18" fmla="*/ 81 w 116"/>
                <a:gd name="T19" fmla="*/ 24 h 82"/>
                <a:gd name="T20" fmla="*/ 86 w 116"/>
                <a:gd name="T21" fmla="*/ 49 h 82"/>
                <a:gd name="T22" fmla="*/ 76 w 116"/>
                <a:gd name="T23" fmla="*/ 62 h 82"/>
                <a:gd name="T24" fmla="*/ 67 w 116"/>
                <a:gd name="T25" fmla="*/ 64 h 82"/>
                <a:gd name="T26" fmla="*/ 60 w 116"/>
                <a:gd name="T27" fmla="*/ 58 h 82"/>
                <a:gd name="T28" fmla="*/ 56 w 116"/>
                <a:gd name="T29" fmla="*/ 42 h 82"/>
                <a:gd name="T30" fmla="*/ 52 w 116"/>
                <a:gd name="T31" fmla="*/ 33 h 82"/>
                <a:gd name="T32" fmla="*/ 31 w 116"/>
                <a:gd name="T33" fmla="*/ 20 h 82"/>
                <a:gd name="T34" fmla="*/ 4 w 116"/>
                <a:gd name="T35" fmla="*/ 19 h 82"/>
                <a:gd name="T36" fmla="*/ 3 w 116"/>
                <a:gd name="T37" fmla="*/ 48 h 82"/>
                <a:gd name="T38" fmla="*/ 14 w 116"/>
                <a:gd name="T39" fmla="*/ 69 h 82"/>
                <a:gd name="T40" fmla="*/ 25 w 116"/>
                <a:gd name="T41" fmla="*/ 74 h 82"/>
                <a:gd name="T42" fmla="*/ 36 w 116"/>
                <a:gd name="T43" fmla="*/ 82 h 82"/>
                <a:gd name="T44" fmla="*/ 48 w 116"/>
                <a:gd name="T45" fmla="*/ 74 h 82"/>
                <a:gd name="T46" fmla="*/ 76 w 116"/>
                <a:gd name="T47" fmla="*/ 68 h 82"/>
                <a:gd name="T48" fmla="*/ 90 w 116"/>
                <a:gd name="T49" fmla="*/ 66 h 82"/>
                <a:gd name="T50" fmla="*/ 93 w 116"/>
                <a:gd name="T51" fmla="*/ 76 h 82"/>
                <a:gd name="T52" fmla="*/ 106 w 116"/>
                <a:gd name="T53" fmla="*/ 82 h 82"/>
                <a:gd name="T54" fmla="*/ 116 w 116"/>
                <a:gd name="T55" fmla="*/ 72 h 82"/>
                <a:gd name="T56" fmla="*/ 51 w 116"/>
                <a:gd name="T57" fmla="*/ 36 h 82"/>
                <a:gd name="T58" fmla="*/ 53 w 116"/>
                <a:gd name="T59" fmla="*/ 38 h 82"/>
                <a:gd name="T60" fmla="*/ 31 w 116"/>
                <a:gd name="T61" fmla="*/ 37 h 82"/>
                <a:gd name="T62" fmla="*/ 22 w 116"/>
                <a:gd name="T63" fmla="*/ 19 h 82"/>
                <a:gd name="T64" fmla="*/ 6 w 116"/>
                <a:gd name="T65" fmla="*/ 41 h 82"/>
                <a:gd name="T66" fmla="*/ 25 w 116"/>
                <a:gd name="T67" fmla="*/ 41 h 82"/>
                <a:gd name="T68" fmla="*/ 16 w 116"/>
                <a:gd name="T69" fmla="*/ 56 h 82"/>
                <a:gd name="T70" fmla="*/ 20 w 116"/>
                <a:gd name="T71" fmla="*/ 48 h 82"/>
                <a:gd name="T72" fmla="*/ 43 w 116"/>
                <a:gd name="T73" fmla="*/ 73 h 82"/>
                <a:gd name="T74" fmla="*/ 37 w 116"/>
                <a:gd name="T75" fmla="*/ 77 h 82"/>
                <a:gd name="T76" fmla="*/ 32 w 116"/>
                <a:gd name="T77" fmla="*/ 74 h 82"/>
                <a:gd name="T78" fmla="*/ 42 w 116"/>
                <a:gd name="T79" fmla="*/ 70 h 82"/>
                <a:gd name="T80" fmla="*/ 55 w 116"/>
                <a:gd name="T81" fmla="*/ 64 h 82"/>
                <a:gd name="T82" fmla="*/ 23 w 116"/>
                <a:gd name="T83" fmla="*/ 55 h 82"/>
                <a:gd name="T84" fmla="*/ 33 w 116"/>
                <a:gd name="T85" fmla="*/ 48 h 82"/>
                <a:gd name="T86" fmla="*/ 54 w 116"/>
                <a:gd name="T87" fmla="*/ 60 h 82"/>
                <a:gd name="T88" fmla="*/ 97 w 116"/>
                <a:gd name="T89" fmla="*/ 34 h 82"/>
                <a:gd name="T90" fmla="*/ 97 w 116"/>
                <a:gd name="T91" fmla="*/ 42 h 82"/>
                <a:gd name="T92" fmla="*/ 90 w 116"/>
                <a:gd name="T93" fmla="*/ 35 h 82"/>
                <a:gd name="T94" fmla="*/ 87 w 116"/>
                <a:gd name="T95" fmla="*/ 63 h 82"/>
                <a:gd name="T96" fmla="*/ 91 w 116"/>
                <a:gd name="T97" fmla="*/ 51 h 82"/>
                <a:gd name="T98" fmla="*/ 104 w 116"/>
                <a:gd name="T99" fmla="*/ 47 h 82"/>
                <a:gd name="T100" fmla="*/ 105 w 116"/>
                <a:gd name="T101" fmla="*/ 54 h 82"/>
                <a:gd name="T102" fmla="*/ 109 w 116"/>
                <a:gd name="T103" fmla="*/ 73 h 82"/>
                <a:gd name="T104" fmla="*/ 103 w 116"/>
                <a:gd name="T105" fmla="*/ 77 h 82"/>
                <a:gd name="T106" fmla="*/ 97 w 116"/>
                <a:gd name="T107" fmla="*/ 73 h 82"/>
                <a:gd name="T108" fmla="*/ 98 w 116"/>
                <a:gd name="T109" fmla="*/ 66 h 82"/>
                <a:gd name="T110" fmla="*/ 105 w 116"/>
                <a:gd name="T111" fmla="*/ 63 h 82"/>
                <a:gd name="T112" fmla="*/ 110 w 116"/>
                <a:gd name="T113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82">
                  <a:moveTo>
                    <a:pt x="116" y="70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2" y="43"/>
                    <a:pt x="101" y="43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9" y="30"/>
                    <a:pt x="88" y="30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7" y="20"/>
                    <a:pt x="27" y="19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1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5" y="70"/>
                    <a:pt x="25" y="71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1" y="66"/>
                    <a:pt x="91" y="66"/>
                    <a:pt x="91" y="67"/>
                  </a:cubicBezTo>
                  <a:cubicBezTo>
                    <a:pt x="91" y="67"/>
                    <a:pt x="92" y="67"/>
                    <a:pt x="92" y="67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3" y="78"/>
                    <a:pt x="113" y="78"/>
                    <a:pt x="113" y="78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116" y="72"/>
                    <a:pt x="116" y="72"/>
                    <a:pt x="116" y="72"/>
                  </a:cubicBezTo>
                  <a:lnTo>
                    <a:pt x="116" y="70"/>
                  </a:lnTo>
                  <a:close/>
                  <a:moveTo>
                    <a:pt x="31" y="37"/>
                  </a:moveTo>
                  <a:cubicBezTo>
                    <a:pt x="31" y="36"/>
                    <a:pt x="31" y="36"/>
                    <a:pt x="32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2"/>
                    <a:pt x="31" y="41"/>
                  </a:cubicBezTo>
                  <a:lnTo>
                    <a:pt x="31" y="37"/>
                  </a:lnTo>
                  <a:close/>
                  <a:moveTo>
                    <a:pt x="9" y="6"/>
                  </a:moveTo>
                  <a:cubicBezTo>
                    <a:pt x="9" y="6"/>
                    <a:pt x="10" y="5"/>
                    <a:pt x="1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2" y="6"/>
                    <a:pt x="22" y="6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0"/>
                    <a:pt x="21" y="20"/>
                    <a:pt x="2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9" y="20"/>
                    <a:pt x="9" y="19"/>
                  </a:cubicBezTo>
                  <a:lnTo>
                    <a:pt x="9" y="6"/>
                  </a:lnTo>
                  <a:close/>
                  <a:moveTo>
                    <a:pt x="6" y="4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6"/>
                    <a:pt x="25" y="27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1"/>
                  </a:cubicBezTo>
                  <a:close/>
                  <a:moveTo>
                    <a:pt x="16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8"/>
                    <a:pt x="10" y="48"/>
                    <a:pt x="11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6"/>
                    <a:pt x="16" y="56"/>
                  </a:cubicBezTo>
                  <a:close/>
                  <a:moveTo>
                    <a:pt x="43" y="73"/>
                  </a:moveTo>
                  <a:cubicBezTo>
                    <a:pt x="43" y="73"/>
                    <a:pt x="43" y="73"/>
                    <a:pt x="43" y="74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1"/>
                    <a:pt x="44" y="71"/>
                    <a:pt x="43" y="71"/>
                  </a:cubicBezTo>
                  <a:lnTo>
                    <a:pt x="43" y="73"/>
                  </a:ln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0" y="63"/>
                    <a:pt x="20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48"/>
                    <a:pt x="53" y="48"/>
                    <a:pt x="53" y="49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6" y="63"/>
                    <a:pt x="56" y="64"/>
                    <a:pt x="55" y="64"/>
                  </a:cubicBezTo>
                  <a:close/>
                  <a:moveTo>
                    <a:pt x="90" y="35"/>
                  </a:moveTo>
                  <a:cubicBezTo>
                    <a:pt x="90" y="34"/>
                    <a:pt x="91" y="34"/>
                    <a:pt x="91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8" y="35"/>
                    <a:pt x="98" y="35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1"/>
                    <a:pt x="91" y="41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lose/>
                  <a:moveTo>
                    <a:pt x="92" y="62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1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5"/>
                    <a:pt x="93" y="45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2"/>
                  </a:cubicBezTo>
                  <a:cubicBezTo>
                    <a:pt x="110" y="52"/>
                    <a:pt x="110" y="52"/>
                    <a:pt x="109" y="53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95" y="61"/>
                    <a:pt x="95" y="61"/>
                    <a:pt x="95" y="61"/>
                  </a:cubicBezTo>
                  <a:lnTo>
                    <a:pt x="92" y="62"/>
                  </a:lnTo>
                  <a:close/>
                  <a:moveTo>
                    <a:pt x="110" y="71"/>
                  </a:moveTo>
                  <a:cubicBezTo>
                    <a:pt x="109" y="73"/>
                    <a:pt x="109" y="73"/>
                    <a:pt x="109" y="73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4" y="77"/>
                    <a:pt x="104" y="77"/>
                    <a:pt x="104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00" y="76"/>
                    <a:pt x="100" y="76"/>
                    <a:pt x="100" y="76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0" y="69"/>
                    <a:pt x="110" y="69"/>
                    <a:pt x="110" y="69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10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31">
              <a:extLst>
                <a:ext uri="{FF2B5EF4-FFF2-40B4-BE49-F238E27FC236}">
                  <a16:creationId xmlns:a16="http://schemas.microsoft.com/office/drawing/2014/main" id="{D1231012-B1B7-452C-89A4-A058B1499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" y="2935"/>
              <a:ext cx="284" cy="201"/>
            </a:xfrm>
            <a:custGeom>
              <a:avLst/>
              <a:gdLst>
                <a:gd name="T0" fmla="*/ 112 w 116"/>
                <a:gd name="T1" fmla="*/ 61 h 82"/>
                <a:gd name="T2" fmla="*/ 115 w 116"/>
                <a:gd name="T3" fmla="*/ 55 h 82"/>
                <a:gd name="T4" fmla="*/ 112 w 116"/>
                <a:gd name="T5" fmla="*/ 48 h 82"/>
                <a:gd name="T6" fmla="*/ 101 w 116"/>
                <a:gd name="T7" fmla="*/ 43 h 82"/>
                <a:gd name="T8" fmla="*/ 101 w 116"/>
                <a:gd name="T9" fmla="*/ 33 h 82"/>
                <a:gd name="T10" fmla="*/ 88 w 116"/>
                <a:gd name="T11" fmla="*/ 30 h 82"/>
                <a:gd name="T12" fmla="*/ 78 w 116"/>
                <a:gd name="T13" fmla="*/ 14 h 82"/>
                <a:gd name="T14" fmla="*/ 69 w 116"/>
                <a:gd name="T15" fmla="*/ 14 h 82"/>
                <a:gd name="T16" fmla="*/ 71 w 116"/>
                <a:gd name="T17" fmla="*/ 17 h 82"/>
                <a:gd name="T18" fmla="*/ 81 w 116"/>
                <a:gd name="T19" fmla="*/ 24 h 82"/>
                <a:gd name="T20" fmla="*/ 86 w 116"/>
                <a:gd name="T21" fmla="*/ 49 h 82"/>
                <a:gd name="T22" fmla="*/ 76 w 116"/>
                <a:gd name="T23" fmla="*/ 62 h 82"/>
                <a:gd name="T24" fmla="*/ 67 w 116"/>
                <a:gd name="T25" fmla="*/ 64 h 82"/>
                <a:gd name="T26" fmla="*/ 60 w 116"/>
                <a:gd name="T27" fmla="*/ 58 h 82"/>
                <a:gd name="T28" fmla="*/ 56 w 116"/>
                <a:gd name="T29" fmla="*/ 42 h 82"/>
                <a:gd name="T30" fmla="*/ 52 w 116"/>
                <a:gd name="T31" fmla="*/ 33 h 82"/>
                <a:gd name="T32" fmla="*/ 31 w 116"/>
                <a:gd name="T33" fmla="*/ 20 h 82"/>
                <a:gd name="T34" fmla="*/ 4 w 116"/>
                <a:gd name="T35" fmla="*/ 19 h 82"/>
                <a:gd name="T36" fmla="*/ 3 w 116"/>
                <a:gd name="T37" fmla="*/ 48 h 82"/>
                <a:gd name="T38" fmla="*/ 14 w 116"/>
                <a:gd name="T39" fmla="*/ 69 h 82"/>
                <a:gd name="T40" fmla="*/ 25 w 116"/>
                <a:gd name="T41" fmla="*/ 74 h 82"/>
                <a:gd name="T42" fmla="*/ 36 w 116"/>
                <a:gd name="T43" fmla="*/ 82 h 82"/>
                <a:gd name="T44" fmla="*/ 48 w 116"/>
                <a:gd name="T45" fmla="*/ 74 h 82"/>
                <a:gd name="T46" fmla="*/ 76 w 116"/>
                <a:gd name="T47" fmla="*/ 68 h 82"/>
                <a:gd name="T48" fmla="*/ 90 w 116"/>
                <a:gd name="T49" fmla="*/ 66 h 82"/>
                <a:gd name="T50" fmla="*/ 93 w 116"/>
                <a:gd name="T51" fmla="*/ 76 h 82"/>
                <a:gd name="T52" fmla="*/ 106 w 116"/>
                <a:gd name="T53" fmla="*/ 82 h 82"/>
                <a:gd name="T54" fmla="*/ 116 w 116"/>
                <a:gd name="T55" fmla="*/ 72 h 82"/>
                <a:gd name="T56" fmla="*/ 51 w 116"/>
                <a:gd name="T57" fmla="*/ 36 h 82"/>
                <a:gd name="T58" fmla="*/ 53 w 116"/>
                <a:gd name="T59" fmla="*/ 38 h 82"/>
                <a:gd name="T60" fmla="*/ 31 w 116"/>
                <a:gd name="T61" fmla="*/ 37 h 82"/>
                <a:gd name="T62" fmla="*/ 22 w 116"/>
                <a:gd name="T63" fmla="*/ 19 h 82"/>
                <a:gd name="T64" fmla="*/ 6 w 116"/>
                <a:gd name="T65" fmla="*/ 41 h 82"/>
                <a:gd name="T66" fmla="*/ 25 w 116"/>
                <a:gd name="T67" fmla="*/ 41 h 82"/>
                <a:gd name="T68" fmla="*/ 16 w 116"/>
                <a:gd name="T69" fmla="*/ 56 h 82"/>
                <a:gd name="T70" fmla="*/ 20 w 116"/>
                <a:gd name="T71" fmla="*/ 48 h 82"/>
                <a:gd name="T72" fmla="*/ 43 w 116"/>
                <a:gd name="T73" fmla="*/ 73 h 82"/>
                <a:gd name="T74" fmla="*/ 37 w 116"/>
                <a:gd name="T75" fmla="*/ 77 h 82"/>
                <a:gd name="T76" fmla="*/ 32 w 116"/>
                <a:gd name="T77" fmla="*/ 74 h 82"/>
                <a:gd name="T78" fmla="*/ 42 w 116"/>
                <a:gd name="T79" fmla="*/ 70 h 82"/>
                <a:gd name="T80" fmla="*/ 55 w 116"/>
                <a:gd name="T81" fmla="*/ 64 h 82"/>
                <a:gd name="T82" fmla="*/ 23 w 116"/>
                <a:gd name="T83" fmla="*/ 55 h 82"/>
                <a:gd name="T84" fmla="*/ 33 w 116"/>
                <a:gd name="T85" fmla="*/ 48 h 82"/>
                <a:gd name="T86" fmla="*/ 54 w 116"/>
                <a:gd name="T87" fmla="*/ 60 h 82"/>
                <a:gd name="T88" fmla="*/ 97 w 116"/>
                <a:gd name="T89" fmla="*/ 34 h 82"/>
                <a:gd name="T90" fmla="*/ 97 w 116"/>
                <a:gd name="T91" fmla="*/ 42 h 82"/>
                <a:gd name="T92" fmla="*/ 90 w 116"/>
                <a:gd name="T93" fmla="*/ 35 h 82"/>
                <a:gd name="T94" fmla="*/ 87 w 116"/>
                <a:gd name="T95" fmla="*/ 63 h 82"/>
                <a:gd name="T96" fmla="*/ 91 w 116"/>
                <a:gd name="T97" fmla="*/ 51 h 82"/>
                <a:gd name="T98" fmla="*/ 104 w 116"/>
                <a:gd name="T99" fmla="*/ 47 h 82"/>
                <a:gd name="T100" fmla="*/ 105 w 116"/>
                <a:gd name="T101" fmla="*/ 54 h 82"/>
                <a:gd name="T102" fmla="*/ 109 w 116"/>
                <a:gd name="T103" fmla="*/ 73 h 82"/>
                <a:gd name="T104" fmla="*/ 103 w 116"/>
                <a:gd name="T105" fmla="*/ 77 h 82"/>
                <a:gd name="T106" fmla="*/ 97 w 116"/>
                <a:gd name="T107" fmla="*/ 73 h 82"/>
                <a:gd name="T108" fmla="*/ 98 w 116"/>
                <a:gd name="T109" fmla="*/ 66 h 82"/>
                <a:gd name="T110" fmla="*/ 105 w 116"/>
                <a:gd name="T111" fmla="*/ 63 h 82"/>
                <a:gd name="T112" fmla="*/ 110 w 116"/>
                <a:gd name="T113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82">
                  <a:moveTo>
                    <a:pt x="116" y="70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2" y="43"/>
                    <a:pt x="101" y="43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9" y="30"/>
                    <a:pt x="88" y="30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7" y="20"/>
                    <a:pt x="27" y="19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1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5" y="70"/>
                    <a:pt x="25" y="71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1" y="66"/>
                    <a:pt x="91" y="66"/>
                    <a:pt x="91" y="67"/>
                  </a:cubicBezTo>
                  <a:cubicBezTo>
                    <a:pt x="91" y="67"/>
                    <a:pt x="92" y="67"/>
                    <a:pt x="92" y="67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3" y="78"/>
                    <a:pt x="113" y="78"/>
                    <a:pt x="113" y="78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116" y="72"/>
                    <a:pt x="116" y="72"/>
                    <a:pt x="116" y="72"/>
                  </a:cubicBezTo>
                  <a:lnTo>
                    <a:pt x="116" y="70"/>
                  </a:lnTo>
                  <a:close/>
                  <a:moveTo>
                    <a:pt x="31" y="37"/>
                  </a:moveTo>
                  <a:cubicBezTo>
                    <a:pt x="31" y="36"/>
                    <a:pt x="31" y="36"/>
                    <a:pt x="32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2"/>
                    <a:pt x="31" y="41"/>
                  </a:cubicBezTo>
                  <a:lnTo>
                    <a:pt x="31" y="37"/>
                  </a:lnTo>
                  <a:close/>
                  <a:moveTo>
                    <a:pt x="9" y="6"/>
                  </a:moveTo>
                  <a:cubicBezTo>
                    <a:pt x="9" y="6"/>
                    <a:pt x="10" y="5"/>
                    <a:pt x="1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2" y="6"/>
                    <a:pt x="22" y="6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0"/>
                    <a:pt x="21" y="20"/>
                    <a:pt x="2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9" y="20"/>
                    <a:pt x="9" y="19"/>
                  </a:cubicBezTo>
                  <a:lnTo>
                    <a:pt x="9" y="6"/>
                  </a:lnTo>
                  <a:close/>
                  <a:moveTo>
                    <a:pt x="6" y="4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6"/>
                    <a:pt x="25" y="27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1"/>
                  </a:cubicBezTo>
                  <a:close/>
                  <a:moveTo>
                    <a:pt x="16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8"/>
                    <a:pt x="10" y="48"/>
                    <a:pt x="11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6"/>
                    <a:pt x="16" y="56"/>
                  </a:cubicBezTo>
                  <a:close/>
                  <a:moveTo>
                    <a:pt x="43" y="73"/>
                  </a:moveTo>
                  <a:cubicBezTo>
                    <a:pt x="43" y="73"/>
                    <a:pt x="43" y="73"/>
                    <a:pt x="43" y="74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1"/>
                    <a:pt x="44" y="71"/>
                    <a:pt x="43" y="71"/>
                  </a:cubicBezTo>
                  <a:lnTo>
                    <a:pt x="43" y="73"/>
                  </a:ln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0" y="63"/>
                    <a:pt x="20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48"/>
                    <a:pt x="53" y="48"/>
                    <a:pt x="53" y="49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6" y="63"/>
                    <a:pt x="56" y="64"/>
                    <a:pt x="55" y="64"/>
                  </a:cubicBezTo>
                  <a:close/>
                  <a:moveTo>
                    <a:pt x="90" y="35"/>
                  </a:moveTo>
                  <a:cubicBezTo>
                    <a:pt x="90" y="34"/>
                    <a:pt x="91" y="34"/>
                    <a:pt x="91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8" y="35"/>
                    <a:pt x="98" y="35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1"/>
                    <a:pt x="91" y="41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lose/>
                  <a:moveTo>
                    <a:pt x="92" y="62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1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5"/>
                    <a:pt x="93" y="45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2"/>
                  </a:cubicBezTo>
                  <a:cubicBezTo>
                    <a:pt x="110" y="52"/>
                    <a:pt x="110" y="52"/>
                    <a:pt x="109" y="53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95" y="61"/>
                    <a:pt x="95" y="61"/>
                    <a:pt x="95" y="61"/>
                  </a:cubicBezTo>
                  <a:lnTo>
                    <a:pt x="92" y="62"/>
                  </a:lnTo>
                  <a:close/>
                  <a:moveTo>
                    <a:pt x="110" y="71"/>
                  </a:moveTo>
                  <a:cubicBezTo>
                    <a:pt x="109" y="73"/>
                    <a:pt x="109" y="73"/>
                    <a:pt x="109" y="73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4" y="77"/>
                    <a:pt x="104" y="77"/>
                    <a:pt x="104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00" y="76"/>
                    <a:pt x="100" y="76"/>
                    <a:pt x="100" y="76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0" y="69"/>
                    <a:pt x="110" y="69"/>
                    <a:pt x="110" y="69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10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34">
            <a:extLst>
              <a:ext uri="{FF2B5EF4-FFF2-40B4-BE49-F238E27FC236}">
                <a16:creationId xmlns:a16="http://schemas.microsoft.com/office/drawing/2014/main" id="{94079276-D694-4E18-A436-29CEB67A7D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635" y="4109245"/>
            <a:ext cx="841375" cy="841375"/>
            <a:chOff x="465" y="2708"/>
            <a:chExt cx="530" cy="530"/>
          </a:xfrm>
        </p:grpSpPr>
        <p:sp>
          <p:nvSpPr>
            <p:cNvPr id="261" name="AutoShape 233">
              <a:extLst>
                <a:ext uri="{FF2B5EF4-FFF2-40B4-BE49-F238E27FC236}">
                  <a16:creationId xmlns:a16="http://schemas.microsoft.com/office/drawing/2014/main" id="{989D2B35-C999-4DAB-96E1-6FA6B76CD03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65" y="270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235">
              <a:extLst>
                <a:ext uri="{FF2B5EF4-FFF2-40B4-BE49-F238E27FC236}">
                  <a16:creationId xmlns:a16="http://schemas.microsoft.com/office/drawing/2014/main" id="{99B308CB-3BF3-4CD7-9A3C-57F9EDF0D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" y="270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36">
              <a:extLst>
                <a:ext uri="{FF2B5EF4-FFF2-40B4-BE49-F238E27FC236}">
                  <a16:creationId xmlns:a16="http://schemas.microsoft.com/office/drawing/2014/main" id="{4FE39B17-6AE8-43B3-B8F1-AAFB4120F2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" y="272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37">
              <a:extLst>
                <a:ext uri="{FF2B5EF4-FFF2-40B4-BE49-F238E27FC236}">
                  <a16:creationId xmlns:a16="http://schemas.microsoft.com/office/drawing/2014/main" id="{2FBBDFF9-9D86-4576-A759-8A8C533AC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" y="2869"/>
              <a:ext cx="297" cy="210"/>
            </a:xfrm>
            <a:custGeom>
              <a:avLst/>
              <a:gdLst>
                <a:gd name="T0" fmla="*/ 112 w 116"/>
                <a:gd name="T1" fmla="*/ 61 h 82"/>
                <a:gd name="T2" fmla="*/ 115 w 116"/>
                <a:gd name="T3" fmla="*/ 55 h 82"/>
                <a:gd name="T4" fmla="*/ 112 w 116"/>
                <a:gd name="T5" fmla="*/ 48 h 82"/>
                <a:gd name="T6" fmla="*/ 101 w 116"/>
                <a:gd name="T7" fmla="*/ 43 h 82"/>
                <a:gd name="T8" fmla="*/ 101 w 116"/>
                <a:gd name="T9" fmla="*/ 33 h 82"/>
                <a:gd name="T10" fmla="*/ 88 w 116"/>
                <a:gd name="T11" fmla="*/ 30 h 82"/>
                <a:gd name="T12" fmla="*/ 78 w 116"/>
                <a:gd name="T13" fmla="*/ 14 h 82"/>
                <a:gd name="T14" fmla="*/ 69 w 116"/>
                <a:gd name="T15" fmla="*/ 14 h 82"/>
                <a:gd name="T16" fmla="*/ 71 w 116"/>
                <a:gd name="T17" fmla="*/ 17 h 82"/>
                <a:gd name="T18" fmla="*/ 81 w 116"/>
                <a:gd name="T19" fmla="*/ 24 h 82"/>
                <a:gd name="T20" fmla="*/ 86 w 116"/>
                <a:gd name="T21" fmla="*/ 49 h 82"/>
                <a:gd name="T22" fmla="*/ 76 w 116"/>
                <a:gd name="T23" fmla="*/ 62 h 82"/>
                <a:gd name="T24" fmla="*/ 67 w 116"/>
                <a:gd name="T25" fmla="*/ 64 h 82"/>
                <a:gd name="T26" fmla="*/ 60 w 116"/>
                <a:gd name="T27" fmla="*/ 58 h 82"/>
                <a:gd name="T28" fmla="*/ 56 w 116"/>
                <a:gd name="T29" fmla="*/ 42 h 82"/>
                <a:gd name="T30" fmla="*/ 52 w 116"/>
                <a:gd name="T31" fmla="*/ 33 h 82"/>
                <a:gd name="T32" fmla="*/ 31 w 116"/>
                <a:gd name="T33" fmla="*/ 20 h 82"/>
                <a:gd name="T34" fmla="*/ 4 w 116"/>
                <a:gd name="T35" fmla="*/ 19 h 82"/>
                <a:gd name="T36" fmla="*/ 3 w 116"/>
                <a:gd name="T37" fmla="*/ 48 h 82"/>
                <a:gd name="T38" fmla="*/ 14 w 116"/>
                <a:gd name="T39" fmla="*/ 69 h 82"/>
                <a:gd name="T40" fmla="*/ 25 w 116"/>
                <a:gd name="T41" fmla="*/ 74 h 82"/>
                <a:gd name="T42" fmla="*/ 36 w 116"/>
                <a:gd name="T43" fmla="*/ 82 h 82"/>
                <a:gd name="T44" fmla="*/ 48 w 116"/>
                <a:gd name="T45" fmla="*/ 74 h 82"/>
                <a:gd name="T46" fmla="*/ 76 w 116"/>
                <a:gd name="T47" fmla="*/ 68 h 82"/>
                <a:gd name="T48" fmla="*/ 90 w 116"/>
                <a:gd name="T49" fmla="*/ 66 h 82"/>
                <a:gd name="T50" fmla="*/ 93 w 116"/>
                <a:gd name="T51" fmla="*/ 76 h 82"/>
                <a:gd name="T52" fmla="*/ 106 w 116"/>
                <a:gd name="T53" fmla="*/ 82 h 82"/>
                <a:gd name="T54" fmla="*/ 116 w 116"/>
                <a:gd name="T55" fmla="*/ 72 h 82"/>
                <a:gd name="T56" fmla="*/ 51 w 116"/>
                <a:gd name="T57" fmla="*/ 36 h 82"/>
                <a:gd name="T58" fmla="*/ 53 w 116"/>
                <a:gd name="T59" fmla="*/ 38 h 82"/>
                <a:gd name="T60" fmla="*/ 31 w 116"/>
                <a:gd name="T61" fmla="*/ 37 h 82"/>
                <a:gd name="T62" fmla="*/ 22 w 116"/>
                <a:gd name="T63" fmla="*/ 19 h 82"/>
                <a:gd name="T64" fmla="*/ 6 w 116"/>
                <a:gd name="T65" fmla="*/ 41 h 82"/>
                <a:gd name="T66" fmla="*/ 25 w 116"/>
                <a:gd name="T67" fmla="*/ 41 h 82"/>
                <a:gd name="T68" fmla="*/ 16 w 116"/>
                <a:gd name="T69" fmla="*/ 56 h 82"/>
                <a:gd name="T70" fmla="*/ 20 w 116"/>
                <a:gd name="T71" fmla="*/ 48 h 82"/>
                <a:gd name="T72" fmla="*/ 43 w 116"/>
                <a:gd name="T73" fmla="*/ 73 h 82"/>
                <a:gd name="T74" fmla="*/ 37 w 116"/>
                <a:gd name="T75" fmla="*/ 77 h 82"/>
                <a:gd name="T76" fmla="*/ 32 w 116"/>
                <a:gd name="T77" fmla="*/ 74 h 82"/>
                <a:gd name="T78" fmla="*/ 42 w 116"/>
                <a:gd name="T79" fmla="*/ 70 h 82"/>
                <a:gd name="T80" fmla="*/ 55 w 116"/>
                <a:gd name="T81" fmla="*/ 64 h 82"/>
                <a:gd name="T82" fmla="*/ 23 w 116"/>
                <a:gd name="T83" fmla="*/ 55 h 82"/>
                <a:gd name="T84" fmla="*/ 33 w 116"/>
                <a:gd name="T85" fmla="*/ 48 h 82"/>
                <a:gd name="T86" fmla="*/ 54 w 116"/>
                <a:gd name="T87" fmla="*/ 60 h 82"/>
                <a:gd name="T88" fmla="*/ 97 w 116"/>
                <a:gd name="T89" fmla="*/ 34 h 82"/>
                <a:gd name="T90" fmla="*/ 97 w 116"/>
                <a:gd name="T91" fmla="*/ 42 h 82"/>
                <a:gd name="T92" fmla="*/ 90 w 116"/>
                <a:gd name="T93" fmla="*/ 35 h 82"/>
                <a:gd name="T94" fmla="*/ 87 w 116"/>
                <a:gd name="T95" fmla="*/ 63 h 82"/>
                <a:gd name="T96" fmla="*/ 91 w 116"/>
                <a:gd name="T97" fmla="*/ 51 h 82"/>
                <a:gd name="T98" fmla="*/ 104 w 116"/>
                <a:gd name="T99" fmla="*/ 47 h 82"/>
                <a:gd name="T100" fmla="*/ 105 w 116"/>
                <a:gd name="T101" fmla="*/ 54 h 82"/>
                <a:gd name="T102" fmla="*/ 109 w 116"/>
                <a:gd name="T103" fmla="*/ 73 h 82"/>
                <a:gd name="T104" fmla="*/ 103 w 116"/>
                <a:gd name="T105" fmla="*/ 77 h 82"/>
                <a:gd name="T106" fmla="*/ 97 w 116"/>
                <a:gd name="T107" fmla="*/ 73 h 82"/>
                <a:gd name="T108" fmla="*/ 98 w 116"/>
                <a:gd name="T109" fmla="*/ 66 h 82"/>
                <a:gd name="T110" fmla="*/ 105 w 116"/>
                <a:gd name="T111" fmla="*/ 63 h 82"/>
                <a:gd name="T112" fmla="*/ 110 w 116"/>
                <a:gd name="T113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82">
                  <a:moveTo>
                    <a:pt x="116" y="70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3"/>
                    <a:pt x="116" y="53"/>
                    <a:pt x="116" y="53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2" y="43"/>
                    <a:pt x="101" y="43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9" y="30"/>
                    <a:pt x="88" y="30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1" y="32"/>
                    <a:pt x="31" y="3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7" y="20"/>
                    <a:pt x="27" y="19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1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5" y="70"/>
                    <a:pt x="25" y="71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1" y="66"/>
                    <a:pt x="91" y="66"/>
                    <a:pt x="91" y="67"/>
                  </a:cubicBezTo>
                  <a:cubicBezTo>
                    <a:pt x="91" y="67"/>
                    <a:pt x="92" y="67"/>
                    <a:pt x="92" y="67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6" y="82"/>
                    <a:pt x="106" y="82"/>
                    <a:pt x="106" y="82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3" y="78"/>
                    <a:pt x="113" y="78"/>
                    <a:pt x="113" y="78"/>
                  </a:cubicBezTo>
                  <a:cubicBezTo>
                    <a:pt x="115" y="75"/>
                    <a:pt x="115" y="75"/>
                    <a:pt x="115" y="75"/>
                  </a:cubicBezTo>
                  <a:cubicBezTo>
                    <a:pt x="116" y="72"/>
                    <a:pt x="116" y="72"/>
                    <a:pt x="116" y="72"/>
                  </a:cubicBezTo>
                  <a:lnTo>
                    <a:pt x="116" y="70"/>
                  </a:lnTo>
                  <a:close/>
                  <a:moveTo>
                    <a:pt x="31" y="37"/>
                  </a:moveTo>
                  <a:cubicBezTo>
                    <a:pt x="31" y="36"/>
                    <a:pt x="31" y="36"/>
                    <a:pt x="32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2"/>
                    <a:pt x="31" y="41"/>
                  </a:cubicBezTo>
                  <a:lnTo>
                    <a:pt x="31" y="37"/>
                  </a:lnTo>
                  <a:close/>
                  <a:moveTo>
                    <a:pt x="9" y="6"/>
                  </a:moveTo>
                  <a:cubicBezTo>
                    <a:pt x="9" y="6"/>
                    <a:pt x="10" y="5"/>
                    <a:pt x="1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2" y="6"/>
                    <a:pt x="22" y="6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0"/>
                    <a:pt x="21" y="20"/>
                    <a:pt x="2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9" y="20"/>
                    <a:pt x="9" y="19"/>
                  </a:cubicBezTo>
                  <a:lnTo>
                    <a:pt x="9" y="6"/>
                  </a:lnTo>
                  <a:close/>
                  <a:moveTo>
                    <a:pt x="6" y="4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6"/>
                    <a:pt x="6" y="26"/>
                    <a:pt x="7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5" y="26"/>
                    <a:pt x="25" y="26"/>
                    <a:pt x="25" y="27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1"/>
                  </a:cubicBezTo>
                  <a:close/>
                  <a:moveTo>
                    <a:pt x="16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8"/>
                    <a:pt x="10" y="48"/>
                    <a:pt x="11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1" y="48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6"/>
                    <a:pt x="16" y="56"/>
                  </a:cubicBezTo>
                  <a:close/>
                  <a:moveTo>
                    <a:pt x="43" y="73"/>
                  </a:moveTo>
                  <a:cubicBezTo>
                    <a:pt x="43" y="73"/>
                    <a:pt x="43" y="73"/>
                    <a:pt x="43" y="74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1"/>
                    <a:pt x="44" y="71"/>
                    <a:pt x="43" y="71"/>
                  </a:cubicBezTo>
                  <a:lnTo>
                    <a:pt x="43" y="73"/>
                  </a:lnTo>
                  <a:close/>
                  <a:moveTo>
                    <a:pt x="55" y="64"/>
                  </a:moveTo>
                  <a:cubicBezTo>
                    <a:pt x="55" y="64"/>
                    <a:pt x="55" y="64"/>
                    <a:pt x="55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0" y="63"/>
                    <a:pt x="20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48"/>
                    <a:pt x="53" y="48"/>
                    <a:pt x="53" y="49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6" y="63"/>
                    <a:pt x="56" y="64"/>
                    <a:pt x="55" y="64"/>
                  </a:cubicBezTo>
                  <a:close/>
                  <a:moveTo>
                    <a:pt x="90" y="35"/>
                  </a:moveTo>
                  <a:cubicBezTo>
                    <a:pt x="90" y="34"/>
                    <a:pt x="91" y="34"/>
                    <a:pt x="91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8" y="35"/>
                    <a:pt x="98" y="35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1"/>
                    <a:pt x="91" y="41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lose/>
                  <a:moveTo>
                    <a:pt x="92" y="62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1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5"/>
                    <a:pt x="93" y="45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2"/>
                  </a:cubicBezTo>
                  <a:cubicBezTo>
                    <a:pt x="110" y="52"/>
                    <a:pt x="110" y="52"/>
                    <a:pt x="109" y="53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95" y="61"/>
                    <a:pt x="95" y="61"/>
                    <a:pt x="95" y="61"/>
                  </a:cubicBezTo>
                  <a:lnTo>
                    <a:pt x="92" y="62"/>
                  </a:lnTo>
                  <a:close/>
                  <a:moveTo>
                    <a:pt x="110" y="71"/>
                  </a:moveTo>
                  <a:cubicBezTo>
                    <a:pt x="109" y="73"/>
                    <a:pt x="109" y="73"/>
                    <a:pt x="109" y="73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4" y="77"/>
                    <a:pt x="104" y="77"/>
                    <a:pt x="104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00" y="76"/>
                    <a:pt x="100" y="76"/>
                    <a:pt x="100" y="76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6" y="64"/>
                    <a:pt x="106" y="64"/>
                    <a:pt x="106" y="64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0" y="69"/>
                    <a:pt x="110" y="69"/>
                    <a:pt x="110" y="69"/>
                  </a:cubicBezTo>
                  <a:cubicBezTo>
                    <a:pt x="110" y="70"/>
                    <a:pt x="110" y="70"/>
                    <a:pt x="110" y="70"/>
                  </a:cubicBezTo>
                  <a:lnTo>
                    <a:pt x="110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9" name="Group 240">
            <a:extLst>
              <a:ext uri="{FF2B5EF4-FFF2-40B4-BE49-F238E27FC236}">
                <a16:creationId xmlns:a16="http://schemas.microsoft.com/office/drawing/2014/main" id="{E5E0C505-49C7-4EC4-9244-9780E0223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2866" y="4150520"/>
            <a:ext cx="758825" cy="760412"/>
            <a:chOff x="2171" y="2743"/>
            <a:chExt cx="478" cy="479"/>
          </a:xfrm>
        </p:grpSpPr>
        <p:sp>
          <p:nvSpPr>
            <p:cNvPr id="270" name="AutoShape 239">
              <a:extLst>
                <a:ext uri="{FF2B5EF4-FFF2-40B4-BE49-F238E27FC236}">
                  <a16:creationId xmlns:a16="http://schemas.microsoft.com/office/drawing/2014/main" id="{6223FDA6-BFEE-4AB1-A330-9DC11D757F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71" y="2743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41">
              <a:extLst>
                <a:ext uri="{FF2B5EF4-FFF2-40B4-BE49-F238E27FC236}">
                  <a16:creationId xmlns:a16="http://schemas.microsoft.com/office/drawing/2014/main" id="{F85BE895-AE5F-4A02-A13C-80C680C517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3" y="2745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42">
              <a:extLst>
                <a:ext uri="{FF2B5EF4-FFF2-40B4-BE49-F238E27FC236}">
                  <a16:creationId xmlns:a16="http://schemas.microsoft.com/office/drawing/2014/main" id="{0EFE3DE6-797B-40B7-95DA-8FACBCE38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" y="2834"/>
              <a:ext cx="20" cy="20"/>
            </a:xfrm>
            <a:custGeom>
              <a:avLst/>
              <a:gdLst>
                <a:gd name="T0" fmla="*/ 0 w 20"/>
                <a:gd name="T1" fmla="*/ 2 h 20"/>
                <a:gd name="T2" fmla="*/ 0 w 20"/>
                <a:gd name="T3" fmla="*/ 5 h 20"/>
                <a:gd name="T4" fmla="*/ 0 w 20"/>
                <a:gd name="T5" fmla="*/ 7 h 20"/>
                <a:gd name="T6" fmla="*/ 0 w 20"/>
                <a:gd name="T7" fmla="*/ 7 h 20"/>
                <a:gd name="T8" fmla="*/ 13 w 20"/>
                <a:gd name="T9" fmla="*/ 20 h 20"/>
                <a:gd name="T10" fmla="*/ 15 w 20"/>
                <a:gd name="T11" fmla="*/ 20 h 20"/>
                <a:gd name="T12" fmla="*/ 18 w 20"/>
                <a:gd name="T13" fmla="*/ 20 h 20"/>
                <a:gd name="T14" fmla="*/ 20 w 20"/>
                <a:gd name="T15" fmla="*/ 17 h 20"/>
                <a:gd name="T16" fmla="*/ 20 w 20"/>
                <a:gd name="T17" fmla="*/ 15 h 20"/>
                <a:gd name="T18" fmla="*/ 20 w 20"/>
                <a:gd name="T19" fmla="*/ 15 h 20"/>
                <a:gd name="T20" fmla="*/ 20 w 20"/>
                <a:gd name="T21" fmla="*/ 15 h 20"/>
                <a:gd name="T22" fmla="*/ 20 w 20"/>
                <a:gd name="T23" fmla="*/ 12 h 20"/>
                <a:gd name="T24" fmla="*/ 18 w 20"/>
                <a:gd name="T25" fmla="*/ 10 h 20"/>
                <a:gd name="T26" fmla="*/ 5 w 20"/>
                <a:gd name="T27" fmla="*/ 0 h 20"/>
                <a:gd name="T28" fmla="*/ 5 w 20"/>
                <a:gd name="T29" fmla="*/ 0 h 20"/>
                <a:gd name="T30" fmla="*/ 5 w 20"/>
                <a:gd name="T31" fmla="*/ 0 h 20"/>
                <a:gd name="T32" fmla="*/ 0 w 20"/>
                <a:gd name="T33" fmla="*/ 0 h 20"/>
                <a:gd name="T34" fmla="*/ 0 w 20"/>
                <a:gd name="T35" fmla="*/ 2 h 20"/>
                <a:gd name="T36" fmla="*/ 0 w 20"/>
                <a:gd name="T3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0">
                  <a:moveTo>
                    <a:pt x="0" y="2"/>
                  </a:move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2"/>
                  </a:lnTo>
                  <a:lnTo>
                    <a:pt x="18" y="1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43">
              <a:extLst>
                <a:ext uri="{FF2B5EF4-FFF2-40B4-BE49-F238E27FC236}">
                  <a16:creationId xmlns:a16="http://schemas.microsoft.com/office/drawing/2014/main" id="{2CC15879-8DE6-48A3-A21F-8722CD4DE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" y="2871"/>
              <a:ext cx="24" cy="10"/>
            </a:xfrm>
            <a:custGeom>
              <a:avLst/>
              <a:gdLst>
                <a:gd name="T0" fmla="*/ 0 w 24"/>
                <a:gd name="T1" fmla="*/ 5 h 10"/>
                <a:gd name="T2" fmla="*/ 0 w 24"/>
                <a:gd name="T3" fmla="*/ 7 h 10"/>
                <a:gd name="T4" fmla="*/ 2 w 24"/>
                <a:gd name="T5" fmla="*/ 10 h 10"/>
                <a:gd name="T6" fmla="*/ 2 w 24"/>
                <a:gd name="T7" fmla="*/ 10 h 10"/>
                <a:gd name="T8" fmla="*/ 5 w 24"/>
                <a:gd name="T9" fmla="*/ 10 h 10"/>
                <a:gd name="T10" fmla="*/ 22 w 24"/>
                <a:gd name="T11" fmla="*/ 10 h 10"/>
                <a:gd name="T12" fmla="*/ 22 w 24"/>
                <a:gd name="T13" fmla="*/ 7 h 10"/>
                <a:gd name="T14" fmla="*/ 24 w 24"/>
                <a:gd name="T15" fmla="*/ 5 h 10"/>
                <a:gd name="T16" fmla="*/ 22 w 24"/>
                <a:gd name="T17" fmla="*/ 0 h 10"/>
                <a:gd name="T18" fmla="*/ 19 w 24"/>
                <a:gd name="T19" fmla="*/ 0 h 10"/>
                <a:gd name="T20" fmla="*/ 19 w 24"/>
                <a:gd name="T21" fmla="*/ 0 h 10"/>
                <a:gd name="T22" fmla="*/ 19 w 24"/>
                <a:gd name="T23" fmla="*/ 0 h 10"/>
                <a:gd name="T24" fmla="*/ 2 w 24"/>
                <a:gd name="T25" fmla="*/ 0 h 10"/>
                <a:gd name="T26" fmla="*/ 0 w 24"/>
                <a:gd name="T27" fmla="*/ 0 h 10"/>
                <a:gd name="T28" fmla="*/ 0 w 24"/>
                <a:gd name="T29" fmla="*/ 5 h 10"/>
                <a:gd name="T30" fmla="*/ 0 w 24"/>
                <a:gd name="T3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0">
                  <a:moveTo>
                    <a:pt x="0" y="5"/>
                  </a:moveTo>
                  <a:lnTo>
                    <a:pt x="0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4">
              <a:extLst>
                <a:ext uri="{FF2B5EF4-FFF2-40B4-BE49-F238E27FC236}">
                  <a16:creationId xmlns:a16="http://schemas.microsoft.com/office/drawing/2014/main" id="{8F4CC895-8EAC-40E8-B3AC-1A1961AC6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" y="2937"/>
              <a:ext cx="54" cy="57"/>
            </a:xfrm>
            <a:custGeom>
              <a:avLst/>
              <a:gdLst>
                <a:gd name="T0" fmla="*/ 34 w 54"/>
                <a:gd name="T1" fmla="*/ 57 h 57"/>
                <a:gd name="T2" fmla="*/ 34 w 54"/>
                <a:gd name="T3" fmla="*/ 37 h 57"/>
                <a:gd name="T4" fmla="*/ 54 w 54"/>
                <a:gd name="T5" fmla="*/ 37 h 57"/>
                <a:gd name="T6" fmla="*/ 54 w 54"/>
                <a:gd name="T7" fmla="*/ 22 h 57"/>
                <a:gd name="T8" fmla="*/ 34 w 54"/>
                <a:gd name="T9" fmla="*/ 22 h 57"/>
                <a:gd name="T10" fmla="*/ 34 w 54"/>
                <a:gd name="T11" fmla="*/ 0 h 57"/>
                <a:gd name="T12" fmla="*/ 19 w 54"/>
                <a:gd name="T13" fmla="*/ 0 h 57"/>
                <a:gd name="T14" fmla="*/ 19 w 54"/>
                <a:gd name="T15" fmla="*/ 22 h 57"/>
                <a:gd name="T16" fmla="*/ 0 w 54"/>
                <a:gd name="T17" fmla="*/ 22 h 57"/>
                <a:gd name="T18" fmla="*/ 0 w 54"/>
                <a:gd name="T19" fmla="*/ 37 h 57"/>
                <a:gd name="T20" fmla="*/ 19 w 54"/>
                <a:gd name="T21" fmla="*/ 37 h 57"/>
                <a:gd name="T22" fmla="*/ 19 w 54"/>
                <a:gd name="T23" fmla="*/ 57 h 57"/>
                <a:gd name="T24" fmla="*/ 34 w 54"/>
                <a:gd name="T2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57">
                  <a:moveTo>
                    <a:pt x="34" y="57"/>
                  </a:moveTo>
                  <a:lnTo>
                    <a:pt x="34" y="37"/>
                  </a:lnTo>
                  <a:lnTo>
                    <a:pt x="54" y="37"/>
                  </a:lnTo>
                  <a:lnTo>
                    <a:pt x="54" y="22"/>
                  </a:lnTo>
                  <a:lnTo>
                    <a:pt x="34" y="22"/>
                  </a:lnTo>
                  <a:lnTo>
                    <a:pt x="34" y="0"/>
                  </a:lnTo>
                  <a:lnTo>
                    <a:pt x="19" y="0"/>
                  </a:lnTo>
                  <a:lnTo>
                    <a:pt x="19" y="22"/>
                  </a:lnTo>
                  <a:lnTo>
                    <a:pt x="0" y="22"/>
                  </a:lnTo>
                  <a:lnTo>
                    <a:pt x="0" y="37"/>
                  </a:lnTo>
                  <a:lnTo>
                    <a:pt x="19" y="37"/>
                  </a:lnTo>
                  <a:lnTo>
                    <a:pt x="19" y="57"/>
                  </a:lnTo>
                  <a:lnTo>
                    <a:pt x="34" y="5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45">
              <a:extLst>
                <a:ext uri="{FF2B5EF4-FFF2-40B4-BE49-F238E27FC236}">
                  <a16:creationId xmlns:a16="http://schemas.microsoft.com/office/drawing/2014/main" id="{CCB86C81-7D52-4863-8A65-C6A155C04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" y="2817"/>
              <a:ext cx="9" cy="24"/>
            </a:xfrm>
            <a:custGeom>
              <a:avLst/>
              <a:gdLst>
                <a:gd name="T0" fmla="*/ 0 w 9"/>
                <a:gd name="T1" fmla="*/ 5 h 24"/>
                <a:gd name="T2" fmla="*/ 0 w 9"/>
                <a:gd name="T3" fmla="*/ 5 h 24"/>
                <a:gd name="T4" fmla="*/ 0 w 9"/>
                <a:gd name="T5" fmla="*/ 5 h 24"/>
                <a:gd name="T6" fmla="*/ 0 w 9"/>
                <a:gd name="T7" fmla="*/ 22 h 24"/>
                <a:gd name="T8" fmla="*/ 2 w 9"/>
                <a:gd name="T9" fmla="*/ 24 h 24"/>
                <a:gd name="T10" fmla="*/ 4 w 9"/>
                <a:gd name="T11" fmla="*/ 24 h 24"/>
                <a:gd name="T12" fmla="*/ 7 w 9"/>
                <a:gd name="T13" fmla="*/ 24 h 24"/>
                <a:gd name="T14" fmla="*/ 9 w 9"/>
                <a:gd name="T15" fmla="*/ 22 h 24"/>
                <a:gd name="T16" fmla="*/ 9 w 9"/>
                <a:gd name="T17" fmla="*/ 19 h 24"/>
                <a:gd name="T18" fmla="*/ 9 w 9"/>
                <a:gd name="T19" fmla="*/ 19 h 24"/>
                <a:gd name="T20" fmla="*/ 9 w 9"/>
                <a:gd name="T21" fmla="*/ 2 h 24"/>
                <a:gd name="T22" fmla="*/ 7 w 9"/>
                <a:gd name="T23" fmla="*/ 2 h 24"/>
                <a:gd name="T24" fmla="*/ 4 w 9"/>
                <a:gd name="T25" fmla="*/ 0 h 24"/>
                <a:gd name="T26" fmla="*/ 2 w 9"/>
                <a:gd name="T27" fmla="*/ 2 h 24"/>
                <a:gd name="T28" fmla="*/ 0 w 9"/>
                <a:gd name="T29" fmla="*/ 2 h 24"/>
                <a:gd name="T30" fmla="*/ 0 w 9"/>
                <a:gd name="T3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24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9" y="22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"/>
                  </a:lnTo>
                  <a:lnTo>
                    <a:pt x="7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46">
              <a:extLst>
                <a:ext uri="{FF2B5EF4-FFF2-40B4-BE49-F238E27FC236}">
                  <a16:creationId xmlns:a16="http://schemas.microsoft.com/office/drawing/2014/main" id="{9677D664-EEC5-4274-9F4A-70442911A2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4" y="2863"/>
              <a:ext cx="294" cy="248"/>
            </a:xfrm>
            <a:custGeom>
              <a:avLst/>
              <a:gdLst>
                <a:gd name="T0" fmla="*/ 292 w 294"/>
                <a:gd name="T1" fmla="*/ 150 h 248"/>
                <a:gd name="T2" fmla="*/ 267 w 294"/>
                <a:gd name="T3" fmla="*/ 123 h 248"/>
                <a:gd name="T4" fmla="*/ 201 w 294"/>
                <a:gd name="T5" fmla="*/ 42 h 248"/>
                <a:gd name="T6" fmla="*/ 182 w 294"/>
                <a:gd name="T7" fmla="*/ 37 h 248"/>
                <a:gd name="T8" fmla="*/ 172 w 294"/>
                <a:gd name="T9" fmla="*/ 0 h 248"/>
                <a:gd name="T10" fmla="*/ 137 w 294"/>
                <a:gd name="T11" fmla="*/ 37 h 248"/>
                <a:gd name="T12" fmla="*/ 15 w 294"/>
                <a:gd name="T13" fmla="*/ 42 h 248"/>
                <a:gd name="T14" fmla="*/ 3 w 294"/>
                <a:gd name="T15" fmla="*/ 219 h 248"/>
                <a:gd name="T16" fmla="*/ 49 w 294"/>
                <a:gd name="T17" fmla="*/ 221 h 248"/>
                <a:gd name="T18" fmla="*/ 69 w 294"/>
                <a:gd name="T19" fmla="*/ 246 h 248"/>
                <a:gd name="T20" fmla="*/ 93 w 294"/>
                <a:gd name="T21" fmla="*/ 244 h 248"/>
                <a:gd name="T22" fmla="*/ 108 w 294"/>
                <a:gd name="T23" fmla="*/ 224 h 248"/>
                <a:gd name="T24" fmla="*/ 216 w 294"/>
                <a:gd name="T25" fmla="*/ 244 h 248"/>
                <a:gd name="T26" fmla="*/ 235 w 294"/>
                <a:gd name="T27" fmla="*/ 246 h 248"/>
                <a:gd name="T28" fmla="*/ 258 w 294"/>
                <a:gd name="T29" fmla="*/ 226 h 248"/>
                <a:gd name="T30" fmla="*/ 294 w 294"/>
                <a:gd name="T31" fmla="*/ 217 h 248"/>
                <a:gd name="T32" fmla="*/ 179 w 294"/>
                <a:gd name="T33" fmla="*/ 84 h 248"/>
                <a:gd name="T34" fmla="*/ 172 w 294"/>
                <a:gd name="T35" fmla="*/ 37 h 248"/>
                <a:gd name="T36" fmla="*/ 27 w 294"/>
                <a:gd name="T37" fmla="*/ 52 h 248"/>
                <a:gd name="T38" fmla="*/ 191 w 294"/>
                <a:gd name="T39" fmla="*/ 57 h 248"/>
                <a:gd name="T40" fmla="*/ 174 w 294"/>
                <a:gd name="T41" fmla="*/ 74 h 248"/>
                <a:gd name="T42" fmla="*/ 172 w 294"/>
                <a:gd name="T43" fmla="*/ 128 h 248"/>
                <a:gd name="T44" fmla="*/ 258 w 294"/>
                <a:gd name="T45" fmla="*/ 135 h 248"/>
                <a:gd name="T46" fmla="*/ 15 w 294"/>
                <a:gd name="T47" fmla="*/ 150 h 248"/>
                <a:gd name="T48" fmla="*/ 91 w 294"/>
                <a:gd name="T49" fmla="*/ 226 h 248"/>
                <a:gd name="T50" fmla="*/ 79 w 294"/>
                <a:gd name="T51" fmla="*/ 234 h 248"/>
                <a:gd name="T52" fmla="*/ 66 w 294"/>
                <a:gd name="T53" fmla="*/ 226 h 248"/>
                <a:gd name="T54" fmla="*/ 64 w 294"/>
                <a:gd name="T55" fmla="*/ 217 h 248"/>
                <a:gd name="T56" fmla="*/ 69 w 294"/>
                <a:gd name="T57" fmla="*/ 204 h 248"/>
                <a:gd name="T58" fmla="*/ 81 w 294"/>
                <a:gd name="T59" fmla="*/ 199 h 248"/>
                <a:gd name="T60" fmla="*/ 93 w 294"/>
                <a:gd name="T61" fmla="*/ 209 h 248"/>
                <a:gd name="T62" fmla="*/ 96 w 294"/>
                <a:gd name="T63" fmla="*/ 219 h 248"/>
                <a:gd name="T64" fmla="*/ 238 w 294"/>
                <a:gd name="T65" fmla="*/ 229 h 248"/>
                <a:gd name="T66" fmla="*/ 226 w 294"/>
                <a:gd name="T67" fmla="*/ 231 h 248"/>
                <a:gd name="T68" fmla="*/ 213 w 294"/>
                <a:gd name="T69" fmla="*/ 224 h 248"/>
                <a:gd name="T70" fmla="*/ 213 w 294"/>
                <a:gd name="T71" fmla="*/ 214 h 248"/>
                <a:gd name="T72" fmla="*/ 223 w 294"/>
                <a:gd name="T73" fmla="*/ 202 h 248"/>
                <a:gd name="T74" fmla="*/ 235 w 294"/>
                <a:gd name="T75" fmla="*/ 202 h 248"/>
                <a:gd name="T76" fmla="*/ 245 w 294"/>
                <a:gd name="T77" fmla="*/ 214 h 248"/>
                <a:gd name="T78" fmla="*/ 275 w 294"/>
                <a:gd name="T79" fmla="*/ 177 h 248"/>
                <a:gd name="T80" fmla="*/ 270 w 294"/>
                <a:gd name="T81" fmla="*/ 187 h 248"/>
                <a:gd name="T82" fmla="*/ 280 w 294"/>
                <a:gd name="T83" fmla="*/ 207 h 248"/>
                <a:gd name="T84" fmla="*/ 245 w 294"/>
                <a:gd name="T85" fmla="*/ 190 h 248"/>
                <a:gd name="T86" fmla="*/ 223 w 294"/>
                <a:gd name="T87" fmla="*/ 185 h 248"/>
                <a:gd name="T88" fmla="*/ 199 w 294"/>
                <a:gd name="T89" fmla="*/ 209 h 248"/>
                <a:gd name="T90" fmla="*/ 96 w 294"/>
                <a:gd name="T91" fmla="*/ 190 h 248"/>
                <a:gd name="T92" fmla="*/ 74 w 294"/>
                <a:gd name="T93" fmla="*/ 185 h 248"/>
                <a:gd name="T94" fmla="*/ 49 w 294"/>
                <a:gd name="T95" fmla="*/ 204 h 248"/>
                <a:gd name="T96" fmla="*/ 280 w 294"/>
                <a:gd name="T97" fmla="*/ 16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4" h="248">
                  <a:moveTo>
                    <a:pt x="294" y="217"/>
                  </a:moveTo>
                  <a:lnTo>
                    <a:pt x="294" y="214"/>
                  </a:lnTo>
                  <a:lnTo>
                    <a:pt x="294" y="158"/>
                  </a:lnTo>
                  <a:lnTo>
                    <a:pt x="292" y="150"/>
                  </a:lnTo>
                  <a:lnTo>
                    <a:pt x="289" y="145"/>
                  </a:lnTo>
                  <a:lnTo>
                    <a:pt x="282" y="135"/>
                  </a:lnTo>
                  <a:lnTo>
                    <a:pt x="277" y="131"/>
                  </a:lnTo>
                  <a:lnTo>
                    <a:pt x="267" y="123"/>
                  </a:lnTo>
                  <a:lnTo>
                    <a:pt x="258" y="118"/>
                  </a:lnTo>
                  <a:lnTo>
                    <a:pt x="211" y="54"/>
                  </a:lnTo>
                  <a:lnTo>
                    <a:pt x="206" y="47"/>
                  </a:lnTo>
                  <a:lnTo>
                    <a:pt x="201" y="42"/>
                  </a:lnTo>
                  <a:lnTo>
                    <a:pt x="196" y="40"/>
                  </a:lnTo>
                  <a:lnTo>
                    <a:pt x="191" y="40"/>
                  </a:lnTo>
                  <a:lnTo>
                    <a:pt x="186" y="37"/>
                  </a:lnTo>
                  <a:lnTo>
                    <a:pt x="182" y="37"/>
                  </a:lnTo>
                  <a:lnTo>
                    <a:pt x="174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47" y="0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3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5" y="40"/>
                  </a:lnTo>
                  <a:lnTo>
                    <a:pt x="15" y="42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0" y="217"/>
                  </a:lnTo>
                  <a:lnTo>
                    <a:pt x="3" y="219"/>
                  </a:lnTo>
                  <a:lnTo>
                    <a:pt x="5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49" y="221"/>
                  </a:lnTo>
                  <a:lnTo>
                    <a:pt x="52" y="231"/>
                  </a:lnTo>
                  <a:lnTo>
                    <a:pt x="57" y="239"/>
                  </a:lnTo>
                  <a:lnTo>
                    <a:pt x="64" y="244"/>
                  </a:lnTo>
                  <a:lnTo>
                    <a:pt x="69" y="246"/>
                  </a:lnTo>
                  <a:lnTo>
                    <a:pt x="76" y="248"/>
                  </a:lnTo>
                  <a:lnTo>
                    <a:pt x="79" y="248"/>
                  </a:lnTo>
                  <a:lnTo>
                    <a:pt x="86" y="246"/>
                  </a:lnTo>
                  <a:lnTo>
                    <a:pt x="93" y="244"/>
                  </a:lnTo>
                  <a:lnTo>
                    <a:pt x="98" y="241"/>
                  </a:lnTo>
                  <a:lnTo>
                    <a:pt x="103" y="236"/>
                  </a:lnTo>
                  <a:lnTo>
                    <a:pt x="106" y="231"/>
                  </a:lnTo>
                  <a:lnTo>
                    <a:pt x="108" y="224"/>
                  </a:lnTo>
                  <a:lnTo>
                    <a:pt x="199" y="224"/>
                  </a:lnTo>
                  <a:lnTo>
                    <a:pt x="201" y="234"/>
                  </a:lnTo>
                  <a:lnTo>
                    <a:pt x="209" y="241"/>
                  </a:lnTo>
                  <a:lnTo>
                    <a:pt x="216" y="244"/>
                  </a:lnTo>
                  <a:lnTo>
                    <a:pt x="221" y="246"/>
                  </a:lnTo>
                  <a:lnTo>
                    <a:pt x="226" y="248"/>
                  </a:lnTo>
                  <a:lnTo>
                    <a:pt x="228" y="248"/>
                  </a:lnTo>
                  <a:lnTo>
                    <a:pt x="235" y="246"/>
                  </a:lnTo>
                  <a:lnTo>
                    <a:pt x="245" y="244"/>
                  </a:lnTo>
                  <a:lnTo>
                    <a:pt x="250" y="239"/>
                  </a:lnTo>
                  <a:lnTo>
                    <a:pt x="255" y="231"/>
                  </a:lnTo>
                  <a:lnTo>
                    <a:pt x="258" y="226"/>
                  </a:lnTo>
                  <a:lnTo>
                    <a:pt x="260" y="221"/>
                  </a:lnTo>
                  <a:lnTo>
                    <a:pt x="289" y="221"/>
                  </a:lnTo>
                  <a:lnTo>
                    <a:pt x="292" y="219"/>
                  </a:lnTo>
                  <a:lnTo>
                    <a:pt x="294" y="217"/>
                  </a:lnTo>
                  <a:close/>
                  <a:moveTo>
                    <a:pt x="216" y="84"/>
                  </a:moveTo>
                  <a:lnTo>
                    <a:pt x="243" y="121"/>
                  </a:lnTo>
                  <a:lnTo>
                    <a:pt x="179" y="121"/>
                  </a:lnTo>
                  <a:lnTo>
                    <a:pt x="179" y="84"/>
                  </a:lnTo>
                  <a:lnTo>
                    <a:pt x="216" y="84"/>
                  </a:lnTo>
                  <a:close/>
                  <a:moveTo>
                    <a:pt x="152" y="10"/>
                  </a:moveTo>
                  <a:lnTo>
                    <a:pt x="167" y="10"/>
                  </a:lnTo>
                  <a:lnTo>
                    <a:pt x="172" y="37"/>
                  </a:lnTo>
                  <a:lnTo>
                    <a:pt x="147" y="37"/>
                  </a:lnTo>
                  <a:lnTo>
                    <a:pt x="152" y="10"/>
                  </a:lnTo>
                  <a:close/>
                  <a:moveTo>
                    <a:pt x="15" y="128"/>
                  </a:moveTo>
                  <a:lnTo>
                    <a:pt x="27" y="52"/>
                  </a:lnTo>
                  <a:lnTo>
                    <a:pt x="179" y="52"/>
                  </a:lnTo>
                  <a:lnTo>
                    <a:pt x="184" y="52"/>
                  </a:lnTo>
                  <a:lnTo>
                    <a:pt x="189" y="54"/>
                  </a:lnTo>
                  <a:lnTo>
                    <a:pt x="191" y="57"/>
                  </a:lnTo>
                  <a:lnTo>
                    <a:pt x="196" y="59"/>
                  </a:lnTo>
                  <a:lnTo>
                    <a:pt x="204" y="69"/>
                  </a:lnTo>
                  <a:lnTo>
                    <a:pt x="209" y="74"/>
                  </a:lnTo>
                  <a:lnTo>
                    <a:pt x="174" y="74"/>
                  </a:lnTo>
                  <a:lnTo>
                    <a:pt x="172" y="77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72" y="128"/>
                  </a:lnTo>
                  <a:lnTo>
                    <a:pt x="172" y="131"/>
                  </a:lnTo>
                  <a:lnTo>
                    <a:pt x="174" y="133"/>
                  </a:lnTo>
                  <a:lnTo>
                    <a:pt x="250" y="133"/>
                  </a:lnTo>
                  <a:lnTo>
                    <a:pt x="258" y="135"/>
                  </a:lnTo>
                  <a:lnTo>
                    <a:pt x="267" y="140"/>
                  </a:lnTo>
                  <a:lnTo>
                    <a:pt x="272" y="145"/>
                  </a:lnTo>
                  <a:lnTo>
                    <a:pt x="275" y="150"/>
                  </a:lnTo>
                  <a:lnTo>
                    <a:pt x="15" y="150"/>
                  </a:lnTo>
                  <a:lnTo>
                    <a:pt x="15" y="128"/>
                  </a:lnTo>
                  <a:close/>
                  <a:moveTo>
                    <a:pt x="96" y="219"/>
                  </a:moveTo>
                  <a:lnTo>
                    <a:pt x="93" y="221"/>
                  </a:lnTo>
                  <a:lnTo>
                    <a:pt x="91" y="226"/>
                  </a:lnTo>
                  <a:lnTo>
                    <a:pt x="88" y="229"/>
                  </a:lnTo>
                  <a:lnTo>
                    <a:pt x="86" y="231"/>
                  </a:lnTo>
                  <a:lnTo>
                    <a:pt x="81" y="231"/>
                  </a:lnTo>
                  <a:lnTo>
                    <a:pt x="79" y="234"/>
                  </a:lnTo>
                  <a:lnTo>
                    <a:pt x="76" y="231"/>
                  </a:lnTo>
                  <a:lnTo>
                    <a:pt x="74" y="231"/>
                  </a:lnTo>
                  <a:lnTo>
                    <a:pt x="69" y="229"/>
                  </a:lnTo>
                  <a:lnTo>
                    <a:pt x="66" y="226"/>
                  </a:lnTo>
                  <a:lnTo>
                    <a:pt x="64" y="224"/>
                  </a:lnTo>
                  <a:lnTo>
                    <a:pt x="64" y="221"/>
                  </a:lnTo>
                  <a:lnTo>
                    <a:pt x="64" y="219"/>
                  </a:lnTo>
                  <a:lnTo>
                    <a:pt x="64" y="217"/>
                  </a:lnTo>
                  <a:lnTo>
                    <a:pt x="64" y="214"/>
                  </a:lnTo>
                  <a:lnTo>
                    <a:pt x="64" y="209"/>
                  </a:lnTo>
                  <a:lnTo>
                    <a:pt x="66" y="207"/>
                  </a:lnTo>
                  <a:lnTo>
                    <a:pt x="69" y="204"/>
                  </a:lnTo>
                  <a:lnTo>
                    <a:pt x="71" y="202"/>
                  </a:lnTo>
                  <a:lnTo>
                    <a:pt x="76" y="199"/>
                  </a:lnTo>
                  <a:lnTo>
                    <a:pt x="79" y="199"/>
                  </a:lnTo>
                  <a:lnTo>
                    <a:pt x="81" y="199"/>
                  </a:lnTo>
                  <a:lnTo>
                    <a:pt x="86" y="202"/>
                  </a:lnTo>
                  <a:lnTo>
                    <a:pt x="88" y="204"/>
                  </a:lnTo>
                  <a:lnTo>
                    <a:pt x="91" y="207"/>
                  </a:lnTo>
                  <a:lnTo>
                    <a:pt x="93" y="209"/>
                  </a:lnTo>
                  <a:lnTo>
                    <a:pt x="93" y="212"/>
                  </a:lnTo>
                  <a:lnTo>
                    <a:pt x="96" y="214"/>
                  </a:lnTo>
                  <a:lnTo>
                    <a:pt x="96" y="217"/>
                  </a:lnTo>
                  <a:lnTo>
                    <a:pt x="96" y="219"/>
                  </a:lnTo>
                  <a:close/>
                  <a:moveTo>
                    <a:pt x="245" y="219"/>
                  </a:moveTo>
                  <a:lnTo>
                    <a:pt x="243" y="224"/>
                  </a:lnTo>
                  <a:lnTo>
                    <a:pt x="240" y="226"/>
                  </a:lnTo>
                  <a:lnTo>
                    <a:pt x="238" y="229"/>
                  </a:lnTo>
                  <a:lnTo>
                    <a:pt x="235" y="231"/>
                  </a:lnTo>
                  <a:lnTo>
                    <a:pt x="231" y="231"/>
                  </a:lnTo>
                  <a:lnTo>
                    <a:pt x="228" y="234"/>
                  </a:lnTo>
                  <a:lnTo>
                    <a:pt x="226" y="231"/>
                  </a:lnTo>
                  <a:lnTo>
                    <a:pt x="223" y="231"/>
                  </a:lnTo>
                  <a:lnTo>
                    <a:pt x="218" y="229"/>
                  </a:lnTo>
                  <a:lnTo>
                    <a:pt x="216" y="226"/>
                  </a:lnTo>
                  <a:lnTo>
                    <a:pt x="213" y="224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3" y="217"/>
                  </a:lnTo>
                  <a:lnTo>
                    <a:pt x="213" y="214"/>
                  </a:lnTo>
                  <a:lnTo>
                    <a:pt x="213" y="209"/>
                  </a:lnTo>
                  <a:lnTo>
                    <a:pt x="216" y="207"/>
                  </a:lnTo>
                  <a:lnTo>
                    <a:pt x="218" y="204"/>
                  </a:lnTo>
                  <a:lnTo>
                    <a:pt x="223" y="202"/>
                  </a:lnTo>
                  <a:lnTo>
                    <a:pt x="226" y="199"/>
                  </a:lnTo>
                  <a:lnTo>
                    <a:pt x="228" y="199"/>
                  </a:lnTo>
                  <a:lnTo>
                    <a:pt x="231" y="199"/>
                  </a:lnTo>
                  <a:lnTo>
                    <a:pt x="235" y="202"/>
                  </a:lnTo>
                  <a:lnTo>
                    <a:pt x="238" y="204"/>
                  </a:lnTo>
                  <a:lnTo>
                    <a:pt x="240" y="207"/>
                  </a:lnTo>
                  <a:lnTo>
                    <a:pt x="243" y="209"/>
                  </a:lnTo>
                  <a:lnTo>
                    <a:pt x="245" y="214"/>
                  </a:lnTo>
                  <a:lnTo>
                    <a:pt x="245" y="217"/>
                  </a:lnTo>
                  <a:lnTo>
                    <a:pt x="245" y="219"/>
                  </a:lnTo>
                  <a:close/>
                  <a:moveTo>
                    <a:pt x="280" y="175"/>
                  </a:moveTo>
                  <a:lnTo>
                    <a:pt x="275" y="177"/>
                  </a:lnTo>
                  <a:lnTo>
                    <a:pt x="272" y="177"/>
                  </a:lnTo>
                  <a:lnTo>
                    <a:pt x="270" y="180"/>
                  </a:lnTo>
                  <a:lnTo>
                    <a:pt x="270" y="185"/>
                  </a:lnTo>
                  <a:lnTo>
                    <a:pt x="270" y="187"/>
                  </a:lnTo>
                  <a:lnTo>
                    <a:pt x="272" y="190"/>
                  </a:lnTo>
                  <a:lnTo>
                    <a:pt x="275" y="192"/>
                  </a:lnTo>
                  <a:lnTo>
                    <a:pt x="280" y="192"/>
                  </a:lnTo>
                  <a:lnTo>
                    <a:pt x="280" y="207"/>
                  </a:lnTo>
                  <a:lnTo>
                    <a:pt x="258" y="207"/>
                  </a:lnTo>
                  <a:lnTo>
                    <a:pt x="255" y="199"/>
                  </a:lnTo>
                  <a:lnTo>
                    <a:pt x="250" y="194"/>
                  </a:lnTo>
                  <a:lnTo>
                    <a:pt x="245" y="190"/>
                  </a:lnTo>
                  <a:lnTo>
                    <a:pt x="238" y="187"/>
                  </a:lnTo>
                  <a:lnTo>
                    <a:pt x="231" y="185"/>
                  </a:lnTo>
                  <a:lnTo>
                    <a:pt x="231" y="185"/>
                  </a:lnTo>
                  <a:lnTo>
                    <a:pt x="223" y="185"/>
                  </a:lnTo>
                  <a:lnTo>
                    <a:pt x="216" y="187"/>
                  </a:lnTo>
                  <a:lnTo>
                    <a:pt x="206" y="194"/>
                  </a:lnTo>
                  <a:lnTo>
                    <a:pt x="201" y="199"/>
                  </a:lnTo>
                  <a:lnTo>
                    <a:pt x="199" y="209"/>
                  </a:lnTo>
                  <a:lnTo>
                    <a:pt x="108" y="209"/>
                  </a:lnTo>
                  <a:lnTo>
                    <a:pt x="106" y="202"/>
                  </a:lnTo>
                  <a:lnTo>
                    <a:pt x="101" y="194"/>
                  </a:lnTo>
                  <a:lnTo>
                    <a:pt x="96" y="190"/>
                  </a:lnTo>
                  <a:lnTo>
                    <a:pt x="91" y="187"/>
                  </a:lnTo>
                  <a:lnTo>
                    <a:pt x="83" y="185"/>
                  </a:lnTo>
                  <a:lnTo>
                    <a:pt x="81" y="185"/>
                  </a:lnTo>
                  <a:lnTo>
                    <a:pt x="74" y="185"/>
                  </a:lnTo>
                  <a:lnTo>
                    <a:pt x="64" y="187"/>
                  </a:lnTo>
                  <a:lnTo>
                    <a:pt x="59" y="192"/>
                  </a:lnTo>
                  <a:lnTo>
                    <a:pt x="54" y="199"/>
                  </a:lnTo>
                  <a:lnTo>
                    <a:pt x="49" y="204"/>
                  </a:lnTo>
                  <a:lnTo>
                    <a:pt x="49" y="207"/>
                  </a:lnTo>
                  <a:lnTo>
                    <a:pt x="15" y="207"/>
                  </a:lnTo>
                  <a:lnTo>
                    <a:pt x="15" y="160"/>
                  </a:lnTo>
                  <a:lnTo>
                    <a:pt x="280" y="160"/>
                  </a:lnTo>
                  <a:lnTo>
                    <a:pt x="280" y="175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47">
              <a:extLst>
                <a:ext uri="{FF2B5EF4-FFF2-40B4-BE49-F238E27FC236}">
                  <a16:creationId xmlns:a16="http://schemas.microsoft.com/office/drawing/2014/main" id="{9045F4E3-F6F5-4C72-920E-9B6E739C9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" y="2871"/>
              <a:ext cx="25" cy="10"/>
            </a:xfrm>
            <a:custGeom>
              <a:avLst/>
              <a:gdLst>
                <a:gd name="T0" fmla="*/ 20 w 25"/>
                <a:gd name="T1" fmla="*/ 0 h 10"/>
                <a:gd name="T2" fmla="*/ 20 w 25"/>
                <a:gd name="T3" fmla="*/ 0 h 10"/>
                <a:gd name="T4" fmla="*/ 20 w 25"/>
                <a:gd name="T5" fmla="*/ 0 h 10"/>
                <a:gd name="T6" fmla="*/ 3 w 25"/>
                <a:gd name="T7" fmla="*/ 0 h 10"/>
                <a:gd name="T8" fmla="*/ 0 w 25"/>
                <a:gd name="T9" fmla="*/ 0 h 10"/>
                <a:gd name="T10" fmla="*/ 0 w 25"/>
                <a:gd name="T11" fmla="*/ 2 h 10"/>
                <a:gd name="T12" fmla="*/ 0 w 25"/>
                <a:gd name="T13" fmla="*/ 2 h 10"/>
                <a:gd name="T14" fmla="*/ 0 w 25"/>
                <a:gd name="T15" fmla="*/ 5 h 10"/>
                <a:gd name="T16" fmla="*/ 0 w 25"/>
                <a:gd name="T17" fmla="*/ 7 h 10"/>
                <a:gd name="T18" fmla="*/ 3 w 25"/>
                <a:gd name="T19" fmla="*/ 10 h 10"/>
                <a:gd name="T20" fmla="*/ 3 w 25"/>
                <a:gd name="T21" fmla="*/ 10 h 10"/>
                <a:gd name="T22" fmla="*/ 3 w 25"/>
                <a:gd name="T23" fmla="*/ 10 h 10"/>
                <a:gd name="T24" fmla="*/ 5 w 25"/>
                <a:gd name="T25" fmla="*/ 10 h 10"/>
                <a:gd name="T26" fmla="*/ 20 w 25"/>
                <a:gd name="T27" fmla="*/ 10 h 10"/>
                <a:gd name="T28" fmla="*/ 22 w 25"/>
                <a:gd name="T29" fmla="*/ 7 h 10"/>
                <a:gd name="T30" fmla="*/ 22 w 25"/>
                <a:gd name="T31" fmla="*/ 5 h 10"/>
                <a:gd name="T32" fmla="*/ 22 w 25"/>
                <a:gd name="T33" fmla="*/ 5 h 10"/>
                <a:gd name="T34" fmla="*/ 25 w 25"/>
                <a:gd name="T35" fmla="*/ 5 h 10"/>
                <a:gd name="T36" fmla="*/ 22 w 25"/>
                <a:gd name="T37" fmla="*/ 2 h 10"/>
                <a:gd name="T38" fmla="*/ 20 w 25"/>
                <a:gd name="T39" fmla="*/ 0 h 10"/>
                <a:gd name="T40" fmla="*/ 20 w 25"/>
                <a:gd name="T4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0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20" y="10"/>
                  </a:lnTo>
                  <a:lnTo>
                    <a:pt x="22" y="7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5" y="5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8">
              <a:extLst>
                <a:ext uri="{FF2B5EF4-FFF2-40B4-BE49-F238E27FC236}">
                  <a16:creationId xmlns:a16="http://schemas.microsoft.com/office/drawing/2014/main" id="{727CFF22-3BD3-4ED9-B209-8A3D1ADB4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2834"/>
              <a:ext cx="22" cy="20"/>
            </a:xfrm>
            <a:custGeom>
              <a:avLst/>
              <a:gdLst>
                <a:gd name="T0" fmla="*/ 0 w 22"/>
                <a:gd name="T1" fmla="*/ 12 h 20"/>
                <a:gd name="T2" fmla="*/ 0 w 22"/>
                <a:gd name="T3" fmla="*/ 15 h 20"/>
                <a:gd name="T4" fmla="*/ 2 w 22"/>
                <a:gd name="T5" fmla="*/ 17 h 20"/>
                <a:gd name="T6" fmla="*/ 2 w 22"/>
                <a:gd name="T7" fmla="*/ 17 h 20"/>
                <a:gd name="T8" fmla="*/ 5 w 22"/>
                <a:gd name="T9" fmla="*/ 20 h 20"/>
                <a:gd name="T10" fmla="*/ 7 w 22"/>
                <a:gd name="T11" fmla="*/ 20 h 20"/>
                <a:gd name="T12" fmla="*/ 10 w 22"/>
                <a:gd name="T13" fmla="*/ 17 h 20"/>
                <a:gd name="T14" fmla="*/ 22 w 22"/>
                <a:gd name="T15" fmla="*/ 5 h 20"/>
                <a:gd name="T16" fmla="*/ 22 w 22"/>
                <a:gd name="T17" fmla="*/ 5 h 20"/>
                <a:gd name="T18" fmla="*/ 20 w 22"/>
                <a:gd name="T19" fmla="*/ 0 h 20"/>
                <a:gd name="T20" fmla="*/ 17 w 22"/>
                <a:gd name="T21" fmla="*/ 0 h 20"/>
                <a:gd name="T22" fmla="*/ 17 w 22"/>
                <a:gd name="T23" fmla="*/ 0 h 20"/>
                <a:gd name="T24" fmla="*/ 15 w 22"/>
                <a:gd name="T25" fmla="*/ 0 h 20"/>
                <a:gd name="T26" fmla="*/ 12 w 22"/>
                <a:gd name="T27" fmla="*/ 0 h 20"/>
                <a:gd name="T28" fmla="*/ 0 w 22"/>
                <a:gd name="T29" fmla="*/ 12 h 20"/>
                <a:gd name="T30" fmla="*/ 0 w 22"/>
                <a:gd name="T3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0">
                  <a:moveTo>
                    <a:pt x="0" y="12"/>
                  </a:moveTo>
                  <a:lnTo>
                    <a:pt x="0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10" y="17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9" name="Group 251">
            <a:extLst>
              <a:ext uri="{FF2B5EF4-FFF2-40B4-BE49-F238E27FC236}">
                <a16:creationId xmlns:a16="http://schemas.microsoft.com/office/drawing/2014/main" id="{B8BAF39A-E351-4E77-A65B-B674A2D2EE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502" y="4109245"/>
            <a:ext cx="841375" cy="841375"/>
            <a:chOff x="1655" y="2593"/>
            <a:chExt cx="530" cy="530"/>
          </a:xfrm>
        </p:grpSpPr>
        <p:sp>
          <p:nvSpPr>
            <p:cNvPr id="280" name="AutoShape 250">
              <a:extLst>
                <a:ext uri="{FF2B5EF4-FFF2-40B4-BE49-F238E27FC236}">
                  <a16:creationId xmlns:a16="http://schemas.microsoft.com/office/drawing/2014/main" id="{E9285B95-7EB2-4C6E-948F-B538201E68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55" y="25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252">
              <a:extLst>
                <a:ext uri="{FF2B5EF4-FFF2-40B4-BE49-F238E27FC236}">
                  <a16:creationId xmlns:a16="http://schemas.microsoft.com/office/drawing/2014/main" id="{E2CDD997-7001-4C2A-8140-3EAD33C7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5" y="25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53">
              <a:extLst>
                <a:ext uri="{FF2B5EF4-FFF2-40B4-BE49-F238E27FC236}">
                  <a16:creationId xmlns:a16="http://schemas.microsoft.com/office/drawing/2014/main" id="{70CB833F-B251-4778-B8E7-45E5EF08A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3" y="26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54">
              <a:extLst>
                <a:ext uri="{FF2B5EF4-FFF2-40B4-BE49-F238E27FC236}">
                  <a16:creationId xmlns:a16="http://schemas.microsoft.com/office/drawing/2014/main" id="{DE942D06-526C-47E8-9393-C6C839599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8" y="2703"/>
              <a:ext cx="20" cy="20"/>
            </a:xfrm>
            <a:custGeom>
              <a:avLst/>
              <a:gdLst>
                <a:gd name="T0" fmla="*/ 0 w 20"/>
                <a:gd name="T1" fmla="*/ 3 h 20"/>
                <a:gd name="T2" fmla="*/ 0 w 20"/>
                <a:gd name="T3" fmla="*/ 5 h 20"/>
                <a:gd name="T4" fmla="*/ 0 w 20"/>
                <a:gd name="T5" fmla="*/ 8 h 20"/>
                <a:gd name="T6" fmla="*/ 0 w 20"/>
                <a:gd name="T7" fmla="*/ 8 h 20"/>
                <a:gd name="T8" fmla="*/ 13 w 20"/>
                <a:gd name="T9" fmla="*/ 20 h 20"/>
                <a:gd name="T10" fmla="*/ 15 w 20"/>
                <a:gd name="T11" fmla="*/ 20 h 20"/>
                <a:gd name="T12" fmla="*/ 18 w 20"/>
                <a:gd name="T13" fmla="*/ 20 h 20"/>
                <a:gd name="T14" fmla="*/ 20 w 20"/>
                <a:gd name="T15" fmla="*/ 18 h 20"/>
                <a:gd name="T16" fmla="*/ 20 w 20"/>
                <a:gd name="T17" fmla="*/ 15 h 20"/>
                <a:gd name="T18" fmla="*/ 20 w 20"/>
                <a:gd name="T19" fmla="*/ 15 h 20"/>
                <a:gd name="T20" fmla="*/ 20 w 20"/>
                <a:gd name="T21" fmla="*/ 15 h 20"/>
                <a:gd name="T22" fmla="*/ 20 w 20"/>
                <a:gd name="T23" fmla="*/ 13 h 20"/>
                <a:gd name="T24" fmla="*/ 18 w 20"/>
                <a:gd name="T25" fmla="*/ 10 h 20"/>
                <a:gd name="T26" fmla="*/ 5 w 20"/>
                <a:gd name="T27" fmla="*/ 0 h 20"/>
                <a:gd name="T28" fmla="*/ 5 w 20"/>
                <a:gd name="T29" fmla="*/ 0 h 20"/>
                <a:gd name="T30" fmla="*/ 5 w 20"/>
                <a:gd name="T31" fmla="*/ 0 h 20"/>
                <a:gd name="T32" fmla="*/ 0 w 20"/>
                <a:gd name="T33" fmla="*/ 0 h 20"/>
                <a:gd name="T34" fmla="*/ 0 w 20"/>
                <a:gd name="T35" fmla="*/ 3 h 20"/>
                <a:gd name="T36" fmla="*/ 0 w 20"/>
                <a:gd name="T37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20">
                  <a:moveTo>
                    <a:pt x="0" y="3"/>
                  </a:move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18" y="1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55">
              <a:extLst>
                <a:ext uri="{FF2B5EF4-FFF2-40B4-BE49-F238E27FC236}">
                  <a16:creationId xmlns:a16="http://schemas.microsoft.com/office/drawing/2014/main" id="{EB7F16FB-6CB1-4D22-9A8A-97A4DFCB6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" y="2741"/>
              <a:ext cx="25" cy="11"/>
            </a:xfrm>
            <a:custGeom>
              <a:avLst/>
              <a:gdLst>
                <a:gd name="T0" fmla="*/ 0 w 25"/>
                <a:gd name="T1" fmla="*/ 6 h 11"/>
                <a:gd name="T2" fmla="*/ 0 w 25"/>
                <a:gd name="T3" fmla="*/ 8 h 11"/>
                <a:gd name="T4" fmla="*/ 2 w 25"/>
                <a:gd name="T5" fmla="*/ 11 h 11"/>
                <a:gd name="T6" fmla="*/ 2 w 25"/>
                <a:gd name="T7" fmla="*/ 11 h 11"/>
                <a:gd name="T8" fmla="*/ 5 w 25"/>
                <a:gd name="T9" fmla="*/ 11 h 11"/>
                <a:gd name="T10" fmla="*/ 23 w 25"/>
                <a:gd name="T11" fmla="*/ 11 h 11"/>
                <a:gd name="T12" fmla="*/ 23 w 25"/>
                <a:gd name="T13" fmla="*/ 8 h 11"/>
                <a:gd name="T14" fmla="*/ 25 w 25"/>
                <a:gd name="T15" fmla="*/ 6 h 11"/>
                <a:gd name="T16" fmla="*/ 23 w 25"/>
                <a:gd name="T17" fmla="*/ 0 h 11"/>
                <a:gd name="T18" fmla="*/ 20 w 25"/>
                <a:gd name="T19" fmla="*/ 0 h 11"/>
                <a:gd name="T20" fmla="*/ 20 w 25"/>
                <a:gd name="T21" fmla="*/ 0 h 11"/>
                <a:gd name="T22" fmla="*/ 20 w 25"/>
                <a:gd name="T23" fmla="*/ 0 h 11"/>
                <a:gd name="T24" fmla="*/ 2 w 25"/>
                <a:gd name="T25" fmla="*/ 0 h 11"/>
                <a:gd name="T26" fmla="*/ 0 w 25"/>
                <a:gd name="T27" fmla="*/ 0 h 11"/>
                <a:gd name="T28" fmla="*/ 0 w 25"/>
                <a:gd name="T29" fmla="*/ 6 h 11"/>
                <a:gd name="T30" fmla="*/ 0 w 25"/>
                <a:gd name="T3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">
                  <a:moveTo>
                    <a:pt x="0" y="6"/>
                  </a:move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23" y="11"/>
                  </a:lnTo>
                  <a:lnTo>
                    <a:pt x="23" y="8"/>
                  </a:lnTo>
                  <a:lnTo>
                    <a:pt x="25" y="6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56">
              <a:extLst>
                <a:ext uri="{FF2B5EF4-FFF2-40B4-BE49-F238E27FC236}">
                  <a16:creationId xmlns:a16="http://schemas.microsoft.com/office/drawing/2014/main" id="{2E486CD9-6F8F-4C28-B126-A2D3DF754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" y="2811"/>
              <a:ext cx="57" cy="58"/>
            </a:xfrm>
            <a:custGeom>
              <a:avLst/>
              <a:gdLst>
                <a:gd name="T0" fmla="*/ 36 w 57"/>
                <a:gd name="T1" fmla="*/ 58 h 58"/>
                <a:gd name="T2" fmla="*/ 36 w 57"/>
                <a:gd name="T3" fmla="*/ 38 h 58"/>
                <a:gd name="T4" fmla="*/ 57 w 57"/>
                <a:gd name="T5" fmla="*/ 38 h 58"/>
                <a:gd name="T6" fmla="*/ 57 w 57"/>
                <a:gd name="T7" fmla="*/ 23 h 58"/>
                <a:gd name="T8" fmla="*/ 36 w 57"/>
                <a:gd name="T9" fmla="*/ 23 h 58"/>
                <a:gd name="T10" fmla="*/ 36 w 57"/>
                <a:gd name="T11" fmla="*/ 0 h 58"/>
                <a:gd name="T12" fmla="*/ 21 w 57"/>
                <a:gd name="T13" fmla="*/ 0 h 58"/>
                <a:gd name="T14" fmla="*/ 21 w 57"/>
                <a:gd name="T15" fmla="*/ 23 h 58"/>
                <a:gd name="T16" fmla="*/ 0 w 57"/>
                <a:gd name="T17" fmla="*/ 23 h 58"/>
                <a:gd name="T18" fmla="*/ 0 w 57"/>
                <a:gd name="T19" fmla="*/ 38 h 58"/>
                <a:gd name="T20" fmla="*/ 21 w 57"/>
                <a:gd name="T21" fmla="*/ 38 h 58"/>
                <a:gd name="T22" fmla="*/ 21 w 57"/>
                <a:gd name="T23" fmla="*/ 58 h 58"/>
                <a:gd name="T24" fmla="*/ 36 w 57"/>
                <a:gd name="T2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58">
                  <a:moveTo>
                    <a:pt x="36" y="58"/>
                  </a:moveTo>
                  <a:lnTo>
                    <a:pt x="36" y="38"/>
                  </a:lnTo>
                  <a:lnTo>
                    <a:pt x="57" y="38"/>
                  </a:lnTo>
                  <a:lnTo>
                    <a:pt x="57" y="23"/>
                  </a:lnTo>
                  <a:lnTo>
                    <a:pt x="36" y="23"/>
                  </a:lnTo>
                  <a:lnTo>
                    <a:pt x="36" y="0"/>
                  </a:lnTo>
                  <a:lnTo>
                    <a:pt x="21" y="0"/>
                  </a:lnTo>
                  <a:lnTo>
                    <a:pt x="21" y="23"/>
                  </a:lnTo>
                  <a:lnTo>
                    <a:pt x="0" y="23"/>
                  </a:lnTo>
                  <a:lnTo>
                    <a:pt x="0" y="38"/>
                  </a:lnTo>
                  <a:lnTo>
                    <a:pt x="21" y="38"/>
                  </a:lnTo>
                  <a:lnTo>
                    <a:pt x="21" y="58"/>
                  </a:lnTo>
                  <a:lnTo>
                    <a:pt x="36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57">
              <a:extLst>
                <a:ext uri="{FF2B5EF4-FFF2-40B4-BE49-F238E27FC236}">
                  <a16:creationId xmlns:a16="http://schemas.microsoft.com/office/drawing/2014/main" id="{515FBED7-2199-4E14-B3F0-B01F3D3E1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9" y="2685"/>
              <a:ext cx="10" cy="26"/>
            </a:xfrm>
            <a:custGeom>
              <a:avLst/>
              <a:gdLst>
                <a:gd name="T0" fmla="*/ 0 w 10"/>
                <a:gd name="T1" fmla="*/ 5 h 26"/>
                <a:gd name="T2" fmla="*/ 0 w 10"/>
                <a:gd name="T3" fmla="*/ 5 h 26"/>
                <a:gd name="T4" fmla="*/ 0 w 10"/>
                <a:gd name="T5" fmla="*/ 5 h 26"/>
                <a:gd name="T6" fmla="*/ 0 w 10"/>
                <a:gd name="T7" fmla="*/ 23 h 26"/>
                <a:gd name="T8" fmla="*/ 2 w 10"/>
                <a:gd name="T9" fmla="*/ 26 h 26"/>
                <a:gd name="T10" fmla="*/ 5 w 10"/>
                <a:gd name="T11" fmla="*/ 26 h 26"/>
                <a:gd name="T12" fmla="*/ 8 w 10"/>
                <a:gd name="T13" fmla="*/ 26 h 26"/>
                <a:gd name="T14" fmla="*/ 10 w 10"/>
                <a:gd name="T15" fmla="*/ 23 h 26"/>
                <a:gd name="T16" fmla="*/ 10 w 10"/>
                <a:gd name="T17" fmla="*/ 21 h 26"/>
                <a:gd name="T18" fmla="*/ 10 w 10"/>
                <a:gd name="T19" fmla="*/ 21 h 26"/>
                <a:gd name="T20" fmla="*/ 10 w 10"/>
                <a:gd name="T21" fmla="*/ 3 h 26"/>
                <a:gd name="T22" fmla="*/ 8 w 10"/>
                <a:gd name="T23" fmla="*/ 3 h 26"/>
                <a:gd name="T24" fmla="*/ 5 w 10"/>
                <a:gd name="T25" fmla="*/ 0 h 26"/>
                <a:gd name="T26" fmla="*/ 2 w 10"/>
                <a:gd name="T27" fmla="*/ 3 h 26"/>
                <a:gd name="T28" fmla="*/ 0 w 10"/>
                <a:gd name="T29" fmla="*/ 3 h 26"/>
                <a:gd name="T30" fmla="*/ 0 w 10"/>
                <a:gd name="T31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26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3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58">
              <a:extLst>
                <a:ext uri="{FF2B5EF4-FFF2-40B4-BE49-F238E27FC236}">
                  <a16:creationId xmlns:a16="http://schemas.microsoft.com/office/drawing/2014/main" id="{262DC250-C672-4FBD-B6A8-72495D255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8" y="2734"/>
              <a:ext cx="307" cy="258"/>
            </a:xfrm>
            <a:custGeom>
              <a:avLst/>
              <a:gdLst>
                <a:gd name="T0" fmla="*/ 304 w 307"/>
                <a:gd name="T1" fmla="*/ 156 h 258"/>
                <a:gd name="T2" fmla="*/ 279 w 307"/>
                <a:gd name="T3" fmla="*/ 128 h 258"/>
                <a:gd name="T4" fmla="*/ 210 w 307"/>
                <a:gd name="T5" fmla="*/ 43 h 258"/>
                <a:gd name="T6" fmla="*/ 189 w 307"/>
                <a:gd name="T7" fmla="*/ 38 h 258"/>
                <a:gd name="T8" fmla="*/ 179 w 307"/>
                <a:gd name="T9" fmla="*/ 0 h 258"/>
                <a:gd name="T10" fmla="*/ 143 w 307"/>
                <a:gd name="T11" fmla="*/ 38 h 258"/>
                <a:gd name="T12" fmla="*/ 15 w 307"/>
                <a:gd name="T13" fmla="*/ 43 h 258"/>
                <a:gd name="T14" fmla="*/ 2 w 307"/>
                <a:gd name="T15" fmla="*/ 228 h 258"/>
                <a:gd name="T16" fmla="*/ 51 w 307"/>
                <a:gd name="T17" fmla="*/ 230 h 258"/>
                <a:gd name="T18" fmla="*/ 71 w 307"/>
                <a:gd name="T19" fmla="*/ 256 h 258"/>
                <a:gd name="T20" fmla="*/ 97 w 307"/>
                <a:gd name="T21" fmla="*/ 253 h 258"/>
                <a:gd name="T22" fmla="*/ 112 w 307"/>
                <a:gd name="T23" fmla="*/ 233 h 258"/>
                <a:gd name="T24" fmla="*/ 225 w 307"/>
                <a:gd name="T25" fmla="*/ 253 h 258"/>
                <a:gd name="T26" fmla="*/ 245 w 307"/>
                <a:gd name="T27" fmla="*/ 256 h 258"/>
                <a:gd name="T28" fmla="*/ 268 w 307"/>
                <a:gd name="T29" fmla="*/ 235 h 258"/>
                <a:gd name="T30" fmla="*/ 307 w 307"/>
                <a:gd name="T31" fmla="*/ 225 h 258"/>
                <a:gd name="T32" fmla="*/ 186 w 307"/>
                <a:gd name="T33" fmla="*/ 87 h 258"/>
                <a:gd name="T34" fmla="*/ 179 w 307"/>
                <a:gd name="T35" fmla="*/ 38 h 258"/>
                <a:gd name="T36" fmla="*/ 28 w 307"/>
                <a:gd name="T37" fmla="*/ 53 h 258"/>
                <a:gd name="T38" fmla="*/ 199 w 307"/>
                <a:gd name="T39" fmla="*/ 59 h 258"/>
                <a:gd name="T40" fmla="*/ 181 w 307"/>
                <a:gd name="T41" fmla="*/ 77 h 258"/>
                <a:gd name="T42" fmla="*/ 179 w 307"/>
                <a:gd name="T43" fmla="*/ 133 h 258"/>
                <a:gd name="T44" fmla="*/ 268 w 307"/>
                <a:gd name="T45" fmla="*/ 141 h 258"/>
                <a:gd name="T46" fmla="*/ 15 w 307"/>
                <a:gd name="T47" fmla="*/ 156 h 258"/>
                <a:gd name="T48" fmla="*/ 94 w 307"/>
                <a:gd name="T49" fmla="*/ 235 h 258"/>
                <a:gd name="T50" fmla="*/ 81 w 307"/>
                <a:gd name="T51" fmla="*/ 243 h 258"/>
                <a:gd name="T52" fmla="*/ 69 w 307"/>
                <a:gd name="T53" fmla="*/ 235 h 258"/>
                <a:gd name="T54" fmla="*/ 66 w 307"/>
                <a:gd name="T55" fmla="*/ 225 h 258"/>
                <a:gd name="T56" fmla="*/ 71 w 307"/>
                <a:gd name="T57" fmla="*/ 212 h 258"/>
                <a:gd name="T58" fmla="*/ 84 w 307"/>
                <a:gd name="T59" fmla="*/ 207 h 258"/>
                <a:gd name="T60" fmla="*/ 97 w 307"/>
                <a:gd name="T61" fmla="*/ 217 h 258"/>
                <a:gd name="T62" fmla="*/ 99 w 307"/>
                <a:gd name="T63" fmla="*/ 228 h 258"/>
                <a:gd name="T64" fmla="*/ 248 w 307"/>
                <a:gd name="T65" fmla="*/ 238 h 258"/>
                <a:gd name="T66" fmla="*/ 235 w 307"/>
                <a:gd name="T67" fmla="*/ 240 h 258"/>
                <a:gd name="T68" fmla="*/ 222 w 307"/>
                <a:gd name="T69" fmla="*/ 233 h 258"/>
                <a:gd name="T70" fmla="*/ 222 w 307"/>
                <a:gd name="T71" fmla="*/ 222 h 258"/>
                <a:gd name="T72" fmla="*/ 233 w 307"/>
                <a:gd name="T73" fmla="*/ 210 h 258"/>
                <a:gd name="T74" fmla="*/ 245 w 307"/>
                <a:gd name="T75" fmla="*/ 210 h 258"/>
                <a:gd name="T76" fmla="*/ 256 w 307"/>
                <a:gd name="T77" fmla="*/ 222 h 258"/>
                <a:gd name="T78" fmla="*/ 286 w 307"/>
                <a:gd name="T79" fmla="*/ 184 h 258"/>
                <a:gd name="T80" fmla="*/ 281 w 307"/>
                <a:gd name="T81" fmla="*/ 194 h 258"/>
                <a:gd name="T82" fmla="*/ 291 w 307"/>
                <a:gd name="T83" fmla="*/ 215 h 258"/>
                <a:gd name="T84" fmla="*/ 256 w 307"/>
                <a:gd name="T85" fmla="*/ 197 h 258"/>
                <a:gd name="T86" fmla="*/ 233 w 307"/>
                <a:gd name="T87" fmla="*/ 192 h 258"/>
                <a:gd name="T88" fmla="*/ 207 w 307"/>
                <a:gd name="T89" fmla="*/ 217 h 258"/>
                <a:gd name="T90" fmla="*/ 99 w 307"/>
                <a:gd name="T91" fmla="*/ 197 h 258"/>
                <a:gd name="T92" fmla="*/ 76 w 307"/>
                <a:gd name="T93" fmla="*/ 192 h 258"/>
                <a:gd name="T94" fmla="*/ 51 w 307"/>
                <a:gd name="T95" fmla="*/ 212 h 258"/>
                <a:gd name="T96" fmla="*/ 291 w 307"/>
                <a:gd name="T97" fmla="*/ 16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7" h="258">
                  <a:moveTo>
                    <a:pt x="307" y="225"/>
                  </a:moveTo>
                  <a:lnTo>
                    <a:pt x="307" y="222"/>
                  </a:lnTo>
                  <a:lnTo>
                    <a:pt x="307" y="164"/>
                  </a:lnTo>
                  <a:lnTo>
                    <a:pt x="304" y="156"/>
                  </a:lnTo>
                  <a:lnTo>
                    <a:pt x="302" y="151"/>
                  </a:lnTo>
                  <a:lnTo>
                    <a:pt x="294" y="141"/>
                  </a:lnTo>
                  <a:lnTo>
                    <a:pt x="289" y="135"/>
                  </a:lnTo>
                  <a:lnTo>
                    <a:pt x="279" y="128"/>
                  </a:lnTo>
                  <a:lnTo>
                    <a:pt x="268" y="123"/>
                  </a:lnTo>
                  <a:lnTo>
                    <a:pt x="220" y="56"/>
                  </a:lnTo>
                  <a:lnTo>
                    <a:pt x="215" y="48"/>
                  </a:lnTo>
                  <a:lnTo>
                    <a:pt x="210" y="43"/>
                  </a:lnTo>
                  <a:lnTo>
                    <a:pt x="204" y="41"/>
                  </a:lnTo>
                  <a:lnTo>
                    <a:pt x="199" y="41"/>
                  </a:lnTo>
                  <a:lnTo>
                    <a:pt x="194" y="38"/>
                  </a:lnTo>
                  <a:lnTo>
                    <a:pt x="189" y="38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3" y="0"/>
                  </a:lnTo>
                  <a:lnTo>
                    <a:pt x="151" y="2"/>
                  </a:lnTo>
                  <a:lnTo>
                    <a:pt x="151" y="2"/>
                  </a:lnTo>
                  <a:lnTo>
                    <a:pt x="143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5" y="41"/>
                  </a:lnTo>
                  <a:lnTo>
                    <a:pt x="15" y="43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0" y="225"/>
                  </a:lnTo>
                  <a:lnTo>
                    <a:pt x="2" y="228"/>
                  </a:lnTo>
                  <a:lnTo>
                    <a:pt x="5" y="230"/>
                  </a:lnTo>
                  <a:lnTo>
                    <a:pt x="7" y="230"/>
                  </a:lnTo>
                  <a:lnTo>
                    <a:pt x="7" y="230"/>
                  </a:lnTo>
                  <a:lnTo>
                    <a:pt x="51" y="230"/>
                  </a:lnTo>
                  <a:lnTo>
                    <a:pt x="53" y="240"/>
                  </a:lnTo>
                  <a:lnTo>
                    <a:pt x="58" y="248"/>
                  </a:lnTo>
                  <a:lnTo>
                    <a:pt x="66" y="253"/>
                  </a:lnTo>
                  <a:lnTo>
                    <a:pt x="71" y="256"/>
                  </a:lnTo>
                  <a:lnTo>
                    <a:pt x="79" y="258"/>
                  </a:lnTo>
                  <a:lnTo>
                    <a:pt x="81" y="258"/>
                  </a:lnTo>
                  <a:lnTo>
                    <a:pt x="89" y="256"/>
                  </a:lnTo>
                  <a:lnTo>
                    <a:pt x="97" y="253"/>
                  </a:lnTo>
                  <a:lnTo>
                    <a:pt x="102" y="251"/>
                  </a:lnTo>
                  <a:lnTo>
                    <a:pt x="107" y="246"/>
                  </a:lnTo>
                  <a:lnTo>
                    <a:pt x="110" y="240"/>
                  </a:lnTo>
                  <a:lnTo>
                    <a:pt x="112" y="233"/>
                  </a:lnTo>
                  <a:lnTo>
                    <a:pt x="207" y="233"/>
                  </a:lnTo>
                  <a:lnTo>
                    <a:pt x="210" y="243"/>
                  </a:lnTo>
                  <a:lnTo>
                    <a:pt x="217" y="251"/>
                  </a:lnTo>
                  <a:lnTo>
                    <a:pt x="225" y="253"/>
                  </a:lnTo>
                  <a:lnTo>
                    <a:pt x="230" y="256"/>
                  </a:lnTo>
                  <a:lnTo>
                    <a:pt x="235" y="258"/>
                  </a:lnTo>
                  <a:lnTo>
                    <a:pt x="238" y="258"/>
                  </a:lnTo>
                  <a:lnTo>
                    <a:pt x="245" y="256"/>
                  </a:lnTo>
                  <a:lnTo>
                    <a:pt x="256" y="253"/>
                  </a:lnTo>
                  <a:lnTo>
                    <a:pt x="261" y="248"/>
                  </a:lnTo>
                  <a:lnTo>
                    <a:pt x="266" y="240"/>
                  </a:lnTo>
                  <a:lnTo>
                    <a:pt x="268" y="235"/>
                  </a:lnTo>
                  <a:lnTo>
                    <a:pt x="271" y="230"/>
                  </a:lnTo>
                  <a:lnTo>
                    <a:pt x="302" y="230"/>
                  </a:lnTo>
                  <a:lnTo>
                    <a:pt x="304" y="228"/>
                  </a:lnTo>
                  <a:lnTo>
                    <a:pt x="307" y="225"/>
                  </a:lnTo>
                  <a:close/>
                  <a:moveTo>
                    <a:pt x="225" y="87"/>
                  </a:moveTo>
                  <a:lnTo>
                    <a:pt x="253" y="125"/>
                  </a:lnTo>
                  <a:lnTo>
                    <a:pt x="186" y="125"/>
                  </a:lnTo>
                  <a:lnTo>
                    <a:pt x="186" y="87"/>
                  </a:lnTo>
                  <a:lnTo>
                    <a:pt x="225" y="87"/>
                  </a:lnTo>
                  <a:close/>
                  <a:moveTo>
                    <a:pt x="158" y="10"/>
                  </a:moveTo>
                  <a:lnTo>
                    <a:pt x="174" y="10"/>
                  </a:lnTo>
                  <a:lnTo>
                    <a:pt x="179" y="38"/>
                  </a:lnTo>
                  <a:lnTo>
                    <a:pt x="153" y="38"/>
                  </a:lnTo>
                  <a:lnTo>
                    <a:pt x="158" y="10"/>
                  </a:lnTo>
                  <a:close/>
                  <a:moveTo>
                    <a:pt x="15" y="133"/>
                  </a:moveTo>
                  <a:lnTo>
                    <a:pt x="28" y="53"/>
                  </a:lnTo>
                  <a:lnTo>
                    <a:pt x="186" y="53"/>
                  </a:lnTo>
                  <a:lnTo>
                    <a:pt x="192" y="53"/>
                  </a:lnTo>
                  <a:lnTo>
                    <a:pt x="197" y="56"/>
                  </a:lnTo>
                  <a:lnTo>
                    <a:pt x="199" y="59"/>
                  </a:lnTo>
                  <a:lnTo>
                    <a:pt x="204" y="61"/>
                  </a:lnTo>
                  <a:lnTo>
                    <a:pt x="212" y="71"/>
                  </a:lnTo>
                  <a:lnTo>
                    <a:pt x="217" y="77"/>
                  </a:lnTo>
                  <a:lnTo>
                    <a:pt x="181" y="77"/>
                  </a:lnTo>
                  <a:lnTo>
                    <a:pt x="179" y="79"/>
                  </a:lnTo>
                  <a:lnTo>
                    <a:pt x="176" y="82"/>
                  </a:lnTo>
                  <a:lnTo>
                    <a:pt x="176" y="82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8"/>
                  </a:lnTo>
                  <a:lnTo>
                    <a:pt x="261" y="138"/>
                  </a:lnTo>
                  <a:lnTo>
                    <a:pt x="268" y="141"/>
                  </a:lnTo>
                  <a:lnTo>
                    <a:pt x="279" y="146"/>
                  </a:lnTo>
                  <a:lnTo>
                    <a:pt x="284" y="151"/>
                  </a:lnTo>
                  <a:lnTo>
                    <a:pt x="286" y="156"/>
                  </a:lnTo>
                  <a:lnTo>
                    <a:pt x="15" y="156"/>
                  </a:lnTo>
                  <a:lnTo>
                    <a:pt x="15" y="133"/>
                  </a:lnTo>
                  <a:close/>
                  <a:moveTo>
                    <a:pt x="99" y="228"/>
                  </a:moveTo>
                  <a:lnTo>
                    <a:pt x="97" y="230"/>
                  </a:lnTo>
                  <a:lnTo>
                    <a:pt x="94" y="235"/>
                  </a:lnTo>
                  <a:lnTo>
                    <a:pt x="92" y="238"/>
                  </a:lnTo>
                  <a:lnTo>
                    <a:pt x="89" y="240"/>
                  </a:lnTo>
                  <a:lnTo>
                    <a:pt x="84" y="240"/>
                  </a:lnTo>
                  <a:lnTo>
                    <a:pt x="81" y="243"/>
                  </a:lnTo>
                  <a:lnTo>
                    <a:pt x="79" y="240"/>
                  </a:lnTo>
                  <a:lnTo>
                    <a:pt x="76" y="240"/>
                  </a:lnTo>
                  <a:lnTo>
                    <a:pt x="71" y="238"/>
                  </a:lnTo>
                  <a:lnTo>
                    <a:pt x="69" y="235"/>
                  </a:lnTo>
                  <a:lnTo>
                    <a:pt x="66" y="233"/>
                  </a:lnTo>
                  <a:lnTo>
                    <a:pt x="66" y="230"/>
                  </a:lnTo>
                  <a:lnTo>
                    <a:pt x="66" y="228"/>
                  </a:lnTo>
                  <a:lnTo>
                    <a:pt x="66" y="225"/>
                  </a:lnTo>
                  <a:lnTo>
                    <a:pt x="66" y="222"/>
                  </a:lnTo>
                  <a:lnTo>
                    <a:pt x="66" y="217"/>
                  </a:lnTo>
                  <a:lnTo>
                    <a:pt x="69" y="215"/>
                  </a:lnTo>
                  <a:lnTo>
                    <a:pt x="71" y="212"/>
                  </a:lnTo>
                  <a:lnTo>
                    <a:pt x="74" y="210"/>
                  </a:lnTo>
                  <a:lnTo>
                    <a:pt x="79" y="207"/>
                  </a:lnTo>
                  <a:lnTo>
                    <a:pt x="81" y="207"/>
                  </a:lnTo>
                  <a:lnTo>
                    <a:pt x="84" y="207"/>
                  </a:lnTo>
                  <a:lnTo>
                    <a:pt x="89" y="210"/>
                  </a:lnTo>
                  <a:lnTo>
                    <a:pt x="92" y="212"/>
                  </a:lnTo>
                  <a:lnTo>
                    <a:pt x="94" y="215"/>
                  </a:lnTo>
                  <a:lnTo>
                    <a:pt x="97" y="217"/>
                  </a:lnTo>
                  <a:lnTo>
                    <a:pt x="97" y="220"/>
                  </a:lnTo>
                  <a:lnTo>
                    <a:pt x="99" y="222"/>
                  </a:lnTo>
                  <a:lnTo>
                    <a:pt x="99" y="225"/>
                  </a:lnTo>
                  <a:lnTo>
                    <a:pt x="99" y="228"/>
                  </a:lnTo>
                  <a:close/>
                  <a:moveTo>
                    <a:pt x="256" y="228"/>
                  </a:moveTo>
                  <a:lnTo>
                    <a:pt x="253" y="233"/>
                  </a:lnTo>
                  <a:lnTo>
                    <a:pt x="250" y="235"/>
                  </a:lnTo>
                  <a:lnTo>
                    <a:pt x="248" y="238"/>
                  </a:lnTo>
                  <a:lnTo>
                    <a:pt x="245" y="240"/>
                  </a:lnTo>
                  <a:lnTo>
                    <a:pt x="240" y="240"/>
                  </a:lnTo>
                  <a:lnTo>
                    <a:pt x="238" y="243"/>
                  </a:lnTo>
                  <a:lnTo>
                    <a:pt x="235" y="240"/>
                  </a:lnTo>
                  <a:lnTo>
                    <a:pt x="233" y="240"/>
                  </a:lnTo>
                  <a:lnTo>
                    <a:pt x="227" y="238"/>
                  </a:lnTo>
                  <a:lnTo>
                    <a:pt x="225" y="235"/>
                  </a:lnTo>
                  <a:lnTo>
                    <a:pt x="222" y="233"/>
                  </a:lnTo>
                  <a:lnTo>
                    <a:pt x="222" y="230"/>
                  </a:lnTo>
                  <a:lnTo>
                    <a:pt x="222" y="228"/>
                  </a:lnTo>
                  <a:lnTo>
                    <a:pt x="222" y="225"/>
                  </a:lnTo>
                  <a:lnTo>
                    <a:pt x="222" y="222"/>
                  </a:lnTo>
                  <a:lnTo>
                    <a:pt x="222" y="217"/>
                  </a:lnTo>
                  <a:lnTo>
                    <a:pt x="225" y="215"/>
                  </a:lnTo>
                  <a:lnTo>
                    <a:pt x="227" y="212"/>
                  </a:lnTo>
                  <a:lnTo>
                    <a:pt x="233" y="210"/>
                  </a:lnTo>
                  <a:lnTo>
                    <a:pt x="235" y="207"/>
                  </a:lnTo>
                  <a:lnTo>
                    <a:pt x="238" y="207"/>
                  </a:lnTo>
                  <a:lnTo>
                    <a:pt x="240" y="207"/>
                  </a:lnTo>
                  <a:lnTo>
                    <a:pt x="245" y="210"/>
                  </a:lnTo>
                  <a:lnTo>
                    <a:pt x="248" y="212"/>
                  </a:lnTo>
                  <a:lnTo>
                    <a:pt x="250" y="215"/>
                  </a:lnTo>
                  <a:lnTo>
                    <a:pt x="253" y="217"/>
                  </a:lnTo>
                  <a:lnTo>
                    <a:pt x="256" y="222"/>
                  </a:lnTo>
                  <a:lnTo>
                    <a:pt x="256" y="225"/>
                  </a:lnTo>
                  <a:lnTo>
                    <a:pt x="256" y="228"/>
                  </a:lnTo>
                  <a:close/>
                  <a:moveTo>
                    <a:pt x="291" y="182"/>
                  </a:moveTo>
                  <a:lnTo>
                    <a:pt x="286" y="184"/>
                  </a:lnTo>
                  <a:lnTo>
                    <a:pt x="284" y="184"/>
                  </a:lnTo>
                  <a:lnTo>
                    <a:pt x="281" y="187"/>
                  </a:lnTo>
                  <a:lnTo>
                    <a:pt x="281" y="192"/>
                  </a:lnTo>
                  <a:lnTo>
                    <a:pt x="281" y="194"/>
                  </a:lnTo>
                  <a:lnTo>
                    <a:pt x="284" y="197"/>
                  </a:lnTo>
                  <a:lnTo>
                    <a:pt x="286" y="199"/>
                  </a:lnTo>
                  <a:lnTo>
                    <a:pt x="291" y="199"/>
                  </a:lnTo>
                  <a:lnTo>
                    <a:pt x="291" y="215"/>
                  </a:lnTo>
                  <a:lnTo>
                    <a:pt x="268" y="215"/>
                  </a:lnTo>
                  <a:lnTo>
                    <a:pt x="266" y="207"/>
                  </a:lnTo>
                  <a:lnTo>
                    <a:pt x="261" y="202"/>
                  </a:lnTo>
                  <a:lnTo>
                    <a:pt x="256" y="197"/>
                  </a:lnTo>
                  <a:lnTo>
                    <a:pt x="248" y="194"/>
                  </a:lnTo>
                  <a:lnTo>
                    <a:pt x="240" y="192"/>
                  </a:lnTo>
                  <a:lnTo>
                    <a:pt x="240" y="192"/>
                  </a:lnTo>
                  <a:lnTo>
                    <a:pt x="233" y="192"/>
                  </a:lnTo>
                  <a:lnTo>
                    <a:pt x="225" y="194"/>
                  </a:lnTo>
                  <a:lnTo>
                    <a:pt x="215" y="202"/>
                  </a:lnTo>
                  <a:lnTo>
                    <a:pt x="210" y="207"/>
                  </a:lnTo>
                  <a:lnTo>
                    <a:pt x="207" y="217"/>
                  </a:lnTo>
                  <a:lnTo>
                    <a:pt x="112" y="217"/>
                  </a:lnTo>
                  <a:lnTo>
                    <a:pt x="110" y="210"/>
                  </a:lnTo>
                  <a:lnTo>
                    <a:pt x="105" y="202"/>
                  </a:lnTo>
                  <a:lnTo>
                    <a:pt x="99" y="197"/>
                  </a:lnTo>
                  <a:lnTo>
                    <a:pt x="94" y="194"/>
                  </a:lnTo>
                  <a:lnTo>
                    <a:pt x="87" y="192"/>
                  </a:lnTo>
                  <a:lnTo>
                    <a:pt x="84" y="192"/>
                  </a:lnTo>
                  <a:lnTo>
                    <a:pt x="76" y="192"/>
                  </a:lnTo>
                  <a:lnTo>
                    <a:pt x="66" y="194"/>
                  </a:lnTo>
                  <a:lnTo>
                    <a:pt x="61" y="199"/>
                  </a:lnTo>
                  <a:lnTo>
                    <a:pt x="56" y="207"/>
                  </a:lnTo>
                  <a:lnTo>
                    <a:pt x="51" y="212"/>
                  </a:lnTo>
                  <a:lnTo>
                    <a:pt x="51" y="215"/>
                  </a:lnTo>
                  <a:lnTo>
                    <a:pt x="15" y="215"/>
                  </a:lnTo>
                  <a:lnTo>
                    <a:pt x="15" y="166"/>
                  </a:lnTo>
                  <a:lnTo>
                    <a:pt x="291" y="166"/>
                  </a:lnTo>
                  <a:lnTo>
                    <a:pt x="291" y="1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59">
              <a:extLst>
                <a:ext uri="{FF2B5EF4-FFF2-40B4-BE49-F238E27FC236}">
                  <a16:creationId xmlns:a16="http://schemas.microsoft.com/office/drawing/2014/main" id="{F0E273C2-6720-4148-A7C3-C3E913F9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" y="2741"/>
              <a:ext cx="26" cy="11"/>
            </a:xfrm>
            <a:custGeom>
              <a:avLst/>
              <a:gdLst>
                <a:gd name="T0" fmla="*/ 21 w 26"/>
                <a:gd name="T1" fmla="*/ 0 h 11"/>
                <a:gd name="T2" fmla="*/ 21 w 26"/>
                <a:gd name="T3" fmla="*/ 0 h 11"/>
                <a:gd name="T4" fmla="*/ 21 w 26"/>
                <a:gd name="T5" fmla="*/ 0 h 11"/>
                <a:gd name="T6" fmla="*/ 3 w 26"/>
                <a:gd name="T7" fmla="*/ 0 h 11"/>
                <a:gd name="T8" fmla="*/ 0 w 26"/>
                <a:gd name="T9" fmla="*/ 0 h 11"/>
                <a:gd name="T10" fmla="*/ 0 w 26"/>
                <a:gd name="T11" fmla="*/ 3 h 11"/>
                <a:gd name="T12" fmla="*/ 0 w 26"/>
                <a:gd name="T13" fmla="*/ 3 h 11"/>
                <a:gd name="T14" fmla="*/ 0 w 26"/>
                <a:gd name="T15" fmla="*/ 6 h 11"/>
                <a:gd name="T16" fmla="*/ 0 w 26"/>
                <a:gd name="T17" fmla="*/ 8 h 11"/>
                <a:gd name="T18" fmla="*/ 3 w 26"/>
                <a:gd name="T19" fmla="*/ 11 h 11"/>
                <a:gd name="T20" fmla="*/ 3 w 26"/>
                <a:gd name="T21" fmla="*/ 11 h 11"/>
                <a:gd name="T22" fmla="*/ 3 w 26"/>
                <a:gd name="T23" fmla="*/ 11 h 11"/>
                <a:gd name="T24" fmla="*/ 6 w 26"/>
                <a:gd name="T25" fmla="*/ 11 h 11"/>
                <a:gd name="T26" fmla="*/ 21 w 26"/>
                <a:gd name="T27" fmla="*/ 11 h 11"/>
                <a:gd name="T28" fmla="*/ 23 w 26"/>
                <a:gd name="T29" fmla="*/ 8 h 11"/>
                <a:gd name="T30" fmla="*/ 23 w 26"/>
                <a:gd name="T31" fmla="*/ 6 h 11"/>
                <a:gd name="T32" fmla="*/ 23 w 26"/>
                <a:gd name="T33" fmla="*/ 6 h 11"/>
                <a:gd name="T34" fmla="*/ 26 w 26"/>
                <a:gd name="T35" fmla="*/ 6 h 11"/>
                <a:gd name="T36" fmla="*/ 23 w 26"/>
                <a:gd name="T37" fmla="*/ 3 h 11"/>
                <a:gd name="T38" fmla="*/ 21 w 26"/>
                <a:gd name="T39" fmla="*/ 0 h 11"/>
                <a:gd name="T40" fmla="*/ 21 w 26"/>
                <a:gd name="T4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11"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21" y="11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60">
              <a:extLst>
                <a:ext uri="{FF2B5EF4-FFF2-40B4-BE49-F238E27FC236}">
                  <a16:creationId xmlns:a16="http://schemas.microsoft.com/office/drawing/2014/main" id="{8197A435-E714-4169-8B39-5F918DA04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" y="2703"/>
              <a:ext cx="23" cy="20"/>
            </a:xfrm>
            <a:custGeom>
              <a:avLst/>
              <a:gdLst>
                <a:gd name="T0" fmla="*/ 0 w 23"/>
                <a:gd name="T1" fmla="*/ 13 h 20"/>
                <a:gd name="T2" fmla="*/ 0 w 23"/>
                <a:gd name="T3" fmla="*/ 15 h 20"/>
                <a:gd name="T4" fmla="*/ 2 w 23"/>
                <a:gd name="T5" fmla="*/ 18 h 20"/>
                <a:gd name="T6" fmla="*/ 2 w 23"/>
                <a:gd name="T7" fmla="*/ 18 h 20"/>
                <a:gd name="T8" fmla="*/ 5 w 23"/>
                <a:gd name="T9" fmla="*/ 20 h 20"/>
                <a:gd name="T10" fmla="*/ 7 w 23"/>
                <a:gd name="T11" fmla="*/ 20 h 20"/>
                <a:gd name="T12" fmla="*/ 10 w 23"/>
                <a:gd name="T13" fmla="*/ 18 h 20"/>
                <a:gd name="T14" fmla="*/ 23 w 23"/>
                <a:gd name="T15" fmla="*/ 5 h 20"/>
                <a:gd name="T16" fmla="*/ 23 w 23"/>
                <a:gd name="T17" fmla="*/ 5 h 20"/>
                <a:gd name="T18" fmla="*/ 20 w 23"/>
                <a:gd name="T19" fmla="*/ 0 h 20"/>
                <a:gd name="T20" fmla="*/ 18 w 23"/>
                <a:gd name="T21" fmla="*/ 0 h 20"/>
                <a:gd name="T22" fmla="*/ 18 w 23"/>
                <a:gd name="T23" fmla="*/ 0 h 20"/>
                <a:gd name="T24" fmla="*/ 15 w 23"/>
                <a:gd name="T25" fmla="*/ 0 h 20"/>
                <a:gd name="T26" fmla="*/ 12 w 23"/>
                <a:gd name="T27" fmla="*/ 0 h 20"/>
                <a:gd name="T28" fmla="*/ 0 w 23"/>
                <a:gd name="T29" fmla="*/ 13 h 20"/>
                <a:gd name="T30" fmla="*/ 0 w 23"/>
                <a:gd name="T3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20">
                  <a:moveTo>
                    <a:pt x="0" y="13"/>
                  </a:moveTo>
                  <a:lnTo>
                    <a:pt x="0" y="15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10" y="18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4" name="Group 263">
            <a:extLst>
              <a:ext uri="{FF2B5EF4-FFF2-40B4-BE49-F238E27FC236}">
                <a16:creationId xmlns:a16="http://schemas.microsoft.com/office/drawing/2014/main" id="{227BC51E-F0A0-4873-9D31-C466A3C794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6349" y="4150520"/>
            <a:ext cx="760412" cy="758825"/>
            <a:chOff x="3707" y="2761"/>
            <a:chExt cx="479" cy="478"/>
          </a:xfrm>
        </p:grpSpPr>
        <p:sp>
          <p:nvSpPr>
            <p:cNvPr id="295" name="AutoShape 262">
              <a:extLst>
                <a:ext uri="{FF2B5EF4-FFF2-40B4-BE49-F238E27FC236}">
                  <a16:creationId xmlns:a16="http://schemas.microsoft.com/office/drawing/2014/main" id="{4DF1346E-C303-49C9-B70E-E23A4E715B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07" y="276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64">
              <a:extLst>
                <a:ext uri="{FF2B5EF4-FFF2-40B4-BE49-F238E27FC236}">
                  <a16:creationId xmlns:a16="http://schemas.microsoft.com/office/drawing/2014/main" id="{D4DEF092-0AE3-4F99-AD2A-24D7D16A6C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9" y="276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65">
              <a:extLst>
                <a:ext uri="{FF2B5EF4-FFF2-40B4-BE49-F238E27FC236}">
                  <a16:creationId xmlns:a16="http://schemas.microsoft.com/office/drawing/2014/main" id="{067593E0-81E3-4DD5-840B-3A2C415D54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5" y="2893"/>
              <a:ext cx="305" cy="216"/>
            </a:xfrm>
            <a:custGeom>
              <a:avLst/>
              <a:gdLst>
                <a:gd name="T0" fmla="*/ 71 w 124"/>
                <a:gd name="T1" fmla="*/ 10 h 88"/>
                <a:gd name="T2" fmla="*/ 61 w 124"/>
                <a:gd name="T3" fmla="*/ 14 h 88"/>
                <a:gd name="T4" fmla="*/ 59 w 124"/>
                <a:gd name="T5" fmla="*/ 12 h 88"/>
                <a:gd name="T6" fmla="*/ 53 w 124"/>
                <a:gd name="T7" fmla="*/ 12 h 88"/>
                <a:gd name="T8" fmla="*/ 51 w 124"/>
                <a:gd name="T9" fmla="*/ 14 h 88"/>
                <a:gd name="T10" fmla="*/ 41 w 124"/>
                <a:gd name="T11" fmla="*/ 10 h 88"/>
                <a:gd name="T12" fmla="*/ 32 w 124"/>
                <a:gd name="T13" fmla="*/ 14 h 88"/>
                <a:gd name="T14" fmla="*/ 30 w 124"/>
                <a:gd name="T15" fmla="*/ 12 h 88"/>
                <a:gd name="T16" fmla="*/ 24 w 124"/>
                <a:gd name="T17" fmla="*/ 12 h 88"/>
                <a:gd name="T18" fmla="*/ 22 w 124"/>
                <a:gd name="T19" fmla="*/ 14 h 88"/>
                <a:gd name="T20" fmla="*/ 12 w 124"/>
                <a:gd name="T21" fmla="*/ 10 h 88"/>
                <a:gd name="T22" fmla="*/ 37 w 124"/>
                <a:gd name="T23" fmla="*/ 41 h 88"/>
                <a:gd name="T24" fmla="*/ 26 w 124"/>
                <a:gd name="T25" fmla="*/ 45 h 88"/>
                <a:gd name="T26" fmla="*/ 37 w 124"/>
                <a:gd name="T27" fmla="*/ 41 h 88"/>
                <a:gd name="T28" fmla="*/ 20 w 124"/>
                <a:gd name="T29" fmla="*/ 33 h 88"/>
                <a:gd name="T30" fmla="*/ 37 w 124"/>
                <a:gd name="T31" fmla="*/ 37 h 88"/>
                <a:gd name="T32" fmla="*/ 37 w 124"/>
                <a:gd name="T33" fmla="*/ 26 h 88"/>
                <a:gd name="T34" fmla="*/ 12 w 124"/>
                <a:gd name="T35" fmla="*/ 29 h 88"/>
                <a:gd name="T36" fmla="*/ 91 w 124"/>
                <a:gd name="T37" fmla="*/ 74 h 88"/>
                <a:gd name="T38" fmla="*/ 94 w 124"/>
                <a:gd name="T39" fmla="*/ 71 h 88"/>
                <a:gd name="T40" fmla="*/ 85 w 124"/>
                <a:gd name="T41" fmla="*/ 71 h 88"/>
                <a:gd name="T42" fmla="*/ 91 w 124"/>
                <a:gd name="T43" fmla="*/ 64 h 88"/>
                <a:gd name="T44" fmla="*/ 108 w 124"/>
                <a:gd name="T45" fmla="*/ 68 h 88"/>
                <a:gd name="T46" fmla="*/ 120 w 124"/>
                <a:gd name="T47" fmla="*/ 64 h 88"/>
                <a:gd name="T48" fmla="*/ 79 w 124"/>
                <a:gd name="T49" fmla="*/ 71 h 88"/>
                <a:gd name="T50" fmla="*/ 91 w 124"/>
                <a:gd name="T51" fmla="*/ 84 h 88"/>
                <a:gd name="T52" fmla="*/ 45 w 124"/>
                <a:gd name="T53" fmla="*/ 62 h 88"/>
                <a:gd name="T54" fmla="*/ 31 w 124"/>
                <a:gd name="T55" fmla="*/ 84 h 88"/>
                <a:gd name="T56" fmla="*/ 43 w 124"/>
                <a:gd name="T57" fmla="*/ 71 h 88"/>
                <a:gd name="T58" fmla="*/ 6 w 124"/>
                <a:gd name="T59" fmla="*/ 68 h 88"/>
                <a:gd name="T60" fmla="*/ 6 w 124"/>
                <a:gd name="T61" fmla="*/ 62 h 88"/>
                <a:gd name="T62" fmla="*/ 6 w 124"/>
                <a:gd name="T63" fmla="*/ 4 h 88"/>
                <a:gd name="T64" fmla="*/ 41 w 124"/>
                <a:gd name="T65" fmla="*/ 59 h 88"/>
                <a:gd name="T66" fmla="*/ 6 w 124"/>
                <a:gd name="T67" fmla="*/ 59 h 88"/>
                <a:gd name="T68" fmla="*/ 102 w 124"/>
                <a:gd name="T69" fmla="*/ 35 h 88"/>
                <a:gd name="T70" fmla="*/ 100 w 124"/>
                <a:gd name="T71" fmla="*/ 19 h 88"/>
                <a:gd name="T72" fmla="*/ 81 w 124"/>
                <a:gd name="T73" fmla="*/ 14 h 88"/>
                <a:gd name="T74" fmla="*/ 109 w 124"/>
                <a:gd name="T75" fmla="*/ 35 h 88"/>
                <a:gd name="T76" fmla="*/ 114 w 124"/>
                <a:gd name="T77" fmla="*/ 47 h 88"/>
                <a:gd name="T78" fmla="*/ 117 w 124"/>
                <a:gd name="T79" fmla="*/ 51 h 88"/>
                <a:gd name="T80" fmla="*/ 112 w 124"/>
                <a:gd name="T81" fmla="*/ 55 h 88"/>
                <a:gd name="T82" fmla="*/ 116 w 124"/>
                <a:gd name="T83" fmla="*/ 59 h 88"/>
                <a:gd name="T84" fmla="*/ 81 w 124"/>
                <a:gd name="T85" fmla="*/ 59 h 88"/>
                <a:gd name="T86" fmla="*/ 81 w 124"/>
                <a:gd name="T87" fmla="*/ 22 h 88"/>
                <a:gd name="T88" fmla="*/ 81 w 124"/>
                <a:gd name="T89" fmla="*/ 31 h 88"/>
                <a:gd name="T90" fmla="*/ 122 w 124"/>
                <a:gd name="T91" fmla="*/ 45 h 88"/>
                <a:gd name="T92" fmla="*/ 106 w 124"/>
                <a:gd name="T93" fmla="*/ 12 h 88"/>
                <a:gd name="T94" fmla="*/ 81 w 124"/>
                <a:gd name="T95" fmla="*/ 2 h 88"/>
                <a:gd name="T96" fmla="*/ 2 w 124"/>
                <a:gd name="T97" fmla="*/ 2 h 88"/>
                <a:gd name="T98" fmla="*/ 0 w 124"/>
                <a:gd name="T99" fmla="*/ 66 h 88"/>
                <a:gd name="T100" fmla="*/ 31 w 124"/>
                <a:gd name="T101" fmla="*/ 88 h 88"/>
                <a:gd name="T102" fmla="*/ 91 w 124"/>
                <a:gd name="T103" fmla="*/ 88 h 88"/>
                <a:gd name="T104" fmla="*/ 124 w 124"/>
                <a:gd name="T105" fmla="*/ 66 h 88"/>
                <a:gd name="T106" fmla="*/ 31 w 124"/>
                <a:gd name="T107" fmla="*/ 74 h 88"/>
                <a:gd name="T108" fmla="*/ 33 w 124"/>
                <a:gd name="T109" fmla="*/ 71 h 88"/>
                <a:gd name="T110" fmla="*/ 24 w 124"/>
                <a:gd name="T111" fmla="*/ 71 h 88"/>
                <a:gd name="T112" fmla="*/ 31 w 124"/>
                <a:gd name="T113" fmla="*/ 6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4" h="88">
                  <a:moveTo>
                    <a:pt x="71" y="14"/>
                  </a:moveTo>
                  <a:cubicBezTo>
                    <a:pt x="72" y="14"/>
                    <a:pt x="73" y="13"/>
                    <a:pt x="73" y="12"/>
                  </a:cubicBezTo>
                  <a:cubicBezTo>
                    <a:pt x="73" y="11"/>
                    <a:pt x="72" y="10"/>
                    <a:pt x="71" y="10"/>
                  </a:cubicBezTo>
                  <a:cubicBezTo>
                    <a:pt x="70" y="10"/>
                    <a:pt x="69" y="11"/>
                    <a:pt x="69" y="12"/>
                  </a:cubicBezTo>
                  <a:cubicBezTo>
                    <a:pt x="69" y="13"/>
                    <a:pt x="70" y="14"/>
                    <a:pt x="71" y="14"/>
                  </a:cubicBezTo>
                  <a:moveTo>
                    <a:pt x="61" y="14"/>
                  </a:moveTo>
                  <a:cubicBezTo>
                    <a:pt x="62" y="14"/>
                    <a:pt x="63" y="13"/>
                    <a:pt x="63" y="12"/>
                  </a:cubicBezTo>
                  <a:cubicBezTo>
                    <a:pt x="63" y="11"/>
                    <a:pt x="62" y="10"/>
                    <a:pt x="61" y="10"/>
                  </a:cubicBezTo>
                  <a:cubicBezTo>
                    <a:pt x="60" y="10"/>
                    <a:pt x="59" y="11"/>
                    <a:pt x="59" y="12"/>
                  </a:cubicBezTo>
                  <a:cubicBezTo>
                    <a:pt x="59" y="13"/>
                    <a:pt x="60" y="14"/>
                    <a:pt x="61" y="14"/>
                  </a:cubicBezTo>
                  <a:moveTo>
                    <a:pt x="51" y="14"/>
                  </a:moveTo>
                  <a:cubicBezTo>
                    <a:pt x="52" y="14"/>
                    <a:pt x="53" y="13"/>
                    <a:pt x="53" y="12"/>
                  </a:cubicBezTo>
                  <a:cubicBezTo>
                    <a:pt x="53" y="11"/>
                    <a:pt x="52" y="10"/>
                    <a:pt x="51" y="10"/>
                  </a:cubicBezTo>
                  <a:cubicBezTo>
                    <a:pt x="50" y="10"/>
                    <a:pt x="49" y="11"/>
                    <a:pt x="49" y="12"/>
                  </a:cubicBezTo>
                  <a:cubicBezTo>
                    <a:pt x="49" y="13"/>
                    <a:pt x="50" y="14"/>
                    <a:pt x="51" y="14"/>
                  </a:cubicBezTo>
                  <a:moveTo>
                    <a:pt x="41" y="14"/>
                  </a:moveTo>
                  <a:cubicBezTo>
                    <a:pt x="42" y="14"/>
                    <a:pt x="43" y="13"/>
                    <a:pt x="43" y="12"/>
                  </a:cubicBezTo>
                  <a:cubicBezTo>
                    <a:pt x="43" y="11"/>
                    <a:pt x="42" y="10"/>
                    <a:pt x="41" y="10"/>
                  </a:cubicBezTo>
                  <a:cubicBezTo>
                    <a:pt x="40" y="10"/>
                    <a:pt x="39" y="11"/>
                    <a:pt x="39" y="12"/>
                  </a:cubicBezTo>
                  <a:cubicBezTo>
                    <a:pt x="39" y="13"/>
                    <a:pt x="40" y="14"/>
                    <a:pt x="41" y="14"/>
                  </a:cubicBezTo>
                  <a:moveTo>
                    <a:pt x="32" y="14"/>
                  </a:moveTo>
                  <a:cubicBezTo>
                    <a:pt x="33" y="14"/>
                    <a:pt x="33" y="13"/>
                    <a:pt x="33" y="12"/>
                  </a:cubicBezTo>
                  <a:cubicBezTo>
                    <a:pt x="33" y="11"/>
                    <a:pt x="33" y="10"/>
                    <a:pt x="32" y="10"/>
                  </a:cubicBezTo>
                  <a:cubicBezTo>
                    <a:pt x="30" y="10"/>
                    <a:pt x="30" y="11"/>
                    <a:pt x="30" y="12"/>
                  </a:cubicBezTo>
                  <a:cubicBezTo>
                    <a:pt x="30" y="13"/>
                    <a:pt x="30" y="14"/>
                    <a:pt x="32" y="14"/>
                  </a:cubicBezTo>
                  <a:moveTo>
                    <a:pt x="22" y="14"/>
                  </a:moveTo>
                  <a:cubicBezTo>
                    <a:pt x="23" y="14"/>
                    <a:pt x="24" y="13"/>
                    <a:pt x="24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1" y="10"/>
                    <a:pt x="20" y="11"/>
                    <a:pt x="20" y="12"/>
                  </a:cubicBezTo>
                  <a:cubicBezTo>
                    <a:pt x="20" y="13"/>
                    <a:pt x="21" y="14"/>
                    <a:pt x="22" y="14"/>
                  </a:cubicBezTo>
                  <a:moveTo>
                    <a:pt x="12" y="14"/>
                  </a:moveTo>
                  <a:cubicBezTo>
                    <a:pt x="13" y="14"/>
                    <a:pt x="14" y="13"/>
                    <a:pt x="14" y="12"/>
                  </a:cubicBezTo>
                  <a:cubicBezTo>
                    <a:pt x="14" y="11"/>
                    <a:pt x="13" y="10"/>
                    <a:pt x="12" y="10"/>
                  </a:cubicBezTo>
                  <a:cubicBezTo>
                    <a:pt x="11" y="10"/>
                    <a:pt x="10" y="11"/>
                    <a:pt x="10" y="12"/>
                  </a:cubicBezTo>
                  <a:cubicBezTo>
                    <a:pt x="10" y="13"/>
                    <a:pt x="11" y="14"/>
                    <a:pt x="12" y="14"/>
                  </a:cubicBezTo>
                  <a:moveTo>
                    <a:pt x="37" y="41"/>
                  </a:moveTo>
                  <a:cubicBezTo>
                    <a:pt x="26" y="41"/>
                    <a:pt x="26" y="41"/>
                    <a:pt x="26" y="41"/>
                  </a:cubicBezTo>
                  <a:cubicBezTo>
                    <a:pt x="25" y="41"/>
                    <a:pt x="24" y="42"/>
                    <a:pt x="24" y="43"/>
                  </a:cubicBezTo>
                  <a:cubicBezTo>
                    <a:pt x="24" y="44"/>
                    <a:pt x="25" y="45"/>
                    <a:pt x="26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9" y="45"/>
                    <a:pt x="39" y="44"/>
                    <a:pt x="39" y="43"/>
                  </a:cubicBezTo>
                  <a:cubicBezTo>
                    <a:pt x="39" y="42"/>
                    <a:pt x="39" y="41"/>
                    <a:pt x="37" y="41"/>
                  </a:cubicBezTo>
                  <a:moveTo>
                    <a:pt x="39" y="35"/>
                  </a:moveTo>
                  <a:cubicBezTo>
                    <a:pt x="39" y="34"/>
                    <a:pt x="39" y="33"/>
                    <a:pt x="37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8" y="34"/>
                    <a:pt x="18" y="35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9" y="37"/>
                    <a:pt x="39" y="36"/>
                    <a:pt x="39" y="35"/>
                  </a:cubicBezTo>
                  <a:moveTo>
                    <a:pt x="39" y="28"/>
                  </a:moveTo>
                  <a:cubicBezTo>
                    <a:pt x="39" y="26"/>
                    <a:pt x="39" y="26"/>
                    <a:pt x="37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6"/>
                    <a:pt x="10" y="26"/>
                    <a:pt x="10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9" y="29"/>
                    <a:pt x="39" y="29"/>
                    <a:pt x="39" y="28"/>
                  </a:cubicBezTo>
                  <a:moveTo>
                    <a:pt x="91" y="74"/>
                  </a:moveTo>
                  <a:cubicBezTo>
                    <a:pt x="90" y="74"/>
                    <a:pt x="89" y="73"/>
                    <a:pt x="89" y="71"/>
                  </a:cubicBezTo>
                  <a:cubicBezTo>
                    <a:pt x="89" y="69"/>
                    <a:pt x="90" y="68"/>
                    <a:pt x="91" y="68"/>
                  </a:cubicBezTo>
                  <a:cubicBezTo>
                    <a:pt x="93" y="68"/>
                    <a:pt x="94" y="69"/>
                    <a:pt x="94" y="71"/>
                  </a:cubicBezTo>
                  <a:cubicBezTo>
                    <a:pt x="94" y="73"/>
                    <a:pt x="93" y="74"/>
                    <a:pt x="91" y="74"/>
                  </a:cubicBezTo>
                  <a:moveTo>
                    <a:pt x="91" y="64"/>
                  </a:moveTo>
                  <a:cubicBezTo>
                    <a:pt x="88" y="64"/>
                    <a:pt x="85" y="67"/>
                    <a:pt x="85" y="71"/>
                  </a:cubicBezTo>
                  <a:cubicBezTo>
                    <a:pt x="85" y="75"/>
                    <a:pt x="88" y="78"/>
                    <a:pt x="91" y="78"/>
                  </a:cubicBezTo>
                  <a:cubicBezTo>
                    <a:pt x="95" y="78"/>
                    <a:pt x="98" y="75"/>
                    <a:pt x="98" y="71"/>
                  </a:cubicBezTo>
                  <a:cubicBezTo>
                    <a:pt x="98" y="67"/>
                    <a:pt x="95" y="64"/>
                    <a:pt x="91" y="64"/>
                  </a:cubicBezTo>
                  <a:moveTo>
                    <a:pt x="120" y="66"/>
                  </a:moveTo>
                  <a:cubicBezTo>
                    <a:pt x="120" y="67"/>
                    <a:pt x="119" y="68"/>
                    <a:pt x="11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66"/>
                    <a:pt x="107" y="64"/>
                    <a:pt x="106" y="62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119" y="62"/>
                    <a:pt x="120" y="63"/>
                    <a:pt x="120" y="64"/>
                  </a:cubicBezTo>
                  <a:lnTo>
                    <a:pt x="120" y="66"/>
                  </a:lnTo>
                  <a:close/>
                  <a:moveTo>
                    <a:pt x="91" y="84"/>
                  </a:moveTo>
                  <a:cubicBezTo>
                    <a:pt x="84" y="84"/>
                    <a:pt x="79" y="78"/>
                    <a:pt x="79" y="71"/>
                  </a:cubicBezTo>
                  <a:cubicBezTo>
                    <a:pt x="79" y="64"/>
                    <a:pt x="84" y="59"/>
                    <a:pt x="91" y="59"/>
                  </a:cubicBezTo>
                  <a:cubicBezTo>
                    <a:pt x="98" y="59"/>
                    <a:pt x="104" y="64"/>
                    <a:pt x="104" y="71"/>
                  </a:cubicBezTo>
                  <a:cubicBezTo>
                    <a:pt x="104" y="78"/>
                    <a:pt x="98" y="84"/>
                    <a:pt x="91" y="84"/>
                  </a:cubicBezTo>
                  <a:moveTo>
                    <a:pt x="75" y="68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47" y="66"/>
                    <a:pt x="46" y="64"/>
                    <a:pt x="4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4"/>
                    <a:pt x="75" y="66"/>
                    <a:pt x="75" y="68"/>
                  </a:cubicBezTo>
                  <a:moveTo>
                    <a:pt x="31" y="84"/>
                  </a:moveTo>
                  <a:cubicBezTo>
                    <a:pt x="23" y="84"/>
                    <a:pt x="18" y="78"/>
                    <a:pt x="18" y="71"/>
                  </a:cubicBezTo>
                  <a:cubicBezTo>
                    <a:pt x="18" y="64"/>
                    <a:pt x="23" y="59"/>
                    <a:pt x="31" y="59"/>
                  </a:cubicBezTo>
                  <a:cubicBezTo>
                    <a:pt x="38" y="59"/>
                    <a:pt x="43" y="64"/>
                    <a:pt x="43" y="71"/>
                  </a:cubicBezTo>
                  <a:cubicBezTo>
                    <a:pt x="43" y="78"/>
                    <a:pt x="38" y="84"/>
                    <a:pt x="31" y="84"/>
                  </a:cubicBezTo>
                  <a:moveTo>
                    <a:pt x="14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5" y="68"/>
                    <a:pt x="4" y="67"/>
                    <a:pt x="4" y="66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3"/>
                    <a:pt x="5" y="62"/>
                    <a:pt x="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5" y="64"/>
                    <a:pt x="14" y="66"/>
                    <a:pt x="14" y="68"/>
                  </a:cubicBezTo>
                  <a:moveTo>
                    <a:pt x="6" y="4"/>
                  </a:moveTo>
                  <a:cubicBezTo>
                    <a:pt x="77" y="4"/>
                    <a:pt x="77" y="4"/>
                    <a:pt x="77" y="4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8" y="56"/>
                    <a:pt x="35" y="55"/>
                    <a:pt x="31" y="55"/>
                  </a:cubicBezTo>
                  <a:cubicBezTo>
                    <a:pt x="26" y="55"/>
                    <a:pt x="23" y="56"/>
                    <a:pt x="20" y="59"/>
                  </a:cubicBezTo>
                  <a:cubicBezTo>
                    <a:pt x="6" y="59"/>
                    <a:pt x="6" y="59"/>
                    <a:pt x="6" y="59"/>
                  </a:cubicBezTo>
                  <a:lnTo>
                    <a:pt x="6" y="4"/>
                  </a:lnTo>
                  <a:close/>
                  <a:moveTo>
                    <a:pt x="81" y="35"/>
                  </a:moveTo>
                  <a:cubicBezTo>
                    <a:pt x="102" y="35"/>
                    <a:pt x="102" y="35"/>
                    <a:pt x="102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100" y="18"/>
                    <a:pt x="99" y="18"/>
                    <a:pt x="98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9" y="35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3" y="47"/>
                    <a:pt x="112" y="48"/>
                    <a:pt x="112" y="49"/>
                  </a:cubicBezTo>
                  <a:cubicBezTo>
                    <a:pt x="112" y="50"/>
                    <a:pt x="113" y="51"/>
                    <a:pt x="114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3" y="53"/>
                    <a:pt x="112" y="54"/>
                    <a:pt x="112" y="55"/>
                  </a:cubicBezTo>
                  <a:cubicBezTo>
                    <a:pt x="112" y="56"/>
                    <a:pt x="113" y="57"/>
                    <a:pt x="114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99" y="56"/>
                    <a:pt x="96" y="55"/>
                    <a:pt x="91" y="55"/>
                  </a:cubicBezTo>
                  <a:cubicBezTo>
                    <a:pt x="87" y="55"/>
                    <a:pt x="84" y="56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lnTo>
                    <a:pt x="81" y="35"/>
                  </a:lnTo>
                  <a:close/>
                  <a:moveTo>
                    <a:pt x="81" y="22"/>
                  </a:moveTo>
                  <a:cubicBezTo>
                    <a:pt x="97" y="22"/>
                    <a:pt x="97" y="22"/>
                    <a:pt x="97" y="2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81" y="31"/>
                    <a:pt x="81" y="31"/>
                    <a:pt x="81" y="31"/>
                  </a:cubicBezTo>
                  <a:lnTo>
                    <a:pt x="81" y="22"/>
                  </a:lnTo>
                  <a:close/>
                  <a:moveTo>
                    <a:pt x="120" y="59"/>
                  </a:moveTo>
                  <a:cubicBezTo>
                    <a:pt x="122" y="45"/>
                    <a:pt x="122" y="45"/>
                    <a:pt x="122" y="45"/>
                  </a:cubicBezTo>
                  <a:cubicBezTo>
                    <a:pt x="122" y="45"/>
                    <a:pt x="122" y="44"/>
                    <a:pt x="121" y="44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5" y="10"/>
                    <a:pt x="104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1"/>
                    <a:pt x="0" y="63"/>
                    <a:pt x="0" y="64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9"/>
                    <a:pt x="3" y="72"/>
                    <a:pt x="6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81"/>
                    <a:pt x="22" y="88"/>
                    <a:pt x="31" y="88"/>
                  </a:cubicBezTo>
                  <a:cubicBezTo>
                    <a:pt x="39" y="88"/>
                    <a:pt x="47" y="81"/>
                    <a:pt x="47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81"/>
                    <a:pt x="83" y="88"/>
                    <a:pt x="91" y="88"/>
                  </a:cubicBezTo>
                  <a:cubicBezTo>
                    <a:pt x="100" y="88"/>
                    <a:pt x="108" y="81"/>
                    <a:pt x="10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21" y="72"/>
                    <a:pt x="124" y="69"/>
                    <a:pt x="124" y="66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24" y="62"/>
                    <a:pt x="122" y="60"/>
                    <a:pt x="120" y="59"/>
                  </a:cubicBezTo>
                  <a:moveTo>
                    <a:pt x="31" y="74"/>
                  </a:moveTo>
                  <a:cubicBezTo>
                    <a:pt x="29" y="74"/>
                    <a:pt x="28" y="73"/>
                    <a:pt x="28" y="71"/>
                  </a:cubicBezTo>
                  <a:cubicBezTo>
                    <a:pt x="28" y="69"/>
                    <a:pt x="29" y="68"/>
                    <a:pt x="31" y="68"/>
                  </a:cubicBezTo>
                  <a:cubicBezTo>
                    <a:pt x="32" y="68"/>
                    <a:pt x="33" y="69"/>
                    <a:pt x="33" y="71"/>
                  </a:cubicBezTo>
                  <a:cubicBezTo>
                    <a:pt x="33" y="73"/>
                    <a:pt x="32" y="74"/>
                    <a:pt x="31" y="74"/>
                  </a:cubicBezTo>
                  <a:moveTo>
                    <a:pt x="31" y="64"/>
                  </a:moveTo>
                  <a:cubicBezTo>
                    <a:pt x="27" y="64"/>
                    <a:pt x="24" y="67"/>
                    <a:pt x="24" y="71"/>
                  </a:cubicBezTo>
                  <a:cubicBezTo>
                    <a:pt x="24" y="75"/>
                    <a:pt x="27" y="78"/>
                    <a:pt x="31" y="78"/>
                  </a:cubicBezTo>
                  <a:cubicBezTo>
                    <a:pt x="34" y="78"/>
                    <a:pt x="37" y="75"/>
                    <a:pt x="37" y="71"/>
                  </a:cubicBezTo>
                  <a:cubicBezTo>
                    <a:pt x="37" y="67"/>
                    <a:pt x="34" y="64"/>
                    <a:pt x="31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68">
            <a:extLst>
              <a:ext uri="{FF2B5EF4-FFF2-40B4-BE49-F238E27FC236}">
                <a16:creationId xmlns:a16="http://schemas.microsoft.com/office/drawing/2014/main" id="{4676213C-DD65-4162-AB34-8D35A23D44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19" y="4109245"/>
            <a:ext cx="841375" cy="841375"/>
            <a:chOff x="3028" y="2681"/>
            <a:chExt cx="530" cy="530"/>
          </a:xfrm>
        </p:grpSpPr>
        <p:sp>
          <p:nvSpPr>
            <p:cNvPr id="299" name="AutoShape 267">
              <a:extLst>
                <a:ext uri="{FF2B5EF4-FFF2-40B4-BE49-F238E27FC236}">
                  <a16:creationId xmlns:a16="http://schemas.microsoft.com/office/drawing/2014/main" id="{4CE0CC28-3AB2-4EFD-ADF4-6E86FDF776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8" y="268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269">
              <a:extLst>
                <a:ext uri="{FF2B5EF4-FFF2-40B4-BE49-F238E27FC236}">
                  <a16:creationId xmlns:a16="http://schemas.microsoft.com/office/drawing/2014/main" id="{9417F3D4-CA08-4CF9-817F-3E9904060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" y="268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70">
              <a:extLst>
                <a:ext uri="{FF2B5EF4-FFF2-40B4-BE49-F238E27FC236}">
                  <a16:creationId xmlns:a16="http://schemas.microsoft.com/office/drawing/2014/main" id="{0BAE281B-33A6-4FF8-8591-19B5EE2F9B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" y="269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71">
              <a:extLst>
                <a:ext uri="{FF2B5EF4-FFF2-40B4-BE49-F238E27FC236}">
                  <a16:creationId xmlns:a16="http://schemas.microsoft.com/office/drawing/2014/main" id="{74D27FCB-A131-47F7-A716-B04AFFE40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" y="2835"/>
              <a:ext cx="318" cy="225"/>
            </a:xfrm>
            <a:custGeom>
              <a:avLst/>
              <a:gdLst>
                <a:gd name="T0" fmla="*/ 71 w 124"/>
                <a:gd name="T1" fmla="*/ 10 h 88"/>
                <a:gd name="T2" fmla="*/ 61 w 124"/>
                <a:gd name="T3" fmla="*/ 14 h 88"/>
                <a:gd name="T4" fmla="*/ 59 w 124"/>
                <a:gd name="T5" fmla="*/ 12 h 88"/>
                <a:gd name="T6" fmla="*/ 53 w 124"/>
                <a:gd name="T7" fmla="*/ 12 h 88"/>
                <a:gd name="T8" fmla="*/ 51 w 124"/>
                <a:gd name="T9" fmla="*/ 14 h 88"/>
                <a:gd name="T10" fmla="*/ 41 w 124"/>
                <a:gd name="T11" fmla="*/ 10 h 88"/>
                <a:gd name="T12" fmla="*/ 32 w 124"/>
                <a:gd name="T13" fmla="*/ 14 h 88"/>
                <a:gd name="T14" fmla="*/ 30 w 124"/>
                <a:gd name="T15" fmla="*/ 12 h 88"/>
                <a:gd name="T16" fmla="*/ 24 w 124"/>
                <a:gd name="T17" fmla="*/ 12 h 88"/>
                <a:gd name="T18" fmla="*/ 22 w 124"/>
                <a:gd name="T19" fmla="*/ 14 h 88"/>
                <a:gd name="T20" fmla="*/ 12 w 124"/>
                <a:gd name="T21" fmla="*/ 10 h 88"/>
                <a:gd name="T22" fmla="*/ 37 w 124"/>
                <a:gd name="T23" fmla="*/ 41 h 88"/>
                <a:gd name="T24" fmla="*/ 26 w 124"/>
                <a:gd name="T25" fmla="*/ 45 h 88"/>
                <a:gd name="T26" fmla="*/ 37 w 124"/>
                <a:gd name="T27" fmla="*/ 41 h 88"/>
                <a:gd name="T28" fmla="*/ 20 w 124"/>
                <a:gd name="T29" fmla="*/ 33 h 88"/>
                <a:gd name="T30" fmla="*/ 37 w 124"/>
                <a:gd name="T31" fmla="*/ 37 h 88"/>
                <a:gd name="T32" fmla="*/ 37 w 124"/>
                <a:gd name="T33" fmla="*/ 26 h 88"/>
                <a:gd name="T34" fmla="*/ 12 w 124"/>
                <a:gd name="T35" fmla="*/ 29 h 88"/>
                <a:gd name="T36" fmla="*/ 91 w 124"/>
                <a:gd name="T37" fmla="*/ 74 h 88"/>
                <a:gd name="T38" fmla="*/ 94 w 124"/>
                <a:gd name="T39" fmla="*/ 71 h 88"/>
                <a:gd name="T40" fmla="*/ 85 w 124"/>
                <a:gd name="T41" fmla="*/ 71 h 88"/>
                <a:gd name="T42" fmla="*/ 91 w 124"/>
                <a:gd name="T43" fmla="*/ 64 h 88"/>
                <a:gd name="T44" fmla="*/ 108 w 124"/>
                <a:gd name="T45" fmla="*/ 68 h 88"/>
                <a:gd name="T46" fmla="*/ 120 w 124"/>
                <a:gd name="T47" fmla="*/ 64 h 88"/>
                <a:gd name="T48" fmla="*/ 79 w 124"/>
                <a:gd name="T49" fmla="*/ 71 h 88"/>
                <a:gd name="T50" fmla="*/ 91 w 124"/>
                <a:gd name="T51" fmla="*/ 84 h 88"/>
                <a:gd name="T52" fmla="*/ 45 w 124"/>
                <a:gd name="T53" fmla="*/ 62 h 88"/>
                <a:gd name="T54" fmla="*/ 31 w 124"/>
                <a:gd name="T55" fmla="*/ 84 h 88"/>
                <a:gd name="T56" fmla="*/ 43 w 124"/>
                <a:gd name="T57" fmla="*/ 71 h 88"/>
                <a:gd name="T58" fmla="*/ 6 w 124"/>
                <a:gd name="T59" fmla="*/ 68 h 88"/>
                <a:gd name="T60" fmla="*/ 6 w 124"/>
                <a:gd name="T61" fmla="*/ 62 h 88"/>
                <a:gd name="T62" fmla="*/ 6 w 124"/>
                <a:gd name="T63" fmla="*/ 4 h 88"/>
                <a:gd name="T64" fmla="*/ 41 w 124"/>
                <a:gd name="T65" fmla="*/ 59 h 88"/>
                <a:gd name="T66" fmla="*/ 6 w 124"/>
                <a:gd name="T67" fmla="*/ 59 h 88"/>
                <a:gd name="T68" fmla="*/ 102 w 124"/>
                <a:gd name="T69" fmla="*/ 35 h 88"/>
                <a:gd name="T70" fmla="*/ 100 w 124"/>
                <a:gd name="T71" fmla="*/ 19 h 88"/>
                <a:gd name="T72" fmla="*/ 81 w 124"/>
                <a:gd name="T73" fmla="*/ 14 h 88"/>
                <a:gd name="T74" fmla="*/ 109 w 124"/>
                <a:gd name="T75" fmla="*/ 35 h 88"/>
                <a:gd name="T76" fmla="*/ 114 w 124"/>
                <a:gd name="T77" fmla="*/ 47 h 88"/>
                <a:gd name="T78" fmla="*/ 117 w 124"/>
                <a:gd name="T79" fmla="*/ 51 h 88"/>
                <a:gd name="T80" fmla="*/ 112 w 124"/>
                <a:gd name="T81" fmla="*/ 55 h 88"/>
                <a:gd name="T82" fmla="*/ 116 w 124"/>
                <a:gd name="T83" fmla="*/ 59 h 88"/>
                <a:gd name="T84" fmla="*/ 81 w 124"/>
                <a:gd name="T85" fmla="*/ 59 h 88"/>
                <a:gd name="T86" fmla="*/ 81 w 124"/>
                <a:gd name="T87" fmla="*/ 22 h 88"/>
                <a:gd name="T88" fmla="*/ 81 w 124"/>
                <a:gd name="T89" fmla="*/ 31 h 88"/>
                <a:gd name="T90" fmla="*/ 122 w 124"/>
                <a:gd name="T91" fmla="*/ 45 h 88"/>
                <a:gd name="T92" fmla="*/ 106 w 124"/>
                <a:gd name="T93" fmla="*/ 12 h 88"/>
                <a:gd name="T94" fmla="*/ 81 w 124"/>
                <a:gd name="T95" fmla="*/ 2 h 88"/>
                <a:gd name="T96" fmla="*/ 2 w 124"/>
                <a:gd name="T97" fmla="*/ 2 h 88"/>
                <a:gd name="T98" fmla="*/ 0 w 124"/>
                <a:gd name="T99" fmla="*/ 66 h 88"/>
                <a:gd name="T100" fmla="*/ 31 w 124"/>
                <a:gd name="T101" fmla="*/ 88 h 88"/>
                <a:gd name="T102" fmla="*/ 91 w 124"/>
                <a:gd name="T103" fmla="*/ 88 h 88"/>
                <a:gd name="T104" fmla="*/ 124 w 124"/>
                <a:gd name="T105" fmla="*/ 66 h 88"/>
                <a:gd name="T106" fmla="*/ 31 w 124"/>
                <a:gd name="T107" fmla="*/ 74 h 88"/>
                <a:gd name="T108" fmla="*/ 33 w 124"/>
                <a:gd name="T109" fmla="*/ 71 h 88"/>
                <a:gd name="T110" fmla="*/ 24 w 124"/>
                <a:gd name="T111" fmla="*/ 71 h 88"/>
                <a:gd name="T112" fmla="*/ 31 w 124"/>
                <a:gd name="T113" fmla="*/ 6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4" h="88">
                  <a:moveTo>
                    <a:pt x="71" y="14"/>
                  </a:moveTo>
                  <a:cubicBezTo>
                    <a:pt x="72" y="14"/>
                    <a:pt x="73" y="13"/>
                    <a:pt x="73" y="12"/>
                  </a:cubicBezTo>
                  <a:cubicBezTo>
                    <a:pt x="73" y="11"/>
                    <a:pt x="72" y="10"/>
                    <a:pt x="71" y="10"/>
                  </a:cubicBezTo>
                  <a:cubicBezTo>
                    <a:pt x="70" y="10"/>
                    <a:pt x="69" y="11"/>
                    <a:pt x="69" y="12"/>
                  </a:cubicBezTo>
                  <a:cubicBezTo>
                    <a:pt x="69" y="13"/>
                    <a:pt x="70" y="14"/>
                    <a:pt x="71" y="14"/>
                  </a:cubicBezTo>
                  <a:moveTo>
                    <a:pt x="61" y="14"/>
                  </a:moveTo>
                  <a:cubicBezTo>
                    <a:pt x="62" y="14"/>
                    <a:pt x="63" y="13"/>
                    <a:pt x="63" y="12"/>
                  </a:cubicBezTo>
                  <a:cubicBezTo>
                    <a:pt x="63" y="11"/>
                    <a:pt x="62" y="10"/>
                    <a:pt x="61" y="10"/>
                  </a:cubicBezTo>
                  <a:cubicBezTo>
                    <a:pt x="60" y="10"/>
                    <a:pt x="59" y="11"/>
                    <a:pt x="59" y="12"/>
                  </a:cubicBezTo>
                  <a:cubicBezTo>
                    <a:pt x="59" y="13"/>
                    <a:pt x="60" y="14"/>
                    <a:pt x="61" y="14"/>
                  </a:cubicBezTo>
                  <a:moveTo>
                    <a:pt x="51" y="14"/>
                  </a:moveTo>
                  <a:cubicBezTo>
                    <a:pt x="52" y="14"/>
                    <a:pt x="53" y="13"/>
                    <a:pt x="53" y="12"/>
                  </a:cubicBezTo>
                  <a:cubicBezTo>
                    <a:pt x="53" y="11"/>
                    <a:pt x="52" y="10"/>
                    <a:pt x="51" y="10"/>
                  </a:cubicBezTo>
                  <a:cubicBezTo>
                    <a:pt x="50" y="10"/>
                    <a:pt x="49" y="11"/>
                    <a:pt x="49" y="12"/>
                  </a:cubicBezTo>
                  <a:cubicBezTo>
                    <a:pt x="49" y="13"/>
                    <a:pt x="50" y="14"/>
                    <a:pt x="51" y="14"/>
                  </a:cubicBezTo>
                  <a:moveTo>
                    <a:pt x="41" y="14"/>
                  </a:moveTo>
                  <a:cubicBezTo>
                    <a:pt x="42" y="14"/>
                    <a:pt x="43" y="13"/>
                    <a:pt x="43" y="12"/>
                  </a:cubicBezTo>
                  <a:cubicBezTo>
                    <a:pt x="43" y="11"/>
                    <a:pt x="42" y="10"/>
                    <a:pt x="41" y="10"/>
                  </a:cubicBezTo>
                  <a:cubicBezTo>
                    <a:pt x="40" y="10"/>
                    <a:pt x="39" y="11"/>
                    <a:pt x="39" y="12"/>
                  </a:cubicBezTo>
                  <a:cubicBezTo>
                    <a:pt x="39" y="13"/>
                    <a:pt x="40" y="14"/>
                    <a:pt x="41" y="14"/>
                  </a:cubicBezTo>
                  <a:moveTo>
                    <a:pt x="32" y="14"/>
                  </a:moveTo>
                  <a:cubicBezTo>
                    <a:pt x="33" y="14"/>
                    <a:pt x="33" y="13"/>
                    <a:pt x="33" y="12"/>
                  </a:cubicBezTo>
                  <a:cubicBezTo>
                    <a:pt x="33" y="11"/>
                    <a:pt x="33" y="10"/>
                    <a:pt x="32" y="10"/>
                  </a:cubicBezTo>
                  <a:cubicBezTo>
                    <a:pt x="30" y="10"/>
                    <a:pt x="30" y="11"/>
                    <a:pt x="30" y="12"/>
                  </a:cubicBezTo>
                  <a:cubicBezTo>
                    <a:pt x="30" y="13"/>
                    <a:pt x="30" y="14"/>
                    <a:pt x="32" y="14"/>
                  </a:cubicBezTo>
                  <a:moveTo>
                    <a:pt x="22" y="14"/>
                  </a:moveTo>
                  <a:cubicBezTo>
                    <a:pt x="23" y="14"/>
                    <a:pt x="24" y="13"/>
                    <a:pt x="24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1" y="10"/>
                    <a:pt x="20" y="11"/>
                    <a:pt x="20" y="12"/>
                  </a:cubicBezTo>
                  <a:cubicBezTo>
                    <a:pt x="20" y="13"/>
                    <a:pt x="21" y="14"/>
                    <a:pt x="22" y="14"/>
                  </a:cubicBezTo>
                  <a:moveTo>
                    <a:pt x="12" y="14"/>
                  </a:moveTo>
                  <a:cubicBezTo>
                    <a:pt x="13" y="14"/>
                    <a:pt x="14" y="13"/>
                    <a:pt x="14" y="12"/>
                  </a:cubicBezTo>
                  <a:cubicBezTo>
                    <a:pt x="14" y="11"/>
                    <a:pt x="13" y="10"/>
                    <a:pt x="12" y="10"/>
                  </a:cubicBezTo>
                  <a:cubicBezTo>
                    <a:pt x="11" y="10"/>
                    <a:pt x="10" y="11"/>
                    <a:pt x="10" y="12"/>
                  </a:cubicBezTo>
                  <a:cubicBezTo>
                    <a:pt x="10" y="13"/>
                    <a:pt x="11" y="14"/>
                    <a:pt x="12" y="14"/>
                  </a:cubicBezTo>
                  <a:moveTo>
                    <a:pt x="37" y="41"/>
                  </a:moveTo>
                  <a:cubicBezTo>
                    <a:pt x="26" y="41"/>
                    <a:pt x="26" y="41"/>
                    <a:pt x="26" y="41"/>
                  </a:cubicBezTo>
                  <a:cubicBezTo>
                    <a:pt x="25" y="41"/>
                    <a:pt x="24" y="42"/>
                    <a:pt x="24" y="43"/>
                  </a:cubicBezTo>
                  <a:cubicBezTo>
                    <a:pt x="24" y="44"/>
                    <a:pt x="25" y="45"/>
                    <a:pt x="26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9" y="45"/>
                    <a:pt x="39" y="44"/>
                    <a:pt x="39" y="43"/>
                  </a:cubicBezTo>
                  <a:cubicBezTo>
                    <a:pt x="39" y="42"/>
                    <a:pt x="39" y="41"/>
                    <a:pt x="37" y="41"/>
                  </a:cubicBezTo>
                  <a:moveTo>
                    <a:pt x="39" y="35"/>
                  </a:moveTo>
                  <a:cubicBezTo>
                    <a:pt x="39" y="34"/>
                    <a:pt x="39" y="33"/>
                    <a:pt x="37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8" y="34"/>
                    <a:pt x="18" y="35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9" y="37"/>
                    <a:pt x="39" y="36"/>
                    <a:pt x="39" y="35"/>
                  </a:cubicBezTo>
                  <a:moveTo>
                    <a:pt x="39" y="28"/>
                  </a:moveTo>
                  <a:cubicBezTo>
                    <a:pt x="39" y="26"/>
                    <a:pt x="39" y="26"/>
                    <a:pt x="37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6"/>
                    <a:pt x="10" y="26"/>
                    <a:pt x="10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9" y="29"/>
                    <a:pt x="39" y="29"/>
                    <a:pt x="39" y="28"/>
                  </a:cubicBezTo>
                  <a:moveTo>
                    <a:pt x="91" y="74"/>
                  </a:moveTo>
                  <a:cubicBezTo>
                    <a:pt x="90" y="74"/>
                    <a:pt x="89" y="73"/>
                    <a:pt x="89" y="71"/>
                  </a:cubicBezTo>
                  <a:cubicBezTo>
                    <a:pt x="89" y="69"/>
                    <a:pt x="90" y="68"/>
                    <a:pt x="91" y="68"/>
                  </a:cubicBezTo>
                  <a:cubicBezTo>
                    <a:pt x="93" y="68"/>
                    <a:pt x="94" y="69"/>
                    <a:pt x="94" y="71"/>
                  </a:cubicBezTo>
                  <a:cubicBezTo>
                    <a:pt x="94" y="73"/>
                    <a:pt x="93" y="74"/>
                    <a:pt x="91" y="74"/>
                  </a:cubicBezTo>
                  <a:moveTo>
                    <a:pt x="91" y="64"/>
                  </a:moveTo>
                  <a:cubicBezTo>
                    <a:pt x="88" y="64"/>
                    <a:pt x="85" y="67"/>
                    <a:pt x="85" y="71"/>
                  </a:cubicBezTo>
                  <a:cubicBezTo>
                    <a:pt x="85" y="75"/>
                    <a:pt x="88" y="78"/>
                    <a:pt x="91" y="78"/>
                  </a:cubicBezTo>
                  <a:cubicBezTo>
                    <a:pt x="95" y="78"/>
                    <a:pt x="98" y="75"/>
                    <a:pt x="98" y="71"/>
                  </a:cubicBezTo>
                  <a:cubicBezTo>
                    <a:pt x="98" y="67"/>
                    <a:pt x="95" y="64"/>
                    <a:pt x="91" y="64"/>
                  </a:cubicBezTo>
                  <a:moveTo>
                    <a:pt x="120" y="66"/>
                  </a:moveTo>
                  <a:cubicBezTo>
                    <a:pt x="120" y="67"/>
                    <a:pt x="119" y="68"/>
                    <a:pt x="11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66"/>
                    <a:pt x="107" y="64"/>
                    <a:pt x="106" y="62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119" y="62"/>
                    <a:pt x="120" y="63"/>
                    <a:pt x="120" y="64"/>
                  </a:cubicBezTo>
                  <a:lnTo>
                    <a:pt x="120" y="66"/>
                  </a:lnTo>
                  <a:close/>
                  <a:moveTo>
                    <a:pt x="91" y="84"/>
                  </a:moveTo>
                  <a:cubicBezTo>
                    <a:pt x="84" y="84"/>
                    <a:pt x="79" y="78"/>
                    <a:pt x="79" y="71"/>
                  </a:cubicBezTo>
                  <a:cubicBezTo>
                    <a:pt x="79" y="64"/>
                    <a:pt x="84" y="59"/>
                    <a:pt x="91" y="59"/>
                  </a:cubicBezTo>
                  <a:cubicBezTo>
                    <a:pt x="98" y="59"/>
                    <a:pt x="104" y="64"/>
                    <a:pt x="104" y="71"/>
                  </a:cubicBezTo>
                  <a:cubicBezTo>
                    <a:pt x="104" y="78"/>
                    <a:pt x="98" y="84"/>
                    <a:pt x="91" y="84"/>
                  </a:cubicBezTo>
                  <a:moveTo>
                    <a:pt x="75" y="68"/>
                  </a:moveTo>
                  <a:cubicBezTo>
                    <a:pt x="47" y="68"/>
                    <a:pt x="47" y="68"/>
                    <a:pt x="47" y="68"/>
                  </a:cubicBezTo>
                  <a:cubicBezTo>
                    <a:pt x="47" y="66"/>
                    <a:pt x="46" y="64"/>
                    <a:pt x="45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4"/>
                    <a:pt x="75" y="66"/>
                    <a:pt x="75" y="68"/>
                  </a:cubicBezTo>
                  <a:moveTo>
                    <a:pt x="31" y="84"/>
                  </a:moveTo>
                  <a:cubicBezTo>
                    <a:pt x="23" y="84"/>
                    <a:pt x="18" y="78"/>
                    <a:pt x="18" y="71"/>
                  </a:cubicBezTo>
                  <a:cubicBezTo>
                    <a:pt x="18" y="64"/>
                    <a:pt x="23" y="59"/>
                    <a:pt x="31" y="59"/>
                  </a:cubicBezTo>
                  <a:cubicBezTo>
                    <a:pt x="38" y="59"/>
                    <a:pt x="43" y="64"/>
                    <a:pt x="43" y="71"/>
                  </a:cubicBezTo>
                  <a:cubicBezTo>
                    <a:pt x="43" y="78"/>
                    <a:pt x="38" y="84"/>
                    <a:pt x="31" y="84"/>
                  </a:cubicBezTo>
                  <a:moveTo>
                    <a:pt x="14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5" y="68"/>
                    <a:pt x="4" y="67"/>
                    <a:pt x="4" y="66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3"/>
                    <a:pt x="5" y="62"/>
                    <a:pt x="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5" y="64"/>
                    <a:pt x="14" y="66"/>
                    <a:pt x="14" y="68"/>
                  </a:cubicBezTo>
                  <a:moveTo>
                    <a:pt x="6" y="4"/>
                  </a:moveTo>
                  <a:cubicBezTo>
                    <a:pt x="77" y="4"/>
                    <a:pt x="77" y="4"/>
                    <a:pt x="77" y="4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8" y="56"/>
                    <a:pt x="35" y="55"/>
                    <a:pt x="31" y="55"/>
                  </a:cubicBezTo>
                  <a:cubicBezTo>
                    <a:pt x="26" y="55"/>
                    <a:pt x="23" y="56"/>
                    <a:pt x="20" y="59"/>
                  </a:cubicBezTo>
                  <a:cubicBezTo>
                    <a:pt x="6" y="59"/>
                    <a:pt x="6" y="59"/>
                    <a:pt x="6" y="59"/>
                  </a:cubicBezTo>
                  <a:lnTo>
                    <a:pt x="6" y="4"/>
                  </a:lnTo>
                  <a:close/>
                  <a:moveTo>
                    <a:pt x="81" y="35"/>
                  </a:moveTo>
                  <a:cubicBezTo>
                    <a:pt x="102" y="35"/>
                    <a:pt x="102" y="35"/>
                    <a:pt x="102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100" y="18"/>
                    <a:pt x="99" y="18"/>
                    <a:pt x="98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9" y="35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3" y="47"/>
                    <a:pt x="112" y="48"/>
                    <a:pt x="112" y="49"/>
                  </a:cubicBezTo>
                  <a:cubicBezTo>
                    <a:pt x="112" y="50"/>
                    <a:pt x="113" y="51"/>
                    <a:pt x="114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4" y="53"/>
                    <a:pt x="114" y="53"/>
                    <a:pt x="114" y="53"/>
                  </a:cubicBezTo>
                  <a:cubicBezTo>
                    <a:pt x="113" y="53"/>
                    <a:pt x="112" y="54"/>
                    <a:pt x="112" y="55"/>
                  </a:cubicBezTo>
                  <a:cubicBezTo>
                    <a:pt x="112" y="56"/>
                    <a:pt x="113" y="57"/>
                    <a:pt x="114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99" y="56"/>
                    <a:pt x="96" y="55"/>
                    <a:pt x="91" y="55"/>
                  </a:cubicBezTo>
                  <a:cubicBezTo>
                    <a:pt x="87" y="55"/>
                    <a:pt x="84" y="56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lnTo>
                    <a:pt x="81" y="35"/>
                  </a:lnTo>
                  <a:close/>
                  <a:moveTo>
                    <a:pt x="81" y="22"/>
                  </a:moveTo>
                  <a:cubicBezTo>
                    <a:pt x="97" y="22"/>
                    <a:pt x="97" y="22"/>
                    <a:pt x="97" y="2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81" y="31"/>
                    <a:pt x="81" y="31"/>
                    <a:pt x="81" y="31"/>
                  </a:cubicBezTo>
                  <a:lnTo>
                    <a:pt x="81" y="22"/>
                  </a:lnTo>
                  <a:close/>
                  <a:moveTo>
                    <a:pt x="120" y="59"/>
                  </a:moveTo>
                  <a:cubicBezTo>
                    <a:pt x="122" y="45"/>
                    <a:pt x="122" y="45"/>
                    <a:pt x="122" y="45"/>
                  </a:cubicBezTo>
                  <a:cubicBezTo>
                    <a:pt x="122" y="45"/>
                    <a:pt x="122" y="44"/>
                    <a:pt x="121" y="44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1"/>
                    <a:pt x="105" y="10"/>
                    <a:pt x="104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1"/>
                    <a:pt x="0" y="63"/>
                    <a:pt x="0" y="64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9"/>
                    <a:pt x="3" y="72"/>
                    <a:pt x="6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81"/>
                    <a:pt x="22" y="88"/>
                    <a:pt x="31" y="88"/>
                  </a:cubicBezTo>
                  <a:cubicBezTo>
                    <a:pt x="39" y="88"/>
                    <a:pt x="47" y="81"/>
                    <a:pt x="47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81"/>
                    <a:pt x="83" y="88"/>
                    <a:pt x="91" y="88"/>
                  </a:cubicBezTo>
                  <a:cubicBezTo>
                    <a:pt x="100" y="88"/>
                    <a:pt x="108" y="81"/>
                    <a:pt x="10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21" y="72"/>
                    <a:pt x="124" y="69"/>
                    <a:pt x="124" y="66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24" y="62"/>
                    <a:pt x="122" y="60"/>
                    <a:pt x="120" y="59"/>
                  </a:cubicBezTo>
                  <a:moveTo>
                    <a:pt x="31" y="74"/>
                  </a:moveTo>
                  <a:cubicBezTo>
                    <a:pt x="29" y="74"/>
                    <a:pt x="28" y="73"/>
                    <a:pt x="28" y="71"/>
                  </a:cubicBezTo>
                  <a:cubicBezTo>
                    <a:pt x="28" y="69"/>
                    <a:pt x="29" y="68"/>
                    <a:pt x="31" y="68"/>
                  </a:cubicBezTo>
                  <a:cubicBezTo>
                    <a:pt x="32" y="68"/>
                    <a:pt x="33" y="69"/>
                    <a:pt x="33" y="71"/>
                  </a:cubicBezTo>
                  <a:cubicBezTo>
                    <a:pt x="33" y="73"/>
                    <a:pt x="32" y="74"/>
                    <a:pt x="31" y="74"/>
                  </a:cubicBezTo>
                  <a:moveTo>
                    <a:pt x="31" y="64"/>
                  </a:moveTo>
                  <a:cubicBezTo>
                    <a:pt x="27" y="64"/>
                    <a:pt x="24" y="67"/>
                    <a:pt x="24" y="71"/>
                  </a:cubicBezTo>
                  <a:cubicBezTo>
                    <a:pt x="24" y="75"/>
                    <a:pt x="27" y="78"/>
                    <a:pt x="31" y="78"/>
                  </a:cubicBezTo>
                  <a:cubicBezTo>
                    <a:pt x="34" y="78"/>
                    <a:pt x="37" y="75"/>
                    <a:pt x="37" y="71"/>
                  </a:cubicBezTo>
                  <a:cubicBezTo>
                    <a:pt x="37" y="67"/>
                    <a:pt x="34" y="64"/>
                    <a:pt x="31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7" name="Group 274">
            <a:extLst>
              <a:ext uri="{FF2B5EF4-FFF2-40B4-BE49-F238E27FC236}">
                <a16:creationId xmlns:a16="http://schemas.microsoft.com/office/drawing/2014/main" id="{D7CDAA76-DB2F-40CB-888B-094469D972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3577" y="4150520"/>
            <a:ext cx="760413" cy="758825"/>
            <a:chOff x="4916" y="2807"/>
            <a:chExt cx="479" cy="478"/>
          </a:xfrm>
        </p:grpSpPr>
        <p:sp>
          <p:nvSpPr>
            <p:cNvPr id="308" name="AutoShape 273">
              <a:extLst>
                <a:ext uri="{FF2B5EF4-FFF2-40B4-BE49-F238E27FC236}">
                  <a16:creationId xmlns:a16="http://schemas.microsoft.com/office/drawing/2014/main" id="{2BA25324-45B6-4D9D-BEE5-D3B17A7D1E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16" y="280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75">
              <a:extLst>
                <a:ext uri="{FF2B5EF4-FFF2-40B4-BE49-F238E27FC236}">
                  <a16:creationId xmlns:a16="http://schemas.microsoft.com/office/drawing/2014/main" id="{3D168C7D-A87A-40BD-A03E-A1E94D684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8" y="280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76">
              <a:extLst>
                <a:ext uri="{FF2B5EF4-FFF2-40B4-BE49-F238E27FC236}">
                  <a16:creationId xmlns:a16="http://schemas.microsoft.com/office/drawing/2014/main" id="{E15674E0-14F5-481D-AC80-6638BA249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" y="2944"/>
              <a:ext cx="191" cy="179"/>
            </a:xfrm>
            <a:custGeom>
              <a:avLst/>
              <a:gdLst>
                <a:gd name="T0" fmla="*/ 47 w 78"/>
                <a:gd name="T1" fmla="*/ 38 h 73"/>
                <a:gd name="T2" fmla="*/ 55 w 78"/>
                <a:gd name="T3" fmla="*/ 21 h 73"/>
                <a:gd name="T4" fmla="*/ 34 w 78"/>
                <a:gd name="T5" fmla="*/ 0 h 73"/>
                <a:gd name="T6" fmla="*/ 13 w 78"/>
                <a:gd name="T7" fmla="*/ 21 h 73"/>
                <a:gd name="T8" fmla="*/ 21 w 78"/>
                <a:gd name="T9" fmla="*/ 38 h 73"/>
                <a:gd name="T10" fmla="*/ 0 w 78"/>
                <a:gd name="T11" fmla="*/ 65 h 73"/>
                <a:gd name="T12" fmla="*/ 0 w 78"/>
                <a:gd name="T13" fmla="*/ 73 h 73"/>
                <a:gd name="T14" fmla="*/ 2 w 78"/>
                <a:gd name="T15" fmla="*/ 73 h 73"/>
                <a:gd name="T16" fmla="*/ 2 w 78"/>
                <a:gd name="T17" fmla="*/ 65 h 73"/>
                <a:gd name="T18" fmla="*/ 24 w 78"/>
                <a:gd name="T19" fmla="*/ 40 h 73"/>
                <a:gd name="T20" fmla="*/ 24 w 78"/>
                <a:gd name="T21" fmla="*/ 38 h 73"/>
                <a:gd name="T22" fmla="*/ 24 w 78"/>
                <a:gd name="T23" fmla="*/ 37 h 73"/>
                <a:gd name="T24" fmla="*/ 16 w 78"/>
                <a:gd name="T25" fmla="*/ 21 h 73"/>
                <a:gd name="T26" fmla="*/ 34 w 78"/>
                <a:gd name="T27" fmla="*/ 3 h 73"/>
                <a:gd name="T28" fmla="*/ 52 w 78"/>
                <a:gd name="T29" fmla="*/ 21 h 73"/>
                <a:gd name="T30" fmla="*/ 44 w 78"/>
                <a:gd name="T31" fmla="*/ 37 h 73"/>
                <a:gd name="T32" fmla="*/ 44 w 78"/>
                <a:gd name="T33" fmla="*/ 38 h 73"/>
                <a:gd name="T34" fmla="*/ 44 w 78"/>
                <a:gd name="T35" fmla="*/ 40 h 73"/>
                <a:gd name="T36" fmla="*/ 66 w 78"/>
                <a:gd name="T37" fmla="*/ 65 h 73"/>
                <a:gd name="T38" fmla="*/ 66 w 78"/>
                <a:gd name="T39" fmla="*/ 67 h 73"/>
                <a:gd name="T40" fmla="*/ 78 w 78"/>
                <a:gd name="T41" fmla="*/ 67 h 73"/>
                <a:gd name="T42" fmla="*/ 78 w 78"/>
                <a:gd name="T43" fmla="*/ 64 h 73"/>
                <a:gd name="T44" fmla="*/ 68 w 78"/>
                <a:gd name="T45" fmla="*/ 64 h 73"/>
                <a:gd name="T46" fmla="*/ 47 w 78"/>
                <a:gd name="T47" fmla="*/ 3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" h="73">
                  <a:moveTo>
                    <a:pt x="47" y="38"/>
                  </a:moveTo>
                  <a:cubicBezTo>
                    <a:pt x="52" y="34"/>
                    <a:pt x="55" y="28"/>
                    <a:pt x="55" y="21"/>
                  </a:cubicBezTo>
                  <a:cubicBezTo>
                    <a:pt x="55" y="10"/>
                    <a:pt x="46" y="0"/>
                    <a:pt x="34" y="0"/>
                  </a:cubicBezTo>
                  <a:cubicBezTo>
                    <a:pt x="22" y="0"/>
                    <a:pt x="13" y="10"/>
                    <a:pt x="13" y="21"/>
                  </a:cubicBezTo>
                  <a:cubicBezTo>
                    <a:pt x="13" y="28"/>
                    <a:pt x="16" y="34"/>
                    <a:pt x="21" y="38"/>
                  </a:cubicBezTo>
                  <a:cubicBezTo>
                    <a:pt x="8" y="42"/>
                    <a:pt x="0" y="53"/>
                    <a:pt x="0" y="6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54"/>
                    <a:pt x="11" y="43"/>
                    <a:pt x="24" y="40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19" y="34"/>
                    <a:pt x="16" y="28"/>
                    <a:pt x="16" y="21"/>
                  </a:cubicBezTo>
                  <a:cubicBezTo>
                    <a:pt x="16" y="11"/>
                    <a:pt x="24" y="3"/>
                    <a:pt x="34" y="3"/>
                  </a:cubicBezTo>
                  <a:cubicBezTo>
                    <a:pt x="44" y="3"/>
                    <a:pt x="52" y="11"/>
                    <a:pt x="52" y="21"/>
                  </a:cubicBezTo>
                  <a:cubicBezTo>
                    <a:pt x="52" y="28"/>
                    <a:pt x="49" y="34"/>
                    <a:pt x="44" y="37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57" y="43"/>
                    <a:pt x="66" y="54"/>
                    <a:pt x="66" y="65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52"/>
                    <a:pt x="60" y="42"/>
                    <a:pt x="47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77">
              <a:extLst>
                <a:ext uri="{FF2B5EF4-FFF2-40B4-BE49-F238E27FC236}">
                  <a16:creationId xmlns:a16="http://schemas.microsoft.com/office/drawing/2014/main" id="{2EF74000-4A37-4310-8DC2-8353FA80E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1" y="2925"/>
              <a:ext cx="73" cy="68"/>
            </a:xfrm>
            <a:custGeom>
              <a:avLst/>
              <a:gdLst>
                <a:gd name="T0" fmla="*/ 15 w 73"/>
                <a:gd name="T1" fmla="*/ 32 h 68"/>
                <a:gd name="T2" fmla="*/ 29 w 73"/>
                <a:gd name="T3" fmla="*/ 29 h 68"/>
                <a:gd name="T4" fmla="*/ 37 w 73"/>
                <a:gd name="T5" fmla="*/ 14 h 68"/>
                <a:gd name="T6" fmla="*/ 44 w 73"/>
                <a:gd name="T7" fmla="*/ 29 h 68"/>
                <a:gd name="T8" fmla="*/ 59 w 73"/>
                <a:gd name="T9" fmla="*/ 32 h 68"/>
                <a:gd name="T10" fmla="*/ 46 w 73"/>
                <a:gd name="T11" fmla="*/ 41 h 68"/>
                <a:gd name="T12" fmla="*/ 49 w 73"/>
                <a:gd name="T13" fmla="*/ 56 h 68"/>
                <a:gd name="T14" fmla="*/ 37 w 73"/>
                <a:gd name="T15" fmla="*/ 49 h 68"/>
                <a:gd name="T16" fmla="*/ 24 w 73"/>
                <a:gd name="T17" fmla="*/ 56 h 68"/>
                <a:gd name="T18" fmla="*/ 27 w 73"/>
                <a:gd name="T19" fmla="*/ 41 h 68"/>
                <a:gd name="T20" fmla="*/ 15 w 73"/>
                <a:gd name="T21" fmla="*/ 32 h 68"/>
                <a:gd name="T22" fmla="*/ 15 w 73"/>
                <a:gd name="T23" fmla="*/ 68 h 68"/>
                <a:gd name="T24" fmla="*/ 37 w 73"/>
                <a:gd name="T25" fmla="*/ 56 h 68"/>
                <a:gd name="T26" fmla="*/ 59 w 73"/>
                <a:gd name="T27" fmla="*/ 68 h 68"/>
                <a:gd name="T28" fmla="*/ 54 w 73"/>
                <a:gd name="T29" fmla="*/ 44 h 68"/>
                <a:gd name="T30" fmla="*/ 73 w 73"/>
                <a:gd name="T31" fmla="*/ 27 h 68"/>
                <a:gd name="T32" fmla="*/ 49 w 73"/>
                <a:gd name="T33" fmla="*/ 22 h 68"/>
                <a:gd name="T34" fmla="*/ 37 w 73"/>
                <a:gd name="T35" fmla="*/ 0 h 68"/>
                <a:gd name="T36" fmla="*/ 24 w 73"/>
                <a:gd name="T37" fmla="*/ 22 h 68"/>
                <a:gd name="T38" fmla="*/ 0 w 73"/>
                <a:gd name="T39" fmla="*/ 27 h 68"/>
                <a:gd name="T40" fmla="*/ 19 w 73"/>
                <a:gd name="T41" fmla="*/ 44 h 68"/>
                <a:gd name="T42" fmla="*/ 15 w 73"/>
                <a:gd name="T4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68">
                  <a:moveTo>
                    <a:pt x="15" y="32"/>
                  </a:moveTo>
                  <a:lnTo>
                    <a:pt x="29" y="29"/>
                  </a:lnTo>
                  <a:lnTo>
                    <a:pt x="37" y="14"/>
                  </a:lnTo>
                  <a:lnTo>
                    <a:pt x="44" y="29"/>
                  </a:lnTo>
                  <a:lnTo>
                    <a:pt x="59" y="32"/>
                  </a:lnTo>
                  <a:lnTo>
                    <a:pt x="46" y="41"/>
                  </a:lnTo>
                  <a:lnTo>
                    <a:pt x="49" y="56"/>
                  </a:lnTo>
                  <a:lnTo>
                    <a:pt x="37" y="49"/>
                  </a:lnTo>
                  <a:lnTo>
                    <a:pt x="24" y="56"/>
                  </a:lnTo>
                  <a:lnTo>
                    <a:pt x="27" y="41"/>
                  </a:lnTo>
                  <a:lnTo>
                    <a:pt x="15" y="32"/>
                  </a:lnTo>
                  <a:close/>
                  <a:moveTo>
                    <a:pt x="15" y="68"/>
                  </a:moveTo>
                  <a:lnTo>
                    <a:pt x="37" y="56"/>
                  </a:lnTo>
                  <a:lnTo>
                    <a:pt x="59" y="68"/>
                  </a:lnTo>
                  <a:lnTo>
                    <a:pt x="54" y="44"/>
                  </a:lnTo>
                  <a:lnTo>
                    <a:pt x="73" y="27"/>
                  </a:lnTo>
                  <a:lnTo>
                    <a:pt x="49" y="22"/>
                  </a:lnTo>
                  <a:lnTo>
                    <a:pt x="37" y="0"/>
                  </a:lnTo>
                  <a:lnTo>
                    <a:pt x="24" y="22"/>
                  </a:lnTo>
                  <a:lnTo>
                    <a:pt x="0" y="27"/>
                  </a:lnTo>
                  <a:lnTo>
                    <a:pt x="19" y="44"/>
                  </a:lnTo>
                  <a:lnTo>
                    <a:pt x="15" y="6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78">
              <a:extLst>
                <a:ext uri="{FF2B5EF4-FFF2-40B4-BE49-F238E27FC236}">
                  <a16:creationId xmlns:a16="http://schemas.microsoft.com/office/drawing/2014/main" id="{5D9C8B7B-111C-49B3-BA6C-B102A39134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1" y="2986"/>
              <a:ext cx="74" cy="71"/>
            </a:xfrm>
            <a:custGeom>
              <a:avLst/>
              <a:gdLst>
                <a:gd name="T0" fmla="*/ 15 w 74"/>
                <a:gd name="T1" fmla="*/ 32 h 71"/>
                <a:gd name="T2" fmla="*/ 30 w 74"/>
                <a:gd name="T3" fmla="*/ 29 h 71"/>
                <a:gd name="T4" fmla="*/ 37 w 74"/>
                <a:gd name="T5" fmla="*/ 17 h 71"/>
                <a:gd name="T6" fmla="*/ 45 w 74"/>
                <a:gd name="T7" fmla="*/ 29 h 71"/>
                <a:gd name="T8" fmla="*/ 59 w 74"/>
                <a:gd name="T9" fmla="*/ 32 h 71"/>
                <a:gd name="T10" fmla="*/ 47 w 74"/>
                <a:gd name="T11" fmla="*/ 44 h 71"/>
                <a:gd name="T12" fmla="*/ 50 w 74"/>
                <a:gd name="T13" fmla="*/ 56 h 71"/>
                <a:gd name="T14" fmla="*/ 37 w 74"/>
                <a:gd name="T15" fmla="*/ 51 h 71"/>
                <a:gd name="T16" fmla="*/ 23 w 74"/>
                <a:gd name="T17" fmla="*/ 56 h 71"/>
                <a:gd name="T18" fmla="*/ 28 w 74"/>
                <a:gd name="T19" fmla="*/ 44 h 71"/>
                <a:gd name="T20" fmla="*/ 15 w 74"/>
                <a:gd name="T21" fmla="*/ 32 h 71"/>
                <a:gd name="T22" fmla="*/ 15 w 74"/>
                <a:gd name="T23" fmla="*/ 71 h 71"/>
                <a:gd name="T24" fmla="*/ 37 w 74"/>
                <a:gd name="T25" fmla="*/ 59 h 71"/>
                <a:gd name="T26" fmla="*/ 59 w 74"/>
                <a:gd name="T27" fmla="*/ 71 h 71"/>
                <a:gd name="T28" fmla="*/ 55 w 74"/>
                <a:gd name="T29" fmla="*/ 47 h 71"/>
                <a:gd name="T30" fmla="*/ 74 w 74"/>
                <a:gd name="T31" fmla="*/ 27 h 71"/>
                <a:gd name="T32" fmla="*/ 47 w 74"/>
                <a:gd name="T33" fmla="*/ 24 h 71"/>
                <a:gd name="T34" fmla="*/ 37 w 74"/>
                <a:gd name="T35" fmla="*/ 0 h 71"/>
                <a:gd name="T36" fmla="*/ 25 w 74"/>
                <a:gd name="T37" fmla="*/ 24 h 71"/>
                <a:gd name="T38" fmla="*/ 0 w 74"/>
                <a:gd name="T39" fmla="*/ 27 h 71"/>
                <a:gd name="T40" fmla="*/ 18 w 74"/>
                <a:gd name="T41" fmla="*/ 47 h 71"/>
                <a:gd name="T42" fmla="*/ 15 w 74"/>
                <a:gd name="T4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71">
                  <a:moveTo>
                    <a:pt x="15" y="32"/>
                  </a:moveTo>
                  <a:lnTo>
                    <a:pt x="30" y="29"/>
                  </a:lnTo>
                  <a:lnTo>
                    <a:pt x="37" y="17"/>
                  </a:lnTo>
                  <a:lnTo>
                    <a:pt x="45" y="29"/>
                  </a:lnTo>
                  <a:lnTo>
                    <a:pt x="59" y="32"/>
                  </a:lnTo>
                  <a:lnTo>
                    <a:pt x="47" y="44"/>
                  </a:lnTo>
                  <a:lnTo>
                    <a:pt x="50" y="56"/>
                  </a:lnTo>
                  <a:lnTo>
                    <a:pt x="37" y="51"/>
                  </a:lnTo>
                  <a:lnTo>
                    <a:pt x="23" y="56"/>
                  </a:lnTo>
                  <a:lnTo>
                    <a:pt x="28" y="44"/>
                  </a:lnTo>
                  <a:lnTo>
                    <a:pt x="15" y="32"/>
                  </a:lnTo>
                  <a:close/>
                  <a:moveTo>
                    <a:pt x="15" y="71"/>
                  </a:moveTo>
                  <a:lnTo>
                    <a:pt x="37" y="59"/>
                  </a:lnTo>
                  <a:lnTo>
                    <a:pt x="59" y="71"/>
                  </a:lnTo>
                  <a:lnTo>
                    <a:pt x="55" y="47"/>
                  </a:lnTo>
                  <a:lnTo>
                    <a:pt x="74" y="27"/>
                  </a:lnTo>
                  <a:lnTo>
                    <a:pt x="47" y="24"/>
                  </a:lnTo>
                  <a:lnTo>
                    <a:pt x="37" y="0"/>
                  </a:lnTo>
                  <a:lnTo>
                    <a:pt x="25" y="24"/>
                  </a:lnTo>
                  <a:lnTo>
                    <a:pt x="0" y="27"/>
                  </a:lnTo>
                  <a:lnTo>
                    <a:pt x="18" y="47"/>
                  </a:lnTo>
                  <a:lnTo>
                    <a:pt x="15" y="7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79">
              <a:extLst>
                <a:ext uri="{FF2B5EF4-FFF2-40B4-BE49-F238E27FC236}">
                  <a16:creationId xmlns:a16="http://schemas.microsoft.com/office/drawing/2014/main" id="{E8AAD424-DF74-4783-9A37-059F33CDF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0" y="2986"/>
              <a:ext cx="74" cy="71"/>
            </a:xfrm>
            <a:custGeom>
              <a:avLst/>
              <a:gdLst>
                <a:gd name="T0" fmla="*/ 37 w 74"/>
                <a:gd name="T1" fmla="*/ 51 h 71"/>
                <a:gd name="T2" fmla="*/ 25 w 74"/>
                <a:gd name="T3" fmla="*/ 56 h 71"/>
                <a:gd name="T4" fmla="*/ 27 w 74"/>
                <a:gd name="T5" fmla="*/ 42 h 71"/>
                <a:gd name="T6" fmla="*/ 17 w 74"/>
                <a:gd name="T7" fmla="*/ 32 h 71"/>
                <a:gd name="T8" fmla="*/ 32 w 74"/>
                <a:gd name="T9" fmla="*/ 29 h 71"/>
                <a:gd name="T10" fmla="*/ 37 w 74"/>
                <a:gd name="T11" fmla="*/ 17 h 71"/>
                <a:gd name="T12" fmla="*/ 44 w 74"/>
                <a:gd name="T13" fmla="*/ 29 h 71"/>
                <a:gd name="T14" fmla="*/ 59 w 74"/>
                <a:gd name="T15" fmla="*/ 32 h 71"/>
                <a:gd name="T16" fmla="*/ 49 w 74"/>
                <a:gd name="T17" fmla="*/ 42 h 71"/>
                <a:gd name="T18" fmla="*/ 52 w 74"/>
                <a:gd name="T19" fmla="*/ 56 h 71"/>
                <a:gd name="T20" fmla="*/ 37 w 74"/>
                <a:gd name="T21" fmla="*/ 51 h 71"/>
                <a:gd name="T22" fmla="*/ 74 w 74"/>
                <a:gd name="T23" fmla="*/ 27 h 71"/>
                <a:gd name="T24" fmla="*/ 49 w 74"/>
                <a:gd name="T25" fmla="*/ 24 h 71"/>
                <a:gd name="T26" fmla="*/ 37 w 74"/>
                <a:gd name="T27" fmla="*/ 0 h 71"/>
                <a:gd name="T28" fmla="*/ 27 w 74"/>
                <a:gd name="T29" fmla="*/ 24 h 71"/>
                <a:gd name="T30" fmla="*/ 0 w 74"/>
                <a:gd name="T31" fmla="*/ 27 h 71"/>
                <a:gd name="T32" fmla="*/ 20 w 74"/>
                <a:gd name="T33" fmla="*/ 44 h 71"/>
                <a:gd name="T34" fmla="*/ 15 w 74"/>
                <a:gd name="T35" fmla="*/ 71 h 71"/>
                <a:gd name="T36" fmla="*/ 37 w 74"/>
                <a:gd name="T37" fmla="*/ 59 h 71"/>
                <a:gd name="T38" fmla="*/ 59 w 74"/>
                <a:gd name="T39" fmla="*/ 71 h 71"/>
                <a:gd name="T40" fmla="*/ 57 w 74"/>
                <a:gd name="T41" fmla="*/ 44 h 71"/>
                <a:gd name="T42" fmla="*/ 74 w 74"/>
                <a:gd name="T43" fmla="*/ 2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71">
                  <a:moveTo>
                    <a:pt x="37" y="51"/>
                  </a:moveTo>
                  <a:lnTo>
                    <a:pt x="25" y="56"/>
                  </a:lnTo>
                  <a:lnTo>
                    <a:pt x="27" y="42"/>
                  </a:lnTo>
                  <a:lnTo>
                    <a:pt x="17" y="32"/>
                  </a:lnTo>
                  <a:lnTo>
                    <a:pt x="32" y="29"/>
                  </a:lnTo>
                  <a:lnTo>
                    <a:pt x="37" y="17"/>
                  </a:lnTo>
                  <a:lnTo>
                    <a:pt x="44" y="29"/>
                  </a:lnTo>
                  <a:lnTo>
                    <a:pt x="59" y="32"/>
                  </a:lnTo>
                  <a:lnTo>
                    <a:pt x="49" y="42"/>
                  </a:lnTo>
                  <a:lnTo>
                    <a:pt x="52" y="56"/>
                  </a:lnTo>
                  <a:lnTo>
                    <a:pt x="37" y="51"/>
                  </a:lnTo>
                  <a:close/>
                  <a:moveTo>
                    <a:pt x="74" y="27"/>
                  </a:moveTo>
                  <a:lnTo>
                    <a:pt x="49" y="24"/>
                  </a:lnTo>
                  <a:lnTo>
                    <a:pt x="37" y="0"/>
                  </a:lnTo>
                  <a:lnTo>
                    <a:pt x="27" y="24"/>
                  </a:lnTo>
                  <a:lnTo>
                    <a:pt x="0" y="27"/>
                  </a:lnTo>
                  <a:lnTo>
                    <a:pt x="20" y="44"/>
                  </a:lnTo>
                  <a:lnTo>
                    <a:pt x="15" y="71"/>
                  </a:lnTo>
                  <a:lnTo>
                    <a:pt x="37" y="59"/>
                  </a:lnTo>
                  <a:lnTo>
                    <a:pt x="59" y="71"/>
                  </a:lnTo>
                  <a:lnTo>
                    <a:pt x="57" y="44"/>
                  </a:lnTo>
                  <a:lnTo>
                    <a:pt x="74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280">
              <a:extLst>
                <a:ext uri="{FF2B5EF4-FFF2-40B4-BE49-F238E27FC236}">
                  <a16:creationId xmlns:a16="http://schemas.microsoft.com/office/drawing/2014/main" id="{0F6408C4-33BB-4B83-AAB2-1AF534C27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" y="3057"/>
              <a:ext cx="135" cy="91"/>
            </a:xfrm>
            <a:custGeom>
              <a:avLst/>
              <a:gdLst>
                <a:gd name="T0" fmla="*/ 41 w 55"/>
                <a:gd name="T1" fmla="*/ 11 h 37"/>
                <a:gd name="T2" fmla="*/ 52 w 55"/>
                <a:gd name="T3" fmla="*/ 11 h 37"/>
                <a:gd name="T4" fmla="*/ 48 w 55"/>
                <a:gd name="T5" fmla="*/ 26 h 37"/>
                <a:gd name="T6" fmla="*/ 46 w 55"/>
                <a:gd name="T7" fmla="*/ 28 h 37"/>
                <a:gd name="T8" fmla="*/ 18 w 55"/>
                <a:gd name="T9" fmla="*/ 28 h 37"/>
                <a:gd name="T10" fmla="*/ 16 w 55"/>
                <a:gd name="T11" fmla="*/ 21 h 37"/>
                <a:gd name="T12" fmla="*/ 20 w 55"/>
                <a:gd name="T13" fmla="*/ 21 h 37"/>
                <a:gd name="T14" fmla="*/ 20 w 55"/>
                <a:gd name="T15" fmla="*/ 18 h 37"/>
                <a:gd name="T16" fmla="*/ 16 w 55"/>
                <a:gd name="T17" fmla="*/ 18 h 37"/>
                <a:gd name="T18" fmla="*/ 14 w 55"/>
                <a:gd name="T19" fmla="*/ 11 h 37"/>
                <a:gd name="T20" fmla="*/ 26 w 55"/>
                <a:gd name="T21" fmla="*/ 11 h 37"/>
                <a:gd name="T22" fmla="*/ 26 w 55"/>
                <a:gd name="T23" fmla="*/ 8 h 37"/>
                <a:gd name="T24" fmla="*/ 13 w 55"/>
                <a:gd name="T25" fmla="*/ 8 h 37"/>
                <a:gd name="T26" fmla="*/ 13 w 55"/>
                <a:gd name="T27" fmla="*/ 7 h 37"/>
                <a:gd name="T28" fmla="*/ 6 w 55"/>
                <a:gd name="T29" fmla="*/ 0 h 37"/>
                <a:gd name="T30" fmla="*/ 0 w 55"/>
                <a:gd name="T31" fmla="*/ 0 h 37"/>
                <a:gd name="T32" fmla="*/ 0 w 55"/>
                <a:gd name="T33" fmla="*/ 3 h 37"/>
                <a:gd name="T34" fmla="*/ 6 w 55"/>
                <a:gd name="T35" fmla="*/ 3 h 37"/>
                <a:gd name="T36" fmla="*/ 10 w 55"/>
                <a:gd name="T37" fmla="*/ 7 h 37"/>
                <a:gd name="T38" fmla="*/ 13 w 55"/>
                <a:gd name="T39" fmla="*/ 18 h 37"/>
                <a:gd name="T40" fmla="*/ 12 w 55"/>
                <a:gd name="T41" fmla="*/ 18 h 37"/>
                <a:gd name="T42" fmla="*/ 12 w 55"/>
                <a:gd name="T43" fmla="*/ 21 h 37"/>
                <a:gd name="T44" fmla="*/ 14 w 55"/>
                <a:gd name="T45" fmla="*/ 21 h 37"/>
                <a:gd name="T46" fmla="*/ 16 w 55"/>
                <a:gd name="T47" fmla="*/ 30 h 37"/>
                <a:gd name="T48" fmla="*/ 23 w 55"/>
                <a:gd name="T49" fmla="*/ 37 h 37"/>
                <a:gd name="T50" fmla="*/ 42 w 55"/>
                <a:gd name="T51" fmla="*/ 37 h 37"/>
                <a:gd name="T52" fmla="*/ 42 w 55"/>
                <a:gd name="T53" fmla="*/ 34 h 37"/>
                <a:gd name="T54" fmla="*/ 23 w 55"/>
                <a:gd name="T55" fmla="*/ 34 h 37"/>
                <a:gd name="T56" fmla="*/ 19 w 55"/>
                <a:gd name="T57" fmla="*/ 30 h 37"/>
                <a:gd name="T58" fmla="*/ 46 w 55"/>
                <a:gd name="T59" fmla="*/ 30 h 37"/>
                <a:gd name="T60" fmla="*/ 46 w 55"/>
                <a:gd name="T61" fmla="*/ 30 h 37"/>
                <a:gd name="T62" fmla="*/ 51 w 55"/>
                <a:gd name="T63" fmla="*/ 27 h 37"/>
                <a:gd name="T64" fmla="*/ 55 w 55"/>
                <a:gd name="T65" fmla="*/ 8 h 37"/>
                <a:gd name="T66" fmla="*/ 41 w 55"/>
                <a:gd name="T67" fmla="*/ 8 h 37"/>
                <a:gd name="T68" fmla="*/ 41 w 55"/>
                <a:gd name="T6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" h="37">
                  <a:moveTo>
                    <a:pt x="41" y="11"/>
                  </a:moveTo>
                  <a:cubicBezTo>
                    <a:pt x="52" y="11"/>
                    <a:pt x="52" y="11"/>
                    <a:pt x="52" y="11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2"/>
                    <a:pt x="8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9" y="3"/>
                    <a:pt x="10" y="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5"/>
                    <a:pt x="21" y="37"/>
                    <a:pt x="23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0" y="34"/>
                    <a:pt x="19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7" y="30"/>
                    <a:pt x="50" y="30"/>
                    <a:pt x="51" y="27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41" y="8"/>
                    <a:pt x="41" y="8"/>
                    <a:pt x="41" y="8"/>
                  </a:cubicBezTo>
                  <a:lnTo>
                    <a:pt x="41" y="1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81">
              <a:extLst>
                <a:ext uri="{FF2B5EF4-FFF2-40B4-BE49-F238E27FC236}">
                  <a16:creationId xmlns:a16="http://schemas.microsoft.com/office/drawing/2014/main" id="{AC66B42E-1A84-4564-B160-770C6DCA6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3" y="3148"/>
              <a:ext cx="17" cy="17"/>
            </a:xfrm>
            <a:custGeom>
              <a:avLst/>
              <a:gdLst>
                <a:gd name="T0" fmla="*/ 3 w 7"/>
                <a:gd name="T1" fmla="*/ 5 h 7"/>
                <a:gd name="T2" fmla="*/ 3 w 7"/>
                <a:gd name="T3" fmla="*/ 4 h 7"/>
                <a:gd name="T4" fmla="*/ 3 w 7"/>
                <a:gd name="T5" fmla="*/ 3 h 7"/>
                <a:gd name="T6" fmla="*/ 4 w 7"/>
                <a:gd name="T7" fmla="*/ 4 h 7"/>
                <a:gd name="T8" fmla="*/ 3 w 7"/>
                <a:gd name="T9" fmla="*/ 5 h 7"/>
                <a:gd name="T10" fmla="*/ 3 w 7"/>
                <a:gd name="T11" fmla="*/ 0 h 7"/>
                <a:gd name="T12" fmla="*/ 0 w 7"/>
                <a:gd name="T13" fmla="*/ 4 h 7"/>
                <a:gd name="T14" fmla="*/ 3 w 7"/>
                <a:gd name="T15" fmla="*/ 7 h 7"/>
                <a:gd name="T16" fmla="*/ 7 w 7"/>
                <a:gd name="T17" fmla="*/ 4 h 7"/>
                <a:gd name="T18" fmla="*/ 3 w 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3" y="5"/>
                  </a:move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5"/>
                    <a:pt x="3" y="5"/>
                  </a:cubicBezTo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  <a:cubicBezTo>
                    <a:pt x="5" y="7"/>
                    <a:pt x="7" y="6"/>
                    <a:pt x="7" y="4"/>
                  </a:cubicBezTo>
                  <a:cubicBezTo>
                    <a:pt x="7" y="2"/>
                    <a:pt x="5" y="0"/>
                    <a:pt x="3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82">
              <a:extLst>
                <a:ext uri="{FF2B5EF4-FFF2-40B4-BE49-F238E27FC236}">
                  <a16:creationId xmlns:a16="http://schemas.microsoft.com/office/drawing/2014/main" id="{F2EA4241-590B-4172-9E23-65EDB8F612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5" y="3148"/>
              <a:ext cx="17" cy="17"/>
            </a:xfrm>
            <a:custGeom>
              <a:avLst/>
              <a:gdLst>
                <a:gd name="T0" fmla="*/ 4 w 7"/>
                <a:gd name="T1" fmla="*/ 5 h 7"/>
                <a:gd name="T2" fmla="*/ 3 w 7"/>
                <a:gd name="T3" fmla="*/ 4 h 7"/>
                <a:gd name="T4" fmla="*/ 4 w 7"/>
                <a:gd name="T5" fmla="*/ 3 h 7"/>
                <a:gd name="T6" fmla="*/ 4 w 7"/>
                <a:gd name="T7" fmla="*/ 4 h 7"/>
                <a:gd name="T8" fmla="*/ 4 w 7"/>
                <a:gd name="T9" fmla="*/ 5 h 7"/>
                <a:gd name="T10" fmla="*/ 4 w 7"/>
                <a:gd name="T11" fmla="*/ 0 h 7"/>
                <a:gd name="T12" fmla="*/ 0 w 7"/>
                <a:gd name="T13" fmla="*/ 4 h 7"/>
                <a:gd name="T14" fmla="*/ 4 w 7"/>
                <a:gd name="T15" fmla="*/ 7 h 7"/>
                <a:gd name="T16" fmla="*/ 7 w 7"/>
                <a:gd name="T17" fmla="*/ 4 h 7"/>
                <a:gd name="T18" fmla="*/ 4 w 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5"/>
                  </a:move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83">
              <a:extLst>
                <a:ext uri="{FF2B5EF4-FFF2-40B4-BE49-F238E27FC236}">
                  <a16:creationId xmlns:a16="http://schemas.microsoft.com/office/drawing/2014/main" id="{D2BAD565-2E45-4512-9AE7-7F52E0922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" y="3055"/>
              <a:ext cx="32" cy="61"/>
            </a:xfrm>
            <a:custGeom>
              <a:avLst/>
              <a:gdLst>
                <a:gd name="T0" fmla="*/ 12 w 32"/>
                <a:gd name="T1" fmla="*/ 0 h 61"/>
                <a:gd name="T2" fmla="*/ 12 w 32"/>
                <a:gd name="T3" fmla="*/ 46 h 61"/>
                <a:gd name="T4" fmla="*/ 5 w 32"/>
                <a:gd name="T5" fmla="*/ 39 h 61"/>
                <a:gd name="T6" fmla="*/ 0 w 32"/>
                <a:gd name="T7" fmla="*/ 44 h 61"/>
                <a:gd name="T8" fmla="*/ 15 w 32"/>
                <a:gd name="T9" fmla="*/ 61 h 61"/>
                <a:gd name="T10" fmla="*/ 32 w 32"/>
                <a:gd name="T11" fmla="*/ 44 h 61"/>
                <a:gd name="T12" fmla="*/ 27 w 32"/>
                <a:gd name="T13" fmla="*/ 39 h 61"/>
                <a:gd name="T14" fmla="*/ 20 w 32"/>
                <a:gd name="T15" fmla="*/ 46 h 61"/>
                <a:gd name="T16" fmla="*/ 20 w 32"/>
                <a:gd name="T17" fmla="*/ 0 h 61"/>
                <a:gd name="T18" fmla="*/ 12 w 3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61">
                  <a:moveTo>
                    <a:pt x="12" y="0"/>
                  </a:moveTo>
                  <a:lnTo>
                    <a:pt x="12" y="46"/>
                  </a:lnTo>
                  <a:lnTo>
                    <a:pt x="5" y="39"/>
                  </a:lnTo>
                  <a:lnTo>
                    <a:pt x="0" y="44"/>
                  </a:lnTo>
                  <a:lnTo>
                    <a:pt x="15" y="61"/>
                  </a:lnTo>
                  <a:lnTo>
                    <a:pt x="32" y="44"/>
                  </a:lnTo>
                  <a:lnTo>
                    <a:pt x="27" y="39"/>
                  </a:lnTo>
                  <a:lnTo>
                    <a:pt x="20" y="46"/>
                  </a:lnTo>
                  <a:lnTo>
                    <a:pt x="2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8" name="Group 286">
            <a:extLst>
              <a:ext uri="{FF2B5EF4-FFF2-40B4-BE49-F238E27FC236}">
                <a16:creationId xmlns:a16="http://schemas.microsoft.com/office/drawing/2014/main" id="{D7B53EC7-822A-4E1D-9B7D-BAC8E4D3E2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8215" y="4109245"/>
            <a:ext cx="841375" cy="839788"/>
            <a:chOff x="4457" y="2730"/>
            <a:chExt cx="530" cy="529"/>
          </a:xfrm>
        </p:grpSpPr>
        <p:sp>
          <p:nvSpPr>
            <p:cNvPr id="319" name="AutoShape 285">
              <a:extLst>
                <a:ext uri="{FF2B5EF4-FFF2-40B4-BE49-F238E27FC236}">
                  <a16:creationId xmlns:a16="http://schemas.microsoft.com/office/drawing/2014/main" id="{F3596A51-6008-4B46-B3BE-C3CD5DE7A6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57" y="2730"/>
              <a:ext cx="530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287">
              <a:extLst>
                <a:ext uri="{FF2B5EF4-FFF2-40B4-BE49-F238E27FC236}">
                  <a16:creationId xmlns:a16="http://schemas.microsoft.com/office/drawing/2014/main" id="{EE96ABD7-0FBB-48DF-A97F-5292906F7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7" y="273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88">
              <a:extLst>
                <a:ext uri="{FF2B5EF4-FFF2-40B4-BE49-F238E27FC236}">
                  <a16:creationId xmlns:a16="http://schemas.microsoft.com/office/drawing/2014/main" id="{895B5820-CF64-4C97-A434-12B48359A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5" y="2748"/>
              <a:ext cx="497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89">
              <a:extLst>
                <a:ext uri="{FF2B5EF4-FFF2-40B4-BE49-F238E27FC236}">
                  <a16:creationId xmlns:a16="http://schemas.microsoft.com/office/drawing/2014/main" id="{5851450B-52A9-4778-872C-58B19AB47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" y="2888"/>
              <a:ext cx="200" cy="187"/>
            </a:xfrm>
            <a:custGeom>
              <a:avLst/>
              <a:gdLst>
                <a:gd name="T0" fmla="*/ 47 w 78"/>
                <a:gd name="T1" fmla="*/ 38 h 73"/>
                <a:gd name="T2" fmla="*/ 55 w 78"/>
                <a:gd name="T3" fmla="*/ 21 h 73"/>
                <a:gd name="T4" fmla="*/ 34 w 78"/>
                <a:gd name="T5" fmla="*/ 0 h 73"/>
                <a:gd name="T6" fmla="*/ 13 w 78"/>
                <a:gd name="T7" fmla="*/ 21 h 73"/>
                <a:gd name="T8" fmla="*/ 21 w 78"/>
                <a:gd name="T9" fmla="*/ 38 h 73"/>
                <a:gd name="T10" fmla="*/ 0 w 78"/>
                <a:gd name="T11" fmla="*/ 65 h 73"/>
                <a:gd name="T12" fmla="*/ 0 w 78"/>
                <a:gd name="T13" fmla="*/ 73 h 73"/>
                <a:gd name="T14" fmla="*/ 2 w 78"/>
                <a:gd name="T15" fmla="*/ 73 h 73"/>
                <a:gd name="T16" fmla="*/ 2 w 78"/>
                <a:gd name="T17" fmla="*/ 65 h 73"/>
                <a:gd name="T18" fmla="*/ 24 w 78"/>
                <a:gd name="T19" fmla="*/ 40 h 73"/>
                <a:gd name="T20" fmla="*/ 24 w 78"/>
                <a:gd name="T21" fmla="*/ 38 h 73"/>
                <a:gd name="T22" fmla="*/ 24 w 78"/>
                <a:gd name="T23" fmla="*/ 37 h 73"/>
                <a:gd name="T24" fmla="*/ 16 w 78"/>
                <a:gd name="T25" fmla="*/ 21 h 73"/>
                <a:gd name="T26" fmla="*/ 34 w 78"/>
                <a:gd name="T27" fmla="*/ 3 h 73"/>
                <a:gd name="T28" fmla="*/ 52 w 78"/>
                <a:gd name="T29" fmla="*/ 21 h 73"/>
                <a:gd name="T30" fmla="*/ 44 w 78"/>
                <a:gd name="T31" fmla="*/ 37 h 73"/>
                <a:gd name="T32" fmla="*/ 44 w 78"/>
                <a:gd name="T33" fmla="*/ 38 h 73"/>
                <a:gd name="T34" fmla="*/ 44 w 78"/>
                <a:gd name="T35" fmla="*/ 40 h 73"/>
                <a:gd name="T36" fmla="*/ 66 w 78"/>
                <a:gd name="T37" fmla="*/ 65 h 73"/>
                <a:gd name="T38" fmla="*/ 66 w 78"/>
                <a:gd name="T39" fmla="*/ 67 h 73"/>
                <a:gd name="T40" fmla="*/ 78 w 78"/>
                <a:gd name="T41" fmla="*/ 67 h 73"/>
                <a:gd name="T42" fmla="*/ 78 w 78"/>
                <a:gd name="T43" fmla="*/ 64 h 73"/>
                <a:gd name="T44" fmla="*/ 68 w 78"/>
                <a:gd name="T45" fmla="*/ 64 h 73"/>
                <a:gd name="T46" fmla="*/ 47 w 78"/>
                <a:gd name="T47" fmla="*/ 3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" h="73">
                  <a:moveTo>
                    <a:pt x="47" y="38"/>
                  </a:moveTo>
                  <a:cubicBezTo>
                    <a:pt x="52" y="34"/>
                    <a:pt x="55" y="28"/>
                    <a:pt x="55" y="21"/>
                  </a:cubicBezTo>
                  <a:cubicBezTo>
                    <a:pt x="55" y="10"/>
                    <a:pt x="46" y="0"/>
                    <a:pt x="34" y="0"/>
                  </a:cubicBezTo>
                  <a:cubicBezTo>
                    <a:pt x="22" y="0"/>
                    <a:pt x="13" y="10"/>
                    <a:pt x="13" y="21"/>
                  </a:cubicBezTo>
                  <a:cubicBezTo>
                    <a:pt x="13" y="28"/>
                    <a:pt x="16" y="34"/>
                    <a:pt x="21" y="38"/>
                  </a:cubicBezTo>
                  <a:cubicBezTo>
                    <a:pt x="8" y="42"/>
                    <a:pt x="0" y="53"/>
                    <a:pt x="0" y="6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54"/>
                    <a:pt x="11" y="43"/>
                    <a:pt x="24" y="40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19" y="34"/>
                    <a:pt x="16" y="28"/>
                    <a:pt x="16" y="21"/>
                  </a:cubicBezTo>
                  <a:cubicBezTo>
                    <a:pt x="16" y="11"/>
                    <a:pt x="24" y="3"/>
                    <a:pt x="34" y="3"/>
                  </a:cubicBezTo>
                  <a:cubicBezTo>
                    <a:pt x="44" y="3"/>
                    <a:pt x="52" y="11"/>
                    <a:pt x="52" y="21"/>
                  </a:cubicBezTo>
                  <a:cubicBezTo>
                    <a:pt x="52" y="28"/>
                    <a:pt x="49" y="34"/>
                    <a:pt x="44" y="37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57" y="43"/>
                    <a:pt x="66" y="54"/>
                    <a:pt x="66" y="65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52"/>
                    <a:pt x="60" y="42"/>
                    <a:pt x="47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90">
              <a:extLst>
                <a:ext uri="{FF2B5EF4-FFF2-40B4-BE49-F238E27FC236}">
                  <a16:creationId xmlns:a16="http://schemas.microsoft.com/office/drawing/2014/main" id="{630CFA27-C224-4502-A161-514B39D3A0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0" y="2868"/>
              <a:ext cx="76" cy="71"/>
            </a:xfrm>
            <a:custGeom>
              <a:avLst/>
              <a:gdLst>
                <a:gd name="T0" fmla="*/ 15 w 76"/>
                <a:gd name="T1" fmla="*/ 33 h 71"/>
                <a:gd name="T2" fmla="*/ 30 w 76"/>
                <a:gd name="T3" fmla="*/ 31 h 71"/>
                <a:gd name="T4" fmla="*/ 38 w 76"/>
                <a:gd name="T5" fmla="*/ 15 h 71"/>
                <a:gd name="T6" fmla="*/ 46 w 76"/>
                <a:gd name="T7" fmla="*/ 31 h 71"/>
                <a:gd name="T8" fmla="*/ 61 w 76"/>
                <a:gd name="T9" fmla="*/ 33 h 71"/>
                <a:gd name="T10" fmla="*/ 48 w 76"/>
                <a:gd name="T11" fmla="*/ 43 h 71"/>
                <a:gd name="T12" fmla="*/ 51 w 76"/>
                <a:gd name="T13" fmla="*/ 59 h 71"/>
                <a:gd name="T14" fmla="*/ 38 w 76"/>
                <a:gd name="T15" fmla="*/ 51 h 71"/>
                <a:gd name="T16" fmla="*/ 25 w 76"/>
                <a:gd name="T17" fmla="*/ 59 h 71"/>
                <a:gd name="T18" fmla="*/ 28 w 76"/>
                <a:gd name="T19" fmla="*/ 43 h 71"/>
                <a:gd name="T20" fmla="*/ 15 w 76"/>
                <a:gd name="T21" fmla="*/ 33 h 71"/>
                <a:gd name="T22" fmla="*/ 15 w 76"/>
                <a:gd name="T23" fmla="*/ 71 h 71"/>
                <a:gd name="T24" fmla="*/ 38 w 76"/>
                <a:gd name="T25" fmla="*/ 59 h 71"/>
                <a:gd name="T26" fmla="*/ 61 w 76"/>
                <a:gd name="T27" fmla="*/ 71 h 71"/>
                <a:gd name="T28" fmla="*/ 56 w 76"/>
                <a:gd name="T29" fmla="*/ 46 h 71"/>
                <a:gd name="T30" fmla="*/ 76 w 76"/>
                <a:gd name="T31" fmla="*/ 28 h 71"/>
                <a:gd name="T32" fmla="*/ 51 w 76"/>
                <a:gd name="T33" fmla="*/ 23 h 71"/>
                <a:gd name="T34" fmla="*/ 38 w 76"/>
                <a:gd name="T35" fmla="*/ 0 h 71"/>
                <a:gd name="T36" fmla="*/ 25 w 76"/>
                <a:gd name="T37" fmla="*/ 23 h 71"/>
                <a:gd name="T38" fmla="*/ 0 w 76"/>
                <a:gd name="T39" fmla="*/ 28 h 71"/>
                <a:gd name="T40" fmla="*/ 20 w 76"/>
                <a:gd name="T41" fmla="*/ 46 h 71"/>
                <a:gd name="T42" fmla="*/ 15 w 76"/>
                <a:gd name="T4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" h="71">
                  <a:moveTo>
                    <a:pt x="15" y="33"/>
                  </a:moveTo>
                  <a:lnTo>
                    <a:pt x="30" y="31"/>
                  </a:lnTo>
                  <a:lnTo>
                    <a:pt x="38" y="15"/>
                  </a:lnTo>
                  <a:lnTo>
                    <a:pt x="46" y="31"/>
                  </a:lnTo>
                  <a:lnTo>
                    <a:pt x="61" y="33"/>
                  </a:lnTo>
                  <a:lnTo>
                    <a:pt x="48" y="43"/>
                  </a:lnTo>
                  <a:lnTo>
                    <a:pt x="51" y="59"/>
                  </a:lnTo>
                  <a:lnTo>
                    <a:pt x="38" y="51"/>
                  </a:lnTo>
                  <a:lnTo>
                    <a:pt x="25" y="59"/>
                  </a:lnTo>
                  <a:lnTo>
                    <a:pt x="28" y="43"/>
                  </a:lnTo>
                  <a:lnTo>
                    <a:pt x="15" y="33"/>
                  </a:lnTo>
                  <a:close/>
                  <a:moveTo>
                    <a:pt x="15" y="71"/>
                  </a:moveTo>
                  <a:lnTo>
                    <a:pt x="38" y="59"/>
                  </a:lnTo>
                  <a:lnTo>
                    <a:pt x="61" y="71"/>
                  </a:lnTo>
                  <a:lnTo>
                    <a:pt x="56" y="46"/>
                  </a:lnTo>
                  <a:lnTo>
                    <a:pt x="76" y="28"/>
                  </a:lnTo>
                  <a:lnTo>
                    <a:pt x="51" y="23"/>
                  </a:lnTo>
                  <a:lnTo>
                    <a:pt x="38" y="0"/>
                  </a:lnTo>
                  <a:lnTo>
                    <a:pt x="25" y="23"/>
                  </a:lnTo>
                  <a:lnTo>
                    <a:pt x="0" y="28"/>
                  </a:lnTo>
                  <a:lnTo>
                    <a:pt x="20" y="46"/>
                  </a:lnTo>
                  <a:lnTo>
                    <a:pt x="15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91">
              <a:extLst>
                <a:ext uri="{FF2B5EF4-FFF2-40B4-BE49-F238E27FC236}">
                  <a16:creationId xmlns:a16="http://schemas.microsoft.com/office/drawing/2014/main" id="{B88DB1A6-7973-412C-8479-F52538F3A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9" y="2932"/>
              <a:ext cx="76" cy="74"/>
            </a:xfrm>
            <a:custGeom>
              <a:avLst/>
              <a:gdLst>
                <a:gd name="T0" fmla="*/ 15 w 76"/>
                <a:gd name="T1" fmla="*/ 33 h 74"/>
                <a:gd name="T2" fmla="*/ 30 w 76"/>
                <a:gd name="T3" fmla="*/ 30 h 74"/>
                <a:gd name="T4" fmla="*/ 38 w 76"/>
                <a:gd name="T5" fmla="*/ 18 h 74"/>
                <a:gd name="T6" fmla="*/ 46 w 76"/>
                <a:gd name="T7" fmla="*/ 30 h 74"/>
                <a:gd name="T8" fmla="*/ 61 w 76"/>
                <a:gd name="T9" fmla="*/ 33 h 74"/>
                <a:gd name="T10" fmla="*/ 48 w 76"/>
                <a:gd name="T11" fmla="*/ 46 h 74"/>
                <a:gd name="T12" fmla="*/ 51 w 76"/>
                <a:gd name="T13" fmla="*/ 59 h 74"/>
                <a:gd name="T14" fmla="*/ 38 w 76"/>
                <a:gd name="T15" fmla="*/ 53 h 74"/>
                <a:gd name="T16" fmla="*/ 23 w 76"/>
                <a:gd name="T17" fmla="*/ 59 h 74"/>
                <a:gd name="T18" fmla="*/ 28 w 76"/>
                <a:gd name="T19" fmla="*/ 46 h 74"/>
                <a:gd name="T20" fmla="*/ 15 w 76"/>
                <a:gd name="T21" fmla="*/ 33 h 74"/>
                <a:gd name="T22" fmla="*/ 15 w 76"/>
                <a:gd name="T23" fmla="*/ 74 h 74"/>
                <a:gd name="T24" fmla="*/ 38 w 76"/>
                <a:gd name="T25" fmla="*/ 61 h 74"/>
                <a:gd name="T26" fmla="*/ 61 w 76"/>
                <a:gd name="T27" fmla="*/ 74 h 74"/>
                <a:gd name="T28" fmla="*/ 56 w 76"/>
                <a:gd name="T29" fmla="*/ 48 h 74"/>
                <a:gd name="T30" fmla="*/ 76 w 76"/>
                <a:gd name="T31" fmla="*/ 28 h 74"/>
                <a:gd name="T32" fmla="*/ 48 w 76"/>
                <a:gd name="T33" fmla="*/ 25 h 74"/>
                <a:gd name="T34" fmla="*/ 38 w 76"/>
                <a:gd name="T35" fmla="*/ 0 h 74"/>
                <a:gd name="T36" fmla="*/ 25 w 76"/>
                <a:gd name="T37" fmla="*/ 25 h 74"/>
                <a:gd name="T38" fmla="*/ 0 w 76"/>
                <a:gd name="T39" fmla="*/ 28 h 74"/>
                <a:gd name="T40" fmla="*/ 17 w 76"/>
                <a:gd name="T41" fmla="*/ 48 h 74"/>
                <a:gd name="T42" fmla="*/ 15 w 76"/>
                <a:gd name="T4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" h="74">
                  <a:moveTo>
                    <a:pt x="15" y="33"/>
                  </a:moveTo>
                  <a:lnTo>
                    <a:pt x="30" y="30"/>
                  </a:lnTo>
                  <a:lnTo>
                    <a:pt x="38" y="18"/>
                  </a:lnTo>
                  <a:lnTo>
                    <a:pt x="46" y="30"/>
                  </a:lnTo>
                  <a:lnTo>
                    <a:pt x="61" y="33"/>
                  </a:lnTo>
                  <a:lnTo>
                    <a:pt x="48" y="46"/>
                  </a:lnTo>
                  <a:lnTo>
                    <a:pt x="51" y="59"/>
                  </a:lnTo>
                  <a:lnTo>
                    <a:pt x="38" y="53"/>
                  </a:lnTo>
                  <a:lnTo>
                    <a:pt x="23" y="59"/>
                  </a:lnTo>
                  <a:lnTo>
                    <a:pt x="28" y="46"/>
                  </a:lnTo>
                  <a:lnTo>
                    <a:pt x="15" y="33"/>
                  </a:lnTo>
                  <a:close/>
                  <a:moveTo>
                    <a:pt x="15" y="74"/>
                  </a:moveTo>
                  <a:lnTo>
                    <a:pt x="38" y="61"/>
                  </a:lnTo>
                  <a:lnTo>
                    <a:pt x="61" y="74"/>
                  </a:lnTo>
                  <a:lnTo>
                    <a:pt x="56" y="48"/>
                  </a:lnTo>
                  <a:lnTo>
                    <a:pt x="76" y="28"/>
                  </a:lnTo>
                  <a:lnTo>
                    <a:pt x="48" y="25"/>
                  </a:lnTo>
                  <a:lnTo>
                    <a:pt x="38" y="0"/>
                  </a:lnTo>
                  <a:lnTo>
                    <a:pt x="25" y="25"/>
                  </a:lnTo>
                  <a:lnTo>
                    <a:pt x="0" y="28"/>
                  </a:lnTo>
                  <a:lnTo>
                    <a:pt x="17" y="48"/>
                  </a:lnTo>
                  <a:lnTo>
                    <a:pt x="15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92">
              <a:extLst>
                <a:ext uri="{FF2B5EF4-FFF2-40B4-BE49-F238E27FC236}">
                  <a16:creationId xmlns:a16="http://schemas.microsoft.com/office/drawing/2014/main" id="{0CA5A1E9-C22C-4A4C-A13E-D8352724A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0" y="2932"/>
              <a:ext cx="77" cy="74"/>
            </a:xfrm>
            <a:custGeom>
              <a:avLst/>
              <a:gdLst>
                <a:gd name="T0" fmla="*/ 39 w 77"/>
                <a:gd name="T1" fmla="*/ 53 h 74"/>
                <a:gd name="T2" fmla="*/ 26 w 77"/>
                <a:gd name="T3" fmla="*/ 59 h 74"/>
                <a:gd name="T4" fmla="*/ 29 w 77"/>
                <a:gd name="T5" fmla="*/ 43 h 74"/>
                <a:gd name="T6" fmla="*/ 18 w 77"/>
                <a:gd name="T7" fmla="*/ 33 h 74"/>
                <a:gd name="T8" fmla="*/ 34 w 77"/>
                <a:gd name="T9" fmla="*/ 30 h 74"/>
                <a:gd name="T10" fmla="*/ 39 w 77"/>
                <a:gd name="T11" fmla="*/ 18 h 74"/>
                <a:gd name="T12" fmla="*/ 47 w 77"/>
                <a:gd name="T13" fmla="*/ 30 h 74"/>
                <a:gd name="T14" fmla="*/ 62 w 77"/>
                <a:gd name="T15" fmla="*/ 33 h 74"/>
                <a:gd name="T16" fmla="*/ 52 w 77"/>
                <a:gd name="T17" fmla="*/ 43 h 74"/>
                <a:gd name="T18" fmla="*/ 54 w 77"/>
                <a:gd name="T19" fmla="*/ 59 h 74"/>
                <a:gd name="T20" fmla="*/ 39 w 77"/>
                <a:gd name="T21" fmla="*/ 53 h 74"/>
                <a:gd name="T22" fmla="*/ 77 w 77"/>
                <a:gd name="T23" fmla="*/ 28 h 74"/>
                <a:gd name="T24" fmla="*/ 52 w 77"/>
                <a:gd name="T25" fmla="*/ 25 h 74"/>
                <a:gd name="T26" fmla="*/ 39 w 77"/>
                <a:gd name="T27" fmla="*/ 0 h 74"/>
                <a:gd name="T28" fmla="*/ 29 w 77"/>
                <a:gd name="T29" fmla="*/ 25 h 74"/>
                <a:gd name="T30" fmla="*/ 0 w 77"/>
                <a:gd name="T31" fmla="*/ 28 h 74"/>
                <a:gd name="T32" fmla="*/ 21 w 77"/>
                <a:gd name="T33" fmla="*/ 46 h 74"/>
                <a:gd name="T34" fmla="*/ 16 w 77"/>
                <a:gd name="T35" fmla="*/ 74 h 74"/>
                <a:gd name="T36" fmla="*/ 39 w 77"/>
                <a:gd name="T37" fmla="*/ 61 h 74"/>
                <a:gd name="T38" fmla="*/ 62 w 77"/>
                <a:gd name="T39" fmla="*/ 74 h 74"/>
                <a:gd name="T40" fmla="*/ 59 w 77"/>
                <a:gd name="T41" fmla="*/ 46 h 74"/>
                <a:gd name="T42" fmla="*/ 77 w 77"/>
                <a:gd name="T43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74">
                  <a:moveTo>
                    <a:pt x="39" y="53"/>
                  </a:moveTo>
                  <a:lnTo>
                    <a:pt x="26" y="59"/>
                  </a:lnTo>
                  <a:lnTo>
                    <a:pt x="29" y="43"/>
                  </a:lnTo>
                  <a:lnTo>
                    <a:pt x="18" y="33"/>
                  </a:lnTo>
                  <a:lnTo>
                    <a:pt x="34" y="30"/>
                  </a:lnTo>
                  <a:lnTo>
                    <a:pt x="39" y="18"/>
                  </a:lnTo>
                  <a:lnTo>
                    <a:pt x="47" y="30"/>
                  </a:lnTo>
                  <a:lnTo>
                    <a:pt x="62" y="33"/>
                  </a:lnTo>
                  <a:lnTo>
                    <a:pt x="52" y="43"/>
                  </a:lnTo>
                  <a:lnTo>
                    <a:pt x="54" y="59"/>
                  </a:lnTo>
                  <a:lnTo>
                    <a:pt x="39" y="53"/>
                  </a:lnTo>
                  <a:close/>
                  <a:moveTo>
                    <a:pt x="77" y="28"/>
                  </a:moveTo>
                  <a:lnTo>
                    <a:pt x="52" y="25"/>
                  </a:lnTo>
                  <a:lnTo>
                    <a:pt x="39" y="0"/>
                  </a:lnTo>
                  <a:lnTo>
                    <a:pt x="29" y="25"/>
                  </a:lnTo>
                  <a:lnTo>
                    <a:pt x="0" y="28"/>
                  </a:lnTo>
                  <a:lnTo>
                    <a:pt x="21" y="46"/>
                  </a:lnTo>
                  <a:lnTo>
                    <a:pt x="16" y="74"/>
                  </a:lnTo>
                  <a:lnTo>
                    <a:pt x="39" y="61"/>
                  </a:lnTo>
                  <a:lnTo>
                    <a:pt x="62" y="74"/>
                  </a:lnTo>
                  <a:lnTo>
                    <a:pt x="59" y="46"/>
                  </a:lnTo>
                  <a:lnTo>
                    <a:pt x="77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93">
              <a:extLst>
                <a:ext uri="{FF2B5EF4-FFF2-40B4-BE49-F238E27FC236}">
                  <a16:creationId xmlns:a16="http://schemas.microsoft.com/office/drawing/2014/main" id="{F3545899-3ADA-4FCA-B3F8-AC81BA1DD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3006"/>
              <a:ext cx="141" cy="94"/>
            </a:xfrm>
            <a:custGeom>
              <a:avLst/>
              <a:gdLst>
                <a:gd name="T0" fmla="*/ 41 w 55"/>
                <a:gd name="T1" fmla="*/ 11 h 37"/>
                <a:gd name="T2" fmla="*/ 52 w 55"/>
                <a:gd name="T3" fmla="*/ 11 h 37"/>
                <a:gd name="T4" fmla="*/ 48 w 55"/>
                <a:gd name="T5" fmla="*/ 26 h 37"/>
                <a:gd name="T6" fmla="*/ 46 w 55"/>
                <a:gd name="T7" fmla="*/ 28 h 37"/>
                <a:gd name="T8" fmla="*/ 18 w 55"/>
                <a:gd name="T9" fmla="*/ 28 h 37"/>
                <a:gd name="T10" fmla="*/ 16 w 55"/>
                <a:gd name="T11" fmla="*/ 21 h 37"/>
                <a:gd name="T12" fmla="*/ 20 w 55"/>
                <a:gd name="T13" fmla="*/ 21 h 37"/>
                <a:gd name="T14" fmla="*/ 20 w 55"/>
                <a:gd name="T15" fmla="*/ 18 h 37"/>
                <a:gd name="T16" fmla="*/ 16 w 55"/>
                <a:gd name="T17" fmla="*/ 18 h 37"/>
                <a:gd name="T18" fmla="*/ 14 w 55"/>
                <a:gd name="T19" fmla="*/ 11 h 37"/>
                <a:gd name="T20" fmla="*/ 26 w 55"/>
                <a:gd name="T21" fmla="*/ 11 h 37"/>
                <a:gd name="T22" fmla="*/ 26 w 55"/>
                <a:gd name="T23" fmla="*/ 8 h 37"/>
                <a:gd name="T24" fmla="*/ 13 w 55"/>
                <a:gd name="T25" fmla="*/ 8 h 37"/>
                <a:gd name="T26" fmla="*/ 13 w 55"/>
                <a:gd name="T27" fmla="*/ 7 h 37"/>
                <a:gd name="T28" fmla="*/ 6 w 55"/>
                <a:gd name="T29" fmla="*/ 0 h 37"/>
                <a:gd name="T30" fmla="*/ 0 w 55"/>
                <a:gd name="T31" fmla="*/ 0 h 37"/>
                <a:gd name="T32" fmla="*/ 0 w 55"/>
                <a:gd name="T33" fmla="*/ 3 h 37"/>
                <a:gd name="T34" fmla="*/ 6 w 55"/>
                <a:gd name="T35" fmla="*/ 3 h 37"/>
                <a:gd name="T36" fmla="*/ 10 w 55"/>
                <a:gd name="T37" fmla="*/ 7 h 37"/>
                <a:gd name="T38" fmla="*/ 13 w 55"/>
                <a:gd name="T39" fmla="*/ 18 h 37"/>
                <a:gd name="T40" fmla="*/ 12 w 55"/>
                <a:gd name="T41" fmla="*/ 18 h 37"/>
                <a:gd name="T42" fmla="*/ 12 w 55"/>
                <a:gd name="T43" fmla="*/ 21 h 37"/>
                <a:gd name="T44" fmla="*/ 14 w 55"/>
                <a:gd name="T45" fmla="*/ 21 h 37"/>
                <a:gd name="T46" fmla="*/ 16 w 55"/>
                <a:gd name="T47" fmla="*/ 30 h 37"/>
                <a:gd name="T48" fmla="*/ 23 w 55"/>
                <a:gd name="T49" fmla="*/ 37 h 37"/>
                <a:gd name="T50" fmla="*/ 42 w 55"/>
                <a:gd name="T51" fmla="*/ 37 h 37"/>
                <a:gd name="T52" fmla="*/ 42 w 55"/>
                <a:gd name="T53" fmla="*/ 34 h 37"/>
                <a:gd name="T54" fmla="*/ 23 w 55"/>
                <a:gd name="T55" fmla="*/ 34 h 37"/>
                <a:gd name="T56" fmla="*/ 19 w 55"/>
                <a:gd name="T57" fmla="*/ 30 h 37"/>
                <a:gd name="T58" fmla="*/ 46 w 55"/>
                <a:gd name="T59" fmla="*/ 30 h 37"/>
                <a:gd name="T60" fmla="*/ 46 w 55"/>
                <a:gd name="T61" fmla="*/ 30 h 37"/>
                <a:gd name="T62" fmla="*/ 51 w 55"/>
                <a:gd name="T63" fmla="*/ 27 h 37"/>
                <a:gd name="T64" fmla="*/ 55 w 55"/>
                <a:gd name="T65" fmla="*/ 8 h 37"/>
                <a:gd name="T66" fmla="*/ 41 w 55"/>
                <a:gd name="T67" fmla="*/ 8 h 37"/>
                <a:gd name="T68" fmla="*/ 41 w 55"/>
                <a:gd name="T6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" h="37">
                  <a:moveTo>
                    <a:pt x="41" y="11"/>
                  </a:moveTo>
                  <a:cubicBezTo>
                    <a:pt x="52" y="11"/>
                    <a:pt x="52" y="11"/>
                    <a:pt x="52" y="11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2"/>
                    <a:pt x="8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9" y="3"/>
                    <a:pt x="10" y="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5"/>
                    <a:pt x="21" y="37"/>
                    <a:pt x="23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0" y="34"/>
                    <a:pt x="19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7" y="30"/>
                    <a:pt x="50" y="30"/>
                    <a:pt x="51" y="27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41" y="8"/>
                    <a:pt x="41" y="8"/>
                    <a:pt x="41" y="8"/>
                  </a:cubicBezTo>
                  <a:lnTo>
                    <a:pt x="41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94">
              <a:extLst>
                <a:ext uri="{FF2B5EF4-FFF2-40B4-BE49-F238E27FC236}">
                  <a16:creationId xmlns:a16="http://schemas.microsoft.com/office/drawing/2014/main" id="{2DDAA5FA-1830-44ED-8742-357AA5BB31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2" y="3100"/>
              <a:ext cx="18" cy="18"/>
            </a:xfrm>
            <a:custGeom>
              <a:avLst/>
              <a:gdLst>
                <a:gd name="T0" fmla="*/ 3 w 7"/>
                <a:gd name="T1" fmla="*/ 5 h 7"/>
                <a:gd name="T2" fmla="*/ 3 w 7"/>
                <a:gd name="T3" fmla="*/ 4 h 7"/>
                <a:gd name="T4" fmla="*/ 3 w 7"/>
                <a:gd name="T5" fmla="*/ 3 h 7"/>
                <a:gd name="T6" fmla="*/ 4 w 7"/>
                <a:gd name="T7" fmla="*/ 4 h 7"/>
                <a:gd name="T8" fmla="*/ 3 w 7"/>
                <a:gd name="T9" fmla="*/ 5 h 7"/>
                <a:gd name="T10" fmla="*/ 3 w 7"/>
                <a:gd name="T11" fmla="*/ 0 h 7"/>
                <a:gd name="T12" fmla="*/ 0 w 7"/>
                <a:gd name="T13" fmla="*/ 4 h 7"/>
                <a:gd name="T14" fmla="*/ 3 w 7"/>
                <a:gd name="T15" fmla="*/ 7 h 7"/>
                <a:gd name="T16" fmla="*/ 7 w 7"/>
                <a:gd name="T17" fmla="*/ 4 h 7"/>
                <a:gd name="T18" fmla="*/ 3 w 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3" y="5"/>
                  </a:move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5"/>
                    <a:pt x="3" y="5"/>
                  </a:cubicBezTo>
                  <a:moveTo>
                    <a:pt x="3" y="0"/>
                  </a:move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7"/>
                    <a:pt x="3" y="7"/>
                  </a:cubicBezTo>
                  <a:cubicBezTo>
                    <a:pt x="5" y="7"/>
                    <a:pt x="7" y="6"/>
                    <a:pt x="7" y="4"/>
                  </a:cubicBezTo>
                  <a:cubicBezTo>
                    <a:pt x="7" y="2"/>
                    <a:pt x="5" y="0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295">
              <a:extLst>
                <a:ext uri="{FF2B5EF4-FFF2-40B4-BE49-F238E27FC236}">
                  <a16:creationId xmlns:a16="http://schemas.microsoft.com/office/drawing/2014/main" id="{8B189A7B-8CE3-484D-944F-CFD6A51653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6" y="3100"/>
              <a:ext cx="18" cy="18"/>
            </a:xfrm>
            <a:custGeom>
              <a:avLst/>
              <a:gdLst>
                <a:gd name="T0" fmla="*/ 4 w 7"/>
                <a:gd name="T1" fmla="*/ 5 h 7"/>
                <a:gd name="T2" fmla="*/ 3 w 7"/>
                <a:gd name="T3" fmla="*/ 4 h 7"/>
                <a:gd name="T4" fmla="*/ 4 w 7"/>
                <a:gd name="T5" fmla="*/ 3 h 7"/>
                <a:gd name="T6" fmla="*/ 4 w 7"/>
                <a:gd name="T7" fmla="*/ 4 h 7"/>
                <a:gd name="T8" fmla="*/ 4 w 7"/>
                <a:gd name="T9" fmla="*/ 5 h 7"/>
                <a:gd name="T10" fmla="*/ 4 w 7"/>
                <a:gd name="T11" fmla="*/ 0 h 7"/>
                <a:gd name="T12" fmla="*/ 0 w 7"/>
                <a:gd name="T13" fmla="*/ 4 h 7"/>
                <a:gd name="T14" fmla="*/ 4 w 7"/>
                <a:gd name="T15" fmla="*/ 7 h 7"/>
                <a:gd name="T16" fmla="*/ 7 w 7"/>
                <a:gd name="T17" fmla="*/ 4 h 7"/>
                <a:gd name="T18" fmla="*/ 4 w 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5"/>
                  </a:moveTo>
                  <a:cubicBezTo>
                    <a:pt x="3" y="5"/>
                    <a:pt x="3" y="4"/>
                    <a:pt x="3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7"/>
                    <a:pt x="4" y="7"/>
                  </a:cubicBezTo>
                  <a:cubicBezTo>
                    <a:pt x="6" y="7"/>
                    <a:pt x="7" y="6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96">
              <a:extLst>
                <a:ext uri="{FF2B5EF4-FFF2-40B4-BE49-F238E27FC236}">
                  <a16:creationId xmlns:a16="http://schemas.microsoft.com/office/drawing/2014/main" id="{C326C95C-6B67-42F7-9D1A-495ABD6C0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" y="3003"/>
              <a:ext cx="33" cy="64"/>
            </a:xfrm>
            <a:custGeom>
              <a:avLst/>
              <a:gdLst>
                <a:gd name="T0" fmla="*/ 12 w 33"/>
                <a:gd name="T1" fmla="*/ 0 h 64"/>
                <a:gd name="T2" fmla="*/ 12 w 33"/>
                <a:gd name="T3" fmla="*/ 49 h 64"/>
                <a:gd name="T4" fmla="*/ 5 w 33"/>
                <a:gd name="T5" fmla="*/ 41 h 64"/>
                <a:gd name="T6" fmla="*/ 0 w 33"/>
                <a:gd name="T7" fmla="*/ 46 h 64"/>
                <a:gd name="T8" fmla="*/ 15 w 33"/>
                <a:gd name="T9" fmla="*/ 64 h 64"/>
                <a:gd name="T10" fmla="*/ 33 w 33"/>
                <a:gd name="T11" fmla="*/ 46 h 64"/>
                <a:gd name="T12" fmla="*/ 28 w 33"/>
                <a:gd name="T13" fmla="*/ 41 h 64"/>
                <a:gd name="T14" fmla="*/ 20 w 33"/>
                <a:gd name="T15" fmla="*/ 49 h 64"/>
                <a:gd name="T16" fmla="*/ 20 w 33"/>
                <a:gd name="T17" fmla="*/ 0 h 64"/>
                <a:gd name="T18" fmla="*/ 12 w 33"/>
                <a:gd name="T1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64">
                  <a:moveTo>
                    <a:pt x="12" y="0"/>
                  </a:moveTo>
                  <a:lnTo>
                    <a:pt x="12" y="49"/>
                  </a:lnTo>
                  <a:lnTo>
                    <a:pt x="5" y="41"/>
                  </a:lnTo>
                  <a:lnTo>
                    <a:pt x="0" y="46"/>
                  </a:lnTo>
                  <a:lnTo>
                    <a:pt x="15" y="64"/>
                  </a:lnTo>
                  <a:lnTo>
                    <a:pt x="33" y="46"/>
                  </a:lnTo>
                  <a:lnTo>
                    <a:pt x="28" y="41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4" name="Group 299">
            <a:extLst>
              <a:ext uri="{FF2B5EF4-FFF2-40B4-BE49-F238E27FC236}">
                <a16:creationId xmlns:a16="http://schemas.microsoft.com/office/drawing/2014/main" id="{472D690C-0971-4FC4-BD1F-FEF445CBE9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93885" y="5488195"/>
            <a:ext cx="758825" cy="758825"/>
            <a:chOff x="773" y="3551"/>
            <a:chExt cx="478" cy="478"/>
          </a:xfrm>
        </p:grpSpPr>
        <p:sp>
          <p:nvSpPr>
            <p:cNvPr id="335" name="AutoShape 298">
              <a:extLst>
                <a:ext uri="{FF2B5EF4-FFF2-40B4-BE49-F238E27FC236}">
                  <a16:creationId xmlns:a16="http://schemas.microsoft.com/office/drawing/2014/main" id="{F3589105-95BE-432C-982E-ABC02DB2C5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3" y="355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300">
              <a:extLst>
                <a:ext uri="{FF2B5EF4-FFF2-40B4-BE49-F238E27FC236}">
                  <a16:creationId xmlns:a16="http://schemas.microsoft.com/office/drawing/2014/main" id="{234CB4E8-D74F-4B07-960B-1E42A7047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" y="355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301">
              <a:extLst>
                <a:ext uri="{FF2B5EF4-FFF2-40B4-BE49-F238E27FC236}">
                  <a16:creationId xmlns:a16="http://schemas.microsoft.com/office/drawing/2014/main" id="{F86BD744-A9F0-499E-9877-C259AC16C6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" y="3767"/>
              <a:ext cx="230" cy="191"/>
            </a:xfrm>
            <a:custGeom>
              <a:avLst/>
              <a:gdLst>
                <a:gd name="T0" fmla="*/ 86 w 94"/>
                <a:gd name="T1" fmla="*/ 56 h 78"/>
                <a:gd name="T2" fmla="*/ 78 w 94"/>
                <a:gd name="T3" fmla="*/ 56 h 78"/>
                <a:gd name="T4" fmla="*/ 69 w 94"/>
                <a:gd name="T5" fmla="*/ 75 h 78"/>
                <a:gd name="T6" fmla="*/ 61 w 94"/>
                <a:gd name="T7" fmla="*/ 54 h 78"/>
                <a:gd name="T8" fmla="*/ 71 w 94"/>
                <a:gd name="T9" fmla="*/ 48 h 78"/>
                <a:gd name="T10" fmla="*/ 77 w 94"/>
                <a:gd name="T11" fmla="*/ 32 h 78"/>
                <a:gd name="T12" fmla="*/ 50 w 94"/>
                <a:gd name="T13" fmla="*/ 19 h 78"/>
                <a:gd name="T14" fmla="*/ 64 w 94"/>
                <a:gd name="T15" fmla="*/ 25 h 78"/>
                <a:gd name="T16" fmla="*/ 80 w 94"/>
                <a:gd name="T17" fmla="*/ 25 h 78"/>
                <a:gd name="T18" fmla="*/ 92 w 94"/>
                <a:gd name="T19" fmla="*/ 31 h 78"/>
                <a:gd name="T20" fmla="*/ 34 w 94"/>
                <a:gd name="T21" fmla="*/ 54 h 78"/>
                <a:gd name="T22" fmla="*/ 25 w 94"/>
                <a:gd name="T23" fmla="*/ 75 h 78"/>
                <a:gd name="T24" fmla="*/ 17 w 94"/>
                <a:gd name="T25" fmla="*/ 56 h 78"/>
                <a:gd name="T26" fmla="*/ 9 w 94"/>
                <a:gd name="T27" fmla="*/ 56 h 78"/>
                <a:gd name="T28" fmla="*/ 3 w 94"/>
                <a:gd name="T29" fmla="*/ 31 h 78"/>
                <a:gd name="T30" fmla="*/ 17 w 94"/>
                <a:gd name="T31" fmla="*/ 25 h 78"/>
                <a:gd name="T32" fmla="*/ 22 w 94"/>
                <a:gd name="T33" fmla="*/ 38 h 78"/>
                <a:gd name="T34" fmla="*/ 37 w 94"/>
                <a:gd name="T35" fmla="*/ 45 h 78"/>
                <a:gd name="T36" fmla="*/ 24 w 94"/>
                <a:gd name="T37" fmla="*/ 45 h 78"/>
                <a:gd name="T38" fmla="*/ 16 w 94"/>
                <a:gd name="T39" fmla="*/ 33 h 78"/>
                <a:gd name="T40" fmla="*/ 13 w 94"/>
                <a:gd name="T41" fmla="*/ 48 h 78"/>
                <a:gd name="T42" fmla="*/ 27 w 94"/>
                <a:gd name="T43" fmla="*/ 48 h 78"/>
                <a:gd name="T44" fmla="*/ 3 w 94"/>
                <a:gd name="T45" fmla="*/ 12 h 78"/>
                <a:gd name="T46" fmla="*/ 22 w 94"/>
                <a:gd name="T47" fmla="*/ 12 h 78"/>
                <a:gd name="T48" fmla="*/ 3 w 94"/>
                <a:gd name="T49" fmla="*/ 12 h 78"/>
                <a:gd name="T50" fmla="*/ 82 w 94"/>
                <a:gd name="T51" fmla="*/ 3 h 78"/>
                <a:gd name="T52" fmla="*/ 82 w 94"/>
                <a:gd name="T53" fmla="*/ 22 h 78"/>
                <a:gd name="T54" fmla="*/ 89 w 94"/>
                <a:gd name="T55" fmla="*/ 23 h 78"/>
                <a:gd name="T56" fmla="*/ 82 w 94"/>
                <a:gd name="T57" fmla="*/ 0 h 78"/>
                <a:gd name="T58" fmla="*/ 74 w 94"/>
                <a:gd name="T59" fmla="*/ 22 h 78"/>
                <a:gd name="T60" fmla="*/ 54 w 94"/>
                <a:gd name="T61" fmla="*/ 11 h 78"/>
                <a:gd name="T62" fmla="*/ 61 w 94"/>
                <a:gd name="T63" fmla="*/ 35 h 78"/>
                <a:gd name="T64" fmla="*/ 74 w 94"/>
                <a:gd name="T65" fmla="*/ 45 h 78"/>
                <a:gd name="T66" fmla="*/ 67 w 94"/>
                <a:gd name="T67" fmla="*/ 45 h 78"/>
                <a:gd name="T68" fmla="*/ 39 w 94"/>
                <a:gd name="T69" fmla="*/ 36 h 78"/>
                <a:gd name="T70" fmla="*/ 25 w 94"/>
                <a:gd name="T71" fmla="*/ 31 h 78"/>
                <a:gd name="T72" fmla="*/ 25 w 94"/>
                <a:gd name="T73" fmla="*/ 12 h 78"/>
                <a:gd name="T74" fmla="*/ 0 w 94"/>
                <a:gd name="T75" fmla="*/ 12 h 78"/>
                <a:gd name="T76" fmla="*/ 0 w 94"/>
                <a:gd name="T77" fmla="*/ 31 h 78"/>
                <a:gd name="T78" fmla="*/ 9 w 94"/>
                <a:gd name="T79" fmla="*/ 59 h 78"/>
                <a:gd name="T80" fmla="*/ 12 w 94"/>
                <a:gd name="T81" fmla="*/ 77 h 78"/>
                <a:gd name="T82" fmla="*/ 15 w 94"/>
                <a:gd name="T83" fmla="*/ 59 h 78"/>
                <a:gd name="T84" fmla="*/ 22 w 94"/>
                <a:gd name="T85" fmla="*/ 59 h 78"/>
                <a:gd name="T86" fmla="*/ 36 w 94"/>
                <a:gd name="T87" fmla="*/ 78 h 78"/>
                <a:gd name="T88" fmla="*/ 34 w 94"/>
                <a:gd name="T89" fmla="*/ 48 h 78"/>
                <a:gd name="T90" fmla="*/ 46 w 94"/>
                <a:gd name="T91" fmla="*/ 75 h 78"/>
                <a:gd name="T92" fmla="*/ 40 w 94"/>
                <a:gd name="T93" fmla="*/ 78 h 78"/>
                <a:gd name="T94" fmla="*/ 54 w 94"/>
                <a:gd name="T95" fmla="*/ 75 h 78"/>
                <a:gd name="T96" fmla="*/ 49 w 94"/>
                <a:gd name="T97" fmla="*/ 48 h 78"/>
                <a:gd name="T98" fmla="*/ 58 w 94"/>
                <a:gd name="T99" fmla="*/ 54 h 78"/>
                <a:gd name="T100" fmla="*/ 72 w 94"/>
                <a:gd name="T101" fmla="*/ 78 h 78"/>
                <a:gd name="T102" fmla="*/ 78 w 94"/>
                <a:gd name="T103" fmla="*/ 59 h 78"/>
                <a:gd name="T104" fmla="*/ 83 w 94"/>
                <a:gd name="T105" fmla="*/ 59 h 78"/>
                <a:gd name="T106" fmla="*/ 86 w 94"/>
                <a:gd name="T107" fmla="*/ 77 h 78"/>
                <a:gd name="T108" fmla="*/ 94 w 94"/>
                <a:gd name="T109" fmla="*/ 50 h 78"/>
                <a:gd name="T110" fmla="*/ 89 w 94"/>
                <a:gd name="T111" fmla="*/ 2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" h="78">
                  <a:moveTo>
                    <a:pt x="92" y="50"/>
                  </a:moveTo>
                  <a:cubicBezTo>
                    <a:pt x="92" y="54"/>
                    <a:pt x="89" y="56"/>
                    <a:pt x="86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1"/>
                    <a:pt x="64" y="48"/>
                    <a:pt x="67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9" y="25"/>
                    <a:pt x="92" y="27"/>
                    <a:pt x="92" y="31"/>
                  </a:cubicBezTo>
                  <a:lnTo>
                    <a:pt x="92" y="50"/>
                  </a:lnTo>
                  <a:close/>
                  <a:moveTo>
                    <a:pt x="34" y="54"/>
                  </a:moveTo>
                  <a:cubicBezTo>
                    <a:pt x="34" y="75"/>
                    <a:pt x="34" y="75"/>
                    <a:pt x="3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6" y="56"/>
                    <a:pt x="3" y="54"/>
                    <a:pt x="3" y="5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27"/>
                    <a:pt x="6" y="25"/>
                    <a:pt x="9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0" y="25"/>
                    <a:pt x="22" y="27"/>
                    <a:pt x="22" y="31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1" y="48"/>
                    <a:pt x="34" y="51"/>
                    <a:pt x="34" y="54"/>
                  </a:cubicBezTo>
                  <a:moveTo>
                    <a:pt x="3" y="12"/>
                  </a:moveTo>
                  <a:cubicBezTo>
                    <a:pt x="3" y="7"/>
                    <a:pt x="8" y="3"/>
                    <a:pt x="13" y="3"/>
                  </a:cubicBezTo>
                  <a:cubicBezTo>
                    <a:pt x="18" y="3"/>
                    <a:pt x="22" y="7"/>
                    <a:pt x="22" y="12"/>
                  </a:cubicBezTo>
                  <a:cubicBezTo>
                    <a:pt x="22" y="18"/>
                    <a:pt x="18" y="22"/>
                    <a:pt x="13" y="22"/>
                  </a:cubicBezTo>
                  <a:cubicBezTo>
                    <a:pt x="8" y="22"/>
                    <a:pt x="3" y="18"/>
                    <a:pt x="3" y="12"/>
                  </a:cubicBezTo>
                  <a:moveTo>
                    <a:pt x="72" y="12"/>
                  </a:moveTo>
                  <a:cubicBezTo>
                    <a:pt x="72" y="7"/>
                    <a:pt x="77" y="3"/>
                    <a:pt x="82" y="3"/>
                  </a:cubicBezTo>
                  <a:cubicBezTo>
                    <a:pt x="87" y="3"/>
                    <a:pt x="92" y="7"/>
                    <a:pt x="92" y="12"/>
                  </a:cubicBezTo>
                  <a:cubicBezTo>
                    <a:pt x="92" y="18"/>
                    <a:pt x="87" y="22"/>
                    <a:pt x="82" y="22"/>
                  </a:cubicBezTo>
                  <a:cubicBezTo>
                    <a:pt x="77" y="22"/>
                    <a:pt x="72" y="18"/>
                    <a:pt x="72" y="12"/>
                  </a:cubicBezTo>
                  <a:moveTo>
                    <a:pt x="89" y="23"/>
                  </a:moveTo>
                  <a:cubicBezTo>
                    <a:pt x="92" y="20"/>
                    <a:pt x="94" y="17"/>
                    <a:pt x="94" y="12"/>
                  </a:cubicBezTo>
                  <a:cubicBezTo>
                    <a:pt x="94" y="5"/>
                    <a:pt x="89" y="0"/>
                    <a:pt x="82" y="0"/>
                  </a:cubicBezTo>
                  <a:cubicBezTo>
                    <a:pt x="75" y="0"/>
                    <a:pt x="69" y="5"/>
                    <a:pt x="69" y="12"/>
                  </a:cubicBezTo>
                  <a:cubicBezTo>
                    <a:pt x="69" y="16"/>
                    <a:pt x="71" y="20"/>
                    <a:pt x="74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27"/>
                    <a:pt x="23" y="24"/>
                    <a:pt x="20" y="23"/>
                  </a:cubicBezTo>
                  <a:cubicBezTo>
                    <a:pt x="23" y="20"/>
                    <a:pt x="25" y="17"/>
                    <a:pt x="25" y="12"/>
                  </a:cubicBezTo>
                  <a:cubicBezTo>
                    <a:pt x="25" y="5"/>
                    <a:pt x="20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17"/>
                    <a:pt x="2" y="20"/>
                    <a:pt x="6" y="23"/>
                  </a:cubicBezTo>
                  <a:cubicBezTo>
                    <a:pt x="3" y="24"/>
                    <a:pt x="0" y="27"/>
                    <a:pt x="0" y="3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5"/>
                    <a:pt x="4" y="59"/>
                    <a:pt x="9" y="5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2"/>
                    <a:pt x="35" y="50"/>
                    <a:pt x="34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59" y="50"/>
                    <a:pt x="58" y="52"/>
                    <a:pt x="58" y="54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91" y="59"/>
                    <a:pt x="94" y="55"/>
                    <a:pt x="94" y="50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27"/>
                    <a:pt x="92" y="24"/>
                    <a:pt x="89" y="2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302">
              <a:extLst>
                <a:ext uri="{FF2B5EF4-FFF2-40B4-BE49-F238E27FC236}">
                  <a16:creationId xmlns:a16="http://schemas.microsoft.com/office/drawing/2014/main" id="{D93C0A79-1FD7-4476-A262-D6C5D1F7F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" y="3607"/>
              <a:ext cx="237" cy="179"/>
            </a:xfrm>
            <a:custGeom>
              <a:avLst/>
              <a:gdLst>
                <a:gd name="T0" fmla="*/ 6 w 97"/>
                <a:gd name="T1" fmla="*/ 70 h 73"/>
                <a:gd name="T2" fmla="*/ 3 w 97"/>
                <a:gd name="T3" fmla="*/ 67 h 73"/>
                <a:gd name="T4" fmla="*/ 6 w 97"/>
                <a:gd name="T5" fmla="*/ 64 h 73"/>
                <a:gd name="T6" fmla="*/ 9 w 97"/>
                <a:gd name="T7" fmla="*/ 67 h 73"/>
                <a:gd name="T8" fmla="*/ 6 w 97"/>
                <a:gd name="T9" fmla="*/ 70 h 73"/>
                <a:gd name="T10" fmla="*/ 28 w 97"/>
                <a:gd name="T11" fmla="*/ 45 h 73"/>
                <a:gd name="T12" fmla="*/ 31 w 97"/>
                <a:gd name="T13" fmla="*/ 48 h 73"/>
                <a:gd name="T14" fmla="*/ 28 w 97"/>
                <a:gd name="T15" fmla="*/ 51 h 73"/>
                <a:gd name="T16" fmla="*/ 25 w 97"/>
                <a:gd name="T17" fmla="*/ 48 h 73"/>
                <a:gd name="T18" fmla="*/ 28 w 97"/>
                <a:gd name="T19" fmla="*/ 45 h 73"/>
                <a:gd name="T20" fmla="*/ 49 w 97"/>
                <a:gd name="T21" fmla="*/ 54 h 73"/>
                <a:gd name="T22" fmla="*/ 52 w 97"/>
                <a:gd name="T23" fmla="*/ 57 h 73"/>
                <a:gd name="T24" fmla="*/ 49 w 97"/>
                <a:gd name="T25" fmla="*/ 60 h 73"/>
                <a:gd name="T26" fmla="*/ 46 w 97"/>
                <a:gd name="T27" fmla="*/ 57 h 73"/>
                <a:gd name="T28" fmla="*/ 49 w 97"/>
                <a:gd name="T29" fmla="*/ 54 h 73"/>
                <a:gd name="T30" fmla="*/ 71 w 97"/>
                <a:gd name="T31" fmla="*/ 28 h 73"/>
                <a:gd name="T32" fmla="*/ 74 w 97"/>
                <a:gd name="T33" fmla="*/ 31 h 73"/>
                <a:gd name="T34" fmla="*/ 71 w 97"/>
                <a:gd name="T35" fmla="*/ 34 h 73"/>
                <a:gd name="T36" fmla="*/ 68 w 97"/>
                <a:gd name="T37" fmla="*/ 31 h 73"/>
                <a:gd name="T38" fmla="*/ 71 w 97"/>
                <a:gd name="T39" fmla="*/ 28 h 73"/>
                <a:gd name="T40" fmla="*/ 91 w 97"/>
                <a:gd name="T41" fmla="*/ 3 h 73"/>
                <a:gd name="T42" fmla="*/ 94 w 97"/>
                <a:gd name="T43" fmla="*/ 6 h 73"/>
                <a:gd name="T44" fmla="*/ 91 w 97"/>
                <a:gd name="T45" fmla="*/ 9 h 73"/>
                <a:gd name="T46" fmla="*/ 88 w 97"/>
                <a:gd name="T47" fmla="*/ 6 h 73"/>
                <a:gd name="T48" fmla="*/ 91 w 97"/>
                <a:gd name="T49" fmla="*/ 3 h 73"/>
                <a:gd name="T50" fmla="*/ 25 w 97"/>
                <a:gd name="T51" fmla="*/ 53 h 73"/>
                <a:gd name="T52" fmla="*/ 28 w 97"/>
                <a:gd name="T53" fmla="*/ 54 h 73"/>
                <a:gd name="T54" fmla="*/ 32 w 97"/>
                <a:gd name="T55" fmla="*/ 51 h 73"/>
                <a:gd name="T56" fmla="*/ 43 w 97"/>
                <a:gd name="T57" fmla="*/ 56 h 73"/>
                <a:gd name="T58" fmla="*/ 43 w 97"/>
                <a:gd name="T59" fmla="*/ 57 h 73"/>
                <a:gd name="T60" fmla="*/ 49 w 97"/>
                <a:gd name="T61" fmla="*/ 62 h 73"/>
                <a:gd name="T62" fmla="*/ 55 w 97"/>
                <a:gd name="T63" fmla="*/ 57 h 73"/>
                <a:gd name="T64" fmla="*/ 54 w 97"/>
                <a:gd name="T65" fmla="*/ 53 h 73"/>
                <a:gd name="T66" fmla="*/ 68 w 97"/>
                <a:gd name="T67" fmla="*/ 36 h 73"/>
                <a:gd name="T68" fmla="*/ 71 w 97"/>
                <a:gd name="T69" fmla="*/ 37 h 73"/>
                <a:gd name="T70" fmla="*/ 77 w 97"/>
                <a:gd name="T71" fmla="*/ 31 h 73"/>
                <a:gd name="T72" fmla="*/ 75 w 97"/>
                <a:gd name="T73" fmla="*/ 27 h 73"/>
                <a:gd name="T74" fmla="*/ 89 w 97"/>
                <a:gd name="T75" fmla="*/ 11 h 73"/>
                <a:gd name="T76" fmla="*/ 91 w 97"/>
                <a:gd name="T77" fmla="*/ 12 h 73"/>
                <a:gd name="T78" fmla="*/ 97 w 97"/>
                <a:gd name="T79" fmla="*/ 6 h 73"/>
                <a:gd name="T80" fmla="*/ 91 w 97"/>
                <a:gd name="T81" fmla="*/ 0 h 73"/>
                <a:gd name="T82" fmla="*/ 85 w 97"/>
                <a:gd name="T83" fmla="*/ 6 h 73"/>
                <a:gd name="T84" fmla="*/ 86 w 97"/>
                <a:gd name="T85" fmla="*/ 9 h 73"/>
                <a:gd name="T86" fmla="*/ 73 w 97"/>
                <a:gd name="T87" fmla="*/ 26 h 73"/>
                <a:gd name="T88" fmla="*/ 71 w 97"/>
                <a:gd name="T89" fmla="*/ 25 h 73"/>
                <a:gd name="T90" fmla="*/ 65 w 97"/>
                <a:gd name="T91" fmla="*/ 31 h 73"/>
                <a:gd name="T92" fmla="*/ 66 w 97"/>
                <a:gd name="T93" fmla="*/ 34 h 73"/>
                <a:gd name="T94" fmla="*/ 51 w 97"/>
                <a:gd name="T95" fmla="*/ 51 h 73"/>
                <a:gd name="T96" fmla="*/ 49 w 97"/>
                <a:gd name="T97" fmla="*/ 51 h 73"/>
                <a:gd name="T98" fmla="*/ 44 w 97"/>
                <a:gd name="T99" fmla="*/ 53 h 73"/>
                <a:gd name="T100" fmla="*/ 34 w 97"/>
                <a:gd name="T101" fmla="*/ 49 h 73"/>
                <a:gd name="T102" fmla="*/ 34 w 97"/>
                <a:gd name="T103" fmla="*/ 48 h 73"/>
                <a:gd name="T104" fmla="*/ 28 w 97"/>
                <a:gd name="T105" fmla="*/ 42 h 73"/>
                <a:gd name="T106" fmla="*/ 22 w 97"/>
                <a:gd name="T107" fmla="*/ 48 h 73"/>
                <a:gd name="T108" fmla="*/ 23 w 97"/>
                <a:gd name="T109" fmla="*/ 50 h 73"/>
                <a:gd name="T110" fmla="*/ 10 w 97"/>
                <a:gd name="T111" fmla="*/ 62 h 73"/>
                <a:gd name="T112" fmla="*/ 6 w 97"/>
                <a:gd name="T113" fmla="*/ 61 h 73"/>
                <a:gd name="T114" fmla="*/ 0 w 97"/>
                <a:gd name="T115" fmla="*/ 67 h 73"/>
                <a:gd name="T116" fmla="*/ 6 w 97"/>
                <a:gd name="T117" fmla="*/ 73 h 73"/>
                <a:gd name="T118" fmla="*/ 12 w 97"/>
                <a:gd name="T119" fmla="*/ 67 h 73"/>
                <a:gd name="T120" fmla="*/ 12 w 97"/>
                <a:gd name="T121" fmla="*/ 64 h 73"/>
                <a:gd name="T122" fmla="*/ 25 w 97"/>
                <a:gd name="T123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" h="73">
                  <a:moveTo>
                    <a:pt x="6" y="70"/>
                  </a:moveTo>
                  <a:cubicBezTo>
                    <a:pt x="5" y="70"/>
                    <a:pt x="3" y="69"/>
                    <a:pt x="3" y="67"/>
                  </a:cubicBezTo>
                  <a:cubicBezTo>
                    <a:pt x="3" y="65"/>
                    <a:pt x="5" y="64"/>
                    <a:pt x="6" y="64"/>
                  </a:cubicBezTo>
                  <a:cubicBezTo>
                    <a:pt x="8" y="64"/>
                    <a:pt x="9" y="65"/>
                    <a:pt x="9" y="67"/>
                  </a:cubicBezTo>
                  <a:cubicBezTo>
                    <a:pt x="9" y="69"/>
                    <a:pt x="8" y="70"/>
                    <a:pt x="6" y="70"/>
                  </a:cubicBezTo>
                  <a:moveTo>
                    <a:pt x="28" y="45"/>
                  </a:moveTo>
                  <a:cubicBezTo>
                    <a:pt x="29" y="45"/>
                    <a:pt x="31" y="46"/>
                    <a:pt x="31" y="48"/>
                  </a:cubicBezTo>
                  <a:cubicBezTo>
                    <a:pt x="31" y="49"/>
                    <a:pt x="29" y="51"/>
                    <a:pt x="28" y="51"/>
                  </a:cubicBezTo>
                  <a:cubicBezTo>
                    <a:pt x="26" y="51"/>
                    <a:pt x="25" y="49"/>
                    <a:pt x="25" y="48"/>
                  </a:cubicBezTo>
                  <a:cubicBezTo>
                    <a:pt x="25" y="46"/>
                    <a:pt x="26" y="45"/>
                    <a:pt x="28" y="45"/>
                  </a:cubicBezTo>
                  <a:moveTo>
                    <a:pt x="49" y="54"/>
                  </a:moveTo>
                  <a:cubicBezTo>
                    <a:pt x="51" y="54"/>
                    <a:pt x="52" y="55"/>
                    <a:pt x="52" y="57"/>
                  </a:cubicBezTo>
                  <a:cubicBezTo>
                    <a:pt x="52" y="58"/>
                    <a:pt x="51" y="60"/>
                    <a:pt x="49" y="60"/>
                  </a:cubicBezTo>
                  <a:cubicBezTo>
                    <a:pt x="47" y="60"/>
                    <a:pt x="46" y="58"/>
                    <a:pt x="46" y="57"/>
                  </a:cubicBezTo>
                  <a:cubicBezTo>
                    <a:pt x="46" y="55"/>
                    <a:pt x="47" y="54"/>
                    <a:pt x="49" y="54"/>
                  </a:cubicBezTo>
                  <a:moveTo>
                    <a:pt x="71" y="28"/>
                  </a:moveTo>
                  <a:cubicBezTo>
                    <a:pt x="72" y="28"/>
                    <a:pt x="74" y="29"/>
                    <a:pt x="74" y="31"/>
                  </a:cubicBezTo>
                  <a:cubicBezTo>
                    <a:pt x="74" y="33"/>
                    <a:pt x="72" y="34"/>
                    <a:pt x="71" y="34"/>
                  </a:cubicBezTo>
                  <a:cubicBezTo>
                    <a:pt x="69" y="34"/>
                    <a:pt x="68" y="33"/>
                    <a:pt x="68" y="31"/>
                  </a:cubicBezTo>
                  <a:cubicBezTo>
                    <a:pt x="68" y="29"/>
                    <a:pt x="69" y="28"/>
                    <a:pt x="71" y="28"/>
                  </a:cubicBezTo>
                  <a:moveTo>
                    <a:pt x="91" y="3"/>
                  </a:moveTo>
                  <a:cubicBezTo>
                    <a:pt x="93" y="3"/>
                    <a:pt x="94" y="4"/>
                    <a:pt x="94" y="6"/>
                  </a:cubicBezTo>
                  <a:cubicBezTo>
                    <a:pt x="94" y="8"/>
                    <a:pt x="93" y="9"/>
                    <a:pt x="91" y="9"/>
                  </a:cubicBezTo>
                  <a:cubicBezTo>
                    <a:pt x="90" y="9"/>
                    <a:pt x="88" y="8"/>
                    <a:pt x="88" y="6"/>
                  </a:cubicBezTo>
                  <a:cubicBezTo>
                    <a:pt x="88" y="4"/>
                    <a:pt x="90" y="3"/>
                    <a:pt x="91" y="3"/>
                  </a:cubicBezTo>
                  <a:moveTo>
                    <a:pt x="25" y="53"/>
                  </a:moveTo>
                  <a:cubicBezTo>
                    <a:pt x="25" y="53"/>
                    <a:pt x="27" y="54"/>
                    <a:pt x="28" y="54"/>
                  </a:cubicBezTo>
                  <a:cubicBezTo>
                    <a:pt x="30" y="54"/>
                    <a:pt x="31" y="53"/>
                    <a:pt x="32" y="51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7"/>
                  </a:cubicBezTo>
                  <a:cubicBezTo>
                    <a:pt x="43" y="60"/>
                    <a:pt x="46" y="62"/>
                    <a:pt x="49" y="62"/>
                  </a:cubicBezTo>
                  <a:cubicBezTo>
                    <a:pt x="52" y="62"/>
                    <a:pt x="55" y="60"/>
                    <a:pt x="55" y="57"/>
                  </a:cubicBezTo>
                  <a:cubicBezTo>
                    <a:pt x="55" y="55"/>
                    <a:pt x="54" y="54"/>
                    <a:pt x="54" y="53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7"/>
                    <a:pt x="70" y="37"/>
                    <a:pt x="71" y="37"/>
                  </a:cubicBezTo>
                  <a:cubicBezTo>
                    <a:pt x="74" y="37"/>
                    <a:pt x="77" y="34"/>
                    <a:pt x="77" y="31"/>
                  </a:cubicBezTo>
                  <a:cubicBezTo>
                    <a:pt x="77" y="30"/>
                    <a:pt x="76" y="28"/>
                    <a:pt x="75" y="27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9" y="12"/>
                    <a:pt x="90" y="12"/>
                    <a:pt x="91" y="12"/>
                  </a:cubicBezTo>
                  <a:cubicBezTo>
                    <a:pt x="94" y="12"/>
                    <a:pt x="97" y="9"/>
                    <a:pt x="97" y="6"/>
                  </a:cubicBezTo>
                  <a:cubicBezTo>
                    <a:pt x="97" y="3"/>
                    <a:pt x="94" y="0"/>
                    <a:pt x="91" y="0"/>
                  </a:cubicBezTo>
                  <a:cubicBezTo>
                    <a:pt x="88" y="0"/>
                    <a:pt x="85" y="3"/>
                    <a:pt x="85" y="6"/>
                  </a:cubicBezTo>
                  <a:cubicBezTo>
                    <a:pt x="85" y="7"/>
                    <a:pt x="86" y="8"/>
                    <a:pt x="86" y="9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2" y="25"/>
                    <a:pt x="71" y="25"/>
                    <a:pt x="71" y="25"/>
                  </a:cubicBezTo>
                  <a:cubicBezTo>
                    <a:pt x="67" y="25"/>
                    <a:pt x="65" y="28"/>
                    <a:pt x="65" y="31"/>
                  </a:cubicBezTo>
                  <a:cubicBezTo>
                    <a:pt x="65" y="32"/>
                    <a:pt x="65" y="33"/>
                    <a:pt x="66" y="34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1"/>
                    <a:pt x="50" y="51"/>
                    <a:pt x="49" y="51"/>
                  </a:cubicBezTo>
                  <a:cubicBezTo>
                    <a:pt x="47" y="51"/>
                    <a:pt x="45" y="52"/>
                    <a:pt x="44" y="53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4"/>
                    <a:pt x="31" y="42"/>
                    <a:pt x="28" y="42"/>
                  </a:cubicBezTo>
                  <a:cubicBezTo>
                    <a:pt x="25" y="42"/>
                    <a:pt x="22" y="44"/>
                    <a:pt x="22" y="48"/>
                  </a:cubicBezTo>
                  <a:cubicBezTo>
                    <a:pt x="22" y="49"/>
                    <a:pt x="22" y="50"/>
                    <a:pt x="23" y="50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9" y="62"/>
                    <a:pt x="8" y="61"/>
                    <a:pt x="6" y="61"/>
                  </a:cubicBezTo>
                  <a:cubicBezTo>
                    <a:pt x="3" y="61"/>
                    <a:pt x="0" y="64"/>
                    <a:pt x="0" y="67"/>
                  </a:cubicBezTo>
                  <a:cubicBezTo>
                    <a:pt x="0" y="70"/>
                    <a:pt x="3" y="73"/>
                    <a:pt x="6" y="73"/>
                  </a:cubicBezTo>
                  <a:cubicBezTo>
                    <a:pt x="10" y="73"/>
                    <a:pt x="12" y="70"/>
                    <a:pt x="12" y="67"/>
                  </a:cubicBezTo>
                  <a:cubicBezTo>
                    <a:pt x="12" y="66"/>
                    <a:pt x="12" y="65"/>
                    <a:pt x="12" y="64"/>
                  </a:cubicBezTo>
                  <a:lnTo>
                    <a:pt x="25" y="5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9" name="Group 305">
            <a:extLst>
              <a:ext uri="{FF2B5EF4-FFF2-40B4-BE49-F238E27FC236}">
                <a16:creationId xmlns:a16="http://schemas.microsoft.com/office/drawing/2014/main" id="{6E6A4E10-3507-4119-9BF3-AE1812634E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635" y="5446920"/>
            <a:ext cx="841375" cy="841375"/>
            <a:chOff x="243" y="3408"/>
            <a:chExt cx="530" cy="530"/>
          </a:xfrm>
        </p:grpSpPr>
        <p:sp>
          <p:nvSpPr>
            <p:cNvPr id="340" name="AutoShape 304">
              <a:extLst>
                <a:ext uri="{FF2B5EF4-FFF2-40B4-BE49-F238E27FC236}">
                  <a16:creationId xmlns:a16="http://schemas.microsoft.com/office/drawing/2014/main" id="{DB4D45EB-E66E-41D3-BD32-8381302DCF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3" y="340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Oval 306">
              <a:extLst>
                <a:ext uri="{FF2B5EF4-FFF2-40B4-BE49-F238E27FC236}">
                  <a16:creationId xmlns:a16="http://schemas.microsoft.com/office/drawing/2014/main" id="{CA499E27-36AE-49F2-8424-F12838B3B7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" y="3411"/>
              <a:ext cx="527" cy="527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307">
              <a:extLst>
                <a:ext uri="{FF2B5EF4-FFF2-40B4-BE49-F238E27FC236}">
                  <a16:creationId xmlns:a16="http://schemas.microsoft.com/office/drawing/2014/main" id="{0AA29065-0038-4183-A00B-56E5C260F0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" y="3432"/>
              <a:ext cx="484" cy="484"/>
            </a:xfrm>
            <a:custGeom>
              <a:avLst/>
              <a:gdLst>
                <a:gd name="T0" fmla="*/ 89 w 178"/>
                <a:gd name="T1" fmla="*/ 0 h 178"/>
                <a:gd name="T2" fmla="*/ 0 w 178"/>
                <a:gd name="T3" fmla="*/ 89 h 178"/>
                <a:gd name="T4" fmla="*/ 89 w 178"/>
                <a:gd name="T5" fmla="*/ 178 h 178"/>
                <a:gd name="T6" fmla="*/ 178 w 178"/>
                <a:gd name="T7" fmla="*/ 89 h 178"/>
                <a:gd name="T8" fmla="*/ 89 w 178"/>
                <a:gd name="T9" fmla="*/ 0 h 178"/>
                <a:gd name="T10" fmla="*/ 149 w 178"/>
                <a:gd name="T11" fmla="*/ 149 h 178"/>
                <a:gd name="T12" fmla="*/ 89 w 178"/>
                <a:gd name="T13" fmla="*/ 174 h 178"/>
                <a:gd name="T14" fmla="*/ 29 w 178"/>
                <a:gd name="T15" fmla="*/ 149 h 178"/>
                <a:gd name="T16" fmla="*/ 4 w 178"/>
                <a:gd name="T17" fmla="*/ 89 h 178"/>
                <a:gd name="T18" fmla="*/ 29 w 178"/>
                <a:gd name="T19" fmla="*/ 29 h 178"/>
                <a:gd name="T20" fmla="*/ 89 w 178"/>
                <a:gd name="T21" fmla="*/ 4 h 178"/>
                <a:gd name="T22" fmla="*/ 149 w 178"/>
                <a:gd name="T23" fmla="*/ 29 h 178"/>
                <a:gd name="T24" fmla="*/ 174 w 178"/>
                <a:gd name="T25" fmla="*/ 89 h 178"/>
                <a:gd name="T26" fmla="*/ 149 w 178"/>
                <a:gd name="T27" fmla="*/ 14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78">
                  <a:moveTo>
                    <a:pt x="89" y="0"/>
                  </a:moveTo>
                  <a:cubicBezTo>
                    <a:pt x="40" y="0"/>
                    <a:pt x="0" y="40"/>
                    <a:pt x="0" y="89"/>
                  </a:cubicBezTo>
                  <a:cubicBezTo>
                    <a:pt x="0" y="138"/>
                    <a:pt x="40" y="178"/>
                    <a:pt x="89" y="178"/>
                  </a:cubicBezTo>
                  <a:cubicBezTo>
                    <a:pt x="138" y="178"/>
                    <a:pt x="178" y="138"/>
                    <a:pt x="178" y="89"/>
                  </a:cubicBezTo>
                  <a:cubicBezTo>
                    <a:pt x="178" y="40"/>
                    <a:pt x="138" y="0"/>
                    <a:pt x="89" y="0"/>
                  </a:cubicBezTo>
                  <a:moveTo>
                    <a:pt x="149" y="149"/>
                  </a:moveTo>
                  <a:cubicBezTo>
                    <a:pt x="133" y="165"/>
                    <a:pt x="112" y="174"/>
                    <a:pt x="89" y="174"/>
                  </a:cubicBezTo>
                  <a:cubicBezTo>
                    <a:pt x="66" y="174"/>
                    <a:pt x="45" y="165"/>
                    <a:pt x="29" y="149"/>
                  </a:cubicBezTo>
                  <a:cubicBezTo>
                    <a:pt x="13" y="133"/>
                    <a:pt x="4" y="112"/>
                    <a:pt x="4" y="89"/>
                  </a:cubicBezTo>
                  <a:cubicBezTo>
                    <a:pt x="4" y="66"/>
                    <a:pt x="13" y="45"/>
                    <a:pt x="29" y="29"/>
                  </a:cubicBezTo>
                  <a:cubicBezTo>
                    <a:pt x="45" y="13"/>
                    <a:pt x="66" y="4"/>
                    <a:pt x="89" y="4"/>
                  </a:cubicBezTo>
                  <a:cubicBezTo>
                    <a:pt x="112" y="4"/>
                    <a:pt x="133" y="13"/>
                    <a:pt x="149" y="29"/>
                  </a:cubicBezTo>
                  <a:cubicBezTo>
                    <a:pt x="165" y="45"/>
                    <a:pt x="174" y="66"/>
                    <a:pt x="174" y="89"/>
                  </a:cubicBezTo>
                  <a:cubicBezTo>
                    <a:pt x="174" y="112"/>
                    <a:pt x="165" y="133"/>
                    <a:pt x="149" y="1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308">
              <a:extLst>
                <a:ext uri="{FF2B5EF4-FFF2-40B4-BE49-F238E27FC236}">
                  <a16:creationId xmlns:a16="http://schemas.microsoft.com/office/drawing/2014/main" id="{158B21ED-5B49-41DC-9D0F-039076FF3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" y="3647"/>
              <a:ext cx="256" cy="212"/>
            </a:xfrm>
            <a:custGeom>
              <a:avLst/>
              <a:gdLst>
                <a:gd name="T0" fmla="*/ 86 w 94"/>
                <a:gd name="T1" fmla="*/ 57 h 78"/>
                <a:gd name="T2" fmla="*/ 78 w 94"/>
                <a:gd name="T3" fmla="*/ 57 h 78"/>
                <a:gd name="T4" fmla="*/ 69 w 94"/>
                <a:gd name="T5" fmla="*/ 76 h 78"/>
                <a:gd name="T6" fmla="*/ 61 w 94"/>
                <a:gd name="T7" fmla="*/ 55 h 78"/>
                <a:gd name="T8" fmla="*/ 71 w 94"/>
                <a:gd name="T9" fmla="*/ 48 h 78"/>
                <a:gd name="T10" fmla="*/ 77 w 94"/>
                <a:gd name="T11" fmla="*/ 32 h 78"/>
                <a:gd name="T12" fmla="*/ 50 w 94"/>
                <a:gd name="T13" fmla="*/ 19 h 78"/>
                <a:gd name="T14" fmla="*/ 64 w 94"/>
                <a:gd name="T15" fmla="*/ 25 h 78"/>
                <a:gd name="T16" fmla="*/ 80 w 94"/>
                <a:gd name="T17" fmla="*/ 25 h 78"/>
                <a:gd name="T18" fmla="*/ 91 w 94"/>
                <a:gd name="T19" fmla="*/ 31 h 78"/>
                <a:gd name="T20" fmla="*/ 33 w 94"/>
                <a:gd name="T21" fmla="*/ 55 h 78"/>
                <a:gd name="T22" fmla="*/ 25 w 94"/>
                <a:gd name="T23" fmla="*/ 76 h 78"/>
                <a:gd name="T24" fmla="*/ 17 w 94"/>
                <a:gd name="T25" fmla="*/ 57 h 78"/>
                <a:gd name="T26" fmla="*/ 9 w 94"/>
                <a:gd name="T27" fmla="*/ 57 h 78"/>
                <a:gd name="T28" fmla="*/ 3 w 94"/>
                <a:gd name="T29" fmla="*/ 31 h 78"/>
                <a:gd name="T30" fmla="*/ 17 w 94"/>
                <a:gd name="T31" fmla="*/ 25 h 78"/>
                <a:gd name="T32" fmla="*/ 22 w 94"/>
                <a:gd name="T33" fmla="*/ 39 h 78"/>
                <a:gd name="T34" fmla="*/ 36 w 94"/>
                <a:gd name="T35" fmla="*/ 46 h 78"/>
                <a:gd name="T36" fmla="*/ 24 w 94"/>
                <a:gd name="T37" fmla="*/ 46 h 78"/>
                <a:gd name="T38" fmla="*/ 16 w 94"/>
                <a:gd name="T39" fmla="*/ 34 h 78"/>
                <a:gd name="T40" fmla="*/ 13 w 94"/>
                <a:gd name="T41" fmla="*/ 48 h 78"/>
                <a:gd name="T42" fmla="*/ 27 w 94"/>
                <a:gd name="T43" fmla="*/ 48 h 78"/>
                <a:gd name="T44" fmla="*/ 3 w 94"/>
                <a:gd name="T45" fmla="*/ 13 h 78"/>
                <a:gd name="T46" fmla="*/ 22 w 94"/>
                <a:gd name="T47" fmla="*/ 13 h 78"/>
                <a:gd name="T48" fmla="*/ 3 w 94"/>
                <a:gd name="T49" fmla="*/ 13 h 78"/>
                <a:gd name="T50" fmla="*/ 82 w 94"/>
                <a:gd name="T51" fmla="*/ 3 h 78"/>
                <a:gd name="T52" fmla="*/ 82 w 94"/>
                <a:gd name="T53" fmla="*/ 22 h 78"/>
                <a:gd name="T54" fmla="*/ 89 w 94"/>
                <a:gd name="T55" fmla="*/ 23 h 78"/>
                <a:gd name="T56" fmla="*/ 82 w 94"/>
                <a:gd name="T57" fmla="*/ 0 h 78"/>
                <a:gd name="T58" fmla="*/ 74 w 94"/>
                <a:gd name="T59" fmla="*/ 22 h 78"/>
                <a:gd name="T60" fmla="*/ 54 w 94"/>
                <a:gd name="T61" fmla="*/ 12 h 78"/>
                <a:gd name="T62" fmla="*/ 61 w 94"/>
                <a:gd name="T63" fmla="*/ 35 h 78"/>
                <a:gd name="T64" fmla="*/ 74 w 94"/>
                <a:gd name="T65" fmla="*/ 46 h 78"/>
                <a:gd name="T66" fmla="*/ 67 w 94"/>
                <a:gd name="T67" fmla="*/ 46 h 78"/>
                <a:gd name="T68" fmla="*/ 39 w 94"/>
                <a:gd name="T69" fmla="*/ 36 h 78"/>
                <a:gd name="T70" fmla="*/ 25 w 94"/>
                <a:gd name="T71" fmla="*/ 31 h 78"/>
                <a:gd name="T72" fmla="*/ 25 w 94"/>
                <a:gd name="T73" fmla="*/ 13 h 78"/>
                <a:gd name="T74" fmla="*/ 0 w 94"/>
                <a:gd name="T75" fmla="*/ 13 h 78"/>
                <a:gd name="T76" fmla="*/ 0 w 94"/>
                <a:gd name="T77" fmla="*/ 31 h 78"/>
                <a:gd name="T78" fmla="*/ 9 w 94"/>
                <a:gd name="T79" fmla="*/ 59 h 78"/>
                <a:gd name="T80" fmla="*/ 12 w 94"/>
                <a:gd name="T81" fmla="*/ 77 h 78"/>
                <a:gd name="T82" fmla="*/ 15 w 94"/>
                <a:gd name="T83" fmla="*/ 59 h 78"/>
                <a:gd name="T84" fmla="*/ 22 w 94"/>
                <a:gd name="T85" fmla="*/ 59 h 78"/>
                <a:gd name="T86" fmla="*/ 36 w 94"/>
                <a:gd name="T87" fmla="*/ 78 h 78"/>
                <a:gd name="T88" fmla="*/ 34 w 94"/>
                <a:gd name="T89" fmla="*/ 48 h 78"/>
                <a:gd name="T90" fmla="*/ 46 w 94"/>
                <a:gd name="T91" fmla="*/ 76 h 78"/>
                <a:gd name="T92" fmla="*/ 40 w 94"/>
                <a:gd name="T93" fmla="*/ 78 h 78"/>
                <a:gd name="T94" fmla="*/ 54 w 94"/>
                <a:gd name="T95" fmla="*/ 76 h 78"/>
                <a:gd name="T96" fmla="*/ 48 w 94"/>
                <a:gd name="T97" fmla="*/ 48 h 78"/>
                <a:gd name="T98" fmla="*/ 58 w 94"/>
                <a:gd name="T99" fmla="*/ 55 h 78"/>
                <a:gd name="T100" fmla="*/ 72 w 94"/>
                <a:gd name="T101" fmla="*/ 78 h 78"/>
                <a:gd name="T102" fmla="*/ 78 w 94"/>
                <a:gd name="T103" fmla="*/ 59 h 78"/>
                <a:gd name="T104" fmla="*/ 83 w 94"/>
                <a:gd name="T105" fmla="*/ 59 h 78"/>
                <a:gd name="T106" fmla="*/ 86 w 94"/>
                <a:gd name="T107" fmla="*/ 77 h 78"/>
                <a:gd name="T108" fmla="*/ 94 w 94"/>
                <a:gd name="T109" fmla="*/ 51 h 78"/>
                <a:gd name="T110" fmla="*/ 89 w 94"/>
                <a:gd name="T111" fmla="*/ 2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" h="78">
                  <a:moveTo>
                    <a:pt x="91" y="51"/>
                  </a:moveTo>
                  <a:cubicBezTo>
                    <a:pt x="91" y="54"/>
                    <a:pt x="89" y="57"/>
                    <a:pt x="86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1"/>
                    <a:pt x="64" y="48"/>
                    <a:pt x="67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9" y="25"/>
                    <a:pt x="91" y="28"/>
                    <a:pt x="91" y="31"/>
                  </a:cubicBezTo>
                  <a:lnTo>
                    <a:pt x="91" y="51"/>
                  </a:lnTo>
                  <a:close/>
                  <a:moveTo>
                    <a:pt x="33" y="5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6" y="57"/>
                    <a:pt x="3" y="54"/>
                    <a:pt x="3" y="5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28"/>
                    <a:pt x="6" y="25"/>
                    <a:pt x="9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0" y="25"/>
                    <a:pt x="22" y="28"/>
                    <a:pt x="22" y="3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1" y="48"/>
                    <a:pt x="33" y="51"/>
                    <a:pt x="33" y="55"/>
                  </a:cubicBezTo>
                  <a:moveTo>
                    <a:pt x="3" y="13"/>
                  </a:moveTo>
                  <a:cubicBezTo>
                    <a:pt x="3" y="7"/>
                    <a:pt x="7" y="3"/>
                    <a:pt x="13" y="3"/>
                  </a:cubicBezTo>
                  <a:cubicBezTo>
                    <a:pt x="18" y="3"/>
                    <a:pt x="22" y="7"/>
                    <a:pt x="22" y="13"/>
                  </a:cubicBezTo>
                  <a:cubicBezTo>
                    <a:pt x="22" y="18"/>
                    <a:pt x="18" y="22"/>
                    <a:pt x="13" y="22"/>
                  </a:cubicBezTo>
                  <a:cubicBezTo>
                    <a:pt x="7" y="22"/>
                    <a:pt x="3" y="18"/>
                    <a:pt x="3" y="13"/>
                  </a:cubicBezTo>
                  <a:moveTo>
                    <a:pt x="72" y="13"/>
                  </a:moveTo>
                  <a:cubicBezTo>
                    <a:pt x="72" y="7"/>
                    <a:pt x="76" y="3"/>
                    <a:pt x="82" y="3"/>
                  </a:cubicBezTo>
                  <a:cubicBezTo>
                    <a:pt x="87" y="3"/>
                    <a:pt x="91" y="7"/>
                    <a:pt x="91" y="13"/>
                  </a:cubicBezTo>
                  <a:cubicBezTo>
                    <a:pt x="91" y="18"/>
                    <a:pt x="87" y="22"/>
                    <a:pt x="82" y="22"/>
                  </a:cubicBezTo>
                  <a:cubicBezTo>
                    <a:pt x="76" y="22"/>
                    <a:pt x="72" y="18"/>
                    <a:pt x="72" y="13"/>
                  </a:cubicBezTo>
                  <a:moveTo>
                    <a:pt x="89" y="23"/>
                  </a:moveTo>
                  <a:cubicBezTo>
                    <a:pt x="92" y="21"/>
                    <a:pt x="94" y="17"/>
                    <a:pt x="94" y="13"/>
                  </a:cubicBezTo>
                  <a:cubicBezTo>
                    <a:pt x="94" y="6"/>
                    <a:pt x="89" y="0"/>
                    <a:pt x="82" y="0"/>
                  </a:cubicBezTo>
                  <a:cubicBezTo>
                    <a:pt x="75" y="0"/>
                    <a:pt x="69" y="6"/>
                    <a:pt x="69" y="13"/>
                  </a:cubicBezTo>
                  <a:cubicBezTo>
                    <a:pt x="69" y="17"/>
                    <a:pt x="71" y="20"/>
                    <a:pt x="74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27"/>
                    <a:pt x="23" y="24"/>
                    <a:pt x="20" y="23"/>
                  </a:cubicBezTo>
                  <a:cubicBezTo>
                    <a:pt x="23" y="21"/>
                    <a:pt x="25" y="17"/>
                    <a:pt x="25" y="13"/>
                  </a:cubicBez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7"/>
                    <a:pt x="2" y="21"/>
                    <a:pt x="6" y="23"/>
                  </a:cubicBezTo>
                  <a:cubicBezTo>
                    <a:pt x="2" y="24"/>
                    <a:pt x="0" y="27"/>
                    <a:pt x="0" y="3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4" y="59"/>
                    <a:pt x="9" y="5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2"/>
                    <a:pt x="35" y="50"/>
                    <a:pt x="34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59" y="50"/>
                    <a:pt x="58" y="52"/>
                    <a:pt x="58" y="55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91" y="59"/>
                    <a:pt x="94" y="55"/>
                    <a:pt x="94" y="5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27"/>
                    <a:pt x="92" y="24"/>
                    <a:pt x="89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309">
              <a:extLst>
                <a:ext uri="{FF2B5EF4-FFF2-40B4-BE49-F238E27FC236}">
                  <a16:creationId xmlns:a16="http://schemas.microsoft.com/office/drawing/2014/main" id="{410F95C1-AE99-4855-8A3C-3E8363E9C7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" y="3471"/>
              <a:ext cx="263" cy="198"/>
            </a:xfrm>
            <a:custGeom>
              <a:avLst/>
              <a:gdLst>
                <a:gd name="T0" fmla="*/ 6 w 97"/>
                <a:gd name="T1" fmla="*/ 70 h 73"/>
                <a:gd name="T2" fmla="*/ 3 w 97"/>
                <a:gd name="T3" fmla="*/ 67 h 73"/>
                <a:gd name="T4" fmla="*/ 6 w 97"/>
                <a:gd name="T5" fmla="*/ 64 h 73"/>
                <a:gd name="T6" fmla="*/ 9 w 97"/>
                <a:gd name="T7" fmla="*/ 67 h 73"/>
                <a:gd name="T8" fmla="*/ 6 w 97"/>
                <a:gd name="T9" fmla="*/ 70 h 73"/>
                <a:gd name="T10" fmla="*/ 28 w 97"/>
                <a:gd name="T11" fmla="*/ 45 h 73"/>
                <a:gd name="T12" fmla="*/ 31 w 97"/>
                <a:gd name="T13" fmla="*/ 48 h 73"/>
                <a:gd name="T14" fmla="*/ 28 w 97"/>
                <a:gd name="T15" fmla="*/ 51 h 73"/>
                <a:gd name="T16" fmla="*/ 25 w 97"/>
                <a:gd name="T17" fmla="*/ 48 h 73"/>
                <a:gd name="T18" fmla="*/ 28 w 97"/>
                <a:gd name="T19" fmla="*/ 45 h 73"/>
                <a:gd name="T20" fmla="*/ 49 w 97"/>
                <a:gd name="T21" fmla="*/ 54 h 73"/>
                <a:gd name="T22" fmla="*/ 52 w 97"/>
                <a:gd name="T23" fmla="*/ 57 h 73"/>
                <a:gd name="T24" fmla="*/ 49 w 97"/>
                <a:gd name="T25" fmla="*/ 60 h 73"/>
                <a:gd name="T26" fmla="*/ 46 w 97"/>
                <a:gd name="T27" fmla="*/ 57 h 73"/>
                <a:gd name="T28" fmla="*/ 49 w 97"/>
                <a:gd name="T29" fmla="*/ 54 h 73"/>
                <a:gd name="T30" fmla="*/ 71 w 97"/>
                <a:gd name="T31" fmla="*/ 28 h 73"/>
                <a:gd name="T32" fmla="*/ 74 w 97"/>
                <a:gd name="T33" fmla="*/ 31 h 73"/>
                <a:gd name="T34" fmla="*/ 71 w 97"/>
                <a:gd name="T35" fmla="*/ 34 h 73"/>
                <a:gd name="T36" fmla="*/ 67 w 97"/>
                <a:gd name="T37" fmla="*/ 31 h 73"/>
                <a:gd name="T38" fmla="*/ 71 w 97"/>
                <a:gd name="T39" fmla="*/ 28 h 73"/>
                <a:gd name="T40" fmla="*/ 91 w 97"/>
                <a:gd name="T41" fmla="*/ 3 h 73"/>
                <a:gd name="T42" fmla="*/ 94 w 97"/>
                <a:gd name="T43" fmla="*/ 6 h 73"/>
                <a:gd name="T44" fmla="*/ 91 w 97"/>
                <a:gd name="T45" fmla="*/ 9 h 73"/>
                <a:gd name="T46" fmla="*/ 88 w 97"/>
                <a:gd name="T47" fmla="*/ 6 h 73"/>
                <a:gd name="T48" fmla="*/ 91 w 97"/>
                <a:gd name="T49" fmla="*/ 3 h 73"/>
                <a:gd name="T50" fmla="*/ 24 w 97"/>
                <a:gd name="T51" fmla="*/ 53 h 73"/>
                <a:gd name="T52" fmla="*/ 28 w 97"/>
                <a:gd name="T53" fmla="*/ 54 h 73"/>
                <a:gd name="T54" fmla="*/ 32 w 97"/>
                <a:gd name="T55" fmla="*/ 51 h 73"/>
                <a:gd name="T56" fmla="*/ 43 w 97"/>
                <a:gd name="T57" fmla="*/ 56 h 73"/>
                <a:gd name="T58" fmla="*/ 43 w 97"/>
                <a:gd name="T59" fmla="*/ 57 h 73"/>
                <a:gd name="T60" fmla="*/ 49 w 97"/>
                <a:gd name="T61" fmla="*/ 63 h 73"/>
                <a:gd name="T62" fmla="*/ 55 w 97"/>
                <a:gd name="T63" fmla="*/ 57 h 73"/>
                <a:gd name="T64" fmla="*/ 54 w 97"/>
                <a:gd name="T65" fmla="*/ 53 h 73"/>
                <a:gd name="T66" fmla="*/ 68 w 97"/>
                <a:gd name="T67" fmla="*/ 36 h 73"/>
                <a:gd name="T68" fmla="*/ 71 w 97"/>
                <a:gd name="T69" fmla="*/ 37 h 73"/>
                <a:gd name="T70" fmla="*/ 76 w 97"/>
                <a:gd name="T71" fmla="*/ 31 h 73"/>
                <a:gd name="T72" fmla="*/ 75 w 97"/>
                <a:gd name="T73" fmla="*/ 28 h 73"/>
                <a:gd name="T74" fmla="*/ 89 w 97"/>
                <a:gd name="T75" fmla="*/ 12 h 73"/>
                <a:gd name="T76" fmla="*/ 91 w 97"/>
                <a:gd name="T77" fmla="*/ 12 h 73"/>
                <a:gd name="T78" fmla="*/ 97 w 97"/>
                <a:gd name="T79" fmla="*/ 6 h 73"/>
                <a:gd name="T80" fmla="*/ 91 w 97"/>
                <a:gd name="T81" fmla="*/ 0 h 73"/>
                <a:gd name="T82" fmla="*/ 85 w 97"/>
                <a:gd name="T83" fmla="*/ 6 h 73"/>
                <a:gd name="T84" fmla="*/ 86 w 97"/>
                <a:gd name="T85" fmla="*/ 10 h 73"/>
                <a:gd name="T86" fmla="*/ 73 w 97"/>
                <a:gd name="T87" fmla="*/ 26 h 73"/>
                <a:gd name="T88" fmla="*/ 71 w 97"/>
                <a:gd name="T89" fmla="*/ 25 h 73"/>
                <a:gd name="T90" fmla="*/ 65 w 97"/>
                <a:gd name="T91" fmla="*/ 31 h 73"/>
                <a:gd name="T92" fmla="*/ 66 w 97"/>
                <a:gd name="T93" fmla="*/ 35 h 73"/>
                <a:gd name="T94" fmla="*/ 51 w 97"/>
                <a:gd name="T95" fmla="*/ 52 h 73"/>
                <a:gd name="T96" fmla="*/ 49 w 97"/>
                <a:gd name="T97" fmla="*/ 51 h 73"/>
                <a:gd name="T98" fmla="*/ 44 w 97"/>
                <a:gd name="T99" fmla="*/ 53 h 73"/>
                <a:gd name="T100" fmla="*/ 33 w 97"/>
                <a:gd name="T101" fmla="*/ 49 h 73"/>
                <a:gd name="T102" fmla="*/ 34 w 97"/>
                <a:gd name="T103" fmla="*/ 48 h 73"/>
                <a:gd name="T104" fmla="*/ 28 w 97"/>
                <a:gd name="T105" fmla="*/ 42 h 73"/>
                <a:gd name="T106" fmla="*/ 22 w 97"/>
                <a:gd name="T107" fmla="*/ 48 h 73"/>
                <a:gd name="T108" fmla="*/ 23 w 97"/>
                <a:gd name="T109" fmla="*/ 51 h 73"/>
                <a:gd name="T110" fmla="*/ 9 w 97"/>
                <a:gd name="T111" fmla="*/ 63 h 73"/>
                <a:gd name="T112" fmla="*/ 6 w 97"/>
                <a:gd name="T113" fmla="*/ 62 h 73"/>
                <a:gd name="T114" fmla="*/ 0 w 97"/>
                <a:gd name="T115" fmla="*/ 67 h 73"/>
                <a:gd name="T116" fmla="*/ 6 w 97"/>
                <a:gd name="T117" fmla="*/ 73 h 73"/>
                <a:gd name="T118" fmla="*/ 12 w 97"/>
                <a:gd name="T119" fmla="*/ 67 h 73"/>
                <a:gd name="T120" fmla="*/ 11 w 97"/>
                <a:gd name="T121" fmla="*/ 65 h 73"/>
                <a:gd name="T122" fmla="*/ 24 w 97"/>
                <a:gd name="T123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" h="73">
                  <a:moveTo>
                    <a:pt x="6" y="70"/>
                  </a:moveTo>
                  <a:cubicBezTo>
                    <a:pt x="5" y="70"/>
                    <a:pt x="3" y="69"/>
                    <a:pt x="3" y="67"/>
                  </a:cubicBezTo>
                  <a:cubicBezTo>
                    <a:pt x="3" y="66"/>
                    <a:pt x="5" y="64"/>
                    <a:pt x="6" y="64"/>
                  </a:cubicBezTo>
                  <a:cubicBezTo>
                    <a:pt x="8" y="64"/>
                    <a:pt x="9" y="66"/>
                    <a:pt x="9" y="67"/>
                  </a:cubicBezTo>
                  <a:cubicBezTo>
                    <a:pt x="9" y="69"/>
                    <a:pt x="8" y="70"/>
                    <a:pt x="6" y="70"/>
                  </a:cubicBezTo>
                  <a:moveTo>
                    <a:pt x="28" y="45"/>
                  </a:moveTo>
                  <a:cubicBezTo>
                    <a:pt x="29" y="45"/>
                    <a:pt x="31" y="46"/>
                    <a:pt x="31" y="48"/>
                  </a:cubicBezTo>
                  <a:cubicBezTo>
                    <a:pt x="31" y="50"/>
                    <a:pt x="29" y="51"/>
                    <a:pt x="28" y="51"/>
                  </a:cubicBezTo>
                  <a:cubicBezTo>
                    <a:pt x="26" y="51"/>
                    <a:pt x="25" y="50"/>
                    <a:pt x="25" y="48"/>
                  </a:cubicBezTo>
                  <a:cubicBezTo>
                    <a:pt x="25" y="46"/>
                    <a:pt x="26" y="45"/>
                    <a:pt x="28" y="45"/>
                  </a:cubicBezTo>
                  <a:moveTo>
                    <a:pt x="49" y="54"/>
                  </a:moveTo>
                  <a:cubicBezTo>
                    <a:pt x="50" y="54"/>
                    <a:pt x="52" y="55"/>
                    <a:pt x="52" y="57"/>
                  </a:cubicBezTo>
                  <a:cubicBezTo>
                    <a:pt x="52" y="59"/>
                    <a:pt x="50" y="60"/>
                    <a:pt x="49" y="60"/>
                  </a:cubicBezTo>
                  <a:cubicBezTo>
                    <a:pt x="47" y="60"/>
                    <a:pt x="46" y="59"/>
                    <a:pt x="46" y="57"/>
                  </a:cubicBezTo>
                  <a:cubicBezTo>
                    <a:pt x="46" y="55"/>
                    <a:pt x="47" y="54"/>
                    <a:pt x="49" y="54"/>
                  </a:cubicBezTo>
                  <a:moveTo>
                    <a:pt x="71" y="28"/>
                  </a:moveTo>
                  <a:cubicBezTo>
                    <a:pt x="72" y="28"/>
                    <a:pt x="74" y="30"/>
                    <a:pt x="74" y="31"/>
                  </a:cubicBezTo>
                  <a:cubicBezTo>
                    <a:pt x="74" y="33"/>
                    <a:pt x="72" y="34"/>
                    <a:pt x="71" y="34"/>
                  </a:cubicBezTo>
                  <a:cubicBezTo>
                    <a:pt x="69" y="34"/>
                    <a:pt x="67" y="33"/>
                    <a:pt x="67" y="31"/>
                  </a:cubicBezTo>
                  <a:cubicBezTo>
                    <a:pt x="67" y="30"/>
                    <a:pt x="69" y="28"/>
                    <a:pt x="71" y="28"/>
                  </a:cubicBezTo>
                  <a:moveTo>
                    <a:pt x="91" y="3"/>
                  </a:moveTo>
                  <a:cubicBezTo>
                    <a:pt x="93" y="3"/>
                    <a:pt x="94" y="5"/>
                    <a:pt x="94" y="6"/>
                  </a:cubicBezTo>
                  <a:cubicBezTo>
                    <a:pt x="94" y="8"/>
                    <a:pt x="93" y="9"/>
                    <a:pt x="91" y="9"/>
                  </a:cubicBezTo>
                  <a:cubicBezTo>
                    <a:pt x="89" y="9"/>
                    <a:pt x="88" y="8"/>
                    <a:pt x="88" y="6"/>
                  </a:cubicBezTo>
                  <a:cubicBezTo>
                    <a:pt x="88" y="5"/>
                    <a:pt x="89" y="3"/>
                    <a:pt x="91" y="3"/>
                  </a:cubicBezTo>
                  <a:moveTo>
                    <a:pt x="24" y="53"/>
                  </a:moveTo>
                  <a:cubicBezTo>
                    <a:pt x="25" y="53"/>
                    <a:pt x="26" y="54"/>
                    <a:pt x="28" y="54"/>
                  </a:cubicBezTo>
                  <a:cubicBezTo>
                    <a:pt x="30" y="54"/>
                    <a:pt x="31" y="53"/>
                    <a:pt x="32" y="51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7"/>
                    <a:pt x="43" y="57"/>
                  </a:cubicBezTo>
                  <a:cubicBezTo>
                    <a:pt x="43" y="60"/>
                    <a:pt x="46" y="63"/>
                    <a:pt x="49" y="63"/>
                  </a:cubicBezTo>
                  <a:cubicBezTo>
                    <a:pt x="52" y="63"/>
                    <a:pt x="55" y="60"/>
                    <a:pt x="55" y="57"/>
                  </a:cubicBezTo>
                  <a:cubicBezTo>
                    <a:pt x="55" y="56"/>
                    <a:pt x="54" y="54"/>
                    <a:pt x="54" y="53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7"/>
                    <a:pt x="69" y="37"/>
                    <a:pt x="71" y="37"/>
                  </a:cubicBezTo>
                  <a:cubicBezTo>
                    <a:pt x="74" y="37"/>
                    <a:pt x="76" y="35"/>
                    <a:pt x="76" y="31"/>
                  </a:cubicBezTo>
                  <a:cubicBezTo>
                    <a:pt x="76" y="30"/>
                    <a:pt x="76" y="29"/>
                    <a:pt x="75" y="28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9" y="12"/>
                    <a:pt x="90" y="12"/>
                    <a:pt x="91" y="12"/>
                  </a:cubicBezTo>
                  <a:cubicBezTo>
                    <a:pt x="94" y="12"/>
                    <a:pt x="97" y="10"/>
                    <a:pt x="97" y="6"/>
                  </a:cubicBezTo>
                  <a:cubicBezTo>
                    <a:pt x="97" y="3"/>
                    <a:pt x="94" y="0"/>
                    <a:pt x="91" y="0"/>
                  </a:cubicBezTo>
                  <a:cubicBezTo>
                    <a:pt x="88" y="0"/>
                    <a:pt x="85" y="3"/>
                    <a:pt x="85" y="6"/>
                  </a:cubicBezTo>
                  <a:cubicBezTo>
                    <a:pt x="85" y="8"/>
                    <a:pt x="86" y="9"/>
                    <a:pt x="86" y="10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2" y="26"/>
                    <a:pt x="71" y="25"/>
                    <a:pt x="71" y="25"/>
                  </a:cubicBezTo>
                  <a:cubicBezTo>
                    <a:pt x="67" y="25"/>
                    <a:pt x="65" y="28"/>
                    <a:pt x="65" y="31"/>
                  </a:cubicBezTo>
                  <a:cubicBezTo>
                    <a:pt x="65" y="33"/>
                    <a:pt x="65" y="34"/>
                    <a:pt x="66" y="35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1" y="51"/>
                    <a:pt x="50" y="51"/>
                    <a:pt x="49" y="51"/>
                  </a:cubicBezTo>
                  <a:cubicBezTo>
                    <a:pt x="47" y="51"/>
                    <a:pt x="45" y="52"/>
                    <a:pt x="44" y="53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4" y="49"/>
                    <a:pt x="34" y="48"/>
                    <a:pt x="34" y="48"/>
                  </a:cubicBezTo>
                  <a:cubicBezTo>
                    <a:pt x="34" y="45"/>
                    <a:pt x="31" y="42"/>
                    <a:pt x="28" y="42"/>
                  </a:cubicBezTo>
                  <a:cubicBezTo>
                    <a:pt x="24" y="42"/>
                    <a:pt x="22" y="45"/>
                    <a:pt x="22" y="48"/>
                  </a:cubicBezTo>
                  <a:cubicBezTo>
                    <a:pt x="22" y="49"/>
                    <a:pt x="22" y="50"/>
                    <a:pt x="23" y="51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62"/>
                    <a:pt x="7" y="62"/>
                    <a:pt x="6" y="62"/>
                  </a:cubicBezTo>
                  <a:cubicBezTo>
                    <a:pt x="3" y="62"/>
                    <a:pt x="0" y="64"/>
                    <a:pt x="0" y="67"/>
                  </a:cubicBezTo>
                  <a:cubicBezTo>
                    <a:pt x="0" y="71"/>
                    <a:pt x="3" y="73"/>
                    <a:pt x="6" y="73"/>
                  </a:cubicBezTo>
                  <a:cubicBezTo>
                    <a:pt x="9" y="73"/>
                    <a:pt x="12" y="71"/>
                    <a:pt x="12" y="67"/>
                  </a:cubicBezTo>
                  <a:cubicBezTo>
                    <a:pt x="12" y="66"/>
                    <a:pt x="12" y="65"/>
                    <a:pt x="11" y="65"/>
                  </a:cubicBezTo>
                  <a:lnTo>
                    <a:pt x="24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9" name="Group 312">
            <a:extLst>
              <a:ext uri="{FF2B5EF4-FFF2-40B4-BE49-F238E27FC236}">
                <a16:creationId xmlns:a16="http://schemas.microsoft.com/office/drawing/2014/main" id="{250C421F-BCBA-47BD-9486-D69882538F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2866" y="5488195"/>
            <a:ext cx="758825" cy="758825"/>
            <a:chOff x="2189" y="3521"/>
            <a:chExt cx="478" cy="478"/>
          </a:xfrm>
        </p:grpSpPr>
        <p:sp>
          <p:nvSpPr>
            <p:cNvPr id="350" name="AutoShape 311">
              <a:extLst>
                <a:ext uri="{FF2B5EF4-FFF2-40B4-BE49-F238E27FC236}">
                  <a16:creationId xmlns:a16="http://schemas.microsoft.com/office/drawing/2014/main" id="{4E263FC5-A039-4EF7-8B3E-8E12DEFCEC9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89" y="352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313">
              <a:extLst>
                <a:ext uri="{FF2B5EF4-FFF2-40B4-BE49-F238E27FC236}">
                  <a16:creationId xmlns:a16="http://schemas.microsoft.com/office/drawing/2014/main" id="{1F7DC029-C45F-41FA-A62E-B7F419DB71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1" y="352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314">
              <a:extLst>
                <a:ext uri="{FF2B5EF4-FFF2-40B4-BE49-F238E27FC236}">
                  <a16:creationId xmlns:a16="http://schemas.microsoft.com/office/drawing/2014/main" id="{DBAF55E8-358E-49EE-834D-53D1F8320C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5" y="3609"/>
              <a:ext cx="198" cy="179"/>
            </a:xfrm>
            <a:custGeom>
              <a:avLst/>
              <a:gdLst>
                <a:gd name="T0" fmla="*/ 42 w 81"/>
                <a:gd name="T1" fmla="*/ 56 h 73"/>
                <a:gd name="T2" fmla="*/ 44 w 81"/>
                <a:gd name="T3" fmla="*/ 53 h 73"/>
                <a:gd name="T4" fmla="*/ 45 w 81"/>
                <a:gd name="T5" fmla="*/ 61 h 73"/>
                <a:gd name="T6" fmla="*/ 33 w 81"/>
                <a:gd name="T7" fmla="*/ 64 h 73"/>
                <a:gd name="T8" fmla="*/ 37 w 81"/>
                <a:gd name="T9" fmla="*/ 68 h 73"/>
                <a:gd name="T10" fmla="*/ 18 w 81"/>
                <a:gd name="T11" fmla="*/ 70 h 73"/>
                <a:gd name="T12" fmla="*/ 3 w 81"/>
                <a:gd name="T13" fmla="*/ 51 h 73"/>
                <a:gd name="T14" fmla="*/ 9 w 81"/>
                <a:gd name="T15" fmla="*/ 48 h 73"/>
                <a:gd name="T16" fmla="*/ 23 w 81"/>
                <a:gd name="T17" fmla="*/ 29 h 73"/>
                <a:gd name="T18" fmla="*/ 42 w 81"/>
                <a:gd name="T19" fmla="*/ 31 h 73"/>
                <a:gd name="T20" fmla="*/ 30 w 81"/>
                <a:gd name="T21" fmla="*/ 50 h 73"/>
                <a:gd name="T22" fmla="*/ 46 w 81"/>
                <a:gd name="T23" fmla="*/ 38 h 73"/>
                <a:gd name="T24" fmla="*/ 48 w 81"/>
                <a:gd name="T25" fmla="*/ 44 h 73"/>
                <a:gd name="T26" fmla="*/ 39 w 81"/>
                <a:gd name="T27" fmla="*/ 39 h 73"/>
                <a:gd name="T28" fmla="*/ 34 w 81"/>
                <a:gd name="T29" fmla="*/ 36 h 73"/>
                <a:gd name="T30" fmla="*/ 39 w 81"/>
                <a:gd name="T31" fmla="*/ 39 h 73"/>
                <a:gd name="T32" fmla="*/ 56 w 81"/>
                <a:gd name="T33" fmla="*/ 14 h 73"/>
                <a:gd name="T34" fmla="*/ 66 w 81"/>
                <a:gd name="T35" fmla="*/ 14 h 73"/>
                <a:gd name="T36" fmla="*/ 69 w 81"/>
                <a:gd name="T37" fmla="*/ 19 h 73"/>
                <a:gd name="T38" fmla="*/ 55 w 81"/>
                <a:gd name="T39" fmla="*/ 46 h 73"/>
                <a:gd name="T40" fmla="*/ 52 w 81"/>
                <a:gd name="T41" fmla="*/ 41 h 73"/>
                <a:gd name="T42" fmla="*/ 54 w 81"/>
                <a:gd name="T43" fmla="*/ 3 h 73"/>
                <a:gd name="T44" fmla="*/ 62 w 81"/>
                <a:gd name="T45" fmla="*/ 56 h 73"/>
                <a:gd name="T46" fmla="*/ 49 w 81"/>
                <a:gd name="T47" fmla="*/ 47 h 73"/>
                <a:gd name="T48" fmla="*/ 57 w 81"/>
                <a:gd name="T49" fmla="*/ 49 h 73"/>
                <a:gd name="T50" fmla="*/ 62 w 81"/>
                <a:gd name="T51" fmla="*/ 48 h 73"/>
                <a:gd name="T52" fmla="*/ 71 w 81"/>
                <a:gd name="T53" fmla="*/ 17 h 73"/>
                <a:gd name="T54" fmla="*/ 69 w 81"/>
                <a:gd name="T55" fmla="*/ 14 h 73"/>
                <a:gd name="T56" fmla="*/ 59 w 81"/>
                <a:gd name="T57" fmla="*/ 9 h 73"/>
                <a:gd name="T58" fmla="*/ 55 w 81"/>
                <a:gd name="T59" fmla="*/ 11 h 73"/>
                <a:gd name="T60" fmla="*/ 46 w 81"/>
                <a:gd name="T61" fmla="*/ 35 h 73"/>
                <a:gd name="T62" fmla="*/ 46 w 81"/>
                <a:gd name="T63" fmla="*/ 35 h 73"/>
                <a:gd name="T64" fmla="*/ 44 w 81"/>
                <a:gd name="T65" fmla="*/ 34 h 73"/>
                <a:gd name="T66" fmla="*/ 51 w 81"/>
                <a:gd name="T67" fmla="*/ 14 h 73"/>
                <a:gd name="T68" fmla="*/ 54 w 81"/>
                <a:gd name="T69" fmla="*/ 3 h 73"/>
                <a:gd name="T70" fmla="*/ 81 w 81"/>
                <a:gd name="T71" fmla="*/ 9 h 73"/>
                <a:gd name="T72" fmla="*/ 47 w 81"/>
                <a:gd name="T73" fmla="*/ 16 h 73"/>
                <a:gd name="T74" fmla="*/ 20 w 81"/>
                <a:gd name="T75" fmla="*/ 29 h 73"/>
                <a:gd name="T76" fmla="*/ 4 w 81"/>
                <a:gd name="T77" fmla="*/ 48 h 73"/>
                <a:gd name="T78" fmla="*/ 0 w 81"/>
                <a:gd name="T79" fmla="*/ 73 h 73"/>
                <a:gd name="T80" fmla="*/ 29 w 81"/>
                <a:gd name="T81" fmla="*/ 68 h 73"/>
                <a:gd name="T82" fmla="*/ 38 w 81"/>
                <a:gd name="T83" fmla="*/ 71 h 73"/>
                <a:gd name="T84" fmla="*/ 41 w 81"/>
                <a:gd name="T85" fmla="*/ 61 h 73"/>
                <a:gd name="T86" fmla="*/ 48 w 81"/>
                <a:gd name="T87" fmla="*/ 64 h 73"/>
                <a:gd name="T88" fmla="*/ 64 w 81"/>
                <a:gd name="T89" fmla="*/ 5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1" h="73">
                  <a:moveTo>
                    <a:pt x="45" y="61"/>
                  </a:moveTo>
                  <a:cubicBezTo>
                    <a:pt x="42" y="60"/>
                    <a:pt x="42" y="57"/>
                    <a:pt x="42" y="56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4"/>
                    <a:pt x="47" y="54"/>
                    <a:pt x="47" y="54"/>
                  </a:cubicBezTo>
                  <a:lnTo>
                    <a:pt x="45" y="61"/>
                  </a:lnTo>
                  <a:close/>
                  <a:moveTo>
                    <a:pt x="37" y="68"/>
                  </a:moveTo>
                  <a:cubicBezTo>
                    <a:pt x="34" y="67"/>
                    <a:pt x="33" y="65"/>
                    <a:pt x="33" y="64"/>
                  </a:cubicBezTo>
                  <a:cubicBezTo>
                    <a:pt x="39" y="58"/>
                    <a:pt x="39" y="58"/>
                    <a:pt x="39" y="58"/>
                  </a:cubicBezTo>
                  <a:lnTo>
                    <a:pt x="37" y="68"/>
                  </a:lnTo>
                  <a:close/>
                  <a:moveTo>
                    <a:pt x="27" y="66"/>
                  </a:moveTo>
                  <a:cubicBezTo>
                    <a:pt x="25" y="68"/>
                    <a:pt x="22" y="70"/>
                    <a:pt x="18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6" y="51"/>
                    <a:pt x="8" y="50"/>
                    <a:pt x="9" y="48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3" y="29"/>
                    <a:pt x="23" y="2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38"/>
                    <a:pt x="45" y="38"/>
                    <a:pt x="46" y="38"/>
                  </a:cubicBezTo>
                  <a:cubicBezTo>
                    <a:pt x="48" y="38"/>
                    <a:pt x="49" y="39"/>
                    <a:pt x="49" y="41"/>
                  </a:cubicBezTo>
                  <a:cubicBezTo>
                    <a:pt x="49" y="42"/>
                    <a:pt x="49" y="43"/>
                    <a:pt x="48" y="44"/>
                  </a:cubicBezTo>
                  <a:lnTo>
                    <a:pt x="27" y="66"/>
                  </a:lnTo>
                  <a:close/>
                  <a:moveTo>
                    <a:pt x="39" y="39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41" y="34"/>
                    <a:pt x="41" y="34"/>
                    <a:pt x="41" y="34"/>
                  </a:cubicBezTo>
                  <a:lnTo>
                    <a:pt x="39" y="39"/>
                  </a:lnTo>
                  <a:close/>
                  <a:moveTo>
                    <a:pt x="49" y="36"/>
                  </a:moveTo>
                  <a:cubicBezTo>
                    <a:pt x="56" y="14"/>
                    <a:pt x="56" y="14"/>
                    <a:pt x="56" y="14"/>
                  </a:cubicBezTo>
                  <a:cubicBezTo>
                    <a:pt x="58" y="15"/>
                    <a:pt x="60" y="14"/>
                    <a:pt x="61" y="12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5"/>
                    <a:pt x="66" y="16"/>
                    <a:pt x="67" y="16"/>
                  </a:cubicBezTo>
                  <a:cubicBezTo>
                    <a:pt x="67" y="17"/>
                    <a:pt x="68" y="18"/>
                    <a:pt x="69" y="19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8" y="44"/>
                    <a:pt x="56" y="45"/>
                    <a:pt x="55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2" y="44"/>
                    <a:pt x="52" y="43"/>
                    <a:pt x="52" y="41"/>
                  </a:cubicBezTo>
                  <a:cubicBezTo>
                    <a:pt x="52" y="39"/>
                    <a:pt x="51" y="37"/>
                    <a:pt x="49" y="36"/>
                  </a:cubicBezTo>
                  <a:moveTo>
                    <a:pt x="54" y="3"/>
                  </a:moveTo>
                  <a:cubicBezTo>
                    <a:pt x="77" y="11"/>
                    <a:pt x="77" y="11"/>
                    <a:pt x="77" y="11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47"/>
                    <a:pt x="59" y="47"/>
                    <a:pt x="61" y="47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0" y="16"/>
                    <a:pt x="70" y="16"/>
                    <a:pt x="69" y="15"/>
                  </a:cubicBezTo>
                  <a:cubicBezTo>
                    <a:pt x="69" y="15"/>
                    <a:pt x="69" y="14"/>
                    <a:pt x="69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8" y="11"/>
                    <a:pt x="57" y="12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4" y="35"/>
                    <a:pt x="43" y="36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lnTo>
                    <a:pt x="54" y="3"/>
                  </a:lnTo>
                  <a:close/>
                  <a:moveTo>
                    <a:pt x="64" y="59"/>
                  </a:moveTo>
                  <a:cubicBezTo>
                    <a:pt x="81" y="9"/>
                    <a:pt x="81" y="9"/>
                    <a:pt x="81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1" y="27"/>
                    <a:pt x="20" y="28"/>
                    <a:pt x="20" y="29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6" y="48"/>
                    <a:pt x="5" y="48"/>
                    <a:pt x="4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23" y="73"/>
                    <a:pt x="27" y="71"/>
                    <a:pt x="29" y="68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2" y="68"/>
                    <a:pt x="34" y="70"/>
                    <a:pt x="38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2" y="62"/>
                    <a:pt x="44" y="64"/>
                    <a:pt x="47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64" y="5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315">
              <a:extLst>
                <a:ext uri="{FF2B5EF4-FFF2-40B4-BE49-F238E27FC236}">
                  <a16:creationId xmlns:a16="http://schemas.microsoft.com/office/drawing/2014/main" id="{FD53462B-2677-4710-8BF6-EC3B690AD7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2" y="3668"/>
              <a:ext cx="30" cy="27"/>
            </a:xfrm>
            <a:custGeom>
              <a:avLst/>
              <a:gdLst>
                <a:gd name="T0" fmla="*/ 6 w 12"/>
                <a:gd name="T1" fmla="*/ 2 h 11"/>
                <a:gd name="T2" fmla="*/ 9 w 12"/>
                <a:gd name="T3" fmla="*/ 5 h 11"/>
                <a:gd name="T4" fmla="*/ 6 w 12"/>
                <a:gd name="T5" fmla="*/ 8 h 11"/>
                <a:gd name="T6" fmla="*/ 3 w 12"/>
                <a:gd name="T7" fmla="*/ 5 h 11"/>
                <a:gd name="T8" fmla="*/ 6 w 12"/>
                <a:gd name="T9" fmla="*/ 2 h 11"/>
                <a:gd name="T10" fmla="*/ 6 w 12"/>
                <a:gd name="T11" fmla="*/ 11 h 11"/>
                <a:gd name="T12" fmla="*/ 12 w 12"/>
                <a:gd name="T13" fmla="*/ 5 h 11"/>
                <a:gd name="T14" fmla="*/ 6 w 12"/>
                <a:gd name="T15" fmla="*/ 0 h 11"/>
                <a:gd name="T16" fmla="*/ 0 w 12"/>
                <a:gd name="T17" fmla="*/ 5 h 11"/>
                <a:gd name="T18" fmla="*/ 6 w 12"/>
                <a:gd name="T1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1">
                  <a:moveTo>
                    <a:pt x="6" y="2"/>
                  </a:moveTo>
                  <a:cubicBezTo>
                    <a:pt x="8" y="2"/>
                    <a:pt x="9" y="4"/>
                    <a:pt x="9" y="5"/>
                  </a:cubicBezTo>
                  <a:cubicBezTo>
                    <a:pt x="9" y="7"/>
                    <a:pt x="8" y="8"/>
                    <a:pt x="6" y="8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4"/>
                    <a:pt x="4" y="2"/>
                    <a:pt x="6" y="2"/>
                  </a:cubicBezTo>
                  <a:moveTo>
                    <a:pt x="6" y="11"/>
                  </a:moveTo>
                  <a:cubicBezTo>
                    <a:pt x="9" y="11"/>
                    <a:pt x="12" y="9"/>
                    <a:pt x="12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9"/>
                    <a:pt x="3" y="11"/>
                    <a:pt x="6" y="1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316">
              <a:extLst>
                <a:ext uri="{FF2B5EF4-FFF2-40B4-BE49-F238E27FC236}">
                  <a16:creationId xmlns:a16="http://schemas.microsoft.com/office/drawing/2014/main" id="{77E30E4A-153F-4683-AA4F-4A87840721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9" y="3720"/>
              <a:ext cx="108" cy="103"/>
            </a:xfrm>
            <a:custGeom>
              <a:avLst/>
              <a:gdLst>
                <a:gd name="T0" fmla="*/ 54 w 108"/>
                <a:gd name="T1" fmla="*/ 14 h 103"/>
                <a:gd name="T2" fmla="*/ 66 w 108"/>
                <a:gd name="T3" fmla="*/ 39 h 103"/>
                <a:gd name="T4" fmla="*/ 93 w 108"/>
                <a:gd name="T5" fmla="*/ 44 h 103"/>
                <a:gd name="T6" fmla="*/ 74 w 108"/>
                <a:gd name="T7" fmla="*/ 61 h 103"/>
                <a:gd name="T8" fmla="*/ 79 w 108"/>
                <a:gd name="T9" fmla="*/ 88 h 103"/>
                <a:gd name="T10" fmla="*/ 54 w 108"/>
                <a:gd name="T11" fmla="*/ 76 h 103"/>
                <a:gd name="T12" fmla="*/ 32 w 108"/>
                <a:gd name="T13" fmla="*/ 88 h 103"/>
                <a:gd name="T14" fmla="*/ 35 w 108"/>
                <a:gd name="T15" fmla="*/ 61 h 103"/>
                <a:gd name="T16" fmla="*/ 17 w 108"/>
                <a:gd name="T17" fmla="*/ 44 h 103"/>
                <a:gd name="T18" fmla="*/ 42 w 108"/>
                <a:gd name="T19" fmla="*/ 39 h 103"/>
                <a:gd name="T20" fmla="*/ 54 w 108"/>
                <a:gd name="T21" fmla="*/ 14 h 103"/>
                <a:gd name="T22" fmla="*/ 0 w 108"/>
                <a:gd name="T23" fmla="*/ 39 h 103"/>
                <a:gd name="T24" fmla="*/ 27 w 108"/>
                <a:gd name="T25" fmla="*/ 63 h 103"/>
                <a:gd name="T26" fmla="*/ 22 w 108"/>
                <a:gd name="T27" fmla="*/ 103 h 103"/>
                <a:gd name="T28" fmla="*/ 54 w 108"/>
                <a:gd name="T29" fmla="*/ 83 h 103"/>
                <a:gd name="T30" fmla="*/ 88 w 108"/>
                <a:gd name="T31" fmla="*/ 103 h 103"/>
                <a:gd name="T32" fmla="*/ 81 w 108"/>
                <a:gd name="T33" fmla="*/ 63 h 103"/>
                <a:gd name="T34" fmla="*/ 108 w 108"/>
                <a:gd name="T35" fmla="*/ 39 h 103"/>
                <a:gd name="T36" fmla="*/ 71 w 108"/>
                <a:gd name="T37" fmla="*/ 34 h 103"/>
                <a:gd name="T38" fmla="*/ 54 w 108"/>
                <a:gd name="T39" fmla="*/ 0 h 103"/>
                <a:gd name="T40" fmla="*/ 39 w 108"/>
                <a:gd name="T41" fmla="*/ 34 h 103"/>
                <a:gd name="T42" fmla="*/ 0 w 108"/>
                <a:gd name="T43" fmla="*/ 3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" h="103">
                  <a:moveTo>
                    <a:pt x="54" y="14"/>
                  </a:moveTo>
                  <a:lnTo>
                    <a:pt x="66" y="39"/>
                  </a:lnTo>
                  <a:lnTo>
                    <a:pt x="93" y="44"/>
                  </a:lnTo>
                  <a:lnTo>
                    <a:pt x="74" y="61"/>
                  </a:lnTo>
                  <a:lnTo>
                    <a:pt x="79" y="88"/>
                  </a:lnTo>
                  <a:lnTo>
                    <a:pt x="54" y="76"/>
                  </a:lnTo>
                  <a:lnTo>
                    <a:pt x="32" y="88"/>
                  </a:lnTo>
                  <a:lnTo>
                    <a:pt x="35" y="61"/>
                  </a:lnTo>
                  <a:lnTo>
                    <a:pt x="17" y="44"/>
                  </a:lnTo>
                  <a:lnTo>
                    <a:pt x="42" y="39"/>
                  </a:lnTo>
                  <a:lnTo>
                    <a:pt x="54" y="14"/>
                  </a:lnTo>
                  <a:close/>
                  <a:moveTo>
                    <a:pt x="0" y="39"/>
                  </a:moveTo>
                  <a:lnTo>
                    <a:pt x="27" y="63"/>
                  </a:lnTo>
                  <a:lnTo>
                    <a:pt x="22" y="103"/>
                  </a:lnTo>
                  <a:lnTo>
                    <a:pt x="54" y="83"/>
                  </a:lnTo>
                  <a:lnTo>
                    <a:pt x="88" y="103"/>
                  </a:lnTo>
                  <a:lnTo>
                    <a:pt x="81" y="63"/>
                  </a:lnTo>
                  <a:lnTo>
                    <a:pt x="108" y="39"/>
                  </a:lnTo>
                  <a:lnTo>
                    <a:pt x="71" y="34"/>
                  </a:lnTo>
                  <a:lnTo>
                    <a:pt x="54" y="0"/>
                  </a:lnTo>
                  <a:lnTo>
                    <a:pt x="39" y="34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17">
              <a:extLst>
                <a:ext uri="{FF2B5EF4-FFF2-40B4-BE49-F238E27FC236}">
                  <a16:creationId xmlns:a16="http://schemas.microsoft.com/office/drawing/2014/main" id="{6C32DA0C-2005-4AD2-8684-7CB978AEE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5" y="3825"/>
              <a:ext cx="179" cy="74"/>
            </a:xfrm>
            <a:custGeom>
              <a:avLst/>
              <a:gdLst>
                <a:gd name="T0" fmla="*/ 70 w 73"/>
                <a:gd name="T1" fmla="*/ 27 h 30"/>
                <a:gd name="T2" fmla="*/ 56 w 73"/>
                <a:gd name="T3" fmla="*/ 27 h 30"/>
                <a:gd name="T4" fmla="*/ 22 w 73"/>
                <a:gd name="T5" fmla="*/ 19 h 30"/>
                <a:gd name="T6" fmla="*/ 5 w 73"/>
                <a:gd name="T7" fmla="*/ 7 h 30"/>
                <a:gd name="T8" fmla="*/ 4 w 73"/>
                <a:gd name="T9" fmla="*/ 4 h 30"/>
                <a:gd name="T10" fmla="*/ 6 w 73"/>
                <a:gd name="T11" fmla="*/ 3 h 30"/>
                <a:gd name="T12" fmla="*/ 7 w 73"/>
                <a:gd name="T13" fmla="*/ 3 h 30"/>
                <a:gd name="T14" fmla="*/ 21 w 73"/>
                <a:gd name="T15" fmla="*/ 12 h 30"/>
                <a:gd name="T16" fmla="*/ 44 w 73"/>
                <a:gd name="T17" fmla="*/ 12 h 30"/>
                <a:gd name="T18" fmla="*/ 44 w 73"/>
                <a:gd name="T19" fmla="*/ 10 h 30"/>
                <a:gd name="T20" fmla="*/ 35 w 73"/>
                <a:gd name="T21" fmla="*/ 10 h 30"/>
                <a:gd name="T22" fmla="*/ 32 w 73"/>
                <a:gd name="T23" fmla="*/ 8 h 30"/>
                <a:gd name="T24" fmla="*/ 31 w 73"/>
                <a:gd name="T25" fmla="*/ 5 h 30"/>
                <a:gd name="T26" fmla="*/ 55 w 73"/>
                <a:gd name="T27" fmla="*/ 5 h 30"/>
                <a:gd name="T28" fmla="*/ 69 w 73"/>
                <a:gd name="T29" fmla="*/ 15 h 30"/>
                <a:gd name="T30" fmla="*/ 70 w 73"/>
                <a:gd name="T31" fmla="*/ 15 h 30"/>
                <a:gd name="T32" fmla="*/ 70 w 73"/>
                <a:gd name="T33" fmla="*/ 27 h 30"/>
                <a:gd name="T34" fmla="*/ 14 w 73"/>
                <a:gd name="T35" fmla="*/ 4 h 30"/>
                <a:gd name="T36" fmla="*/ 15 w 73"/>
                <a:gd name="T37" fmla="*/ 3 h 30"/>
                <a:gd name="T38" fmla="*/ 17 w 73"/>
                <a:gd name="T39" fmla="*/ 3 h 30"/>
                <a:gd name="T40" fmla="*/ 26 w 73"/>
                <a:gd name="T41" fmla="*/ 10 h 30"/>
                <a:gd name="T42" fmla="*/ 22 w 73"/>
                <a:gd name="T43" fmla="*/ 10 h 30"/>
                <a:gd name="T44" fmla="*/ 14 w 73"/>
                <a:gd name="T45" fmla="*/ 4 h 30"/>
                <a:gd name="T46" fmla="*/ 14 w 73"/>
                <a:gd name="T47" fmla="*/ 4 h 30"/>
                <a:gd name="T48" fmla="*/ 70 w 73"/>
                <a:gd name="T49" fmla="*/ 12 h 30"/>
                <a:gd name="T50" fmla="*/ 56 w 73"/>
                <a:gd name="T51" fmla="*/ 2 h 30"/>
                <a:gd name="T52" fmla="*/ 29 w 73"/>
                <a:gd name="T53" fmla="*/ 2 h 30"/>
                <a:gd name="T54" fmla="*/ 28 w 73"/>
                <a:gd name="T55" fmla="*/ 3 h 30"/>
                <a:gd name="T56" fmla="*/ 29 w 73"/>
                <a:gd name="T57" fmla="*/ 8 h 30"/>
                <a:gd name="T58" fmla="*/ 18 w 73"/>
                <a:gd name="T59" fmla="*/ 1 h 30"/>
                <a:gd name="T60" fmla="*/ 15 w 73"/>
                <a:gd name="T61" fmla="*/ 0 h 30"/>
                <a:gd name="T62" fmla="*/ 11 w 73"/>
                <a:gd name="T63" fmla="*/ 2 h 30"/>
                <a:gd name="T64" fmla="*/ 11 w 73"/>
                <a:gd name="T65" fmla="*/ 3 h 30"/>
                <a:gd name="T66" fmla="*/ 9 w 73"/>
                <a:gd name="T67" fmla="*/ 1 h 30"/>
                <a:gd name="T68" fmla="*/ 5 w 73"/>
                <a:gd name="T69" fmla="*/ 0 h 30"/>
                <a:gd name="T70" fmla="*/ 2 w 73"/>
                <a:gd name="T71" fmla="*/ 2 h 30"/>
                <a:gd name="T72" fmla="*/ 3 w 73"/>
                <a:gd name="T73" fmla="*/ 9 h 30"/>
                <a:gd name="T74" fmla="*/ 21 w 73"/>
                <a:gd name="T75" fmla="*/ 21 h 30"/>
                <a:gd name="T76" fmla="*/ 55 w 73"/>
                <a:gd name="T77" fmla="*/ 30 h 30"/>
                <a:gd name="T78" fmla="*/ 73 w 73"/>
                <a:gd name="T79" fmla="*/ 30 h 30"/>
                <a:gd name="T80" fmla="*/ 73 w 73"/>
                <a:gd name="T81" fmla="*/ 12 h 30"/>
                <a:gd name="T82" fmla="*/ 70 w 73"/>
                <a:gd name="T8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" h="30">
                  <a:moveTo>
                    <a:pt x="70" y="27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4" y="5"/>
                    <a:pt x="4" y="4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9"/>
                    <a:pt x="33" y="9"/>
                    <a:pt x="32" y="8"/>
                  </a:cubicBezTo>
                  <a:cubicBezTo>
                    <a:pt x="31" y="7"/>
                    <a:pt x="31" y="6"/>
                    <a:pt x="31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0" y="15"/>
                    <a:pt x="70" y="15"/>
                  </a:cubicBezTo>
                  <a:lnTo>
                    <a:pt x="70" y="27"/>
                  </a:lnTo>
                  <a:close/>
                  <a:moveTo>
                    <a:pt x="14" y="4"/>
                  </a:moveTo>
                  <a:cubicBezTo>
                    <a:pt x="14" y="3"/>
                    <a:pt x="15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moveTo>
                    <a:pt x="70" y="12"/>
                  </a:moveTo>
                  <a:cubicBezTo>
                    <a:pt x="56" y="2"/>
                    <a:pt x="56" y="2"/>
                    <a:pt x="56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6"/>
                    <a:pt x="29" y="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6" y="0"/>
                    <a:pt x="15" y="0"/>
                  </a:cubicBezTo>
                  <a:cubicBezTo>
                    <a:pt x="13" y="0"/>
                    <a:pt x="12" y="1"/>
                    <a:pt x="11" y="2"/>
                  </a:cubicBezTo>
                  <a:cubicBezTo>
                    <a:pt x="11" y="2"/>
                    <a:pt x="11" y="3"/>
                    <a:pt x="11" y="3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0" y="5"/>
                    <a:pt x="1" y="8"/>
                    <a:pt x="3" y="9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12"/>
                    <a:pt x="73" y="12"/>
                    <a:pt x="73" y="12"/>
                  </a:cubicBezTo>
                  <a:lnTo>
                    <a:pt x="70" y="1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6" name="Group 320">
            <a:extLst>
              <a:ext uri="{FF2B5EF4-FFF2-40B4-BE49-F238E27FC236}">
                <a16:creationId xmlns:a16="http://schemas.microsoft.com/office/drawing/2014/main" id="{496589EE-4FBF-418F-9F9B-737F38CAF4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5502" y="5446920"/>
            <a:ext cx="841375" cy="841375"/>
            <a:chOff x="1669" y="3464"/>
            <a:chExt cx="530" cy="530"/>
          </a:xfrm>
        </p:grpSpPr>
        <p:sp>
          <p:nvSpPr>
            <p:cNvPr id="357" name="AutoShape 319">
              <a:extLst>
                <a:ext uri="{FF2B5EF4-FFF2-40B4-BE49-F238E27FC236}">
                  <a16:creationId xmlns:a16="http://schemas.microsoft.com/office/drawing/2014/main" id="{68DF5433-925F-4EB3-AA68-6301DE2FC1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69" y="346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321">
              <a:extLst>
                <a:ext uri="{FF2B5EF4-FFF2-40B4-BE49-F238E27FC236}">
                  <a16:creationId xmlns:a16="http://schemas.microsoft.com/office/drawing/2014/main" id="{7BBB8001-95CE-4911-9C46-77E6C0E02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9" y="346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322">
              <a:extLst>
                <a:ext uri="{FF2B5EF4-FFF2-40B4-BE49-F238E27FC236}">
                  <a16:creationId xmlns:a16="http://schemas.microsoft.com/office/drawing/2014/main" id="{91D4FDBC-95E1-4050-A167-70B893304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7" y="348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23">
              <a:extLst>
                <a:ext uri="{FF2B5EF4-FFF2-40B4-BE49-F238E27FC236}">
                  <a16:creationId xmlns:a16="http://schemas.microsoft.com/office/drawing/2014/main" id="{E84B0850-8758-4ECE-9B4B-11C57E62B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4" y="3571"/>
              <a:ext cx="207" cy="187"/>
            </a:xfrm>
            <a:custGeom>
              <a:avLst/>
              <a:gdLst>
                <a:gd name="T0" fmla="*/ 42 w 81"/>
                <a:gd name="T1" fmla="*/ 56 h 73"/>
                <a:gd name="T2" fmla="*/ 44 w 81"/>
                <a:gd name="T3" fmla="*/ 53 h 73"/>
                <a:gd name="T4" fmla="*/ 45 w 81"/>
                <a:gd name="T5" fmla="*/ 61 h 73"/>
                <a:gd name="T6" fmla="*/ 33 w 81"/>
                <a:gd name="T7" fmla="*/ 64 h 73"/>
                <a:gd name="T8" fmla="*/ 37 w 81"/>
                <a:gd name="T9" fmla="*/ 68 h 73"/>
                <a:gd name="T10" fmla="*/ 18 w 81"/>
                <a:gd name="T11" fmla="*/ 70 h 73"/>
                <a:gd name="T12" fmla="*/ 3 w 81"/>
                <a:gd name="T13" fmla="*/ 51 h 73"/>
                <a:gd name="T14" fmla="*/ 9 w 81"/>
                <a:gd name="T15" fmla="*/ 48 h 73"/>
                <a:gd name="T16" fmla="*/ 23 w 81"/>
                <a:gd name="T17" fmla="*/ 29 h 73"/>
                <a:gd name="T18" fmla="*/ 42 w 81"/>
                <a:gd name="T19" fmla="*/ 31 h 73"/>
                <a:gd name="T20" fmla="*/ 30 w 81"/>
                <a:gd name="T21" fmla="*/ 50 h 73"/>
                <a:gd name="T22" fmla="*/ 46 w 81"/>
                <a:gd name="T23" fmla="*/ 38 h 73"/>
                <a:gd name="T24" fmla="*/ 48 w 81"/>
                <a:gd name="T25" fmla="*/ 44 h 73"/>
                <a:gd name="T26" fmla="*/ 39 w 81"/>
                <a:gd name="T27" fmla="*/ 39 h 73"/>
                <a:gd name="T28" fmla="*/ 34 w 81"/>
                <a:gd name="T29" fmla="*/ 36 h 73"/>
                <a:gd name="T30" fmla="*/ 39 w 81"/>
                <a:gd name="T31" fmla="*/ 39 h 73"/>
                <a:gd name="T32" fmla="*/ 56 w 81"/>
                <a:gd name="T33" fmla="*/ 14 h 73"/>
                <a:gd name="T34" fmla="*/ 66 w 81"/>
                <a:gd name="T35" fmla="*/ 14 h 73"/>
                <a:gd name="T36" fmla="*/ 69 w 81"/>
                <a:gd name="T37" fmla="*/ 19 h 73"/>
                <a:gd name="T38" fmla="*/ 55 w 81"/>
                <a:gd name="T39" fmla="*/ 46 h 73"/>
                <a:gd name="T40" fmla="*/ 52 w 81"/>
                <a:gd name="T41" fmla="*/ 41 h 73"/>
                <a:gd name="T42" fmla="*/ 54 w 81"/>
                <a:gd name="T43" fmla="*/ 3 h 73"/>
                <a:gd name="T44" fmla="*/ 62 w 81"/>
                <a:gd name="T45" fmla="*/ 56 h 73"/>
                <a:gd name="T46" fmla="*/ 49 w 81"/>
                <a:gd name="T47" fmla="*/ 47 h 73"/>
                <a:gd name="T48" fmla="*/ 57 w 81"/>
                <a:gd name="T49" fmla="*/ 49 h 73"/>
                <a:gd name="T50" fmla="*/ 62 w 81"/>
                <a:gd name="T51" fmla="*/ 48 h 73"/>
                <a:gd name="T52" fmla="*/ 71 w 81"/>
                <a:gd name="T53" fmla="*/ 17 h 73"/>
                <a:gd name="T54" fmla="*/ 69 w 81"/>
                <a:gd name="T55" fmla="*/ 14 h 73"/>
                <a:gd name="T56" fmla="*/ 59 w 81"/>
                <a:gd name="T57" fmla="*/ 9 h 73"/>
                <a:gd name="T58" fmla="*/ 55 w 81"/>
                <a:gd name="T59" fmla="*/ 11 h 73"/>
                <a:gd name="T60" fmla="*/ 46 w 81"/>
                <a:gd name="T61" fmla="*/ 35 h 73"/>
                <a:gd name="T62" fmla="*/ 46 w 81"/>
                <a:gd name="T63" fmla="*/ 35 h 73"/>
                <a:gd name="T64" fmla="*/ 44 w 81"/>
                <a:gd name="T65" fmla="*/ 34 h 73"/>
                <a:gd name="T66" fmla="*/ 51 w 81"/>
                <a:gd name="T67" fmla="*/ 14 h 73"/>
                <a:gd name="T68" fmla="*/ 54 w 81"/>
                <a:gd name="T69" fmla="*/ 3 h 73"/>
                <a:gd name="T70" fmla="*/ 81 w 81"/>
                <a:gd name="T71" fmla="*/ 9 h 73"/>
                <a:gd name="T72" fmla="*/ 47 w 81"/>
                <a:gd name="T73" fmla="*/ 16 h 73"/>
                <a:gd name="T74" fmla="*/ 20 w 81"/>
                <a:gd name="T75" fmla="*/ 29 h 73"/>
                <a:gd name="T76" fmla="*/ 4 w 81"/>
                <a:gd name="T77" fmla="*/ 48 h 73"/>
                <a:gd name="T78" fmla="*/ 0 w 81"/>
                <a:gd name="T79" fmla="*/ 73 h 73"/>
                <a:gd name="T80" fmla="*/ 29 w 81"/>
                <a:gd name="T81" fmla="*/ 68 h 73"/>
                <a:gd name="T82" fmla="*/ 38 w 81"/>
                <a:gd name="T83" fmla="*/ 71 h 73"/>
                <a:gd name="T84" fmla="*/ 41 w 81"/>
                <a:gd name="T85" fmla="*/ 61 h 73"/>
                <a:gd name="T86" fmla="*/ 48 w 81"/>
                <a:gd name="T87" fmla="*/ 64 h 73"/>
                <a:gd name="T88" fmla="*/ 64 w 81"/>
                <a:gd name="T89" fmla="*/ 5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1" h="73">
                  <a:moveTo>
                    <a:pt x="45" y="61"/>
                  </a:moveTo>
                  <a:cubicBezTo>
                    <a:pt x="42" y="60"/>
                    <a:pt x="42" y="57"/>
                    <a:pt x="42" y="56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7" y="54"/>
                    <a:pt x="47" y="54"/>
                    <a:pt x="47" y="54"/>
                  </a:cubicBezTo>
                  <a:lnTo>
                    <a:pt x="45" y="61"/>
                  </a:lnTo>
                  <a:close/>
                  <a:moveTo>
                    <a:pt x="37" y="68"/>
                  </a:moveTo>
                  <a:cubicBezTo>
                    <a:pt x="34" y="67"/>
                    <a:pt x="33" y="65"/>
                    <a:pt x="33" y="64"/>
                  </a:cubicBezTo>
                  <a:cubicBezTo>
                    <a:pt x="39" y="58"/>
                    <a:pt x="39" y="58"/>
                    <a:pt x="39" y="58"/>
                  </a:cubicBezTo>
                  <a:lnTo>
                    <a:pt x="37" y="68"/>
                  </a:lnTo>
                  <a:close/>
                  <a:moveTo>
                    <a:pt x="27" y="66"/>
                  </a:moveTo>
                  <a:cubicBezTo>
                    <a:pt x="25" y="68"/>
                    <a:pt x="22" y="70"/>
                    <a:pt x="18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6" y="51"/>
                    <a:pt x="8" y="50"/>
                    <a:pt x="9" y="48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3" y="29"/>
                    <a:pt x="23" y="2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4" y="38"/>
                    <a:pt x="45" y="38"/>
                    <a:pt x="46" y="38"/>
                  </a:cubicBezTo>
                  <a:cubicBezTo>
                    <a:pt x="48" y="38"/>
                    <a:pt x="49" y="39"/>
                    <a:pt x="49" y="41"/>
                  </a:cubicBezTo>
                  <a:cubicBezTo>
                    <a:pt x="49" y="42"/>
                    <a:pt x="49" y="43"/>
                    <a:pt x="48" y="44"/>
                  </a:cubicBezTo>
                  <a:lnTo>
                    <a:pt x="27" y="66"/>
                  </a:lnTo>
                  <a:close/>
                  <a:moveTo>
                    <a:pt x="39" y="39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41" y="34"/>
                    <a:pt x="41" y="34"/>
                    <a:pt x="41" y="34"/>
                  </a:cubicBezTo>
                  <a:lnTo>
                    <a:pt x="39" y="39"/>
                  </a:lnTo>
                  <a:close/>
                  <a:moveTo>
                    <a:pt x="49" y="36"/>
                  </a:moveTo>
                  <a:cubicBezTo>
                    <a:pt x="56" y="14"/>
                    <a:pt x="56" y="14"/>
                    <a:pt x="56" y="14"/>
                  </a:cubicBezTo>
                  <a:cubicBezTo>
                    <a:pt x="58" y="15"/>
                    <a:pt x="60" y="14"/>
                    <a:pt x="61" y="12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5"/>
                    <a:pt x="66" y="16"/>
                    <a:pt x="67" y="16"/>
                  </a:cubicBezTo>
                  <a:cubicBezTo>
                    <a:pt x="67" y="17"/>
                    <a:pt x="68" y="18"/>
                    <a:pt x="69" y="19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8" y="44"/>
                    <a:pt x="56" y="45"/>
                    <a:pt x="55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2" y="44"/>
                    <a:pt x="52" y="43"/>
                    <a:pt x="52" y="41"/>
                  </a:cubicBezTo>
                  <a:cubicBezTo>
                    <a:pt x="52" y="39"/>
                    <a:pt x="51" y="37"/>
                    <a:pt x="49" y="36"/>
                  </a:cubicBezTo>
                  <a:moveTo>
                    <a:pt x="54" y="3"/>
                  </a:moveTo>
                  <a:cubicBezTo>
                    <a:pt x="77" y="11"/>
                    <a:pt x="77" y="11"/>
                    <a:pt x="77" y="11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47"/>
                    <a:pt x="59" y="47"/>
                    <a:pt x="61" y="47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0" y="16"/>
                    <a:pt x="70" y="16"/>
                    <a:pt x="69" y="15"/>
                  </a:cubicBezTo>
                  <a:cubicBezTo>
                    <a:pt x="69" y="15"/>
                    <a:pt x="69" y="14"/>
                    <a:pt x="69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8" y="11"/>
                    <a:pt x="57" y="12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4" y="35"/>
                    <a:pt x="43" y="36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lnTo>
                    <a:pt x="54" y="3"/>
                  </a:lnTo>
                  <a:close/>
                  <a:moveTo>
                    <a:pt x="64" y="59"/>
                  </a:moveTo>
                  <a:cubicBezTo>
                    <a:pt x="81" y="9"/>
                    <a:pt x="81" y="9"/>
                    <a:pt x="81" y="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1" y="27"/>
                    <a:pt x="20" y="28"/>
                    <a:pt x="20" y="29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6" y="48"/>
                    <a:pt x="5" y="48"/>
                    <a:pt x="4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23" y="73"/>
                    <a:pt x="27" y="71"/>
                    <a:pt x="29" y="68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2" y="68"/>
                    <a:pt x="34" y="70"/>
                    <a:pt x="38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2" y="62"/>
                    <a:pt x="44" y="64"/>
                    <a:pt x="47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64" y="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4">
              <a:extLst>
                <a:ext uri="{FF2B5EF4-FFF2-40B4-BE49-F238E27FC236}">
                  <a16:creationId xmlns:a16="http://schemas.microsoft.com/office/drawing/2014/main" id="{87EB3521-BE7C-4B03-B837-ECE6AE4A3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07" y="3633"/>
              <a:ext cx="31" cy="28"/>
            </a:xfrm>
            <a:custGeom>
              <a:avLst/>
              <a:gdLst>
                <a:gd name="T0" fmla="*/ 6 w 12"/>
                <a:gd name="T1" fmla="*/ 2 h 11"/>
                <a:gd name="T2" fmla="*/ 9 w 12"/>
                <a:gd name="T3" fmla="*/ 5 h 11"/>
                <a:gd name="T4" fmla="*/ 6 w 12"/>
                <a:gd name="T5" fmla="*/ 8 h 11"/>
                <a:gd name="T6" fmla="*/ 3 w 12"/>
                <a:gd name="T7" fmla="*/ 5 h 11"/>
                <a:gd name="T8" fmla="*/ 6 w 12"/>
                <a:gd name="T9" fmla="*/ 2 h 11"/>
                <a:gd name="T10" fmla="*/ 6 w 12"/>
                <a:gd name="T11" fmla="*/ 11 h 11"/>
                <a:gd name="T12" fmla="*/ 12 w 12"/>
                <a:gd name="T13" fmla="*/ 5 h 11"/>
                <a:gd name="T14" fmla="*/ 6 w 12"/>
                <a:gd name="T15" fmla="*/ 0 h 11"/>
                <a:gd name="T16" fmla="*/ 0 w 12"/>
                <a:gd name="T17" fmla="*/ 5 h 11"/>
                <a:gd name="T18" fmla="*/ 6 w 12"/>
                <a:gd name="T1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1">
                  <a:moveTo>
                    <a:pt x="6" y="2"/>
                  </a:moveTo>
                  <a:cubicBezTo>
                    <a:pt x="8" y="2"/>
                    <a:pt x="9" y="4"/>
                    <a:pt x="9" y="5"/>
                  </a:cubicBezTo>
                  <a:cubicBezTo>
                    <a:pt x="9" y="7"/>
                    <a:pt x="8" y="8"/>
                    <a:pt x="6" y="8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4"/>
                    <a:pt x="4" y="2"/>
                    <a:pt x="6" y="2"/>
                  </a:cubicBezTo>
                  <a:moveTo>
                    <a:pt x="6" y="11"/>
                  </a:moveTo>
                  <a:cubicBezTo>
                    <a:pt x="9" y="11"/>
                    <a:pt x="12" y="9"/>
                    <a:pt x="12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9"/>
                    <a:pt x="3" y="11"/>
                    <a:pt x="6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25">
              <a:extLst>
                <a:ext uri="{FF2B5EF4-FFF2-40B4-BE49-F238E27FC236}">
                  <a16:creationId xmlns:a16="http://schemas.microsoft.com/office/drawing/2014/main" id="{A84C13F9-0875-425D-A60E-9E47D16BED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5" y="3687"/>
              <a:ext cx="113" cy="107"/>
            </a:xfrm>
            <a:custGeom>
              <a:avLst/>
              <a:gdLst>
                <a:gd name="T0" fmla="*/ 57 w 113"/>
                <a:gd name="T1" fmla="*/ 15 h 107"/>
                <a:gd name="T2" fmla="*/ 69 w 113"/>
                <a:gd name="T3" fmla="*/ 41 h 107"/>
                <a:gd name="T4" fmla="*/ 97 w 113"/>
                <a:gd name="T5" fmla="*/ 46 h 107"/>
                <a:gd name="T6" fmla="*/ 77 w 113"/>
                <a:gd name="T7" fmla="*/ 64 h 107"/>
                <a:gd name="T8" fmla="*/ 82 w 113"/>
                <a:gd name="T9" fmla="*/ 92 h 107"/>
                <a:gd name="T10" fmla="*/ 57 w 113"/>
                <a:gd name="T11" fmla="*/ 79 h 107"/>
                <a:gd name="T12" fmla="*/ 33 w 113"/>
                <a:gd name="T13" fmla="*/ 92 h 107"/>
                <a:gd name="T14" fmla="*/ 36 w 113"/>
                <a:gd name="T15" fmla="*/ 64 h 107"/>
                <a:gd name="T16" fmla="*/ 18 w 113"/>
                <a:gd name="T17" fmla="*/ 46 h 107"/>
                <a:gd name="T18" fmla="*/ 44 w 113"/>
                <a:gd name="T19" fmla="*/ 41 h 107"/>
                <a:gd name="T20" fmla="*/ 57 w 113"/>
                <a:gd name="T21" fmla="*/ 15 h 107"/>
                <a:gd name="T22" fmla="*/ 0 w 113"/>
                <a:gd name="T23" fmla="*/ 41 h 107"/>
                <a:gd name="T24" fmla="*/ 28 w 113"/>
                <a:gd name="T25" fmla="*/ 66 h 107"/>
                <a:gd name="T26" fmla="*/ 23 w 113"/>
                <a:gd name="T27" fmla="*/ 107 h 107"/>
                <a:gd name="T28" fmla="*/ 57 w 113"/>
                <a:gd name="T29" fmla="*/ 87 h 107"/>
                <a:gd name="T30" fmla="*/ 92 w 113"/>
                <a:gd name="T31" fmla="*/ 107 h 107"/>
                <a:gd name="T32" fmla="*/ 85 w 113"/>
                <a:gd name="T33" fmla="*/ 66 h 107"/>
                <a:gd name="T34" fmla="*/ 113 w 113"/>
                <a:gd name="T35" fmla="*/ 41 h 107"/>
                <a:gd name="T36" fmla="*/ 74 w 113"/>
                <a:gd name="T37" fmla="*/ 35 h 107"/>
                <a:gd name="T38" fmla="*/ 57 w 113"/>
                <a:gd name="T39" fmla="*/ 0 h 107"/>
                <a:gd name="T40" fmla="*/ 41 w 113"/>
                <a:gd name="T41" fmla="*/ 35 h 107"/>
                <a:gd name="T42" fmla="*/ 0 w 113"/>
                <a:gd name="T43" fmla="*/ 4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107">
                  <a:moveTo>
                    <a:pt x="57" y="15"/>
                  </a:moveTo>
                  <a:lnTo>
                    <a:pt x="69" y="41"/>
                  </a:lnTo>
                  <a:lnTo>
                    <a:pt x="97" y="46"/>
                  </a:lnTo>
                  <a:lnTo>
                    <a:pt x="77" y="64"/>
                  </a:lnTo>
                  <a:lnTo>
                    <a:pt x="82" y="92"/>
                  </a:lnTo>
                  <a:lnTo>
                    <a:pt x="57" y="79"/>
                  </a:lnTo>
                  <a:lnTo>
                    <a:pt x="33" y="92"/>
                  </a:lnTo>
                  <a:lnTo>
                    <a:pt x="36" y="64"/>
                  </a:lnTo>
                  <a:lnTo>
                    <a:pt x="18" y="46"/>
                  </a:lnTo>
                  <a:lnTo>
                    <a:pt x="44" y="41"/>
                  </a:lnTo>
                  <a:lnTo>
                    <a:pt x="57" y="15"/>
                  </a:lnTo>
                  <a:close/>
                  <a:moveTo>
                    <a:pt x="0" y="41"/>
                  </a:moveTo>
                  <a:lnTo>
                    <a:pt x="28" y="66"/>
                  </a:lnTo>
                  <a:lnTo>
                    <a:pt x="23" y="107"/>
                  </a:lnTo>
                  <a:lnTo>
                    <a:pt x="57" y="87"/>
                  </a:lnTo>
                  <a:lnTo>
                    <a:pt x="92" y="107"/>
                  </a:lnTo>
                  <a:lnTo>
                    <a:pt x="85" y="66"/>
                  </a:lnTo>
                  <a:lnTo>
                    <a:pt x="113" y="41"/>
                  </a:lnTo>
                  <a:lnTo>
                    <a:pt x="74" y="35"/>
                  </a:lnTo>
                  <a:lnTo>
                    <a:pt x="57" y="0"/>
                  </a:lnTo>
                  <a:lnTo>
                    <a:pt x="41" y="35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26">
              <a:extLst>
                <a:ext uri="{FF2B5EF4-FFF2-40B4-BE49-F238E27FC236}">
                  <a16:creationId xmlns:a16="http://schemas.microsoft.com/office/drawing/2014/main" id="{F062F4EB-6EBA-4CC6-8E0E-BCC36EE078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0" y="3797"/>
              <a:ext cx="186" cy="77"/>
            </a:xfrm>
            <a:custGeom>
              <a:avLst/>
              <a:gdLst>
                <a:gd name="T0" fmla="*/ 70 w 73"/>
                <a:gd name="T1" fmla="*/ 27 h 30"/>
                <a:gd name="T2" fmla="*/ 56 w 73"/>
                <a:gd name="T3" fmla="*/ 27 h 30"/>
                <a:gd name="T4" fmla="*/ 22 w 73"/>
                <a:gd name="T5" fmla="*/ 19 h 30"/>
                <a:gd name="T6" fmla="*/ 5 w 73"/>
                <a:gd name="T7" fmla="*/ 7 h 30"/>
                <a:gd name="T8" fmla="*/ 4 w 73"/>
                <a:gd name="T9" fmla="*/ 4 h 30"/>
                <a:gd name="T10" fmla="*/ 6 w 73"/>
                <a:gd name="T11" fmla="*/ 3 h 30"/>
                <a:gd name="T12" fmla="*/ 7 w 73"/>
                <a:gd name="T13" fmla="*/ 3 h 30"/>
                <a:gd name="T14" fmla="*/ 21 w 73"/>
                <a:gd name="T15" fmla="*/ 12 h 30"/>
                <a:gd name="T16" fmla="*/ 44 w 73"/>
                <a:gd name="T17" fmla="*/ 12 h 30"/>
                <a:gd name="T18" fmla="*/ 44 w 73"/>
                <a:gd name="T19" fmla="*/ 10 h 30"/>
                <a:gd name="T20" fmla="*/ 35 w 73"/>
                <a:gd name="T21" fmla="*/ 10 h 30"/>
                <a:gd name="T22" fmla="*/ 32 w 73"/>
                <a:gd name="T23" fmla="*/ 8 h 30"/>
                <a:gd name="T24" fmla="*/ 31 w 73"/>
                <a:gd name="T25" fmla="*/ 5 h 30"/>
                <a:gd name="T26" fmla="*/ 55 w 73"/>
                <a:gd name="T27" fmla="*/ 5 h 30"/>
                <a:gd name="T28" fmla="*/ 69 w 73"/>
                <a:gd name="T29" fmla="*/ 15 h 30"/>
                <a:gd name="T30" fmla="*/ 70 w 73"/>
                <a:gd name="T31" fmla="*/ 15 h 30"/>
                <a:gd name="T32" fmla="*/ 70 w 73"/>
                <a:gd name="T33" fmla="*/ 27 h 30"/>
                <a:gd name="T34" fmla="*/ 14 w 73"/>
                <a:gd name="T35" fmla="*/ 4 h 30"/>
                <a:gd name="T36" fmla="*/ 15 w 73"/>
                <a:gd name="T37" fmla="*/ 3 h 30"/>
                <a:gd name="T38" fmla="*/ 17 w 73"/>
                <a:gd name="T39" fmla="*/ 3 h 30"/>
                <a:gd name="T40" fmla="*/ 26 w 73"/>
                <a:gd name="T41" fmla="*/ 10 h 30"/>
                <a:gd name="T42" fmla="*/ 22 w 73"/>
                <a:gd name="T43" fmla="*/ 10 h 30"/>
                <a:gd name="T44" fmla="*/ 14 w 73"/>
                <a:gd name="T45" fmla="*/ 4 h 30"/>
                <a:gd name="T46" fmla="*/ 14 w 73"/>
                <a:gd name="T47" fmla="*/ 4 h 30"/>
                <a:gd name="T48" fmla="*/ 70 w 73"/>
                <a:gd name="T49" fmla="*/ 12 h 30"/>
                <a:gd name="T50" fmla="*/ 56 w 73"/>
                <a:gd name="T51" fmla="*/ 2 h 30"/>
                <a:gd name="T52" fmla="*/ 29 w 73"/>
                <a:gd name="T53" fmla="*/ 2 h 30"/>
                <a:gd name="T54" fmla="*/ 28 w 73"/>
                <a:gd name="T55" fmla="*/ 3 h 30"/>
                <a:gd name="T56" fmla="*/ 29 w 73"/>
                <a:gd name="T57" fmla="*/ 8 h 30"/>
                <a:gd name="T58" fmla="*/ 18 w 73"/>
                <a:gd name="T59" fmla="*/ 1 h 30"/>
                <a:gd name="T60" fmla="*/ 15 w 73"/>
                <a:gd name="T61" fmla="*/ 0 h 30"/>
                <a:gd name="T62" fmla="*/ 11 w 73"/>
                <a:gd name="T63" fmla="*/ 2 h 30"/>
                <a:gd name="T64" fmla="*/ 11 w 73"/>
                <a:gd name="T65" fmla="*/ 3 h 30"/>
                <a:gd name="T66" fmla="*/ 9 w 73"/>
                <a:gd name="T67" fmla="*/ 1 h 30"/>
                <a:gd name="T68" fmla="*/ 5 w 73"/>
                <a:gd name="T69" fmla="*/ 0 h 30"/>
                <a:gd name="T70" fmla="*/ 2 w 73"/>
                <a:gd name="T71" fmla="*/ 2 h 30"/>
                <a:gd name="T72" fmla="*/ 3 w 73"/>
                <a:gd name="T73" fmla="*/ 9 h 30"/>
                <a:gd name="T74" fmla="*/ 21 w 73"/>
                <a:gd name="T75" fmla="*/ 21 h 30"/>
                <a:gd name="T76" fmla="*/ 55 w 73"/>
                <a:gd name="T77" fmla="*/ 30 h 30"/>
                <a:gd name="T78" fmla="*/ 73 w 73"/>
                <a:gd name="T79" fmla="*/ 30 h 30"/>
                <a:gd name="T80" fmla="*/ 73 w 73"/>
                <a:gd name="T81" fmla="*/ 12 h 30"/>
                <a:gd name="T82" fmla="*/ 70 w 73"/>
                <a:gd name="T8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" h="30">
                  <a:moveTo>
                    <a:pt x="70" y="27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4" y="5"/>
                    <a:pt x="4" y="4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9"/>
                    <a:pt x="33" y="9"/>
                    <a:pt x="32" y="8"/>
                  </a:cubicBezTo>
                  <a:cubicBezTo>
                    <a:pt x="31" y="7"/>
                    <a:pt x="31" y="6"/>
                    <a:pt x="31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0" y="15"/>
                    <a:pt x="70" y="15"/>
                    <a:pt x="70" y="15"/>
                  </a:cubicBezTo>
                  <a:lnTo>
                    <a:pt x="70" y="27"/>
                  </a:lnTo>
                  <a:close/>
                  <a:moveTo>
                    <a:pt x="14" y="4"/>
                  </a:moveTo>
                  <a:cubicBezTo>
                    <a:pt x="14" y="3"/>
                    <a:pt x="15" y="3"/>
                    <a:pt x="15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moveTo>
                    <a:pt x="70" y="12"/>
                  </a:moveTo>
                  <a:cubicBezTo>
                    <a:pt x="56" y="2"/>
                    <a:pt x="56" y="2"/>
                    <a:pt x="56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6"/>
                    <a:pt x="29" y="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6" y="0"/>
                    <a:pt x="15" y="0"/>
                  </a:cubicBezTo>
                  <a:cubicBezTo>
                    <a:pt x="13" y="0"/>
                    <a:pt x="12" y="1"/>
                    <a:pt x="11" y="2"/>
                  </a:cubicBezTo>
                  <a:cubicBezTo>
                    <a:pt x="11" y="2"/>
                    <a:pt x="11" y="3"/>
                    <a:pt x="11" y="3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0" y="5"/>
                    <a:pt x="1" y="8"/>
                    <a:pt x="3" y="9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3" y="12"/>
                    <a:pt x="73" y="12"/>
                    <a:pt x="73" y="12"/>
                  </a:cubicBezTo>
                  <a:lnTo>
                    <a:pt x="70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8" name="Group 329">
            <a:extLst>
              <a:ext uri="{FF2B5EF4-FFF2-40B4-BE49-F238E27FC236}">
                <a16:creationId xmlns:a16="http://schemas.microsoft.com/office/drawing/2014/main" id="{1E29AD72-C1BE-424B-A38B-C9ADF33E80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87936" y="5488195"/>
            <a:ext cx="758825" cy="758825"/>
            <a:chOff x="3656" y="3635"/>
            <a:chExt cx="478" cy="478"/>
          </a:xfrm>
        </p:grpSpPr>
        <p:sp>
          <p:nvSpPr>
            <p:cNvPr id="369" name="AutoShape 328">
              <a:extLst>
                <a:ext uri="{FF2B5EF4-FFF2-40B4-BE49-F238E27FC236}">
                  <a16:creationId xmlns:a16="http://schemas.microsoft.com/office/drawing/2014/main" id="{B45CE678-54AA-4081-BA02-355070CDFA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6" y="363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0">
              <a:extLst>
                <a:ext uri="{FF2B5EF4-FFF2-40B4-BE49-F238E27FC236}">
                  <a16:creationId xmlns:a16="http://schemas.microsoft.com/office/drawing/2014/main" id="{BE1697CB-EBE1-4DD6-BC85-4A85BF7A70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8" y="363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1">
              <a:extLst>
                <a:ext uri="{FF2B5EF4-FFF2-40B4-BE49-F238E27FC236}">
                  <a16:creationId xmlns:a16="http://schemas.microsoft.com/office/drawing/2014/main" id="{89562F81-7FD3-4B32-9E9D-1CF16BACA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5" y="3792"/>
              <a:ext cx="363" cy="69"/>
            </a:xfrm>
            <a:custGeom>
              <a:avLst/>
              <a:gdLst>
                <a:gd name="T0" fmla="*/ 314 w 363"/>
                <a:gd name="T1" fmla="*/ 56 h 69"/>
                <a:gd name="T2" fmla="*/ 304 w 363"/>
                <a:gd name="T3" fmla="*/ 29 h 69"/>
                <a:gd name="T4" fmla="*/ 326 w 363"/>
                <a:gd name="T5" fmla="*/ 15 h 69"/>
                <a:gd name="T6" fmla="*/ 348 w 363"/>
                <a:gd name="T7" fmla="*/ 29 h 69"/>
                <a:gd name="T8" fmla="*/ 341 w 363"/>
                <a:gd name="T9" fmla="*/ 56 h 69"/>
                <a:gd name="T10" fmla="*/ 265 w 363"/>
                <a:gd name="T11" fmla="*/ 42 h 69"/>
                <a:gd name="T12" fmla="*/ 255 w 363"/>
                <a:gd name="T13" fmla="*/ 49 h 69"/>
                <a:gd name="T14" fmla="*/ 243 w 363"/>
                <a:gd name="T15" fmla="*/ 42 h 69"/>
                <a:gd name="T16" fmla="*/ 247 w 363"/>
                <a:gd name="T17" fmla="*/ 29 h 69"/>
                <a:gd name="T18" fmla="*/ 260 w 363"/>
                <a:gd name="T19" fmla="*/ 29 h 69"/>
                <a:gd name="T20" fmla="*/ 265 w 363"/>
                <a:gd name="T21" fmla="*/ 42 h 69"/>
                <a:gd name="T22" fmla="*/ 193 w 363"/>
                <a:gd name="T23" fmla="*/ 56 h 69"/>
                <a:gd name="T24" fmla="*/ 169 w 363"/>
                <a:gd name="T25" fmla="*/ 56 h 69"/>
                <a:gd name="T26" fmla="*/ 159 w 363"/>
                <a:gd name="T27" fmla="*/ 29 h 69"/>
                <a:gd name="T28" fmla="*/ 181 w 363"/>
                <a:gd name="T29" fmla="*/ 15 h 69"/>
                <a:gd name="T30" fmla="*/ 203 w 363"/>
                <a:gd name="T31" fmla="*/ 29 h 69"/>
                <a:gd name="T32" fmla="*/ 120 w 363"/>
                <a:gd name="T33" fmla="*/ 42 h 69"/>
                <a:gd name="T34" fmla="*/ 108 w 363"/>
                <a:gd name="T35" fmla="*/ 49 h 69"/>
                <a:gd name="T36" fmla="*/ 98 w 363"/>
                <a:gd name="T37" fmla="*/ 42 h 69"/>
                <a:gd name="T38" fmla="*/ 103 w 363"/>
                <a:gd name="T39" fmla="*/ 29 h 69"/>
                <a:gd name="T40" fmla="*/ 115 w 363"/>
                <a:gd name="T41" fmla="*/ 29 h 69"/>
                <a:gd name="T42" fmla="*/ 120 w 363"/>
                <a:gd name="T43" fmla="*/ 42 h 69"/>
                <a:gd name="T44" fmla="*/ 49 w 363"/>
                <a:gd name="T45" fmla="*/ 56 h 69"/>
                <a:gd name="T46" fmla="*/ 22 w 363"/>
                <a:gd name="T47" fmla="*/ 56 h 69"/>
                <a:gd name="T48" fmla="*/ 15 w 363"/>
                <a:gd name="T49" fmla="*/ 29 h 69"/>
                <a:gd name="T50" fmla="*/ 37 w 363"/>
                <a:gd name="T51" fmla="*/ 15 h 69"/>
                <a:gd name="T52" fmla="*/ 59 w 363"/>
                <a:gd name="T53" fmla="*/ 29 h 69"/>
                <a:gd name="T54" fmla="*/ 363 w 363"/>
                <a:gd name="T55" fmla="*/ 24 h 69"/>
                <a:gd name="T56" fmla="*/ 326 w 363"/>
                <a:gd name="T57" fmla="*/ 0 h 69"/>
                <a:gd name="T58" fmla="*/ 289 w 363"/>
                <a:gd name="T59" fmla="*/ 24 h 69"/>
                <a:gd name="T60" fmla="*/ 255 w 363"/>
                <a:gd name="T61" fmla="*/ 0 h 69"/>
                <a:gd name="T62" fmla="*/ 218 w 363"/>
                <a:gd name="T63" fmla="*/ 24 h 69"/>
                <a:gd name="T64" fmla="*/ 181 w 363"/>
                <a:gd name="T65" fmla="*/ 0 h 69"/>
                <a:gd name="T66" fmla="*/ 144 w 363"/>
                <a:gd name="T67" fmla="*/ 24 h 69"/>
                <a:gd name="T68" fmla="*/ 108 w 363"/>
                <a:gd name="T69" fmla="*/ 0 h 69"/>
                <a:gd name="T70" fmla="*/ 73 w 363"/>
                <a:gd name="T71" fmla="*/ 24 h 69"/>
                <a:gd name="T72" fmla="*/ 37 w 363"/>
                <a:gd name="T73" fmla="*/ 0 h 69"/>
                <a:gd name="T74" fmla="*/ 0 w 363"/>
                <a:gd name="T75" fmla="*/ 24 h 69"/>
                <a:gd name="T76" fmla="*/ 12 w 363"/>
                <a:gd name="T77" fmla="*/ 69 h 69"/>
                <a:gd name="T78" fmla="*/ 59 w 363"/>
                <a:gd name="T79" fmla="*/ 69 h 69"/>
                <a:gd name="T80" fmla="*/ 73 w 363"/>
                <a:gd name="T81" fmla="*/ 27 h 69"/>
                <a:gd name="T82" fmla="*/ 86 w 363"/>
                <a:gd name="T83" fmla="*/ 69 h 69"/>
                <a:gd name="T84" fmla="*/ 132 w 363"/>
                <a:gd name="T85" fmla="*/ 69 h 69"/>
                <a:gd name="T86" fmla="*/ 144 w 363"/>
                <a:gd name="T87" fmla="*/ 27 h 69"/>
                <a:gd name="T88" fmla="*/ 159 w 363"/>
                <a:gd name="T89" fmla="*/ 69 h 69"/>
                <a:gd name="T90" fmla="*/ 203 w 363"/>
                <a:gd name="T91" fmla="*/ 69 h 69"/>
                <a:gd name="T92" fmla="*/ 218 w 363"/>
                <a:gd name="T93" fmla="*/ 27 h 69"/>
                <a:gd name="T94" fmla="*/ 230 w 363"/>
                <a:gd name="T95" fmla="*/ 69 h 69"/>
                <a:gd name="T96" fmla="*/ 277 w 363"/>
                <a:gd name="T97" fmla="*/ 69 h 69"/>
                <a:gd name="T98" fmla="*/ 289 w 363"/>
                <a:gd name="T99" fmla="*/ 27 h 69"/>
                <a:gd name="T100" fmla="*/ 304 w 363"/>
                <a:gd name="T101" fmla="*/ 69 h 69"/>
                <a:gd name="T102" fmla="*/ 350 w 363"/>
                <a:gd name="T103" fmla="*/ 69 h 69"/>
                <a:gd name="T104" fmla="*/ 363 w 363"/>
                <a:gd name="T105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3" h="69">
                  <a:moveTo>
                    <a:pt x="326" y="49"/>
                  </a:moveTo>
                  <a:lnTo>
                    <a:pt x="314" y="56"/>
                  </a:lnTo>
                  <a:lnTo>
                    <a:pt x="316" y="42"/>
                  </a:lnTo>
                  <a:lnTo>
                    <a:pt x="304" y="29"/>
                  </a:lnTo>
                  <a:lnTo>
                    <a:pt x="321" y="29"/>
                  </a:lnTo>
                  <a:lnTo>
                    <a:pt x="326" y="15"/>
                  </a:lnTo>
                  <a:lnTo>
                    <a:pt x="333" y="29"/>
                  </a:lnTo>
                  <a:lnTo>
                    <a:pt x="348" y="29"/>
                  </a:lnTo>
                  <a:lnTo>
                    <a:pt x="338" y="42"/>
                  </a:lnTo>
                  <a:lnTo>
                    <a:pt x="341" y="56"/>
                  </a:lnTo>
                  <a:lnTo>
                    <a:pt x="326" y="49"/>
                  </a:lnTo>
                  <a:close/>
                  <a:moveTo>
                    <a:pt x="265" y="42"/>
                  </a:moveTo>
                  <a:lnTo>
                    <a:pt x="267" y="56"/>
                  </a:lnTo>
                  <a:lnTo>
                    <a:pt x="255" y="49"/>
                  </a:lnTo>
                  <a:lnTo>
                    <a:pt x="240" y="56"/>
                  </a:lnTo>
                  <a:lnTo>
                    <a:pt x="243" y="42"/>
                  </a:lnTo>
                  <a:lnTo>
                    <a:pt x="233" y="29"/>
                  </a:lnTo>
                  <a:lnTo>
                    <a:pt x="247" y="29"/>
                  </a:lnTo>
                  <a:lnTo>
                    <a:pt x="255" y="15"/>
                  </a:lnTo>
                  <a:lnTo>
                    <a:pt x="260" y="29"/>
                  </a:lnTo>
                  <a:lnTo>
                    <a:pt x="274" y="29"/>
                  </a:lnTo>
                  <a:lnTo>
                    <a:pt x="265" y="42"/>
                  </a:lnTo>
                  <a:close/>
                  <a:moveTo>
                    <a:pt x="191" y="42"/>
                  </a:moveTo>
                  <a:lnTo>
                    <a:pt x="193" y="56"/>
                  </a:lnTo>
                  <a:lnTo>
                    <a:pt x="181" y="49"/>
                  </a:lnTo>
                  <a:lnTo>
                    <a:pt x="169" y="56"/>
                  </a:lnTo>
                  <a:lnTo>
                    <a:pt x="171" y="42"/>
                  </a:lnTo>
                  <a:lnTo>
                    <a:pt x="159" y="29"/>
                  </a:lnTo>
                  <a:lnTo>
                    <a:pt x="174" y="29"/>
                  </a:lnTo>
                  <a:lnTo>
                    <a:pt x="181" y="15"/>
                  </a:lnTo>
                  <a:lnTo>
                    <a:pt x="189" y="29"/>
                  </a:lnTo>
                  <a:lnTo>
                    <a:pt x="203" y="29"/>
                  </a:lnTo>
                  <a:lnTo>
                    <a:pt x="191" y="42"/>
                  </a:lnTo>
                  <a:close/>
                  <a:moveTo>
                    <a:pt x="120" y="42"/>
                  </a:moveTo>
                  <a:lnTo>
                    <a:pt x="122" y="56"/>
                  </a:lnTo>
                  <a:lnTo>
                    <a:pt x="108" y="49"/>
                  </a:lnTo>
                  <a:lnTo>
                    <a:pt x="95" y="56"/>
                  </a:lnTo>
                  <a:lnTo>
                    <a:pt x="98" y="42"/>
                  </a:lnTo>
                  <a:lnTo>
                    <a:pt x="88" y="29"/>
                  </a:lnTo>
                  <a:lnTo>
                    <a:pt x="103" y="29"/>
                  </a:lnTo>
                  <a:lnTo>
                    <a:pt x="108" y="15"/>
                  </a:lnTo>
                  <a:lnTo>
                    <a:pt x="115" y="29"/>
                  </a:lnTo>
                  <a:lnTo>
                    <a:pt x="130" y="29"/>
                  </a:lnTo>
                  <a:lnTo>
                    <a:pt x="120" y="42"/>
                  </a:lnTo>
                  <a:close/>
                  <a:moveTo>
                    <a:pt x="46" y="42"/>
                  </a:moveTo>
                  <a:lnTo>
                    <a:pt x="49" y="56"/>
                  </a:lnTo>
                  <a:lnTo>
                    <a:pt x="37" y="49"/>
                  </a:lnTo>
                  <a:lnTo>
                    <a:pt x="22" y="56"/>
                  </a:lnTo>
                  <a:lnTo>
                    <a:pt x="24" y="42"/>
                  </a:lnTo>
                  <a:lnTo>
                    <a:pt x="15" y="29"/>
                  </a:lnTo>
                  <a:lnTo>
                    <a:pt x="29" y="29"/>
                  </a:lnTo>
                  <a:lnTo>
                    <a:pt x="37" y="15"/>
                  </a:lnTo>
                  <a:lnTo>
                    <a:pt x="41" y="29"/>
                  </a:lnTo>
                  <a:lnTo>
                    <a:pt x="59" y="29"/>
                  </a:lnTo>
                  <a:lnTo>
                    <a:pt x="46" y="42"/>
                  </a:lnTo>
                  <a:close/>
                  <a:moveTo>
                    <a:pt x="363" y="24"/>
                  </a:moveTo>
                  <a:lnTo>
                    <a:pt x="338" y="22"/>
                  </a:lnTo>
                  <a:lnTo>
                    <a:pt x="326" y="0"/>
                  </a:lnTo>
                  <a:lnTo>
                    <a:pt x="316" y="22"/>
                  </a:lnTo>
                  <a:lnTo>
                    <a:pt x="289" y="24"/>
                  </a:lnTo>
                  <a:lnTo>
                    <a:pt x="265" y="22"/>
                  </a:lnTo>
                  <a:lnTo>
                    <a:pt x="255" y="0"/>
                  </a:lnTo>
                  <a:lnTo>
                    <a:pt x="243" y="22"/>
                  </a:lnTo>
                  <a:lnTo>
                    <a:pt x="218" y="24"/>
                  </a:lnTo>
                  <a:lnTo>
                    <a:pt x="193" y="22"/>
                  </a:lnTo>
                  <a:lnTo>
                    <a:pt x="181" y="0"/>
                  </a:lnTo>
                  <a:lnTo>
                    <a:pt x="169" y="22"/>
                  </a:lnTo>
                  <a:lnTo>
                    <a:pt x="144" y="24"/>
                  </a:lnTo>
                  <a:lnTo>
                    <a:pt x="120" y="22"/>
                  </a:lnTo>
                  <a:lnTo>
                    <a:pt x="108" y="0"/>
                  </a:lnTo>
                  <a:lnTo>
                    <a:pt x="98" y="22"/>
                  </a:lnTo>
                  <a:lnTo>
                    <a:pt x="73" y="24"/>
                  </a:lnTo>
                  <a:lnTo>
                    <a:pt x="46" y="22"/>
                  </a:lnTo>
                  <a:lnTo>
                    <a:pt x="37" y="0"/>
                  </a:lnTo>
                  <a:lnTo>
                    <a:pt x="24" y="22"/>
                  </a:lnTo>
                  <a:lnTo>
                    <a:pt x="0" y="24"/>
                  </a:lnTo>
                  <a:lnTo>
                    <a:pt x="17" y="44"/>
                  </a:lnTo>
                  <a:lnTo>
                    <a:pt x="12" y="69"/>
                  </a:lnTo>
                  <a:lnTo>
                    <a:pt x="37" y="56"/>
                  </a:lnTo>
                  <a:lnTo>
                    <a:pt x="59" y="69"/>
                  </a:lnTo>
                  <a:lnTo>
                    <a:pt x="54" y="44"/>
                  </a:lnTo>
                  <a:lnTo>
                    <a:pt x="73" y="27"/>
                  </a:lnTo>
                  <a:lnTo>
                    <a:pt x="91" y="44"/>
                  </a:lnTo>
                  <a:lnTo>
                    <a:pt x="86" y="69"/>
                  </a:lnTo>
                  <a:lnTo>
                    <a:pt x="108" y="56"/>
                  </a:lnTo>
                  <a:lnTo>
                    <a:pt x="132" y="69"/>
                  </a:lnTo>
                  <a:lnTo>
                    <a:pt x="127" y="44"/>
                  </a:lnTo>
                  <a:lnTo>
                    <a:pt x="144" y="27"/>
                  </a:lnTo>
                  <a:lnTo>
                    <a:pt x="164" y="44"/>
                  </a:lnTo>
                  <a:lnTo>
                    <a:pt x="159" y="69"/>
                  </a:lnTo>
                  <a:lnTo>
                    <a:pt x="181" y="56"/>
                  </a:lnTo>
                  <a:lnTo>
                    <a:pt x="203" y="69"/>
                  </a:lnTo>
                  <a:lnTo>
                    <a:pt x="198" y="44"/>
                  </a:lnTo>
                  <a:lnTo>
                    <a:pt x="218" y="27"/>
                  </a:lnTo>
                  <a:lnTo>
                    <a:pt x="235" y="44"/>
                  </a:lnTo>
                  <a:lnTo>
                    <a:pt x="230" y="69"/>
                  </a:lnTo>
                  <a:lnTo>
                    <a:pt x="255" y="56"/>
                  </a:lnTo>
                  <a:lnTo>
                    <a:pt x="277" y="69"/>
                  </a:lnTo>
                  <a:lnTo>
                    <a:pt x="272" y="44"/>
                  </a:lnTo>
                  <a:lnTo>
                    <a:pt x="289" y="27"/>
                  </a:lnTo>
                  <a:lnTo>
                    <a:pt x="309" y="44"/>
                  </a:lnTo>
                  <a:lnTo>
                    <a:pt x="304" y="69"/>
                  </a:lnTo>
                  <a:lnTo>
                    <a:pt x="326" y="56"/>
                  </a:lnTo>
                  <a:lnTo>
                    <a:pt x="350" y="69"/>
                  </a:lnTo>
                  <a:lnTo>
                    <a:pt x="345" y="44"/>
                  </a:lnTo>
                  <a:lnTo>
                    <a:pt x="363" y="2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2">
              <a:extLst>
                <a:ext uri="{FF2B5EF4-FFF2-40B4-BE49-F238E27FC236}">
                  <a16:creationId xmlns:a16="http://schemas.microsoft.com/office/drawing/2014/main" id="{0C672D77-4FA9-44DD-8BEA-D88535D76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" y="3865"/>
              <a:ext cx="240" cy="155"/>
            </a:xfrm>
            <a:custGeom>
              <a:avLst/>
              <a:gdLst>
                <a:gd name="T0" fmla="*/ 80 w 98"/>
                <a:gd name="T1" fmla="*/ 3 h 63"/>
                <a:gd name="T2" fmla="*/ 77 w 98"/>
                <a:gd name="T3" fmla="*/ 37 h 63"/>
                <a:gd name="T4" fmla="*/ 49 w 98"/>
                <a:gd name="T5" fmla="*/ 17 h 63"/>
                <a:gd name="T6" fmla="*/ 31 w 98"/>
                <a:gd name="T7" fmla="*/ 24 h 63"/>
                <a:gd name="T8" fmla="*/ 58 w 98"/>
                <a:gd name="T9" fmla="*/ 11 h 63"/>
                <a:gd name="T10" fmla="*/ 77 w 98"/>
                <a:gd name="T11" fmla="*/ 37 h 63"/>
                <a:gd name="T12" fmla="*/ 71 w 98"/>
                <a:gd name="T13" fmla="*/ 42 h 63"/>
                <a:gd name="T14" fmla="*/ 57 w 98"/>
                <a:gd name="T15" fmla="*/ 37 h 63"/>
                <a:gd name="T16" fmla="*/ 70 w 98"/>
                <a:gd name="T17" fmla="*/ 47 h 63"/>
                <a:gd name="T18" fmla="*/ 66 w 98"/>
                <a:gd name="T19" fmla="*/ 49 h 63"/>
                <a:gd name="T20" fmla="*/ 65 w 98"/>
                <a:gd name="T21" fmla="*/ 48 h 63"/>
                <a:gd name="T22" fmla="*/ 64 w 98"/>
                <a:gd name="T23" fmla="*/ 51 h 63"/>
                <a:gd name="T24" fmla="*/ 63 w 98"/>
                <a:gd name="T25" fmla="*/ 54 h 63"/>
                <a:gd name="T26" fmla="*/ 58 w 98"/>
                <a:gd name="T27" fmla="*/ 54 h 63"/>
                <a:gd name="T28" fmla="*/ 49 w 98"/>
                <a:gd name="T29" fmla="*/ 52 h 63"/>
                <a:gd name="T30" fmla="*/ 46 w 98"/>
                <a:gd name="T31" fmla="*/ 57 h 63"/>
                <a:gd name="T32" fmla="*/ 43 w 98"/>
                <a:gd name="T33" fmla="*/ 47 h 63"/>
                <a:gd name="T34" fmla="*/ 41 w 98"/>
                <a:gd name="T35" fmla="*/ 44 h 63"/>
                <a:gd name="T36" fmla="*/ 36 w 98"/>
                <a:gd name="T37" fmla="*/ 37 h 63"/>
                <a:gd name="T38" fmla="*/ 26 w 98"/>
                <a:gd name="T39" fmla="*/ 37 h 63"/>
                <a:gd name="T40" fmla="*/ 18 w 98"/>
                <a:gd name="T41" fmla="*/ 35 h 63"/>
                <a:gd name="T42" fmla="*/ 23 w 98"/>
                <a:gd name="T43" fmla="*/ 16 h 63"/>
                <a:gd name="T44" fmla="*/ 27 w 98"/>
                <a:gd name="T45" fmla="*/ 24 h 63"/>
                <a:gd name="T46" fmla="*/ 41 w 98"/>
                <a:gd name="T47" fmla="*/ 25 h 63"/>
                <a:gd name="T48" fmla="*/ 75 w 98"/>
                <a:gd name="T49" fmla="*/ 38 h 63"/>
                <a:gd name="T50" fmla="*/ 76 w 98"/>
                <a:gd name="T51" fmla="*/ 42 h 63"/>
                <a:gd name="T52" fmla="*/ 36 w 98"/>
                <a:gd name="T53" fmla="*/ 57 h 63"/>
                <a:gd name="T54" fmla="*/ 42 w 98"/>
                <a:gd name="T55" fmla="*/ 50 h 63"/>
                <a:gd name="T56" fmla="*/ 41 w 98"/>
                <a:gd name="T57" fmla="*/ 60 h 63"/>
                <a:gd name="T58" fmla="*/ 29 w 98"/>
                <a:gd name="T59" fmla="*/ 52 h 63"/>
                <a:gd name="T60" fmla="*/ 36 w 98"/>
                <a:gd name="T61" fmla="*/ 43 h 63"/>
                <a:gd name="T62" fmla="*/ 40 w 98"/>
                <a:gd name="T63" fmla="*/ 46 h 63"/>
                <a:gd name="T64" fmla="*/ 33 w 98"/>
                <a:gd name="T65" fmla="*/ 55 h 63"/>
                <a:gd name="T66" fmla="*/ 22 w 98"/>
                <a:gd name="T67" fmla="*/ 47 h 63"/>
                <a:gd name="T68" fmla="*/ 30 w 98"/>
                <a:gd name="T69" fmla="*/ 37 h 63"/>
                <a:gd name="T70" fmla="*/ 33 w 98"/>
                <a:gd name="T71" fmla="*/ 42 h 63"/>
                <a:gd name="T72" fmla="*/ 26 w 98"/>
                <a:gd name="T73" fmla="*/ 51 h 63"/>
                <a:gd name="T74" fmla="*/ 17 w 98"/>
                <a:gd name="T75" fmla="*/ 42 h 63"/>
                <a:gd name="T76" fmla="*/ 21 w 98"/>
                <a:gd name="T77" fmla="*/ 36 h 63"/>
                <a:gd name="T78" fmla="*/ 24 w 98"/>
                <a:gd name="T79" fmla="*/ 39 h 63"/>
                <a:gd name="T80" fmla="*/ 20 w 98"/>
                <a:gd name="T81" fmla="*/ 44 h 63"/>
                <a:gd name="T82" fmla="*/ 18 w 98"/>
                <a:gd name="T83" fmla="*/ 3 h 63"/>
                <a:gd name="T84" fmla="*/ 11 w 98"/>
                <a:gd name="T85" fmla="*/ 31 h 63"/>
                <a:gd name="T86" fmla="*/ 69 w 98"/>
                <a:gd name="T87" fmla="*/ 6 h 63"/>
                <a:gd name="T88" fmla="*/ 51 w 98"/>
                <a:gd name="T89" fmla="*/ 7 h 63"/>
                <a:gd name="T90" fmla="*/ 27 w 98"/>
                <a:gd name="T91" fmla="*/ 10 h 63"/>
                <a:gd name="T92" fmla="*/ 0 w 98"/>
                <a:gd name="T93" fmla="*/ 30 h 63"/>
                <a:gd name="T94" fmla="*/ 16 w 98"/>
                <a:gd name="T95" fmla="*/ 38 h 63"/>
                <a:gd name="T96" fmla="*/ 15 w 98"/>
                <a:gd name="T97" fmla="*/ 44 h 63"/>
                <a:gd name="T98" fmla="*/ 20 w 98"/>
                <a:gd name="T99" fmla="*/ 50 h 63"/>
                <a:gd name="T100" fmla="*/ 26 w 98"/>
                <a:gd name="T101" fmla="*/ 54 h 63"/>
                <a:gd name="T102" fmla="*/ 33 w 98"/>
                <a:gd name="T103" fmla="*/ 58 h 63"/>
                <a:gd name="T104" fmla="*/ 38 w 98"/>
                <a:gd name="T105" fmla="*/ 62 h 63"/>
                <a:gd name="T106" fmla="*/ 43 w 98"/>
                <a:gd name="T107" fmla="*/ 61 h 63"/>
                <a:gd name="T108" fmla="*/ 55 w 98"/>
                <a:gd name="T109" fmla="*/ 61 h 63"/>
                <a:gd name="T110" fmla="*/ 66 w 98"/>
                <a:gd name="T111" fmla="*/ 55 h 63"/>
                <a:gd name="T112" fmla="*/ 73 w 98"/>
                <a:gd name="T113" fmla="*/ 49 h 63"/>
                <a:gd name="T114" fmla="*/ 79 w 98"/>
                <a:gd name="T115" fmla="*/ 39 h 63"/>
                <a:gd name="T116" fmla="*/ 98 w 98"/>
                <a:gd name="T117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8" h="63">
                  <a:moveTo>
                    <a:pt x="88" y="33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94" y="29"/>
                    <a:pt x="94" y="29"/>
                    <a:pt x="94" y="29"/>
                  </a:cubicBezTo>
                  <a:lnTo>
                    <a:pt x="88" y="33"/>
                  </a:lnTo>
                  <a:close/>
                  <a:moveTo>
                    <a:pt x="77" y="37"/>
                  </a:moveTo>
                  <a:cubicBezTo>
                    <a:pt x="74" y="33"/>
                    <a:pt x="64" y="24"/>
                    <a:pt x="50" y="17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6" y="17"/>
                    <a:pt x="45" y="18"/>
                    <a:pt x="44" y="19"/>
                  </a:cubicBezTo>
                  <a:cubicBezTo>
                    <a:pt x="43" y="20"/>
                    <a:pt x="42" y="21"/>
                    <a:pt x="39" y="23"/>
                  </a:cubicBezTo>
                  <a:cubicBezTo>
                    <a:pt x="35" y="25"/>
                    <a:pt x="32" y="24"/>
                    <a:pt x="31" y="24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9" y="13"/>
                    <a:pt x="43" y="9"/>
                    <a:pt x="50" y="10"/>
                  </a:cubicBezTo>
                  <a:cubicBezTo>
                    <a:pt x="53" y="10"/>
                    <a:pt x="56" y="11"/>
                    <a:pt x="58" y="11"/>
                  </a:cubicBezTo>
                  <a:cubicBezTo>
                    <a:pt x="64" y="12"/>
                    <a:pt x="68" y="13"/>
                    <a:pt x="72" y="12"/>
                  </a:cubicBezTo>
                  <a:cubicBezTo>
                    <a:pt x="83" y="31"/>
                    <a:pt x="83" y="31"/>
                    <a:pt x="83" y="31"/>
                  </a:cubicBezTo>
                  <a:lnTo>
                    <a:pt x="77" y="37"/>
                  </a:lnTo>
                  <a:close/>
                  <a:moveTo>
                    <a:pt x="76" y="42"/>
                  </a:moveTo>
                  <a:cubicBezTo>
                    <a:pt x="76" y="44"/>
                    <a:pt x="74" y="44"/>
                    <a:pt x="73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6"/>
                    <a:pt x="71" y="47"/>
                    <a:pt x="70" y="47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9"/>
                    <a:pt x="67" y="50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2"/>
                    <a:pt x="64" y="53"/>
                    <a:pt x="64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5"/>
                    <a:pt x="63" y="55"/>
                    <a:pt x="62" y="55"/>
                  </a:cubicBezTo>
                  <a:cubicBezTo>
                    <a:pt x="61" y="55"/>
                    <a:pt x="61" y="55"/>
                    <a:pt x="60" y="55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7" y="58"/>
                    <a:pt x="55" y="59"/>
                    <a:pt x="55" y="58"/>
                  </a:cubicBezTo>
                  <a:cubicBezTo>
                    <a:pt x="52" y="58"/>
                    <a:pt x="49" y="58"/>
                    <a:pt x="46" y="57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9" y="53"/>
                    <a:pt x="49" y="51"/>
                    <a:pt x="47" y="5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2" y="47"/>
                  </a:cubicBezTo>
                  <a:cubicBezTo>
                    <a:pt x="43" y="47"/>
                    <a:pt x="43" y="46"/>
                    <a:pt x="43" y="46"/>
                  </a:cubicBezTo>
                  <a:cubicBezTo>
                    <a:pt x="42" y="45"/>
                    <a:pt x="42" y="44"/>
                    <a:pt x="41" y="44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7" y="41"/>
                    <a:pt x="37" y="41"/>
                  </a:cubicBezTo>
                  <a:cubicBezTo>
                    <a:pt x="37" y="40"/>
                    <a:pt x="37" y="38"/>
                    <a:pt x="36" y="3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4"/>
                    <a:pt x="29" y="34"/>
                    <a:pt x="28" y="3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6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2" y="33"/>
                    <a:pt x="19" y="33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3"/>
                    <a:pt x="15" y="32"/>
                    <a:pt x="15" y="31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13"/>
                    <a:pt x="31" y="13"/>
                    <a:pt x="34" y="1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6"/>
                    <a:pt x="31" y="27"/>
                    <a:pt x="34" y="27"/>
                  </a:cubicBezTo>
                  <a:cubicBezTo>
                    <a:pt x="36" y="27"/>
                    <a:pt x="38" y="27"/>
                    <a:pt x="41" y="25"/>
                  </a:cubicBezTo>
                  <a:cubicBezTo>
                    <a:pt x="43" y="24"/>
                    <a:pt x="45" y="22"/>
                    <a:pt x="46" y="21"/>
                  </a:cubicBezTo>
                  <a:cubicBezTo>
                    <a:pt x="47" y="20"/>
                    <a:pt x="47" y="20"/>
                    <a:pt x="49" y="20"/>
                  </a:cubicBezTo>
                  <a:cubicBezTo>
                    <a:pt x="62" y="26"/>
                    <a:pt x="72" y="35"/>
                    <a:pt x="75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7" y="40"/>
                    <a:pt x="77" y="42"/>
                    <a:pt x="76" y="42"/>
                  </a:cubicBezTo>
                  <a:moveTo>
                    <a:pt x="41" y="60"/>
                  </a:moveTo>
                  <a:cubicBezTo>
                    <a:pt x="40" y="60"/>
                    <a:pt x="40" y="60"/>
                    <a:pt x="40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6"/>
                    <a:pt x="36" y="56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50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6" y="53"/>
                    <a:pt x="46" y="53"/>
                    <a:pt x="45" y="53"/>
                  </a:cubicBezTo>
                  <a:lnTo>
                    <a:pt x="41" y="60"/>
                  </a:lnTo>
                  <a:close/>
                  <a:moveTo>
                    <a:pt x="33" y="55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moveTo>
                    <a:pt x="26" y="51"/>
                  </a:move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moveTo>
                    <a:pt x="17" y="42"/>
                  </a:move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1"/>
                    <a:pt x="17" y="4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4" y="3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0" y="44"/>
                    <a:pt x="20" y="44"/>
                  </a:cubicBezTo>
                  <a:cubicBezTo>
                    <a:pt x="20" y="44"/>
                    <a:pt x="20" y="44"/>
                    <a:pt x="20" y="44"/>
                  </a:cubicBezTo>
                  <a:lnTo>
                    <a:pt x="17" y="42"/>
                  </a:lnTo>
                  <a:close/>
                  <a:moveTo>
                    <a:pt x="4" y="29"/>
                  </a:moveTo>
                  <a:cubicBezTo>
                    <a:pt x="18" y="3"/>
                    <a:pt x="18" y="3"/>
                    <a:pt x="18" y="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0" y="33"/>
                    <a:pt x="10" y="33"/>
                    <a:pt x="10" y="33"/>
                  </a:cubicBezTo>
                  <a:lnTo>
                    <a:pt x="4" y="29"/>
                  </a:lnTo>
                  <a:close/>
                  <a:moveTo>
                    <a:pt x="69" y="6"/>
                  </a:moveTo>
                  <a:cubicBezTo>
                    <a:pt x="71" y="9"/>
                    <a:pt x="71" y="9"/>
                    <a:pt x="71" y="9"/>
                  </a:cubicBezTo>
                  <a:cubicBezTo>
                    <a:pt x="68" y="10"/>
                    <a:pt x="64" y="9"/>
                    <a:pt x="59" y="8"/>
                  </a:cubicBezTo>
                  <a:cubicBezTo>
                    <a:pt x="56" y="8"/>
                    <a:pt x="53" y="7"/>
                    <a:pt x="51" y="7"/>
                  </a:cubicBezTo>
                  <a:cubicBezTo>
                    <a:pt x="41" y="6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3" y="11"/>
                    <a:pt x="30" y="10"/>
                    <a:pt x="27" y="1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4" y="35"/>
                    <a:pt x="15" y="36"/>
                    <a:pt x="16" y="38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4" y="40"/>
                    <a:pt x="14" y="41"/>
                    <a:pt x="14" y="42"/>
                  </a:cubicBezTo>
                  <a:cubicBezTo>
                    <a:pt x="14" y="43"/>
                    <a:pt x="15" y="44"/>
                    <a:pt x="15" y="44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8"/>
                    <a:pt x="19" y="50"/>
                    <a:pt x="20" y="50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5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4"/>
                    <a:pt x="27" y="55"/>
                    <a:pt x="27" y="55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2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3"/>
                    <a:pt x="39" y="63"/>
                    <a:pt x="40" y="63"/>
                  </a:cubicBezTo>
                  <a:cubicBezTo>
                    <a:pt x="41" y="63"/>
                    <a:pt x="42" y="62"/>
                    <a:pt x="43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8" y="60"/>
                    <a:pt x="51" y="61"/>
                    <a:pt x="54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6" y="61"/>
                    <a:pt x="59" y="61"/>
                    <a:pt x="61" y="58"/>
                  </a:cubicBezTo>
                  <a:cubicBezTo>
                    <a:pt x="63" y="58"/>
                    <a:pt x="65" y="57"/>
                    <a:pt x="66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7" y="54"/>
                    <a:pt x="67" y="53"/>
                    <a:pt x="67" y="52"/>
                  </a:cubicBezTo>
                  <a:cubicBezTo>
                    <a:pt x="69" y="52"/>
                    <a:pt x="71" y="51"/>
                    <a:pt x="72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8"/>
                    <a:pt x="73" y="47"/>
                    <a:pt x="73" y="46"/>
                  </a:cubicBezTo>
                  <a:cubicBezTo>
                    <a:pt x="75" y="47"/>
                    <a:pt x="78" y="46"/>
                    <a:pt x="79" y="44"/>
                  </a:cubicBezTo>
                  <a:cubicBezTo>
                    <a:pt x="80" y="42"/>
                    <a:pt x="80" y="40"/>
                    <a:pt x="79" y="39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69" y="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3" name="Group 335">
            <a:extLst>
              <a:ext uri="{FF2B5EF4-FFF2-40B4-BE49-F238E27FC236}">
                <a16:creationId xmlns:a16="http://schemas.microsoft.com/office/drawing/2014/main" id="{D74DFE33-AB0F-431C-8DF5-D1DFF8421D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19" y="5446920"/>
            <a:ext cx="841375" cy="841375"/>
            <a:chOff x="3107" y="3465"/>
            <a:chExt cx="530" cy="530"/>
          </a:xfrm>
        </p:grpSpPr>
        <p:sp>
          <p:nvSpPr>
            <p:cNvPr id="374" name="AutoShape 334">
              <a:extLst>
                <a:ext uri="{FF2B5EF4-FFF2-40B4-BE49-F238E27FC236}">
                  <a16:creationId xmlns:a16="http://schemas.microsoft.com/office/drawing/2014/main" id="{13D3F666-6450-4A05-8F2D-2E072F150E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07" y="346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Oval 336">
              <a:extLst>
                <a:ext uri="{FF2B5EF4-FFF2-40B4-BE49-F238E27FC236}">
                  <a16:creationId xmlns:a16="http://schemas.microsoft.com/office/drawing/2014/main" id="{918C8A04-FB74-4C01-B5D9-79BCCE1CA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7" y="346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37">
              <a:extLst>
                <a:ext uri="{FF2B5EF4-FFF2-40B4-BE49-F238E27FC236}">
                  <a16:creationId xmlns:a16="http://schemas.microsoft.com/office/drawing/2014/main" id="{1C9F5B86-43C1-4ABE-9DD2-6DA0699D41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48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38">
              <a:extLst>
                <a:ext uri="{FF2B5EF4-FFF2-40B4-BE49-F238E27FC236}">
                  <a16:creationId xmlns:a16="http://schemas.microsoft.com/office/drawing/2014/main" id="{989A052F-0983-4CD9-9E8B-4944B2BBC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4" y="3644"/>
              <a:ext cx="379" cy="72"/>
            </a:xfrm>
            <a:custGeom>
              <a:avLst/>
              <a:gdLst>
                <a:gd name="T0" fmla="*/ 327 w 379"/>
                <a:gd name="T1" fmla="*/ 59 h 72"/>
                <a:gd name="T2" fmla="*/ 317 w 379"/>
                <a:gd name="T3" fmla="*/ 31 h 72"/>
                <a:gd name="T4" fmla="*/ 340 w 379"/>
                <a:gd name="T5" fmla="*/ 15 h 72"/>
                <a:gd name="T6" fmla="*/ 363 w 379"/>
                <a:gd name="T7" fmla="*/ 31 h 72"/>
                <a:gd name="T8" fmla="*/ 356 w 379"/>
                <a:gd name="T9" fmla="*/ 59 h 72"/>
                <a:gd name="T10" fmla="*/ 276 w 379"/>
                <a:gd name="T11" fmla="*/ 44 h 72"/>
                <a:gd name="T12" fmla="*/ 266 w 379"/>
                <a:gd name="T13" fmla="*/ 51 h 72"/>
                <a:gd name="T14" fmla="*/ 253 w 379"/>
                <a:gd name="T15" fmla="*/ 44 h 72"/>
                <a:gd name="T16" fmla="*/ 258 w 379"/>
                <a:gd name="T17" fmla="*/ 31 h 72"/>
                <a:gd name="T18" fmla="*/ 271 w 379"/>
                <a:gd name="T19" fmla="*/ 31 h 72"/>
                <a:gd name="T20" fmla="*/ 276 w 379"/>
                <a:gd name="T21" fmla="*/ 44 h 72"/>
                <a:gd name="T22" fmla="*/ 202 w 379"/>
                <a:gd name="T23" fmla="*/ 59 h 72"/>
                <a:gd name="T24" fmla="*/ 176 w 379"/>
                <a:gd name="T25" fmla="*/ 59 h 72"/>
                <a:gd name="T26" fmla="*/ 166 w 379"/>
                <a:gd name="T27" fmla="*/ 31 h 72"/>
                <a:gd name="T28" fmla="*/ 189 w 379"/>
                <a:gd name="T29" fmla="*/ 15 h 72"/>
                <a:gd name="T30" fmla="*/ 212 w 379"/>
                <a:gd name="T31" fmla="*/ 31 h 72"/>
                <a:gd name="T32" fmla="*/ 125 w 379"/>
                <a:gd name="T33" fmla="*/ 44 h 72"/>
                <a:gd name="T34" fmla="*/ 112 w 379"/>
                <a:gd name="T35" fmla="*/ 51 h 72"/>
                <a:gd name="T36" fmla="*/ 102 w 379"/>
                <a:gd name="T37" fmla="*/ 44 h 72"/>
                <a:gd name="T38" fmla="*/ 107 w 379"/>
                <a:gd name="T39" fmla="*/ 31 h 72"/>
                <a:gd name="T40" fmla="*/ 120 w 379"/>
                <a:gd name="T41" fmla="*/ 31 h 72"/>
                <a:gd name="T42" fmla="*/ 125 w 379"/>
                <a:gd name="T43" fmla="*/ 44 h 72"/>
                <a:gd name="T44" fmla="*/ 51 w 379"/>
                <a:gd name="T45" fmla="*/ 59 h 72"/>
                <a:gd name="T46" fmla="*/ 23 w 379"/>
                <a:gd name="T47" fmla="*/ 59 h 72"/>
                <a:gd name="T48" fmla="*/ 15 w 379"/>
                <a:gd name="T49" fmla="*/ 31 h 72"/>
                <a:gd name="T50" fmla="*/ 38 w 379"/>
                <a:gd name="T51" fmla="*/ 15 h 72"/>
                <a:gd name="T52" fmla="*/ 61 w 379"/>
                <a:gd name="T53" fmla="*/ 31 h 72"/>
                <a:gd name="T54" fmla="*/ 379 w 379"/>
                <a:gd name="T55" fmla="*/ 26 h 72"/>
                <a:gd name="T56" fmla="*/ 340 w 379"/>
                <a:gd name="T57" fmla="*/ 0 h 72"/>
                <a:gd name="T58" fmla="*/ 302 w 379"/>
                <a:gd name="T59" fmla="*/ 26 h 72"/>
                <a:gd name="T60" fmla="*/ 266 w 379"/>
                <a:gd name="T61" fmla="*/ 0 h 72"/>
                <a:gd name="T62" fmla="*/ 228 w 379"/>
                <a:gd name="T63" fmla="*/ 26 h 72"/>
                <a:gd name="T64" fmla="*/ 189 w 379"/>
                <a:gd name="T65" fmla="*/ 0 h 72"/>
                <a:gd name="T66" fmla="*/ 151 w 379"/>
                <a:gd name="T67" fmla="*/ 26 h 72"/>
                <a:gd name="T68" fmla="*/ 112 w 379"/>
                <a:gd name="T69" fmla="*/ 0 h 72"/>
                <a:gd name="T70" fmla="*/ 77 w 379"/>
                <a:gd name="T71" fmla="*/ 26 h 72"/>
                <a:gd name="T72" fmla="*/ 38 w 379"/>
                <a:gd name="T73" fmla="*/ 0 h 72"/>
                <a:gd name="T74" fmla="*/ 0 w 379"/>
                <a:gd name="T75" fmla="*/ 26 h 72"/>
                <a:gd name="T76" fmla="*/ 12 w 379"/>
                <a:gd name="T77" fmla="*/ 72 h 72"/>
                <a:gd name="T78" fmla="*/ 61 w 379"/>
                <a:gd name="T79" fmla="*/ 72 h 72"/>
                <a:gd name="T80" fmla="*/ 77 w 379"/>
                <a:gd name="T81" fmla="*/ 28 h 72"/>
                <a:gd name="T82" fmla="*/ 89 w 379"/>
                <a:gd name="T83" fmla="*/ 72 h 72"/>
                <a:gd name="T84" fmla="*/ 138 w 379"/>
                <a:gd name="T85" fmla="*/ 72 h 72"/>
                <a:gd name="T86" fmla="*/ 151 w 379"/>
                <a:gd name="T87" fmla="*/ 28 h 72"/>
                <a:gd name="T88" fmla="*/ 166 w 379"/>
                <a:gd name="T89" fmla="*/ 72 h 72"/>
                <a:gd name="T90" fmla="*/ 212 w 379"/>
                <a:gd name="T91" fmla="*/ 72 h 72"/>
                <a:gd name="T92" fmla="*/ 228 w 379"/>
                <a:gd name="T93" fmla="*/ 28 h 72"/>
                <a:gd name="T94" fmla="*/ 240 w 379"/>
                <a:gd name="T95" fmla="*/ 72 h 72"/>
                <a:gd name="T96" fmla="*/ 289 w 379"/>
                <a:gd name="T97" fmla="*/ 72 h 72"/>
                <a:gd name="T98" fmla="*/ 302 w 379"/>
                <a:gd name="T99" fmla="*/ 28 h 72"/>
                <a:gd name="T100" fmla="*/ 317 w 379"/>
                <a:gd name="T101" fmla="*/ 72 h 72"/>
                <a:gd name="T102" fmla="*/ 366 w 379"/>
                <a:gd name="T103" fmla="*/ 72 h 72"/>
                <a:gd name="T104" fmla="*/ 379 w 379"/>
                <a:gd name="T105" fmla="*/ 2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9" h="72">
                  <a:moveTo>
                    <a:pt x="340" y="51"/>
                  </a:moveTo>
                  <a:lnTo>
                    <a:pt x="327" y="59"/>
                  </a:lnTo>
                  <a:lnTo>
                    <a:pt x="330" y="44"/>
                  </a:lnTo>
                  <a:lnTo>
                    <a:pt x="317" y="31"/>
                  </a:lnTo>
                  <a:lnTo>
                    <a:pt x="335" y="31"/>
                  </a:lnTo>
                  <a:lnTo>
                    <a:pt x="340" y="15"/>
                  </a:lnTo>
                  <a:lnTo>
                    <a:pt x="348" y="31"/>
                  </a:lnTo>
                  <a:lnTo>
                    <a:pt x="363" y="31"/>
                  </a:lnTo>
                  <a:lnTo>
                    <a:pt x="353" y="44"/>
                  </a:lnTo>
                  <a:lnTo>
                    <a:pt x="356" y="59"/>
                  </a:lnTo>
                  <a:lnTo>
                    <a:pt x="340" y="51"/>
                  </a:lnTo>
                  <a:close/>
                  <a:moveTo>
                    <a:pt x="276" y="44"/>
                  </a:moveTo>
                  <a:lnTo>
                    <a:pt x="279" y="59"/>
                  </a:lnTo>
                  <a:lnTo>
                    <a:pt x="266" y="51"/>
                  </a:lnTo>
                  <a:lnTo>
                    <a:pt x="251" y="59"/>
                  </a:lnTo>
                  <a:lnTo>
                    <a:pt x="253" y="44"/>
                  </a:lnTo>
                  <a:lnTo>
                    <a:pt x="243" y="31"/>
                  </a:lnTo>
                  <a:lnTo>
                    <a:pt x="258" y="31"/>
                  </a:lnTo>
                  <a:lnTo>
                    <a:pt x="266" y="15"/>
                  </a:lnTo>
                  <a:lnTo>
                    <a:pt x="271" y="31"/>
                  </a:lnTo>
                  <a:lnTo>
                    <a:pt x="286" y="31"/>
                  </a:lnTo>
                  <a:lnTo>
                    <a:pt x="276" y="44"/>
                  </a:lnTo>
                  <a:close/>
                  <a:moveTo>
                    <a:pt x="199" y="44"/>
                  </a:moveTo>
                  <a:lnTo>
                    <a:pt x="202" y="59"/>
                  </a:lnTo>
                  <a:lnTo>
                    <a:pt x="189" y="51"/>
                  </a:lnTo>
                  <a:lnTo>
                    <a:pt x="176" y="59"/>
                  </a:lnTo>
                  <a:lnTo>
                    <a:pt x="179" y="44"/>
                  </a:lnTo>
                  <a:lnTo>
                    <a:pt x="166" y="31"/>
                  </a:lnTo>
                  <a:lnTo>
                    <a:pt x="181" y="31"/>
                  </a:lnTo>
                  <a:lnTo>
                    <a:pt x="189" y="15"/>
                  </a:lnTo>
                  <a:lnTo>
                    <a:pt x="197" y="31"/>
                  </a:lnTo>
                  <a:lnTo>
                    <a:pt x="212" y="31"/>
                  </a:lnTo>
                  <a:lnTo>
                    <a:pt x="199" y="44"/>
                  </a:lnTo>
                  <a:close/>
                  <a:moveTo>
                    <a:pt x="125" y="44"/>
                  </a:moveTo>
                  <a:lnTo>
                    <a:pt x="128" y="59"/>
                  </a:lnTo>
                  <a:lnTo>
                    <a:pt x="112" y="51"/>
                  </a:lnTo>
                  <a:lnTo>
                    <a:pt x="100" y="59"/>
                  </a:lnTo>
                  <a:lnTo>
                    <a:pt x="102" y="44"/>
                  </a:lnTo>
                  <a:lnTo>
                    <a:pt x="92" y="31"/>
                  </a:lnTo>
                  <a:lnTo>
                    <a:pt x="107" y="31"/>
                  </a:lnTo>
                  <a:lnTo>
                    <a:pt x="112" y="15"/>
                  </a:lnTo>
                  <a:lnTo>
                    <a:pt x="120" y="31"/>
                  </a:lnTo>
                  <a:lnTo>
                    <a:pt x="135" y="31"/>
                  </a:lnTo>
                  <a:lnTo>
                    <a:pt x="125" y="44"/>
                  </a:lnTo>
                  <a:close/>
                  <a:moveTo>
                    <a:pt x="48" y="44"/>
                  </a:moveTo>
                  <a:lnTo>
                    <a:pt x="51" y="59"/>
                  </a:lnTo>
                  <a:lnTo>
                    <a:pt x="38" y="51"/>
                  </a:lnTo>
                  <a:lnTo>
                    <a:pt x="23" y="59"/>
                  </a:lnTo>
                  <a:lnTo>
                    <a:pt x="25" y="44"/>
                  </a:lnTo>
                  <a:lnTo>
                    <a:pt x="15" y="31"/>
                  </a:lnTo>
                  <a:lnTo>
                    <a:pt x="30" y="31"/>
                  </a:lnTo>
                  <a:lnTo>
                    <a:pt x="38" y="15"/>
                  </a:lnTo>
                  <a:lnTo>
                    <a:pt x="43" y="31"/>
                  </a:lnTo>
                  <a:lnTo>
                    <a:pt x="61" y="31"/>
                  </a:lnTo>
                  <a:lnTo>
                    <a:pt x="48" y="44"/>
                  </a:lnTo>
                  <a:close/>
                  <a:moveTo>
                    <a:pt x="379" y="26"/>
                  </a:moveTo>
                  <a:lnTo>
                    <a:pt x="353" y="23"/>
                  </a:lnTo>
                  <a:lnTo>
                    <a:pt x="340" y="0"/>
                  </a:lnTo>
                  <a:lnTo>
                    <a:pt x="330" y="23"/>
                  </a:lnTo>
                  <a:lnTo>
                    <a:pt x="302" y="26"/>
                  </a:lnTo>
                  <a:lnTo>
                    <a:pt x="276" y="23"/>
                  </a:lnTo>
                  <a:lnTo>
                    <a:pt x="266" y="0"/>
                  </a:lnTo>
                  <a:lnTo>
                    <a:pt x="253" y="23"/>
                  </a:lnTo>
                  <a:lnTo>
                    <a:pt x="228" y="26"/>
                  </a:lnTo>
                  <a:lnTo>
                    <a:pt x="202" y="23"/>
                  </a:lnTo>
                  <a:lnTo>
                    <a:pt x="189" y="0"/>
                  </a:lnTo>
                  <a:lnTo>
                    <a:pt x="176" y="23"/>
                  </a:lnTo>
                  <a:lnTo>
                    <a:pt x="151" y="26"/>
                  </a:lnTo>
                  <a:lnTo>
                    <a:pt x="125" y="23"/>
                  </a:lnTo>
                  <a:lnTo>
                    <a:pt x="112" y="0"/>
                  </a:lnTo>
                  <a:lnTo>
                    <a:pt x="102" y="23"/>
                  </a:lnTo>
                  <a:lnTo>
                    <a:pt x="77" y="26"/>
                  </a:lnTo>
                  <a:lnTo>
                    <a:pt x="48" y="23"/>
                  </a:lnTo>
                  <a:lnTo>
                    <a:pt x="38" y="0"/>
                  </a:lnTo>
                  <a:lnTo>
                    <a:pt x="25" y="23"/>
                  </a:lnTo>
                  <a:lnTo>
                    <a:pt x="0" y="26"/>
                  </a:lnTo>
                  <a:lnTo>
                    <a:pt x="18" y="46"/>
                  </a:lnTo>
                  <a:lnTo>
                    <a:pt x="12" y="72"/>
                  </a:lnTo>
                  <a:lnTo>
                    <a:pt x="38" y="59"/>
                  </a:lnTo>
                  <a:lnTo>
                    <a:pt x="61" y="72"/>
                  </a:lnTo>
                  <a:lnTo>
                    <a:pt x="56" y="46"/>
                  </a:lnTo>
                  <a:lnTo>
                    <a:pt x="77" y="28"/>
                  </a:lnTo>
                  <a:lnTo>
                    <a:pt x="94" y="46"/>
                  </a:lnTo>
                  <a:lnTo>
                    <a:pt x="89" y="72"/>
                  </a:lnTo>
                  <a:lnTo>
                    <a:pt x="112" y="59"/>
                  </a:lnTo>
                  <a:lnTo>
                    <a:pt x="138" y="72"/>
                  </a:lnTo>
                  <a:lnTo>
                    <a:pt x="133" y="46"/>
                  </a:lnTo>
                  <a:lnTo>
                    <a:pt x="151" y="28"/>
                  </a:lnTo>
                  <a:lnTo>
                    <a:pt x="171" y="46"/>
                  </a:lnTo>
                  <a:lnTo>
                    <a:pt x="166" y="72"/>
                  </a:lnTo>
                  <a:lnTo>
                    <a:pt x="189" y="59"/>
                  </a:lnTo>
                  <a:lnTo>
                    <a:pt x="212" y="72"/>
                  </a:lnTo>
                  <a:lnTo>
                    <a:pt x="207" y="46"/>
                  </a:lnTo>
                  <a:lnTo>
                    <a:pt x="228" y="28"/>
                  </a:lnTo>
                  <a:lnTo>
                    <a:pt x="246" y="46"/>
                  </a:lnTo>
                  <a:lnTo>
                    <a:pt x="240" y="72"/>
                  </a:lnTo>
                  <a:lnTo>
                    <a:pt x="266" y="59"/>
                  </a:lnTo>
                  <a:lnTo>
                    <a:pt x="289" y="72"/>
                  </a:lnTo>
                  <a:lnTo>
                    <a:pt x="284" y="46"/>
                  </a:lnTo>
                  <a:lnTo>
                    <a:pt x="302" y="28"/>
                  </a:lnTo>
                  <a:lnTo>
                    <a:pt x="322" y="46"/>
                  </a:lnTo>
                  <a:lnTo>
                    <a:pt x="317" y="72"/>
                  </a:lnTo>
                  <a:lnTo>
                    <a:pt x="340" y="59"/>
                  </a:lnTo>
                  <a:lnTo>
                    <a:pt x="366" y="72"/>
                  </a:lnTo>
                  <a:lnTo>
                    <a:pt x="361" y="46"/>
                  </a:lnTo>
                  <a:lnTo>
                    <a:pt x="379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39">
              <a:extLst>
                <a:ext uri="{FF2B5EF4-FFF2-40B4-BE49-F238E27FC236}">
                  <a16:creationId xmlns:a16="http://schemas.microsoft.com/office/drawing/2014/main" id="{9A5EC998-2487-4116-8FED-67A36289AD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8" y="3721"/>
              <a:ext cx="251" cy="161"/>
            </a:xfrm>
            <a:custGeom>
              <a:avLst/>
              <a:gdLst>
                <a:gd name="T0" fmla="*/ 80 w 98"/>
                <a:gd name="T1" fmla="*/ 3 h 63"/>
                <a:gd name="T2" fmla="*/ 77 w 98"/>
                <a:gd name="T3" fmla="*/ 37 h 63"/>
                <a:gd name="T4" fmla="*/ 49 w 98"/>
                <a:gd name="T5" fmla="*/ 17 h 63"/>
                <a:gd name="T6" fmla="*/ 31 w 98"/>
                <a:gd name="T7" fmla="*/ 24 h 63"/>
                <a:gd name="T8" fmla="*/ 58 w 98"/>
                <a:gd name="T9" fmla="*/ 11 h 63"/>
                <a:gd name="T10" fmla="*/ 77 w 98"/>
                <a:gd name="T11" fmla="*/ 37 h 63"/>
                <a:gd name="T12" fmla="*/ 71 w 98"/>
                <a:gd name="T13" fmla="*/ 42 h 63"/>
                <a:gd name="T14" fmla="*/ 57 w 98"/>
                <a:gd name="T15" fmla="*/ 37 h 63"/>
                <a:gd name="T16" fmla="*/ 70 w 98"/>
                <a:gd name="T17" fmla="*/ 47 h 63"/>
                <a:gd name="T18" fmla="*/ 66 w 98"/>
                <a:gd name="T19" fmla="*/ 49 h 63"/>
                <a:gd name="T20" fmla="*/ 65 w 98"/>
                <a:gd name="T21" fmla="*/ 48 h 63"/>
                <a:gd name="T22" fmla="*/ 64 w 98"/>
                <a:gd name="T23" fmla="*/ 51 h 63"/>
                <a:gd name="T24" fmla="*/ 63 w 98"/>
                <a:gd name="T25" fmla="*/ 54 h 63"/>
                <a:gd name="T26" fmla="*/ 58 w 98"/>
                <a:gd name="T27" fmla="*/ 54 h 63"/>
                <a:gd name="T28" fmla="*/ 49 w 98"/>
                <a:gd name="T29" fmla="*/ 52 h 63"/>
                <a:gd name="T30" fmla="*/ 46 w 98"/>
                <a:gd name="T31" fmla="*/ 57 h 63"/>
                <a:gd name="T32" fmla="*/ 43 w 98"/>
                <a:gd name="T33" fmla="*/ 47 h 63"/>
                <a:gd name="T34" fmla="*/ 41 w 98"/>
                <a:gd name="T35" fmla="*/ 44 h 63"/>
                <a:gd name="T36" fmla="*/ 36 w 98"/>
                <a:gd name="T37" fmla="*/ 37 h 63"/>
                <a:gd name="T38" fmla="*/ 26 w 98"/>
                <a:gd name="T39" fmla="*/ 37 h 63"/>
                <a:gd name="T40" fmla="*/ 18 w 98"/>
                <a:gd name="T41" fmla="*/ 35 h 63"/>
                <a:gd name="T42" fmla="*/ 23 w 98"/>
                <a:gd name="T43" fmla="*/ 16 h 63"/>
                <a:gd name="T44" fmla="*/ 27 w 98"/>
                <a:gd name="T45" fmla="*/ 24 h 63"/>
                <a:gd name="T46" fmla="*/ 41 w 98"/>
                <a:gd name="T47" fmla="*/ 25 h 63"/>
                <a:gd name="T48" fmla="*/ 75 w 98"/>
                <a:gd name="T49" fmla="*/ 38 h 63"/>
                <a:gd name="T50" fmla="*/ 76 w 98"/>
                <a:gd name="T51" fmla="*/ 42 h 63"/>
                <a:gd name="T52" fmla="*/ 36 w 98"/>
                <a:gd name="T53" fmla="*/ 57 h 63"/>
                <a:gd name="T54" fmla="*/ 42 w 98"/>
                <a:gd name="T55" fmla="*/ 50 h 63"/>
                <a:gd name="T56" fmla="*/ 41 w 98"/>
                <a:gd name="T57" fmla="*/ 60 h 63"/>
                <a:gd name="T58" fmla="*/ 29 w 98"/>
                <a:gd name="T59" fmla="*/ 52 h 63"/>
                <a:gd name="T60" fmla="*/ 36 w 98"/>
                <a:gd name="T61" fmla="*/ 43 h 63"/>
                <a:gd name="T62" fmla="*/ 40 w 98"/>
                <a:gd name="T63" fmla="*/ 46 h 63"/>
                <a:gd name="T64" fmla="*/ 33 w 98"/>
                <a:gd name="T65" fmla="*/ 55 h 63"/>
                <a:gd name="T66" fmla="*/ 22 w 98"/>
                <a:gd name="T67" fmla="*/ 47 h 63"/>
                <a:gd name="T68" fmla="*/ 30 w 98"/>
                <a:gd name="T69" fmla="*/ 37 h 63"/>
                <a:gd name="T70" fmla="*/ 33 w 98"/>
                <a:gd name="T71" fmla="*/ 42 h 63"/>
                <a:gd name="T72" fmla="*/ 26 w 98"/>
                <a:gd name="T73" fmla="*/ 51 h 63"/>
                <a:gd name="T74" fmla="*/ 17 w 98"/>
                <a:gd name="T75" fmla="*/ 42 h 63"/>
                <a:gd name="T76" fmla="*/ 21 w 98"/>
                <a:gd name="T77" fmla="*/ 36 h 63"/>
                <a:gd name="T78" fmla="*/ 24 w 98"/>
                <a:gd name="T79" fmla="*/ 39 h 63"/>
                <a:gd name="T80" fmla="*/ 20 w 98"/>
                <a:gd name="T81" fmla="*/ 44 h 63"/>
                <a:gd name="T82" fmla="*/ 18 w 98"/>
                <a:gd name="T83" fmla="*/ 3 h 63"/>
                <a:gd name="T84" fmla="*/ 11 w 98"/>
                <a:gd name="T85" fmla="*/ 31 h 63"/>
                <a:gd name="T86" fmla="*/ 69 w 98"/>
                <a:gd name="T87" fmla="*/ 6 h 63"/>
                <a:gd name="T88" fmla="*/ 51 w 98"/>
                <a:gd name="T89" fmla="*/ 7 h 63"/>
                <a:gd name="T90" fmla="*/ 27 w 98"/>
                <a:gd name="T91" fmla="*/ 10 h 63"/>
                <a:gd name="T92" fmla="*/ 0 w 98"/>
                <a:gd name="T93" fmla="*/ 30 h 63"/>
                <a:gd name="T94" fmla="*/ 16 w 98"/>
                <a:gd name="T95" fmla="*/ 38 h 63"/>
                <a:gd name="T96" fmla="*/ 15 w 98"/>
                <a:gd name="T97" fmla="*/ 44 h 63"/>
                <a:gd name="T98" fmla="*/ 20 w 98"/>
                <a:gd name="T99" fmla="*/ 50 h 63"/>
                <a:gd name="T100" fmla="*/ 26 w 98"/>
                <a:gd name="T101" fmla="*/ 54 h 63"/>
                <a:gd name="T102" fmla="*/ 33 w 98"/>
                <a:gd name="T103" fmla="*/ 58 h 63"/>
                <a:gd name="T104" fmla="*/ 38 w 98"/>
                <a:gd name="T105" fmla="*/ 62 h 63"/>
                <a:gd name="T106" fmla="*/ 43 w 98"/>
                <a:gd name="T107" fmla="*/ 61 h 63"/>
                <a:gd name="T108" fmla="*/ 55 w 98"/>
                <a:gd name="T109" fmla="*/ 61 h 63"/>
                <a:gd name="T110" fmla="*/ 66 w 98"/>
                <a:gd name="T111" fmla="*/ 55 h 63"/>
                <a:gd name="T112" fmla="*/ 73 w 98"/>
                <a:gd name="T113" fmla="*/ 49 h 63"/>
                <a:gd name="T114" fmla="*/ 79 w 98"/>
                <a:gd name="T115" fmla="*/ 39 h 63"/>
                <a:gd name="T116" fmla="*/ 98 w 98"/>
                <a:gd name="T117" fmla="*/ 3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8" h="63">
                  <a:moveTo>
                    <a:pt x="88" y="33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94" y="29"/>
                    <a:pt x="94" y="29"/>
                    <a:pt x="94" y="29"/>
                  </a:cubicBezTo>
                  <a:lnTo>
                    <a:pt x="88" y="33"/>
                  </a:lnTo>
                  <a:close/>
                  <a:moveTo>
                    <a:pt x="77" y="37"/>
                  </a:moveTo>
                  <a:cubicBezTo>
                    <a:pt x="74" y="33"/>
                    <a:pt x="64" y="24"/>
                    <a:pt x="50" y="17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6" y="17"/>
                    <a:pt x="45" y="18"/>
                    <a:pt x="44" y="19"/>
                  </a:cubicBezTo>
                  <a:cubicBezTo>
                    <a:pt x="43" y="20"/>
                    <a:pt x="42" y="21"/>
                    <a:pt x="39" y="23"/>
                  </a:cubicBezTo>
                  <a:cubicBezTo>
                    <a:pt x="35" y="25"/>
                    <a:pt x="32" y="24"/>
                    <a:pt x="31" y="24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9" y="13"/>
                    <a:pt x="43" y="9"/>
                    <a:pt x="50" y="10"/>
                  </a:cubicBezTo>
                  <a:cubicBezTo>
                    <a:pt x="53" y="10"/>
                    <a:pt x="56" y="11"/>
                    <a:pt x="58" y="11"/>
                  </a:cubicBezTo>
                  <a:cubicBezTo>
                    <a:pt x="64" y="12"/>
                    <a:pt x="68" y="13"/>
                    <a:pt x="72" y="12"/>
                  </a:cubicBezTo>
                  <a:cubicBezTo>
                    <a:pt x="83" y="31"/>
                    <a:pt x="83" y="31"/>
                    <a:pt x="83" y="31"/>
                  </a:cubicBezTo>
                  <a:lnTo>
                    <a:pt x="77" y="37"/>
                  </a:lnTo>
                  <a:close/>
                  <a:moveTo>
                    <a:pt x="76" y="42"/>
                  </a:moveTo>
                  <a:cubicBezTo>
                    <a:pt x="76" y="44"/>
                    <a:pt x="74" y="44"/>
                    <a:pt x="73" y="4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6"/>
                    <a:pt x="71" y="47"/>
                    <a:pt x="70" y="47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9"/>
                    <a:pt x="67" y="50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2"/>
                    <a:pt x="64" y="53"/>
                    <a:pt x="64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5"/>
                    <a:pt x="63" y="55"/>
                    <a:pt x="62" y="55"/>
                  </a:cubicBezTo>
                  <a:cubicBezTo>
                    <a:pt x="61" y="55"/>
                    <a:pt x="61" y="55"/>
                    <a:pt x="60" y="55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7" y="58"/>
                    <a:pt x="55" y="59"/>
                    <a:pt x="55" y="58"/>
                  </a:cubicBezTo>
                  <a:cubicBezTo>
                    <a:pt x="52" y="58"/>
                    <a:pt x="49" y="58"/>
                    <a:pt x="46" y="57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9" y="53"/>
                    <a:pt x="49" y="51"/>
                    <a:pt x="47" y="5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2" y="47"/>
                  </a:cubicBezTo>
                  <a:cubicBezTo>
                    <a:pt x="43" y="47"/>
                    <a:pt x="43" y="46"/>
                    <a:pt x="43" y="46"/>
                  </a:cubicBezTo>
                  <a:cubicBezTo>
                    <a:pt x="42" y="45"/>
                    <a:pt x="42" y="44"/>
                    <a:pt x="41" y="44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7" y="41"/>
                    <a:pt x="37" y="41"/>
                  </a:cubicBezTo>
                  <a:cubicBezTo>
                    <a:pt x="37" y="40"/>
                    <a:pt x="37" y="38"/>
                    <a:pt x="36" y="3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4"/>
                    <a:pt x="29" y="34"/>
                    <a:pt x="28" y="3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6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2" y="33"/>
                    <a:pt x="19" y="33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3"/>
                    <a:pt x="15" y="32"/>
                    <a:pt x="15" y="31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13"/>
                    <a:pt x="31" y="13"/>
                    <a:pt x="34" y="1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6"/>
                    <a:pt x="31" y="27"/>
                    <a:pt x="34" y="27"/>
                  </a:cubicBezTo>
                  <a:cubicBezTo>
                    <a:pt x="36" y="27"/>
                    <a:pt x="38" y="27"/>
                    <a:pt x="41" y="25"/>
                  </a:cubicBezTo>
                  <a:cubicBezTo>
                    <a:pt x="43" y="24"/>
                    <a:pt x="45" y="22"/>
                    <a:pt x="46" y="21"/>
                  </a:cubicBezTo>
                  <a:cubicBezTo>
                    <a:pt x="47" y="20"/>
                    <a:pt x="47" y="20"/>
                    <a:pt x="49" y="20"/>
                  </a:cubicBezTo>
                  <a:cubicBezTo>
                    <a:pt x="62" y="26"/>
                    <a:pt x="72" y="35"/>
                    <a:pt x="75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7" y="40"/>
                    <a:pt x="77" y="42"/>
                    <a:pt x="76" y="42"/>
                  </a:cubicBezTo>
                  <a:moveTo>
                    <a:pt x="41" y="60"/>
                  </a:moveTo>
                  <a:cubicBezTo>
                    <a:pt x="40" y="60"/>
                    <a:pt x="40" y="60"/>
                    <a:pt x="40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6"/>
                    <a:pt x="36" y="56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50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6" y="53"/>
                    <a:pt x="46" y="53"/>
                    <a:pt x="45" y="53"/>
                  </a:cubicBezTo>
                  <a:lnTo>
                    <a:pt x="41" y="60"/>
                  </a:lnTo>
                  <a:close/>
                  <a:moveTo>
                    <a:pt x="33" y="55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moveTo>
                    <a:pt x="26" y="51"/>
                  </a:move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moveTo>
                    <a:pt x="17" y="42"/>
                  </a:move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1"/>
                    <a:pt x="17" y="4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4" y="3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0" y="44"/>
                    <a:pt x="20" y="44"/>
                  </a:cubicBezTo>
                  <a:cubicBezTo>
                    <a:pt x="20" y="44"/>
                    <a:pt x="20" y="44"/>
                    <a:pt x="20" y="44"/>
                  </a:cubicBezTo>
                  <a:lnTo>
                    <a:pt x="17" y="42"/>
                  </a:lnTo>
                  <a:close/>
                  <a:moveTo>
                    <a:pt x="4" y="29"/>
                  </a:moveTo>
                  <a:cubicBezTo>
                    <a:pt x="18" y="3"/>
                    <a:pt x="18" y="3"/>
                    <a:pt x="18" y="3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0" y="33"/>
                    <a:pt x="10" y="33"/>
                    <a:pt x="10" y="33"/>
                  </a:cubicBezTo>
                  <a:lnTo>
                    <a:pt x="4" y="29"/>
                  </a:lnTo>
                  <a:close/>
                  <a:moveTo>
                    <a:pt x="69" y="6"/>
                  </a:moveTo>
                  <a:cubicBezTo>
                    <a:pt x="71" y="9"/>
                    <a:pt x="71" y="9"/>
                    <a:pt x="71" y="9"/>
                  </a:cubicBezTo>
                  <a:cubicBezTo>
                    <a:pt x="68" y="10"/>
                    <a:pt x="64" y="9"/>
                    <a:pt x="59" y="8"/>
                  </a:cubicBezTo>
                  <a:cubicBezTo>
                    <a:pt x="56" y="8"/>
                    <a:pt x="53" y="7"/>
                    <a:pt x="51" y="7"/>
                  </a:cubicBezTo>
                  <a:cubicBezTo>
                    <a:pt x="41" y="6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3" y="11"/>
                    <a:pt x="30" y="10"/>
                    <a:pt x="27" y="10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4" y="35"/>
                    <a:pt x="15" y="36"/>
                    <a:pt x="16" y="38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4" y="40"/>
                    <a:pt x="14" y="41"/>
                    <a:pt x="14" y="42"/>
                  </a:cubicBezTo>
                  <a:cubicBezTo>
                    <a:pt x="14" y="43"/>
                    <a:pt x="15" y="44"/>
                    <a:pt x="15" y="44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9" y="48"/>
                    <a:pt x="19" y="50"/>
                    <a:pt x="20" y="50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5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4"/>
                    <a:pt x="27" y="55"/>
                    <a:pt x="27" y="55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2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3"/>
                    <a:pt x="39" y="63"/>
                    <a:pt x="40" y="63"/>
                  </a:cubicBezTo>
                  <a:cubicBezTo>
                    <a:pt x="41" y="63"/>
                    <a:pt x="42" y="62"/>
                    <a:pt x="43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8" y="60"/>
                    <a:pt x="51" y="61"/>
                    <a:pt x="54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6" y="61"/>
                    <a:pt x="59" y="61"/>
                    <a:pt x="61" y="58"/>
                  </a:cubicBezTo>
                  <a:cubicBezTo>
                    <a:pt x="63" y="58"/>
                    <a:pt x="65" y="57"/>
                    <a:pt x="66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7" y="54"/>
                    <a:pt x="67" y="53"/>
                    <a:pt x="67" y="52"/>
                  </a:cubicBezTo>
                  <a:cubicBezTo>
                    <a:pt x="69" y="52"/>
                    <a:pt x="71" y="51"/>
                    <a:pt x="72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8"/>
                    <a:pt x="73" y="47"/>
                    <a:pt x="73" y="46"/>
                  </a:cubicBezTo>
                  <a:cubicBezTo>
                    <a:pt x="75" y="47"/>
                    <a:pt x="78" y="46"/>
                    <a:pt x="79" y="44"/>
                  </a:cubicBezTo>
                  <a:cubicBezTo>
                    <a:pt x="80" y="42"/>
                    <a:pt x="80" y="40"/>
                    <a:pt x="79" y="39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69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3" name="Group 342">
            <a:extLst>
              <a:ext uri="{FF2B5EF4-FFF2-40B4-BE49-F238E27FC236}">
                <a16:creationId xmlns:a16="http://schemas.microsoft.com/office/drawing/2014/main" id="{9E0A10EC-236A-43F0-B150-ADB121C8357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5165" y="5488195"/>
            <a:ext cx="758825" cy="758825"/>
            <a:chOff x="4954" y="3622"/>
            <a:chExt cx="478" cy="478"/>
          </a:xfrm>
        </p:grpSpPr>
        <p:sp>
          <p:nvSpPr>
            <p:cNvPr id="384" name="AutoShape 341">
              <a:extLst>
                <a:ext uri="{FF2B5EF4-FFF2-40B4-BE49-F238E27FC236}">
                  <a16:creationId xmlns:a16="http://schemas.microsoft.com/office/drawing/2014/main" id="{A1E52AD0-2789-4E09-AFCD-28E3BDB50C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54" y="362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343">
              <a:extLst>
                <a:ext uri="{FF2B5EF4-FFF2-40B4-BE49-F238E27FC236}">
                  <a16:creationId xmlns:a16="http://schemas.microsoft.com/office/drawing/2014/main" id="{6885B315-A70F-4FCD-BC59-6D055A2CA4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6" y="362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344">
              <a:extLst>
                <a:ext uri="{FF2B5EF4-FFF2-40B4-BE49-F238E27FC236}">
                  <a16:creationId xmlns:a16="http://schemas.microsoft.com/office/drawing/2014/main" id="{7EC02357-9F98-4162-8E7E-CC8F76B81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" y="3757"/>
              <a:ext cx="30" cy="41"/>
            </a:xfrm>
            <a:custGeom>
              <a:avLst/>
              <a:gdLst>
                <a:gd name="T0" fmla="*/ 30 w 30"/>
                <a:gd name="T1" fmla="*/ 2 h 41"/>
                <a:gd name="T2" fmla="*/ 22 w 30"/>
                <a:gd name="T3" fmla="*/ 0 h 41"/>
                <a:gd name="T4" fmla="*/ 0 w 30"/>
                <a:gd name="T5" fmla="*/ 37 h 41"/>
                <a:gd name="T6" fmla="*/ 7 w 30"/>
                <a:gd name="T7" fmla="*/ 41 h 41"/>
                <a:gd name="T8" fmla="*/ 30 w 30"/>
                <a:gd name="T9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1">
                  <a:moveTo>
                    <a:pt x="30" y="2"/>
                  </a:moveTo>
                  <a:lnTo>
                    <a:pt x="22" y="0"/>
                  </a:lnTo>
                  <a:lnTo>
                    <a:pt x="0" y="37"/>
                  </a:lnTo>
                  <a:lnTo>
                    <a:pt x="7" y="41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345">
              <a:extLst>
                <a:ext uri="{FF2B5EF4-FFF2-40B4-BE49-F238E27FC236}">
                  <a16:creationId xmlns:a16="http://schemas.microsoft.com/office/drawing/2014/main" id="{3E280A1A-A687-406F-9D51-173B57628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7" y="3838"/>
              <a:ext cx="47" cy="7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346">
              <a:extLst>
                <a:ext uri="{FF2B5EF4-FFF2-40B4-BE49-F238E27FC236}">
                  <a16:creationId xmlns:a16="http://schemas.microsoft.com/office/drawing/2014/main" id="{1E92BAE0-0006-4DC3-B5D5-085ED4F1C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" y="3794"/>
              <a:ext cx="44" cy="27"/>
            </a:xfrm>
            <a:custGeom>
              <a:avLst/>
              <a:gdLst>
                <a:gd name="T0" fmla="*/ 5 w 44"/>
                <a:gd name="T1" fmla="*/ 27 h 27"/>
                <a:gd name="T2" fmla="*/ 44 w 44"/>
                <a:gd name="T3" fmla="*/ 4 h 27"/>
                <a:gd name="T4" fmla="*/ 39 w 44"/>
                <a:gd name="T5" fmla="*/ 0 h 27"/>
                <a:gd name="T6" fmla="*/ 0 w 44"/>
                <a:gd name="T7" fmla="*/ 22 h 27"/>
                <a:gd name="T8" fmla="*/ 5 w 44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7">
                  <a:moveTo>
                    <a:pt x="5" y="27"/>
                  </a:moveTo>
                  <a:lnTo>
                    <a:pt x="44" y="4"/>
                  </a:lnTo>
                  <a:lnTo>
                    <a:pt x="39" y="0"/>
                  </a:lnTo>
                  <a:lnTo>
                    <a:pt x="0" y="22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347">
              <a:extLst>
                <a:ext uri="{FF2B5EF4-FFF2-40B4-BE49-F238E27FC236}">
                  <a16:creationId xmlns:a16="http://schemas.microsoft.com/office/drawing/2014/main" id="{1BF7086D-2A14-44E8-8F7C-60DC3D3E5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7" y="3921"/>
              <a:ext cx="27" cy="32"/>
            </a:xfrm>
            <a:custGeom>
              <a:avLst/>
              <a:gdLst>
                <a:gd name="T0" fmla="*/ 9 w 11"/>
                <a:gd name="T1" fmla="*/ 8 h 13"/>
                <a:gd name="T2" fmla="*/ 9 w 11"/>
                <a:gd name="T3" fmla="*/ 8 h 13"/>
                <a:gd name="T4" fmla="*/ 8 w 11"/>
                <a:gd name="T5" fmla="*/ 10 h 13"/>
                <a:gd name="T6" fmla="*/ 7 w 11"/>
                <a:gd name="T7" fmla="*/ 7 h 13"/>
                <a:gd name="T8" fmla="*/ 9 w 11"/>
                <a:gd name="T9" fmla="*/ 8 h 13"/>
                <a:gd name="T10" fmla="*/ 3 w 11"/>
                <a:gd name="T11" fmla="*/ 4 h 13"/>
                <a:gd name="T12" fmla="*/ 3 w 11"/>
                <a:gd name="T13" fmla="*/ 4 h 13"/>
                <a:gd name="T14" fmla="*/ 4 w 11"/>
                <a:gd name="T15" fmla="*/ 3 h 13"/>
                <a:gd name="T16" fmla="*/ 5 w 11"/>
                <a:gd name="T17" fmla="*/ 5 h 13"/>
                <a:gd name="T18" fmla="*/ 3 w 11"/>
                <a:gd name="T19" fmla="*/ 4 h 13"/>
                <a:gd name="T20" fmla="*/ 6 w 11"/>
                <a:gd name="T21" fmla="*/ 5 h 13"/>
                <a:gd name="T22" fmla="*/ 5 w 11"/>
                <a:gd name="T23" fmla="*/ 2 h 13"/>
                <a:gd name="T24" fmla="*/ 8 w 11"/>
                <a:gd name="T25" fmla="*/ 3 h 13"/>
                <a:gd name="T26" fmla="*/ 8 w 11"/>
                <a:gd name="T27" fmla="*/ 1 h 13"/>
                <a:gd name="T28" fmla="*/ 5 w 11"/>
                <a:gd name="T29" fmla="*/ 1 h 13"/>
                <a:gd name="T30" fmla="*/ 4 w 11"/>
                <a:gd name="T31" fmla="*/ 0 h 13"/>
                <a:gd name="T32" fmla="*/ 3 w 11"/>
                <a:gd name="T33" fmla="*/ 0 h 13"/>
                <a:gd name="T34" fmla="*/ 3 w 11"/>
                <a:gd name="T35" fmla="*/ 1 h 13"/>
                <a:gd name="T36" fmla="*/ 1 w 11"/>
                <a:gd name="T37" fmla="*/ 5 h 13"/>
                <a:gd name="T38" fmla="*/ 1 w 11"/>
                <a:gd name="T39" fmla="*/ 5 h 13"/>
                <a:gd name="T40" fmla="*/ 5 w 11"/>
                <a:gd name="T41" fmla="*/ 7 h 13"/>
                <a:gd name="T42" fmla="*/ 7 w 11"/>
                <a:gd name="T43" fmla="*/ 10 h 13"/>
                <a:gd name="T44" fmla="*/ 3 w 11"/>
                <a:gd name="T45" fmla="*/ 10 h 13"/>
                <a:gd name="T46" fmla="*/ 3 w 11"/>
                <a:gd name="T47" fmla="*/ 12 h 13"/>
                <a:gd name="T48" fmla="*/ 7 w 11"/>
                <a:gd name="T49" fmla="*/ 12 h 13"/>
                <a:gd name="T50" fmla="*/ 8 w 11"/>
                <a:gd name="T51" fmla="*/ 13 h 13"/>
                <a:gd name="T52" fmla="*/ 9 w 11"/>
                <a:gd name="T53" fmla="*/ 13 h 13"/>
                <a:gd name="T54" fmla="*/ 8 w 11"/>
                <a:gd name="T55" fmla="*/ 11 h 13"/>
                <a:gd name="T56" fmla="*/ 11 w 11"/>
                <a:gd name="T57" fmla="*/ 7 h 13"/>
                <a:gd name="T58" fmla="*/ 11 w 11"/>
                <a:gd name="T59" fmla="*/ 7 h 13"/>
                <a:gd name="T60" fmla="*/ 6 w 11"/>
                <a:gd name="T6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8" y="1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9" y="7"/>
                    <a:pt x="9" y="8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4"/>
                  </a:cubicBezTo>
                  <a:moveTo>
                    <a:pt x="6" y="5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2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0"/>
                    <a:pt x="4" y="10"/>
                    <a:pt x="3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6" y="12"/>
                    <a:pt x="7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0"/>
                    <a:pt x="11" y="9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6"/>
                    <a:pt x="9" y="5"/>
                    <a:pt x="6" y="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348">
              <a:extLst>
                <a:ext uri="{FF2B5EF4-FFF2-40B4-BE49-F238E27FC236}">
                  <a16:creationId xmlns:a16="http://schemas.microsoft.com/office/drawing/2014/main" id="{A286DA81-ADBF-444B-BD0B-D8DB577A9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3" y="3776"/>
              <a:ext cx="213" cy="201"/>
            </a:xfrm>
            <a:custGeom>
              <a:avLst/>
              <a:gdLst>
                <a:gd name="T0" fmla="*/ 62 w 87"/>
                <a:gd name="T1" fmla="*/ 60 h 82"/>
                <a:gd name="T2" fmla="*/ 66 w 87"/>
                <a:gd name="T3" fmla="*/ 49 h 82"/>
                <a:gd name="T4" fmla="*/ 68 w 87"/>
                <a:gd name="T5" fmla="*/ 53 h 82"/>
                <a:gd name="T6" fmla="*/ 76 w 87"/>
                <a:gd name="T7" fmla="*/ 54 h 82"/>
                <a:gd name="T8" fmla="*/ 69 w 87"/>
                <a:gd name="T9" fmla="*/ 78 h 82"/>
                <a:gd name="T10" fmla="*/ 67 w 87"/>
                <a:gd name="T11" fmla="*/ 46 h 82"/>
                <a:gd name="T12" fmla="*/ 66 w 87"/>
                <a:gd name="T13" fmla="*/ 44 h 82"/>
                <a:gd name="T14" fmla="*/ 46 w 87"/>
                <a:gd name="T15" fmla="*/ 4 h 82"/>
                <a:gd name="T16" fmla="*/ 65 w 87"/>
                <a:gd name="T17" fmla="*/ 42 h 82"/>
                <a:gd name="T18" fmla="*/ 14 w 87"/>
                <a:gd name="T19" fmla="*/ 51 h 82"/>
                <a:gd name="T20" fmla="*/ 42 w 87"/>
                <a:gd name="T21" fmla="*/ 10 h 82"/>
                <a:gd name="T22" fmla="*/ 14 w 87"/>
                <a:gd name="T23" fmla="*/ 51 h 82"/>
                <a:gd name="T24" fmla="*/ 28 w 87"/>
                <a:gd name="T25" fmla="*/ 52 h 82"/>
                <a:gd name="T26" fmla="*/ 39 w 87"/>
                <a:gd name="T27" fmla="*/ 48 h 82"/>
                <a:gd name="T28" fmla="*/ 10 w 87"/>
                <a:gd name="T29" fmla="*/ 56 h 82"/>
                <a:gd name="T30" fmla="*/ 7 w 87"/>
                <a:gd name="T31" fmla="*/ 45 h 82"/>
                <a:gd name="T32" fmla="*/ 10 w 87"/>
                <a:gd name="T33" fmla="*/ 56 h 82"/>
                <a:gd name="T34" fmla="*/ 83 w 87"/>
                <a:gd name="T35" fmla="*/ 63 h 82"/>
                <a:gd name="T36" fmla="*/ 83 w 87"/>
                <a:gd name="T37" fmla="*/ 62 h 82"/>
                <a:gd name="T38" fmla="*/ 84 w 87"/>
                <a:gd name="T39" fmla="*/ 59 h 82"/>
                <a:gd name="T40" fmla="*/ 82 w 87"/>
                <a:gd name="T41" fmla="*/ 60 h 82"/>
                <a:gd name="T42" fmla="*/ 85 w 87"/>
                <a:gd name="T43" fmla="*/ 64 h 82"/>
                <a:gd name="T44" fmla="*/ 87 w 87"/>
                <a:gd name="T45" fmla="*/ 64 h 82"/>
                <a:gd name="T46" fmla="*/ 85 w 87"/>
                <a:gd name="T47" fmla="*/ 58 h 82"/>
                <a:gd name="T48" fmla="*/ 81 w 87"/>
                <a:gd name="T49" fmla="*/ 58 h 82"/>
                <a:gd name="T50" fmla="*/ 81 w 87"/>
                <a:gd name="T51" fmla="*/ 55 h 82"/>
                <a:gd name="T52" fmla="*/ 79 w 87"/>
                <a:gd name="T53" fmla="*/ 54 h 82"/>
                <a:gd name="T54" fmla="*/ 70 w 87"/>
                <a:gd name="T55" fmla="*/ 47 h 82"/>
                <a:gd name="T56" fmla="*/ 71 w 87"/>
                <a:gd name="T57" fmla="*/ 41 h 82"/>
                <a:gd name="T58" fmla="*/ 39 w 87"/>
                <a:gd name="T59" fmla="*/ 5 h 82"/>
                <a:gd name="T60" fmla="*/ 8 w 87"/>
                <a:gd name="T61" fmla="*/ 42 h 82"/>
                <a:gd name="T62" fmla="*/ 0 w 87"/>
                <a:gd name="T63" fmla="*/ 45 h 82"/>
                <a:gd name="T64" fmla="*/ 16 w 87"/>
                <a:gd name="T65" fmla="*/ 55 h 82"/>
                <a:gd name="T66" fmla="*/ 23 w 87"/>
                <a:gd name="T67" fmla="*/ 52 h 82"/>
                <a:gd name="T68" fmla="*/ 29 w 87"/>
                <a:gd name="T69" fmla="*/ 55 h 82"/>
                <a:gd name="T70" fmla="*/ 42 w 87"/>
                <a:gd name="T71" fmla="*/ 47 h 82"/>
                <a:gd name="T72" fmla="*/ 64 w 87"/>
                <a:gd name="T73" fmla="*/ 46 h 82"/>
                <a:gd name="T74" fmla="*/ 59 w 87"/>
                <a:gd name="T75" fmla="*/ 60 h 82"/>
                <a:gd name="T76" fmla="*/ 87 w 87"/>
                <a:gd name="T77" fmla="*/ 74 h 82"/>
                <a:gd name="T78" fmla="*/ 85 w 87"/>
                <a:gd name="T79" fmla="*/ 6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" h="82">
                  <a:moveTo>
                    <a:pt x="69" y="78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51"/>
                    <a:pt x="66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9" y="52"/>
                    <a:pt x="69" y="51"/>
                    <a:pt x="69" y="50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83" y="72"/>
                    <a:pt x="83" y="72"/>
                    <a:pt x="83" y="72"/>
                  </a:cubicBezTo>
                  <a:lnTo>
                    <a:pt x="69" y="78"/>
                  </a:ln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6"/>
                  </a:cubicBezTo>
                  <a:cubicBezTo>
                    <a:pt x="65" y="45"/>
                    <a:pt x="65" y="45"/>
                    <a:pt x="65" y="45"/>
                  </a:cubicBezTo>
                  <a:lnTo>
                    <a:pt x="66" y="44"/>
                  </a:lnTo>
                  <a:close/>
                  <a:moveTo>
                    <a:pt x="43" y="6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5" y="42"/>
                    <a:pt x="65" y="42"/>
                    <a:pt x="65" y="42"/>
                  </a:cubicBezTo>
                  <a:lnTo>
                    <a:pt x="43" y="6"/>
                  </a:lnTo>
                  <a:close/>
                  <a:moveTo>
                    <a:pt x="14" y="51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40"/>
                    <a:pt x="60" y="40"/>
                    <a:pt x="60" y="40"/>
                  </a:cubicBezTo>
                  <a:lnTo>
                    <a:pt x="14" y="51"/>
                  </a:lnTo>
                  <a:close/>
                  <a:moveTo>
                    <a:pt x="37" y="50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27" y="53"/>
                    <a:pt x="26" y="52"/>
                    <a:pt x="25" y="51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50"/>
                    <a:pt x="38" y="50"/>
                    <a:pt x="37" y="50"/>
                  </a:cubicBezTo>
                  <a:moveTo>
                    <a:pt x="10" y="56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13" y="54"/>
                    <a:pt x="13" y="54"/>
                    <a:pt x="13" y="54"/>
                  </a:cubicBezTo>
                  <a:lnTo>
                    <a:pt x="10" y="56"/>
                  </a:lnTo>
                  <a:close/>
                  <a:moveTo>
                    <a:pt x="83" y="62"/>
                  </a:moveTo>
                  <a:cubicBezTo>
                    <a:pt x="83" y="63"/>
                    <a:pt x="83" y="63"/>
                    <a:pt x="83" y="63"/>
                  </a:cubicBezTo>
                  <a:cubicBezTo>
                    <a:pt x="82" y="61"/>
                    <a:pt x="82" y="61"/>
                    <a:pt x="82" y="61"/>
                  </a:cubicBezTo>
                  <a:lnTo>
                    <a:pt x="83" y="62"/>
                  </a:lnTo>
                  <a:close/>
                  <a:moveTo>
                    <a:pt x="84" y="59"/>
                  </a:moveTo>
                  <a:cubicBezTo>
                    <a:pt x="84" y="59"/>
                    <a:pt x="84" y="59"/>
                    <a:pt x="84" y="59"/>
                  </a:cubicBezTo>
                  <a:cubicBezTo>
                    <a:pt x="85" y="60"/>
                    <a:pt x="85" y="61"/>
                    <a:pt x="84" y="62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3" y="59"/>
                    <a:pt x="84" y="59"/>
                    <a:pt x="84" y="59"/>
                  </a:cubicBezTo>
                  <a:moveTo>
                    <a:pt x="85" y="64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7" y="61"/>
                    <a:pt x="87" y="59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4" y="57"/>
                    <a:pt x="83" y="57"/>
                    <a:pt x="81" y="58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5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5"/>
                    <a:pt x="69" y="44"/>
                    <a:pt x="69" y="43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4"/>
                    <a:pt x="25" y="55"/>
                    <a:pt x="28" y="55"/>
                  </a:cubicBezTo>
                  <a:cubicBezTo>
                    <a:pt x="28" y="55"/>
                    <a:pt x="29" y="55"/>
                    <a:pt x="29" y="55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0" y="53"/>
                    <a:pt x="42" y="51"/>
                    <a:pt x="42" y="4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4" y="64"/>
                    <a:pt x="84" y="64"/>
                    <a:pt x="85" y="6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349">
              <a:extLst>
                <a:ext uri="{FF2B5EF4-FFF2-40B4-BE49-F238E27FC236}">
                  <a16:creationId xmlns:a16="http://schemas.microsoft.com/office/drawing/2014/main" id="{8396364D-635B-47BE-8A5A-E51BDE9CB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7" y="3781"/>
              <a:ext cx="191" cy="169"/>
            </a:xfrm>
            <a:custGeom>
              <a:avLst/>
              <a:gdLst>
                <a:gd name="T0" fmla="*/ 61 w 78"/>
                <a:gd name="T1" fmla="*/ 24 h 69"/>
                <a:gd name="T2" fmla="*/ 61 w 78"/>
                <a:gd name="T3" fmla="*/ 25 h 69"/>
                <a:gd name="T4" fmla="*/ 52 w 78"/>
                <a:gd name="T5" fmla="*/ 48 h 69"/>
                <a:gd name="T6" fmla="*/ 39 w 78"/>
                <a:gd name="T7" fmla="*/ 54 h 69"/>
                <a:gd name="T8" fmla="*/ 52 w 78"/>
                <a:gd name="T9" fmla="*/ 25 h 69"/>
                <a:gd name="T10" fmla="*/ 52 w 78"/>
                <a:gd name="T11" fmla="*/ 24 h 69"/>
                <a:gd name="T12" fmla="*/ 41 w 78"/>
                <a:gd name="T13" fmla="*/ 24 h 69"/>
                <a:gd name="T14" fmla="*/ 57 w 78"/>
                <a:gd name="T15" fmla="*/ 5 h 69"/>
                <a:gd name="T16" fmla="*/ 72 w 78"/>
                <a:gd name="T17" fmla="*/ 24 h 69"/>
                <a:gd name="T18" fmla="*/ 61 w 78"/>
                <a:gd name="T19" fmla="*/ 24 h 69"/>
                <a:gd name="T20" fmla="*/ 57 w 78"/>
                <a:gd name="T21" fmla="*/ 0 h 69"/>
                <a:gd name="T22" fmla="*/ 35 w 78"/>
                <a:gd name="T23" fmla="*/ 27 h 69"/>
                <a:gd name="T24" fmla="*/ 50 w 78"/>
                <a:gd name="T25" fmla="*/ 27 h 69"/>
                <a:gd name="T26" fmla="*/ 29 w 78"/>
                <a:gd name="T27" fmla="*/ 56 h 69"/>
                <a:gd name="T28" fmla="*/ 25 w 78"/>
                <a:gd name="T29" fmla="*/ 57 h 69"/>
                <a:gd name="T30" fmla="*/ 9 w 78"/>
                <a:gd name="T31" fmla="*/ 43 h 69"/>
                <a:gd name="T32" fmla="*/ 0 w 78"/>
                <a:gd name="T33" fmla="*/ 43 h 69"/>
                <a:gd name="T34" fmla="*/ 0 w 78"/>
                <a:gd name="T35" fmla="*/ 46 h 69"/>
                <a:gd name="T36" fmla="*/ 8 w 78"/>
                <a:gd name="T37" fmla="*/ 46 h 69"/>
                <a:gd name="T38" fmla="*/ 21 w 78"/>
                <a:gd name="T39" fmla="*/ 58 h 69"/>
                <a:gd name="T40" fmla="*/ 20 w 78"/>
                <a:gd name="T41" fmla="*/ 58 h 69"/>
                <a:gd name="T42" fmla="*/ 22 w 78"/>
                <a:gd name="T43" fmla="*/ 58 h 69"/>
                <a:gd name="T44" fmla="*/ 23 w 78"/>
                <a:gd name="T45" fmla="*/ 59 h 69"/>
                <a:gd name="T46" fmla="*/ 15 w 78"/>
                <a:gd name="T47" fmla="*/ 67 h 69"/>
                <a:gd name="T48" fmla="*/ 18 w 78"/>
                <a:gd name="T49" fmla="*/ 69 h 69"/>
                <a:gd name="T50" fmla="*/ 27 w 78"/>
                <a:gd name="T51" fmla="*/ 58 h 69"/>
                <a:gd name="T52" fmla="*/ 26 w 78"/>
                <a:gd name="T53" fmla="*/ 58 h 69"/>
                <a:gd name="T54" fmla="*/ 30 w 78"/>
                <a:gd name="T55" fmla="*/ 58 h 69"/>
                <a:gd name="T56" fmla="*/ 30 w 78"/>
                <a:gd name="T57" fmla="*/ 58 h 69"/>
                <a:gd name="T58" fmla="*/ 54 w 78"/>
                <a:gd name="T59" fmla="*/ 50 h 69"/>
                <a:gd name="T60" fmla="*/ 64 w 78"/>
                <a:gd name="T61" fmla="*/ 27 h 69"/>
                <a:gd name="T62" fmla="*/ 78 w 78"/>
                <a:gd name="T63" fmla="*/ 27 h 69"/>
                <a:gd name="T64" fmla="*/ 57 w 78"/>
                <a:gd name="T6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8" h="69">
                  <a:moveTo>
                    <a:pt x="61" y="24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35"/>
                    <a:pt x="58" y="42"/>
                    <a:pt x="52" y="48"/>
                  </a:cubicBezTo>
                  <a:cubicBezTo>
                    <a:pt x="48" y="51"/>
                    <a:pt x="43" y="53"/>
                    <a:pt x="39" y="54"/>
                  </a:cubicBezTo>
                  <a:cubicBezTo>
                    <a:pt x="52" y="46"/>
                    <a:pt x="53" y="31"/>
                    <a:pt x="52" y="25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72" y="24"/>
                    <a:pt x="72" y="24"/>
                    <a:pt x="72" y="24"/>
                  </a:cubicBezTo>
                  <a:lnTo>
                    <a:pt x="61" y="24"/>
                  </a:lnTo>
                  <a:close/>
                  <a:moveTo>
                    <a:pt x="57" y="0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5"/>
                    <a:pt x="47" y="51"/>
                    <a:pt x="29" y="56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4" y="58"/>
                    <a:pt x="46" y="58"/>
                    <a:pt x="54" y="50"/>
                  </a:cubicBezTo>
                  <a:cubicBezTo>
                    <a:pt x="60" y="44"/>
                    <a:pt x="64" y="36"/>
                    <a:pt x="64" y="27"/>
                  </a:cubicBezTo>
                  <a:cubicBezTo>
                    <a:pt x="78" y="27"/>
                    <a:pt x="78" y="27"/>
                    <a:pt x="78" y="27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2" name="Group 352">
            <a:extLst>
              <a:ext uri="{FF2B5EF4-FFF2-40B4-BE49-F238E27FC236}">
                <a16:creationId xmlns:a16="http://schemas.microsoft.com/office/drawing/2014/main" id="{5D625CF6-9147-44A3-882E-10914859FF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8215" y="5446920"/>
            <a:ext cx="841375" cy="841375"/>
            <a:chOff x="4461" y="3433"/>
            <a:chExt cx="530" cy="530"/>
          </a:xfrm>
        </p:grpSpPr>
        <p:sp>
          <p:nvSpPr>
            <p:cNvPr id="393" name="AutoShape 351">
              <a:extLst>
                <a:ext uri="{FF2B5EF4-FFF2-40B4-BE49-F238E27FC236}">
                  <a16:creationId xmlns:a16="http://schemas.microsoft.com/office/drawing/2014/main" id="{A4721897-178A-433C-9951-046E5037B5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61" y="343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Oval 353">
              <a:extLst>
                <a:ext uri="{FF2B5EF4-FFF2-40B4-BE49-F238E27FC236}">
                  <a16:creationId xmlns:a16="http://schemas.microsoft.com/office/drawing/2014/main" id="{7A673CFA-5561-40B0-BAFC-87A919460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1" y="343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354">
              <a:extLst>
                <a:ext uri="{FF2B5EF4-FFF2-40B4-BE49-F238E27FC236}">
                  <a16:creationId xmlns:a16="http://schemas.microsoft.com/office/drawing/2014/main" id="{EF1F7018-B6FC-478F-AB8B-87DF85E804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9" y="345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355">
              <a:extLst>
                <a:ext uri="{FF2B5EF4-FFF2-40B4-BE49-F238E27FC236}">
                  <a16:creationId xmlns:a16="http://schemas.microsoft.com/office/drawing/2014/main" id="{0939699F-7FB1-4BF6-8669-C117AF9FB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" y="3589"/>
              <a:ext cx="31" cy="44"/>
            </a:xfrm>
            <a:custGeom>
              <a:avLst/>
              <a:gdLst>
                <a:gd name="T0" fmla="*/ 31 w 31"/>
                <a:gd name="T1" fmla="*/ 3 h 44"/>
                <a:gd name="T2" fmla="*/ 23 w 31"/>
                <a:gd name="T3" fmla="*/ 0 h 44"/>
                <a:gd name="T4" fmla="*/ 0 w 31"/>
                <a:gd name="T5" fmla="*/ 38 h 44"/>
                <a:gd name="T6" fmla="*/ 8 w 31"/>
                <a:gd name="T7" fmla="*/ 44 h 44"/>
                <a:gd name="T8" fmla="*/ 31 w 31"/>
                <a:gd name="T9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4">
                  <a:moveTo>
                    <a:pt x="31" y="3"/>
                  </a:moveTo>
                  <a:lnTo>
                    <a:pt x="23" y="0"/>
                  </a:lnTo>
                  <a:lnTo>
                    <a:pt x="0" y="38"/>
                  </a:lnTo>
                  <a:lnTo>
                    <a:pt x="8" y="44"/>
                  </a:lnTo>
                  <a:lnTo>
                    <a:pt x="31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Rectangle 356">
              <a:extLst>
                <a:ext uri="{FF2B5EF4-FFF2-40B4-BE49-F238E27FC236}">
                  <a16:creationId xmlns:a16="http://schemas.microsoft.com/office/drawing/2014/main" id="{0F142A16-C16D-4876-8785-31C8C5F08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9" y="3674"/>
              <a:ext cx="49" cy="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357">
              <a:extLst>
                <a:ext uri="{FF2B5EF4-FFF2-40B4-BE49-F238E27FC236}">
                  <a16:creationId xmlns:a16="http://schemas.microsoft.com/office/drawing/2014/main" id="{E40DE160-D37E-4EE5-8DB7-6A7DA7F32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627"/>
              <a:ext cx="47" cy="29"/>
            </a:xfrm>
            <a:custGeom>
              <a:avLst/>
              <a:gdLst>
                <a:gd name="T0" fmla="*/ 6 w 47"/>
                <a:gd name="T1" fmla="*/ 29 h 29"/>
                <a:gd name="T2" fmla="*/ 47 w 47"/>
                <a:gd name="T3" fmla="*/ 6 h 29"/>
                <a:gd name="T4" fmla="*/ 41 w 47"/>
                <a:gd name="T5" fmla="*/ 0 h 29"/>
                <a:gd name="T6" fmla="*/ 0 w 47"/>
                <a:gd name="T7" fmla="*/ 24 h 29"/>
                <a:gd name="T8" fmla="*/ 6 w 4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9">
                  <a:moveTo>
                    <a:pt x="6" y="29"/>
                  </a:moveTo>
                  <a:lnTo>
                    <a:pt x="47" y="6"/>
                  </a:lnTo>
                  <a:lnTo>
                    <a:pt x="41" y="0"/>
                  </a:lnTo>
                  <a:lnTo>
                    <a:pt x="0" y="24"/>
                  </a:lnTo>
                  <a:lnTo>
                    <a:pt x="6" y="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358">
              <a:extLst>
                <a:ext uri="{FF2B5EF4-FFF2-40B4-BE49-F238E27FC236}">
                  <a16:creationId xmlns:a16="http://schemas.microsoft.com/office/drawing/2014/main" id="{10A05FA2-BFEA-4FDE-8507-001967513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09" y="3761"/>
              <a:ext cx="28" cy="33"/>
            </a:xfrm>
            <a:custGeom>
              <a:avLst/>
              <a:gdLst>
                <a:gd name="T0" fmla="*/ 9 w 11"/>
                <a:gd name="T1" fmla="*/ 8 h 13"/>
                <a:gd name="T2" fmla="*/ 9 w 11"/>
                <a:gd name="T3" fmla="*/ 8 h 13"/>
                <a:gd name="T4" fmla="*/ 8 w 11"/>
                <a:gd name="T5" fmla="*/ 10 h 13"/>
                <a:gd name="T6" fmla="*/ 7 w 11"/>
                <a:gd name="T7" fmla="*/ 7 h 13"/>
                <a:gd name="T8" fmla="*/ 9 w 11"/>
                <a:gd name="T9" fmla="*/ 8 h 13"/>
                <a:gd name="T10" fmla="*/ 3 w 11"/>
                <a:gd name="T11" fmla="*/ 4 h 13"/>
                <a:gd name="T12" fmla="*/ 3 w 11"/>
                <a:gd name="T13" fmla="*/ 4 h 13"/>
                <a:gd name="T14" fmla="*/ 4 w 11"/>
                <a:gd name="T15" fmla="*/ 3 h 13"/>
                <a:gd name="T16" fmla="*/ 5 w 11"/>
                <a:gd name="T17" fmla="*/ 5 h 13"/>
                <a:gd name="T18" fmla="*/ 3 w 11"/>
                <a:gd name="T19" fmla="*/ 4 h 13"/>
                <a:gd name="T20" fmla="*/ 6 w 11"/>
                <a:gd name="T21" fmla="*/ 5 h 13"/>
                <a:gd name="T22" fmla="*/ 5 w 11"/>
                <a:gd name="T23" fmla="*/ 2 h 13"/>
                <a:gd name="T24" fmla="*/ 8 w 11"/>
                <a:gd name="T25" fmla="*/ 3 h 13"/>
                <a:gd name="T26" fmla="*/ 8 w 11"/>
                <a:gd name="T27" fmla="*/ 1 h 13"/>
                <a:gd name="T28" fmla="*/ 5 w 11"/>
                <a:gd name="T29" fmla="*/ 1 h 13"/>
                <a:gd name="T30" fmla="*/ 4 w 11"/>
                <a:gd name="T31" fmla="*/ 0 h 13"/>
                <a:gd name="T32" fmla="*/ 3 w 11"/>
                <a:gd name="T33" fmla="*/ 0 h 13"/>
                <a:gd name="T34" fmla="*/ 3 w 11"/>
                <a:gd name="T35" fmla="*/ 1 h 13"/>
                <a:gd name="T36" fmla="*/ 1 w 11"/>
                <a:gd name="T37" fmla="*/ 5 h 13"/>
                <a:gd name="T38" fmla="*/ 1 w 11"/>
                <a:gd name="T39" fmla="*/ 5 h 13"/>
                <a:gd name="T40" fmla="*/ 5 w 11"/>
                <a:gd name="T41" fmla="*/ 7 h 13"/>
                <a:gd name="T42" fmla="*/ 7 w 11"/>
                <a:gd name="T43" fmla="*/ 10 h 13"/>
                <a:gd name="T44" fmla="*/ 3 w 11"/>
                <a:gd name="T45" fmla="*/ 10 h 13"/>
                <a:gd name="T46" fmla="*/ 3 w 11"/>
                <a:gd name="T47" fmla="*/ 12 h 13"/>
                <a:gd name="T48" fmla="*/ 7 w 11"/>
                <a:gd name="T49" fmla="*/ 12 h 13"/>
                <a:gd name="T50" fmla="*/ 8 w 11"/>
                <a:gd name="T51" fmla="*/ 13 h 13"/>
                <a:gd name="T52" fmla="*/ 9 w 11"/>
                <a:gd name="T53" fmla="*/ 13 h 13"/>
                <a:gd name="T54" fmla="*/ 8 w 11"/>
                <a:gd name="T55" fmla="*/ 11 h 13"/>
                <a:gd name="T56" fmla="*/ 11 w 11"/>
                <a:gd name="T57" fmla="*/ 7 h 13"/>
                <a:gd name="T58" fmla="*/ 11 w 11"/>
                <a:gd name="T59" fmla="*/ 7 h 13"/>
                <a:gd name="T60" fmla="*/ 6 w 11"/>
                <a:gd name="T6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8" y="10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9" y="7"/>
                    <a:pt x="9" y="8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3" y="5"/>
                    <a:pt x="3" y="4"/>
                  </a:cubicBezTo>
                  <a:moveTo>
                    <a:pt x="6" y="5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2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7"/>
                    <a:pt x="3" y="7"/>
                    <a:pt x="5" y="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0"/>
                    <a:pt x="4" y="10"/>
                    <a:pt x="3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6" y="12"/>
                    <a:pt x="7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0" y="10"/>
                    <a:pt x="11" y="9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6"/>
                    <a:pt x="9" y="5"/>
                    <a:pt x="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359">
              <a:extLst>
                <a:ext uri="{FF2B5EF4-FFF2-40B4-BE49-F238E27FC236}">
                  <a16:creationId xmlns:a16="http://schemas.microsoft.com/office/drawing/2014/main" id="{6B7FB875-5AD7-47ED-8CFD-302C02548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8" y="3610"/>
              <a:ext cx="222" cy="210"/>
            </a:xfrm>
            <a:custGeom>
              <a:avLst/>
              <a:gdLst>
                <a:gd name="T0" fmla="*/ 62 w 87"/>
                <a:gd name="T1" fmla="*/ 60 h 82"/>
                <a:gd name="T2" fmla="*/ 66 w 87"/>
                <a:gd name="T3" fmla="*/ 49 h 82"/>
                <a:gd name="T4" fmla="*/ 68 w 87"/>
                <a:gd name="T5" fmla="*/ 53 h 82"/>
                <a:gd name="T6" fmla="*/ 76 w 87"/>
                <a:gd name="T7" fmla="*/ 54 h 82"/>
                <a:gd name="T8" fmla="*/ 69 w 87"/>
                <a:gd name="T9" fmla="*/ 78 h 82"/>
                <a:gd name="T10" fmla="*/ 67 w 87"/>
                <a:gd name="T11" fmla="*/ 46 h 82"/>
                <a:gd name="T12" fmla="*/ 66 w 87"/>
                <a:gd name="T13" fmla="*/ 44 h 82"/>
                <a:gd name="T14" fmla="*/ 46 w 87"/>
                <a:gd name="T15" fmla="*/ 4 h 82"/>
                <a:gd name="T16" fmla="*/ 65 w 87"/>
                <a:gd name="T17" fmla="*/ 42 h 82"/>
                <a:gd name="T18" fmla="*/ 14 w 87"/>
                <a:gd name="T19" fmla="*/ 51 h 82"/>
                <a:gd name="T20" fmla="*/ 42 w 87"/>
                <a:gd name="T21" fmla="*/ 10 h 82"/>
                <a:gd name="T22" fmla="*/ 14 w 87"/>
                <a:gd name="T23" fmla="*/ 51 h 82"/>
                <a:gd name="T24" fmla="*/ 28 w 87"/>
                <a:gd name="T25" fmla="*/ 52 h 82"/>
                <a:gd name="T26" fmla="*/ 39 w 87"/>
                <a:gd name="T27" fmla="*/ 48 h 82"/>
                <a:gd name="T28" fmla="*/ 10 w 87"/>
                <a:gd name="T29" fmla="*/ 56 h 82"/>
                <a:gd name="T30" fmla="*/ 7 w 87"/>
                <a:gd name="T31" fmla="*/ 45 h 82"/>
                <a:gd name="T32" fmla="*/ 10 w 87"/>
                <a:gd name="T33" fmla="*/ 56 h 82"/>
                <a:gd name="T34" fmla="*/ 83 w 87"/>
                <a:gd name="T35" fmla="*/ 63 h 82"/>
                <a:gd name="T36" fmla="*/ 83 w 87"/>
                <a:gd name="T37" fmla="*/ 62 h 82"/>
                <a:gd name="T38" fmla="*/ 84 w 87"/>
                <a:gd name="T39" fmla="*/ 59 h 82"/>
                <a:gd name="T40" fmla="*/ 82 w 87"/>
                <a:gd name="T41" fmla="*/ 60 h 82"/>
                <a:gd name="T42" fmla="*/ 85 w 87"/>
                <a:gd name="T43" fmla="*/ 64 h 82"/>
                <a:gd name="T44" fmla="*/ 87 w 87"/>
                <a:gd name="T45" fmla="*/ 64 h 82"/>
                <a:gd name="T46" fmla="*/ 85 w 87"/>
                <a:gd name="T47" fmla="*/ 58 h 82"/>
                <a:gd name="T48" fmla="*/ 81 w 87"/>
                <a:gd name="T49" fmla="*/ 58 h 82"/>
                <a:gd name="T50" fmla="*/ 81 w 87"/>
                <a:gd name="T51" fmla="*/ 55 h 82"/>
                <a:gd name="T52" fmla="*/ 79 w 87"/>
                <a:gd name="T53" fmla="*/ 54 h 82"/>
                <a:gd name="T54" fmla="*/ 70 w 87"/>
                <a:gd name="T55" fmla="*/ 47 h 82"/>
                <a:gd name="T56" fmla="*/ 71 w 87"/>
                <a:gd name="T57" fmla="*/ 41 h 82"/>
                <a:gd name="T58" fmla="*/ 39 w 87"/>
                <a:gd name="T59" fmla="*/ 5 h 82"/>
                <a:gd name="T60" fmla="*/ 8 w 87"/>
                <a:gd name="T61" fmla="*/ 42 h 82"/>
                <a:gd name="T62" fmla="*/ 0 w 87"/>
                <a:gd name="T63" fmla="*/ 45 h 82"/>
                <a:gd name="T64" fmla="*/ 16 w 87"/>
                <a:gd name="T65" fmla="*/ 55 h 82"/>
                <a:gd name="T66" fmla="*/ 23 w 87"/>
                <a:gd name="T67" fmla="*/ 52 h 82"/>
                <a:gd name="T68" fmla="*/ 29 w 87"/>
                <a:gd name="T69" fmla="*/ 55 h 82"/>
                <a:gd name="T70" fmla="*/ 42 w 87"/>
                <a:gd name="T71" fmla="*/ 47 h 82"/>
                <a:gd name="T72" fmla="*/ 64 w 87"/>
                <a:gd name="T73" fmla="*/ 46 h 82"/>
                <a:gd name="T74" fmla="*/ 59 w 87"/>
                <a:gd name="T75" fmla="*/ 60 h 82"/>
                <a:gd name="T76" fmla="*/ 87 w 87"/>
                <a:gd name="T77" fmla="*/ 74 h 82"/>
                <a:gd name="T78" fmla="*/ 85 w 87"/>
                <a:gd name="T79" fmla="*/ 6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" h="82">
                  <a:moveTo>
                    <a:pt x="69" y="78"/>
                  </a:moveTo>
                  <a:cubicBezTo>
                    <a:pt x="62" y="60"/>
                    <a:pt x="62" y="60"/>
                    <a:pt x="62" y="60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51"/>
                    <a:pt x="66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9" y="52"/>
                    <a:pt x="69" y="51"/>
                    <a:pt x="69" y="50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83" y="72"/>
                    <a:pt x="83" y="72"/>
                    <a:pt x="83" y="72"/>
                  </a:cubicBezTo>
                  <a:lnTo>
                    <a:pt x="69" y="78"/>
                  </a:ln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6"/>
                  </a:cubicBezTo>
                  <a:cubicBezTo>
                    <a:pt x="65" y="45"/>
                    <a:pt x="65" y="45"/>
                    <a:pt x="65" y="45"/>
                  </a:cubicBezTo>
                  <a:lnTo>
                    <a:pt x="66" y="44"/>
                  </a:lnTo>
                  <a:close/>
                  <a:moveTo>
                    <a:pt x="43" y="6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5" y="42"/>
                    <a:pt x="65" y="42"/>
                    <a:pt x="65" y="42"/>
                  </a:cubicBezTo>
                  <a:lnTo>
                    <a:pt x="43" y="6"/>
                  </a:lnTo>
                  <a:close/>
                  <a:moveTo>
                    <a:pt x="14" y="51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60" y="40"/>
                    <a:pt x="60" y="40"/>
                    <a:pt x="60" y="40"/>
                  </a:cubicBezTo>
                  <a:lnTo>
                    <a:pt x="14" y="51"/>
                  </a:lnTo>
                  <a:close/>
                  <a:moveTo>
                    <a:pt x="37" y="50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27" y="53"/>
                    <a:pt x="26" y="52"/>
                    <a:pt x="25" y="51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50"/>
                    <a:pt x="38" y="50"/>
                    <a:pt x="37" y="50"/>
                  </a:cubicBezTo>
                  <a:moveTo>
                    <a:pt x="10" y="56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13" y="54"/>
                    <a:pt x="13" y="54"/>
                    <a:pt x="13" y="54"/>
                  </a:cubicBezTo>
                  <a:lnTo>
                    <a:pt x="10" y="56"/>
                  </a:lnTo>
                  <a:close/>
                  <a:moveTo>
                    <a:pt x="83" y="62"/>
                  </a:moveTo>
                  <a:cubicBezTo>
                    <a:pt x="83" y="63"/>
                    <a:pt x="83" y="63"/>
                    <a:pt x="83" y="63"/>
                  </a:cubicBezTo>
                  <a:cubicBezTo>
                    <a:pt x="82" y="61"/>
                    <a:pt x="82" y="61"/>
                    <a:pt x="82" y="61"/>
                  </a:cubicBezTo>
                  <a:lnTo>
                    <a:pt x="83" y="62"/>
                  </a:lnTo>
                  <a:close/>
                  <a:moveTo>
                    <a:pt x="84" y="59"/>
                  </a:moveTo>
                  <a:cubicBezTo>
                    <a:pt x="84" y="59"/>
                    <a:pt x="84" y="59"/>
                    <a:pt x="84" y="59"/>
                  </a:cubicBezTo>
                  <a:cubicBezTo>
                    <a:pt x="85" y="60"/>
                    <a:pt x="85" y="61"/>
                    <a:pt x="84" y="62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3" y="59"/>
                    <a:pt x="84" y="59"/>
                    <a:pt x="84" y="59"/>
                  </a:cubicBezTo>
                  <a:moveTo>
                    <a:pt x="85" y="64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7" y="61"/>
                    <a:pt x="87" y="59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4" y="57"/>
                    <a:pt x="83" y="57"/>
                    <a:pt x="81" y="58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5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5"/>
                    <a:pt x="69" y="44"/>
                    <a:pt x="69" y="43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4"/>
                    <a:pt x="25" y="55"/>
                    <a:pt x="28" y="55"/>
                  </a:cubicBezTo>
                  <a:cubicBezTo>
                    <a:pt x="28" y="55"/>
                    <a:pt x="29" y="55"/>
                    <a:pt x="29" y="55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0" y="53"/>
                    <a:pt x="42" y="51"/>
                    <a:pt x="42" y="47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4" y="64"/>
                    <a:pt x="84" y="64"/>
                    <a:pt x="85" y="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360">
              <a:extLst>
                <a:ext uri="{FF2B5EF4-FFF2-40B4-BE49-F238E27FC236}">
                  <a16:creationId xmlns:a16="http://schemas.microsoft.com/office/drawing/2014/main" id="{D3497067-F9D2-4EBC-A632-A15D3F9319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9" y="3615"/>
              <a:ext cx="200" cy="176"/>
            </a:xfrm>
            <a:custGeom>
              <a:avLst/>
              <a:gdLst>
                <a:gd name="T0" fmla="*/ 61 w 78"/>
                <a:gd name="T1" fmla="*/ 24 h 69"/>
                <a:gd name="T2" fmla="*/ 61 w 78"/>
                <a:gd name="T3" fmla="*/ 25 h 69"/>
                <a:gd name="T4" fmla="*/ 52 w 78"/>
                <a:gd name="T5" fmla="*/ 48 h 69"/>
                <a:gd name="T6" fmla="*/ 39 w 78"/>
                <a:gd name="T7" fmla="*/ 54 h 69"/>
                <a:gd name="T8" fmla="*/ 52 w 78"/>
                <a:gd name="T9" fmla="*/ 25 h 69"/>
                <a:gd name="T10" fmla="*/ 52 w 78"/>
                <a:gd name="T11" fmla="*/ 24 h 69"/>
                <a:gd name="T12" fmla="*/ 41 w 78"/>
                <a:gd name="T13" fmla="*/ 24 h 69"/>
                <a:gd name="T14" fmla="*/ 57 w 78"/>
                <a:gd name="T15" fmla="*/ 5 h 69"/>
                <a:gd name="T16" fmla="*/ 72 w 78"/>
                <a:gd name="T17" fmla="*/ 24 h 69"/>
                <a:gd name="T18" fmla="*/ 61 w 78"/>
                <a:gd name="T19" fmla="*/ 24 h 69"/>
                <a:gd name="T20" fmla="*/ 57 w 78"/>
                <a:gd name="T21" fmla="*/ 0 h 69"/>
                <a:gd name="T22" fmla="*/ 35 w 78"/>
                <a:gd name="T23" fmla="*/ 27 h 69"/>
                <a:gd name="T24" fmla="*/ 50 w 78"/>
                <a:gd name="T25" fmla="*/ 27 h 69"/>
                <a:gd name="T26" fmla="*/ 29 w 78"/>
                <a:gd name="T27" fmla="*/ 56 h 69"/>
                <a:gd name="T28" fmla="*/ 25 w 78"/>
                <a:gd name="T29" fmla="*/ 57 h 69"/>
                <a:gd name="T30" fmla="*/ 9 w 78"/>
                <a:gd name="T31" fmla="*/ 43 h 69"/>
                <a:gd name="T32" fmla="*/ 0 w 78"/>
                <a:gd name="T33" fmla="*/ 43 h 69"/>
                <a:gd name="T34" fmla="*/ 0 w 78"/>
                <a:gd name="T35" fmla="*/ 46 h 69"/>
                <a:gd name="T36" fmla="*/ 8 w 78"/>
                <a:gd name="T37" fmla="*/ 46 h 69"/>
                <a:gd name="T38" fmla="*/ 21 w 78"/>
                <a:gd name="T39" fmla="*/ 58 h 69"/>
                <a:gd name="T40" fmla="*/ 20 w 78"/>
                <a:gd name="T41" fmla="*/ 58 h 69"/>
                <a:gd name="T42" fmla="*/ 22 w 78"/>
                <a:gd name="T43" fmla="*/ 58 h 69"/>
                <a:gd name="T44" fmla="*/ 23 w 78"/>
                <a:gd name="T45" fmla="*/ 59 h 69"/>
                <a:gd name="T46" fmla="*/ 15 w 78"/>
                <a:gd name="T47" fmla="*/ 67 h 69"/>
                <a:gd name="T48" fmla="*/ 18 w 78"/>
                <a:gd name="T49" fmla="*/ 69 h 69"/>
                <a:gd name="T50" fmla="*/ 27 w 78"/>
                <a:gd name="T51" fmla="*/ 58 h 69"/>
                <a:gd name="T52" fmla="*/ 26 w 78"/>
                <a:gd name="T53" fmla="*/ 58 h 69"/>
                <a:gd name="T54" fmla="*/ 30 w 78"/>
                <a:gd name="T55" fmla="*/ 58 h 69"/>
                <a:gd name="T56" fmla="*/ 30 w 78"/>
                <a:gd name="T57" fmla="*/ 58 h 69"/>
                <a:gd name="T58" fmla="*/ 54 w 78"/>
                <a:gd name="T59" fmla="*/ 50 h 69"/>
                <a:gd name="T60" fmla="*/ 64 w 78"/>
                <a:gd name="T61" fmla="*/ 27 h 69"/>
                <a:gd name="T62" fmla="*/ 78 w 78"/>
                <a:gd name="T63" fmla="*/ 27 h 69"/>
                <a:gd name="T64" fmla="*/ 57 w 78"/>
                <a:gd name="T6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8" h="69">
                  <a:moveTo>
                    <a:pt x="61" y="24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35"/>
                    <a:pt x="58" y="42"/>
                    <a:pt x="52" y="48"/>
                  </a:cubicBezTo>
                  <a:cubicBezTo>
                    <a:pt x="48" y="51"/>
                    <a:pt x="43" y="53"/>
                    <a:pt x="39" y="54"/>
                  </a:cubicBezTo>
                  <a:cubicBezTo>
                    <a:pt x="52" y="46"/>
                    <a:pt x="53" y="31"/>
                    <a:pt x="52" y="25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72" y="24"/>
                    <a:pt x="72" y="24"/>
                    <a:pt x="72" y="24"/>
                  </a:cubicBezTo>
                  <a:lnTo>
                    <a:pt x="61" y="24"/>
                  </a:lnTo>
                  <a:close/>
                  <a:moveTo>
                    <a:pt x="57" y="0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35"/>
                    <a:pt x="47" y="51"/>
                    <a:pt x="29" y="56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4" y="58"/>
                    <a:pt x="46" y="58"/>
                    <a:pt x="54" y="50"/>
                  </a:cubicBezTo>
                  <a:cubicBezTo>
                    <a:pt x="60" y="44"/>
                    <a:pt x="64" y="36"/>
                    <a:pt x="64" y="27"/>
                  </a:cubicBezTo>
                  <a:cubicBezTo>
                    <a:pt x="78" y="27"/>
                    <a:pt x="78" y="27"/>
                    <a:pt x="78" y="27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42097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35ED5D-B63F-414F-B8CB-96959E8FC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231013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panding Share of Walle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uman Resour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ree Direction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verg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ndom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verg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op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op 2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op 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por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por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witc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p Ou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do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ck and Fort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war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ull Scree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indowe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oop Forev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A7C9A35E-4E61-4412-9E5F-73F7A3B6BE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3863" y="263526"/>
            <a:ext cx="841375" cy="841375"/>
            <a:chOff x="282" y="188"/>
            <a:chExt cx="530" cy="530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6A20449E-5B8E-44BB-B864-B64BFFF815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2" y="18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764B97C8-9CA1-4973-A9C7-79ABC8A41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" y="18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9C3993E-BE2E-4FE1-B03F-A34EE3DB04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" y="20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40163F8-9589-49CA-9971-3145761A24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" y="382"/>
              <a:ext cx="177" cy="182"/>
            </a:xfrm>
            <a:custGeom>
              <a:avLst/>
              <a:gdLst>
                <a:gd name="T0" fmla="*/ 42 w 69"/>
                <a:gd name="T1" fmla="*/ 45 h 71"/>
                <a:gd name="T2" fmla="*/ 45 w 69"/>
                <a:gd name="T3" fmla="*/ 61 h 71"/>
                <a:gd name="T4" fmla="*/ 61 w 69"/>
                <a:gd name="T5" fmla="*/ 66 h 71"/>
                <a:gd name="T6" fmla="*/ 5 w 69"/>
                <a:gd name="T7" fmla="*/ 68 h 71"/>
                <a:gd name="T8" fmla="*/ 3 w 69"/>
                <a:gd name="T9" fmla="*/ 28 h 71"/>
                <a:gd name="T10" fmla="*/ 14 w 69"/>
                <a:gd name="T11" fmla="*/ 26 h 71"/>
                <a:gd name="T12" fmla="*/ 6 w 69"/>
                <a:gd name="T13" fmla="*/ 31 h 71"/>
                <a:gd name="T14" fmla="*/ 61 w 69"/>
                <a:gd name="T15" fmla="*/ 34 h 71"/>
                <a:gd name="T16" fmla="*/ 45 w 69"/>
                <a:gd name="T17" fmla="*/ 41 h 71"/>
                <a:gd name="T18" fmla="*/ 66 w 69"/>
                <a:gd name="T19" fmla="*/ 58 h 71"/>
                <a:gd name="T20" fmla="*/ 45 w 69"/>
                <a:gd name="T21" fmla="*/ 58 h 71"/>
                <a:gd name="T22" fmla="*/ 45 w 69"/>
                <a:gd name="T23" fmla="*/ 45 h 71"/>
                <a:gd name="T24" fmla="*/ 66 w 69"/>
                <a:gd name="T25" fmla="*/ 44 h 71"/>
                <a:gd name="T26" fmla="*/ 53 w 69"/>
                <a:gd name="T27" fmla="*/ 31 h 71"/>
                <a:gd name="T28" fmla="*/ 37 w 69"/>
                <a:gd name="T29" fmla="*/ 14 h 71"/>
                <a:gd name="T30" fmla="*/ 54 w 69"/>
                <a:gd name="T31" fmla="*/ 25 h 71"/>
                <a:gd name="T32" fmla="*/ 53 w 69"/>
                <a:gd name="T33" fmla="*/ 31 h 71"/>
                <a:gd name="T34" fmla="*/ 65 w 69"/>
                <a:gd name="T35" fmla="*/ 27 h 71"/>
                <a:gd name="T36" fmla="*/ 56 w 69"/>
                <a:gd name="T37" fmla="*/ 31 h 71"/>
                <a:gd name="T38" fmla="*/ 57 w 69"/>
                <a:gd name="T39" fmla="*/ 25 h 71"/>
                <a:gd name="T40" fmla="*/ 44 w 69"/>
                <a:gd name="T41" fmla="*/ 11 h 71"/>
                <a:gd name="T42" fmla="*/ 38 w 69"/>
                <a:gd name="T43" fmla="*/ 11 h 71"/>
                <a:gd name="T44" fmla="*/ 17 w 69"/>
                <a:gd name="T45" fmla="*/ 31 h 71"/>
                <a:gd name="T46" fmla="*/ 41 w 69"/>
                <a:gd name="T47" fmla="*/ 4 h 71"/>
                <a:gd name="T48" fmla="*/ 41 w 69"/>
                <a:gd name="T49" fmla="*/ 0 h 71"/>
                <a:gd name="T50" fmla="*/ 5 w 69"/>
                <a:gd name="T51" fmla="*/ 23 h 71"/>
                <a:gd name="T52" fmla="*/ 0 w 69"/>
                <a:gd name="T53" fmla="*/ 66 h 71"/>
                <a:gd name="T54" fmla="*/ 58 w 69"/>
                <a:gd name="T55" fmla="*/ 71 h 71"/>
                <a:gd name="T56" fmla="*/ 63 w 69"/>
                <a:gd name="T57" fmla="*/ 61 h 71"/>
                <a:gd name="T58" fmla="*/ 69 w 69"/>
                <a:gd name="T59" fmla="*/ 58 h 71"/>
                <a:gd name="T60" fmla="*/ 66 w 69"/>
                <a:gd name="T61" fmla="*/ 41 h 71"/>
                <a:gd name="T62" fmla="*/ 63 w 69"/>
                <a:gd name="T63" fmla="*/ 3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" h="71">
                  <a:moveTo>
                    <a:pt x="45" y="41"/>
                  </a:moveTo>
                  <a:cubicBezTo>
                    <a:pt x="43" y="41"/>
                    <a:pt x="42" y="43"/>
                    <a:pt x="42" y="4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0"/>
                    <a:pt x="43" y="61"/>
                    <a:pt x="45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59" y="68"/>
                    <a:pt x="58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3" y="67"/>
                    <a:pt x="3" y="6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4" y="26"/>
                    <a:pt x="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41"/>
                    <a:pt x="61" y="41"/>
                    <a:pt x="61" y="41"/>
                  </a:cubicBezTo>
                  <a:lnTo>
                    <a:pt x="45" y="41"/>
                  </a:lnTo>
                  <a:close/>
                  <a:moveTo>
                    <a:pt x="66" y="45"/>
                  </a:move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5"/>
                  </a:cubicBezTo>
                  <a:moveTo>
                    <a:pt x="53" y="31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9" y="15"/>
                    <a:pt x="42" y="15"/>
                    <a:pt x="44" y="14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3" y="26"/>
                    <a:pt x="53" y="28"/>
                    <a:pt x="53" y="30"/>
                  </a:cubicBezTo>
                  <a:cubicBezTo>
                    <a:pt x="53" y="30"/>
                    <a:pt x="53" y="31"/>
                    <a:pt x="53" y="31"/>
                  </a:cubicBezTo>
                  <a:moveTo>
                    <a:pt x="41" y="4"/>
                  </a:moveTo>
                  <a:cubicBezTo>
                    <a:pt x="65" y="27"/>
                    <a:pt x="65" y="27"/>
                    <a:pt x="65" y="27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28"/>
                    <a:pt x="56" y="27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2" y="12"/>
                    <a:pt x="39" y="12"/>
                    <a:pt x="38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3" y="31"/>
                    <a:pt x="13" y="31"/>
                    <a:pt x="13" y="31"/>
                  </a:cubicBezTo>
                  <a:lnTo>
                    <a:pt x="41" y="4"/>
                  </a:lnTo>
                  <a:close/>
                  <a:moveTo>
                    <a:pt x="69" y="27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0" y="25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9"/>
                    <a:pt x="3" y="71"/>
                    <a:pt x="5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61" y="71"/>
                    <a:pt x="63" y="69"/>
                    <a:pt x="63" y="66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7" y="61"/>
                    <a:pt x="69" y="60"/>
                    <a:pt x="69" y="58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3"/>
                    <a:pt x="67" y="41"/>
                    <a:pt x="66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3" y="33"/>
                    <a:pt x="63" y="33"/>
                    <a:pt x="63" y="33"/>
                  </a:cubicBezTo>
                  <a:lnTo>
                    <a:pt x="69" y="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63BDA856-F378-43BC-B019-8BCB3D64D1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" y="408"/>
              <a:ext cx="144" cy="79"/>
            </a:xfrm>
            <a:custGeom>
              <a:avLst/>
              <a:gdLst>
                <a:gd name="T0" fmla="*/ 50 w 56"/>
                <a:gd name="T1" fmla="*/ 22 h 31"/>
                <a:gd name="T2" fmla="*/ 48 w 56"/>
                <a:gd name="T3" fmla="*/ 26 h 31"/>
                <a:gd name="T4" fmla="*/ 9 w 56"/>
                <a:gd name="T5" fmla="*/ 28 h 31"/>
                <a:gd name="T6" fmla="*/ 7 w 56"/>
                <a:gd name="T7" fmla="*/ 24 h 31"/>
                <a:gd name="T8" fmla="*/ 4 w 56"/>
                <a:gd name="T9" fmla="*/ 22 h 31"/>
                <a:gd name="T10" fmla="*/ 3 w 56"/>
                <a:gd name="T11" fmla="*/ 12 h 31"/>
                <a:gd name="T12" fmla="*/ 8 w 56"/>
                <a:gd name="T13" fmla="*/ 5 h 31"/>
                <a:gd name="T14" fmla="*/ 47 w 56"/>
                <a:gd name="T15" fmla="*/ 3 h 31"/>
                <a:gd name="T16" fmla="*/ 49 w 56"/>
                <a:gd name="T17" fmla="*/ 7 h 31"/>
                <a:gd name="T18" fmla="*/ 52 w 56"/>
                <a:gd name="T19" fmla="*/ 9 h 31"/>
                <a:gd name="T20" fmla="*/ 53 w 56"/>
                <a:gd name="T21" fmla="*/ 19 h 31"/>
                <a:gd name="T22" fmla="*/ 50 w 56"/>
                <a:gd name="T23" fmla="*/ 22 h 31"/>
                <a:gd name="T24" fmla="*/ 54 w 56"/>
                <a:gd name="T25" fmla="*/ 6 h 31"/>
                <a:gd name="T26" fmla="*/ 51 w 56"/>
                <a:gd name="T27" fmla="*/ 5 h 31"/>
                <a:gd name="T28" fmla="*/ 50 w 56"/>
                <a:gd name="T29" fmla="*/ 1 h 31"/>
                <a:gd name="T30" fmla="*/ 50 w 56"/>
                <a:gd name="T31" fmla="*/ 0 h 31"/>
                <a:gd name="T32" fmla="*/ 5 w 56"/>
                <a:gd name="T33" fmla="*/ 3 h 31"/>
                <a:gd name="T34" fmla="*/ 5 w 56"/>
                <a:gd name="T35" fmla="*/ 4 h 31"/>
                <a:gd name="T36" fmla="*/ 2 w 56"/>
                <a:gd name="T37" fmla="*/ 9 h 31"/>
                <a:gd name="T38" fmla="*/ 0 w 56"/>
                <a:gd name="T39" fmla="*/ 10 h 31"/>
                <a:gd name="T40" fmla="*/ 1 w 56"/>
                <a:gd name="T41" fmla="*/ 25 h 31"/>
                <a:gd name="T42" fmla="*/ 3 w 56"/>
                <a:gd name="T43" fmla="*/ 25 h 31"/>
                <a:gd name="T44" fmla="*/ 5 w 56"/>
                <a:gd name="T45" fmla="*/ 26 h 31"/>
                <a:gd name="T46" fmla="*/ 7 w 56"/>
                <a:gd name="T47" fmla="*/ 30 h 31"/>
                <a:gd name="T48" fmla="*/ 7 w 56"/>
                <a:gd name="T49" fmla="*/ 31 h 31"/>
                <a:gd name="T50" fmla="*/ 51 w 56"/>
                <a:gd name="T51" fmla="*/ 29 h 31"/>
                <a:gd name="T52" fmla="*/ 51 w 56"/>
                <a:gd name="T53" fmla="*/ 27 h 31"/>
                <a:gd name="T54" fmla="*/ 52 w 56"/>
                <a:gd name="T55" fmla="*/ 23 h 31"/>
                <a:gd name="T56" fmla="*/ 55 w 56"/>
                <a:gd name="T57" fmla="*/ 22 h 31"/>
                <a:gd name="T58" fmla="*/ 56 w 56"/>
                <a:gd name="T59" fmla="*/ 22 h 31"/>
                <a:gd name="T60" fmla="*/ 55 w 56"/>
                <a:gd name="T61" fmla="*/ 6 h 31"/>
                <a:gd name="T62" fmla="*/ 54 w 56"/>
                <a:gd name="T63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" h="31">
                  <a:moveTo>
                    <a:pt x="50" y="22"/>
                  </a:moveTo>
                  <a:cubicBezTo>
                    <a:pt x="49" y="23"/>
                    <a:pt x="49" y="24"/>
                    <a:pt x="48" y="2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7"/>
                    <a:pt x="8" y="25"/>
                    <a:pt x="7" y="24"/>
                  </a:cubicBezTo>
                  <a:cubicBezTo>
                    <a:pt x="6" y="23"/>
                    <a:pt x="5" y="23"/>
                    <a:pt x="4" y="2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1"/>
                    <a:pt x="8" y="9"/>
                    <a:pt x="8" y="5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4"/>
                    <a:pt x="48" y="6"/>
                    <a:pt x="49" y="7"/>
                  </a:cubicBezTo>
                  <a:cubicBezTo>
                    <a:pt x="50" y="8"/>
                    <a:pt x="51" y="9"/>
                    <a:pt x="52" y="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20"/>
                    <a:pt x="51" y="21"/>
                    <a:pt x="50" y="22"/>
                  </a:cubicBezTo>
                  <a:moveTo>
                    <a:pt x="54" y="6"/>
                  </a:moveTo>
                  <a:cubicBezTo>
                    <a:pt x="53" y="6"/>
                    <a:pt x="52" y="6"/>
                    <a:pt x="51" y="5"/>
                  </a:cubicBezTo>
                  <a:cubicBezTo>
                    <a:pt x="50" y="4"/>
                    <a:pt x="50" y="3"/>
                    <a:pt x="50" y="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7"/>
                    <a:pt x="4" y="9"/>
                    <a:pt x="2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6"/>
                    <a:pt x="5" y="26"/>
                  </a:cubicBezTo>
                  <a:cubicBezTo>
                    <a:pt x="6" y="27"/>
                    <a:pt x="7" y="29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4"/>
                    <a:pt x="52" y="23"/>
                  </a:cubicBezTo>
                  <a:cubicBezTo>
                    <a:pt x="53" y="22"/>
                    <a:pt x="54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6"/>
                    <a:pt x="55" y="6"/>
                    <a:pt x="55" y="6"/>
                  </a:cubicBezTo>
                  <a:lnTo>
                    <a:pt x="5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A96179D4-8424-4812-80C1-D9050AAC22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" y="395"/>
              <a:ext cx="169" cy="108"/>
            </a:xfrm>
            <a:custGeom>
              <a:avLst/>
              <a:gdLst>
                <a:gd name="T0" fmla="*/ 13 w 169"/>
                <a:gd name="T1" fmla="*/ 98 h 108"/>
                <a:gd name="T2" fmla="*/ 8 w 169"/>
                <a:gd name="T3" fmla="*/ 16 h 108"/>
                <a:gd name="T4" fmla="*/ 157 w 169"/>
                <a:gd name="T5" fmla="*/ 8 h 108"/>
                <a:gd name="T6" fmla="*/ 162 w 169"/>
                <a:gd name="T7" fmla="*/ 90 h 108"/>
                <a:gd name="T8" fmla="*/ 13 w 169"/>
                <a:gd name="T9" fmla="*/ 98 h 108"/>
                <a:gd name="T10" fmla="*/ 164 w 169"/>
                <a:gd name="T11" fmla="*/ 0 h 108"/>
                <a:gd name="T12" fmla="*/ 0 w 169"/>
                <a:gd name="T13" fmla="*/ 11 h 108"/>
                <a:gd name="T14" fmla="*/ 8 w 169"/>
                <a:gd name="T15" fmla="*/ 108 h 108"/>
                <a:gd name="T16" fmla="*/ 169 w 169"/>
                <a:gd name="T17" fmla="*/ 98 h 108"/>
                <a:gd name="T18" fmla="*/ 164 w 169"/>
                <a:gd name="T1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08">
                  <a:moveTo>
                    <a:pt x="13" y="98"/>
                  </a:moveTo>
                  <a:lnTo>
                    <a:pt x="8" y="16"/>
                  </a:lnTo>
                  <a:lnTo>
                    <a:pt x="157" y="8"/>
                  </a:lnTo>
                  <a:lnTo>
                    <a:pt x="162" y="90"/>
                  </a:lnTo>
                  <a:lnTo>
                    <a:pt x="13" y="98"/>
                  </a:lnTo>
                  <a:close/>
                  <a:moveTo>
                    <a:pt x="164" y="0"/>
                  </a:moveTo>
                  <a:lnTo>
                    <a:pt x="0" y="11"/>
                  </a:lnTo>
                  <a:lnTo>
                    <a:pt x="8" y="108"/>
                  </a:lnTo>
                  <a:lnTo>
                    <a:pt x="169" y="98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86E5E17-9627-41B5-B293-0573E678BA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" y="308"/>
              <a:ext cx="187" cy="138"/>
            </a:xfrm>
            <a:custGeom>
              <a:avLst/>
              <a:gdLst>
                <a:gd name="T0" fmla="*/ 4 w 73"/>
                <a:gd name="T1" fmla="*/ 36 h 54"/>
                <a:gd name="T2" fmla="*/ 8 w 73"/>
                <a:gd name="T3" fmla="*/ 34 h 54"/>
                <a:gd name="T4" fmla="*/ 8 w 73"/>
                <a:gd name="T5" fmla="*/ 43 h 54"/>
                <a:gd name="T6" fmla="*/ 4 w 73"/>
                <a:gd name="T7" fmla="*/ 36 h 54"/>
                <a:gd name="T8" fmla="*/ 52 w 73"/>
                <a:gd name="T9" fmla="*/ 4 h 54"/>
                <a:gd name="T10" fmla="*/ 67 w 73"/>
                <a:gd name="T11" fmla="*/ 28 h 54"/>
                <a:gd name="T12" fmla="*/ 61 w 73"/>
                <a:gd name="T13" fmla="*/ 29 h 54"/>
                <a:gd name="T14" fmla="*/ 63 w 73"/>
                <a:gd name="T15" fmla="*/ 26 h 54"/>
                <a:gd name="T16" fmla="*/ 64 w 73"/>
                <a:gd name="T17" fmla="*/ 25 h 54"/>
                <a:gd name="T18" fmla="*/ 55 w 73"/>
                <a:gd name="T19" fmla="*/ 12 h 54"/>
                <a:gd name="T20" fmla="*/ 54 w 73"/>
                <a:gd name="T21" fmla="*/ 13 h 54"/>
                <a:gd name="T22" fmla="*/ 48 w 73"/>
                <a:gd name="T23" fmla="*/ 11 h 54"/>
                <a:gd name="T24" fmla="*/ 47 w 73"/>
                <a:gd name="T25" fmla="*/ 9 h 54"/>
                <a:gd name="T26" fmla="*/ 14 w 73"/>
                <a:gd name="T27" fmla="*/ 32 h 54"/>
                <a:gd name="T28" fmla="*/ 10 w 73"/>
                <a:gd name="T29" fmla="*/ 32 h 54"/>
                <a:gd name="T30" fmla="*/ 52 w 73"/>
                <a:gd name="T31" fmla="*/ 4 h 54"/>
                <a:gd name="T32" fmla="*/ 19 w 73"/>
                <a:gd name="T33" fmla="*/ 31 h 54"/>
                <a:gd name="T34" fmla="*/ 46 w 73"/>
                <a:gd name="T35" fmla="*/ 13 h 54"/>
                <a:gd name="T36" fmla="*/ 54 w 73"/>
                <a:gd name="T37" fmla="*/ 16 h 54"/>
                <a:gd name="T38" fmla="*/ 60 w 73"/>
                <a:gd name="T39" fmla="*/ 24 h 54"/>
                <a:gd name="T40" fmla="*/ 58 w 73"/>
                <a:gd name="T41" fmla="*/ 29 h 54"/>
                <a:gd name="T42" fmla="*/ 46 w 73"/>
                <a:gd name="T43" fmla="*/ 30 h 54"/>
                <a:gd name="T44" fmla="*/ 19 w 73"/>
                <a:gd name="T45" fmla="*/ 31 h 54"/>
                <a:gd name="T46" fmla="*/ 26 w 73"/>
                <a:gd name="T47" fmla="*/ 34 h 54"/>
                <a:gd name="T48" fmla="*/ 62 w 73"/>
                <a:gd name="T49" fmla="*/ 32 h 54"/>
                <a:gd name="T50" fmla="*/ 73 w 73"/>
                <a:gd name="T51" fmla="*/ 31 h 54"/>
                <a:gd name="T52" fmla="*/ 52 w 73"/>
                <a:gd name="T53" fmla="*/ 0 h 54"/>
                <a:gd name="T54" fmla="*/ 0 w 73"/>
                <a:gd name="T55" fmla="*/ 35 h 54"/>
                <a:gd name="T56" fmla="*/ 12 w 73"/>
                <a:gd name="T57" fmla="*/ 54 h 54"/>
                <a:gd name="T58" fmla="*/ 11 w 73"/>
                <a:gd name="T59" fmla="*/ 35 h 54"/>
                <a:gd name="T60" fmla="*/ 26 w 73"/>
                <a:gd name="T61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3" h="54">
                  <a:moveTo>
                    <a:pt x="4" y="36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4" y="36"/>
                  </a:lnTo>
                  <a:close/>
                  <a:moveTo>
                    <a:pt x="52" y="4"/>
                  </a:moveTo>
                  <a:cubicBezTo>
                    <a:pt x="67" y="28"/>
                    <a:pt x="67" y="28"/>
                    <a:pt x="67" y="28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7"/>
                    <a:pt x="62" y="26"/>
                    <a:pt x="63" y="26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2" y="14"/>
                    <a:pt x="49" y="13"/>
                    <a:pt x="48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0" y="32"/>
                    <a:pt x="10" y="32"/>
                    <a:pt x="10" y="32"/>
                  </a:cubicBezTo>
                  <a:lnTo>
                    <a:pt x="52" y="4"/>
                  </a:lnTo>
                  <a:close/>
                  <a:moveTo>
                    <a:pt x="19" y="31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9" y="16"/>
                    <a:pt x="52" y="17"/>
                    <a:pt x="54" y="16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6"/>
                    <a:pt x="58" y="27"/>
                    <a:pt x="58" y="29"/>
                  </a:cubicBezTo>
                  <a:cubicBezTo>
                    <a:pt x="46" y="30"/>
                    <a:pt x="46" y="30"/>
                    <a:pt x="46" y="30"/>
                  </a:cubicBezTo>
                  <a:lnTo>
                    <a:pt x="19" y="31"/>
                  </a:lnTo>
                  <a:close/>
                  <a:moveTo>
                    <a:pt x="26" y="34"/>
                  </a:moveTo>
                  <a:cubicBezTo>
                    <a:pt x="62" y="32"/>
                    <a:pt x="62" y="32"/>
                    <a:pt x="62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1" y="35"/>
                    <a:pt x="11" y="35"/>
                    <a:pt x="11" y="35"/>
                  </a:cubicBezTo>
                  <a:lnTo>
                    <a:pt x="26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43A7F52D-3BF9-4793-8A60-DCA43C3EE1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" y="429"/>
              <a:ext cx="41" cy="41"/>
            </a:xfrm>
            <a:custGeom>
              <a:avLst/>
              <a:gdLst>
                <a:gd name="T0" fmla="*/ 8 w 16"/>
                <a:gd name="T1" fmla="*/ 13 h 16"/>
                <a:gd name="T2" fmla="*/ 3 w 16"/>
                <a:gd name="T3" fmla="*/ 8 h 16"/>
                <a:gd name="T4" fmla="*/ 8 w 16"/>
                <a:gd name="T5" fmla="*/ 2 h 16"/>
                <a:gd name="T6" fmla="*/ 13 w 16"/>
                <a:gd name="T7" fmla="*/ 8 h 16"/>
                <a:gd name="T8" fmla="*/ 8 w 16"/>
                <a:gd name="T9" fmla="*/ 13 h 16"/>
                <a:gd name="T10" fmla="*/ 8 w 16"/>
                <a:gd name="T11" fmla="*/ 0 h 16"/>
                <a:gd name="T12" fmla="*/ 0 w 16"/>
                <a:gd name="T13" fmla="*/ 8 h 16"/>
                <a:gd name="T14" fmla="*/ 8 w 16"/>
                <a:gd name="T15" fmla="*/ 16 h 16"/>
                <a:gd name="T16" fmla="*/ 16 w 16"/>
                <a:gd name="T17" fmla="*/ 8 h 16"/>
                <a:gd name="T18" fmla="*/ 8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3"/>
                  </a:moveTo>
                  <a:cubicBezTo>
                    <a:pt x="5" y="13"/>
                    <a:pt x="3" y="11"/>
                    <a:pt x="3" y="8"/>
                  </a:cubicBezTo>
                  <a:cubicBezTo>
                    <a:pt x="3" y="5"/>
                    <a:pt x="5" y="2"/>
                    <a:pt x="8" y="2"/>
                  </a:cubicBezTo>
                  <a:cubicBezTo>
                    <a:pt x="11" y="2"/>
                    <a:pt x="13" y="5"/>
                    <a:pt x="13" y="8"/>
                  </a:cubicBezTo>
                  <a:cubicBezTo>
                    <a:pt x="13" y="11"/>
                    <a:pt x="11" y="13"/>
                    <a:pt x="8" y="13"/>
                  </a:cubicBezTo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3"/>
                    <a:pt x="12" y="0"/>
                    <a:pt x="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14">
            <a:extLst>
              <a:ext uri="{FF2B5EF4-FFF2-40B4-BE49-F238E27FC236}">
                <a16:creationId xmlns:a16="http://schemas.microsoft.com/office/drawing/2014/main" id="{310BE957-CBB1-423D-942F-76B56CFB22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4416" y="304801"/>
            <a:ext cx="758825" cy="758825"/>
            <a:chOff x="873" y="295"/>
            <a:chExt cx="478" cy="478"/>
          </a:xfrm>
        </p:grpSpPr>
        <p:sp>
          <p:nvSpPr>
            <p:cNvPr id="17" name="AutoShape 13">
              <a:extLst>
                <a:ext uri="{FF2B5EF4-FFF2-40B4-BE49-F238E27FC236}">
                  <a16:creationId xmlns:a16="http://schemas.microsoft.com/office/drawing/2014/main" id="{56C3B943-6999-4C75-B640-A1AAA1B426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3" y="29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A1EC2E85-038A-4947-95B8-15840C3CF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5" y="29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52AA60ED-C3A4-4F81-BB8F-498308209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" y="467"/>
              <a:ext cx="169" cy="174"/>
            </a:xfrm>
            <a:custGeom>
              <a:avLst/>
              <a:gdLst>
                <a:gd name="T0" fmla="*/ 42 w 69"/>
                <a:gd name="T1" fmla="*/ 45 h 71"/>
                <a:gd name="T2" fmla="*/ 45 w 69"/>
                <a:gd name="T3" fmla="*/ 61 h 71"/>
                <a:gd name="T4" fmla="*/ 61 w 69"/>
                <a:gd name="T5" fmla="*/ 66 h 71"/>
                <a:gd name="T6" fmla="*/ 5 w 69"/>
                <a:gd name="T7" fmla="*/ 68 h 71"/>
                <a:gd name="T8" fmla="*/ 3 w 69"/>
                <a:gd name="T9" fmla="*/ 28 h 71"/>
                <a:gd name="T10" fmla="*/ 14 w 69"/>
                <a:gd name="T11" fmla="*/ 26 h 71"/>
                <a:gd name="T12" fmla="*/ 6 w 69"/>
                <a:gd name="T13" fmla="*/ 31 h 71"/>
                <a:gd name="T14" fmla="*/ 61 w 69"/>
                <a:gd name="T15" fmla="*/ 34 h 71"/>
                <a:gd name="T16" fmla="*/ 45 w 69"/>
                <a:gd name="T17" fmla="*/ 41 h 71"/>
                <a:gd name="T18" fmla="*/ 66 w 69"/>
                <a:gd name="T19" fmla="*/ 58 h 71"/>
                <a:gd name="T20" fmla="*/ 45 w 69"/>
                <a:gd name="T21" fmla="*/ 58 h 71"/>
                <a:gd name="T22" fmla="*/ 45 w 69"/>
                <a:gd name="T23" fmla="*/ 45 h 71"/>
                <a:gd name="T24" fmla="*/ 66 w 69"/>
                <a:gd name="T25" fmla="*/ 44 h 71"/>
                <a:gd name="T26" fmla="*/ 53 w 69"/>
                <a:gd name="T27" fmla="*/ 31 h 71"/>
                <a:gd name="T28" fmla="*/ 37 w 69"/>
                <a:gd name="T29" fmla="*/ 14 h 71"/>
                <a:gd name="T30" fmla="*/ 54 w 69"/>
                <a:gd name="T31" fmla="*/ 25 h 71"/>
                <a:gd name="T32" fmla="*/ 53 w 69"/>
                <a:gd name="T33" fmla="*/ 31 h 71"/>
                <a:gd name="T34" fmla="*/ 65 w 69"/>
                <a:gd name="T35" fmla="*/ 27 h 71"/>
                <a:gd name="T36" fmla="*/ 56 w 69"/>
                <a:gd name="T37" fmla="*/ 31 h 71"/>
                <a:gd name="T38" fmla="*/ 57 w 69"/>
                <a:gd name="T39" fmla="*/ 25 h 71"/>
                <a:gd name="T40" fmla="*/ 44 w 69"/>
                <a:gd name="T41" fmla="*/ 11 h 71"/>
                <a:gd name="T42" fmla="*/ 38 w 69"/>
                <a:gd name="T43" fmla="*/ 11 h 71"/>
                <a:gd name="T44" fmla="*/ 17 w 69"/>
                <a:gd name="T45" fmla="*/ 31 h 71"/>
                <a:gd name="T46" fmla="*/ 41 w 69"/>
                <a:gd name="T47" fmla="*/ 4 h 71"/>
                <a:gd name="T48" fmla="*/ 41 w 69"/>
                <a:gd name="T49" fmla="*/ 0 h 71"/>
                <a:gd name="T50" fmla="*/ 5 w 69"/>
                <a:gd name="T51" fmla="*/ 23 h 71"/>
                <a:gd name="T52" fmla="*/ 0 w 69"/>
                <a:gd name="T53" fmla="*/ 66 h 71"/>
                <a:gd name="T54" fmla="*/ 58 w 69"/>
                <a:gd name="T55" fmla="*/ 71 h 71"/>
                <a:gd name="T56" fmla="*/ 63 w 69"/>
                <a:gd name="T57" fmla="*/ 61 h 71"/>
                <a:gd name="T58" fmla="*/ 69 w 69"/>
                <a:gd name="T59" fmla="*/ 58 h 71"/>
                <a:gd name="T60" fmla="*/ 66 w 69"/>
                <a:gd name="T61" fmla="*/ 41 h 71"/>
                <a:gd name="T62" fmla="*/ 63 w 69"/>
                <a:gd name="T63" fmla="*/ 3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" h="71">
                  <a:moveTo>
                    <a:pt x="45" y="41"/>
                  </a:moveTo>
                  <a:cubicBezTo>
                    <a:pt x="43" y="41"/>
                    <a:pt x="42" y="43"/>
                    <a:pt x="42" y="45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0"/>
                    <a:pt x="43" y="61"/>
                    <a:pt x="45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59" y="68"/>
                    <a:pt x="58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3" y="67"/>
                    <a:pt x="3" y="6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4" y="26"/>
                    <a:pt x="5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41"/>
                    <a:pt x="61" y="41"/>
                    <a:pt x="61" y="41"/>
                  </a:cubicBezTo>
                  <a:lnTo>
                    <a:pt x="45" y="41"/>
                  </a:lnTo>
                  <a:close/>
                  <a:moveTo>
                    <a:pt x="66" y="45"/>
                  </a:move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5"/>
                  </a:cubicBezTo>
                  <a:moveTo>
                    <a:pt x="53" y="31"/>
                  </a:moveTo>
                  <a:cubicBezTo>
                    <a:pt x="21" y="31"/>
                    <a:pt x="21" y="31"/>
                    <a:pt x="21" y="3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9" y="15"/>
                    <a:pt x="42" y="15"/>
                    <a:pt x="44" y="14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3" y="26"/>
                    <a:pt x="53" y="28"/>
                    <a:pt x="53" y="30"/>
                  </a:cubicBezTo>
                  <a:cubicBezTo>
                    <a:pt x="53" y="30"/>
                    <a:pt x="53" y="31"/>
                    <a:pt x="53" y="31"/>
                  </a:cubicBezTo>
                  <a:moveTo>
                    <a:pt x="41" y="4"/>
                  </a:moveTo>
                  <a:cubicBezTo>
                    <a:pt x="65" y="27"/>
                    <a:pt x="65" y="27"/>
                    <a:pt x="65" y="27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28"/>
                    <a:pt x="56" y="27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2" y="12"/>
                    <a:pt x="39" y="12"/>
                    <a:pt x="38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3" y="31"/>
                    <a:pt x="13" y="31"/>
                    <a:pt x="13" y="31"/>
                  </a:cubicBezTo>
                  <a:lnTo>
                    <a:pt x="41" y="4"/>
                  </a:lnTo>
                  <a:close/>
                  <a:moveTo>
                    <a:pt x="69" y="27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3" y="23"/>
                    <a:pt x="0" y="25"/>
                    <a:pt x="0" y="28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9"/>
                    <a:pt x="3" y="71"/>
                    <a:pt x="5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61" y="71"/>
                    <a:pt x="63" y="69"/>
                    <a:pt x="63" y="66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7" y="61"/>
                    <a:pt x="69" y="60"/>
                    <a:pt x="69" y="58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3"/>
                    <a:pt x="67" y="41"/>
                    <a:pt x="66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3" y="33"/>
                    <a:pt x="63" y="33"/>
                    <a:pt x="63" y="33"/>
                  </a:cubicBezTo>
                  <a:lnTo>
                    <a:pt x="69" y="2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0B8C78A6-58DF-4F5C-9A53-51B29F6BF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5" y="491"/>
              <a:ext cx="138" cy="76"/>
            </a:xfrm>
            <a:custGeom>
              <a:avLst/>
              <a:gdLst>
                <a:gd name="T0" fmla="*/ 50 w 56"/>
                <a:gd name="T1" fmla="*/ 22 h 31"/>
                <a:gd name="T2" fmla="*/ 48 w 56"/>
                <a:gd name="T3" fmla="*/ 26 h 31"/>
                <a:gd name="T4" fmla="*/ 9 w 56"/>
                <a:gd name="T5" fmla="*/ 28 h 31"/>
                <a:gd name="T6" fmla="*/ 7 w 56"/>
                <a:gd name="T7" fmla="*/ 24 h 31"/>
                <a:gd name="T8" fmla="*/ 4 w 56"/>
                <a:gd name="T9" fmla="*/ 22 h 31"/>
                <a:gd name="T10" fmla="*/ 3 w 56"/>
                <a:gd name="T11" fmla="*/ 12 h 31"/>
                <a:gd name="T12" fmla="*/ 8 w 56"/>
                <a:gd name="T13" fmla="*/ 5 h 31"/>
                <a:gd name="T14" fmla="*/ 47 w 56"/>
                <a:gd name="T15" fmla="*/ 3 h 31"/>
                <a:gd name="T16" fmla="*/ 49 w 56"/>
                <a:gd name="T17" fmla="*/ 7 h 31"/>
                <a:gd name="T18" fmla="*/ 52 w 56"/>
                <a:gd name="T19" fmla="*/ 9 h 31"/>
                <a:gd name="T20" fmla="*/ 53 w 56"/>
                <a:gd name="T21" fmla="*/ 19 h 31"/>
                <a:gd name="T22" fmla="*/ 50 w 56"/>
                <a:gd name="T23" fmla="*/ 22 h 31"/>
                <a:gd name="T24" fmla="*/ 54 w 56"/>
                <a:gd name="T25" fmla="*/ 6 h 31"/>
                <a:gd name="T26" fmla="*/ 51 w 56"/>
                <a:gd name="T27" fmla="*/ 5 h 31"/>
                <a:gd name="T28" fmla="*/ 50 w 56"/>
                <a:gd name="T29" fmla="*/ 1 h 31"/>
                <a:gd name="T30" fmla="*/ 50 w 56"/>
                <a:gd name="T31" fmla="*/ 0 h 31"/>
                <a:gd name="T32" fmla="*/ 5 w 56"/>
                <a:gd name="T33" fmla="*/ 3 h 31"/>
                <a:gd name="T34" fmla="*/ 5 w 56"/>
                <a:gd name="T35" fmla="*/ 4 h 31"/>
                <a:gd name="T36" fmla="*/ 2 w 56"/>
                <a:gd name="T37" fmla="*/ 9 h 31"/>
                <a:gd name="T38" fmla="*/ 0 w 56"/>
                <a:gd name="T39" fmla="*/ 10 h 31"/>
                <a:gd name="T40" fmla="*/ 1 w 56"/>
                <a:gd name="T41" fmla="*/ 25 h 31"/>
                <a:gd name="T42" fmla="*/ 3 w 56"/>
                <a:gd name="T43" fmla="*/ 25 h 31"/>
                <a:gd name="T44" fmla="*/ 5 w 56"/>
                <a:gd name="T45" fmla="*/ 26 h 31"/>
                <a:gd name="T46" fmla="*/ 7 w 56"/>
                <a:gd name="T47" fmla="*/ 30 h 31"/>
                <a:gd name="T48" fmla="*/ 7 w 56"/>
                <a:gd name="T49" fmla="*/ 31 h 31"/>
                <a:gd name="T50" fmla="*/ 51 w 56"/>
                <a:gd name="T51" fmla="*/ 29 h 31"/>
                <a:gd name="T52" fmla="*/ 51 w 56"/>
                <a:gd name="T53" fmla="*/ 27 h 31"/>
                <a:gd name="T54" fmla="*/ 52 w 56"/>
                <a:gd name="T55" fmla="*/ 23 h 31"/>
                <a:gd name="T56" fmla="*/ 55 w 56"/>
                <a:gd name="T57" fmla="*/ 22 h 31"/>
                <a:gd name="T58" fmla="*/ 56 w 56"/>
                <a:gd name="T59" fmla="*/ 22 h 31"/>
                <a:gd name="T60" fmla="*/ 55 w 56"/>
                <a:gd name="T61" fmla="*/ 6 h 31"/>
                <a:gd name="T62" fmla="*/ 54 w 56"/>
                <a:gd name="T63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" h="31">
                  <a:moveTo>
                    <a:pt x="50" y="22"/>
                  </a:moveTo>
                  <a:cubicBezTo>
                    <a:pt x="49" y="23"/>
                    <a:pt x="49" y="24"/>
                    <a:pt x="48" y="26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7"/>
                    <a:pt x="8" y="25"/>
                    <a:pt x="7" y="24"/>
                  </a:cubicBezTo>
                  <a:cubicBezTo>
                    <a:pt x="6" y="23"/>
                    <a:pt x="5" y="23"/>
                    <a:pt x="4" y="2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1"/>
                    <a:pt x="8" y="9"/>
                    <a:pt x="8" y="5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4"/>
                    <a:pt x="48" y="6"/>
                    <a:pt x="49" y="7"/>
                  </a:cubicBezTo>
                  <a:cubicBezTo>
                    <a:pt x="50" y="8"/>
                    <a:pt x="51" y="9"/>
                    <a:pt x="52" y="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20"/>
                    <a:pt x="51" y="21"/>
                    <a:pt x="50" y="22"/>
                  </a:cubicBezTo>
                  <a:moveTo>
                    <a:pt x="54" y="6"/>
                  </a:moveTo>
                  <a:cubicBezTo>
                    <a:pt x="53" y="6"/>
                    <a:pt x="52" y="6"/>
                    <a:pt x="51" y="5"/>
                  </a:cubicBezTo>
                  <a:cubicBezTo>
                    <a:pt x="50" y="4"/>
                    <a:pt x="50" y="3"/>
                    <a:pt x="50" y="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7"/>
                    <a:pt x="4" y="9"/>
                    <a:pt x="2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5"/>
                    <a:pt x="4" y="26"/>
                    <a:pt x="5" y="26"/>
                  </a:cubicBezTo>
                  <a:cubicBezTo>
                    <a:pt x="6" y="27"/>
                    <a:pt x="7" y="29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6"/>
                    <a:pt x="52" y="24"/>
                    <a:pt x="52" y="23"/>
                  </a:cubicBezTo>
                  <a:cubicBezTo>
                    <a:pt x="53" y="22"/>
                    <a:pt x="54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6"/>
                    <a:pt x="55" y="6"/>
                    <a:pt x="55" y="6"/>
                  </a:cubicBezTo>
                  <a:lnTo>
                    <a:pt x="54" y="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165FC574-428E-4773-9829-9E922BE585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" y="479"/>
              <a:ext cx="162" cy="103"/>
            </a:xfrm>
            <a:custGeom>
              <a:avLst/>
              <a:gdLst>
                <a:gd name="T0" fmla="*/ 12 w 162"/>
                <a:gd name="T1" fmla="*/ 93 h 103"/>
                <a:gd name="T2" fmla="*/ 7 w 162"/>
                <a:gd name="T3" fmla="*/ 15 h 103"/>
                <a:gd name="T4" fmla="*/ 150 w 162"/>
                <a:gd name="T5" fmla="*/ 7 h 103"/>
                <a:gd name="T6" fmla="*/ 154 w 162"/>
                <a:gd name="T7" fmla="*/ 86 h 103"/>
                <a:gd name="T8" fmla="*/ 12 w 162"/>
                <a:gd name="T9" fmla="*/ 93 h 103"/>
                <a:gd name="T10" fmla="*/ 157 w 162"/>
                <a:gd name="T11" fmla="*/ 0 h 103"/>
                <a:gd name="T12" fmla="*/ 0 w 162"/>
                <a:gd name="T13" fmla="*/ 10 h 103"/>
                <a:gd name="T14" fmla="*/ 7 w 162"/>
                <a:gd name="T15" fmla="*/ 103 h 103"/>
                <a:gd name="T16" fmla="*/ 162 w 162"/>
                <a:gd name="T17" fmla="*/ 93 h 103"/>
                <a:gd name="T18" fmla="*/ 157 w 162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03">
                  <a:moveTo>
                    <a:pt x="12" y="93"/>
                  </a:moveTo>
                  <a:lnTo>
                    <a:pt x="7" y="15"/>
                  </a:lnTo>
                  <a:lnTo>
                    <a:pt x="150" y="7"/>
                  </a:lnTo>
                  <a:lnTo>
                    <a:pt x="154" y="86"/>
                  </a:lnTo>
                  <a:lnTo>
                    <a:pt x="12" y="93"/>
                  </a:lnTo>
                  <a:close/>
                  <a:moveTo>
                    <a:pt x="157" y="0"/>
                  </a:moveTo>
                  <a:lnTo>
                    <a:pt x="0" y="10"/>
                  </a:lnTo>
                  <a:lnTo>
                    <a:pt x="7" y="103"/>
                  </a:lnTo>
                  <a:lnTo>
                    <a:pt x="162" y="93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B735F092-C31C-409F-B5DC-5547031404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" y="395"/>
              <a:ext cx="179" cy="133"/>
            </a:xfrm>
            <a:custGeom>
              <a:avLst/>
              <a:gdLst>
                <a:gd name="T0" fmla="*/ 4 w 73"/>
                <a:gd name="T1" fmla="*/ 36 h 54"/>
                <a:gd name="T2" fmla="*/ 8 w 73"/>
                <a:gd name="T3" fmla="*/ 34 h 54"/>
                <a:gd name="T4" fmla="*/ 8 w 73"/>
                <a:gd name="T5" fmla="*/ 43 h 54"/>
                <a:gd name="T6" fmla="*/ 4 w 73"/>
                <a:gd name="T7" fmla="*/ 36 h 54"/>
                <a:gd name="T8" fmla="*/ 52 w 73"/>
                <a:gd name="T9" fmla="*/ 4 h 54"/>
                <a:gd name="T10" fmla="*/ 67 w 73"/>
                <a:gd name="T11" fmla="*/ 28 h 54"/>
                <a:gd name="T12" fmla="*/ 61 w 73"/>
                <a:gd name="T13" fmla="*/ 29 h 54"/>
                <a:gd name="T14" fmla="*/ 63 w 73"/>
                <a:gd name="T15" fmla="*/ 26 h 54"/>
                <a:gd name="T16" fmla="*/ 64 w 73"/>
                <a:gd name="T17" fmla="*/ 25 h 54"/>
                <a:gd name="T18" fmla="*/ 55 w 73"/>
                <a:gd name="T19" fmla="*/ 12 h 54"/>
                <a:gd name="T20" fmla="*/ 54 w 73"/>
                <a:gd name="T21" fmla="*/ 13 h 54"/>
                <a:gd name="T22" fmla="*/ 48 w 73"/>
                <a:gd name="T23" fmla="*/ 11 h 54"/>
                <a:gd name="T24" fmla="*/ 47 w 73"/>
                <a:gd name="T25" fmla="*/ 9 h 54"/>
                <a:gd name="T26" fmla="*/ 14 w 73"/>
                <a:gd name="T27" fmla="*/ 32 h 54"/>
                <a:gd name="T28" fmla="*/ 10 w 73"/>
                <a:gd name="T29" fmla="*/ 32 h 54"/>
                <a:gd name="T30" fmla="*/ 52 w 73"/>
                <a:gd name="T31" fmla="*/ 4 h 54"/>
                <a:gd name="T32" fmla="*/ 19 w 73"/>
                <a:gd name="T33" fmla="*/ 31 h 54"/>
                <a:gd name="T34" fmla="*/ 46 w 73"/>
                <a:gd name="T35" fmla="*/ 13 h 54"/>
                <a:gd name="T36" fmla="*/ 54 w 73"/>
                <a:gd name="T37" fmla="*/ 16 h 54"/>
                <a:gd name="T38" fmla="*/ 60 w 73"/>
                <a:gd name="T39" fmla="*/ 24 h 54"/>
                <a:gd name="T40" fmla="*/ 58 w 73"/>
                <a:gd name="T41" fmla="*/ 29 h 54"/>
                <a:gd name="T42" fmla="*/ 46 w 73"/>
                <a:gd name="T43" fmla="*/ 30 h 54"/>
                <a:gd name="T44" fmla="*/ 19 w 73"/>
                <a:gd name="T45" fmla="*/ 31 h 54"/>
                <a:gd name="T46" fmla="*/ 26 w 73"/>
                <a:gd name="T47" fmla="*/ 34 h 54"/>
                <a:gd name="T48" fmla="*/ 62 w 73"/>
                <a:gd name="T49" fmla="*/ 32 h 54"/>
                <a:gd name="T50" fmla="*/ 73 w 73"/>
                <a:gd name="T51" fmla="*/ 31 h 54"/>
                <a:gd name="T52" fmla="*/ 52 w 73"/>
                <a:gd name="T53" fmla="*/ 0 h 54"/>
                <a:gd name="T54" fmla="*/ 0 w 73"/>
                <a:gd name="T55" fmla="*/ 35 h 54"/>
                <a:gd name="T56" fmla="*/ 12 w 73"/>
                <a:gd name="T57" fmla="*/ 54 h 54"/>
                <a:gd name="T58" fmla="*/ 11 w 73"/>
                <a:gd name="T59" fmla="*/ 35 h 54"/>
                <a:gd name="T60" fmla="*/ 26 w 73"/>
                <a:gd name="T61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3" h="54">
                  <a:moveTo>
                    <a:pt x="4" y="36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4" y="36"/>
                  </a:lnTo>
                  <a:close/>
                  <a:moveTo>
                    <a:pt x="52" y="4"/>
                  </a:moveTo>
                  <a:cubicBezTo>
                    <a:pt x="67" y="28"/>
                    <a:pt x="67" y="28"/>
                    <a:pt x="67" y="28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7"/>
                    <a:pt x="62" y="26"/>
                    <a:pt x="63" y="26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2" y="14"/>
                    <a:pt x="49" y="13"/>
                    <a:pt x="48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0" y="32"/>
                    <a:pt x="10" y="32"/>
                    <a:pt x="10" y="32"/>
                  </a:cubicBezTo>
                  <a:lnTo>
                    <a:pt x="52" y="4"/>
                  </a:lnTo>
                  <a:close/>
                  <a:moveTo>
                    <a:pt x="19" y="31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9" y="16"/>
                    <a:pt x="52" y="17"/>
                    <a:pt x="54" y="16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9" y="26"/>
                    <a:pt x="58" y="27"/>
                    <a:pt x="58" y="29"/>
                  </a:cubicBezTo>
                  <a:cubicBezTo>
                    <a:pt x="46" y="30"/>
                    <a:pt x="46" y="30"/>
                    <a:pt x="46" y="30"/>
                  </a:cubicBezTo>
                  <a:lnTo>
                    <a:pt x="19" y="31"/>
                  </a:lnTo>
                  <a:close/>
                  <a:moveTo>
                    <a:pt x="26" y="34"/>
                  </a:moveTo>
                  <a:cubicBezTo>
                    <a:pt x="62" y="32"/>
                    <a:pt x="62" y="32"/>
                    <a:pt x="62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1" y="35"/>
                    <a:pt x="11" y="35"/>
                    <a:pt x="11" y="35"/>
                  </a:cubicBezTo>
                  <a:lnTo>
                    <a:pt x="26" y="3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2154B06F-5417-4960-9376-ECC98323B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" y="511"/>
              <a:ext cx="39" cy="39"/>
            </a:xfrm>
            <a:custGeom>
              <a:avLst/>
              <a:gdLst>
                <a:gd name="T0" fmla="*/ 8 w 16"/>
                <a:gd name="T1" fmla="*/ 13 h 16"/>
                <a:gd name="T2" fmla="*/ 3 w 16"/>
                <a:gd name="T3" fmla="*/ 8 h 16"/>
                <a:gd name="T4" fmla="*/ 8 w 16"/>
                <a:gd name="T5" fmla="*/ 2 h 16"/>
                <a:gd name="T6" fmla="*/ 13 w 16"/>
                <a:gd name="T7" fmla="*/ 8 h 16"/>
                <a:gd name="T8" fmla="*/ 8 w 16"/>
                <a:gd name="T9" fmla="*/ 13 h 16"/>
                <a:gd name="T10" fmla="*/ 8 w 16"/>
                <a:gd name="T11" fmla="*/ 0 h 16"/>
                <a:gd name="T12" fmla="*/ 0 w 16"/>
                <a:gd name="T13" fmla="*/ 8 h 16"/>
                <a:gd name="T14" fmla="*/ 8 w 16"/>
                <a:gd name="T15" fmla="*/ 16 h 16"/>
                <a:gd name="T16" fmla="*/ 16 w 16"/>
                <a:gd name="T17" fmla="*/ 8 h 16"/>
                <a:gd name="T18" fmla="*/ 8 w 16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3"/>
                  </a:moveTo>
                  <a:cubicBezTo>
                    <a:pt x="5" y="13"/>
                    <a:pt x="3" y="11"/>
                    <a:pt x="3" y="8"/>
                  </a:cubicBezTo>
                  <a:cubicBezTo>
                    <a:pt x="3" y="5"/>
                    <a:pt x="5" y="2"/>
                    <a:pt x="8" y="2"/>
                  </a:cubicBezTo>
                  <a:cubicBezTo>
                    <a:pt x="11" y="2"/>
                    <a:pt x="13" y="5"/>
                    <a:pt x="13" y="8"/>
                  </a:cubicBezTo>
                  <a:cubicBezTo>
                    <a:pt x="13" y="11"/>
                    <a:pt x="11" y="13"/>
                    <a:pt x="8" y="13"/>
                  </a:cubicBezTo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ubicBezTo>
                    <a:pt x="16" y="3"/>
                    <a:pt x="12" y="0"/>
                    <a:pt x="8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4">
            <a:extLst>
              <a:ext uri="{FF2B5EF4-FFF2-40B4-BE49-F238E27FC236}">
                <a16:creationId xmlns:a16="http://schemas.microsoft.com/office/drawing/2014/main" id="{E6D4DAD4-EC83-4347-8C3F-F0E52FE4B3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5234" y="304801"/>
            <a:ext cx="760413" cy="758825"/>
            <a:chOff x="2248" y="245"/>
            <a:chExt cx="479" cy="478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9E59A64C-F47A-42F1-A85B-B4913207B34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48" y="24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D74CA7A5-5366-4B48-B4D4-0952AB5EB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0" y="24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8F24FF93-C402-474F-AB4E-35ABE3F56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8" y="382"/>
              <a:ext cx="145" cy="152"/>
            </a:xfrm>
            <a:custGeom>
              <a:avLst/>
              <a:gdLst>
                <a:gd name="T0" fmla="*/ 17 w 59"/>
                <a:gd name="T1" fmla="*/ 23 h 62"/>
                <a:gd name="T2" fmla="*/ 17 w 59"/>
                <a:gd name="T3" fmla="*/ 18 h 62"/>
                <a:gd name="T4" fmla="*/ 17 w 59"/>
                <a:gd name="T5" fmla="*/ 18 h 62"/>
                <a:gd name="T6" fmla="*/ 18 w 59"/>
                <a:gd name="T7" fmla="*/ 18 h 62"/>
                <a:gd name="T8" fmla="*/ 18 w 59"/>
                <a:gd name="T9" fmla="*/ 18 h 62"/>
                <a:gd name="T10" fmla="*/ 18 w 59"/>
                <a:gd name="T11" fmla="*/ 17 h 62"/>
                <a:gd name="T12" fmla="*/ 18 w 59"/>
                <a:gd name="T13" fmla="*/ 17 h 62"/>
                <a:gd name="T14" fmla="*/ 18 w 59"/>
                <a:gd name="T15" fmla="*/ 17 h 62"/>
                <a:gd name="T16" fmla="*/ 18 w 59"/>
                <a:gd name="T17" fmla="*/ 16 h 62"/>
                <a:gd name="T18" fmla="*/ 21 w 59"/>
                <a:gd name="T19" fmla="*/ 9 h 62"/>
                <a:gd name="T20" fmla="*/ 27 w 59"/>
                <a:gd name="T21" fmla="*/ 11 h 62"/>
                <a:gd name="T22" fmla="*/ 36 w 59"/>
                <a:gd name="T23" fmla="*/ 13 h 62"/>
                <a:gd name="T24" fmla="*/ 41 w 59"/>
                <a:gd name="T25" fmla="*/ 16 h 62"/>
                <a:gd name="T26" fmla="*/ 41 w 59"/>
                <a:gd name="T27" fmla="*/ 17 h 62"/>
                <a:gd name="T28" fmla="*/ 41 w 59"/>
                <a:gd name="T29" fmla="*/ 17 h 62"/>
                <a:gd name="T30" fmla="*/ 41 w 59"/>
                <a:gd name="T31" fmla="*/ 18 h 62"/>
                <a:gd name="T32" fmla="*/ 42 w 59"/>
                <a:gd name="T33" fmla="*/ 18 h 62"/>
                <a:gd name="T34" fmla="*/ 42 w 59"/>
                <a:gd name="T35" fmla="*/ 18 h 62"/>
                <a:gd name="T36" fmla="*/ 42 w 59"/>
                <a:gd name="T37" fmla="*/ 18 h 62"/>
                <a:gd name="T38" fmla="*/ 42 w 59"/>
                <a:gd name="T39" fmla="*/ 23 h 62"/>
                <a:gd name="T40" fmla="*/ 36 w 59"/>
                <a:gd name="T41" fmla="*/ 32 h 62"/>
                <a:gd name="T42" fmla="*/ 36 w 59"/>
                <a:gd name="T43" fmla="*/ 37 h 62"/>
                <a:gd name="T44" fmla="*/ 30 w 59"/>
                <a:gd name="T45" fmla="*/ 45 h 62"/>
                <a:gd name="T46" fmla="*/ 24 w 59"/>
                <a:gd name="T47" fmla="*/ 37 h 62"/>
                <a:gd name="T48" fmla="*/ 24 w 59"/>
                <a:gd name="T49" fmla="*/ 32 h 62"/>
                <a:gd name="T50" fmla="*/ 38 w 59"/>
                <a:gd name="T51" fmla="*/ 6 h 62"/>
                <a:gd name="T52" fmla="*/ 34 w 59"/>
                <a:gd name="T53" fmla="*/ 9 h 62"/>
                <a:gd name="T54" fmla="*/ 27 w 59"/>
                <a:gd name="T55" fmla="*/ 7 h 62"/>
                <a:gd name="T56" fmla="*/ 30 w 59"/>
                <a:gd name="T57" fmla="*/ 3 h 62"/>
                <a:gd name="T58" fmla="*/ 57 w 59"/>
                <a:gd name="T59" fmla="*/ 49 h 62"/>
                <a:gd name="T60" fmla="*/ 48 w 59"/>
                <a:gd name="T61" fmla="*/ 40 h 62"/>
                <a:gd name="T62" fmla="*/ 39 w 59"/>
                <a:gd name="T63" fmla="*/ 37 h 62"/>
                <a:gd name="T64" fmla="*/ 44 w 59"/>
                <a:gd name="T65" fmla="*/ 26 h 62"/>
                <a:gd name="T66" fmla="*/ 44 w 59"/>
                <a:gd name="T67" fmla="*/ 15 h 62"/>
                <a:gd name="T68" fmla="*/ 43 w 59"/>
                <a:gd name="T69" fmla="*/ 9 h 62"/>
                <a:gd name="T70" fmla="*/ 30 w 59"/>
                <a:gd name="T71" fmla="*/ 0 h 62"/>
                <a:gd name="T72" fmla="*/ 16 w 59"/>
                <a:gd name="T73" fmla="*/ 9 h 62"/>
                <a:gd name="T74" fmla="*/ 15 w 59"/>
                <a:gd name="T75" fmla="*/ 15 h 62"/>
                <a:gd name="T76" fmla="*/ 16 w 59"/>
                <a:gd name="T77" fmla="*/ 26 h 62"/>
                <a:gd name="T78" fmla="*/ 20 w 59"/>
                <a:gd name="T79" fmla="*/ 37 h 62"/>
                <a:gd name="T80" fmla="*/ 11 w 59"/>
                <a:gd name="T81" fmla="*/ 40 h 62"/>
                <a:gd name="T82" fmla="*/ 3 w 59"/>
                <a:gd name="T83" fmla="*/ 49 h 62"/>
                <a:gd name="T84" fmla="*/ 2 w 59"/>
                <a:gd name="T85" fmla="*/ 62 h 62"/>
                <a:gd name="T86" fmla="*/ 4 w 59"/>
                <a:gd name="T87" fmla="*/ 60 h 62"/>
                <a:gd name="T88" fmla="*/ 9 w 59"/>
                <a:gd name="T89" fmla="*/ 45 h 62"/>
                <a:gd name="T90" fmla="*/ 21 w 59"/>
                <a:gd name="T91" fmla="*/ 41 h 62"/>
                <a:gd name="T92" fmla="*/ 28 w 59"/>
                <a:gd name="T93" fmla="*/ 53 h 62"/>
                <a:gd name="T94" fmla="*/ 31 w 59"/>
                <a:gd name="T95" fmla="*/ 53 h 62"/>
                <a:gd name="T96" fmla="*/ 39 w 59"/>
                <a:gd name="T97" fmla="*/ 41 h 62"/>
                <a:gd name="T98" fmla="*/ 48 w 59"/>
                <a:gd name="T99" fmla="*/ 43 h 62"/>
                <a:gd name="T100" fmla="*/ 53 w 59"/>
                <a:gd name="T101" fmla="*/ 50 h 62"/>
                <a:gd name="T102" fmla="*/ 57 w 59"/>
                <a:gd name="T103" fmla="*/ 62 h 62"/>
                <a:gd name="T104" fmla="*/ 59 w 59"/>
                <a:gd name="T105" fmla="*/ 6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" h="62">
                  <a:moveTo>
                    <a:pt x="19" y="25"/>
                  </a:moveTo>
                  <a:cubicBezTo>
                    <a:pt x="19" y="24"/>
                    <a:pt x="18" y="23"/>
                    <a:pt x="17" y="23"/>
                  </a:cubicBezTo>
                  <a:cubicBezTo>
                    <a:pt x="17" y="23"/>
                    <a:pt x="16" y="22"/>
                    <a:pt x="16" y="21"/>
                  </a:cubicBezTo>
                  <a:cubicBezTo>
                    <a:pt x="16" y="19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4"/>
                    <a:pt x="19" y="11"/>
                  </a:cubicBezTo>
                  <a:cubicBezTo>
                    <a:pt x="20" y="10"/>
                    <a:pt x="20" y="9"/>
                    <a:pt x="21" y="9"/>
                  </a:cubicBezTo>
                  <a:cubicBezTo>
                    <a:pt x="22" y="9"/>
                    <a:pt x="24" y="9"/>
                    <a:pt x="25" y="10"/>
                  </a:cubicBezTo>
                  <a:cubicBezTo>
                    <a:pt x="26" y="10"/>
                    <a:pt x="26" y="10"/>
                    <a:pt x="27" y="11"/>
                  </a:cubicBezTo>
                  <a:cubicBezTo>
                    <a:pt x="29" y="12"/>
                    <a:pt x="31" y="13"/>
                    <a:pt x="34" y="13"/>
                  </a:cubicBezTo>
                  <a:cubicBezTo>
                    <a:pt x="34" y="13"/>
                    <a:pt x="35" y="13"/>
                    <a:pt x="36" y="13"/>
                  </a:cubicBezTo>
                  <a:cubicBezTo>
                    <a:pt x="38" y="13"/>
                    <a:pt x="39" y="13"/>
                    <a:pt x="41" y="12"/>
                  </a:cubicBezTo>
                  <a:cubicBezTo>
                    <a:pt x="41" y="15"/>
                    <a:pt x="41" y="16"/>
                    <a:pt x="41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3" y="18"/>
                    <a:pt x="43" y="19"/>
                    <a:pt x="43" y="21"/>
                  </a:cubicBezTo>
                  <a:cubicBezTo>
                    <a:pt x="43" y="22"/>
                    <a:pt x="43" y="23"/>
                    <a:pt x="42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0" y="28"/>
                    <a:pt x="38" y="30"/>
                    <a:pt x="36" y="32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1" y="30"/>
                    <a:pt x="20" y="28"/>
                    <a:pt x="19" y="25"/>
                  </a:cubicBezTo>
                  <a:moveTo>
                    <a:pt x="38" y="6"/>
                  </a:moveTo>
                  <a:cubicBezTo>
                    <a:pt x="38" y="7"/>
                    <a:pt x="39" y="8"/>
                    <a:pt x="40" y="9"/>
                  </a:cubicBezTo>
                  <a:cubicBezTo>
                    <a:pt x="38" y="10"/>
                    <a:pt x="36" y="10"/>
                    <a:pt x="34" y="9"/>
                  </a:cubicBezTo>
                  <a:cubicBezTo>
                    <a:pt x="32" y="9"/>
                    <a:pt x="30" y="8"/>
                    <a:pt x="29" y="8"/>
                  </a:cubicBezTo>
                  <a:cubicBezTo>
                    <a:pt x="28" y="7"/>
                    <a:pt x="27" y="7"/>
                    <a:pt x="27" y="7"/>
                  </a:cubicBezTo>
                  <a:cubicBezTo>
                    <a:pt x="25" y="6"/>
                    <a:pt x="24" y="6"/>
                    <a:pt x="22" y="6"/>
                  </a:cubicBezTo>
                  <a:cubicBezTo>
                    <a:pt x="24" y="4"/>
                    <a:pt x="27" y="3"/>
                    <a:pt x="30" y="3"/>
                  </a:cubicBezTo>
                  <a:cubicBezTo>
                    <a:pt x="33" y="3"/>
                    <a:pt x="36" y="4"/>
                    <a:pt x="38" y="6"/>
                  </a:cubicBezTo>
                  <a:moveTo>
                    <a:pt x="57" y="49"/>
                  </a:moveTo>
                  <a:cubicBezTo>
                    <a:pt x="56" y="46"/>
                    <a:pt x="55" y="44"/>
                    <a:pt x="53" y="42"/>
                  </a:cubicBezTo>
                  <a:cubicBezTo>
                    <a:pt x="51" y="41"/>
                    <a:pt x="50" y="40"/>
                    <a:pt x="48" y="40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2"/>
                    <a:pt x="43" y="29"/>
                    <a:pt x="44" y="26"/>
                  </a:cubicBezTo>
                  <a:cubicBezTo>
                    <a:pt x="46" y="26"/>
                    <a:pt x="47" y="23"/>
                    <a:pt x="47" y="21"/>
                  </a:cubicBezTo>
                  <a:cubicBezTo>
                    <a:pt x="47" y="18"/>
                    <a:pt x="46" y="16"/>
                    <a:pt x="44" y="15"/>
                  </a:cubicBezTo>
                  <a:cubicBezTo>
                    <a:pt x="44" y="14"/>
                    <a:pt x="44" y="12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7"/>
                    <a:pt x="42" y="5"/>
                    <a:pt x="40" y="4"/>
                  </a:cubicBezTo>
                  <a:cubicBezTo>
                    <a:pt x="37" y="1"/>
                    <a:pt x="34" y="0"/>
                    <a:pt x="30" y="0"/>
                  </a:cubicBezTo>
                  <a:cubicBezTo>
                    <a:pt x="25" y="0"/>
                    <a:pt x="22" y="1"/>
                    <a:pt x="19" y="4"/>
                  </a:cubicBezTo>
                  <a:cubicBezTo>
                    <a:pt x="18" y="5"/>
                    <a:pt x="17" y="7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2"/>
                    <a:pt x="15" y="14"/>
                    <a:pt x="15" y="15"/>
                  </a:cubicBezTo>
                  <a:cubicBezTo>
                    <a:pt x="14" y="16"/>
                    <a:pt x="13" y="18"/>
                    <a:pt x="13" y="21"/>
                  </a:cubicBezTo>
                  <a:cubicBezTo>
                    <a:pt x="13" y="23"/>
                    <a:pt x="14" y="26"/>
                    <a:pt x="16" y="26"/>
                  </a:cubicBezTo>
                  <a:cubicBezTo>
                    <a:pt x="17" y="29"/>
                    <a:pt x="18" y="32"/>
                    <a:pt x="21" y="3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0"/>
                    <a:pt x="8" y="41"/>
                    <a:pt x="7" y="42"/>
                  </a:cubicBezTo>
                  <a:cubicBezTo>
                    <a:pt x="5" y="44"/>
                    <a:pt x="3" y="46"/>
                    <a:pt x="3" y="4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3" y="62"/>
                    <a:pt x="4" y="61"/>
                    <a:pt x="4" y="6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8"/>
                    <a:pt x="7" y="46"/>
                    <a:pt x="9" y="45"/>
                  </a:cubicBezTo>
                  <a:cubicBezTo>
                    <a:pt x="10" y="44"/>
                    <a:pt x="11" y="43"/>
                    <a:pt x="12" y="43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4"/>
                    <a:pt x="29" y="55"/>
                    <a:pt x="30" y="55"/>
                  </a:cubicBezTo>
                  <a:cubicBezTo>
                    <a:pt x="31" y="55"/>
                    <a:pt x="31" y="54"/>
                    <a:pt x="31" y="53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9" y="44"/>
                    <a:pt x="50" y="45"/>
                  </a:cubicBezTo>
                  <a:cubicBezTo>
                    <a:pt x="52" y="46"/>
                    <a:pt x="53" y="48"/>
                    <a:pt x="53" y="5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1"/>
                    <a:pt x="57" y="62"/>
                    <a:pt x="57" y="62"/>
                  </a:cubicBezTo>
                  <a:cubicBezTo>
                    <a:pt x="57" y="62"/>
                    <a:pt x="58" y="62"/>
                    <a:pt x="58" y="62"/>
                  </a:cubicBezTo>
                  <a:cubicBezTo>
                    <a:pt x="59" y="62"/>
                    <a:pt x="59" y="61"/>
                    <a:pt x="59" y="60"/>
                  </a:cubicBezTo>
                  <a:lnTo>
                    <a:pt x="57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6CA9DF6-DEE6-45B8-BA7E-27C97BA9C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1" y="336"/>
              <a:ext cx="261" cy="260"/>
            </a:xfrm>
            <a:custGeom>
              <a:avLst/>
              <a:gdLst>
                <a:gd name="T0" fmla="*/ 53 w 106"/>
                <a:gd name="T1" fmla="*/ 103 h 106"/>
                <a:gd name="T2" fmla="*/ 3 w 106"/>
                <a:gd name="T3" fmla="*/ 53 h 106"/>
                <a:gd name="T4" fmla="*/ 53 w 106"/>
                <a:gd name="T5" fmla="*/ 3 h 106"/>
                <a:gd name="T6" fmla="*/ 102 w 106"/>
                <a:gd name="T7" fmla="*/ 53 h 106"/>
                <a:gd name="T8" fmla="*/ 53 w 106"/>
                <a:gd name="T9" fmla="*/ 103 h 106"/>
                <a:gd name="T10" fmla="*/ 106 w 106"/>
                <a:gd name="T11" fmla="*/ 53 h 106"/>
                <a:gd name="T12" fmla="*/ 53 w 106"/>
                <a:gd name="T13" fmla="*/ 0 h 106"/>
                <a:gd name="T14" fmla="*/ 0 w 106"/>
                <a:gd name="T15" fmla="*/ 53 h 106"/>
                <a:gd name="T16" fmla="*/ 53 w 106"/>
                <a:gd name="T17" fmla="*/ 106 h 106"/>
                <a:gd name="T18" fmla="*/ 106 w 106"/>
                <a:gd name="T19" fmla="*/ 5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3"/>
                  </a:moveTo>
                  <a:cubicBezTo>
                    <a:pt x="25" y="103"/>
                    <a:pt x="3" y="80"/>
                    <a:pt x="3" y="53"/>
                  </a:cubicBezTo>
                  <a:cubicBezTo>
                    <a:pt x="3" y="26"/>
                    <a:pt x="25" y="3"/>
                    <a:pt x="53" y="3"/>
                  </a:cubicBezTo>
                  <a:cubicBezTo>
                    <a:pt x="80" y="3"/>
                    <a:pt x="102" y="26"/>
                    <a:pt x="102" y="53"/>
                  </a:cubicBezTo>
                  <a:cubicBezTo>
                    <a:pt x="102" y="80"/>
                    <a:pt x="80" y="103"/>
                    <a:pt x="53" y="103"/>
                  </a:cubicBezTo>
                  <a:moveTo>
                    <a:pt x="106" y="53"/>
                  </a:moveTo>
                  <a:cubicBezTo>
                    <a:pt x="106" y="24"/>
                    <a:pt x="82" y="0"/>
                    <a:pt x="53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6"/>
                    <a:pt x="53" y="106"/>
                  </a:cubicBezTo>
                  <a:cubicBezTo>
                    <a:pt x="82" y="106"/>
                    <a:pt x="106" y="82"/>
                    <a:pt x="106" y="5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DD5B6DFE-FC61-400C-8D07-2E35ED3096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8" y="512"/>
              <a:ext cx="128" cy="125"/>
            </a:xfrm>
            <a:custGeom>
              <a:avLst/>
              <a:gdLst>
                <a:gd name="T0" fmla="*/ 46 w 52"/>
                <a:gd name="T1" fmla="*/ 46 h 51"/>
                <a:gd name="T2" fmla="*/ 39 w 52"/>
                <a:gd name="T3" fmla="*/ 46 h 51"/>
                <a:gd name="T4" fmla="*/ 21 w 52"/>
                <a:gd name="T5" fmla="*/ 29 h 51"/>
                <a:gd name="T6" fmla="*/ 28 w 52"/>
                <a:gd name="T7" fmla="*/ 22 h 51"/>
                <a:gd name="T8" fmla="*/ 46 w 52"/>
                <a:gd name="T9" fmla="*/ 39 h 51"/>
                <a:gd name="T10" fmla="*/ 46 w 52"/>
                <a:gd name="T11" fmla="*/ 46 h 51"/>
                <a:gd name="T12" fmla="*/ 48 w 52"/>
                <a:gd name="T13" fmla="*/ 37 h 51"/>
                <a:gd name="T14" fmla="*/ 31 w 52"/>
                <a:gd name="T15" fmla="*/ 19 h 51"/>
                <a:gd name="T16" fmla="*/ 39 w 52"/>
                <a:gd name="T17" fmla="*/ 3 h 51"/>
                <a:gd name="T18" fmla="*/ 38 w 52"/>
                <a:gd name="T19" fmla="*/ 1 h 51"/>
                <a:gd name="T20" fmla="*/ 36 w 52"/>
                <a:gd name="T21" fmla="*/ 2 h 51"/>
                <a:gd name="T22" fmla="*/ 2 w 52"/>
                <a:gd name="T23" fmla="*/ 36 h 51"/>
                <a:gd name="T24" fmla="*/ 0 w 52"/>
                <a:gd name="T25" fmla="*/ 38 h 51"/>
                <a:gd name="T26" fmla="*/ 2 w 52"/>
                <a:gd name="T27" fmla="*/ 40 h 51"/>
                <a:gd name="T28" fmla="*/ 3 w 52"/>
                <a:gd name="T29" fmla="*/ 39 h 51"/>
                <a:gd name="T30" fmla="*/ 19 w 52"/>
                <a:gd name="T31" fmla="*/ 31 h 51"/>
                <a:gd name="T32" fmla="*/ 36 w 52"/>
                <a:gd name="T33" fmla="*/ 49 h 51"/>
                <a:gd name="T34" fmla="*/ 42 w 52"/>
                <a:gd name="T35" fmla="*/ 51 h 51"/>
                <a:gd name="T36" fmla="*/ 48 w 52"/>
                <a:gd name="T37" fmla="*/ 49 h 51"/>
                <a:gd name="T38" fmla="*/ 48 w 52"/>
                <a:gd name="T39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51">
                  <a:moveTo>
                    <a:pt x="46" y="46"/>
                  </a:moveTo>
                  <a:cubicBezTo>
                    <a:pt x="44" y="48"/>
                    <a:pt x="41" y="48"/>
                    <a:pt x="39" y="46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4" y="26"/>
                    <a:pt x="26" y="24"/>
                    <a:pt x="28" y="2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8" y="41"/>
                    <a:pt x="48" y="44"/>
                    <a:pt x="46" y="46"/>
                  </a:cubicBezTo>
                  <a:moveTo>
                    <a:pt x="48" y="37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4" y="14"/>
                    <a:pt x="37" y="9"/>
                    <a:pt x="39" y="3"/>
                  </a:cubicBezTo>
                  <a:cubicBezTo>
                    <a:pt x="39" y="2"/>
                    <a:pt x="39" y="1"/>
                    <a:pt x="38" y="1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0" y="18"/>
                    <a:pt x="18" y="30"/>
                    <a:pt x="2" y="36"/>
                  </a:cubicBezTo>
                  <a:cubicBezTo>
                    <a:pt x="1" y="36"/>
                    <a:pt x="0" y="37"/>
                    <a:pt x="0" y="38"/>
                  </a:cubicBezTo>
                  <a:cubicBezTo>
                    <a:pt x="1" y="39"/>
                    <a:pt x="1" y="40"/>
                    <a:pt x="2" y="40"/>
                  </a:cubicBezTo>
                  <a:cubicBezTo>
                    <a:pt x="2" y="40"/>
                    <a:pt x="2" y="39"/>
                    <a:pt x="3" y="39"/>
                  </a:cubicBezTo>
                  <a:cubicBezTo>
                    <a:pt x="8" y="37"/>
                    <a:pt x="14" y="34"/>
                    <a:pt x="19" y="3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8" y="50"/>
                    <a:pt x="40" y="51"/>
                    <a:pt x="42" y="51"/>
                  </a:cubicBezTo>
                  <a:cubicBezTo>
                    <a:pt x="45" y="51"/>
                    <a:pt x="47" y="50"/>
                    <a:pt x="48" y="49"/>
                  </a:cubicBezTo>
                  <a:cubicBezTo>
                    <a:pt x="52" y="45"/>
                    <a:pt x="52" y="40"/>
                    <a:pt x="48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11">
            <a:extLst>
              <a:ext uri="{FF2B5EF4-FFF2-40B4-BE49-F238E27FC236}">
                <a16:creationId xmlns:a16="http://schemas.microsoft.com/office/drawing/2014/main" id="{9B161A9F-36A3-43A9-9076-AEABFF7D7A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9558" y="263526"/>
            <a:ext cx="842963" cy="841375"/>
            <a:chOff x="1674" y="233"/>
            <a:chExt cx="531" cy="530"/>
          </a:xfrm>
        </p:grpSpPr>
        <p:sp>
          <p:nvSpPr>
            <p:cNvPr id="31" name="AutoShape 10">
              <a:extLst>
                <a:ext uri="{FF2B5EF4-FFF2-40B4-BE49-F238E27FC236}">
                  <a16:creationId xmlns:a16="http://schemas.microsoft.com/office/drawing/2014/main" id="{658AA31B-27E1-49B0-8F0D-466B2FAE7E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74" y="233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12">
              <a:extLst>
                <a:ext uri="{FF2B5EF4-FFF2-40B4-BE49-F238E27FC236}">
                  <a16:creationId xmlns:a16="http://schemas.microsoft.com/office/drawing/2014/main" id="{4702394D-7948-4F97-9BC8-FD24ED55D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" y="233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4D812CAB-C8EF-4A9B-A75D-F98442E22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2" y="251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14B7BBA4-423F-4A51-9C60-4D2DCB5E76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6" y="392"/>
              <a:ext cx="151" cy="158"/>
            </a:xfrm>
            <a:custGeom>
              <a:avLst/>
              <a:gdLst>
                <a:gd name="T0" fmla="*/ 17 w 59"/>
                <a:gd name="T1" fmla="*/ 23 h 62"/>
                <a:gd name="T2" fmla="*/ 17 w 59"/>
                <a:gd name="T3" fmla="*/ 18 h 62"/>
                <a:gd name="T4" fmla="*/ 17 w 59"/>
                <a:gd name="T5" fmla="*/ 18 h 62"/>
                <a:gd name="T6" fmla="*/ 18 w 59"/>
                <a:gd name="T7" fmla="*/ 18 h 62"/>
                <a:gd name="T8" fmla="*/ 18 w 59"/>
                <a:gd name="T9" fmla="*/ 18 h 62"/>
                <a:gd name="T10" fmla="*/ 18 w 59"/>
                <a:gd name="T11" fmla="*/ 17 h 62"/>
                <a:gd name="T12" fmla="*/ 18 w 59"/>
                <a:gd name="T13" fmla="*/ 17 h 62"/>
                <a:gd name="T14" fmla="*/ 18 w 59"/>
                <a:gd name="T15" fmla="*/ 17 h 62"/>
                <a:gd name="T16" fmla="*/ 18 w 59"/>
                <a:gd name="T17" fmla="*/ 16 h 62"/>
                <a:gd name="T18" fmla="*/ 21 w 59"/>
                <a:gd name="T19" fmla="*/ 9 h 62"/>
                <a:gd name="T20" fmla="*/ 27 w 59"/>
                <a:gd name="T21" fmla="*/ 11 h 62"/>
                <a:gd name="T22" fmla="*/ 36 w 59"/>
                <a:gd name="T23" fmla="*/ 13 h 62"/>
                <a:gd name="T24" fmla="*/ 41 w 59"/>
                <a:gd name="T25" fmla="*/ 16 h 62"/>
                <a:gd name="T26" fmla="*/ 41 w 59"/>
                <a:gd name="T27" fmla="*/ 17 h 62"/>
                <a:gd name="T28" fmla="*/ 41 w 59"/>
                <a:gd name="T29" fmla="*/ 17 h 62"/>
                <a:gd name="T30" fmla="*/ 41 w 59"/>
                <a:gd name="T31" fmla="*/ 18 h 62"/>
                <a:gd name="T32" fmla="*/ 42 w 59"/>
                <a:gd name="T33" fmla="*/ 18 h 62"/>
                <a:gd name="T34" fmla="*/ 42 w 59"/>
                <a:gd name="T35" fmla="*/ 18 h 62"/>
                <a:gd name="T36" fmla="*/ 42 w 59"/>
                <a:gd name="T37" fmla="*/ 18 h 62"/>
                <a:gd name="T38" fmla="*/ 42 w 59"/>
                <a:gd name="T39" fmla="*/ 23 h 62"/>
                <a:gd name="T40" fmla="*/ 36 w 59"/>
                <a:gd name="T41" fmla="*/ 32 h 62"/>
                <a:gd name="T42" fmla="*/ 36 w 59"/>
                <a:gd name="T43" fmla="*/ 37 h 62"/>
                <a:gd name="T44" fmla="*/ 30 w 59"/>
                <a:gd name="T45" fmla="*/ 45 h 62"/>
                <a:gd name="T46" fmla="*/ 24 w 59"/>
                <a:gd name="T47" fmla="*/ 37 h 62"/>
                <a:gd name="T48" fmla="*/ 24 w 59"/>
                <a:gd name="T49" fmla="*/ 32 h 62"/>
                <a:gd name="T50" fmla="*/ 38 w 59"/>
                <a:gd name="T51" fmla="*/ 6 h 62"/>
                <a:gd name="T52" fmla="*/ 34 w 59"/>
                <a:gd name="T53" fmla="*/ 9 h 62"/>
                <a:gd name="T54" fmla="*/ 27 w 59"/>
                <a:gd name="T55" fmla="*/ 7 h 62"/>
                <a:gd name="T56" fmla="*/ 30 w 59"/>
                <a:gd name="T57" fmla="*/ 3 h 62"/>
                <a:gd name="T58" fmla="*/ 57 w 59"/>
                <a:gd name="T59" fmla="*/ 49 h 62"/>
                <a:gd name="T60" fmla="*/ 48 w 59"/>
                <a:gd name="T61" fmla="*/ 40 h 62"/>
                <a:gd name="T62" fmla="*/ 39 w 59"/>
                <a:gd name="T63" fmla="*/ 37 h 62"/>
                <a:gd name="T64" fmla="*/ 44 w 59"/>
                <a:gd name="T65" fmla="*/ 26 h 62"/>
                <a:gd name="T66" fmla="*/ 44 w 59"/>
                <a:gd name="T67" fmla="*/ 15 h 62"/>
                <a:gd name="T68" fmla="*/ 43 w 59"/>
                <a:gd name="T69" fmla="*/ 9 h 62"/>
                <a:gd name="T70" fmla="*/ 30 w 59"/>
                <a:gd name="T71" fmla="*/ 0 h 62"/>
                <a:gd name="T72" fmla="*/ 16 w 59"/>
                <a:gd name="T73" fmla="*/ 9 h 62"/>
                <a:gd name="T74" fmla="*/ 15 w 59"/>
                <a:gd name="T75" fmla="*/ 15 h 62"/>
                <a:gd name="T76" fmla="*/ 16 w 59"/>
                <a:gd name="T77" fmla="*/ 26 h 62"/>
                <a:gd name="T78" fmla="*/ 20 w 59"/>
                <a:gd name="T79" fmla="*/ 37 h 62"/>
                <a:gd name="T80" fmla="*/ 11 w 59"/>
                <a:gd name="T81" fmla="*/ 40 h 62"/>
                <a:gd name="T82" fmla="*/ 3 w 59"/>
                <a:gd name="T83" fmla="*/ 49 h 62"/>
                <a:gd name="T84" fmla="*/ 2 w 59"/>
                <a:gd name="T85" fmla="*/ 62 h 62"/>
                <a:gd name="T86" fmla="*/ 4 w 59"/>
                <a:gd name="T87" fmla="*/ 60 h 62"/>
                <a:gd name="T88" fmla="*/ 9 w 59"/>
                <a:gd name="T89" fmla="*/ 45 h 62"/>
                <a:gd name="T90" fmla="*/ 21 w 59"/>
                <a:gd name="T91" fmla="*/ 41 h 62"/>
                <a:gd name="T92" fmla="*/ 28 w 59"/>
                <a:gd name="T93" fmla="*/ 53 h 62"/>
                <a:gd name="T94" fmla="*/ 31 w 59"/>
                <a:gd name="T95" fmla="*/ 53 h 62"/>
                <a:gd name="T96" fmla="*/ 39 w 59"/>
                <a:gd name="T97" fmla="*/ 41 h 62"/>
                <a:gd name="T98" fmla="*/ 48 w 59"/>
                <a:gd name="T99" fmla="*/ 43 h 62"/>
                <a:gd name="T100" fmla="*/ 53 w 59"/>
                <a:gd name="T101" fmla="*/ 50 h 62"/>
                <a:gd name="T102" fmla="*/ 57 w 59"/>
                <a:gd name="T103" fmla="*/ 62 h 62"/>
                <a:gd name="T104" fmla="*/ 59 w 59"/>
                <a:gd name="T105" fmla="*/ 6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" h="62">
                  <a:moveTo>
                    <a:pt x="19" y="25"/>
                  </a:moveTo>
                  <a:cubicBezTo>
                    <a:pt x="19" y="24"/>
                    <a:pt x="18" y="23"/>
                    <a:pt x="17" y="23"/>
                  </a:cubicBezTo>
                  <a:cubicBezTo>
                    <a:pt x="17" y="23"/>
                    <a:pt x="16" y="22"/>
                    <a:pt x="16" y="21"/>
                  </a:cubicBezTo>
                  <a:cubicBezTo>
                    <a:pt x="16" y="19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4"/>
                    <a:pt x="19" y="11"/>
                  </a:cubicBezTo>
                  <a:cubicBezTo>
                    <a:pt x="20" y="10"/>
                    <a:pt x="20" y="9"/>
                    <a:pt x="21" y="9"/>
                  </a:cubicBezTo>
                  <a:cubicBezTo>
                    <a:pt x="22" y="9"/>
                    <a:pt x="24" y="9"/>
                    <a:pt x="25" y="10"/>
                  </a:cubicBezTo>
                  <a:cubicBezTo>
                    <a:pt x="26" y="10"/>
                    <a:pt x="26" y="10"/>
                    <a:pt x="27" y="11"/>
                  </a:cubicBezTo>
                  <a:cubicBezTo>
                    <a:pt x="29" y="12"/>
                    <a:pt x="31" y="13"/>
                    <a:pt x="34" y="13"/>
                  </a:cubicBezTo>
                  <a:cubicBezTo>
                    <a:pt x="34" y="13"/>
                    <a:pt x="35" y="13"/>
                    <a:pt x="36" y="13"/>
                  </a:cubicBezTo>
                  <a:cubicBezTo>
                    <a:pt x="38" y="13"/>
                    <a:pt x="39" y="13"/>
                    <a:pt x="41" y="12"/>
                  </a:cubicBezTo>
                  <a:cubicBezTo>
                    <a:pt x="41" y="15"/>
                    <a:pt x="41" y="16"/>
                    <a:pt x="41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3" y="18"/>
                    <a:pt x="43" y="19"/>
                    <a:pt x="43" y="21"/>
                  </a:cubicBezTo>
                  <a:cubicBezTo>
                    <a:pt x="43" y="22"/>
                    <a:pt x="43" y="23"/>
                    <a:pt x="42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0" y="28"/>
                    <a:pt x="38" y="30"/>
                    <a:pt x="36" y="32"/>
                  </a:cubicBezTo>
                  <a:cubicBezTo>
                    <a:pt x="35" y="32"/>
                    <a:pt x="35" y="33"/>
                    <a:pt x="35" y="34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1" y="30"/>
                    <a:pt x="20" y="28"/>
                    <a:pt x="19" y="25"/>
                  </a:cubicBezTo>
                  <a:moveTo>
                    <a:pt x="38" y="6"/>
                  </a:moveTo>
                  <a:cubicBezTo>
                    <a:pt x="38" y="7"/>
                    <a:pt x="39" y="8"/>
                    <a:pt x="40" y="9"/>
                  </a:cubicBezTo>
                  <a:cubicBezTo>
                    <a:pt x="38" y="10"/>
                    <a:pt x="36" y="10"/>
                    <a:pt x="34" y="9"/>
                  </a:cubicBezTo>
                  <a:cubicBezTo>
                    <a:pt x="32" y="9"/>
                    <a:pt x="30" y="8"/>
                    <a:pt x="29" y="8"/>
                  </a:cubicBezTo>
                  <a:cubicBezTo>
                    <a:pt x="28" y="7"/>
                    <a:pt x="27" y="7"/>
                    <a:pt x="27" y="7"/>
                  </a:cubicBezTo>
                  <a:cubicBezTo>
                    <a:pt x="25" y="6"/>
                    <a:pt x="24" y="6"/>
                    <a:pt x="22" y="6"/>
                  </a:cubicBezTo>
                  <a:cubicBezTo>
                    <a:pt x="24" y="4"/>
                    <a:pt x="27" y="3"/>
                    <a:pt x="30" y="3"/>
                  </a:cubicBezTo>
                  <a:cubicBezTo>
                    <a:pt x="33" y="3"/>
                    <a:pt x="36" y="4"/>
                    <a:pt x="38" y="6"/>
                  </a:cubicBezTo>
                  <a:moveTo>
                    <a:pt x="57" y="49"/>
                  </a:moveTo>
                  <a:cubicBezTo>
                    <a:pt x="56" y="46"/>
                    <a:pt x="55" y="44"/>
                    <a:pt x="53" y="42"/>
                  </a:cubicBezTo>
                  <a:cubicBezTo>
                    <a:pt x="51" y="41"/>
                    <a:pt x="50" y="40"/>
                    <a:pt x="48" y="40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2"/>
                    <a:pt x="43" y="29"/>
                    <a:pt x="44" y="26"/>
                  </a:cubicBezTo>
                  <a:cubicBezTo>
                    <a:pt x="46" y="26"/>
                    <a:pt x="47" y="23"/>
                    <a:pt x="47" y="21"/>
                  </a:cubicBezTo>
                  <a:cubicBezTo>
                    <a:pt x="47" y="18"/>
                    <a:pt x="46" y="16"/>
                    <a:pt x="44" y="15"/>
                  </a:cubicBezTo>
                  <a:cubicBezTo>
                    <a:pt x="44" y="14"/>
                    <a:pt x="44" y="12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7"/>
                    <a:pt x="42" y="5"/>
                    <a:pt x="40" y="4"/>
                  </a:cubicBezTo>
                  <a:cubicBezTo>
                    <a:pt x="37" y="1"/>
                    <a:pt x="34" y="0"/>
                    <a:pt x="30" y="0"/>
                  </a:cubicBezTo>
                  <a:cubicBezTo>
                    <a:pt x="25" y="0"/>
                    <a:pt x="22" y="1"/>
                    <a:pt x="19" y="4"/>
                  </a:cubicBezTo>
                  <a:cubicBezTo>
                    <a:pt x="18" y="5"/>
                    <a:pt x="17" y="7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2"/>
                    <a:pt x="15" y="14"/>
                    <a:pt x="15" y="15"/>
                  </a:cubicBezTo>
                  <a:cubicBezTo>
                    <a:pt x="14" y="16"/>
                    <a:pt x="13" y="18"/>
                    <a:pt x="13" y="21"/>
                  </a:cubicBezTo>
                  <a:cubicBezTo>
                    <a:pt x="13" y="23"/>
                    <a:pt x="14" y="26"/>
                    <a:pt x="16" y="26"/>
                  </a:cubicBezTo>
                  <a:cubicBezTo>
                    <a:pt x="17" y="29"/>
                    <a:pt x="18" y="32"/>
                    <a:pt x="21" y="34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0"/>
                    <a:pt x="8" y="41"/>
                    <a:pt x="7" y="42"/>
                  </a:cubicBezTo>
                  <a:cubicBezTo>
                    <a:pt x="5" y="44"/>
                    <a:pt x="3" y="46"/>
                    <a:pt x="3" y="4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3" y="62"/>
                    <a:pt x="4" y="61"/>
                    <a:pt x="4" y="6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8"/>
                    <a:pt x="7" y="46"/>
                    <a:pt x="9" y="45"/>
                  </a:cubicBezTo>
                  <a:cubicBezTo>
                    <a:pt x="10" y="44"/>
                    <a:pt x="11" y="43"/>
                    <a:pt x="12" y="43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4"/>
                    <a:pt x="29" y="55"/>
                    <a:pt x="30" y="55"/>
                  </a:cubicBezTo>
                  <a:cubicBezTo>
                    <a:pt x="31" y="55"/>
                    <a:pt x="31" y="54"/>
                    <a:pt x="31" y="53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9" y="44"/>
                    <a:pt x="50" y="45"/>
                  </a:cubicBezTo>
                  <a:cubicBezTo>
                    <a:pt x="52" y="46"/>
                    <a:pt x="53" y="48"/>
                    <a:pt x="53" y="5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1"/>
                    <a:pt x="57" y="62"/>
                    <a:pt x="57" y="62"/>
                  </a:cubicBezTo>
                  <a:cubicBezTo>
                    <a:pt x="57" y="62"/>
                    <a:pt x="58" y="62"/>
                    <a:pt x="58" y="62"/>
                  </a:cubicBezTo>
                  <a:cubicBezTo>
                    <a:pt x="59" y="62"/>
                    <a:pt x="59" y="61"/>
                    <a:pt x="59" y="60"/>
                  </a:cubicBezTo>
                  <a:lnTo>
                    <a:pt x="57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76B72398-DB68-46B0-8EC3-18CB019B3C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7" y="343"/>
              <a:ext cx="272" cy="271"/>
            </a:xfrm>
            <a:custGeom>
              <a:avLst/>
              <a:gdLst>
                <a:gd name="T0" fmla="*/ 53 w 106"/>
                <a:gd name="T1" fmla="*/ 103 h 106"/>
                <a:gd name="T2" fmla="*/ 3 w 106"/>
                <a:gd name="T3" fmla="*/ 53 h 106"/>
                <a:gd name="T4" fmla="*/ 53 w 106"/>
                <a:gd name="T5" fmla="*/ 3 h 106"/>
                <a:gd name="T6" fmla="*/ 102 w 106"/>
                <a:gd name="T7" fmla="*/ 53 h 106"/>
                <a:gd name="T8" fmla="*/ 53 w 106"/>
                <a:gd name="T9" fmla="*/ 103 h 106"/>
                <a:gd name="T10" fmla="*/ 106 w 106"/>
                <a:gd name="T11" fmla="*/ 53 h 106"/>
                <a:gd name="T12" fmla="*/ 53 w 106"/>
                <a:gd name="T13" fmla="*/ 0 h 106"/>
                <a:gd name="T14" fmla="*/ 0 w 106"/>
                <a:gd name="T15" fmla="*/ 53 h 106"/>
                <a:gd name="T16" fmla="*/ 53 w 106"/>
                <a:gd name="T17" fmla="*/ 106 h 106"/>
                <a:gd name="T18" fmla="*/ 106 w 106"/>
                <a:gd name="T19" fmla="*/ 5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3"/>
                  </a:moveTo>
                  <a:cubicBezTo>
                    <a:pt x="25" y="103"/>
                    <a:pt x="3" y="80"/>
                    <a:pt x="3" y="53"/>
                  </a:cubicBezTo>
                  <a:cubicBezTo>
                    <a:pt x="3" y="26"/>
                    <a:pt x="25" y="3"/>
                    <a:pt x="53" y="3"/>
                  </a:cubicBezTo>
                  <a:cubicBezTo>
                    <a:pt x="80" y="3"/>
                    <a:pt x="102" y="26"/>
                    <a:pt x="102" y="53"/>
                  </a:cubicBezTo>
                  <a:cubicBezTo>
                    <a:pt x="102" y="80"/>
                    <a:pt x="80" y="103"/>
                    <a:pt x="53" y="103"/>
                  </a:cubicBezTo>
                  <a:moveTo>
                    <a:pt x="106" y="53"/>
                  </a:moveTo>
                  <a:cubicBezTo>
                    <a:pt x="106" y="24"/>
                    <a:pt x="82" y="0"/>
                    <a:pt x="53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6"/>
                    <a:pt x="53" y="106"/>
                  </a:cubicBezTo>
                  <a:cubicBezTo>
                    <a:pt x="82" y="106"/>
                    <a:pt x="106" y="82"/>
                    <a:pt x="106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372FC353-FB84-4DB6-96EB-F304B5C23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1" y="527"/>
              <a:ext cx="134" cy="131"/>
            </a:xfrm>
            <a:custGeom>
              <a:avLst/>
              <a:gdLst>
                <a:gd name="T0" fmla="*/ 46 w 52"/>
                <a:gd name="T1" fmla="*/ 46 h 51"/>
                <a:gd name="T2" fmla="*/ 39 w 52"/>
                <a:gd name="T3" fmla="*/ 46 h 51"/>
                <a:gd name="T4" fmla="*/ 21 w 52"/>
                <a:gd name="T5" fmla="*/ 29 h 51"/>
                <a:gd name="T6" fmla="*/ 28 w 52"/>
                <a:gd name="T7" fmla="*/ 22 h 51"/>
                <a:gd name="T8" fmla="*/ 46 w 52"/>
                <a:gd name="T9" fmla="*/ 39 h 51"/>
                <a:gd name="T10" fmla="*/ 46 w 52"/>
                <a:gd name="T11" fmla="*/ 46 h 51"/>
                <a:gd name="T12" fmla="*/ 48 w 52"/>
                <a:gd name="T13" fmla="*/ 37 h 51"/>
                <a:gd name="T14" fmla="*/ 31 w 52"/>
                <a:gd name="T15" fmla="*/ 19 h 51"/>
                <a:gd name="T16" fmla="*/ 39 w 52"/>
                <a:gd name="T17" fmla="*/ 3 h 51"/>
                <a:gd name="T18" fmla="*/ 38 w 52"/>
                <a:gd name="T19" fmla="*/ 1 h 51"/>
                <a:gd name="T20" fmla="*/ 36 w 52"/>
                <a:gd name="T21" fmla="*/ 2 h 51"/>
                <a:gd name="T22" fmla="*/ 2 w 52"/>
                <a:gd name="T23" fmla="*/ 36 h 51"/>
                <a:gd name="T24" fmla="*/ 0 w 52"/>
                <a:gd name="T25" fmla="*/ 38 h 51"/>
                <a:gd name="T26" fmla="*/ 2 w 52"/>
                <a:gd name="T27" fmla="*/ 40 h 51"/>
                <a:gd name="T28" fmla="*/ 3 w 52"/>
                <a:gd name="T29" fmla="*/ 39 h 51"/>
                <a:gd name="T30" fmla="*/ 19 w 52"/>
                <a:gd name="T31" fmla="*/ 31 h 51"/>
                <a:gd name="T32" fmla="*/ 36 w 52"/>
                <a:gd name="T33" fmla="*/ 49 h 51"/>
                <a:gd name="T34" fmla="*/ 42 w 52"/>
                <a:gd name="T35" fmla="*/ 51 h 51"/>
                <a:gd name="T36" fmla="*/ 48 w 52"/>
                <a:gd name="T37" fmla="*/ 49 h 51"/>
                <a:gd name="T38" fmla="*/ 48 w 52"/>
                <a:gd name="T39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51">
                  <a:moveTo>
                    <a:pt x="46" y="46"/>
                  </a:moveTo>
                  <a:cubicBezTo>
                    <a:pt x="44" y="48"/>
                    <a:pt x="41" y="48"/>
                    <a:pt x="39" y="46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4" y="26"/>
                    <a:pt x="26" y="24"/>
                    <a:pt x="28" y="2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8" y="41"/>
                    <a:pt x="48" y="44"/>
                    <a:pt x="46" y="46"/>
                  </a:cubicBezTo>
                  <a:moveTo>
                    <a:pt x="48" y="37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4" y="14"/>
                    <a:pt x="37" y="9"/>
                    <a:pt x="39" y="3"/>
                  </a:cubicBezTo>
                  <a:cubicBezTo>
                    <a:pt x="39" y="2"/>
                    <a:pt x="39" y="1"/>
                    <a:pt x="38" y="1"/>
                  </a:cubicBezTo>
                  <a:cubicBezTo>
                    <a:pt x="37" y="0"/>
                    <a:pt x="36" y="1"/>
                    <a:pt x="36" y="2"/>
                  </a:cubicBezTo>
                  <a:cubicBezTo>
                    <a:pt x="30" y="18"/>
                    <a:pt x="18" y="30"/>
                    <a:pt x="2" y="36"/>
                  </a:cubicBezTo>
                  <a:cubicBezTo>
                    <a:pt x="1" y="36"/>
                    <a:pt x="0" y="37"/>
                    <a:pt x="0" y="38"/>
                  </a:cubicBezTo>
                  <a:cubicBezTo>
                    <a:pt x="1" y="39"/>
                    <a:pt x="1" y="40"/>
                    <a:pt x="2" y="40"/>
                  </a:cubicBezTo>
                  <a:cubicBezTo>
                    <a:pt x="2" y="40"/>
                    <a:pt x="2" y="39"/>
                    <a:pt x="3" y="39"/>
                  </a:cubicBezTo>
                  <a:cubicBezTo>
                    <a:pt x="8" y="37"/>
                    <a:pt x="14" y="34"/>
                    <a:pt x="19" y="3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8" y="50"/>
                    <a:pt x="40" y="51"/>
                    <a:pt x="42" y="51"/>
                  </a:cubicBezTo>
                  <a:cubicBezTo>
                    <a:pt x="45" y="51"/>
                    <a:pt x="47" y="50"/>
                    <a:pt x="48" y="49"/>
                  </a:cubicBezTo>
                  <a:cubicBezTo>
                    <a:pt x="52" y="45"/>
                    <a:pt x="52" y="40"/>
                    <a:pt x="48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" name="Group 19">
            <a:extLst>
              <a:ext uri="{FF2B5EF4-FFF2-40B4-BE49-F238E27FC236}">
                <a16:creationId xmlns:a16="http://schemas.microsoft.com/office/drawing/2014/main" id="{EA2560F5-23F2-412D-87F6-95A5455837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6000" y="258763"/>
            <a:ext cx="850900" cy="850900"/>
            <a:chOff x="3040" y="163"/>
            <a:chExt cx="536" cy="536"/>
          </a:xfrm>
        </p:grpSpPr>
        <p:sp>
          <p:nvSpPr>
            <p:cNvPr id="46" name="AutoShape 18">
              <a:extLst>
                <a:ext uri="{FF2B5EF4-FFF2-40B4-BE49-F238E27FC236}">
                  <a16:creationId xmlns:a16="http://schemas.microsoft.com/office/drawing/2014/main" id="{C2ACEFC5-5888-45F5-BECD-1583708A8E3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40" y="163"/>
              <a:ext cx="536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C12863D9-E3F4-4DD5-A779-185EC345D2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163"/>
              <a:ext cx="539" cy="53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B1B7616E-635E-4711-B085-A58EF8C23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8" y="181"/>
              <a:ext cx="502" cy="502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2DB9ADA9-B8B3-48E0-A766-5F0B03BDE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0" y="266"/>
              <a:ext cx="259" cy="332"/>
            </a:xfrm>
            <a:custGeom>
              <a:avLst/>
              <a:gdLst>
                <a:gd name="T0" fmla="*/ 92 w 100"/>
                <a:gd name="T1" fmla="*/ 74 h 128"/>
                <a:gd name="T2" fmla="*/ 86 w 100"/>
                <a:gd name="T3" fmla="*/ 68 h 128"/>
                <a:gd name="T4" fmla="*/ 83 w 100"/>
                <a:gd name="T5" fmla="*/ 71 h 128"/>
                <a:gd name="T6" fmla="*/ 58 w 100"/>
                <a:gd name="T7" fmla="*/ 100 h 128"/>
                <a:gd name="T8" fmla="*/ 57 w 100"/>
                <a:gd name="T9" fmla="*/ 102 h 128"/>
                <a:gd name="T10" fmla="*/ 59 w 100"/>
                <a:gd name="T11" fmla="*/ 107 h 128"/>
                <a:gd name="T12" fmla="*/ 61 w 100"/>
                <a:gd name="T13" fmla="*/ 113 h 128"/>
                <a:gd name="T14" fmla="*/ 50 w 100"/>
                <a:gd name="T15" fmla="*/ 124 h 128"/>
                <a:gd name="T16" fmla="*/ 39 w 100"/>
                <a:gd name="T17" fmla="*/ 113 h 128"/>
                <a:gd name="T18" fmla="*/ 42 w 100"/>
                <a:gd name="T19" fmla="*/ 105 h 128"/>
                <a:gd name="T20" fmla="*/ 46 w 100"/>
                <a:gd name="T21" fmla="*/ 95 h 128"/>
                <a:gd name="T22" fmla="*/ 46 w 100"/>
                <a:gd name="T23" fmla="*/ 95 h 128"/>
                <a:gd name="T24" fmla="*/ 46 w 100"/>
                <a:gd name="T25" fmla="*/ 93 h 128"/>
                <a:gd name="T26" fmla="*/ 17 w 100"/>
                <a:gd name="T27" fmla="*/ 56 h 128"/>
                <a:gd name="T28" fmla="*/ 17 w 100"/>
                <a:gd name="T29" fmla="*/ 56 h 128"/>
                <a:gd name="T30" fmla="*/ 14 w 100"/>
                <a:gd name="T31" fmla="*/ 53 h 128"/>
                <a:gd name="T32" fmla="*/ 14 w 100"/>
                <a:gd name="T33" fmla="*/ 53 h 128"/>
                <a:gd name="T34" fmla="*/ 8 w 100"/>
                <a:gd name="T35" fmla="*/ 59 h 128"/>
                <a:gd name="T36" fmla="*/ 5 w 100"/>
                <a:gd name="T37" fmla="*/ 38 h 128"/>
                <a:gd name="T38" fmla="*/ 25 w 100"/>
                <a:gd name="T39" fmla="*/ 41 h 128"/>
                <a:gd name="T40" fmla="*/ 20 w 100"/>
                <a:gd name="T41" fmla="*/ 47 h 128"/>
                <a:gd name="T42" fmla="*/ 22 w 100"/>
                <a:gd name="T43" fmla="*/ 48 h 128"/>
                <a:gd name="T44" fmla="*/ 46 w 100"/>
                <a:gd name="T45" fmla="*/ 75 h 128"/>
                <a:gd name="T46" fmla="*/ 46 w 100"/>
                <a:gd name="T47" fmla="*/ 29 h 128"/>
                <a:gd name="T48" fmla="*/ 46 w 100"/>
                <a:gd name="T49" fmla="*/ 24 h 128"/>
                <a:gd name="T50" fmla="*/ 37 w 100"/>
                <a:gd name="T51" fmla="*/ 24 h 128"/>
                <a:gd name="T52" fmla="*/ 50 w 100"/>
                <a:gd name="T53" fmla="*/ 7 h 128"/>
                <a:gd name="T54" fmla="*/ 63 w 100"/>
                <a:gd name="T55" fmla="*/ 24 h 128"/>
                <a:gd name="T56" fmla="*/ 54 w 100"/>
                <a:gd name="T57" fmla="*/ 24 h 128"/>
                <a:gd name="T58" fmla="*/ 54 w 100"/>
                <a:gd name="T59" fmla="*/ 29 h 128"/>
                <a:gd name="T60" fmla="*/ 54 w 100"/>
                <a:gd name="T61" fmla="*/ 90 h 128"/>
                <a:gd name="T62" fmla="*/ 79 w 100"/>
                <a:gd name="T63" fmla="*/ 64 h 128"/>
                <a:gd name="T64" fmla="*/ 80 w 100"/>
                <a:gd name="T65" fmla="*/ 62 h 128"/>
                <a:gd name="T66" fmla="*/ 74 w 100"/>
                <a:gd name="T67" fmla="*/ 56 h 128"/>
                <a:gd name="T68" fmla="*/ 95 w 100"/>
                <a:gd name="T69" fmla="*/ 54 h 128"/>
                <a:gd name="T70" fmla="*/ 92 w 100"/>
                <a:gd name="T71" fmla="*/ 74 h 128"/>
                <a:gd name="T72" fmla="*/ 100 w 100"/>
                <a:gd name="T73" fmla="*/ 49 h 128"/>
                <a:gd name="T74" fmla="*/ 65 w 100"/>
                <a:gd name="T75" fmla="*/ 53 h 128"/>
                <a:gd name="T76" fmla="*/ 74 w 100"/>
                <a:gd name="T77" fmla="*/ 62 h 128"/>
                <a:gd name="T78" fmla="*/ 59 w 100"/>
                <a:gd name="T79" fmla="*/ 78 h 128"/>
                <a:gd name="T80" fmla="*/ 59 w 100"/>
                <a:gd name="T81" fmla="*/ 29 h 128"/>
                <a:gd name="T82" fmla="*/ 72 w 100"/>
                <a:gd name="T83" fmla="*/ 29 h 128"/>
                <a:gd name="T84" fmla="*/ 50 w 100"/>
                <a:gd name="T85" fmla="*/ 0 h 128"/>
                <a:gd name="T86" fmla="*/ 28 w 100"/>
                <a:gd name="T87" fmla="*/ 29 h 128"/>
                <a:gd name="T88" fmla="*/ 41 w 100"/>
                <a:gd name="T89" fmla="*/ 29 h 128"/>
                <a:gd name="T90" fmla="*/ 41 w 100"/>
                <a:gd name="T91" fmla="*/ 63 h 128"/>
                <a:gd name="T92" fmla="*/ 26 w 100"/>
                <a:gd name="T93" fmla="*/ 47 h 128"/>
                <a:gd name="T94" fmla="*/ 35 w 100"/>
                <a:gd name="T95" fmla="*/ 37 h 128"/>
                <a:gd name="T96" fmla="*/ 0 w 100"/>
                <a:gd name="T97" fmla="*/ 33 h 128"/>
                <a:gd name="T98" fmla="*/ 4 w 100"/>
                <a:gd name="T99" fmla="*/ 68 h 128"/>
                <a:gd name="T100" fmla="*/ 14 w 100"/>
                <a:gd name="T101" fmla="*/ 59 h 128"/>
                <a:gd name="T102" fmla="*/ 41 w 100"/>
                <a:gd name="T103" fmla="*/ 93 h 128"/>
                <a:gd name="T104" fmla="*/ 41 w 100"/>
                <a:gd name="T105" fmla="*/ 95 h 128"/>
                <a:gd name="T106" fmla="*/ 39 w 100"/>
                <a:gd name="T107" fmla="*/ 102 h 128"/>
                <a:gd name="T108" fmla="*/ 35 w 100"/>
                <a:gd name="T109" fmla="*/ 113 h 128"/>
                <a:gd name="T110" fmla="*/ 50 w 100"/>
                <a:gd name="T111" fmla="*/ 128 h 128"/>
                <a:gd name="T112" fmla="*/ 65 w 100"/>
                <a:gd name="T113" fmla="*/ 113 h 128"/>
                <a:gd name="T114" fmla="*/ 62 w 100"/>
                <a:gd name="T115" fmla="*/ 104 h 128"/>
                <a:gd name="T116" fmla="*/ 61 w 100"/>
                <a:gd name="T117" fmla="*/ 103 h 128"/>
                <a:gd name="T118" fmla="*/ 86 w 100"/>
                <a:gd name="T119" fmla="*/ 75 h 128"/>
                <a:gd name="T120" fmla="*/ 95 w 100"/>
                <a:gd name="T121" fmla="*/ 84 h 128"/>
                <a:gd name="T122" fmla="*/ 100 w 100"/>
                <a:gd name="T123" fmla="*/ 4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128">
                  <a:moveTo>
                    <a:pt x="92" y="74"/>
                  </a:moveTo>
                  <a:cubicBezTo>
                    <a:pt x="86" y="68"/>
                    <a:pt x="86" y="68"/>
                    <a:pt x="86" y="68"/>
                  </a:cubicBezTo>
                  <a:cubicBezTo>
                    <a:pt x="86" y="69"/>
                    <a:pt x="84" y="71"/>
                    <a:pt x="83" y="71"/>
                  </a:cubicBezTo>
                  <a:cubicBezTo>
                    <a:pt x="71" y="84"/>
                    <a:pt x="62" y="94"/>
                    <a:pt x="58" y="100"/>
                  </a:cubicBezTo>
                  <a:cubicBezTo>
                    <a:pt x="57" y="101"/>
                    <a:pt x="57" y="101"/>
                    <a:pt x="57" y="102"/>
                  </a:cubicBezTo>
                  <a:cubicBezTo>
                    <a:pt x="57" y="104"/>
                    <a:pt x="58" y="106"/>
                    <a:pt x="59" y="107"/>
                  </a:cubicBezTo>
                  <a:cubicBezTo>
                    <a:pt x="60" y="108"/>
                    <a:pt x="61" y="109"/>
                    <a:pt x="61" y="113"/>
                  </a:cubicBezTo>
                  <a:cubicBezTo>
                    <a:pt x="61" y="119"/>
                    <a:pt x="56" y="124"/>
                    <a:pt x="50" y="124"/>
                  </a:cubicBezTo>
                  <a:cubicBezTo>
                    <a:pt x="44" y="124"/>
                    <a:pt x="39" y="119"/>
                    <a:pt x="39" y="113"/>
                  </a:cubicBezTo>
                  <a:cubicBezTo>
                    <a:pt x="39" y="110"/>
                    <a:pt x="41" y="107"/>
                    <a:pt x="42" y="105"/>
                  </a:cubicBezTo>
                  <a:cubicBezTo>
                    <a:pt x="44" y="102"/>
                    <a:pt x="46" y="99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88"/>
                    <a:pt x="36" y="75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6" y="55"/>
                    <a:pt x="15" y="54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7"/>
                    <a:pt x="21" y="48"/>
                    <a:pt x="22" y="48"/>
                  </a:cubicBezTo>
                  <a:cubicBezTo>
                    <a:pt x="32" y="59"/>
                    <a:pt x="40" y="67"/>
                    <a:pt x="46" y="75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83"/>
                    <a:pt x="68" y="74"/>
                    <a:pt x="79" y="64"/>
                  </a:cubicBezTo>
                  <a:cubicBezTo>
                    <a:pt x="79" y="64"/>
                    <a:pt x="80" y="63"/>
                    <a:pt x="80" y="62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95" y="54"/>
                    <a:pt x="95" y="54"/>
                    <a:pt x="95" y="54"/>
                  </a:cubicBezTo>
                  <a:lnTo>
                    <a:pt x="92" y="74"/>
                  </a:lnTo>
                  <a:close/>
                  <a:moveTo>
                    <a:pt x="100" y="49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68" y="68"/>
                    <a:pt x="63" y="73"/>
                    <a:pt x="59" y="7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7" y="58"/>
                    <a:pt x="32" y="53"/>
                    <a:pt x="26" y="47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36" y="81"/>
                    <a:pt x="41" y="90"/>
                    <a:pt x="41" y="93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98"/>
                    <a:pt x="40" y="100"/>
                    <a:pt x="39" y="102"/>
                  </a:cubicBezTo>
                  <a:cubicBezTo>
                    <a:pt x="37" y="105"/>
                    <a:pt x="35" y="108"/>
                    <a:pt x="35" y="113"/>
                  </a:cubicBezTo>
                  <a:cubicBezTo>
                    <a:pt x="35" y="121"/>
                    <a:pt x="42" y="128"/>
                    <a:pt x="50" y="128"/>
                  </a:cubicBezTo>
                  <a:cubicBezTo>
                    <a:pt x="58" y="128"/>
                    <a:pt x="65" y="121"/>
                    <a:pt x="65" y="113"/>
                  </a:cubicBezTo>
                  <a:cubicBezTo>
                    <a:pt x="65" y="108"/>
                    <a:pt x="63" y="106"/>
                    <a:pt x="62" y="104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6" y="95"/>
                    <a:pt x="80" y="81"/>
                    <a:pt x="86" y="75"/>
                  </a:cubicBezTo>
                  <a:cubicBezTo>
                    <a:pt x="95" y="84"/>
                    <a:pt x="95" y="84"/>
                    <a:pt x="95" y="84"/>
                  </a:cubicBezTo>
                  <a:lnTo>
                    <a:pt x="100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25">
            <a:extLst>
              <a:ext uri="{FF2B5EF4-FFF2-40B4-BE49-F238E27FC236}">
                <a16:creationId xmlns:a16="http://schemas.microsoft.com/office/drawing/2014/main" id="{B23BFA42-461A-4B86-9620-F28410620D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38" y="304801"/>
            <a:ext cx="760412" cy="758825"/>
            <a:chOff x="3653" y="194"/>
            <a:chExt cx="479" cy="478"/>
          </a:xfrm>
        </p:grpSpPr>
        <p:sp>
          <p:nvSpPr>
            <p:cNvPr id="51" name="AutoShape 24">
              <a:extLst>
                <a:ext uri="{FF2B5EF4-FFF2-40B4-BE49-F238E27FC236}">
                  <a16:creationId xmlns:a16="http://schemas.microsoft.com/office/drawing/2014/main" id="{F1D86E43-C819-4DC2-A596-3F9C067264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3" y="19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54674AA7-2690-4137-B27F-050CA4421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5" y="19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BC08EDDC-575D-4994-8378-4F9C00F95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" y="277"/>
              <a:ext cx="246" cy="314"/>
            </a:xfrm>
            <a:custGeom>
              <a:avLst/>
              <a:gdLst>
                <a:gd name="T0" fmla="*/ 92 w 100"/>
                <a:gd name="T1" fmla="*/ 74 h 128"/>
                <a:gd name="T2" fmla="*/ 86 w 100"/>
                <a:gd name="T3" fmla="*/ 68 h 128"/>
                <a:gd name="T4" fmla="*/ 83 w 100"/>
                <a:gd name="T5" fmla="*/ 71 h 128"/>
                <a:gd name="T6" fmla="*/ 58 w 100"/>
                <a:gd name="T7" fmla="*/ 100 h 128"/>
                <a:gd name="T8" fmla="*/ 57 w 100"/>
                <a:gd name="T9" fmla="*/ 102 h 128"/>
                <a:gd name="T10" fmla="*/ 59 w 100"/>
                <a:gd name="T11" fmla="*/ 107 h 128"/>
                <a:gd name="T12" fmla="*/ 61 w 100"/>
                <a:gd name="T13" fmla="*/ 113 h 128"/>
                <a:gd name="T14" fmla="*/ 50 w 100"/>
                <a:gd name="T15" fmla="*/ 124 h 128"/>
                <a:gd name="T16" fmla="*/ 39 w 100"/>
                <a:gd name="T17" fmla="*/ 113 h 128"/>
                <a:gd name="T18" fmla="*/ 42 w 100"/>
                <a:gd name="T19" fmla="*/ 105 h 128"/>
                <a:gd name="T20" fmla="*/ 46 w 100"/>
                <a:gd name="T21" fmla="*/ 95 h 128"/>
                <a:gd name="T22" fmla="*/ 46 w 100"/>
                <a:gd name="T23" fmla="*/ 95 h 128"/>
                <a:gd name="T24" fmla="*/ 46 w 100"/>
                <a:gd name="T25" fmla="*/ 93 h 128"/>
                <a:gd name="T26" fmla="*/ 17 w 100"/>
                <a:gd name="T27" fmla="*/ 56 h 128"/>
                <a:gd name="T28" fmla="*/ 17 w 100"/>
                <a:gd name="T29" fmla="*/ 56 h 128"/>
                <a:gd name="T30" fmla="*/ 14 w 100"/>
                <a:gd name="T31" fmla="*/ 53 h 128"/>
                <a:gd name="T32" fmla="*/ 14 w 100"/>
                <a:gd name="T33" fmla="*/ 53 h 128"/>
                <a:gd name="T34" fmla="*/ 8 w 100"/>
                <a:gd name="T35" fmla="*/ 59 h 128"/>
                <a:gd name="T36" fmla="*/ 5 w 100"/>
                <a:gd name="T37" fmla="*/ 38 h 128"/>
                <a:gd name="T38" fmla="*/ 25 w 100"/>
                <a:gd name="T39" fmla="*/ 41 h 128"/>
                <a:gd name="T40" fmla="*/ 20 w 100"/>
                <a:gd name="T41" fmla="*/ 47 h 128"/>
                <a:gd name="T42" fmla="*/ 22 w 100"/>
                <a:gd name="T43" fmla="*/ 48 h 128"/>
                <a:gd name="T44" fmla="*/ 46 w 100"/>
                <a:gd name="T45" fmla="*/ 75 h 128"/>
                <a:gd name="T46" fmla="*/ 46 w 100"/>
                <a:gd name="T47" fmla="*/ 29 h 128"/>
                <a:gd name="T48" fmla="*/ 46 w 100"/>
                <a:gd name="T49" fmla="*/ 24 h 128"/>
                <a:gd name="T50" fmla="*/ 37 w 100"/>
                <a:gd name="T51" fmla="*/ 24 h 128"/>
                <a:gd name="T52" fmla="*/ 50 w 100"/>
                <a:gd name="T53" fmla="*/ 7 h 128"/>
                <a:gd name="T54" fmla="*/ 63 w 100"/>
                <a:gd name="T55" fmla="*/ 24 h 128"/>
                <a:gd name="T56" fmla="*/ 54 w 100"/>
                <a:gd name="T57" fmla="*/ 24 h 128"/>
                <a:gd name="T58" fmla="*/ 54 w 100"/>
                <a:gd name="T59" fmla="*/ 29 h 128"/>
                <a:gd name="T60" fmla="*/ 54 w 100"/>
                <a:gd name="T61" fmla="*/ 90 h 128"/>
                <a:gd name="T62" fmla="*/ 79 w 100"/>
                <a:gd name="T63" fmla="*/ 64 h 128"/>
                <a:gd name="T64" fmla="*/ 80 w 100"/>
                <a:gd name="T65" fmla="*/ 62 h 128"/>
                <a:gd name="T66" fmla="*/ 74 w 100"/>
                <a:gd name="T67" fmla="*/ 56 h 128"/>
                <a:gd name="T68" fmla="*/ 95 w 100"/>
                <a:gd name="T69" fmla="*/ 54 h 128"/>
                <a:gd name="T70" fmla="*/ 92 w 100"/>
                <a:gd name="T71" fmla="*/ 74 h 128"/>
                <a:gd name="T72" fmla="*/ 100 w 100"/>
                <a:gd name="T73" fmla="*/ 49 h 128"/>
                <a:gd name="T74" fmla="*/ 65 w 100"/>
                <a:gd name="T75" fmla="*/ 53 h 128"/>
                <a:gd name="T76" fmla="*/ 74 w 100"/>
                <a:gd name="T77" fmla="*/ 62 h 128"/>
                <a:gd name="T78" fmla="*/ 59 w 100"/>
                <a:gd name="T79" fmla="*/ 78 h 128"/>
                <a:gd name="T80" fmla="*/ 59 w 100"/>
                <a:gd name="T81" fmla="*/ 29 h 128"/>
                <a:gd name="T82" fmla="*/ 72 w 100"/>
                <a:gd name="T83" fmla="*/ 29 h 128"/>
                <a:gd name="T84" fmla="*/ 50 w 100"/>
                <a:gd name="T85" fmla="*/ 0 h 128"/>
                <a:gd name="T86" fmla="*/ 28 w 100"/>
                <a:gd name="T87" fmla="*/ 29 h 128"/>
                <a:gd name="T88" fmla="*/ 41 w 100"/>
                <a:gd name="T89" fmla="*/ 29 h 128"/>
                <a:gd name="T90" fmla="*/ 41 w 100"/>
                <a:gd name="T91" fmla="*/ 63 h 128"/>
                <a:gd name="T92" fmla="*/ 26 w 100"/>
                <a:gd name="T93" fmla="*/ 47 h 128"/>
                <a:gd name="T94" fmla="*/ 35 w 100"/>
                <a:gd name="T95" fmla="*/ 37 h 128"/>
                <a:gd name="T96" fmla="*/ 0 w 100"/>
                <a:gd name="T97" fmla="*/ 33 h 128"/>
                <a:gd name="T98" fmla="*/ 4 w 100"/>
                <a:gd name="T99" fmla="*/ 68 h 128"/>
                <a:gd name="T100" fmla="*/ 14 w 100"/>
                <a:gd name="T101" fmla="*/ 59 h 128"/>
                <a:gd name="T102" fmla="*/ 41 w 100"/>
                <a:gd name="T103" fmla="*/ 93 h 128"/>
                <a:gd name="T104" fmla="*/ 41 w 100"/>
                <a:gd name="T105" fmla="*/ 95 h 128"/>
                <a:gd name="T106" fmla="*/ 39 w 100"/>
                <a:gd name="T107" fmla="*/ 102 h 128"/>
                <a:gd name="T108" fmla="*/ 35 w 100"/>
                <a:gd name="T109" fmla="*/ 113 h 128"/>
                <a:gd name="T110" fmla="*/ 50 w 100"/>
                <a:gd name="T111" fmla="*/ 128 h 128"/>
                <a:gd name="T112" fmla="*/ 65 w 100"/>
                <a:gd name="T113" fmla="*/ 113 h 128"/>
                <a:gd name="T114" fmla="*/ 62 w 100"/>
                <a:gd name="T115" fmla="*/ 104 h 128"/>
                <a:gd name="T116" fmla="*/ 61 w 100"/>
                <a:gd name="T117" fmla="*/ 103 h 128"/>
                <a:gd name="T118" fmla="*/ 86 w 100"/>
                <a:gd name="T119" fmla="*/ 75 h 128"/>
                <a:gd name="T120" fmla="*/ 95 w 100"/>
                <a:gd name="T121" fmla="*/ 84 h 128"/>
                <a:gd name="T122" fmla="*/ 100 w 100"/>
                <a:gd name="T123" fmla="*/ 4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128">
                  <a:moveTo>
                    <a:pt x="92" y="74"/>
                  </a:moveTo>
                  <a:cubicBezTo>
                    <a:pt x="86" y="68"/>
                    <a:pt x="86" y="68"/>
                    <a:pt x="86" y="68"/>
                  </a:cubicBezTo>
                  <a:cubicBezTo>
                    <a:pt x="86" y="69"/>
                    <a:pt x="84" y="71"/>
                    <a:pt x="83" y="71"/>
                  </a:cubicBezTo>
                  <a:cubicBezTo>
                    <a:pt x="71" y="84"/>
                    <a:pt x="62" y="94"/>
                    <a:pt x="58" y="100"/>
                  </a:cubicBezTo>
                  <a:cubicBezTo>
                    <a:pt x="57" y="101"/>
                    <a:pt x="57" y="101"/>
                    <a:pt x="57" y="102"/>
                  </a:cubicBezTo>
                  <a:cubicBezTo>
                    <a:pt x="57" y="104"/>
                    <a:pt x="58" y="106"/>
                    <a:pt x="59" y="107"/>
                  </a:cubicBezTo>
                  <a:cubicBezTo>
                    <a:pt x="60" y="108"/>
                    <a:pt x="61" y="109"/>
                    <a:pt x="61" y="113"/>
                  </a:cubicBezTo>
                  <a:cubicBezTo>
                    <a:pt x="61" y="119"/>
                    <a:pt x="56" y="124"/>
                    <a:pt x="50" y="124"/>
                  </a:cubicBezTo>
                  <a:cubicBezTo>
                    <a:pt x="44" y="124"/>
                    <a:pt x="39" y="119"/>
                    <a:pt x="39" y="113"/>
                  </a:cubicBezTo>
                  <a:cubicBezTo>
                    <a:pt x="39" y="110"/>
                    <a:pt x="41" y="107"/>
                    <a:pt x="42" y="105"/>
                  </a:cubicBezTo>
                  <a:cubicBezTo>
                    <a:pt x="44" y="102"/>
                    <a:pt x="46" y="99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88"/>
                    <a:pt x="36" y="75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6" y="55"/>
                    <a:pt x="15" y="54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7"/>
                    <a:pt x="21" y="48"/>
                    <a:pt x="22" y="48"/>
                  </a:cubicBezTo>
                  <a:cubicBezTo>
                    <a:pt x="32" y="59"/>
                    <a:pt x="40" y="67"/>
                    <a:pt x="46" y="75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83"/>
                    <a:pt x="68" y="74"/>
                    <a:pt x="79" y="64"/>
                  </a:cubicBezTo>
                  <a:cubicBezTo>
                    <a:pt x="79" y="64"/>
                    <a:pt x="80" y="63"/>
                    <a:pt x="80" y="62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95" y="54"/>
                    <a:pt x="95" y="54"/>
                    <a:pt x="95" y="54"/>
                  </a:cubicBezTo>
                  <a:lnTo>
                    <a:pt x="92" y="74"/>
                  </a:lnTo>
                  <a:close/>
                  <a:moveTo>
                    <a:pt x="100" y="49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68" y="68"/>
                    <a:pt x="63" y="73"/>
                    <a:pt x="59" y="7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7" y="58"/>
                    <a:pt x="32" y="53"/>
                    <a:pt x="26" y="47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36" y="81"/>
                    <a:pt x="41" y="90"/>
                    <a:pt x="41" y="93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98"/>
                    <a:pt x="40" y="100"/>
                    <a:pt x="39" y="102"/>
                  </a:cubicBezTo>
                  <a:cubicBezTo>
                    <a:pt x="37" y="105"/>
                    <a:pt x="35" y="108"/>
                    <a:pt x="35" y="113"/>
                  </a:cubicBezTo>
                  <a:cubicBezTo>
                    <a:pt x="35" y="121"/>
                    <a:pt x="42" y="128"/>
                    <a:pt x="50" y="128"/>
                  </a:cubicBezTo>
                  <a:cubicBezTo>
                    <a:pt x="58" y="128"/>
                    <a:pt x="65" y="121"/>
                    <a:pt x="65" y="113"/>
                  </a:cubicBezTo>
                  <a:cubicBezTo>
                    <a:pt x="65" y="108"/>
                    <a:pt x="63" y="106"/>
                    <a:pt x="62" y="104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6" y="95"/>
                    <a:pt x="80" y="81"/>
                    <a:pt x="86" y="75"/>
                  </a:cubicBezTo>
                  <a:cubicBezTo>
                    <a:pt x="95" y="84"/>
                    <a:pt x="95" y="84"/>
                    <a:pt x="95" y="84"/>
                  </a:cubicBezTo>
                  <a:lnTo>
                    <a:pt x="100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AE0E61FE-3563-4EA7-853D-F0ABEE82AE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1" y="277"/>
              <a:ext cx="246" cy="314"/>
            </a:xfrm>
            <a:custGeom>
              <a:avLst/>
              <a:gdLst>
                <a:gd name="T0" fmla="*/ 92 w 100"/>
                <a:gd name="T1" fmla="*/ 74 h 128"/>
                <a:gd name="T2" fmla="*/ 86 w 100"/>
                <a:gd name="T3" fmla="*/ 68 h 128"/>
                <a:gd name="T4" fmla="*/ 83 w 100"/>
                <a:gd name="T5" fmla="*/ 71 h 128"/>
                <a:gd name="T6" fmla="*/ 58 w 100"/>
                <a:gd name="T7" fmla="*/ 100 h 128"/>
                <a:gd name="T8" fmla="*/ 57 w 100"/>
                <a:gd name="T9" fmla="*/ 102 h 128"/>
                <a:gd name="T10" fmla="*/ 59 w 100"/>
                <a:gd name="T11" fmla="*/ 107 h 128"/>
                <a:gd name="T12" fmla="*/ 61 w 100"/>
                <a:gd name="T13" fmla="*/ 113 h 128"/>
                <a:gd name="T14" fmla="*/ 50 w 100"/>
                <a:gd name="T15" fmla="*/ 124 h 128"/>
                <a:gd name="T16" fmla="*/ 39 w 100"/>
                <a:gd name="T17" fmla="*/ 113 h 128"/>
                <a:gd name="T18" fmla="*/ 42 w 100"/>
                <a:gd name="T19" fmla="*/ 105 h 128"/>
                <a:gd name="T20" fmla="*/ 46 w 100"/>
                <a:gd name="T21" fmla="*/ 95 h 128"/>
                <a:gd name="T22" fmla="*/ 46 w 100"/>
                <a:gd name="T23" fmla="*/ 95 h 128"/>
                <a:gd name="T24" fmla="*/ 46 w 100"/>
                <a:gd name="T25" fmla="*/ 93 h 128"/>
                <a:gd name="T26" fmla="*/ 17 w 100"/>
                <a:gd name="T27" fmla="*/ 56 h 128"/>
                <a:gd name="T28" fmla="*/ 17 w 100"/>
                <a:gd name="T29" fmla="*/ 56 h 128"/>
                <a:gd name="T30" fmla="*/ 14 w 100"/>
                <a:gd name="T31" fmla="*/ 53 h 128"/>
                <a:gd name="T32" fmla="*/ 14 w 100"/>
                <a:gd name="T33" fmla="*/ 53 h 128"/>
                <a:gd name="T34" fmla="*/ 8 w 100"/>
                <a:gd name="T35" fmla="*/ 59 h 128"/>
                <a:gd name="T36" fmla="*/ 5 w 100"/>
                <a:gd name="T37" fmla="*/ 38 h 128"/>
                <a:gd name="T38" fmla="*/ 25 w 100"/>
                <a:gd name="T39" fmla="*/ 41 h 128"/>
                <a:gd name="T40" fmla="*/ 20 w 100"/>
                <a:gd name="T41" fmla="*/ 47 h 128"/>
                <a:gd name="T42" fmla="*/ 22 w 100"/>
                <a:gd name="T43" fmla="*/ 48 h 128"/>
                <a:gd name="T44" fmla="*/ 46 w 100"/>
                <a:gd name="T45" fmla="*/ 75 h 128"/>
                <a:gd name="T46" fmla="*/ 46 w 100"/>
                <a:gd name="T47" fmla="*/ 29 h 128"/>
                <a:gd name="T48" fmla="*/ 46 w 100"/>
                <a:gd name="T49" fmla="*/ 24 h 128"/>
                <a:gd name="T50" fmla="*/ 37 w 100"/>
                <a:gd name="T51" fmla="*/ 24 h 128"/>
                <a:gd name="T52" fmla="*/ 50 w 100"/>
                <a:gd name="T53" fmla="*/ 7 h 128"/>
                <a:gd name="T54" fmla="*/ 63 w 100"/>
                <a:gd name="T55" fmla="*/ 24 h 128"/>
                <a:gd name="T56" fmla="*/ 54 w 100"/>
                <a:gd name="T57" fmla="*/ 24 h 128"/>
                <a:gd name="T58" fmla="*/ 54 w 100"/>
                <a:gd name="T59" fmla="*/ 29 h 128"/>
                <a:gd name="T60" fmla="*/ 54 w 100"/>
                <a:gd name="T61" fmla="*/ 90 h 128"/>
                <a:gd name="T62" fmla="*/ 79 w 100"/>
                <a:gd name="T63" fmla="*/ 64 h 128"/>
                <a:gd name="T64" fmla="*/ 80 w 100"/>
                <a:gd name="T65" fmla="*/ 62 h 128"/>
                <a:gd name="T66" fmla="*/ 74 w 100"/>
                <a:gd name="T67" fmla="*/ 56 h 128"/>
                <a:gd name="T68" fmla="*/ 95 w 100"/>
                <a:gd name="T69" fmla="*/ 54 h 128"/>
                <a:gd name="T70" fmla="*/ 92 w 100"/>
                <a:gd name="T71" fmla="*/ 74 h 128"/>
                <a:gd name="T72" fmla="*/ 100 w 100"/>
                <a:gd name="T73" fmla="*/ 49 h 128"/>
                <a:gd name="T74" fmla="*/ 65 w 100"/>
                <a:gd name="T75" fmla="*/ 53 h 128"/>
                <a:gd name="T76" fmla="*/ 74 w 100"/>
                <a:gd name="T77" fmla="*/ 62 h 128"/>
                <a:gd name="T78" fmla="*/ 59 w 100"/>
                <a:gd name="T79" fmla="*/ 78 h 128"/>
                <a:gd name="T80" fmla="*/ 59 w 100"/>
                <a:gd name="T81" fmla="*/ 29 h 128"/>
                <a:gd name="T82" fmla="*/ 72 w 100"/>
                <a:gd name="T83" fmla="*/ 29 h 128"/>
                <a:gd name="T84" fmla="*/ 50 w 100"/>
                <a:gd name="T85" fmla="*/ 0 h 128"/>
                <a:gd name="T86" fmla="*/ 28 w 100"/>
                <a:gd name="T87" fmla="*/ 29 h 128"/>
                <a:gd name="T88" fmla="*/ 41 w 100"/>
                <a:gd name="T89" fmla="*/ 29 h 128"/>
                <a:gd name="T90" fmla="*/ 41 w 100"/>
                <a:gd name="T91" fmla="*/ 63 h 128"/>
                <a:gd name="T92" fmla="*/ 26 w 100"/>
                <a:gd name="T93" fmla="*/ 47 h 128"/>
                <a:gd name="T94" fmla="*/ 35 w 100"/>
                <a:gd name="T95" fmla="*/ 37 h 128"/>
                <a:gd name="T96" fmla="*/ 0 w 100"/>
                <a:gd name="T97" fmla="*/ 33 h 128"/>
                <a:gd name="T98" fmla="*/ 4 w 100"/>
                <a:gd name="T99" fmla="*/ 68 h 128"/>
                <a:gd name="T100" fmla="*/ 14 w 100"/>
                <a:gd name="T101" fmla="*/ 59 h 128"/>
                <a:gd name="T102" fmla="*/ 41 w 100"/>
                <a:gd name="T103" fmla="*/ 93 h 128"/>
                <a:gd name="T104" fmla="*/ 41 w 100"/>
                <a:gd name="T105" fmla="*/ 95 h 128"/>
                <a:gd name="T106" fmla="*/ 39 w 100"/>
                <a:gd name="T107" fmla="*/ 102 h 128"/>
                <a:gd name="T108" fmla="*/ 35 w 100"/>
                <a:gd name="T109" fmla="*/ 113 h 128"/>
                <a:gd name="T110" fmla="*/ 50 w 100"/>
                <a:gd name="T111" fmla="*/ 128 h 128"/>
                <a:gd name="T112" fmla="*/ 65 w 100"/>
                <a:gd name="T113" fmla="*/ 113 h 128"/>
                <a:gd name="T114" fmla="*/ 62 w 100"/>
                <a:gd name="T115" fmla="*/ 104 h 128"/>
                <a:gd name="T116" fmla="*/ 61 w 100"/>
                <a:gd name="T117" fmla="*/ 103 h 128"/>
                <a:gd name="T118" fmla="*/ 86 w 100"/>
                <a:gd name="T119" fmla="*/ 75 h 128"/>
                <a:gd name="T120" fmla="*/ 95 w 100"/>
                <a:gd name="T121" fmla="*/ 84 h 128"/>
                <a:gd name="T122" fmla="*/ 100 w 100"/>
                <a:gd name="T123" fmla="*/ 4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128">
                  <a:moveTo>
                    <a:pt x="92" y="74"/>
                  </a:moveTo>
                  <a:cubicBezTo>
                    <a:pt x="86" y="68"/>
                    <a:pt x="86" y="68"/>
                    <a:pt x="86" y="68"/>
                  </a:cubicBezTo>
                  <a:cubicBezTo>
                    <a:pt x="86" y="69"/>
                    <a:pt x="84" y="71"/>
                    <a:pt x="83" y="71"/>
                  </a:cubicBezTo>
                  <a:cubicBezTo>
                    <a:pt x="71" y="84"/>
                    <a:pt x="62" y="94"/>
                    <a:pt x="58" y="100"/>
                  </a:cubicBezTo>
                  <a:cubicBezTo>
                    <a:pt x="57" y="101"/>
                    <a:pt x="57" y="101"/>
                    <a:pt x="57" y="102"/>
                  </a:cubicBezTo>
                  <a:cubicBezTo>
                    <a:pt x="57" y="104"/>
                    <a:pt x="58" y="106"/>
                    <a:pt x="59" y="107"/>
                  </a:cubicBezTo>
                  <a:cubicBezTo>
                    <a:pt x="60" y="108"/>
                    <a:pt x="61" y="109"/>
                    <a:pt x="61" y="113"/>
                  </a:cubicBezTo>
                  <a:cubicBezTo>
                    <a:pt x="61" y="119"/>
                    <a:pt x="56" y="124"/>
                    <a:pt x="50" y="124"/>
                  </a:cubicBezTo>
                  <a:cubicBezTo>
                    <a:pt x="44" y="124"/>
                    <a:pt x="39" y="119"/>
                    <a:pt x="39" y="113"/>
                  </a:cubicBezTo>
                  <a:cubicBezTo>
                    <a:pt x="39" y="110"/>
                    <a:pt x="41" y="107"/>
                    <a:pt x="42" y="105"/>
                  </a:cubicBezTo>
                  <a:cubicBezTo>
                    <a:pt x="44" y="102"/>
                    <a:pt x="46" y="99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88"/>
                    <a:pt x="36" y="75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6" y="55"/>
                    <a:pt x="15" y="54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7"/>
                    <a:pt x="21" y="48"/>
                    <a:pt x="22" y="48"/>
                  </a:cubicBezTo>
                  <a:cubicBezTo>
                    <a:pt x="32" y="59"/>
                    <a:pt x="40" y="67"/>
                    <a:pt x="46" y="75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83"/>
                    <a:pt x="68" y="74"/>
                    <a:pt x="79" y="64"/>
                  </a:cubicBezTo>
                  <a:cubicBezTo>
                    <a:pt x="79" y="64"/>
                    <a:pt x="80" y="63"/>
                    <a:pt x="80" y="62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95" y="54"/>
                    <a:pt x="95" y="54"/>
                    <a:pt x="95" y="54"/>
                  </a:cubicBezTo>
                  <a:lnTo>
                    <a:pt x="92" y="74"/>
                  </a:lnTo>
                  <a:close/>
                  <a:moveTo>
                    <a:pt x="100" y="49"/>
                  </a:moveTo>
                  <a:cubicBezTo>
                    <a:pt x="65" y="53"/>
                    <a:pt x="65" y="53"/>
                    <a:pt x="65" y="53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68" y="68"/>
                    <a:pt x="63" y="73"/>
                    <a:pt x="59" y="7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7" y="58"/>
                    <a:pt x="32" y="53"/>
                    <a:pt x="26" y="47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36" y="81"/>
                    <a:pt x="41" y="90"/>
                    <a:pt x="41" y="93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98"/>
                    <a:pt x="40" y="100"/>
                    <a:pt x="39" y="102"/>
                  </a:cubicBezTo>
                  <a:cubicBezTo>
                    <a:pt x="37" y="105"/>
                    <a:pt x="35" y="108"/>
                    <a:pt x="35" y="113"/>
                  </a:cubicBezTo>
                  <a:cubicBezTo>
                    <a:pt x="35" y="121"/>
                    <a:pt x="42" y="128"/>
                    <a:pt x="50" y="128"/>
                  </a:cubicBezTo>
                  <a:cubicBezTo>
                    <a:pt x="58" y="128"/>
                    <a:pt x="65" y="121"/>
                    <a:pt x="65" y="113"/>
                  </a:cubicBezTo>
                  <a:cubicBezTo>
                    <a:pt x="65" y="108"/>
                    <a:pt x="63" y="106"/>
                    <a:pt x="62" y="104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6" y="95"/>
                    <a:pt x="80" y="81"/>
                    <a:pt x="86" y="75"/>
                  </a:cubicBezTo>
                  <a:cubicBezTo>
                    <a:pt x="95" y="84"/>
                    <a:pt x="95" y="84"/>
                    <a:pt x="95" y="84"/>
                  </a:cubicBezTo>
                  <a:lnTo>
                    <a:pt x="100" y="4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31">
            <a:extLst>
              <a:ext uri="{FF2B5EF4-FFF2-40B4-BE49-F238E27FC236}">
                <a16:creationId xmlns:a16="http://schemas.microsoft.com/office/drawing/2014/main" id="{C3E5856E-B93B-4909-8E29-444AF347A9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0848" y="263526"/>
            <a:ext cx="841375" cy="841375"/>
            <a:chOff x="4396" y="214"/>
            <a:chExt cx="530" cy="530"/>
          </a:xfrm>
        </p:grpSpPr>
        <p:sp>
          <p:nvSpPr>
            <p:cNvPr id="56" name="AutoShape 30">
              <a:extLst>
                <a:ext uri="{FF2B5EF4-FFF2-40B4-BE49-F238E27FC236}">
                  <a16:creationId xmlns:a16="http://schemas.microsoft.com/office/drawing/2014/main" id="{B675FEB4-6169-4F07-8532-EAD84CECD6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6" y="21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32">
              <a:extLst>
                <a:ext uri="{FF2B5EF4-FFF2-40B4-BE49-F238E27FC236}">
                  <a16:creationId xmlns:a16="http://schemas.microsoft.com/office/drawing/2014/main" id="{384D65E7-48E9-4C80-A869-DD3DB3718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1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8C49B9A4-8CA4-455F-AC0E-E0D7809827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4" y="23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6F8D1A12-3C95-4636-83A3-1A7996F44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6" y="342"/>
              <a:ext cx="312" cy="276"/>
            </a:xfrm>
            <a:custGeom>
              <a:avLst/>
              <a:gdLst>
                <a:gd name="T0" fmla="*/ 12 w 122"/>
                <a:gd name="T1" fmla="*/ 62 h 108"/>
                <a:gd name="T2" fmla="*/ 5 w 122"/>
                <a:gd name="T3" fmla="*/ 54 h 108"/>
                <a:gd name="T4" fmla="*/ 12 w 122"/>
                <a:gd name="T5" fmla="*/ 46 h 108"/>
                <a:gd name="T6" fmla="*/ 20 w 122"/>
                <a:gd name="T7" fmla="*/ 54 h 108"/>
                <a:gd name="T8" fmla="*/ 12 w 122"/>
                <a:gd name="T9" fmla="*/ 62 h 108"/>
                <a:gd name="T10" fmla="*/ 102 w 122"/>
                <a:gd name="T11" fmla="*/ 73 h 108"/>
                <a:gd name="T12" fmla="*/ 102 w 122"/>
                <a:gd name="T13" fmla="*/ 76 h 108"/>
                <a:gd name="T14" fmla="*/ 113 w 122"/>
                <a:gd name="T15" fmla="*/ 87 h 108"/>
                <a:gd name="T16" fmla="*/ 104 w 122"/>
                <a:gd name="T17" fmla="*/ 87 h 108"/>
                <a:gd name="T18" fmla="*/ 65 w 122"/>
                <a:gd name="T19" fmla="*/ 70 h 108"/>
                <a:gd name="T20" fmla="*/ 63 w 122"/>
                <a:gd name="T21" fmla="*/ 68 h 108"/>
                <a:gd name="T22" fmla="*/ 44 w 122"/>
                <a:gd name="T23" fmla="*/ 54 h 108"/>
                <a:gd name="T24" fmla="*/ 63 w 122"/>
                <a:gd name="T25" fmla="*/ 40 h 108"/>
                <a:gd name="T26" fmla="*/ 65 w 122"/>
                <a:gd name="T27" fmla="*/ 38 h 108"/>
                <a:gd name="T28" fmla="*/ 104 w 122"/>
                <a:gd name="T29" fmla="*/ 21 h 108"/>
                <a:gd name="T30" fmla="*/ 113 w 122"/>
                <a:gd name="T31" fmla="*/ 21 h 108"/>
                <a:gd name="T32" fmla="*/ 102 w 122"/>
                <a:gd name="T33" fmla="*/ 32 h 108"/>
                <a:gd name="T34" fmla="*/ 102 w 122"/>
                <a:gd name="T35" fmla="*/ 35 h 108"/>
                <a:gd name="T36" fmla="*/ 104 w 122"/>
                <a:gd name="T37" fmla="*/ 36 h 108"/>
                <a:gd name="T38" fmla="*/ 105 w 122"/>
                <a:gd name="T39" fmla="*/ 35 h 108"/>
                <a:gd name="T40" fmla="*/ 122 w 122"/>
                <a:gd name="T41" fmla="*/ 18 h 108"/>
                <a:gd name="T42" fmla="*/ 105 w 122"/>
                <a:gd name="T43" fmla="*/ 1 h 108"/>
                <a:gd name="T44" fmla="*/ 102 w 122"/>
                <a:gd name="T45" fmla="*/ 1 h 108"/>
                <a:gd name="T46" fmla="*/ 102 w 122"/>
                <a:gd name="T47" fmla="*/ 4 h 108"/>
                <a:gd name="T48" fmla="*/ 113 w 122"/>
                <a:gd name="T49" fmla="*/ 15 h 108"/>
                <a:gd name="T50" fmla="*/ 104 w 122"/>
                <a:gd name="T51" fmla="*/ 15 h 108"/>
                <a:gd name="T52" fmla="*/ 61 w 122"/>
                <a:gd name="T53" fmla="*/ 34 h 108"/>
                <a:gd name="T54" fmla="*/ 59 w 122"/>
                <a:gd name="T55" fmla="*/ 36 h 108"/>
                <a:gd name="T56" fmla="*/ 28 w 122"/>
                <a:gd name="T57" fmla="*/ 51 h 108"/>
                <a:gd name="T58" fmla="*/ 25 w 122"/>
                <a:gd name="T59" fmla="*/ 51 h 108"/>
                <a:gd name="T60" fmla="*/ 12 w 122"/>
                <a:gd name="T61" fmla="*/ 41 h 108"/>
                <a:gd name="T62" fmla="*/ 0 w 122"/>
                <a:gd name="T63" fmla="*/ 54 h 108"/>
                <a:gd name="T64" fmla="*/ 12 w 122"/>
                <a:gd name="T65" fmla="*/ 67 h 108"/>
                <a:gd name="T66" fmla="*/ 25 w 122"/>
                <a:gd name="T67" fmla="*/ 57 h 108"/>
                <a:gd name="T68" fmla="*/ 28 w 122"/>
                <a:gd name="T69" fmla="*/ 57 h 108"/>
                <a:gd name="T70" fmla="*/ 59 w 122"/>
                <a:gd name="T71" fmla="*/ 72 h 108"/>
                <a:gd name="T72" fmla="*/ 61 w 122"/>
                <a:gd name="T73" fmla="*/ 74 h 108"/>
                <a:gd name="T74" fmla="*/ 104 w 122"/>
                <a:gd name="T75" fmla="*/ 93 h 108"/>
                <a:gd name="T76" fmla="*/ 113 w 122"/>
                <a:gd name="T77" fmla="*/ 93 h 108"/>
                <a:gd name="T78" fmla="*/ 102 w 122"/>
                <a:gd name="T79" fmla="*/ 104 h 108"/>
                <a:gd name="T80" fmla="*/ 102 w 122"/>
                <a:gd name="T81" fmla="*/ 107 h 108"/>
                <a:gd name="T82" fmla="*/ 104 w 122"/>
                <a:gd name="T83" fmla="*/ 108 h 108"/>
                <a:gd name="T84" fmla="*/ 105 w 122"/>
                <a:gd name="T85" fmla="*/ 107 h 108"/>
                <a:gd name="T86" fmla="*/ 122 w 122"/>
                <a:gd name="T87" fmla="*/ 90 h 108"/>
                <a:gd name="T88" fmla="*/ 105 w 122"/>
                <a:gd name="T89" fmla="*/ 73 h 108"/>
                <a:gd name="T90" fmla="*/ 102 w 122"/>
                <a:gd name="T91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8">
                  <a:moveTo>
                    <a:pt x="12" y="62"/>
                  </a:moveTo>
                  <a:cubicBezTo>
                    <a:pt x="8" y="62"/>
                    <a:pt x="5" y="58"/>
                    <a:pt x="5" y="54"/>
                  </a:cubicBezTo>
                  <a:cubicBezTo>
                    <a:pt x="5" y="50"/>
                    <a:pt x="8" y="46"/>
                    <a:pt x="12" y="46"/>
                  </a:cubicBezTo>
                  <a:cubicBezTo>
                    <a:pt x="17" y="46"/>
                    <a:pt x="20" y="50"/>
                    <a:pt x="20" y="54"/>
                  </a:cubicBezTo>
                  <a:cubicBezTo>
                    <a:pt x="20" y="58"/>
                    <a:pt x="17" y="62"/>
                    <a:pt x="12" y="62"/>
                  </a:cubicBezTo>
                  <a:moveTo>
                    <a:pt x="102" y="73"/>
                  </a:moveTo>
                  <a:cubicBezTo>
                    <a:pt x="101" y="74"/>
                    <a:pt x="101" y="75"/>
                    <a:pt x="102" y="7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83" y="87"/>
                    <a:pt x="72" y="78"/>
                    <a:pt x="65" y="70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58" y="63"/>
                    <a:pt x="53" y="57"/>
                    <a:pt x="44" y="54"/>
                  </a:cubicBezTo>
                  <a:cubicBezTo>
                    <a:pt x="53" y="51"/>
                    <a:pt x="58" y="45"/>
                    <a:pt x="63" y="40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72" y="30"/>
                    <a:pt x="83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1" y="33"/>
                    <a:pt x="101" y="34"/>
                    <a:pt x="102" y="35"/>
                  </a:cubicBezTo>
                  <a:cubicBezTo>
                    <a:pt x="102" y="36"/>
                    <a:pt x="103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4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81" y="15"/>
                    <a:pt x="69" y="26"/>
                    <a:pt x="61" y="34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2" y="44"/>
                    <a:pt x="46" y="51"/>
                    <a:pt x="28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4" y="46"/>
                    <a:pt x="18" y="41"/>
                    <a:pt x="12" y="41"/>
                  </a:cubicBezTo>
                  <a:cubicBezTo>
                    <a:pt x="5" y="41"/>
                    <a:pt x="0" y="47"/>
                    <a:pt x="0" y="54"/>
                  </a:cubicBezTo>
                  <a:cubicBezTo>
                    <a:pt x="0" y="61"/>
                    <a:pt x="5" y="67"/>
                    <a:pt x="12" y="67"/>
                  </a:cubicBezTo>
                  <a:cubicBezTo>
                    <a:pt x="18" y="67"/>
                    <a:pt x="24" y="62"/>
                    <a:pt x="25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46" y="57"/>
                    <a:pt x="52" y="64"/>
                    <a:pt x="59" y="72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9" y="82"/>
                    <a:pt x="81" y="93"/>
                    <a:pt x="104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0"/>
                    <a:pt x="122" y="90"/>
                    <a:pt x="122" y="90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4" y="72"/>
                    <a:pt x="103" y="72"/>
                    <a:pt x="102" y="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37">
            <a:extLst>
              <a:ext uri="{FF2B5EF4-FFF2-40B4-BE49-F238E27FC236}">
                <a16:creationId xmlns:a16="http://schemas.microsoft.com/office/drawing/2014/main" id="{534673DD-FA4C-4FDD-8A8D-C9AA31566D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8377" y="304801"/>
            <a:ext cx="758825" cy="758825"/>
            <a:chOff x="4905" y="266"/>
            <a:chExt cx="478" cy="478"/>
          </a:xfrm>
        </p:grpSpPr>
        <p:sp>
          <p:nvSpPr>
            <p:cNvPr id="61" name="AutoShape 36">
              <a:extLst>
                <a:ext uri="{FF2B5EF4-FFF2-40B4-BE49-F238E27FC236}">
                  <a16:creationId xmlns:a16="http://schemas.microsoft.com/office/drawing/2014/main" id="{0B2ED66F-9A61-422F-9F76-F218E33084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05" y="26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844D3C35-6162-4212-B550-F2BFB2307C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7" y="26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7B86B42C-426C-43CD-B12F-16750DFB1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6" y="374"/>
              <a:ext cx="299" cy="265"/>
            </a:xfrm>
            <a:custGeom>
              <a:avLst/>
              <a:gdLst>
                <a:gd name="T0" fmla="*/ 12 w 122"/>
                <a:gd name="T1" fmla="*/ 62 h 108"/>
                <a:gd name="T2" fmla="*/ 5 w 122"/>
                <a:gd name="T3" fmla="*/ 54 h 108"/>
                <a:gd name="T4" fmla="*/ 12 w 122"/>
                <a:gd name="T5" fmla="*/ 46 h 108"/>
                <a:gd name="T6" fmla="*/ 20 w 122"/>
                <a:gd name="T7" fmla="*/ 54 h 108"/>
                <a:gd name="T8" fmla="*/ 12 w 122"/>
                <a:gd name="T9" fmla="*/ 62 h 108"/>
                <a:gd name="T10" fmla="*/ 102 w 122"/>
                <a:gd name="T11" fmla="*/ 73 h 108"/>
                <a:gd name="T12" fmla="*/ 102 w 122"/>
                <a:gd name="T13" fmla="*/ 76 h 108"/>
                <a:gd name="T14" fmla="*/ 113 w 122"/>
                <a:gd name="T15" fmla="*/ 87 h 108"/>
                <a:gd name="T16" fmla="*/ 104 w 122"/>
                <a:gd name="T17" fmla="*/ 87 h 108"/>
                <a:gd name="T18" fmla="*/ 65 w 122"/>
                <a:gd name="T19" fmla="*/ 70 h 108"/>
                <a:gd name="T20" fmla="*/ 63 w 122"/>
                <a:gd name="T21" fmla="*/ 68 h 108"/>
                <a:gd name="T22" fmla="*/ 44 w 122"/>
                <a:gd name="T23" fmla="*/ 54 h 108"/>
                <a:gd name="T24" fmla="*/ 63 w 122"/>
                <a:gd name="T25" fmla="*/ 40 h 108"/>
                <a:gd name="T26" fmla="*/ 65 w 122"/>
                <a:gd name="T27" fmla="*/ 38 h 108"/>
                <a:gd name="T28" fmla="*/ 104 w 122"/>
                <a:gd name="T29" fmla="*/ 21 h 108"/>
                <a:gd name="T30" fmla="*/ 113 w 122"/>
                <a:gd name="T31" fmla="*/ 21 h 108"/>
                <a:gd name="T32" fmla="*/ 102 w 122"/>
                <a:gd name="T33" fmla="*/ 32 h 108"/>
                <a:gd name="T34" fmla="*/ 102 w 122"/>
                <a:gd name="T35" fmla="*/ 35 h 108"/>
                <a:gd name="T36" fmla="*/ 104 w 122"/>
                <a:gd name="T37" fmla="*/ 36 h 108"/>
                <a:gd name="T38" fmla="*/ 105 w 122"/>
                <a:gd name="T39" fmla="*/ 35 h 108"/>
                <a:gd name="T40" fmla="*/ 122 w 122"/>
                <a:gd name="T41" fmla="*/ 18 h 108"/>
                <a:gd name="T42" fmla="*/ 105 w 122"/>
                <a:gd name="T43" fmla="*/ 1 h 108"/>
                <a:gd name="T44" fmla="*/ 102 w 122"/>
                <a:gd name="T45" fmla="*/ 1 h 108"/>
                <a:gd name="T46" fmla="*/ 102 w 122"/>
                <a:gd name="T47" fmla="*/ 4 h 108"/>
                <a:gd name="T48" fmla="*/ 113 w 122"/>
                <a:gd name="T49" fmla="*/ 15 h 108"/>
                <a:gd name="T50" fmla="*/ 104 w 122"/>
                <a:gd name="T51" fmla="*/ 15 h 108"/>
                <a:gd name="T52" fmla="*/ 61 w 122"/>
                <a:gd name="T53" fmla="*/ 34 h 108"/>
                <a:gd name="T54" fmla="*/ 59 w 122"/>
                <a:gd name="T55" fmla="*/ 36 h 108"/>
                <a:gd name="T56" fmla="*/ 28 w 122"/>
                <a:gd name="T57" fmla="*/ 51 h 108"/>
                <a:gd name="T58" fmla="*/ 25 w 122"/>
                <a:gd name="T59" fmla="*/ 51 h 108"/>
                <a:gd name="T60" fmla="*/ 12 w 122"/>
                <a:gd name="T61" fmla="*/ 41 h 108"/>
                <a:gd name="T62" fmla="*/ 0 w 122"/>
                <a:gd name="T63" fmla="*/ 54 h 108"/>
                <a:gd name="T64" fmla="*/ 12 w 122"/>
                <a:gd name="T65" fmla="*/ 67 h 108"/>
                <a:gd name="T66" fmla="*/ 25 w 122"/>
                <a:gd name="T67" fmla="*/ 57 h 108"/>
                <a:gd name="T68" fmla="*/ 28 w 122"/>
                <a:gd name="T69" fmla="*/ 57 h 108"/>
                <a:gd name="T70" fmla="*/ 59 w 122"/>
                <a:gd name="T71" fmla="*/ 72 h 108"/>
                <a:gd name="T72" fmla="*/ 61 w 122"/>
                <a:gd name="T73" fmla="*/ 74 h 108"/>
                <a:gd name="T74" fmla="*/ 104 w 122"/>
                <a:gd name="T75" fmla="*/ 93 h 108"/>
                <a:gd name="T76" fmla="*/ 113 w 122"/>
                <a:gd name="T77" fmla="*/ 93 h 108"/>
                <a:gd name="T78" fmla="*/ 102 w 122"/>
                <a:gd name="T79" fmla="*/ 104 h 108"/>
                <a:gd name="T80" fmla="*/ 102 w 122"/>
                <a:gd name="T81" fmla="*/ 107 h 108"/>
                <a:gd name="T82" fmla="*/ 104 w 122"/>
                <a:gd name="T83" fmla="*/ 108 h 108"/>
                <a:gd name="T84" fmla="*/ 105 w 122"/>
                <a:gd name="T85" fmla="*/ 107 h 108"/>
                <a:gd name="T86" fmla="*/ 122 w 122"/>
                <a:gd name="T87" fmla="*/ 90 h 108"/>
                <a:gd name="T88" fmla="*/ 105 w 122"/>
                <a:gd name="T89" fmla="*/ 73 h 108"/>
                <a:gd name="T90" fmla="*/ 102 w 122"/>
                <a:gd name="T91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8">
                  <a:moveTo>
                    <a:pt x="12" y="62"/>
                  </a:moveTo>
                  <a:cubicBezTo>
                    <a:pt x="8" y="62"/>
                    <a:pt x="5" y="58"/>
                    <a:pt x="5" y="54"/>
                  </a:cubicBezTo>
                  <a:cubicBezTo>
                    <a:pt x="5" y="50"/>
                    <a:pt x="8" y="46"/>
                    <a:pt x="12" y="46"/>
                  </a:cubicBezTo>
                  <a:cubicBezTo>
                    <a:pt x="17" y="46"/>
                    <a:pt x="20" y="50"/>
                    <a:pt x="20" y="54"/>
                  </a:cubicBezTo>
                  <a:cubicBezTo>
                    <a:pt x="20" y="58"/>
                    <a:pt x="17" y="62"/>
                    <a:pt x="12" y="62"/>
                  </a:cubicBezTo>
                  <a:moveTo>
                    <a:pt x="102" y="73"/>
                  </a:moveTo>
                  <a:cubicBezTo>
                    <a:pt x="101" y="74"/>
                    <a:pt x="101" y="75"/>
                    <a:pt x="102" y="7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83" y="87"/>
                    <a:pt x="72" y="78"/>
                    <a:pt x="65" y="70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58" y="63"/>
                    <a:pt x="53" y="57"/>
                    <a:pt x="44" y="54"/>
                  </a:cubicBezTo>
                  <a:cubicBezTo>
                    <a:pt x="53" y="51"/>
                    <a:pt x="58" y="45"/>
                    <a:pt x="63" y="40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72" y="30"/>
                    <a:pt x="83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1" y="33"/>
                    <a:pt x="101" y="34"/>
                    <a:pt x="102" y="35"/>
                  </a:cubicBezTo>
                  <a:cubicBezTo>
                    <a:pt x="102" y="36"/>
                    <a:pt x="103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4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81" y="15"/>
                    <a:pt x="69" y="26"/>
                    <a:pt x="61" y="34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2" y="44"/>
                    <a:pt x="46" y="51"/>
                    <a:pt x="28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4" y="46"/>
                    <a:pt x="18" y="41"/>
                    <a:pt x="12" y="41"/>
                  </a:cubicBezTo>
                  <a:cubicBezTo>
                    <a:pt x="5" y="41"/>
                    <a:pt x="0" y="47"/>
                    <a:pt x="0" y="54"/>
                  </a:cubicBezTo>
                  <a:cubicBezTo>
                    <a:pt x="0" y="61"/>
                    <a:pt x="5" y="67"/>
                    <a:pt x="12" y="67"/>
                  </a:cubicBezTo>
                  <a:cubicBezTo>
                    <a:pt x="18" y="67"/>
                    <a:pt x="24" y="62"/>
                    <a:pt x="25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46" y="57"/>
                    <a:pt x="52" y="64"/>
                    <a:pt x="59" y="72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9" y="82"/>
                    <a:pt x="81" y="93"/>
                    <a:pt x="104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0"/>
                    <a:pt x="122" y="90"/>
                    <a:pt x="122" y="90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4" y="72"/>
                    <a:pt x="103" y="72"/>
                    <a:pt x="102" y="7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B44E2445-23C9-4048-B63C-17DA9BDF38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6" y="374"/>
              <a:ext cx="299" cy="265"/>
            </a:xfrm>
            <a:custGeom>
              <a:avLst/>
              <a:gdLst>
                <a:gd name="T0" fmla="*/ 12 w 122"/>
                <a:gd name="T1" fmla="*/ 62 h 108"/>
                <a:gd name="T2" fmla="*/ 5 w 122"/>
                <a:gd name="T3" fmla="*/ 54 h 108"/>
                <a:gd name="T4" fmla="*/ 12 w 122"/>
                <a:gd name="T5" fmla="*/ 46 h 108"/>
                <a:gd name="T6" fmla="*/ 20 w 122"/>
                <a:gd name="T7" fmla="*/ 54 h 108"/>
                <a:gd name="T8" fmla="*/ 12 w 122"/>
                <a:gd name="T9" fmla="*/ 62 h 108"/>
                <a:gd name="T10" fmla="*/ 102 w 122"/>
                <a:gd name="T11" fmla="*/ 73 h 108"/>
                <a:gd name="T12" fmla="*/ 102 w 122"/>
                <a:gd name="T13" fmla="*/ 76 h 108"/>
                <a:gd name="T14" fmla="*/ 113 w 122"/>
                <a:gd name="T15" fmla="*/ 87 h 108"/>
                <a:gd name="T16" fmla="*/ 104 w 122"/>
                <a:gd name="T17" fmla="*/ 87 h 108"/>
                <a:gd name="T18" fmla="*/ 65 w 122"/>
                <a:gd name="T19" fmla="*/ 70 h 108"/>
                <a:gd name="T20" fmla="*/ 63 w 122"/>
                <a:gd name="T21" fmla="*/ 68 h 108"/>
                <a:gd name="T22" fmla="*/ 44 w 122"/>
                <a:gd name="T23" fmla="*/ 54 h 108"/>
                <a:gd name="T24" fmla="*/ 63 w 122"/>
                <a:gd name="T25" fmla="*/ 40 h 108"/>
                <a:gd name="T26" fmla="*/ 65 w 122"/>
                <a:gd name="T27" fmla="*/ 38 h 108"/>
                <a:gd name="T28" fmla="*/ 104 w 122"/>
                <a:gd name="T29" fmla="*/ 21 h 108"/>
                <a:gd name="T30" fmla="*/ 113 w 122"/>
                <a:gd name="T31" fmla="*/ 21 h 108"/>
                <a:gd name="T32" fmla="*/ 102 w 122"/>
                <a:gd name="T33" fmla="*/ 32 h 108"/>
                <a:gd name="T34" fmla="*/ 102 w 122"/>
                <a:gd name="T35" fmla="*/ 35 h 108"/>
                <a:gd name="T36" fmla="*/ 104 w 122"/>
                <a:gd name="T37" fmla="*/ 36 h 108"/>
                <a:gd name="T38" fmla="*/ 105 w 122"/>
                <a:gd name="T39" fmla="*/ 35 h 108"/>
                <a:gd name="T40" fmla="*/ 122 w 122"/>
                <a:gd name="T41" fmla="*/ 18 h 108"/>
                <a:gd name="T42" fmla="*/ 105 w 122"/>
                <a:gd name="T43" fmla="*/ 1 h 108"/>
                <a:gd name="T44" fmla="*/ 102 w 122"/>
                <a:gd name="T45" fmla="*/ 1 h 108"/>
                <a:gd name="T46" fmla="*/ 102 w 122"/>
                <a:gd name="T47" fmla="*/ 4 h 108"/>
                <a:gd name="T48" fmla="*/ 113 w 122"/>
                <a:gd name="T49" fmla="*/ 15 h 108"/>
                <a:gd name="T50" fmla="*/ 104 w 122"/>
                <a:gd name="T51" fmla="*/ 15 h 108"/>
                <a:gd name="T52" fmla="*/ 61 w 122"/>
                <a:gd name="T53" fmla="*/ 34 h 108"/>
                <a:gd name="T54" fmla="*/ 59 w 122"/>
                <a:gd name="T55" fmla="*/ 36 h 108"/>
                <a:gd name="T56" fmla="*/ 28 w 122"/>
                <a:gd name="T57" fmla="*/ 51 h 108"/>
                <a:gd name="T58" fmla="*/ 25 w 122"/>
                <a:gd name="T59" fmla="*/ 51 h 108"/>
                <a:gd name="T60" fmla="*/ 12 w 122"/>
                <a:gd name="T61" fmla="*/ 41 h 108"/>
                <a:gd name="T62" fmla="*/ 0 w 122"/>
                <a:gd name="T63" fmla="*/ 54 h 108"/>
                <a:gd name="T64" fmla="*/ 12 w 122"/>
                <a:gd name="T65" fmla="*/ 67 h 108"/>
                <a:gd name="T66" fmla="*/ 25 w 122"/>
                <a:gd name="T67" fmla="*/ 57 h 108"/>
                <a:gd name="T68" fmla="*/ 28 w 122"/>
                <a:gd name="T69" fmla="*/ 57 h 108"/>
                <a:gd name="T70" fmla="*/ 59 w 122"/>
                <a:gd name="T71" fmla="*/ 72 h 108"/>
                <a:gd name="T72" fmla="*/ 61 w 122"/>
                <a:gd name="T73" fmla="*/ 74 h 108"/>
                <a:gd name="T74" fmla="*/ 104 w 122"/>
                <a:gd name="T75" fmla="*/ 93 h 108"/>
                <a:gd name="T76" fmla="*/ 113 w 122"/>
                <a:gd name="T77" fmla="*/ 93 h 108"/>
                <a:gd name="T78" fmla="*/ 102 w 122"/>
                <a:gd name="T79" fmla="*/ 104 h 108"/>
                <a:gd name="T80" fmla="*/ 102 w 122"/>
                <a:gd name="T81" fmla="*/ 107 h 108"/>
                <a:gd name="T82" fmla="*/ 104 w 122"/>
                <a:gd name="T83" fmla="*/ 108 h 108"/>
                <a:gd name="T84" fmla="*/ 105 w 122"/>
                <a:gd name="T85" fmla="*/ 107 h 108"/>
                <a:gd name="T86" fmla="*/ 122 w 122"/>
                <a:gd name="T87" fmla="*/ 90 h 108"/>
                <a:gd name="T88" fmla="*/ 105 w 122"/>
                <a:gd name="T89" fmla="*/ 73 h 108"/>
                <a:gd name="T90" fmla="*/ 102 w 122"/>
                <a:gd name="T91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8">
                  <a:moveTo>
                    <a:pt x="12" y="62"/>
                  </a:moveTo>
                  <a:cubicBezTo>
                    <a:pt x="8" y="62"/>
                    <a:pt x="5" y="58"/>
                    <a:pt x="5" y="54"/>
                  </a:cubicBezTo>
                  <a:cubicBezTo>
                    <a:pt x="5" y="50"/>
                    <a:pt x="8" y="46"/>
                    <a:pt x="12" y="46"/>
                  </a:cubicBezTo>
                  <a:cubicBezTo>
                    <a:pt x="17" y="46"/>
                    <a:pt x="20" y="50"/>
                    <a:pt x="20" y="54"/>
                  </a:cubicBezTo>
                  <a:cubicBezTo>
                    <a:pt x="20" y="58"/>
                    <a:pt x="17" y="62"/>
                    <a:pt x="12" y="62"/>
                  </a:cubicBezTo>
                  <a:moveTo>
                    <a:pt x="102" y="73"/>
                  </a:moveTo>
                  <a:cubicBezTo>
                    <a:pt x="101" y="74"/>
                    <a:pt x="101" y="75"/>
                    <a:pt x="102" y="7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83" y="87"/>
                    <a:pt x="72" y="78"/>
                    <a:pt x="65" y="70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58" y="63"/>
                    <a:pt x="53" y="57"/>
                    <a:pt x="44" y="54"/>
                  </a:cubicBezTo>
                  <a:cubicBezTo>
                    <a:pt x="53" y="51"/>
                    <a:pt x="58" y="45"/>
                    <a:pt x="63" y="40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72" y="30"/>
                    <a:pt x="83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1" y="33"/>
                    <a:pt x="101" y="34"/>
                    <a:pt x="102" y="35"/>
                  </a:cubicBezTo>
                  <a:cubicBezTo>
                    <a:pt x="102" y="36"/>
                    <a:pt x="103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4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4" y="15"/>
                    <a:pt x="104" y="15"/>
                    <a:pt x="104" y="15"/>
                  </a:cubicBezTo>
                  <a:cubicBezTo>
                    <a:pt x="81" y="15"/>
                    <a:pt x="69" y="26"/>
                    <a:pt x="61" y="34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2" y="44"/>
                    <a:pt x="46" y="51"/>
                    <a:pt x="28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4" y="46"/>
                    <a:pt x="18" y="41"/>
                    <a:pt x="12" y="41"/>
                  </a:cubicBezTo>
                  <a:cubicBezTo>
                    <a:pt x="5" y="41"/>
                    <a:pt x="0" y="47"/>
                    <a:pt x="0" y="54"/>
                  </a:cubicBezTo>
                  <a:cubicBezTo>
                    <a:pt x="0" y="61"/>
                    <a:pt x="5" y="67"/>
                    <a:pt x="12" y="67"/>
                  </a:cubicBezTo>
                  <a:cubicBezTo>
                    <a:pt x="18" y="67"/>
                    <a:pt x="24" y="62"/>
                    <a:pt x="25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46" y="57"/>
                    <a:pt x="52" y="64"/>
                    <a:pt x="59" y="72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9" y="82"/>
                    <a:pt x="81" y="93"/>
                    <a:pt x="104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0"/>
                    <a:pt x="122" y="90"/>
                    <a:pt x="122" y="90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4" y="72"/>
                    <a:pt x="103" y="72"/>
                    <a:pt x="102" y="7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43">
            <a:extLst>
              <a:ext uri="{FF2B5EF4-FFF2-40B4-BE49-F238E27FC236}">
                <a16:creationId xmlns:a16="http://schemas.microsoft.com/office/drawing/2014/main" id="{E5406789-A0DE-4C22-ADE6-CC7FCE6A91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7591" y="1562162"/>
            <a:ext cx="758825" cy="758825"/>
            <a:chOff x="994" y="1124"/>
            <a:chExt cx="478" cy="478"/>
          </a:xfrm>
        </p:grpSpPr>
        <p:sp>
          <p:nvSpPr>
            <p:cNvPr id="70" name="AutoShape 42">
              <a:extLst>
                <a:ext uri="{FF2B5EF4-FFF2-40B4-BE49-F238E27FC236}">
                  <a16:creationId xmlns:a16="http://schemas.microsoft.com/office/drawing/2014/main" id="{58C0A70B-0857-498A-ADB9-E8956CB455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94" y="112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4">
              <a:extLst>
                <a:ext uri="{FF2B5EF4-FFF2-40B4-BE49-F238E27FC236}">
                  <a16:creationId xmlns:a16="http://schemas.microsoft.com/office/drawing/2014/main" id="{C449C8F5-9F59-4F55-BCAD-A3F7C471B9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6" y="112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5">
              <a:extLst>
                <a:ext uri="{FF2B5EF4-FFF2-40B4-BE49-F238E27FC236}">
                  <a16:creationId xmlns:a16="http://schemas.microsoft.com/office/drawing/2014/main" id="{24CFF809-D0E6-4412-AFEC-9E8530691F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" y="1232"/>
              <a:ext cx="299" cy="265"/>
            </a:xfrm>
            <a:custGeom>
              <a:avLst/>
              <a:gdLst>
                <a:gd name="T0" fmla="*/ 102 w 122"/>
                <a:gd name="T1" fmla="*/ 74 h 108"/>
                <a:gd name="T2" fmla="*/ 102 w 122"/>
                <a:gd name="T3" fmla="*/ 78 h 108"/>
                <a:gd name="T4" fmla="*/ 113 w 122"/>
                <a:gd name="T5" fmla="*/ 88 h 108"/>
                <a:gd name="T6" fmla="*/ 96 w 122"/>
                <a:gd name="T7" fmla="*/ 88 h 108"/>
                <a:gd name="T8" fmla="*/ 60 w 122"/>
                <a:gd name="T9" fmla="*/ 53 h 108"/>
                <a:gd name="T10" fmla="*/ 20 w 122"/>
                <a:gd name="T11" fmla="*/ 15 h 108"/>
                <a:gd name="T12" fmla="*/ 2 w 122"/>
                <a:gd name="T13" fmla="*/ 15 h 108"/>
                <a:gd name="T14" fmla="*/ 0 w 122"/>
                <a:gd name="T15" fmla="*/ 17 h 108"/>
                <a:gd name="T16" fmla="*/ 2 w 122"/>
                <a:gd name="T17" fmla="*/ 20 h 108"/>
                <a:gd name="T18" fmla="*/ 20 w 122"/>
                <a:gd name="T19" fmla="*/ 20 h 108"/>
                <a:gd name="T20" fmla="*/ 56 w 122"/>
                <a:gd name="T21" fmla="*/ 55 h 108"/>
                <a:gd name="T22" fmla="*/ 96 w 122"/>
                <a:gd name="T23" fmla="*/ 93 h 108"/>
                <a:gd name="T24" fmla="*/ 113 w 122"/>
                <a:gd name="T25" fmla="*/ 93 h 108"/>
                <a:gd name="T26" fmla="*/ 102 w 122"/>
                <a:gd name="T27" fmla="*/ 104 h 108"/>
                <a:gd name="T28" fmla="*/ 102 w 122"/>
                <a:gd name="T29" fmla="*/ 107 h 108"/>
                <a:gd name="T30" fmla="*/ 104 w 122"/>
                <a:gd name="T31" fmla="*/ 108 h 108"/>
                <a:gd name="T32" fmla="*/ 105 w 122"/>
                <a:gd name="T33" fmla="*/ 107 h 108"/>
                <a:gd name="T34" fmla="*/ 122 w 122"/>
                <a:gd name="T35" fmla="*/ 91 h 108"/>
                <a:gd name="T36" fmla="*/ 105 w 122"/>
                <a:gd name="T37" fmla="*/ 74 h 108"/>
                <a:gd name="T38" fmla="*/ 102 w 122"/>
                <a:gd name="T39" fmla="*/ 74 h 108"/>
                <a:gd name="T40" fmla="*/ 96 w 122"/>
                <a:gd name="T41" fmla="*/ 20 h 108"/>
                <a:gd name="T42" fmla="*/ 113 w 122"/>
                <a:gd name="T43" fmla="*/ 20 h 108"/>
                <a:gd name="T44" fmla="*/ 102 w 122"/>
                <a:gd name="T45" fmla="*/ 30 h 108"/>
                <a:gd name="T46" fmla="*/ 102 w 122"/>
                <a:gd name="T47" fmla="*/ 34 h 108"/>
                <a:gd name="T48" fmla="*/ 104 w 122"/>
                <a:gd name="T49" fmla="*/ 34 h 108"/>
                <a:gd name="T50" fmla="*/ 105 w 122"/>
                <a:gd name="T51" fmla="*/ 34 h 108"/>
                <a:gd name="T52" fmla="*/ 122 w 122"/>
                <a:gd name="T53" fmla="*/ 17 h 108"/>
                <a:gd name="T54" fmla="*/ 105 w 122"/>
                <a:gd name="T55" fmla="*/ 1 h 108"/>
                <a:gd name="T56" fmla="*/ 102 w 122"/>
                <a:gd name="T57" fmla="*/ 1 h 108"/>
                <a:gd name="T58" fmla="*/ 102 w 122"/>
                <a:gd name="T59" fmla="*/ 4 h 108"/>
                <a:gd name="T60" fmla="*/ 113 w 122"/>
                <a:gd name="T61" fmla="*/ 15 h 108"/>
                <a:gd name="T62" fmla="*/ 96 w 122"/>
                <a:gd name="T63" fmla="*/ 15 h 108"/>
                <a:gd name="T64" fmla="*/ 61 w 122"/>
                <a:gd name="T65" fmla="*/ 42 h 108"/>
                <a:gd name="T66" fmla="*/ 63 w 122"/>
                <a:gd name="T67" fmla="*/ 48 h 108"/>
                <a:gd name="T68" fmla="*/ 96 w 122"/>
                <a:gd name="T69" fmla="*/ 20 h 108"/>
                <a:gd name="T70" fmla="*/ 20 w 122"/>
                <a:gd name="T71" fmla="*/ 88 h 108"/>
                <a:gd name="T72" fmla="*/ 2 w 122"/>
                <a:gd name="T73" fmla="*/ 88 h 108"/>
                <a:gd name="T74" fmla="*/ 0 w 122"/>
                <a:gd name="T75" fmla="*/ 91 h 108"/>
                <a:gd name="T76" fmla="*/ 2 w 122"/>
                <a:gd name="T77" fmla="*/ 93 h 108"/>
                <a:gd name="T78" fmla="*/ 20 w 122"/>
                <a:gd name="T79" fmla="*/ 93 h 108"/>
                <a:gd name="T80" fmla="*/ 55 w 122"/>
                <a:gd name="T81" fmla="*/ 66 h 108"/>
                <a:gd name="T82" fmla="*/ 52 w 122"/>
                <a:gd name="T83" fmla="*/ 60 h 108"/>
                <a:gd name="T84" fmla="*/ 20 w 122"/>
                <a:gd name="T85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" h="108">
                  <a:moveTo>
                    <a:pt x="102" y="74"/>
                  </a:moveTo>
                  <a:cubicBezTo>
                    <a:pt x="101" y="75"/>
                    <a:pt x="101" y="77"/>
                    <a:pt x="102" y="78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77" y="88"/>
                    <a:pt x="68" y="72"/>
                    <a:pt x="60" y="53"/>
                  </a:cubicBezTo>
                  <a:cubicBezTo>
                    <a:pt x="53" y="37"/>
                    <a:pt x="43" y="15"/>
                    <a:pt x="2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6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8" y="20"/>
                    <a:pt x="47" y="36"/>
                    <a:pt x="56" y="55"/>
                  </a:cubicBezTo>
                  <a:cubicBezTo>
                    <a:pt x="62" y="70"/>
                    <a:pt x="73" y="93"/>
                    <a:pt x="96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1"/>
                    <a:pt x="122" y="91"/>
                    <a:pt x="122" y="91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04" y="73"/>
                    <a:pt x="103" y="73"/>
                    <a:pt x="102" y="74"/>
                  </a:cubicBezTo>
                  <a:moveTo>
                    <a:pt x="96" y="20"/>
                  </a:moveTo>
                  <a:cubicBezTo>
                    <a:pt x="113" y="20"/>
                    <a:pt x="113" y="20"/>
                    <a:pt x="113" y="2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1"/>
                    <a:pt x="101" y="33"/>
                    <a:pt x="102" y="34"/>
                  </a:cubicBezTo>
                  <a:cubicBezTo>
                    <a:pt x="102" y="34"/>
                    <a:pt x="103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3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78" y="15"/>
                    <a:pt x="68" y="29"/>
                    <a:pt x="61" y="42"/>
                  </a:cubicBezTo>
                  <a:cubicBezTo>
                    <a:pt x="62" y="44"/>
                    <a:pt x="63" y="46"/>
                    <a:pt x="63" y="48"/>
                  </a:cubicBezTo>
                  <a:cubicBezTo>
                    <a:pt x="71" y="32"/>
                    <a:pt x="80" y="20"/>
                    <a:pt x="96" y="20"/>
                  </a:cubicBezTo>
                  <a:moveTo>
                    <a:pt x="20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8"/>
                    <a:pt x="0" y="89"/>
                    <a:pt x="0" y="91"/>
                  </a:cubicBezTo>
                  <a:cubicBezTo>
                    <a:pt x="0" y="92"/>
                    <a:pt x="1" y="93"/>
                    <a:pt x="2" y="93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38" y="93"/>
                    <a:pt x="48" y="80"/>
                    <a:pt x="55" y="66"/>
                  </a:cubicBezTo>
                  <a:cubicBezTo>
                    <a:pt x="54" y="64"/>
                    <a:pt x="53" y="62"/>
                    <a:pt x="52" y="60"/>
                  </a:cubicBezTo>
                  <a:cubicBezTo>
                    <a:pt x="45" y="76"/>
                    <a:pt x="36" y="88"/>
                    <a:pt x="20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6">
              <a:extLst>
                <a:ext uri="{FF2B5EF4-FFF2-40B4-BE49-F238E27FC236}">
                  <a16:creationId xmlns:a16="http://schemas.microsoft.com/office/drawing/2014/main" id="{50201153-E54A-4402-95B0-4565DC8E2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5" y="1232"/>
              <a:ext cx="299" cy="265"/>
            </a:xfrm>
            <a:custGeom>
              <a:avLst/>
              <a:gdLst>
                <a:gd name="T0" fmla="*/ 102 w 122"/>
                <a:gd name="T1" fmla="*/ 74 h 108"/>
                <a:gd name="T2" fmla="*/ 102 w 122"/>
                <a:gd name="T3" fmla="*/ 78 h 108"/>
                <a:gd name="T4" fmla="*/ 113 w 122"/>
                <a:gd name="T5" fmla="*/ 88 h 108"/>
                <a:gd name="T6" fmla="*/ 96 w 122"/>
                <a:gd name="T7" fmla="*/ 88 h 108"/>
                <a:gd name="T8" fmla="*/ 60 w 122"/>
                <a:gd name="T9" fmla="*/ 53 h 108"/>
                <a:gd name="T10" fmla="*/ 20 w 122"/>
                <a:gd name="T11" fmla="*/ 15 h 108"/>
                <a:gd name="T12" fmla="*/ 2 w 122"/>
                <a:gd name="T13" fmla="*/ 15 h 108"/>
                <a:gd name="T14" fmla="*/ 0 w 122"/>
                <a:gd name="T15" fmla="*/ 17 h 108"/>
                <a:gd name="T16" fmla="*/ 2 w 122"/>
                <a:gd name="T17" fmla="*/ 20 h 108"/>
                <a:gd name="T18" fmla="*/ 20 w 122"/>
                <a:gd name="T19" fmla="*/ 20 h 108"/>
                <a:gd name="T20" fmla="*/ 56 w 122"/>
                <a:gd name="T21" fmla="*/ 55 h 108"/>
                <a:gd name="T22" fmla="*/ 96 w 122"/>
                <a:gd name="T23" fmla="*/ 93 h 108"/>
                <a:gd name="T24" fmla="*/ 113 w 122"/>
                <a:gd name="T25" fmla="*/ 93 h 108"/>
                <a:gd name="T26" fmla="*/ 102 w 122"/>
                <a:gd name="T27" fmla="*/ 104 h 108"/>
                <a:gd name="T28" fmla="*/ 102 w 122"/>
                <a:gd name="T29" fmla="*/ 107 h 108"/>
                <a:gd name="T30" fmla="*/ 104 w 122"/>
                <a:gd name="T31" fmla="*/ 108 h 108"/>
                <a:gd name="T32" fmla="*/ 105 w 122"/>
                <a:gd name="T33" fmla="*/ 107 h 108"/>
                <a:gd name="T34" fmla="*/ 122 w 122"/>
                <a:gd name="T35" fmla="*/ 91 h 108"/>
                <a:gd name="T36" fmla="*/ 105 w 122"/>
                <a:gd name="T37" fmla="*/ 74 h 108"/>
                <a:gd name="T38" fmla="*/ 102 w 122"/>
                <a:gd name="T39" fmla="*/ 74 h 108"/>
                <a:gd name="T40" fmla="*/ 96 w 122"/>
                <a:gd name="T41" fmla="*/ 20 h 108"/>
                <a:gd name="T42" fmla="*/ 113 w 122"/>
                <a:gd name="T43" fmla="*/ 20 h 108"/>
                <a:gd name="T44" fmla="*/ 102 w 122"/>
                <a:gd name="T45" fmla="*/ 30 h 108"/>
                <a:gd name="T46" fmla="*/ 102 w 122"/>
                <a:gd name="T47" fmla="*/ 34 h 108"/>
                <a:gd name="T48" fmla="*/ 104 w 122"/>
                <a:gd name="T49" fmla="*/ 34 h 108"/>
                <a:gd name="T50" fmla="*/ 105 w 122"/>
                <a:gd name="T51" fmla="*/ 34 h 108"/>
                <a:gd name="T52" fmla="*/ 122 w 122"/>
                <a:gd name="T53" fmla="*/ 17 h 108"/>
                <a:gd name="T54" fmla="*/ 105 w 122"/>
                <a:gd name="T55" fmla="*/ 1 h 108"/>
                <a:gd name="T56" fmla="*/ 102 w 122"/>
                <a:gd name="T57" fmla="*/ 1 h 108"/>
                <a:gd name="T58" fmla="*/ 102 w 122"/>
                <a:gd name="T59" fmla="*/ 4 h 108"/>
                <a:gd name="T60" fmla="*/ 113 w 122"/>
                <a:gd name="T61" fmla="*/ 15 h 108"/>
                <a:gd name="T62" fmla="*/ 96 w 122"/>
                <a:gd name="T63" fmla="*/ 15 h 108"/>
                <a:gd name="T64" fmla="*/ 61 w 122"/>
                <a:gd name="T65" fmla="*/ 42 h 108"/>
                <a:gd name="T66" fmla="*/ 63 w 122"/>
                <a:gd name="T67" fmla="*/ 48 h 108"/>
                <a:gd name="T68" fmla="*/ 96 w 122"/>
                <a:gd name="T69" fmla="*/ 20 h 108"/>
                <a:gd name="T70" fmla="*/ 20 w 122"/>
                <a:gd name="T71" fmla="*/ 88 h 108"/>
                <a:gd name="T72" fmla="*/ 2 w 122"/>
                <a:gd name="T73" fmla="*/ 88 h 108"/>
                <a:gd name="T74" fmla="*/ 0 w 122"/>
                <a:gd name="T75" fmla="*/ 91 h 108"/>
                <a:gd name="T76" fmla="*/ 2 w 122"/>
                <a:gd name="T77" fmla="*/ 93 h 108"/>
                <a:gd name="T78" fmla="*/ 20 w 122"/>
                <a:gd name="T79" fmla="*/ 93 h 108"/>
                <a:gd name="T80" fmla="*/ 55 w 122"/>
                <a:gd name="T81" fmla="*/ 66 h 108"/>
                <a:gd name="T82" fmla="*/ 52 w 122"/>
                <a:gd name="T83" fmla="*/ 60 h 108"/>
                <a:gd name="T84" fmla="*/ 20 w 122"/>
                <a:gd name="T85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" h="108">
                  <a:moveTo>
                    <a:pt x="102" y="74"/>
                  </a:moveTo>
                  <a:cubicBezTo>
                    <a:pt x="101" y="75"/>
                    <a:pt x="101" y="77"/>
                    <a:pt x="102" y="78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77" y="88"/>
                    <a:pt x="68" y="72"/>
                    <a:pt x="60" y="53"/>
                  </a:cubicBezTo>
                  <a:cubicBezTo>
                    <a:pt x="53" y="37"/>
                    <a:pt x="43" y="15"/>
                    <a:pt x="2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6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8" y="20"/>
                    <a:pt x="47" y="36"/>
                    <a:pt x="56" y="55"/>
                  </a:cubicBezTo>
                  <a:cubicBezTo>
                    <a:pt x="62" y="70"/>
                    <a:pt x="73" y="93"/>
                    <a:pt x="96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1"/>
                    <a:pt x="122" y="91"/>
                    <a:pt x="122" y="91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04" y="73"/>
                    <a:pt x="103" y="73"/>
                    <a:pt x="102" y="74"/>
                  </a:cubicBezTo>
                  <a:moveTo>
                    <a:pt x="96" y="20"/>
                  </a:moveTo>
                  <a:cubicBezTo>
                    <a:pt x="113" y="20"/>
                    <a:pt x="113" y="20"/>
                    <a:pt x="113" y="2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1"/>
                    <a:pt x="101" y="33"/>
                    <a:pt x="102" y="34"/>
                  </a:cubicBezTo>
                  <a:cubicBezTo>
                    <a:pt x="102" y="34"/>
                    <a:pt x="103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3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78" y="15"/>
                    <a:pt x="68" y="29"/>
                    <a:pt x="61" y="42"/>
                  </a:cubicBezTo>
                  <a:cubicBezTo>
                    <a:pt x="62" y="44"/>
                    <a:pt x="63" y="46"/>
                    <a:pt x="63" y="48"/>
                  </a:cubicBezTo>
                  <a:cubicBezTo>
                    <a:pt x="71" y="32"/>
                    <a:pt x="80" y="20"/>
                    <a:pt x="96" y="20"/>
                  </a:cubicBezTo>
                  <a:moveTo>
                    <a:pt x="20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8"/>
                    <a:pt x="0" y="89"/>
                    <a:pt x="0" y="91"/>
                  </a:cubicBezTo>
                  <a:cubicBezTo>
                    <a:pt x="0" y="92"/>
                    <a:pt x="1" y="93"/>
                    <a:pt x="2" y="93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38" y="93"/>
                    <a:pt x="48" y="80"/>
                    <a:pt x="55" y="66"/>
                  </a:cubicBezTo>
                  <a:cubicBezTo>
                    <a:pt x="54" y="64"/>
                    <a:pt x="53" y="62"/>
                    <a:pt x="52" y="60"/>
                  </a:cubicBezTo>
                  <a:cubicBezTo>
                    <a:pt x="45" y="76"/>
                    <a:pt x="36" y="88"/>
                    <a:pt x="20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Group 49">
            <a:extLst>
              <a:ext uri="{FF2B5EF4-FFF2-40B4-BE49-F238E27FC236}">
                <a16:creationId xmlns:a16="http://schemas.microsoft.com/office/drawing/2014/main" id="{4A99802A-BEFE-41C1-B832-83093CA50C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3863" y="1520887"/>
            <a:ext cx="842962" cy="841375"/>
            <a:chOff x="205" y="1100"/>
            <a:chExt cx="531" cy="530"/>
          </a:xfrm>
        </p:grpSpPr>
        <p:sp>
          <p:nvSpPr>
            <p:cNvPr id="75" name="AutoShape 48">
              <a:extLst>
                <a:ext uri="{FF2B5EF4-FFF2-40B4-BE49-F238E27FC236}">
                  <a16:creationId xmlns:a16="http://schemas.microsoft.com/office/drawing/2014/main" id="{47EECE4F-D59A-46ED-9067-AE4332DF64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5" y="110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50">
              <a:extLst>
                <a:ext uri="{FF2B5EF4-FFF2-40B4-BE49-F238E27FC236}">
                  <a16:creationId xmlns:a16="http://schemas.microsoft.com/office/drawing/2014/main" id="{7BCDEF72-4FDF-4446-814A-8F2BA4BA75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" y="1100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54393EDD-8DFE-46E4-8050-9A3E90898F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" y="1118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2">
              <a:extLst>
                <a:ext uri="{FF2B5EF4-FFF2-40B4-BE49-F238E27FC236}">
                  <a16:creationId xmlns:a16="http://schemas.microsoft.com/office/drawing/2014/main" id="{009FB814-A1E6-4694-8CE0-31FDBF362F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" y="1228"/>
              <a:ext cx="313" cy="276"/>
            </a:xfrm>
            <a:custGeom>
              <a:avLst/>
              <a:gdLst>
                <a:gd name="T0" fmla="*/ 102 w 122"/>
                <a:gd name="T1" fmla="*/ 74 h 108"/>
                <a:gd name="T2" fmla="*/ 102 w 122"/>
                <a:gd name="T3" fmla="*/ 78 h 108"/>
                <a:gd name="T4" fmla="*/ 113 w 122"/>
                <a:gd name="T5" fmla="*/ 88 h 108"/>
                <a:gd name="T6" fmla="*/ 96 w 122"/>
                <a:gd name="T7" fmla="*/ 88 h 108"/>
                <a:gd name="T8" fmla="*/ 60 w 122"/>
                <a:gd name="T9" fmla="*/ 53 h 108"/>
                <a:gd name="T10" fmla="*/ 20 w 122"/>
                <a:gd name="T11" fmla="*/ 15 h 108"/>
                <a:gd name="T12" fmla="*/ 2 w 122"/>
                <a:gd name="T13" fmla="*/ 15 h 108"/>
                <a:gd name="T14" fmla="*/ 0 w 122"/>
                <a:gd name="T15" fmla="*/ 17 h 108"/>
                <a:gd name="T16" fmla="*/ 2 w 122"/>
                <a:gd name="T17" fmla="*/ 20 h 108"/>
                <a:gd name="T18" fmla="*/ 20 w 122"/>
                <a:gd name="T19" fmla="*/ 20 h 108"/>
                <a:gd name="T20" fmla="*/ 56 w 122"/>
                <a:gd name="T21" fmla="*/ 55 h 108"/>
                <a:gd name="T22" fmla="*/ 96 w 122"/>
                <a:gd name="T23" fmla="*/ 93 h 108"/>
                <a:gd name="T24" fmla="*/ 113 w 122"/>
                <a:gd name="T25" fmla="*/ 93 h 108"/>
                <a:gd name="T26" fmla="*/ 102 w 122"/>
                <a:gd name="T27" fmla="*/ 104 h 108"/>
                <a:gd name="T28" fmla="*/ 102 w 122"/>
                <a:gd name="T29" fmla="*/ 107 h 108"/>
                <a:gd name="T30" fmla="*/ 104 w 122"/>
                <a:gd name="T31" fmla="*/ 108 h 108"/>
                <a:gd name="T32" fmla="*/ 105 w 122"/>
                <a:gd name="T33" fmla="*/ 107 h 108"/>
                <a:gd name="T34" fmla="*/ 122 w 122"/>
                <a:gd name="T35" fmla="*/ 91 h 108"/>
                <a:gd name="T36" fmla="*/ 105 w 122"/>
                <a:gd name="T37" fmla="*/ 74 h 108"/>
                <a:gd name="T38" fmla="*/ 102 w 122"/>
                <a:gd name="T39" fmla="*/ 74 h 108"/>
                <a:gd name="T40" fmla="*/ 96 w 122"/>
                <a:gd name="T41" fmla="*/ 20 h 108"/>
                <a:gd name="T42" fmla="*/ 113 w 122"/>
                <a:gd name="T43" fmla="*/ 20 h 108"/>
                <a:gd name="T44" fmla="*/ 102 w 122"/>
                <a:gd name="T45" fmla="*/ 30 h 108"/>
                <a:gd name="T46" fmla="*/ 102 w 122"/>
                <a:gd name="T47" fmla="*/ 34 h 108"/>
                <a:gd name="T48" fmla="*/ 104 w 122"/>
                <a:gd name="T49" fmla="*/ 34 h 108"/>
                <a:gd name="T50" fmla="*/ 105 w 122"/>
                <a:gd name="T51" fmla="*/ 34 h 108"/>
                <a:gd name="T52" fmla="*/ 122 w 122"/>
                <a:gd name="T53" fmla="*/ 17 h 108"/>
                <a:gd name="T54" fmla="*/ 105 w 122"/>
                <a:gd name="T55" fmla="*/ 1 h 108"/>
                <a:gd name="T56" fmla="*/ 102 w 122"/>
                <a:gd name="T57" fmla="*/ 1 h 108"/>
                <a:gd name="T58" fmla="*/ 102 w 122"/>
                <a:gd name="T59" fmla="*/ 4 h 108"/>
                <a:gd name="T60" fmla="*/ 113 w 122"/>
                <a:gd name="T61" fmla="*/ 15 h 108"/>
                <a:gd name="T62" fmla="*/ 96 w 122"/>
                <a:gd name="T63" fmla="*/ 15 h 108"/>
                <a:gd name="T64" fmla="*/ 61 w 122"/>
                <a:gd name="T65" fmla="*/ 42 h 108"/>
                <a:gd name="T66" fmla="*/ 63 w 122"/>
                <a:gd name="T67" fmla="*/ 48 h 108"/>
                <a:gd name="T68" fmla="*/ 96 w 122"/>
                <a:gd name="T69" fmla="*/ 20 h 108"/>
                <a:gd name="T70" fmla="*/ 20 w 122"/>
                <a:gd name="T71" fmla="*/ 88 h 108"/>
                <a:gd name="T72" fmla="*/ 2 w 122"/>
                <a:gd name="T73" fmla="*/ 88 h 108"/>
                <a:gd name="T74" fmla="*/ 0 w 122"/>
                <a:gd name="T75" fmla="*/ 91 h 108"/>
                <a:gd name="T76" fmla="*/ 2 w 122"/>
                <a:gd name="T77" fmla="*/ 93 h 108"/>
                <a:gd name="T78" fmla="*/ 20 w 122"/>
                <a:gd name="T79" fmla="*/ 93 h 108"/>
                <a:gd name="T80" fmla="*/ 55 w 122"/>
                <a:gd name="T81" fmla="*/ 66 h 108"/>
                <a:gd name="T82" fmla="*/ 52 w 122"/>
                <a:gd name="T83" fmla="*/ 60 h 108"/>
                <a:gd name="T84" fmla="*/ 20 w 122"/>
                <a:gd name="T85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" h="108">
                  <a:moveTo>
                    <a:pt x="102" y="74"/>
                  </a:moveTo>
                  <a:cubicBezTo>
                    <a:pt x="101" y="75"/>
                    <a:pt x="101" y="77"/>
                    <a:pt x="102" y="78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77" y="88"/>
                    <a:pt x="68" y="72"/>
                    <a:pt x="60" y="53"/>
                  </a:cubicBezTo>
                  <a:cubicBezTo>
                    <a:pt x="53" y="37"/>
                    <a:pt x="43" y="15"/>
                    <a:pt x="2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6"/>
                    <a:pt x="0" y="17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8" y="20"/>
                    <a:pt x="47" y="36"/>
                    <a:pt x="56" y="55"/>
                  </a:cubicBezTo>
                  <a:cubicBezTo>
                    <a:pt x="62" y="70"/>
                    <a:pt x="73" y="93"/>
                    <a:pt x="96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1" y="105"/>
                    <a:pt x="101" y="106"/>
                    <a:pt x="102" y="107"/>
                  </a:cubicBezTo>
                  <a:cubicBezTo>
                    <a:pt x="102" y="108"/>
                    <a:pt x="103" y="108"/>
                    <a:pt x="104" y="108"/>
                  </a:cubicBezTo>
                  <a:cubicBezTo>
                    <a:pt x="104" y="108"/>
                    <a:pt x="105" y="108"/>
                    <a:pt x="105" y="107"/>
                  </a:cubicBezTo>
                  <a:cubicBezTo>
                    <a:pt x="122" y="91"/>
                    <a:pt x="122" y="91"/>
                    <a:pt x="122" y="91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04" y="73"/>
                    <a:pt x="103" y="73"/>
                    <a:pt x="102" y="74"/>
                  </a:cubicBezTo>
                  <a:moveTo>
                    <a:pt x="96" y="20"/>
                  </a:moveTo>
                  <a:cubicBezTo>
                    <a:pt x="113" y="20"/>
                    <a:pt x="113" y="20"/>
                    <a:pt x="113" y="2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1"/>
                    <a:pt x="101" y="33"/>
                    <a:pt x="102" y="34"/>
                  </a:cubicBezTo>
                  <a:cubicBezTo>
                    <a:pt x="102" y="34"/>
                    <a:pt x="103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22" y="17"/>
                    <a:pt x="122" y="17"/>
                    <a:pt x="122" y="17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0"/>
                    <a:pt x="103" y="0"/>
                    <a:pt x="102" y="1"/>
                  </a:cubicBezTo>
                  <a:cubicBezTo>
                    <a:pt x="101" y="2"/>
                    <a:pt x="101" y="3"/>
                    <a:pt x="102" y="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78" y="15"/>
                    <a:pt x="68" y="29"/>
                    <a:pt x="61" y="42"/>
                  </a:cubicBezTo>
                  <a:cubicBezTo>
                    <a:pt x="62" y="44"/>
                    <a:pt x="63" y="46"/>
                    <a:pt x="63" y="48"/>
                  </a:cubicBezTo>
                  <a:cubicBezTo>
                    <a:pt x="71" y="32"/>
                    <a:pt x="80" y="20"/>
                    <a:pt x="96" y="20"/>
                  </a:cubicBezTo>
                  <a:moveTo>
                    <a:pt x="20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8"/>
                    <a:pt x="0" y="89"/>
                    <a:pt x="0" y="91"/>
                  </a:cubicBezTo>
                  <a:cubicBezTo>
                    <a:pt x="0" y="92"/>
                    <a:pt x="1" y="93"/>
                    <a:pt x="2" y="93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38" y="93"/>
                    <a:pt x="48" y="80"/>
                    <a:pt x="55" y="66"/>
                  </a:cubicBezTo>
                  <a:cubicBezTo>
                    <a:pt x="54" y="64"/>
                    <a:pt x="53" y="62"/>
                    <a:pt x="52" y="60"/>
                  </a:cubicBezTo>
                  <a:cubicBezTo>
                    <a:pt x="45" y="76"/>
                    <a:pt x="36" y="88"/>
                    <a:pt x="20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55">
            <a:extLst>
              <a:ext uri="{FF2B5EF4-FFF2-40B4-BE49-F238E27FC236}">
                <a16:creationId xmlns:a16="http://schemas.microsoft.com/office/drawing/2014/main" id="{5E732A2E-6673-4A55-81D6-2E2E94D212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1297" y="1562162"/>
            <a:ext cx="758825" cy="758825"/>
            <a:chOff x="2204" y="1007"/>
            <a:chExt cx="478" cy="478"/>
          </a:xfrm>
        </p:grpSpPr>
        <p:sp>
          <p:nvSpPr>
            <p:cNvPr id="84" name="AutoShape 54">
              <a:extLst>
                <a:ext uri="{FF2B5EF4-FFF2-40B4-BE49-F238E27FC236}">
                  <a16:creationId xmlns:a16="http://schemas.microsoft.com/office/drawing/2014/main" id="{300C5A85-620B-4FFB-85C5-5D8540F96B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04" y="100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6">
              <a:extLst>
                <a:ext uri="{FF2B5EF4-FFF2-40B4-BE49-F238E27FC236}">
                  <a16:creationId xmlns:a16="http://schemas.microsoft.com/office/drawing/2014/main" id="{3FF48459-CC6D-45FE-8085-5BADE43B0C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6" y="100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7">
              <a:extLst>
                <a:ext uri="{FF2B5EF4-FFF2-40B4-BE49-F238E27FC236}">
                  <a16:creationId xmlns:a16="http://schemas.microsoft.com/office/drawing/2014/main" id="{B9DBAA47-ED0C-4A1D-B39B-A0DE73ADB7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1125"/>
              <a:ext cx="299" cy="245"/>
            </a:xfrm>
            <a:custGeom>
              <a:avLst/>
              <a:gdLst>
                <a:gd name="T0" fmla="*/ 12 w 122"/>
                <a:gd name="T1" fmla="*/ 95 h 100"/>
                <a:gd name="T2" fmla="*/ 5 w 122"/>
                <a:gd name="T3" fmla="*/ 88 h 100"/>
                <a:gd name="T4" fmla="*/ 12 w 122"/>
                <a:gd name="T5" fmla="*/ 80 h 100"/>
                <a:gd name="T6" fmla="*/ 20 w 122"/>
                <a:gd name="T7" fmla="*/ 88 h 100"/>
                <a:gd name="T8" fmla="*/ 12 w 122"/>
                <a:gd name="T9" fmla="*/ 95 h 100"/>
                <a:gd name="T10" fmla="*/ 12 w 122"/>
                <a:gd name="T11" fmla="*/ 20 h 100"/>
                <a:gd name="T12" fmla="*/ 5 w 122"/>
                <a:gd name="T13" fmla="*/ 12 h 100"/>
                <a:gd name="T14" fmla="*/ 12 w 122"/>
                <a:gd name="T15" fmla="*/ 5 h 100"/>
                <a:gd name="T16" fmla="*/ 20 w 122"/>
                <a:gd name="T17" fmla="*/ 12 h 100"/>
                <a:gd name="T18" fmla="*/ 12 w 122"/>
                <a:gd name="T19" fmla="*/ 20 h 100"/>
                <a:gd name="T20" fmla="*/ 98 w 122"/>
                <a:gd name="T21" fmla="*/ 26 h 100"/>
                <a:gd name="T22" fmla="*/ 94 w 122"/>
                <a:gd name="T23" fmla="*/ 26 h 100"/>
                <a:gd name="T24" fmla="*/ 94 w 122"/>
                <a:gd name="T25" fmla="*/ 29 h 100"/>
                <a:gd name="T26" fmla="*/ 113 w 122"/>
                <a:gd name="T27" fmla="*/ 47 h 100"/>
                <a:gd name="T28" fmla="*/ 92 w 122"/>
                <a:gd name="T29" fmla="*/ 47 h 100"/>
                <a:gd name="T30" fmla="*/ 62 w 122"/>
                <a:gd name="T31" fmla="*/ 31 h 100"/>
                <a:gd name="T32" fmla="*/ 60 w 122"/>
                <a:gd name="T33" fmla="*/ 29 h 100"/>
                <a:gd name="T34" fmla="*/ 28 w 122"/>
                <a:gd name="T35" fmla="*/ 10 h 100"/>
                <a:gd name="T36" fmla="*/ 25 w 122"/>
                <a:gd name="T37" fmla="*/ 10 h 100"/>
                <a:gd name="T38" fmla="*/ 12 w 122"/>
                <a:gd name="T39" fmla="*/ 0 h 100"/>
                <a:gd name="T40" fmla="*/ 0 w 122"/>
                <a:gd name="T41" fmla="*/ 12 h 100"/>
                <a:gd name="T42" fmla="*/ 12 w 122"/>
                <a:gd name="T43" fmla="*/ 25 h 100"/>
                <a:gd name="T44" fmla="*/ 25 w 122"/>
                <a:gd name="T45" fmla="*/ 15 h 100"/>
                <a:gd name="T46" fmla="*/ 28 w 122"/>
                <a:gd name="T47" fmla="*/ 15 h 100"/>
                <a:gd name="T48" fmla="*/ 56 w 122"/>
                <a:gd name="T49" fmla="*/ 32 h 100"/>
                <a:gd name="T50" fmla="*/ 58 w 122"/>
                <a:gd name="T51" fmla="*/ 34 h 100"/>
                <a:gd name="T52" fmla="*/ 77 w 122"/>
                <a:gd name="T53" fmla="*/ 50 h 100"/>
                <a:gd name="T54" fmla="*/ 58 w 122"/>
                <a:gd name="T55" fmla="*/ 66 h 100"/>
                <a:gd name="T56" fmla="*/ 56 w 122"/>
                <a:gd name="T57" fmla="*/ 68 h 100"/>
                <a:gd name="T58" fmla="*/ 28 w 122"/>
                <a:gd name="T59" fmla="*/ 85 h 100"/>
                <a:gd name="T60" fmla="*/ 25 w 122"/>
                <a:gd name="T61" fmla="*/ 85 h 100"/>
                <a:gd name="T62" fmla="*/ 12 w 122"/>
                <a:gd name="T63" fmla="*/ 75 h 100"/>
                <a:gd name="T64" fmla="*/ 0 w 122"/>
                <a:gd name="T65" fmla="*/ 88 h 100"/>
                <a:gd name="T66" fmla="*/ 12 w 122"/>
                <a:gd name="T67" fmla="*/ 100 h 100"/>
                <a:gd name="T68" fmla="*/ 25 w 122"/>
                <a:gd name="T69" fmla="*/ 90 h 100"/>
                <a:gd name="T70" fmla="*/ 28 w 122"/>
                <a:gd name="T71" fmla="*/ 90 h 100"/>
                <a:gd name="T72" fmla="*/ 60 w 122"/>
                <a:gd name="T73" fmla="*/ 71 h 100"/>
                <a:gd name="T74" fmla="*/ 62 w 122"/>
                <a:gd name="T75" fmla="*/ 69 h 100"/>
                <a:gd name="T76" fmla="*/ 92 w 122"/>
                <a:gd name="T77" fmla="*/ 53 h 100"/>
                <a:gd name="T78" fmla="*/ 113 w 122"/>
                <a:gd name="T79" fmla="*/ 53 h 100"/>
                <a:gd name="T80" fmla="*/ 94 w 122"/>
                <a:gd name="T81" fmla="*/ 71 h 100"/>
                <a:gd name="T82" fmla="*/ 94 w 122"/>
                <a:gd name="T83" fmla="*/ 74 h 100"/>
                <a:gd name="T84" fmla="*/ 96 w 122"/>
                <a:gd name="T85" fmla="*/ 75 h 100"/>
                <a:gd name="T86" fmla="*/ 98 w 122"/>
                <a:gd name="T87" fmla="*/ 74 h 100"/>
                <a:gd name="T88" fmla="*/ 122 w 122"/>
                <a:gd name="T89" fmla="*/ 50 h 100"/>
                <a:gd name="T90" fmla="*/ 98 w 122"/>
                <a:gd name="T91" fmla="*/ 2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0">
                  <a:moveTo>
                    <a:pt x="12" y="95"/>
                  </a:moveTo>
                  <a:cubicBezTo>
                    <a:pt x="8" y="95"/>
                    <a:pt x="5" y="92"/>
                    <a:pt x="5" y="88"/>
                  </a:cubicBezTo>
                  <a:cubicBezTo>
                    <a:pt x="5" y="84"/>
                    <a:pt x="8" y="80"/>
                    <a:pt x="12" y="80"/>
                  </a:cubicBezTo>
                  <a:cubicBezTo>
                    <a:pt x="17" y="80"/>
                    <a:pt x="20" y="84"/>
                    <a:pt x="20" y="88"/>
                  </a:cubicBezTo>
                  <a:cubicBezTo>
                    <a:pt x="20" y="92"/>
                    <a:pt x="17" y="95"/>
                    <a:pt x="12" y="95"/>
                  </a:cubicBezTo>
                  <a:moveTo>
                    <a:pt x="12" y="20"/>
                  </a:moveTo>
                  <a:cubicBezTo>
                    <a:pt x="8" y="20"/>
                    <a:pt x="5" y="16"/>
                    <a:pt x="5" y="12"/>
                  </a:cubicBezTo>
                  <a:cubicBezTo>
                    <a:pt x="5" y="8"/>
                    <a:pt x="8" y="5"/>
                    <a:pt x="12" y="5"/>
                  </a:cubicBezTo>
                  <a:cubicBezTo>
                    <a:pt x="17" y="5"/>
                    <a:pt x="20" y="8"/>
                    <a:pt x="20" y="12"/>
                  </a:cubicBezTo>
                  <a:cubicBezTo>
                    <a:pt x="20" y="16"/>
                    <a:pt x="17" y="20"/>
                    <a:pt x="12" y="20"/>
                  </a:cubicBezTo>
                  <a:moveTo>
                    <a:pt x="98" y="26"/>
                  </a:moveTo>
                  <a:cubicBezTo>
                    <a:pt x="97" y="25"/>
                    <a:pt x="95" y="25"/>
                    <a:pt x="94" y="26"/>
                  </a:cubicBezTo>
                  <a:cubicBezTo>
                    <a:pt x="93" y="27"/>
                    <a:pt x="93" y="28"/>
                    <a:pt x="94" y="29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76" y="47"/>
                    <a:pt x="69" y="40"/>
                    <a:pt x="62" y="31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4" y="20"/>
                    <a:pt x="45" y="10"/>
                    <a:pt x="28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4"/>
                    <a:pt x="18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8" y="25"/>
                    <a:pt x="24" y="20"/>
                    <a:pt x="25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43" y="15"/>
                    <a:pt x="50" y="24"/>
                    <a:pt x="56" y="32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62" y="39"/>
                    <a:pt x="67" y="46"/>
                    <a:pt x="77" y="50"/>
                  </a:cubicBezTo>
                  <a:cubicBezTo>
                    <a:pt x="67" y="54"/>
                    <a:pt x="62" y="61"/>
                    <a:pt x="58" y="66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0" y="76"/>
                    <a:pt x="43" y="85"/>
                    <a:pt x="28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4" y="80"/>
                    <a:pt x="18" y="75"/>
                    <a:pt x="12" y="75"/>
                  </a:cubicBezTo>
                  <a:cubicBezTo>
                    <a:pt x="5" y="75"/>
                    <a:pt x="0" y="81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18" y="100"/>
                    <a:pt x="24" y="96"/>
                    <a:pt x="25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45" y="90"/>
                    <a:pt x="54" y="80"/>
                    <a:pt x="60" y="71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9" y="60"/>
                    <a:pt x="76" y="53"/>
                    <a:pt x="92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3" y="72"/>
                    <a:pt x="93" y="73"/>
                    <a:pt x="94" y="74"/>
                  </a:cubicBezTo>
                  <a:cubicBezTo>
                    <a:pt x="95" y="75"/>
                    <a:pt x="95" y="75"/>
                    <a:pt x="96" y="75"/>
                  </a:cubicBezTo>
                  <a:cubicBezTo>
                    <a:pt x="97" y="75"/>
                    <a:pt x="97" y="75"/>
                    <a:pt x="98" y="74"/>
                  </a:cubicBezTo>
                  <a:cubicBezTo>
                    <a:pt x="122" y="50"/>
                    <a:pt x="122" y="50"/>
                    <a:pt x="122" y="50"/>
                  </a:cubicBezTo>
                  <a:lnTo>
                    <a:pt x="98" y="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8">
              <a:extLst>
                <a:ext uri="{FF2B5EF4-FFF2-40B4-BE49-F238E27FC236}">
                  <a16:creationId xmlns:a16="http://schemas.microsoft.com/office/drawing/2014/main" id="{19357CFC-7BA3-427A-8FAB-64A38A4CA6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1125"/>
              <a:ext cx="299" cy="245"/>
            </a:xfrm>
            <a:custGeom>
              <a:avLst/>
              <a:gdLst>
                <a:gd name="T0" fmla="*/ 12 w 122"/>
                <a:gd name="T1" fmla="*/ 95 h 100"/>
                <a:gd name="T2" fmla="*/ 5 w 122"/>
                <a:gd name="T3" fmla="*/ 88 h 100"/>
                <a:gd name="T4" fmla="*/ 12 w 122"/>
                <a:gd name="T5" fmla="*/ 80 h 100"/>
                <a:gd name="T6" fmla="*/ 20 w 122"/>
                <a:gd name="T7" fmla="*/ 88 h 100"/>
                <a:gd name="T8" fmla="*/ 12 w 122"/>
                <a:gd name="T9" fmla="*/ 95 h 100"/>
                <a:gd name="T10" fmla="*/ 12 w 122"/>
                <a:gd name="T11" fmla="*/ 20 h 100"/>
                <a:gd name="T12" fmla="*/ 5 w 122"/>
                <a:gd name="T13" fmla="*/ 12 h 100"/>
                <a:gd name="T14" fmla="*/ 12 w 122"/>
                <a:gd name="T15" fmla="*/ 5 h 100"/>
                <a:gd name="T16" fmla="*/ 20 w 122"/>
                <a:gd name="T17" fmla="*/ 12 h 100"/>
                <a:gd name="T18" fmla="*/ 12 w 122"/>
                <a:gd name="T19" fmla="*/ 20 h 100"/>
                <a:gd name="T20" fmla="*/ 98 w 122"/>
                <a:gd name="T21" fmla="*/ 26 h 100"/>
                <a:gd name="T22" fmla="*/ 94 w 122"/>
                <a:gd name="T23" fmla="*/ 26 h 100"/>
                <a:gd name="T24" fmla="*/ 94 w 122"/>
                <a:gd name="T25" fmla="*/ 29 h 100"/>
                <a:gd name="T26" fmla="*/ 113 w 122"/>
                <a:gd name="T27" fmla="*/ 47 h 100"/>
                <a:gd name="T28" fmla="*/ 92 w 122"/>
                <a:gd name="T29" fmla="*/ 47 h 100"/>
                <a:gd name="T30" fmla="*/ 62 w 122"/>
                <a:gd name="T31" fmla="*/ 31 h 100"/>
                <a:gd name="T32" fmla="*/ 60 w 122"/>
                <a:gd name="T33" fmla="*/ 29 h 100"/>
                <a:gd name="T34" fmla="*/ 28 w 122"/>
                <a:gd name="T35" fmla="*/ 10 h 100"/>
                <a:gd name="T36" fmla="*/ 25 w 122"/>
                <a:gd name="T37" fmla="*/ 10 h 100"/>
                <a:gd name="T38" fmla="*/ 12 w 122"/>
                <a:gd name="T39" fmla="*/ 0 h 100"/>
                <a:gd name="T40" fmla="*/ 0 w 122"/>
                <a:gd name="T41" fmla="*/ 12 h 100"/>
                <a:gd name="T42" fmla="*/ 12 w 122"/>
                <a:gd name="T43" fmla="*/ 25 h 100"/>
                <a:gd name="T44" fmla="*/ 25 w 122"/>
                <a:gd name="T45" fmla="*/ 15 h 100"/>
                <a:gd name="T46" fmla="*/ 28 w 122"/>
                <a:gd name="T47" fmla="*/ 15 h 100"/>
                <a:gd name="T48" fmla="*/ 56 w 122"/>
                <a:gd name="T49" fmla="*/ 32 h 100"/>
                <a:gd name="T50" fmla="*/ 58 w 122"/>
                <a:gd name="T51" fmla="*/ 34 h 100"/>
                <a:gd name="T52" fmla="*/ 77 w 122"/>
                <a:gd name="T53" fmla="*/ 50 h 100"/>
                <a:gd name="T54" fmla="*/ 58 w 122"/>
                <a:gd name="T55" fmla="*/ 66 h 100"/>
                <a:gd name="T56" fmla="*/ 56 w 122"/>
                <a:gd name="T57" fmla="*/ 68 h 100"/>
                <a:gd name="T58" fmla="*/ 28 w 122"/>
                <a:gd name="T59" fmla="*/ 85 h 100"/>
                <a:gd name="T60" fmla="*/ 25 w 122"/>
                <a:gd name="T61" fmla="*/ 85 h 100"/>
                <a:gd name="T62" fmla="*/ 12 w 122"/>
                <a:gd name="T63" fmla="*/ 75 h 100"/>
                <a:gd name="T64" fmla="*/ 0 w 122"/>
                <a:gd name="T65" fmla="*/ 88 h 100"/>
                <a:gd name="T66" fmla="*/ 12 w 122"/>
                <a:gd name="T67" fmla="*/ 100 h 100"/>
                <a:gd name="T68" fmla="*/ 25 w 122"/>
                <a:gd name="T69" fmla="*/ 90 h 100"/>
                <a:gd name="T70" fmla="*/ 28 w 122"/>
                <a:gd name="T71" fmla="*/ 90 h 100"/>
                <a:gd name="T72" fmla="*/ 60 w 122"/>
                <a:gd name="T73" fmla="*/ 71 h 100"/>
                <a:gd name="T74" fmla="*/ 62 w 122"/>
                <a:gd name="T75" fmla="*/ 69 h 100"/>
                <a:gd name="T76" fmla="*/ 92 w 122"/>
                <a:gd name="T77" fmla="*/ 53 h 100"/>
                <a:gd name="T78" fmla="*/ 113 w 122"/>
                <a:gd name="T79" fmla="*/ 53 h 100"/>
                <a:gd name="T80" fmla="*/ 94 w 122"/>
                <a:gd name="T81" fmla="*/ 71 h 100"/>
                <a:gd name="T82" fmla="*/ 94 w 122"/>
                <a:gd name="T83" fmla="*/ 74 h 100"/>
                <a:gd name="T84" fmla="*/ 96 w 122"/>
                <a:gd name="T85" fmla="*/ 75 h 100"/>
                <a:gd name="T86" fmla="*/ 98 w 122"/>
                <a:gd name="T87" fmla="*/ 74 h 100"/>
                <a:gd name="T88" fmla="*/ 122 w 122"/>
                <a:gd name="T89" fmla="*/ 50 h 100"/>
                <a:gd name="T90" fmla="*/ 98 w 122"/>
                <a:gd name="T91" fmla="*/ 2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0">
                  <a:moveTo>
                    <a:pt x="12" y="95"/>
                  </a:moveTo>
                  <a:cubicBezTo>
                    <a:pt x="8" y="95"/>
                    <a:pt x="5" y="92"/>
                    <a:pt x="5" y="88"/>
                  </a:cubicBezTo>
                  <a:cubicBezTo>
                    <a:pt x="5" y="84"/>
                    <a:pt x="8" y="80"/>
                    <a:pt x="12" y="80"/>
                  </a:cubicBezTo>
                  <a:cubicBezTo>
                    <a:pt x="17" y="80"/>
                    <a:pt x="20" y="84"/>
                    <a:pt x="20" y="88"/>
                  </a:cubicBezTo>
                  <a:cubicBezTo>
                    <a:pt x="20" y="92"/>
                    <a:pt x="17" y="95"/>
                    <a:pt x="12" y="95"/>
                  </a:cubicBezTo>
                  <a:moveTo>
                    <a:pt x="12" y="20"/>
                  </a:moveTo>
                  <a:cubicBezTo>
                    <a:pt x="8" y="20"/>
                    <a:pt x="5" y="16"/>
                    <a:pt x="5" y="12"/>
                  </a:cubicBezTo>
                  <a:cubicBezTo>
                    <a:pt x="5" y="8"/>
                    <a:pt x="8" y="5"/>
                    <a:pt x="12" y="5"/>
                  </a:cubicBezTo>
                  <a:cubicBezTo>
                    <a:pt x="17" y="5"/>
                    <a:pt x="20" y="8"/>
                    <a:pt x="20" y="12"/>
                  </a:cubicBezTo>
                  <a:cubicBezTo>
                    <a:pt x="20" y="16"/>
                    <a:pt x="17" y="20"/>
                    <a:pt x="12" y="20"/>
                  </a:cubicBezTo>
                  <a:moveTo>
                    <a:pt x="98" y="26"/>
                  </a:moveTo>
                  <a:cubicBezTo>
                    <a:pt x="97" y="25"/>
                    <a:pt x="95" y="25"/>
                    <a:pt x="94" y="26"/>
                  </a:cubicBezTo>
                  <a:cubicBezTo>
                    <a:pt x="93" y="27"/>
                    <a:pt x="93" y="28"/>
                    <a:pt x="94" y="29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76" y="47"/>
                    <a:pt x="69" y="40"/>
                    <a:pt x="62" y="31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4" y="20"/>
                    <a:pt x="45" y="10"/>
                    <a:pt x="28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4"/>
                    <a:pt x="18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8" y="25"/>
                    <a:pt x="24" y="20"/>
                    <a:pt x="25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43" y="15"/>
                    <a:pt x="50" y="24"/>
                    <a:pt x="56" y="32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62" y="39"/>
                    <a:pt x="67" y="46"/>
                    <a:pt x="77" y="50"/>
                  </a:cubicBezTo>
                  <a:cubicBezTo>
                    <a:pt x="67" y="54"/>
                    <a:pt x="62" y="61"/>
                    <a:pt x="58" y="66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0" y="76"/>
                    <a:pt x="43" y="85"/>
                    <a:pt x="28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4" y="80"/>
                    <a:pt x="18" y="75"/>
                    <a:pt x="12" y="75"/>
                  </a:cubicBezTo>
                  <a:cubicBezTo>
                    <a:pt x="5" y="75"/>
                    <a:pt x="0" y="81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18" y="100"/>
                    <a:pt x="24" y="96"/>
                    <a:pt x="25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45" y="90"/>
                    <a:pt x="54" y="80"/>
                    <a:pt x="60" y="71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9" y="60"/>
                    <a:pt x="76" y="53"/>
                    <a:pt x="92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3" y="72"/>
                    <a:pt x="93" y="73"/>
                    <a:pt x="94" y="74"/>
                  </a:cubicBezTo>
                  <a:cubicBezTo>
                    <a:pt x="95" y="75"/>
                    <a:pt x="95" y="75"/>
                    <a:pt x="96" y="75"/>
                  </a:cubicBezTo>
                  <a:cubicBezTo>
                    <a:pt x="97" y="75"/>
                    <a:pt x="97" y="75"/>
                    <a:pt x="98" y="74"/>
                  </a:cubicBezTo>
                  <a:cubicBezTo>
                    <a:pt x="122" y="50"/>
                    <a:pt x="122" y="50"/>
                    <a:pt x="122" y="50"/>
                  </a:cubicBezTo>
                  <a:lnTo>
                    <a:pt x="98" y="2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61">
            <a:extLst>
              <a:ext uri="{FF2B5EF4-FFF2-40B4-BE49-F238E27FC236}">
                <a16:creationId xmlns:a16="http://schemas.microsoft.com/office/drawing/2014/main" id="{D8D47318-8E3A-4F63-AF66-010674C261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1621" y="1516124"/>
            <a:ext cx="850900" cy="850900"/>
            <a:chOff x="1642" y="995"/>
            <a:chExt cx="536" cy="536"/>
          </a:xfrm>
        </p:grpSpPr>
        <p:sp>
          <p:nvSpPr>
            <p:cNvPr id="89" name="AutoShape 60">
              <a:extLst>
                <a:ext uri="{FF2B5EF4-FFF2-40B4-BE49-F238E27FC236}">
                  <a16:creationId xmlns:a16="http://schemas.microsoft.com/office/drawing/2014/main" id="{FBC08D54-3106-46E3-BAD5-3514364EBB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2" y="995"/>
              <a:ext cx="536" cy="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62">
              <a:extLst>
                <a:ext uri="{FF2B5EF4-FFF2-40B4-BE49-F238E27FC236}">
                  <a16:creationId xmlns:a16="http://schemas.microsoft.com/office/drawing/2014/main" id="{D930DC6D-027D-41B4-9D3C-8BB2B05A5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2" y="995"/>
              <a:ext cx="539" cy="539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3">
              <a:extLst>
                <a:ext uri="{FF2B5EF4-FFF2-40B4-BE49-F238E27FC236}">
                  <a16:creationId xmlns:a16="http://schemas.microsoft.com/office/drawing/2014/main" id="{A6B895A7-8162-4F0E-A58A-1A02D5B49D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0" y="1013"/>
              <a:ext cx="502" cy="502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4">
              <a:extLst>
                <a:ext uri="{FF2B5EF4-FFF2-40B4-BE49-F238E27FC236}">
                  <a16:creationId xmlns:a16="http://schemas.microsoft.com/office/drawing/2014/main" id="{DD4501DA-89F8-4DCD-BECF-B4B758DA4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" y="1135"/>
              <a:ext cx="316" cy="259"/>
            </a:xfrm>
            <a:custGeom>
              <a:avLst/>
              <a:gdLst>
                <a:gd name="T0" fmla="*/ 12 w 122"/>
                <a:gd name="T1" fmla="*/ 95 h 100"/>
                <a:gd name="T2" fmla="*/ 5 w 122"/>
                <a:gd name="T3" fmla="*/ 88 h 100"/>
                <a:gd name="T4" fmla="*/ 12 w 122"/>
                <a:gd name="T5" fmla="*/ 80 h 100"/>
                <a:gd name="T6" fmla="*/ 20 w 122"/>
                <a:gd name="T7" fmla="*/ 88 h 100"/>
                <a:gd name="T8" fmla="*/ 12 w 122"/>
                <a:gd name="T9" fmla="*/ 95 h 100"/>
                <a:gd name="T10" fmla="*/ 12 w 122"/>
                <a:gd name="T11" fmla="*/ 20 h 100"/>
                <a:gd name="T12" fmla="*/ 5 w 122"/>
                <a:gd name="T13" fmla="*/ 12 h 100"/>
                <a:gd name="T14" fmla="*/ 12 w 122"/>
                <a:gd name="T15" fmla="*/ 5 h 100"/>
                <a:gd name="T16" fmla="*/ 20 w 122"/>
                <a:gd name="T17" fmla="*/ 12 h 100"/>
                <a:gd name="T18" fmla="*/ 12 w 122"/>
                <a:gd name="T19" fmla="*/ 20 h 100"/>
                <a:gd name="T20" fmla="*/ 98 w 122"/>
                <a:gd name="T21" fmla="*/ 26 h 100"/>
                <a:gd name="T22" fmla="*/ 94 w 122"/>
                <a:gd name="T23" fmla="*/ 26 h 100"/>
                <a:gd name="T24" fmla="*/ 94 w 122"/>
                <a:gd name="T25" fmla="*/ 29 h 100"/>
                <a:gd name="T26" fmla="*/ 113 w 122"/>
                <a:gd name="T27" fmla="*/ 47 h 100"/>
                <a:gd name="T28" fmla="*/ 92 w 122"/>
                <a:gd name="T29" fmla="*/ 47 h 100"/>
                <a:gd name="T30" fmla="*/ 62 w 122"/>
                <a:gd name="T31" fmla="*/ 31 h 100"/>
                <a:gd name="T32" fmla="*/ 60 w 122"/>
                <a:gd name="T33" fmla="*/ 29 h 100"/>
                <a:gd name="T34" fmla="*/ 28 w 122"/>
                <a:gd name="T35" fmla="*/ 10 h 100"/>
                <a:gd name="T36" fmla="*/ 25 w 122"/>
                <a:gd name="T37" fmla="*/ 10 h 100"/>
                <a:gd name="T38" fmla="*/ 12 w 122"/>
                <a:gd name="T39" fmla="*/ 0 h 100"/>
                <a:gd name="T40" fmla="*/ 0 w 122"/>
                <a:gd name="T41" fmla="*/ 12 h 100"/>
                <a:gd name="T42" fmla="*/ 12 w 122"/>
                <a:gd name="T43" fmla="*/ 25 h 100"/>
                <a:gd name="T44" fmla="*/ 25 w 122"/>
                <a:gd name="T45" fmla="*/ 15 h 100"/>
                <a:gd name="T46" fmla="*/ 28 w 122"/>
                <a:gd name="T47" fmla="*/ 15 h 100"/>
                <a:gd name="T48" fmla="*/ 56 w 122"/>
                <a:gd name="T49" fmla="*/ 32 h 100"/>
                <a:gd name="T50" fmla="*/ 58 w 122"/>
                <a:gd name="T51" fmla="*/ 34 h 100"/>
                <a:gd name="T52" fmla="*/ 77 w 122"/>
                <a:gd name="T53" fmla="*/ 50 h 100"/>
                <a:gd name="T54" fmla="*/ 58 w 122"/>
                <a:gd name="T55" fmla="*/ 66 h 100"/>
                <a:gd name="T56" fmla="*/ 56 w 122"/>
                <a:gd name="T57" fmla="*/ 68 h 100"/>
                <a:gd name="T58" fmla="*/ 28 w 122"/>
                <a:gd name="T59" fmla="*/ 85 h 100"/>
                <a:gd name="T60" fmla="*/ 25 w 122"/>
                <a:gd name="T61" fmla="*/ 85 h 100"/>
                <a:gd name="T62" fmla="*/ 12 w 122"/>
                <a:gd name="T63" fmla="*/ 75 h 100"/>
                <a:gd name="T64" fmla="*/ 0 w 122"/>
                <a:gd name="T65" fmla="*/ 88 h 100"/>
                <a:gd name="T66" fmla="*/ 12 w 122"/>
                <a:gd name="T67" fmla="*/ 100 h 100"/>
                <a:gd name="T68" fmla="*/ 25 w 122"/>
                <a:gd name="T69" fmla="*/ 90 h 100"/>
                <a:gd name="T70" fmla="*/ 28 w 122"/>
                <a:gd name="T71" fmla="*/ 90 h 100"/>
                <a:gd name="T72" fmla="*/ 60 w 122"/>
                <a:gd name="T73" fmla="*/ 71 h 100"/>
                <a:gd name="T74" fmla="*/ 62 w 122"/>
                <a:gd name="T75" fmla="*/ 69 h 100"/>
                <a:gd name="T76" fmla="*/ 92 w 122"/>
                <a:gd name="T77" fmla="*/ 53 h 100"/>
                <a:gd name="T78" fmla="*/ 113 w 122"/>
                <a:gd name="T79" fmla="*/ 53 h 100"/>
                <a:gd name="T80" fmla="*/ 94 w 122"/>
                <a:gd name="T81" fmla="*/ 71 h 100"/>
                <a:gd name="T82" fmla="*/ 94 w 122"/>
                <a:gd name="T83" fmla="*/ 74 h 100"/>
                <a:gd name="T84" fmla="*/ 96 w 122"/>
                <a:gd name="T85" fmla="*/ 75 h 100"/>
                <a:gd name="T86" fmla="*/ 98 w 122"/>
                <a:gd name="T87" fmla="*/ 74 h 100"/>
                <a:gd name="T88" fmla="*/ 122 w 122"/>
                <a:gd name="T89" fmla="*/ 50 h 100"/>
                <a:gd name="T90" fmla="*/ 98 w 122"/>
                <a:gd name="T91" fmla="*/ 2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" h="100">
                  <a:moveTo>
                    <a:pt x="12" y="95"/>
                  </a:moveTo>
                  <a:cubicBezTo>
                    <a:pt x="8" y="95"/>
                    <a:pt x="5" y="92"/>
                    <a:pt x="5" y="88"/>
                  </a:cubicBezTo>
                  <a:cubicBezTo>
                    <a:pt x="5" y="84"/>
                    <a:pt x="8" y="80"/>
                    <a:pt x="12" y="80"/>
                  </a:cubicBezTo>
                  <a:cubicBezTo>
                    <a:pt x="17" y="80"/>
                    <a:pt x="20" y="84"/>
                    <a:pt x="20" y="88"/>
                  </a:cubicBezTo>
                  <a:cubicBezTo>
                    <a:pt x="20" y="92"/>
                    <a:pt x="17" y="95"/>
                    <a:pt x="12" y="95"/>
                  </a:cubicBezTo>
                  <a:moveTo>
                    <a:pt x="12" y="20"/>
                  </a:moveTo>
                  <a:cubicBezTo>
                    <a:pt x="8" y="20"/>
                    <a:pt x="5" y="16"/>
                    <a:pt x="5" y="12"/>
                  </a:cubicBezTo>
                  <a:cubicBezTo>
                    <a:pt x="5" y="8"/>
                    <a:pt x="8" y="5"/>
                    <a:pt x="12" y="5"/>
                  </a:cubicBezTo>
                  <a:cubicBezTo>
                    <a:pt x="17" y="5"/>
                    <a:pt x="20" y="8"/>
                    <a:pt x="20" y="12"/>
                  </a:cubicBezTo>
                  <a:cubicBezTo>
                    <a:pt x="20" y="16"/>
                    <a:pt x="17" y="20"/>
                    <a:pt x="12" y="20"/>
                  </a:cubicBezTo>
                  <a:moveTo>
                    <a:pt x="98" y="26"/>
                  </a:moveTo>
                  <a:cubicBezTo>
                    <a:pt x="97" y="25"/>
                    <a:pt x="95" y="25"/>
                    <a:pt x="94" y="26"/>
                  </a:cubicBezTo>
                  <a:cubicBezTo>
                    <a:pt x="93" y="27"/>
                    <a:pt x="93" y="28"/>
                    <a:pt x="94" y="29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76" y="47"/>
                    <a:pt x="69" y="40"/>
                    <a:pt x="62" y="31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4" y="20"/>
                    <a:pt x="45" y="10"/>
                    <a:pt x="28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4"/>
                    <a:pt x="18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8" y="25"/>
                    <a:pt x="24" y="20"/>
                    <a:pt x="25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43" y="15"/>
                    <a:pt x="50" y="24"/>
                    <a:pt x="56" y="32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62" y="39"/>
                    <a:pt x="67" y="46"/>
                    <a:pt x="77" y="50"/>
                  </a:cubicBezTo>
                  <a:cubicBezTo>
                    <a:pt x="67" y="54"/>
                    <a:pt x="62" y="61"/>
                    <a:pt x="58" y="66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0" y="76"/>
                    <a:pt x="43" y="85"/>
                    <a:pt x="28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4" y="80"/>
                    <a:pt x="18" y="75"/>
                    <a:pt x="12" y="75"/>
                  </a:cubicBezTo>
                  <a:cubicBezTo>
                    <a:pt x="5" y="75"/>
                    <a:pt x="0" y="81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18" y="100"/>
                    <a:pt x="24" y="96"/>
                    <a:pt x="25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45" y="90"/>
                    <a:pt x="54" y="80"/>
                    <a:pt x="60" y="71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9" y="60"/>
                    <a:pt x="76" y="53"/>
                    <a:pt x="92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3" y="72"/>
                    <a:pt x="93" y="73"/>
                    <a:pt x="94" y="74"/>
                  </a:cubicBezTo>
                  <a:cubicBezTo>
                    <a:pt x="95" y="75"/>
                    <a:pt x="95" y="75"/>
                    <a:pt x="96" y="75"/>
                  </a:cubicBezTo>
                  <a:cubicBezTo>
                    <a:pt x="97" y="75"/>
                    <a:pt x="97" y="75"/>
                    <a:pt x="98" y="74"/>
                  </a:cubicBezTo>
                  <a:cubicBezTo>
                    <a:pt x="122" y="50"/>
                    <a:pt x="122" y="50"/>
                    <a:pt x="122" y="50"/>
                  </a:cubicBezTo>
                  <a:lnTo>
                    <a:pt x="98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7" name="Group 67">
            <a:extLst>
              <a:ext uri="{FF2B5EF4-FFF2-40B4-BE49-F238E27FC236}">
                <a16:creationId xmlns:a16="http://schemas.microsoft.com/office/drawing/2014/main" id="{7FF94E75-2AE1-493A-A70A-1D60BA87E7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2313" y="1562162"/>
            <a:ext cx="760413" cy="758825"/>
            <a:chOff x="3520" y="1062"/>
            <a:chExt cx="479" cy="478"/>
          </a:xfrm>
        </p:grpSpPr>
        <p:sp>
          <p:nvSpPr>
            <p:cNvPr id="98" name="AutoShape 66">
              <a:extLst>
                <a:ext uri="{FF2B5EF4-FFF2-40B4-BE49-F238E27FC236}">
                  <a16:creationId xmlns:a16="http://schemas.microsoft.com/office/drawing/2014/main" id="{4B38B1CA-93ED-4010-8D2C-26159B7BF70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20" y="1062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8">
              <a:extLst>
                <a:ext uri="{FF2B5EF4-FFF2-40B4-BE49-F238E27FC236}">
                  <a16:creationId xmlns:a16="http://schemas.microsoft.com/office/drawing/2014/main" id="{9C104BD2-9683-4F01-ADC9-161F94315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2" y="1064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9">
              <a:extLst>
                <a:ext uri="{FF2B5EF4-FFF2-40B4-BE49-F238E27FC236}">
                  <a16:creationId xmlns:a16="http://schemas.microsoft.com/office/drawing/2014/main" id="{206F8710-BF9E-4187-97BA-581DA6218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9" y="1165"/>
              <a:ext cx="344" cy="275"/>
            </a:xfrm>
            <a:custGeom>
              <a:avLst/>
              <a:gdLst>
                <a:gd name="T0" fmla="*/ 100 w 140"/>
                <a:gd name="T1" fmla="*/ 15 h 112"/>
                <a:gd name="T2" fmla="*/ 96 w 140"/>
                <a:gd name="T3" fmla="*/ 15 h 112"/>
                <a:gd name="T4" fmla="*/ 107 w 140"/>
                <a:gd name="T5" fmla="*/ 5 h 112"/>
                <a:gd name="T6" fmla="*/ 107 w 140"/>
                <a:gd name="T7" fmla="*/ 1 h 112"/>
                <a:gd name="T8" fmla="*/ 103 w 140"/>
                <a:gd name="T9" fmla="*/ 1 h 112"/>
                <a:gd name="T10" fmla="*/ 87 w 140"/>
                <a:gd name="T11" fmla="*/ 18 h 112"/>
                <a:gd name="T12" fmla="*/ 103 w 140"/>
                <a:gd name="T13" fmla="*/ 35 h 112"/>
                <a:gd name="T14" fmla="*/ 105 w 140"/>
                <a:gd name="T15" fmla="*/ 36 h 112"/>
                <a:gd name="T16" fmla="*/ 107 w 140"/>
                <a:gd name="T17" fmla="*/ 35 h 112"/>
                <a:gd name="T18" fmla="*/ 107 w 140"/>
                <a:gd name="T19" fmla="*/ 31 h 112"/>
                <a:gd name="T20" fmla="*/ 96 w 140"/>
                <a:gd name="T21" fmla="*/ 21 h 112"/>
                <a:gd name="T22" fmla="*/ 100 w 140"/>
                <a:gd name="T23" fmla="*/ 21 h 112"/>
                <a:gd name="T24" fmla="*/ 135 w 140"/>
                <a:gd name="T25" fmla="*/ 56 h 112"/>
                <a:gd name="T26" fmla="*/ 100 w 140"/>
                <a:gd name="T27" fmla="*/ 91 h 112"/>
                <a:gd name="T28" fmla="*/ 65 w 140"/>
                <a:gd name="T29" fmla="*/ 91 h 112"/>
                <a:gd name="T30" fmla="*/ 62 w 140"/>
                <a:gd name="T31" fmla="*/ 94 h 112"/>
                <a:gd name="T32" fmla="*/ 65 w 140"/>
                <a:gd name="T33" fmla="*/ 97 h 112"/>
                <a:gd name="T34" fmla="*/ 100 w 140"/>
                <a:gd name="T35" fmla="*/ 97 h 112"/>
                <a:gd name="T36" fmla="*/ 140 w 140"/>
                <a:gd name="T37" fmla="*/ 56 h 112"/>
                <a:gd name="T38" fmla="*/ 100 w 140"/>
                <a:gd name="T39" fmla="*/ 15 h 112"/>
                <a:gd name="T40" fmla="*/ 33 w 140"/>
                <a:gd name="T41" fmla="*/ 77 h 112"/>
                <a:gd name="T42" fmla="*/ 33 w 140"/>
                <a:gd name="T43" fmla="*/ 81 h 112"/>
                <a:gd name="T44" fmla="*/ 44 w 140"/>
                <a:gd name="T45" fmla="*/ 91 h 112"/>
                <a:gd name="T46" fmla="*/ 40 w 140"/>
                <a:gd name="T47" fmla="*/ 91 h 112"/>
                <a:gd name="T48" fmla="*/ 5 w 140"/>
                <a:gd name="T49" fmla="*/ 56 h 112"/>
                <a:gd name="T50" fmla="*/ 40 w 140"/>
                <a:gd name="T51" fmla="*/ 21 h 112"/>
                <a:gd name="T52" fmla="*/ 75 w 140"/>
                <a:gd name="T53" fmla="*/ 21 h 112"/>
                <a:gd name="T54" fmla="*/ 78 w 140"/>
                <a:gd name="T55" fmla="*/ 18 h 112"/>
                <a:gd name="T56" fmla="*/ 75 w 140"/>
                <a:gd name="T57" fmla="*/ 15 h 112"/>
                <a:gd name="T58" fmla="*/ 40 w 140"/>
                <a:gd name="T59" fmla="*/ 15 h 112"/>
                <a:gd name="T60" fmla="*/ 0 w 140"/>
                <a:gd name="T61" fmla="*/ 56 h 112"/>
                <a:gd name="T62" fmla="*/ 40 w 140"/>
                <a:gd name="T63" fmla="*/ 97 h 112"/>
                <a:gd name="T64" fmla="*/ 44 w 140"/>
                <a:gd name="T65" fmla="*/ 97 h 112"/>
                <a:gd name="T66" fmla="*/ 33 w 140"/>
                <a:gd name="T67" fmla="*/ 107 h 112"/>
                <a:gd name="T68" fmla="*/ 33 w 140"/>
                <a:gd name="T69" fmla="*/ 111 h 112"/>
                <a:gd name="T70" fmla="*/ 35 w 140"/>
                <a:gd name="T71" fmla="*/ 112 h 112"/>
                <a:gd name="T72" fmla="*/ 37 w 140"/>
                <a:gd name="T73" fmla="*/ 111 h 112"/>
                <a:gd name="T74" fmla="*/ 53 w 140"/>
                <a:gd name="T75" fmla="*/ 94 h 112"/>
                <a:gd name="T76" fmla="*/ 37 w 140"/>
                <a:gd name="T77" fmla="*/ 77 h 112"/>
                <a:gd name="T78" fmla="*/ 33 w 140"/>
                <a:gd name="T79" fmla="*/ 7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" h="112">
                  <a:moveTo>
                    <a:pt x="100" y="15"/>
                  </a:moveTo>
                  <a:cubicBezTo>
                    <a:pt x="96" y="15"/>
                    <a:pt x="96" y="15"/>
                    <a:pt x="96" y="1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8" y="4"/>
                    <a:pt x="108" y="2"/>
                    <a:pt x="107" y="1"/>
                  </a:cubicBezTo>
                  <a:cubicBezTo>
                    <a:pt x="106" y="0"/>
                    <a:pt x="104" y="0"/>
                    <a:pt x="103" y="1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4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7" y="35"/>
                  </a:cubicBezTo>
                  <a:cubicBezTo>
                    <a:pt x="108" y="34"/>
                    <a:pt x="108" y="32"/>
                    <a:pt x="107" y="3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20" y="21"/>
                    <a:pt x="135" y="36"/>
                    <a:pt x="135" y="56"/>
                  </a:cubicBezTo>
                  <a:cubicBezTo>
                    <a:pt x="135" y="76"/>
                    <a:pt x="120" y="91"/>
                    <a:pt x="100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4" y="91"/>
                    <a:pt x="62" y="93"/>
                    <a:pt x="62" y="94"/>
                  </a:cubicBezTo>
                  <a:cubicBezTo>
                    <a:pt x="62" y="95"/>
                    <a:pt x="64" y="97"/>
                    <a:pt x="65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22" y="97"/>
                    <a:pt x="140" y="78"/>
                    <a:pt x="140" y="56"/>
                  </a:cubicBezTo>
                  <a:cubicBezTo>
                    <a:pt x="140" y="34"/>
                    <a:pt x="122" y="15"/>
                    <a:pt x="100" y="15"/>
                  </a:cubicBezTo>
                  <a:moveTo>
                    <a:pt x="33" y="77"/>
                  </a:moveTo>
                  <a:cubicBezTo>
                    <a:pt x="32" y="78"/>
                    <a:pt x="32" y="80"/>
                    <a:pt x="33" y="81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20" y="91"/>
                    <a:pt x="5" y="76"/>
                    <a:pt x="5" y="56"/>
                  </a:cubicBezTo>
                  <a:cubicBezTo>
                    <a:pt x="5" y="36"/>
                    <a:pt x="20" y="21"/>
                    <a:pt x="40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6" y="21"/>
                    <a:pt x="78" y="19"/>
                    <a:pt x="78" y="18"/>
                  </a:cubicBezTo>
                  <a:cubicBezTo>
                    <a:pt x="78" y="17"/>
                    <a:pt x="76" y="15"/>
                    <a:pt x="75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8" y="15"/>
                    <a:pt x="0" y="34"/>
                    <a:pt x="0" y="56"/>
                  </a:cubicBezTo>
                  <a:cubicBezTo>
                    <a:pt x="0" y="78"/>
                    <a:pt x="18" y="97"/>
                    <a:pt x="40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2" y="108"/>
                    <a:pt x="32" y="110"/>
                    <a:pt x="33" y="111"/>
                  </a:cubicBezTo>
                  <a:cubicBezTo>
                    <a:pt x="34" y="111"/>
                    <a:pt x="34" y="112"/>
                    <a:pt x="35" y="112"/>
                  </a:cubicBezTo>
                  <a:cubicBezTo>
                    <a:pt x="36" y="112"/>
                    <a:pt x="36" y="111"/>
                    <a:pt x="37" y="111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6"/>
                    <a:pt x="34" y="76"/>
                    <a:pt x="33" y="7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18DFB8AA-45B6-4A50-A80D-C59F692D5D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9" y="1165"/>
              <a:ext cx="344" cy="275"/>
            </a:xfrm>
            <a:custGeom>
              <a:avLst/>
              <a:gdLst>
                <a:gd name="T0" fmla="*/ 100 w 140"/>
                <a:gd name="T1" fmla="*/ 15 h 112"/>
                <a:gd name="T2" fmla="*/ 96 w 140"/>
                <a:gd name="T3" fmla="*/ 15 h 112"/>
                <a:gd name="T4" fmla="*/ 107 w 140"/>
                <a:gd name="T5" fmla="*/ 5 h 112"/>
                <a:gd name="T6" fmla="*/ 107 w 140"/>
                <a:gd name="T7" fmla="*/ 1 h 112"/>
                <a:gd name="T8" fmla="*/ 103 w 140"/>
                <a:gd name="T9" fmla="*/ 1 h 112"/>
                <a:gd name="T10" fmla="*/ 87 w 140"/>
                <a:gd name="T11" fmla="*/ 18 h 112"/>
                <a:gd name="T12" fmla="*/ 103 w 140"/>
                <a:gd name="T13" fmla="*/ 35 h 112"/>
                <a:gd name="T14" fmla="*/ 105 w 140"/>
                <a:gd name="T15" fmla="*/ 36 h 112"/>
                <a:gd name="T16" fmla="*/ 107 w 140"/>
                <a:gd name="T17" fmla="*/ 35 h 112"/>
                <a:gd name="T18" fmla="*/ 107 w 140"/>
                <a:gd name="T19" fmla="*/ 31 h 112"/>
                <a:gd name="T20" fmla="*/ 96 w 140"/>
                <a:gd name="T21" fmla="*/ 21 h 112"/>
                <a:gd name="T22" fmla="*/ 100 w 140"/>
                <a:gd name="T23" fmla="*/ 21 h 112"/>
                <a:gd name="T24" fmla="*/ 135 w 140"/>
                <a:gd name="T25" fmla="*/ 56 h 112"/>
                <a:gd name="T26" fmla="*/ 100 w 140"/>
                <a:gd name="T27" fmla="*/ 91 h 112"/>
                <a:gd name="T28" fmla="*/ 65 w 140"/>
                <a:gd name="T29" fmla="*/ 91 h 112"/>
                <a:gd name="T30" fmla="*/ 62 w 140"/>
                <a:gd name="T31" fmla="*/ 94 h 112"/>
                <a:gd name="T32" fmla="*/ 65 w 140"/>
                <a:gd name="T33" fmla="*/ 97 h 112"/>
                <a:gd name="T34" fmla="*/ 100 w 140"/>
                <a:gd name="T35" fmla="*/ 97 h 112"/>
                <a:gd name="T36" fmla="*/ 140 w 140"/>
                <a:gd name="T37" fmla="*/ 56 h 112"/>
                <a:gd name="T38" fmla="*/ 100 w 140"/>
                <a:gd name="T39" fmla="*/ 15 h 112"/>
                <a:gd name="T40" fmla="*/ 33 w 140"/>
                <a:gd name="T41" fmla="*/ 77 h 112"/>
                <a:gd name="T42" fmla="*/ 33 w 140"/>
                <a:gd name="T43" fmla="*/ 81 h 112"/>
                <a:gd name="T44" fmla="*/ 44 w 140"/>
                <a:gd name="T45" fmla="*/ 91 h 112"/>
                <a:gd name="T46" fmla="*/ 40 w 140"/>
                <a:gd name="T47" fmla="*/ 91 h 112"/>
                <a:gd name="T48" fmla="*/ 5 w 140"/>
                <a:gd name="T49" fmla="*/ 56 h 112"/>
                <a:gd name="T50" fmla="*/ 40 w 140"/>
                <a:gd name="T51" fmla="*/ 21 h 112"/>
                <a:gd name="T52" fmla="*/ 75 w 140"/>
                <a:gd name="T53" fmla="*/ 21 h 112"/>
                <a:gd name="T54" fmla="*/ 78 w 140"/>
                <a:gd name="T55" fmla="*/ 18 h 112"/>
                <a:gd name="T56" fmla="*/ 75 w 140"/>
                <a:gd name="T57" fmla="*/ 15 h 112"/>
                <a:gd name="T58" fmla="*/ 40 w 140"/>
                <a:gd name="T59" fmla="*/ 15 h 112"/>
                <a:gd name="T60" fmla="*/ 0 w 140"/>
                <a:gd name="T61" fmla="*/ 56 h 112"/>
                <a:gd name="T62" fmla="*/ 40 w 140"/>
                <a:gd name="T63" fmla="*/ 97 h 112"/>
                <a:gd name="T64" fmla="*/ 44 w 140"/>
                <a:gd name="T65" fmla="*/ 97 h 112"/>
                <a:gd name="T66" fmla="*/ 33 w 140"/>
                <a:gd name="T67" fmla="*/ 107 h 112"/>
                <a:gd name="T68" fmla="*/ 33 w 140"/>
                <a:gd name="T69" fmla="*/ 111 h 112"/>
                <a:gd name="T70" fmla="*/ 35 w 140"/>
                <a:gd name="T71" fmla="*/ 112 h 112"/>
                <a:gd name="T72" fmla="*/ 37 w 140"/>
                <a:gd name="T73" fmla="*/ 111 h 112"/>
                <a:gd name="T74" fmla="*/ 53 w 140"/>
                <a:gd name="T75" fmla="*/ 94 h 112"/>
                <a:gd name="T76" fmla="*/ 37 w 140"/>
                <a:gd name="T77" fmla="*/ 77 h 112"/>
                <a:gd name="T78" fmla="*/ 33 w 140"/>
                <a:gd name="T79" fmla="*/ 7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" h="112">
                  <a:moveTo>
                    <a:pt x="100" y="15"/>
                  </a:moveTo>
                  <a:cubicBezTo>
                    <a:pt x="96" y="15"/>
                    <a:pt x="96" y="15"/>
                    <a:pt x="96" y="1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8" y="4"/>
                    <a:pt x="108" y="2"/>
                    <a:pt x="107" y="1"/>
                  </a:cubicBezTo>
                  <a:cubicBezTo>
                    <a:pt x="106" y="0"/>
                    <a:pt x="104" y="0"/>
                    <a:pt x="103" y="1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4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7" y="35"/>
                  </a:cubicBezTo>
                  <a:cubicBezTo>
                    <a:pt x="108" y="34"/>
                    <a:pt x="108" y="32"/>
                    <a:pt x="107" y="3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20" y="21"/>
                    <a:pt x="135" y="36"/>
                    <a:pt x="135" y="56"/>
                  </a:cubicBezTo>
                  <a:cubicBezTo>
                    <a:pt x="135" y="76"/>
                    <a:pt x="120" y="91"/>
                    <a:pt x="100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4" y="91"/>
                    <a:pt x="62" y="93"/>
                    <a:pt x="62" y="94"/>
                  </a:cubicBezTo>
                  <a:cubicBezTo>
                    <a:pt x="62" y="95"/>
                    <a:pt x="64" y="97"/>
                    <a:pt x="65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22" y="97"/>
                    <a:pt x="140" y="78"/>
                    <a:pt x="140" y="56"/>
                  </a:cubicBezTo>
                  <a:cubicBezTo>
                    <a:pt x="140" y="34"/>
                    <a:pt x="122" y="15"/>
                    <a:pt x="100" y="15"/>
                  </a:cubicBezTo>
                  <a:moveTo>
                    <a:pt x="33" y="77"/>
                  </a:moveTo>
                  <a:cubicBezTo>
                    <a:pt x="32" y="78"/>
                    <a:pt x="32" y="80"/>
                    <a:pt x="33" y="81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20" y="91"/>
                    <a:pt x="5" y="76"/>
                    <a:pt x="5" y="56"/>
                  </a:cubicBezTo>
                  <a:cubicBezTo>
                    <a:pt x="5" y="36"/>
                    <a:pt x="20" y="21"/>
                    <a:pt x="40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6" y="21"/>
                    <a:pt x="78" y="19"/>
                    <a:pt x="78" y="18"/>
                  </a:cubicBezTo>
                  <a:cubicBezTo>
                    <a:pt x="78" y="17"/>
                    <a:pt x="76" y="15"/>
                    <a:pt x="75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8" y="15"/>
                    <a:pt x="0" y="34"/>
                    <a:pt x="0" y="56"/>
                  </a:cubicBezTo>
                  <a:cubicBezTo>
                    <a:pt x="0" y="78"/>
                    <a:pt x="18" y="97"/>
                    <a:pt x="40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2" y="108"/>
                    <a:pt x="32" y="110"/>
                    <a:pt x="33" y="111"/>
                  </a:cubicBezTo>
                  <a:cubicBezTo>
                    <a:pt x="34" y="111"/>
                    <a:pt x="34" y="112"/>
                    <a:pt x="35" y="112"/>
                  </a:cubicBezTo>
                  <a:cubicBezTo>
                    <a:pt x="36" y="112"/>
                    <a:pt x="36" y="111"/>
                    <a:pt x="37" y="111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6"/>
                    <a:pt x="34" y="76"/>
                    <a:pt x="33" y="7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73">
            <a:extLst>
              <a:ext uri="{FF2B5EF4-FFF2-40B4-BE49-F238E27FC236}">
                <a16:creationId xmlns:a16="http://schemas.microsoft.com/office/drawing/2014/main" id="{F40A0F0C-7C68-48CD-9436-7341C7ADEE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5546" y="1520887"/>
            <a:ext cx="842962" cy="841375"/>
            <a:chOff x="3025" y="1064"/>
            <a:chExt cx="531" cy="530"/>
          </a:xfrm>
        </p:grpSpPr>
        <p:sp>
          <p:nvSpPr>
            <p:cNvPr id="103" name="AutoShape 72">
              <a:extLst>
                <a:ext uri="{FF2B5EF4-FFF2-40B4-BE49-F238E27FC236}">
                  <a16:creationId xmlns:a16="http://schemas.microsoft.com/office/drawing/2014/main" id="{BEFAE2B3-2297-4DA0-BA93-6A0CFBDF3B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25" y="1064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Oval 74">
              <a:extLst>
                <a:ext uri="{FF2B5EF4-FFF2-40B4-BE49-F238E27FC236}">
                  <a16:creationId xmlns:a16="http://schemas.microsoft.com/office/drawing/2014/main" id="{9166B3E4-DC4F-499D-89F5-596181AE0D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5" y="106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5">
              <a:extLst>
                <a:ext uri="{FF2B5EF4-FFF2-40B4-BE49-F238E27FC236}">
                  <a16:creationId xmlns:a16="http://schemas.microsoft.com/office/drawing/2014/main" id="{F762CC59-02FF-48C5-9C89-D0B5FB19D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3" y="1082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6">
              <a:extLst>
                <a:ext uri="{FF2B5EF4-FFF2-40B4-BE49-F238E27FC236}">
                  <a16:creationId xmlns:a16="http://schemas.microsoft.com/office/drawing/2014/main" id="{D187063F-83C8-450F-B756-FC46B1412B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2" y="1187"/>
              <a:ext cx="359" cy="287"/>
            </a:xfrm>
            <a:custGeom>
              <a:avLst/>
              <a:gdLst>
                <a:gd name="T0" fmla="*/ 100 w 140"/>
                <a:gd name="T1" fmla="*/ 15 h 112"/>
                <a:gd name="T2" fmla="*/ 96 w 140"/>
                <a:gd name="T3" fmla="*/ 15 h 112"/>
                <a:gd name="T4" fmla="*/ 107 w 140"/>
                <a:gd name="T5" fmla="*/ 5 h 112"/>
                <a:gd name="T6" fmla="*/ 107 w 140"/>
                <a:gd name="T7" fmla="*/ 1 h 112"/>
                <a:gd name="T8" fmla="*/ 103 w 140"/>
                <a:gd name="T9" fmla="*/ 1 h 112"/>
                <a:gd name="T10" fmla="*/ 87 w 140"/>
                <a:gd name="T11" fmla="*/ 18 h 112"/>
                <a:gd name="T12" fmla="*/ 103 w 140"/>
                <a:gd name="T13" fmla="*/ 35 h 112"/>
                <a:gd name="T14" fmla="*/ 105 w 140"/>
                <a:gd name="T15" fmla="*/ 36 h 112"/>
                <a:gd name="T16" fmla="*/ 107 w 140"/>
                <a:gd name="T17" fmla="*/ 35 h 112"/>
                <a:gd name="T18" fmla="*/ 107 w 140"/>
                <a:gd name="T19" fmla="*/ 31 h 112"/>
                <a:gd name="T20" fmla="*/ 96 w 140"/>
                <a:gd name="T21" fmla="*/ 21 h 112"/>
                <a:gd name="T22" fmla="*/ 100 w 140"/>
                <a:gd name="T23" fmla="*/ 21 h 112"/>
                <a:gd name="T24" fmla="*/ 135 w 140"/>
                <a:gd name="T25" fmla="*/ 56 h 112"/>
                <a:gd name="T26" fmla="*/ 100 w 140"/>
                <a:gd name="T27" fmla="*/ 91 h 112"/>
                <a:gd name="T28" fmla="*/ 65 w 140"/>
                <a:gd name="T29" fmla="*/ 91 h 112"/>
                <a:gd name="T30" fmla="*/ 62 w 140"/>
                <a:gd name="T31" fmla="*/ 94 h 112"/>
                <a:gd name="T32" fmla="*/ 65 w 140"/>
                <a:gd name="T33" fmla="*/ 97 h 112"/>
                <a:gd name="T34" fmla="*/ 100 w 140"/>
                <a:gd name="T35" fmla="*/ 97 h 112"/>
                <a:gd name="T36" fmla="*/ 140 w 140"/>
                <a:gd name="T37" fmla="*/ 56 h 112"/>
                <a:gd name="T38" fmla="*/ 100 w 140"/>
                <a:gd name="T39" fmla="*/ 15 h 112"/>
                <a:gd name="T40" fmla="*/ 33 w 140"/>
                <a:gd name="T41" fmla="*/ 77 h 112"/>
                <a:gd name="T42" fmla="*/ 33 w 140"/>
                <a:gd name="T43" fmla="*/ 81 h 112"/>
                <a:gd name="T44" fmla="*/ 44 w 140"/>
                <a:gd name="T45" fmla="*/ 91 h 112"/>
                <a:gd name="T46" fmla="*/ 40 w 140"/>
                <a:gd name="T47" fmla="*/ 91 h 112"/>
                <a:gd name="T48" fmla="*/ 5 w 140"/>
                <a:gd name="T49" fmla="*/ 56 h 112"/>
                <a:gd name="T50" fmla="*/ 40 w 140"/>
                <a:gd name="T51" fmla="*/ 21 h 112"/>
                <a:gd name="T52" fmla="*/ 75 w 140"/>
                <a:gd name="T53" fmla="*/ 21 h 112"/>
                <a:gd name="T54" fmla="*/ 78 w 140"/>
                <a:gd name="T55" fmla="*/ 18 h 112"/>
                <a:gd name="T56" fmla="*/ 75 w 140"/>
                <a:gd name="T57" fmla="*/ 15 h 112"/>
                <a:gd name="T58" fmla="*/ 40 w 140"/>
                <a:gd name="T59" fmla="*/ 15 h 112"/>
                <a:gd name="T60" fmla="*/ 0 w 140"/>
                <a:gd name="T61" fmla="*/ 56 h 112"/>
                <a:gd name="T62" fmla="*/ 40 w 140"/>
                <a:gd name="T63" fmla="*/ 97 h 112"/>
                <a:gd name="T64" fmla="*/ 44 w 140"/>
                <a:gd name="T65" fmla="*/ 97 h 112"/>
                <a:gd name="T66" fmla="*/ 33 w 140"/>
                <a:gd name="T67" fmla="*/ 107 h 112"/>
                <a:gd name="T68" fmla="*/ 33 w 140"/>
                <a:gd name="T69" fmla="*/ 111 h 112"/>
                <a:gd name="T70" fmla="*/ 35 w 140"/>
                <a:gd name="T71" fmla="*/ 112 h 112"/>
                <a:gd name="T72" fmla="*/ 37 w 140"/>
                <a:gd name="T73" fmla="*/ 111 h 112"/>
                <a:gd name="T74" fmla="*/ 53 w 140"/>
                <a:gd name="T75" fmla="*/ 94 h 112"/>
                <a:gd name="T76" fmla="*/ 37 w 140"/>
                <a:gd name="T77" fmla="*/ 77 h 112"/>
                <a:gd name="T78" fmla="*/ 33 w 140"/>
                <a:gd name="T79" fmla="*/ 7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" h="112">
                  <a:moveTo>
                    <a:pt x="100" y="15"/>
                  </a:moveTo>
                  <a:cubicBezTo>
                    <a:pt x="96" y="15"/>
                    <a:pt x="96" y="15"/>
                    <a:pt x="96" y="1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8" y="4"/>
                    <a:pt x="108" y="2"/>
                    <a:pt x="107" y="1"/>
                  </a:cubicBezTo>
                  <a:cubicBezTo>
                    <a:pt x="106" y="0"/>
                    <a:pt x="104" y="0"/>
                    <a:pt x="103" y="1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4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7" y="35"/>
                  </a:cubicBezTo>
                  <a:cubicBezTo>
                    <a:pt x="108" y="34"/>
                    <a:pt x="108" y="32"/>
                    <a:pt x="107" y="3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20" y="21"/>
                    <a:pt x="135" y="36"/>
                    <a:pt x="135" y="56"/>
                  </a:cubicBezTo>
                  <a:cubicBezTo>
                    <a:pt x="135" y="76"/>
                    <a:pt x="120" y="91"/>
                    <a:pt x="100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4" y="91"/>
                    <a:pt x="62" y="93"/>
                    <a:pt x="62" y="94"/>
                  </a:cubicBezTo>
                  <a:cubicBezTo>
                    <a:pt x="62" y="95"/>
                    <a:pt x="64" y="97"/>
                    <a:pt x="65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22" y="97"/>
                    <a:pt x="140" y="78"/>
                    <a:pt x="140" y="56"/>
                  </a:cubicBezTo>
                  <a:cubicBezTo>
                    <a:pt x="140" y="34"/>
                    <a:pt x="122" y="15"/>
                    <a:pt x="100" y="15"/>
                  </a:cubicBezTo>
                  <a:moveTo>
                    <a:pt x="33" y="77"/>
                  </a:moveTo>
                  <a:cubicBezTo>
                    <a:pt x="32" y="78"/>
                    <a:pt x="32" y="80"/>
                    <a:pt x="33" y="81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20" y="91"/>
                    <a:pt x="5" y="76"/>
                    <a:pt x="5" y="56"/>
                  </a:cubicBezTo>
                  <a:cubicBezTo>
                    <a:pt x="5" y="36"/>
                    <a:pt x="20" y="21"/>
                    <a:pt x="40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6" y="21"/>
                    <a:pt x="78" y="19"/>
                    <a:pt x="78" y="18"/>
                  </a:cubicBezTo>
                  <a:cubicBezTo>
                    <a:pt x="78" y="17"/>
                    <a:pt x="76" y="15"/>
                    <a:pt x="75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18" y="15"/>
                    <a:pt x="0" y="34"/>
                    <a:pt x="0" y="56"/>
                  </a:cubicBezTo>
                  <a:cubicBezTo>
                    <a:pt x="0" y="78"/>
                    <a:pt x="18" y="97"/>
                    <a:pt x="40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33" y="107"/>
                    <a:pt x="33" y="107"/>
                    <a:pt x="33" y="107"/>
                  </a:cubicBezTo>
                  <a:cubicBezTo>
                    <a:pt x="32" y="108"/>
                    <a:pt x="32" y="110"/>
                    <a:pt x="33" y="111"/>
                  </a:cubicBezTo>
                  <a:cubicBezTo>
                    <a:pt x="34" y="111"/>
                    <a:pt x="34" y="112"/>
                    <a:pt x="35" y="112"/>
                  </a:cubicBezTo>
                  <a:cubicBezTo>
                    <a:pt x="36" y="112"/>
                    <a:pt x="36" y="111"/>
                    <a:pt x="37" y="111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6" y="76"/>
                    <a:pt x="34" y="76"/>
                    <a:pt x="33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79">
            <a:extLst>
              <a:ext uri="{FF2B5EF4-FFF2-40B4-BE49-F238E27FC236}">
                <a16:creationId xmlns:a16="http://schemas.microsoft.com/office/drawing/2014/main" id="{E9520330-7549-419B-AEFA-17A7DA5730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1552" y="1562162"/>
            <a:ext cx="760413" cy="758825"/>
            <a:chOff x="4922" y="1049"/>
            <a:chExt cx="479" cy="478"/>
          </a:xfrm>
        </p:grpSpPr>
        <p:sp>
          <p:nvSpPr>
            <p:cNvPr id="112" name="AutoShape 78">
              <a:extLst>
                <a:ext uri="{FF2B5EF4-FFF2-40B4-BE49-F238E27FC236}">
                  <a16:creationId xmlns:a16="http://schemas.microsoft.com/office/drawing/2014/main" id="{91274E0E-0013-49CC-9C9D-E6189570B8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22" y="104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0">
              <a:extLst>
                <a:ext uri="{FF2B5EF4-FFF2-40B4-BE49-F238E27FC236}">
                  <a16:creationId xmlns:a16="http://schemas.microsoft.com/office/drawing/2014/main" id="{E9106CAB-78A0-449B-A682-60737DC65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4" y="105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81">
              <a:extLst>
                <a:ext uri="{FF2B5EF4-FFF2-40B4-BE49-F238E27FC236}">
                  <a16:creationId xmlns:a16="http://schemas.microsoft.com/office/drawing/2014/main" id="{B229ACB3-860F-4DAC-A11E-A915722ED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0" y="1147"/>
              <a:ext cx="285" cy="284"/>
            </a:xfrm>
            <a:custGeom>
              <a:avLst/>
              <a:gdLst>
                <a:gd name="T0" fmla="*/ 83 w 116"/>
                <a:gd name="T1" fmla="*/ 88 h 116"/>
                <a:gd name="T2" fmla="*/ 86 w 116"/>
                <a:gd name="T3" fmla="*/ 91 h 116"/>
                <a:gd name="T4" fmla="*/ 100 w 116"/>
                <a:gd name="T5" fmla="*/ 91 h 116"/>
                <a:gd name="T6" fmla="*/ 95 w 116"/>
                <a:gd name="T7" fmla="*/ 95 h 116"/>
                <a:gd name="T8" fmla="*/ 58 w 116"/>
                <a:gd name="T9" fmla="*/ 111 h 116"/>
                <a:gd name="T10" fmla="*/ 21 w 116"/>
                <a:gd name="T11" fmla="*/ 95 h 116"/>
                <a:gd name="T12" fmla="*/ 5 w 116"/>
                <a:gd name="T13" fmla="*/ 58 h 116"/>
                <a:gd name="T14" fmla="*/ 7 w 116"/>
                <a:gd name="T15" fmla="*/ 44 h 116"/>
                <a:gd name="T16" fmla="*/ 5 w 116"/>
                <a:gd name="T17" fmla="*/ 41 h 116"/>
                <a:gd name="T18" fmla="*/ 2 w 116"/>
                <a:gd name="T19" fmla="*/ 43 h 116"/>
                <a:gd name="T20" fmla="*/ 0 w 116"/>
                <a:gd name="T21" fmla="*/ 58 h 116"/>
                <a:gd name="T22" fmla="*/ 17 w 116"/>
                <a:gd name="T23" fmla="*/ 99 h 116"/>
                <a:gd name="T24" fmla="*/ 58 w 116"/>
                <a:gd name="T25" fmla="*/ 116 h 116"/>
                <a:gd name="T26" fmla="*/ 99 w 116"/>
                <a:gd name="T27" fmla="*/ 99 h 116"/>
                <a:gd name="T28" fmla="*/ 103 w 116"/>
                <a:gd name="T29" fmla="*/ 94 h 116"/>
                <a:gd name="T30" fmla="*/ 103 w 116"/>
                <a:gd name="T31" fmla="*/ 108 h 116"/>
                <a:gd name="T32" fmla="*/ 106 w 116"/>
                <a:gd name="T33" fmla="*/ 111 h 116"/>
                <a:gd name="T34" fmla="*/ 108 w 116"/>
                <a:gd name="T35" fmla="*/ 108 h 116"/>
                <a:gd name="T36" fmla="*/ 108 w 116"/>
                <a:gd name="T37" fmla="*/ 86 h 116"/>
                <a:gd name="T38" fmla="*/ 86 w 116"/>
                <a:gd name="T39" fmla="*/ 86 h 116"/>
                <a:gd name="T40" fmla="*/ 83 w 116"/>
                <a:gd name="T41" fmla="*/ 88 h 116"/>
                <a:gd name="T42" fmla="*/ 99 w 116"/>
                <a:gd name="T43" fmla="*/ 17 h 116"/>
                <a:gd name="T44" fmla="*/ 58 w 116"/>
                <a:gd name="T45" fmla="*/ 0 h 116"/>
                <a:gd name="T46" fmla="*/ 17 w 116"/>
                <a:gd name="T47" fmla="*/ 17 h 116"/>
                <a:gd name="T48" fmla="*/ 13 w 116"/>
                <a:gd name="T49" fmla="*/ 22 h 116"/>
                <a:gd name="T50" fmla="*/ 13 w 116"/>
                <a:gd name="T51" fmla="*/ 8 h 116"/>
                <a:gd name="T52" fmla="*/ 10 w 116"/>
                <a:gd name="T53" fmla="*/ 5 h 116"/>
                <a:gd name="T54" fmla="*/ 8 w 116"/>
                <a:gd name="T55" fmla="*/ 8 h 116"/>
                <a:gd name="T56" fmla="*/ 8 w 116"/>
                <a:gd name="T57" fmla="*/ 30 h 116"/>
                <a:gd name="T58" fmla="*/ 30 w 116"/>
                <a:gd name="T59" fmla="*/ 30 h 116"/>
                <a:gd name="T60" fmla="*/ 33 w 116"/>
                <a:gd name="T61" fmla="*/ 28 h 116"/>
                <a:gd name="T62" fmla="*/ 30 w 116"/>
                <a:gd name="T63" fmla="*/ 25 h 116"/>
                <a:gd name="T64" fmla="*/ 16 w 116"/>
                <a:gd name="T65" fmla="*/ 25 h 116"/>
                <a:gd name="T66" fmla="*/ 21 w 116"/>
                <a:gd name="T67" fmla="*/ 21 h 116"/>
                <a:gd name="T68" fmla="*/ 58 w 116"/>
                <a:gd name="T69" fmla="*/ 5 h 116"/>
                <a:gd name="T70" fmla="*/ 95 w 116"/>
                <a:gd name="T71" fmla="*/ 21 h 116"/>
                <a:gd name="T72" fmla="*/ 111 w 116"/>
                <a:gd name="T73" fmla="*/ 58 h 116"/>
                <a:gd name="T74" fmla="*/ 109 w 116"/>
                <a:gd name="T75" fmla="*/ 72 h 116"/>
                <a:gd name="T76" fmla="*/ 111 w 116"/>
                <a:gd name="T77" fmla="*/ 75 h 116"/>
                <a:gd name="T78" fmla="*/ 111 w 116"/>
                <a:gd name="T79" fmla="*/ 75 h 116"/>
                <a:gd name="T80" fmla="*/ 114 w 116"/>
                <a:gd name="T81" fmla="*/ 73 h 116"/>
                <a:gd name="T82" fmla="*/ 116 w 116"/>
                <a:gd name="T83" fmla="*/ 58 h 116"/>
                <a:gd name="T84" fmla="*/ 99 w 116"/>
                <a:gd name="T85" fmla="*/ 1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6">
                  <a:moveTo>
                    <a:pt x="83" y="88"/>
                  </a:moveTo>
                  <a:cubicBezTo>
                    <a:pt x="83" y="89"/>
                    <a:pt x="84" y="91"/>
                    <a:pt x="86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95"/>
                    <a:pt x="95" y="95"/>
                    <a:pt x="95" y="95"/>
                  </a:cubicBezTo>
                  <a:cubicBezTo>
                    <a:pt x="85" y="105"/>
                    <a:pt x="72" y="111"/>
                    <a:pt x="58" y="111"/>
                  </a:cubicBezTo>
                  <a:cubicBezTo>
                    <a:pt x="44" y="111"/>
                    <a:pt x="31" y="105"/>
                    <a:pt x="21" y="95"/>
                  </a:cubicBezTo>
                  <a:cubicBezTo>
                    <a:pt x="11" y="85"/>
                    <a:pt x="5" y="72"/>
                    <a:pt x="5" y="58"/>
                  </a:cubicBezTo>
                  <a:cubicBezTo>
                    <a:pt x="5" y="53"/>
                    <a:pt x="6" y="49"/>
                    <a:pt x="7" y="44"/>
                  </a:cubicBezTo>
                  <a:cubicBezTo>
                    <a:pt x="7" y="43"/>
                    <a:pt x="7" y="42"/>
                    <a:pt x="5" y="41"/>
                  </a:cubicBezTo>
                  <a:cubicBezTo>
                    <a:pt x="4" y="41"/>
                    <a:pt x="3" y="42"/>
                    <a:pt x="2" y="43"/>
                  </a:cubicBezTo>
                  <a:cubicBezTo>
                    <a:pt x="1" y="48"/>
                    <a:pt x="0" y="53"/>
                    <a:pt x="0" y="58"/>
                  </a:cubicBezTo>
                  <a:cubicBezTo>
                    <a:pt x="0" y="73"/>
                    <a:pt x="6" y="88"/>
                    <a:pt x="17" y="99"/>
                  </a:cubicBezTo>
                  <a:cubicBezTo>
                    <a:pt x="28" y="110"/>
                    <a:pt x="43" y="116"/>
                    <a:pt x="58" y="116"/>
                  </a:cubicBezTo>
                  <a:cubicBezTo>
                    <a:pt x="73" y="116"/>
                    <a:pt x="88" y="110"/>
                    <a:pt x="99" y="99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3" y="110"/>
                    <a:pt x="104" y="111"/>
                    <a:pt x="106" y="111"/>
                  </a:cubicBezTo>
                  <a:cubicBezTo>
                    <a:pt x="107" y="111"/>
                    <a:pt x="108" y="110"/>
                    <a:pt x="108" y="108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4" y="86"/>
                    <a:pt x="83" y="87"/>
                    <a:pt x="83" y="88"/>
                  </a:cubicBezTo>
                  <a:moveTo>
                    <a:pt x="99" y="17"/>
                  </a:moveTo>
                  <a:cubicBezTo>
                    <a:pt x="88" y="6"/>
                    <a:pt x="73" y="0"/>
                    <a:pt x="58" y="0"/>
                  </a:cubicBezTo>
                  <a:cubicBezTo>
                    <a:pt x="43" y="0"/>
                    <a:pt x="28" y="6"/>
                    <a:pt x="17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6"/>
                    <a:pt x="12" y="5"/>
                    <a:pt x="10" y="5"/>
                  </a:cubicBezTo>
                  <a:cubicBezTo>
                    <a:pt x="9" y="5"/>
                    <a:pt x="8" y="6"/>
                    <a:pt x="8" y="8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27"/>
                    <a:pt x="32" y="25"/>
                    <a:pt x="30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1" y="11"/>
                    <a:pt x="44" y="5"/>
                    <a:pt x="58" y="5"/>
                  </a:cubicBezTo>
                  <a:cubicBezTo>
                    <a:pt x="72" y="5"/>
                    <a:pt x="85" y="11"/>
                    <a:pt x="95" y="21"/>
                  </a:cubicBezTo>
                  <a:cubicBezTo>
                    <a:pt x="105" y="31"/>
                    <a:pt x="111" y="44"/>
                    <a:pt x="111" y="58"/>
                  </a:cubicBezTo>
                  <a:cubicBezTo>
                    <a:pt x="111" y="63"/>
                    <a:pt x="110" y="67"/>
                    <a:pt x="109" y="72"/>
                  </a:cubicBezTo>
                  <a:cubicBezTo>
                    <a:pt x="109" y="73"/>
                    <a:pt x="109" y="74"/>
                    <a:pt x="111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2" y="75"/>
                    <a:pt x="113" y="74"/>
                    <a:pt x="114" y="73"/>
                  </a:cubicBezTo>
                  <a:cubicBezTo>
                    <a:pt x="115" y="68"/>
                    <a:pt x="116" y="63"/>
                    <a:pt x="116" y="58"/>
                  </a:cubicBezTo>
                  <a:cubicBezTo>
                    <a:pt x="116" y="43"/>
                    <a:pt x="110" y="28"/>
                    <a:pt x="99" y="1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5" name="Group 84">
            <a:extLst>
              <a:ext uri="{FF2B5EF4-FFF2-40B4-BE49-F238E27FC236}">
                <a16:creationId xmlns:a16="http://schemas.microsoft.com/office/drawing/2014/main" id="{B2335F3D-4019-4D8D-B81D-04A2D8D1F5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496" y="1520887"/>
            <a:ext cx="842963" cy="841375"/>
            <a:chOff x="4368" y="1049"/>
            <a:chExt cx="531" cy="530"/>
          </a:xfrm>
        </p:grpSpPr>
        <p:sp>
          <p:nvSpPr>
            <p:cNvPr id="116" name="AutoShape 83">
              <a:extLst>
                <a:ext uri="{FF2B5EF4-FFF2-40B4-BE49-F238E27FC236}">
                  <a16:creationId xmlns:a16="http://schemas.microsoft.com/office/drawing/2014/main" id="{E9A4855A-8672-4932-A0E4-1BBB967BCF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68" y="1049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Oval 85">
              <a:extLst>
                <a:ext uri="{FF2B5EF4-FFF2-40B4-BE49-F238E27FC236}">
                  <a16:creationId xmlns:a16="http://schemas.microsoft.com/office/drawing/2014/main" id="{BE97ABFA-DDA9-494C-BCA1-45D8C449B7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8" y="1049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86">
              <a:extLst>
                <a:ext uri="{FF2B5EF4-FFF2-40B4-BE49-F238E27FC236}">
                  <a16:creationId xmlns:a16="http://schemas.microsoft.com/office/drawing/2014/main" id="{B6DC1553-95A2-4C04-BF78-6AE343205E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6" y="1067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87">
              <a:extLst>
                <a:ext uri="{FF2B5EF4-FFF2-40B4-BE49-F238E27FC236}">
                  <a16:creationId xmlns:a16="http://schemas.microsoft.com/office/drawing/2014/main" id="{4391F9FA-2E71-4F9C-8E84-F1A791EC3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6" y="1167"/>
              <a:ext cx="298" cy="297"/>
            </a:xfrm>
            <a:custGeom>
              <a:avLst/>
              <a:gdLst>
                <a:gd name="T0" fmla="*/ 83 w 116"/>
                <a:gd name="T1" fmla="*/ 88 h 116"/>
                <a:gd name="T2" fmla="*/ 86 w 116"/>
                <a:gd name="T3" fmla="*/ 91 h 116"/>
                <a:gd name="T4" fmla="*/ 100 w 116"/>
                <a:gd name="T5" fmla="*/ 91 h 116"/>
                <a:gd name="T6" fmla="*/ 95 w 116"/>
                <a:gd name="T7" fmla="*/ 95 h 116"/>
                <a:gd name="T8" fmla="*/ 58 w 116"/>
                <a:gd name="T9" fmla="*/ 111 h 116"/>
                <a:gd name="T10" fmla="*/ 21 w 116"/>
                <a:gd name="T11" fmla="*/ 95 h 116"/>
                <a:gd name="T12" fmla="*/ 5 w 116"/>
                <a:gd name="T13" fmla="*/ 58 h 116"/>
                <a:gd name="T14" fmla="*/ 7 w 116"/>
                <a:gd name="T15" fmla="*/ 44 h 116"/>
                <a:gd name="T16" fmla="*/ 5 w 116"/>
                <a:gd name="T17" fmla="*/ 41 h 116"/>
                <a:gd name="T18" fmla="*/ 2 w 116"/>
                <a:gd name="T19" fmla="*/ 43 h 116"/>
                <a:gd name="T20" fmla="*/ 0 w 116"/>
                <a:gd name="T21" fmla="*/ 58 h 116"/>
                <a:gd name="T22" fmla="*/ 17 w 116"/>
                <a:gd name="T23" fmla="*/ 99 h 116"/>
                <a:gd name="T24" fmla="*/ 58 w 116"/>
                <a:gd name="T25" fmla="*/ 116 h 116"/>
                <a:gd name="T26" fmla="*/ 99 w 116"/>
                <a:gd name="T27" fmla="*/ 99 h 116"/>
                <a:gd name="T28" fmla="*/ 103 w 116"/>
                <a:gd name="T29" fmla="*/ 94 h 116"/>
                <a:gd name="T30" fmla="*/ 103 w 116"/>
                <a:gd name="T31" fmla="*/ 108 h 116"/>
                <a:gd name="T32" fmla="*/ 106 w 116"/>
                <a:gd name="T33" fmla="*/ 111 h 116"/>
                <a:gd name="T34" fmla="*/ 108 w 116"/>
                <a:gd name="T35" fmla="*/ 108 h 116"/>
                <a:gd name="T36" fmla="*/ 108 w 116"/>
                <a:gd name="T37" fmla="*/ 86 h 116"/>
                <a:gd name="T38" fmla="*/ 86 w 116"/>
                <a:gd name="T39" fmla="*/ 86 h 116"/>
                <a:gd name="T40" fmla="*/ 83 w 116"/>
                <a:gd name="T41" fmla="*/ 88 h 116"/>
                <a:gd name="T42" fmla="*/ 99 w 116"/>
                <a:gd name="T43" fmla="*/ 17 h 116"/>
                <a:gd name="T44" fmla="*/ 58 w 116"/>
                <a:gd name="T45" fmla="*/ 0 h 116"/>
                <a:gd name="T46" fmla="*/ 17 w 116"/>
                <a:gd name="T47" fmla="*/ 17 h 116"/>
                <a:gd name="T48" fmla="*/ 13 w 116"/>
                <a:gd name="T49" fmla="*/ 22 h 116"/>
                <a:gd name="T50" fmla="*/ 13 w 116"/>
                <a:gd name="T51" fmla="*/ 8 h 116"/>
                <a:gd name="T52" fmla="*/ 10 w 116"/>
                <a:gd name="T53" fmla="*/ 5 h 116"/>
                <a:gd name="T54" fmla="*/ 8 w 116"/>
                <a:gd name="T55" fmla="*/ 8 h 116"/>
                <a:gd name="T56" fmla="*/ 8 w 116"/>
                <a:gd name="T57" fmla="*/ 30 h 116"/>
                <a:gd name="T58" fmla="*/ 30 w 116"/>
                <a:gd name="T59" fmla="*/ 30 h 116"/>
                <a:gd name="T60" fmla="*/ 33 w 116"/>
                <a:gd name="T61" fmla="*/ 28 h 116"/>
                <a:gd name="T62" fmla="*/ 30 w 116"/>
                <a:gd name="T63" fmla="*/ 25 h 116"/>
                <a:gd name="T64" fmla="*/ 16 w 116"/>
                <a:gd name="T65" fmla="*/ 25 h 116"/>
                <a:gd name="T66" fmla="*/ 21 w 116"/>
                <a:gd name="T67" fmla="*/ 21 h 116"/>
                <a:gd name="T68" fmla="*/ 58 w 116"/>
                <a:gd name="T69" fmla="*/ 5 h 116"/>
                <a:gd name="T70" fmla="*/ 95 w 116"/>
                <a:gd name="T71" fmla="*/ 21 h 116"/>
                <a:gd name="T72" fmla="*/ 111 w 116"/>
                <a:gd name="T73" fmla="*/ 58 h 116"/>
                <a:gd name="T74" fmla="*/ 109 w 116"/>
                <a:gd name="T75" fmla="*/ 72 h 116"/>
                <a:gd name="T76" fmla="*/ 111 w 116"/>
                <a:gd name="T77" fmla="*/ 75 h 116"/>
                <a:gd name="T78" fmla="*/ 111 w 116"/>
                <a:gd name="T79" fmla="*/ 75 h 116"/>
                <a:gd name="T80" fmla="*/ 114 w 116"/>
                <a:gd name="T81" fmla="*/ 73 h 116"/>
                <a:gd name="T82" fmla="*/ 116 w 116"/>
                <a:gd name="T83" fmla="*/ 58 h 116"/>
                <a:gd name="T84" fmla="*/ 99 w 116"/>
                <a:gd name="T85" fmla="*/ 1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6">
                  <a:moveTo>
                    <a:pt x="83" y="88"/>
                  </a:moveTo>
                  <a:cubicBezTo>
                    <a:pt x="83" y="89"/>
                    <a:pt x="84" y="91"/>
                    <a:pt x="86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5" y="95"/>
                    <a:pt x="95" y="95"/>
                    <a:pt x="95" y="95"/>
                  </a:cubicBezTo>
                  <a:cubicBezTo>
                    <a:pt x="85" y="105"/>
                    <a:pt x="72" y="111"/>
                    <a:pt x="58" y="111"/>
                  </a:cubicBezTo>
                  <a:cubicBezTo>
                    <a:pt x="44" y="111"/>
                    <a:pt x="31" y="105"/>
                    <a:pt x="21" y="95"/>
                  </a:cubicBezTo>
                  <a:cubicBezTo>
                    <a:pt x="11" y="85"/>
                    <a:pt x="5" y="72"/>
                    <a:pt x="5" y="58"/>
                  </a:cubicBezTo>
                  <a:cubicBezTo>
                    <a:pt x="5" y="53"/>
                    <a:pt x="6" y="49"/>
                    <a:pt x="7" y="44"/>
                  </a:cubicBezTo>
                  <a:cubicBezTo>
                    <a:pt x="7" y="43"/>
                    <a:pt x="7" y="42"/>
                    <a:pt x="5" y="41"/>
                  </a:cubicBezTo>
                  <a:cubicBezTo>
                    <a:pt x="4" y="41"/>
                    <a:pt x="3" y="42"/>
                    <a:pt x="2" y="43"/>
                  </a:cubicBezTo>
                  <a:cubicBezTo>
                    <a:pt x="1" y="48"/>
                    <a:pt x="0" y="53"/>
                    <a:pt x="0" y="58"/>
                  </a:cubicBezTo>
                  <a:cubicBezTo>
                    <a:pt x="0" y="73"/>
                    <a:pt x="6" y="88"/>
                    <a:pt x="17" y="99"/>
                  </a:cubicBezTo>
                  <a:cubicBezTo>
                    <a:pt x="28" y="110"/>
                    <a:pt x="43" y="116"/>
                    <a:pt x="58" y="116"/>
                  </a:cubicBezTo>
                  <a:cubicBezTo>
                    <a:pt x="73" y="116"/>
                    <a:pt x="88" y="110"/>
                    <a:pt x="99" y="99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3" y="110"/>
                    <a:pt x="104" y="111"/>
                    <a:pt x="106" y="111"/>
                  </a:cubicBezTo>
                  <a:cubicBezTo>
                    <a:pt x="107" y="111"/>
                    <a:pt x="108" y="110"/>
                    <a:pt x="108" y="108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4" y="86"/>
                    <a:pt x="83" y="87"/>
                    <a:pt x="83" y="88"/>
                  </a:cubicBezTo>
                  <a:moveTo>
                    <a:pt x="99" y="17"/>
                  </a:moveTo>
                  <a:cubicBezTo>
                    <a:pt x="88" y="6"/>
                    <a:pt x="73" y="0"/>
                    <a:pt x="58" y="0"/>
                  </a:cubicBezTo>
                  <a:cubicBezTo>
                    <a:pt x="43" y="0"/>
                    <a:pt x="28" y="6"/>
                    <a:pt x="17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6"/>
                    <a:pt x="12" y="5"/>
                    <a:pt x="10" y="5"/>
                  </a:cubicBezTo>
                  <a:cubicBezTo>
                    <a:pt x="9" y="5"/>
                    <a:pt x="8" y="6"/>
                    <a:pt x="8" y="8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27"/>
                    <a:pt x="32" y="25"/>
                    <a:pt x="30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31" y="11"/>
                    <a:pt x="44" y="5"/>
                    <a:pt x="58" y="5"/>
                  </a:cubicBezTo>
                  <a:cubicBezTo>
                    <a:pt x="72" y="5"/>
                    <a:pt x="85" y="11"/>
                    <a:pt x="95" y="21"/>
                  </a:cubicBezTo>
                  <a:cubicBezTo>
                    <a:pt x="105" y="31"/>
                    <a:pt x="111" y="44"/>
                    <a:pt x="111" y="58"/>
                  </a:cubicBezTo>
                  <a:cubicBezTo>
                    <a:pt x="111" y="63"/>
                    <a:pt x="110" y="67"/>
                    <a:pt x="109" y="72"/>
                  </a:cubicBezTo>
                  <a:cubicBezTo>
                    <a:pt x="109" y="73"/>
                    <a:pt x="109" y="74"/>
                    <a:pt x="111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2" y="75"/>
                    <a:pt x="113" y="74"/>
                    <a:pt x="114" y="73"/>
                  </a:cubicBezTo>
                  <a:cubicBezTo>
                    <a:pt x="115" y="68"/>
                    <a:pt x="116" y="63"/>
                    <a:pt x="116" y="58"/>
                  </a:cubicBezTo>
                  <a:cubicBezTo>
                    <a:pt x="116" y="43"/>
                    <a:pt x="110" y="28"/>
                    <a:pt x="99" y="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4" name="Group 90">
            <a:extLst>
              <a:ext uri="{FF2B5EF4-FFF2-40B4-BE49-F238E27FC236}">
                <a16:creationId xmlns:a16="http://schemas.microsoft.com/office/drawing/2014/main" id="{D012967D-55A7-4E44-AD13-1612153436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10766" y="2824927"/>
            <a:ext cx="758825" cy="758825"/>
            <a:chOff x="885" y="1830"/>
            <a:chExt cx="478" cy="478"/>
          </a:xfrm>
        </p:grpSpPr>
        <p:sp>
          <p:nvSpPr>
            <p:cNvPr id="125" name="AutoShape 89">
              <a:extLst>
                <a:ext uri="{FF2B5EF4-FFF2-40B4-BE49-F238E27FC236}">
                  <a16:creationId xmlns:a16="http://schemas.microsoft.com/office/drawing/2014/main" id="{3627A4D1-CB03-4D07-95D8-4E206DB72D7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5" y="183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1">
              <a:extLst>
                <a:ext uri="{FF2B5EF4-FFF2-40B4-BE49-F238E27FC236}">
                  <a16:creationId xmlns:a16="http://schemas.microsoft.com/office/drawing/2014/main" id="{77879278-DA23-496B-B9AF-5FEB1117A0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7" y="183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92">
              <a:extLst>
                <a:ext uri="{FF2B5EF4-FFF2-40B4-BE49-F238E27FC236}">
                  <a16:creationId xmlns:a16="http://schemas.microsoft.com/office/drawing/2014/main" id="{295CA16F-1716-4203-BD69-AEC84EE7B2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" y="1943"/>
              <a:ext cx="335" cy="255"/>
            </a:xfrm>
            <a:custGeom>
              <a:avLst/>
              <a:gdLst>
                <a:gd name="T0" fmla="*/ 44 w 137"/>
                <a:gd name="T1" fmla="*/ 102 h 104"/>
                <a:gd name="T2" fmla="*/ 49 w 137"/>
                <a:gd name="T3" fmla="*/ 102 h 104"/>
                <a:gd name="T4" fmla="*/ 56 w 137"/>
                <a:gd name="T5" fmla="*/ 99 h 104"/>
                <a:gd name="T6" fmla="*/ 56 w 137"/>
                <a:gd name="T7" fmla="*/ 104 h 104"/>
                <a:gd name="T8" fmla="*/ 56 w 137"/>
                <a:gd name="T9" fmla="*/ 99 h 104"/>
                <a:gd name="T10" fmla="*/ 64 w 137"/>
                <a:gd name="T11" fmla="*/ 102 h 104"/>
                <a:gd name="T12" fmla="*/ 69 w 137"/>
                <a:gd name="T13" fmla="*/ 102 h 104"/>
                <a:gd name="T14" fmla="*/ 36 w 137"/>
                <a:gd name="T15" fmla="*/ 98 h 104"/>
                <a:gd name="T16" fmla="*/ 33 w 137"/>
                <a:gd name="T17" fmla="*/ 100 h 104"/>
                <a:gd name="T18" fmla="*/ 38 w 137"/>
                <a:gd name="T19" fmla="*/ 101 h 104"/>
                <a:gd name="T20" fmla="*/ 24 w 137"/>
                <a:gd name="T21" fmla="*/ 95 h 104"/>
                <a:gd name="T22" fmla="*/ 25 w 137"/>
                <a:gd name="T23" fmla="*/ 99 h 104"/>
                <a:gd name="T24" fmla="*/ 28 w 137"/>
                <a:gd name="T25" fmla="*/ 95 h 104"/>
                <a:gd name="T26" fmla="*/ 19 w 137"/>
                <a:gd name="T27" fmla="*/ 87 h 104"/>
                <a:gd name="T28" fmla="*/ 18 w 137"/>
                <a:gd name="T29" fmla="*/ 90 h 104"/>
                <a:gd name="T30" fmla="*/ 22 w 137"/>
                <a:gd name="T31" fmla="*/ 88 h 104"/>
                <a:gd name="T32" fmla="*/ 21 w 137"/>
                <a:gd name="T33" fmla="*/ 79 h 104"/>
                <a:gd name="T34" fmla="*/ 16 w 137"/>
                <a:gd name="T35" fmla="*/ 79 h 104"/>
                <a:gd name="T36" fmla="*/ 21 w 137"/>
                <a:gd name="T37" fmla="*/ 79 h 104"/>
                <a:gd name="T38" fmla="*/ 119 w 137"/>
                <a:gd name="T39" fmla="*/ 46 h 104"/>
                <a:gd name="T40" fmla="*/ 102 w 137"/>
                <a:gd name="T41" fmla="*/ 66 h 104"/>
                <a:gd name="T42" fmla="*/ 117 w 137"/>
                <a:gd name="T43" fmla="*/ 56 h 104"/>
                <a:gd name="T44" fmla="*/ 99 w 137"/>
                <a:gd name="T45" fmla="*/ 99 h 104"/>
                <a:gd name="T46" fmla="*/ 74 w 137"/>
                <a:gd name="T47" fmla="*/ 102 h 104"/>
                <a:gd name="T48" fmla="*/ 99 w 137"/>
                <a:gd name="T49" fmla="*/ 104 h 104"/>
                <a:gd name="T50" fmla="*/ 122 w 137"/>
                <a:gd name="T51" fmla="*/ 56 h 104"/>
                <a:gd name="T52" fmla="*/ 135 w 137"/>
                <a:gd name="T53" fmla="*/ 67 h 104"/>
                <a:gd name="T54" fmla="*/ 136 w 137"/>
                <a:gd name="T55" fmla="*/ 63 h 104"/>
                <a:gd name="T56" fmla="*/ 94 w 137"/>
                <a:gd name="T57" fmla="*/ 2 h 104"/>
                <a:gd name="T58" fmla="*/ 89 w 137"/>
                <a:gd name="T59" fmla="*/ 2 h 104"/>
                <a:gd name="T60" fmla="*/ 81 w 137"/>
                <a:gd name="T61" fmla="*/ 5 h 104"/>
                <a:gd name="T62" fmla="*/ 81 w 137"/>
                <a:gd name="T63" fmla="*/ 0 h 104"/>
                <a:gd name="T64" fmla="*/ 81 w 137"/>
                <a:gd name="T65" fmla="*/ 5 h 104"/>
                <a:gd name="T66" fmla="*/ 105 w 137"/>
                <a:gd name="T67" fmla="*/ 4 h 104"/>
                <a:gd name="T68" fmla="*/ 102 w 137"/>
                <a:gd name="T69" fmla="*/ 1 h 104"/>
                <a:gd name="T70" fmla="*/ 102 w 137"/>
                <a:gd name="T71" fmla="*/ 6 h 104"/>
                <a:gd name="T72" fmla="*/ 114 w 137"/>
                <a:gd name="T73" fmla="*/ 7 h 104"/>
                <a:gd name="T74" fmla="*/ 109 w 137"/>
                <a:gd name="T75" fmla="*/ 6 h 104"/>
                <a:gd name="T76" fmla="*/ 113 w 137"/>
                <a:gd name="T77" fmla="*/ 9 h 104"/>
                <a:gd name="T78" fmla="*/ 120 w 137"/>
                <a:gd name="T79" fmla="*/ 15 h 104"/>
                <a:gd name="T80" fmla="*/ 117 w 137"/>
                <a:gd name="T81" fmla="*/ 13 h 104"/>
                <a:gd name="T82" fmla="*/ 119 w 137"/>
                <a:gd name="T83" fmla="*/ 17 h 104"/>
                <a:gd name="T84" fmla="*/ 119 w 137"/>
                <a:gd name="T85" fmla="*/ 27 h 104"/>
                <a:gd name="T86" fmla="*/ 119 w 137"/>
                <a:gd name="T87" fmla="*/ 22 h 104"/>
                <a:gd name="T88" fmla="*/ 71 w 137"/>
                <a:gd name="T89" fmla="*/ 0 h 104"/>
                <a:gd name="T90" fmla="*/ 71 w 137"/>
                <a:gd name="T91" fmla="*/ 5 h 104"/>
                <a:gd name="T92" fmla="*/ 71 w 137"/>
                <a:gd name="T93" fmla="*/ 0 h 104"/>
                <a:gd name="T94" fmla="*/ 39 w 137"/>
                <a:gd name="T95" fmla="*/ 0 h 104"/>
                <a:gd name="T96" fmla="*/ 16 w 137"/>
                <a:gd name="T97" fmla="*/ 48 h 104"/>
                <a:gd name="T98" fmla="*/ 1 w 137"/>
                <a:gd name="T99" fmla="*/ 38 h 104"/>
                <a:gd name="T100" fmla="*/ 18 w 137"/>
                <a:gd name="T101" fmla="*/ 58 h 104"/>
                <a:gd name="T102" fmla="*/ 35 w 137"/>
                <a:gd name="T103" fmla="*/ 38 h 104"/>
                <a:gd name="T104" fmla="*/ 21 w 137"/>
                <a:gd name="T105" fmla="*/ 48 h 104"/>
                <a:gd name="T106" fmla="*/ 39 w 137"/>
                <a:gd name="T107" fmla="*/ 5 h 104"/>
                <a:gd name="T108" fmla="*/ 64 w 137"/>
                <a:gd name="T109" fmla="*/ 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7" h="104">
                  <a:moveTo>
                    <a:pt x="46" y="99"/>
                  </a:moveTo>
                  <a:cubicBezTo>
                    <a:pt x="45" y="99"/>
                    <a:pt x="44" y="100"/>
                    <a:pt x="44" y="102"/>
                  </a:cubicBezTo>
                  <a:cubicBezTo>
                    <a:pt x="44" y="103"/>
                    <a:pt x="45" y="104"/>
                    <a:pt x="46" y="104"/>
                  </a:cubicBezTo>
                  <a:cubicBezTo>
                    <a:pt x="47" y="104"/>
                    <a:pt x="49" y="103"/>
                    <a:pt x="49" y="102"/>
                  </a:cubicBezTo>
                  <a:cubicBezTo>
                    <a:pt x="49" y="100"/>
                    <a:pt x="47" y="99"/>
                    <a:pt x="46" y="99"/>
                  </a:cubicBezTo>
                  <a:moveTo>
                    <a:pt x="56" y="99"/>
                  </a:moveTo>
                  <a:cubicBezTo>
                    <a:pt x="55" y="99"/>
                    <a:pt x="54" y="100"/>
                    <a:pt x="54" y="102"/>
                  </a:cubicBezTo>
                  <a:cubicBezTo>
                    <a:pt x="54" y="103"/>
                    <a:pt x="55" y="104"/>
                    <a:pt x="56" y="104"/>
                  </a:cubicBezTo>
                  <a:cubicBezTo>
                    <a:pt x="58" y="104"/>
                    <a:pt x="59" y="103"/>
                    <a:pt x="59" y="102"/>
                  </a:cubicBezTo>
                  <a:cubicBezTo>
                    <a:pt x="59" y="100"/>
                    <a:pt x="58" y="99"/>
                    <a:pt x="56" y="99"/>
                  </a:cubicBezTo>
                  <a:moveTo>
                    <a:pt x="66" y="99"/>
                  </a:moveTo>
                  <a:cubicBezTo>
                    <a:pt x="65" y="99"/>
                    <a:pt x="64" y="100"/>
                    <a:pt x="64" y="102"/>
                  </a:cubicBezTo>
                  <a:cubicBezTo>
                    <a:pt x="64" y="103"/>
                    <a:pt x="65" y="104"/>
                    <a:pt x="66" y="104"/>
                  </a:cubicBezTo>
                  <a:cubicBezTo>
                    <a:pt x="68" y="104"/>
                    <a:pt x="69" y="103"/>
                    <a:pt x="69" y="102"/>
                  </a:cubicBezTo>
                  <a:cubicBezTo>
                    <a:pt x="69" y="100"/>
                    <a:pt x="68" y="99"/>
                    <a:pt x="66" y="99"/>
                  </a:cubicBezTo>
                  <a:moveTo>
                    <a:pt x="36" y="98"/>
                  </a:moveTo>
                  <a:cubicBezTo>
                    <a:pt x="35" y="98"/>
                    <a:pt x="33" y="99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2"/>
                    <a:pt x="34" y="103"/>
                    <a:pt x="35" y="103"/>
                  </a:cubicBezTo>
                  <a:cubicBezTo>
                    <a:pt x="37" y="103"/>
                    <a:pt x="38" y="102"/>
                    <a:pt x="38" y="101"/>
                  </a:cubicBezTo>
                  <a:cubicBezTo>
                    <a:pt x="38" y="99"/>
                    <a:pt x="37" y="98"/>
                    <a:pt x="36" y="98"/>
                  </a:cubicBezTo>
                  <a:moveTo>
                    <a:pt x="24" y="95"/>
                  </a:moveTo>
                  <a:cubicBezTo>
                    <a:pt x="24" y="96"/>
                    <a:pt x="24" y="96"/>
                    <a:pt x="24" y="97"/>
                  </a:cubicBezTo>
                  <a:cubicBezTo>
                    <a:pt x="24" y="97"/>
                    <a:pt x="24" y="98"/>
                    <a:pt x="25" y="99"/>
                  </a:cubicBezTo>
                  <a:cubicBezTo>
                    <a:pt x="26" y="100"/>
                    <a:pt x="28" y="99"/>
                    <a:pt x="28" y="98"/>
                  </a:cubicBezTo>
                  <a:cubicBezTo>
                    <a:pt x="29" y="97"/>
                    <a:pt x="29" y="96"/>
                    <a:pt x="28" y="95"/>
                  </a:cubicBezTo>
                  <a:cubicBezTo>
                    <a:pt x="27" y="94"/>
                    <a:pt x="25" y="94"/>
                    <a:pt x="24" y="95"/>
                  </a:cubicBezTo>
                  <a:moveTo>
                    <a:pt x="19" y="87"/>
                  </a:moveTo>
                  <a:cubicBezTo>
                    <a:pt x="18" y="87"/>
                    <a:pt x="18" y="88"/>
                    <a:pt x="18" y="89"/>
                  </a:cubicBezTo>
                  <a:cubicBezTo>
                    <a:pt x="18" y="89"/>
                    <a:pt x="18" y="90"/>
                    <a:pt x="18" y="90"/>
                  </a:cubicBezTo>
                  <a:cubicBezTo>
                    <a:pt x="18" y="91"/>
                    <a:pt x="20" y="92"/>
                    <a:pt x="21" y="91"/>
                  </a:cubicBezTo>
                  <a:cubicBezTo>
                    <a:pt x="22" y="91"/>
                    <a:pt x="23" y="89"/>
                    <a:pt x="22" y="88"/>
                  </a:cubicBezTo>
                  <a:cubicBezTo>
                    <a:pt x="22" y="87"/>
                    <a:pt x="20" y="86"/>
                    <a:pt x="19" y="87"/>
                  </a:cubicBezTo>
                  <a:moveTo>
                    <a:pt x="21" y="79"/>
                  </a:moveTo>
                  <a:cubicBezTo>
                    <a:pt x="21" y="78"/>
                    <a:pt x="20" y="77"/>
                    <a:pt x="18" y="77"/>
                  </a:cubicBezTo>
                  <a:cubicBezTo>
                    <a:pt x="17" y="77"/>
                    <a:pt x="16" y="78"/>
                    <a:pt x="16" y="79"/>
                  </a:cubicBezTo>
                  <a:cubicBezTo>
                    <a:pt x="16" y="81"/>
                    <a:pt x="17" y="82"/>
                    <a:pt x="18" y="82"/>
                  </a:cubicBezTo>
                  <a:cubicBezTo>
                    <a:pt x="20" y="82"/>
                    <a:pt x="21" y="81"/>
                    <a:pt x="21" y="79"/>
                  </a:cubicBezTo>
                  <a:moveTo>
                    <a:pt x="136" y="63"/>
                  </a:moveTo>
                  <a:cubicBezTo>
                    <a:pt x="119" y="46"/>
                    <a:pt x="119" y="46"/>
                    <a:pt x="119" y="46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1" y="64"/>
                    <a:pt x="101" y="65"/>
                    <a:pt x="102" y="66"/>
                  </a:cubicBezTo>
                  <a:cubicBezTo>
                    <a:pt x="103" y="67"/>
                    <a:pt x="105" y="67"/>
                    <a:pt x="106" y="66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7" y="91"/>
                    <a:pt x="109" y="99"/>
                    <a:pt x="99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5" y="99"/>
                    <a:pt x="74" y="100"/>
                    <a:pt x="74" y="102"/>
                  </a:cubicBezTo>
                  <a:cubicBezTo>
                    <a:pt x="74" y="103"/>
                    <a:pt x="75" y="104"/>
                    <a:pt x="76" y="104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112" y="104"/>
                    <a:pt x="122" y="94"/>
                    <a:pt x="122" y="82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7"/>
                    <a:pt x="134" y="67"/>
                    <a:pt x="135" y="67"/>
                  </a:cubicBezTo>
                  <a:cubicBezTo>
                    <a:pt x="135" y="67"/>
                    <a:pt x="136" y="67"/>
                    <a:pt x="136" y="66"/>
                  </a:cubicBezTo>
                  <a:cubicBezTo>
                    <a:pt x="137" y="65"/>
                    <a:pt x="137" y="64"/>
                    <a:pt x="136" y="63"/>
                  </a:cubicBezTo>
                  <a:moveTo>
                    <a:pt x="92" y="5"/>
                  </a:moveTo>
                  <a:cubicBezTo>
                    <a:pt x="93" y="5"/>
                    <a:pt x="94" y="4"/>
                    <a:pt x="94" y="2"/>
                  </a:cubicBezTo>
                  <a:cubicBezTo>
                    <a:pt x="94" y="1"/>
                    <a:pt x="93" y="0"/>
                    <a:pt x="92" y="0"/>
                  </a:cubicBezTo>
                  <a:cubicBezTo>
                    <a:pt x="90" y="0"/>
                    <a:pt x="89" y="1"/>
                    <a:pt x="89" y="2"/>
                  </a:cubicBezTo>
                  <a:cubicBezTo>
                    <a:pt x="89" y="4"/>
                    <a:pt x="90" y="5"/>
                    <a:pt x="92" y="5"/>
                  </a:cubicBezTo>
                  <a:moveTo>
                    <a:pt x="81" y="5"/>
                  </a:moveTo>
                  <a:cubicBezTo>
                    <a:pt x="83" y="5"/>
                    <a:pt x="84" y="4"/>
                    <a:pt x="84" y="2"/>
                  </a:cubicBezTo>
                  <a:cubicBezTo>
                    <a:pt x="84" y="1"/>
                    <a:pt x="83" y="0"/>
                    <a:pt x="81" y="0"/>
                  </a:cubicBezTo>
                  <a:cubicBezTo>
                    <a:pt x="80" y="0"/>
                    <a:pt x="79" y="1"/>
                    <a:pt x="79" y="2"/>
                  </a:cubicBezTo>
                  <a:cubicBezTo>
                    <a:pt x="79" y="4"/>
                    <a:pt x="80" y="5"/>
                    <a:pt x="81" y="5"/>
                  </a:cubicBezTo>
                  <a:moveTo>
                    <a:pt x="102" y="6"/>
                  </a:moveTo>
                  <a:cubicBezTo>
                    <a:pt x="103" y="6"/>
                    <a:pt x="104" y="5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2"/>
                    <a:pt x="104" y="1"/>
                    <a:pt x="102" y="1"/>
                  </a:cubicBezTo>
                  <a:cubicBezTo>
                    <a:pt x="101" y="1"/>
                    <a:pt x="100" y="2"/>
                    <a:pt x="100" y="3"/>
                  </a:cubicBezTo>
                  <a:cubicBezTo>
                    <a:pt x="99" y="5"/>
                    <a:pt x="100" y="6"/>
                    <a:pt x="102" y="6"/>
                  </a:cubicBezTo>
                  <a:moveTo>
                    <a:pt x="113" y="9"/>
                  </a:moveTo>
                  <a:cubicBezTo>
                    <a:pt x="114" y="8"/>
                    <a:pt x="114" y="8"/>
                    <a:pt x="114" y="7"/>
                  </a:cubicBezTo>
                  <a:cubicBezTo>
                    <a:pt x="114" y="7"/>
                    <a:pt x="113" y="6"/>
                    <a:pt x="113" y="5"/>
                  </a:cubicBezTo>
                  <a:cubicBezTo>
                    <a:pt x="112" y="4"/>
                    <a:pt x="110" y="5"/>
                    <a:pt x="109" y="6"/>
                  </a:cubicBezTo>
                  <a:cubicBezTo>
                    <a:pt x="108" y="7"/>
                    <a:pt x="109" y="8"/>
                    <a:pt x="110" y="9"/>
                  </a:cubicBezTo>
                  <a:cubicBezTo>
                    <a:pt x="111" y="10"/>
                    <a:pt x="112" y="10"/>
                    <a:pt x="113" y="9"/>
                  </a:cubicBezTo>
                  <a:moveTo>
                    <a:pt x="119" y="17"/>
                  </a:moveTo>
                  <a:cubicBezTo>
                    <a:pt x="120" y="17"/>
                    <a:pt x="120" y="16"/>
                    <a:pt x="120" y="15"/>
                  </a:cubicBezTo>
                  <a:cubicBezTo>
                    <a:pt x="120" y="15"/>
                    <a:pt x="120" y="14"/>
                    <a:pt x="120" y="14"/>
                  </a:cubicBezTo>
                  <a:cubicBezTo>
                    <a:pt x="119" y="13"/>
                    <a:pt x="118" y="12"/>
                    <a:pt x="117" y="13"/>
                  </a:cubicBezTo>
                  <a:cubicBezTo>
                    <a:pt x="115" y="13"/>
                    <a:pt x="115" y="15"/>
                    <a:pt x="115" y="16"/>
                  </a:cubicBezTo>
                  <a:cubicBezTo>
                    <a:pt x="116" y="17"/>
                    <a:pt x="117" y="18"/>
                    <a:pt x="119" y="17"/>
                  </a:cubicBezTo>
                  <a:moveTo>
                    <a:pt x="117" y="25"/>
                  </a:moveTo>
                  <a:cubicBezTo>
                    <a:pt x="117" y="26"/>
                    <a:pt x="118" y="27"/>
                    <a:pt x="119" y="27"/>
                  </a:cubicBezTo>
                  <a:cubicBezTo>
                    <a:pt x="121" y="27"/>
                    <a:pt x="122" y="26"/>
                    <a:pt x="122" y="25"/>
                  </a:cubicBezTo>
                  <a:cubicBezTo>
                    <a:pt x="122" y="23"/>
                    <a:pt x="121" y="22"/>
                    <a:pt x="119" y="22"/>
                  </a:cubicBezTo>
                  <a:cubicBezTo>
                    <a:pt x="118" y="22"/>
                    <a:pt x="117" y="23"/>
                    <a:pt x="117" y="25"/>
                  </a:cubicBezTo>
                  <a:moveTo>
                    <a:pt x="71" y="0"/>
                  </a:moveTo>
                  <a:cubicBezTo>
                    <a:pt x="70" y="0"/>
                    <a:pt x="69" y="1"/>
                    <a:pt x="69" y="2"/>
                  </a:cubicBezTo>
                  <a:cubicBezTo>
                    <a:pt x="69" y="4"/>
                    <a:pt x="70" y="5"/>
                    <a:pt x="71" y="5"/>
                  </a:cubicBezTo>
                  <a:cubicBezTo>
                    <a:pt x="73" y="5"/>
                    <a:pt x="74" y="4"/>
                    <a:pt x="74" y="2"/>
                  </a:cubicBezTo>
                  <a:cubicBezTo>
                    <a:pt x="74" y="1"/>
                    <a:pt x="73" y="0"/>
                    <a:pt x="71" y="0"/>
                  </a:cubicBezTo>
                  <a:moveTo>
                    <a:pt x="61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26" y="0"/>
                    <a:pt x="16" y="10"/>
                    <a:pt x="16" y="2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4" y="37"/>
                    <a:pt x="2" y="37"/>
                    <a:pt x="1" y="38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0"/>
                    <a:pt x="36" y="39"/>
                    <a:pt x="35" y="38"/>
                  </a:cubicBezTo>
                  <a:cubicBezTo>
                    <a:pt x="34" y="37"/>
                    <a:pt x="33" y="37"/>
                    <a:pt x="32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13"/>
                    <a:pt x="29" y="5"/>
                    <a:pt x="39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3" y="5"/>
                    <a:pt x="64" y="4"/>
                    <a:pt x="64" y="2"/>
                  </a:cubicBezTo>
                  <a:cubicBezTo>
                    <a:pt x="64" y="1"/>
                    <a:pt x="63" y="0"/>
                    <a:pt x="6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3">
              <a:extLst>
                <a:ext uri="{FF2B5EF4-FFF2-40B4-BE49-F238E27FC236}">
                  <a16:creationId xmlns:a16="http://schemas.microsoft.com/office/drawing/2014/main" id="{10B9A38F-E1DC-4E77-9C76-5291068364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" y="1943"/>
              <a:ext cx="335" cy="255"/>
            </a:xfrm>
            <a:custGeom>
              <a:avLst/>
              <a:gdLst>
                <a:gd name="T0" fmla="*/ 44 w 137"/>
                <a:gd name="T1" fmla="*/ 102 h 104"/>
                <a:gd name="T2" fmla="*/ 49 w 137"/>
                <a:gd name="T3" fmla="*/ 102 h 104"/>
                <a:gd name="T4" fmla="*/ 56 w 137"/>
                <a:gd name="T5" fmla="*/ 99 h 104"/>
                <a:gd name="T6" fmla="*/ 56 w 137"/>
                <a:gd name="T7" fmla="*/ 104 h 104"/>
                <a:gd name="T8" fmla="*/ 56 w 137"/>
                <a:gd name="T9" fmla="*/ 99 h 104"/>
                <a:gd name="T10" fmla="*/ 64 w 137"/>
                <a:gd name="T11" fmla="*/ 102 h 104"/>
                <a:gd name="T12" fmla="*/ 69 w 137"/>
                <a:gd name="T13" fmla="*/ 102 h 104"/>
                <a:gd name="T14" fmla="*/ 36 w 137"/>
                <a:gd name="T15" fmla="*/ 98 h 104"/>
                <a:gd name="T16" fmla="*/ 33 w 137"/>
                <a:gd name="T17" fmla="*/ 100 h 104"/>
                <a:gd name="T18" fmla="*/ 38 w 137"/>
                <a:gd name="T19" fmla="*/ 101 h 104"/>
                <a:gd name="T20" fmla="*/ 24 w 137"/>
                <a:gd name="T21" fmla="*/ 95 h 104"/>
                <a:gd name="T22" fmla="*/ 25 w 137"/>
                <a:gd name="T23" fmla="*/ 99 h 104"/>
                <a:gd name="T24" fmla="*/ 28 w 137"/>
                <a:gd name="T25" fmla="*/ 95 h 104"/>
                <a:gd name="T26" fmla="*/ 19 w 137"/>
                <a:gd name="T27" fmla="*/ 87 h 104"/>
                <a:gd name="T28" fmla="*/ 18 w 137"/>
                <a:gd name="T29" fmla="*/ 90 h 104"/>
                <a:gd name="T30" fmla="*/ 22 w 137"/>
                <a:gd name="T31" fmla="*/ 88 h 104"/>
                <a:gd name="T32" fmla="*/ 21 w 137"/>
                <a:gd name="T33" fmla="*/ 79 h 104"/>
                <a:gd name="T34" fmla="*/ 16 w 137"/>
                <a:gd name="T35" fmla="*/ 79 h 104"/>
                <a:gd name="T36" fmla="*/ 21 w 137"/>
                <a:gd name="T37" fmla="*/ 79 h 104"/>
                <a:gd name="T38" fmla="*/ 119 w 137"/>
                <a:gd name="T39" fmla="*/ 46 h 104"/>
                <a:gd name="T40" fmla="*/ 102 w 137"/>
                <a:gd name="T41" fmla="*/ 66 h 104"/>
                <a:gd name="T42" fmla="*/ 117 w 137"/>
                <a:gd name="T43" fmla="*/ 56 h 104"/>
                <a:gd name="T44" fmla="*/ 99 w 137"/>
                <a:gd name="T45" fmla="*/ 99 h 104"/>
                <a:gd name="T46" fmla="*/ 74 w 137"/>
                <a:gd name="T47" fmla="*/ 102 h 104"/>
                <a:gd name="T48" fmla="*/ 99 w 137"/>
                <a:gd name="T49" fmla="*/ 104 h 104"/>
                <a:gd name="T50" fmla="*/ 122 w 137"/>
                <a:gd name="T51" fmla="*/ 56 h 104"/>
                <a:gd name="T52" fmla="*/ 135 w 137"/>
                <a:gd name="T53" fmla="*/ 67 h 104"/>
                <a:gd name="T54" fmla="*/ 136 w 137"/>
                <a:gd name="T55" fmla="*/ 63 h 104"/>
                <a:gd name="T56" fmla="*/ 94 w 137"/>
                <a:gd name="T57" fmla="*/ 2 h 104"/>
                <a:gd name="T58" fmla="*/ 89 w 137"/>
                <a:gd name="T59" fmla="*/ 2 h 104"/>
                <a:gd name="T60" fmla="*/ 81 w 137"/>
                <a:gd name="T61" fmla="*/ 5 h 104"/>
                <a:gd name="T62" fmla="*/ 81 w 137"/>
                <a:gd name="T63" fmla="*/ 0 h 104"/>
                <a:gd name="T64" fmla="*/ 81 w 137"/>
                <a:gd name="T65" fmla="*/ 5 h 104"/>
                <a:gd name="T66" fmla="*/ 105 w 137"/>
                <a:gd name="T67" fmla="*/ 4 h 104"/>
                <a:gd name="T68" fmla="*/ 102 w 137"/>
                <a:gd name="T69" fmla="*/ 1 h 104"/>
                <a:gd name="T70" fmla="*/ 102 w 137"/>
                <a:gd name="T71" fmla="*/ 6 h 104"/>
                <a:gd name="T72" fmla="*/ 114 w 137"/>
                <a:gd name="T73" fmla="*/ 7 h 104"/>
                <a:gd name="T74" fmla="*/ 109 w 137"/>
                <a:gd name="T75" fmla="*/ 6 h 104"/>
                <a:gd name="T76" fmla="*/ 113 w 137"/>
                <a:gd name="T77" fmla="*/ 9 h 104"/>
                <a:gd name="T78" fmla="*/ 120 w 137"/>
                <a:gd name="T79" fmla="*/ 15 h 104"/>
                <a:gd name="T80" fmla="*/ 117 w 137"/>
                <a:gd name="T81" fmla="*/ 13 h 104"/>
                <a:gd name="T82" fmla="*/ 119 w 137"/>
                <a:gd name="T83" fmla="*/ 17 h 104"/>
                <a:gd name="T84" fmla="*/ 119 w 137"/>
                <a:gd name="T85" fmla="*/ 27 h 104"/>
                <a:gd name="T86" fmla="*/ 119 w 137"/>
                <a:gd name="T87" fmla="*/ 22 h 104"/>
                <a:gd name="T88" fmla="*/ 71 w 137"/>
                <a:gd name="T89" fmla="*/ 0 h 104"/>
                <a:gd name="T90" fmla="*/ 71 w 137"/>
                <a:gd name="T91" fmla="*/ 5 h 104"/>
                <a:gd name="T92" fmla="*/ 71 w 137"/>
                <a:gd name="T93" fmla="*/ 0 h 104"/>
                <a:gd name="T94" fmla="*/ 39 w 137"/>
                <a:gd name="T95" fmla="*/ 0 h 104"/>
                <a:gd name="T96" fmla="*/ 16 w 137"/>
                <a:gd name="T97" fmla="*/ 48 h 104"/>
                <a:gd name="T98" fmla="*/ 1 w 137"/>
                <a:gd name="T99" fmla="*/ 38 h 104"/>
                <a:gd name="T100" fmla="*/ 18 w 137"/>
                <a:gd name="T101" fmla="*/ 58 h 104"/>
                <a:gd name="T102" fmla="*/ 35 w 137"/>
                <a:gd name="T103" fmla="*/ 38 h 104"/>
                <a:gd name="T104" fmla="*/ 21 w 137"/>
                <a:gd name="T105" fmla="*/ 48 h 104"/>
                <a:gd name="T106" fmla="*/ 39 w 137"/>
                <a:gd name="T107" fmla="*/ 5 h 104"/>
                <a:gd name="T108" fmla="*/ 64 w 137"/>
                <a:gd name="T109" fmla="*/ 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7" h="104">
                  <a:moveTo>
                    <a:pt x="46" y="99"/>
                  </a:moveTo>
                  <a:cubicBezTo>
                    <a:pt x="45" y="99"/>
                    <a:pt x="44" y="100"/>
                    <a:pt x="44" y="102"/>
                  </a:cubicBezTo>
                  <a:cubicBezTo>
                    <a:pt x="44" y="103"/>
                    <a:pt x="45" y="104"/>
                    <a:pt x="46" y="104"/>
                  </a:cubicBezTo>
                  <a:cubicBezTo>
                    <a:pt x="47" y="104"/>
                    <a:pt x="49" y="103"/>
                    <a:pt x="49" y="102"/>
                  </a:cubicBezTo>
                  <a:cubicBezTo>
                    <a:pt x="49" y="100"/>
                    <a:pt x="47" y="99"/>
                    <a:pt x="46" y="99"/>
                  </a:cubicBezTo>
                  <a:moveTo>
                    <a:pt x="56" y="99"/>
                  </a:moveTo>
                  <a:cubicBezTo>
                    <a:pt x="55" y="99"/>
                    <a:pt x="54" y="100"/>
                    <a:pt x="54" y="102"/>
                  </a:cubicBezTo>
                  <a:cubicBezTo>
                    <a:pt x="54" y="103"/>
                    <a:pt x="55" y="104"/>
                    <a:pt x="56" y="104"/>
                  </a:cubicBezTo>
                  <a:cubicBezTo>
                    <a:pt x="58" y="104"/>
                    <a:pt x="59" y="103"/>
                    <a:pt x="59" y="102"/>
                  </a:cubicBezTo>
                  <a:cubicBezTo>
                    <a:pt x="59" y="100"/>
                    <a:pt x="58" y="99"/>
                    <a:pt x="56" y="99"/>
                  </a:cubicBezTo>
                  <a:moveTo>
                    <a:pt x="66" y="99"/>
                  </a:moveTo>
                  <a:cubicBezTo>
                    <a:pt x="65" y="99"/>
                    <a:pt x="64" y="100"/>
                    <a:pt x="64" y="102"/>
                  </a:cubicBezTo>
                  <a:cubicBezTo>
                    <a:pt x="64" y="103"/>
                    <a:pt x="65" y="104"/>
                    <a:pt x="66" y="104"/>
                  </a:cubicBezTo>
                  <a:cubicBezTo>
                    <a:pt x="68" y="104"/>
                    <a:pt x="69" y="103"/>
                    <a:pt x="69" y="102"/>
                  </a:cubicBezTo>
                  <a:cubicBezTo>
                    <a:pt x="69" y="100"/>
                    <a:pt x="68" y="99"/>
                    <a:pt x="66" y="99"/>
                  </a:cubicBezTo>
                  <a:moveTo>
                    <a:pt x="36" y="98"/>
                  </a:moveTo>
                  <a:cubicBezTo>
                    <a:pt x="35" y="98"/>
                    <a:pt x="33" y="99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2"/>
                    <a:pt x="34" y="103"/>
                    <a:pt x="35" y="103"/>
                  </a:cubicBezTo>
                  <a:cubicBezTo>
                    <a:pt x="37" y="103"/>
                    <a:pt x="38" y="102"/>
                    <a:pt x="38" y="101"/>
                  </a:cubicBezTo>
                  <a:cubicBezTo>
                    <a:pt x="38" y="99"/>
                    <a:pt x="37" y="98"/>
                    <a:pt x="36" y="98"/>
                  </a:cubicBezTo>
                  <a:moveTo>
                    <a:pt x="24" y="95"/>
                  </a:moveTo>
                  <a:cubicBezTo>
                    <a:pt x="24" y="96"/>
                    <a:pt x="24" y="96"/>
                    <a:pt x="24" y="97"/>
                  </a:cubicBezTo>
                  <a:cubicBezTo>
                    <a:pt x="24" y="97"/>
                    <a:pt x="24" y="98"/>
                    <a:pt x="25" y="99"/>
                  </a:cubicBezTo>
                  <a:cubicBezTo>
                    <a:pt x="26" y="100"/>
                    <a:pt x="28" y="99"/>
                    <a:pt x="28" y="98"/>
                  </a:cubicBezTo>
                  <a:cubicBezTo>
                    <a:pt x="29" y="97"/>
                    <a:pt x="29" y="96"/>
                    <a:pt x="28" y="95"/>
                  </a:cubicBezTo>
                  <a:cubicBezTo>
                    <a:pt x="27" y="94"/>
                    <a:pt x="25" y="94"/>
                    <a:pt x="24" y="95"/>
                  </a:cubicBezTo>
                  <a:moveTo>
                    <a:pt x="19" y="87"/>
                  </a:moveTo>
                  <a:cubicBezTo>
                    <a:pt x="18" y="87"/>
                    <a:pt x="18" y="88"/>
                    <a:pt x="18" y="89"/>
                  </a:cubicBezTo>
                  <a:cubicBezTo>
                    <a:pt x="18" y="89"/>
                    <a:pt x="18" y="90"/>
                    <a:pt x="18" y="90"/>
                  </a:cubicBezTo>
                  <a:cubicBezTo>
                    <a:pt x="18" y="91"/>
                    <a:pt x="20" y="92"/>
                    <a:pt x="21" y="91"/>
                  </a:cubicBezTo>
                  <a:cubicBezTo>
                    <a:pt x="22" y="91"/>
                    <a:pt x="23" y="89"/>
                    <a:pt x="22" y="88"/>
                  </a:cubicBezTo>
                  <a:cubicBezTo>
                    <a:pt x="22" y="87"/>
                    <a:pt x="20" y="86"/>
                    <a:pt x="19" y="87"/>
                  </a:cubicBezTo>
                  <a:moveTo>
                    <a:pt x="21" y="79"/>
                  </a:moveTo>
                  <a:cubicBezTo>
                    <a:pt x="21" y="78"/>
                    <a:pt x="20" y="77"/>
                    <a:pt x="18" y="77"/>
                  </a:cubicBezTo>
                  <a:cubicBezTo>
                    <a:pt x="17" y="77"/>
                    <a:pt x="16" y="78"/>
                    <a:pt x="16" y="79"/>
                  </a:cubicBezTo>
                  <a:cubicBezTo>
                    <a:pt x="16" y="81"/>
                    <a:pt x="17" y="82"/>
                    <a:pt x="18" y="82"/>
                  </a:cubicBezTo>
                  <a:cubicBezTo>
                    <a:pt x="20" y="82"/>
                    <a:pt x="21" y="81"/>
                    <a:pt x="21" y="79"/>
                  </a:cubicBezTo>
                  <a:moveTo>
                    <a:pt x="136" y="63"/>
                  </a:moveTo>
                  <a:cubicBezTo>
                    <a:pt x="119" y="46"/>
                    <a:pt x="119" y="46"/>
                    <a:pt x="119" y="46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1" y="64"/>
                    <a:pt x="101" y="65"/>
                    <a:pt x="102" y="66"/>
                  </a:cubicBezTo>
                  <a:cubicBezTo>
                    <a:pt x="103" y="67"/>
                    <a:pt x="105" y="67"/>
                    <a:pt x="106" y="66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7" y="91"/>
                    <a:pt x="109" y="99"/>
                    <a:pt x="99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5" y="99"/>
                    <a:pt x="74" y="100"/>
                    <a:pt x="74" y="102"/>
                  </a:cubicBezTo>
                  <a:cubicBezTo>
                    <a:pt x="74" y="103"/>
                    <a:pt x="75" y="104"/>
                    <a:pt x="76" y="104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112" y="104"/>
                    <a:pt x="122" y="94"/>
                    <a:pt x="122" y="82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7"/>
                    <a:pt x="134" y="67"/>
                    <a:pt x="135" y="67"/>
                  </a:cubicBezTo>
                  <a:cubicBezTo>
                    <a:pt x="135" y="67"/>
                    <a:pt x="136" y="67"/>
                    <a:pt x="136" y="66"/>
                  </a:cubicBezTo>
                  <a:cubicBezTo>
                    <a:pt x="137" y="65"/>
                    <a:pt x="137" y="64"/>
                    <a:pt x="136" y="63"/>
                  </a:cubicBezTo>
                  <a:moveTo>
                    <a:pt x="92" y="5"/>
                  </a:moveTo>
                  <a:cubicBezTo>
                    <a:pt x="93" y="5"/>
                    <a:pt x="94" y="4"/>
                    <a:pt x="94" y="2"/>
                  </a:cubicBezTo>
                  <a:cubicBezTo>
                    <a:pt x="94" y="1"/>
                    <a:pt x="93" y="0"/>
                    <a:pt x="92" y="0"/>
                  </a:cubicBezTo>
                  <a:cubicBezTo>
                    <a:pt x="90" y="0"/>
                    <a:pt x="89" y="1"/>
                    <a:pt x="89" y="2"/>
                  </a:cubicBezTo>
                  <a:cubicBezTo>
                    <a:pt x="89" y="4"/>
                    <a:pt x="90" y="5"/>
                    <a:pt x="92" y="5"/>
                  </a:cubicBezTo>
                  <a:moveTo>
                    <a:pt x="81" y="5"/>
                  </a:moveTo>
                  <a:cubicBezTo>
                    <a:pt x="83" y="5"/>
                    <a:pt x="84" y="4"/>
                    <a:pt x="84" y="2"/>
                  </a:cubicBezTo>
                  <a:cubicBezTo>
                    <a:pt x="84" y="1"/>
                    <a:pt x="83" y="0"/>
                    <a:pt x="81" y="0"/>
                  </a:cubicBezTo>
                  <a:cubicBezTo>
                    <a:pt x="80" y="0"/>
                    <a:pt x="79" y="1"/>
                    <a:pt x="79" y="2"/>
                  </a:cubicBezTo>
                  <a:cubicBezTo>
                    <a:pt x="79" y="4"/>
                    <a:pt x="80" y="5"/>
                    <a:pt x="81" y="5"/>
                  </a:cubicBezTo>
                  <a:moveTo>
                    <a:pt x="102" y="6"/>
                  </a:moveTo>
                  <a:cubicBezTo>
                    <a:pt x="103" y="6"/>
                    <a:pt x="104" y="5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2"/>
                    <a:pt x="104" y="1"/>
                    <a:pt x="102" y="1"/>
                  </a:cubicBezTo>
                  <a:cubicBezTo>
                    <a:pt x="101" y="1"/>
                    <a:pt x="100" y="2"/>
                    <a:pt x="100" y="3"/>
                  </a:cubicBezTo>
                  <a:cubicBezTo>
                    <a:pt x="99" y="5"/>
                    <a:pt x="100" y="6"/>
                    <a:pt x="102" y="6"/>
                  </a:cubicBezTo>
                  <a:moveTo>
                    <a:pt x="113" y="9"/>
                  </a:moveTo>
                  <a:cubicBezTo>
                    <a:pt x="114" y="8"/>
                    <a:pt x="114" y="8"/>
                    <a:pt x="114" y="7"/>
                  </a:cubicBezTo>
                  <a:cubicBezTo>
                    <a:pt x="114" y="7"/>
                    <a:pt x="113" y="6"/>
                    <a:pt x="113" y="5"/>
                  </a:cubicBezTo>
                  <a:cubicBezTo>
                    <a:pt x="112" y="4"/>
                    <a:pt x="110" y="5"/>
                    <a:pt x="109" y="6"/>
                  </a:cubicBezTo>
                  <a:cubicBezTo>
                    <a:pt x="108" y="7"/>
                    <a:pt x="109" y="8"/>
                    <a:pt x="110" y="9"/>
                  </a:cubicBezTo>
                  <a:cubicBezTo>
                    <a:pt x="111" y="10"/>
                    <a:pt x="112" y="10"/>
                    <a:pt x="113" y="9"/>
                  </a:cubicBezTo>
                  <a:moveTo>
                    <a:pt x="119" y="17"/>
                  </a:moveTo>
                  <a:cubicBezTo>
                    <a:pt x="120" y="17"/>
                    <a:pt x="120" y="16"/>
                    <a:pt x="120" y="15"/>
                  </a:cubicBezTo>
                  <a:cubicBezTo>
                    <a:pt x="120" y="15"/>
                    <a:pt x="120" y="14"/>
                    <a:pt x="120" y="14"/>
                  </a:cubicBezTo>
                  <a:cubicBezTo>
                    <a:pt x="119" y="13"/>
                    <a:pt x="118" y="12"/>
                    <a:pt x="117" y="13"/>
                  </a:cubicBezTo>
                  <a:cubicBezTo>
                    <a:pt x="115" y="13"/>
                    <a:pt x="115" y="15"/>
                    <a:pt x="115" y="16"/>
                  </a:cubicBezTo>
                  <a:cubicBezTo>
                    <a:pt x="116" y="17"/>
                    <a:pt x="117" y="18"/>
                    <a:pt x="119" y="17"/>
                  </a:cubicBezTo>
                  <a:moveTo>
                    <a:pt x="117" y="25"/>
                  </a:moveTo>
                  <a:cubicBezTo>
                    <a:pt x="117" y="26"/>
                    <a:pt x="118" y="27"/>
                    <a:pt x="119" y="27"/>
                  </a:cubicBezTo>
                  <a:cubicBezTo>
                    <a:pt x="121" y="27"/>
                    <a:pt x="122" y="26"/>
                    <a:pt x="122" y="25"/>
                  </a:cubicBezTo>
                  <a:cubicBezTo>
                    <a:pt x="122" y="23"/>
                    <a:pt x="121" y="22"/>
                    <a:pt x="119" y="22"/>
                  </a:cubicBezTo>
                  <a:cubicBezTo>
                    <a:pt x="118" y="22"/>
                    <a:pt x="117" y="23"/>
                    <a:pt x="117" y="25"/>
                  </a:cubicBezTo>
                  <a:moveTo>
                    <a:pt x="71" y="0"/>
                  </a:moveTo>
                  <a:cubicBezTo>
                    <a:pt x="70" y="0"/>
                    <a:pt x="69" y="1"/>
                    <a:pt x="69" y="2"/>
                  </a:cubicBezTo>
                  <a:cubicBezTo>
                    <a:pt x="69" y="4"/>
                    <a:pt x="70" y="5"/>
                    <a:pt x="71" y="5"/>
                  </a:cubicBezTo>
                  <a:cubicBezTo>
                    <a:pt x="73" y="5"/>
                    <a:pt x="74" y="4"/>
                    <a:pt x="74" y="2"/>
                  </a:cubicBezTo>
                  <a:cubicBezTo>
                    <a:pt x="74" y="1"/>
                    <a:pt x="73" y="0"/>
                    <a:pt x="71" y="0"/>
                  </a:cubicBezTo>
                  <a:moveTo>
                    <a:pt x="61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26" y="0"/>
                    <a:pt x="16" y="10"/>
                    <a:pt x="16" y="2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4" y="37"/>
                    <a:pt x="2" y="37"/>
                    <a:pt x="1" y="38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0"/>
                    <a:pt x="36" y="39"/>
                    <a:pt x="35" y="38"/>
                  </a:cubicBezTo>
                  <a:cubicBezTo>
                    <a:pt x="34" y="37"/>
                    <a:pt x="33" y="37"/>
                    <a:pt x="32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13"/>
                    <a:pt x="29" y="5"/>
                    <a:pt x="39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3" y="5"/>
                    <a:pt x="64" y="4"/>
                    <a:pt x="64" y="2"/>
                  </a:cubicBezTo>
                  <a:cubicBezTo>
                    <a:pt x="64" y="1"/>
                    <a:pt x="63" y="0"/>
                    <a:pt x="61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9" name="Group 96">
            <a:extLst>
              <a:ext uri="{FF2B5EF4-FFF2-40B4-BE49-F238E27FC236}">
                <a16:creationId xmlns:a16="http://schemas.microsoft.com/office/drawing/2014/main" id="{4A16B1C8-8D0B-436C-AC67-34684DE5A9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481" y="2783652"/>
            <a:ext cx="841375" cy="841375"/>
            <a:chOff x="354" y="1818"/>
            <a:chExt cx="530" cy="530"/>
          </a:xfrm>
        </p:grpSpPr>
        <p:sp>
          <p:nvSpPr>
            <p:cNvPr id="130" name="AutoShape 95">
              <a:extLst>
                <a:ext uri="{FF2B5EF4-FFF2-40B4-BE49-F238E27FC236}">
                  <a16:creationId xmlns:a16="http://schemas.microsoft.com/office/drawing/2014/main" id="{AD277887-100F-4AF0-9655-B2BC792B7C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4" y="181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97">
              <a:extLst>
                <a:ext uri="{FF2B5EF4-FFF2-40B4-BE49-F238E27FC236}">
                  <a16:creationId xmlns:a16="http://schemas.microsoft.com/office/drawing/2014/main" id="{2D653F5F-8D37-49CA-8478-F87BE6BDE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" y="181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98">
              <a:extLst>
                <a:ext uri="{FF2B5EF4-FFF2-40B4-BE49-F238E27FC236}">
                  <a16:creationId xmlns:a16="http://schemas.microsoft.com/office/drawing/2014/main" id="{D3780FF3-06A3-4729-B763-2A0390527E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" y="183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9">
              <a:extLst>
                <a:ext uri="{FF2B5EF4-FFF2-40B4-BE49-F238E27FC236}">
                  <a16:creationId xmlns:a16="http://schemas.microsoft.com/office/drawing/2014/main" id="{AB68E5C7-E1D0-4804-8230-E492B8365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" y="1951"/>
              <a:ext cx="351" cy="266"/>
            </a:xfrm>
            <a:custGeom>
              <a:avLst/>
              <a:gdLst>
                <a:gd name="T0" fmla="*/ 44 w 137"/>
                <a:gd name="T1" fmla="*/ 102 h 104"/>
                <a:gd name="T2" fmla="*/ 49 w 137"/>
                <a:gd name="T3" fmla="*/ 102 h 104"/>
                <a:gd name="T4" fmla="*/ 56 w 137"/>
                <a:gd name="T5" fmla="*/ 99 h 104"/>
                <a:gd name="T6" fmla="*/ 56 w 137"/>
                <a:gd name="T7" fmla="*/ 104 h 104"/>
                <a:gd name="T8" fmla="*/ 56 w 137"/>
                <a:gd name="T9" fmla="*/ 99 h 104"/>
                <a:gd name="T10" fmla="*/ 64 w 137"/>
                <a:gd name="T11" fmla="*/ 102 h 104"/>
                <a:gd name="T12" fmla="*/ 69 w 137"/>
                <a:gd name="T13" fmla="*/ 102 h 104"/>
                <a:gd name="T14" fmla="*/ 36 w 137"/>
                <a:gd name="T15" fmla="*/ 98 h 104"/>
                <a:gd name="T16" fmla="*/ 33 w 137"/>
                <a:gd name="T17" fmla="*/ 100 h 104"/>
                <a:gd name="T18" fmla="*/ 38 w 137"/>
                <a:gd name="T19" fmla="*/ 101 h 104"/>
                <a:gd name="T20" fmla="*/ 24 w 137"/>
                <a:gd name="T21" fmla="*/ 95 h 104"/>
                <a:gd name="T22" fmla="*/ 25 w 137"/>
                <a:gd name="T23" fmla="*/ 99 h 104"/>
                <a:gd name="T24" fmla="*/ 28 w 137"/>
                <a:gd name="T25" fmla="*/ 95 h 104"/>
                <a:gd name="T26" fmla="*/ 19 w 137"/>
                <a:gd name="T27" fmla="*/ 87 h 104"/>
                <a:gd name="T28" fmla="*/ 18 w 137"/>
                <a:gd name="T29" fmla="*/ 90 h 104"/>
                <a:gd name="T30" fmla="*/ 22 w 137"/>
                <a:gd name="T31" fmla="*/ 88 h 104"/>
                <a:gd name="T32" fmla="*/ 21 w 137"/>
                <a:gd name="T33" fmla="*/ 79 h 104"/>
                <a:gd name="T34" fmla="*/ 16 w 137"/>
                <a:gd name="T35" fmla="*/ 79 h 104"/>
                <a:gd name="T36" fmla="*/ 21 w 137"/>
                <a:gd name="T37" fmla="*/ 79 h 104"/>
                <a:gd name="T38" fmla="*/ 119 w 137"/>
                <a:gd name="T39" fmla="*/ 46 h 104"/>
                <a:gd name="T40" fmla="*/ 102 w 137"/>
                <a:gd name="T41" fmla="*/ 66 h 104"/>
                <a:gd name="T42" fmla="*/ 117 w 137"/>
                <a:gd name="T43" fmla="*/ 56 h 104"/>
                <a:gd name="T44" fmla="*/ 99 w 137"/>
                <a:gd name="T45" fmla="*/ 99 h 104"/>
                <a:gd name="T46" fmla="*/ 74 w 137"/>
                <a:gd name="T47" fmla="*/ 102 h 104"/>
                <a:gd name="T48" fmla="*/ 99 w 137"/>
                <a:gd name="T49" fmla="*/ 104 h 104"/>
                <a:gd name="T50" fmla="*/ 122 w 137"/>
                <a:gd name="T51" fmla="*/ 56 h 104"/>
                <a:gd name="T52" fmla="*/ 135 w 137"/>
                <a:gd name="T53" fmla="*/ 67 h 104"/>
                <a:gd name="T54" fmla="*/ 136 w 137"/>
                <a:gd name="T55" fmla="*/ 63 h 104"/>
                <a:gd name="T56" fmla="*/ 94 w 137"/>
                <a:gd name="T57" fmla="*/ 2 h 104"/>
                <a:gd name="T58" fmla="*/ 89 w 137"/>
                <a:gd name="T59" fmla="*/ 2 h 104"/>
                <a:gd name="T60" fmla="*/ 81 w 137"/>
                <a:gd name="T61" fmla="*/ 5 h 104"/>
                <a:gd name="T62" fmla="*/ 81 w 137"/>
                <a:gd name="T63" fmla="*/ 0 h 104"/>
                <a:gd name="T64" fmla="*/ 81 w 137"/>
                <a:gd name="T65" fmla="*/ 5 h 104"/>
                <a:gd name="T66" fmla="*/ 105 w 137"/>
                <a:gd name="T67" fmla="*/ 4 h 104"/>
                <a:gd name="T68" fmla="*/ 102 w 137"/>
                <a:gd name="T69" fmla="*/ 1 h 104"/>
                <a:gd name="T70" fmla="*/ 102 w 137"/>
                <a:gd name="T71" fmla="*/ 6 h 104"/>
                <a:gd name="T72" fmla="*/ 114 w 137"/>
                <a:gd name="T73" fmla="*/ 7 h 104"/>
                <a:gd name="T74" fmla="*/ 109 w 137"/>
                <a:gd name="T75" fmla="*/ 6 h 104"/>
                <a:gd name="T76" fmla="*/ 113 w 137"/>
                <a:gd name="T77" fmla="*/ 9 h 104"/>
                <a:gd name="T78" fmla="*/ 120 w 137"/>
                <a:gd name="T79" fmla="*/ 15 h 104"/>
                <a:gd name="T80" fmla="*/ 117 w 137"/>
                <a:gd name="T81" fmla="*/ 13 h 104"/>
                <a:gd name="T82" fmla="*/ 119 w 137"/>
                <a:gd name="T83" fmla="*/ 17 h 104"/>
                <a:gd name="T84" fmla="*/ 119 w 137"/>
                <a:gd name="T85" fmla="*/ 27 h 104"/>
                <a:gd name="T86" fmla="*/ 119 w 137"/>
                <a:gd name="T87" fmla="*/ 22 h 104"/>
                <a:gd name="T88" fmla="*/ 71 w 137"/>
                <a:gd name="T89" fmla="*/ 0 h 104"/>
                <a:gd name="T90" fmla="*/ 71 w 137"/>
                <a:gd name="T91" fmla="*/ 5 h 104"/>
                <a:gd name="T92" fmla="*/ 71 w 137"/>
                <a:gd name="T93" fmla="*/ 0 h 104"/>
                <a:gd name="T94" fmla="*/ 39 w 137"/>
                <a:gd name="T95" fmla="*/ 0 h 104"/>
                <a:gd name="T96" fmla="*/ 16 w 137"/>
                <a:gd name="T97" fmla="*/ 48 h 104"/>
                <a:gd name="T98" fmla="*/ 1 w 137"/>
                <a:gd name="T99" fmla="*/ 38 h 104"/>
                <a:gd name="T100" fmla="*/ 18 w 137"/>
                <a:gd name="T101" fmla="*/ 58 h 104"/>
                <a:gd name="T102" fmla="*/ 35 w 137"/>
                <a:gd name="T103" fmla="*/ 38 h 104"/>
                <a:gd name="T104" fmla="*/ 21 w 137"/>
                <a:gd name="T105" fmla="*/ 48 h 104"/>
                <a:gd name="T106" fmla="*/ 39 w 137"/>
                <a:gd name="T107" fmla="*/ 5 h 104"/>
                <a:gd name="T108" fmla="*/ 64 w 137"/>
                <a:gd name="T109" fmla="*/ 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7" h="104">
                  <a:moveTo>
                    <a:pt x="46" y="99"/>
                  </a:moveTo>
                  <a:cubicBezTo>
                    <a:pt x="45" y="99"/>
                    <a:pt x="44" y="100"/>
                    <a:pt x="44" y="102"/>
                  </a:cubicBezTo>
                  <a:cubicBezTo>
                    <a:pt x="44" y="103"/>
                    <a:pt x="45" y="104"/>
                    <a:pt x="46" y="104"/>
                  </a:cubicBezTo>
                  <a:cubicBezTo>
                    <a:pt x="47" y="104"/>
                    <a:pt x="49" y="103"/>
                    <a:pt x="49" y="102"/>
                  </a:cubicBezTo>
                  <a:cubicBezTo>
                    <a:pt x="49" y="100"/>
                    <a:pt x="47" y="99"/>
                    <a:pt x="46" y="99"/>
                  </a:cubicBezTo>
                  <a:moveTo>
                    <a:pt x="56" y="99"/>
                  </a:moveTo>
                  <a:cubicBezTo>
                    <a:pt x="55" y="99"/>
                    <a:pt x="54" y="100"/>
                    <a:pt x="54" y="102"/>
                  </a:cubicBezTo>
                  <a:cubicBezTo>
                    <a:pt x="54" y="103"/>
                    <a:pt x="55" y="104"/>
                    <a:pt x="56" y="104"/>
                  </a:cubicBezTo>
                  <a:cubicBezTo>
                    <a:pt x="58" y="104"/>
                    <a:pt x="59" y="103"/>
                    <a:pt x="59" y="102"/>
                  </a:cubicBezTo>
                  <a:cubicBezTo>
                    <a:pt x="59" y="100"/>
                    <a:pt x="58" y="99"/>
                    <a:pt x="56" y="99"/>
                  </a:cubicBezTo>
                  <a:moveTo>
                    <a:pt x="66" y="99"/>
                  </a:moveTo>
                  <a:cubicBezTo>
                    <a:pt x="65" y="99"/>
                    <a:pt x="64" y="100"/>
                    <a:pt x="64" y="102"/>
                  </a:cubicBezTo>
                  <a:cubicBezTo>
                    <a:pt x="64" y="103"/>
                    <a:pt x="65" y="104"/>
                    <a:pt x="66" y="104"/>
                  </a:cubicBezTo>
                  <a:cubicBezTo>
                    <a:pt x="68" y="104"/>
                    <a:pt x="69" y="103"/>
                    <a:pt x="69" y="102"/>
                  </a:cubicBezTo>
                  <a:cubicBezTo>
                    <a:pt x="69" y="100"/>
                    <a:pt x="68" y="99"/>
                    <a:pt x="66" y="99"/>
                  </a:cubicBezTo>
                  <a:moveTo>
                    <a:pt x="36" y="98"/>
                  </a:moveTo>
                  <a:cubicBezTo>
                    <a:pt x="35" y="98"/>
                    <a:pt x="33" y="99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2"/>
                    <a:pt x="34" y="103"/>
                    <a:pt x="35" y="103"/>
                  </a:cubicBezTo>
                  <a:cubicBezTo>
                    <a:pt x="37" y="103"/>
                    <a:pt x="38" y="102"/>
                    <a:pt x="38" y="101"/>
                  </a:cubicBezTo>
                  <a:cubicBezTo>
                    <a:pt x="38" y="99"/>
                    <a:pt x="37" y="98"/>
                    <a:pt x="36" y="98"/>
                  </a:cubicBezTo>
                  <a:moveTo>
                    <a:pt x="24" y="95"/>
                  </a:moveTo>
                  <a:cubicBezTo>
                    <a:pt x="24" y="96"/>
                    <a:pt x="24" y="96"/>
                    <a:pt x="24" y="97"/>
                  </a:cubicBezTo>
                  <a:cubicBezTo>
                    <a:pt x="24" y="97"/>
                    <a:pt x="24" y="98"/>
                    <a:pt x="25" y="99"/>
                  </a:cubicBezTo>
                  <a:cubicBezTo>
                    <a:pt x="26" y="100"/>
                    <a:pt x="28" y="99"/>
                    <a:pt x="28" y="98"/>
                  </a:cubicBezTo>
                  <a:cubicBezTo>
                    <a:pt x="29" y="97"/>
                    <a:pt x="29" y="96"/>
                    <a:pt x="28" y="95"/>
                  </a:cubicBezTo>
                  <a:cubicBezTo>
                    <a:pt x="27" y="94"/>
                    <a:pt x="25" y="94"/>
                    <a:pt x="24" y="95"/>
                  </a:cubicBezTo>
                  <a:moveTo>
                    <a:pt x="19" y="87"/>
                  </a:moveTo>
                  <a:cubicBezTo>
                    <a:pt x="18" y="87"/>
                    <a:pt x="18" y="88"/>
                    <a:pt x="18" y="89"/>
                  </a:cubicBezTo>
                  <a:cubicBezTo>
                    <a:pt x="18" y="89"/>
                    <a:pt x="18" y="90"/>
                    <a:pt x="18" y="90"/>
                  </a:cubicBezTo>
                  <a:cubicBezTo>
                    <a:pt x="18" y="91"/>
                    <a:pt x="20" y="92"/>
                    <a:pt x="21" y="91"/>
                  </a:cubicBezTo>
                  <a:cubicBezTo>
                    <a:pt x="22" y="91"/>
                    <a:pt x="23" y="89"/>
                    <a:pt x="22" y="88"/>
                  </a:cubicBezTo>
                  <a:cubicBezTo>
                    <a:pt x="22" y="87"/>
                    <a:pt x="20" y="86"/>
                    <a:pt x="19" y="87"/>
                  </a:cubicBezTo>
                  <a:moveTo>
                    <a:pt x="21" y="79"/>
                  </a:moveTo>
                  <a:cubicBezTo>
                    <a:pt x="21" y="78"/>
                    <a:pt x="20" y="77"/>
                    <a:pt x="18" y="77"/>
                  </a:cubicBezTo>
                  <a:cubicBezTo>
                    <a:pt x="17" y="77"/>
                    <a:pt x="16" y="78"/>
                    <a:pt x="16" y="79"/>
                  </a:cubicBezTo>
                  <a:cubicBezTo>
                    <a:pt x="16" y="81"/>
                    <a:pt x="17" y="82"/>
                    <a:pt x="18" y="82"/>
                  </a:cubicBezTo>
                  <a:cubicBezTo>
                    <a:pt x="20" y="82"/>
                    <a:pt x="21" y="81"/>
                    <a:pt x="21" y="79"/>
                  </a:cubicBezTo>
                  <a:moveTo>
                    <a:pt x="136" y="63"/>
                  </a:moveTo>
                  <a:cubicBezTo>
                    <a:pt x="119" y="46"/>
                    <a:pt x="119" y="46"/>
                    <a:pt x="119" y="46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1" y="64"/>
                    <a:pt x="101" y="65"/>
                    <a:pt x="102" y="66"/>
                  </a:cubicBezTo>
                  <a:cubicBezTo>
                    <a:pt x="103" y="67"/>
                    <a:pt x="105" y="67"/>
                    <a:pt x="106" y="66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7" y="91"/>
                    <a:pt x="109" y="99"/>
                    <a:pt x="99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5" y="99"/>
                    <a:pt x="74" y="100"/>
                    <a:pt x="74" y="102"/>
                  </a:cubicBezTo>
                  <a:cubicBezTo>
                    <a:pt x="74" y="103"/>
                    <a:pt x="75" y="104"/>
                    <a:pt x="76" y="104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112" y="104"/>
                    <a:pt x="122" y="94"/>
                    <a:pt x="122" y="82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3" y="67"/>
                    <a:pt x="134" y="67"/>
                    <a:pt x="135" y="67"/>
                  </a:cubicBezTo>
                  <a:cubicBezTo>
                    <a:pt x="135" y="67"/>
                    <a:pt x="136" y="67"/>
                    <a:pt x="136" y="66"/>
                  </a:cubicBezTo>
                  <a:cubicBezTo>
                    <a:pt x="137" y="65"/>
                    <a:pt x="137" y="64"/>
                    <a:pt x="136" y="63"/>
                  </a:cubicBezTo>
                  <a:moveTo>
                    <a:pt x="92" y="5"/>
                  </a:moveTo>
                  <a:cubicBezTo>
                    <a:pt x="93" y="5"/>
                    <a:pt x="94" y="4"/>
                    <a:pt x="94" y="2"/>
                  </a:cubicBezTo>
                  <a:cubicBezTo>
                    <a:pt x="94" y="1"/>
                    <a:pt x="93" y="0"/>
                    <a:pt x="92" y="0"/>
                  </a:cubicBezTo>
                  <a:cubicBezTo>
                    <a:pt x="90" y="0"/>
                    <a:pt x="89" y="1"/>
                    <a:pt x="89" y="2"/>
                  </a:cubicBezTo>
                  <a:cubicBezTo>
                    <a:pt x="89" y="4"/>
                    <a:pt x="90" y="5"/>
                    <a:pt x="92" y="5"/>
                  </a:cubicBezTo>
                  <a:moveTo>
                    <a:pt x="81" y="5"/>
                  </a:moveTo>
                  <a:cubicBezTo>
                    <a:pt x="83" y="5"/>
                    <a:pt x="84" y="4"/>
                    <a:pt x="84" y="2"/>
                  </a:cubicBezTo>
                  <a:cubicBezTo>
                    <a:pt x="84" y="1"/>
                    <a:pt x="83" y="0"/>
                    <a:pt x="81" y="0"/>
                  </a:cubicBezTo>
                  <a:cubicBezTo>
                    <a:pt x="80" y="0"/>
                    <a:pt x="79" y="1"/>
                    <a:pt x="79" y="2"/>
                  </a:cubicBezTo>
                  <a:cubicBezTo>
                    <a:pt x="79" y="4"/>
                    <a:pt x="80" y="5"/>
                    <a:pt x="81" y="5"/>
                  </a:cubicBezTo>
                  <a:moveTo>
                    <a:pt x="102" y="6"/>
                  </a:moveTo>
                  <a:cubicBezTo>
                    <a:pt x="103" y="6"/>
                    <a:pt x="104" y="5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2"/>
                    <a:pt x="104" y="1"/>
                    <a:pt x="102" y="1"/>
                  </a:cubicBezTo>
                  <a:cubicBezTo>
                    <a:pt x="101" y="1"/>
                    <a:pt x="100" y="2"/>
                    <a:pt x="100" y="3"/>
                  </a:cubicBezTo>
                  <a:cubicBezTo>
                    <a:pt x="99" y="5"/>
                    <a:pt x="100" y="6"/>
                    <a:pt x="102" y="6"/>
                  </a:cubicBezTo>
                  <a:moveTo>
                    <a:pt x="113" y="9"/>
                  </a:moveTo>
                  <a:cubicBezTo>
                    <a:pt x="114" y="8"/>
                    <a:pt x="114" y="8"/>
                    <a:pt x="114" y="7"/>
                  </a:cubicBezTo>
                  <a:cubicBezTo>
                    <a:pt x="114" y="7"/>
                    <a:pt x="113" y="6"/>
                    <a:pt x="113" y="5"/>
                  </a:cubicBezTo>
                  <a:cubicBezTo>
                    <a:pt x="112" y="4"/>
                    <a:pt x="110" y="5"/>
                    <a:pt x="109" y="6"/>
                  </a:cubicBezTo>
                  <a:cubicBezTo>
                    <a:pt x="108" y="7"/>
                    <a:pt x="109" y="8"/>
                    <a:pt x="110" y="9"/>
                  </a:cubicBezTo>
                  <a:cubicBezTo>
                    <a:pt x="111" y="10"/>
                    <a:pt x="112" y="10"/>
                    <a:pt x="113" y="9"/>
                  </a:cubicBezTo>
                  <a:moveTo>
                    <a:pt x="119" y="17"/>
                  </a:moveTo>
                  <a:cubicBezTo>
                    <a:pt x="120" y="17"/>
                    <a:pt x="120" y="16"/>
                    <a:pt x="120" y="15"/>
                  </a:cubicBezTo>
                  <a:cubicBezTo>
                    <a:pt x="120" y="15"/>
                    <a:pt x="120" y="14"/>
                    <a:pt x="120" y="14"/>
                  </a:cubicBezTo>
                  <a:cubicBezTo>
                    <a:pt x="119" y="13"/>
                    <a:pt x="118" y="12"/>
                    <a:pt x="117" y="13"/>
                  </a:cubicBezTo>
                  <a:cubicBezTo>
                    <a:pt x="115" y="13"/>
                    <a:pt x="115" y="15"/>
                    <a:pt x="115" y="16"/>
                  </a:cubicBezTo>
                  <a:cubicBezTo>
                    <a:pt x="116" y="17"/>
                    <a:pt x="117" y="18"/>
                    <a:pt x="119" y="17"/>
                  </a:cubicBezTo>
                  <a:moveTo>
                    <a:pt x="117" y="25"/>
                  </a:moveTo>
                  <a:cubicBezTo>
                    <a:pt x="117" y="26"/>
                    <a:pt x="118" y="27"/>
                    <a:pt x="119" y="27"/>
                  </a:cubicBezTo>
                  <a:cubicBezTo>
                    <a:pt x="121" y="27"/>
                    <a:pt x="122" y="26"/>
                    <a:pt x="122" y="25"/>
                  </a:cubicBezTo>
                  <a:cubicBezTo>
                    <a:pt x="122" y="23"/>
                    <a:pt x="121" y="22"/>
                    <a:pt x="119" y="22"/>
                  </a:cubicBezTo>
                  <a:cubicBezTo>
                    <a:pt x="118" y="22"/>
                    <a:pt x="117" y="23"/>
                    <a:pt x="117" y="25"/>
                  </a:cubicBezTo>
                  <a:moveTo>
                    <a:pt x="71" y="0"/>
                  </a:moveTo>
                  <a:cubicBezTo>
                    <a:pt x="70" y="0"/>
                    <a:pt x="69" y="1"/>
                    <a:pt x="69" y="2"/>
                  </a:cubicBezTo>
                  <a:cubicBezTo>
                    <a:pt x="69" y="4"/>
                    <a:pt x="70" y="5"/>
                    <a:pt x="71" y="5"/>
                  </a:cubicBezTo>
                  <a:cubicBezTo>
                    <a:pt x="73" y="5"/>
                    <a:pt x="74" y="4"/>
                    <a:pt x="74" y="2"/>
                  </a:cubicBezTo>
                  <a:cubicBezTo>
                    <a:pt x="74" y="1"/>
                    <a:pt x="73" y="0"/>
                    <a:pt x="71" y="0"/>
                  </a:cubicBezTo>
                  <a:moveTo>
                    <a:pt x="61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26" y="0"/>
                    <a:pt x="16" y="10"/>
                    <a:pt x="16" y="2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4" y="37"/>
                    <a:pt x="2" y="37"/>
                    <a:pt x="1" y="38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0"/>
                    <a:pt x="36" y="39"/>
                    <a:pt x="35" y="38"/>
                  </a:cubicBezTo>
                  <a:cubicBezTo>
                    <a:pt x="34" y="37"/>
                    <a:pt x="33" y="37"/>
                    <a:pt x="32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13"/>
                    <a:pt x="29" y="5"/>
                    <a:pt x="39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3" y="5"/>
                    <a:pt x="64" y="4"/>
                    <a:pt x="64" y="2"/>
                  </a:cubicBezTo>
                  <a:cubicBezTo>
                    <a:pt x="64" y="1"/>
                    <a:pt x="63" y="0"/>
                    <a:pt x="6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02">
            <a:extLst>
              <a:ext uri="{FF2B5EF4-FFF2-40B4-BE49-F238E27FC236}">
                <a16:creationId xmlns:a16="http://schemas.microsoft.com/office/drawing/2014/main" id="{F69B31A3-C717-4FFA-991D-D38F11CF5A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8409" y="2824927"/>
            <a:ext cx="760412" cy="758825"/>
            <a:chOff x="2287" y="1819"/>
            <a:chExt cx="479" cy="478"/>
          </a:xfrm>
        </p:grpSpPr>
        <p:sp>
          <p:nvSpPr>
            <p:cNvPr id="139" name="AutoShape 101">
              <a:extLst>
                <a:ext uri="{FF2B5EF4-FFF2-40B4-BE49-F238E27FC236}">
                  <a16:creationId xmlns:a16="http://schemas.microsoft.com/office/drawing/2014/main" id="{1589D0FB-8E7A-41DF-89C4-55116F49C1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7" y="181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3">
              <a:extLst>
                <a:ext uri="{FF2B5EF4-FFF2-40B4-BE49-F238E27FC236}">
                  <a16:creationId xmlns:a16="http://schemas.microsoft.com/office/drawing/2014/main" id="{D92DC1BC-8EB3-41F4-B0E6-9B88999953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" y="182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4">
              <a:extLst>
                <a:ext uri="{FF2B5EF4-FFF2-40B4-BE49-F238E27FC236}">
                  <a16:creationId xmlns:a16="http://schemas.microsoft.com/office/drawing/2014/main" id="{731F470C-5059-4DED-9292-5156A6957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5" y="1917"/>
              <a:ext cx="285" cy="265"/>
            </a:xfrm>
            <a:custGeom>
              <a:avLst/>
              <a:gdLst>
                <a:gd name="T0" fmla="*/ 40 w 116"/>
                <a:gd name="T1" fmla="*/ 26 h 108"/>
                <a:gd name="T2" fmla="*/ 55 w 116"/>
                <a:gd name="T3" fmla="*/ 10 h 108"/>
                <a:gd name="T4" fmla="*/ 55 w 116"/>
                <a:gd name="T5" fmla="*/ 75 h 108"/>
                <a:gd name="T6" fmla="*/ 58 w 116"/>
                <a:gd name="T7" fmla="*/ 77 h 108"/>
                <a:gd name="T8" fmla="*/ 61 w 116"/>
                <a:gd name="T9" fmla="*/ 75 h 108"/>
                <a:gd name="T10" fmla="*/ 61 w 116"/>
                <a:gd name="T11" fmla="*/ 10 h 108"/>
                <a:gd name="T12" fmla="*/ 76 w 116"/>
                <a:gd name="T13" fmla="*/ 26 h 108"/>
                <a:gd name="T14" fmla="*/ 78 w 116"/>
                <a:gd name="T15" fmla="*/ 27 h 108"/>
                <a:gd name="T16" fmla="*/ 80 w 116"/>
                <a:gd name="T17" fmla="*/ 26 h 108"/>
                <a:gd name="T18" fmla="*/ 80 w 116"/>
                <a:gd name="T19" fmla="*/ 22 h 108"/>
                <a:gd name="T20" fmla="*/ 58 w 116"/>
                <a:gd name="T21" fmla="*/ 0 h 108"/>
                <a:gd name="T22" fmla="*/ 36 w 116"/>
                <a:gd name="T23" fmla="*/ 22 h 108"/>
                <a:gd name="T24" fmla="*/ 36 w 116"/>
                <a:gd name="T25" fmla="*/ 26 h 108"/>
                <a:gd name="T26" fmla="*/ 40 w 116"/>
                <a:gd name="T27" fmla="*/ 26 h 108"/>
                <a:gd name="T28" fmla="*/ 103 w 116"/>
                <a:gd name="T29" fmla="*/ 42 h 108"/>
                <a:gd name="T30" fmla="*/ 88 w 116"/>
                <a:gd name="T31" fmla="*/ 42 h 108"/>
                <a:gd name="T32" fmla="*/ 88 w 116"/>
                <a:gd name="T33" fmla="*/ 47 h 108"/>
                <a:gd name="T34" fmla="*/ 103 w 116"/>
                <a:gd name="T35" fmla="*/ 47 h 108"/>
                <a:gd name="T36" fmla="*/ 111 w 116"/>
                <a:gd name="T37" fmla="*/ 55 h 108"/>
                <a:gd name="T38" fmla="*/ 111 w 116"/>
                <a:gd name="T39" fmla="*/ 95 h 108"/>
                <a:gd name="T40" fmla="*/ 103 w 116"/>
                <a:gd name="T41" fmla="*/ 103 h 108"/>
                <a:gd name="T42" fmla="*/ 13 w 116"/>
                <a:gd name="T43" fmla="*/ 103 h 108"/>
                <a:gd name="T44" fmla="*/ 5 w 116"/>
                <a:gd name="T45" fmla="*/ 95 h 108"/>
                <a:gd name="T46" fmla="*/ 5 w 116"/>
                <a:gd name="T47" fmla="*/ 55 h 108"/>
                <a:gd name="T48" fmla="*/ 13 w 116"/>
                <a:gd name="T49" fmla="*/ 47 h 108"/>
                <a:gd name="T50" fmla="*/ 28 w 116"/>
                <a:gd name="T51" fmla="*/ 47 h 108"/>
                <a:gd name="T52" fmla="*/ 28 w 116"/>
                <a:gd name="T53" fmla="*/ 42 h 108"/>
                <a:gd name="T54" fmla="*/ 13 w 116"/>
                <a:gd name="T55" fmla="*/ 42 h 108"/>
                <a:gd name="T56" fmla="*/ 0 w 116"/>
                <a:gd name="T57" fmla="*/ 55 h 108"/>
                <a:gd name="T58" fmla="*/ 0 w 116"/>
                <a:gd name="T59" fmla="*/ 95 h 108"/>
                <a:gd name="T60" fmla="*/ 13 w 116"/>
                <a:gd name="T61" fmla="*/ 108 h 108"/>
                <a:gd name="T62" fmla="*/ 103 w 116"/>
                <a:gd name="T63" fmla="*/ 108 h 108"/>
                <a:gd name="T64" fmla="*/ 116 w 116"/>
                <a:gd name="T65" fmla="*/ 95 h 108"/>
                <a:gd name="T66" fmla="*/ 116 w 116"/>
                <a:gd name="T67" fmla="*/ 55 h 108"/>
                <a:gd name="T68" fmla="*/ 103 w 116"/>
                <a:gd name="T69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108">
                  <a:moveTo>
                    <a:pt x="40" y="26"/>
                  </a:moveTo>
                  <a:cubicBezTo>
                    <a:pt x="55" y="10"/>
                    <a:pt x="55" y="10"/>
                    <a:pt x="55" y="10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6"/>
                    <a:pt x="57" y="77"/>
                    <a:pt x="58" y="77"/>
                  </a:cubicBezTo>
                  <a:cubicBezTo>
                    <a:pt x="59" y="77"/>
                    <a:pt x="61" y="76"/>
                    <a:pt x="61" y="7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7"/>
                    <a:pt x="78" y="27"/>
                  </a:cubicBezTo>
                  <a:cubicBezTo>
                    <a:pt x="79" y="27"/>
                    <a:pt x="79" y="26"/>
                    <a:pt x="80" y="26"/>
                  </a:cubicBezTo>
                  <a:cubicBezTo>
                    <a:pt x="81" y="25"/>
                    <a:pt x="81" y="23"/>
                    <a:pt x="80" y="2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3"/>
                    <a:pt x="35" y="25"/>
                    <a:pt x="36" y="26"/>
                  </a:cubicBezTo>
                  <a:cubicBezTo>
                    <a:pt x="37" y="27"/>
                    <a:pt x="39" y="27"/>
                    <a:pt x="40" y="26"/>
                  </a:cubicBezTo>
                  <a:moveTo>
                    <a:pt x="103" y="42"/>
                  </a:moveTo>
                  <a:cubicBezTo>
                    <a:pt x="88" y="42"/>
                    <a:pt x="88" y="42"/>
                    <a:pt x="88" y="42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7" y="47"/>
                    <a:pt x="111" y="50"/>
                    <a:pt x="111" y="55"/>
                  </a:cubicBezTo>
                  <a:cubicBezTo>
                    <a:pt x="111" y="95"/>
                    <a:pt x="111" y="95"/>
                    <a:pt x="111" y="95"/>
                  </a:cubicBezTo>
                  <a:cubicBezTo>
                    <a:pt x="111" y="100"/>
                    <a:pt x="107" y="103"/>
                    <a:pt x="103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9" y="103"/>
                    <a:pt x="5" y="100"/>
                    <a:pt x="5" y="9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0"/>
                    <a:pt x="9" y="47"/>
                    <a:pt x="13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6" y="42"/>
                    <a:pt x="0" y="47"/>
                    <a:pt x="0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2"/>
                    <a:pt x="6" y="108"/>
                    <a:pt x="13" y="108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10" y="108"/>
                    <a:pt x="116" y="102"/>
                    <a:pt x="116" y="9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47"/>
                    <a:pt x="110" y="42"/>
                    <a:pt x="103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05">
              <a:extLst>
                <a:ext uri="{FF2B5EF4-FFF2-40B4-BE49-F238E27FC236}">
                  <a16:creationId xmlns:a16="http://schemas.microsoft.com/office/drawing/2014/main" id="{94E9ECC6-5601-40E7-9160-A299140E75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5" y="1917"/>
              <a:ext cx="285" cy="265"/>
            </a:xfrm>
            <a:custGeom>
              <a:avLst/>
              <a:gdLst>
                <a:gd name="T0" fmla="*/ 40 w 116"/>
                <a:gd name="T1" fmla="*/ 26 h 108"/>
                <a:gd name="T2" fmla="*/ 55 w 116"/>
                <a:gd name="T3" fmla="*/ 10 h 108"/>
                <a:gd name="T4" fmla="*/ 55 w 116"/>
                <a:gd name="T5" fmla="*/ 75 h 108"/>
                <a:gd name="T6" fmla="*/ 58 w 116"/>
                <a:gd name="T7" fmla="*/ 77 h 108"/>
                <a:gd name="T8" fmla="*/ 61 w 116"/>
                <a:gd name="T9" fmla="*/ 75 h 108"/>
                <a:gd name="T10" fmla="*/ 61 w 116"/>
                <a:gd name="T11" fmla="*/ 10 h 108"/>
                <a:gd name="T12" fmla="*/ 76 w 116"/>
                <a:gd name="T13" fmla="*/ 26 h 108"/>
                <a:gd name="T14" fmla="*/ 78 w 116"/>
                <a:gd name="T15" fmla="*/ 27 h 108"/>
                <a:gd name="T16" fmla="*/ 80 w 116"/>
                <a:gd name="T17" fmla="*/ 26 h 108"/>
                <a:gd name="T18" fmla="*/ 80 w 116"/>
                <a:gd name="T19" fmla="*/ 22 h 108"/>
                <a:gd name="T20" fmla="*/ 58 w 116"/>
                <a:gd name="T21" fmla="*/ 0 h 108"/>
                <a:gd name="T22" fmla="*/ 36 w 116"/>
                <a:gd name="T23" fmla="*/ 22 h 108"/>
                <a:gd name="T24" fmla="*/ 36 w 116"/>
                <a:gd name="T25" fmla="*/ 26 h 108"/>
                <a:gd name="T26" fmla="*/ 40 w 116"/>
                <a:gd name="T27" fmla="*/ 26 h 108"/>
                <a:gd name="T28" fmla="*/ 103 w 116"/>
                <a:gd name="T29" fmla="*/ 42 h 108"/>
                <a:gd name="T30" fmla="*/ 88 w 116"/>
                <a:gd name="T31" fmla="*/ 42 h 108"/>
                <a:gd name="T32" fmla="*/ 88 w 116"/>
                <a:gd name="T33" fmla="*/ 47 h 108"/>
                <a:gd name="T34" fmla="*/ 103 w 116"/>
                <a:gd name="T35" fmla="*/ 47 h 108"/>
                <a:gd name="T36" fmla="*/ 111 w 116"/>
                <a:gd name="T37" fmla="*/ 55 h 108"/>
                <a:gd name="T38" fmla="*/ 111 w 116"/>
                <a:gd name="T39" fmla="*/ 95 h 108"/>
                <a:gd name="T40" fmla="*/ 103 w 116"/>
                <a:gd name="T41" fmla="*/ 103 h 108"/>
                <a:gd name="T42" fmla="*/ 13 w 116"/>
                <a:gd name="T43" fmla="*/ 103 h 108"/>
                <a:gd name="T44" fmla="*/ 5 w 116"/>
                <a:gd name="T45" fmla="*/ 95 h 108"/>
                <a:gd name="T46" fmla="*/ 5 w 116"/>
                <a:gd name="T47" fmla="*/ 55 h 108"/>
                <a:gd name="T48" fmla="*/ 13 w 116"/>
                <a:gd name="T49" fmla="*/ 47 h 108"/>
                <a:gd name="T50" fmla="*/ 28 w 116"/>
                <a:gd name="T51" fmla="*/ 47 h 108"/>
                <a:gd name="T52" fmla="*/ 28 w 116"/>
                <a:gd name="T53" fmla="*/ 42 h 108"/>
                <a:gd name="T54" fmla="*/ 13 w 116"/>
                <a:gd name="T55" fmla="*/ 42 h 108"/>
                <a:gd name="T56" fmla="*/ 0 w 116"/>
                <a:gd name="T57" fmla="*/ 55 h 108"/>
                <a:gd name="T58" fmla="*/ 0 w 116"/>
                <a:gd name="T59" fmla="*/ 95 h 108"/>
                <a:gd name="T60" fmla="*/ 13 w 116"/>
                <a:gd name="T61" fmla="*/ 108 h 108"/>
                <a:gd name="T62" fmla="*/ 103 w 116"/>
                <a:gd name="T63" fmla="*/ 108 h 108"/>
                <a:gd name="T64" fmla="*/ 116 w 116"/>
                <a:gd name="T65" fmla="*/ 95 h 108"/>
                <a:gd name="T66" fmla="*/ 116 w 116"/>
                <a:gd name="T67" fmla="*/ 55 h 108"/>
                <a:gd name="T68" fmla="*/ 103 w 116"/>
                <a:gd name="T69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108">
                  <a:moveTo>
                    <a:pt x="40" y="26"/>
                  </a:moveTo>
                  <a:cubicBezTo>
                    <a:pt x="55" y="10"/>
                    <a:pt x="55" y="10"/>
                    <a:pt x="55" y="10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6"/>
                    <a:pt x="57" y="77"/>
                    <a:pt x="58" y="77"/>
                  </a:cubicBezTo>
                  <a:cubicBezTo>
                    <a:pt x="59" y="77"/>
                    <a:pt x="61" y="76"/>
                    <a:pt x="61" y="7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7"/>
                    <a:pt x="78" y="27"/>
                  </a:cubicBezTo>
                  <a:cubicBezTo>
                    <a:pt x="79" y="27"/>
                    <a:pt x="79" y="26"/>
                    <a:pt x="80" y="26"/>
                  </a:cubicBezTo>
                  <a:cubicBezTo>
                    <a:pt x="81" y="25"/>
                    <a:pt x="81" y="23"/>
                    <a:pt x="80" y="2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3"/>
                    <a:pt x="35" y="25"/>
                    <a:pt x="36" y="26"/>
                  </a:cubicBezTo>
                  <a:cubicBezTo>
                    <a:pt x="37" y="27"/>
                    <a:pt x="39" y="27"/>
                    <a:pt x="40" y="26"/>
                  </a:cubicBezTo>
                  <a:moveTo>
                    <a:pt x="103" y="42"/>
                  </a:moveTo>
                  <a:cubicBezTo>
                    <a:pt x="88" y="42"/>
                    <a:pt x="88" y="42"/>
                    <a:pt x="88" y="42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7" y="47"/>
                    <a:pt x="111" y="50"/>
                    <a:pt x="111" y="55"/>
                  </a:cubicBezTo>
                  <a:cubicBezTo>
                    <a:pt x="111" y="95"/>
                    <a:pt x="111" y="95"/>
                    <a:pt x="111" y="95"/>
                  </a:cubicBezTo>
                  <a:cubicBezTo>
                    <a:pt x="111" y="100"/>
                    <a:pt x="107" y="103"/>
                    <a:pt x="103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9" y="103"/>
                    <a:pt x="5" y="100"/>
                    <a:pt x="5" y="9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0"/>
                    <a:pt x="9" y="47"/>
                    <a:pt x="13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6" y="42"/>
                    <a:pt x="0" y="47"/>
                    <a:pt x="0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2"/>
                    <a:pt x="6" y="108"/>
                    <a:pt x="13" y="108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10" y="108"/>
                    <a:pt x="116" y="102"/>
                    <a:pt x="116" y="9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47"/>
                    <a:pt x="110" y="42"/>
                    <a:pt x="103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08">
            <a:extLst>
              <a:ext uri="{FF2B5EF4-FFF2-40B4-BE49-F238E27FC236}">
                <a16:creationId xmlns:a16="http://schemas.microsoft.com/office/drawing/2014/main" id="{2635E44B-0689-4E14-B6FA-1DD6FC73F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383" y="2783652"/>
            <a:ext cx="841375" cy="841375"/>
            <a:chOff x="1716" y="1825"/>
            <a:chExt cx="530" cy="530"/>
          </a:xfrm>
        </p:grpSpPr>
        <p:sp>
          <p:nvSpPr>
            <p:cNvPr id="144" name="AutoShape 107">
              <a:extLst>
                <a:ext uri="{FF2B5EF4-FFF2-40B4-BE49-F238E27FC236}">
                  <a16:creationId xmlns:a16="http://schemas.microsoft.com/office/drawing/2014/main" id="{10BF9B50-30B8-4620-A3EF-748A3B088A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16" y="1825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109">
              <a:extLst>
                <a:ext uri="{FF2B5EF4-FFF2-40B4-BE49-F238E27FC236}">
                  <a16:creationId xmlns:a16="http://schemas.microsoft.com/office/drawing/2014/main" id="{1554EC75-98A4-4D8B-916F-85E897540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6" y="1825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0">
              <a:extLst>
                <a:ext uri="{FF2B5EF4-FFF2-40B4-BE49-F238E27FC236}">
                  <a16:creationId xmlns:a16="http://schemas.microsoft.com/office/drawing/2014/main" id="{36E5F822-4EC3-4A9D-9F8A-69860E7D18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4" y="1843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11">
              <a:extLst>
                <a:ext uri="{FF2B5EF4-FFF2-40B4-BE49-F238E27FC236}">
                  <a16:creationId xmlns:a16="http://schemas.microsoft.com/office/drawing/2014/main" id="{FD500F0E-4FA0-43DF-9C36-DE7C77E6CF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4" y="1943"/>
              <a:ext cx="297" cy="276"/>
            </a:xfrm>
            <a:custGeom>
              <a:avLst/>
              <a:gdLst>
                <a:gd name="T0" fmla="*/ 40 w 116"/>
                <a:gd name="T1" fmla="*/ 26 h 108"/>
                <a:gd name="T2" fmla="*/ 55 w 116"/>
                <a:gd name="T3" fmla="*/ 10 h 108"/>
                <a:gd name="T4" fmla="*/ 55 w 116"/>
                <a:gd name="T5" fmla="*/ 75 h 108"/>
                <a:gd name="T6" fmla="*/ 58 w 116"/>
                <a:gd name="T7" fmla="*/ 77 h 108"/>
                <a:gd name="T8" fmla="*/ 61 w 116"/>
                <a:gd name="T9" fmla="*/ 75 h 108"/>
                <a:gd name="T10" fmla="*/ 61 w 116"/>
                <a:gd name="T11" fmla="*/ 10 h 108"/>
                <a:gd name="T12" fmla="*/ 76 w 116"/>
                <a:gd name="T13" fmla="*/ 26 h 108"/>
                <a:gd name="T14" fmla="*/ 78 w 116"/>
                <a:gd name="T15" fmla="*/ 27 h 108"/>
                <a:gd name="T16" fmla="*/ 80 w 116"/>
                <a:gd name="T17" fmla="*/ 26 h 108"/>
                <a:gd name="T18" fmla="*/ 80 w 116"/>
                <a:gd name="T19" fmla="*/ 22 h 108"/>
                <a:gd name="T20" fmla="*/ 58 w 116"/>
                <a:gd name="T21" fmla="*/ 0 h 108"/>
                <a:gd name="T22" fmla="*/ 36 w 116"/>
                <a:gd name="T23" fmla="*/ 22 h 108"/>
                <a:gd name="T24" fmla="*/ 36 w 116"/>
                <a:gd name="T25" fmla="*/ 26 h 108"/>
                <a:gd name="T26" fmla="*/ 40 w 116"/>
                <a:gd name="T27" fmla="*/ 26 h 108"/>
                <a:gd name="T28" fmla="*/ 103 w 116"/>
                <a:gd name="T29" fmla="*/ 42 h 108"/>
                <a:gd name="T30" fmla="*/ 88 w 116"/>
                <a:gd name="T31" fmla="*/ 42 h 108"/>
                <a:gd name="T32" fmla="*/ 88 w 116"/>
                <a:gd name="T33" fmla="*/ 47 h 108"/>
                <a:gd name="T34" fmla="*/ 103 w 116"/>
                <a:gd name="T35" fmla="*/ 47 h 108"/>
                <a:gd name="T36" fmla="*/ 111 w 116"/>
                <a:gd name="T37" fmla="*/ 55 h 108"/>
                <a:gd name="T38" fmla="*/ 111 w 116"/>
                <a:gd name="T39" fmla="*/ 95 h 108"/>
                <a:gd name="T40" fmla="*/ 103 w 116"/>
                <a:gd name="T41" fmla="*/ 103 h 108"/>
                <a:gd name="T42" fmla="*/ 13 w 116"/>
                <a:gd name="T43" fmla="*/ 103 h 108"/>
                <a:gd name="T44" fmla="*/ 5 w 116"/>
                <a:gd name="T45" fmla="*/ 95 h 108"/>
                <a:gd name="T46" fmla="*/ 5 w 116"/>
                <a:gd name="T47" fmla="*/ 55 h 108"/>
                <a:gd name="T48" fmla="*/ 13 w 116"/>
                <a:gd name="T49" fmla="*/ 47 h 108"/>
                <a:gd name="T50" fmla="*/ 28 w 116"/>
                <a:gd name="T51" fmla="*/ 47 h 108"/>
                <a:gd name="T52" fmla="*/ 28 w 116"/>
                <a:gd name="T53" fmla="*/ 42 h 108"/>
                <a:gd name="T54" fmla="*/ 13 w 116"/>
                <a:gd name="T55" fmla="*/ 42 h 108"/>
                <a:gd name="T56" fmla="*/ 0 w 116"/>
                <a:gd name="T57" fmla="*/ 55 h 108"/>
                <a:gd name="T58" fmla="*/ 0 w 116"/>
                <a:gd name="T59" fmla="*/ 95 h 108"/>
                <a:gd name="T60" fmla="*/ 13 w 116"/>
                <a:gd name="T61" fmla="*/ 108 h 108"/>
                <a:gd name="T62" fmla="*/ 103 w 116"/>
                <a:gd name="T63" fmla="*/ 108 h 108"/>
                <a:gd name="T64" fmla="*/ 116 w 116"/>
                <a:gd name="T65" fmla="*/ 95 h 108"/>
                <a:gd name="T66" fmla="*/ 116 w 116"/>
                <a:gd name="T67" fmla="*/ 55 h 108"/>
                <a:gd name="T68" fmla="*/ 103 w 116"/>
                <a:gd name="T69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108">
                  <a:moveTo>
                    <a:pt x="40" y="26"/>
                  </a:moveTo>
                  <a:cubicBezTo>
                    <a:pt x="55" y="10"/>
                    <a:pt x="55" y="10"/>
                    <a:pt x="55" y="10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6"/>
                    <a:pt x="57" y="77"/>
                    <a:pt x="58" y="77"/>
                  </a:cubicBezTo>
                  <a:cubicBezTo>
                    <a:pt x="59" y="77"/>
                    <a:pt x="61" y="76"/>
                    <a:pt x="61" y="7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7"/>
                    <a:pt x="78" y="27"/>
                  </a:cubicBezTo>
                  <a:cubicBezTo>
                    <a:pt x="79" y="27"/>
                    <a:pt x="79" y="26"/>
                    <a:pt x="80" y="26"/>
                  </a:cubicBezTo>
                  <a:cubicBezTo>
                    <a:pt x="81" y="25"/>
                    <a:pt x="81" y="23"/>
                    <a:pt x="80" y="2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3"/>
                    <a:pt x="35" y="25"/>
                    <a:pt x="36" y="26"/>
                  </a:cubicBezTo>
                  <a:cubicBezTo>
                    <a:pt x="37" y="27"/>
                    <a:pt x="39" y="27"/>
                    <a:pt x="40" y="26"/>
                  </a:cubicBezTo>
                  <a:moveTo>
                    <a:pt x="103" y="42"/>
                  </a:moveTo>
                  <a:cubicBezTo>
                    <a:pt x="88" y="42"/>
                    <a:pt x="88" y="42"/>
                    <a:pt x="88" y="42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7" y="47"/>
                    <a:pt x="111" y="50"/>
                    <a:pt x="111" y="55"/>
                  </a:cubicBezTo>
                  <a:cubicBezTo>
                    <a:pt x="111" y="95"/>
                    <a:pt x="111" y="95"/>
                    <a:pt x="111" y="95"/>
                  </a:cubicBezTo>
                  <a:cubicBezTo>
                    <a:pt x="111" y="100"/>
                    <a:pt x="107" y="103"/>
                    <a:pt x="103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9" y="103"/>
                    <a:pt x="5" y="100"/>
                    <a:pt x="5" y="9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0"/>
                    <a:pt x="9" y="47"/>
                    <a:pt x="13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6" y="42"/>
                    <a:pt x="0" y="47"/>
                    <a:pt x="0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102"/>
                    <a:pt x="6" y="108"/>
                    <a:pt x="13" y="108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10" y="108"/>
                    <a:pt x="116" y="102"/>
                    <a:pt x="116" y="9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47"/>
                    <a:pt x="110" y="42"/>
                    <a:pt x="103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14">
            <a:extLst>
              <a:ext uri="{FF2B5EF4-FFF2-40B4-BE49-F238E27FC236}">
                <a16:creationId xmlns:a16="http://schemas.microsoft.com/office/drawing/2014/main" id="{78FCE38D-FCB6-47D2-A6F5-034063AFD6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3397" y="2824927"/>
            <a:ext cx="760413" cy="758825"/>
            <a:chOff x="3614" y="1794"/>
            <a:chExt cx="479" cy="478"/>
          </a:xfrm>
        </p:grpSpPr>
        <p:sp>
          <p:nvSpPr>
            <p:cNvPr id="153" name="AutoShape 113">
              <a:extLst>
                <a:ext uri="{FF2B5EF4-FFF2-40B4-BE49-F238E27FC236}">
                  <a16:creationId xmlns:a16="http://schemas.microsoft.com/office/drawing/2014/main" id="{84BA2024-223B-4352-A3C8-42F0D5F130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14" y="179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5">
              <a:extLst>
                <a:ext uri="{FF2B5EF4-FFF2-40B4-BE49-F238E27FC236}">
                  <a16:creationId xmlns:a16="http://schemas.microsoft.com/office/drawing/2014/main" id="{76B16940-F3F6-4064-A107-4AF84DF39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6" y="179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6">
              <a:extLst>
                <a:ext uri="{FF2B5EF4-FFF2-40B4-BE49-F238E27FC236}">
                  <a16:creationId xmlns:a16="http://schemas.microsoft.com/office/drawing/2014/main" id="{53476E14-AA5F-4706-8417-A9C1861F6D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2" y="1902"/>
              <a:ext cx="285" cy="245"/>
            </a:xfrm>
            <a:custGeom>
              <a:avLst/>
              <a:gdLst>
                <a:gd name="T0" fmla="*/ 58 w 116"/>
                <a:gd name="T1" fmla="*/ 74 h 100"/>
                <a:gd name="T2" fmla="*/ 80 w 116"/>
                <a:gd name="T3" fmla="*/ 52 h 100"/>
                <a:gd name="T4" fmla="*/ 80 w 116"/>
                <a:gd name="T5" fmla="*/ 48 h 100"/>
                <a:gd name="T6" fmla="*/ 76 w 116"/>
                <a:gd name="T7" fmla="*/ 48 h 100"/>
                <a:gd name="T8" fmla="*/ 61 w 116"/>
                <a:gd name="T9" fmla="*/ 64 h 100"/>
                <a:gd name="T10" fmla="*/ 61 w 116"/>
                <a:gd name="T11" fmla="*/ 2 h 100"/>
                <a:gd name="T12" fmla="*/ 58 w 116"/>
                <a:gd name="T13" fmla="*/ 0 h 100"/>
                <a:gd name="T14" fmla="*/ 55 w 116"/>
                <a:gd name="T15" fmla="*/ 2 h 100"/>
                <a:gd name="T16" fmla="*/ 55 w 116"/>
                <a:gd name="T17" fmla="*/ 64 h 100"/>
                <a:gd name="T18" fmla="*/ 40 w 116"/>
                <a:gd name="T19" fmla="*/ 48 h 100"/>
                <a:gd name="T20" fmla="*/ 36 w 116"/>
                <a:gd name="T21" fmla="*/ 48 h 100"/>
                <a:gd name="T22" fmla="*/ 36 w 116"/>
                <a:gd name="T23" fmla="*/ 52 h 100"/>
                <a:gd name="T24" fmla="*/ 58 w 116"/>
                <a:gd name="T25" fmla="*/ 74 h 100"/>
                <a:gd name="T26" fmla="*/ 103 w 116"/>
                <a:gd name="T27" fmla="*/ 35 h 100"/>
                <a:gd name="T28" fmla="*/ 88 w 116"/>
                <a:gd name="T29" fmla="*/ 35 h 100"/>
                <a:gd name="T30" fmla="*/ 88 w 116"/>
                <a:gd name="T31" fmla="*/ 40 h 100"/>
                <a:gd name="T32" fmla="*/ 103 w 116"/>
                <a:gd name="T33" fmla="*/ 40 h 100"/>
                <a:gd name="T34" fmla="*/ 111 w 116"/>
                <a:gd name="T35" fmla="*/ 47 h 100"/>
                <a:gd name="T36" fmla="*/ 111 w 116"/>
                <a:gd name="T37" fmla="*/ 88 h 100"/>
                <a:gd name="T38" fmla="*/ 103 w 116"/>
                <a:gd name="T39" fmla="*/ 95 h 100"/>
                <a:gd name="T40" fmla="*/ 13 w 116"/>
                <a:gd name="T41" fmla="*/ 95 h 100"/>
                <a:gd name="T42" fmla="*/ 5 w 116"/>
                <a:gd name="T43" fmla="*/ 88 h 100"/>
                <a:gd name="T44" fmla="*/ 5 w 116"/>
                <a:gd name="T45" fmla="*/ 47 h 100"/>
                <a:gd name="T46" fmla="*/ 13 w 116"/>
                <a:gd name="T47" fmla="*/ 40 h 100"/>
                <a:gd name="T48" fmla="*/ 28 w 116"/>
                <a:gd name="T49" fmla="*/ 40 h 100"/>
                <a:gd name="T50" fmla="*/ 28 w 116"/>
                <a:gd name="T51" fmla="*/ 35 h 100"/>
                <a:gd name="T52" fmla="*/ 13 w 116"/>
                <a:gd name="T53" fmla="*/ 35 h 100"/>
                <a:gd name="T54" fmla="*/ 0 w 116"/>
                <a:gd name="T55" fmla="*/ 47 h 100"/>
                <a:gd name="T56" fmla="*/ 0 w 116"/>
                <a:gd name="T57" fmla="*/ 88 h 100"/>
                <a:gd name="T58" fmla="*/ 13 w 116"/>
                <a:gd name="T59" fmla="*/ 100 h 100"/>
                <a:gd name="T60" fmla="*/ 103 w 116"/>
                <a:gd name="T61" fmla="*/ 100 h 100"/>
                <a:gd name="T62" fmla="*/ 116 w 116"/>
                <a:gd name="T63" fmla="*/ 88 h 100"/>
                <a:gd name="T64" fmla="*/ 116 w 116"/>
                <a:gd name="T65" fmla="*/ 47 h 100"/>
                <a:gd name="T66" fmla="*/ 103 w 116"/>
                <a:gd name="T67" fmla="*/ 3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6" h="100">
                  <a:moveTo>
                    <a:pt x="58" y="74"/>
                  </a:moveTo>
                  <a:cubicBezTo>
                    <a:pt x="80" y="52"/>
                    <a:pt x="80" y="52"/>
                    <a:pt x="80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7" y="47"/>
                    <a:pt x="76" y="48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1"/>
                    <a:pt x="59" y="0"/>
                    <a:pt x="58" y="0"/>
                  </a:cubicBezTo>
                  <a:cubicBezTo>
                    <a:pt x="57" y="0"/>
                    <a:pt x="55" y="1"/>
                    <a:pt x="55" y="2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9" y="47"/>
                    <a:pt x="37" y="47"/>
                    <a:pt x="36" y="48"/>
                  </a:cubicBezTo>
                  <a:cubicBezTo>
                    <a:pt x="35" y="49"/>
                    <a:pt x="35" y="51"/>
                    <a:pt x="36" y="52"/>
                  </a:cubicBezTo>
                  <a:lnTo>
                    <a:pt x="58" y="74"/>
                  </a:lnTo>
                  <a:close/>
                  <a:moveTo>
                    <a:pt x="103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7" y="40"/>
                    <a:pt x="111" y="43"/>
                    <a:pt x="111" y="47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92"/>
                    <a:pt x="107" y="95"/>
                    <a:pt x="10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9" y="95"/>
                    <a:pt x="5" y="92"/>
                    <a:pt x="5" y="8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3"/>
                    <a:pt x="9" y="40"/>
                    <a:pt x="13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41"/>
                    <a:pt x="0" y="4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6" y="100"/>
                    <a:pt x="13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10" y="100"/>
                    <a:pt x="116" y="95"/>
                    <a:pt x="116" y="88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41"/>
                    <a:pt x="110" y="35"/>
                    <a:pt x="103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17">
              <a:extLst>
                <a:ext uri="{FF2B5EF4-FFF2-40B4-BE49-F238E27FC236}">
                  <a16:creationId xmlns:a16="http://schemas.microsoft.com/office/drawing/2014/main" id="{4ABA1268-EC16-4A99-B5DB-54003B4DB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2" y="1902"/>
              <a:ext cx="285" cy="245"/>
            </a:xfrm>
            <a:custGeom>
              <a:avLst/>
              <a:gdLst>
                <a:gd name="T0" fmla="*/ 58 w 116"/>
                <a:gd name="T1" fmla="*/ 74 h 100"/>
                <a:gd name="T2" fmla="*/ 80 w 116"/>
                <a:gd name="T3" fmla="*/ 52 h 100"/>
                <a:gd name="T4" fmla="*/ 80 w 116"/>
                <a:gd name="T5" fmla="*/ 48 h 100"/>
                <a:gd name="T6" fmla="*/ 76 w 116"/>
                <a:gd name="T7" fmla="*/ 48 h 100"/>
                <a:gd name="T8" fmla="*/ 61 w 116"/>
                <a:gd name="T9" fmla="*/ 64 h 100"/>
                <a:gd name="T10" fmla="*/ 61 w 116"/>
                <a:gd name="T11" fmla="*/ 2 h 100"/>
                <a:gd name="T12" fmla="*/ 58 w 116"/>
                <a:gd name="T13" fmla="*/ 0 h 100"/>
                <a:gd name="T14" fmla="*/ 55 w 116"/>
                <a:gd name="T15" fmla="*/ 2 h 100"/>
                <a:gd name="T16" fmla="*/ 55 w 116"/>
                <a:gd name="T17" fmla="*/ 64 h 100"/>
                <a:gd name="T18" fmla="*/ 40 w 116"/>
                <a:gd name="T19" fmla="*/ 48 h 100"/>
                <a:gd name="T20" fmla="*/ 36 w 116"/>
                <a:gd name="T21" fmla="*/ 48 h 100"/>
                <a:gd name="T22" fmla="*/ 36 w 116"/>
                <a:gd name="T23" fmla="*/ 52 h 100"/>
                <a:gd name="T24" fmla="*/ 58 w 116"/>
                <a:gd name="T25" fmla="*/ 74 h 100"/>
                <a:gd name="T26" fmla="*/ 103 w 116"/>
                <a:gd name="T27" fmla="*/ 35 h 100"/>
                <a:gd name="T28" fmla="*/ 88 w 116"/>
                <a:gd name="T29" fmla="*/ 35 h 100"/>
                <a:gd name="T30" fmla="*/ 88 w 116"/>
                <a:gd name="T31" fmla="*/ 40 h 100"/>
                <a:gd name="T32" fmla="*/ 103 w 116"/>
                <a:gd name="T33" fmla="*/ 40 h 100"/>
                <a:gd name="T34" fmla="*/ 111 w 116"/>
                <a:gd name="T35" fmla="*/ 47 h 100"/>
                <a:gd name="T36" fmla="*/ 111 w 116"/>
                <a:gd name="T37" fmla="*/ 88 h 100"/>
                <a:gd name="T38" fmla="*/ 103 w 116"/>
                <a:gd name="T39" fmla="*/ 95 h 100"/>
                <a:gd name="T40" fmla="*/ 13 w 116"/>
                <a:gd name="T41" fmla="*/ 95 h 100"/>
                <a:gd name="T42" fmla="*/ 5 w 116"/>
                <a:gd name="T43" fmla="*/ 88 h 100"/>
                <a:gd name="T44" fmla="*/ 5 w 116"/>
                <a:gd name="T45" fmla="*/ 47 h 100"/>
                <a:gd name="T46" fmla="*/ 13 w 116"/>
                <a:gd name="T47" fmla="*/ 40 h 100"/>
                <a:gd name="T48" fmla="*/ 28 w 116"/>
                <a:gd name="T49" fmla="*/ 40 h 100"/>
                <a:gd name="T50" fmla="*/ 28 w 116"/>
                <a:gd name="T51" fmla="*/ 35 h 100"/>
                <a:gd name="T52" fmla="*/ 13 w 116"/>
                <a:gd name="T53" fmla="*/ 35 h 100"/>
                <a:gd name="T54" fmla="*/ 0 w 116"/>
                <a:gd name="T55" fmla="*/ 47 h 100"/>
                <a:gd name="T56" fmla="*/ 0 w 116"/>
                <a:gd name="T57" fmla="*/ 88 h 100"/>
                <a:gd name="T58" fmla="*/ 13 w 116"/>
                <a:gd name="T59" fmla="*/ 100 h 100"/>
                <a:gd name="T60" fmla="*/ 103 w 116"/>
                <a:gd name="T61" fmla="*/ 100 h 100"/>
                <a:gd name="T62" fmla="*/ 116 w 116"/>
                <a:gd name="T63" fmla="*/ 88 h 100"/>
                <a:gd name="T64" fmla="*/ 116 w 116"/>
                <a:gd name="T65" fmla="*/ 47 h 100"/>
                <a:gd name="T66" fmla="*/ 103 w 116"/>
                <a:gd name="T67" fmla="*/ 3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6" h="100">
                  <a:moveTo>
                    <a:pt x="58" y="74"/>
                  </a:moveTo>
                  <a:cubicBezTo>
                    <a:pt x="80" y="52"/>
                    <a:pt x="80" y="52"/>
                    <a:pt x="80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7" y="47"/>
                    <a:pt x="76" y="48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1"/>
                    <a:pt x="59" y="0"/>
                    <a:pt x="58" y="0"/>
                  </a:cubicBezTo>
                  <a:cubicBezTo>
                    <a:pt x="57" y="0"/>
                    <a:pt x="55" y="1"/>
                    <a:pt x="55" y="2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9" y="47"/>
                    <a:pt x="37" y="47"/>
                    <a:pt x="36" y="48"/>
                  </a:cubicBezTo>
                  <a:cubicBezTo>
                    <a:pt x="35" y="49"/>
                    <a:pt x="35" y="51"/>
                    <a:pt x="36" y="52"/>
                  </a:cubicBezTo>
                  <a:lnTo>
                    <a:pt x="58" y="74"/>
                  </a:lnTo>
                  <a:close/>
                  <a:moveTo>
                    <a:pt x="103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7" y="40"/>
                    <a:pt x="111" y="43"/>
                    <a:pt x="111" y="47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92"/>
                    <a:pt x="107" y="95"/>
                    <a:pt x="10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9" y="95"/>
                    <a:pt x="5" y="92"/>
                    <a:pt x="5" y="8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3"/>
                    <a:pt x="9" y="40"/>
                    <a:pt x="13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41"/>
                    <a:pt x="0" y="4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6" y="100"/>
                    <a:pt x="13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10" y="100"/>
                    <a:pt x="116" y="95"/>
                    <a:pt x="116" y="88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41"/>
                    <a:pt x="110" y="35"/>
                    <a:pt x="103" y="3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20">
            <a:extLst>
              <a:ext uri="{FF2B5EF4-FFF2-40B4-BE49-F238E27FC236}">
                <a16:creationId xmlns:a16="http://schemas.microsoft.com/office/drawing/2014/main" id="{F7034D71-7BF0-46D4-B15D-4975E811AC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5525" y="2783652"/>
            <a:ext cx="841375" cy="841375"/>
            <a:chOff x="2989" y="1794"/>
            <a:chExt cx="530" cy="530"/>
          </a:xfrm>
        </p:grpSpPr>
        <p:sp>
          <p:nvSpPr>
            <p:cNvPr id="158" name="AutoShape 119">
              <a:extLst>
                <a:ext uri="{FF2B5EF4-FFF2-40B4-BE49-F238E27FC236}">
                  <a16:creationId xmlns:a16="http://schemas.microsoft.com/office/drawing/2014/main" id="{3FE523CD-3512-43CC-B186-404F3B67A3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9" y="179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Oval 121">
              <a:extLst>
                <a:ext uri="{FF2B5EF4-FFF2-40B4-BE49-F238E27FC236}">
                  <a16:creationId xmlns:a16="http://schemas.microsoft.com/office/drawing/2014/main" id="{7DA561F7-6AEF-42B2-A9F6-2E657AB03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9" y="179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2">
              <a:extLst>
                <a:ext uri="{FF2B5EF4-FFF2-40B4-BE49-F238E27FC236}">
                  <a16:creationId xmlns:a16="http://schemas.microsoft.com/office/drawing/2014/main" id="{74AE7A31-F8CE-4525-83D8-2D64F8857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7" y="181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23">
              <a:extLst>
                <a:ext uri="{FF2B5EF4-FFF2-40B4-BE49-F238E27FC236}">
                  <a16:creationId xmlns:a16="http://schemas.microsoft.com/office/drawing/2014/main" id="{89E5EB2B-1D87-46EF-B780-07912697E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7" y="1922"/>
              <a:ext cx="297" cy="256"/>
            </a:xfrm>
            <a:custGeom>
              <a:avLst/>
              <a:gdLst>
                <a:gd name="T0" fmla="*/ 58 w 116"/>
                <a:gd name="T1" fmla="*/ 74 h 100"/>
                <a:gd name="T2" fmla="*/ 80 w 116"/>
                <a:gd name="T3" fmla="*/ 52 h 100"/>
                <a:gd name="T4" fmla="*/ 80 w 116"/>
                <a:gd name="T5" fmla="*/ 48 h 100"/>
                <a:gd name="T6" fmla="*/ 76 w 116"/>
                <a:gd name="T7" fmla="*/ 48 h 100"/>
                <a:gd name="T8" fmla="*/ 61 w 116"/>
                <a:gd name="T9" fmla="*/ 64 h 100"/>
                <a:gd name="T10" fmla="*/ 61 w 116"/>
                <a:gd name="T11" fmla="*/ 2 h 100"/>
                <a:gd name="T12" fmla="*/ 58 w 116"/>
                <a:gd name="T13" fmla="*/ 0 h 100"/>
                <a:gd name="T14" fmla="*/ 55 w 116"/>
                <a:gd name="T15" fmla="*/ 2 h 100"/>
                <a:gd name="T16" fmla="*/ 55 w 116"/>
                <a:gd name="T17" fmla="*/ 64 h 100"/>
                <a:gd name="T18" fmla="*/ 40 w 116"/>
                <a:gd name="T19" fmla="*/ 48 h 100"/>
                <a:gd name="T20" fmla="*/ 36 w 116"/>
                <a:gd name="T21" fmla="*/ 48 h 100"/>
                <a:gd name="T22" fmla="*/ 36 w 116"/>
                <a:gd name="T23" fmla="*/ 52 h 100"/>
                <a:gd name="T24" fmla="*/ 58 w 116"/>
                <a:gd name="T25" fmla="*/ 74 h 100"/>
                <a:gd name="T26" fmla="*/ 103 w 116"/>
                <a:gd name="T27" fmla="*/ 35 h 100"/>
                <a:gd name="T28" fmla="*/ 88 w 116"/>
                <a:gd name="T29" fmla="*/ 35 h 100"/>
                <a:gd name="T30" fmla="*/ 88 w 116"/>
                <a:gd name="T31" fmla="*/ 40 h 100"/>
                <a:gd name="T32" fmla="*/ 103 w 116"/>
                <a:gd name="T33" fmla="*/ 40 h 100"/>
                <a:gd name="T34" fmla="*/ 111 w 116"/>
                <a:gd name="T35" fmla="*/ 47 h 100"/>
                <a:gd name="T36" fmla="*/ 111 w 116"/>
                <a:gd name="T37" fmla="*/ 88 h 100"/>
                <a:gd name="T38" fmla="*/ 103 w 116"/>
                <a:gd name="T39" fmla="*/ 95 h 100"/>
                <a:gd name="T40" fmla="*/ 13 w 116"/>
                <a:gd name="T41" fmla="*/ 95 h 100"/>
                <a:gd name="T42" fmla="*/ 5 w 116"/>
                <a:gd name="T43" fmla="*/ 88 h 100"/>
                <a:gd name="T44" fmla="*/ 5 w 116"/>
                <a:gd name="T45" fmla="*/ 47 h 100"/>
                <a:gd name="T46" fmla="*/ 13 w 116"/>
                <a:gd name="T47" fmla="*/ 40 h 100"/>
                <a:gd name="T48" fmla="*/ 28 w 116"/>
                <a:gd name="T49" fmla="*/ 40 h 100"/>
                <a:gd name="T50" fmla="*/ 28 w 116"/>
                <a:gd name="T51" fmla="*/ 35 h 100"/>
                <a:gd name="T52" fmla="*/ 13 w 116"/>
                <a:gd name="T53" fmla="*/ 35 h 100"/>
                <a:gd name="T54" fmla="*/ 0 w 116"/>
                <a:gd name="T55" fmla="*/ 47 h 100"/>
                <a:gd name="T56" fmla="*/ 0 w 116"/>
                <a:gd name="T57" fmla="*/ 88 h 100"/>
                <a:gd name="T58" fmla="*/ 13 w 116"/>
                <a:gd name="T59" fmla="*/ 100 h 100"/>
                <a:gd name="T60" fmla="*/ 103 w 116"/>
                <a:gd name="T61" fmla="*/ 100 h 100"/>
                <a:gd name="T62" fmla="*/ 116 w 116"/>
                <a:gd name="T63" fmla="*/ 88 h 100"/>
                <a:gd name="T64" fmla="*/ 116 w 116"/>
                <a:gd name="T65" fmla="*/ 47 h 100"/>
                <a:gd name="T66" fmla="*/ 103 w 116"/>
                <a:gd name="T67" fmla="*/ 3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6" h="100">
                  <a:moveTo>
                    <a:pt x="58" y="74"/>
                  </a:moveTo>
                  <a:cubicBezTo>
                    <a:pt x="80" y="52"/>
                    <a:pt x="80" y="52"/>
                    <a:pt x="80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7" y="47"/>
                    <a:pt x="76" y="48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1"/>
                    <a:pt x="59" y="0"/>
                    <a:pt x="58" y="0"/>
                  </a:cubicBezTo>
                  <a:cubicBezTo>
                    <a:pt x="57" y="0"/>
                    <a:pt x="55" y="1"/>
                    <a:pt x="55" y="2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9" y="47"/>
                    <a:pt x="37" y="47"/>
                    <a:pt x="36" y="48"/>
                  </a:cubicBezTo>
                  <a:cubicBezTo>
                    <a:pt x="35" y="49"/>
                    <a:pt x="35" y="51"/>
                    <a:pt x="36" y="52"/>
                  </a:cubicBezTo>
                  <a:lnTo>
                    <a:pt x="58" y="74"/>
                  </a:lnTo>
                  <a:close/>
                  <a:moveTo>
                    <a:pt x="103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7" y="40"/>
                    <a:pt x="111" y="43"/>
                    <a:pt x="111" y="47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92"/>
                    <a:pt x="107" y="95"/>
                    <a:pt x="10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9" y="95"/>
                    <a:pt x="5" y="92"/>
                    <a:pt x="5" y="8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3"/>
                    <a:pt x="9" y="40"/>
                    <a:pt x="13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41"/>
                    <a:pt x="0" y="4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6" y="100"/>
                    <a:pt x="13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10" y="100"/>
                    <a:pt x="116" y="95"/>
                    <a:pt x="116" y="88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41"/>
                    <a:pt x="110" y="35"/>
                    <a:pt x="103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6" name="Group 126">
            <a:extLst>
              <a:ext uri="{FF2B5EF4-FFF2-40B4-BE49-F238E27FC236}">
                <a16:creationId xmlns:a16="http://schemas.microsoft.com/office/drawing/2014/main" id="{2F7811B8-6EBD-4084-91BA-485430B41D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3140" y="2824927"/>
            <a:ext cx="758825" cy="758825"/>
            <a:chOff x="5024" y="1787"/>
            <a:chExt cx="478" cy="478"/>
          </a:xfrm>
        </p:grpSpPr>
        <p:sp>
          <p:nvSpPr>
            <p:cNvPr id="167" name="AutoShape 125">
              <a:extLst>
                <a:ext uri="{FF2B5EF4-FFF2-40B4-BE49-F238E27FC236}">
                  <a16:creationId xmlns:a16="http://schemas.microsoft.com/office/drawing/2014/main" id="{E5D53817-1346-4C53-A1F4-9C12A66F267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24" y="178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27">
              <a:extLst>
                <a:ext uri="{FF2B5EF4-FFF2-40B4-BE49-F238E27FC236}">
                  <a16:creationId xmlns:a16="http://schemas.microsoft.com/office/drawing/2014/main" id="{AD061746-7A23-4CFE-9D6A-139AB81D3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6" y="178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28">
              <a:extLst>
                <a:ext uri="{FF2B5EF4-FFF2-40B4-BE49-F238E27FC236}">
                  <a16:creationId xmlns:a16="http://schemas.microsoft.com/office/drawing/2014/main" id="{3F961608-D44B-4877-A2D6-48E22957E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0" y="1907"/>
              <a:ext cx="328" cy="238"/>
            </a:xfrm>
            <a:custGeom>
              <a:avLst/>
              <a:gdLst>
                <a:gd name="T0" fmla="*/ 19 w 134"/>
                <a:gd name="T1" fmla="*/ 36 h 97"/>
                <a:gd name="T2" fmla="*/ 21 w 134"/>
                <a:gd name="T3" fmla="*/ 35 h 97"/>
                <a:gd name="T4" fmla="*/ 21 w 134"/>
                <a:gd name="T5" fmla="*/ 32 h 97"/>
                <a:gd name="T6" fmla="*/ 10 w 134"/>
                <a:gd name="T7" fmla="*/ 21 h 97"/>
                <a:gd name="T8" fmla="*/ 37 w 134"/>
                <a:gd name="T9" fmla="*/ 21 h 97"/>
                <a:gd name="T10" fmla="*/ 60 w 134"/>
                <a:gd name="T11" fmla="*/ 30 h 97"/>
                <a:gd name="T12" fmla="*/ 63 w 134"/>
                <a:gd name="T13" fmla="*/ 26 h 97"/>
                <a:gd name="T14" fmla="*/ 37 w 134"/>
                <a:gd name="T15" fmla="*/ 16 h 97"/>
                <a:gd name="T16" fmla="*/ 10 w 134"/>
                <a:gd name="T17" fmla="*/ 16 h 97"/>
                <a:gd name="T18" fmla="*/ 21 w 134"/>
                <a:gd name="T19" fmla="*/ 5 h 97"/>
                <a:gd name="T20" fmla="*/ 21 w 134"/>
                <a:gd name="T21" fmla="*/ 1 h 97"/>
                <a:gd name="T22" fmla="*/ 17 w 134"/>
                <a:gd name="T23" fmla="*/ 1 h 97"/>
                <a:gd name="T24" fmla="*/ 0 w 134"/>
                <a:gd name="T25" fmla="*/ 18 h 97"/>
                <a:gd name="T26" fmla="*/ 17 w 134"/>
                <a:gd name="T27" fmla="*/ 35 h 97"/>
                <a:gd name="T28" fmla="*/ 19 w 134"/>
                <a:gd name="T29" fmla="*/ 36 h 97"/>
                <a:gd name="T30" fmla="*/ 73 w 134"/>
                <a:gd name="T31" fmla="*/ 39 h 97"/>
                <a:gd name="T32" fmla="*/ 70 w 134"/>
                <a:gd name="T33" fmla="*/ 44 h 97"/>
                <a:gd name="T34" fmla="*/ 72 w 134"/>
                <a:gd name="T35" fmla="*/ 57 h 97"/>
                <a:gd name="T36" fmla="*/ 37 w 134"/>
                <a:gd name="T37" fmla="*/ 92 h 97"/>
                <a:gd name="T38" fmla="*/ 14 w 134"/>
                <a:gd name="T39" fmla="*/ 92 h 97"/>
                <a:gd name="T40" fmla="*/ 11 w 134"/>
                <a:gd name="T41" fmla="*/ 95 h 97"/>
                <a:gd name="T42" fmla="*/ 14 w 134"/>
                <a:gd name="T43" fmla="*/ 97 h 97"/>
                <a:gd name="T44" fmla="*/ 37 w 134"/>
                <a:gd name="T45" fmla="*/ 97 h 97"/>
                <a:gd name="T46" fmla="*/ 77 w 134"/>
                <a:gd name="T47" fmla="*/ 57 h 97"/>
                <a:gd name="T48" fmla="*/ 73 w 134"/>
                <a:gd name="T49" fmla="*/ 39 h 97"/>
                <a:gd name="T50" fmla="*/ 61 w 134"/>
                <a:gd name="T51" fmla="*/ 75 h 97"/>
                <a:gd name="T52" fmla="*/ 64 w 134"/>
                <a:gd name="T53" fmla="*/ 69 h 97"/>
                <a:gd name="T54" fmla="*/ 62 w 134"/>
                <a:gd name="T55" fmla="*/ 57 h 97"/>
                <a:gd name="T56" fmla="*/ 97 w 134"/>
                <a:gd name="T57" fmla="*/ 21 h 97"/>
                <a:gd name="T58" fmla="*/ 124 w 134"/>
                <a:gd name="T59" fmla="*/ 21 h 97"/>
                <a:gd name="T60" fmla="*/ 113 w 134"/>
                <a:gd name="T61" fmla="*/ 32 h 97"/>
                <a:gd name="T62" fmla="*/ 113 w 134"/>
                <a:gd name="T63" fmla="*/ 35 h 97"/>
                <a:gd name="T64" fmla="*/ 115 w 134"/>
                <a:gd name="T65" fmla="*/ 36 h 97"/>
                <a:gd name="T66" fmla="*/ 117 w 134"/>
                <a:gd name="T67" fmla="*/ 35 h 97"/>
                <a:gd name="T68" fmla="*/ 134 w 134"/>
                <a:gd name="T69" fmla="*/ 18 h 97"/>
                <a:gd name="T70" fmla="*/ 117 w 134"/>
                <a:gd name="T71" fmla="*/ 1 h 97"/>
                <a:gd name="T72" fmla="*/ 113 w 134"/>
                <a:gd name="T73" fmla="*/ 1 h 97"/>
                <a:gd name="T74" fmla="*/ 113 w 134"/>
                <a:gd name="T75" fmla="*/ 5 h 97"/>
                <a:gd name="T76" fmla="*/ 124 w 134"/>
                <a:gd name="T77" fmla="*/ 16 h 97"/>
                <a:gd name="T78" fmla="*/ 97 w 134"/>
                <a:gd name="T79" fmla="*/ 16 h 97"/>
                <a:gd name="T80" fmla="*/ 57 w 134"/>
                <a:gd name="T81" fmla="*/ 57 h 97"/>
                <a:gd name="T82" fmla="*/ 61 w 134"/>
                <a:gd name="T83" fmla="*/ 75 h 97"/>
                <a:gd name="T84" fmla="*/ 120 w 134"/>
                <a:gd name="T85" fmla="*/ 92 h 97"/>
                <a:gd name="T86" fmla="*/ 97 w 134"/>
                <a:gd name="T87" fmla="*/ 92 h 97"/>
                <a:gd name="T88" fmla="*/ 74 w 134"/>
                <a:gd name="T89" fmla="*/ 83 h 97"/>
                <a:gd name="T90" fmla="*/ 71 w 134"/>
                <a:gd name="T91" fmla="*/ 87 h 97"/>
                <a:gd name="T92" fmla="*/ 97 w 134"/>
                <a:gd name="T93" fmla="*/ 97 h 97"/>
                <a:gd name="T94" fmla="*/ 120 w 134"/>
                <a:gd name="T95" fmla="*/ 97 h 97"/>
                <a:gd name="T96" fmla="*/ 123 w 134"/>
                <a:gd name="T97" fmla="*/ 95 h 97"/>
                <a:gd name="T98" fmla="*/ 120 w 134"/>
                <a:gd name="T99" fmla="*/ 9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4" h="97">
                  <a:moveTo>
                    <a:pt x="19" y="36"/>
                  </a:moveTo>
                  <a:cubicBezTo>
                    <a:pt x="20" y="36"/>
                    <a:pt x="20" y="36"/>
                    <a:pt x="21" y="35"/>
                  </a:cubicBezTo>
                  <a:cubicBezTo>
                    <a:pt x="22" y="35"/>
                    <a:pt x="22" y="33"/>
                    <a:pt x="21" y="32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46" y="21"/>
                    <a:pt x="54" y="24"/>
                    <a:pt x="60" y="30"/>
                  </a:cubicBezTo>
                  <a:cubicBezTo>
                    <a:pt x="61" y="29"/>
                    <a:pt x="62" y="27"/>
                    <a:pt x="63" y="26"/>
                  </a:cubicBezTo>
                  <a:cubicBezTo>
                    <a:pt x="56" y="20"/>
                    <a:pt x="47" y="16"/>
                    <a:pt x="37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4"/>
                    <a:pt x="22" y="2"/>
                    <a:pt x="21" y="1"/>
                  </a:cubicBezTo>
                  <a:cubicBezTo>
                    <a:pt x="20" y="0"/>
                    <a:pt x="18" y="0"/>
                    <a:pt x="17" y="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8" y="36"/>
                    <a:pt x="18" y="36"/>
                    <a:pt x="19" y="36"/>
                  </a:cubicBezTo>
                  <a:moveTo>
                    <a:pt x="73" y="39"/>
                  </a:moveTo>
                  <a:cubicBezTo>
                    <a:pt x="72" y="40"/>
                    <a:pt x="71" y="42"/>
                    <a:pt x="70" y="44"/>
                  </a:cubicBezTo>
                  <a:cubicBezTo>
                    <a:pt x="71" y="48"/>
                    <a:pt x="72" y="52"/>
                    <a:pt x="72" y="57"/>
                  </a:cubicBezTo>
                  <a:cubicBezTo>
                    <a:pt x="72" y="76"/>
                    <a:pt x="56" y="92"/>
                    <a:pt x="37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1" y="94"/>
                    <a:pt x="11" y="95"/>
                  </a:cubicBezTo>
                  <a:cubicBezTo>
                    <a:pt x="11" y="96"/>
                    <a:pt x="13" y="97"/>
                    <a:pt x="14" y="97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59" y="97"/>
                    <a:pt x="77" y="79"/>
                    <a:pt x="77" y="57"/>
                  </a:cubicBezTo>
                  <a:cubicBezTo>
                    <a:pt x="77" y="50"/>
                    <a:pt x="76" y="44"/>
                    <a:pt x="73" y="39"/>
                  </a:cubicBezTo>
                  <a:moveTo>
                    <a:pt x="61" y="75"/>
                  </a:moveTo>
                  <a:cubicBezTo>
                    <a:pt x="62" y="73"/>
                    <a:pt x="63" y="71"/>
                    <a:pt x="64" y="69"/>
                  </a:cubicBezTo>
                  <a:cubicBezTo>
                    <a:pt x="63" y="65"/>
                    <a:pt x="62" y="61"/>
                    <a:pt x="62" y="57"/>
                  </a:cubicBezTo>
                  <a:cubicBezTo>
                    <a:pt x="62" y="37"/>
                    <a:pt x="78" y="21"/>
                    <a:pt x="97" y="21"/>
                  </a:cubicBezTo>
                  <a:cubicBezTo>
                    <a:pt x="124" y="21"/>
                    <a:pt x="124" y="21"/>
                    <a:pt x="124" y="21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2" y="33"/>
                    <a:pt x="112" y="35"/>
                    <a:pt x="113" y="35"/>
                  </a:cubicBezTo>
                  <a:cubicBezTo>
                    <a:pt x="114" y="36"/>
                    <a:pt x="114" y="36"/>
                    <a:pt x="115" y="36"/>
                  </a:cubicBezTo>
                  <a:cubicBezTo>
                    <a:pt x="116" y="36"/>
                    <a:pt x="116" y="36"/>
                    <a:pt x="117" y="35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0"/>
                    <a:pt x="114" y="0"/>
                    <a:pt x="113" y="1"/>
                  </a:cubicBezTo>
                  <a:cubicBezTo>
                    <a:pt x="112" y="2"/>
                    <a:pt x="112" y="4"/>
                    <a:pt x="113" y="5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75" y="16"/>
                    <a:pt x="57" y="34"/>
                    <a:pt x="57" y="57"/>
                  </a:cubicBezTo>
                  <a:cubicBezTo>
                    <a:pt x="57" y="63"/>
                    <a:pt x="58" y="69"/>
                    <a:pt x="61" y="75"/>
                  </a:cubicBezTo>
                  <a:moveTo>
                    <a:pt x="120" y="92"/>
                  </a:moveTo>
                  <a:cubicBezTo>
                    <a:pt x="97" y="92"/>
                    <a:pt x="97" y="92"/>
                    <a:pt x="97" y="92"/>
                  </a:cubicBezTo>
                  <a:cubicBezTo>
                    <a:pt x="88" y="92"/>
                    <a:pt x="80" y="89"/>
                    <a:pt x="74" y="83"/>
                  </a:cubicBezTo>
                  <a:cubicBezTo>
                    <a:pt x="73" y="85"/>
                    <a:pt x="72" y="86"/>
                    <a:pt x="71" y="87"/>
                  </a:cubicBezTo>
                  <a:cubicBezTo>
                    <a:pt x="78" y="94"/>
                    <a:pt x="87" y="97"/>
                    <a:pt x="97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21" y="97"/>
                    <a:pt x="123" y="96"/>
                    <a:pt x="123" y="95"/>
                  </a:cubicBezTo>
                  <a:cubicBezTo>
                    <a:pt x="123" y="94"/>
                    <a:pt x="121" y="92"/>
                    <a:pt x="120" y="9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29">
              <a:extLst>
                <a:ext uri="{FF2B5EF4-FFF2-40B4-BE49-F238E27FC236}">
                  <a16:creationId xmlns:a16="http://schemas.microsoft.com/office/drawing/2014/main" id="{7DD8341B-BD0C-420E-9E0D-55C89FBD4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0" y="1907"/>
              <a:ext cx="328" cy="238"/>
            </a:xfrm>
            <a:custGeom>
              <a:avLst/>
              <a:gdLst>
                <a:gd name="T0" fmla="*/ 19 w 134"/>
                <a:gd name="T1" fmla="*/ 36 h 97"/>
                <a:gd name="T2" fmla="*/ 21 w 134"/>
                <a:gd name="T3" fmla="*/ 35 h 97"/>
                <a:gd name="T4" fmla="*/ 21 w 134"/>
                <a:gd name="T5" fmla="*/ 32 h 97"/>
                <a:gd name="T6" fmla="*/ 10 w 134"/>
                <a:gd name="T7" fmla="*/ 21 h 97"/>
                <a:gd name="T8" fmla="*/ 37 w 134"/>
                <a:gd name="T9" fmla="*/ 21 h 97"/>
                <a:gd name="T10" fmla="*/ 60 w 134"/>
                <a:gd name="T11" fmla="*/ 30 h 97"/>
                <a:gd name="T12" fmla="*/ 63 w 134"/>
                <a:gd name="T13" fmla="*/ 26 h 97"/>
                <a:gd name="T14" fmla="*/ 37 w 134"/>
                <a:gd name="T15" fmla="*/ 16 h 97"/>
                <a:gd name="T16" fmla="*/ 10 w 134"/>
                <a:gd name="T17" fmla="*/ 16 h 97"/>
                <a:gd name="T18" fmla="*/ 21 w 134"/>
                <a:gd name="T19" fmla="*/ 5 h 97"/>
                <a:gd name="T20" fmla="*/ 21 w 134"/>
                <a:gd name="T21" fmla="*/ 1 h 97"/>
                <a:gd name="T22" fmla="*/ 17 w 134"/>
                <a:gd name="T23" fmla="*/ 1 h 97"/>
                <a:gd name="T24" fmla="*/ 0 w 134"/>
                <a:gd name="T25" fmla="*/ 18 h 97"/>
                <a:gd name="T26" fmla="*/ 17 w 134"/>
                <a:gd name="T27" fmla="*/ 35 h 97"/>
                <a:gd name="T28" fmla="*/ 19 w 134"/>
                <a:gd name="T29" fmla="*/ 36 h 97"/>
                <a:gd name="T30" fmla="*/ 73 w 134"/>
                <a:gd name="T31" fmla="*/ 39 h 97"/>
                <a:gd name="T32" fmla="*/ 70 w 134"/>
                <a:gd name="T33" fmla="*/ 44 h 97"/>
                <a:gd name="T34" fmla="*/ 72 w 134"/>
                <a:gd name="T35" fmla="*/ 57 h 97"/>
                <a:gd name="T36" fmla="*/ 37 w 134"/>
                <a:gd name="T37" fmla="*/ 92 h 97"/>
                <a:gd name="T38" fmla="*/ 14 w 134"/>
                <a:gd name="T39" fmla="*/ 92 h 97"/>
                <a:gd name="T40" fmla="*/ 11 w 134"/>
                <a:gd name="T41" fmla="*/ 95 h 97"/>
                <a:gd name="T42" fmla="*/ 14 w 134"/>
                <a:gd name="T43" fmla="*/ 97 h 97"/>
                <a:gd name="T44" fmla="*/ 37 w 134"/>
                <a:gd name="T45" fmla="*/ 97 h 97"/>
                <a:gd name="T46" fmla="*/ 77 w 134"/>
                <a:gd name="T47" fmla="*/ 57 h 97"/>
                <a:gd name="T48" fmla="*/ 73 w 134"/>
                <a:gd name="T49" fmla="*/ 39 h 97"/>
                <a:gd name="T50" fmla="*/ 61 w 134"/>
                <a:gd name="T51" fmla="*/ 75 h 97"/>
                <a:gd name="T52" fmla="*/ 64 w 134"/>
                <a:gd name="T53" fmla="*/ 69 h 97"/>
                <a:gd name="T54" fmla="*/ 62 w 134"/>
                <a:gd name="T55" fmla="*/ 57 h 97"/>
                <a:gd name="T56" fmla="*/ 97 w 134"/>
                <a:gd name="T57" fmla="*/ 21 h 97"/>
                <a:gd name="T58" fmla="*/ 124 w 134"/>
                <a:gd name="T59" fmla="*/ 21 h 97"/>
                <a:gd name="T60" fmla="*/ 113 w 134"/>
                <a:gd name="T61" fmla="*/ 32 h 97"/>
                <a:gd name="T62" fmla="*/ 113 w 134"/>
                <a:gd name="T63" fmla="*/ 35 h 97"/>
                <a:gd name="T64" fmla="*/ 115 w 134"/>
                <a:gd name="T65" fmla="*/ 36 h 97"/>
                <a:gd name="T66" fmla="*/ 117 w 134"/>
                <a:gd name="T67" fmla="*/ 35 h 97"/>
                <a:gd name="T68" fmla="*/ 134 w 134"/>
                <a:gd name="T69" fmla="*/ 18 h 97"/>
                <a:gd name="T70" fmla="*/ 117 w 134"/>
                <a:gd name="T71" fmla="*/ 1 h 97"/>
                <a:gd name="T72" fmla="*/ 113 w 134"/>
                <a:gd name="T73" fmla="*/ 1 h 97"/>
                <a:gd name="T74" fmla="*/ 113 w 134"/>
                <a:gd name="T75" fmla="*/ 5 h 97"/>
                <a:gd name="T76" fmla="*/ 124 w 134"/>
                <a:gd name="T77" fmla="*/ 16 h 97"/>
                <a:gd name="T78" fmla="*/ 97 w 134"/>
                <a:gd name="T79" fmla="*/ 16 h 97"/>
                <a:gd name="T80" fmla="*/ 57 w 134"/>
                <a:gd name="T81" fmla="*/ 57 h 97"/>
                <a:gd name="T82" fmla="*/ 61 w 134"/>
                <a:gd name="T83" fmla="*/ 75 h 97"/>
                <a:gd name="T84" fmla="*/ 120 w 134"/>
                <a:gd name="T85" fmla="*/ 92 h 97"/>
                <a:gd name="T86" fmla="*/ 97 w 134"/>
                <a:gd name="T87" fmla="*/ 92 h 97"/>
                <a:gd name="T88" fmla="*/ 74 w 134"/>
                <a:gd name="T89" fmla="*/ 83 h 97"/>
                <a:gd name="T90" fmla="*/ 71 w 134"/>
                <a:gd name="T91" fmla="*/ 87 h 97"/>
                <a:gd name="T92" fmla="*/ 97 w 134"/>
                <a:gd name="T93" fmla="*/ 97 h 97"/>
                <a:gd name="T94" fmla="*/ 120 w 134"/>
                <a:gd name="T95" fmla="*/ 97 h 97"/>
                <a:gd name="T96" fmla="*/ 123 w 134"/>
                <a:gd name="T97" fmla="*/ 95 h 97"/>
                <a:gd name="T98" fmla="*/ 120 w 134"/>
                <a:gd name="T99" fmla="*/ 9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4" h="97">
                  <a:moveTo>
                    <a:pt x="19" y="36"/>
                  </a:moveTo>
                  <a:cubicBezTo>
                    <a:pt x="20" y="36"/>
                    <a:pt x="20" y="36"/>
                    <a:pt x="21" y="35"/>
                  </a:cubicBezTo>
                  <a:cubicBezTo>
                    <a:pt x="22" y="35"/>
                    <a:pt x="22" y="33"/>
                    <a:pt x="21" y="32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46" y="21"/>
                    <a:pt x="54" y="24"/>
                    <a:pt x="60" y="30"/>
                  </a:cubicBezTo>
                  <a:cubicBezTo>
                    <a:pt x="61" y="29"/>
                    <a:pt x="62" y="27"/>
                    <a:pt x="63" y="26"/>
                  </a:cubicBezTo>
                  <a:cubicBezTo>
                    <a:pt x="56" y="20"/>
                    <a:pt x="47" y="16"/>
                    <a:pt x="37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4"/>
                    <a:pt x="22" y="2"/>
                    <a:pt x="21" y="1"/>
                  </a:cubicBezTo>
                  <a:cubicBezTo>
                    <a:pt x="20" y="0"/>
                    <a:pt x="18" y="0"/>
                    <a:pt x="17" y="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8" y="36"/>
                    <a:pt x="18" y="36"/>
                    <a:pt x="19" y="36"/>
                  </a:cubicBezTo>
                  <a:moveTo>
                    <a:pt x="73" y="39"/>
                  </a:moveTo>
                  <a:cubicBezTo>
                    <a:pt x="72" y="40"/>
                    <a:pt x="71" y="42"/>
                    <a:pt x="70" y="44"/>
                  </a:cubicBezTo>
                  <a:cubicBezTo>
                    <a:pt x="71" y="48"/>
                    <a:pt x="72" y="52"/>
                    <a:pt x="72" y="57"/>
                  </a:cubicBezTo>
                  <a:cubicBezTo>
                    <a:pt x="72" y="76"/>
                    <a:pt x="56" y="92"/>
                    <a:pt x="37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1" y="94"/>
                    <a:pt x="11" y="95"/>
                  </a:cubicBezTo>
                  <a:cubicBezTo>
                    <a:pt x="11" y="96"/>
                    <a:pt x="13" y="97"/>
                    <a:pt x="14" y="97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59" y="97"/>
                    <a:pt x="77" y="79"/>
                    <a:pt x="77" y="57"/>
                  </a:cubicBezTo>
                  <a:cubicBezTo>
                    <a:pt x="77" y="50"/>
                    <a:pt x="76" y="44"/>
                    <a:pt x="73" y="39"/>
                  </a:cubicBezTo>
                  <a:moveTo>
                    <a:pt x="61" y="75"/>
                  </a:moveTo>
                  <a:cubicBezTo>
                    <a:pt x="62" y="73"/>
                    <a:pt x="63" y="71"/>
                    <a:pt x="64" y="69"/>
                  </a:cubicBezTo>
                  <a:cubicBezTo>
                    <a:pt x="63" y="65"/>
                    <a:pt x="62" y="61"/>
                    <a:pt x="62" y="57"/>
                  </a:cubicBezTo>
                  <a:cubicBezTo>
                    <a:pt x="62" y="37"/>
                    <a:pt x="78" y="21"/>
                    <a:pt x="97" y="21"/>
                  </a:cubicBezTo>
                  <a:cubicBezTo>
                    <a:pt x="124" y="21"/>
                    <a:pt x="124" y="21"/>
                    <a:pt x="124" y="21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2" y="33"/>
                    <a:pt x="112" y="35"/>
                    <a:pt x="113" y="35"/>
                  </a:cubicBezTo>
                  <a:cubicBezTo>
                    <a:pt x="114" y="36"/>
                    <a:pt x="114" y="36"/>
                    <a:pt x="115" y="36"/>
                  </a:cubicBezTo>
                  <a:cubicBezTo>
                    <a:pt x="116" y="36"/>
                    <a:pt x="116" y="36"/>
                    <a:pt x="117" y="35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0"/>
                    <a:pt x="114" y="0"/>
                    <a:pt x="113" y="1"/>
                  </a:cubicBezTo>
                  <a:cubicBezTo>
                    <a:pt x="112" y="2"/>
                    <a:pt x="112" y="4"/>
                    <a:pt x="113" y="5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75" y="16"/>
                    <a:pt x="57" y="34"/>
                    <a:pt x="57" y="57"/>
                  </a:cubicBezTo>
                  <a:cubicBezTo>
                    <a:pt x="57" y="63"/>
                    <a:pt x="58" y="69"/>
                    <a:pt x="61" y="75"/>
                  </a:cubicBezTo>
                  <a:moveTo>
                    <a:pt x="120" y="92"/>
                  </a:moveTo>
                  <a:cubicBezTo>
                    <a:pt x="97" y="92"/>
                    <a:pt x="97" y="92"/>
                    <a:pt x="97" y="92"/>
                  </a:cubicBezTo>
                  <a:cubicBezTo>
                    <a:pt x="88" y="92"/>
                    <a:pt x="80" y="89"/>
                    <a:pt x="74" y="83"/>
                  </a:cubicBezTo>
                  <a:cubicBezTo>
                    <a:pt x="73" y="85"/>
                    <a:pt x="72" y="86"/>
                    <a:pt x="71" y="87"/>
                  </a:cubicBezTo>
                  <a:cubicBezTo>
                    <a:pt x="78" y="94"/>
                    <a:pt x="87" y="97"/>
                    <a:pt x="97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21" y="97"/>
                    <a:pt x="123" y="96"/>
                    <a:pt x="123" y="95"/>
                  </a:cubicBezTo>
                  <a:cubicBezTo>
                    <a:pt x="123" y="94"/>
                    <a:pt x="121" y="92"/>
                    <a:pt x="120" y="9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1" name="Group 132">
            <a:extLst>
              <a:ext uri="{FF2B5EF4-FFF2-40B4-BE49-F238E27FC236}">
                <a16:creationId xmlns:a16="http://schemas.microsoft.com/office/drawing/2014/main" id="{24B2C8F5-396A-44D7-9718-8321395023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0848" y="2783652"/>
            <a:ext cx="841375" cy="841375"/>
            <a:chOff x="4464" y="1787"/>
            <a:chExt cx="530" cy="530"/>
          </a:xfrm>
        </p:grpSpPr>
        <p:sp>
          <p:nvSpPr>
            <p:cNvPr id="172" name="AutoShape 131">
              <a:extLst>
                <a:ext uri="{FF2B5EF4-FFF2-40B4-BE49-F238E27FC236}">
                  <a16:creationId xmlns:a16="http://schemas.microsoft.com/office/drawing/2014/main" id="{4B1E322F-2233-4670-90F3-722A469A0CD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64" y="178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33">
              <a:extLst>
                <a:ext uri="{FF2B5EF4-FFF2-40B4-BE49-F238E27FC236}">
                  <a16:creationId xmlns:a16="http://schemas.microsoft.com/office/drawing/2014/main" id="{3585EDD6-EC1F-49C0-AB28-5CDBEF3D2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4" y="178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34">
              <a:extLst>
                <a:ext uri="{FF2B5EF4-FFF2-40B4-BE49-F238E27FC236}">
                  <a16:creationId xmlns:a16="http://schemas.microsoft.com/office/drawing/2014/main" id="{1A90F928-AA50-407C-8EC0-1EC2C0560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2" y="180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35">
              <a:extLst>
                <a:ext uri="{FF2B5EF4-FFF2-40B4-BE49-F238E27FC236}">
                  <a16:creationId xmlns:a16="http://schemas.microsoft.com/office/drawing/2014/main" id="{24D0CC1F-198D-458E-B0A9-0859C91A5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1928"/>
              <a:ext cx="343" cy="248"/>
            </a:xfrm>
            <a:custGeom>
              <a:avLst/>
              <a:gdLst>
                <a:gd name="T0" fmla="*/ 19 w 134"/>
                <a:gd name="T1" fmla="*/ 36 h 97"/>
                <a:gd name="T2" fmla="*/ 21 w 134"/>
                <a:gd name="T3" fmla="*/ 35 h 97"/>
                <a:gd name="T4" fmla="*/ 21 w 134"/>
                <a:gd name="T5" fmla="*/ 32 h 97"/>
                <a:gd name="T6" fmla="*/ 10 w 134"/>
                <a:gd name="T7" fmla="*/ 21 h 97"/>
                <a:gd name="T8" fmla="*/ 37 w 134"/>
                <a:gd name="T9" fmla="*/ 21 h 97"/>
                <a:gd name="T10" fmla="*/ 60 w 134"/>
                <a:gd name="T11" fmla="*/ 30 h 97"/>
                <a:gd name="T12" fmla="*/ 63 w 134"/>
                <a:gd name="T13" fmla="*/ 26 h 97"/>
                <a:gd name="T14" fmla="*/ 37 w 134"/>
                <a:gd name="T15" fmla="*/ 16 h 97"/>
                <a:gd name="T16" fmla="*/ 10 w 134"/>
                <a:gd name="T17" fmla="*/ 16 h 97"/>
                <a:gd name="T18" fmla="*/ 21 w 134"/>
                <a:gd name="T19" fmla="*/ 5 h 97"/>
                <a:gd name="T20" fmla="*/ 21 w 134"/>
                <a:gd name="T21" fmla="*/ 1 h 97"/>
                <a:gd name="T22" fmla="*/ 17 w 134"/>
                <a:gd name="T23" fmla="*/ 1 h 97"/>
                <a:gd name="T24" fmla="*/ 0 w 134"/>
                <a:gd name="T25" fmla="*/ 18 h 97"/>
                <a:gd name="T26" fmla="*/ 17 w 134"/>
                <a:gd name="T27" fmla="*/ 35 h 97"/>
                <a:gd name="T28" fmla="*/ 19 w 134"/>
                <a:gd name="T29" fmla="*/ 36 h 97"/>
                <a:gd name="T30" fmla="*/ 73 w 134"/>
                <a:gd name="T31" fmla="*/ 39 h 97"/>
                <a:gd name="T32" fmla="*/ 70 w 134"/>
                <a:gd name="T33" fmla="*/ 44 h 97"/>
                <a:gd name="T34" fmla="*/ 72 w 134"/>
                <a:gd name="T35" fmla="*/ 57 h 97"/>
                <a:gd name="T36" fmla="*/ 37 w 134"/>
                <a:gd name="T37" fmla="*/ 92 h 97"/>
                <a:gd name="T38" fmla="*/ 14 w 134"/>
                <a:gd name="T39" fmla="*/ 92 h 97"/>
                <a:gd name="T40" fmla="*/ 11 w 134"/>
                <a:gd name="T41" fmla="*/ 95 h 97"/>
                <a:gd name="T42" fmla="*/ 14 w 134"/>
                <a:gd name="T43" fmla="*/ 97 h 97"/>
                <a:gd name="T44" fmla="*/ 37 w 134"/>
                <a:gd name="T45" fmla="*/ 97 h 97"/>
                <a:gd name="T46" fmla="*/ 77 w 134"/>
                <a:gd name="T47" fmla="*/ 57 h 97"/>
                <a:gd name="T48" fmla="*/ 73 w 134"/>
                <a:gd name="T49" fmla="*/ 39 h 97"/>
                <a:gd name="T50" fmla="*/ 61 w 134"/>
                <a:gd name="T51" fmla="*/ 75 h 97"/>
                <a:gd name="T52" fmla="*/ 64 w 134"/>
                <a:gd name="T53" fmla="*/ 69 h 97"/>
                <a:gd name="T54" fmla="*/ 62 w 134"/>
                <a:gd name="T55" fmla="*/ 57 h 97"/>
                <a:gd name="T56" fmla="*/ 97 w 134"/>
                <a:gd name="T57" fmla="*/ 21 h 97"/>
                <a:gd name="T58" fmla="*/ 124 w 134"/>
                <a:gd name="T59" fmla="*/ 21 h 97"/>
                <a:gd name="T60" fmla="*/ 113 w 134"/>
                <a:gd name="T61" fmla="*/ 32 h 97"/>
                <a:gd name="T62" fmla="*/ 113 w 134"/>
                <a:gd name="T63" fmla="*/ 35 h 97"/>
                <a:gd name="T64" fmla="*/ 115 w 134"/>
                <a:gd name="T65" fmla="*/ 36 h 97"/>
                <a:gd name="T66" fmla="*/ 117 w 134"/>
                <a:gd name="T67" fmla="*/ 35 h 97"/>
                <a:gd name="T68" fmla="*/ 134 w 134"/>
                <a:gd name="T69" fmla="*/ 18 h 97"/>
                <a:gd name="T70" fmla="*/ 117 w 134"/>
                <a:gd name="T71" fmla="*/ 1 h 97"/>
                <a:gd name="T72" fmla="*/ 113 w 134"/>
                <a:gd name="T73" fmla="*/ 1 h 97"/>
                <a:gd name="T74" fmla="*/ 113 w 134"/>
                <a:gd name="T75" fmla="*/ 5 h 97"/>
                <a:gd name="T76" fmla="*/ 124 w 134"/>
                <a:gd name="T77" fmla="*/ 16 h 97"/>
                <a:gd name="T78" fmla="*/ 97 w 134"/>
                <a:gd name="T79" fmla="*/ 16 h 97"/>
                <a:gd name="T80" fmla="*/ 57 w 134"/>
                <a:gd name="T81" fmla="*/ 57 h 97"/>
                <a:gd name="T82" fmla="*/ 61 w 134"/>
                <a:gd name="T83" fmla="*/ 75 h 97"/>
                <a:gd name="T84" fmla="*/ 120 w 134"/>
                <a:gd name="T85" fmla="*/ 92 h 97"/>
                <a:gd name="T86" fmla="*/ 97 w 134"/>
                <a:gd name="T87" fmla="*/ 92 h 97"/>
                <a:gd name="T88" fmla="*/ 74 w 134"/>
                <a:gd name="T89" fmla="*/ 83 h 97"/>
                <a:gd name="T90" fmla="*/ 71 w 134"/>
                <a:gd name="T91" fmla="*/ 87 h 97"/>
                <a:gd name="T92" fmla="*/ 97 w 134"/>
                <a:gd name="T93" fmla="*/ 97 h 97"/>
                <a:gd name="T94" fmla="*/ 120 w 134"/>
                <a:gd name="T95" fmla="*/ 97 h 97"/>
                <a:gd name="T96" fmla="*/ 123 w 134"/>
                <a:gd name="T97" fmla="*/ 95 h 97"/>
                <a:gd name="T98" fmla="*/ 120 w 134"/>
                <a:gd name="T99" fmla="*/ 9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4" h="97">
                  <a:moveTo>
                    <a:pt x="19" y="36"/>
                  </a:moveTo>
                  <a:cubicBezTo>
                    <a:pt x="20" y="36"/>
                    <a:pt x="20" y="36"/>
                    <a:pt x="21" y="35"/>
                  </a:cubicBezTo>
                  <a:cubicBezTo>
                    <a:pt x="22" y="35"/>
                    <a:pt x="22" y="33"/>
                    <a:pt x="21" y="32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46" y="21"/>
                    <a:pt x="54" y="24"/>
                    <a:pt x="60" y="30"/>
                  </a:cubicBezTo>
                  <a:cubicBezTo>
                    <a:pt x="61" y="29"/>
                    <a:pt x="62" y="27"/>
                    <a:pt x="63" y="26"/>
                  </a:cubicBezTo>
                  <a:cubicBezTo>
                    <a:pt x="56" y="20"/>
                    <a:pt x="47" y="16"/>
                    <a:pt x="37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4"/>
                    <a:pt x="22" y="2"/>
                    <a:pt x="21" y="1"/>
                  </a:cubicBezTo>
                  <a:cubicBezTo>
                    <a:pt x="20" y="0"/>
                    <a:pt x="18" y="0"/>
                    <a:pt x="17" y="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8" y="36"/>
                    <a:pt x="18" y="36"/>
                    <a:pt x="19" y="36"/>
                  </a:cubicBezTo>
                  <a:moveTo>
                    <a:pt x="73" y="39"/>
                  </a:moveTo>
                  <a:cubicBezTo>
                    <a:pt x="72" y="40"/>
                    <a:pt x="71" y="42"/>
                    <a:pt x="70" y="44"/>
                  </a:cubicBezTo>
                  <a:cubicBezTo>
                    <a:pt x="71" y="48"/>
                    <a:pt x="72" y="52"/>
                    <a:pt x="72" y="57"/>
                  </a:cubicBezTo>
                  <a:cubicBezTo>
                    <a:pt x="72" y="76"/>
                    <a:pt x="56" y="92"/>
                    <a:pt x="37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1" y="94"/>
                    <a:pt x="11" y="95"/>
                  </a:cubicBezTo>
                  <a:cubicBezTo>
                    <a:pt x="11" y="96"/>
                    <a:pt x="13" y="97"/>
                    <a:pt x="14" y="97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59" y="97"/>
                    <a:pt x="77" y="79"/>
                    <a:pt x="77" y="57"/>
                  </a:cubicBezTo>
                  <a:cubicBezTo>
                    <a:pt x="77" y="50"/>
                    <a:pt x="76" y="44"/>
                    <a:pt x="73" y="39"/>
                  </a:cubicBezTo>
                  <a:moveTo>
                    <a:pt x="61" y="75"/>
                  </a:moveTo>
                  <a:cubicBezTo>
                    <a:pt x="62" y="73"/>
                    <a:pt x="63" y="71"/>
                    <a:pt x="64" y="69"/>
                  </a:cubicBezTo>
                  <a:cubicBezTo>
                    <a:pt x="63" y="65"/>
                    <a:pt x="62" y="61"/>
                    <a:pt x="62" y="57"/>
                  </a:cubicBezTo>
                  <a:cubicBezTo>
                    <a:pt x="62" y="37"/>
                    <a:pt x="78" y="21"/>
                    <a:pt x="97" y="21"/>
                  </a:cubicBezTo>
                  <a:cubicBezTo>
                    <a:pt x="124" y="21"/>
                    <a:pt x="124" y="21"/>
                    <a:pt x="124" y="21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2" y="33"/>
                    <a:pt x="112" y="35"/>
                    <a:pt x="113" y="35"/>
                  </a:cubicBezTo>
                  <a:cubicBezTo>
                    <a:pt x="114" y="36"/>
                    <a:pt x="114" y="36"/>
                    <a:pt x="115" y="36"/>
                  </a:cubicBezTo>
                  <a:cubicBezTo>
                    <a:pt x="116" y="36"/>
                    <a:pt x="116" y="36"/>
                    <a:pt x="117" y="35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6" y="0"/>
                    <a:pt x="114" y="0"/>
                    <a:pt x="113" y="1"/>
                  </a:cubicBezTo>
                  <a:cubicBezTo>
                    <a:pt x="112" y="2"/>
                    <a:pt x="112" y="4"/>
                    <a:pt x="113" y="5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75" y="16"/>
                    <a:pt x="57" y="34"/>
                    <a:pt x="57" y="57"/>
                  </a:cubicBezTo>
                  <a:cubicBezTo>
                    <a:pt x="57" y="63"/>
                    <a:pt x="58" y="69"/>
                    <a:pt x="61" y="75"/>
                  </a:cubicBezTo>
                  <a:moveTo>
                    <a:pt x="120" y="92"/>
                  </a:moveTo>
                  <a:cubicBezTo>
                    <a:pt x="97" y="92"/>
                    <a:pt x="97" y="92"/>
                    <a:pt x="97" y="92"/>
                  </a:cubicBezTo>
                  <a:cubicBezTo>
                    <a:pt x="88" y="92"/>
                    <a:pt x="80" y="89"/>
                    <a:pt x="74" y="83"/>
                  </a:cubicBezTo>
                  <a:cubicBezTo>
                    <a:pt x="73" y="85"/>
                    <a:pt x="72" y="86"/>
                    <a:pt x="71" y="87"/>
                  </a:cubicBezTo>
                  <a:cubicBezTo>
                    <a:pt x="78" y="94"/>
                    <a:pt x="87" y="97"/>
                    <a:pt x="97" y="97"/>
                  </a:cubicBezTo>
                  <a:cubicBezTo>
                    <a:pt x="120" y="97"/>
                    <a:pt x="120" y="97"/>
                    <a:pt x="120" y="97"/>
                  </a:cubicBezTo>
                  <a:cubicBezTo>
                    <a:pt x="121" y="97"/>
                    <a:pt x="123" y="96"/>
                    <a:pt x="123" y="95"/>
                  </a:cubicBezTo>
                  <a:cubicBezTo>
                    <a:pt x="123" y="94"/>
                    <a:pt x="121" y="92"/>
                    <a:pt x="120" y="9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38">
            <a:extLst>
              <a:ext uri="{FF2B5EF4-FFF2-40B4-BE49-F238E27FC236}">
                <a16:creationId xmlns:a16="http://schemas.microsoft.com/office/drawing/2014/main" id="{F66AA42D-F9A1-4E5B-BC8A-B03DC2BE6D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5482" y="4149088"/>
            <a:ext cx="758825" cy="758825"/>
            <a:chOff x="880" y="2674"/>
            <a:chExt cx="478" cy="478"/>
          </a:xfrm>
        </p:grpSpPr>
        <p:sp>
          <p:nvSpPr>
            <p:cNvPr id="181" name="AutoShape 137">
              <a:extLst>
                <a:ext uri="{FF2B5EF4-FFF2-40B4-BE49-F238E27FC236}">
                  <a16:creationId xmlns:a16="http://schemas.microsoft.com/office/drawing/2014/main" id="{24C2A1BF-7AF0-44C1-BF67-349E0825281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80" y="267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A0983B24-62D3-41B0-8A51-AE9B81E77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" y="267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30E6EA62-E955-488E-8118-6B5E8C1445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" y="2782"/>
              <a:ext cx="245" cy="245"/>
            </a:xfrm>
            <a:custGeom>
              <a:avLst/>
              <a:gdLst>
                <a:gd name="T0" fmla="*/ 80 w 100"/>
                <a:gd name="T1" fmla="*/ 88 h 100"/>
                <a:gd name="T2" fmla="*/ 73 w 100"/>
                <a:gd name="T3" fmla="*/ 95 h 100"/>
                <a:gd name="T4" fmla="*/ 12 w 100"/>
                <a:gd name="T5" fmla="*/ 95 h 100"/>
                <a:gd name="T6" fmla="*/ 5 w 100"/>
                <a:gd name="T7" fmla="*/ 88 h 100"/>
                <a:gd name="T8" fmla="*/ 5 w 100"/>
                <a:gd name="T9" fmla="*/ 27 h 100"/>
                <a:gd name="T10" fmla="*/ 12 w 100"/>
                <a:gd name="T11" fmla="*/ 20 h 100"/>
                <a:gd name="T12" fmla="*/ 55 w 100"/>
                <a:gd name="T13" fmla="*/ 20 h 100"/>
                <a:gd name="T14" fmla="*/ 55 w 100"/>
                <a:gd name="T15" fmla="*/ 15 h 100"/>
                <a:gd name="T16" fmla="*/ 12 w 100"/>
                <a:gd name="T17" fmla="*/ 15 h 100"/>
                <a:gd name="T18" fmla="*/ 0 w 100"/>
                <a:gd name="T19" fmla="*/ 27 h 100"/>
                <a:gd name="T20" fmla="*/ 0 w 100"/>
                <a:gd name="T21" fmla="*/ 88 h 100"/>
                <a:gd name="T22" fmla="*/ 12 w 100"/>
                <a:gd name="T23" fmla="*/ 100 h 100"/>
                <a:gd name="T24" fmla="*/ 73 w 100"/>
                <a:gd name="T25" fmla="*/ 100 h 100"/>
                <a:gd name="T26" fmla="*/ 85 w 100"/>
                <a:gd name="T27" fmla="*/ 88 h 100"/>
                <a:gd name="T28" fmla="*/ 85 w 100"/>
                <a:gd name="T29" fmla="*/ 45 h 100"/>
                <a:gd name="T30" fmla="*/ 80 w 100"/>
                <a:gd name="T31" fmla="*/ 45 h 100"/>
                <a:gd name="T32" fmla="*/ 80 w 100"/>
                <a:gd name="T33" fmla="*/ 88 h 100"/>
                <a:gd name="T34" fmla="*/ 68 w 100"/>
                <a:gd name="T35" fmla="*/ 0 h 100"/>
                <a:gd name="T36" fmla="*/ 65 w 100"/>
                <a:gd name="T37" fmla="*/ 2 h 100"/>
                <a:gd name="T38" fmla="*/ 68 w 100"/>
                <a:gd name="T39" fmla="*/ 5 h 100"/>
                <a:gd name="T40" fmla="*/ 92 w 100"/>
                <a:gd name="T41" fmla="*/ 5 h 100"/>
                <a:gd name="T42" fmla="*/ 41 w 100"/>
                <a:gd name="T43" fmla="*/ 56 h 100"/>
                <a:gd name="T44" fmla="*/ 41 w 100"/>
                <a:gd name="T45" fmla="*/ 59 h 100"/>
                <a:gd name="T46" fmla="*/ 42 w 100"/>
                <a:gd name="T47" fmla="*/ 60 h 100"/>
                <a:gd name="T48" fmla="*/ 44 w 100"/>
                <a:gd name="T49" fmla="*/ 59 h 100"/>
                <a:gd name="T50" fmla="*/ 95 w 100"/>
                <a:gd name="T51" fmla="*/ 8 h 100"/>
                <a:gd name="T52" fmla="*/ 95 w 100"/>
                <a:gd name="T53" fmla="*/ 32 h 100"/>
                <a:gd name="T54" fmla="*/ 98 w 100"/>
                <a:gd name="T55" fmla="*/ 35 h 100"/>
                <a:gd name="T56" fmla="*/ 100 w 100"/>
                <a:gd name="T57" fmla="*/ 32 h 100"/>
                <a:gd name="T58" fmla="*/ 100 w 100"/>
                <a:gd name="T59" fmla="*/ 0 h 100"/>
                <a:gd name="T60" fmla="*/ 68 w 100"/>
                <a:gd name="T6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" h="100">
                  <a:moveTo>
                    <a:pt x="80" y="88"/>
                  </a:moveTo>
                  <a:cubicBezTo>
                    <a:pt x="80" y="92"/>
                    <a:pt x="77" y="95"/>
                    <a:pt x="73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8" y="95"/>
                    <a:pt x="5" y="92"/>
                    <a:pt x="5" y="8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3"/>
                    <a:pt x="8" y="20"/>
                    <a:pt x="12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80" y="100"/>
                    <a:pt x="85" y="95"/>
                    <a:pt x="85" y="8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0" y="45"/>
                    <a:pt x="80" y="45"/>
                    <a:pt x="80" y="45"/>
                  </a:cubicBezTo>
                  <a:lnTo>
                    <a:pt x="80" y="88"/>
                  </a:lnTo>
                  <a:close/>
                  <a:moveTo>
                    <a:pt x="68" y="0"/>
                  </a:moveTo>
                  <a:cubicBezTo>
                    <a:pt x="66" y="0"/>
                    <a:pt x="65" y="1"/>
                    <a:pt x="65" y="2"/>
                  </a:cubicBezTo>
                  <a:cubicBezTo>
                    <a:pt x="65" y="3"/>
                    <a:pt x="66" y="5"/>
                    <a:pt x="68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0" y="57"/>
                    <a:pt x="40" y="58"/>
                    <a:pt x="41" y="59"/>
                  </a:cubicBezTo>
                  <a:cubicBezTo>
                    <a:pt x="41" y="60"/>
                    <a:pt x="42" y="60"/>
                    <a:pt x="42" y="60"/>
                  </a:cubicBezTo>
                  <a:cubicBezTo>
                    <a:pt x="43" y="60"/>
                    <a:pt x="44" y="60"/>
                    <a:pt x="44" y="5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4"/>
                    <a:pt x="97" y="35"/>
                    <a:pt x="98" y="35"/>
                  </a:cubicBezTo>
                  <a:cubicBezTo>
                    <a:pt x="99" y="35"/>
                    <a:pt x="100" y="34"/>
                    <a:pt x="100" y="32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41">
              <a:extLst>
                <a:ext uri="{FF2B5EF4-FFF2-40B4-BE49-F238E27FC236}">
                  <a16:creationId xmlns:a16="http://schemas.microsoft.com/office/drawing/2014/main" id="{805DA801-E5CD-4EEC-A3E1-F44474555E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" y="2782"/>
              <a:ext cx="245" cy="245"/>
            </a:xfrm>
            <a:custGeom>
              <a:avLst/>
              <a:gdLst>
                <a:gd name="T0" fmla="*/ 80 w 100"/>
                <a:gd name="T1" fmla="*/ 88 h 100"/>
                <a:gd name="T2" fmla="*/ 73 w 100"/>
                <a:gd name="T3" fmla="*/ 95 h 100"/>
                <a:gd name="T4" fmla="*/ 12 w 100"/>
                <a:gd name="T5" fmla="*/ 95 h 100"/>
                <a:gd name="T6" fmla="*/ 5 w 100"/>
                <a:gd name="T7" fmla="*/ 88 h 100"/>
                <a:gd name="T8" fmla="*/ 5 w 100"/>
                <a:gd name="T9" fmla="*/ 27 h 100"/>
                <a:gd name="T10" fmla="*/ 12 w 100"/>
                <a:gd name="T11" fmla="*/ 20 h 100"/>
                <a:gd name="T12" fmla="*/ 55 w 100"/>
                <a:gd name="T13" fmla="*/ 20 h 100"/>
                <a:gd name="T14" fmla="*/ 55 w 100"/>
                <a:gd name="T15" fmla="*/ 15 h 100"/>
                <a:gd name="T16" fmla="*/ 12 w 100"/>
                <a:gd name="T17" fmla="*/ 15 h 100"/>
                <a:gd name="T18" fmla="*/ 0 w 100"/>
                <a:gd name="T19" fmla="*/ 27 h 100"/>
                <a:gd name="T20" fmla="*/ 0 w 100"/>
                <a:gd name="T21" fmla="*/ 88 h 100"/>
                <a:gd name="T22" fmla="*/ 12 w 100"/>
                <a:gd name="T23" fmla="*/ 100 h 100"/>
                <a:gd name="T24" fmla="*/ 73 w 100"/>
                <a:gd name="T25" fmla="*/ 100 h 100"/>
                <a:gd name="T26" fmla="*/ 85 w 100"/>
                <a:gd name="T27" fmla="*/ 88 h 100"/>
                <a:gd name="T28" fmla="*/ 85 w 100"/>
                <a:gd name="T29" fmla="*/ 45 h 100"/>
                <a:gd name="T30" fmla="*/ 80 w 100"/>
                <a:gd name="T31" fmla="*/ 45 h 100"/>
                <a:gd name="T32" fmla="*/ 80 w 100"/>
                <a:gd name="T33" fmla="*/ 88 h 100"/>
                <a:gd name="T34" fmla="*/ 68 w 100"/>
                <a:gd name="T35" fmla="*/ 0 h 100"/>
                <a:gd name="T36" fmla="*/ 65 w 100"/>
                <a:gd name="T37" fmla="*/ 2 h 100"/>
                <a:gd name="T38" fmla="*/ 68 w 100"/>
                <a:gd name="T39" fmla="*/ 5 h 100"/>
                <a:gd name="T40" fmla="*/ 92 w 100"/>
                <a:gd name="T41" fmla="*/ 5 h 100"/>
                <a:gd name="T42" fmla="*/ 41 w 100"/>
                <a:gd name="T43" fmla="*/ 56 h 100"/>
                <a:gd name="T44" fmla="*/ 41 w 100"/>
                <a:gd name="T45" fmla="*/ 59 h 100"/>
                <a:gd name="T46" fmla="*/ 42 w 100"/>
                <a:gd name="T47" fmla="*/ 60 h 100"/>
                <a:gd name="T48" fmla="*/ 44 w 100"/>
                <a:gd name="T49" fmla="*/ 59 h 100"/>
                <a:gd name="T50" fmla="*/ 95 w 100"/>
                <a:gd name="T51" fmla="*/ 8 h 100"/>
                <a:gd name="T52" fmla="*/ 95 w 100"/>
                <a:gd name="T53" fmla="*/ 32 h 100"/>
                <a:gd name="T54" fmla="*/ 98 w 100"/>
                <a:gd name="T55" fmla="*/ 35 h 100"/>
                <a:gd name="T56" fmla="*/ 100 w 100"/>
                <a:gd name="T57" fmla="*/ 32 h 100"/>
                <a:gd name="T58" fmla="*/ 100 w 100"/>
                <a:gd name="T59" fmla="*/ 0 h 100"/>
                <a:gd name="T60" fmla="*/ 68 w 100"/>
                <a:gd name="T6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" h="100">
                  <a:moveTo>
                    <a:pt x="80" y="88"/>
                  </a:moveTo>
                  <a:cubicBezTo>
                    <a:pt x="80" y="92"/>
                    <a:pt x="77" y="95"/>
                    <a:pt x="73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8" y="95"/>
                    <a:pt x="5" y="92"/>
                    <a:pt x="5" y="8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3"/>
                    <a:pt x="8" y="20"/>
                    <a:pt x="12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80" y="100"/>
                    <a:pt x="85" y="95"/>
                    <a:pt x="85" y="8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0" y="45"/>
                    <a:pt x="80" y="45"/>
                    <a:pt x="80" y="45"/>
                  </a:cubicBezTo>
                  <a:lnTo>
                    <a:pt x="80" y="88"/>
                  </a:lnTo>
                  <a:close/>
                  <a:moveTo>
                    <a:pt x="68" y="0"/>
                  </a:moveTo>
                  <a:cubicBezTo>
                    <a:pt x="66" y="0"/>
                    <a:pt x="65" y="1"/>
                    <a:pt x="65" y="2"/>
                  </a:cubicBezTo>
                  <a:cubicBezTo>
                    <a:pt x="65" y="3"/>
                    <a:pt x="66" y="5"/>
                    <a:pt x="68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0" y="57"/>
                    <a:pt x="40" y="58"/>
                    <a:pt x="41" y="59"/>
                  </a:cubicBezTo>
                  <a:cubicBezTo>
                    <a:pt x="41" y="60"/>
                    <a:pt x="42" y="60"/>
                    <a:pt x="42" y="60"/>
                  </a:cubicBezTo>
                  <a:cubicBezTo>
                    <a:pt x="43" y="60"/>
                    <a:pt x="44" y="60"/>
                    <a:pt x="44" y="5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4"/>
                    <a:pt x="97" y="35"/>
                    <a:pt x="98" y="35"/>
                  </a:cubicBezTo>
                  <a:cubicBezTo>
                    <a:pt x="99" y="35"/>
                    <a:pt x="100" y="34"/>
                    <a:pt x="100" y="32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5" name="Group 144">
            <a:extLst>
              <a:ext uri="{FF2B5EF4-FFF2-40B4-BE49-F238E27FC236}">
                <a16:creationId xmlns:a16="http://schemas.microsoft.com/office/drawing/2014/main" id="{FFEDA0DF-FE25-41B4-8812-9752012C31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481" y="4107813"/>
            <a:ext cx="842962" cy="841375"/>
            <a:chOff x="299" y="2674"/>
            <a:chExt cx="531" cy="530"/>
          </a:xfrm>
        </p:grpSpPr>
        <p:sp>
          <p:nvSpPr>
            <p:cNvPr id="186" name="AutoShape 143">
              <a:extLst>
                <a:ext uri="{FF2B5EF4-FFF2-40B4-BE49-F238E27FC236}">
                  <a16:creationId xmlns:a16="http://schemas.microsoft.com/office/drawing/2014/main" id="{4DD52F26-7EC1-4B40-BA9E-EAFB722A52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" y="2674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145">
              <a:extLst>
                <a:ext uri="{FF2B5EF4-FFF2-40B4-BE49-F238E27FC236}">
                  <a16:creationId xmlns:a16="http://schemas.microsoft.com/office/drawing/2014/main" id="{D11019B7-2DA8-49B9-B583-EAD4EE27E0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" y="267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46">
              <a:extLst>
                <a:ext uri="{FF2B5EF4-FFF2-40B4-BE49-F238E27FC236}">
                  <a16:creationId xmlns:a16="http://schemas.microsoft.com/office/drawing/2014/main" id="{65E5D3A4-826B-427C-8FD4-5FAE30F06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" y="2692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47">
              <a:extLst>
                <a:ext uri="{FF2B5EF4-FFF2-40B4-BE49-F238E27FC236}">
                  <a16:creationId xmlns:a16="http://schemas.microsoft.com/office/drawing/2014/main" id="{7A3418BF-CB96-427C-BD50-746C8196F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" y="2802"/>
              <a:ext cx="257" cy="256"/>
            </a:xfrm>
            <a:custGeom>
              <a:avLst/>
              <a:gdLst>
                <a:gd name="T0" fmla="*/ 80 w 100"/>
                <a:gd name="T1" fmla="*/ 88 h 100"/>
                <a:gd name="T2" fmla="*/ 73 w 100"/>
                <a:gd name="T3" fmla="*/ 95 h 100"/>
                <a:gd name="T4" fmla="*/ 12 w 100"/>
                <a:gd name="T5" fmla="*/ 95 h 100"/>
                <a:gd name="T6" fmla="*/ 5 w 100"/>
                <a:gd name="T7" fmla="*/ 88 h 100"/>
                <a:gd name="T8" fmla="*/ 5 w 100"/>
                <a:gd name="T9" fmla="*/ 27 h 100"/>
                <a:gd name="T10" fmla="*/ 12 w 100"/>
                <a:gd name="T11" fmla="*/ 20 h 100"/>
                <a:gd name="T12" fmla="*/ 55 w 100"/>
                <a:gd name="T13" fmla="*/ 20 h 100"/>
                <a:gd name="T14" fmla="*/ 55 w 100"/>
                <a:gd name="T15" fmla="*/ 15 h 100"/>
                <a:gd name="T16" fmla="*/ 12 w 100"/>
                <a:gd name="T17" fmla="*/ 15 h 100"/>
                <a:gd name="T18" fmla="*/ 0 w 100"/>
                <a:gd name="T19" fmla="*/ 27 h 100"/>
                <a:gd name="T20" fmla="*/ 0 w 100"/>
                <a:gd name="T21" fmla="*/ 88 h 100"/>
                <a:gd name="T22" fmla="*/ 12 w 100"/>
                <a:gd name="T23" fmla="*/ 100 h 100"/>
                <a:gd name="T24" fmla="*/ 73 w 100"/>
                <a:gd name="T25" fmla="*/ 100 h 100"/>
                <a:gd name="T26" fmla="*/ 85 w 100"/>
                <a:gd name="T27" fmla="*/ 88 h 100"/>
                <a:gd name="T28" fmla="*/ 85 w 100"/>
                <a:gd name="T29" fmla="*/ 45 h 100"/>
                <a:gd name="T30" fmla="*/ 80 w 100"/>
                <a:gd name="T31" fmla="*/ 45 h 100"/>
                <a:gd name="T32" fmla="*/ 80 w 100"/>
                <a:gd name="T33" fmla="*/ 88 h 100"/>
                <a:gd name="T34" fmla="*/ 68 w 100"/>
                <a:gd name="T35" fmla="*/ 0 h 100"/>
                <a:gd name="T36" fmla="*/ 65 w 100"/>
                <a:gd name="T37" fmla="*/ 2 h 100"/>
                <a:gd name="T38" fmla="*/ 68 w 100"/>
                <a:gd name="T39" fmla="*/ 5 h 100"/>
                <a:gd name="T40" fmla="*/ 92 w 100"/>
                <a:gd name="T41" fmla="*/ 5 h 100"/>
                <a:gd name="T42" fmla="*/ 41 w 100"/>
                <a:gd name="T43" fmla="*/ 56 h 100"/>
                <a:gd name="T44" fmla="*/ 41 w 100"/>
                <a:gd name="T45" fmla="*/ 59 h 100"/>
                <a:gd name="T46" fmla="*/ 42 w 100"/>
                <a:gd name="T47" fmla="*/ 60 h 100"/>
                <a:gd name="T48" fmla="*/ 44 w 100"/>
                <a:gd name="T49" fmla="*/ 59 h 100"/>
                <a:gd name="T50" fmla="*/ 95 w 100"/>
                <a:gd name="T51" fmla="*/ 8 h 100"/>
                <a:gd name="T52" fmla="*/ 95 w 100"/>
                <a:gd name="T53" fmla="*/ 32 h 100"/>
                <a:gd name="T54" fmla="*/ 98 w 100"/>
                <a:gd name="T55" fmla="*/ 35 h 100"/>
                <a:gd name="T56" fmla="*/ 100 w 100"/>
                <a:gd name="T57" fmla="*/ 32 h 100"/>
                <a:gd name="T58" fmla="*/ 100 w 100"/>
                <a:gd name="T59" fmla="*/ 0 h 100"/>
                <a:gd name="T60" fmla="*/ 68 w 100"/>
                <a:gd name="T6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" h="100">
                  <a:moveTo>
                    <a:pt x="80" y="88"/>
                  </a:moveTo>
                  <a:cubicBezTo>
                    <a:pt x="80" y="92"/>
                    <a:pt x="77" y="95"/>
                    <a:pt x="73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8" y="95"/>
                    <a:pt x="5" y="92"/>
                    <a:pt x="5" y="8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3"/>
                    <a:pt x="8" y="20"/>
                    <a:pt x="12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5"/>
                    <a:pt x="5" y="100"/>
                    <a:pt x="12" y="100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80" y="100"/>
                    <a:pt x="85" y="95"/>
                    <a:pt x="85" y="8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0" y="45"/>
                    <a:pt x="80" y="45"/>
                    <a:pt x="80" y="45"/>
                  </a:cubicBezTo>
                  <a:lnTo>
                    <a:pt x="80" y="88"/>
                  </a:lnTo>
                  <a:close/>
                  <a:moveTo>
                    <a:pt x="68" y="0"/>
                  </a:moveTo>
                  <a:cubicBezTo>
                    <a:pt x="66" y="0"/>
                    <a:pt x="65" y="1"/>
                    <a:pt x="65" y="2"/>
                  </a:cubicBezTo>
                  <a:cubicBezTo>
                    <a:pt x="65" y="3"/>
                    <a:pt x="66" y="5"/>
                    <a:pt x="68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0" y="57"/>
                    <a:pt x="40" y="58"/>
                    <a:pt x="41" y="59"/>
                  </a:cubicBezTo>
                  <a:cubicBezTo>
                    <a:pt x="41" y="60"/>
                    <a:pt x="42" y="60"/>
                    <a:pt x="42" y="60"/>
                  </a:cubicBezTo>
                  <a:cubicBezTo>
                    <a:pt x="43" y="60"/>
                    <a:pt x="44" y="60"/>
                    <a:pt x="44" y="59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4"/>
                    <a:pt x="97" y="35"/>
                    <a:pt x="98" y="35"/>
                  </a:cubicBezTo>
                  <a:cubicBezTo>
                    <a:pt x="99" y="35"/>
                    <a:pt x="100" y="34"/>
                    <a:pt x="100" y="32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4" name="Group 150">
            <a:extLst>
              <a:ext uri="{FF2B5EF4-FFF2-40B4-BE49-F238E27FC236}">
                <a16:creationId xmlns:a16="http://schemas.microsoft.com/office/drawing/2014/main" id="{F258B403-E5C0-4D71-B873-5843318314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8409" y="4149088"/>
            <a:ext cx="760412" cy="758825"/>
            <a:chOff x="2293" y="2578"/>
            <a:chExt cx="479" cy="478"/>
          </a:xfrm>
        </p:grpSpPr>
        <p:sp>
          <p:nvSpPr>
            <p:cNvPr id="195" name="AutoShape 149">
              <a:extLst>
                <a:ext uri="{FF2B5EF4-FFF2-40B4-BE49-F238E27FC236}">
                  <a16:creationId xmlns:a16="http://schemas.microsoft.com/office/drawing/2014/main" id="{BDD04B97-9AAA-486D-9EC0-F55D13B2EF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93" y="257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51">
              <a:extLst>
                <a:ext uri="{FF2B5EF4-FFF2-40B4-BE49-F238E27FC236}">
                  <a16:creationId xmlns:a16="http://schemas.microsoft.com/office/drawing/2014/main" id="{63E9EFE7-3889-4C68-BFBB-3B83DCE11B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258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52">
              <a:extLst>
                <a:ext uri="{FF2B5EF4-FFF2-40B4-BE49-F238E27FC236}">
                  <a16:creationId xmlns:a16="http://schemas.microsoft.com/office/drawing/2014/main" id="{152583CD-78FF-46EC-96F8-452191ECD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676"/>
              <a:ext cx="290" cy="284"/>
            </a:xfrm>
            <a:custGeom>
              <a:avLst/>
              <a:gdLst>
                <a:gd name="T0" fmla="*/ 116 w 118"/>
                <a:gd name="T1" fmla="*/ 55 h 116"/>
                <a:gd name="T2" fmla="*/ 113 w 118"/>
                <a:gd name="T3" fmla="*/ 58 h 116"/>
                <a:gd name="T4" fmla="*/ 59 w 118"/>
                <a:gd name="T5" fmla="*/ 111 h 116"/>
                <a:gd name="T6" fmla="*/ 5 w 118"/>
                <a:gd name="T7" fmla="*/ 58 h 116"/>
                <a:gd name="T8" fmla="*/ 59 w 118"/>
                <a:gd name="T9" fmla="*/ 5 h 116"/>
                <a:gd name="T10" fmla="*/ 106 w 118"/>
                <a:gd name="T11" fmla="*/ 32 h 116"/>
                <a:gd name="T12" fmla="*/ 107 w 118"/>
                <a:gd name="T13" fmla="*/ 33 h 116"/>
                <a:gd name="T14" fmla="*/ 87 w 118"/>
                <a:gd name="T15" fmla="*/ 33 h 116"/>
                <a:gd name="T16" fmla="*/ 85 w 118"/>
                <a:gd name="T17" fmla="*/ 35 h 116"/>
                <a:gd name="T18" fmla="*/ 87 w 118"/>
                <a:gd name="T19" fmla="*/ 38 h 116"/>
                <a:gd name="T20" fmla="*/ 116 w 118"/>
                <a:gd name="T21" fmla="*/ 38 h 116"/>
                <a:gd name="T22" fmla="*/ 116 w 118"/>
                <a:gd name="T23" fmla="*/ 10 h 116"/>
                <a:gd name="T24" fmla="*/ 113 w 118"/>
                <a:gd name="T25" fmla="*/ 8 h 116"/>
                <a:gd name="T26" fmla="*/ 111 w 118"/>
                <a:gd name="T27" fmla="*/ 10 h 116"/>
                <a:gd name="T28" fmla="*/ 111 w 118"/>
                <a:gd name="T29" fmla="*/ 30 h 116"/>
                <a:gd name="T30" fmla="*/ 111 w 118"/>
                <a:gd name="T31" fmla="*/ 29 h 116"/>
                <a:gd name="T32" fmla="*/ 59 w 118"/>
                <a:gd name="T33" fmla="*/ 0 h 116"/>
                <a:gd name="T34" fmla="*/ 0 w 118"/>
                <a:gd name="T35" fmla="*/ 58 h 116"/>
                <a:gd name="T36" fmla="*/ 59 w 118"/>
                <a:gd name="T37" fmla="*/ 116 h 116"/>
                <a:gd name="T38" fmla="*/ 118 w 118"/>
                <a:gd name="T39" fmla="*/ 58 h 116"/>
                <a:gd name="T40" fmla="*/ 116 w 118"/>
                <a:gd name="T4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16">
                  <a:moveTo>
                    <a:pt x="116" y="55"/>
                  </a:moveTo>
                  <a:cubicBezTo>
                    <a:pt x="114" y="55"/>
                    <a:pt x="113" y="57"/>
                    <a:pt x="113" y="58"/>
                  </a:cubicBezTo>
                  <a:cubicBezTo>
                    <a:pt x="113" y="87"/>
                    <a:pt x="89" y="111"/>
                    <a:pt x="59" y="111"/>
                  </a:cubicBezTo>
                  <a:cubicBezTo>
                    <a:pt x="29" y="111"/>
                    <a:pt x="5" y="87"/>
                    <a:pt x="5" y="58"/>
                  </a:cubicBezTo>
                  <a:cubicBezTo>
                    <a:pt x="5" y="29"/>
                    <a:pt x="29" y="5"/>
                    <a:pt x="59" y="5"/>
                  </a:cubicBezTo>
                  <a:cubicBezTo>
                    <a:pt x="78" y="5"/>
                    <a:pt x="96" y="15"/>
                    <a:pt x="106" y="32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6" y="33"/>
                    <a:pt x="85" y="34"/>
                    <a:pt x="85" y="35"/>
                  </a:cubicBezTo>
                  <a:cubicBezTo>
                    <a:pt x="85" y="37"/>
                    <a:pt x="86" y="38"/>
                    <a:pt x="8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16" y="9"/>
                    <a:pt x="115" y="8"/>
                    <a:pt x="113" y="8"/>
                  </a:cubicBezTo>
                  <a:cubicBezTo>
                    <a:pt x="112" y="8"/>
                    <a:pt x="111" y="9"/>
                    <a:pt x="111" y="10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1" y="29"/>
                    <a:pt x="111" y="29"/>
                    <a:pt x="111" y="29"/>
                  </a:cubicBezTo>
                  <a:cubicBezTo>
                    <a:pt x="100" y="11"/>
                    <a:pt x="80" y="0"/>
                    <a:pt x="59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9" y="116"/>
                  </a:cubicBezTo>
                  <a:cubicBezTo>
                    <a:pt x="92" y="116"/>
                    <a:pt x="118" y="90"/>
                    <a:pt x="118" y="58"/>
                  </a:cubicBezTo>
                  <a:cubicBezTo>
                    <a:pt x="118" y="57"/>
                    <a:pt x="117" y="55"/>
                    <a:pt x="116" y="5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53">
              <a:extLst>
                <a:ext uri="{FF2B5EF4-FFF2-40B4-BE49-F238E27FC236}">
                  <a16:creationId xmlns:a16="http://schemas.microsoft.com/office/drawing/2014/main" id="{028E2040-6AF2-46F2-9C01-ACDA96222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" y="2676"/>
              <a:ext cx="290" cy="284"/>
            </a:xfrm>
            <a:custGeom>
              <a:avLst/>
              <a:gdLst>
                <a:gd name="T0" fmla="*/ 116 w 118"/>
                <a:gd name="T1" fmla="*/ 55 h 116"/>
                <a:gd name="T2" fmla="*/ 113 w 118"/>
                <a:gd name="T3" fmla="*/ 58 h 116"/>
                <a:gd name="T4" fmla="*/ 59 w 118"/>
                <a:gd name="T5" fmla="*/ 111 h 116"/>
                <a:gd name="T6" fmla="*/ 5 w 118"/>
                <a:gd name="T7" fmla="*/ 58 h 116"/>
                <a:gd name="T8" fmla="*/ 59 w 118"/>
                <a:gd name="T9" fmla="*/ 5 h 116"/>
                <a:gd name="T10" fmla="*/ 106 w 118"/>
                <a:gd name="T11" fmla="*/ 32 h 116"/>
                <a:gd name="T12" fmla="*/ 107 w 118"/>
                <a:gd name="T13" fmla="*/ 33 h 116"/>
                <a:gd name="T14" fmla="*/ 87 w 118"/>
                <a:gd name="T15" fmla="*/ 33 h 116"/>
                <a:gd name="T16" fmla="*/ 85 w 118"/>
                <a:gd name="T17" fmla="*/ 35 h 116"/>
                <a:gd name="T18" fmla="*/ 87 w 118"/>
                <a:gd name="T19" fmla="*/ 38 h 116"/>
                <a:gd name="T20" fmla="*/ 116 w 118"/>
                <a:gd name="T21" fmla="*/ 38 h 116"/>
                <a:gd name="T22" fmla="*/ 116 w 118"/>
                <a:gd name="T23" fmla="*/ 10 h 116"/>
                <a:gd name="T24" fmla="*/ 113 w 118"/>
                <a:gd name="T25" fmla="*/ 8 h 116"/>
                <a:gd name="T26" fmla="*/ 111 w 118"/>
                <a:gd name="T27" fmla="*/ 10 h 116"/>
                <a:gd name="T28" fmla="*/ 111 w 118"/>
                <a:gd name="T29" fmla="*/ 30 h 116"/>
                <a:gd name="T30" fmla="*/ 111 w 118"/>
                <a:gd name="T31" fmla="*/ 29 h 116"/>
                <a:gd name="T32" fmla="*/ 59 w 118"/>
                <a:gd name="T33" fmla="*/ 0 h 116"/>
                <a:gd name="T34" fmla="*/ 0 w 118"/>
                <a:gd name="T35" fmla="*/ 58 h 116"/>
                <a:gd name="T36" fmla="*/ 59 w 118"/>
                <a:gd name="T37" fmla="*/ 116 h 116"/>
                <a:gd name="T38" fmla="*/ 118 w 118"/>
                <a:gd name="T39" fmla="*/ 58 h 116"/>
                <a:gd name="T40" fmla="*/ 116 w 118"/>
                <a:gd name="T4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16">
                  <a:moveTo>
                    <a:pt x="116" y="55"/>
                  </a:moveTo>
                  <a:cubicBezTo>
                    <a:pt x="114" y="55"/>
                    <a:pt x="113" y="57"/>
                    <a:pt x="113" y="58"/>
                  </a:cubicBezTo>
                  <a:cubicBezTo>
                    <a:pt x="113" y="87"/>
                    <a:pt x="89" y="111"/>
                    <a:pt x="59" y="111"/>
                  </a:cubicBezTo>
                  <a:cubicBezTo>
                    <a:pt x="29" y="111"/>
                    <a:pt x="5" y="87"/>
                    <a:pt x="5" y="58"/>
                  </a:cubicBezTo>
                  <a:cubicBezTo>
                    <a:pt x="5" y="29"/>
                    <a:pt x="29" y="5"/>
                    <a:pt x="59" y="5"/>
                  </a:cubicBezTo>
                  <a:cubicBezTo>
                    <a:pt x="78" y="5"/>
                    <a:pt x="96" y="15"/>
                    <a:pt x="106" y="32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6" y="33"/>
                    <a:pt x="85" y="34"/>
                    <a:pt x="85" y="35"/>
                  </a:cubicBezTo>
                  <a:cubicBezTo>
                    <a:pt x="85" y="37"/>
                    <a:pt x="86" y="38"/>
                    <a:pt x="8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16" y="9"/>
                    <a:pt x="115" y="8"/>
                    <a:pt x="113" y="8"/>
                  </a:cubicBezTo>
                  <a:cubicBezTo>
                    <a:pt x="112" y="8"/>
                    <a:pt x="111" y="9"/>
                    <a:pt x="111" y="10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1" y="29"/>
                    <a:pt x="111" y="29"/>
                    <a:pt x="111" y="29"/>
                  </a:cubicBezTo>
                  <a:cubicBezTo>
                    <a:pt x="100" y="11"/>
                    <a:pt x="80" y="0"/>
                    <a:pt x="59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9" y="116"/>
                  </a:cubicBezTo>
                  <a:cubicBezTo>
                    <a:pt x="92" y="116"/>
                    <a:pt x="118" y="90"/>
                    <a:pt x="118" y="58"/>
                  </a:cubicBezTo>
                  <a:cubicBezTo>
                    <a:pt x="118" y="57"/>
                    <a:pt x="117" y="55"/>
                    <a:pt x="116" y="5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9" name="Group 156">
            <a:extLst>
              <a:ext uri="{FF2B5EF4-FFF2-40B4-BE49-F238E27FC236}">
                <a16:creationId xmlns:a16="http://schemas.microsoft.com/office/drawing/2014/main" id="{5ACDA6F9-96EF-481A-AB4E-A2D72970BF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6383" y="4107813"/>
            <a:ext cx="841375" cy="841375"/>
            <a:chOff x="1683" y="2584"/>
            <a:chExt cx="530" cy="530"/>
          </a:xfrm>
        </p:grpSpPr>
        <p:sp>
          <p:nvSpPr>
            <p:cNvPr id="200" name="AutoShape 155">
              <a:extLst>
                <a:ext uri="{FF2B5EF4-FFF2-40B4-BE49-F238E27FC236}">
                  <a16:creationId xmlns:a16="http://schemas.microsoft.com/office/drawing/2014/main" id="{66D917A4-28DE-430B-A3EC-A0223E1E51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3" y="2584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Oval 157">
              <a:extLst>
                <a:ext uri="{FF2B5EF4-FFF2-40B4-BE49-F238E27FC236}">
                  <a16:creationId xmlns:a16="http://schemas.microsoft.com/office/drawing/2014/main" id="{0D2B9ABB-C744-4496-AF0D-427CCBC942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3" y="2584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58">
              <a:extLst>
                <a:ext uri="{FF2B5EF4-FFF2-40B4-BE49-F238E27FC236}">
                  <a16:creationId xmlns:a16="http://schemas.microsoft.com/office/drawing/2014/main" id="{4B049BE0-9FCA-4946-85CB-135ED8B579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" y="2602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59">
              <a:extLst>
                <a:ext uri="{FF2B5EF4-FFF2-40B4-BE49-F238E27FC236}">
                  <a16:creationId xmlns:a16="http://schemas.microsoft.com/office/drawing/2014/main" id="{C5497AC7-3387-4E23-94E1-CADB98407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8" y="2702"/>
              <a:ext cx="302" cy="297"/>
            </a:xfrm>
            <a:custGeom>
              <a:avLst/>
              <a:gdLst>
                <a:gd name="T0" fmla="*/ 116 w 118"/>
                <a:gd name="T1" fmla="*/ 55 h 116"/>
                <a:gd name="T2" fmla="*/ 113 w 118"/>
                <a:gd name="T3" fmla="*/ 58 h 116"/>
                <a:gd name="T4" fmla="*/ 59 w 118"/>
                <a:gd name="T5" fmla="*/ 111 h 116"/>
                <a:gd name="T6" fmla="*/ 5 w 118"/>
                <a:gd name="T7" fmla="*/ 58 h 116"/>
                <a:gd name="T8" fmla="*/ 59 w 118"/>
                <a:gd name="T9" fmla="*/ 5 h 116"/>
                <a:gd name="T10" fmla="*/ 106 w 118"/>
                <a:gd name="T11" fmla="*/ 32 h 116"/>
                <a:gd name="T12" fmla="*/ 107 w 118"/>
                <a:gd name="T13" fmla="*/ 33 h 116"/>
                <a:gd name="T14" fmla="*/ 87 w 118"/>
                <a:gd name="T15" fmla="*/ 33 h 116"/>
                <a:gd name="T16" fmla="*/ 85 w 118"/>
                <a:gd name="T17" fmla="*/ 35 h 116"/>
                <a:gd name="T18" fmla="*/ 87 w 118"/>
                <a:gd name="T19" fmla="*/ 38 h 116"/>
                <a:gd name="T20" fmla="*/ 116 w 118"/>
                <a:gd name="T21" fmla="*/ 38 h 116"/>
                <a:gd name="T22" fmla="*/ 116 w 118"/>
                <a:gd name="T23" fmla="*/ 10 h 116"/>
                <a:gd name="T24" fmla="*/ 113 w 118"/>
                <a:gd name="T25" fmla="*/ 8 h 116"/>
                <a:gd name="T26" fmla="*/ 111 w 118"/>
                <a:gd name="T27" fmla="*/ 10 h 116"/>
                <a:gd name="T28" fmla="*/ 111 w 118"/>
                <a:gd name="T29" fmla="*/ 30 h 116"/>
                <a:gd name="T30" fmla="*/ 111 w 118"/>
                <a:gd name="T31" fmla="*/ 29 h 116"/>
                <a:gd name="T32" fmla="*/ 59 w 118"/>
                <a:gd name="T33" fmla="*/ 0 h 116"/>
                <a:gd name="T34" fmla="*/ 0 w 118"/>
                <a:gd name="T35" fmla="*/ 58 h 116"/>
                <a:gd name="T36" fmla="*/ 59 w 118"/>
                <a:gd name="T37" fmla="*/ 116 h 116"/>
                <a:gd name="T38" fmla="*/ 118 w 118"/>
                <a:gd name="T39" fmla="*/ 58 h 116"/>
                <a:gd name="T40" fmla="*/ 116 w 118"/>
                <a:gd name="T4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16">
                  <a:moveTo>
                    <a:pt x="116" y="55"/>
                  </a:moveTo>
                  <a:cubicBezTo>
                    <a:pt x="114" y="55"/>
                    <a:pt x="113" y="57"/>
                    <a:pt x="113" y="58"/>
                  </a:cubicBezTo>
                  <a:cubicBezTo>
                    <a:pt x="113" y="87"/>
                    <a:pt x="89" y="111"/>
                    <a:pt x="59" y="111"/>
                  </a:cubicBezTo>
                  <a:cubicBezTo>
                    <a:pt x="29" y="111"/>
                    <a:pt x="5" y="87"/>
                    <a:pt x="5" y="58"/>
                  </a:cubicBezTo>
                  <a:cubicBezTo>
                    <a:pt x="5" y="29"/>
                    <a:pt x="29" y="5"/>
                    <a:pt x="59" y="5"/>
                  </a:cubicBezTo>
                  <a:cubicBezTo>
                    <a:pt x="78" y="5"/>
                    <a:pt x="96" y="15"/>
                    <a:pt x="106" y="32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6" y="33"/>
                    <a:pt x="85" y="34"/>
                    <a:pt x="85" y="35"/>
                  </a:cubicBezTo>
                  <a:cubicBezTo>
                    <a:pt x="85" y="37"/>
                    <a:pt x="86" y="38"/>
                    <a:pt x="8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16" y="9"/>
                    <a:pt x="115" y="8"/>
                    <a:pt x="113" y="8"/>
                  </a:cubicBezTo>
                  <a:cubicBezTo>
                    <a:pt x="112" y="8"/>
                    <a:pt x="111" y="9"/>
                    <a:pt x="111" y="10"/>
                  </a:cubicBezTo>
                  <a:cubicBezTo>
                    <a:pt x="111" y="30"/>
                    <a:pt x="111" y="30"/>
                    <a:pt x="111" y="30"/>
                  </a:cubicBezTo>
                  <a:cubicBezTo>
                    <a:pt x="111" y="29"/>
                    <a:pt x="111" y="29"/>
                    <a:pt x="111" y="29"/>
                  </a:cubicBezTo>
                  <a:cubicBezTo>
                    <a:pt x="100" y="11"/>
                    <a:pt x="80" y="0"/>
                    <a:pt x="59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9" y="116"/>
                  </a:cubicBezTo>
                  <a:cubicBezTo>
                    <a:pt x="92" y="116"/>
                    <a:pt x="118" y="90"/>
                    <a:pt x="118" y="58"/>
                  </a:cubicBezTo>
                  <a:cubicBezTo>
                    <a:pt x="118" y="57"/>
                    <a:pt x="117" y="55"/>
                    <a:pt x="116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8" name="Group 162">
            <a:extLst>
              <a:ext uri="{FF2B5EF4-FFF2-40B4-BE49-F238E27FC236}">
                <a16:creationId xmlns:a16="http://schemas.microsoft.com/office/drawing/2014/main" id="{C4BF3F80-B7C9-46B6-9373-3E1A2C4847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2314" y="4149088"/>
            <a:ext cx="760412" cy="758825"/>
            <a:chOff x="3549" y="2587"/>
            <a:chExt cx="479" cy="478"/>
          </a:xfrm>
        </p:grpSpPr>
        <p:sp>
          <p:nvSpPr>
            <p:cNvPr id="209" name="AutoShape 161">
              <a:extLst>
                <a:ext uri="{FF2B5EF4-FFF2-40B4-BE49-F238E27FC236}">
                  <a16:creationId xmlns:a16="http://schemas.microsoft.com/office/drawing/2014/main" id="{B5042F03-351D-41D0-9E70-76BFA7C0790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49" y="258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63">
              <a:extLst>
                <a:ext uri="{FF2B5EF4-FFF2-40B4-BE49-F238E27FC236}">
                  <a16:creationId xmlns:a16="http://schemas.microsoft.com/office/drawing/2014/main" id="{626CFB74-9996-4B7D-B69F-A44D0E3006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" y="258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64">
              <a:extLst>
                <a:ext uri="{FF2B5EF4-FFF2-40B4-BE49-F238E27FC236}">
                  <a16:creationId xmlns:a16="http://schemas.microsoft.com/office/drawing/2014/main" id="{94241CEF-6E5F-41FF-82FD-C46895D79C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2695"/>
              <a:ext cx="285" cy="265"/>
            </a:xfrm>
            <a:custGeom>
              <a:avLst/>
              <a:gdLst>
                <a:gd name="T0" fmla="*/ 92 w 116"/>
                <a:gd name="T1" fmla="*/ 57 h 108"/>
                <a:gd name="T2" fmla="*/ 88 w 116"/>
                <a:gd name="T3" fmla="*/ 57 h 108"/>
                <a:gd name="T4" fmla="*/ 88 w 116"/>
                <a:gd name="T5" fmla="*/ 61 h 108"/>
                <a:gd name="T6" fmla="*/ 106 w 116"/>
                <a:gd name="T7" fmla="*/ 80 h 108"/>
                <a:gd name="T8" fmla="*/ 28 w 116"/>
                <a:gd name="T9" fmla="*/ 80 h 108"/>
                <a:gd name="T10" fmla="*/ 26 w 116"/>
                <a:gd name="T11" fmla="*/ 82 h 108"/>
                <a:gd name="T12" fmla="*/ 28 w 116"/>
                <a:gd name="T13" fmla="*/ 85 h 108"/>
                <a:gd name="T14" fmla="*/ 106 w 116"/>
                <a:gd name="T15" fmla="*/ 85 h 108"/>
                <a:gd name="T16" fmla="*/ 88 w 116"/>
                <a:gd name="T17" fmla="*/ 104 h 108"/>
                <a:gd name="T18" fmla="*/ 88 w 116"/>
                <a:gd name="T19" fmla="*/ 107 h 108"/>
                <a:gd name="T20" fmla="*/ 90 w 116"/>
                <a:gd name="T21" fmla="*/ 108 h 108"/>
                <a:gd name="T22" fmla="*/ 92 w 116"/>
                <a:gd name="T23" fmla="*/ 107 h 108"/>
                <a:gd name="T24" fmla="*/ 116 w 116"/>
                <a:gd name="T25" fmla="*/ 82 h 108"/>
                <a:gd name="T26" fmla="*/ 92 w 116"/>
                <a:gd name="T27" fmla="*/ 57 h 108"/>
                <a:gd name="T28" fmla="*/ 28 w 116"/>
                <a:gd name="T29" fmla="*/ 47 h 108"/>
                <a:gd name="T30" fmla="*/ 10 w 116"/>
                <a:gd name="T31" fmla="*/ 28 h 108"/>
                <a:gd name="T32" fmla="*/ 88 w 116"/>
                <a:gd name="T33" fmla="*/ 28 h 108"/>
                <a:gd name="T34" fmla="*/ 90 w 116"/>
                <a:gd name="T35" fmla="*/ 26 h 108"/>
                <a:gd name="T36" fmla="*/ 88 w 116"/>
                <a:gd name="T37" fmla="*/ 23 h 108"/>
                <a:gd name="T38" fmla="*/ 10 w 116"/>
                <a:gd name="T39" fmla="*/ 23 h 108"/>
                <a:gd name="T40" fmla="*/ 28 w 116"/>
                <a:gd name="T41" fmla="*/ 4 h 108"/>
                <a:gd name="T42" fmla="*/ 28 w 116"/>
                <a:gd name="T43" fmla="*/ 1 h 108"/>
                <a:gd name="T44" fmla="*/ 24 w 116"/>
                <a:gd name="T45" fmla="*/ 1 h 108"/>
                <a:gd name="T46" fmla="*/ 0 w 116"/>
                <a:gd name="T47" fmla="*/ 26 h 108"/>
                <a:gd name="T48" fmla="*/ 24 w 116"/>
                <a:gd name="T49" fmla="*/ 51 h 108"/>
                <a:gd name="T50" fmla="*/ 26 w 116"/>
                <a:gd name="T51" fmla="*/ 51 h 108"/>
                <a:gd name="T52" fmla="*/ 28 w 116"/>
                <a:gd name="T53" fmla="*/ 51 h 108"/>
                <a:gd name="T54" fmla="*/ 28 w 116"/>
                <a:gd name="T55" fmla="*/ 4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" h="108">
                  <a:moveTo>
                    <a:pt x="92" y="57"/>
                  </a:moveTo>
                  <a:cubicBezTo>
                    <a:pt x="91" y="56"/>
                    <a:pt x="89" y="56"/>
                    <a:pt x="88" y="57"/>
                  </a:cubicBezTo>
                  <a:cubicBezTo>
                    <a:pt x="87" y="58"/>
                    <a:pt x="87" y="60"/>
                    <a:pt x="88" y="61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7" y="80"/>
                    <a:pt x="26" y="81"/>
                    <a:pt x="26" y="82"/>
                  </a:cubicBezTo>
                  <a:cubicBezTo>
                    <a:pt x="26" y="84"/>
                    <a:pt x="27" y="85"/>
                    <a:pt x="28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7" y="105"/>
                    <a:pt x="87" y="106"/>
                    <a:pt x="88" y="107"/>
                  </a:cubicBezTo>
                  <a:cubicBezTo>
                    <a:pt x="89" y="108"/>
                    <a:pt x="89" y="108"/>
                    <a:pt x="90" y="108"/>
                  </a:cubicBezTo>
                  <a:cubicBezTo>
                    <a:pt x="91" y="108"/>
                    <a:pt x="91" y="108"/>
                    <a:pt x="92" y="107"/>
                  </a:cubicBezTo>
                  <a:cubicBezTo>
                    <a:pt x="116" y="82"/>
                    <a:pt x="116" y="82"/>
                    <a:pt x="116" y="82"/>
                  </a:cubicBezTo>
                  <a:lnTo>
                    <a:pt x="92" y="57"/>
                  </a:lnTo>
                  <a:close/>
                  <a:moveTo>
                    <a:pt x="28" y="47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9" y="28"/>
                    <a:pt x="90" y="27"/>
                    <a:pt x="90" y="26"/>
                  </a:cubicBezTo>
                  <a:cubicBezTo>
                    <a:pt x="90" y="24"/>
                    <a:pt x="89" y="23"/>
                    <a:pt x="88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9" y="4"/>
                    <a:pt x="29" y="2"/>
                    <a:pt x="28" y="1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27" y="51"/>
                    <a:pt x="27" y="51"/>
                    <a:pt x="28" y="51"/>
                  </a:cubicBezTo>
                  <a:cubicBezTo>
                    <a:pt x="29" y="50"/>
                    <a:pt x="29" y="48"/>
                    <a:pt x="28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65">
              <a:extLst>
                <a:ext uri="{FF2B5EF4-FFF2-40B4-BE49-F238E27FC236}">
                  <a16:creationId xmlns:a16="http://schemas.microsoft.com/office/drawing/2014/main" id="{75B663A1-05F6-49BF-8661-3C15A9197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2695"/>
              <a:ext cx="285" cy="265"/>
            </a:xfrm>
            <a:custGeom>
              <a:avLst/>
              <a:gdLst>
                <a:gd name="T0" fmla="*/ 92 w 116"/>
                <a:gd name="T1" fmla="*/ 57 h 108"/>
                <a:gd name="T2" fmla="*/ 88 w 116"/>
                <a:gd name="T3" fmla="*/ 57 h 108"/>
                <a:gd name="T4" fmla="*/ 88 w 116"/>
                <a:gd name="T5" fmla="*/ 61 h 108"/>
                <a:gd name="T6" fmla="*/ 106 w 116"/>
                <a:gd name="T7" fmla="*/ 80 h 108"/>
                <a:gd name="T8" fmla="*/ 28 w 116"/>
                <a:gd name="T9" fmla="*/ 80 h 108"/>
                <a:gd name="T10" fmla="*/ 26 w 116"/>
                <a:gd name="T11" fmla="*/ 82 h 108"/>
                <a:gd name="T12" fmla="*/ 28 w 116"/>
                <a:gd name="T13" fmla="*/ 85 h 108"/>
                <a:gd name="T14" fmla="*/ 106 w 116"/>
                <a:gd name="T15" fmla="*/ 85 h 108"/>
                <a:gd name="T16" fmla="*/ 88 w 116"/>
                <a:gd name="T17" fmla="*/ 104 h 108"/>
                <a:gd name="T18" fmla="*/ 88 w 116"/>
                <a:gd name="T19" fmla="*/ 107 h 108"/>
                <a:gd name="T20" fmla="*/ 90 w 116"/>
                <a:gd name="T21" fmla="*/ 108 h 108"/>
                <a:gd name="T22" fmla="*/ 92 w 116"/>
                <a:gd name="T23" fmla="*/ 107 h 108"/>
                <a:gd name="T24" fmla="*/ 116 w 116"/>
                <a:gd name="T25" fmla="*/ 82 h 108"/>
                <a:gd name="T26" fmla="*/ 92 w 116"/>
                <a:gd name="T27" fmla="*/ 57 h 108"/>
                <a:gd name="T28" fmla="*/ 28 w 116"/>
                <a:gd name="T29" fmla="*/ 47 h 108"/>
                <a:gd name="T30" fmla="*/ 10 w 116"/>
                <a:gd name="T31" fmla="*/ 28 h 108"/>
                <a:gd name="T32" fmla="*/ 88 w 116"/>
                <a:gd name="T33" fmla="*/ 28 h 108"/>
                <a:gd name="T34" fmla="*/ 90 w 116"/>
                <a:gd name="T35" fmla="*/ 26 h 108"/>
                <a:gd name="T36" fmla="*/ 88 w 116"/>
                <a:gd name="T37" fmla="*/ 23 h 108"/>
                <a:gd name="T38" fmla="*/ 10 w 116"/>
                <a:gd name="T39" fmla="*/ 23 h 108"/>
                <a:gd name="T40" fmla="*/ 28 w 116"/>
                <a:gd name="T41" fmla="*/ 4 h 108"/>
                <a:gd name="T42" fmla="*/ 28 w 116"/>
                <a:gd name="T43" fmla="*/ 1 h 108"/>
                <a:gd name="T44" fmla="*/ 24 w 116"/>
                <a:gd name="T45" fmla="*/ 1 h 108"/>
                <a:gd name="T46" fmla="*/ 0 w 116"/>
                <a:gd name="T47" fmla="*/ 26 h 108"/>
                <a:gd name="T48" fmla="*/ 24 w 116"/>
                <a:gd name="T49" fmla="*/ 51 h 108"/>
                <a:gd name="T50" fmla="*/ 26 w 116"/>
                <a:gd name="T51" fmla="*/ 51 h 108"/>
                <a:gd name="T52" fmla="*/ 28 w 116"/>
                <a:gd name="T53" fmla="*/ 51 h 108"/>
                <a:gd name="T54" fmla="*/ 28 w 116"/>
                <a:gd name="T55" fmla="*/ 4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" h="108">
                  <a:moveTo>
                    <a:pt x="92" y="57"/>
                  </a:moveTo>
                  <a:cubicBezTo>
                    <a:pt x="91" y="56"/>
                    <a:pt x="89" y="56"/>
                    <a:pt x="88" y="57"/>
                  </a:cubicBezTo>
                  <a:cubicBezTo>
                    <a:pt x="87" y="58"/>
                    <a:pt x="87" y="60"/>
                    <a:pt x="88" y="61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7" y="80"/>
                    <a:pt x="26" y="81"/>
                    <a:pt x="26" y="82"/>
                  </a:cubicBezTo>
                  <a:cubicBezTo>
                    <a:pt x="26" y="84"/>
                    <a:pt x="27" y="85"/>
                    <a:pt x="28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7" y="105"/>
                    <a:pt x="87" y="106"/>
                    <a:pt x="88" y="107"/>
                  </a:cubicBezTo>
                  <a:cubicBezTo>
                    <a:pt x="89" y="108"/>
                    <a:pt x="89" y="108"/>
                    <a:pt x="90" y="108"/>
                  </a:cubicBezTo>
                  <a:cubicBezTo>
                    <a:pt x="91" y="108"/>
                    <a:pt x="91" y="108"/>
                    <a:pt x="92" y="107"/>
                  </a:cubicBezTo>
                  <a:cubicBezTo>
                    <a:pt x="116" y="82"/>
                    <a:pt x="116" y="82"/>
                    <a:pt x="116" y="82"/>
                  </a:cubicBezTo>
                  <a:lnTo>
                    <a:pt x="92" y="57"/>
                  </a:lnTo>
                  <a:close/>
                  <a:moveTo>
                    <a:pt x="28" y="47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9" y="28"/>
                    <a:pt x="90" y="27"/>
                    <a:pt x="90" y="26"/>
                  </a:cubicBezTo>
                  <a:cubicBezTo>
                    <a:pt x="90" y="24"/>
                    <a:pt x="89" y="23"/>
                    <a:pt x="88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9" y="4"/>
                    <a:pt x="29" y="2"/>
                    <a:pt x="28" y="1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27" y="51"/>
                    <a:pt x="27" y="51"/>
                    <a:pt x="28" y="51"/>
                  </a:cubicBezTo>
                  <a:cubicBezTo>
                    <a:pt x="29" y="50"/>
                    <a:pt x="29" y="48"/>
                    <a:pt x="28" y="4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3" name="Group 168">
            <a:extLst>
              <a:ext uri="{FF2B5EF4-FFF2-40B4-BE49-F238E27FC236}">
                <a16:creationId xmlns:a16="http://schemas.microsoft.com/office/drawing/2014/main" id="{711EAED3-43EE-4A7C-A57E-FDA79940A2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8700" y="4107813"/>
            <a:ext cx="841375" cy="841375"/>
            <a:chOff x="2970" y="2592"/>
            <a:chExt cx="530" cy="530"/>
          </a:xfrm>
        </p:grpSpPr>
        <p:sp>
          <p:nvSpPr>
            <p:cNvPr id="214" name="AutoShape 167">
              <a:extLst>
                <a:ext uri="{FF2B5EF4-FFF2-40B4-BE49-F238E27FC236}">
                  <a16:creationId xmlns:a16="http://schemas.microsoft.com/office/drawing/2014/main" id="{61126DCF-9F82-4025-B91D-8A1FAF58383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70" y="259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Oval 169">
              <a:extLst>
                <a:ext uri="{FF2B5EF4-FFF2-40B4-BE49-F238E27FC236}">
                  <a16:creationId xmlns:a16="http://schemas.microsoft.com/office/drawing/2014/main" id="{DD1BA498-A23A-4B4E-B614-1A1DF985B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" y="259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70">
              <a:extLst>
                <a:ext uri="{FF2B5EF4-FFF2-40B4-BE49-F238E27FC236}">
                  <a16:creationId xmlns:a16="http://schemas.microsoft.com/office/drawing/2014/main" id="{E49D5439-1CDE-4372-A931-19AF185F0D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8" y="261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71">
              <a:extLst>
                <a:ext uri="{FF2B5EF4-FFF2-40B4-BE49-F238E27FC236}">
                  <a16:creationId xmlns:a16="http://schemas.microsoft.com/office/drawing/2014/main" id="{234DF7AA-15A0-4F9D-BA39-DDA03F266C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8" y="2720"/>
              <a:ext cx="297" cy="276"/>
            </a:xfrm>
            <a:custGeom>
              <a:avLst/>
              <a:gdLst>
                <a:gd name="T0" fmla="*/ 92 w 116"/>
                <a:gd name="T1" fmla="*/ 57 h 108"/>
                <a:gd name="T2" fmla="*/ 88 w 116"/>
                <a:gd name="T3" fmla="*/ 57 h 108"/>
                <a:gd name="T4" fmla="*/ 88 w 116"/>
                <a:gd name="T5" fmla="*/ 61 h 108"/>
                <a:gd name="T6" fmla="*/ 106 w 116"/>
                <a:gd name="T7" fmla="*/ 80 h 108"/>
                <a:gd name="T8" fmla="*/ 28 w 116"/>
                <a:gd name="T9" fmla="*/ 80 h 108"/>
                <a:gd name="T10" fmla="*/ 26 w 116"/>
                <a:gd name="T11" fmla="*/ 82 h 108"/>
                <a:gd name="T12" fmla="*/ 28 w 116"/>
                <a:gd name="T13" fmla="*/ 85 h 108"/>
                <a:gd name="T14" fmla="*/ 106 w 116"/>
                <a:gd name="T15" fmla="*/ 85 h 108"/>
                <a:gd name="T16" fmla="*/ 88 w 116"/>
                <a:gd name="T17" fmla="*/ 104 h 108"/>
                <a:gd name="T18" fmla="*/ 88 w 116"/>
                <a:gd name="T19" fmla="*/ 107 h 108"/>
                <a:gd name="T20" fmla="*/ 90 w 116"/>
                <a:gd name="T21" fmla="*/ 108 h 108"/>
                <a:gd name="T22" fmla="*/ 92 w 116"/>
                <a:gd name="T23" fmla="*/ 107 h 108"/>
                <a:gd name="T24" fmla="*/ 116 w 116"/>
                <a:gd name="T25" fmla="*/ 82 h 108"/>
                <a:gd name="T26" fmla="*/ 92 w 116"/>
                <a:gd name="T27" fmla="*/ 57 h 108"/>
                <a:gd name="T28" fmla="*/ 28 w 116"/>
                <a:gd name="T29" fmla="*/ 47 h 108"/>
                <a:gd name="T30" fmla="*/ 10 w 116"/>
                <a:gd name="T31" fmla="*/ 28 h 108"/>
                <a:gd name="T32" fmla="*/ 88 w 116"/>
                <a:gd name="T33" fmla="*/ 28 h 108"/>
                <a:gd name="T34" fmla="*/ 90 w 116"/>
                <a:gd name="T35" fmla="*/ 26 h 108"/>
                <a:gd name="T36" fmla="*/ 88 w 116"/>
                <a:gd name="T37" fmla="*/ 23 h 108"/>
                <a:gd name="T38" fmla="*/ 10 w 116"/>
                <a:gd name="T39" fmla="*/ 23 h 108"/>
                <a:gd name="T40" fmla="*/ 28 w 116"/>
                <a:gd name="T41" fmla="*/ 4 h 108"/>
                <a:gd name="T42" fmla="*/ 28 w 116"/>
                <a:gd name="T43" fmla="*/ 1 h 108"/>
                <a:gd name="T44" fmla="*/ 24 w 116"/>
                <a:gd name="T45" fmla="*/ 1 h 108"/>
                <a:gd name="T46" fmla="*/ 0 w 116"/>
                <a:gd name="T47" fmla="*/ 26 h 108"/>
                <a:gd name="T48" fmla="*/ 24 w 116"/>
                <a:gd name="T49" fmla="*/ 51 h 108"/>
                <a:gd name="T50" fmla="*/ 26 w 116"/>
                <a:gd name="T51" fmla="*/ 51 h 108"/>
                <a:gd name="T52" fmla="*/ 28 w 116"/>
                <a:gd name="T53" fmla="*/ 51 h 108"/>
                <a:gd name="T54" fmla="*/ 28 w 116"/>
                <a:gd name="T55" fmla="*/ 4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" h="108">
                  <a:moveTo>
                    <a:pt x="92" y="57"/>
                  </a:moveTo>
                  <a:cubicBezTo>
                    <a:pt x="91" y="56"/>
                    <a:pt x="89" y="56"/>
                    <a:pt x="88" y="57"/>
                  </a:cubicBezTo>
                  <a:cubicBezTo>
                    <a:pt x="87" y="58"/>
                    <a:pt x="87" y="60"/>
                    <a:pt x="88" y="61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7" y="80"/>
                    <a:pt x="26" y="81"/>
                    <a:pt x="26" y="82"/>
                  </a:cubicBezTo>
                  <a:cubicBezTo>
                    <a:pt x="26" y="84"/>
                    <a:pt x="27" y="85"/>
                    <a:pt x="28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7" y="105"/>
                    <a:pt x="87" y="106"/>
                    <a:pt x="88" y="107"/>
                  </a:cubicBezTo>
                  <a:cubicBezTo>
                    <a:pt x="89" y="108"/>
                    <a:pt x="89" y="108"/>
                    <a:pt x="90" y="108"/>
                  </a:cubicBezTo>
                  <a:cubicBezTo>
                    <a:pt x="91" y="108"/>
                    <a:pt x="91" y="108"/>
                    <a:pt x="92" y="107"/>
                  </a:cubicBezTo>
                  <a:cubicBezTo>
                    <a:pt x="116" y="82"/>
                    <a:pt x="116" y="82"/>
                    <a:pt x="116" y="82"/>
                  </a:cubicBezTo>
                  <a:lnTo>
                    <a:pt x="92" y="57"/>
                  </a:lnTo>
                  <a:close/>
                  <a:moveTo>
                    <a:pt x="28" y="47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9" y="28"/>
                    <a:pt x="90" y="27"/>
                    <a:pt x="90" y="26"/>
                  </a:cubicBezTo>
                  <a:cubicBezTo>
                    <a:pt x="90" y="24"/>
                    <a:pt x="89" y="23"/>
                    <a:pt x="88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9" y="4"/>
                    <a:pt x="29" y="2"/>
                    <a:pt x="28" y="1"/>
                  </a:cubicBezTo>
                  <a:cubicBezTo>
                    <a:pt x="27" y="0"/>
                    <a:pt x="25" y="0"/>
                    <a:pt x="24" y="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5" y="51"/>
                    <a:pt x="25" y="51"/>
                    <a:pt x="26" y="51"/>
                  </a:cubicBezTo>
                  <a:cubicBezTo>
                    <a:pt x="27" y="51"/>
                    <a:pt x="27" y="51"/>
                    <a:pt x="28" y="51"/>
                  </a:cubicBezTo>
                  <a:cubicBezTo>
                    <a:pt x="29" y="50"/>
                    <a:pt x="29" y="48"/>
                    <a:pt x="28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2" name="Group 174">
            <a:extLst>
              <a:ext uri="{FF2B5EF4-FFF2-40B4-BE49-F238E27FC236}">
                <a16:creationId xmlns:a16="http://schemas.microsoft.com/office/drawing/2014/main" id="{72EA6558-6239-4BAD-8215-ED8BA1EFCE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87582" y="4149088"/>
            <a:ext cx="760413" cy="758825"/>
            <a:chOff x="5166" y="2617"/>
            <a:chExt cx="479" cy="478"/>
          </a:xfrm>
        </p:grpSpPr>
        <p:sp>
          <p:nvSpPr>
            <p:cNvPr id="223" name="AutoShape 173">
              <a:extLst>
                <a:ext uri="{FF2B5EF4-FFF2-40B4-BE49-F238E27FC236}">
                  <a16:creationId xmlns:a16="http://schemas.microsoft.com/office/drawing/2014/main" id="{0E9C3C6F-C2D4-45FE-953D-6D1BC0BF85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66" y="261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75">
              <a:extLst>
                <a:ext uri="{FF2B5EF4-FFF2-40B4-BE49-F238E27FC236}">
                  <a16:creationId xmlns:a16="http://schemas.microsoft.com/office/drawing/2014/main" id="{2458727A-0908-4F92-A590-50CE57FC9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8" y="261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76">
              <a:extLst>
                <a:ext uri="{FF2B5EF4-FFF2-40B4-BE49-F238E27FC236}">
                  <a16:creationId xmlns:a16="http://schemas.microsoft.com/office/drawing/2014/main" id="{BDCEB749-E1D7-432B-A082-5BE6AFFE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" y="2752"/>
              <a:ext cx="290" cy="213"/>
            </a:xfrm>
            <a:custGeom>
              <a:avLst/>
              <a:gdLst>
                <a:gd name="T0" fmla="*/ 94 w 118"/>
                <a:gd name="T1" fmla="*/ 1 h 87"/>
                <a:gd name="T2" fmla="*/ 90 w 118"/>
                <a:gd name="T3" fmla="*/ 1 h 87"/>
                <a:gd name="T4" fmla="*/ 90 w 118"/>
                <a:gd name="T5" fmla="*/ 5 h 87"/>
                <a:gd name="T6" fmla="*/ 109 w 118"/>
                <a:gd name="T7" fmla="*/ 23 h 87"/>
                <a:gd name="T8" fmla="*/ 64 w 118"/>
                <a:gd name="T9" fmla="*/ 23 h 87"/>
                <a:gd name="T10" fmla="*/ 0 w 118"/>
                <a:gd name="T11" fmla="*/ 84 h 87"/>
                <a:gd name="T12" fmla="*/ 2 w 118"/>
                <a:gd name="T13" fmla="*/ 87 h 87"/>
                <a:gd name="T14" fmla="*/ 5 w 118"/>
                <a:gd name="T15" fmla="*/ 84 h 87"/>
                <a:gd name="T16" fmla="*/ 64 w 118"/>
                <a:gd name="T17" fmla="*/ 28 h 87"/>
                <a:gd name="T18" fmla="*/ 109 w 118"/>
                <a:gd name="T19" fmla="*/ 28 h 87"/>
                <a:gd name="T20" fmla="*/ 90 w 118"/>
                <a:gd name="T21" fmla="*/ 47 h 87"/>
                <a:gd name="T22" fmla="*/ 90 w 118"/>
                <a:gd name="T23" fmla="*/ 50 h 87"/>
                <a:gd name="T24" fmla="*/ 92 w 118"/>
                <a:gd name="T25" fmla="*/ 51 h 87"/>
                <a:gd name="T26" fmla="*/ 94 w 118"/>
                <a:gd name="T27" fmla="*/ 50 h 87"/>
                <a:gd name="T28" fmla="*/ 118 w 118"/>
                <a:gd name="T29" fmla="*/ 26 h 87"/>
                <a:gd name="T30" fmla="*/ 94 w 118"/>
                <a:gd name="T3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87">
                  <a:moveTo>
                    <a:pt x="94" y="1"/>
                  </a:moveTo>
                  <a:cubicBezTo>
                    <a:pt x="93" y="0"/>
                    <a:pt x="91" y="0"/>
                    <a:pt x="90" y="1"/>
                  </a:cubicBezTo>
                  <a:cubicBezTo>
                    <a:pt x="89" y="2"/>
                    <a:pt x="89" y="4"/>
                    <a:pt x="90" y="5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28" y="23"/>
                    <a:pt x="0" y="50"/>
                    <a:pt x="0" y="84"/>
                  </a:cubicBezTo>
                  <a:cubicBezTo>
                    <a:pt x="0" y="85"/>
                    <a:pt x="1" y="87"/>
                    <a:pt x="2" y="87"/>
                  </a:cubicBezTo>
                  <a:cubicBezTo>
                    <a:pt x="3" y="87"/>
                    <a:pt x="5" y="85"/>
                    <a:pt x="5" y="84"/>
                  </a:cubicBezTo>
                  <a:cubicBezTo>
                    <a:pt x="5" y="53"/>
                    <a:pt x="31" y="28"/>
                    <a:pt x="64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89" y="48"/>
                    <a:pt x="89" y="49"/>
                    <a:pt x="90" y="50"/>
                  </a:cubicBezTo>
                  <a:cubicBezTo>
                    <a:pt x="90" y="51"/>
                    <a:pt x="91" y="51"/>
                    <a:pt x="92" y="51"/>
                  </a:cubicBezTo>
                  <a:cubicBezTo>
                    <a:pt x="92" y="51"/>
                    <a:pt x="93" y="51"/>
                    <a:pt x="94" y="50"/>
                  </a:cubicBezTo>
                  <a:cubicBezTo>
                    <a:pt x="118" y="26"/>
                    <a:pt x="118" y="26"/>
                    <a:pt x="118" y="26"/>
                  </a:cubicBezTo>
                  <a:lnTo>
                    <a:pt x="94" y="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77">
              <a:extLst>
                <a:ext uri="{FF2B5EF4-FFF2-40B4-BE49-F238E27FC236}">
                  <a16:creationId xmlns:a16="http://schemas.microsoft.com/office/drawing/2014/main" id="{3843E384-5275-4BE1-A365-458ECE103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" y="2752"/>
              <a:ext cx="290" cy="213"/>
            </a:xfrm>
            <a:custGeom>
              <a:avLst/>
              <a:gdLst>
                <a:gd name="T0" fmla="*/ 94 w 118"/>
                <a:gd name="T1" fmla="*/ 1 h 87"/>
                <a:gd name="T2" fmla="*/ 90 w 118"/>
                <a:gd name="T3" fmla="*/ 1 h 87"/>
                <a:gd name="T4" fmla="*/ 90 w 118"/>
                <a:gd name="T5" fmla="*/ 5 h 87"/>
                <a:gd name="T6" fmla="*/ 109 w 118"/>
                <a:gd name="T7" fmla="*/ 23 h 87"/>
                <a:gd name="T8" fmla="*/ 64 w 118"/>
                <a:gd name="T9" fmla="*/ 23 h 87"/>
                <a:gd name="T10" fmla="*/ 0 w 118"/>
                <a:gd name="T11" fmla="*/ 84 h 87"/>
                <a:gd name="T12" fmla="*/ 2 w 118"/>
                <a:gd name="T13" fmla="*/ 87 h 87"/>
                <a:gd name="T14" fmla="*/ 5 w 118"/>
                <a:gd name="T15" fmla="*/ 84 h 87"/>
                <a:gd name="T16" fmla="*/ 64 w 118"/>
                <a:gd name="T17" fmla="*/ 28 h 87"/>
                <a:gd name="T18" fmla="*/ 109 w 118"/>
                <a:gd name="T19" fmla="*/ 28 h 87"/>
                <a:gd name="T20" fmla="*/ 90 w 118"/>
                <a:gd name="T21" fmla="*/ 47 h 87"/>
                <a:gd name="T22" fmla="*/ 90 w 118"/>
                <a:gd name="T23" fmla="*/ 50 h 87"/>
                <a:gd name="T24" fmla="*/ 92 w 118"/>
                <a:gd name="T25" fmla="*/ 51 h 87"/>
                <a:gd name="T26" fmla="*/ 94 w 118"/>
                <a:gd name="T27" fmla="*/ 50 h 87"/>
                <a:gd name="T28" fmla="*/ 118 w 118"/>
                <a:gd name="T29" fmla="*/ 26 h 87"/>
                <a:gd name="T30" fmla="*/ 94 w 118"/>
                <a:gd name="T3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87">
                  <a:moveTo>
                    <a:pt x="94" y="1"/>
                  </a:moveTo>
                  <a:cubicBezTo>
                    <a:pt x="93" y="0"/>
                    <a:pt x="91" y="0"/>
                    <a:pt x="90" y="1"/>
                  </a:cubicBezTo>
                  <a:cubicBezTo>
                    <a:pt x="89" y="2"/>
                    <a:pt x="89" y="4"/>
                    <a:pt x="90" y="5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28" y="23"/>
                    <a:pt x="0" y="50"/>
                    <a:pt x="0" y="84"/>
                  </a:cubicBezTo>
                  <a:cubicBezTo>
                    <a:pt x="0" y="85"/>
                    <a:pt x="1" y="87"/>
                    <a:pt x="2" y="87"/>
                  </a:cubicBezTo>
                  <a:cubicBezTo>
                    <a:pt x="3" y="87"/>
                    <a:pt x="5" y="85"/>
                    <a:pt x="5" y="84"/>
                  </a:cubicBezTo>
                  <a:cubicBezTo>
                    <a:pt x="5" y="53"/>
                    <a:pt x="31" y="28"/>
                    <a:pt x="64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89" y="48"/>
                    <a:pt x="89" y="49"/>
                    <a:pt x="90" y="50"/>
                  </a:cubicBezTo>
                  <a:cubicBezTo>
                    <a:pt x="90" y="51"/>
                    <a:pt x="91" y="51"/>
                    <a:pt x="92" y="51"/>
                  </a:cubicBezTo>
                  <a:cubicBezTo>
                    <a:pt x="92" y="51"/>
                    <a:pt x="93" y="51"/>
                    <a:pt x="94" y="50"/>
                  </a:cubicBezTo>
                  <a:cubicBezTo>
                    <a:pt x="118" y="26"/>
                    <a:pt x="118" y="26"/>
                    <a:pt x="118" y="26"/>
                  </a:cubicBezTo>
                  <a:lnTo>
                    <a:pt x="94" y="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7" name="Group 180">
            <a:extLst>
              <a:ext uri="{FF2B5EF4-FFF2-40B4-BE49-F238E27FC236}">
                <a16:creationId xmlns:a16="http://schemas.microsoft.com/office/drawing/2014/main" id="{5A82B574-6463-4C64-8236-B4A7270DC40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7496" y="4107813"/>
            <a:ext cx="842963" cy="841375"/>
            <a:chOff x="4568" y="2617"/>
            <a:chExt cx="531" cy="530"/>
          </a:xfrm>
        </p:grpSpPr>
        <p:sp>
          <p:nvSpPr>
            <p:cNvPr id="228" name="AutoShape 179">
              <a:extLst>
                <a:ext uri="{FF2B5EF4-FFF2-40B4-BE49-F238E27FC236}">
                  <a16:creationId xmlns:a16="http://schemas.microsoft.com/office/drawing/2014/main" id="{45E5B2E5-68ED-4D31-87B1-870CE89E18C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68" y="2617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Oval 181">
              <a:extLst>
                <a:ext uri="{FF2B5EF4-FFF2-40B4-BE49-F238E27FC236}">
                  <a16:creationId xmlns:a16="http://schemas.microsoft.com/office/drawing/2014/main" id="{657A2E5F-2460-4C3E-9F04-B41735156F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" y="2617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82">
              <a:extLst>
                <a:ext uri="{FF2B5EF4-FFF2-40B4-BE49-F238E27FC236}">
                  <a16:creationId xmlns:a16="http://schemas.microsoft.com/office/drawing/2014/main" id="{794A675E-A649-48F6-B964-82C9FAC769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6" y="2635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83">
              <a:extLst>
                <a:ext uri="{FF2B5EF4-FFF2-40B4-BE49-F238E27FC236}">
                  <a16:creationId xmlns:a16="http://schemas.microsoft.com/office/drawing/2014/main" id="{81B8B078-19B6-439A-BA95-E8B918EAC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3" y="2773"/>
              <a:ext cx="303" cy="223"/>
            </a:xfrm>
            <a:custGeom>
              <a:avLst/>
              <a:gdLst>
                <a:gd name="T0" fmla="*/ 94 w 118"/>
                <a:gd name="T1" fmla="*/ 1 h 87"/>
                <a:gd name="T2" fmla="*/ 90 w 118"/>
                <a:gd name="T3" fmla="*/ 1 h 87"/>
                <a:gd name="T4" fmla="*/ 90 w 118"/>
                <a:gd name="T5" fmla="*/ 5 h 87"/>
                <a:gd name="T6" fmla="*/ 109 w 118"/>
                <a:gd name="T7" fmla="*/ 23 h 87"/>
                <a:gd name="T8" fmla="*/ 64 w 118"/>
                <a:gd name="T9" fmla="*/ 23 h 87"/>
                <a:gd name="T10" fmla="*/ 0 w 118"/>
                <a:gd name="T11" fmla="*/ 84 h 87"/>
                <a:gd name="T12" fmla="*/ 2 w 118"/>
                <a:gd name="T13" fmla="*/ 87 h 87"/>
                <a:gd name="T14" fmla="*/ 5 w 118"/>
                <a:gd name="T15" fmla="*/ 84 h 87"/>
                <a:gd name="T16" fmla="*/ 64 w 118"/>
                <a:gd name="T17" fmla="*/ 28 h 87"/>
                <a:gd name="T18" fmla="*/ 109 w 118"/>
                <a:gd name="T19" fmla="*/ 28 h 87"/>
                <a:gd name="T20" fmla="*/ 90 w 118"/>
                <a:gd name="T21" fmla="*/ 47 h 87"/>
                <a:gd name="T22" fmla="*/ 90 w 118"/>
                <a:gd name="T23" fmla="*/ 50 h 87"/>
                <a:gd name="T24" fmla="*/ 92 w 118"/>
                <a:gd name="T25" fmla="*/ 51 h 87"/>
                <a:gd name="T26" fmla="*/ 94 w 118"/>
                <a:gd name="T27" fmla="*/ 50 h 87"/>
                <a:gd name="T28" fmla="*/ 118 w 118"/>
                <a:gd name="T29" fmla="*/ 26 h 87"/>
                <a:gd name="T30" fmla="*/ 94 w 118"/>
                <a:gd name="T3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87">
                  <a:moveTo>
                    <a:pt x="94" y="1"/>
                  </a:moveTo>
                  <a:cubicBezTo>
                    <a:pt x="93" y="0"/>
                    <a:pt x="91" y="0"/>
                    <a:pt x="90" y="1"/>
                  </a:cubicBezTo>
                  <a:cubicBezTo>
                    <a:pt x="89" y="2"/>
                    <a:pt x="89" y="4"/>
                    <a:pt x="90" y="5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28" y="23"/>
                    <a:pt x="0" y="50"/>
                    <a:pt x="0" y="84"/>
                  </a:cubicBezTo>
                  <a:cubicBezTo>
                    <a:pt x="0" y="85"/>
                    <a:pt x="1" y="87"/>
                    <a:pt x="2" y="87"/>
                  </a:cubicBezTo>
                  <a:cubicBezTo>
                    <a:pt x="3" y="87"/>
                    <a:pt x="5" y="85"/>
                    <a:pt x="5" y="84"/>
                  </a:cubicBezTo>
                  <a:cubicBezTo>
                    <a:pt x="5" y="53"/>
                    <a:pt x="31" y="28"/>
                    <a:pt x="64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89" y="48"/>
                    <a:pt x="89" y="49"/>
                    <a:pt x="90" y="50"/>
                  </a:cubicBezTo>
                  <a:cubicBezTo>
                    <a:pt x="90" y="51"/>
                    <a:pt x="91" y="51"/>
                    <a:pt x="92" y="51"/>
                  </a:cubicBezTo>
                  <a:cubicBezTo>
                    <a:pt x="92" y="51"/>
                    <a:pt x="93" y="51"/>
                    <a:pt x="94" y="50"/>
                  </a:cubicBezTo>
                  <a:cubicBezTo>
                    <a:pt x="118" y="26"/>
                    <a:pt x="118" y="26"/>
                    <a:pt x="118" y="26"/>
                  </a:cubicBezTo>
                  <a:lnTo>
                    <a:pt x="9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6" name="Group 186">
            <a:extLst>
              <a:ext uri="{FF2B5EF4-FFF2-40B4-BE49-F238E27FC236}">
                <a16:creationId xmlns:a16="http://schemas.microsoft.com/office/drawing/2014/main" id="{EE717590-DFDF-43FF-B6E6-5D6CEC94AA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21085" y="5452889"/>
            <a:ext cx="760412" cy="758825"/>
            <a:chOff x="993" y="3432"/>
            <a:chExt cx="479" cy="478"/>
          </a:xfrm>
        </p:grpSpPr>
        <p:sp>
          <p:nvSpPr>
            <p:cNvPr id="237" name="AutoShape 185">
              <a:extLst>
                <a:ext uri="{FF2B5EF4-FFF2-40B4-BE49-F238E27FC236}">
                  <a16:creationId xmlns:a16="http://schemas.microsoft.com/office/drawing/2014/main" id="{3FA8522B-639D-4D35-AE32-6252B8C62F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93" y="3432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87">
              <a:extLst>
                <a:ext uri="{FF2B5EF4-FFF2-40B4-BE49-F238E27FC236}">
                  <a16:creationId xmlns:a16="http://schemas.microsoft.com/office/drawing/2014/main" id="{D718F11D-50BC-40BE-B4E7-615F98706F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" y="3434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88">
              <a:extLst>
                <a:ext uri="{FF2B5EF4-FFF2-40B4-BE49-F238E27FC236}">
                  <a16:creationId xmlns:a16="http://schemas.microsoft.com/office/drawing/2014/main" id="{68AEEE53-ADEB-4E57-90D5-9F8CDFA6C9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4" y="3545"/>
              <a:ext cx="300" cy="255"/>
            </a:xfrm>
            <a:custGeom>
              <a:avLst/>
              <a:gdLst>
                <a:gd name="T0" fmla="*/ 36 w 122"/>
                <a:gd name="T1" fmla="*/ 65 h 104"/>
                <a:gd name="T2" fmla="*/ 5 w 122"/>
                <a:gd name="T3" fmla="*/ 96 h 104"/>
                <a:gd name="T4" fmla="*/ 5 w 122"/>
                <a:gd name="T5" fmla="*/ 77 h 104"/>
                <a:gd name="T6" fmla="*/ 2 w 122"/>
                <a:gd name="T7" fmla="*/ 74 h 104"/>
                <a:gd name="T8" fmla="*/ 0 w 122"/>
                <a:gd name="T9" fmla="*/ 77 h 104"/>
                <a:gd name="T10" fmla="*/ 0 w 122"/>
                <a:gd name="T11" fmla="*/ 104 h 104"/>
                <a:gd name="T12" fmla="*/ 28 w 122"/>
                <a:gd name="T13" fmla="*/ 104 h 104"/>
                <a:gd name="T14" fmla="*/ 30 w 122"/>
                <a:gd name="T15" fmla="*/ 102 h 104"/>
                <a:gd name="T16" fmla="*/ 28 w 122"/>
                <a:gd name="T17" fmla="*/ 99 h 104"/>
                <a:gd name="T18" fmla="*/ 8 w 122"/>
                <a:gd name="T19" fmla="*/ 99 h 104"/>
                <a:gd name="T20" fmla="*/ 40 w 122"/>
                <a:gd name="T21" fmla="*/ 69 h 104"/>
                <a:gd name="T22" fmla="*/ 40 w 122"/>
                <a:gd name="T23" fmla="*/ 65 h 104"/>
                <a:gd name="T24" fmla="*/ 36 w 122"/>
                <a:gd name="T25" fmla="*/ 65 h 104"/>
                <a:gd name="T26" fmla="*/ 120 w 122"/>
                <a:gd name="T27" fmla="*/ 74 h 104"/>
                <a:gd name="T28" fmla="*/ 117 w 122"/>
                <a:gd name="T29" fmla="*/ 77 h 104"/>
                <a:gd name="T30" fmla="*/ 117 w 122"/>
                <a:gd name="T31" fmla="*/ 96 h 104"/>
                <a:gd name="T32" fmla="*/ 86 w 122"/>
                <a:gd name="T33" fmla="*/ 65 h 104"/>
                <a:gd name="T34" fmla="*/ 82 w 122"/>
                <a:gd name="T35" fmla="*/ 65 h 104"/>
                <a:gd name="T36" fmla="*/ 82 w 122"/>
                <a:gd name="T37" fmla="*/ 69 h 104"/>
                <a:gd name="T38" fmla="*/ 114 w 122"/>
                <a:gd name="T39" fmla="*/ 99 h 104"/>
                <a:gd name="T40" fmla="*/ 94 w 122"/>
                <a:gd name="T41" fmla="*/ 99 h 104"/>
                <a:gd name="T42" fmla="*/ 92 w 122"/>
                <a:gd name="T43" fmla="*/ 102 h 104"/>
                <a:gd name="T44" fmla="*/ 94 w 122"/>
                <a:gd name="T45" fmla="*/ 104 h 104"/>
                <a:gd name="T46" fmla="*/ 122 w 122"/>
                <a:gd name="T47" fmla="*/ 104 h 104"/>
                <a:gd name="T48" fmla="*/ 122 w 122"/>
                <a:gd name="T49" fmla="*/ 77 h 104"/>
                <a:gd name="T50" fmla="*/ 120 w 122"/>
                <a:gd name="T51" fmla="*/ 74 h 104"/>
                <a:gd name="T52" fmla="*/ 8 w 122"/>
                <a:gd name="T53" fmla="*/ 5 h 104"/>
                <a:gd name="T54" fmla="*/ 28 w 122"/>
                <a:gd name="T55" fmla="*/ 5 h 104"/>
                <a:gd name="T56" fmla="*/ 30 w 122"/>
                <a:gd name="T57" fmla="*/ 2 h 104"/>
                <a:gd name="T58" fmla="*/ 28 w 122"/>
                <a:gd name="T59" fmla="*/ 0 h 104"/>
                <a:gd name="T60" fmla="*/ 0 w 122"/>
                <a:gd name="T61" fmla="*/ 0 h 104"/>
                <a:gd name="T62" fmla="*/ 0 w 122"/>
                <a:gd name="T63" fmla="*/ 27 h 104"/>
                <a:gd name="T64" fmla="*/ 2 w 122"/>
                <a:gd name="T65" fmla="*/ 30 h 104"/>
                <a:gd name="T66" fmla="*/ 5 w 122"/>
                <a:gd name="T67" fmla="*/ 27 h 104"/>
                <a:gd name="T68" fmla="*/ 5 w 122"/>
                <a:gd name="T69" fmla="*/ 8 h 104"/>
                <a:gd name="T70" fmla="*/ 36 w 122"/>
                <a:gd name="T71" fmla="*/ 39 h 104"/>
                <a:gd name="T72" fmla="*/ 38 w 122"/>
                <a:gd name="T73" fmla="*/ 40 h 104"/>
                <a:gd name="T74" fmla="*/ 40 w 122"/>
                <a:gd name="T75" fmla="*/ 39 h 104"/>
                <a:gd name="T76" fmla="*/ 40 w 122"/>
                <a:gd name="T77" fmla="*/ 35 h 104"/>
                <a:gd name="T78" fmla="*/ 8 w 122"/>
                <a:gd name="T79" fmla="*/ 5 h 104"/>
                <a:gd name="T80" fmla="*/ 94 w 122"/>
                <a:gd name="T81" fmla="*/ 0 h 104"/>
                <a:gd name="T82" fmla="*/ 92 w 122"/>
                <a:gd name="T83" fmla="*/ 2 h 104"/>
                <a:gd name="T84" fmla="*/ 94 w 122"/>
                <a:gd name="T85" fmla="*/ 5 h 104"/>
                <a:gd name="T86" fmla="*/ 114 w 122"/>
                <a:gd name="T87" fmla="*/ 5 h 104"/>
                <a:gd name="T88" fmla="*/ 82 w 122"/>
                <a:gd name="T89" fmla="*/ 35 h 104"/>
                <a:gd name="T90" fmla="*/ 82 w 122"/>
                <a:gd name="T91" fmla="*/ 39 h 104"/>
                <a:gd name="T92" fmla="*/ 84 w 122"/>
                <a:gd name="T93" fmla="*/ 40 h 104"/>
                <a:gd name="T94" fmla="*/ 86 w 122"/>
                <a:gd name="T95" fmla="*/ 39 h 104"/>
                <a:gd name="T96" fmla="*/ 117 w 122"/>
                <a:gd name="T97" fmla="*/ 8 h 104"/>
                <a:gd name="T98" fmla="*/ 117 w 122"/>
                <a:gd name="T99" fmla="*/ 27 h 104"/>
                <a:gd name="T100" fmla="*/ 120 w 122"/>
                <a:gd name="T101" fmla="*/ 30 h 104"/>
                <a:gd name="T102" fmla="*/ 122 w 122"/>
                <a:gd name="T103" fmla="*/ 27 h 104"/>
                <a:gd name="T104" fmla="*/ 122 w 122"/>
                <a:gd name="T105" fmla="*/ 0 h 104"/>
                <a:gd name="T106" fmla="*/ 94 w 122"/>
                <a:gd name="T10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" h="104">
                  <a:moveTo>
                    <a:pt x="36" y="65"/>
                  </a:moveTo>
                  <a:cubicBezTo>
                    <a:pt x="5" y="96"/>
                    <a:pt x="5" y="96"/>
                    <a:pt x="5" y="9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5"/>
                    <a:pt x="4" y="74"/>
                    <a:pt x="2" y="74"/>
                  </a:cubicBezTo>
                  <a:cubicBezTo>
                    <a:pt x="1" y="74"/>
                    <a:pt x="0" y="75"/>
                    <a:pt x="0" y="77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9" y="104"/>
                    <a:pt x="30" y="103"/>
                    <a:pt x="30" y="102"/>
                  </a:cubicBezTo>
                  <a:cubicBezTo>
                    <a:pt x="30" y="100"/>
                    <a:pt x="29" y="99"/>
                    <a:pt x="2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1" y="68"/>
                    <a:pt x="41" y="66"/>
                    <a:pt x="40" y="65"/>
                  </a:cubicBezTo>
                  <a:cubicBezTo>
                    <a:pt x="39" y="64"/>
                    <a:pt x="37" y="64"/>
                    <a:pt x="36" y="65"/>
                  </a:cubicBezTo>
                  <a:moveTo>
                    <a:pt x="120" y="74"/>
                  </a:moveTo>
                  <a:cubicBezTo>
                    <a:pt x="118" y="74"/>
                    <a:pt x="117" y="75"/>
                    <a:pt x="117" y="77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4"/>
                    <a:pt x="83" y="64"/>
                    <a:pt x="82" y="65"/>
                  </a:cubicBezTo>
                  <a:cubicBezTo>
                    <a:pt x="81" y="66"/>
                    <a:pt x="81" y="68"/>
                    <a:pt x="82" y="6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3" y="99"/>
                    <a:pt x="92" y="100"/>
                    <a:pt x="92" y="102"/>
                  </a:cubicBezTo>
                  <a:cubicBezTo>
                    <a:pt x="92" y="103"/>
                    <a:pt x="93" y="104"/>
                    <a:pt x="94" y="104"/>
                  </a:cubicBezTo>
                  <a:cubicBezTo>
                    <a:pt x="122" y="104"/>
                    <a:pt x="122" y="104"/>
                    <a:pt x="122" y="104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5"/>
                    <a:pt x="121" y="74"/>
                    <a:pt x="120" y="74"/>
                  </a:cubicBezTo>
                  <a:moveTo>
                    <a:pt x="8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9" y="5"/>
                    <a:pt x="30" y="4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1" y="30"/>
                    <a:pt x="2" y="30"/>
                  </a:cubicBezTo>
                  <a:cubicBezTo>
                    <a:pt x="4" y="30"/>
                    <a:pt x="5" y="28"/>
                    <a:pt x="5" y="2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7" y="39"/>
                    <a:pt x="37" y="40"/>
                    <a:pt x="38" y="40"/>
                  </a:cubicBezTo>
                  <a:cubicBezTo>
                    <a:pt x="39" y="40"/>
                    <a:pt x="39" y="39"/>
                    <a:pt x="40" y="39"/>
                  </a:cubicBezTo>
                  <a:cubicBezTo>
                    <a:pt x="41" y="38"/>
                    <a:pt x="41" y="36"/>
                    <a:pt x="40" y="35"/>
                  </a:cubicBezTo>
                  <a:lnTo>
                    <a:pt x="8" y="5"/>
                  </a:lnTo>
                  <a:close/>
                  <a:moveTo>
                    <a:pt x="94" y="0"/>
                  </a:moveTo>
                  <a:cubicBezTo>
                    <a:pt x="93" y="0"/>
                    <a:pt x="92" y="1"/>
                    <a:pt x="92" y="2"/>
                  </a:cubicBezTo>
                  <a:cubicBezTo>
                    <a:pt x="92" y="4"/>
                    <a:pt x="93" y="5"/>
                    <a:pt x="94" y="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1" y="36"/>
                    <a:pt x="81" y="38"/>
                    <a:pt x="82" y="39"/>
                  </a:cubicBezTo>
                  <a:cubicBezTo>
                    <a:pt x="83" y="39"/>
                    <a:pt x="83" y="40"/>
                    <a:pt x="84" y="40"/>
                  </a:cubicBezTo>
                  <a:cubicBezTo>
                    <a:pt x="85" y="40"/>
                    <a:pt x="85" y="39"/>
                    <a:pt x="86" y="39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8"/>
                    <a:pt x="118" y="30"/>
                    <a:pt x="120" y="30"/>
                  </a:cubicBezTo>
                  <a:cubicBezTo>
                    <a:pt x="121" y="30"/>
                    <a:pt x="122" y="28"/>
                    <a:pt x="122" y="27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89">
              <a:extLst>
                <a:ext uri="{FF2B5EF4-FFF2-40B4-BE49-F238E27FC236}">
                  <a16:creationId xmlns:a16="http://schemas.microsoft.com/office/drawing/2014/main" id="{DC3FA570-C5F5-4033-B87E-436E00B0DD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4" y="3545"/>
              <a:ext cx="300" cy="255"/>
            </a:xfrm>
            <a:custGeom>
              <a:avLst/>
              <a:gdLst>
                <a:gd name="T0" fmla="*/ 36 w 122"/>
                <a:gd name="T1" fmla="*/ 65 h 104"/>
                <a:gd name="T2" fmla="*/ 5 w 122"/>
                <a:gd name="T3" fmla="*/ 96 h 104"/>
                <a:gd name="T4" fmla="*/ 5 w 122"/>
                <a:gd name="T5" fmla="*/ 77 h 104"/>
                <a:gd name="T6" fmla="*/ 2 w 122"/>
                <a:gd name="T7" fmla="*/ 74 h 104"/>
                <a:gd name="T8" fmla="*/ 0 w 122"/>
                <a:gd name="T9" fmla="*/ 77 h 104"/>
                <a:gd name="T10" fmla="*/ 0 w 122"/>
                <a:gd name="T11" fmla="*/ 104 h 104"/>
                <a:gd name="T12" fmla="*/ 28 w 122"/>
                <a:gd name="T13" fmla="*/ 104 h 104"/>
                <a:gd name="T14" fmla="*/ 30 w 122"/>
                <a:gd name="T15" fmla="*/ 102 h 104"/>
                <a:gd name="T16" fmla="*/ 28 w 122"/>
                <a:gd name="T17" fmla="*/ 99 h 104"/>
                <a:gd name="T18" fmla="*/ 8 w 122"/>
                <a:gd name="T19" fmla="*/ 99 h 104"/>
                <a:gd name="T20" fmla="*/ 40 w 122"/>
                <a:gd name="T21" fmla="*/ 69 h 104"/>
                <a:gd name="T22" fmla="*/ 40 w 122"/>
                <a:gd name="T23" fmla="*/ 65 h 104"/>
                <a:gd name="T24" fmla="*/ 36 w 122"/>
                <a:gd name="T25" fmla="*/ 65 h 104"/>
                <a:gd name="T26" fmla="*/ 120 w 122"/>
                <a:gd name="T27" fmla="*/ 74 h 104"/>
                <a:gd name="T28" fmla="*/ 117 w 122"/>
                <a:gd name="T29" fmla="*/ 77 h 104"/>
                <a:gd name="T30" fmla="*/ 117 w 122"/>
                <a:gd name="T31" fmla="*/ 96 h 104"/>
                <a:gd name="T32" fmla="*/ 86 w 122"/>
                <a:gd name="T33" fmla="*/ 65 h 104"/>
                <a:gd name="T34" fmla="*/ 82 w 122"/>
                <a:gd name="T35" fmla="*/ 65 h 104"/>
                <a:gd name="T36" fmla="*/ 82 w 122"/>
                <a:gd name="T37" fmla="*/ 69 h 104"/>
                <a:gd name="T38" fmla="*/ 114 w 122"/>
                <a:gd name="T39" fmla="*/ 99 h 104"/>
                <a:gd name="T40" fmla="*/ 94 w 122"/>
                <a:gd name="T41" fmla="*/ 99 h 104"/>
                <a:gd name="T42" fmla="*/ 92 w 122"/>
                <a:gd name="T43" fmla="*/ 102 h 104"/>
                <a:gd name="T44" fmla="*/ 94 w 122"/>
                <a:gd name="T45" fmla="*/ 104 h 104"/>
                <a:gd name="T46" fmla="*/ 122 w 122"/>
                <a:gd name="T47" fmla="*/ 104 h 104"/>
                <a:gd name="T48" fmla="*/ 122 w 122"/>
                <a:gd name="T49" fmla="*/ 77 h 104"/>
                <a:gd name="T50" fmla="*/ 120 w 122"/>
                <a:gd name="T51" fmla="*/ 74 h 104"/>
                <a:gd name="T52" fmla="*/ 8 w 122"/>
                <a:gd name="T53" fmla="*/ 5 h 104"/>
                <a:gd name="T54" fmla="*/ 28 w 122"/>
                <a:gd name="T55" fmla="*/ 5 h 104"/>
                <a:gd name="T56" fmla="*/ 30 w 122"/>
                <a:gd name="T57" fmla="*/ 2 h 104"/>
                <a:gd name="T58" fmla="*/ 28 w 122"/>
                <a:gd name="T59" fmla="*/ 0 h 104"/>
                <a:gd name="T60" fmla="*/ 0 w 122"/>
                <a:gd name="T61" fmla="*/ 0 h 104"/>
                <a:gd name="T62" fmla="*/ 0 w 122"/>
                <a:gd name="T63" fmla="*/ 27 h 104"/>
                <a:gd name="T64" fmla="*/ 2 w 122"/>
                <a:gd name="T65" fmla="*/ 30 h 104"/>
                <a:gd name="T66" fmla="*/ 5 w 122"/>
                <a:gd name="T67" fmla="*/ 27 h 104"/>
                <a:gd name="T68" fmla="*/ 5 w 122"/>
                <a:gd name="T69" fmla="*/ 8 h 104"/>
                <a:gd name="T70" fmla="*/ 36 w 122"/>
                <a:gd name="T71" fmla="*/ 39 h 104"/>
                <a:gd name="T72" fmla="*/ 38 w 122"/>
                <a:gd name="T73" fmla="*/ 40 h 104"/>
                <a:gd name="T74" fmla="*/ 40 w 122"/>
                <a:gd name="T75" fmla="*/ 39 h 104"/>
                <a:gd name="T76" fmla="*/ 40 w 122"/>
                <a:gd name="T77" fmla="*/ 35 h 104"/>
                <a:gd name="T78" fmla="*/ 8 w 122"/>
                <a:gd name="T79" fmla="*/ 5 h 104"/>
                <a:gd name="T80" fmla="*/ 94 w 122"/>
                <a:gd name="T81" fmla="*/ 0 h 104"/>
                <a:gd name="T82" fmla="*/ 92 w 122"/>
                <a:gd name="T83" fmla="*/ 2 h 104"/>
                <a:gd name="T84" fmla="*/ 94 w 122"/>
                <a:gd name="T85" fmla="*/ 5 h 104"/>
                <a:gd name="T86" fmla="*/ 114 w 122"/>
                <a:gd name="T87" fmla="*/ 5 h 104"/>
                <a:gd name="T88" fmla="*/ 82 w 122"/>
                <a:gd name="T89" fmla="*/ 35 h 104"/>
                <a:gd name="T90" fmla="*/ 82 w 122"/>
                <a:gd name="T91" fmla="*/ 39 h 104"/>
                <a:gd name="T92" fmla="*/ 84 w 122"/>
                <a:gd name="T93" fmla="*/ 40 h 104"/>
                <a:gd name="T94" fmla="*/ 86 w 122"/>
                <a:gd name="T95" fmla="*/ 39 h 104"/>
                <a:gd name="T96" fmla="*/ 117 w 122"/>
                <a:gd name="T97" fmla="*/ 8 h 104"/>
                <a:gd name="T98" fmla="*/ 117 w 122"/>
                <a:gd name="T99" fmla="*/ 27 h 104"/>
                <a:gd name="T100" fmla="*/ 120 w 122"/>
                <a:gd name="T101" fmla="*/ 30 h 104"/>
                <a:gd name="T102" fmla="*/ 122 w 122"/>
                <a:gd name="T103" fmla="*/ 27 h 104"/>
                <a:gd name="T104" fmla="*/ 122 w 122"/>
                <a:gd name="T105" fmla="*/ 0 h 104"/>
                <a:gd name="T106" fmla="*/ 94 w 122"/>
                <a:gd name="T10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" h="104">
                  <a:moveTo>
                    <a:pt x="36" y="65"/>
                  </a:moveTo>
                  <a:cubicBezTo>
                    <a:pt x="5" y="96"/>
                    <a:pt x="5" y="96"/>
                    <a:pt x="5" y="9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5"/>
                    <a:pt x="4" y="74"/>
                    <a:pt x="2" y="74"/>
                  </a:cubicBezTo>
                  <a:cubicBezTo>
                    <a:pt x="1" y="74"/>
                    <a:pt x="0" y="75"/>
                    <a:pt x="0" y="77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9" y="104"/>
                    <a:pt x="30" y="103"/>
                    <a:pt x="30" y="102"/>
                  </a:cubicBezTo>
                  <a:cubicBezTo>
                    <a:pt x="30" y="100"/>
                    <a:pt x="29" y="99"/>
                    <a:pt x="2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1" y="68"/>
                    <a:pt x="41" y="66"/>
                    <a:pt x="40" y="65"/>
                  </a:cubicBezTo>
                  <a:cubicBezTo>
                    <a:pt x="39" y="64"/>
                    <a:pt x="37" y="64"/>
                    <a:pt x="36" y="65"/>
                  </a:cubicBezTo>
                  <a:moveTo>
                    <a:pt x="120" y="74"/>
                  </a:moveTo>
                  <a:cubicBezTo>
                    <a:pt x="118" y="74"/>
                    <a:pt x="117" y="75"/>
                    <a:pt x="117" y="77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4"/>
                    <a:pt x="83" y="64"/>
                    <a:pt x="82" y="65"/>
                  </a:cubicBezTo>
                  <a:cubicBezTo>
                    <a:pt x="81" y="66"/>
                    <a:pt x="81" y="68"/>
                    <a:pt x="82" y="6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3" y="99"/>
                    <a:pt x="92" y="100"/>
                    <a:pt x="92" y="102"/>
                  </a:cubicBezTo>
                  <a:cubicBezTo>
                    <a:pt x="92" y="103"/>
                    <a:pt x="93" y="104"/>
                    <a:pt x="94" y="104"/>
                  </a:cubicBezTo>
                  <a:cubicBezTo>
                    <a:pt x="122" y="104"/>
                    <a:pt x="122" y="104"/>
                    <a:pt x="122" y="104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5"/>
                    <a:pt x="121" y="74"/>
                    <a:pt x="120" y="74"/>
                  </a:cubicBezTo>
                  <a:moveTo>
                    <a:pt x="8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9" y="5"/>
                    <a:pt x="30" y="4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1" y="30"/>
                    <a:pt x="2" y="30"/>
                  </a:cubicBezTo>
                  <a:cubicBezTo>
                    <a:pt x="4" y="30"/>
                    <a:pt x="5" y="28"/>
                    <a:pt x="5" y="2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7" y="39"/>
                    <a:pt x="37" y="40"/>
                    <a:pt x="38" y="40"/>
                  </a:cubicBezTo>
                  <a:cubicBezTo>
                    <a:pt x="39" y="40"/>
                    <a:pt x="39" y="39"/>
                    <a:pt x="40" y="39"/>
                  </a:cubicBezTo>
                  <a:cubicBezTo>
                    <a:pt x="41" y="38"/>
                    <a:pt x="41" y="36"/>
                    <a:pt x="40" y="35"/>
                  </a:cubicBezTo>
                  <a:lnTo>
                    <a:pt x="8" y="5"/>
                  </a:lnTo>
                  <a:close/>
                  <a:moveTo>
                    <a:pt x="94" y="0"/>
                  </a:moveTo>
                  <a:cubicBezTo>
                    <a:pt x="93" y="0"/>
                    <a:pt x="92" y="1"/>
                    <a:pt x="92" y="2"/>
                  </a:cubicBezTo>
                  <a:cubicBezTo>
                    <a:pt x="92" y="4"/>
                    <a:pt x="93" y="5"/>
                    <a:pt x="94" y="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1" y="36"/>
                    <a:pt x="81" y="38"/>
                    <a:pt x="82" y="39"/>
                  </a:cubicBezTo>
                  <a:cubicBezTo>
                    <a:pt x="83" y="39"/>
                    <a:pt x="83" y="40"/>
                    <a:pt x="84" y="40"/>
                  </a:cubicBezTo>
                  <a:cubicBezTo>
                    <a:pt x="85" y="40"/>
                    <a:pt x="85" y="39"/>
                    <a:pt x="86" y="39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8"/>
                    <a:pt x="118" y="30"/>
                    <a:pt x="120" y="30"/>
                  </a:cubicBezTo>
                  <a:cubicBezTo>
                    <a:pt x="121" y="30"/>
                    <a:pt x="122" y="28"/>
                    <a:pt x="122" y="27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1" name="Group 192">
            <a:extLst>
              <a:ext uri="{FF2B5EF4-FFF2-40B4-BE49-F238E27FC236}">
                <a16:creationId xmlns:a16="http://schemas.microsoft.com/office/drawing/2014/main" id="{37529B8C-932B-4D12-9EC8-F61C132AB1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2276" y="5411614"/>
            <a:ext cx="841375" cy="841375"/>
            <a:chOff x="378" y="3420"/>
            <a:chExt cx="530" cy="530"/>
          </a:xfrm>
        </p:grpSpPr>
        <p:sp>
          <p:nvSpPr>
            <p:cNvPr id="242" name="AutoShape 191">
              <a:extLst>
                <a:ext uri="{FF2B5EF4-FFF2-40B4-BE49-F238E27FC236}">
                  <a16:creationId xmlns:a16="http://schemas.microsoft.com/office/drawing/2014/main" id="{F023AD08-7830-4439-B01A-88A5BE53D7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8" y="342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193">
              <a:extLst>
                <a:ext uri="{FF2B5EF4-FFF2-40B4-BE49-F238E27FC236}">
                  <a16:creationId xmlns:a16="http://schemas.microsoft.com/office/drawing/2014/main" id="{F8FAD1FE-A2EE-487B-8C2F-2AD27898D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" y="342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94">
              <a:extLst>
                <a:ext uri="{FF2B5EF4-FFF2-40B4-BE49-F238E27FC236}">
                  <a16:creationId xmlns:a16="http://schemas.microsoft.com/office/drawing/2014/main" id="{DF0B9176-9C4A-4E91-B2BE-0F523D43E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" y="343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95">
              <a:extLst>
                <a:ext uri="{FF2B5EF4-FFF2-40B4-BE49-F238E27FC236}">
                  <a16:creationId xmlns:a16="http://schemas.microsoft.com/office/drawing/2014/main" id="{9E025245-6821-48A4-9591-F8867600F8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" y="3553"/>
              <a:ext cx="312" cy="266"/>
            </a:xfrm>
            <a:custGeom>
              <a:avLst/>
              <a:gdLst>
                <a:gd name="T0" fmla="*/ 36 w 122"/>
                <a:gd name="T1" fmla="*/ 65 h 104"/>
                <a:gd name="T2" fmla="*/ 5 w 122"/>
                <a:gd name="T3" fmla="*/ 96 h 104"/>
                <a:gd name="T4" fmla="*/ 5 w 122"/>
                <a:gd name="T5" fmla="*/ 77 h 104"/>
                <a:gd name="T6" fmla="*/ 2 w 122"/>
                <a:gd name="T7" fmla="*/ 74 h 104"/>
                <a:gd name="T8" fmla="*/ 0 w 122"/>
                <a:gd name="T9" fmla="*/ 77 h 104"/>
                <a:gd name="T10" fmla="*/ 0 w 122"/>
                <a:gd name="T11" fmla="*/ 104 h 104"/>
                <a:gd name="T12" fmla="*/ 28 w 122"/>
                <a:gd name="T13" fmla="*/ 104 h 104"/>
                <a:gd name="T14" fmla="*/ 30 w 122"/>
                <a:gd name="T15" fmla="*/ 102 h 104"/>
                <a:gd name="T16" fmla="*/ 28 w 122"/>
                <a:gd name="T17" fmla="*/ 99 h 104"/>
                <a:gd name="T18" fmla="*/ 8 w 122"/>
                <a:gd name="T19" fmla="*/ 99 h 104"/>
                <a:gd name="T20" fmla="*/ 40 w 122"/>
                <a:gd name="T21" fmla="*/ 69 h 104"/>
                <a:gd name="T22" fmla="*/ 40 w 122"/>
                <a:gd name="T23" fmla="*/ 65 h 104"/>
                <a:gd name="T24" fmla="*/ 36 w 122"/>
                <a:gd name="T25" fmla="*/ 65 h 104"/>
                <a:gd name="T26" fmla="*/ 120 w 122"/>
                <a:gd name="T27" fmla="*/ 74 h 104"/>
                <a:gd name="T28" fmla="*/ 117 w 122"/>
                <a:gd name="T29" fmla="*/ 77 h 104"/>
                <a:gd name="T30" fmla="*/ 117 w 122"/>
                <a:gd name="T31" fmla="*/ 96 h 104"/>
                <a:gd name="T32" fmla="*/ 86 w 122"/>
                <a:gd name="T33" fmla="*/ 65 h 104"/>
                <a:gd name="T34" fmla="*/ 82 w 122"/>
                <a:gd name="T35" fmla="*/ 65 h 104"/>
                <a:gd name="T36" fmla="*/ 82 w 122"/>
                <a:gd name="T37" fmla="*/ 69 h 104"/>
                <a:gd name="T38" fmla="*/ 114 w 122"/>
                <a:gd name="T39" fmla="*/ 99 h 104"/>
                <a:gd name="T40" fmla="*/ 94 w 122"/>
                <a:gd name="T41" fmla="*/ 99 h 104"/>
                <a:gd name="T42" fmla="*/ 92 w 122"/>
                <a:gd name="T43" fmla="*/ 102 h 104"/>
                <a:gd name="T44" fmla="*/ 94 w 122"/>
                <a:gd name="T45" fmla="*/ 104 h 104"/>
                <a:gd name="T46" fmla="*/ 122 w 122"/>
                <a:gd name="T47" fmla="*/ 104 h 104"/>
                <a:gd name="T48" fmla="*/ 122 w 122"/>
                <a:gd name="T49" fmla="*/ 77 h 104"/>
                <a:gd name="T50" fmla="*/ 120 w 122"/>
                <a:gd name="T51" fmla="*/ 74 h 104"/>
                <a:gd name="T52" fmla="*/ 8 w 122"/>
                <a:gd name="T53" fmla="*/ 5 h 104"/>
                <a:gd name="T54" fmla="*/ 28 w 122"/>
                <a:gd name="T55" fmla="*/ 5 h 104"/>
                <a:gd name="T56" fmla="*/ 30 w 122"/>
                <a:gd name="T57" fmla="*/ 2 h 104"/>
                <a:gd name="T58" fmla="*/ 28 w 122"/>
                <a:gd name="T59" fmla="*/ 0 h 104"/>
                <a:gd name="T60" fmla="*/ 0 w 122"/>
                <a:gd name="T61" fmla="*/ 0 h 104"/>
                <a:gd name="T62" fmla="*/ 0 w 122"/>
                <a:gd name="T63" fmla="*/ 27 h 104"/>
                <a:gd name="T64" fmla="*/ 2 w 122"/>
                <a:gd name="T65" fmla="*/ 30 h 104"/>
                <a:gd name="T66" fmla="*/ 5 w 122"/>
                <a:gd name="T67" fmla="*/ 27 h 104"/>
                <a:gd name="T68" fmla="*/ 5 w 122"/>
                <a:gd name="T69" fmla="*/ 8 h 104"/>
                <a:gd name="T70" fmla="*/ 36 w 122"/>
                <a:gd name="T71" fmla="*/ 39 h 104"/>
                <a:gd name="T72" fmla="*/ 38 w 122"/>
                <a:gd name="T73" fmla="*/ 40 h 104"/>
                <a:gd name="T74" fmla="*/ 40 w 122"/>
                <a:gd name="T75" fmla="*/ 39 h 104"/>
                <a:gd name="T76" fmla="*/ 40 w 122"/>
                <a:gd name="T77" fmla="*/ 35 h 104"/>
                <a:gd name="T78" fmla="*/ 8 w 122"/>
                <a:gd name="T79" fmla="*/ 5 h 104"/>
                <a:gd name="T80" fmla="*/ 94 w 122"/>
                <a:gd name="T81" fmla="*/ 0 h 104"/>
                <a:gd name="T82" fmla="*/ 92 w 122"/>
                <a:gd name="T83" fmla="*/ 2 h 104"/>
                <a:gd name="T84" fmla="*/ 94 w 122"/>
                <a:gd name="T85" fmla="*/ 5 h 104"/>
                <a:gd name="T86" fmla="*/ 114 w 122"/>
                <a:gd name="T87" fmla="*/ 5 h 104"/>
                <a:gd name="T88" fmla="*/ 82 w 122"/>
                <a:gd name="T89" fmla="*/ 35 h 104"/>
                <a:gd name="T90" fmla="*/ 82 w 122"/>
                <a:gd name="T91" fmla="*/ 39 h 104"/>
                <a:gd name="T92" fmla="*/ 84 w 122"/>
                <a:gd name="T93" fmla="*/ 40 h 104"/>
                <a:gd name="T94" fmla="*/ 86 w 122"/>
                <a:gd name="T95" fmla="*/ 39 h 104"/>
                <a:gd name="T96" fmla="*/ 117 w 122"/>
                <a:gd name="T97" fmla="*/ 8 h 104"/>
                <a:gd name="T98" fmla="*/ 117 w 122"/>
                <a:gd name="T99" fmla="*/ 27 h 104"/>
                <a:gd name="T100" fmla="*/ 120 w 122"/>
                <a:gd name="T101" fmla="*/ 30 h 104"/>
                <a:gd name="T102" fmla="*/ 122 w 122"/>
                <a:gd name="T103" fmla="*/ 27 h 104"/>
                <a:gd name="T104" fmla="*/ 122 w 122"/>
                <a:gd name="T105" fmla="*/ 0 h 104"/>
                <a:gd name="T106" fmla="*/ 94 w 122"/>
                <a:gd name="T10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" h="104">
                  <a:moveTo>
                    <a:pt x="36" y="65"/>
                  </a:moveTo>
                  <a:cubicBezTo>
                    <a:pt x="5" y="96"/>
                    <a:pt x="5" y="96"/>
                    <a:pt x="5" y="9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5"/>
                    <a:pt x="4" y="74"/>
                    <a:pt x="2" y="74"/>
                  </a:cubicBezTo>
                  <a:cubicBezTo>
                    <a:pt x="1" y="74"/>
                    <a:pt x="0" y="75"/>
                    <a:pt x="0" y="77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9" y="104"/>
                    <a:pt x="30" y="103"/>
                    <a:pt x="30" y="102"/>
                  </a:cubicBezTo>
                  <a:cubicBezTo>
                    <a:pt x="30" y="100"/>
                    <a:pt x="29" y="99"/>
                    <a:pt x="2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1" y="68"/>
                    <a:pt x="41" y="66"/>
                    <a:pt x="40" y="65"/>
                  </a:cubicBezTo>
                  <a:cubicBezTo>
                    <a:pt x="39" y="64"/>
                    <a:pt x="37" y="64"/>
                    <a:pt x="36" y="65"/>
                  </a:cubicBezTo>
                  <a:moveTo>
                    <a:pt x="120" y="74"/>
                  </a:moveTo>
                  <a:cubicBezTo>
                    <a:pt x="118" y="74"/>
                    <a:pt x="117" y="75"/>
                    <a:pt x="117" y="77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4"/>
                    <a:pt x="83" y="64"/>
                    <a:pt x="82" y="65"/>
                  </a:cubicBezTo>
                  <a:cubicBezTo>
                    <a:pt x="81" y="66"/>
                    <a:pt x="81" y="68"/>
                    <a:pt x="82" y="6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3" y="99"/>
                    <a:pt x="92" y="100"/>
                    <a:pt x="92" y="102"/>
                  </a:cubicBezTo>
                  <a:cubicBezTo>
                    <a:pt x="92" y="103"/>
                    <a:pt x="93" y="104"/>
                    <a:pt x="94" y="104"/>
                  </a:cubicBezTo>
                  <a:cubicBezTo>
                    <a:pt x="122" y="104"/>
                    <a:pt x="122" y="104"/>
                    <a:pt x="122" y="104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5"/>
                    <a:pt x="121" y="74"/>
                    <a:pt x="120" y="74"/>
                  </a:cubicBezTo>
                  <a:moveTo>
                    <a:pt x="8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9" y="5"/>
                    <a:pt x="30" y="4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1" y="30"/>
                    <a:pt x="2" y="30"/>
                  </a:cubicBezTo>
                  <a:cubicBezTo>
                    <a:pt x="4" y="30"/>
                    <a:pt x="5" y="28"/>
                    <a:pt x="5" y="2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7" y="39"/>
                    <a:pt x="37" y="40"/>
                    <a:pt x="38" y="40"/>
                  </a:cubicBezTo>
                  <a:cubicBezTo>
                    <a:pt x="39" y="40"/>
                    <a:pt x="39" y="39"/>
                    <a:pt x="40" y="39"/>
                  </a:cubicBezTo>
                  <a:cubicBezTo>
                    <a:pt x="41" y="38"/>
                    <a:pt x="41" y="36"/>
                    <a:pt x="40" y="35"/>
                  </a:cubicBezTo>
                  <a:lnTo>
                    <a:pt x="8" y="5"/>
                  </a:lnTo>
                  <a:close/>
                  <a:moveTo>
                    <a:pt x="94" y="0"/>
                  </a:moveTo>
                  <a:cubicBezTo>
                    <a:pt x="93" y="0"/>
                    <a:pt x="92" y="1"/>
                    <a:pt x="92" y="2"/>
                  </a:cubicBezTo>
                  <a:cubicBezTo>
                    <a:pt x="92" y="4"/>
                    <a:pt x="93" y="5"/>
                    <a:pt x="94" y="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1" y="36"/>
                    <a:pt x="81" y="38"/>
                    <a:pt x="82" y="39"/>
                  </a:cubicBezTo>
                  <a:cubicBezTo>
                    <a:pt x="83" y="39"/>
                    <a:pt x="83" y="40"/>
                    <a:pt x="84" y="40"/>
                  </a:cubicBezTo>
                  <a:cubicBezTo>
                    <a:pt x="85" y="40"/>
                    <a:pt x="85" y="39"/>
                    <a:pt x="86" y="39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8"/>
                    <a:pt x="118" y="30"/>
                    <a:pt x="120" y="30"/>
                  </a:cubicBezTo>
                  <a:cubicBezTo>
                    <a:pt x="121" y="30"/>
                    <a:pt x="122" y="28"/>
                    <a:pt x="122" y="27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0" name="Group 198">
            <a:extLst>
              <a:ext uri="{FF2B5EF4-FFF2-40B4-BE49-F238E27FC236}">
                <a16:creationId xmlns:a16="http://schemas.microsoft.com/office/drawing/2014/main" id="{7A73C4B4-0E8E-4E1C-AC01-FD9BB75432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6314" y="5452889"/>
            <a:ext cx="758825" cy="758825"/>
            <a:chOff x="2204" y="3437"/>
            <a:chExt cx="478" cy="478"/>
          </a:xfrm>
        </p:grpSpPr>
        <p:sp>
          <p:nvSpPr>
            <p:cNvPr id="251" name="AutoShape 197">
              <a:extLst>
                <a:ext uri="{FF2B5EF4-FFF2-40B4-BE49-F238E27FC236}">
                  <a16:creationId xmlns:a16="http://schemas.microsoft.com/office/drawing/2014/main" id="{9CB4D9F2-9E7E-4760-AD6C-EC16507677B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04" y="3437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99">
              <a:extLst>
                <a:ext uri="{FF2B5EF4-FFF2-40B4-BE49-F238E27FC236}">
                  <a16:creationId xmlns:a16="http://schemas.microsoft.com/office/drawing/2014/main" id="{6385D8A7-91F7-4A7E-9137-E014FF231F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6" y="3439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0">
              <a:extLst>
                <a:ext uri="{FF2B5EF4-FFF2-40B4-BE49-F238E27FC236}">
                  <a16:creationId xmlns:a16="http://schemas.microsoft.com/office/drawing/2014/main" id="{3B3B7B38-0073-459A-B909-FB31B711A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0" y="3550"/>
              <a:ext cx="289" cy="255"/>
            </a:xfrm>
            <a:custGeom>
              <a:avLst/>
              <a:gdLst>
                <a:gd name="T0" fmla="*/ 10 w 118"/>
                <a:gd name="T1" fmla="*/ 67 h 104"/>
                <a:gd name="T2" fmla="*/ 12 w 118"/>
                <a:gd name="T3" fmla="*/ 69 h 104"/>
                <a:gd name="T4" fmla="*/ 31 w 118"/>
                <a:gd name="T5" fmla="*/ 69 h 104"/>
                <a:gd name="T6" fmla="*/ 0 w 118"/>
                <a:gd name="T7" fmla="*/ 100 h 104"/>
                <a:gd name="T8" fmla="*/ 0 w 118"/>
                <a:gd name="T9" fmla="*/ 103 h 104"/>
                <a:gd name="T10" fmla="*/ 2 w 118"/>
                <a:gd name="T11" fmla="*/ 104 h 104"/>
                <a:gd name="T12" fmla="*/ 4 w 118"/>
                <a:gd name="T13" fmla="*/ 103 h 104"/>
                <a:gd name="T14" fmla="*/ 34 w 118"/>
                <a:gd name="T15" fmla="*/ 73 h 104"/>
                <a:gd name="T16" fmla="*/ 34 w 118"/>
                <a:gd name="T17" fmla="*/ 92 h 104"/>
                <a:gd name="T18" fmla="*/ 37 w 118"/>
                <a:gd name="T19" fmla="*/ 94 h 104"/>
                <a:gd name="T20" fmla="*/ 39 w 118"/>
                <a:gd name="T21" fmla="*/ 92 h 104"/>
                <a:gd name="T22" fmla="*/ 39 w 118"/>
                <a:gd name="T23" fmla="*/ 64 h 104"/>
                <a:gd name="T24" fmla="*/ 12 w 118"/>
                <a:gd name="T25" fmla="*/ 64 h 104"/>
                <a:gd name="T26" fmla="*/ 10 w 118"/>
                <a:gd name="T27" fmla="*/ 67 h 104"/>
                <a:gd name="T28" fmla="*/ 87 w 118"/>
                <a:gd name="T29" fmla="*/ 69 h 104"/>
                <a:gd name="T30" fmla="*/ 106 w 118"/>
                <a:gd name="T31" fmla="*/ 69 h 104"/>
                <a:gd name="T32" fmla="*/ 108 w 118"/>
                <a:gd name="T33" fmla="*/ 67 h 104"/>
                <a:gd name="T34" fmla="*/ 106 w 118"/>
                <a:gd name="T35" fmla="*/ 64 h 104"/>
                <a:gd name="T36" fmla="*/ 79 w 118"/>
                <a:gd name="T37" fmla="*/ 64 h 104"/>
                <a:gd name="T38" fmla="*/ 79 w 118"/>
                <a:gd name="T39" fmla="*/ 92 h 104"/>
                <a:gd name="T40" fmla="*/ 81 w 118"/>
                <a:gd name="T41" fmla="*/ 94 h 104"/>
                <a:gd name="T42" fmla="*/ 84 w 118"/>
                <a:gd name="T43" fmla="*/ 92 h 104"/>
                <a:gd name="T44" fmla="*/ 84 w 118"/>
                <a:gd name="T45" fmla="*/ 73 h 104"/>
                <a:gd name="T46" fmla="*/ 114 w 118"/>
                <a:gd name="T47" fmla="*/ 103 h 104"/>
                <a:gd name="T48" fmla="*/ 116 w 118"/>
                <a:gd name="T49" fmla="*/ 104 h 104"/>
                <a:gd name="T50" fmla="*/ 118 w 118"/>
                <a:gd name="T51" fmla="*/ 103 h 104"/>
                <a:gd name="T52" fmla="*/ 118 w 118"/>
                <a:gd name="T53" fmla="*/ 100 h 104"/>
                <a:gd name="T54" fmla="*/ 87 w 118"/>
                <a:gd name="T55" fmla="*/ 69 h 104"/>
                <a:gd name="T56" fmla="*/ 37 w 118"/>
                <a:gd name="T57" fmla="*/ 10 h 104"/>
                <a:gd name="T58" fmla="*/ 34 w 118"/>
                <a:gd name="T59" fmla="*/ 12 h 104"/>
                <a:gd name="T60" fmla="*/ 34 w 118"/>
                <a:gd name="T61" fmla="*/ 31 h 104"/>
                <a:gd name="T62" fmla="*/ 4 w 118"/>
                <a:gd name="T63" fmla="*/ 1 h 104"/>
                <a:gd name="T64" fmla="*/ 0 w 118"/>
                <a:gd name="T65" fmla="*/ 1 h 104"/>
                <a:gd name="T66" fmla="*/ 0 w 118"/>
                <a:gd name="T67" fmla="*/ 4 h 104"/>
                <a:gd name="T68" fmla="*/ 31 w 118"/>
                <a:gd name="T69" fmla="*/ 35 h 104"/>
                <a:gd name="T70" fmla="*/ 12 w 118"/>
                <a:gd name="T71" fmla="*/ 35 h 104"/>
                <a:gd name="T72" fmla="*/ 10 w 118"/>
                <a:gd name="T73" fmla="*/ 37 h 104"/>
                <a:gd name="T74" fmla="*/ 12 w 118"/>
                <a:gd name="T75" fmla="*/ 40 h 104"/>
                <a:gd name="T76" fmla="*/ 39 w 118"/>
                <a:gd name="T77" fmla="*/ 40 h 104"/>
                <a:gd name="T78" fmla="*/ 39 w 118"/>
                <a:gd name="T79" fmla="*/ 12 h 104"/>
                <a:gd name="T80" fmla="*/ 37 w 118"/>
                <a:gd name="T81" fmla="*/ 10 h 104"/>
                <a:gd name="T82" fmla="*/ 108 w 118"/>
                <a:gd name="T83" fmla="*/ 37 h 104"/>
                <a:gd name="T84" fmla="*/ 106 w 118"/>
                <a:gd name="T85" fmla="*/ 35 h 104"/>
                <a:gd name="T86" fmla="*/ 87 w 118"/>
                <a:gd name="T87" fmla="*/ 35 h 104"/>
                <a:gd name="T88" fmla="*/ 118 w 118"/>
                <a:gd name="T89" fmla="*/ 4 h 104"/>
                <a:gd name="T90" fmla="*/ 118 w 118"/>
                <a:gd name="T91" fmla="*/ 1 h 104"/>
                <a:gd name="T92" fmla="*/ 114 w 118"/>
                <a:gd name="T93" fmla="*/ 1 h 104"/>
                <a:gd name="T94" fmla="*/ 84 w 118"/>
                <a:gd name="T95" fmla="*/ 31 h 104"/>
                <a:gd name="T96" fmla="*/ 84 w 118"/>
                <a:gd name="T97" fmla="*/ 12 h 104"/>
                <a:gd name="T98" fmla="*/ 81 w 118"/>
                <a:gd name="T99" fmla="*/ 10 h 104"/>
                <a:gd name="T100" fmla="*/ 79 w 118"/>
                <a:gd name="T101" fmla="*/ 12 h 104"/>
                <a:gd name="T102" fmla="*/ 79 w 118"/>
                <a:gd name="T103" fmla="*/ 40 h 104"/>
                <a:gd name="T104" fmla="*/ 106 w 118"/>
                <a:gd name="T105" fmla="*/ 40 h 104"/>
                <a:gd name="T106" fmla="*/ 108 w 118"/>
                <a:gd name="T107" fmla="*/ 3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04">
                  <a:moveTo>
                    <a:pt x="10" y="67"/>
                  </a:moveTo>
                  <a:cubicBezTo>
                    <a:pt x="10" y="68"/>
                    <a:pt x="11" y="69"/>
                    <a:pt x="12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2"/>
                    <a:pt x="0" y="103"/>
                  </a:cubicBezTo>
                  <a:cubicBezTo>
                    <a:pt x="1" y="104"/>
                    <a:pt x="2" y="104"/>
                    <a:pt x="2" y="104"/>
                  </a:cubicBezTo>
                  <a:cubicBezTo>
                    <a:pt x="3" y="104"/>
                    <a:pt x="3" y="104"/>
                    <a:pt x="4" y="10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34" y="93"/>
                    <a:pt x="35" y="94"/>
                    <a:pt x="37" y="94"/>
                  </a:cubicBezTo>
                  <a:cubicBezTo>
                    <a:pt x="38" y="94"/>
                    <a:pt x="39" y="93"/>
                    <a:pt x="39" y="92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1" y="64"/>
                    <a:pt x="10" y="66"/>
                    <a:pt x="10" y="67"/>
                  </a:cubicBezTo>
                  <a:moveTo>
                    <a:pt x="87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7" y="69"/>
                    <a:pt x="108" y="68"/>
                    <a:pt x="108" y="67"/>
                  </a:cubicBezTo>
                  <a:cubicBezTo>
                    <a:pt x="108" y="66"/>
                    <a:pt x="107" y="64"/>
                    <a:pt x="106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9" y="93"/>
                    <a:pt x="80" y="94"/>
                    <a:pt x="81" y="94"/>
                  </a:cubicBezTo>
                  <a:cubicBezTo>
                    <a:pt x="83" y="94"/>
                    <a:pt x="84" y="93"/>
                    <a:pt x="84" y="92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4"/>
                    <a:pt x="115" y="104"/>
                    <a:pt x="116" y="104"/>
                  </a:cubicBezTo>
                  <a:cubicBezTo>
                    <a:pt x="116" y="104"/>
                    <a:pt x="117" y="104"/>
                    <a:pt x="118" y="103"/>
                  </a:cubicBezTo>
                  <a:cubicBezTo>
                    <a:pt x="118" y="102"/>
                    <a:pt x="118" y="101"/>
                    <a:pt x="118" y="100"/>
                  </a:cubicBezTo>
                  <a:lnTo>
                    <a:pt x="87" y="69"/>
                  </a:lnTo>
                  <a:close/>
                  <a:moveTo>
                    <a:pt x="37" y="10"/>
                  </a:moveTo>
                  <a:cubicBezTo>
                    <a:pt x="35" y="10"/>
                    <a:pt x="34" y="11"/>
                    <a:pt x="34" y="12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0" y="36"/>
                    <a:pt x="10" y="37"/>
                  </a:cubicBezTo>
                  <a:cubicBezTo>
                    <a:pt x="10" y="38"/>
                    <a:pt x="11" y="40"/>
                    <a:pt x="12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1"/>
                    <a:pt x="38" y="10"/>
                    <a:pt x="37" y="10"/>
                  </a:cubicBezTo>
                  <a:moveTo>
                    <a:pt x="108" y="37"/>
                  </a:moveTo>
                  <a:cubicBezTo>
                    <a:pt x="108" y="36"/>
                    <a:pt x="107" y="35"/>
                    <a:pt x="106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3"/>
                    <a:pt x="118" y="2"/>
                    <a:pt x="118" y="1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1"/>
                    <a:pt x="83" y="10"/>
                    <a:pt x="81" y="10"/>
                  </a:cubicBezTo>
                  <a:cubicBezTo>
                    <a:pt x="80" y="10"/>
                    <a:pt x="79" y="11"/>
                    <a:pt x="79" y="12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8" y="38"/>
                    <a:pt x="108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01">
              <a:extLst>
                <a:ext uri="{FF2B5EF4-FFF2-40B4-BE49-F238E27FC236}">
                  <a16:creationId xmlns:a16="http://schemas.microsoft.com/office/drawing/2014/main" id="{CE7DB893-7F0D-4D6B-97D5-EA4EECCE74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0" y="3550"/>
              <a:ext cx="289" cy="255"/>
            </a:xfrm>
            <a:custGeom>
              <a:avLst/>
              <a:gdLst>
                <a:gd name="T0" fmla="*/ 10 w 118"/>
                <a:gd name="T1" fmla="*/ 67 h 104"/>
                <a:gd name="T2" fmla="*/ 12 w 118"/>
                <a:gd name="T3" fmla="*/ 69 h 104"/>
                <a:gd name="T4" fmla="*/ 31 w 118"/>
                <a:gd name="T5" fmla="*/ 69 h 104"/>
                <a:gd name="T6" fmla="*/ 0 w 118"/>
                <a:gd name="T7" fmla="*/ 100 h 104"/>
                <a:gd name="T8" fmla="*/ 0 w 118"/>
                <a:gd name="T9" fmla="*/ 103 h 104"/>
                <a:gd name="T10" fmla="*/ 2 w 118"/>
                <a:gd name="T11" fmla="*/ 104 h 104"/>
                <a:gd name="T12" fmla="*/ 4 w 118"/>
                <a:gd name="T13" fmla="*/ 103 h 104"/>
                <a:gd name="T14" fmla="*/ 34 w 118"/>
                <a:gd name="T15" fmla="*/ 73 h 104"/>
                <a:gd name="T16" fmla="*/ 34 w 118"/>
                <a:gd name="T17" fmla="*/ 92 h 104"/>
                <a:gd name="T18" fmla="*/ 37 w 118"/>
                <a:gd name="T19" fmla="*/ 94 h 104"/>
                <a:gd name="T20" fmla="*/ 39 w 118"/>
                <a:gd name="T21" fmla="*/ 92 h 104"/>
                <a:gd name="T22" fmla="*/ 39 w 118"/>
                <a:gd name="T23" fmla="*/ 64 h 104"/>
                <a:gd name="T24" fmla="*/ 12 w 118"/>
                <a:gd name="T25" fmla="*/ 64 h 104"/>
                <a:gd name="T26" fmla="*/ 10 w 118"/>
                <a:gd name="T27" fmla="*/ 67 h 104"/>
                <a:gd name="T28" fmla="*/ 87 w 118"/>
                <a:gd name="T29" fmla="*/ 69 h 104"/>
                <a:gd name="T30" fmla="*/ 106 w 118"/>
                <a:gd name="T31" fmla="*/ 69 h 104"/>
                <a:gd name="T32" fmla="*/ 108 w 118"/>
                <a:gd name="T33" fmla="*/ 67 h 104"/>
                <a:gd name="T34" fmla="*/ 106 w 118"/>
                <a:gd name="T35" fmla="*/ 64 h 104"/>
                <a:gd name="T36" fmla="*/ 79 w 118"/>
                <a:gd name="T37" fmla="*/ 64 h 104"/>
                <a:gd name="T38" fmla="*/ 79 w 118"/>
                <a:gd name="T39" fmla="*/ 92 h 104"/>
                <a:gd name="T40" fmla="*/ 81 w 118"/>
                <a:gd name="T41" fmla="*/ 94 h 104"/>
                <a:gd name="T42" fmla="*/ 84 w 118"/>
                <a:gd name="T43" fmla="*/ 92 h 104"/>
                <a:gd name="T44" fmla="*/ 84 w 118"/>
                <a:gd name="T45" fmla="*/ 73 h 104"/>
                <a:gd name="T46" fmla="*/ 114 w 118"/>
                <a:gd name="T47" fmla="*/ 103 h 104"/>
                <a:gd name="T48" fmla="*/ 116 w 118"/>
                <a:gd name="T49" fmla="*/ 104 h 104"/>
                <a:gd name="T50" fmla="*/ 118 w 118"/>
                <a:gd name="T51" fmla="*/ 103 h 104"/>
                <a:gd name="T52" fmla="*/ 118 w 118"/>
                <a:gd name="T53" fmla="*/ 100 h 104"/>
                <a:gd name="T54" fmla="*/ 87 w 118"/>
                <a:gd name="T55" fmla="*/ 69 h 104"/>
                <a:gd name="T56" fmla="*/ 37 w 118"/>
                <a:gd name="T57" fmla="*/ 10 h 104"/>
                <a:gd name="T58" fmla="*/ 34 w 118"/>
                <a:gd name="T59" fmla="*/ 12 h 104"/>
                <a:gd name="T60" fmla="*/ 34 w 118"/>
                <a:gd name="T61" fmla="*/ 31 h 104"/>
                <a:gd name="T62" fmla="*/ 4 w 118"/>
                <a:gd name="T63" fmla="*/ 1 h 104"/>
                <a:gd name="T64" fmla="*/ 0 w 118"/>
                <a:gd name="T65" fmla="*/ 1 h 104"/>
                <a:gd name="T66" fmla="*/ 0 w 118"/>
                <a:gd name="T67" fmla="*/ 4 h 104"/>
                <a:gd name="T68" fmla="*/ 31 w 118"/>
                <a:gd name="T69" fmla="*/ 35 h 104"/>
                <a:gd name="T70" fmla="*/ 12 w 118"/>
                <a:gd name="T71" fmla="*/ 35 h 104"/>
                <a:gd name="T72" fmla="*/ 10 w 118"/>
                <a:gd name="T73" fmla="*/ 37 h 104"/>
                <a:gd name="T74" fmla="*/ 12 w 118"/>
                <a:gd name="T75" fmla="*/ 40 h 104"/>
                <a:gd name="T76" fmla="*/ 39 w 118"/>
                <a:gd name="T77" fmla="*/ 40 h 104"/>
                <a:gd name="T78" fmla="*/ 39 w 118"/>
                <a:gd name="T79" fmla="*/ 12 h 104"/>
                <a:gd name="T80" fmla="*/ 37 w 118"/>
                <a:gd name="T81" fmla="*/ 10 h 104"/>
                <a:gd name="T82" fmla="*/ 108 w 118"/>
                <a:gd name="T83" fmla="*/ 37 h 104"/>
                <a:gd name="T84" fmla="*/ 106 w 118"/>
                <a:gd name="T85" fmla="*/ 35 h 104"/>
                <a:gd name="T86" fmla="*/ 87 w 118"/>
                <a:gd name="T87" fmla="*/ 35 h 104"/>
                <a:gd name="T88" fmla="*/ 118 w 118"/>
                <a:gd name="T89" fmla="*/ 4 h 104"/>
                <a:gd name="T90" fmla="*/ 118 w 118"/>
                <a:gd name="T91" fmla="*/ 1 h 104"/>
                <a:gd name="T92" fmla="*/ 114 w 118"/>
                <a:gd name="T93" fmla="*/ 1 h 104"/>
                <a:gd name="T94" fmla="*/ 84 w 118"/>
                <a:gd name="T95" fmla="*/ 31 h 104"/>
                <a:gd name="T96" fmla="*/ 84 w 118"/>
                <a:gd name="T97" fmla="*/ 12 h 104"/>
                <a:gd name="T98" fmla="*/ 81 w 118"/>
                <a:gd name="T99" fmla="*/ 10 h 104"/>
                <a:gd name="T100" fmla="*/ 79 w 118"/>
                <a:gd name="T101" fmla="*/ 12 h 104"/>
                <a:gd name="T102" fmla="*/ 79 w 118"/>
                <a:gd name="T103" fmla="*/ 40 h 104"/>
                <a:gd name="T104" fmla="*/ 106 w 118"/>
                <a:gd name="T105" fmla="*/ 40 h 104"/>
                <a:gd name="T106" fmla="*/ 108 w 118"/>
                <a:gd name="T107" fmla="*/ 3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04">
                  <a:moveTo>
                    <a:pt x="10" y="67"/>
                  </a:moveTo>
                  <a:cubicBezTo>
                    <a:pt x="10" y="68"/>
                    <a:pt x="11" y="69"/>
                    <a:pt x="12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2"/>
                    <a:pt x="0" y="103"/>
                  </a:cubicBezTo>
                  <a:cubicBezTo>
                    <a:pt x="1" y="104"/>
                    <a:pt x="2" y="104"/>
                    <a:pt x="2" y="104"/>
                  </a:cubicBezTo>
                  <a:cubicBezTo>
                    <a:pt x="3" y="104"/>
                    <a:pt x="3" y="104"/>
                    <a:pt x="4" y="10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34" y="93"/>
                    <a:pt x="35" y="94"/>
                    <a:pt x="37" y="94"/>
                  </a:cubicBezTo>
                  <a:cubicBezTo>
                    <a:pt x="38" y="94"/>
                    <a:pt x="39" y="93"/>
                    <a:pt x="39" y="92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1" y="64"/>
                    <a:pt x="10" y="66"/>
                    <a:pt x="10" y="67"/>
                  </a:cubicBezTo>
                  <a:moveTo>
                    <a:pt x="87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7" y="69"/>
                    <a:pt x="108" y="68"/>
                    <a:pt x="108" y="67"/>
                  </a:cubicBezTo>
                  <a:cubicBezTo>
                    <a:pt x="108" y="66"/>
                    <a:pt x="107" y="64"/>
                    <a:pt x="106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9" y="93"/>
                    <a:pt x="80" y="94"/>
                    <a:pt x="81" y="94"/>
                  </a:cubicBezTo>
                  <a:cubicBezTo>
                    <a:pt x="83" y="94"/>
                    <a:pt x="84" y="93"/>
                    <a:pt x="84" y="92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4"/>
                    <a:pt x="115" y="104"/>
                    <a:pt x="116" y="104"/>
                  </a:cubicBezTo>
                  <a:cubicBezTo>
                    <a:pt x="116" y="104"/>
                    <a:pt x="117" y="104"/>
                    <a:pt x="118" y="103"/>
                  </a:cubicBezTo>
                  <a:cubicBezTo>
                    <a:pt x="118" y="102"/>
                    <a:pt x="118" y="101"/>
                    <a:pt x="118" y="100"/>
                  </a:cubicBezTo>
                  <a:lnTo>
                    <a:pt x="87" y="69"/>
                  </a:lnTo>
                  <a:close/>
                  <a:moveTo>
                    <a:pt x="37" y="10"/>
                  </a:moveTo>
                  <a:cubicBezTo>
                    <a:pt x="35" y="10"/>
                    <a:pt x="34" y="11"/>
                    <a:pt x="34" y="12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0" y="36"/>
                    <a:pt x="10" y="37"/>
                  </a:cubicBezTo>
                  <a:cubicBezTo>
                    <a:pt x="10" y="38"/>
                    <a:pt x="11" y="40"/>
                    <a:pt x="12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1"/>
                    <a:pt x="38" y="10"/>
                    <a:pt x="37" y="10"/>
                  </a:cubicBezTo>
                  <a:moveTo>
                    <a:pt x="108" y="37"/>
                  </a:moveTo>
                  <a:cubicBezTo>
                    <a:pt x="108" y="36"/>
                    <a:pt x="107" y="35"/>
                    <a:pt x="106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3"/>
                    <a:pt x="118" y="2"/>
                    <a:pt x="118" y="1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1"/>
                    <a:pt x="83" y="10"/>
                    <a:pt x="81" y="10"/>
                  </a:cubicBezTo>
                  <a:cubicBezTo>
                    <a:pt x="80" y="10"/>
                    <a:pt x="79" y="11"/>
                    <a:pt x="79" y="12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8" y="38"/>
                    <a:pt x="108" y="3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5" name="Group 204">
            <a:extLst>
              <a:ext uri="{FF2B5EF4-FFF2-40B4-BE49-F238E27FC236}">
                <a16:creationId xmlns:a16="http://schemas.microsoft.com/office/drawing/2014/main" id="{9AE53252-1252-4B3B-92F7-3E23BB1F34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24321" y="5412407"/>
            <a:ext cx="842963" cy="839788"/>
            <a:chOff x="1642" y="3432"/>
            <a:chExt cx="531" cy="529"/>
          </a:xfrm>
        </p:grpSpPr>
        <p:sp>
          <p:nvSpPr>
            <p:cNvPr id="256" name="AutoShape 203">
              <a:extLst>
                <a:ext uri="{FF2B5EF4-FFF2-40B4-BE49-F238E27FC236}">
                  <a16:creationId xmlns:a16="http://schemas.microsoft.com/office/drawing/2014/main" id="{7CF45446-1FE1-4E60-91D0-F6E85592B8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42" y="3432"/>
              <a:ext cx="531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205">
              <a:extLst>
                <a:ext uri="{FF2B5EF4-FFF2-40B4-BE49-F238E27FC236}">
                  <a16:creationId xmlns:a16="http://schemas.microsoft.com/office/drawing/2014/main" id="{7F9AA1FB-3A75-49CE-AC7B-B17C32DC1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2" y="3432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06">
              <a:extLst>
                <a:ext uri="{FF2B5EF4-FFF2-40B4-BE49-F238E27FC236}">
                  <a16:creationId xmlns:a16="http://schemas.microsoft.com/office/drawing/2014/main" id="{0ADC5DB0-9047-4FE9-982F-16D4F90824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0" y="3450"/>
              <a:ext cx="498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07">
              <a:extLst>
                <a:ext uri="{FF2B5EF4-FFF2-40B4-BE49-F238E27FC236}">
                  <a16:creationId xmlns:a16="http://schemas.microsoft.com/office/drawing/2014/main" id="{5E4B1AF0-44CF-47EF-9D41-F0330385E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7" y="3565"/>
              <a:ext cx="303" cy="266"/>
            </a:xfrm>
            <a:custGeom>
              <a:avLst/>
              <a:gdLst>
                <a:gd name="T0" fmla="*/ 10 w 118"/>
                <a:gd name="T1" fmla="*/ 67 h 104"/>
                <a:gd name="T2" fmla="*/ 12 w 118"/>
                <a:gd name="T3" fmla="*/ 69 h 104"/>
                <a:gd name="T4" fmla="*/ 31 w 118"/>
                <a:gd name="T5" fmla="*/ 69 h 104"/>
                <a:gd name="T6" fmla="*/ 0 w 118"/>
                <a:gd name="T7" fmla="*/ 100 h 104"/>
                <a:gd name="T8" fmla="*/ 0 w 118"/>
                <a:gd name="T9" fmla="*/ 103 h 104"/>
                <a:gd name="T10" fmla="*/ 2 w 118"/>
                <a:gd name="T11" fmla="*/ 104 h 104"/>
                <a:gd name="T12" fmla="*/ 4 w 118"/>
                <a:gd name="T13" fmla="*/ 103 h 104"/>
                <a:gd name="T14" fmla="*/ 34 w 118"/>
                <a:gd name="T15" fmla="*/ 73 h 104"/>
                <a:gd name="T16" fmla="*/ 34 w 118"/>
                <a:gd name="T17" fmla="*/ 92 h 104"/>
                <a:gd name="T18" fmla="*/ 37 w 118"/>
                <a:gd name="T19" fmla="*/ 94 h 104"/>
                <a:gd name="T20" fmla="*/ 39 w 118"/>
                <a:gd name="T21" fmla="*/ 92 h 104"/>
                <a:gd name="T22" fmla="*/ 39 w 118"/>
                <a:gd name="T23" fmla="*/ 64 h 104"/>
                <a:gd name="T24" fmla="*/ 12 w 118"/>
                <a:gd name="T25" fmla="*/ 64 h 104"/>
                <a:gd name="T26" fmla="*/ 10 w 118"/>
                <a:gd name="T27" fmla="*/ 67 h 104"/>
                <a:gd name="T28" fmla="*/ 87 w 118"/>
                <a:gd name="T29" fmla="*/ 69 h 104"/>
                <a:gd name="T30" fmla="*/ 106 w 118"/>
                <a:gd name="T31" fmla="*/ 69 h 104"/>
                <a:gd name="T32" fmla="*/ 108 w 118"/>
                <a:gd name="T33" fmla="*/ 67 h 104"/>
                <a:gd name="T34" fmla="*/ 106 w 118"/>
                <a:gd name="T35" fmla="*/ 64 h 104"/>
                <a:gd name="T36" fmla="*/ 79 w 118"/>
                <a:gd name="T37" fmla="*/ 64 h 104"/>
                <a:gd name="T38" fmla="*/ 79 w 118"/>
                <a:gd name="T39" fmla="*/ 92 h 104"/>
                <a:gd name="T40" fmla="*/ 81 w 118"/>
                <a:gd name="T41" fmla="*/ 94 h 104"/>
                <a:gd name="T42" fmla="*/ 84 w 118"/>
                <a:gd name="T43" fmla="*/ 92 h 104"/>
                <a:gd name="T44" fmla="*/ 84 w 118"/>
                <a:gd name="T45" fmla="*/ 73 h 104"/>
                <a:gd name="T46" fmla="*/ 114 w 118"/>
                <a:gd name="T47" fmla="*/ 103 h 104"/>
                <a:gd name="T48" fmla="*/ 116 w 118"/>
                <a:gd name="T49" fmla="*/ 104 h 104"/>
                <a:gd name="T50" fmla="*/ 118 w 118"/>
                <a:gd name="T51" fmla="*/ 103 h 104"/>
                <a:gd name="T52" fmla="*/ 118 w 118"/>
                <a:gd name="T53" fmla="*/ 100 h 104"/>
                <a:gd name="T54" fmla="*/ 87 w 118"/>
                <a:gd name="T55" fmla="*/ 69 h 104"/>
                <a:gd name="T56" fmla="*/ 37 w 118"/>
                <a:gd name="T57" fmla="*/ 10 h 104"/>
                <a:gd name="T58" fmla="*/ 34 w 118"/>
                <a:gd name="T59" fmla="*/ 12 h 104"/>
                <a:gd name="T60" fmla="*/ 34 w 118"/>
                <a:gd name="T61" fmla="*/ 31 h 104"/>
                <a:gd name="T62" fmla="*/ 4 w 118"/>
                <a:gd name="T63" fmla="*/ 1 h 104"/>
                <a:gd name="T64" fmla="*/ 0 w 118"/>
                <a:gd name="T65" fmla="*/ 1 h 104"/>
                <a:gd name="T66" fmla="*/ 0 w 118"/>
                <a:gd name="T67" fmla="*/ 4 h 104"/>
                <a:gd name="T68" fmla="*/ 31 w 118"/>
                <a:gd name="T69" fmla="*/ 35 h 104"/>
                <a:gd name="T70" fmla="*/ 12 w 118"/>
                <a:gd name="T71" fmla="*/ 35 h 104"/>
                <a:gd name="T72" fmla="*/ 10 w 118"/>
                <a:gd name="T73" fmla="*/ 37 h 104"/>
                <a:gd name="T74" fmla="*/ 12 w 118"/>
                <a:gd name="T75" fmla="*/ 40 h 104"/>
                <a:gd name="T76" fmla="*/ 39 w 118"/>
                <a:gd name="T77" fmla="*/ 40 h 104"/>
                <a:gd name="T78" fmla="*/ 39 w 118"/>
                <a:gd name="T79" fmla="*/ 12 h 104"/>
                <a:gd name="T80" fmla="*/ 37 w 118"/>
                <a:gd name="T81" fmla="*/ 10 h 104"/>
                <a:gd name="T82" fmla="*/ 108 w 118"/>
                <a:gd name="T83" fmla="*/ 37 h 104"/>
                <a:gd name="T84" fmla="*/ 106 w 118"/>
                <a:gd name="T85" fmla="*/ 35 h 104"/>
                <a:gd name="T86" fmla="*/ 87 w 118"/>
                <a:gd name="T87" fmla="*/ 35 h 104"/>
                <a:gd name="T88" fmla="*/ 118 w 118"/>
                <a:gd name="T89" fmla="*/ 4 h 104"/>
                <a:gd name="T90" fmla="*/ 118 w 118"/>
                <a:gd name="T91" fmla="*/ 1 h 104"/>
                <a:gd name="T92" fmla="*/ 114 w 118"/>
                <a:gd name="T93" fmla="*/ 1 h 104"/>
                <a:gd name="T94" fmla="*/ 84 w 118"/>
                <a:gd name="T95" fmla="*/ 31 h 104"/>
                <a:gd name="T96" fmla="*/ 84 w 118"/>
                <a:gd name="T97" fmla="*/ 12 h 104"/>
                <a:gd name="T98" fmla="*/ 81 w 118"/>
                <a:gd name="T99" fmla="*/ 10 h 104"/>
                <a:gd name="T100" fmla="*/ 79 w 118"/>
                <a:gd name="T101" fmla="*/ 12 h 104"/>
                <a:gd name="T102" fmla="*/ 79 w 118"/>
                <a:gd name="T103" fmla="*/ 40 h 104"/>
                <a:gd name="T104" fmla="*/ 106 w 118"/>
                <a:gd name="T105" fmla="*/ 40 h 104"/>
                <a:gd name="T106" fmla="*/ 108 w 118"/>
                <a:gd name="T107" fmla="*/ 3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04">
                  <a:moveTo>
                    <a:pt x="10" y="67"/>
                  </a:moveTo>
                  <a:cubicBezTo>
                    <a:pt x="10" y="68"/>
                    <a:pt x="11" y="69"/>
                    <a:pt x="12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2"/>
                    <a:pt x="0" y="103"/>
                  </a:cubicBezTo>
                  <a:cubicBezTo>
                    <a:pt x="1" y="104"/>
                    <a:pt x="2" y="104"/>
                    <a:pt x="2" y="104"/>
                  </a:cubicBezTo>
                  <a:cubicBezTo>
                    <a:pt x="3" y="104"/>
                    <a:pt x="3" y="104"/>
                    <a:pt x="4" y="10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92"/>
                    <a:pt x="34" y="92"/>
                    <a:pt x="34" y="92"/>
                  </a:cubicBezTo>
                  <a:cubicBezTo>
                    <a:pt x="34" y="93"/>
                    <a:pt x="35" y="94"/>
                    <a:pt x="37" y="94"/>
                  </a:cubicBezTo>
                  <a:cubicBezTo>
                    <a:pt x="38" y="94"/>
                    <a:pt x="39" y="93"/>
                    <a:pt x="39" y="92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1" y="64"/>
                    <a:pt x="10" y="66"/>
                    <a:pt x="10" y="67"/>
                  </a:cubicBezTo>
                  <a:moveTo>
                    <a:pt x="87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7" y="69"/>
                    <a:pt x="108" y="68"/>
                    <a:pt x="108" y="67"/>
                  </a:cubicBezTo>
                  <a:cubicBezTo>
                    <a:pt x="108" y="66"/>
                    <a:pt x="107" y="64"/>
                    <a:pt x="106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9" y="93"/>
                    <a:pt x="80" y="94"/>
                    <a:pt x="81" y="94"/>
                  </a:cubicBezTo>
                  <a:cubicBezTo>
                    <a:pt x="83" y="94"/>
                    <a:pt x="84" y="93"/>
                    <a:pt x="84" y="92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4"/>
                    <a:pt x="115" y="104"/>
                    <a:pt x="116" y="104"/>
                  </a:cubicBezTo>
                  <a:cubicBezTo>
                    <a:pt x="116" y="104"/>
                    <a:pt x="117" y="104"/>
                    <a:pt x="118" y="103"/>
                  </a:cubicBezTo>
                  <a:cubicBezTo>
                    <a:pt x="118" y="102"/>
                    <a:pt x="118" y="101"/>
                    <a:pt x="118" y="100"/>
                  </a:cubicBezTo>
                  <a:lnTo>
                    <a:pt x="87" y="69"/>
                  </a:lnTo>
                  <a:close/>
                  <a:moveTo>
                    <a:pt x="37" y="10"/>
                  </a:moveTo>
                  <a:cubicBezTo>
                    <a:pt x="35" y="10"/>
                    <a:pt x="34" y="11"/>
                    <a:pt x="34" y="12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0" y="36"/>
                    <a:pt x="10" y="37"/>
                  </a:cubicBezTo>
                  <a:cubicBezTo>
                    <a:pt x="10" y="38"/>
                    <a:pt x="11" y="40"/>
                    <a:pt x="12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1"/>
                    <a:pt x="38" y="10"/>
                    <a:pt x="37" y="10"/>
                  </a:cubicBezTo>
                  <a:moveTo>
                    <a:pt x="108" y="37"/>
                  </a:moveTo>
                  <a:cubicBezTo>
                    <a:pt x="108" y="36"/>
                    <a:pt x="107" y="35"/>
                    <a:pt x="106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3"/>
                    <a:pt x="118" y="2"/>
                    <a:pt x="118" y="1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1"/>
                    <a:pt x="83" y="10"/>
                    <a:pt x="81" y="10"/>
                  </a:cubicBezTo>
                  <a:cubicBezTo>
                    <a:pt x="80" y="10"/>
                    <a:pt x="79" y="11"/>
                    <a:pt x="79" y="12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8" y="38"/>
                    <a:pt x="108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4" name="Group 210">
            <a:extLst>
              <a:ext uri="{FF2B5EF4-FFF2-40B4-BE49-F238E27FC236}">
                <a16:creationId xmlns:a16="http://schemas.microsoft.com/office/drawing/2014/main" id="{B1D3F6BB-90F5-4152-A5B7-1DA7E0F775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5717" y="5452889"/>
            <a:ext cx="758825" cy="758825"/>
            <a:chOff x="3497" y="3424"/>
            <a:chExt cx="478" cy="478"/>
          </a:xfrm>
        </p:grpSpPr>
        <p:sp>
          <p:nvSpPr>
            <p:cNvPr id="265" name="AutoShape 209">
              <a:extLst>
                <a:ext uri="{FF2B5EF4-FFF2-40B4-BE49-F238E27FC236}">
                  <a16:creationId xmlns:a16="http://schemas.microsoft.com/office/drawing/2014/main" id="{A05ED314-F961-4EDC-87C3-9CF40D6E8F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97" y="342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11">
              <a:extLst>
                <a:ext uri="{FF2B5EF4-FFF2-40B4-BE49-F238E27FC236}">
                  <a16:creationId xmlns:a16="http://schemas.microsoft.com/office/drawing/2014/main" id="{C5A66E8C-DA3A-408D-8DED-F51BF851F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" y="342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12">
              <a:extLst>
                <a:ext uri="{FF2B5EF4-FFF2-40B4-BE49-F238E27FC236}">
                  <a16:creationId xmlns:a16="http://schemas.microsoft.com/office/drawing/2014/main" id="{9C6694D9-B9AE-4DE9-BE83-B7EB0235F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" y="3544"/>
              <a:ext cx="382" cy="221"/>
            </a:xfrm>
            <a:custGeom>
              <a:avLst/>
              <a:gdLst>
                <a:gd name="T0" fmla="*/ 116 w 156"/>
                <a:gd name="T1" fmla="*/ 18 h 90"/>
                <a:gd name="T2" fmla="*/ 119 w 156"/>
                <a:gd name="T3" fmla="*/ 18 h 90"/>
                <a:gd name="T4" fmla="*/ 109 w 156"/>
                <a:gd name="T5" fmla="*/ 27 h 90"/>
                <a:gd name="T6" fmla="*/ 113 w 156"/>
                <a:gd name="T7" fmla="*/ 31 h 90"/>
                <a:gd name="T8" fmla="*/ 129 w 156"/>
                <a:gd name="T9" fmla="*/ 15 h 90"/>
                <a:gd name="T10" fmla="*/ 113 w 156"/>
                <a:gd name="T11" fmla="*/ 0 h 90"/>
                <a:gd name="T12" fmla="*/ 109 w 156"/>
                <a:gd name="T13" fmla="*/ 3 h 90"/>
                <a:gd name="T14" fmla="*/ 120 w 156"/>
                <a:gd name="T15" fmla="*/ 13 h 90"/>
                <a:gd name="T16" fmla="*/ 116 w 156"/>
                <a:gd name="T17" fmla="*/ 13 h 90"/>
                <a:gd name="T18" fmla="*/ 76 w 156"/>
                <a:gd name="T19" fmla="*/ 51 h 90"/>
                <a:gd name="T20" fmla="*/ 40 w 156"/>
                <a:gd name="T21" fmla="*/ 85 h 90"/>
                <a:gd name="T22" fmla="*/ 5 w 156"/>
                <a:gd name="T23" fmla="*/ 52 h 90"/>
                <a:gd name="T24" fmla="*/ 40 w 156"/>
                <a:gd name="T25" fmla="*/ 18 h 90"/>
                <a:gd name="T26" fmla="*/ 72 w 156"/>
                <a:gd name="T27" fmla="*/ 46 h 90"/>
                <a:gd name="T28" fmla="*/ 75 w 156"/>
                <a:gd name="T29" fmla="*/ 40 h 90"/>
                <a:gd name="T30" fmla="*/ 40 w 156"/>
                <a:gd name="T31" fmla="*/ 13 h 90"/>
                <a:gd name="T32" fmla="*/ 0 w 156"/>
                <a:gd name="T33" fmla="*/ 52 h 90"/>
                <a:gd name="T34" fmla="*/ 40 w 156"/>
                <a:gd name="T35" fmla="*/ 90 h 90"/>
                <a:gd name="T36" fmla="*/ 80 w 156"/>
                <a:gd name="T37" fmla="*/ 52 h 90"/>
                <a:gd name="T38" fmla="*/ 116 w 156"/>
                <a:gd name="T39" fmla="*/ 18 h 90"/>
                <a:gd name="T40" fmla="*/ 137 w 156"/>
                <a:gd name="T41" fmla="*/ 19 h 90"/>
                <a:gd name="T42" fmla="*/ 133 w 156"/>
                <a:gd name="T43" fmla="*/ 20 h 90"/>
                <a:gd name="T44" fmla="*/ 134 w 156"/>
                <a:gd name="T45" fmla="*/ 23 h 90"/>
                <a:gd name="T46" fmla="*/ 151 w 156"/>
                <a:gd name="T47" fmla="*/ 52 h 90"/>
                <a:gd name="T48" fmla="*/ 116 w 156"/>
                <a:gd name="T49" fmla="*/ 85 h 90"/>
                <a:gd name="T50" fmla="*/ 84 w 156"/>
                <a:gd name="T51" fmla="*/ 57 h 90"/>
                <a:gd name="T52" fmla="*/ 81 w 156"/>
                <a:gd name="T53" fmla="*/ 63 h 90"/>
                <a:gd name="T54" fmla="*/ 116 w 156"/>
                <a:gd name="T55" fmla="*/ 90 h 90"/>
                <a:gd name="T56" fmla="*/ 156 w 156"/>
                <a:gd name="T57" fmla="*/ 52 h 90"/>
                <a:gd name="T58" fmla="*/ 137 w 156"/>
                <a:gd name="T59" fmla="*/ 1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6" h="90">
                  <a:moveTo>
                    <a:pt x="116" y="18"/>
                  </a:moveTo>
                  <a:cubicBezTo>
                    <a:pt x="117" y="18"/>
                    <a:pt x="118" y="18"/>
                    <a:pt x="119" y="18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8" y="13"/>
                    <a:pt x="117" y="13"/>
                    <a:pt x="116" y="13"/>
                  </a:cubicBezTo>
                  <a:cubicBezTo>
                    <a:pt x="96" y="13"/>
                    <a:pt x="83" y="33"/>
                    <a:pt x="76" y="51"/>
                  </a:cubicBezTo>
                  <a:cubicBezTo>
                    <a:pt x="69" y="66"/>
                    <a:pt x="57" y="85"/>
                    <a:pt x="40" y="85"/>
                  </a:cubicBezTo>
                  <a:cubicBezTo>
                    <a:pt x="21" y="85"/>
                    <a:pt x="5" y="70"/>
                    <a:pt x="5" y="52"/>
                  </a:cubicBezTo>
                  <a:cubicBezTo>
                    <a:pt x="5" y="33"/>
                    <a:pt x="21" y="18"/>
                    <a:pt x="40" y="18"/>
                  </a:cubicBezTo>
                  <a:cubicBezTo>
                    <a:pt x="55" y="18"/>
                    <a:pt x="65" y="32"/>
                    <a:pt x="72" y="46"/>
                  </a:cubicBezTo>
                  <a:cubicBezTo>
                    <a:pt x="73" y="44"/>
                    <a:pt x="74" y="42"/>
                    <a:pt x="75" y="40"/>
                  </a:cubicBezTo>
                  <a:cubicBezTo>
                    <a:pt x="67" y="26"/>
                    <a:pt x="56" y="13"/>
                    <a:pt x="40" y="13"/>
                  </a:cubicBezTo>
                  <a:cubicBezTo>
                    <a:pt x="18" y="13"/>
                    <a:pt x="0" y="30"/>
                    <a:pt x="0" y="52"/>
                  </a:cubicBezTo>
                  <a:cubicBezTo>
                    <a:pt x="0" y="73"/>
                    <a:pt x="18" y="90"/>
                    <a:pt x="40" y="90"/>
                  </a:cubicBezTo>
                  <a:cubicBezTo>
                    <a:pt x="60" y="90"/>
                    <a:pt x="73" y="70"/>
                    <a:pt x="80" y="52"/>
                  </a:cubicBezTo>
                  <a:cubicBezTo>
                    <a:pt x="87" y="37"/>
                    <a:pt x="99" y="18"/>
                    <a:pt x="116" y="18"/>
                  </a:cubicBezTo>
                  <a:moveTo>
                    <a:pt x="137" y="19"/>
                  </a:moveTo>
                  <a:cubicBezTo>
                    <a:pt x="136" y="18"/>
                    <a:pt x="134" y="19"/>
                    <a:pt x="133" y="20"/>
                  </a:cubicBezTo>
                  <a:cubicBezTo>
                    <a:pt x="133" y="21"/>
                    <a:pt x="133" y="22"/>
                    <a:pt x="134" y="23"/>
                  </a:cubicBezTo>
                  <a:cubicBezTo>
                    <a:pt x="144" y="29"/>
                    <a:pt x="151" y="40"/>
                    <a:pt x="151" y="52"/>
                  </a:cubicBezTo>
                  <a:cubicBezTo>
                    <a:pt x="151" y="70"/>
                    <a:pt x="135" y="85"/>
                    <a:pt x="116" y="85"/>
                  </a:cubicBezTo>
                  <a:cubicBezTo>
                    <a:pt x="101" y="85"/>
                    <a:pt x="91" y="71"/>
                    <a:pt x="84" y="57"/>
                  </a:cubicBezTo>
                  <a:cubicBezTo>
                    <a:pt x="83" y="59"/>
                    <a:pt x="82" y="61"/>
                    <a:pt x="81" y="63"/>
                  </a:cubicBezTo>
                  <a:cubicBezTo>
                    <a:pt x="89" y="77"/>
                    <a:pt x="100" y="90"/>
                    <a:pt x="116" y="90"/>
                  </a:cubicBezTo>
                  <a:cubicBezTo>
                    <a:pt x="138" y="90"/>
                    <a:pt x="156" y="73"/>
                    <a:pt x="156" y="52"/>
                  </a:cubicBezTo>
                  <a:cubicBezTo>
                    <a:pt x="156" y="38"/>
                    <a:pt x="149" y="26"/>
                    <a:pt x="137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13">
              <a:extLst>
                <a:ext uri="{FF2B5EF4-FFF2-40B4-BE49-F238E27FC236}">
                  <a16:creationId xmlns:a16="http://schemas.microsoft.com/office/drawing/2014/main" id="{5B4290AF-F434-4A57-9F4B-22D7EC7B0C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" y="3544"/>
              <a:ext cx="382" cy="221"/>
            </a:xfrm>
            <a:custGeom>
              <a:avLst/>
              <a:gdLst>
                <a:gd name="T0" fmla="*/ 116 w 156"/>
                <a:gd name="T1" fmla="*/ 18 h 90"/>
                <a:gd name="T2" fmla="*/ 119 w 156"/>
                <a:gd name="T3" fmla="*/ 18 h 90"/>
                <a:gd name="T4" fmla="*/ 109 w 156"/>
                <a:gd name="T5" fmla="*/ 27 h 90"/>
                <a:gd name="T6" fmla="*/ 113 w 156"/>
                <a:gd name="T7" fmla="*/ 31 h 90"/>
                <a:gd name="T8" fmla="*/ 129 w 156"/>
                <a:gd name="T9" fmla="*/ 15 h 90"/>
                <a:gd name="T10" fmla="*/ 113 w 156"/>
                <a:gd name="T11" fmla="*/ 0 h 90"/>
                <a:gd name="T12" fmla="*/ 109 w 156"/>
                <a:gd name="T13" fmla="*/ 3 h 90"/>
                <a:gd name="T14" fmla="*/ 120 w 156"/>
                <a:gd name="T15" fmla="*/ 13 h 90"/>
                <a:gd name="T16" fmla="*/ 116 w 156"/>
                <a:gd name="T17" fmla="*/ 13 h 90"/>
                <a:gd name="T18" fmla="*/ 76 w 156"/>
                <a:gd name="T19" fmla="*/ 51 h 90"/>
                <a:gd name="T20" fmla="*/ 40 w 156"/>
                <a:gd name="T21" fmla="*/ 85 h 90"/>
                <a:gd name="T22" fmla="*/ 5 w 156"/>
                <a:gd name="T23" fmla="*/ 52 h 90"/>
                <a:gd name="T24" fmla="*/ 40 w 156"/>
                <a:gd name="T25" fmla="*/ 18 h 90"/>
                <a:gd name="T26" fmla="*/ 72 w 156"/>
                <a:gd name="T27" fmla="*/ 46 h 90"/>
                <a:gd name="T28" fmla="*/ 75 w 156"/>
                <a:gd name="T29" fmla="*/ 40 h 90"/>
                <a:gd name="T30" fmla="*/ 40 w 156"/>
                <a:gd name="T31" fmla="*/ 13 h 90"/>
                <a:gd name="T32" fmla="*/ 0 w 156"/>
                <a:gd name="T33" fmla="*/ 52 h 90"/>
                <a:gd name="T34" fmla="*/ 40 w 156"/>
                <a:gd name="T35" fmla="*/ 90 h 90"/>
                <a:gd name="T36" fmla="*/ 80 w 156"/>
                <a:gd name="T37" fmla="*/ 52 h 90"/>
                <a:gd name="T38" fmla="*/ 116 w 156"/>
                <a:gd name="T39" fmla="*/ 18 h 90"/>
                <a:gd name="T40" fmla="*/ 137 w 156"/>
                <a:gd name="T41" fmla="*/ 19 h 90"/>
                <a:gd name="T42" fmla="*/ 133 w 156"/>
                <a:gd name="T43" fmla="*/ 20 h 90"/>
                <a:gd name="T44" fmla="*/ 134 w 156"/>
                <a:gd name="T45" fmla="*/ 23 h 90"/>
                <a:gd name="T46" fmla="*/ 151 w 156"/>
                <a:gd name="T47" fmla="*/ 52 h 90"/>
                <a:gd name="T48" fmla="*/ 116 w 156"/>
                <a:gd name="T49" fmla="*/ 85 h 90"/>
                <a:gd name="T50" fmla="*/ 84 w 156"/>
                <a:gd name="T51" fmla="*/ 57 h 90"/>
                <a:gd name="T52" fmla="*/ 81 w 156"/>
                <a:gd name="T53" fmla="*/ 63 h 90"/>
                <a:gd name="T54" fmla="*/ 116 w 156"/>
                <a:gd name="T55" fmla="*/ 90 h 90"/>
                <a:gd name="T56" fmla="*/ 156 w 156"/>
                <a:gd name="T57" fmla="*/ 52 h 90"/>
                <a:gd name="T58" fmla="*/ 137 w 156"/>
                <a:gd name="T59" fmla="*/ 1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6" h="90">
                  <a:moveTo>
                    <a:pt x="116" y="18"/>
                  </a:moveTo>
                  <a:cubicBezTo>
                    <a:pt x="117" y="18"/>
                    <a:pt x="118" y="18"/>
                    <a:pt x="119" y="18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8" y="13"/>
                    <a:pt x="117" y="13"/>
                    <a:pt x="116" y="13"/>
                  </a:cubicBezTo>
                  <a:cubicBezTo>
                    <a:pt x="96" y="13"/>
                    <a:pt x="83" y="33"/>
                    <a:pt x="76" y="51"/>
                  </a:cubicBezTo>
                  <a:cubicBezTo>
                    <a:pt x="69" y="66"/>
                    <a:pt x="57" y="85"/>
                    <a:pt x="40" y="85"/>
                  </a:cubicBezTo>
                  <a:cubicBezTo>
                    <a:pt x="21" y="85"/>
                    <a:pt x="5" y="70"/>
                    <a:pt x="5" y="52"/>
                  </a:cubicBezTo>
                  <a:cubicBezTo>
                    <a:pt x="5" y="33"/>
                    <a:pt x="21" y="18"/>
                    <a:pt x="40" y="18"/>
                  </a:cubicBezTo>
                  <a:cubicBezTo>
                    <a:pt x="55" y="18"/>
                    <a:pt x="65" y="32"/>
                    <a:pt x="72" y="46"/>
                  </a:cubicBezTo>
                  <a:cubicBezTo>
                    <a:pt x="73" y="44"/>
                    <a:pt x="74" y="42"/>
                    <a:pt x="75" y="40"/>
                  </a:cubicBezTo>
                  <a:cubicBezTo>
                    <a:pt x="67" y="26"/>
                    <a:pt x="56" y="13"/>
                    <a:pt x="40" y="13"/>
                  </a:cubicBezTo>
                  <a:cubicBezTo>
                    <a:pt x="18" y="13"/>
                    <a:pt x="0" y="30"/>
                    <a:pt x="0" y="52"/>
                  </a:cubicBezTo>
                  <a:cubicBezTo>
                    <a:pt x="0" y="73"/>
                    <a:pt x="18" y="90"/>
                    <a:pt x="40" y="90"/>
                  </a:cubicBezTo>
                  <a:cubicBezTo>
                    <a:pt x="60" y="90"/>
                    <a:pt x="73" y="70"/>
                    <a:pt x="80" y="52"/>
                  </a:cubicBezTo>
                  <a:cubicBezTo>
                    <a:pt x="87" y="37"/>
                    <a:pt x="99" y="18"/>
                    <a:pt x="116" y="18"/>
                  </a:cubicBezTo>
                  <a:moveTo>
                    <a:pt x="137" y="19"/>
                  </a:moveTo>
                  <a:cubicBezTo>
                    <a:pt x="136" y="18"/>
                    <a:pt x="134" y="19"/>
                    <a:pt x="133" y="20"/>
                  </a:cubicBezTo>
                  <a:cubicBezTo>
                    <a:pt x="133" y="21"/>
                    <a:pt x="133" y="22"/>
                    <a:pt x="134" y="23"/>
                  </a:cubicBezTo>
                  <a:cubicBezTo>
                    <a:pt x="144" y="29"/>
                    <a:pt x="151" y="40"/>
                    <a:pt x="151" y="52"/>
                  </a:cubicBezTo>
                  <a:cubicBezTo>
                    <a:pt x="151" y="70"/>
                    <a:pt x="135" y="85"/>
                    <a:pt x="116" y="85"/>
                  </a:cubicBezTo>
                  <a:cubicBezTo>
                    <a:pt x="101" y="85"/>
                    <a:pt x="91" y="71"/>
                    <a:pt x="84" y="57"/>
                  </a:cubicBezTo>
                  <a:cubicBezTo>
                    <a:pt x="83" y="59"/>
                    <a:pt x="82" y="61"/>
                    <a:pt x="81" y="63"/>
                  </a:cubicBezTo>
                  <a:cubicBezTo>
                    <a:pt x="89" y="77"/>
                    <a:pt x="100" y="90"/>
                    <a:pt x="116" y="90"/>
                  </a:cubicBezTo>
                  <a:cubicBezTo>
                    <a:pt x="138" y="90"/>
                    <a:pt x="156" y="73"/>
                    <a:pt x="156" y="52"/>
                  </a:cubicBezTo>
                  <a:cubicBezTo>
                    <a:pt x="156" y="38"/>
                    <a:pt x="149" y="26"/>
                    <a:pt x="137" y="1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9" name="Group 216">
            <a:extLst>
              <a:ext uri="{FF2B5EF4-FFF2-40B4-BE49-F238E27FC236}">
                <a16:creationId xmlns:a16="http://schemas.microsoft.com/office/drawing/2014/main" id="{AF7CDE94-49A7-4F18-807C-561EF9E44E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8585" y="5411614"/>
            <a:ext cx="842963" cy="841375"/>
            <a:chOff x="2982" y="3421"/>
            <a:chExt cx="531" cy="530"/>
          </a:xfrm>
        </p:grpSpPr>
        <p:sp>
          <p:nvSpPr>
            <p:cNvPr id="270" name="AutoShape 215">
              <a:extLst>
                <a:ext uri="{FF2B5EF4-FFF2-40B4-BE49-F238E27FC236}">
                  <a16:creationId xmlns:a16="http://schemas.microsoft.com/office/drawing/2014/main" id="{232BB85C-CBDE-4768-95B5-9AB9343BA2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2" y="3421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217">
              <a:extLst>
                <a:ext uri="{FF2B5EF4-FFF2-40B4-BE49-F238E27FC236}">
                  <a16:creationId xmlns:a16="http://schemas.microsoft.com/office/drawing/2014/main" id="{9BC289CC-A4D2-4F80-B530-7BA2DE629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" y="3421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18">
              <a:extLst>
                <a:ext uri="{FF2B5EF4-FFF2-40B4-BE49-F238E27FC236}">
                  <a16:creationId xmlns:a16="http://schemas.microsoft.com/office/drawing/2014/main" id="{FD343EE8-C910-4E24-B8AB-C563C6F5ED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0" y="3439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19">
              <a:extLst>
                <a:ext uri="{FF2B5EF4-FFF2-40B4-BE49-F238E27FC236}">
                  <a16:creationId xmlns:a16="http://schemas.microsoft.com/office/drawing/2014/main" id="{F12F9D00-227A-48DF-B684-CB8D60A9E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9" y="3562"/>
              <a:ext cx="400" cy="230"/>
            </a:xfrm>
            <a:custGeom>
              <a:avLst/>
              <a:gdLst>
                <a:gd name="T0" fmla="*/ 116 w 156"/>
                <a:gd name="T1" fmla="*/ 18 h 90"/>
                <a:gd name="T2" fmla="*/ 119 w 156"/>
                <a:gd name="T3" fmla="*/ 18 h 90"/>
                <a:gd name="T4" fmla="*/ 109 w 156"/>
                <a:gd name="T5" fmla="*/ 27 h 90"/>
                <a:gd name="T6" fmla="*/ 113 w 156"/>
                <a:gd name="T7" fmla="*/ 31 h 90"/>
                <a:gd name="T8" fmla="*/ 129 w 156"/>
                <a:gd name="T9" fmla="*/ 15 h 90"/>
                <a:gd name="T10" fmla="*/ 113 w 156"/>
                <a:gd name="T11" fmla="*/ 0 h 90"/>
                <a:gd name="T12" fmla="*/ 109 w 156"/>
                <a:gd name="T13" fmla="*/ 3 h 90"/>
                <a:gd name="T14" fmla="*/ 120 w 156"/>
                <a:gd name="T15" fmla="*/ 13 h 90"/>
                <a:gd name="T16" fmla="*/ 116 w 156"/>
                <a:gd name="T17" fmla="*/ 13 h 90"/>
                <a:gd name="T18" fmla="*/ 76 w 156"/>
                <a:gd name="T19" fmla="*/ 51 h 90"/>
                <a:gd name="T20" fmla="*/ 40 w 156"/>
                <a:gd name="T21" fmla="*/ 85 h 90"/>
                <a:gd name="T22" fmla="*/ 5 w 156"/>
                <a:gd name="T23" fmla="*/ 52 h 90"/>
                <a:gd name="T24" fmla="*/ 40 w 156"/>
                <a:gd name="T25" fmla="*/ 18 h 90"/>
                <a:gd name="T26" fmla="*/ 72 w 156"/>
                <a:gd name="T27" fmla="*/ 46 h 90"/>
                <a:gd name="T28" fmla="*/ 75 w 156"/>
                <a:gd name="T29" fmla="*/ 40 h 90"/>
                <a:gd name="T30" fmla="*/ 40 w 156"/>
                <a:gd name="T31" fmla="*/ 13 h 90"/>
                <a:gd name="T32" fmla="*/ 0 w 156"/>
                <a:gd name="T33" fmla="*/ 52 h 90"/>
                <a:gd name="T34" fmla="*/ 40 w 156"/>
                <a:gd name="T35" fmla="*/ 90 h 90"/>
                <a:gd name="T36" fmla="*/ 80 w 156"/>
                <a:gd name="T37" fmla="*/ 52 h 90"/>
                <a:gd name="T38" fmla="*/ 116 w 156"/>
                <a:gd name="T39" fmla="*/ 18 h 90"/>
                <a:gd name="T40" fmla="*/ 137 w 156"/>
                <a:gd name="T41" fmla="*/ 19 h 90"/>
                <a:gd name="T42" fmla="*/ 133 w 156"/>
                <a:gd name="T43" fmla="*/ 20 h 90"/>
                <a:gd name="T44" fmla="*/ 134 w 156"/>
                <a:gd name="T45" fmla="*/ 23 h 90"/>
                <a:gd name="T46" fmla="*/ 151 w 156"/>
                <a:gd name="T47" fmla="*/ 52 h 90"/>
                <a:gd name="T48" fmla="*/ 116 w 156"/>
                <a:gd name="T49" fmla="*/ 85 h 90"/>
                <a:gd name="T50" fmla="*/ 84 w 156"/>
                <a:gd name="T51" fmla="*/ 57 h 90"/>
                <a:gd name="T52" fmla="*/ 81 w 156"/>
                <a:gd name="T53" fmla="*/ 63 h 90"/>
                <a:gd name="T54" fmla="*/ 116 w 156"/>
                <a:gd name="T55" fmla="*/ 90 h 90"/>
                <a:gd name="T56" fmla="*/ 156 w 156"/>
                <a:gd name="T57" fmla="*/ 52 h 90"/>
                <a:gd name="T58" fmla="*/ 137 w 156"/>
                <a:gd name="T59" fmla="*/ 1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6" h="90">
                  <a:moveTo>
                    <a:pt x="116" y="18"/>
                  </a:moveTo>
                  <a:cubicBezTo>
                    <a:pt x="117" y="18"/>
                    <a:pt x="118" y="18"/>
                    <a:pt x="119" y="18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8" y="13"/>
                    <a:pt x="117" y="13"/>
                    <a:pt x="116" y="13"/>
                  </a:cubicBezTo>
                  <a:cubicBezTo>
                    <a:pt x="96" y="13"/>
                    <a:pt x="83" y="33"/>
                    <a:pt x="76" y="51"/>
                  </a:cubicBezTo>
                  <a:cubicBezTo>
                    <a:pt x="69" y="66"/>
                    <a:pt x="57" y="85"/>
                    <a:pt x="40" y="85"/>
                  </a:cubicBezTo>
                  <a:cubicBezTo>
                    <a:pt x="21" y="85"/>
                    <a:pt x="5" y="70"/>
                    <a:pt x="5" y="52"/>
                  </a:cubicBezTo>
                  <a:cubicBezTo>
                    <a:pt x="5" y="33"/>
                    <a:pt x="21" y="18"/>
                    <a:pt x="40" y="18"/>
                  </a:cubicBezTo>
                  <a:cubicBezTo>
                    <a:pt x="55" y="18"/>
                    <a:pt x="65" y="32"/>
                    <a:pt x="72" y="46"/>
                  </a:cubicBezTo>
                  <a:cubicBezTo>
                    <a:pt x="73" y="44"/>
                    <a:pt x="74" y="42"/>
                    <a:pt x="75" y="40"/>
                  </a:cubicBezTo>
                  <a:cubicBezTo>
                    <a:pt x="67" y="26"/>
                    <a:pt x="56" y="13"/>
                    <a:pt x="40" y="13"/>
                  </a:cubicBezTo>
                  <a:cubicBezTo>
                    <a:pt x="18" y="13"/>
                    <a:pt x="0" y="30"/>
                    <a:pt x="0" y="52"/>
                  </a:cubicBezTo>
                  <a:cubicBezTo>
                    <a:pt x="0" y="73"/>
                    <a:pt x="18" y="90"/>
                    <a:pt x="40" y="90"/>
                  </a:cubicBezTo>
                  <a:cubicBezTo>
                    <a:pt x="60" y="90"/>
                    <a:pt x="73" y="70"/>
                    <a:pt x="80" y="52"/>
                  </a:cubicBezTo>
                  <a:cubicBezTo>
                    <a:pt x="87" y="37"/>
                    <a:pt x="99" y="18"/>
                    <a:pt x="116" y="18"/>
                  </a:cubicBezTo>
                  <a:moveTo>
                    <a:pt x="137" y="19"/>
                  </a:moveTo>
                  <a:cubicBezTo>
                    <a:pt x="136" y="18"/>
                    <a:pt x="134" y="19"/>
                    <a:pt x="133" y="20"/>
                  </a:cubicBezTo>
                  <a:cubicBezTo>
                    <a:pt x="133" y="21"/>
                    <a:pt x="133" y="22"/>
                    <a:pt x="134" y="23"/>
                  </a:cubicBezTo>
                  <a:cubicBezTo>
                    <a:pt x="144" y="29"/>
                    <a:pt x="151" y="40"/>
                    <a:pt x="151" y="52"/>
                  </a:cubicBezTo>
                  <a:cubicBezTo>
                    <a:pt x="151" y="70"/>
                    <a:pt x="135" y="85"/>
                    <a:pt x="116" y="85"/>
                  </a:cubicBezTo>
                  <a:cubicBezTo>
                    <a:pt x="101" y="85"/>
                    <a:pt x="91" y="71"/>
                    <a:pt x="84" y="57"/>
                  </a:cubicBezTo>
                  <a:cubicBezTo>
                    <a:pt x="83" y="59"/>
                    <a:pt x="82" y="61"/>
                    <a:pt x="81" y="63"/>
                  </a:cubicBezTo>
                  <a:cubicBezTo>
                    <a:pt x="89" y="77"/>
                    <a:pt x="100" y="90"/>
                    <a:pt x="116" y="90"/>
                  </a:cubicBezTo>
                  <a:cubicBezTo>
                    <a:pt x="138" y="90"/>
                    <a:pt x="156" y="73"/>
                    <a:pt x="156" y="52"/>
                  </a:cubicBezTo>
                  <a:cubicBezTo>
                    <a:pt x="156" y="38"/>
                    <a:pt x="149" y="26"/>
                    <a:pt x="137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22">
            <a:extLst>
              <a:ext uri="{FF2B5EF4-FFF2-40B4-BE49-F238E27FC236}">
                <a16:creationId xmlns:a16="http://schemas.microsoft.com/office/drawing/2014/main" id="{88ABA5C1-295E-420B-899B-4411120644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93446" y="5452889"/>
            <a:ext cx="758825" cy="758825"/>
            <a:chOff x="4879" y="3512"/>
            <a:chExt cx="478" cy="478"/>
          </a:xfrm>
        </p:grpSpPr>
        <p:sp>
          <p:nvSpPr>
            <p:cNvPr id="279" name="AutoShape 221">
              <a:extLst>
                <a:ext uri="{FF2B5EF4-FFF2-40B4-BE49-F238E27FC236}">
                  <a16:creationId xmlns:a16="http://schemas.microsoft.com/office/drawing/2014/main" id="{6DA32348-56D9-494C-BE95-D95B2C8A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79" y="351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23">
              <a:extLst>
                <a:ext uri="{FF2B5EF4-FFF2-40B4-BE49-F238E27FC236}">
                  <a16:creationId xmlns:a16="http://schemas.microsoft.com/office/drawing/2014/main" id="{35A550E7-C34A-48AA-B512-EC30CB9C2C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1" y="351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24">
              <a:extLst>
                <a:ext uri="{FF2B5EF4-FFF2-40B4-BE49-F238E27FC236}">
                  <a16:creationId xmlns:a16="http://schemas.microsoft.com/office/drawing/2014/main" id="{40D9C1BA-F811-471C-AB44-6A4BE56E06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2" y="3610"/>
              <a:ext cx="275" cy="265"/>
            </a:xfrm>
            <a:custGeom>
              <a:avLst/>
              <a:gdLst>
                <a:gd name="T0" fmla="*/ 96 w 112"/>
                <a:gd name="T1" fmla="*/ 103 h 108"/>
                <a:gd name="T2" fmla="*/ 84 w 112"/>
                <a:gd name="T3" fmla="*/ 92 h 108"/>
                <a:gd name="T4" fmla="*/ 96 w 112"/>
                <a:gd name="T5" fmla="*/ 81 h 108"/>
                <a:gd name="T6" fmla="*/ 107 w 112"/>
                <a:gd name="T7" fmla="*/ 92 h 108"/>
                <a:gd name="T8" fmla="*/ 96 w 112"/>
                <a:gd name="T9" fmla="*/ 103 h 108"/>
                <a:gd name="T10" fmla="*/ 96 w 112"/>
                <a:gd name="T11" fmla="*/ 76 h 108"/>
                <a:gd name="T12" fmla="*/ 79 w 112"/>
                <a:gd name="T13" fmla="*/ 92 h 108"/>
                <a:gd name="T14" fmla="*/ 96 w 112"/>
                <a:gd name="T15" fmla="*/ 108 h 108"/>
                <a:gd name="T16" fmla="*/ 112 w 112"/>
                <a:gd name="T17" fmla="*/ 92 h 108"/>
                <a:gd name="T18" fmla="*/ 96 w 112"/>
                <a:gd name="T19" fmla="*/ 76 h 108"/>
                <a:gd name="T20" fmla="*/ 17 w 112"/>
                <a:gd name="T21" fmla="*/ 58 h 108"/>
                <a:gd name="T22" fmla="*/ 19 w 112"/>
                <a:gd name="T23" fmla="*/ 58 h 108"/>
                <a:gd name="T24" fmla="*/ 20 w 112"/>
                <a:gd name="T25" fmla="*/ 58 h 108"/>
                <a:gd name="T26" fmla="*/ 33 w 112"/>
                <a:gd name="T27" fmla="*/ 46 h 108"/>
                <a:gd name="T28" fmla="*/ 45 w 112"/>
                <a:gd name="T29" fmla="*/ 58 h 108"/>
                <a:gd name="T30" fmla="*/ 47 w 112"/>
                <a:gd name="T31" fmla="*/ 58 h 108"/>
                <a:gd name="T32" fmla="*/ 48 w 112"/>
                <a:gd name="T33" fmla="*/ 58 h 108"/>
                <a:gd name="T34" fmla="*/ 48 w 112"/>
                <a:gd name="T35" fmla="*/ 55 h 108"/>
                <a:gd name="T36" fmla="*/ 36 w 112"/>
                <a:gd name="T37" fmla="*/ 43 h 108"/>
                <a:gd name="T38" fmla="*/ 48 w 112"/>
                <a:gd name="T39" fmla="*/ 31 h 108"/>
                <a:gd name="T40" fmla="*/ 48 w 112"/>
                <a:gd name="T41" fmla="*/ 28 h 108"/>
                <a:gd name="T42" fmla="*/ 45 w 112"/>
                <a:gd name="T43" fmla="*/ 28 h 108"/>
                <a:gd name="T44" fmla="*/ 33 w 112"/>
                <a:gd name="T45" fmla="*/ 40 h 108"/>
                <a:gd name="T46" fmla="*/ 20 w 112"/>
                <a:gd name="T47" fmla="*/ 28 h 108"/>
                <a:gd name="T48" fmla="*/ 17 w 112"/>
                <a:gd name="T49" fmla="*/ 28 h 108"/>
                <a:gd name="T50" fmla="*/ 17 w 112"/>
                <a:gd name="T51" fmla="*/ 31 h 108"/>
                <a:gd name="T52" fmla="*/ 29 w 112"/>
                <a:gd name="T53" fmla="*/ 43 h 108"/>
                <a:gd name="T54" fmla="*/ 17 w 112"/>
                <a:gd name="T55" fmla="*/ 55 h 108"/>
                <a:gd name="T56" fmla="*/ 17 w 112"/>
                <a:gd name="T57" fmla="*/ 58 h 108"/>
                <a:gd name="T58" fmla="*/ 9 w 112"/>
                <a:gd name="T59" fmla="*/ 103 h 108"/>
                <a:gd name="T60" fmla="*/ 5 w 112"/>
                <a:gd name="T61" fmla="*/ 99 h 108"/>
                <a:gd name="T62" fmla="*/ 9 w 112"/>
                <a:gd name="T63" fmla="*/ 94 h 108"/>
                <a:gd name="T64" fmla="*/ 14 w 112"/>
                <a:gd name="T65" fmla="*/ 99 h 108"/>
                <a:gd name="T66" fmla="*/ 9 w 112"/>
                <a:gd name="T67" fmla="*/ 103 h 108"/>
                <a:gd name="T68" fmla="*/ 106 w 112"/>
                <a:gd name="T69" fmla="*/ 22 h 108"/>
                <a:gd name="T70" fmla="*/ 107 w 112"/>
                <a:gd name="T71" fmla="*/ 23 h 108"/>
                <a:gd name="T72" fmla="*/ 109 w 112"/>
                <a:gd name="T73" fmla="*/ 22 h 108"/>
                <a:gd name="T74" fmla="*/ 109 w 112"/>
                <a:gd name="T75" fmla="*/ 19 h 108"/>
                <a:gd name="T76" fmla="*/ 90 w 112"/>
                <a:gd name="T77" fmla="*/ 1 h 108"/>
                <a:gd name="T78" fmla="*/ 87 w 112"/>
                <a:gd name="T79" fmla="*/ 1 h 108"/>
                <a:gd name="T80" fmla="*/ 68 w 112"/>
                <a:gd name="T81" fmla="*/ 19 h 108"/>
                <a:gd name="T82" fmla="*/ 68 w 112"/>
                <a:gd name="T83" fmla="*/ 22 h 108"/>
                <a:gd name="T84" fmla="*/ 72 w 112"/>
                <a:gd name="T85" fmla="*/ 22 h 108"/>
                <a:gd name="T86" fmla="*/ 86 w 112"/>
                <a:gd name="T87" fmla="*/ 8 h 108"/>
                <a:gd name="T88" fmla="*/ 18 w 112"/>
                <a:gd name="T89" fmla="*/ 97 h 108"/>
                <a:gd name="T90" fmla="*/ 9 w 112"/>
                <a:gd name="T91" fmla="*/ 90 h 108"/>
                <a:gd name="T92" fmla="*/ 0 w 112"/>
                <a:gd name="T93" fmla="*/ 99 h 108"/>
                <a:gd name="T94" fmla="*/ 9 w 112"/>
                <a:gd name="T95" fmla="*/ 108 h 108"/>
                <a:gd name="T96" fmla="*/ 18 w 112"/>
                <a:gd name="T97" fmla="*/ 101 h 108"/>
                <a:gd name="T98" fmla="*/ 19 w 112"/>
                <a:gd name="T99" fmla="*/ 101 h 108"/>
                <a:gd name="T100" fmla="*/ 19 w 112"/>
                <a:gd name="T101" fmla="*/ 101 h 108"/>
                <a:gd name="T102" fmla="*/ 91 w 112"/>
                <a:gd name="T103" fmla="*/ 8 h 108"/>
                <a:gd name="T104" fmla="*/ 106 w 112"/>
                <a:gd name="T105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08">
                  <a:moveTo>
                    <a:pt x="96" y="103"/>
                  </a:moveTo>
                  <a:cubicBezTo>
                    <a:pt x="89" y="103"/>
                    <a:pt x="84" y="98"/>
                    <a:pt x="84" y="92"/>
                  </a:cubicBezTo>
                  <a:cubicBezTo>
                    <a:pt x="84" y="86"/>
                    <a:pt x="89" y="81"/>
                    <a:pt x="96" y="81"/>
                  </a:cubicBezTo>
                  <a:cubicBezTo>
                    <a:pt x="102" y="81"/>
                    <a:pt x="107" y="86"/>
                    <a:pt x="107" y="92"/>
                  </a:cubicBezTo>
                  <a:cubicBezTo>
                    <a:pt x="107" y="98"/>
                    <a:pt x="102" y="103"/>
                    <a:pt x="96" y="103"/>
                  </a:cubicBezTo>
                  <a:moveTo>
                    <a:pt x="96" y="76"/>
                  </a:moveTo>
                  <a:cubicBezTo>
                    <a:pt x="87" y="76"/>
                    <a:pt x="79" y="84"/>
                    <a:pt x="79" y="92"/>
                  </a:cubicBezTo>
                  <a:cubicBezTo>
                    <a:pt x="79" y="101"/>
                    <a:pt x="87" y="108"/>
                    <a:pt x="96" y="108"/>
                  </a:cubicBezTo>
                  <a:cubicBezTo>
                    <a:pt x="105" y="108"/>
                    <a:pt x="112" y="101"/>
                    <a:pt x="112" y="92"/>
                  </a:cubicBezTo>
                  <a:cubicBezTo>
                    <a:pt x="112" y="84"/>
                    <a:pt x="105" y="76"/>
                    <a:pt x="96" y="76"/>
                  </a:cubicBezTo>
                  <a:moveTo>
                    <a:pt x="17" y="58"/>
                  </a:moveTo>
                  <a:cubicBezTo>
                    <a:pt x="18" y="58"/>
                    <a:pt x="18" y="58"/>
                    <a:pt x="19" y="58"/>
                  </a:cubicBezTo>
                  <a:cubicBezTo>
                    <a:pt x="19" y="58"/>
                    <a:pt x="20" y="58"/>
                    <a:pt x="20" y="5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9" y="57"/>
                    <a:pt x="49" y="56"/>
                    <a:pt x="48" y="55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0"/>
                    <a:pt x="49" y="29"/>
                    <a:pt x="48" y="28"/>
                  </a:cubicBezTo>
                  <a:cubicBezTo>
                    <a:pt x="47" y="27"/>
                    <a:pt x="46" y="27"/>
                    <a:pt x="45" y="2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7"/>
                    <a:pt x="18" y="27"/>
                    <a:pt x="17" y="28"/>
                  </a:cubicBezTo>
                  <a:cubicBezTo>
                    <a:pt x="16" y="29"/>
                    <a:pt x="16" y="30"/>
                    <a:pt x="17" y="31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6" y="56"/>
                    <a:pt x="16" y="57"/>
                    <a:pt x="17" y="58"/>
                  </a:cubicBezTo>
                  <a:moveTo>
                    <a:pt x="9" y="103"/>
                  </a:moveTo>
                  <a:cubicBezTo>
                    <a:pt x="7" y="103"/>
                    <a:pt x="5" y="101"/>
                    <a:pt x="5" y="99"/>
                  </a:cubicBezTo>
                  <a:cubicBezTo>
                    <a:pt x="5" y="96"/>
                    <a:pt x="7" y="94"/>
                    <a:pt x="9" y="94"/>
                  </a:cubicBezTo>
                  <a:cubicBezTo>
                    <a:pt x="12" y="94"/>
                    <a:pt x="14" y="96"/>
                    <a:pt x="14" y="99"/>
                  </a:cubicBezTo>
                  <a:cubicBezTo>
                    <a:pt x="14" y="101"/>
                    <a:pt x="12" y="103"/>
                    <a:pt x="9" y="103"/>
                  </a:cubicBezTo>
                  <a:moveTo>
                    <a:pt x="106" y="22"/>
                  </a:moveTo>
                  <a:cubicBezTo>
                    <a:pt x="106" y="22"/>
                    <a:pt x="107" y="23"/>
                    <a:pt x="107" y="23"/>
                  </a:cubicBezTo>
                  <a:cubicBezTo>
                    <a:pt x="108" y="23"/>
                    <a:pt x="108" y="22"/>
                    <a:pt x="109" y="22"/>
                  </a:cubicBezTo>
                  <a:cubicBezTo>
                    <a:pt x="110" y="21"/>
                    <a:pt x="110" y="20"/>
                    <a:pt x="109" y="19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0"/>
                    <a:pt x="88" y="0"/>
                    <a:pt x="87" y="1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20"/>
                    <a:pt x="67" y="21"/>
                    <a:pt x="68" y="22"/>
                  </a:cubicBezTo>
                  <a:cubicBezTo>
                    <a:pt x="69" y="23"/>
                    <a:pt x="71" y="23"/>
                    <a:pt x="72" y="22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5" y="47"/>
                    <a:pt x="67" y="90"/>
                    <a:pt x="18" y="97"/>
                  </a:cubicBezTo>
                  <a:cubicBezTo>
                    <a:pt x="17" y="93"/>
                    <a:pt x="14" y="90"/>
                    <a:pt x="9" y="90"/>
                  </a:cubicBezTo>
                  <a:cubicBezTo>
                    <a:pt x="4" y="90"/>
                    <a:pt x="0" y="94"/>
                    <a:pt x="0" y="99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14" y="108"/>
                    <a:pt x="17" y="105"/>
                    <a:pt x="18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71" y="94"/>
                    <a:pt x="90" y="49"/>
                    <a:pt x="91" y="8"/>
                  </a:cubicBezTo>
                  <a:lnTo>
                    <a:pt x="106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25">
              <a:extLst>
                <a:ext uri="{FF2B5EF4-FFF2-40B4-BE49-F238E27FC236}">
                  <a16:creationId xmlns:a16="http://schemas.microsoft.com/office/drawing/2014/main" id="{72B4A385-95BA-4724-ACA6-C31A0D479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2" y="3610"/>
              <a:ext cx="275" cy="265"/>
            </a:xfrm>
            <a:custGeom>
              <a:avLst/>
              <a:gdLst>
                <a:gd name="T0" fmla="*/ 96 w 112"/>
                <a:gd name="T1" fmla="*/ 103 h 108"/>
                <a:gd name="T2" fmla="*/ 84 w 112"/>
                <a:gd name="T3" fmla="*/ 92 h 108"/>
                <a:gd name="T4" fmla="*/ 96 w 112"/>
                <a:gd name="T5" fmla="*/ 81 h 108"/>
                <a:gd name="T6" fmla="*/ 107 w 112"/>
                <a:gd name="T7" fmla="*/ 92 h 108"/>
                <a:gd name="T8" fmla="*/ 96 w 112"/>
                <a:gd name="T9" fmla="*/ 103 h 108"/>
                <a:gd name="T10" fmla="*/ 96 w 112"/>
                <a:gd name="T11" fmla="*/ 76 h 108"/>
                <a:gd name="T12" fmla="*/ 79 w 112"/>
                <a:gd name="T13" fmla="*/ 92 h 108"/>
                <a:gd name="T14" fmla="*/ 96 w 112"/>
                <a:gd name="T15" fmla="*/ 108 h 108"/>
                <a:gd name="T16" fmla="*/ 112 w 112"/>
                <a:gd name="T17" fmla="*/ 92 h 108"/>
                <a:gd name="T18" fmla="*/ 96 w 112"/>
                <a:gd name="T19" fmla="*/ 76 h 108"/>
                <a:gd name="T20" fmla="*/ 17 w 112"/>
                <a:gd name="T21" fmla="*/ 58 h 108"/>
                <a:gd name="T22" fmla="*/ 19 w 112"/>
                <a:gd name="T23" fmla="*/ 58 h 108"/>
                <a:gd name="T24" fmla="*/ 20 w 112"/>
                <a:gd name="T25" fmla="*/ 58 h 108"/>
                <a:gd name="T26" fmla="*/ 33 w 112"/>
                <a:gd name="T27" fmla="*/ 46 h 108"/>
                <a:gd name="T28" fmla="*/ 45 w 112"/>
                <a:gd name="T29" fmla="*/ 58 h 108"/>
                <a:gd name="T30" fmla="*/ 47 w 112"/>
                <a:gd name="T31" fmla="*/ 58 h 108"/>
                <a:gd name="T32" fmla="*/ 48 w 112"/>
                <a:gd name="T33" fmla="*/ 58 h 108"/>
                <a:gd name="T34" fmla="*/ 48 w 112"/>
                <a:gd name="T35" fmla="*/ 55 h 108"/>
                <a:gd name="T36" fmla="*/ 36 w 112"/>
                <a:gd name="T37" fmla="*/ 43 h 108"/>
                <a:gd name="T38" fmla="*/ 48 w 112"/>
                <a:gd name="T39" fmla="*/ 31 h 108"/>
                <a:gd name="T40" fmla="*/ 48 w 112"/>
                <a:gd name="T41" fmla="*/ 28 h 108"/>
                <a:gd name="T42" fmla="*/ 45 w 112"/>
                <a:gd name="T43" fmla="*/ 28 h 108"/>
                <a:gd name="T44" fmla="*/ 33 w 112"/>
                <a:gd name="T45" fmla="*/ 40 h 108"/>
                <a:gd name="T46" fmla="*/ 20 w 112"/>
                <a:gd name="T47" fmla="*/ 28 h 108"/>
                <a:gd name="T48" fmla="*/ 17 w 112"/>
                <a:gd name="T49" fmla="*/ 28 h 108"/>
                <a:gd name="T50" fmla="*/ 17 w 112"/>
                <a:gd name="T51" fmla="*/ 31 h 108"/>
                <a:gd name="T52" fmla="*/ 29 w 112"/>
                <a:gd name="T53" fmla="*/ 43 h 108"/>
                <a:gd name="T54" fmla="*/ 17 w 112"/>
                <a:gd name="T55" fmla="*/ 55 h 108"/>
                <a:gd name="T56" fmla="*/ 17 w 112"/>
                <a:gd name="T57" fmla="*/ 58 h 108"/>
                <a:gd name="T58" fmla="*/ 9 w 112"/>
                <a:gd name="T59" fmla="*/ 103 h 108"/>
                <a:gd name="T60" fmla="*/ 5 w 112"/>
                <a:gd name="T61" fmla="*/ 99 h 108"/>
                <a:gd name="T62" fmla="*/ 9 w 112"/>
                <a:gd name="T63" fmla="*/ 94 h 108"/>
                <a:gd name="T64" fmla="*/ 14 w 112"/>
                <a:gd name="T65" fmla="*/ 99 h 108"/>
                <a:gd name="T66" fmla="*/ 9 w 112"/>
                <a:gd name="T67" fmla="*/ 103 h 108"/>
                <a:gd name="T68" fmla="*/ 106 w 112"/>
                <a:gd name="T69" fmla="*/ 22 h 108"/>
                <a:gd name="T70" fmla="*/ 107 w 112"/>
                <a:gd name="T71" fmla="*/ 23 h 108"/>
                <a:gd name="T72" fmla="*/ 109 w 112"/>
                <a:gd name="T73" fmla="*/ 22 h 108"/>
                <a:gd name="T74" fmla="*/ 109 w 112"/>
                <a:gd name="T75" fmla="*/ 19 h 108"/>
                <a:gd name="T76" fmla="*/ 90 w 112"/>
                <a:gd name="T77" fmla="*/ 1 h 108"/>
                <a:gd name="T78" fmla="*/ 87 w 112"/>
                <a:gd name="T79" fmla="*/ 1 h 108"/>
                <a:gd name="T80" fmla="*/ 68 w 112"/>
                <a:gd name="T81" fmla="*/ 19 h 108"/>
                <a:gd name="T82" fmla="*/ 68 w 112"/>
                <a:gd name="T83" fmla="*/ 22 h 108"/>
                <a:gd name="T84" fmla="*/ 72 w 112"/>
                <a:gd name="T85" fmla="*/ 22 h 108"/>
                <a:gd name="T86" fmla="*/ 86 w 112"/>
                <a:gd name="T87" fmla="*/ 8 h 108"/>
                <a:gd name="T88" fmla="*/ 18 w 112"/>
                <a:gd name="T89" fmla="*/ 97 h 108"/>
                <a:gd name="T90" fmla="*/ 9 w 112"/>
                <a:gd name="T91" fmla="*/ 90 h 108"/>
                <a:gd name="T92" fmla="*/ 0 w 112"/>
                <a:gd name="T93" fmla="*/ 99 h 108"/>
                <a:gd name="T94" fmla="*/ 9 w 112"/>
                <a:gd name="T95" fmla="*/ 108 h 108"/>
                <a:gd name="T96" fmla="*/ 18 w 112"/>
                <a:gd name="T97" fmla="*/ 101 h 108"/>
                <a:gd name="T98" fmla="*/ 19 w 112"/>
                <a:gd name="T99" fmla="*/ 101 h 108"/>
                <a:gd name="T100" fmla="*/ 19 w 112"/>
                <a:gd name="T101" fmla="*/ 101 h 108"/>
                <a:gd name="T102" fmla="*/ 91 w 112"/>
                <a:gd name="T103" fmla="*/ 8 h 108"/>
                <a:gd name="T104" fmla="*/ 106 w 112"/>
                <a:gd name="T105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08">
                  <a:moveTo>
                    <a:pt x="96" y="103"/>
                  </a:moveTo>
                  <a:cubicBezTo>
                    <a:pt x="89" y="103"/>
                    <a:pt x="84" y="98"/>
                    <a:pt x="84" y="92"/>
                  </a:cubicBezTo>
                  <a:cubicBezTo>
                    <a:pt x="84" y="86"/>
                    <a:pt x="89" y="81"/>
                    <a:pt x="96" y="81"/>
                  </a:cubicBezTo>
                  <a:cubicBezTo>
                    <a:pt x="102" y="81"/>
                    <a:pt x="107" y="86"/>
                    <a:pt x="107" y="92"/>
                  </a:cubicBezTo>
                  <a:cubicBezTo>
                    <a:pt x="107" y="98"/>
                    <a:pt x="102" y="103"/>
                    <a:pt x="96" y="103"/>
                  </a:cubicBezTo>
                  <a:moveTo>
                    <a:pt x="96" y="76"/>
                  </a:moveTo>
                  <a:cubicBezTo>
                    <a:pt x="87" y="76"/>
                    <a:pt x="79" y="84"/>
                    <a:pt x="79" y="92"/>
                  </a:cubicBezTo>
                  <a:cubicBezTo>
                    <a:pt x="79" y="101"/>
                    <a:pt x="87" y="108"/>
                    <a:pt x="96" y="108"/>
                  </a:cubicBezTo>
                  <a:cubicBezTo>
                    <a:pt x="105" y="108"/>
                    <a:pt x="112" y="101"/>
                    <a:pt x="112" y="92"/>
                  </a:cubicBezTo>
                  <a:cubicBezTo>
                    <a:pt x="112" y="84"/>
                    <a:pt x="105" y="76"/>
                    <a:pt x="96" y="76"/>
                  </a:cubicBezTo>
                  <a:moveTo>
                    <a:pt x="17" y="58"/>
                  </a:moveTo>
                  <a:cubicBezTo>
                    <a:pt x="18" y="58"/>
                    <a:pt x="18" y="58"/>
                    <a:pt x="19" y="58"/>
                  </a:cubicBezTo>
                  <a:cubicBezTo>
                    <a:pt x="19" y="58"/>
                    <a:pt x="20" y="58"/>
                    <a:pt x="20" y="5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9" y="57"/>
                    <a:pt x="49" y="56"/>
                    <a:pt x="48" y="55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0"/>
                    <a:pt x="49" y="29"/>
                    <a:pt x="48" y="28"/>
                  </a:cubicBezTo>
                  <a:cubicBezTo>
                    <a:pt x="47" y="27"/>
                    <a:pt x="46" y="27"/>
                    <a:pt x="45" y="2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7"/>
                    <a:pt x="18" y="27"/>
                    <a:pt x="17" y="28"/>
                  </a:cubicBezTo>
                  <a:cubicBezTo>
                    <a:pt x="16" y="29"/>
                    <a:pt x="16" y="30"/>
                    <a:pt x="17" y="31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6" y="56"/>
                    <a:pt x="16" y="57"/>
                    <a:pt x="17" y="58"/>
                  </a:cubicBezTo>
                  <a:moveTo>
                    <a:pt x="9" y="103"/>
                  </a:moveTo>
                  <a:cubicBezTo>
                    <a:pt x="7" y="103"/>
                    <a:pt x="5" y="101"/>
                    <a:pt x="5" y="99"/>
                  </a:cubicBezTo>
                  <a:cubicBezTo>
                    <a:pt x="5" y="96"/>
                    <a:pt x="7" y="94"/>
                    <a:pt x="9" y="94"/>
                  </a:cubicBezTo>
                  <a:cubicBezTo>
                    <a:pt x="12" y="94"/>
                    <a:pt x="14" y="96"/>
                    <a:pt x="14" y="99"/>
                  </a:cubicBezTo>
                  <a:cubicBezTo>
                    <a:pt x="14" y="101"/>
                    <a:pt x="12" y="103"/>
                    <a:pt x="9" y="103"/>
                  </a:cubicBezTo>
                  <a:moveTo>
                    <a:pt x="106" y="22"/>
                  </a:moveTo>
                  <a:cubicBezTo>
                    <a:pt x="106" y="22"/>
                    <a:pt x="107" y="23"/>
                    <a:pt x="107" y="23"/>
                  </a:cubicBezTo>
                  <a:cubicBezTo>
                    <a:pt x="108" y="23"/>
                    <a:pt x="108" y="22"/>
                    <a:pt x="109" y="22"/>
                  </a:cubicBezTo>
                  <a:cubicBezTo>
                    <a:pt x="110" y="21"/>
                    <a:pt x="110" y="20"/>
                    <a:pt x="109" y="19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0"/>
                    <a:pt x="88" y="0"/>
                    <a:pt x="87" y="1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20"/>
                    <a:pt x="67" y="21"/>
                    <a:pt x="68" y="22"/>
                  </a:cubicBezTo>
                  <a:cubicBezTo>
                    <a:pt x="69" y="23"/>
                    <a:pt x="71" y="23"/>
                    <a:pt x="72" y="22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5" y="47"/>
                    <a:pt x="67" y="90"/>
                    <a:pt x="18" y="97"/>
                  </a:cubicBezTo>
                  <a:cubicBezTo>
                    <a:pt x="17" y="93"/>
                    <a:pt x="14" y="90"/>
                    <a:pt x="9" y="90"/>
                  </a:cubicBezTo>
                  <a:cubicBezTo>
                    <a:pt x="4" y="90"/>
                    <a:pt x="0" y="94"/>
                    <a:pt x="0" y="99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14" y="108"/>
                    <a:pt x="17" y="105"/>
                    <a:pt x="18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71" y="94"/>
                    <a:pt x="90" y="49"/>
                    <a:pt x="91" y="8"/>
                  </a:cubicBezTo>
                  <a:lnTo>
                    <a:pt x="106" y="22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3" name="Group 228">
            <a:extLst>
              <a:ext uri="{FF2B5EF4-FFF2-40B4-BE49-F238E27FC236}">
                <a16:creationId xmlns:a16="http://schemas.microsoft.com/office/drawing/2014/main" id="{9C22C19A-B691-4107-9E21-E80662147F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43847" y="5411614"/>
            <a:ext cx="841375" cy="841375"/>
            <a:chOff x="4370" y="3488"/>
            <a:chExt cx="530" cy="530"/>
          </a:xfrm>
        </p:grpSpPr>
        <p:sp>
          <p:nvSpPr>
            <p:cNvPr id="284" name="AutoShape 227">
              <a:extLst>
                <a:ext uri="{FF2B5EF4-FFF2-40B4-BE49-F238E27FC236}">
                  <a16:creationId xmlns:a16="http://schemas.microsoft.com/office/drawing/2014/main" id="{027CAEA1-4327-4A4E-A976-BE6E2F58298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70" y="348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229">
              <a:extLst>
                <a:ext uri="{FF2B5EF4-FFF2-40B4-BE49-F238E27FC236}">
                  <a16:creationId xmlns:a16="http://schemas.microsoft.com/office/drawing/2014/main" id="{7E7E8DE9-AE9A-4585-BE3B-2B021C966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0" y="348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30">
              <a:extLst>
                <a:ext uri="{FF2B5EF4-FFF2-40B4-BE49-F238E27FC236}">
                  <a16:creationId xmlns:a16="http://schemas.microsoft.com/office/drawing/2014/main" id="{1A687443-D8C5-4686-93CF-FCA943EFEF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8" y="350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31">
              <a:extLst>
                <a:ext uri="{FF2B5EF4-FFF2-40B4-BE49-F238E27FC236}">
                  <a16:creationId xmlns:a16="http://schemas.microsoft.com/office/drawing/2014/main" id="{09BBB659-2750-499F-8E1F-254B4F0DA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3" y="3606"/>
              <a:ext cx="287" cy="276"/>
            </a:xfrm>
            <a:custGeom>
              <a:avLst/>
              <a:gdLst>
                <a:gd name="T0" fmla="*/ 96 w 112"/>
                <a:gd name="T1" fmla="*/ 103 h 108"/>
                <a:gd name="T2" fmla="*/ 84 w 112"/>
                <a:gd name="T3" fmla="*/ 92 h 108"/>
                <a:gd name="T4" fmla="*/ 96 w 112"/>
                <a:gd name="T5" fmla="*/ 81 h 108"/>
                <a:gd name="T6" fmla="*/ 107 w 112"/>
                <a:gd name="T7" fmla="*/ 92 h 108"/>
                <a:gd name="T8" fmla="*/ 96 w 112"/>
                <a:gd name="T9" fmla="*/ 103 h 108"/>
                <a:gd name="T10" fmla="*/ 96 w 112"/>
                <a:gd name="T11" fmla="*/ 76 h 108"/>
                <a:gd name="T12" fmla="*/ 79 w 112"/>
                <a:gd name="T13" fmla="*/ 92 h 108"/>
                <a:gd name="T14" fmla="*/ 96 w 112"/>
                <a:gd name="T15" fmla="*/ 108 h 108"/>
                <a:gd name="T16" fmla="*/ 112 w 112"/>
                <a:gd name="T17" fmla="*/ 92 h 108"/>
                <a:gd name="T18" fmla="*/ 96 w 112"/>
                <a:gd name="T19" fmla="*/ 76 h 108"/>
                <a:gd name="T20" fmla="*/ 17 w 112"/>
                <a:gd name="T21" fmla="*/ 58 h 108"/>
                <a:gd name="T22" fmla="*/ 19 w 112"/>
                <a:gd name="T23" fmla="*/ 58 h 108"/>
                <a:gd name="T24" fmla="*/ 20 w 112"/>
                <a:gd name="T25" fmla="*/ 58 h 108"/>
                <a:gd name="T26" fmla="*/ 33 w 112"/>
                <a:gd name="T27" fmla="*/ 46 h 108"/>
                <a:gd name="T28" fmla="*/ 45 w 112"/>
                <a:gd name="T29" fmla="*/ 58 h 108"/>
                <a:gd name="T30" fmla="*/ 47 w 112"/>
                <a:gd name="T31" fmla="*/ 58 h 108"/>
                <a:gd name="T32" fmla="*/ 48 w 112"/>
                <a:gd name="T33" fmla="*/ 58 h 108"/>
                <a:gd name="T34" fmla="*/ 48 w 112"/>
                <a:gd name="T35" fmla="*/ 55 h 108"/>
                <a:gd name="T36" fmla="*/ 36 w 112"/>
                <a:gd name="T37" fmla="*/ 43 h 108"/>
                <a:gd name="T38" fmla="*/ 48 w 112"/>
                <a:gd name="T39" fmla="*/ 31 h 108"/>
                <a:gd name="T40" fmla="*/ 48 w 112"/>
                <a:gd name="T41" fmla="*/ 28 h 108"/>
                <a:gd name="T42" fmla="*/ 45 w 112"/>
                <a:gd name="T43" fmla="*/ 28 h 108"/>
                <a:gd name="T44" fmla="*/ 33 w 112"/>
                <a:gd name="T45" fmla="*/ 40 h 108"/>
                <a:gd name="T46" fmla="*/ 20 w 112"/>
                <a:gd name="T47" fmla="*/ 28 h 108"/>
                <a:gd name="T48" fmla="*/ 17 w 112"/>
                <a:gd name="T49" fmla="*/ 28 h 108"/>
                <a:gd name="T50" fmla="*/ 17 w 112"/>
                <a:gd name="T51" fmla="*/ 31 h 108"/>
                <a:gd name="T52" fmla="*/ 29 w 112"/>
                <a:gd name="T53" fmla="*/ 43 h 108"/>
                <a:gd name="T54" fmla="*/ 17 w 112"/>
                <a:gd name="T55" fmla="*/ 55 h 108"/>
                <a:gd name="T56" fmla="*/ 17 w 112"/>
                <a:gd name="T57" fmla="*/ 58 h 108"/>
                <a:gd name="T58" fmla="*/ 9 w 112"/>
                <a:gd name="T59" fmla="*/ 103 h 108"/>
                <a:gd name="T60" fmla="*/ 5 w 112"/>
                <a:gd name="T61" fmla="*/ 99 h 108"/>
                <a:gd name="T62" fmla="*/ 9 w 112"/>
                <a:gd name="T63" fmla="*/ 94 h 108"/>
                <a:gd name="T64" fmla="*/ 14 w 112"/>
                <a:gd name="T65" fmla="*/ 99 h 108"/>
                <a:gd name="T66" fmla="*/ 9 w 112"/>
                <a:gd name="T67" fmla="*/ 103 h 108"/>
                <a:gd name="T68" fmla="*/ 106 w 112"/>
                <a:gd name="T69" fmla="*/ 22 h 108"/>
                <a:gd name="T70" fmla="*/ 107 w 112"/>
                <a:gd name="T71" fmla="*/ 23 h 108"/>
                <a:gd name="T72" fmla="*/ 109 w 112"/>
                <a:gd name="T73" fmla="*/ 22 h 108"/>
                <a:gd name="T74" fmla="*/ 109 w 112"/>
                <a:gd name="T75" fmla="*/ 19 h 108"/>
                <a:gd name="T76" fmla="*/ 90 w 112"/>
                <a:gd name="T77" fmla="*/ 1 h 108"/>
                <a:gd name="T78" fmla="*/ 87 w 112"/>
                <a:gd name="T79" fmla="*/ 1 h 108"/>
                <a:gd name="T80" fmla="*/ 68 w 112"/>
                <a:gd name="T81" fmla="*/ 19 h 108"/>
                <a:gd name="T82" fmla="*/ 68 w 112"/>
                <a:gd name="T83" fmla="*/ 22 h 108"/>
                <a:gd name="T84" fmla="*/ 72 w 112"/>
                <a:gd name="T85" fmla="*/ 22 h 108"/>
                <a:gd name="T86" fmla="*/ 86 w 112"/>
                <a:gd name="T87" fmla="*/ 8 h 108"/>
                <a:gd name="T88" fmla="*/ 18 w 112"/>
                <a:gd name="T89" fmla="*/ 97 h 108"/>
                <a:gd name="T90" fmla="*/ 9 w 112"/>
                <a:gd name="T91" fmla="*/ 90 h 108"/>
                <a:gd name="T92" fmla="*/ 0 w 112"/>
                <a:gd name="T93" fmla="*/ 99 h 108"/>
                <a:gd name="T94" fmla="*/ 9 w 112"/>
                <a:gd name="T95" fmla="*/ 108 h 108"/>
                <a:gd name="T96" fmla="*/ 18 w 112"/>
                <a:gd name="T97" fmla="*/ 101 h 108"/>
                <a:gd name="T98" fmla="*/ 19 w 112"/>
                <a:gd name="T99" fmla="*/ 101 h 108"/>
                <a:gd name="T100" fmla="*/ 19 w 112"/>
                <a:gd name="T101" fmla="*/ 101 h 108"/>
                <a:gd name="T102" fmla="*/ 91 w 112"/>
                <a:gd name="T103" fmla="*/ 8 h 108"/>
                <a:gd name="T104" fmla="*/ 106 w 112"/>
                <a:gd name="T105" fmla="*/ 2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08">
                  <a:moveTo>
                    <a:pt x="96" y="103"/>
                  </a:moveTo>
                  <a:cubicBezTo>
                    <a:pt x="89" y="103"/>
                    <a:pt x="84" y="98"/>
                    <a:pt x="84" y="92"/>
                  </a:cubicBezTo>
                  <a:cubicBezTo>
                    <a:pt x="84" y="86"/>
                    <a:pt x="89" y="81"/>
                    <a:pt x="96" y="81"/>
                  </a:cubicBezTo>
                  <a:cubicBezTo>
                    <a:pt x="102" y="81"/>
                    <a:pt x="107" y="86"/>
                    <a:pt x="107" y="92"/>
                  </a:cubicBezTo>
                  <a:cubicBezTo>
                    <a:pt x="107" y="98"/>
                    <a:pt x="102" y="103"/>
                    <a:pt x="96" y="103"/>
                  </a:cubicBezTo>
                  <a:moveTo>
                    <a:pt x="96" y="76"/>
                  </a:moveTo>
                  <a:cubicBezTo>
                    <a:pt x="87" y="76"/>
                    <a:pt x="79" y="84"/>
                    <a:pt x="79" y="92"/>
                  </a:cubicBezTo>
                  <a:cubicBezTo>
                    <a:pt x="79" y="101"/>
                    <a:pt x="87" y="108"/>
                    <a:pt x="96" y="108"/>
                  </a:cubicBezTo>
                  <a:cubicBezTo>
                    <a:pt x="105" y="108"/>
                    <a:pt x="112" y="101"/>
                    <a:pt x="112" y="92"/>
                  </a:cubicBezTo>
                  <a:cubicBezTo>
                    <a:pt x="112" y="84"/>
                    <a:pt x="105" y="76"/>
                    <a:pt x="96" y="76"/>
                  </a:cubicBezTo>
                  <a:moveTo>
                    <a:pt x="17" y="58"/>
                  </a:moveTo>
                  <a:cubicBezTo>
                    <a:pt x="18" y="58"/>
                    <a:pt x="18" y="58"/>
                    <a:pt x="19" y="58"/>
                  </a:cubicBezTo>
                  <a:cubicBezTo>
                    <a:pt x="19" y="58"/>
                    <a:pt x="20" y="58"/>
                    <a:pt x="20" y="58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8"/>
                    <a:pt x="47" y="58"/>
                  </a:cubicBezTo>
                  <a:cubicBezTo>
                    <a:pt x="47" y="58"/>
                    <a:pt x="48" y="58"/>
                    <a:pt x="48" y="58"/>
                  </a:cubicBezTo>
                  <a:cubicBezTo>
                    <a:pt x="49" y="57"/>
                    <a:pt x="49" y="56"/>
                    <a:pt x="48" y="55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0"/>
                    <a:pt x="49" y="29"/>
                    <a:pt x="48" y="28"/>
                  </a:cubicBezTo>
                  <a:cubicBezTo>
                    <a:pt x="47" y="27"/>
                    <a:pt x="46" y="27"/>
                    <a:pt x="45" y="28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7"/>
                    <a:pt x="18" y="27"/>
                    <a:pt x="17" y="28"/>
                  </a:cubicBezTo>
                  <a:cubicBezTo>
                    <a:pt x="16" y="29"/>
                    <a:pt x="16" y="30"/>
                    <a:pt x="17" y="31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6" y="56"/>
                    <a:pt x="16" y="57"/>
                    <a:pt x="17" y="58"/>
                  </a:cubicBezTo>
                  <a:moveTo>
                    <a:pt x="9" y="103"/>
                  </a:moveTo>
                  <a:cubicBezTo>
                    <a:pt x="7" y="103"/>
                    <a:pt x="5" y="101"/>
                    <a:pt x="5" y="99"/>
                  </a:cubicBezTo>
                  <a:cubicBezTo>
                    <a:pt x="5" y="96"/>
                    <a:pt x="7" y="94"/>
                    <a:pt x="9" y="94"/>
                  </a:cubicBezTo>
                  <a:cubicBezTo>
                    <a:pt x="12" y="94"/>
                    <a:pt x="14" y="96"/>
                    <a:pt x="14" y="99"/>
                  </a:cubicBezTo>
                  <a:cubicBezTo>
                    <a:pt x="14" y="101"/>
                    <a:pt x="12" y="103"/>
                    <a:pt x="9" y="103"/>
                  </a:cubicBezTo>
                  <a:moveTo>
                    <a:pt x="106" y="22"/>
                  </a:moveTo>
                  <a:cubicBezTo>
                    <a:pt x="106" y="22"/>
                    <a:pt x="107" y="23"/>
                    <a:pt x="107" y="23"/>
                  </a:cubicBezTo>
                  <a:cubicBezTo>
                    <a:pt x="108" y="23"/>
                    <a:pt x="108" y="22"/>
                    <a:pt x="109" y="22"/>
                  </a:cubicBezTo>
                  <a:cubicBezTo>
                    <a:pt x="110" y="21"/>
                    <a:pt x="110" y="20"/>
                    <a:pt x="109" y="19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0"/>
                    <a:pt x="88" y="0"/>
                    <a:pt x="87" y="1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20"/>
                    <a:pt x="67" y="21"/>
                    <a:pt x="68" y="22"/>
                  </a:cubicBezTo>
                  <a:cubicBezTo>
                    <a:pt x="69" y="23"/>
                    <a:pt x="71" y="23"/>
                    <a:pt x="72" y="22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5" y="47"/>
                    <a:pt x="67" y="90"/>
                    <a:pt x="18" y="97"/>
                  </a:cubicBezTo>
                  <a:cubicBezTo>
                    <a:pt x="17" y="93"/>
                    <a:pt x="14" y="90"/>
                    <a:pt x="9" y="90"/>
                  </a:cubicBezTo>
                  <a:cubicBezTo>
                    <a:pt x="4" y="90"/>
                    <a:pt x="0" y="94"/>
                    <a:pt x="0" y="99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14" y="108"/>
                    <a:pt x="17" y="105"/>
                    <a:pt x="18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71" y="94"/>
                    <a:pt x="90" y="49"/>
                    <a:pt x="91" y="8"/>
                  </a:cubicBezTo>
                  <a:lnTo>
                    <a:pt x="106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87395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68D35F-2643-422D-9C91-69B9F00EDA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428799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nge Cour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wa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ndo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w Chart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w Chart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w Chart 3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low Chart 4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ale Diagram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ie Char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ie Chart Fin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ne Chart Lapto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e Char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ircle Char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alcula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rea Char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ent Char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r Chart Lapto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 to Z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r Char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AE61EB2D-60A6-40F3-831A-97769A9625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2510" y="315447"/>
            <a:ext cx="760413" cy="758825"/>
            <a:chOff x="652" y="149"/>
            <a:chExt cx="479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DB9F98C5-AA9F-42AC-BB4F-14D185D0CB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52" y="14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D4A2FDB3-BBB2-456F-9237-5A7454250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" y="15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132C43D-87C2-4842-8AA5-F1191BDCBD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" y="301"/>
              <a:ext cx="310" cy="248"/>
            </a:xfrm>
            <a:custGeom>
              <a:avLst/>
              <a:gdLst>
                <a:gd name="T0" fmla="*/ 126 w 126"/>
                <a:gd name="T1" fmla="*/ 50 h 101"/>
                <a:gd name="T2" fmla="*/ 96 w 126"/>
                <a:gd name="T3" fmla="*/ 28 h 101"/>
                <a:gd name="T4" fmla="*/ 96 w 126"/>
                <a:gd name="T5" fmla="*/ 40 h 101"/>
                <a:gd name="T6" fmla="*/ 89 w 126"/>
                <a:gd name="T7" fmla="*/ 40 h 101"/>
                <a:gd name="T8" fmla="*/ 89 w 126"/>
                <a:gd name="T9" fmla="*/ 45 h 101"/>
                <a:gd name="T10" fmla="*/ 101 w 126"/>
                <a:gd name="T11" fmla="*/ 45 h 101"/>
                <a:gd name="T12" fmla="*/ 101 w 126"/>
                <a:gd name="T13" fmla="*/ 38 h 101"/>
                <a:gd name="T14" fmla="*/ 118 w 126"/>
                <a:gd name="T15" fmla="*/ 50 h 101"/>
                <a:gd name="T16" fmla="*/ 101 w 126"/>
                <a:gd name="T17" fmla="*/ 63 h 101"/>
                <a:gd name="T18" fmla="*/ 101 w 126"/>
                <a:gd name="T19" fmla="*/ 55 h 101"/>
                <a:gd name="T20" fmla="*/ 89 w 126"/>
                <a:gd name="T21" fmla="*/ 55 h 101"/>
                <a:gd name="T22" fmla="*/ 89 w 126"/>
                <a:gd name="T23" fmla="*/ 61 h 101"/>
                <a:gd name="T24" fmla="*/ 96 w 126"/>
                <a:gd name="T25" fmla="*/ 61 h 101"/>
                <a:gd name="T26" fmla="*/ 96 w 126"/>
                <a:gd name="T27" fmla="*/ 73 h 101"/>
                <a:gd name="T28" fmla="*/ 126 w 126"/>
                <a:gd name="T29" fmla="*/ 50 h 101"/>
                <a:gd name="T30" fmla="*/ 30 w 126"/>
                <a:gd name="T31" fmla="*/ 0 h 101"/>
                <a:gd name="T32" fmla="*/ 0 w 126"/>
                <a:gd name="T33" fmla="*/ 30 h 101"/>
                <a:gd name="T34" fmla="*/ 30 w 126"/>
                <a:gd name="T35" fmla="*/ 61 h 101"/>
                <a:gd name="T36" fmla="*/ 35 w 126"/>
                <a:gd name="T37" fmla="*/ 61 h 101"/>
                <a:gd name="T38" fmla="*/ 35 w 126"/>
                <a:gd name="T39" fmla="*/ 55 h 101"/>
                <a:gd name="T40" fmla="*/ 30 w 126"/>
                <a:gd name="T41" fmla="*/ 55 h 101"/>
                <a:gd name="T42" fmla="*/ 5 w 126"/>
                <a:gd name="T43" fmla="*/ 30 h 101"/>
                <a:gd name="T44" fmla="*/ 30 w 126"/>
                <a:gd name="T45" fmla="*/ 5 h 101"/>
                <a:gd name="T46" fmla="*/ 54 w 126"/>
                <a:gd name="T47" fmla="*/ 30 h 101"/>
                <a:gd name="T48" fmla="*/ 54 w 126"/>
                <a:gd name="T49" fmla="*/ 101 h 101"/>
                <a:gd name="T50" fmla="*/ 59 w 126"/>
                <a:gd name="T51" fmla="*/ 101 h 101"/>
                <a:gd name="T52" fmla="*/ 59 w 126"/>
                <a:gd name="T53" fmla="*/ 30 h 101"/>
                <a:gd name="T54" fmla="*/ 30 w 126"/>
                <a:gd name="T55" fmla="*/ 0 h 101"/>
                <a:gd name="T56" fmla="*/ 30 w 126"/>
                <a:gd name="T57" fmla="*/ 15 h 101"/>
                <a:gd name="T58" fmla="*/ 15 w 126"/>
                <a:gd name="T59" fmla="*/ 30 h 101"/>
                <a:gd name="T60" fmla="*/ 30 w 126"/>
                <a:gd name="T61" fmla="*/ 45 h 101"/>
                <a:gd name="T62" fmla="*/ 35 w 126"/>
                <a:gd name="T63" fmla="*/ 45 h 101"/>
                <a:gd name="T64" fmla="*/ 35 w 126"/>
                <a:gd name="T65" fmla="*/ 40 h 101"/>
                <a:gd name="T66" fmla="*/ 30 w 126"/>
                <a:gd name="T67" fmla="*/ 40 h 101"/>
                <a:gd name="T68" fmla="*/ 20 w 126"/>
                <a:gd name="T69" fmla="*/ 30 h 101"/>
                <a:gd name="T70" fmla="*/ 30 w 126"/>
                <a:gd name="T71" fmla="*/ 20 h 101"/>
                <a:gd name="T72" fmla="*/ 39 w 126"/>
                <a:gd name="T73" fmla="*/ 30 h 101"/>
                <a:gd name="T74" fmla="*/ 39 w 126"/>
                <a:gd name="T75" fmla="*/ 101 h 101"/>
                <a:gd name="T76" fmla="*/ 44 w 126"/>
                <a:gd name="T77" fmla="*/ 101 h 101"/>
                <a:gd name="T78" fmla="*/ 44 w 126"/>
                <a:gd name="T79" fmla="*/ 30 h 101"/>
                <a:gd name="T80" fmla="*/ 30 w 126"/>
                <a:gd name="T81" fmla="*/ 1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01">
                  <a:moveTo>
                    <a:pt x="126" y="50"/>
                  </a:moveTo>
                  <a:cubicBezTo>
                    <a:pt x="96" y="28"/>
                    <a:pt x="96" y="28"/>
                    <a:pt x="96" y="28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3"/>
                    <a:pt x="96" y="73"/>
                    <a:pt x="96" y="73"/>
                  </a:cubicBezTo>
                  <a:lnTo>
                    <a:pt x="126" y="50"/>
                  </a:lnTo>
                  <a:close/>
                  <a:moveTo>
                    <a:pt x="30" y="0"/>
                  </a:moveTo>
                  <a:cubicBezTo>
                    <a:pt x="13" y="0"/>
                    <a:pt x="0" y="14"/>
                    <a:pt x="0" y="30"/>
                  </a:cubicBezTo>
                  <a:cubicBezTo>
                    <a:pt x="0" y="47"/>
                    <a:pt x="13" y="61"/>
                    <a:pt x="30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16" y="55"/>
                    <a:pt x="5" y="44"/>
                    <a:pt x="5" y="30"/>
                  </a:cubicBezTo>
                  <a:cubicBezTo>
                    <a:pt x="5" y="16"/>
                    <a:pt x="16" y="5"/>
                    <a:pt x="30" y="5"/>
                  </a:cubicBezTo>
                  <a:cubicBezTo>
                    <a:pt x="43" y="5"/>
                    <a:pt x="54" y="16"/>
                    <a:pt x="54" y="30"/>
                  </a:cubicBezTo>
                  <a:cubicBezTo>
                    <a:pt x="54" y="101"/>
                    <a:pt x="54" y="101"/>
                    <a:pt x="54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4"/>
                    <a:pt x="46" y="0"/>
                    <a:pt x="30" y="0"/>
                  </a:cubicBezTo>
                  <a:moveTo>
                    <a:pt x="30" y="15"/>
                  </a:moveTo>
                  <a:cubicBezTo>
                    <a:pt x="21" y="15"/>
                    <a:pt x="15" y="22"/>
                    <a:pt x="15" y="30"/>
                  </a:cubicBezTo>
                  <a:cubicBezTo>
                    <a:pt x="15" y="39"/>
                    <a:pt x="21" y="45"/>
                    <a:pt x="30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24" y="40"/>
                    <a:pt x="20" y="36"/>
                    <a:pt x="20" y="30"/>
                  </a:cubicBezTo>
                  <a:cubicBezTo>
                    <a:pt x="20" y="25"/>
                    <a:pt x="24" y="20"/>
                    <a:pt x="30" y="20"/>
                  </a:cubicBezTo>
                  <a:cubicBezTo>
                    <a:pt x="35" y="20"/>
                    <a:pt x="39" y="25"/>
                    <a:pt x="39" y="30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2"/>
                    <a:pt x="38" y="15"/>
                    <a:pt x="30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0EC6ABEF-99F1-4EA3-867F-AFD6E6A89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230"/>
              <a:ext cx="115" cy="319"/>
            </a:xfrm>
            <a:custGeom>
              <a:avLst/>
              <a:gdLst>
                <a:gd name="T0" fmla="*/ 59 w 115"/>
                <a:gd name="T1" fmla="*/ 0 h 319"/>
                <a:gd name="T2" fmla="*/ 0 w 115"/>
                <a:gd name="T3" fmla="*/ 73 h 319"/>
                <a:gd name="T4" fmla="*/ 32 w 115"/>
                <a:gd name="T5" fmla="*/ 73 h 319"/>
                <a:gd name="T6" fmla="*/ 32 w 115"/>
                <a:gd name="T7" fmla="*/ 319 h 319"/>
                <a:gd name="T8" fmla="*/ 44 w 115"/>
                <a:gd name="T9" fmla="*/ 319 h 319"/>
                <a:gd name="T10" fmla="*/ 44 w 115"/>
                <a:gd name="T11" fmla="*/ 73 h 319"/>
                <a:gd name="T12" fmla="*/ 44 w 115"/>
                <a:gd name="T13" fmla="*/ 61 h 319"/>
                <a:gd name="T14" fmla="*/ 27 w 115"/>
                <a:gd name="T15" fmla="*/ 61 h 319"/>
                <a:gd name="T16" fmla="*/ 59 w 115"/>
                <a:gd name="T17" fmla="*/ 22 h 319"/>
                <a:gd name="T18" fmla="*/ 91 w 115"/>
                <a:gd name="T19" fmla="*/ 61 h 319"/>
                <a:gd name="T20" fmla="*/ 71 w 115"/>
                <a:gd name="T21" fmla="*/ 61 h 319"/>
                <a:gd name="T22" fmla="*/ 71 w 115"/>
                <a:gd name="T23" fmla="*/ 73 h 319"/>
                <a:gd name="T24" fmla="*/ 71 w 115"/>
                <a:gd name="T25" fmla="*/ 319 h 319"/>
                <a:gd name="T26" fmla="*/ 83 w 115"/>
                <a:gd name="T27" fmla="*/ 319 h 319"/>
                <a:gd name="T28" fmla="*/ 83 w 115"/>
                <a:gd name="T29" fmla="*/ 73 h 319"/>
                <a:gd name="T30" fmla="*/ 115 w 115"/>
                <a:gd name="T31" fmla="*/ 73 h 319"/>
                <a:gd name="T32" fmla="*/ 59 w 115"/>
                <a:gd name="T33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5" h="319">
                  <a:moveTo>
                    <a:pt x="59" y="0"/>
                  </a:moveTo>
                  <a:lnTo>
                    <a:pt x="0" y="73"/>
                  </a:lnTo>
                  <a:lnTo>
                    <a:pt x="32" y="73"/>
                  </a:lnTo>
                  <a:lnTo>
                    <a:pt x="32" y="319"/>
                  </a:lnTo>
                  <a:lnTo>
                    <a:pt x="44" y="319"/>
                  </a:lnTo>
                  <a:lnTo>
                    <a:pt x="44" y="73"/>
                  </a:lnTo>
                  <a:lnTo>
                    <a:pt x="44" y="61"/>
                  </a:lnTo>
                  <a:lnTo>
                    <a:pt x="27" y="61"/>
                  </a:lnTo>
                  <a:lnTo>
                    <a:pt x="59" y="22"/>
                  </a:lnTo>
                  <a:lnTo>
                    <a:pt x="91" y="61"/>
                  </a:lnTo>
                  <a:lnTo>
                    <a:pt x="71" y="61"/>
                  </a:lnTo>
                  <a:lnTo>
                    <a:pt x="71" y="73"/>
                  </a:lnTo>
                  <a:lnTo>
                    <a:pt x="71" y="319"/>
                  </a:lnTo>
                  <a:lnTo>
                    <a:pt x="83" y="319"/>
                  </a:lnTo>
                  <a:lnTo>
                    <a:pt x="83" y="73"/>
                  </a:lnTo>
                  <a:lnTo>
                    <a:pt x="115" y="73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485F2A0-1F5B-4718-AB24-654850D037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" y="301"/>
              <a:ext cx="310" cy="248"/>
            </a:xfrm>
            <a:custGeom>
              <a:avLst/>
              <a:gdLst>
                <a:gd name="T0" fmla="*/ 126 w 126"/>
                <a:gd name="T1" fmla="*/ 50 h 101"/>
                <a:gd name="T2" fmla="*/ 96 w 126"/>
                <a:gd name="T3" fmla="*/ 28 h 101"/>
                <a:gd name="T4" fmla="*/ 96 w 126"/>
                <a:gd name="T5" fmla="*/ 40 h 101"/>
                <a:gd name="T6" fmla="*/ 89 w 126"/>
                <a:gd name="T7" fmla="*/ 40 h 101"/>
                <a:gd name="T8" fmla="*/ 89 w 126"/>
                <a:gd name="T9" fmla="*/ 45 h 101"/>
                <a:gd name="T10" fmla="*/ 101 w 126"/>
                <a:gd name="T11" fmla="*/ 45 h 101"/>
                <a:gd name="T12" fmla="*/ 101 w 126"/>
                <a:gd name="T13" fmla="*/ 38 h 101"/>
                <a:gd name="T14" fmla="*/ 118 w 126"/>
                <a:gd name="T15" fmla="*/ 50 h 101"/>
                <a:gd name="T16" fmla="*/ 101 w 126"/>
                <a:gd name="T17" fmla="*/ 63 h 101"/>
                <a:gd name="T18" fmla="*/ 101 w 126"/>
                <a:gd name="T19" fmla="*/ 55 h 101"/>
                <a:gd name="T20" fmla="*/ 89 w 126"/>
                <a:gd name="T21" fmla="*/ 55 h 101"/>
                <a:gd name="T22" fmla="*/ 89 w 126"/>
                <a:gd name="T23" fmla="*/ 61 h 101"/>
                <a:gd name="T24" fmla="*/ 96 w 126"/>
                <a:gd name="T25" fmla="*/ 61 h 101"/>
                <a:gd name="T26" fmla="*/ 96 w 126"/>
                <a:gd name="T27" fmla="*/ 73 h 101"/>
                <a:gd name="T28" fmla="*/ 126 w 126"/>
                <a:gd name="T29" fmla="*/ 50 h 101"/>
                <a:gd name="T30" fmla="*/ 30 w 126"/>
                <a:gd name="T31" fmla="*/ 0 h 101"/>
                <a:gd name="T32" fmla="*/ 0 w 126"/>
                <a:gd name="T33" fmla="*/ 30 h 101"/>
                <a:gd name="T34" fmla="*/ 30 w 126"/>
                <a:gd name="T35" fmla="*/ 61 h 101"/>
                <a:gd name="T36" fmla="*/ 35 w 126"/>
                <a:gd name="T37" fmla="*/ 61 h 101"/>
                <a:gd name="T38" fmla="*/ 35 w 126"/>
                <a:gd name="T39" fmla="*/ 55 h 101"/>
                <a:gd name="T40" fmla="*/ 30 w 126"/>
                <a:gd name="T41" fmla="*/ 55 h 101"/>
                <a:gd name="T42" fmla="*/ 5 w 126"/>
                <a:gd name="T43" fmla="*/ 30 h 101"/>
                <a:gd name="T44" fmla="*/ 30 w 126"/>
                <a:gd name="T45" fmla="*/ 5 h 101"/>
                <a:gd name="T46" fmla="*/ 54 w 126"/>
                <a:gd name="T47" fmla="*/ 30 h 101"/>
                <a:gd name="T48" fmla="*/ 54 w 126"/>
                <a:gd name="T49" fmla="*/ 101 h 101"/>
                <a:gd name="T50" fmla="*/ 59 w 126"/>
                <a:gd name="T51" fmla="*/ 101 h 101"/>
                <a:gd name="T52" fmla="*/ 59 w 126"/>
                <a:gd name="T53" fmla="*/ 30 h 101"/>
                <a:gd name="T54" fmla="*/ 30 w 126"/>
                <a:gd name="T55" fmla="*/ 0 h 101"/>
                <a:gd name="T56" fmla="*/ 30 w 126"/>
                <a:gd name="T57" fmla="*/ 15 h 101"/>
                <a:gd name="T58" fmla="*/ 15 w 126"/>
                <a:gd name="T59" fmla="*/ 30 h 101"/>
                <a:gd name="T60" fmla="*/ 30 w 126"/>
                <a:gd name="T61" fmla="*/ 45 h 101"/>
                <a:gd name="T62" fmla="*/ 35 w 126"/>
                <a:gd name="T63" fmla="*/ 45 h 101"/>
                <a:gd name="T64" fmla="*/ 35 w 126"/>
                <a:gd name="T65" fmla="*/ 40 h 101"/>
                <a:gd name="T66" fmla="*/ 30 w 126"/>
                <a:gd name="T67" fmla="*/ 40 h 101"/>
                <a:gd name="T68" fmla="*/ 20 w 126"/>
                <a:gd name="T69" fmla="*/ 30 h 101"/>
                <a:gd name="T70" fmla="*/ 30 w 126"/>
                <a:gd name="T71" fmla="*/ 20 h 101"/>
                <a:gd name="T72" fmla="*/ 39 w 126"/>
                <a:gd name="T73" fmla="*/ 30 h 101"/>
                <a:gd name="T74" fmla="*/ 39 w 126"/>
                <a:gd name="T75" fmla="*/ 101 h 101"/>
                <a:gd name="T76" fmla="*/ 44 w 126"/>
                <a:gd name="T77" fmla="*/ 101 h 101"/>
                <a:gd name="T78" fmla="*/ 44 w 126"/>
                <a:gd name="T79" fmla="*/ 30 h 101"/>
                <a:gd name="T80" fmla="*/ 30 w 126"/>
                <a:gd name="T81" fmla="*/ 1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01">
                  <a:moveTo>
                    <a:pt x="126" y="50"/>
                  </a:moveTo>
                  <a:cubicBezTo>
                    <a:pt x="96" y="28"/>
                    <a:pt x="96" y="28"/>
                    <a:pt x="96" y="28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3"/>
                    <a:pt x="96" y="73"/>
                    <a:pt x="96" y="73"/>
                  </a:cubicBezTo>
                  <a:lnTo>
                    <a:pt x="126" y="50"/>
                  </a:lnTo>
                  <a:close/>
                  <a:moveTo>
                    <a:pt x="30" y="0"/>
                  </a:moveTo>
                  <a:cubicBezTo>
                    <a:pt x="13" y="0"/>
                    <a:pt x="0" y="14"/>
                    <a:pt x="0" y="30"/>
                  </a:cubicBezTo>
                  <a:cubicBezTo>
                    <a:pt x="0" y="47"/>
                    <a:pt x="13" y="61"/>
                    <a:pt x="30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16" y="55"/>
                    <a:pt x="5" y="44"/>
                    <a:pt x="5" y="30"/>
                  </a:cubicBezTo>
                  <a:cubicBezTo>
                    <a:pt x="5" y="16"/>
                    <a:pt x="16" y="5"/>
                    <a:pt x="30" y="5"/>
                  </a:cubicBezTo>
                  <a:cubicBezTo>
                    <a:pt x="43" y="5"/>
                    <a:pt x="54" y="16"/>
                    <a:pt x="54" y="30"/>
                  </a:cubicBezTo>
                  <a:cubicBezTo>
                    <a:pt x="54" y="101"/>
                    <a:pt x="54" y="101"/>
                    <a:pt x="54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4"/>
                    <a:pt x="46" y="0"/>
                    <a:pt x="30" y="0"/>
                  </a:cubicBezTo>
                  <a:moveTo>
                    <a:pt x="30" y="15"/>
                  </a:moveTo>
                  <a:cubicBezTo>
                    <a:pt x="21" y="15"/>
                    <a:pt x="15" y="22"/>
                    <a:pt x="15" y="30"/>
                  </a:cubicBezTo>
                  <a:cubicBezTo>
                    <a:pt x="15" y="39"/>
                    <a:pt x="21" y="45"/>
                    <a:pt x="30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24" y="40"/>
                    <a:pt x="20" y="36"/>
                    <a:pt x="20" y="30"/>
                  </a:cubicBezTo>
                  <a:cubicBezTo>
                    <a:pt x="20" y="25"/>
                    <a:pt x="24" y="20"/>
                    <a:pt x="30" y="20"/>
                  </a:cubicBezTo>
                  <a:cubicBezTo>
                    <a:pt x="35" y="20"/>
                    <a:pt x="39" y="25"/>
                    <a:pt x="39" y="30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2"/>
                    <a:pt x="38" y="15"/>
                    <a:pt x="30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A831986-AD74-4093-B27D-D79CA115B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230"/>
              <a:ext cx="115" cy="319"/>
            </a:xfrm>
            <a:custGeom>
              <a:avLst/>
              <a:gdLst>
                <a:gd name="T0" fmla="*/ 59 w 115"/>
                <a:gd name="T1" fmla="*/ 0 h 319"/>
                <a:gd name="T2" fmla="*/ 0 w 115"/>
                <a:gd name="T3" fmla="*/ 73 h 319"/>
                <a:gd name="T4" fmla="*/ 32 w 115"/>
                <a:gd name="T5" fmla="*/ 73 h 319"/>
                <a:gd name="T6" fmla="*/ 32 w 115"/>
                <a:gd name="T7" fmla="*/ 319 h 319"/>
                <a:gd name="T8" fmla="*/ 44 w 115"/>
                <a:gd name="T9" fmla="*/ 319 h 319"/>
                <a:gd name="T10" fmla="*/ 44 w 115"/>
                <a:gd name="T11" fmla="*/ 73 h 319"/>
                <a:gd name="T12" fmla="*/ 44 w 115"/>
                <a:gd name="T13" fmla="*/ 61 h 319"/>
                <a:gd name="T14" fmla="*/ 27 w 115"/>
                <a:gd name="T15" fmla="*/ 61 h 319"/>
                <a:gd name="T16" fmla="*/ 59 w 115"/>
                <a:gd name="T17" fmla="*/ 22 h 319"/>
                <a:gd name="T18" fmla="*/ 91 w 115"/>
                <a:gd name="T19" fmla="*/ 61 h 319"/>
                <a:gd name="T20" fmla="*/ 71 w 115"/>
                <a:gd name="T21" fmla="*/ 61 h 319"/>
                <a:gd name="T22" fmla="*/ 71 w 115"/>
                <a:gd name="T23" fmla="*/ 73 h 319"/>
                <a:gd name="T24" fmla="*/ 71 w 115"/>
                <a:gd name="T25" fmla="*/ 319 h 319"/>
                <a:gd name="T26" fmla="*/ 83 w 115"/>
                <a:gd name="T27" fmla="*/ 319 h 319"/>
                <a:gd name="T28" fmla="*/ 83 w 115"/>
                <a:gd name="T29" fmla="*/ 73 h 319"/>
                <a:gd name="T30" fmla="*/ 115 w 115"/>
                <a:gd name="T31" fmla="*/ 73 h 319"/>
                <a:gd name="T32" fmla="*/ 59 w 115"/>
                <a:gd name="T33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5" h="319">
                  <a:moveTo>
                    <a:pt x="59" y="0"/>
                  </a:moveTo>
                  <a:lnTo>
                    <a:pt x="0" y="73"/>
                  </a:lnTo>
                  <a:lnTo>
                    <a:pt x="32" y="73"/>
                  </a:lnTo>
                  <a:lnTo>
                    <a:pt x="32" y="319"/>
                  </a:lnTo>
                  <a:lnTo>
                    <a:pt x="44" y="319"/>
                  </a:lnTo>
                  <a:lnTo>
                    <a:pt x="44" y="73"/>
                  </a:lnTo>
                  <a:lnTo>
                    <a:pt x="44" y="61"/>
                  </a:lnTo>
                  <a:lnTo>
                    <a:pt x="27" y="61"/>
                  </a:lnTo>
                  <a:lnTo>
                    <a:pt x="59" y="22"/>
                  </a:lnTo>
                  <a:lnTo>
                    <a:pt x="91" y="61"/>
                  </a:lnTo>
                  <a:lnTo>
                    <a:pt x="71" y="61"/>
                  </a:lnTo>
                  <a:lnTo>
                    <a:pt x="71" y="73"/>
                  </a:lnTo>
                  <a:lnTo>
                    <a:pt x="71" y="319"/>
                  </a:lnTo>
                  <a:lnTo>
                    <a:pt x="83" y="319"/>
                  </a:lnTo>
                  <a:lnTo>
                    <a:pt x="83" y="73"/>
                  </a:lnTo>
                  <a:lnTo>
                    <a:pt x="115" y="73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218998B9-F0EF-4EA2-866A-98B8791E73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6834" y="274172"/>
            <a:ext cx="841375" cy="841375"/>
            <a:chOff x="125" y="137"/>
            <a:chExt cx="530" cy="530"/>
          </a:xfrm>
        </p:grpSpPr>
        <p:sp>
          <p:nvSpPr>
            <p:cNvPr id="15" name="AutoShape 11">
              <a:extLst>
                <a:ext uri="{FF2B5EF4-FFF2-40B4-BE49-F238E27FC236}">
                  <a16:creationId xmlns:a16="http://schemas.microsoft.com/office/drawing/2014/main" id="{9F9ADB77-8743-40A0-BCAE-0B4EC48AFC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25" y="13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3">
              <a:extLst>
                <a:ext uri="{FF2B5EF4-FFF2-40B4-BE49-F238E27FC236}">
                  <a16:creationId xmlns:a16="http://schemas.microsoft.com/office/drawing/2014/main" id="{4A7C692E-3A0F-4B1B-A07A-043A5C709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" y="13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9C5608A0-45BF-48A0-8B21-47B952EDD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" y="15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56ACF142-D37E-44CA-83A7-CD5D1608CD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" y="311"/>
              <a:ext cx="322" cy="259"/>
            </a:xfrm>
            <a:custGeom>
              <a:avLst/>
              <a:gdLst>
                <a:gd name="T0" fmla="*/ 126 w 126"/>
                <a:gd name="T1" fmla="*/ 50 h 101"/>
                <a:gd name="T2" fmla="*/ 96 w 126"/>
                <a:gd name="T3" fmla="*/ 28 h 101"/>
                <a:gd name="T4" fmla="*/ 96 w 126"/>
                <a:gd name="T5" fmla="*/ 40 h 101"/>
                <a:gd name="T6" fmla="*/ 89 w 126"/>
                <a:gd name="T7" fmla="*/ 40 h 101"/>
                <a:gd name="T8" fmla="*/ 89 w 126"/>
                <a:gd name="T9" fmla="*/ 45 h 101"/>
                <a:gd name="T10" fmla="*/ 101 w 126"/>
                <a:gd name="T11" fmla="*/ 45 h 101"/>
                <a:gd name="T12" fmla="*/ 101 w 126"/>
                <a:gd name="T13" fmla="*/ 38 h 101"/>
                <a:gd name="T14" fmla="*/ 118 w 126"/>
                <a:gd name="T15" fmla="*/ 50 h 101"/>
                <a:gd name="T16" fmla="*/ 101 w 126"/>
                <a:gd name="T17" fmla="*/ 63 h 101"/>
                <a:gd name="T18" fmla="*/ 101 w 126"/>
                <a:gd name="T19" fmla="*/ 55 h 101"/>
                <a:gd name="T20" fmla="*/ 89 w 126"/>
                <a:gd name="T21" fmla="*/ 55 h 101"/>
                <a:gd name="T22" fmla="*/ 89 w 126"/>
                <a:gd name="T23" fmla="*/ 61 h 101"/>
                <a:gd name="T24" fmla="*/ 96 w 126"/>
                <a:gd name="T25" fmla="*/ 61 h 101"/>
                <a:gd name="T26" fmla="*/ 96 w 126"/>
                <a:gd name="T27" fmla="*/ 73 h 101"/>
                <a:gd name="T28" fmla="*/ 126 w 126"/>
                <a:gd name="T29" fmla="*/ 50 h 101"/>
                <a:gd name="T30" fmla="*/ 30 w 126"/>
                <a:gd name="T31" fmla="*/ 0 h 101"/>
                <a:gd name="T32" fmla="*/ 0 w 126"/>
                <a:gd name="T33" fmla="*/ 30 h 101"/>
                <a:gd name="T34" fmla="*/ 30 w 126"/>
                <a:gd name="T35" fmla="*/ 61 h 101"/>
                <a:gd name="T36" fmla="*/ 35 w 126"/>
                <a:gd name="T37" fmla="*/ 61 h 101"/>
                <a:gd name="T38" fmla="*/ 35 w 126"/>
                <a:gd name="T39" fmla="*/ 55 h 101"/>
                <a:gd name="T40" fmla="*/ 30 w 126"/>
                <a:gd name="T41" fmla="*/ 55 h 101"/>
                <a:gd name="T42" fmla="*/ 5 w 126"/>
                <a:gd name="T43" fmla="*/ 30 h 101"/>
                <a:gd name="T44" fmla="*/ 30 w 126"/>
                <a:gd name="T45" fmla="*/ 5 h 101"/>
                <a:gd name="T46" fmla="*/ 54 w 126"/>
                <a:gd name="T47" fmla="*/ 30 h 101"/>
                <a:gd name="T48" fmla="*/ 54 w 126"/>
                <a:gd name="T49" fmla="*/ 101 h 101"/>
                <a:gd name="T50" fmla="*/ 59 w 126"/>
                <a:gd name="T51" fmla="*/ 101 h 101"/>
                <a:gd name="T52" fmla="*/ 59 w 126"/>
                <a:gd name="T53" fmla="*/ 30 h 101"/>
                <a:gd name="T54" fmla="*/ 30 w 126"/>
                <a:gd name="T55" fmla="*/ 0 h 101"/>
                <a:gd name="T56" fmla="*/ 30 w 126"/>
                <a:gd name="T57" fmla="*/ 15 h 101"/>
                <a:gd name="T58" fmla="*/ 15 w 126"/>
                <a:gd name="T59" fmla="*/ 30 h 101"/>
                <a:gd name="T60" fmla="*/ 30 w 126"/>
                <a:gd name="T61" fmla="*/ 45 h 101"/>
                <a:gd name="T62" fmla="*/ 35 w 126"/>
                <a:gd name="T63" fmla="*/ 45 h 101"/>
                <a:gd name="T64" fmla="*/ 35 w 126"/>
                <a:gd name="T65" fmla="*/ 40 h 101"/>
                <a:gd name="T66" fmla="*/ 30 w 126"/>
                <a:gd name="T67" fmla="*/ 40 h 101"/>
                <a:gd name="T68" fmla="*/ 20 w 126"/>
                <a:gd name="T69" fmla="*/ 30 h 101"/>
                <a:gd name="T70" fmla="*/ 30 w 126"/>
                <a:gd name="T71" fmla="*/ 20 h 101"/>
                <a:gd name="T72" fmla="*/ 39 w 126"/>
                <a:gd name="T73" fmla="*/ 30 h 101"/>
                <a:gd name="T74" fmla="*/ 39 w 126"/>
                <a:gd name="T75" fmla="*/ 101 h 101"/>
                <a:gd name="T76" fmla="*/ 44 w 126"/>
                <a:gd name="T77" fmla="*/ 101 h 101"/>
                <a:gd name="T78" fmla="*/ 44 w 126"/>
                <a:gd name="T79" fmla="*/ 30 h 101"/>
                <a:gd name="T80" fmla="*/ 30 w 126"/>
                <a:gd name="T81" fmla="*/ 1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01">
                  <a:moveTo>
                    <a:pt x="126" y="50"/>
                  </a:moveTo>
                  <a:cubicBezTo>
                    <a:pt x="96" y="28"/>
                    <a:pt x="96" y="28"/>
                    <a:pt x="96" y="28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73"/>
                    <a:pt x="96" y="73"/>
                    <a:pt x="96" y="73"/>
                  </a:cubicBezTo>
                  <a:lnTo>
                    <a:pt x="126" y="50"/>
                  </a:lnTo>
                  <a:close/>
                  <a:moveTo>
                    <a:pt x="30" y="0"/>
                  </a:moveTo>
                  <a:cubicBezTo>
                    <a:pt x="13" y="0"/>
                    <a:pt x="0" y="14"/>
                    <a:pt x="0" y="30"/>
                  </a:cubicBezTo>
                  <a:cubicBezTo>
                    <a:pt x="0" y="47"/>
                    <a:pt x="13" y="61"/>
                    <a:pt x="30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16" y="55"/>
                    <a:pt x="5" y="44"/>
                    <a:pt x="5" y="30"/>
                  </a:cubicBezTo>
                  <a:cubicBezTo>
                    <a:pt x="5" y="16"/>
                    <a:pt x="16" y="5"/>
                    <a:pt x="30" y="5"/>
                  </a:cubicBezTo>
                  <a:cubicBezTo>
                    <a:pt x="43" y="5"/>
                    <a:pt x="54" y="16"/>
                    <a:pt x="54" y="30"/>
                  </a:cubicBezTo>
                  <a:cubicBezTo>
                    <a:pt x="54" y="101"/>
                    <a:pt x="54" y="101"/>
                    <a:pt x="54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4"/>
                    <a:pt x="46" y="0"/>
                    <a:pt x="30" y="0"/>
                  </a:cubicBezTo>
                  <a:moveTo>
                    <a:pt x="30" y="15"/>
                  </a:moveTo>
                  <a:cubicBezTo>
                    <a:pt x="21" y="15"/>
                    <a:pt x="15" y="22"/>
                    <a:pt x="15" y="30"/>
                  </a:cubicBezTo>
                  <a:cubicBezTo>
                    <a:pt x="15" y="39"/>
                    <a:pt x="21" y="45"/>
                    <a:pt x="30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24" y="40"/>
                    <a:pt x="20" y="36"/>
                    <a:pt x="20" y="30"/>
                  </a:cubicBezTo>
                  <a:cubicBezTo>
                    <a:pt x="20" y="25"/>
                    <a:pt x="24" y="20"/>
                    <a:pt x="30" y="20"/>
                  </a:cubicBezTo>
                  <a:cubicBezTo>
                    <a:pt x="35" y="20"/>
                    <a:pt x="39" y="25"/>
                    <a:pt x="39" y="30"/>
                  </a:cubicBezTo>
                  <a:cubicBezTo>
                    <a:pt x="39" y="101"/>
                    <a:pt x="39" y="101"/>
                    <a:pt x="39" y="101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2"/>
                    <a:pt x="38" y="15"/>
                    <a:pt x="30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E7794160-5614-476C-85DF-DE3DBA528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" y="237"/>
              <a:ext cx="120" cy="333"/>
            </a:xfrm>
            <a:custGeom>
              <a:avLst/>
              <a:gdLst>
                <a:gd name="T0" fmla="*/ 61 w 120"/>
                <a:gd name="T1" fmla="*/ 0 h 333"/>
                <a:gd name="T2" fmla="*/ 0 w 120"/>
                <a:gd name="T3" fmla="*/ 77 h 333"/>
                <a:gd name="T4" fmla="*/ 33 w 120"/>
                <a:gd name="T5" fmla="*/ 77 h 333"/>
                <a:gd name="T6" fmla="*/ 33 w 120"/>
                <a:gd name="T7" fmla="*/ 333 h 333"/>
                <a:gd name="T8" fmla="*/ 46 w 120"/>
                <a:gd name="T9" fmla="*/ 333 h 333"/>
                <a:gd name="T10" fmla="*/ 46 w 120"/>
                <a:gd name="T11" fmla="*/ 77 h 333"/>
                <a:gd name="T12" fmla="*/ 46 w 120"/>
                <a:gd name="T13" fmla="*/ 64 h 333"/>
                <a:gd name="T14" fmla="*/ 28 w 120"/>
                <a:gd name="T15" fmla="*/ 64 h 333"/>
                <a:gd name="T16" fmla="*/ 61 w 120"/>
                <a:gd name="T17" fmla="*/ 23 h 333"/>
                <a:gd name="T18" fmla="*/ 95 w 120"/>
                <a:gd name="T19" fmla="*/ 64 h 333"/>
                <a:gd name="T20" fmla="*/ 74 w 120"/>
                <a:gd name="T21" fmla="*/ 64 h 333"/>
                <a:gd name="T22" fmla="*/ 74 w 120"/>
                <a:gd name="T23" fmla="*/ 77 h 333"/>
                <a:gd name="T24" fmla="*/ 74 w 120"/>
                <a:gd name="T25" fmla="*/ 333 h 333"/>
                <a:gd name="T26" fmla="*/ 87 w 120"/>
                <a:gd name="T27" fmla="*/ 333 h 333"/>
                <a:gd name="T28" fmla="*/ 87 w 120"/>
                <a:gd name="T29" fmla="*/ 77 h 333"/>
                <a:gd name="T30" fmla="*/ 120 w 120"/>
                <a:gd name="T31" fmla="*/ 77 h 333"/>
                <a:gd name="T32" fmla="*/ 61 w 120"/>
                <a:gd name="T33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333">
                  <a:moveTo>
                    <a:pt x="61" y="0"/>
                  </a:moveTo>
                  <a:lnTo>
                    <a:pt x="0" y="77"/>
                  </a:lnTo>
                  <a:lnTo>
                    <a:pt x="33" y="77"/>
                  </a:lnTo>
                  <a:lnTo>
                    <a:pt x="33" y="333"/>
                  </a:lnTo>
                  <a:lnTo>
                    <a:pt x="46" y="333"/>
                  </a:lnTo>
                  <a:lnTo>
                    <a:pt x="46" y="77"/>
                  </a:lnTo>
                  <a:lnTo>
                    <a:pt x="46" y="64"/>
                  </a:lnTo>
                  <a:lnTo>
                    <a:pt x="28" y="64"/>
                  </a:lnTo>
                  <a:lnTo>
                    <a:pt x="61" y="23"/>
                  </a:lnTo>
                  <a:lnTo>
                    <a:pt x="95" y="64"/>
                  </a:lnTo>
                  <a:lnTo>
                    <a:pt x="74" y="64"/>
                  </a:lnTo>
                  <a:lnTo>
                    <a:pt x="74" y="77"/>
                  </a:lnTo>
                  <a:lnTo>
                    <a:pt x="74" y="333"/>
                  </a:lnTo>
                  <a:lnTo>
                    <a:pt x="87" y="333"/>
                  </a:lnTo>
                  <a:lnTo>
                    <a:pt x="87" y="77"/>
                  </a:lnTo>
                  <a:lnTo>
                    <a:pt x="120" y="77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19">
            <a:extLst>
              <a:ext uri="{FF2B5EF4-FFF2-40B4-BE49-F238E27FC236}">
                <a16:creationId xmlns:a16="http://schemas.microsoft.com/office/drawing/2014/main" id="{E0D18D07-161E-435D-868D-03A0989F071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55832" y="315447"/>
            <a:ext cx="758825" cy="758825"/>
            <a:chOff x="2155" y="236"/>
            <a:chExt cx="478" cy="478"/>
          </a:xfrm>
        </p:grpSpPr>
        <p:sp>
          <p:nvSpPr>
            <p:cNvPr id="25" name="AutoShape 18">
              <a:extLst>
                <a:ext uri="{FF2B5EF4-FFF2-40B4-BE49-F238E27FC236}">
                  <a16:creationId xmlns:a16="http://schemas.microsoft.com/office/drawing/2014/main" id="{62E45A56-B529-4C2F-B931-61A8F5644E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55" y="23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7B1AA5D4-8A1C-4373-A3AD-3DB6A8CCD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7" y="23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1">
              <a:extLst>
                <a:ext uri="{FF2B5EF4-FFF2-40B4-BE49-F238E27FC236}">
                  <a16:creationId xmlns:a16="http://schemas.microsoft.com/office/drawing/2014/main" id="{6191E8F7-581A-4392-95FC-F5CF48DB2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60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5C90B76F-F7A5-43A2-BAA8-01BBD44CE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2" y="329"/>
              <a:ext cx="206" cy="294"/>
            </a:xfrm>
            <a:custGeom>
              <a:avLst/>
              <a:gdLst>
                <a:gd name="T0" fmla="*/ 206 w 206"/>
                <a:gd name="T1" fmla="*/ 135 h 294"/>
                <a:gd name="T2" fmla="*/ 206 w 206"/>
                <a:gd name="T3" fmla="*/ 0 h 294"/>
                <a:gd name="T4" fmla="*/ 71 w 206"/>
                <a:gd name="T5" fmla="*/ 0 h 294"/>
                <a:gd name="T6" fmla="*/ 62 w 206"/>
                <a:gd name="T7" fmla="*/ 7 h 294"/>
                <a:gd name="T8" fmla="*/ 59 w 206"/>
                <a:gd name="T9" fmla="*/ 17 h 294"/>
                <a:gd name="T10" fmla="*/ 59 w 206"/>
                <a:gd name="T11" fmla="*/ 25 h 294"/>
                <a:gd name="T12" fmla="*/ 66 w 206"/>
                <a:gd name="T13" fmla="*/ 34 h 294"/>
                <a:gd name="T14" fmla="*/ 52 w 206"/>
                <a:gd name="T15" fmla="*/ 101 h 294"/>
                <a:gd name="T16" fmla="*/ 52 w 206"/>
                <a:gd name="T17" fmla="*/ 101 h 294"/>
                <a:gd name="T18" fmla="*/ 54 w 206"/>
                <a:gd name="T19" fmla="*/ 108 h 294"/>
                <a:gd name="T20" fmla="*/ 59 w 206"/>
                <a:gd name="T21" fmla="*/ 110 h 294"/>
                <a:gd name="T22" fmla="*/ 64 w 206"/>
                <a:gd name="T23" fmla="*/ 108 h 294"/>
                <a:gd name="T24" fmla="*/ 74 w 206"/>
                <a:gd name="T25" fmla="*/ 22 h 294"/>
                <a:gd name="T26" fmla="*/ 74 w 206"/>
                <a:gd name="T27" fmla="*/ 17 h 294"/>
                <a:gd name="T28" fmla="*/ 76 w 206"/>
                <a:gd name="T29" fmla="*/ 15 h 294"/>
                <a:gd name="T30" fmla="*/ 191 w 206"/>
                <a:gd name="T31" fmla="*/ 15 h 294"/>
                <a:gd name="T32" fmla="*/ 191 w 206"/>
                <a:gd name="T33" fmla="*/ 133 h 294"/>
                <a:gd name="T34" fmla="*/ 184 w 206"/>
                <a:gd name="T35" fmla="*/ 133 h 294"/>
                <a:gd name="T36" fmla="*/ 145 w 206"/>
                <a:gd name="T37" fmla="*/ 96 h 294"/>
                <a:gd name="T38" fmla="*/ 30 w 206"/>
                <a:gd name="T39" fmla="*/ 150 h 294"/>
                <a:gd name="T40" fmla="*/ 17 w 206"/>
                <a:gd name="T41" fmla="*/ 147 h 294"/>
                <a:gd name="T42" fmla="*/ 10 w 206"/>
                <a:gd name="T43" fmla="*/ 150 h 294"/>
                <a:gd name="T44" fmla="*/ 3 w 206"/>
                <a:gd name="T45" fmla="*/ 155 h 294"/>
                <a:gd name="T46" fmla="*/ 0 w 206"/>
                <a:gd name="T47" fmla="*/ 167 h 294"/>
                <a:gd name="T48" fmla="*/ 128 w 206"/>
                <a:gd name="T49" fmla="*/ 294 h 294"/>
                <a:gd name="T50" fmla="*/ 140 w 206"/>
                <a:gd name="T51" fmla="*/ 292 h 294"/>
                <a:gd name="T52" fmla="*/ 147 w 206"/>
                <a:gd name="T53" fmla="*/ 282 h 294"/>
                <a:gd name="T54" fmla="*/ 147 w 206"/>
                <a:gd name="T55" fmla="*/ 275 h 294"/>
                <a:gd name="T56" fmla="*/ 145 w 206"/>
                <a:gd name="T57" fmla="*/ 265 h 294"/>
                <a:gd name="T58" fmla="*/ 140 w 206"/>
                <a:gd name="T59" fmla="*/ 260 h 294"/>
                <a:gd name="T60" fmla="*/ 155 w 206"/>
                <a:gd name="T61" fmla="*/ 194 h 294"/>
                <a:gd name="T62" fmla="*/ 152 w 206"/>
                <a:gd name="T63" fmla="*/ 189 h 294"/>
                <a:gd name="T64" fmla="*/ 147 w 206"/>
                <a:gd name="T65" fmla="*/ 184 h 294"/>
                <a:gd name="T66" fmla="*/ 142 w 206"/>
                <a:gd name="T67" fmla="*/ 186 h 294"/>
                <a:gd name="T68" fmla="*/ 133 w 206"/>
                <a:gd name="T69" fmla="*/ 272 h 294"/>
                <a:gd name="T70" fmla="*/ 133 w 206"/>
                <a:gd name="T71" fmla="*/ 275 h 294"/>
                <a:gd name="T72" fmla="*/ 130 w 206"/>
                <a:gd name="T73" fmla="*/ 280 h 294"/>
                <a:gd name="T74" fmla="*/ 15 w 206"/>
                <a:gd name="T75" fmla="*/ 280 h 294"/>
                <a:gd name="T76" fmla="*/ 17 w 206"/>
                <a:gd name="T77" fmla="*/ 162 h 294"/>
                <a:gd name="T78" fmla="*/ 22 w 206"/>
                <a:gd name="T79" fmla="*/ 162 h 294"/>
                <a:gd name="T80" fmla="*/ 20 w 206"/>
                <a:gd name="T81" fmla="*/ 164 h 294"/>
                <a:gd name="T82" fmla="*/ 25 w 206"/>
                <a:gd name="T83" fmla="*/ 164 h 294"/>
                <a:gd name="T84" fmla="*/ 145 w 206"/>
                <a:gd name="T85" fmla="*/ 115 h 294"/>
                <a:gd name="T86" fmla="*/ 182 w 206"/>
                <a:gd name="T87" fmla="*/ 147 h 294"/>
                <a:gd name="T88" fmla="*/ 194 w 206"/>
                <a:gd name="T89" fmla="*/ 147 h 294"/>
                <a:gd name="T90" fmla="*/ 204 w 206"/>
                <a:gd name="T91" fmla="*/ 14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294">
                  <a:moveTo>
                    <a:pt x="204" y="140"/>
                  </a:moveTo>
                  <a:lnTo>
                    <a:pt x="206" y="135"/>
                  </a:lnTo>
                  <a:lnTo>
                    <a:pt x="206" y="128"/>
                  </a:lnTo>
                  <a:lnTo>
                    <a:pt x="206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2" y="7"/>
                  </a:lnTo>
                  <a:lnTo>
                    <a:pt x="59" y="12"/>
                  </a:lnTo>
                  <a:lnTo>
                    <a:pt x="59" y="17"/>
                  </a:lnTo>
                  <a:lnTo>
                    <a:pt x="59" y="20"/>
                  </a:lnTo>
                  <a:lnTo>
                    <a:pt x="59" y="25"/>
                  </a:lnTo>
                  <a:lnTo>
                    <a:pt x="62" y="30"/>
                  </a:lnTo>
                  <a:lnTo>
                    <a:pt x="66" y="34"/>
                  </a:lnTo>
                  <a:lnTo>
                    <a:pt x="91" y="6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4" y="108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111" y="61"/>
                  </a:lnTo>
                  <a:lnTo>
                    <a:pt x="74" y="22"/>
                  </a:lnTo>
                  <a:lnTo>
                    <a:pt x="74" y="20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191" y="15"/>
                  </a:lnTo>
                  <a:lnTo>
                    <a:pt x="191" y="130"/>
                  </a:lnTo>
                  <a:lnTo>
                    <a:pt x="191" y="133"/>
                  </a:lnTo>
                  <a:lnTo>
                    <a:pt x="189" y="133"/>
                  </a:lnTo>
                  <a:lnTo>
                    <a:pt x="184" y="133"/>
                  </a:lnTo>
                  <a:lnTo>
                    <a:pt x="182" y="130"/>
                  </a:lnTo>
                  <a:lnTo>
                    <a:pt x="145" y="96"/>
                  </a:lnTo>
                  <a:lnTo>
                    <a:pt x="62" y="179"/>
                  </a:lnTo>
                  <a:lnTo>
                    <a:pt x="30" y="150"/>
                  </a:lnTo>
                  <a:lnTo>
                    <a:pt x="22" y="147"/>
                  </a:lnTo>
                  <a:lnTo>
                    <a:pt x="17" y="147"/>
                  </a:lnTo>
                  <a:lnTo>
                    <a:pt x="13" y="147"/>
                  </a:lnTo>
                  <a:lnTo>
                    <a:pt x="10" y="150"/>
                  </a:lnTo>
                  <a:lnTo>
                    <a:pt x="5" y="152"/>
                  </a:lnTo>
                  <a:lnTo>
                    <a:pt x="3" y="155"/>
                  </a:lnTo>
                  <a:lnTo>
                    <a:pt x="0" y="162"/>
                  </a:lnTo>
                  <a:lnTo>
                    <a:pt x="0" y="167"/>
                  </a:lnTo>
                  <a:lnTo>
                    <a:pt x="0" y="294"/>
                  </a:lnTo>
                  <a:lnTo>
                    <a:pt x="128" y="294"/>
                  </a:lnTo>
                  <a:lnTo>
                    <a:pt x="135" y="294"/>
                  </a:lnTo>
                  <a:lnTo>
                    <a:pt x="140" y="292"/>
                  </a:lnTo>
                  <a:lnTo>
                    <a:pt x="145" y="287"/>
                  </a:lnTo>
                  <a:lnTo>
                    <a:pt x="147" y="282"/>
                  </a:lnTo>
                  <a:lnTo>
                    <a:pt x="147" y="277"/>
                  </a:lnTo>
                  <a:lnTo>
                    <a:pt x="147" y="275"/>
                  </a:lnTo>
                  <a:lnTo>
                    <a:pt x="147" y="270"/>
                  </a:lnTo>
                  <a:lnTo>
                    <a:pt x="145" y="265"/>
                  </a:lnTo>
                  <a:lnTo>
                    <a:pt x="142" y="262"/>
                  </a:lnTo>
                  <a:lnTo>
                    <a:pt x="140" y="260"/>
                  </a:lnTo>
                  <a:lnTo>
                    <a:pt x="115" y="233"/>
                  </a:lnTo>
                  <a:lnTo>
                    <a:pt x="155" y="194"/>
                  </a:lnTo>
                  <a:lnTo>
                    <a:pt x="155" y="191"/>
                  </a:lnTo>
                  <a:lnTo>
                    <a:pt x="152" y="189"/>
                  </a:lnTo>
                  <a:lnTo>
                    <a:pt x="150" y="184"/>
                  </a:lnTo>
                  <a:lnTo>
                    <a:pt x="147" y="184"/>
                  </a:lnTo>
                  <a:lnTo>
                    <a:pt x="142" y="186"/>
                  </a:lnTo>
                  <a:lnTo>
                    <a:pt x="142" y="186"/>
                  </a:lnTo>
                  <a:lnTo>
                    <a:pt x="96" y="233"/>
                  </a:lnTo>
                  <a:lnTo>
                    <a:pt x="133" y="272"/>
                  </a:lnTo>
                  <a:lnTo>
                    <a:pt x="133" y="275"/>
                  </a:lnTo>
                  <a:lnTo>
                    <a:pt x="133" y="275"/>
                  </a:lnTo>
                  <a:lnTo>
                    <a:pt x="130" y="280"/>
                  </a:lnTo>
                  <a:lnTo>
                    <a:pt x="130" y="280"/>
                  </a:lnTo>
                  <a:lnTo>
                    <a:pt x="125" y="280"/>
                  </a:lnTo>
                  <a:lnTo>
                    <a:pt x="15" y="280"/>
                  </a:lnTo>
                  <a:lnTo>
                    <a:pt x="15" y="162"/>
                  </a:lnTo>
                  <a:lnTo>
                    <a:pt x="17" y="162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62"/>
                  </a:lnTo>
                  <a:lnTo>
                    <a:pt x="25" y="164"/>
                  </a:lnTo>
                  <a:lnTo>
                    <a:pt x="62" y="199"/>
                  </a:lnTo>
                  <a:lnTo>
                    <a:pt x="145" y="115"/>
                  </a:lnTo>
                  <a:lnTo>
                    <a:pt x="177" y="145"/>
                  </a:lnTo>
                  <a:lnTo>
                    <a:pt x="182" y="147"/>
                  </a:lnTo>
                  <a:lnTo>
                    <a:pt x="189" y="147"/>
                  </a:lnTo>
                  <a:lnTo>
                    <a:pt x="194" y="147"/>
                  </a:lnTo>
                  <a:lnTo>
                    <a:pt x="199" y="145"/>
                  </a:lnTo>
                  <a:lnTo>
                    <a:pt x="204" y="14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3">
              <a:extLst>
                <a:ext uri="{FF2B5EF4-FFF2-40B4-BE49-F238E27FC236}">
                  <a16:creationId xmlns:a16="http://schemas.microsoft.com/office/drawing/2014/main" id="{F8292EF8-2EE9-4866-AF83-9B5E29473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8" y="34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4">
              <a:extLst>
                <a:ext uri="{FF2B5EF4-FFF2-40B4-BE49-F238E27FC236}">
                  <a16:creationId xmlns:a16="http://schemas.microsoft.com/office/drawing/2014/main" id="{D64AF62E-6329-4695-8C96-3346EF385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" y="4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25">
              <a:extLst>
                <a:ext uri="{FF2B5EF4-FFF2-40B4-BE49-F238E27FC236}">
                  <a16:creationId xmlns:a16="http://schemas.microsoft.com/office/drawing/2014/main" id="{1120360C-2BFB-49F2-8953-4EDB513D6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2" y="601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DD19FDF-73A9-42AC-958F-44C42AA56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2" y="329"/>
              <a:ext cx="206" cy="294"/>
            </a:xfrm>
            <a:custGeom>
              <a:avLst/>
              <a:gdLst>
                <a:gd name="T0" fmla="*/ 206 w 206"/>
                <a:gd name="T1" fmla="*/ 135 h 294"/>
                <a:gd name="T2" fmla="*/ 206 w 206"/>
                <a:gd name="T3" fmla="*/ 0 h 294"/>
                <a:gd name="T4" fmla="*/ 71 w 206"/>
                <a:gd name="T5" fmla="*/ 0 h 294"/>
                <a:gd name="T6" fmla="*/ 62 w 206"/>
                <a:gd name="T7" fmla="*/ 7 h 294"/>
                <a:gd name="T8" fmla="*/ 59 w 206"/>
                <a:gd name="T9" fmla="*/ 17 h 294"/>
                <a:gd name="T10" fmla="*/ 59 w 206"/>
                <a:gd name="T11" fmla="*/ 25 h 294"/>
                <a:gd name="T12" fmla="*/ 66 w 206"/>
                <a:gd name="T13" fmla="*/ 34 h 294"/>
                <a:gd name="T14" fmla="*/ 52 w 206"/>
                <a:gd name="T15" fmla="*/ 101 h 294"/>
                <a:gd name="T16" fmla="*/ 52 w 206"/>
                <a:gd name="T17" fmla="*/ 101 h 294"/>
                <a:gd name="T18" fmla="*/ 54 w 206"/>
                <a:gd name="T19" fmla="*/ 108 h 294"/>
                <a:gd name="T20" fmla="*/ 59 w 206"/>
                <a:gd name="T21" fmla="*/ 110 h 294"/>
                <a:gd name="T22" fmla="*/ 64 w 206"/>
                <a:gd name="T23" fmla="*/ 108 h 294"/>
                <a:gd name="T24" fmla="*/ 74 w 206"/>
                <a:gd name="T25" fmla="*/ 22 h 294"/>
                <a:gd name="T26" fmla="*/ 74 w 206"/>
                <a:gd name="T27" fmla="*/ 17 h 294"/>
                <a:gd name="T28" fmla="*/ 76 w 206"/>
                <a:gd name="T29" fmla="*/ 15 h 294"/>
                <a:gd name="T30" fmla="*/ 191 w 206"/>
                <a:gd name="T31" fmla="*/ 15 h 294"/>
                <a:gd name="T32" fmla="*/ 191 w 206"/>
                <a:gd name="T33" fmla="*/ 133 h 294"/>
                <a:gd name="T34" fmla="*/ 184 w 206"/>
                <a:gd name="T35" fmla="*/ 133 h 294"/>
                <a:gd name="T36" fmla="*/ 145 w 206"/>
                <a:gd name="T37" fmla="*/ 96 h 294"/>
                <a:gd name="T38" fmla="*/ 30 w 206"/>
                <a:gd name="T39" fmla="*/ 150 h 294"/>
                <a:gd name="T40" fmla="*/ 17 w 206"/>
                <a:gd name="T41" fmla="*/ 147 h 294"/>
                <a:gd name="T42" fmla="*/ 10 w 206"/>
                <a:gd name="T43" fmla="*/ 150 h 294"/>
                <a:gd name="T44" fmla="*/ 3 w 206"/>
                <a:gd name="T45" fmla="*/ 155 h 294"/>
                <a:gd name="T46" fmla="*/ 0 w 206"/>
                <a:gd name="T47" fmla="*/ 167 h 294"/>
                <a:gd name="T48" fmla="*/ 128 w 206"/>
                <a:gd name="T49" fmla="*/ 294 h 294"/>
                <a:gd name="T50" fmla="*/ 140 w 206"/>
                <a:gd name="T51" fmla="*/ 292 h 294"/>
                <a:gd name="T52" fmla="*/ 147 w 206"/>
                <a:gd name="T53" fmla="*/ 282 h 294"/>
                <a:gd name="T54" fmla="*/ 147 w 206"/>
                <a:gd name="T55" fmla="*/ 275 h 294"/>
                <a:gd name="T56" fmla="*/ 145 w 206"/>
                <a:gd name="T57" fmla="*/ 265 h 294"/>
                <a:gd name="T58" fmla="*/ 140 w 206"/>
                <a:gd name="T59" fmla="*/ 260 h 294"/>
                <a:gd name="T60" fmla="*/ 155 w 206"/>
                <a:gd name="T61" fmla="*/ 194 h 294"/>
                <a:gd name="T62" fmla="*/ 152 w 206"/>
                <a:gd name="T63" fmla="*/ 189 h 294"/>
                <a:gd name="T64" fmla="*/ 147 w 206"/>
                <a:gd name="T65" fmla="*/ 184 h 294"/>
                <a:gd name="T66" fmla="*/ 142 w 206"/>
                <a:gd name="T67" fmla="*/ 186 h 294"/>
                <a:gd name="T68" fmla="*/ 133 w 206"/>
                <a:gd name="T69" fmla="*/ 272 h 294"/>
                <a:gd name="T70" fmla="*/ 133 w 206"/>
                <a:gd name="T71" fmla="*/ 275 h 294"/>
                <a:gd name="T72" fmla="*/ 130 w 206"/>
                <a:gd name="T73" fmla="*/ 280 h 294"/>
                <a:gd name="T74" fmla="*/ 15 w 206"/>
                <a:gd name="T75" fmla="*/ 280 h 294"/>
                <a:gd name="T76" fmla="*/ 17 w 206"/>
                <a:gd name="T77" fmla="*/ 162 h 294"/>
                <a:gd name="T78" fmla="*/ 22 w 206"/>
                <a:gd name="T79" fmla="*/ 162 h 294"/>
                <a:gd name="T80" fmla="*/ 20 w 206"/>
                <a:gd name="T81" fmla="*/ 164 h 294"/>
                <a:gd name="T82" fmla="*/ 25 w 206"/>
                <a:gd name="T83" fmla="*/ 164 h 294"/>
                <a:gd name="T84" fmla="*/ 145 w 206"/>
                <a:gd name="T85" fmla="*/ 115 h 294"/>
                <a:gd name="T86" fmla="*/ 182 w 206"/>
                <a:gd name="T87" fmla="*/ 147 h 294"/>
                <a:gd name="T88" fmla="*/ 194 w 206"/>
                <a:gd name="T89" fmla="*/ 147 h 294"/>
                <a:gd name="T90" fmla="*/ 204 w 206"/>
                <a:gd name="T91" fmla="*/ 14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294">
                  <a:moveTo>
                    <a:pt x="204" y="140"/>
                  </a:moveTo>
                  <a:lnTo>
                    <a:pt x="206" y="135"/>
                  </a:lnTo>
                  <a:lnTo>
                    <a:pt x="206" y="128"/>
                  </a:lnTo>
                  <a:lnTo>
                    <a:pt x="206" y="0"/>
                  </a:lnTo>
                  <a:lnTo>
                    <a:pt x="79" y="0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2" y="7"/>
                  </a:lnTo>
                  <a:lnTo>
                    <a:pt x="59" y="12"/>
                  </a:lnTo>
                  <a:lnTo>
                    <a:pt x="59" y="17"/>
                  </a:lnTo>
                  <a:lnTo>
                    <a:pt x="59" y="20"/>
                  </a:lnTo>
                  <a:lnTo>
                    <a:pt x="59" y="25"/>
                  </a:lnTo>
                  <a:lnTo>
                    <a:pt x="62" y="30"/>
                  </a:lnTo>
                  <a:lnTo>
                    <a:pt x="66" y="34"/>
                  </a:lnTo>
                  <a:lnTo>
                    <a:pt x="91" y="6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4" y="108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111" y="61"/>
                  </a:lnTo>
                  <a:lnTo>
                    <a:pt x="74" y="22"/>
                  </a:lnTo>
                  <a:lnTo>
                    <a:pt x="74" y="20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9" y="15"/>
                  </a:lnTo>
                  <a:lnTo>
                    <a:pt x="191" y="15"/>
                  </a:lnTo>
                  <a:lnTo>
                    <a:pt x="191" y="130"/>
                  </a:lnTo>
                  <a:lnTo>
                    <a:pt x="191" y="133"/>
                  </a:lnTo>
                  <a:lnTo>
                    <a:pt x="189" y="133"/>
                  </a:lnTo>
                  <a:lnTo>
                    <a:pt x="184" y="133"/>
                  </a:lnTo>
                  <a:lnTo>
                    <a:pt x="182" y="130"/>
                  </a:lnTo>
                  <a:lnTo>
                    <a:pt x="145" y="96"/>
                  </a:lnTo>
                  <a:lnTo>
                    <a:pt x="62" y="179"/>
                  </a:lnTo>
                  <a:lnTo>
                    <a:pt x="30" y="150"/>
                  </a:lnTo>
                  <a:lnTo>
                    <a:pt x="22" y="147"/>
                  </a:lnTo>
                  <a:lnTo>
                    <a:pt x="17" y="147"/>
                  </a:lnTo>
                  <a:lnTo>
                    <a:pt x="13" y="147"/>
                  </a:lnTo>
                  <a:lnTo>
                    <a:pt x="10" y="150"/>
                  </a:lnTo>
                  <a:lnTo>
                    <a:pt x="5" y="152"/>
                  </a:lnTo>
                  <a:lnTo>
                    <a:pt x="3" y="155"/>
                  </a:lnTo>
                  <a:lnTo>
                    <a:pt x="0" y="162"/>
                  </a:lnTo>
                  <a:lnTo>
                    <a:pt x="0" y="167"/>
                  </a:lnTo>
                  <a:lnTo>
                    <a:pt x="0" y="294"/>
                  </a:lnTo>
                  <a:lnTo>
                    <a:pt x="128" y="294"/>
                  </a:lnTo>
                  <a:lnTo>
                    <a:pt x="135" y="294"/>
                  </a:lnTo>
                  <a:lnTo>
                    <a:pt x="140" y="292"/>
                  </a:lnTo>
                  <a:lnTo>
                    <a:pt x="145" y="287"/>
                  </a:lnTo>
                  <a:lnTo>
                    <a:pt x="147" y="282"/>
                  </a:lnTo>
                  <a:lnTo>
                    <a:pt x="147" y="277"/>
                  </a:lnTo>
                  <a:lnTo>
                    <a:pt x="147" y="275"/>
                  </a:lnTo>
                  <a:lnTo>
                    <a:pt x="147" y="270"/>
                  </a:lnTo>
                  <a:lnTo>
                    <a:pt x="145" y="265"/>
                  </a:lnTo>
                  <a:lnTo>
                    <a:pt x="142" y="262"/>
                  </a:lnTo>
                  <a:lnTo>
                    <a:pt x="140" y="260"/>
                  </a:lnTo>
                  <a:lnTo>
                    <a:pt x="115" y="233"/>
                  </a:lnTo>
                  <a:lnTo>
                    <a:pt x="155" y="194"/>
                  </a:lnTo>
                  <a:lnTo>
                    <a:pt x="155" y="191"/>
                  </a:lnTo>
                  <a:lnTo>
                    <a:pt x="152" y="189"/>
                  </a:lnTo>
                  <a:lnTo>
                    <a:pt x="150" y="184"/>
                  </a:lnTo>
                  <a:lnTo>
                    <a:pt x="147" y="184"/>
                  </a:lnTo>
                  <a:lnTo>
                    <a:pt x="142" y="186"/>
                  </a:lnTo>
                  <a:lnTo>
                    <a:pt x="142" y="186"/>
                  </a:lnTo>
                  <a:lnTo>
                    <a:pt x="96" y="233"/>
                  </a:lnTo>
                  <a:lnTo>
                    <a:pt x="133" y="272"/>
                  </a:lnTo>
                  <a:lnTo>
                    <a:pt x="133" y="275"/>
                  </a:lnTo>
                  <a:lnTo>
                    <a:pt x="133" y="275"/>
                  </a:lnTo>
                  <a:lnTo>
                    <a:pt x="130" y="280"/>
                  </a:lnTo>
                  <a:lnTo>
                    <a:pt x="130" y="280"/>
                  </a:lnTo>
                  <a:lnTo>
                    <a:pt x="125" y="280"/>
                  </a:lnTo>
                  <a:lnTo>
                    <a:pt x="15" y="280"/>
                  </a:lnTo>
                  <a:lnTo>
                    <a:pt x="15" y="162"/>
                  </a:lnTo>
                  <a:lnTo>
                    <a:pt x="17" y="162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62"/>
                  </a:lnTo>
                  <a:lnTo>
                    <a:pt x="25" y="164"/>
                  </a:lnTo>
                  <a:lnTo>
                    <a:pt x="62" y="199"/>
                  </a:lnTo>
                  <a:lnTo>
                    <a:pt x="145" y="115"/>
                  </a:lnTo>
                  <a:lnTo>
                    <a:pt x="177" y="145"/>
                  </a:lnTo>
                  <a:lnTo>
                    <a:pt x="182" y="147"/>
                  </a:lnTo>
                  <a:lnTo>
                    <a:pt x="189" y="147"/>
                  </a:lnTo>
                  <a:lnTo>
                    <a:pt x="194" y="147"/>
                  </a:lnTo>
                  <a:lnTo>
                    <a:pt x="199" y="145"/>
                  </a:lnTo>
                  <a:lnTo>
                    <a:pt x="204" y="14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7">
              <a:extLst>
                <a:ext uri="{FF2B5EF4-FFF2-40B4-BE49-F238E27FC236}">
                  <a16:creationId xmlns:a16="http://schemas.microsoft.com/office/drawing/2014/main" id="{9CABDE3B-C120-4BF3-A2F1-7C4FC14DA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8" y="34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8">
              <a:extLst>
                <a:ext uri="{FF2B5EF4-FFF2-40B4-BE49-F238E27FC236}">
                  <a16:creationId xmlns:a16="http://schemas.microsoft.com/office/drawing/2014/main" id="{F95C893C-E416-49ED-8C3F-C2363F0E1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" y="4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1">
            <a:extLst>
              <a:ext uri="{FF2B5EF4-FFF2-40B4-BE49-F238E27FC236}">
                <a16:creationId xmlns:a16="http://schemas.microsoft.com/office/drawing/2014/main" id="{28DA09A2-42C2-4A26-9B71-A9DCA61E6E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89737" y="274172"/>
            <a:ext cx="842963" cy="841375"/>
            <a:chOff x="1562" y="235"/>
            <a:chExt cx="531" cy="530"/>
          </a:xfrm>
        </p:grpSpPr>
        <p:sp>
          <p:nvSpPr>
            <p:cNvPr id="36" name="AutoShape 30">
              <a:extLst>
                <a:ext uri="{FF2B5EF4-FFF2-40B4-BE49-F238E27FC236}">
                  <a16:creationId xmlns:a16="http://schemas.microsoft.com/office/drawing/2014/main" id="{A90ECFA8-B519-44AF-9AD0-E59466B58C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62" y="235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2">
              <a:extLst>
                <a:ext uri="{FF2B5EF4-FFF2-40B4-BE49-F238E27FC236}">
                  <a16:creationId xmlns:a16="http://schemas.microsoft.com/office/drawing/2014/main" id="{9A90753F-D712-4367-8AFD-A692FC9C0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2" y="235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C493EA80-1B3E-42FA-B6C0-9435D6DFFF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0" y="253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4">
              <a:extLst>
                <a:ext uri="{FF2B5EF4-FFF2-40B4-BE49-F238E27FC236}">
                  <a16:creationId xmlns:a16="http://schemas.microsoft.com/office/drawing/2014/main" id="{CB3C4493-DFD2-434F-AAB4-79C55B152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7" y="632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C6C7BDF4-BB82-4C02-AEB6-5BE7C747B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348"/>
              <a:ext cx="215" cy="307"/>
            </a:xfrm>
            <a:custGeom>
              <a:avLst/>
              <a:gdLst>
                <a:gd name="T0" fmla="*/ 215 w 215"/>
                <a:gd name="T1" fmla="*/ 140 h 307"/>
                <a:gd name="T2" fmla="*/ 215 w 215"/>
                <a:gd name="T3" fmla="*/ 0 h 307"/>
                <a:gd name="T4" fmla="*/ 74 w 215"/>
                <a:gd name="T5" fmla="*/ 0 h 307"/>
                <a:gd name="T6" fmla="*/ 64 w 215"/>
                <a:gd name="T7" fmla="*/ 7 h 307"/>
                <a:gd name="T8" fmla="*/ 62 w 215"/>
                <a:gd name="T9" fmla="*/ 17 h 307"/>
                <a:gd name="T10" fmla="*/ 62 w 215"/>
                <a:gd name="T11" fmla="*/ 25 h 307"/>
                <a:gd name="T12" fmla="*/ 69 w 215"/>
                <a:gd name="T13" fmla="*/ 35 h 307"/>
                <a:gd name="T14" fmla="*/ 54 w 215"/>
                <a:gd name="T15" fmla="*/ 105 h 307"/>
                <a:gd name="T16" fmla="*/ 54 w 215"/>
                <a:gd name="T17" fmla="*/ 105 h 307"/>
                <a:gd name="T18" fmla="*/ 56 w 215"/>
                <a:gd name="T19" fmla="*/ 112 h 307"/>
                <a:gd name="T20" fmla="*/ 62 w 215"/>
                <a:gd name="T21" fmla="*/ 115 h 307"/>
                <a:gd name="T22" fmla="*/ 67 w 215"/>
                <a:gd name="T23" fmla="*/ 112 h 307"/>
                <a:gd name="T24" fmla="*/ 77 w 215"/>
                <a:gd name="T25" fmla="*/ 23 h 307"/>
                <a:gd name="T26" fmla="*/ 77 w 215"/>
                <a:gd name="T27" fmla="*/ 17 h 307"/>
                <a:gd name="T28" fmla="*/ 79 w 215"/>
                <a:gd name="T29" fmla="*/ 15 h 307"/>
                <a:gd name="T30" fmla="*/ 200 w 215"/>
                <a:gd name="T31" fmla="*/ 15 h 307"/>
                <a:gd name="T32" fmla="*/ 200 w 215"/>
                <a:gd name="T33" fmla="*/ 138 h 307"/>
                <a:gd name="T34" fmla="*/ 192 w 215"/>
                <a:gd name="T35" fmla="*/ 138 h 307"/>
                <a:gd name="T36" fmla="*/ 151 w 215"/>
                <a:gd name="T37" fmla="*/ 99 h 307"/>
                <a:gd name="T38" fmla="*/ 31 w 215"/>
                <a:gd name="T39" fmla="*/ 156 h 307"/>
                <a:gd name="T40" fmla="*/ 18 w 215"/>
                <a:gd name="T41" fmla="*/ 153 h 307"/>
                <a:gd name="T42" fmla="*/ 10 w 215"/>
                <a:gd name="T43" fmla="*/ 156 h 307"/>
                <a:gd name="T44" fmla="*/ 3 w 215"/>
                <a:gd name="T45" fmla="*/ 161 h 307"/>
                <a:gd name="T46" fmla="*/ 0 w 215"/>
                <a:gd name="T47" fmla="*/ 174 h 307"/>
                <a:gd name="T48" fmla="*/ 133 w 215"/>
                <a:gd name="T49" fmla="*/ 307 h 307"/>
                <a:gd name="T50" fmla="*/ 146 w 215"/>
                <a:gd name="T51" fmla="*/ 304 h 307"/>
                <a:gd name="T52" fmla="*/ 154 w 215"/>
                <a:gd name="T53" fmla="*/ 294 h 307"/>
                <a:gd name="T54" fmla="*/ 154 w 215"/>
                <a:gd name="T55" fmla="*/ 286 h 307"/>
                <a:gd name="T56" fmla="*/ 151 w 215"/>
                <a:gd name="T57" fmla="*/ 276 h 307"/>
                <a:gd name="T58" fmla="*/ 146 w 215"/>
                <a:gd name="T59" fmla="*/ 271 h 307"/>
                <a:gd name="T60" fmla="*/ 162 w 215"/>
                <a:gd name="T61" fmla="*/ 202 h 307"/>
                <a:gd name="T62" fmla="*/ 159 w 215"/>
                <a:gd name="T63" fmla="*/ 197 h 307"/>
                <a:gd name="T64" fmla="*/ 154 w 215"/>
                <a:gd name="T65" fmla="*/ 192 h 307"/>
                <a:gd name="T66" fmla="*/ 149 w 215"/>
                <a:gd name="T67" fmla="*/ 194 h 307"/>
                <a:gd name="T68" fmla="*/ 138 w 215"/>
                <a:gd name="T69" fmla="*/ 284 h 307"/>
                <a:gd name="T70" fmla="*/ 138 w 215"/>
                <a:gd name="T71" fmla="*/ 286 h 307"/>
                <a:gd name="T72" fmla="*/ 136 w 215"/>
                <a:gd name="T73" fmla="*/ 291 h 307"/>
                <a:gd name="T74" fmla="*/ 15 w 215"/>
                <a:gd name="T75" fmla="*/ 291 h 307"/>
                <a:gd name="T76" fmla="*/ 18 w 215"/>
                <a:gd name="T77" fmla="*/ 169 h 307"/>
                <a:gd name="T78" fmla="*/ 23 w 215"/>
                <a:gd name="T79" fmla="*/ 169 h 307"/>
                <a:gd name="T80" fmla="*/ 20 w 215"/>
                <a:gd name="T81" fmla="*/ 171 h 307"/>
                <a:gd name="T82" fmla="*/ 26 w 215"/>
                <a:gd name="T83" fmla="*/ 171 h 307"/>
                <a:gd name="T84" fmla="*/ 151 w 215"/>
                <a:gd name="T85" fmla="*/ 120 h 307"/>
                <a:gd name="T86" fmla="*/ 190 w 215"/>
                <a:gd name="T87" fmla="*/ 153 h 307"/>
                <a:gd name="T88" fmla="*/ 203 w 215"/>
                <a:gd name="T89" fmla="*/ 153 h 307"/>
                <a:gd name="T90" fmla="*/ 213 w 215"/>
                <a:gd name="T91" fmla="*/ 14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5" h="307">
                  <a:moveTo>
                    <a:pt x="213" y="145"/>
                  </a:moveTo>
                  <a:lnTo>
                    <a:pt x="215" y="140"/>
                  </a:lnTo>
                  <a:lnTo>
                    <a:pt x="215" y="133"/>
                  </a:lnTo>
                  <a:lnTo>
                    <a:pt x="215" y="0"/>
                  </a:lnTo>
                  <a:lnTo>
                    <a:pt x="82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4" y="7"/>
                  </a:lnTo>
                  <a:lnTo>
                    <a:pt x="62" y="12"/>
                  </a:lnTo>
                  <a:lnTo>
                    <a:pt x="62" y="17"/>
                  </a:lnTo>
                  <a:lnTo>
                    <a:pt x="62" y="20"/>
                  </a:lnTo>
                  <a:lnTo>
                    <a:pt x="62" y="25"/>
                  </a:lnTo>
                  <a:lnTo>
                    <a:pt x="64" y="30"/>
                  </a:lnTo>
                  <a:lnTo>
                    <a:pt x="69" y="35"/>
                  </a:lnTo>
                  <a:lnTo>
                    <a:pt x="95" y="64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7"/>
                  </a:lnTo>
                  <a:lnTo>
                    <a:pt x="56" y="112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115" y="64"/>
                  </a:lnTo>
                  <a:lnTo>
                    <a:pt x="77" y="23"/>
                  </a:lnTo>
                  <a:lnTo>
                    <a:pt x="77" y="20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82" y="15"/>
                  </a:lnTo>
                  <a:lnTo>
                    <a:pt x="200" y="15"/>
                  </a:lnTo>
                  <a:lnTo>
                    <a:pt x="200" y="135"/>
                  </a:lnTo>
                  <a:lnTo>
                    <a:pt x="200" y="138"/>
                  </a:lnTo>
                  <a:lnTo>
                    <a:pt x="197" y="138"/>
                  </a:lnTo>
                  <a:lnTo>
                    <a:pt x="192" y="138"/>
                  </a:lnTo>
                  <a:lnTo>
                    <a:pt x="190" y="135"/>
                  </a:lnTo>
                  <a:lnTo>
                    <a:pt x="151" y="99"/>
                  </a:lnTo>
                  <a:lnTo>
                    <a:pt x="64" y="186"/>
                  </a:lnTo>
                  <a:lnTo>
                    <a:pt x="31" y="156"/>
                  </a:lnTo>
                  <a:lnTo>
                    <a:pt x="23" y="153"/>
                  </a:lnTo>
                  <a:lnTo>
                    <a:pt x="18" y="153"/>
                  </a:lnTo>
                  <a:lnTo>
                    <a:pt x="13" y="153"/>
                  </a:lnTo>
                  <a:lnTo>
                    <a:pt x="10" y="156"/>
                  </a:lnTo>
                  <a:lnTo>
                    <a:pt x="5" y="158"/>
                  </a:lnTo>
                  <a:lnTo>
                    <a:pt x="3" y="161"/>
                  </a:lnTo>
                  <a:lnTo>
                    <a:pt x="0" y="169"/>
                  </a:lnTo>
                  <a:lnTo>
                    <a:pt x="0" y="174"/>
                  </a:lnTo>
                  <a:lnTo>
                    <a:pt x="0" y="307"/>
                  </a:lnTo>
                  <a:lnTo>
                    <a:pt x="133" y="307"/>
                  </a:lnTo>
                  <a:lnTo>
                    <a:pt x="141" y="307"/>
                  </a:lnTo>
                  <a:lnTo>
                    <a:pt x="146" y="304"/>
                  </a:lnTo>
                  <a:lnTo>
                    <a:pt x="151" y="299"/>
                  </a:lnTo>
                  <a:lnTo>
                    <a:pt x="154" y="294"/>
                  </a:lnTo>
                  <a:lnTo>
                    <a:pt x="154" y="289"/>
                  </a:lnTo>
                  <a:lnTo>
                    <a:pt x="154" y="286"/>
                  </a:lnTo>
                  <a:lnTo>
                    <a:pt x="154" y="281"/>
                  </a:lnTo>
                  <a:lnTo>
                    <a:pt x="151" y="276"/>
                  </a:lnTo>
                  <a:lnTo>
                    <a:pt x="149" y="274"/>
                  </a:lnTo>
                  <a:lnTo>
                    <a:pt x="146" y="271"/>
                  </a:lnTo>
                  <a:lnTo>
                    <a:pt x="121" y="243"/>
                  </a:lnTo>
                  <a:lnTo>
                    <a:pt x="162" y="202"/>
                  </a:lnTo>
                  <a:lnTo>
                    <a:pt x="162" y="199"/>
                  </a:lnTo>
                  <a:lnTo>
                    <a:pt x="159" y="197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49" y="194"/>
                  </a:lnTo>
                  <a:lnTo>
                    <a:pt x="149" y="194"/>
                  </a:lnTo>
                  <a:lnTo>
                    <a:pt x="100" y="243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6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1" y="291"/>
                  </a:lnTo>
                  <a:lnTo>
                    <a:pt x="15" y="291"/>
                  </a:lnTo>
                  <a:lnTo>
                    <a:pt x="15" y="169"/>
                  </a:lnTo>
                  <a:lnTo>
                    <a:pt x="18" y="169"/>
                  </a:lnTo>
                  <a:lnTo>
                    <a:pt x="20" y="169"/>
                  </a:lnTo>
                  <a:lnTo>
                    <a:pt x="23" y="169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3" y="169"/>
                  </a:lnTo>
                  <a:lnTo>
                    <a:pt x="26" y="171"/>
                  </a:lnTo>
                  <a:lnTo>
                    <a:pt x="64" y="207"/>
                  </a:lnTo>
                  <a:lnTo>
                    <a:pt x="151" y="120"/>
                  </a:lnTo>
                  <a:lnTo>
                    <a:pt x="185" y="151"/>
                  </a:lnTo>
                  <a:lnTo>
                    <a:pt x="190" y="153"/>
                  </a:lnTo>
                  <a:lnTo>
                    <a:pt x="197" y="153"/>
                  </a:lnTo>
                  <a:lnTo>
                    <a:pt x="203" y="153"/>
                  </a:lnTo>
                  <a:lnTo>
                    <a:pt x="208" y="151"/>
                  </a:lnTo>
                  <a:lnTo>
                    <a:pt x="213" y="1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6">
              <a:extLst>
                <a:ext uri="{FF2B5EF4-FFF2-40B4-BE49-F238E27FC236}">
                  <a16:creationId xmlns:a16="http://schemas.microsoft.com/office/drawing/2014/main" id="{CD89DE56-FE22-42E3-AF35-07124C749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" y="36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37">
              <a:extLst>
                <a:ext uri="{FF2B5EF4-FFF2-40B4-BE49-F238E27FC236}">
                  <a16:creationId xmlns:a16="http://schemas.microsoft.com/office/drawing/2014/main" id="{6E4085DC-3BE6-427B-B47E-B2F71D753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6" y="483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0">
            <a:extLst>
              <a:ext uri="{FF2B5EF4-FFF2-40B4-BE49-F238E27FC236}">
                <a16:creationId xmlns:a16="http://schemas.microsoft.com/office/drawing/2014/main" id="{FF41FE8A-ECEC-4987-9BBE-26C0D4A115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4543" y="315447"/>
            <a:ext cx="758825" cy="758825"/>
            <a:chOff x="3549" y="161"/>
            <a:chExt cx="478" cy="478"/>
          </a:xfrm>
        </p:grpSpPr>
        <p:sp>
          <p:nvSpPr>
            <p:cNvPr id="48" name="AutoShape 39">
              <a:extLst>
                <a:ext uri="{FF2B5EF4-FFF2-40B4-BE49-F238E27FC236}">
                  <a16:creationId xmlns:a16="http://schemas.microsoft.com/office/drawing/2014/main" id="{9B153A73-B900-418B-AFDD-72FB545B1FD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49" y="16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8E7AB41F-1584-4158-996A-ADA52C730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" y="163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BDC06D75-ADAD-472B-9B9D-8E7A28B1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" y="259"/>
              <a:ext cx="247" cy="284"/>
            </a:xfrm>
            <a:custGeom>
              <a:avLst/>
              <a:gdLst>
                <a:gd name="T0" fmla="*/ 247 w 247"/>
                <a:gd name="T1" fmla="*/ 164 h 284"/>
                <a:gd name="T2" fmla="*/ 240 w 247"/>
                <a:gd name="T3" fmla="*/ 125 h 284"/>
                <a:gd name="T4" fmla="*/ 220 w 247"/>
                <a:gd name="T5" fmla="*/ 93 h 284"/>
                <a:gd name="T6" fmla="*/ 191 w 247"/>
                <a:gd name="T7" fmla="*/ 69 h 284"/>
                <a:gd name="T8" fmla="*/ 149 w 247"/>
                <a:gd name="T9" fmla="*/ 54 h 284"/>
                <a:gd name="T10" fmla="*/ 115 w 247"/>
                <a:gd name="T11" fmla="*/ 52 h 284"/>
                <a:gd name="T12" fmla="*/ 110 w 247"/>
                <a:gd name="T13" fmla="*/ 5 h 284"/>
                <a:gd name="T14" fmla="*/ 98 w 247"/>
                <a:gd name="T15" fmla="*/ 0 h 284"/>
                <a:gd name="T16" fmla="*/ 93 w 247"/>
                <a:gd name="T17" fmla="*/ 0 h 284"/>
                <a:gd name="T18" fmla="*/ 83 w 247"/>
                <a:gd name="T19" fmla="*/ 7 h 284"/>
                <a:gd name="T20" fmla="*/ 88 w 247"/>
                <a:gd name="T21" fmla="*/ 179 h 284"/>
                <a:gd name="T22" fmla="*/ 98 w 247"/>
                <a:gd name="T23" fmla="*/ 181 h 284"/>
                <a:gd name="T24" fmla="*/ 108 w 247"/>
                <a:gd name="T25" fmla="*/ 177 h 284"/>
                <a:gd name="T26" fmla="*/ 115 w 247"/>
                <a:gd name="T27" fmla="*/ 164 h 284"/>
                <a:gd name="T28" fmla="*/ 115 w 247"/>
                <a:gd name="T29" fmla="*/ 128 h 284"/>
                <a:gd name="T30" fmla="*/ 147 w 247"/>
                <a:gd name="T31" fmla="*/ 132 h 284"/>
                <a:gd name="T32" fmla="*/ 164 w 247"/>
                <a:gd name="T33" fmla="*/ 142 h 284"/>
                <a:gd name="T34" fmla="*/ 176 w 247"/>
                <a:gd name="T35" fmla="*/ 157 h 284"/>
                <a:gd name="T36" fmla="*/ 181 w 247"/>
                <a:gd name="T37" fmla="*/ 172 h 284"/>
                <a:gd name="T38" fmla="*/ 179 w 247"/>
                <a:gd name="T39" fmla="*/ 186 h 284"/>
                <a:gd name="T40" fmla="*/ 174 w 247"/>
                <a:gd name="T41" fmla="*/ 204 h 284"/>
                <a:gd name="T42" fmla="*/ 159 w 247"/>
                <a:gd name="T43" fmla="*/ 218 h 284"/>
                <a:gd name="T44" fmla="*/ 137 w 247"/>
                <a:gd name="T45" fmla="*/ 226 h 284"/>
                <a:gd name="T46" fmla="*/ 93 w 247"/>
                <a:gd name="T47" fmla="*/ 228 h 284"/>
                <a:gd name="T48" fmla="*/ 90 w 247"/>
                <a:gd name="T49" fmla="*/ 233 h 284"/>
                <a:gd name="T50" fmla="*/ 95 w 247"/>
                <a:gd name="T51" fmla="*/ 240 h 284"/>
                <a:gd name="T52" fmla="*/ 125 w 247"/>
                <a:gd name="T53" fmla="*/ 240 h 284"/>
                <a:gd name="T54" fmla="*/ 144 w 247"/>
                <a:gd name="T55" fmla="*/ 238 h 284"/>
                <a:gd name="T56" fmla="*/ 169 w 247"/>
                <a:gd name="T57" fmla="*/ 226 h 284"/>
                <a:gd name="T58" fmla="*/ 181 w 247"/>
                <a:gd name="T59" fmla="*/ 213 h 284"/>
                <a:gd name="T60" fmla="*/ 191 w 247"/>
                <a:gd name="T61" fmla="*/ 191 h 284"/>
                <a:gd name="T62" fmla="*/ 191 w 247"/>
                <a:gd name="T63" fmla="*/ 159 h 284"/>
                <a:gd name="T64" fmla="*/ 184 w 247"/>
                <a:gd name="T65" fmla="*/ 145 h 284"/>
                <a:gd name="T66" fmla="*/ 166 w 247"/>
                <a:gd name="T67" fmla="*/ 128 h 284"/>
                <a:gd name="T68" fmla="*/ 147 w 247"/>
                <a:gd name="T69" fmla="*/ 120 h 284"/>
                <a:gd name="T70" fmla="*/ 125 w 247"/>
                <a:gd name="T71" fmla="*/ 115 h 284"/>
                <a:gd name="T72" fmla="*/ 100 w 247"/>
                <a:gd name="T73" fmla="*/ 164 h 284"/>
                <a:gd name="T74" fmla="*/ 95 w 247"/>
                <a:gd name="T75" fmla="*/ 167 h 284"/>
                <a:gd name="T76" fmla="*/ 17 w 247"/>
                <a:gd name="T77" fmla="*/ 91 h 284"/>
                <a:gd name="T78" fmla="*/ 98 w 247"/>
                <a:gd name="T79" fmla="*/ 15 h 284"/>
                <a:gd name="T80" fmla="*/ 100 w 247"/>
                <a:gd name="T81" fmla="*/ 20 h 284"/>
                <a:gd name="T82" fmla="*/ 144 w 247"/>
                <a:gd name="T83" fmla="*/ 66 h 284"/>
                <a:gd name="T84" fmla="*/ 181 w 247"/>
                <a:gd name="T85" fmla="*/ 78 h 284"/>
                <a:gd name="T86" fmla="*/ 213 w 247"/>
                <a:gd name="T87" fmla="*/ 103 h 284"/>
                <a:gd name="T88" fmla="*/ 228 w 247"/>
                <a:gd name="T89" fmla="*/ 132 h 284"/>
                <a:gd name="T90" fmla="*/ 235 w 247"/>
                <a:gd name="T91" fmla="*/ 172 h 284"/>
                <a:gd name="T92" fmla="*/ 228 w 247"/>
                <a:gd name="T93" fmla="*/ 204 h 284"/>
                <a:gd name="T94" fmla="*/ 208 w 247"/>
                <a:gd name="T95" fmla="*/ 238 h 284"/>
                <a:gd name="T96" fmla="*/ 174 w 247"/>
                <a:gd name="T97" fmla="*/ 262 h 284"/>
                <a:gd name="T98" fmla="*/ 134 w 247"/>
                <a:gd name="T99" fmla="*/ 272 h 284"/>
                <a:gd name="T100" fmla="*/ 93 w 247"/>
                <a:gd name="T101" fmla="*/ 272 h 284"/>
                <a:gd name="T102" fmla="*/ 90 w 247"/>
                <a:gd name="T103" fmla="*/ 277 h 284"/>
                <a:gd name="T104" fmla="*/ 93 w 247"/>
                <a:gd name="T105" fmla="*/ 282 h 284"/>
                <a:gd name="T106" fmla="*/ 98 w 247"/>
                <a:gd name="T107" fmla="*/ 284 h 284"/>
                <a:gd name="T108" fmla="*/ 164 w 247"/>
                <a:gd name="T109" fmla="*/ 280 h 284"/>
                <a:gd name="T110" fmla="*/ 201 w 247"/>
                <a:gd name="T111" fmla="*/ 262 h 284"/>
                <a:gd name="T112" fmla="*/ 228 w 247"/>
                <a:gd name="T113" fmla="*/ 233 h 284"/>
                <a:gd name="T114" fmla="*/ 242 w 247"/>
                <a:gd name="T115" fmla="*/ 19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7" h="284">
                  <a:moveTo>
                    <a:pt x="247" y="179"/>
                  </a:moveTo>
                  <a:lnTo>
                    <a:pt x="247" y="164"/>
                  </a:lnTo>
                  <a:lnTo>
                    <a:pt x="245" y="147"/>
                  </a:lnTo>
                  <a:lnTo>
                    <a:pt x="240" y="125"/>
                  </a:lnTo>
                  <a:lnTo>
                    <a:pt x="230" y="105"/>
                  </a:lnTo>
                  <a:lnTo>
                    <a:pt x="220" y="93"/>
                  </a:lnTo>
                  <a:lnTo>
                    <a:pt x="210" y="81"/>
                  </a:lnTo>
                  <a:lnTo>
                    <a:pt x="191" y="69"/>
                  </a:lnTo>
                  <a:lnTo>
                    <a:pt x="171" y="61"/>
                  </a:lnTo>
                  <a:lnTo>
                    <a:pt x="149" y="54"/>
                  </a:lnTo>
                  <a:lnTo>
                    <a:pt x="127" y="52"/>
                  </a:lnTo>
                  <a:lnTo>
                    <a:pt x="115" y="52"/>
                  </a:lnTo>
                  <a:lnTo>
                    <a:pt x="112" y="12"/>
                  </a:lnTo>
                  <a:lnTo>
                    <a:pt x="110" y="5"/>
                  </a:lnTo>
                  <a:lnTo>
                    <a:pt x="105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3" y="0"/>
                  </a:lnTo>
                  <a:lnTo>
                    <a:pt x="88" y="2"/>
                  </a:lnTo>
                  <a:lnTo>
                    <a:pt x="83" y="7"/>
                  </a:lnTo>
                  <a:lnTo>
                    <a:pt x="0" y="91"/>
                  </a:lnTo>
                  <a:lnTo>
                    <a:pt x="88" y="179"/>
                  </a:lnTo>
                  <a:lnTo>
                    <a:pt x="95" y="181"/>
                  </a:lnTo>
                  <a:lnTo>
                    <a:pt x="98" y="181"/>
                  </a:lnTo>
                  <a:lnTo>
                    <a:pt x="103" y="179"/>
                  </a:lnTo>
                  <a:lnTo>
                    <a:pt x="108" y="177"/>
                  </a:lnTo>
                  <a:lnTo>
                    <a:pt x="112" y="169"/>
                  </a:lnTo>
                  <a:lnTo>
                    <a:pt x="115" y="164"/>
                  </a:lnTo>
                  <a:lnTo>
                    <a:pt x="115" y="159"/>
                  </a:lnTo>
                  <a:lnTo>
                    <a:pt x="115" y="128"/>
                  </a:lnTo>
                  <a:lnTo>
                    <a:pt x="134" y="130"/>
                  </a:lnTo>
                  <a:lnTo>
                    <a:pt x="147" y="132"/>
                  </a:lnTo>
                  <a:lnTo>
                    <a:pt x="154" y="135"/>
                  </a:lnTo>
                  <a:lnTo>
                    <a:pt x="164" y="142"/>
                  </a:lnTo>
                  <a:lnTo>
                    <a:pt x="171" y="150"/>
                  </a:lnTo>
                  <a:lnTo>
                    <a:pt x="176" y="157"/>
                  </a:lnTo>
                  <a:lnTo>
                    <a:pt x="179" y="164"/>
                  </a:lnTo>
                  <a:lnTo>
                    <a:pt x="181" y="172"/>
                  </a:lnTo>
                  <a:lnTo>
                    <a:pt x="181" y="177"/>
                  </a:lnTo>
                  <a:lnTo>
                    <a:pt x="179" y="186"/>
                  </a:lnTo>
                  <a:lnTo>
                    <a:pt x="176" y="196"/>
                  </a:lnTo>
                  <a:lnTo>
                    <a:pt x="174" y="204"/>
                  </a:lnTo>
                  <a:lnTo>
                    <a:pt x="169" y="208"/>
                  </a:lnTo>
                  <a:lnTo>
                    <a:pt x="159" y="218"/>
                  </a:lnTo>
                  <a:lnTo>
                    <a:pt x="149" y="221"/>
                  </a:lnTo>
                  <a:lnTo>
                    <a:pt x="137" y="226"/>
                  </a:lnTo>
                  <a:lnTo>
                    <a:pt x="125" y="228"/>
                  </a:lnTo>
                  <a:lnTo>
                    <a:pt x="93" y="228"/>
                  </a:lnTo>
                  <a:lnTo>
                    <a:pt x="90" y="230"/>
                  </a:lnTo>
                  <a:lnTo>
                    <a:pt x="90" y="233"/>
                  </a:lnTo>
                  <a:lnTo>
                    <a:pt x="93" y="238"/>
                  </a:lnTo>
                  <a:lnTo>
                    <a:pt x="95" y="240"/>
                  </a:lnTo>
                  <a:lnTo>
                    <a:pt x="98" y="240"/>
                  </a:lnTo>
                  <a:lnTo>
                    <a:pt x="125" y="240"/>
                  </a:lnTo>
                  <a:lnTo>
                    <a:pt x="134" y="238"/>
                  </a:lnTo>
                  <a:lnTo>
                    <a:pt x="144" y="238"/>
                  </a:lnTo>
                  <a:lnTo>
                    <a:pt x="157" y="233"/>
                  </a:lnTo>
                  <a:lnTo>
                    <a:pt x="169" y="226"/>
                  </a:lnTo>
                  <a:lnTo>
                    <a:pt x="174" y="221"/>
                  </a:lnTo>
                  <a:lnTo>
                    <a:pt x="181" y="213"/>
                  </a:lnTo>
                  <a:lnTo>
                    <a:pt x="186" y="206"/>
                  </a:lnTo>
                  <a:lnTo>
                    <a:pt x="191" y="191"/>
                  </a:lnTo>
                  <a:lnTo>
                    <a:pt x="193" y="177"/>
                  </a:lnTo>
                  <a:lnTo>
                    <a:pt x="191" y="159"/>
                  </a:lnTo>
                  <a:lnTo>
                    <a:pt x="188" y="152"/>
                  </a:lnTo>
                  <a:lnTo>
                    <a:pt x="184" y="145"/>
                  </a:lnTo>
                  <a:lnTo>
                    <a:pt x="174" y="135"/>
                  </a:lnTo>
                  <a:lnTo>
                    <a:pt x="166" y="128"/>
                  </a:lnTo>
                  <a:lnTo>
                    <a:pt x="157" y="123"/>
                  </a:lnTo>
                  <a:lnTo>
                    <a:pt x="147" y="120"/>
                  </a:lnTo>
                  <a:lnTo>
                    <a:pt x="137" y="118"/>
                  </a:lnTo>
                  <a:lnTo>
                    <a:pt x="125" y="115"/>
                  </a:lnTo>
                  <a:lnTo>
                    <a:pt x="100" y="115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95" y="167"/>
                  </a:lnTo>
                  <a:lnTo>
                    <a:pt x="90" y="164"/>
                  </a:lnTo>
                  <a:lnTo>
                    <a:pt x="17" y="91"/>
                  </a:lnTo>
                  <a:lnTo>
                    <a:pt x="95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0" y="20"/>
                  </a:lnTo>
                  <a:lnTo>
                    <a:pt x="100" y="64"/>
                  </a:lnTo>
                  <a:lnTo>
                    <a:pt x="144" y="66"/>
                  </a:lnTo>
                  <a:lnTo>
                    <a:pt x="159" y="69"/>
                  </a:lnTo>
                  <a:lnTo>
                    <a:pt x="181" y="78"/>
                  </a:lnTo>
                  <a:lnTo>
                    <a:pt x="198" y="88"/>
                  </a:lnTo>
                  <a:lnTo>
                    <a:pt x="213" y="103"/>
                  </a:lnTo>
                  <a:lnTo>
                    <a:pt x="223" y="118"/>
                  </a:lnTo>
                  <a:lnTo>
                    <a:pt x="228" y="132"/>
                  </a:lnTo>
                  <a:lnTo>
                    <a:pt x="233" y="152"/>
                  </a:lnTo>
                  <a:lnTo>
                    <a:pt x="235" y="172"/>
                  </a:lnTo>
                  <a:lnTo>
                    <a:pt x="233" y="189"/>
                  </a:lnTo>
                  <a:lnTo>
                    <a:pt x="228" y="204"/>
                  </a:lnTo>
                  <a:lnTo>
                    <a:pt x="220" y="223"/>
                  </a:lnTo>
                  <a:lnTo>
                    <a:pt x="208" y="238"/>
                  </a:lnTo>
                  <a:lnTo>
                    <a:pt x="193" y="253"/>
                  </a:lnTo>
                  <a:lnTo>
                    <a:pt x="174" y="262"/>
                  </a:lnTo>
                  <a:lnTo>
                    <a:pt x="157" y="267"/>
                  </a:lnTo>
                  <a:lnTo>
                    <a:pt x="134" y="272"/>
                  </a:lnTo>
                  <a:lnTo>
                    <a:pt x="125" y="272"/>
                  </a:lnTo>
                  <a:lnTo>
                    <a:pt x="93" y="272"/>
                  </a:lnTo>
                  <a:lnTo>
                    <a:pt x="90" y="275"/>
                  </a:lnTo>
                  <a:lnTo>
                    <a:pt x="90" y="277"/>
                  </a:lnTo>
                  <a:lnTo>
                    <a:pt x="90" y="280"/>
                  </a:lnTo>
                  <a:lnTo>
                    <a:pt x="93" y="282"/>
                  </a:lnTo>
                  <a:lnTo>
                    <a:pt x="95" y="284"/>
                  </a:lnTo>
                  <a:lnTo>
                    <a:pt x="98" y="284"/>
                  </a:lnTo>
                  <a:lnTo>
                    <a:pt x="142" y="284"/>
                  </a:lnTo>
                  <a:lnTo>
                    <a:pt x="164" y="280"/>
                  </a:lnTo>
                  <a:lnTo>
                    <a:pt x="181" y="272"/>
                  </a:lnTo>
                  <a:lnTo>
                    <a:pt x="201" y="262"/>
                  </a:lnTo>
                  <a:lnTo>
                    <a:pt x="215" y="248"/>
                  </a:lnTo>
                  <a:lnTo>
                    <a:pt x="228" y="233"/>
                  </a:lnTo>
                  <a:lnTo>
                    <a:pt x="237" y="218"/>
                  </a:lnTo>
                  <a:lnTo>
                    <a:pt x="242" y="199"/>
                  </a:lnTo>
                  <a:lnTo>
                    <a:pt x="247" y="17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31FF7415-9B98-48DB-A048-6158A659F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" y="259"/>
              <a:ext cx="247" cy="284"/>
            </a:xfrm>
            <a:custGeom>
              <a:avLst/>
              <a:gdLst>
                <a:gd name="T0" fmla="*/ 247 w 247"/>
                <a:gd name="T1" fmla="*/ 164 h 284"/>
                <a:gd name="T2" fmla="*/ 240 w 247"/>
                <a:gd name="T3" fmla="*/ 125 h 284"/>
                <a:gd name="T4" fmla="*/ 220 w 247"/>
                <a:gd name="T5" fmla="*/ 93 h 284"/>
                <a:gd name="T6" fmla="*/ 191 w 247"/>
                <a:gd name="T7" fmla="*/ 69 h 284"/>
                <a:gd name="T8" fmla="*/ 149 w 247"/>
                <a:gd name="T9" fmla="*/ 54 h 284"/>
                <a:gd name="T10" fmla="*/ 115 w 247"/>
                <a:gd name="T11" fmla="*/ 52 h 284"/>
                <a:gd name="T12" fmla="*/ 110 w 247"/>
                <a:gd name="T13" fmla="*/ 5 h 284"/>
                <a:gd name="T14" fmla="*/ 98 w 247"/>
                <a:gd name="T15" fmla="*/ 0 h 284"/>
                <a:gd name="T16" fmla="*/ 93 w 247"/>
                <a:gd name="T17" fmla="*/ 0 h 284"/>
                <a:gd name="T18" fmla="*/ 83 w 247"/>
                <a:gd name="T19" fmla="*/ 7 h 284"/>
                <a:gd name="T20" fmla="*/ 88 w 247"/>
                <a:gd name="T21" fmla="*/ 179 h 284"/>
                <a:gd name="T22" fmla="*/ 98 w 247"/>
                <a:gd name="T23" fmla="*/ 181 h 284"/>
                <a:gd name="T24" fmla="*/ 108 w 247"/>
                <a:gd name="T25" fmla="*/ 177 h 284"/>
                <a:gd name="T26" fmla="*/ 115 w 247"/>
                <a:gd name="T27" fmla="*/ 164 h 284"/>
                <a:gd name="T28" fmla="*/ 115 w 247"/>
                <a:gd name="T29" fmla="*/ 128 h 284"/>
                <a:gd name="T30" fmla="*/ 147 w 247"/>
                <a:gd name="T31" fmla="*/ 132 h 284"/>
                <a:gd name="T32" fmla="*/ 164 w 247"/>
                <a:gd name="T33" fmla="*/ 142 h 284"/>
                <a:gd name="T34" fmla="*/ 176 w 247"/>
                <a:gd name="T35" fmla="*/ 157 h 284"/>
                <a:gd name="T36" fmla="*/ 181 w 247"/>
                <a:gd name="T37" fmla="*/ 172 h 284"/>
                <a:gd name="T38" fmla="*/ 179 w 247"/>
                <a:gd name="T39" fmla="*/ 186 h 284"/>
                <a:gd name="T40" fmla="*/ 174 w 247"/>
                <a:gd name="T41" fmla="*/ 204 h 284"/>
                <a:gd name="T42" fmla="*/ 159 w 247"/>
                <a:gd name="T43" fmla="*/ 218 h 284"/>
                <a:gd name="T44" fmla="*/ 137 w 247"/>
                <a:gd name="T45" fmla="*/ 226 h 284"/>
                <a:gd name="T46" fmla="*/ 93 w 247"/>
                <a:gd name="T47" fmla="*/ 228 h 284"/>
                <a:gd name="T48" fmla="*/ 90 w 247"/>
                <a:gd name="T49" fmla="*/ 233 h 284"/>
                <a:gd name="T50" fmla="*/ 95 w 247"/>
                <a:gd name="T51" fmla="*/ 240 h 284"/>
                <a:gd name="T52" fmla="*/ 125 w 247"/>
                <a:gd name="T53" fmla="*/ 240 h 284"/>
                <a:gd name="T54" fmla="*/ 144 w 247"/>
                <a:gd name="T55" fmla="*/ 238 h 284"/>
                <a:gd name="T56" fmla="*/ 169 w 247"/>
                <a:gd name="T57" fmla="*/ 226 h 284"/>
                <a:gd name="T58" fmla="*/ 181 w 247"/>
                <a:gd name="T59" fmla="*/ 213 h 284"/>
                <a:gd name="T60" fmla="*/ 191 w 247"/>
                <a:gd name="T61" fmla="*/ 191 h 284"/>
                <a:gd name="T62" fmla="*/ 191 w 247"/>
                <a:gd name="T63" fmla="*/ 159 h 284"/>
                <a:gd name="T64" fmla="*/ 184 w 247"/>
                <a:gd name="T65" fmla="*/ 145 h 284"/>
                <a:gd name="T66" fmla="*/ 166 w 247"/>
                <a:gd name="T67" fmla="*/ 128 h 284"/>
                <a:gd name="T68" fmla="*/ 147 w 247"/>
                <a:gd name="T69" fmla="*/ 120 h 284"/>
                <a:gd name="T70" fmla="*/ 125 w 247"/>
                <a:gd name="T71" fmla="*/ 115 h 284"/>
                <a:gd name="T72" fmla="*/ 100 w 247"/>
                <a:gd name="T73" fmla="*/ 164 h 284"/>
                <a:gd name="T74" fmla="*/ 95 w 247"/>
                <a:gd name="T75" fmla="*/ 167 h 284"/>
                <a:gd name="T76" fmla="*/ 17 w 247"/>
                <a:gd name="T77" fmla="*/ 91 h 284"/>
                <a:gd name="T78" fmla="*/ 98 w 247"/>
                <a:gd name="T79" fmla="*/ 15 h 284"/>
                <a:gd name="T80" fmla="*/ 100 w 247"/>
                <a:gd name="T81" fmla="*/ 20 h 284"/>
                <a:gd name="T82" fmla="*/ 144 w 247"/>
                <a:gd name="T83" fmla="*/ 66 h 284"/>
                <a:gd name="T84" fmla="*/ 181 w 247"/>
                <a:gd name="T85" fmla="*/ 78 h 284"/>
                <a:gd name="T86" fmla="*/ 213 w 247"/>
                <a:gd name="T87" fmla="*/ 103 h 284"/>
                <a:gd name="T88" fmla="*/ 228 w 247"/>
                <a:gd name="T89" fmla="*/ 132 h 284"/>
                <a:gd name="T90" fmla="*/ 235 w 247"/>
                <a:gd name="T91" fmla="*/ 172 h 284"/>
                <a:gd name="T92" fmla="*/ 228 w 247"/>
                <a:gd name="T93" fmla="*/ 204 h 284"/>
                <a:gd name="T94" fmla="*/ 208 w 247"/>
                <a:gd name="T95" fmla="*/ 238 h 284"/>
                <a:gd name="T96" fmla="*/ 174 w 247"/>
                <a:gd name="T97" fmla="*/ 262 h 284"/>
                <a:gd name="T98" fmla="*/ 134 w 247"/>
                <a:gd name="T99" fmla="*/ 272 h 284"/>
                <a:gd name="T100" fmla="*/ 93 w 247"/>
                <a:gd name="T101" fmla="*/ 272 h 284"/>
                <a:gd name="T102" fmla="*/ 90 w 247"/>
                <a:gd name="T103" fmla="*/ 277 h 284"/>
                <a:gd name="T104" fmla="*/ 93 w 247"/>
                <a:gd name="T105" fmla="*/ 282 h 284"/>
                <a:gd name="T106" fmla="*/ 98 w 247"/>
                <a:gd name="T107" fmla="*/ 284 h 284"/>
                <a:gd name="T108" fmla="*/ 164 w 247"/>
                <a:gd name="T109" fmla="*/ 280 h 284"/>
                <a:gd name="T110" fmla="*/ 201 w 247"/>
                <a:gd name="T111" fmla="*/ 262 h 284"/>
                <a:gd name="T112" fmla="*/ 228 w 247"/>
                <a:gd name="T113" fmla="*/ 233 h 284"/>
                <a:gd name="T114" fmla="*/ 242 w 247"/>
                <a:gd name="T115" fmla="*/ 19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7" h="284">
                  <a:moveTo>
                    <a:pt x="247" y="179"/>
                  </a:moveTo>
                  <a:lnTo>
                    <a:pt x="247" y="164"/>
                  </a:lnTo>
                  <a:lnTo>
                    <a:pt x="245" y="147"/>
                  </a:lnTo>
                  <a:lnTo>
                    <a:pt x="240" y="125"/>
                  </a:lnTo>
                  <a:lnTo>
                    <a:pt x="230" y="105"/>
                  </a:lnTo>
                  <a:lnTo>
                    <a:pt x="220" y="93"/>
                  </a:lnTo>
                  <a:lnTo>
                    <a:pt x="210" y="81"/>
                  </a:lnTo>
                  <a:lnTo>
                    <a:pt x="191" y="69"/>
                  </a:lnTo>
                  <a:lnTo>
                    <a:pt x="171" y="61"/>
                  </a:lnTo>
                  <a:lnTo>
                    <a:pt x="149" y="54"/>
                  </a:lnTo>
                  <a:lnTo>
                    <a:pt x="127" y="52"/>
                  </a:lnTo>
                  <a:lnTo>
                    <a:pt x="115" y="52"/>
                  </a:lnTo>
                  <a:lnTo>
                    <a:pt x="112" y="12"/>
                  </a:lnTo>
                  <a:lnTo>
                    <a:pt x="110" y="5"/>
                  </a:lnTo>
                  <a:lnTo>
                    <a:pt x="105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3" y="0"/>
                  </a:lnTo>
                  <a:lnTo>
                    <a:pt x="88" y="2"/>
                  </a:lnTo>
                  <a:lnTo>
                    <a:pt x="83" y="7"/>
                  </a:lnTo>
                  <a:lnTo>
                    <a:pt x="0" y="91"/>
                  </a:lnTo>
                  <a:lnTo>
                    <a:pt x="88" y="179"/>
                  </a:lnTo>
                  <a:lnTo>
                    <a:pt x="95" y="181"/>
                  </a:lnTo>
                  <a:lnTo>
                    <a:pt x="98" y="181"/>
                  </a:lnTo>
                  <a:lnTo>
                    <a:pt x="103" y="179"/>
                  </a:lnTo>
                  <a:lnTo>
                    <a:pt x="108" y="177"/>
                  </a:lnTo>
                  <a:lnTo>
                    <a:pt x="112" y="169"/>
                  </a:lnTo>
                  <a:lnTo>
                    <a:pt x="115" y="164"/>
                  </a:lnTo>
                  <a:lnTo>
                    <a:pt x="115" y="159"/>
                  </a:lnTo>
                  <a:lnTo>
                    <a:pt x="115" y="128"/>
                  </a:lnTo>
                  <a:lnTo>
                    <a:pt x="134" y="130"/>
                  </a:lnTo>
                  <a:lnTo>
                    <a:pt x="147" y="132"/>
                  </a:lnTo>
                  <a:lnTo>
                    <a:pt x="154" y="135"/>
                  </a:lnTo>
                  <a:lnTo>
                    <a:pt x="164" y="142"/>
                  </a:lnTo>
                  <a:lnTo>
                    <a:pt x="171" y="150"/>
                  </a:lnTo>
                  <a:lnTo>
                    <a:pt x="176" y="157"/>
                  </a:lnTo>
                  <a:lnTo>
                    <a:pt x="179" y="164"/>
                  </a:lnTo>
                  <a:lnTo>
                    <a:pt x="181" y="172"/>
                  </a:lnTo>
                  <a:lnTo>
                    <a:pt x="181" y="177"/>
                  </a:lnTo>
                  <a:lnTo>
                    <a:pt x="179" y="186"/>
                  </a:lnTo>
                  <a:lnTo>
                    <a:pt x="176" y="196"/>
                  </a:lnTo>
                  <a:lnTo>
                    <a:pt x="174" y="204"/>
                  </a:lnTo>
                  <a:lnTo>
                    <a:pt x="169" y="208"/>
                  </a:lnTo>
                  <a:lnTo>
                    <a:pt x="159" y="218"/>
                  </a:lnTo>
                  <a:lnTo>
                    <a:pt x="149" y="221"/>
                  </a:lnTo>
                  <a:lnTo>
                    <a:pt x="137" y="226"/>
                  </a:lnTo>
                  <a:lnTo>
                    <a:pt x="125" y="228"/>
                  </a:lnTo>
                  <a:lnTo>
                    <a:pt x="93" y="228"/>
                  </a:lnTo>
                  <a:lnTo>
                    <a:pt x="90" y="230"/>
                  </a:lnTo>
                  <a:lnTo>
                    <a:pt x="90" y="233"/>
                  </a:lnTo>
                  <a:lnTo>
                    <a:pt x="93" y="238"/>
                  </a:lnTo>
                  <a:lnTo>
                    <a:pt x="95" y="240"/>
                  </a:lnTo>
                  <a:lnTo>
                    <a:pt x="98" y="240"/>
                  </a:lnTo>
                  <a:lnTo>
                    <a:pt x="125" y="240"/>
                  </a:lnTo>
                  <a:lnTo>
                    <a:pt x="134" y="238"/>
                  </a:lnTo>
                  <a:lnTo>
                    <a:pt x="144" y="238"/>
                  </a:lnTo>
                  <a:lnTo>
                    <a:pt x="157" y="233"/>
                  </a:lnTo>
                  <a:lnTo>
                    <a:pt x="169" y="226"/>
                  </a:lnTo>
                  <a:lnTo>
                    <a:pt x="174" y="221"/>
                  </a:lnTo>
                  <a:lnTo>
                    <a:pt x="181" y="213"/>
                  </a:lnTo>
                  <a:lnTo>
                    <a:pt x="186" y="206"/>
                  </a:lnTo>
                  <a:lnTo>
                    <a:pt x="191" y="191"/>
                  </a:lnTo>
                  <a:lnTo>
                    <a:pt x="193" y="177"/>
                  </a:lnTo>
                  <a:lnTo>
                    <a:pt x="191" y="159"/>
                  </a:lnTo>
                  <a:lnTo>
                    <a:pt x="188" y="152"/>
                  </a:lnTo>
                  <a:lnTo>
                    <a:pt x="184" y="145"/>
                  </a:lnTo>
                  <a:lnTo>
                    <a:pt x="174" y="135"/>
                  </a:lnTo>
                  <a:lnTo>
                    <a:pt x="166" y="128"/>
                  </a:lnTo>
                  <a:lnTo>
                    <a:pt x="157" y="123"/>
                  </a:lnTo>
                  <a:lnTo>
                    <a:pt x="147" y="120"/>
                  </a:lnTo>
                  <a:lnTo>
                    <a:pt x="137" y="118"/>
                  </a:lnTo>
                  <a:lnTo>
                    <a:pt x="125" y="115"/>
                  </a:lnTo>
                  <a:lnTo>
                    <a:pt x="100" y="115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95" y="167"/>
                  </a:lnTo>
                  <a:lnTo>
                    <a:pt x="90" y="164"/>
                  </a:lnTo>
                  <a:lnTo>
                    <a:pt x="17" y="91"/>
                  </a:lnTo>
                  <a:lnTo>
                    <a:pt x="95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0" y="20"/>
                  </a:lnTo>
                  <a:lnTo>
                    <a:pt x="100" y="64"/>
                  </a:lnTo>
                  <a:lnTo>
                    <a:pt x="144" y="66"/>
                  </a:lnTo>
                  <a:lnTo>
                    <a:pt x="159" y="69"/>
                  </a:lnTo>
                  <a:lnTo>
                    <a:pt x="181" y="78"/>
                  </a:lnTo>
                  <a:lnTo>
                    <a:pt x="198" y="88"/>
                  </a:lnTo>
                  <a:lnTo>
                    <a:pt x="213" y="103"/>
                  </a:lnTo>
                  <a:lnTo>
                    <a:pt x="223" y="118"/>
                  </a:lnTo>
                  <a:lnTo>
                    <a:pt x="228" y="132"/>
                  </a:lnTo>
                  <a:lnTo>
                    <a:pt x="233" y="152"/>
                  </a:lnTo>
                  <a:lnTo>
                    <a:pt x="235" y="172"/>
                  </a:lnTo>
                  <a:lnTo>
                    <a:pt x="233" y="189"/>
                  </a:lnTo>
                  <a:lnTo>
                    <a:pt x="228" y="204"/>
                  </a:lnTo>
                  <a:lnTo>
                    <a:pt x="220" y="223"/>
                  </a:lnTo>
                  <a:lnTo>
                    <a:pt x="208" y="238"/>
                  </a:lnTo>
                  <a:lnTo>
                    <a:pt x="193" y="253"/>
                  </a:lnTo>
                  <a:lnTo>
                    <a:pt x="174" y="262"/>
                  </a:lnTo>
                  <a:lnTo>
                    <a:pt x="157" y="267"/>
                  </a:lnTo>
                  <a:lnTo>
                    <a:pt x="134" y="272"/>
                  </a:lnTo>
                  <a:lnTo>
                    <a:pt x="125" y="272"/>
                  </a:lnTo>
                  <a:lnTo>
                    <a:pt x="93" y="272"/>
                  </a:lnTo>
                  <a:lnTo>
                    <a:pt x="90" y="275"/>
                  </a:lnTo>
                  <a:lnTo>
                    <a:pt x="90" y="277"/>
                  </a:lnTo>
                  <a:lnTo>
                    <a:pt x="90" y="280"/>
                  </a:lnTo>
                  <a:lnTo>
                    <a:pt x="93" y="282"/>
                  </a:lnTo>
                  <a:lnTo>
                    <a:pt x="95" y="284"/>
                  </a:lnTo>
                  <a:lnTo>
                    <a:pt x="98" y="284"/>
                  </a:lnTo>
                  <a:lnTo>
                    <a:pt x="142" y="284"/>
                  </a:lnTo>
                  <a:lnTo>
                    <a:pt x="164" y="280"/>
                  </a:lnTo>
                  <a:lnTo>
                    <a:pt x="181" y="272"/>
                  </a:lnTo>
                  <a:lnTo>
                    <a:pt x="201" y="262"/>
                  </a:lnTo>
                  <a:lnTo>
                    <a:pt x="215" y="248"/>
                  </a:lnTo>
                  <a:lnTo>
                    <a:pt x="228" y="233"/>
                  </a:lnTo>
                  <a:lnTo>
                    <a:pt x="237" y="218"/>
                  </a:lnTo>
                  <a:lnTo>
                    <a:pt x="242" y="199"/>
                  </a:lnTo>
                  <a:lnTo>
                    <a:pt x="247" y="17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9CE6E45E-0DD5-4DB4-88FF-DBD327DDB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" y="259"/>
              <a:ext cx="247" cy="284"/>
            </a:xfrm>
            <a:custGeom>
              <a:avLst/>
              <a:gdLst>
                <a:gd name="T0" fmla="*/ 247 w 247"/>
                <a:gd name="T1" fmla="*/ 164 h 284"/>
                <a:gd name="T2" fmla="*/ 240 w 247"/>
                <a:gd name="T3" fmla="*/ 125 h 284"/>
                <a:gd name="T4" fmla="*/ 220 w 247"/>
                <a:gd name="T5" fmla="*/ 93 h 284"/>
                <a:gd name="T6" fmla="*/ 191 w 247"/>
                <a:gd name="T7" fmla="*/ 69 h 284"/>
                <a:gd name="T8" fmla="*/ 149 w 247"/>
                <a:gd name="T9" fmla="*/ 54 h 284"/>
                <a:gd name="T10" fmla="*/ 115 w 247"/>
                <a:gd name="T11" fmla="*/ 52 h 284"/>
                <a:gd name="T12" fmla="*/ 110 w 247"/>
                <a:gd name="T13" fmla="*/ 5 h 284"/>
                <a:gd name="T14" fmla="*/ 98 w 247"/>
                <a:gd name="T15" fmla="*/ 0 h 284"/>
                <a:gd name="T16" fmla="*/ 93 w 247"/>
                <a:gd name="T17" fmla="*/ 0 h 284"/>
                <a:gd name="T18" fmla="*/ 83 w 247"/>
                <a:gd name="T19" fmla="*/ 7 h 284"/>
                <a:gd name="T20" fmla="*/ 88 w 247"/>
                <a:gd name="T21" fmla="*/ 179 h 284"/>
                <a:gd name="T22" fmla="*/ 98 w 247"/>
                <a:gd name="T23" fmla="*/ 181 h 284"/>
                <a:gd name="T24" fmla="*/ 108 w 247"/>
                <a:gd name="T25" fmla="*/ 177 h 284"/>
                <a:gd name="T26" fmla="*/ 115 w 247"/>
                <a:gd name="T27" fmla="*/ 164 h 284"/>
                <a:gd name="T28" fmla="*/ 115 w 247"/>
                <a:gd name="T29" fmla="*/ 128 h 284"/>
                <a:gd name="T30" fmla="*/ 147 w 247"/>
                <a:gd name="T31" fmla="*/ 132 h 284"/>
                <a:gd name="T32" fmla="*/ 164 w 247"/>
                <a:gd name="T33" fmla="*/ 142 h 284"/>
                <a:gd name="T34" fmla="*/ 176 w 247"/>
                <a:gd name="T35" fmla="*/ 157 h 284"/>
                <a:gd name="T36" fmla="*/ 181 w 247"/>
                <a:gd name="T37" fmla="*/ 172 h 284"/>
                <a:gd name="T38" fmla="*/ 179 w 247"/>
                <a:gd name="T39" fmla="*/ 186 h 284"/>
                <a:gd name="T40" fmla="*/ 174 w 247"/>
                <a:gd name="T41" fmla="*/ 204 h 284"/>
                <a:gd name="T42" fmla="*/ 159 w 247"/>
                <a:gd name="T43" fmla="*/ 218 h 284"/>
                <a:gd name="T44" fmla="*/ 137 w 247"/>
                <a:gd name="T45" fmla="*/ 226 h 284"/>
                <a:gd name="T46" fmla="*/ 93 w 247"/>
                <a:gd name="T47" fmla="*/ 228 h 284"/>
                <a:gd name="T48" fmla="*/ 90 w 247"/>
                <a:gd name="T49" fmla="*/ 233 h 284"/>
                <a:gd name="T50" fmla="*/ 95 w 247"/>
                <a:gd name="T51" fmla="*/ 240 h 284"/>
                <a:gd name="T52" fmla="*/ 125 w 247"/>
                <a:gd name="T53" fmla="*/ 240 h 284"/>
                <a:gd name="T54" fmla="*/ 144 w 247"/>
                <a:gd name="T55" fmla="*/ 238 h 284"/>
                <a:gd name="T56" fmla="*/ 169 w 247"/>
                <a:gd name="T57" fmla="*/ 226 h 284"/>
                <a:gd name="T58" fmla="*/ 181 w 247"/>
                <a:gd name="T59" fmla="*/ 213 h 284"/>
                <a:gd name="T60" fmla="*/ 191 w 247"/>
                <a:gd name="T61" fmla="*/ 191 h 284"/>
                <a:gd name="T62" fmla="*/ 191 w 247"/>
                <a:gd name="T63" fmla="*/ 159 h 284"/>
                <a:gd name="T64" fmla="*/ 184 w 247"/>
                <a:gd name="T65" fmla="*/ 145 h 284"/>
                <a:gd name="T66" fmla="*/ 166 w 247"/>
                <a:gd name="T67" fmla="*/ 128 h 284"/>
                <a:gd name="T68" fmla="*/ 147 w 247"/>
                <a:gd name="T69" fmla="*/ 120 h 284"/>
                <a:gd name="T70" fmla="*/ 125 w 247"/>
                <a:gd name="T71" fmla="*/ 115 h 284"/>
                <a:gd name="T72" fmla="*/ 100 w 247"/>
                <a:gd name="T73" fmla="*/ 164 h 284"/>
                <a:gd name="T74" fmla="*/ 95 w 247"/>
                <a:gd name="T75" fmla="*/ 167 h 284"/>
                <a:gd name="T76" fmla="*/ 17 w 247"/>
                <a:gd name="T77" fmla="*/ 91 h 284"/>
                <a:gd name="T78" fmla="*/ 98 w 247"/>
                <a:gd name="T79" fmla="*/ 15 h 284"/>
                <a:gd name="T80" fmla="*/ 100 w 247"/>
                <a:gd name="T81" fmla="*/ 20 h 284"/>
                <a:gd name="T82" fmla="*/ 144 w 247"/>
                <a:gd name="T83" fmla="*/ 66 h 284"/>
                <a:gd name="T84" fmla="*/ 181 w 247"/>
                <a:gd name="T85" fmla="*/ 78 h 284"/>
                <a:gd name="T86" fmla="*/ 213 w 247"/>
                <a:gd name="T87" fmla="*/ 103 h 284"/>
                <a:gd name="T88" fmla="*/ 228 w 247"/>
                <a:gd name="T89" fmla="*/ 132 h 284"/>
                <a:gd name="T90" fmla="*/ 235 w 247"/>
                <a:gd name="T91" fmla="*/ 172 h 284"/>
                <a:gd name="T92" fmla="*/ 228 w 247"/>
                <a:gd name="T93" fmla="*/ 204 h 284"/>
                <a:gd name="T94" fmla="*/ 208 w 247"/>
                <a:gd name="T95" fmla="*/ 238 h 284"/>
                <a:gd name="T96" fmla="*/ 174 w 247"/>
                <a:gd name="T97" fmla="*/ 262 h 284"/>
                <a:gd name="T98" fmla="*/ 134 w 247"/>
                <a:gd name="T99" fmla="*/ 272 h 284"/>
                <a:gd name="T100" fmla="*/ 93 w 247"/>
                <a:gd name="T101" fmla="*/ 272 h 284"/>
                <a:gd name="T102" fmla="*/ 90 w 247"/>
                <a:gd name="T103" fmla="*/ 277 h 284"/>
                <a:gd name="T104" fmla="*/ 93 w 247"/>
                <a:gd name="T105" fmla="*/ 282 h 284"/>
                <a:gd name="T106" fmla="*/ 98 w 247"/>
                <a:gd name="T107" fmla="*/ 284 h 284"/>
                <a:gd name="T108" fmla="*/ 164 w 247"/>
                <a:gd name="T109" fmla="*/ 280 h 284"/>
                <a:gd name="T110" fmla="*/ 201 w 247"/>
                <a:gd name="T111" fmla="*/ 262 h 284"/>
                <a:gd name="T112" fmla="*/ 228 w 247"/>
                <a:gd name="T113" fmla="*/ 233 h 284"/>
                <a:gd name="T114" fmla="*/ 242 w 247"/>
                <a:gd name="T115" fmla="*/ 19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7" h="284">
                  <a:moveTo>
                    <a:pt x="247" y="179"/>
                  </a:moveTo>
                  <a:lnTo>
                    <a:pt x="247" y="164"/>
                  </a:lnTo>
                  <a:lnTo>
                    <a:pt x="245" y="147"/>
                  </a:lnTo>
                  <a:lnTo>
                    <a:pt x="240" y="125"/>
                  </a:lnTo>
                  <a:lnTo>
                    <a:pt x="230" y="105"/>
                  </a:lnTo>
                  <a:lnTo>
                    <a:pt x="220" y="93"/>
                  </a:lnTo>
                  <a:lnTo>
                    <a:pt x="210" y="81"/>
                  </a:lnTo>
                  <a:lnTo>
                    <a:pt x="191" y="69"/>
                  </a:lnTo>
                  <a:lnTo>
                    <a:pt x="171" y="61"/>
                  </a:lnTo>
                  <a:lnTo>
                    <a:pt x="149" y="54"/>
                  </a:lnTo>
                  <a:lnTo>
                    <a:pt x="127" y="52"/>
                  </a:lnTo>
                  <a:lnTo>
                    <a:pt x="115" y="52"/>
                  </a:lnTo>
                  <a:lnTo>
                    <a:pt x="112" y="12"/>
                  </a:lnTo>
                  <a:lnTo>
                    <a:pt x="110" y="5"/>
                  </a:lnTo>
                  <a:lnTo>
                    <a:pt x="105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3" y="0"/>
                  </a:lnTo>
                  <a:lnTo>
                    <a:pt x="88" y="2"/>
                  </a:lnTo>
                  <a:lnTo>
                    <a:pt x="83" y="7"/>
                  </a:lnTo>
                  <a:lnTo>
                    <a:pt x="0" y="91"/>
                  </a:lnTo>
                  <a:lnTo>
                    <a:pt x="88" y="179"/>
                  </a:lnTo>
                  <a:lnTo>
                    <a:pt x="95" y="181"/>
                  </a:lnTo>
                  <a:lnTo>
                    <a:pt x="98" y="181"/>
                  </a:lnTo>
                  <a:lnTo>
                    <a:pt x="103" y="179"/>
                  </a:lnTo>
                  <a:lnTo>
                    <a:pt x="108" y="177"/>
                  </a:lnTo>
                  <a:lnTo>
                    <a:pt x="112" y="169"/>
                  </a:lnTo>
                  <a:lnTo>
                    <a:pt x="115" y="164"/>
                  </a:lnTo>
                  <a:lnTo>
                    <a:pt x="115" y="159"/>
                  </a:lnTo>
                  <a:lnTo>
                    <a:pt x="115" y="128"/>
                  </a:lnTo>
                  <a:lnTo>
                    <a:pt x="134" y="130"/>
                  </a:lnTo>
                  <a:lnTo>
                    <a:pt x="147" y="132"/>
                  </a:lnTo>
                  <a:lnTo>
                    <a:pt x="154" y="135"/>
                  </a:lnTo>
                  <a:lnTo>
                    <a:pt x="164" y="142"/>
                  </a:lnTo>
                  <a:lnTo>
                    <a:pt x="171" y="150"/>
                  </a:lnTo>
                  <a:lnTo>
                    <a:pt x="176" y="157"/>
                  </a:lnTo>
                  <a:lnTo>
                    <a:pt x="179" y="164"/>
                  </a:lnTo>
                  <a:lnTo>
                    <a:pt x="181" y="172"/>
                  </a:lnTo>
                  <a:lnTo>
                    <a:pt x="181" y="177"/>
                  </a:lnTo>
                  <a:lnTo>
                    <a:pt x="179" y="186"/>
                  </a:lnTo>
                  <a:lnTo>
                    <a:pt x="176" y="196"/>
                  </a:lnTo>
                  <a:lnTo>
                    <a:pt x="174" y="204"/>
                  </a:lnTo>
                  <a:lnTo>
                    <a:pt x="169" y="208"/>
                  </a:lnTo>
                  <a:lnTo>
                    <a:pt x="159" y="218"/>
                  </a:lnTo>
                  <a:lnTo>
                    <a:pt x="149" y="221"/>
                  </a:lnTo>
                  <a:lnTo>
                    <a:pt x="137" y="226"/>
                  </a:lnTo>
                  <a:lnTo>
                    <a:pt x="125" y="228"/>
                  </a:lnTo>
                  <a:lnTo>
                    <a:pt x="93" y="228"/>
                  </a:lnTo>
                  <a:lnTo>
                    <a:pt x="90" y="230"/>
                  </a:lnTo>
                  <a:lnTo>
                    <a:pt x="90" y="233"/>
                  </a:lnTo>
                  <a:lnTo>
                    <a:pt x="93" y="238"/>
                  </a:lnTo>
                  <a:lnTo>
                    <a:pt x="95" y="240"/>
                  </a:lnTo>
                  <a:lnTo>
                    <a:pt x="98" y="240"/>
                  </a:lnTo>
                  <a:lnTo>
                    <a:pt x="125" y="240"/>
                  </a:lnTo>
                  <a:lnTo>
                    <a:pt x="134" y="238"/>
                  </a:lnTo>
                  <a:lnTo>
                    <a:pt x="144" y="238"/>
                  </a:lnTo>
                  <a:lnTo>
                    <a:pt x="157" y="233"/>
                  </a:lnTo>
                  <a:lnTo>
                    <a:pt x="169" y="226"/>
                  </a:lnTo>
                  <a:lnTo>
                    <a:pt x="174" y="221"/>
                  </a:lnTo>
                  <a:lnTo>
                    <a:pt x="181" y="213"/>
                  </a:lnTo>
                  <a:lnTo>
                    <a:pt x="186" y="206"/>
                  </a:lnTo>
                  <a:lnTo>
                    <a:pt x="191" y="191"/>
                  </a:lnTo>
                  <a:lnTo>
                    <a:pt x="193" y="177"/>
                  </a:lnTo>
                  <a:lnTo>
                    <a:pt x="191" y="159"/>
                  </a:lnTo>
                  <a:lnTo>
                    <a:pt x="188" y="152"/>
                  </a:lnTo>
                  <a:lnTo>
                    <a:pt x="184" y="145"/>
                  </a:lnTo>
                  <a:lnTo>
                    <a:pt x="174" y="135"/>
                  </a:lnTo>
                  <a:lnTo>
                    <a:pt x="166" y="128"/>
                  </a:lnTo>
                  <a:lnTo>
                    <a:pt x="157" y="123"/>
                  </a:lnTo>
                  <a:lnTo>
                    <a:pt x="147" y="120"/>
                  </a:lnTo>
                  <a:lnTo>
                    <a:pt x="137" y="118"/>
                  </a:lnTo>
                  <a:lnTo>
                    <a:pt x="125" y="115"/>
                  </a:lnTo>
                  <a:lnTo>
                    <a:pt x="100" y="115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95" y="167"/>
                  </a:lnTo>
                  <a:lnTo>
                    <a:pt x="90" y="164"/>
                  </a:lnTo>
                  <a:lnTo>
                    <a:pt x="17" y="91"/>
                  </a:lnTo>
                  <a:lnTo>
                    <a:pt x="95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0" y="20"/>
                  </a:lnTo>
                  <a:lnTo>
                    <a:pt x="100" y="64"/>
                  </a:lnTo>
                  <a:lnTo>
                    <a:pt x="144" y="66"/>
                  </a:lnTo>
                  <a:lnTo>
                    <a:pt x="159" y="69"/>
                  </a:lnTo>
                  <a:lnTo>
                    <a:pt x="181" y="78"/>
                  </a:lnTo>
                  <a:lnTo>
                    <a:pt x="198" y="88"/>
                  </a:lnTo>
                  <a:lnTo>
                    <a:pt x="213" y="103"/>
                  </a:lnTo>
                  <a:lnTo>
                    <a:pt x="223" y="118"/>
                  </a:lnTo>
                  <a:lnTo>
                    <a:pt x="228" y="132"/>
                  </a:lnTo>
                  <a:lnTo>
                    <a:pt x="233" y="152"/>
                  </a:lnTo>
                  <a:lnTo>
                    <a:pt x="235" y="172"/>
                  </a:lnTo>
                  <a:lnTo>
                    <a:pt x="233" y="189"/>
                  </a:lnTo>
                  <a:lnTo>
                    <a:pt x="228" y="204"/>
                  </a:lnTo>
                  <a:lnTo>
                    <a:pt x="220" y="223"/>
                  </a:lnTo>
                  <a:lnTo>
                    <a:pt x="208" y="238"/>
                  </a:lnTo>
                  <a:lnTo>
                    <a:pt x="193" y="253"/>
                  </a:lnTo>
                  <a:lnTo>
                    <a:pt x="174" y="262"/>
                  </a:lnTo>
                  <a:lnTo>
                    <a:pt x="157" y="267"/>
                  </a:lnTo>
                  <a:lnTo>
                    <a:pt x="134" y="272"/>
                  </a:lnTo>
                  <a:lnTo>
                    <a:pt x="125" y="272"/>
                  </a:lnTo>
                  <a:lnTo>
                    <a:pt x="93" y="272"/>
                  </a:lnTo>
                  <a:lnTo>
                    <a:pt x="90" y="275"/>
                  </a:lnTo>
                  <a:lnTo>
                    <a:pt x="90" y="277"/>
                  </a:lnTo>
                  <a:lnTo>
                    <a:pt x="90" y="280"/>
                  </a:lnTo>
                  <a:lnTo>
                    <a:pt x="93" y="282"/>
                  </a:lnTo>
                  <a:lnTo>
                    <a:pt x="95" y="284"/>
                  </a:lnTo>
                  <a:lnTo>
                    <a:pt x="98" y="284"/>
                  </a:lnTo>
                  <a:lnTo>
                    <a:pt x="142" y="284"/>
                  </a:lnTo>
                  <a:lnTo>
                    <a:pt x="164" y="280"/>
                  </a:lnTo>
                  <a:lnTo>
                    <a:pt x="181" y="272"/>
                  </a:lnTo>
                  <a:lnTo>
                    <a:pt x="201" y="262"/>
                  </a:lnTo>
                  <a:lnTo>
                    <a:pt x="215" y="248"/>
                  </a:lnTo>
                  <a:lnTo>
                    <a:pt x="228" y="233"/>
                  </a:lnTo>
                  <a:lnTo>
                    <a:pt x="237" y="218"/>
                  </a:lnTo>
                  <a:lnTo>
                    <a:pt x="242" y="199"/>
                  </a:lnTo>
                  <a:lnTo>
                    <a:pt x="247" y="17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47">
            <a:extLst>
              <a:ext uri="{FF2B5EF4-FFF2-40B4-BE49-F238E27FC236}">
                <a16:creationId xmlns:a16="http://schemas.microsoft.com/office/drawing/2014/main" id="{D6D3D79C-CC19-4062-8A79-496E29F23F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2825" y="274172"/>
            <a:ext cx="842963" cy="841375"/>
            <a:chOff x="3038" y="161"/>
            <a:chExt cx="531" cy="530"/>
          </a:xfrm>
        </p:grpSpPr>
        <p:sp>
          <p:nvSpPr>
            <p:cNvPr id="54" name="AutoShape 46">
              <a:extLst>
                <a:ext uri="{FF2B5EF4-FFF2-40B4-BE49-F238E27FC236}">
                  <a16:creationId xmlns:a16="http://schemas.microsoft.com/office/drawing/2014/main" id="{43BDB959-8533-4330-BE47-B82F148B9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8" y="161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8">
              <a:extLst>
                <a:ext uri="{FF2B5EF4-FFF2-40B4-BE49-F238E27FC236}">
                  <a16:creationId xmlns:a16="http://schemas.microsoft.com/office/drawing/2014/main" id="{4FF5B15A-A890-4478-9146-453318222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8" y="161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DB489EC1-CD1C-497D-8B94-9E97363061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6" y="179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34A86A5E-E599-4B10-87A7-26FC9B2C7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" y="279"/>
              <a:ext cx="260" cy="297"/>
            </a:xfrm>
            <a:custGeom>
              <a:avLst/>
              <a:gdLst>
                <a:gd name="T0" fmla="*/ 260 w 260"/>
                <a:gd name="T1" fmla="*/ 171 h 297"/>
                <a:gd name="T2" fmla="*/ 252 w 260"/>
                <a:gd name="T3" fmla="*/ 130 h 297"/>
                <a:gd name="T4" fmla="*/ 231 w 260"/>
                <a:gd name="T5" fmla="*/ 97 h 297"/>
                <a:gd name="T6" fmla="*/ 201 w 260"/>
                <a:gd name="T7" fmla="*/ 71 h 297"/>
                <a:gd name="T8" fmla="*/ 157 w 260"/>
                <a:gd name="T9" fmla="*/ 56 h 297"/>
                <a:gd name="T10" fmla="*/ 121 w 260"/>
                <a:gd name="T11" fmla="*/ 53 h 297"/>
                <a:gd name="T12" fmla="*/ 116 w 260"/>
                <a:gd name="T13" fmla="*/ 5 h 297"/>
                <a:gd name="T14" fmla="*/ 103 w 260"/>
                <a:gd name="T15" fmla="*/ 0 h 297"/>
                <a:gd name="T16" fmla="*/ 98 w 260"/>
                <a:gd name="T17" fmla="*/ 0 h 297"/>
                <a:gd name="T18" fmla="*/ 88 w 260"/>
                <a:gd name="T19" fmla="*/ 7 h 297"/>
                <a:gd name="T20" fmla="*/ 93 w 260"/>
                <a:gd name="T21" fmla="*/ 187 h 297"/>
                <a:gd name="T22" fmla="*/ 103 w 260"/>
                <a:gd name="T23" fmla="*/ 189 h 297"/>
                <a:gd name="T24" fmla="*/ 113 w 260"/>
                <a:gd name="T25" fmla="*/ 184 h 297"/>
                <a:gd name="T26" fmla="*/ 121 w 260"/>
                <a:gd name="T27" fmla="*/ 171 h 297"/>
                <a:gd name="T28" fmla="*/ 121 w 260"/>
                <a:gd name="T29" fmla="*/ 133 h 297"/>
                <a:gd name="T30" fmla="*/ 154 w 260"/>
                <a:gd name="T31" fmla="*/ 138 h 297"/>
                <a:gd name="T32" fmla="*/ 172 w 260"/>
                <a:gd name="T33" fmla="*/ 148 h 297"/>
                <a:gd name="T34" fmla="*/ 185 w 260"/>
                <a:gd name="T35" fmla="*/ 164 h 297"/>
                <a:gd name="T36" fmla="*/ 190 w 260"/>
                <a:gd name="T37" fmla="*/ 179 h 297"/>
                <a:gd name="T38" fmla="*/ 188 w 260"/>
                <a:gd name="T39" fmla="*/ 194 h 297"/>
                <a:gd name="T40" fmla="*/ 183 w 260"/>
                <a:gd name="T41" fmla="*/ 212 h 297"/>
                <a:gd name="T42" fmla="*/ 167 w 260"/>
                <a:gd name="T43" fmla="*/ 228 h 297"/>
                <a:gd name="T44" fmla="*/ 144 w 260"/>
                <a:gd name="T45" fmla="*/ 235 h 297"/>
                <a:gd name="T46" fmla="*/ 98 w 260"/>
                <a:gd name="T47" fmla="*/ 238 h 297"/>
                <a:gd name="T48" fmla="*/ 95 w 260"/>
                <a:gd name="T49" fmla="*/ 243 h 297"/>
                <a:gd name="T50" fmla="*/ 100 w 260"/>
                <a:gd name="T51" fmla="*/ 251 h 297"/>
                <a:gd name="T52" fmla="*/ 131 w 260"/>
                <a:gd name="T53" fmla="*/ 251 h 297"/>
                <a:gd name="T54" fmla="*/ 152 w 260"/>
                <a:gd name="T55" fmla="*/ 248 h 297"/>
                <a:gd name="T56" fmla="*/ 177 w 260"/>
                <a:gd name="T57" fmla="*/ 235 h 297"/>
                <a:gd name="T58" fmla="*/ 190 w 260"/>
                <a:gd name="T59" fmla="*/ 222 h 297"/>
                <a:gd name="T60" fmla="*/ 201 w 260"/>
                <a:gd name="T61" fmla="*/ 199 h 297"/>
                <a:gd name="T62" fmla="*/ 201 w 260"/>
                <a:gd name="T63" fmla="*/ 166 h 297"/>
                <a:gd name="T64" fmla="*/ 193 w 260"/>
                <a:gd name="T65" fmla="*/ 151 h 297"/>
                <a:gd name="T66" fmla="*/ 175 w 260"/>
                <a:gd name="T67" fmla="*/ 133 h 297"/>
                <a:gd name="T68" fmla="*/ 154 w 260"/>
                <a:gd name="T69" fmla="*/ 125 h 297"/>
                <a:gd name="T70" fmla="*/ 131 w 260"/>
                <a:gd name="T71" fmla="*/ 120 h 297"/>
                <a:gd name="T72" fmla="*/ 106 w 260"/>
                <a:gd name="T73" fmla="*/ 171 h 297"/>
                <a:gd name="T74" fmla="*/ 100 w 260"/>
                <a:gd name="T75" fmla="*/ 174 h 297"/>
                <a:gd name="T76" fmla="*/ 18 w 260"/>
                <a:gd name="T77" fmla="*/ 94 h 297"/>
                <a:gd name="T78" fmla="*/ 103 w 260"/>
                <a:gd name="T79" fmla="*/ 15 h 297"/>
                <a:gd name="T80" fmla="*/ 106 w 260"/>
                <a:gd name="T81" fmla="*/ 20 h 297"/>
                <a:gd name="T82" fmla="*/ 152 w 260"/>
                <a:gd name="T83" fmla="*/ 69 h 297"/>
                <a:gd name="T84" fmla="*/ 190 w 260"/>
                <a:gd name="T85" fmla="*/ 82 h 297"/>
                <a:gd name="T86" fmla="*/ 224 w 260"/>
                <a:gd name="T87" fmla="*/ 107 h 297"/>
                <a:gd name="T88" fmla="*/ 239 w 260"/>
                <a:gd name="T89" fmla="*/ 138 h 297"/>
                <a:gd name="T90" fmla="*/ 247 w 260"/>
                <a:gd name="T91" fmla="*/ 179 h 297"/>
                <a:gd name="T92" fmla="*/ 239 w 260"/>
                <a:gd name="T93" fmla="*/ 212 h 297"/>
                <a:gd name="T94" fmla="*/ 218 w 260"/>
                <a:gd name="T95" fmla="*/ 248 h 297"/>
                <a:gd name="T96" fmla="*/ 183 w 260"/>
                <a:gd name="T97" fmla="*/ 274 h 297"/>
                <a:gd name="T98" fmla="*/ 142 w 260"/>
                <a:gd name="T99" fmla="*/ 284 h 297"/>
                <a:gd name="T100" fmla="*/ 98 w 260"/>
                <a:gd name="T101" fmla="*/ 284 h 297"/>
                <a:gd name="T102" fmla="*/ 95 w 260"/>
                <a:gd name="T103" fmla="*/ 289 h 297"/>
                <a:gd name="T104" fmla="*/ 98 w 260"/>
                <a:gd name="T105" fmla="*/ 294 h 297"/>
                <a:gd name="T106" fmla="*/ 103 w 260"/>
                <a:gd name="T107" fmla="*/ 297 h 297"/>
                <a:gd name="T108" fmla="*/ 172 w 260"/>
                <a:gd name="T109" fmla="*/ 292 h 297"/>
                <a:gd name="T110" fmla="*/ 211 w 260"/>
                <a:gd name="T111" fmla="*/ 274 h 297"/>
                <a:gd name="T112" fmla="*/ 239 w 260"/>
                <a:gd name="T113" fmla="*/ 243 h 297"/>
                <a:gd name="T114" fmla="*/ 254 w 260"/>
                <a:gd name="T115" fmla="*/ 20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0" h="297">
                  <a:moveTo>
                    <a:pt x="260" y="187"/>
                  </a:moveTo>
                  <a:lnTo>
                    <a:pt x="260" y="171"/>
                  </a:lnTo>
                  <a:lnTo>
                    <a:pt x="257" y="153"/>
                  </a:lnTo>
                  <a:lnTo>
                    <a:pt x="252" y="130"/>
                  </a:lnTo>
                  <a:lnTo>
                    <a:pt x="242" y="110"/>
                  </a:lnTo>
                  <a:lnTo>
                    <a:pt x="231" y="97"/>
                  </a:lnTo>
                  <a:lnTo>
                    <a:pt x="221" y="84"/>
                  </a:lnTo>
                  <a:lnTo>
                    <a:pt x="201" y="71"/>
                  </a:lnTo>
                  <a:lnTo>
                    <a:pt x="180" y="64"/>
                  </a:lnTo>
                  <a:lnTo>
                    <a:pt x="157" y="56"/>
                  </a:lnTo>
                  <a:lnTo>
                    <a:pt x="134" y="53"/>
                  </a:lnTo>
                  <a:lnTo>
                    <a:pt x="121" y="53"/>
                  </a:lnTo>
                  <a:lnTo>
                    <a:pt x="118" y="12"/>
                  </a:lnTo>
                  <a:lnTo>
                    <a:pt x="116" y="5"/>
                  </a:lnTo>
                  <a:lnTo>
                    <a:pt x="111" y="2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8" y="0"/>
                  </a:lnTo>
                  <a:lnTo>
                    <a:pt x="93" y="2"/>
                  </a:lnTo>
                  <a:lnTo>
                    <a:pt x="88" y="7"/>
                  </a:lnTo>
                  <a:lnTo>
                    <a:pt x="0" y="94"/>
                  </a:lnTo>
                  <a:lnTo>
                    <a:pt x="93" y="187"/>
                  </a:lnTo>
                  <a:lnTo>
                    <a:pt x="100" y="189"/>
                  </a:lnTo>
                  <a:lnTo>
                    <a:pt x="103" y="189"/>
                  </a:lnTo>
                  <a:lnTo>
                    <a:pt x="108" y="187"/>
                  </a:lnTo>
                  <a:lnTo>
                    <a:pt x="113" y="184"/>
                  </a:lnTo>
                  <a:lnTo>
                    <a:pt x="118" y="176"/>
                  </a:lnTo>
                  <a:lnTo>
                    <a:pt x="121" y="171"/>
                  </a:lnTo>
                  <a:lnTo>
                    <a:pt x="121" y="166"/>
                  </a:lnTo>
                  <a:lnTo>
                    <a:pt x="121" y="133"/>
                  </a:lnTo>
                  <a:lnTo>
                    <a:pt x="142" y="135"/>
                  </a:lnTo>
                  <a:lnTo>
                    <a:pt x="154" y="138"/>
                  </a:lnTo>
                  <a:lnTo>
                    <a:pt x="162" y="140"/>
                  </a:lnTo>
                  <a:lnTo>
                    <a:pt x="172" y="148"/>
                  </a:lnTo>
                  <a:lnTo>
                    <a:pt x="180" y="156"/>
                  </a:lnTo>
                  <a:lnTo>
                    <a:pt x="185" y="164"/>
                  </a:lnTo>
                  <a:lnTo>
                    <a:pt x="188" y="171"/>
                  </a:lnTo>
                  <a:lnTo>
                    <a:pt x="190" y="179"/>
                  </a:lnTo>
                  <a:lnTo>
                    <a:pt x="190" y="184"/>
                  </a:lnTo>
                  <a:lnTo>
                    <a:pt x="188" y="194"/>
                  </a:lnTo>
                  <a:lnTo>
                    <a:pt x="185" y="205"/>
                  </a:lnTo>
                  <a:lnTo>
                    <a:pt x="183" y="212"/>
                  </a:lnTo>
                  <a:lnTo>
                    <a:pt x="177" y="217"/>
                  </a:lnTo>
                  <a:lnTo>
                    <a:pt x="167" y="228"/>
                  </a:lnTo>
                  <a:lnTo>
                    <a:pt x="157" y="230"/>
                  </a:lnTo>
                  <a:lnTo>
                    <a:pt x="144" y="235"/>
                  </a:lnTo>
                  <a:lnTo>
                    <a:pt x="131" y="238"/>
                  </a:lnTo>
                  <a:lnTo>
                    <a:pt x="98" y="238"/>
                  </a:lnTo>
                  <a:lnTo>
                    <a:pt x="95" y="240"/>
                  </a:lnTo>
                  <a:lnTo>
                    <a:pt x="95" y="243"/>
                  </a:lnTo>
                  <a:lnTo>
                    <a:pt x="98" y="248"/>
                  </a:lnTo>
                  <a:lnTo>
                    <a:pt x="100" y="251"/>
                  </a:lnTo>
                  <a:lnTo>
                    <a:pt x="103" y="251"/>
                  </a:lnTo>
                  <a:lnTo>
                    <a:pt x="131" y="251"/>
                  </a:lnTo>
                  <a:lnTo>
                    <a:pt x="142" y="248"/>
                  </a:lnTo>
                  <a:lnTo>
                    <a:pt x="152" y="248"/>
                  </a:lnTo>
                  <a:lnTo>
                    <a:pt x="165" y="243"/>
                  </a:lnTo>
                  <a:lnTo>
                    <a:pt x="177" y="235"/>
                  </a:lnTo>
                  <a:lnTo>
                    <a:pt x="183" y="230"/>
                  </a:lnTo>
                  <a:lnTo>
                    <a:pt x="190" y="222"/>
                  </a:lnTo>
                  <a:lnTo>
                    <a:pt x="195" y="215"/>
                  </a:lnTo>
                  <a:lnTo>
                    <a:pt x="201" y="199"/>
                  </a:lnTo>
                  <a:lnTo>
                    <a:pt x="203" y="184"/>
                  </a:lnTo>
                  <a:lnTo>
                    <a:pt x="201" y="166"/>
                  </a:lnTo>
                  <a:lnTo>
                    <a:pt x="198" y="158"/>
                  </a:lnTo>
                  <a:lnTo>
                    <a:pt x="193" y="151"/>
                  </a:lnTo>
                  <a:lnTo>
                    <a:pt x="183" y="140"/>
                  </a:lnTo>
                  <a:lnTo>
                    <a:pt x="175" y="133"/>
                  </a:lnTo>
                  <a:lnTo>
                    <a:pt x="165" y="128"/>
                  </a:lnTo>
                  <a:lnTo>
                    <a:pt x="154" y="125"/>
                  </a:lnTo>
                  <a:lnTo>
                    <a:pt x="144" y="123"/>
                  </a:lnTo>
                  <a:lnTo>
                    <a:pt x="131" y="120"/>
                  </a:lnTo>
                  <a:lnTo>
                    <a:pt x="106" y="120"/>
                  </a:lnTo>
                  <a:lnTo>
                    <a:pt x="106" y="171"/>
                  </a:lnTo>
                  <a:lnTo>
                    <a:pt x="106" y="171"/>
                  </a:lnTo>
                  <a:lnTo>
                    <a:pt x="100" y="174"/>
                  </a:lnTo>
                  <a:lnTo>
                    <a:pt x="95" y="171"/>
                  </a:lnTo>
                  <a:lnTo>
                    <a:pt x="18" y="94"/>
                  </a:lnTo>
                  <a:lnTo>
                    <a:pt x="100" y="15"/>
                  </a:lnTo>
                  <a:lnTo>
                    <a:pt x="103" y="15"/>
                  </a:lnTo>
                  <a:lnTo>
                    <a:pt x="106" y="15"/>
                  </a:lnTo>
                  <a:lnTo>
                    <a:pt x="106" y="20"/>
                  </a:lnTo>
                  <a:lnTo>
                    <a:pt x="106" y="66"/>
                  </a:lnTo>
                  <a:lnTo>
                    <a:pt x="152" y="69"/>
                  </a:lnTo>
                  <a:lnTo>
                    <a:pt x="167" y="71"/>
                  </a:lnTo>
                  <a:lnTo>
                    <a:pt x="190" y="82"/>
                  </a:lnTo>
                  <a:lnTo>
                    <a:pt x="208" y="92"/>
                  </a:lnTo>
                  <a:lnTo>
                    <a:pt x="224" y="107"/>
                  </a:lnTo>
                  <a:lnTo>
                    <a:pt x="234" y="123"/>
                  </a:lnTo>
                  <a:lnTo>
                    <a:pt x="239" y="138"/>
                  </a:lnTo>
                  <a:lnTo>
                    <a:pt x="244" y="158"/>
                  </a:lnTo>
                  <a:lnTo>
                    <a:pt x="247" y="179"/>
                  </a:lnTo>
                  <a:lnTo>
                    <a:pt x="244" y="197"/>
                  </a:lnTo>
                  <a:lnTo>
                    <a:pt x="239" y="212"/>
                  </a:lnTo>
                  <a:lnTo>
                    <a:pt x="231" y="233"/>
                  </a:lnTo>
                  <a:lnTo>
                    <a:pt x="218" y="248"/>
                  </a:lnTo>
                  <a:lnTo>
                    <a:pt x="203" y="263"/>
                  </a:lnTo>
                  <a:lnTo>
                    <a:pt x="183" y="274"/>
                  </a:lnTo>
                  <a:lnTo>
                    <a:pt x="165" y="279"/>
                  </a:lnTo>
                  <a:lnTo>
                    <a:pt x="142" y="284"/>
                  </a:lnTo>
                  <a:lnTo>
                    <a:pt x="131" y="284"/>
                  </a:lnTo>
                  <a:lnTo>
                    <a:pt x="98" y="284"/>
                  </a:lnTo>
                  <a:lnTo>
                    <a:pt x="95" y="286"/>
                  </a:lnTo>
                  <a:lnTo>
                    <a:pt x="95" y="289"/>
                  </a:lnTo>
                  <a:lnTo>
                    <a:pt x="95" y="292"/>
                  </a:lnTo>
                  <a:lnTo>
                    <a:pt x="98" y="294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49" y="297"/>
                  </a:lnTo>
                  <a:lnTo>
                    <a:pt x="172" y="292"/>
                  </a:lnTo>
                  <a:lnTo>
                    <a:pt x="190" y="284"/>
                  </a:lnTo>
                  <a:lnTo>
                    <a:pt x="211" y="274"/>
                  </a:lnTo>
                  <a:lnTo>
                    <a:pt x="226" y="258"/>
                  </a:lnTo>
                  <a:lnTo>
                    <a:pt x="239" y="243"/>
                  </a:lnTo>
                  <a:lnTo>
                    <a:pt x="249" y="228"/>
                  </a:lnTo>
                  <a:lnTo>
                    <a:pt x="254" y="207"/>
                  </a:lnTo>
                  <a:lnTo>
                    <a:pt x="260" y="1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53">
            <a:extLst>
              <a:ext uri="{FF2B5EF4-FFF2-40B4-BE49-F238E27FC236}">
                <a16:creationId xmlns:a16="http://schemas.microsoft.com/office/drawing/2014/main" id="{EEAD9BBC-B9A5-4B48-8DED-C8890E7149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3221" y="315447"/>
            <a:ext cx="758825" cy="758825"/>
            <a:chOff x="5062" y="198"/>
            <a:chExt cx="478" cy="478"/>
          </a:xfrm>
        </p:grpSpPr>
        <p:sp>
          <p:nvSpPr>
            <p:cNvPr id="63" name="AutoShape 52">
              <a:extLst>
                <a:ext uri="{FF2B5EF4-FFF2-40B4-BE49-F238E27FC236}">
                  <a16:creationId xmlns:a16="http://schemas.microsoft.com/office/drawing/2014/main" id="{10D7CC79-5C5A-43AB-B535-2DFFCBA6E7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62" y="198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4FC76690-E4D3-4187-80C2-4A8AFDFC9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4" y="200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id="{2CD2BB27-10CA-4EFE-8D52-4351B0AE4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0" y="284"/>
              <a:ext cx="284" cy="309"/>
            </a:xfrm>
            <a:custGeom>
              <a:avLst/>
              <a:gdLst>
                <a:gd name="T0" fmla="*/ 111 w 116"/>
                <a:gd name="T1" fmla="*/ 70 h 126"/>
                <a:gd name="T2" fmla="*/ 68 w 116"/>
                <a:gd name="T3" fmla="*/ 70 h 126"/>
                <a:gd name="T4" fmla="*/ 68 w 116"/>
                <a:gd name="T5" fmla="*/ 54 h 126"/>
                <a:gd name="T6" fmla="*/ 111 w 116"/>
                <a:gd name="T7" fmla="*/ 54 h 126"/>
                <a:gd name="T8" fmla="*/ 111 w 116"/>
                <a:gd name="T9" fmla="*/ 70 h 126"/>
                <a:gd name="T10" fmla="*/ 87 w 116"/>
                <a:gd name="T11" fmla="*/ 84 h 126"/>
                <a:gd name="T12" fmla="*/ 84 w 116"/>
                <a:gd name="T13" fmla="*/ 86 h 126"/>
                <a:gd name="T14" fmla="*/ 39 w 116"/>
                <a:gd name="T15" fmla="*/ 86 h 126"/>
                <a:gd name="T16" fmla="*/ 39 w 116"/>
                <a:gd name="T17" fmla="*/ 55 h 126"/>
                <a:gd name="T18" fmla="*/ 71 w 116"/>
                <a:gd name="T19" fmla="*/ 37 h 126"/>
                <a:gd name="T20" fmla="*/ 84 w 116"/>
                <a:gd name="T21" fmla="*/ 37 h 126"/>
                <a:gd name="T22" fmla="*/ 87 w 116"/>
                <a:gd name="T23" fmla="*/ 40 h 126"/>
                <a:gd name="T24" fmla="*/ 87 w 116"/>
                <a:gd name="T25" fmla="*/ 49 h 126"/>
                <a:gd name="T26" fmla="*/ 65 w 116"/>
                <a:gd name="T27" fmla="*/ 49 h 126"/>
                <a:gd name="T28" fmla="*/ 63 w 116"/>
                <a:gd name="T29" fmla="*/ 51 h 126"/>
                <a:gd name="T30" fmla="*/ 63 w 116"/>
                <a:gd name="T31" fmla="*/ 72 h 126"/>
                <a:gd name="T32" fmla="*/ 65 w 116"/>
                <a:gd name="T33" fmla="*/ 75 h 126"/>
                <a:gd name="T34" fmla="*/ 87 w 116"/>
                <a:gd name="T35" fmla="*/ 75 h 126"/>
                <a:gd name="T36" fmla="*/ 87 w 116"/>
                <a:gd name="T37" fmla="*/ 84 h 126"/>
                <a:gd name="T38" fmla="*/ 56 w 116"/>
                <a:gd name="T39" fmla="*/ 112 h 126"/>
                <a:gd name="T40" fmla="*/ 36 w 116"/>
                <a:gd name="T41" fmla="*/ 121 h 126"/>
                <a:gd name="T42" fmla="*/ 17 w 116"/>
                <a:gd name="T43" fmla="*/ 112 h 126"/>
                <a:gd name="T44" fmla="*/ 36 w 116"/>
                <a:gd name="T45" fmla="*/ 103 h 126"/>
                <a:gd name="T46" fmla="*/ 56 w 116"/>
                <a:gd name="T47" fmla="*/ 112 h 126"/>
                <a:gd name="T48" fmla="*/ 36 w 116"/>
                <a:gd name="T49" fmla="*/ 19 h 126"/>
                <a:gd name="T50" fmla="*/ 65 w 116"/>
                <a:gd name="T51" fmla="*/ 35 h 126"/>
                <a:gd name="T52" fmla="*/ 36 w 116"/>
                <a:gd name="T53" fmla="*/ 51 h 126"/>
                <a:gd name="T54" fmla="*/ 8 w 116"/>
                <a:gd name="T55" fmla="*/ 35 h 126"/>
                <a:gd name="T56" fmla="*/ 36 w 116"/>
                <a:gd name="T57" fmla="*/ 19 h 126"/>
                <a:gd name="T58" fmla="*/ 113 w 116"/>
                <a:gd name="T59" fmla="*/ 49 h 126"/>
                <a:gd name="T60" fmla="*/ 92 w 116"/>
                <a:gd name="T61" fmla="*/ 49 h 126"/>
                <a:gd name="T62" fmla="*/ 92 w 116"/>
                <a:gd name="T63" fmla="*/ 40 h 126"/>
                <a:gd name="T64" fmla="*/ 84 w 116"/>
                <a:gd name="T65" fmla="*/ 33 h 126"/>
                <a:gd name="T66" fmla="*/ 71 w 116"/>
                <a:gd name="T67" fmla="*/ 33 h 126"/>
                <a:gd name="T68" fmla="*/ 39 w 116"/>
                <a:gd name="T69" fmla="*/ 15 h 126"/>
                <a:gd name="T70" fmla="*/ 39 w 116"/>
                <a:gd name="T71" fmla="*/ 0 h 126"/>
                <a:gd name="T72" fmla="*/ 34 w 116"/>
                <a:gd name="T73" fmla="*/ 0 h 126"/>
                <a:gd name="T74" fmla="*/ 34 w 116"/>
                <a:gd name="T75" fmla="*/ 15 h 126"/>
                <a:gd name="T76" fmla="*/ 2 w 116"/>
                <a:gd name="T77" fmla="*/ 33 h 126"/>
                <a:gd name="T78" fmla="*/ 0 w 116"/>
                <a:gd name="T79" fmla="*/ 35 h 126"/>
                <a:gd name="T80" fmla="*/ 2 w 116"/>
                <a:gd name="T81" fmla="*/ 37 h 126"/>
                <a:gd name="T82" fmla="*/ 34 w 116"/>
                <a:gd name="T83" fmla="*/ 55 h 126"/>
                <a:gd name="T84" fmla="*/ 34 w 116"/>
                <a:gd name="T85" fmla="*/ 98 h 126"/>
                <a:gd name="T86" fmla="*/ 12 w 116"/>
                <a:gd name="T87" fmla="*/ 112 h 126"/>
                <a:gd name="T88" fmla="*/ 36 w 116"/>
                <a:gd name="T89" fmla="*/ 126 h 126"/>
                <a:gd name="T90" fmla="*/ 60 w 116"/>
                <a:gd name="T91" fmla="*/ 112 h 126"/>
                <a:gd name="T92" fmla="*/ 39 w 116"/>
                <a:gd name="T93" fmla="*/ 98 h 126"/>
                <a:gd name="T94" fmla="*/ 39 w 116"/>
                <a:gd name="T95" fmla="*/ 91 h 126"/>
                <a:gd name="T96" fmla="*/ 84 w 116"/>
                <a:gd name="T97" fmla="*/ 91 h 126"/>
                <a:gd name="T98" fmla="*/ 92 w 116"/>
                <a:gd name="T99" fmla="*/ 84 h 126"/>
                <a:gd name="T100" fmla="*/ 92 w 116"/>
                <a:gd name="T101" fmla="*/ 75 h 126"/>
                <a:gd name="T102" fmla="*/ 113 w 116"/>
                <a:gd name="T103" fmla="*/ 75 h 126"/>
                <a:gd name="T104" fmla="*/ 116 w 116"/>
                <a:gd name="T105" fmla="*/ 72 h 126"/>
                <a:gd name="T106" fmla="*/ 116 w 116"/>
                <a:gd name="T107" fmla="*/ 51 h 126"/>
                <a:gd name="T108" fmla="*/ 113 w 116"/>
                <a:gd name="T109" fmla="*/ 4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6">
                  <a:moveTo>
                    <a:pt x="111" y="70"/>
                  </a:moveTo>
                  <a:cubicBezTo>
                    <a:pt x="68" y="70"/>
                    <a:pt x="68" y="70"/>
                    <a:pt x="68" y="70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111" y="54"/>
                    <a:pt x="111" y="54"/>
                    <a:pt x="111" y="54"/>
                  </a:cubicBezTo>
                  <a:lnTo>
                    <a:pt x="111" y="70"/>
                  </a:lnTo>
                  <a:close/>
                  <a:moveTo>
                    <a:pt x="87" y="84"/>
                  </a:moveTo>
                  <a:cubicBezTo>
                    <a:pt x="87" y="85"/>
                    <a:pt x="86" y="86"/>
                    <a:pt x="84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6" y="37"/>
                    <a:pt x="87" y="38"/>
                    <a:pt x="87" y="40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4" y="49"/>
                    <a:pt x="63" y="50"/>
                    <a:pt x="63" y="5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4"/>
                    <a:pt x="64" y="75"/>
                    <a:pt x="65" y="75"/>
                  </a:cubicBezTo>
                  <a:cubicBezTo>
                    <a:pt x="87" y="75"/>
                    <a:pt x="87" y="75"/>
                    <a:pt x="87" y="75"/>
                  </a:cubicBezTo>
                  <a:lnTo>
                    <a:pt x="87" y="84"/>
                  </a:lnTo>
                  <a:close/>
                  <a:moveTo>
                    <a:pt x="56" y="112"/>
                  </a:moveTo>
                  <a:cubicBezTo>
                    <a:pt x="56" y="116"/>
                    <a:pt x="48" y="121"/>
                    <a:pt x="36" y="121"/>
                  </a:cubicBezTo>
                  <a:cubicBezTo>
                    <a:pt x="25" y="121"/>
                    <a:pt x="17" y="116"/>
                    <a:pt x="17" y="112"/>
                  </a:cubicBezTo>
                  <a:cubicBezTo>
                    <a:pt x="17" y="108"/>
                    <a:pt x="25" y="103"/>
                    <a:pt x="36" y="103"/>
                  </a:cubicBezTo>
                  <a:cubicBezTo>
                    <a:pt x="48" y="103"/>
                    <a:pt x="56" y="108"/>
                    <a:pt x="56" y="112"/>
                  </a:cubicBezTo>
                  <a:moveTo>
                    <a:pt x="36" y="19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8" y="35"/>
                    <a:pt x="8" y="35"/>
                    <a:pt x="8" y="35"/>
                  </a:cubicBezTo>
                  <a:lnTo>
                    <a:pt x="36" y="19"/>
                  </a:lnTo>
                  <a:close/>
                  <a:moveTo>
                    <a:pt x="113" y="49"/>
                  </a:moveTo>
                  <a:cubicBezTo>
                    <a:pt x="92" y="49"/>
                    <a:pt x="92" y="49"/>
                    <a:pt x="92" y="49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36"/>
                    <a:pt x="88" y="33"/>
                    <a:pt x="84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3"/>
                    <a:pt x="0" y="34"/>
                    <a:pt x="0" y="35"/>
                  </a:cubicBezTo>
                  <a:cubicBezTo>
                    <a:pt x="0" y="36"/>
                    <a:pt x="1" y="37"/>
                    <a:pt x="2" y="37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22" y="99"/>
                    <a:pt x="12" y="105"/>
                    <a:pt x="12" y="112"/>
                  </a:cubicBezTo>
                  <a:cubicBezTo>
                    <a:pt x="12" y="120"/>
                    <a:pt x="23" y="126"/>
                    <a:pt x="36" y="126"/>
                  </a:cubicBezTo>
                  <a:cubicBezTo>
                    <a:pt x="50" y="126"/>
                    <a:pt x="60" y="120"/>
                    <a:pt x="60" y="112"/>
                  </a:cubicBezTo>
                  <a:cubicBezTo>
                    <a:pt x="60" y="105"/>
                    <a:pt x="51" y="99"/>
                    <a:pt x="39" y="98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8" y="91"/>
                    <a:pt x="92" y="88"/>
                    <a:pt x="92" y="84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5" y="75"/>
                    <a:pt x="116" y="74"/>
                    <a:pt x="116" y="72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6" y="50"/>
                    <a:pt x="115" y="49"/>
                    <a:pt x="113" y="4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6">
              <a:extLst>
                <a:ext uri="{FF2B5EF4-FFF2-40B4-BE49-F238E27FC236}">
                  <a16:creationId xmlns:a16="http://schemas.microsoft.com/office/drawing/2014/main" id="{0406449B-86A6-47A2-B95B-4A6372E50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0" y="284"/>
              <a:ext cx="284" cy="309"/>
            </a:xfrm>
            <a:custGeom>
              <a:avLst/>
              <a:gdLst>
                <a:gd name="T0" fmla="*/ 111 w 116"/>
                <a:gd name="T1" fmla="*/ 70 h 126"/>
                <a:gd name="T2" fmla="*/ 68 w 116"/>
                <a:gd name="T3" fmla="*/ 70 h 126"/>
                <a:gd name="T4" fmla="*/ 68 w 116"/>
                <a:gd name="T5" fmla="*/ 54 h 126"/>
                <a:gd name="T6" fmla="*/ 111 w 116"/>
                <a:gd name="T7" fmla="*/ 54 h 126"/>
                <a:gd name="T8" fmla="*/ 111 w 116"/>
                <a:gd name="T9" fmla="*/ 70 h 126"/>
                <a:gd name="T10" fmla="*/ 87 w 116"/>
                <a:gd name="T11" fmla="*/ 84 h 126"/>
                <a:gd name="T12" fmla="*/ 84 w 116"/>
                <a:gd name="T13" fmla="*/ 86 h 126"/>
                <a:gd name="T14" fmla="*/ 39 w 116"/>
                <a:gd name="T15" fmla="*/ 86 h 126"/>
                <a:gd name="T16" fmla="*/ 39 w 116"/>
                <a:gd name="T17" fmla="*/ 55 h 126"/>
                <a:gd name="T18" fmla="*/ 71 w 116"/>
                <a:gd name="T19" fmla="*/ 37 h 126"/>
                <a:gd name="T20" fmla="*/ 84 w 116"/>
                <a:gd name="T21" fmla="*/ 37 h 126"/>
                <a:gd name="T22" fmla="*/ 87 w 116"/>
                <a:gd name="T23" fmla="*/ 40 h 126"/>
                <a:gd name="T24" fmla="*/ 87 w 116"/>
                <a:gd name="T25" fmla="*/ 49 h 126"/>
                <a:gd name="T26" fmla="*/ 65 w 116"/>
                <a:gd name="T27" fmla="*/ 49 h 126"/>
                <a:gd name="T28" fmla="*/ 63 w 116"/>
                <a:gd name="T29" fmla="*/ 51 h 126"/>
                <a:gd name="T30" fmla="*/ 63 w 116"/>
                <a:gd name="T31" fmla="*/ 72 h 126"/>
                <a:gd name="T32" fmla="*/ 65 w 116"/>
                <a:gd name="T33" fmla="*/ 75 h 126"/>
                <a:gd name="T34" fmla="*/ 87 w 116"/>
                <a:gd name="T35" fmla="*/ 75 h 126"/>
                <a:gd name="T36" fmla="*/ 87 w 116"/>
                <a:gd name="T37" fmla="*/ 84 h 126"/>
                <a:gd name="T38" fmla="*/ 56 w 116"/>
                <a:gd name="T39" fmla="*/ 112 h 126"/>
                <a:gd name="T40" fmla="*/ 36 w 116"/>
                <a:gd name="T41" fmla="*/ 121 h 126"/>
                <a:gd name="T42" fmla="*/ 17 w 116"/>
                <a:gd name="T43" fmla="*/ 112 h 126"/>
                <a:gd name="T44" fmla="*/ 36 w 116"/>
                <a:gd name="T45" fmla="*/ 103 h 126"/>
                <a:gd name="T46" fmla="*/ 56 w 116"/>
                <a:gd name="T47" fmla="*/ 112 h 126"/>
                <a:gd name="T48" fmla="*/ 36 w 116"/>
                <a:gd name="T49" fmla="*/ 19 h 126"/>
                <a:gd name="T50" fmla="*/ 65 w 116"/>
                <a:gd name="T51" fmla="*/ 35 h 126"/>
                <a:gd name="T52" fmla="*/ 36 w 116"/>
                <a:gd name="T53" fmla="*/ 51 h 126"/>
                <a:gd name="T54" fmla="*/ 8 w 116"/>
                <a:gd name="T55" fmla="*/ 35 h 126"/>
                <a:gd name="T56" fmla="*/ 36 w 116"/>
                <a:gd name="T57" fmla="*/ 19 h 126"/>
                <a:gd name="T58" fmla="*/ 113 w 116"/>
                <a:gd name="T59" fmla="*/ 49 h 126"/>
                <a:gd name="T60" fmla="*/ 92 w 116"/>
                <a:gd name="T61" fmla="*/ 49 h 126"/>
                <a:gd name="T62" fmla="*/ 92 w 116"/>
                <a:gd name="T63" fmla="*/ 40 h 126"/>
                <a:gd name="T64" fmla="*/ 84 w 116"/>
                <a:gd name="T65" fmla="*/ 33 h 126"/>
                <a:gd name="T66" fmla="*/ 71 w 116"/>
                <a:gd name="T67" fmla="*/ 33 h 126"/>
                <a:gd name="T68" fmla="*/ 39 w 116"/>
                <a:gd name="T69" fmla="*/ 15 h 126"/>
                <a:gd name="T70" fmla="*/ 39 w 116"/>
                <a:gd name="T71" fmla="*/ 0 h 126"/>
                <a:gd name="T72" fmla="*/ 34 w 116"/>
                <a:gd name="T73" fmla="*/ 0 h 126"/>
                <a:gd name="T74" fmla="*/ 34 w 116"/>
                <a:gd name="T75" fmla="*/ 15 h 126"/>
                <a:gd name="T76" fmla="*/ 2 w 116"/>
                <a:gd name="T77" fmla="*/ 33 h 126"/>
                <a:gd name="T78" fmla="*/ 0 w 116"/>
                <a:gd name="T79" fmla="*/ 35 h 126"/>
                <a:gd name="T80" fmla="*/ 2 w 116"/>
                <a:gd name="T81" fmla="*/ 37 h 126"/>
                <a:gd name="T82" fmla="*/ 34 w 116"/>
                <a:gd name="T83" fmla="*/ 55 h 126"/>
                <a:gd name="T84" fmla="*/ 34 w 116"/>
                <a:gd name="T85" fmla="*/ 98 h 126"/>
                <a:gd name="T86" fmla="*/ 12 w 116"/>
                <a:gd name="T87" fmla="*/ 112 h 126"/>
                <a:gd name="T88" fmla="*/ 36 w 116"/>
                <a:gd name="T89" fmla="*/ 126 h 126"/>
                <a:gd name="T90" fmla="*/ 60 w 116"/>
                <a:gd name="T91" fmla="*/ 112 h 126"/>
                <a:gd name="T92" fmla="*/ 39 w 116"/>
                <a:gd name="T93" fmla="*/ 98 h 126"/>
                <a:gd name="T94" fmla="*/ 39 w 116"/>
                <a:gd name="T95" fmla="*/ 91 h 126"/>
                <a:gd name="T96" fmla="*/ 84 w 116"/>
                <a:gd name="T97" fmla="*/ 91 h 126"/>
                <a:gd name="T98" fmla="*/ 92 w 116"/>
                <a:gd name="T99" fmla="*/ 84 h 126"/>
                <a:gd name="T100" fmla="*/ 92 w 116"/>
                <a:gd name="T101" fmla="*/ 75 h 126"/>
                <a:gd name="T102" fmla="*/ 113 w 116"/>
                <a:gd name="T103" fmla="*/ 75 h 126"/>
                <a:gd name="T104" fmla="*/ 116 w 116"/>
                <a:gd name="T105" fmla="*/ 72 h 126"/>
                <a:gd name="T106" fmla="*/ 116 w 116"/>
                <a:gd name="T107" fmla="*/ 51 h 126"/>
                <a:gd name="T108" fmla="*/ 113 w 116"/>
                <a:gd name="T109" fmla="*/ 4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6">
                  <a:moveTo>
                    <a:pt x="111" y="70"/>
                  </a:moveTo>
                  <a:cubicBezTo>
                    <a:pt x="68" y="70"/>
                    <a:pt x="68" y="70"/>
                    <a:pt x="68" y="70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111" y="54"/>
                    <a:pt x="111" y="54"/>
                    <a:pt x="111" y="54"/>
                  </a:cubicBezTo>
                  <a:lnTo>
                    <a:pt x="111" y="70"/>
                  </a:lnTo>
                  <a:close/>
                  <a:moveTo>
                    <a:pt x="87" y="84"/>
                  </a:moveTo>
                  <a:cubicBezTo>
                    <a:pt x="87" y="85"/>
                    <a:pt x="86" y="86"/>
                    <a:pt x="84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6" y="37"/>
                    <a:pt x="87" y="38"/>
                    <a:pt x="87" y="40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4" y="49"/>
                    <a:pt x="63" y="50"/>
                    <a:pt x="63" y="5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4"/>
                    <a:pt x="64" y="75"/>
                    <a:pt x="65" y="75"/>
                  </a:cubicBezTo>
                  <a:cubicBezTo>
                    <a:pt x="87" y="75"/>
                    <a:pt x="87" y="75"/>
                    <a:pt x="87" y="75"/>
                  </a:cubicBezTo>
                  <a:lnTo>
                    <a:pt x="87" y="84"/>
                  </a:lnTo>
                  <a:close/>
                  <a:moveTo>
                    <a:pt x="56" y="112"/>
                  </a:moveTo>
                  <a:cubicBezTo>
                    <a:pt x="56" y="116"/>
                    <a:pt x="48" y="121"/>
                    <a:pt x="36" y="121"/>
                  </a:cubicBezTo>
                  <a:cubicBezTo>
                    <a:pt x="25" y="121"/>
                    <a:pt x="17" y="116"/>
                    <a:pt x="17" y="112"/>
                  </a:cubicBezTo>
                  <a:cubicBezTo>
                    <a:pt x="17" y="108"/>
                    <a:pt x="25" y="103"/>
                    <a:pt x="36" y="103"/>
                  </a:cubicBezTo>
                  <a:cubicBezTo>
                    <a:pt x="48" y="103"/>
                    <a:pt x="56" y="108"/>
                    <a:pt x="56" y="112"/>
                  </a:cubicBezTo>
                  <a:moveTo>
                    <a:pt x="36" y="19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8" y="35"/>
                    <a:pt x="8" y="35"/>
                    <a:pt x="8" y="35"/>
                  </a:cubicBezTo>
                  <a:lnTo>
                    <a:pt x="36" y="19"/>
                  </a:lnTo>
                  <a:close/>
                  <a:moveTo>
                    <a:pt x="113" y="49"/>
                  </a:moveTo>
                  <a:cubicBezTo>
                    <a:pt x="92" y="49"/>
                    <a:pt x="92" y="49"/>
                    <a:pt x="92" y="49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36"/>
                    <a:pt x="88" y="33"/>
                    <a:pt x="84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3"/>
                    <a:pt x="0" y="34"/>
                    <a:pt x="0" y="35"/>
                  </a:cubicBezTo>
                  <a:cubicBezTo>
                    <a:pt x="0" y="36"/>
                    <a:pt x="1" y="37"/>
                    <a:pt x="2" y="37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22" y="99"/>
                    <a:pt x="12" y="105"/>
                    <a:pt x="12" y="112"/>
                  </a:cubicBezTo>
                  <a:cubicBezTo>
                    <a:pt x="12" y="120"/>
                    <a:pt x="23" y="126"/>
                    <a:pt x="36" y="126"/>
                  </a:cubicBezTo>
                  <a:cubicBezTo>
                    <a:pt x="50" y="126"/>
                    <a:pt x="60" y="120"/>
                    <a:pt x="60" y="112"/>
                  </a:cubicBezTo>
                  <a:cubicBezTo>
                    <a:pt x="60" y="105"/>
                    <a:pt x="51" y="99"/>
                    <a:pt x="39" y="98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8" y="91"/>
                    <a:pt x="92" y="88"/>
                    <a:pt x="92" y="84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5" y="75"/>
                    <a:pt x="116" y="74"/>
                    <a:pt x="116" y="72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6" y="50"/>
                    <a:pt x="115" y="49"/>
                    <a:pt x="113" y="4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59">
            <a:extLst>
              <a:ext uri="{FF2B5EF4-FFF2-40B4-BE49-F238E27FC236}">
                <a16:creationId xmlns:a16="http://schemas.microsoft.com/office/drawing/2014/main" id="{846B37E8-E78F-4296-AB5C-515396F979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26275" y="287665"/>
            <a:ext cx="814388" cy="814388"/>
            <a:chOff x="4426" y="198"/>
            <a:chExt cx="513" cy="513"/>
          </a:xfrm>
        </p:grpSpPr>
        <p:sp>
          <p:nvSpPr>
            <p:cNvPr id="68" name="AutoShape 58">
              <a:extLst>
                <a:ext uri="{FF2B5EF4-FFF2-40B4-BE49-F238E27FC236}">
                  <a16:creationId xmlns:a16="http://schemas.microsoft.com/office/drawing/2014/main" id="{95ABC973-D7C5-4A39-840A-68A63F526C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6" y="198"/>
              <a:ext cx="513" cy="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60">
              <a:extLst>
                <a:ext uri="{FF2B5EF4-FFF2-40B4-BE49-F238E27FC236}">
                  <a16:creationId xmlns:a16="http://schemas.microsoft.com/office/drawing/2014/main" id="{848F4902-F144-4025-8C38-57C24306D2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6" y="198"/>
              <a:ext cx="515" cy="515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F8CA413A-D61E-4E0A-BA3E-ACEA2B3C04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" y="215"/>
              <a:ext cx="481" cy="481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C9B46E05-900F-4D09-B11B-EC757E93AF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" y="299"/>
              <a:ext cx="287" cy="313"/>
            </a:xfrm>
            <a:custGeom>
              <a:avLst/>
              <a:gdLst>
                <a:gd name="T0" fmla="*/ 111 w 116"/>
                <a:gd name="T1" fmla="*/ 70 h 126"/>
                <a:gd name="T2" fmla="*/ 68 w 116"/>
                <a:gd name="T3" fmla="*/ 70 h 126"/>
                <a:gd name="T4" fmla="*/ 68 w 116"/>
                <a:gd name="T5" fmla="*/ 54 h 126"/>
                <a:gd name="T6" fmla="*/ 111 w 116"/>
                <a:gd name="T7" fmla="*/ 54 h 126"/>
                <a:gd name="T8" fmla="*/ 111 w 116"/>
                <a:gd name="T9" fmla="*/ 70 h 126"/>
                <a:gd name="T10" fmla="*/ 87 w 116"/>
                <a:gd name="T11" fmla="*/ 84 h 126"/>
                <a:gd name="T12" fmla="*/ 84 w 116"/>
                <a:gd name="T13" fmla="*/ 86 h 126"/>
                <a:gd name="T14" fmla="*/ 39 w 116"/>
                <a:gd name="T15" fmla="*/ 86 h 126"/>
                <a:gd name="T16" fmla="*/ 39 w 116"/>
                <a:gd name="T17" fmla="*/ 55 h 126"/>
                <a:gd name="T18" fmla="*/ 71 w 116"/>
                <a:gd name="T19" fmla="*/ 37 h 126"/>
                <a:gd name="T20" fmla="*/ 84 w 116"/>
                <a:gd name="T21" fmla="*/ 37 h 126"/>
                <a:gd name="T22" fmla="*/ 87 w 116"/>
                <a:gd name="T23" fmla="*/ 40 h 126"/>
                <a:gd name="T24" fmla="*/ 87 w 116"/>
                <a:gd name="T25" fmla="*/ 49 h 126"/>
                <a:gd name="T26" fmla="*/ 65 w 116"/>
                <a:gd name="T27" fmla="*/ 49 h 126"/>
                <a:gd name="T28" fmla="*/ 63 w 116"/>
                <a:gd name="T29" fmla="*/ 51 h 126"/>
                <a:gd name="T30" fmla="*/ 63 w 116"/>
                <a:gd name="T31" fmla="*/ 72 h 126"/>
                <a:gd name="T32" fmla="*/ 65 w 116"/>
                <a:gd name="T33" fmla="*/ 75 h 126"/>
                <a:gd name="T34" fmla="*/ 87 w 116"/>
                <a:gd name="T35" fmla="*/ 75 h 126"/>
                <a:gd name="T36" fmla="*/ 87 w 116"/>
                <a:gd name="T37" fmla="*/ 84 h 126"/>
                <a:gd name="T38" fmla="*/ 56 w 116"/>
                <a:gd name="T39" fmla="*/ 112 h 126"/>
                <a:gd name="T40" fmla="*/ 36 w 116"/>
                <a:gd name="T41" fmla="*/ 121 h 126"/>
                <a:gd name="T42" fmla="*/ 17 w 116"/>
                <a:gd name="T43" fmla="*/ 112 h 126"/>
                <a:gd name="T44" fmla="*/ 36 w 116"/>
                <a:gd name="T45" fmla="*/ 103 h 126"/>
                <a:gd name="T46" fmla="*/ 56 w 116"/>
                <a:gd name="T47" fmla="*/ 112 h 126"/>
                <a:gd name="T48" fmla="*/ 36 w 116"/>
                <a:gd name="T49" fmla="*/ 19 h 126"/>
                <a:gd name="T50" fmla="*/ 65 w 116"/>
                <a:gd name="T51" fmla="*/ 35 h 126"/>
                <a:gd name="T52" fmla="*/ 36 w 116"/>
                <a:gd name="T53" fmla="*/ 51 h 126"/>
                <a:gd name="T54" fmla="*/ 8 w 116"/>
                <a:gd name="T55" fmla="*/ 35 h 126"/>
                <a:gd name="T56" fmla="*/ 36 w 116"/>
                <a:gd name="T57" fmla="*/ 19 h 126"/>
                <a:gd name="T58" fmla="*/ 113 w 116"/>
                <a:gd name="T59" fmla="*/ 49 h 126"/>
                <a:gd name="T60" fmla="*/ 92 w 116"/>
                <a:gd name="T61" fmla="*/ 49 h 126"/>
                <a:gd name="T62" fmla="*/ 92 w 116"/>
                <a:gd name="T63" fmla="*/ 40 h 126"/>
                <a:gd name="T64" fmla="*/ 84 w 116"/>
                <a:gd name="T65" fmla="*/ 33 h 126"/>
                <a:gd name="T66" fmla="*/ 71 w 116"/>
                <a:gd name="T67" fmla="*/ 33 h 126"/>
                <a:gd name="T68" fmla="*/ 39 w 116"/>
                <a:gd name="T69" fmla="*/ 15 h 126"/>
                <a:gd name="T70" fmla="*/ 39 w 116"/>
                <a:gd name="T71" fmla="*/ 0 h 126"/>
                <a:gd name="T72" fmla="*/ 34 w 116"/>
                <a:gd name="T73" fmla="*/ 0 h 126"/>
                <a:gd name="T74" fmla="*/ 34 w 116"/>
                <a:gd name="T75" fmla="*/ 15 h 126"/>
                <a:gd name="T76" fmla="*/ 2 w 116"/>
                <a:gd name="T77" fmla="*/ 33 h 126"/>
                <a:gd name="T78" fmla="*/ 0 w 116"/>
                <a:gd name="T79" fmla="*/ 35 h 126"/>
                <a:gd name="T80" fmla="*/ 2 w 116"/>
                <a:gd name="T81" fmla="*/ 37 h 126"/>
                <a:gd name="T82" fmla="*/ 34 w 116"/>
                <a:gd name="T83" fmla="*/ 55 h 126"/>
                <a:gd name="T84" fmla="*/ 34 w 116"/>
                <a:gd name="T85" fmla="*/ 98 h 126"/>
                <a:gd name="T86" fmla="*/ 12 w 116"/>
                <a:gd name="T87" fmla="*/ 112 h 126"/>
                <a:gd name="T88" fmla="*/ 36 w 116"/>
                <a:gd name="T89" fmla="*/ 126 h 126"/>
                <a:gd name="T90" fmla="*/ 60 w 116"/>
                <a:gd name="T91" fmla="*/ 112 h 126"/>
                <a:gd name="T92" fmla="*/ 39 w 116"/>
                <a:gd name="T93" fmla="*/ 98 h 126"/>
                <a:gd name="T94" fmla="*/ 39 w 116"/>
                <a:gd name="T95" fmla="*/ 91 h 126"/>
                <a:gd name="T96" fmla="*/ 84 w 116"/>
                <a:gd name="T97" fmla="*/ 91 h 126"/>
                <a:gd name="T98" fmla="*/ 92 w 116"/>
                <a:gd name="T99" fmla="*/ 84 h 126"/>
                <a:gd name="T100" fmla="*/ 92 w 116"/>
                <a:gd name="T101" fmla="*/ 75 h 126"/>
                <a:gd name="T102" fmla="*/ 113 w 116"/>
                <a:gd name="T103" fmla="*/ 75 h 126"/>
                <a:gd name="T104" fmla="*/ 116 w 116"/>
                <a:gd name="T105" fmla="*/ 72 h 126"/>
                <a:gd name="T106" fmla="*/ 116 w 116"/>
                <a:gd name="T107" fmla="*/ 51 h 126"/>
                <a:gd name="T108" fmla="*/ 113 w 116"/>
                <a:gd name="T109" fmla="*/ 4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" h="126">
                  <a:moveTo>
                    <a:pt x="111" y="70"/>
                  </a:moveTo>
                  <a:cubicBezTo>
                    <a:pt x="68" y="70"/>
                    <a:pt x="68" y="70"/>
                    <a:pt x="68" y="70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111" y="54"/>
                    <a:pt x="111" y="54"/>
                    <a:pt x="111" y="54"/>
                  </a:cubicBezTo>
                  <a:lnTo>
                    <a:pt x="111" y="70"/>
                  </a:lnTo>
                  <a:close/>
                  <a:moveTo>
                    <a:pt x="87" y="84"/>
                  </a:moveTo>
                  <a:cubicBezTo>
                    <a:pt x="87" y="85"/>
                    <a:pt x="86" y="86"/>
                    <a:pt x="84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6" y="37"/>
                    <a:pt x="87" y="38"/>
                    <a:pt x="87" y="40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4" y="49"/>
                    <a:pt x="63" y="50"/>
                    <a:pt x="63" y="5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4"/>
                    <a:pt x="64" y="75"/>
                    <a:pt x="65" y="75"/>
                  </a:cubicBezTo>
                  <a:cubicBezTo>
                    <a:pt x="87" y="75"/>
                    <a:pt x="87" y="75"/>
                    <a:pt x="87" y="75"/>
                  </a:cubicBezTo>
                  <a:lnTo>
                    <a:pt x="87" y="84"/>
                  </a:lnTo>
                  <a:close/>
                  <a:moveTo>
                    <a:pt x="56" y="112"/>
                  </a:moveTo>
                  <a:cubicBezTo>
                    <a:pt x="56" y="116"/>
                    <a:pt x="48" y="121"/>
                    <a:pt x="36" y="121"/>
                  </a:cubicBezTo>
                  <a:cubicBezTo>
                    <a:pt x="25" y="121"/>
                    <a:pt x="17" y="116"/>
                    <a:pt x="17" y="112"/>
                  </a:cubicBezTo>
                  <a:cubicBezTo>
                    <a:pt x="17" y="108"/>
                    <a:pt x="25" y="103"/>
                    <a:pt x="36" y="103"/>
                  </a:cubicBezTo>
                  <a:cubicBezTo>
                    <a:pt x="48" y="103"/>
                    <a:pt x="56" y="108"/>
                    <a:pt x="56" y="112"/>
                  </a:cubicBezTo>
                  <a:moveTo>
                    <a:pt x="36" y="19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8" y="35"/>
                    <a:pt x="8" y="35"/>
                    <a:pt x="8" y="35"/>
                  </a:cubicBezTo>
                  <a:lnTo>
                    <a:pt x="36" y="19"/>
                  </a:lnTo>
                  <a:close/>
                  <a:moveTo>
                    <a:pt x="113" y="49"/>
                  </a:moveTo>
                  <a:cubicBezTo>
                    <a:pt x="92" y="49"/>
                    <a:pt x="92" y="49"/>
                    <a:pt x="92" y="49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36"/>
                    <a:pt x="88" y="33"/>
                    <a:pt x="84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3"/>
                    <a:pt x="0" y="34"/>
                    <a:pt x="0" y="35"/>
                  </a:cubicBezTo>
                  <a:cubicBezTo>
                    <a:pt x="0" y="36"/>
                    <a:pt x="1" y="37"/>
                    <a:pt x="2" y="37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22" y="99"/>
                    <a:pt x="12" y="105"/>
                    <a:pt x="12" y="112"/>
                  </a:cubicBezTo>
                  <a:cubicBezTo>
                    <a:pt x="12" y="120"/>
                    <a:pt x="23" y="126"/>
                    <a:pt x="36" y="126"/>
                  </a:cubicBezTo>
                  <a:cubicBezTo>
                    <a:pt x="50" y="126"/>
                    <a:pt x="60" y="120"/>
                    <a:pt x="60" y="112"/>
                  </a:cubicBezTo>
                  <a:cubicBezTo>
                    <a:pt x="60" y="105"/>
                    <a:pt x="51" y="99"/>
                    <a:pt x="39" y="98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8" y="91"/>
                    <a:pt x="92" y="88"/>
                    <a:pt x="92" y="84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5" y="75"/>
                    <a:pt x="116" y="74"/>
                    <a:pt x="116" y="72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6" y="50"/>
                    <a:pt x="115" y="49"/>
                    <a:pt x="113" y="4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65">
            <a:extLst>
              <a:ext uri="{FF2B5EF4-FFF2-40B4-BE49-F238E27FC236}">
                <a16:creationId xmlns:a16="http://schemas.microsoft.com/office/drawing/2014/main" id="{81B5410C-AA96-4714-9E46-2F7A105BDE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4098" y="1580357"/>
            <a:ext cx="758825" cy="758825"/>
            <a:chOff x="862" y="1016"/>
            <a:chExt cx="478" cy="478"/>
          </a:xfrm>
        </p:grpSpPr>
        <p:sp>
          <p:nvSpPr>
            <p:cNvPr id="77" name="AutoShape 64">
              <a:extLst>
                <a:ext uri="{FF2B5EF4-FFF2-40B4-BE49-F238E27FC236}">
                  <a16:creationId xmlns:a16="http://schemas.microsoft.com/office/drawing/2014/main" id="{E66E422C-23C7-4F4B-8AC2-61CA3829701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62" y="101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567F8BB9-6B85-4F8C-A378-1DBCC6E38F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" y="101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CC57B818-9C96-440B-A9B8-2C8402B12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" y="1119"/>
              <a:ext cx="265" cy="275"/>
            </a:xfrm>
            <a:custGeom>
              <a:avLst/>
              <a:gdLst>
                <a:gd name="T0" fmla="*/ 82 w 108"/>
                <a:gd name="T1" fmla="*/ 85 h 112"/>
                <a:gd name="T2" fmla="*/ 82 w 108"/>
                <a:gd name="T3" fmla="*/ 90 h 112"/>
                <a:gd name="T4" fmla="*/ 85 w 108"/>
                <a:gd name="T5" fmla="*/ 92 h 112"/>
                <a:gd name="T6" fmla="*/ 87 w 108"/>
                <a:gd name="T7" fmla="*/ 97 h 112"/>
                <a:gd name="T8" fmla="*/ 89 w 108"/>
                <a:gd name="T9" fmla="*/ 95 h 112"/>
                <a:gd name="T10" fmla="*/ 82 w 108"/>
                <a:gd name="T11" fmla="*/ 105 h 112"/>
                <a:gd name="T12" fmla="*/ 96 w 108"/>
                <a:gd name="T13" fmla="*/ 80 h 112"/>
                <a:gd name="T14" fmla="*/ 99 w 108"/>
                <a:gd name="T15" fmla="*/ 83 h 112"/>
                <a:gd name="T16" fmla="*/ 87 w 108"/>
                <a:gd name="T17" fmla="*/ 88 h 112"/>
                <a:gd name="T18" fmla="*/ 89 w 108"/>
                <a:gd name="T19" fmla="*/ 85 h 112"/>
                <a:gd name="T20" fmla="*/ 96 w 108"/>
                <a:gd name="T21" fmla="*/ 95 h 112"/>
                <a:gd name="T22" fmla="*/ 96 w 108"/>
                <a:gd name="T23" fmla="*/ 100 h 112"/>
                <a:gd name="T24" fmla="*/ 99 w 108"/>
                <a:gd name="T25" fmla="*/ 102 h 112"/>
                <a:gd name="T26" fmla="*/ 66 w 108"/>
                <a:gd name="T27" fmla="*/ 92 h 112"/>
                <a:gd name="T28" fmla="*/ 68 w 108"/>
                <a:gd name="T29" fmla="*/ 90 h 112"/>
                <a:gd name="T30" fmla="*/ 75 w 108"/>
                <a:gd name="T31" fmla="*/ 90 h 112"/>
                <a:gd name="T32" fmla="*/ 68 w 108"/>
                <a:gd name="T33" fmla="*/ 100 h 112"/>
                <a:gd name="T34" fmla="*/ 70 w 108"/>
                <a:gd name="T35" fmla="*/ 102 h 112"/>
                <a:gd name="T36" fmla="*/ 73 w 108"/>
                <a:gd name="T37" fmla="*/ 97 h 112"/>
                <a:gd name="T38" fmla="*/ 75 w 108"/>
                <a:gd name="T39" fmla="*/ 95 h 112"/>
                <a:gd name="T40" fmla="*/ 68 w 108"/>
                <a:gd name="T41" fmla="*/ 85 h 112"/>
                <a:gd name="T42" fmla="*/ 70 w 108"/>
                <a:gd name="T43" fmla="*/ 31 h 112"/>
                <a:gd name="T44" fmla="*/ 81 w 108"/>
                <a:gd name="T45" fmla="*/ 20 h 112"/>
                <a:gd name="T46" fmla="*/ 86 w 108"/>
                <a:gd name="T47" fmla="*/ 17 h 112"/>
                <a:gd name="T48" fmla="*/ 55 w 108"/>
                <a:gd name="T49" fmla="*/ 18 h 112"/>
                <a:gd name="T50" fmla="*/ 70 w 108"/>
                <a:gd name="T51" fmla="*/ 37 h 112"/>
                <a:gd name="T52" fmla="*/ 101 w 108"/>
                <a:gd name="T53" fmla="*/ 22 h 112"/>
                <a:gd name="T54" fmla="*/ 96 w 108"/>
                <a:gd name="T55" fmla="*/ 54 h 112"/>
                <a:gd name="T56" fmla="*/ 0 w 108"/>
                <a:gd name="T57" fmla="*/ 88 h 112"/>
                <a:gd name="T58" fmla="*/ 34 w 108"/>
                <a:gd name="T59" fmla="*/ 105 h 112"/>
                <a:gd name="T60" fmla="*/ 37 w 108"/>
                <a:gd name="T61" fmla="*/ 109 h 112"/>
                <a:gd name="T62" fmla="*/ 37 w 108"/>
                <a:gd name="T63" fmla="*/ 76 h 112"/>
                <a:gd name="T64" fmla="*/ 44 w 108"/>
                <a:gd name="T65" fmla="*/ 90 h 112"/>
                <a:gd name="T66" fmla="*/ 5 w 108"/>
                <a:gd name="T67" fmla="*/ 66 h 112"/>
                <a:gd name="T68" fmla="*/ 108 w 108"/>
                <a:gd name="T69" fmla="*/ 46 h 112"/>
                <a:gd name="T70" fmla="*/ 101 w 108"/>
                <a:gd name="T71" fmla="*/ 105 h 112"/>
                <a:gd name="T72" fmla="*/ 63 w 108"/>
                <a:gd name="T73" fmla="*/ 105 h 112"/>
                <a:gd name="T74" fmla="*/ 99 w 108"/>
                <a:gd name="T75" fmla="*/ 78 h 112"/>
                <a:gd name="T76" fmla="*/ 99 w 108"/>
                <a:gd name="T77" fmla="*/ 73 h 112"/>
                <a:gd name="T78" fmla="*/ 59 w 108"/>
                <a:gd name="T79" fmla="*/ 105 h 112"/>
                <a:gd name="T80" fmla="*/ 106 w 108"/>
                <a:gd name="T81" fmla="*/ 105 h 112"/>
                <a:gd name="T82" fmla="*/ 5 w 108"/>
                <a:gd name="T83" fmla="*/ 7 h 112"/>
                <a:gd name="T84" fmla="*/ 42 w 108"/>
                <a:gd name="T85" fmla="*/ 7 h 112"/>
                <a:gd name="T86" fmla="*/ 7 w 108"/>
                <a:gd name="T87" fmla="*/ 34 h 112"/>
                <a:gd name="T88" fmla="*/ 7 w 108"/>
                <a:gd name="T89" fmla="*/ 39 h 112"/>
                <a:gd name="T90" fmla="*/ 47 w 108"/>
                <a:gd name="T91" fmla="*/ 7 h 112"/>
                <a:gd name="T92" fmla="*/ 0 w 108"/>
                <a:gd name="T9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112">
                  <a:moveTo>
                    <a:pt x="82" y="80"/>
                  </a:moveTo>
                  <a:cubicBezTo>
                    <a:pt x="81" y="80"/>
                    <a:pt x="80" y="81"/>
                    <a:pt x="80" y="83"/>
                  </a:cubicBezTo>
                  <a:cubicBezTo>
                    <a:pt x="80" y="84"/>
                    <a:pt x="81" y="85"/>
                    <a:pt x="82" y="85"/>
                  </a:cubicBezTo>
                  <a:cubicBezTo>
                    <a:pt x="83" y="85"/>
                    <a:pt x="85" y="84"/>
                    <a:pt x="85" y="83"/>
                  </a:cubicBezTo>
                  <a:cubicBezTo>
                    <a:pt x="85" y="81"/>
                    <a:pt x="83" y="80"/>
                    <a:pt x="82" y="80"/>
                  </a:cubicBezTo>
                  <a:moveTo>
                    <a:pt x="82" y="90"/>
                  </a:moveTo>
                  <a:cubicBezTo>
                    <a:pt x="81" y="90"/>
                    <a:pt x="80" y="91"/>
                    <a:pt x="80" y="92"/>
                  </a:cubicBezTo>
                  <a:cubicBezTo>
                    <a:pt x="80" y="94"/>
                    <a:pt x="81" y="95"/>
                    <a:pt x="82" y="95"/>
                  </a:cubicBezTo>
                  <a:cubicBezTo>
                    <a:pt x="83" y="95"/>
                    <a:pt x="85" y="94"/>
                    <a:pt x="85" y="92"/>
                  </a:cubicBezTo>
                  <a:cubicBezTo>
                    <a:pt x="85" y="91"/>
                    <a:pt x="83" y="90"/>
                    <a:pt x="82" y="90"/>
                  </a:cubicBezTo>
                  <a:moveTo>
                    <a:pt x="89" y="95"/>
                  </a:moveTo>
                  <a:cubicBezTo>
                    <a:pt x="88" y="95"/>
                    <a:pt x="87" y="96"/>
                    <a:pt x="87" y="97"/>
                  </a:cubicBezTo>
                  <a:cubicBezTo>
                    <a:pt x="87" y="99"/>
                    <a:pt x="88" y="100"/>
                    <a:pt x="89" y="100"/>
                  </a:cubicBezTo>
                  <a:cubicBezTo>
                    <a:pt x="91" y="100"/>
                    <a:pt x="92" y="99"/>
                    <a:pt x="92" y="97"/>
                  </a:cubicBezTo>
                  <a:cubicBezTo>
                    <a:pt x="92" y="96"/>
                    <a:pt x="91" y="95"/>
                    <a:pt x="89" y="95"/>
                  </a:cubicBezTo>
                  <a:moveTo>
                    <a:pt x="82" y="100"/>
                  </a:moveTo>
                  <a:cubicBezTo>
                    <a:pt x="81" y="100"/>
                    <a:pt x="80" y="101"/>
                    <a:pt x="80" y="102"/>
                  </a:cubicBezTo>
                  <a:cubicBezTo>
                    <a:pt x="80" y="103"/>
                    <a:pt x="81" y="105"/>
                    <a:pt x="82" y="105"/>
                  </a:cubicBezTo>
                  <a:cubicBezTo>
                    <a:pt x="83" y="105"/>
                    <a:pt x="85" y="103"/>
                    <a:pt x="85" y="102"/>
                  </a:cubicBezTo>
                  <a:cubicBezTo>
                    <a:pt x="85" y="101"/>
                    <a:pt x="83" y="100"/>
                    <a:pt x="82" y="100"/>
                  </a:cubicBezTo>
                  <a:moveTo>
                    <a:pt x="96" y="80"/>
                  </a:moveTo>
                  <a:cubicBezTo>
                    <a:pt x="95" y="80"/>
                    <a:pt x="94" y="81"/>
                    <a:pt x="94" y="83"/>
                  </a:cubicBezTo>
                  <a:cubicBezTo>
                    <a:pt x="94" y="84"/>
                    <a:pt x="95" y="85"/>
                    <a:pt x="96" y="85"/>
                  </a:cubicBezTo>
                  <a:cubicBezTo>
                    <a:pt x="98" y="85"/>
                    <a:pt x="99" y="84"/>
                    <a:pt x="99" y="83"/>
                  </a:cubicBezTo>
                  <a:cubicBezTo>
                    <a:pt x="99" y="81"/>
                    <a:pt x="98" y="80"/>
                    <a:pt x="96" y="80"/>
                  </a:cubicBezTo>
                  <a:moveTo>
                    <a:pt x="89" y="85"/>
                  </a:moveTo>
                  <a:cubicBezTo>
                    <a:pt x="88" y="85"/>
                    <a:pt x="87" y="86"/>
                    <a:pt x="87" y="88"/>
                  </a:cubicBezTo>
                  <a:cubicBezTo>
                    <a:pt x="87" y="89"/>
                    <a:pt x="88" y="90"/>
                    <a:pt x="89" y="90"/>
                  </a:cubicBezTo>
                  <a:cubicBezTo>
                    <a:pt x="91" y="90"/>
                    <a:pt x="92" y="89"/>
                    <a:pt x="92" y="88"/>
                  </a:cubicBezTo>
                  <a:cubicBezTo>
                    <a:pt x="92" y="86"/>
                    <a:pt x="91" y="85"/>
                    <a:pt x="89" y="85"/>
                  </a:cubicBezTo>
                  <a:moveTo>
                    <a:pt x="96" y="90"/>
                  </a:moveTo>
                  <a:cubicBezTo>
                    <a:pt x="95" y="90"/>
                    <a:pt x="94" y="91"/>
                    <a:pt x="94" y="92"/>
                  </a:cubicBezTo>
                  <a:cubicBezTo>
                    <a:pt x="94" y="94"/>
                    <a:pt x="95" y="95"/>
                    <a:pt x="96" y="95"/>
                  </a:cubicBezTo>
                  <a:cubicBezTo>
                    <a:pt x="98" y="95"/>
                    <a:pt x="99" y="94"/>
                    <a:pt x="99" y="92"/>
                  </a:cubicBezTo>
                  <a:cubicBezTo>
                    <a:pt x="99" y="91"/>
                    <a:pt x="98" y="90"/>
                    <a:pt x="96" y="90"/>
                  </a:cubicBezTo>
                  <a:moveTo>
                    <a:pt x="96" y="100"/>
                  </a:moveTo>
                  <a:cubicBezTo>
                    <a:pt x="95" y="100"/>
                    <a:pt x="94" y="101"/>
                    <a:pt x="94" y="102"/>
                  </a:cubicBezTo>
                  <a:cubicBezTo>
                    <a:pt x="94" y="103"/>
                    <a:pt x="95" y="105"/>
                    <a:pt x="96" y="105"/>
                  </a:cubicBezTo>
                  <a:cubicBezTo>
                    <a:pt x="98" y="105"/>
                    <a:pt x="99" y="103"/>
                    <a:pt x="99" y="102"/>
                  </a:cubicBezTo>
                  <a:cubicBezTo>
                    <a:pt x="99" y="101"/>
                    <a:pt x="98" y="100"/>
                    <a:pt x="96" y="100"/>
                  </a:cubicBezTo>
                  <a:moveTo>
                    <a:pt x="68" y="90"/>
                  </a:moveTo>
                  <a:cubicBezTo>
                    <a:pt x="67" y="90"/>
                    <a:pt x="66" y="91"/>
                    <a:pt x="66" y="92"/>
                  </a:cubicBezTo>
                  <a:cubicBezTo>
                    <a:pt x="66" y="94"/>
                    <a:pt x="67" y="95"/>
                    <a:pt x="68" y="95"/>
                  </a:cubicBezTo>
                  <a:cubicBezTo>
                    <a:pt x="69" y="95"/>
                    <a:pt x="70" y="94"/>
                    <a:pt x="70" y="92"/>
                  </a:cubicBezTo>
                  <a:cubicBezTo>
                    <a:pt x="70" y="91"/>
                    <a:pt x="69" y="90"/>
                    <a:pt x="68" y="90"/>
                  </a:cubicBezTo>
                  <a:moveTo>
                    <a:pt x="75" y="85"/>
                  </a:moveTo>
                  <a:cubicBezTo>
                    <a:pt x="74" y="85"/>
                    <a:pt x="73" y="86"/>
                    <a:pt x="73" y="88"/>
                  </a:cubicBezTo>
                  <a:cubicBezTo>
                    <a:pt x="73" y="89"/>
                    <a:pt x="74" y="90"/>
                    <a:pt x="75" y="90"/>
                  </a:cubicBezTo>
                  <a:cubicBezTo>
                    <a:pt x="76" y="90"/>
                    <a:pt x="77" y="89"/>
                    <a:pt x="77" y="88"/>
                  </a:cubicBezTo>
                  <a:cubicBezTo>
                    <a:pt x="77" y="86"/>
                    <a:pt x="76" y="85"/>
                    <a:pt x="75" y="85"/>
                  </a:cubicBezTo>
                  <a:moveTo>
                    <a:pt x="68" y="100"/>
                  </a:moveTo>
                  <a:cubicBezTo>
                    <a:pt x="67" y="100"/>
                    <a:pt x="66" y="101"/>
                    <a:pt x="66" y="102"/>
                  </a:cubicBezTo>
                  <a:cubicBezTo>
                    <a:pt x="66" y="103"/>
                    <a:pt x="67" y="105"/>
                    <a:pt x="68" y="105"/>
                  </a:cubicBezTo>
                  <a:cubicBezTo>
                    <a:pt x="69" y="105"/>
                    <a:pt x="70" y="103"/>
                    <a:pt x="70" y="102"/>
                  </a:cubicBezTo>
                  <a:cubicBezTo>
                    <a:pt x="70" y="101"/>
                    <a:pt x="69" y="100"/>
                    <a:pt x="68" y="100"/>
                  </a:cubicBezTo>
                  <a:moveTo>
                    <a:pt x="75" y="95"/>
                  </a:moveTo>
                  <a:cubicBezTo>
                    <a:pt x="74" y="95"/>
                    <a:pt x="73" y="96"/>
                    <a:pt x="73" y="97"/>
                  </a:cubicBezTo>
                  <a:cubicBezTo>
                    <a:pt x="73" y="99"/>
                    <a:pt x="74" y="100"/>
                    <a:pt x="75" y="100"/>
                  </a:cubicBezTo>
                  <a:cubicBezTo>
                    <a:pt x="76" y="100"/>
                    <a:pt x="77" y="99"/>
                    <a:pt x="77" y="97"/>
                  </a:cubicBezTo>
                  <a:cubicBezTo>
                    <a:pt x="77" y="96"/>
                    <a:pt x="76" y="95"/>
                    <a:pt x="75" y="95"/>
                  </a:cubicBezTo>
                  <a:moveTo>
                    <a:pt x="68" y="80"/>
                  </a:moveTo>
                  <a:cubicBezTo>
                    <a:pt x="67" y="80"/>
                    <a:pt x="66" y="81"/>
                    <a:pt x="66" y="83"/>
                  </a:cubicBezTo>
                  <a:cubicBezTo>
                    <a:pt x="66" y="84"/>
                    <a:pt x="67" y="85"/>
                    <a:pt x="68" y="85"/>
                  </a:cubicBezTo>
                  <a:cubicBezTo>
                    <a:pt x="69" y="85"/>
                    <a:pt x="70" y="84"/>
                    <a:pt x="70" y="83"/>
                  </a:cubicBezTo>
                  <a:cubicBezTo>
                    <a:pt x="70" y="81"/>
                    <a:pt x="69" y="80"/>
                    <a:pt x="68" y="80"/>
                  </a:cubicBezTo>
                  <a:moveTo>
                    <a:pt x="70" y="31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81" y="20"/>
                    <a:pt x="81" y="20"/>
                    <a:pt x="81" y="20"/>
                  </a:cubicBezTo>
                  <a:lnTo>
                    <a:pt x="70" y="31"/>
                  </a:lnTo>
                  <a:close/>
                  <a:moveTo>
                    <a:pt x="101" y="17"/>
                  </a:moveTo>
                  <a:cubicBezTo>
                    <a:pt x="86" y="17"/>
                    <a:pt x="86" y="17"/>
                    <a:pt x="86" y="17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2"/>
                    <a:pt x="70" y="2"/>
                    <a:pt x="69" y="3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9"/>
                    <a:pt x="54" y="20"/>
                    <a:pt x="55" y="21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1" y="37"/>
                    <a:pt x="72" y="36"/>
                    <a:pt x="72" y="36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2" y="22"/>
                    <a:pt x="103" y="23"/>
                    <a:pt x="103" y="24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50"/>
                    <a:pt x="100" y="54"/>
                    <a:pt x="96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5" y="54"/>
                    <a:pt x="0" y="59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3" y="95"/>
                    <a:pt x="7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3" y="106"/>
                    <a:pt x="33" y="108"/>
                    <a:pt x="34" y="109"/>
                  </a:cubicBezTo>
                  <a:cubicBezTo>
                    <a:pt x="34" y="109"/>
                    <a:pt x="35" y="109"/>
                    <a:pt x="35" y="109"/>
                  </a:cubicBezTo>
                  <a:cubicBezTo>
                    <a:pt x="36" y="109"/>
                    <a:pt x="36" y="109"/>
                    <a:pt x="37" y="109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2" y="93"/>
                    <a:pt x="52" y="92"/>
                    <a:pt x="51" y="91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6" y="75"/>
                    <a:pt x="34" y="75"/>
                    <a:pt x="34" y="76"/>
                  </a:cubicBezTo>
                  <a:cubicBezTo>
                    <a:pt x="33" y="77"/>
                    <a:pt x="33" y="79"/>
                    <a:pt x="34" y="8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5" y="89"/>
                    <a:pt x="5" y="88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2"/>
                    <a:pt x="8" y="58"/>
                    <a:pt x="12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103" y="58"/>
                    <a:pt x="108" y="53"/>
                    <a:pt x="108" y="46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0"/>
                    <a:pt x="105" y="17"/>
                    <a:pt x="101" y="17"/>
                  </a:cubicBezTo>
                  <a:moveTo>
                    <a:pt x="101" y="105"/>
                  </a:moveTo>
                  <a:cubicBezTo>
                    <a:pt x="101" y="106"/>
                    <a:pt x="100" y="107"/>
                    <a:pt x="99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4" y="107"/>
                    <a:pt x="63" y="106"/>
                    <a:pt x="63" y="105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3" y="79"/>
                    <a:pt x="64" y="78"/>
                    <a:pt x="66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8"/>
                    <a:pt x="101" y="79"/>
                    <a:pt x="101" y="80"/>
                  </a:cubicBezTo>
                  <a:lnTo>
                    <a:pt x="101" y="105"/>
                  </a:lnTo>
                  <a:close/>
                  <a:moveTo>
                    <a:pt x="99" y="73"/>
                  </a:moveTo>
                  <a:cubicBezTo>
                    <a:pt x="66" y="73"/>
                    <a:pt x="66" y="73"/>
                    <a:pt x="66" y="73"/>
                  </a:cubicBezTo>
                  <a:cubicBezTo>
                    <a:pt x="62" y="73"/>
                    <a:pt x="59" y="76"/>
                    <a:pt x="59" y="80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9"/>
                    <a:pt x="62" y="112"/>
                    <a:pt x="66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103" y="112"/>
                    <a:pt x="106" y="109"/>
                    <a:pt x="106" y="105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6"/>
                    <a:pt x="103" y="73"/>
                    <a:pt x="99" y="73"/>
                  </a:cubicBezTo>
                  <a:moveTo>
                    <a:pt x="5" y="7"/>
                  </a:moveTo>
                  <a:cubicBezTo>
                    <a:pt x="5" y="6"/>
                    <a:pt x="6" y="5"/>
                    <a:pt x="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5"/>
                    <a:pt x="42" y="6"/>
                    <a:pt x="42" y="7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3"/>
                    <a:pt x="41" y="34"/>
                    <a:pt x="40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4"/>
                    <a:pt x="5" y="33"/>
                    <a:pt x="5" y="32"/>
                  </a:cubicBezTo>
                  <a:lnTo>
                    <a:pt x="5" y="7"/>
                  </a:lnTo>
                  <a:close/>
                  <a:moveTo>
                    <a:pt x="7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4" y="39"/>
                    <a:pt x="47" y="36"/>
                    <a:pt x="47" y="32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3"/>
                    <a:pt x="44" y="0"/>
                    <a:pt x="4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6"/>
                    <a:pt x="3" y="39"/>
                    <a:pt x="7" y="3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A23B9362-2B4F-44F6-8D84-94F04747B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" y="1119"/>
              <a:ext cx="265" cy="275"/>
            </a:xfrm>
            <a:custGeom>
              <a:avLst/>
              <a:gdLst>
                <a:gd name="T0" fmla="*/ 82 w 108"/>
                <a:gd name="T1" fmla="*/ 85 h 112"/>
                <a:gd name="T2" fmla="*/ 82 w 108"/>
                <a:gd name="T3" fmla="*/ 90 h 112"/>
                <a:gd name="T4" fmla="*/ 85 w 108"/>
                <a:gd name="T5" fmla="*/ 92 h 112"/>
                <a:gd name="T6" fmla="*/ 87 w 108"/>
                <a:gd name="T7" fmla="*/ 97 h 112"/>
                <a:gd name="T8" fmla="*/ 89 w 108"/>
                <a:gd name="T9" fmla="*/ 95 h 112"/>
                <a:gd name="T10" fmla="*/ 82 w 108"/>
                <a:gd name="T11" fmla="*/ 105 h 112"/>
                <a:gd name="T12" fmla="*/ 96 w 108"/>
                <a:gd name="T13" fmla="*/ 80 h 112"/>
                <a:gd name="T14" fmla="*/ 99 w 108"/>
                <a:gd name="T15" fmla="*/ 83 h 112"/>
                <a:gd name="T16" fmla="*/ 87 w 108"/>
                <a:gd name="T17" fmla="*/ 88 h 112"/>
                <a:gd name="T18" fmla="*/ 89 w 108"/>
                <a:gd name="T19" fmla="*/ 85 h 112"/>
                <a:gd name="T20" fmla="*/ 96 w 108"/>
                <a:gd name="T21" fmla="*/ 95 h 112"/>
                <a:gd name="T22" fmla="*/ 96 w 108"/>
                <a:gd name="T23" fmla="*/ 100 h 112"/>
                <a:gd name="T24" fmla="*/ 99 w 108"/>
                <a:gd name="T25" fmla="*/ 102 h 112"/>
                <a:gd name="T26" fmla="*/ 66 w 108"/>
                <a:gd name="T27" fmla="*/ 92 h 112"/>
                <a:gd name="T28" fmla="*/ 68 w 108"/>
                <a:gd name="T29" fmla="*/ 90 h 112"/>
                <a:gd name="T30" fmla="*/ 75 w 108"/>
                <a:gd name="T31" fmla="*/ 90 h 112"/>
                <a:gd name="T32" fmla="*/ 68 w 108"/>
                <a:gd name="T33" fmla="*/ 100 h 112"/>
                <a:gd name="T34" fmla="*/ 70 w 108"/>
                <a:gd name="T35" fmla="*/ 102 h 112"/>
                <a:gd name="T36" fmla="*/ 73 w 108"/>
                <a:gd name="T37" fmla="*/ 97 h 112"/>
                <a:gd name="T38" fmla="*/ 75 w 108"/>
                <a:gd name="T39" fmla="*/ 95 h 112"/>
                <a:gd name="T40" fmla="*/ 68 w 108"/>
                <a:gd name="T41" fmla="*/ 85 h 112"/>
                <a:gd name="T42" fmla="*/ 70 w 108"/>
                <a:gd name="T43" fmla="*/ 31 h 112"/>
                <a:gd name="T44" fmla="*/ 81 w 108"/>
                <a:gd name="T45" fmla="*/ 20 h 112"/>
                <a:gd name="T46" fmla="*/ 86 w 108"/>
                <a:gd name="T47" fmla="*/ 17 h 112"/>
                <a:gd name="T48" fmla="*/ 55 w 108"/>
                <a:gd name="T49" fmla="*/ 18 h 112"/>
                <a:gd name="T50" fmla="*/ 70 w 108"/>
                <a:gd name="T51" fmla="*/ 37 h 112"/>
                <a:gd name="T52" fmla="*/ 101 w 108"/>
                <a:gd name="T53" fmla="*/ 22 h 112"/>
                <a:gd name="T54" fmla="*/ 96 w 108"/>
                <a:gd name="T55" fmla="*/ 54 h 112"/>
                <a:gd name="T56" fmla="*/ 0 w 108"/>
                <a:gd name="T57" fmla="*/ 88 h 112"/>
                <a:gd name="T58" fmla="*/ 34 w 108"/>
                <a:gd name="T59" fmla="*/ 105 h 112"/>
                <a:gd name="T60" fmla="*/ 37 w 108"/>
                <a:gd name="T61" fmla="*/ 109 h 112"/>
                <a:gd name="T62" fmla="*/ 37 w 108"/>
                <a:gd name="T63" fmla="*/ 76 h 112"/>
                <a:gd name="T64" fmla="*/ 44 w 108"/>
                <a:gd name="T65" fmla="*/ 90 h 112"/>
                <a:gd name="T66" fmla="*/ 5 w 108"/>
                <a:gd name="T67" fmla="*/ 66 h 112"/>
                <a:gd name="T68" fmla="*/ 108 w 108"/>
                <a:gd name="T69" fmla="*/ 46 h 112"/>
                <a:gd name="T70" fmla="*/ 101 w 108"/>
                <a:gd name="T71" fmla="*/ 105 h 112"/>
                <a:gd name="T72" fmla="*/ 63 w 108"/>
                <a:gd name="T73" fmla="*/ 105 h 112"/>
                <a:gd name="T74" fmla="*/ 99 w 108"/>
                <a:gd name="T75" fmla="*/ 78 h 112"/>
                <a:gd name="T76" fmla="*/ 99 w 108"/>
                <a:gd name="T77" fmla="*/ 73 h 112"/>
                <a:gd name="T78" fmla="*/ 59 w 108"/>
                <a:gd name="T79" fmla="*/ 105 h 112"/>
                <a:gd name="T80" fmla="*/ 106 w 108"/>
                <a:gd name="T81" fmla="*/ 105 h 112"/>
                <a:gd name="T82" fmla="*/ 5 w 108"/>
                <a:gd name="T83" fmla="*/ 7 h 112"/>
                <a:gd name="T84" fmla="*/ 42 w 108"/>
                <a:gd name="T85" fmla="*/ 7 h 112"/>
                <a:gd name="T86" fmla="*/ 7 w 108"/>
                <a:gd name="T87" fmla="*/ 34 h 112"/>
                <a:gd name="T88" fmla="*/ 7 w 108"/>
                <a:gd name="T89" fmla="*/ 39 h 112"/>
                <a:gd name="T90" fmla="*/ 47 w 108"/>
                <a:gd name="T91" fmla="*/ 7 h 112"/>
                <a:gd name="T92" fmla="*/ 0 w 108"/>
                <a:gd name="T9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112">
                  <a:moveTo>
                    <a:pt x="82" y="80"/>
                  </a:moveTo>
                  <a:cubicBezTo>
                    <a:pt x="81" y="80"/>
                    <a:pt x="80" y="81"/>
                    <a:pt x="80" y="83"/>
                  </a:cubicBezTo>
                  <a:cubicBezTo>
                    <a:pt x="80" y="84"/>
                    <a:pt x="81" y="85"/>
                    <a:pt x="82" y="85"/>
                  </a:cubicBezTo>
                  <a:cubicBezTo>
                    <a:pt x="83" y="85"/>
                    <a:pt x="85" y="84"/>
                    <a:pt x="85" y="83"/>
                  </a:cubicBezTo>
                  <a:cubicBezTo>
                    <a:pt x="85" y="81"/>
                    <a:pt x="83" y="80"/>
                    <a:pt x="82" y="80"/>
                  </a:cubicBezTo>
                  <a:moveTo>
                    <a:pt x="82" y="90"/>
                  </a:moveTo>
                  <a:cubicBezTo>
                    <a:pt x="81" y="90"/>
                    <a:pt x="80" y="91"/>
                    <a:pt x="80" y="92"/>
                  </a:cubicBezTo>
                  <a:cubicBezTo>
                    <a:pt x="80" y="94"/>
                    <a:pt x="81" y="95"/>
                    <a:pt x="82" y="95"/>
                  </a:cubicBezTo>
                  <a:cubicBezTo>
                    <a:pt x="83" y="95"/>
                    <a:pt x="85" y="94"/>
                    <a:pt x="85" y="92"/>
                  </a:cubicBezTo>
                  <a:cubicBezTo>
                    <a:pt x="85" y="91"/>
                    <a:pt x="83" y="90"/>
                    <a:pt x="82" y="90"/>
                  </a:cubicBezTo>
                  <a:moveTo>
                    <a:pt x="89" y="95"/>
                  </a:moveTo>
                  <a:cubicBezTo>
                    <a:pt x="88" y="95"/>
                    <a:pt x="87" y="96"/>
                    <a:pt x="87" y="97"/>
                  </a:cubicBezTo>
                  <a:cubicBezTo>
                    <a:pt x="87" y="99"/>
                    <a:pt x="88" y="100"/>
                    <a:pt x="89" y="100"/>
                  </a:cubicBezTo>
                  <a:cubicBezTo>
                    <a:pt x="91" y="100"/>
                    <a:pt x="92" y="99"/>
                    <a:pt x="92" y="97"/>
                  </a:cubicBezTo>
                  <a:cubicBezTo>
                    <a:pt x="92" y="96"/>
                    <a:pt x="91" y="95"/>
                    <a:pt x="89" y="95"/>
                  </a:cubicBezTo>
                  <a:moveTo>
                    <a:pt x="82" y="100"/>
                  </a:moveTo>
                  <a:cubicBezTo>
                    <a:pt x="81" y="100"/>
                    <a:pt x="80" y="101"/>
                    <a:pt x="80" y="102"/>
                  </a:cubicBezTo>
                  <a:cubicBezTo>
                    <a:pt x="80" y="103"/>
                    <a:pt x="81" y="105"/>
                    <a:pt x="82" y="105"/>
                  </a:cubicBezTo>
                  <a:cubicBezTo>
                    <a:pt x="83" y="105"/>
                    <a:pt x="85" y="103"/>
                    <a:pt x="85" y="102"/>
                  </a:cubicBezTo>
                  <a:cubicBezTo>
                    <a:pt x="85" y="101"/>
                    <a:pt x="83" y="100"/>
                    <a:pt x="82" y="100"/>
                  </a:cubicBezTo>
                  <a:moveTo>
                    <a:pt x="96" y="80"/>
                  </a:moveTo>
                  <a:cubicBezTo>
                    <a:pt x="95" y="80"/>
                    <a:pt x="94" y="81"/>
                    <a:pt x="94" y="83"/>
                  </a:cubicBezTo>
                  <a:cubicBezTo>
                    <a:pt x="94" y="84"/>
                    <a:pt x="95" y="85"/>
                    <a:pt x="96" y="85"/>
                  </a:cubicBezTo>
                  <a:cubicBezTo>
                    <a:pt x="98" y="85"/>
                    <a:pt x="99" y="84"/>
                    <a:pt x="99" y="83"/>
                  </a:cubicBezTo>
                  <a:cubicBezTo>
                    <a:pt x="99" y="81"/>
                    <a:pt x="98" y="80"/>
                    <a:pt x="96" y="80"/>
                  </a:cubicBezTo>
                  <a:moveTo>
                    <a:pt x="89" y="85"/>
                  </a:moveTo>
                  <a:cubicBezTo>
                    <a:pt x="88" y="85"/>
                    <a:pt x="87" y="86"/>
                    <a:pt x="87" y="88"/>
                  </a:cubicBezTo>
                  <a:cubicBezTo>
                    <a:pt x="87" y="89"/>
                    <a:pt x="88" y="90"/>
                    <a:pt x="89" y="90"/>
                  </a:cubicBezTo>
                  <a:cubicBezTo>
                    <a:pt x="91" y="90"/>
                    <a:pt x="92" y="89"/>
                    <a:pt x="92" y="88"/>
                  </a:cubicBezTo>
                  <a:cubicBezTo>
                    <a:pt x="92" y="86"/>
                    <a:pt x="91" y="85"/>
                    <a:pt x="89" y="85"/>
                  </a:cubicBezTo>
                  <a:moveTo>
                    <a:pt x="96" y="90"/>
                  </a:moveTo>
                  <a:cubicBezTo>
                    <a:pt x="95" y="90"/>
                    <a:pt x="94" y="91"/>
                    <a:pt x="94" y="92"/>
                  </a:cubicBezTo>
                  <a:cubicBezTo>
                    <a:pt x="94" y="94"/>
                    <a:pt x="95" y="95"/>
                    <a:pt x="96" y="95"/>
                  </a:cubicBezTo>
                  <a:cubicBezTo>
                    <a:pt x="98" y="95"/>
                    <a:pt x="99" y="94"/>
                    <a:pt x="99" y="92"/>
                  </a:cubicBezTo>
                  <a:cubicBezTo>
                    <a:pt x="99" y="91"/>
                    <a:pt x="98" y="90"/>
                    <a:pt x="96" y="90"/>
                  </a:cubicBezTo>
                  <a:moveTo>
                    <a:pt x="96" y="100"/>
                  </a:moveTo>
                  <a:cubicBezTo>
                    <a:pt x="95" y="100"/>
                    <a:pt x="94" y="101"/>
                    <a:pt x="94" y="102"/>
                  </a:cubicBezTo>
                  <a:cubicBezTo>
                    <a:pt x="94" y="103"/>
                    <a:pt x="95" y="105"/>
                    <a:pt x="96" y="105"/>
                  </a:cubicBezTo>
                  <a:cubicBezTo>
                    <a:pt x="98" y="105"/>
                    <a:pt x="99" y="103"/>
                    <a:pt x="99" y="102"/>
                  </a:cubicBezTo>
                  <a:cubicBezTo>
                    <a:pt x="99" y="101"/>
                    <a:pt x="98" y="100"/>
                    <a:pt x="96" y="100"/>
                  </a:cubicBezTo>
                  <a:moveTo>
                    <a:pt x="68" y="90"/>
                  </a:moveTo>
                  <a:cubicBezTo>
                    <a:pt x="67" y="90"/>
                    <a:pt x="66" y="91"/>
                    <a:pt x="66" y="92"/>
                  </a:cubicBezTo>
                  <a:cubicBezTo>
                    <a:pt x="66" y="94"/>
                    <a:pt x="67" y="95"/>
                    <a:pt x="68" y="95"/>
                  </a:cubicBezTo>
                  <a:cubicBezTo>
                    <a:pt x="69" y="95"/>
                    <a:pt x="70" y="94"/>
                    <a:pt x="70" y="92"/>
                  </a:cubicBezTo>
                  <a:cubicBezTo>
                    <a:pt x="70" y="91"/>
                    <a:pt x="69" y="90"/>
                    <a:pt x="68" y="90"/>
                  </a:cubicBezTo>
                  <a:moveTo>
                    <a:pt x="75" y="85"/>
                  </a:moveTo>
                  <a:cubicBezTo>
                    <a:pt x="74" y="85"/>
                    <a:pt x="73" y="86"/>
                    <a:pt x="73" y="88"/>
                  </a:cubicBezTo>
                  <a:cubicBezTo>
                    <a:pt x="73" y="89"/>
                    <a:pt x="74" y="90"/>
                    <a:pt x="75" y="90"/>
                  </a:cubicBezTo>
                  <a:cubicBezTo>
                    <a:pt x="76" y="90"/>
                    <a:pt x="77" y="89"/>
                    <a:pt x="77" y="88"/>
                  </a:cubicBezTo>
                  <a:cubicBezTo>
                    <a:pt x="77" y="86"/>
                    <a:pt x="76" y="85"/>
                    <a:pt x="75" y="85"/>
                  </a:cubicBezTo>
                  <a:moveTo>
                    <a:pt x="68" y="100"/>
                  </a:moveTo>
                  <a:cubicBezTo>
                    <a:pt x="67" y="100"/>
                    <a:pt x="66" y="101"/>
                    <a:pt x="66" y="102"/>
                  </a:cubicBezTo>
                  <a:cubicBezTo>
                    <a:pt x="66" y="103"/>
                    <a:pt x="67" y="105"/>
                    <a:pt x="68" y="105"/>
                  </a:cubicBezTo>
                  <a:cubicBezTo>
                    <a:pt x="69" y="105"/>
                    <a:pt x="70" y="103"/>
                    <a:pt x="70" y="102"/>
                  </a:cubicBezTo>
                  <a:cubicBezTo>
                    <a:pt x="70" y="101"/>
                    <a:pt x="69" y="100"/>
                    <a:pt x="68" y="100"/>
                  </a:cubicBezTo>
                  <a:moveTo>
                    <a:pt x="75" y="95"/>
                  </a:moveTo>
                  <a:cubicBezTo>
                    <a:pt x="74" y="95"/>
                    <a:pt x="73" y="96"/>
                    <a:pt x="73" y="97"/>
                  </a:cubicBezTo>
                  <a:cubicBezTo>
                    <a:pt x="73" y="99"/>
                    <a:pt x="74" y="100"/>
                    <a:pt x="75" y="100"/>
                  </a:cubicBezTo>
                  <a:cubicBezTo>
                    <a:pt x="76" y="100"/>
                    <a:pt x="77" y="99"/>
                    <a:pt x="77" y="97"/>
                  </a:cubicBezTo>
                  <a:cubicBezTo>
                    <a:pt x="77" y="96"/>
                    <a:pt x="76" y="95"/>
                    <a:pt x="75" y="95"/>
                  </a:cubicBezTo>
                  <a:moveTo>
                    <a:pt x="68" y="80"/>
                  </a:moveTo>
                  <a:cubicBezTo>
                    <a:pt x="67" y="80"/>
                    <a:pt x="66" y="81"/>
                    <a:pt x="66" y="83"/>
                  </a:cubicBezTo>
                  <a:cubicBezTo>
                    <a:pt x="66" y="84"/>
                    <a:pt x="67" y="85"/>
                    <a:pt x="68" y="85"/>
                  </a:cubicBezTo>
                  <a:cubicBezTo>
                    <a:pt x="69" y="85"/>
                    <a:pt x="70" y="84"/>
                    <a:pt x="70" y="83"/>
                  </a:cubicBezTo>
                  <a:cubicBezTo>
                    <a:pt x="70" y="81"/>
                    <a:pt x="69" y="80"/>
                    <a:pt x="68" y="80"/>
                  </a:cubicBezTo>
                  <a:moveTo>
                    <a:pt x="70" y="31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81" y="20"/>
                    <a:pt x="81" y="20"/>
                    <a:pt x="81" y="20"/>
                  </a:cubicBezTo>
                  <a:lnTo>
                    <a:pt x="70" y="31"/>
                  </a:lnTo>
                  <a:close/>
                  <a:moveTo>
                    <a:pt x="101" y="17"/>
                  </a:moveTo>
                  <a:cubicBezTo>
                    <a:pt x="86" y="17"/>
                    <a:pt x="86" y="17"/>
                    <a:pt x="86" y="17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2"/>
                    <a:pt x="70" y="2"/>
                    <a:pt x="69" y="3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9"/>
                    <a:pt x="54" y="20"/>
                    <a:pt x="55" y="21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1" y="37"/>
                    <a:pt x="72" y="36"/>
                    <a:pt x="72" y="36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2" y="22"/>
                    <a:pt x="103" y="23"/>
                    <a:pt x="103" y="24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50"/>
                    <a:pt x="100" y="54"/>
                    <a:pt x="96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5" y="54"/>
                    <a:pt x="0" y="59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3" y="95"/>
                    <a:pt x="7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3" y="106"/>
                    <a:pt x="33" y="108"/>
                    <a:pt x="34" y="109"/>
                  </a:cubicBezTo>
                  <a:cubicBezTo>
                    <a:pt x="34" y="109"/>
                    <a:pt x="35" y="109"/>
                    <a:pt x="35" y="109"/>
                  </a:cubicBezTo>
                  <a:cubicBezTo>
                    <a:pt x="36" y="109"/>
                    <a:pt x="36" y="109"/>
                    <a:pt x="37" y="109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2" y="93"/>
                    <a:pt x="52" y="92"/>
                    <a:pt x="51" y="91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6" y="75"/>
                    <a:pt x="34" y="75"/>
                    <a:pt x="34" y="76"/>
                  </a:cubicBezTo>
                  <a:cubicBezTo>
                    <a:pt x="33" y="77"/>
                    <a:pt x="33" y="79"/>
                    <a:pt x="34" y="8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5" y="89"/>
                    <a:pt x="5" y="88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2"/>
                    <a:pt x="8" y="58"/>
                    <a:pt x="12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103" y="58"/>
                    <a:pt x="108" y="53"/>
                    <a:pt x="108" y="46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0"/>
                    <a:pt x="105" y="17"/>
                    <a:pt x="101" y="17"/>
                  </a:cubicBezTo>
                  <a:moveTo>
                    <a:pt x="101" y="105"/>
                  </a:moveTo>
                  <a:cubicBezTo>
                    <a:pt x="101" y="106"/>
                    <a:pt x="100" y="107"/>
                    <a:pt x="99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4" y="107"/>
                    <a:pt x="63" y="106"/>
                    <a:pt x="63" y="105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3" y="79"/>
                    <a:pt x="64" y="78"/>
                    <a:pt x="66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8"/>
                    <a:pt x="101" y="79"/>
                    <a:pt x="101" y="80"/>
                  </a:cubicBezTo>
                  <a:lnTo>
                    <a:pt x="101" y="105"/>
                  </a:lnTo>
                  <a:close/>
                  <a:moveTo>
                    <a:pt x="99" y="73"/>
                  </a:moveTo>
                  <a:cubicBezTo>
                    <a:pt x="66" y="73"/>
                    <a:pt x="66" y="73"/>
                    <a:pt x="66" y="73"/>
                  </a:cubicBezTo>
                  <a:cubicBezTo>
                    <a:pt x="62" y="73"/>
                    <a:pt x="59" y="76"/>
                    <a:pt x="59" y="80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9"/>
                    <a:pt x="62" y="112"/>
                    <a:pt x="66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103" y="112"/>
                    <a:pt x="106" y="109"/>
                    <a:pt x="106" y="105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6"/>
                    <a:pt x="103" y="73"/>
                    <a:pt x="99" y="73"/>
                  </a:cubicBezTo>
                  <a:moveTo>
                    <a:pt x="5" y="7"/>
                  </a:moveTo>
                  <a:cubicBezTo>
                    <a:pt x="5" y="6"/>
                    <a:pt x="6" y="5"/>
                    <a:pt x="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5"/>
                    <a:pt x="42" y="6"/>
                    <a:pt x="42" y="7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3"/>
                    <a:pt x="41" y="34"/>
                    <a:pt x="40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4"/>
                    <a:pt x="5" y="33"/>
                    <a:pt x="5" y="32"/>
                  </a:cubicBezTo>
                  <a:lnTo>
                    <a:pt x="5" y="7"/>
                  </a:lnTo>
                  <a:close/>
                  <a:moveTo>
                    <a:pt x="7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4" y="39"/>
                    <a:pt x="47" y="36"/>
                    <a:pt x="47" y="32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3"/>
                    <a:pt x="44" y="0"/>
                    <a:pt x="4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6"/>
                    <a:pt x="3" y="39"/>
                    <a:pt x="7" y="3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71">
            <a:extLst>
              <a:ext uri="{FF2B5EF4-FFF2-40B4-BE49-F238E27FC236}">
                <a16:creationId xmlns:a16="http://schemas.microsoft.com/office/drawing/2014/main" id="{9AE8F6DA-CEB2-48BB-B2EC-EBDD8FFEB6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0802" y="1539082"/>
            <a:ext cx="842962" cy="841375"/>
            <a:chOff x="317" y="1016"/>
            <a:chExt cx="531" cy="530"/>
          </a:xfrm>
        </p:grpSpPr>
        <p:sp>
          <p:nvSpPr>
            <p:cNvPr id="82" name="AutoShape 70">
              <a:extLst>
                <a:ext uri="{FF2B5EF4-FFF2-40B4-BE49-F238E27FC236}">
                  <a16:creationId xmlns:a16="http://schemas.microsoft.com/office/drawing/2014/main" id="{25D6B786-F4F4-412D-A9B6-EBF9DD084B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7" y="1016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Oval 72">
              <a:extLst>
                <a:ext uri="{FF2B5EF4-FFF2-40B4-BE49-F238E27FC236}">
                  <a16:creationId xmlns:a16="http://schemas.microsoft.com/office/drawing/2014/main" id="{1253AB16-AA20-4E4A-8DAF-45623EF79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" y="1016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73">
              <a:extLst>
                <a:ext uri="{FF2B5EF4-FFF2-40B4-BE49-F238E27FC236}">
                  <a16:creationId xmlns:a16="http://schemas.microsoft.com/office/drawing/2014/main" id="{C354B940-130E-499C-8657-EA18CE324D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" y="1034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4">
              <a:extLst>
                <a:ext uri="{FF2B5EF4-FFF2-40B4-BE49-F238E27FC236}">
                  <a16:creationId xmlns:a16="http://schemas.microsoft.com/office/drawing/2014/main" id="{71062F02-5E9F-467A-BA03-80112CDB8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" y="1139"/>
              <a:ext cx="277" cy="287"/>
            </a:xfrm>
            <a:custGeom>
              <a:avLst/>
              <a:gdLst>
                <a:gd name="T0" fmla="*/ 82 w 108"/>
                <a:gd name="T1" fmla="*/ 85 h 112"/>
                <a:gd name="T2" fmla="*/ 82 w 108"/>
                <a:gd name="T3" fmla="*/ 90 h 112"/>
                <a:gd name="T4" fmla="*/ 85 w 108"/>
                <a:gd name="T5" fmla="*/ 92 h 112"/>
                <a:gd name="T6" fmla="*/ 87 w 108"/>
                <a:gd name="T7" fmla="*/ 97 h 112"/>
                <a:gd name="T8" fmla="*/ 89 w 108"/>
                <a:gd name="T9" fmla="*/ 95 h 112"/>
                <a:gd name="T10" fmla="*/ 82 w 108"/>
                <a:gd name="T11" fmla="*/ 105 h 112"/>
                <a:gd name="T12" fmla="*/ 96 w 108"/>
                <a:gd name="T13" fmla="*/ 80 h 112"/>
                <a:gd name="T14" fmla="*/ 99 w 108"/>
                <a:gd name="T15" fmla="*/ 83 h 112"/>
                <a:gd name="T16" fmla="*/ 87 w 108"/>
                <a:gd name="T17" fmla="*/ 88 h 112"/>
                <a:gd name="T18" fmla="*/ 89 w 108"/>
                <a:gd name="T19" fmla="*/ 85 h 112"/>
                <a:gd name="T20" fmla="*/ 96 w 108"/>
                <a:gd name="T21" fmla="*/ 95 h 112"/>
                <a:gd name="T22" fmla="*/ 96 w 108"/>
                <a:gd name="T23" fmla="*/ 100 h 112"/>
                <a:gd name="T24" fmla="*/ 99 w 108"/>
                <a:gd name="T25" fmla="*/ 102 h 112"/>
                <a:gd name="T26" fmla="*/ 66 w 108"/>
                <a:gd name="T27" fmla="*/ 92 h 112"/>
                <a:gd name="T28" fmla="*/ 68 w 108"/>
                <a:gd name="T29" fmla="*/ 90 h 112"/>
                <a:gd name="T30" fmla="*/ 75 w 108"/>
                <a:gd name="T31" fmla="*/ 90 h 112"/>
                <a:gd name="T32" fmla="*/ 68 w 108"/>
                <a:gd name="T33" fmla="*/ 100 h 112"/>
                <a:gd name="T34" fmla="*/ 70 w 108"/>
                <a:gd name="T35" fmla="*/ 102 h 112"/>
                <a:gd name="T36" fmla="*/ 73 w 108"/>
                <a:gd name="T37" fmla="*/ 97 h 112"/>
                <a:gd name="T38" fmla="*/ 75 w 108"/>
                <a:gd name="T39" fmla="*/ 95 h 112"/>
                <a:gd name="T40" fmla="*/ 68 w 108"/>
                <a:gd name="T41" fmla="*/ 85 h 112"/>
                <a:gd name="T42" fmla="*/ 70 w 108"/>
                <a:gd name="T43" fmla="*/ 31 h 112"/>
                <a:gd name="T44" fmla="*/ 81 w 108"/>
                <a:gd name="T45" fmla="*/ 20 h 112"/>
                <a:gd name="T46" fmla="*/ 86 w 108"/>
                <a:gd name="T47" fmla="*/ 17 h 112"/>
                <a:gd name="T48" fmla="*/ 55 w 108"/>
                <a:gd name="T49" fmla="*/ 18 h 112"/>
                <a:gd name="T50" fmla="*/ 70 w 108"/>
                <a:gd name="T51" fmla="*/ 37 h 112"/>
                <a:gd name="T52" fmla="*/ 101 w 108"/>
                <a:gd name="T53" fmla="*/ 22 h 112"/>
                <a:gd name="T54" fmla="*/ 96 w 108"/>
                <a:gd name="T55" fmla="*/ 54 h 112"/>
                <a:gd name="T56" fmla="*/ 0 w 108"/>
                <a:gd name="T57" fmla="*/ 88 h 112"/>
                <a:gd name="T58" fmla="*/ 34 w 108"/>
                <a:gd name="T59" fmla="*/ 105 h 112"/>
                <a:gd name="T60" fmla="*/ 37 w 108"/>
                <a:gd name="T61" fmla="*/ 109 h 112"/>
                <a:gd name="T62" fmla="*/ 37 w 108"/>
                <a:gd name="T63" fmla="*/ 76 h 112"/>
                <a:gd name="T64" fmla="*/ 44 w 108"/>
                <a:gd name="T65" fmla="*/ 90 h 112"/>
                <a:gd name="T66" fmla="*/ 5 w 108"/>
                <a:gd name="T67" fmla="*/ 66 h 112"/>
                <a:gd name="T68" fmla="*/ 108 w 108"/>
                <a:gd name="T69" fmla="*/ 46 h 112"/>
                <a:gd name="T70" fmla="*/ 101 w 108"/>
                <a:gd name="T71" fmla="*/ 105 h 112"/>
                <a:gd name="T72" fmla="*/ 63 w 108"/>
                <a:gd name="T73" fmla="*/ 105 h 112"/>
                <a:gd name="T74" fmla="*/ 99 w 108"/>
                <a:gd name="T75" fmla="*/ 78 h 112"/>
                <a:gd name="T76" fmla="*/ 99 w 108"/>
                <a:gd name="T77" fmla="*/ 73 h 112"/>
                <a:gd name="T78" fmla="*/ 59 w 108"/>
                <a:gd name="T79" fmla="*/ 105 h 112"/>
                <a:gd name="T80" fmla="*/ 106 w 108"/>
                <a:gd name="T81" fmla="*/ 105 h 112"/>
                <a:gd name="T82" fmla="*/ 5 w 108"/>
                <a:gd name="T83" fmla="*/ 7 h 112"/>
                <a:gd name="T84" fmla="*/ 42 w 108"/>
                <a:gd name="T85" fmla="*/ 7 h 112"/>
                <a:gd name="T86" fmla="*/ 7 w 108"/>
                <a:gd name="T87" fmla="*/ 34 h 112"/>
                <a:gd name="T88" fmla="*/ 7 w 108"/>
                <a:gd name="T89" fmla="*/ 39 h 112"/>
                <a:gd name="T90" fmla="*/ 47 w 108"/>
                <a:gd name="T91" fmla="*/ 7 h 112"/>
                <a:gd name="T92" fmla="*/ 0 w 108"/>
                <a:gd name="T9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112">
                  <a:moveTo>
                    <a:pt x="82" y="80"/>
                  </a:moveTo>
                  <a:cubicBezTo>
                    <a:pt x="81" y="80"/>
                    <a:pt x="80" y="81"/>
                    <a:pt x="80" y="83"/>
                  </a:cubicBezTo>
                  <a:cubicBezTo>
                    <a:pt x="80" y="84"/>
                    <a:pt x="81" y="85"/>
                    <a:pt x="82" y="85"/>
                  </a:cubicBezTo>
                  <a:cubicBezTo>
                    <a:pt x="83" y="85"/>
                    <a:pt x="85" y="84"/>
                    <a:pt x="85" y="83"/>
                  </a:cubicBezTo>
                  <a:cubicBezTo>
                    <a:pt x="85" y="81"/>
                    <a:pt x="83" y="80"/>
                    <a:pt x="82" y="80"/>
                  </a:cubicBezTo>
                  <a:moveTo>
                    <a:pt x="82" y="90"/>
                  </a:moveTo>
                  <a:cubicBezTo>
                    <a:pt x="81" y="90"/>
                    <a:pt x="80" y="91"/>
                    <a:pt x="80" y="92"/>
                  </a:cubicBezTo>
                  <a:cubicBezTo>
                    <a:pt x="80" y="94"/>
                    <a:pt x="81" y="95"/>
                    <a:pt x="82" y="95"/>
                  </a:cubicBezTo>
                  <a:cubicBezTo>
                    <a:pt x="83" y="95"/>
                    <a:pt x="85" y="94"/>
                    <a:pt x="85" y="92"/>
                  </a:cubicBezTo>
                  <a:cubicBezTo>
                    <a:pt x="85" y="91"/>
                    <a:pt x="83" y="90"/>
                    <a:pt x="82" y="90"/>
                  </a:cubicBezTo>
                  <a:moveTo>
                    <a:pt x="89" y="95"/>
                  </a:moveTo>
                  <a:cubicBezTo>
                    <a:pt x="88" y="95"/>
                    <a:pt x="87" y="96"/>
                    <a:pt x="87" y="97"/>
                  </a:cubicBezTo>
                  <a:cubicBezTo>
                    <a:pt x="87" y="99"/>
                    <a:pt x="88" y="100"/>
                    <a:pt x="89" y="100"/>
                  </a:cubicBezTo>
                  <a:cubicBezTo>
                    <a:pt x="91" y="100"/>
                    <a:pt x="92" y="99"/>
                    <a:pt x="92" y="97"/>
                  </a:cubicBezTo>
                  <a:cubicBezTo>
                    <a:pt x="92" y="96"/>
                    <a:pt x="91" y="95"/>
                    <a:pt x="89" y="95"/>
                  </a:cubicBezTo>
                  <a:moveTo>
                    <a:pt x="82" y="100"/>
                  </a:moveTo>
                  <a:cubicBezTo>
                    <a:pt x="81" y="100"/>
                    <a:pt x="80" y="101"/>
                    <a:pt x="80" y="102"/>
                  </a:cubicBezTo>
                  <a:cubicBezTo>
                    <a:pt x="80" y="103"/>
                    <a:pt x="81" y="105"/>
                    <a:pt x="82" y="105"/>
                  </a:cubicBezTo>
                  <a:cubicBezTo>
                    <a:pt x="83" y="105"/>
                    <a:pt x="85" y="103"/>
                    <a:pt x="85" y="102"/>
                  </a:cubicBezTo>
                  <a:cubicBezTo>
                    <a:pt x="85" y="101"/>
                    <a:pt x="83" y="100"/>
                    <a:pt x="82" y="100"/>
                  </a:cubicBezTo>
                  <a:moveTo>
                    <a:pt x="96" y="80"/>
                  </a:moveTo>
                  <a:cubicBezTo>
                    <a:pt x="95" y="80"/>
                    <a:pt x="94" y="81"/>
                    <a:pt x="94" y="83"/>
                  </a:cubicBezTo>
                  <a:cubicBezTo>
                    <a:pt x="94" y="84"/>
                    <a:pt x="95" y="85"/>
                    <a:pt x="96" y="85"/>
                  </a:cubicBezTo>
                  <a:cubicBezTo>
                    <a:pt x="98" y="85"/>
                    <a:pt x="99" y="84"/>
                    <a:pt x="99" y="83"/>
                  </a:cubicBezTo>
                  <a:cubicBezTo>
                    <a:pt x="99" y="81"/>
                    <a:pt x="98" y="80"/>
                    <a:pt x="96" y="80"/>
                  </a:cubicBezTo>
                  <a:moveTo>
                    <a:pt x="89" y="85"/>
                  </a:moveTo>
                  <a:cubicBezTo>
                    <a:pt x="88" y="85"/>
                    <a:pt x="87" y="86"/>
                    <a:pt x="87" y="88"/>
                  </a:cubicBezTo>
                  <a:cubicBezTo>
                    <a:pt x="87" y="89"/>
                    <a:pt x="88" y="90"/>
                    <a:pt x="89" y="90"/>
                  </a:cubicBezTo>
                  <a:cubicBezTo>
                    <a:pt x="91" y="90"/>
                    <a:pt x="92" y="89"/>
                    <a:pt x="92" y="88"/>
                  </a:cubicBezTo>
                  <a:cubicBezTo>
                    <a:pt x="92" y="86"/>
                    <a:pt x="91" y="85"/>
                    <a:pt x="89" y="85"/>
                  </a:cubicBezTo>
                  <a:moveTo>
                    <a:pt x="96" y="90"/>
                  </a:moveTo>
                  <a:cubicBezTo>
                    <a:pt x="95" y="90"/>
                    <a:pt x="94" y="91"/>
                    <a:pt x="94" y="92"/>
                  </a:cubicBezTo>
                  <a:cubicBezTo>
                    <a:pt x="94" y="94"/>
                    <a:pt x="95" y="95"/>
                    <a:pt x="96" y="95"/>
                  </a:cubicBezTo>
                  <a:cubicBezTo>
                    <a:pt x="98" y="95"/>
                    <a:pt x="99" y="94"/>
                    <a:pt x="99" y="92"/>
                  </a:cubicBezTo>
                  <a:cubicBezTo>
                    <a:pt x="99" y="91"/>
                    <a:pt x="98" y="90"/>
                    <a:pt x="96" y="90"/>
                  </a:cubicBezTo>
                  <a:moveTo>
                    <a:pt x="96" y="100"/>
                  </a:moveTo>
                  <a:cubicBezTo>
                    <a:pt x="95" y="100"/>
                    <a:pt x="94" y="101"/>
                    <a:pt x="94" y="102"/>
                  </a:cubicBezTo>
                  <a:cubicBezTo>
                    <a:pt x="94" y="103"/>
                    <a:pt x="95" y="105"/>
                    <a:pt x="96" y="105"/>
                  </a:cubicBezTo>
                  <a:cubicBezTo>
                    <a:pt x="98" y="105"/>
                    <a:pt x="99" y="103"/>
                    <a:pt x="99" y="102"/>
                  </a:cubicBezTo>
                  <a:cubicBezTo>
                    <a:pt x="99" y="101"/>
                    <a:pt x="98" y="100"/>
                    <a:pt x="96" y="100"/>
                  </a:cubicBezTo>
                  <a:moveTo>
                    <a:pt x="68" y="90"/>
                  </a:moveTo>
                  <a:cubicBezTo>
                    <a:pt x="67" y="90"/>
                    <a:pt x="66" y="91"/>
                    <a:pt x="66" y="92"/>
                  </a:cubicBezTo>
                  <a:cubicBezTo>
                    <a:pt x="66" y="94"/>
                    <a:pt x="67" y="95"/>
                    <a:pt x="68" y="95"/>
                  </a:cubicBezTo>
                  <a:cubicBezTo>
                    <a:pt x="69" y="95"/>
                    <a:pt x="70" y="94"/>
                    <a:pt x="70" y="92"/>
                  </a:cubicBezTo>
                  <a:cubicBezTo>
                    <a:pt x="70" y="91"/>
                    <a:pt x="69" y="90"/>
                    <a:pt x="68" y="90"/>
                  </a:cubicBezTo>
                  <a:moveTo>
                    <a:pt x="75" y="85"/>
                  </a:moveTo>
                  <a:cubicBezTo>
                    <a:pt x="74" y="85"/>
                    <a:pt x="73" y="86"/>
                    <a:pt x="73" y="88"/>
                  </a:cubicBezTo>
                  <a:cubicBezTo>
                    <a:pt x="73" y="89"/>
                    <a:pt x="74" y="90"/>
                    <a:pt x="75" y="90"/>
                  </a:cubicBezTo>
                  <a:cubicBezTo>
                    <a:pt x="76" y="90"/>
                    <a:pt x="77" y="89"/>
                    <a:pt x="77" y="88"/>
                  </a:cubicBezTo>
                  <a:cubicBezTo>
                    <a:pt x="77" y="86"/>
                    <a:pt x="76" y="85"/>
                    <a:pt x="75" y="85"/>
                  </a:cubicBezTo>
                  <a:moveTo>
                    <a:pt x="68" y="100"/>
                  </a:moveTo>
                  <a:cubicBezTo>
                    <a:pt x="67" y="100"/>
                    <a:pt x="66" y="101"/>
                    <a:pt x="66" y="102"/>
                  </a:cubicBezTo>
                  <a:cubicBezTo>
                    <a:pt x="66" y="103"/>
                    <a:pt x="67" y="105"/>
                    <a:pt x="68" y="105"/>
                  </a:cubicBezTo>
                  <a:cubicBezTo>
                    <a:pt x="69" y="105"/>
                    <a:pt x="70" y="103"/>
                    <a:pt x="70" y="102"/>
                  </a:cubicBezTo>
                  <a:cubicBezTo>
                    <a:pt x="70" y="101"/>
                    <a:pt x="69" y="100"/>
                    <a:pt x="68" y="100"/>
                  </a:cubicBezTo>
                  <a:moveTo>
                    <a:pt x="75" y="95"/>
                  </a:moveTo>
                  <a:cubicBezTo>
                    <a:pt x="74" y="95"/>
                    <a:pt x="73" y="96"/>
                    <a:pt x="73" y="97"/>
                  </a:cubicBezTo>
                  <a:cubicBezTo>
                    <a:pt x="73" y="99"/>
                    <a:pt x="74" y="100"/>
                    <a:pt x="75" y="100"/>
                  </a:cubicBezTo>
                  <a:cubicBezTo>
                    <a:pt x="76" y="100"/>
                    <a:pt x="77" y="99"/>
                    <a:pt x="77" y="97"/>
                  </a:cubicBezTo>
                  <a:cubicBezTo>
                    <a:pt x="77" y="96"/>
                    <a:pt x="76" y="95"/>
                    <a:pt x="75" y="95"/>
                  </a:cubicBezTo>
                  <a:moveTo>
                    <a:pt x="68" y="80"/>
                  </a:moveTo>
                  <a:cubicBezTo>
                    <a:pt x="67" y="80"/>
                    <a:pt x="66" y="81"/>
                    <a:pt x="66" y="83"/>
                  </a:cubicBezTo>
                  <a:cubicBezTo>
                    <a:pt x="66" y="84"/>
                    <a:pt x="67" y="85"/>
                    <a:pt x="68" y="85"/>
                  </a:cubicBezTo>
                  <a:cubicBezTo>
                    <a:pt x="69" y="85"/>
                    <a:pt x="70" y="84"/>
                    <a:pt x="70" y="83"/>
                  </a:cubicBezTo>
                  <a:cubicBezTo>
                    <a:pt x="70" y="81"/>
                    <a:pt x="69" y="80"/>
                    <a:pt x="68" y="80"/>
                  </a:cubicBezTo>
                  <a:moveTo>
                    <a:pt x="70" y="31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81" y="20"/>
                    <a:pt x="81" y="20"/>
                    <a:pt x="81" y="20"/>
                  </a:cubicBezTo>
                  <a:lnTo>
                    <a:pt x="70" y="31"/>
                  </a:lnTo>
                  <a:close/>
                  <a:moveTo>
                    <a:pt x="101" y="17"/>
                  </a:moveTo>
                  <a:cubicBezTo>
                    <a:pt x="86" y="17"/>
                    <a:pt x="86" y="17"/>
                    <a:pt x="86" y="17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2"/>
                    <a:pt x="70" y="2"/>
                    <a:pt x="69" y="3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9"/>
                    <a:pt x="54" y="20"/>
                    <a:pt x="55" y="21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1" y="37"/>
                    <a:pt x="72" y="36"/>
                    <a:pt x="72" y="36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2" y="22"/>
                    <a:pt x="103" y="23"/>
                    <a:pt x="103" y="24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50"/>
                    <a:pt x="100" y="54"/>
                    <a:pt x="96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5" y="54"/>
                    <a:pt x="0" y="59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3" y="95"/>
                    <a:pt x="7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33" y="106"/>
                    <a:pt x="33" y="108"/>
                    <a:pt x="34" y="109"/>
                  </a:cubicBezTo>
                  <a:cubicBezTo>
                    <a:pt x="34" y="109"/>
                    <a:pt x="35" y="109"/>
                    <a:pt x="35" y="109"/>
                  </a:cubicBezTo>
                  <a:cubicBezTo>
                    <a:pt x="36" y="109"/>
                    <a:pt x="36" y="109"/>
                    <a:pt x="37" y="109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2" y="93"/>
                    <a:pt x="52" y="92"/>
                    <a:pt x="51" y="91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6" y="75"/>
                    <a:pt x="34" y="75"/>
                    <a:pt x="34" y="76"/>
                  </a:cubicBezTo>
                  <a:cubicBezTo>
                    <a:pt x="33" y="77"/>
                    <a:pt x="33" y="79"/>
                    <a:pt x="34" y="8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5" y="89"/>
                    <a:pt x="5" y="88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2"/>
                    <a:pt x="8" y="58"/>
                    <a:pt x="12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103" y="58"/>
                    <a:pt x="108" y="53"/>
                    <a:pt x="108" y="46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0"/>
                    <a:pt x="105" y="17"/>
                    <a:pt x="101" y="17"/>
                  </a:cubicBezTo>
                  <a:moveTo>
                    <a:pt x="101" y="105"/>
                  </a:moveTo>
                  <a:cubicBezTo>
                    <a:pt x="101" y="106"/>
                    <a:pt x="100" y="107"/>
                    <a:pt x="99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4" y="107"/>
                    <a:pt x="63" y="106"/>
                    <a:pt x="63" y="105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3" y="79"/>
                    <a:pt x="64" y="78"/>
                    <a:pt x="66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8"/>
                    <a:pt x="101" y="79"/>
                    <a:pt x="101" y="80"/>
                  </a:cubicBezTo>
                  <a:lnTo>
                    <a:pt x="101" y="105"/>
                  </a:lnTo>
                  <a:close/>
                  <a:moveTo>
                    <a:pt x="99" y="73"/>
                  </a:moveTo>
                  <a:cubicBezTo>
                    <a:pt x="66" y="73"/>
                    <a:pt x="66" y="73"/>
                    <a:pt x="66" y="73"/>
                  </a:cubicBezTo>
                  <a:cubicBezTo>
                    <a:pt x="62" y="73"/>
                    <a:pt x="59" y="76"/>
                    <a:pt x="59" y="80"/>
                  </a:cubicBezTo>
                  <a:cubicBezTo>
                    <a:pt x="59" y="105"/>
                    <a:pt x="59" y="105"/>
                    <a:pt x="59" y="105"/>
                  </a:cubicBezTo>
                  <a:cubicBezTo>
                    <a:pt x="59" y="109"/>
                    <a:pt x="62" y="112"/>
                    <a:pt x="66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103" y="112"/>
                    <a:pt x="106" y="109"/>
                    <a:pt x="106" y="105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6"/>
                    <a:pt x="103" y="73"/>
                    <a:pt x="99" y="73"/>
                  </a:cubicBezTo>
                  <a:moveTo>
                    <a:pt x="5" y="7"/>
                  </a:moveTo>
                  <a:cubicBezTo>
                    <a:pt x="5" y="6"/>
                    <a:pt x="6" y="5"/>
                    <a:pt x="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5"/>
                    <a:pt x="42" y="6"/>
                    <a:pt x="42" y="7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3"/>
                    <a:pt x="41" y="34"/>
                    <a:pt x="40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4"/>
                    <a:pt x="5" y="33"/>
                    <a:pt x="5" y="32"/>
                  </a:cubicBezTo>
                  <a:lnTo>
                    <a:pt x="5" y="7"/>
                  </a:lnTo>
                  <a:close/>
                  <a:moveTo>
                    <a:pt x="7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4" y="39"/>
                    <a:pt x="47" y="36"/>
                    <a:pt x="47" y="32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3"/>
                    <a:pt x="44" y="0"/>
                    <a:pt x="4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6"/>
                    <a:pt x="3" y="39"/>
                    <a:pt x="7" y="3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77">
            <a:extLst>
              <a:ext uri="{FF2B5EF4-FFF2-40B4-BE49-F238E27FC236}">
                <a16:creationId xmlns:a16="http://schemas.microsoft.com/office/drawing/2014/main" id="{19FB283E-A819-48D7-AD48-E65320F5ED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54245" y="1580357"/>
            <a:ext cx="760412" cy="758825"/>
            <a:chOff x="2301" y="1004"/>
            <a:chExt cx="479" cy="478"/>
          </a:xfrm>
        </p:grpSpPr>
        <p:sp>
          <p:nvSpPr>
            <p:cNvPr id="91" name="AutoShape 76">
              <a:extLst>
                <a:ext uri="{FF2B5EF4-FFF2-40B4-BE49-F238E27FC236}">
                  <a16:creationId xmlns:a16="http://schemas.microsoft.com/office/drawing/2014/main" id="{72EA0139-65DC-4357-B793-1F40A32A13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01" y="100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8">
              <a:extLst>
                <a:ext uri="{FF2B5EF4-FFF2-40B4-BE49-F238E27FC236}">
                  <a16:creationId xmlns:a16="http://schemas.microsoft.com/office/drawing/2014/main" id="{9E6784A1-BF9E-46FF-8B81-786C2F382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03" y="100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9">
              <a:extLst>
                <a:ext uri="{FF2B5EF4-FFF2-40B4-BE49-F238E27FC236}">
                  <a16:creationId xmlns:a16="http://schemas.microsoft.com/office/drawing/2014/main" id="{74EB1ECE-8E1F-43F7-81BD-652DD325D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7" y="1090"/>
              <a:ext cx="290" cy="309"/>
            </a:xfrm>
            <a:custGeom>
              <a:avLst/>
              <a:gdLst>
                <a:gd name="T0" fmla="*/ 111 w 118"/>
                <a:gd name="T1" fmla="*/ 99 h 126"/>
                <a:gd name="T2" fmla="*/ 90 w 118"/>
                <a:gd name="T3" fmla="*/ 97 h 126"/>
                <a:gd name="T4" fmla="*/ 92 w 118"/>
                <a:gd name="T5" fmla="*/ 75 h 126"/>
                <a:gd name="T6" fmla="*/ 114 w 118"/>
                <a:gd name="T7" fmla="*/ 78 h 126"/>
                <a:gd name="T8" fmla="*/ 57 w 118"/>
                <a:gd name="T9" fmla="*/ 70 h 126"/>
                <a:gd name="T10" fmla="*/ 42 w 118"/>
                <a:gd name="T11" fmla="*/ 78 h 126"/>
                <a:gd name="T12" fmla="*/ 49 w 118"/>
                <a:gd name="T13" fmla="*/ 104 h 126"/>
                <a:gd name="T14" fmla="*/ 57 w 118"/>
                <a:gd name="T15" fmla="*/ 114 h 126"/>
                <a:gd name="T16" fmla="*/ 26 w 118"/>
                <a:gd name="T17" fmla="*/ 121 h 126"/>
                <a:gd name="T18" fmla="*/ 19 w 118"/>
                <a:gd name="T19" fmla="*/ 104 h 126"/>
                <a:gd name="T20" fmla="*/ 33 w 118"/>
                <a:gd name="T21" fmla="*/ 97 h 126"/>
                <a:gd name="T22" fmla="*/ 26 w 118"/>
                <a:gd name="T23" fmla="*/ 70 h 126"/>
                <a:gd name="T24" fmla="*/ 19 w 118"/>
                <a:gd name="T25" fmla="*/ 61 h 126"/>
                <a:gd name="T26" fmla="*/ 57 w 118"/>
                <a:gd name="T27" fmla="*/ 53 h 126"/>
                <a:gd name="T28" fmla="*/ 71 w 118"/>
                <a:gd name="T29" fmla="*/ 78 h 126"/>
                <a:gd name="T30" fmla="*/ 69 w 118"/>
                <a:gd name="T31" fmla="*/ 99 h 126"/>
                <a:gd name="T32" fmla="*/ 47 w 118"/>
                <a:gd name="T33" fmla="*/ 97 h 126"/>
                <a:gd name="T34" fmla="*/ 49 w 118"/>
                <a:gd name="T35" fmla="*/ 75 h 126"/>
                <a:gd name="T36" fmla="*/ 71 w 118"/>
                <a:gd name="T37" fmla="*/ 78 h 126"/>
                <a:gd name="T38" fmla="*/ 4 w 118"/>
                <a:gd name="T39" fmla="*/ 78 h 126"/>
                <a:gd name="T40" fmla="*/ 26 w 118"/>
                <a:gd name="T41" fmla="*/ 75 h 126"/>
                <a:gd name="T42" fmla="*/ 28 w 118"/>
                <a:gd name="T43" fmla="*/ 97 h 126"/>
                <a:gd name="T44" fmla="*/ 7 w 118"/>
                <a:gd name="T45" fmla="*/ 99 h 126"/>
                <a:gd name="T46" fmla="*/ 38 w 118"/>
                <a:gd name="T47" fmla="*/ 27 h 126"/>
                <a:gd name="T48" fmla="*/ 40 w 118"/>
                <a:gd name="T49" fmla="*/ 5 h 126"/>
                <a:gd name="T50" fmla="*/ 80 w 118"/>
                <a:gd name="T51" fmla="*/ 7 h 126"/>
                <a:gd name="T52" fmla="*/ 78 w 118"/>
                <a:gd name="T53" fmla="*/ 29 h 126"/>
                <a:gd name="T54" fmla="*/ 38 w 118"/>
                <a:gd name="T55" fmla="*/ 27 h 126"/>
                <a:gd name="T56" fmla="*/ 104 w 118"/>
                <a:gd name="T57" fmla="*/ 70 h 126"/>
                <a:gd name="T58" fmla="*/ 92 w 118"/>
                <a:gd name="T59" fmla="*/ 48 h 126"/>
                <a:gd name="T60" fmla="*/ 61 w 118"/>
                <a:gd name="T61" fmla="*/ 34 h 126"/>
                <a:gd name="T62" fmla="*/ 85 w 118"/>
                <a:gd name="T63" fmla="*/ 27 h 126"/>
                <a:gd name="T64" fmla="*/ 78 w 118"/>
                <a:gd name="T65" fmla="*/ 0 h 126"/>
                <a:gd name="T66" fmla="*/ 33 w 118"/>
                <a:gd name="T67" fmla="*/ 7 h 126"/>
                <a:gd name="T68" fmla="*/ 40 w 118"/>
                <a:gd name="T69" fmla="*/ 34 h 126"/>
                <a:gd name="T70" fmla="*/ 57 w 118"/>
                <a:gd name="T71" fmla="*/ 48 h 126"/>
                <a:gd name="T72" fmla="*/ 14 w 118"/>
                <a:gd name="T73" fmla="*/ 61 h 126"/>
                <a:gd name="T74" fmla="*/ 7 w 118"/>
                <a:gd name="T75" fmla="*/ 70 h 126"/>
                <a:gd name="T76" fmla="*/ 0 w 118"/>
                <a:gd name="T77" fmla="*/ 97 h 126"/>
                <a:gd name="T78" fmla="*/ 14 w 118"/>
                <a:gd name="T79" fmla="*/ 104 h 126"/>
                <a:gd name="T80" fmla="*/ 26 w 118"/>
                <a:gd name="T81" fmla="*/ 126 h 126"/>
                <a:gd name="T82" fmla="*/ 61 w 118"/>
                <a:gd name="T83" fmla="*/ 114 h 126"/>
                <a:gd name="T84" fmla="*/ 69 w 118"/>
                <a:gd name="T85" fmla="*/ 104 h 126"/>
                <a:gd name="T86" fmla="*/ 76 w 118"/>
                <a:gd name="T87" fmla="*/ 78 h 126"/>
                <a:gd name="T88" fmla="*/ 61 w 118"/>
                <a:gd name="T89" fmla="*/ 70 h 126"/>
                <a:gd name="T90" fmla="*/ 92 w 118"/>
                <a:gd name="T91" fmla="*/ 53 h 126"/>
                <a:gd name="T92" fmla="*/ 99 w 118"/>
                <a:gd name="T93" fmla="*/ 70 h 126"/>
                <a:gd name="T94" fmla="*/ 85 w 118"/>
                <a:gd name="T95" fmla="*/ 78 h 126"/>
                <a:gd name="T96" fmla="*/ 92 w 118"/>
                <a:gd name="T97" fmla="*/ 104 h 126"/>
                <a:gd name="T98" fmla="*/ 118 w 118"/>
                <a:gd name="T99" fmla="*/ 97 h 126"/>
                <a:gd name="T100" fmla="*/ 111 w 118"/>
                <a:gd name="T101" fmla="*/ 7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26">
                  <a:moveTo>
                    <a:pt x="114" y="97"/>
                  </a:moveTo>
                  <a:cubicBezTo>
                    <a:pt x="114" y="98"/>
                    <a:pt x="113" y="99"/>
                    <a:pt x="111" y="99"/>
                  </a:cubicBezTo>
                  <a:cubicBezTo>
                    <a:pt x="92" y="99"/>
                    <a:pt x="92" y="99"/>
                    <a:pt x="92" y="99"/>
                  </a:cubicBezTo>
                  <a:cubicBezTo>
                    <a:pt x="91" y="99"/>
                    <a:pt x="90" y="98"/>
                    <a:pt x="90" y="97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6"/>
                    <a:pt x="91" y="75"/>
                    <a:pt x="92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3" y="75"/>
                    <a:pt x="114" y="76"/>
                    <a:pt x="114" y="78"/>
                  </a:cubicBezTo>
                  <a:lnTo>
                    <a:pt x="114" y="97"/>
                  </a:lnTo>
                  <a:close/>
                  <a:moveTo>
                    <a:pt x="57" y="70"/>
                  </a:moveTo>
                  <a:cubicBezTo>
                    <a:pt x="49" y="70"/>
                    <a:pt x="49" y="70"/>
                    <a:pt x="49" y="70"/>
                  </a:cubicBezTo>
                  <a:cubicBezTo>
                    <a:pt x="46" y="70"/>
                    <a:pt x="42" y="74"/>
                    <a:pt x="42" y="78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01"/>
                    <a:pt x="46" y="104"/>
                    <a:pt x="49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7" y="118"/>
                    <a:pt x="53" y="121"/>
                    <a:pt x="49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2" y="121"/>
                    <a:pt x="19" y="118"/>
                    <a:pt x="19" y="11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104"/>
                    <a:pt x="33" y="101"/>
                    <a:pt x="33" y="97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4"/>
                    <a:pt x="30" y="70"/>
                    <a:pt x="26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57"/>
                    <a:pt x="22" y="53"/>
                    <a:pt x="26" y="53"/>
                  </a:cubicBezTo>
                  <a:cubicBezTo>
                    <a:pt x="57" y="53"/>
                    <a:pt x="57" y="53"/>
                    <a:pt x="57" y="53"/>
                  </a:cubicBezTo>
                  <a:lnTo>
                    <a:pt x="57" y="70"/>
                  </a:lnTo>
                  <a:close/>
                  <a:moveTo>
                    <a:pt x="71" y="78"/>
                  </a:moveTo>
                  <a:cubicBezTo>
                    <a:pt x="71" y="97"/>
                    <a:pt x="71" y="97"/>
                    <a:pt x="71" y="97"/>
                  </a:cubicBezTo>
                  <a:cubicBezTo>
                    <a:pt x="71" y="98"/>
                    <a:pt x="70" y="99"/>
                    <a:pt x="6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8" y="99"/>
                    <a:pt x="47" y="98"/>
                    <a:pt x="47" y="97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6"/>
                    <a:pt x="48" y="75"/>
                    <a:pt x="4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70" y="75"/>
                    <a:pt x="71" y="76"/>
                    <a:pt x="71" y="78"/>
                  </a:cubicBezTo>
                  <a:moveTo>
                    <a:pt x="4" y="97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4" y="76"/>
                    <a:pt x="5" y="75"/>
                    <a:pt x="7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8" y="76"/>
                    <a:pt x="28" y="78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98"/>
                    <a:pt x="27" y="99"/>
                    <a:pt x="26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99"/>
                    <a:pt x="4" y="98"/>
                    <a:pt x="4" y="97"/>
                  </a:cubicBezTo>
                  <a:moveTo>
                    <a:pt x="38" y="27"/>
                  </a:moveTo>
                  <a:cubicBezTo>
                    <a:pt x="38" y="7"/>
                    <a:pt x="38" y="7"/>
                    <a:pt x="38" y="7"/>
                  </a:cubicBezTo>
                  <a:cubicBezTo>
                    <a:pt x="38" y="6"/>
                    <a:pt x="39" y="5"/>
                    <a:pt x="40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9" y="5"/>
                    <a:pt x="80" y="6"/>
                    <a:pt x="80" y="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79" y="29"/>
                    <a:pt x="78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9"/>
                    <a:pt x="38" y="28"/>
                    <a:pt x="38" y="27"/>
                  </a:cubicBezTo>
                  <a:moveTo>
                    <a:pt x="111" y="70"/>
                  </a:moveTo>
                  <a:cubicBezTo>
                    <a:pt x="104" y="70"/>
                    <a:pt x="104" y="70"/>
                    <a:pt x="104" y="70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54"/>
                    <a:pt x="99" y="48"/>
                    <a:pt x="92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82" y="34"/>
                    <a:pt x="85" y="31"/>
                    <a:pt x="85" y="2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3"/>
                    <a:pt x="82" y="0"/>
                    <a:pt x="7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6" y="0"/>
                    <a:pt x="33" y="3"/>
                    <a:pt x="33" y="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31"/>
                    <a:pt x="36" y="34"/>
                    <a:pt x="40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9" y="48"/>
                    <a:pt x="14" y="54"/>
                    <a:pt x="14" y="61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3" y="70"/>
                    <a:pt x="0" y="74"/>
                    <a:pt x="0" y="7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1"/>
                    <a:pt x="3" y="104"/>
                    <a:pt x="7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21"/>
                    <a:pt x="19" y="126"/>
                    <a:pt x="26" y="126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56" y="126"/>
                    <a:pt x="61" y="121"/>
                    <a:pt x="61" y="11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72" y="104"/>
                    <a:pt x="76" y="101"/>
                    <a:pt x="76" y="97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4"/>
                    <a:pt x="72" y="70"/>
                    <a:pt x="69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6" y="53"/>
                    <a:pt x="99" y="57"/>
                    <a:pt x="99" y="6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88" y="70"/>
                    <a:pt x="85" y="74"/>
                    <a:pt x="85" y="78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01"/>
                    <a:pt x="88" y="104"/>
                    <a:pt x="92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5" y="104"/>
                    <a:pt x="118" y="101"/>
                    <a:pt x="118" y="97"/>
                  </a:cubicBezTo>
                  <a:cubicBezTo>
                    <a:pt x="118" y="78"/>
                    <a:pt x="118" y="78"/>
                    <a:pt x="118" y="78"/>
                  </a:cubicBezTo>
                  <a:cubicBezTo>
                    <a:pt x="118" y="74"/>
                    <a:pt x="115" y="70"/>
                    <a:pt x="111" y="7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0">
              <a:extLst>
                <a:ext uri="{FF2B5EF4-FFF2-40B4-BE49-F238E27FC236}">
                  <a16:creationId xmlns:a16="http://schemas.microsoft.com/office/drawing/2014/main" id="{D4FAD462-D7A2-4E44-91B9-B0773CF0E3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7" y="1090"/>
              <a:ext cx="290" cy="309"/>
            </a:xfrm>
            <a:custGeom>
              <a:avLst/>
              <a:gdLst>
                <a:gd name="T0" fmla="*/ 111 w 118"/>
                <a:gd name="T1" fmla="*/ 99 h 126"/>
                <a:gd name="T2" fmla="*/ 90 w 118"/>
                <a:gd name="T3" fmla="*/ 97 h 126"/>
                <a:gd name="T4" fmla="*/ 92 w 118"/>
                <a:gd name="T5" fmla="*/ 75 h 126"/>
                <a:gd name="T6" fmla="*/ 114 w 118"/>
                <a:gd name="T7" fmla="*/ 78 h 126"/>
                <a:gd name="T8" fmla="*/ 57 w 118"/>
                <a:gd name="T9" fmla="*/ 70 h 126"/>
                <a:gd name="T10" fmla="*/ 42 w 118"/>
                <a:gd name="T11" fmla="*/ 78 h 126"/>
                <a:gd name="T12" fmla="*/ 49 w 118"/>
                <a:gd name="T13" fmla="*/ 104 h 126"/>
                <a:gd name="T14" fmla="*/ 57 w 118"/>
                <a:gd name="T15" fmla="*/ 114 h 126"/>
                <a:gd name="T16" fmla="*/ 26 w 118"/>
                <a:gd name="T17" fmla="*/ 121 h 126"/>
                <a:gd name="T18" fmla="*/ 19 w 118"/>
                <a:gd name="T19" fmla="*/ 104 h 126"/>
                <a:gd name="T20" fmla="*/ 33 w 118"/>
                <a:gd name="T21" fmla="*/ 97 h 126"/>
                <a:gd name="T22" fmla="*/ 26 w 118"/>
                <a:gd name="T23" fmla="*/ 70 h 126"/>
                <a:gd name="T24" fmla="*/ 19 w 118"/>
                <a:gd name="T25" fmla="*/ 61 h 126"/>
                <a:gd name="T26" fmla="*/ 57 w 118"/>
                <a:gd name="T27" fmla="*/ 53 h 126"/>
                <a:gd name="T28" fmla="*/ 71 w 118"/>
                <a:gd name="T29" fmla="*/ 78 h 126"/>
                <a:gd name="T30" fmla="*/ 69 w 118"/>
                <a:gd name="T31" fmla="*/ 99 h 126"/>
                <a:gd name="T32" fmla="*/ 47 w 118"/>
                <a:gd name="T33" fmla="*/ 97 h 126"/>
                <a:gd name="T34" fmla="*/ 49 w 118"/>
                <a:gd name="T35" fmla="*/ 75 h 126"/>
                <a:gd name="T36" fmla="*/ 71 w 118"/>
                <a:gd name="T37" fmla="*/ 78 h 126"/>
                <a:gd name="T38" fmla="*/ 4 w 118"/>
                <a:gd name="T39" fmla="*/ 78 h 126"/>
                <a:gd name="T40" fmla="*/ 26 w 118"/>
                <a:gd name="T41" fmla="*/ 75 h 126"/>
                <a:gd name="T42" fmla="*/ 28 w 118"/>
                <a:gd name="T43" fmla="*/ 97 h 126"/>
                <a:gd name="T44" fmla="*/ 7 w 118"/>
                <a:gd name="T45" fmla="*/ 99 h 126"/>
                <a:gd name="T46" fmla="*/ 38 w 118"/>
                <a:gd name="T47" fmla="*/ 27 h 126"/>
                <a:gd name="T48" fmla="*/ 40 w 118"/>
                <a:gd name="T49" fmla="*/ 5 h 126"/>
                <a:gd name="T50" fmla="*/ 80 w 118"/>
                <a:gd name="T51" fmla="*/ 7 h 126"/>
                <a:gd name="T52" fmla="*/ 78 w 118"/>
                <a:gd name="T53" fmla="*/ 29 h 126"/>
                <a:gd name="T54" fmla="*/ 38 w 118"/>
                <a:gd name="T55" fmla="*/ 27 h 126"/>
                <a:gd name="T56" fmla="*/ 104 w 118"/>
                <a:gd name="T57" fmla="*/ 70 h 126"/>
                <a:gd name="T58" fmla="*/ 92 w 118"/>
                <a:gd name="T59" fmla="*/ 48 h 126"/>
                <a:gd name="T60" fmla="*/ 61 w 118"/>
                <a:gd name="T61" fmla="*/ 34 h 126"/>
                <a:gd name="T62" fmla="*/ 85 w 118"/>
                <a:gd name="T63" fmla="*/ 27 h 126"/>
                <a:gd name="T64" fmla="*/ 78 w 118"/>
                <a:gd name="T65" fmla="*/ 0 h 126"/>
                <a:gd name="T66" fmla="*/ 33 w 118"/>
                <a:gd name="T67" fmla="*/ 7 h 126"/>
                <a:gd name="T68" fmla="*/ 40 w 118"/>
                <a:gd name="T69" fmla="*/ 34 h 126"/>
                <a:gd name="T70" fmla="*/ 57 w 118"/>
                <a:gd name="T71" fmla="*/ 48 h 126"/>
                <a:gd name="T72" fmla="*/ 14 w 118"/>
                <a:gd name="T73" fmla="*/ 61 h 126"/>
                <a:gd name="T74" fmla="*/ 7 w 118"/>
                <a:gd name="T75" fmla="*/ 70 h 126"/>
                <a:gd name="T76" fmla="*/ 0 w 118"/>
                <a:gd name="T77" fmla="*/ 97 h 126"/>
                <a:gd name="T78" fmla="*/ 14 w 118"/>
                <a:gd name="T79" fmla="*/ 104 h 126"/>
                <a:gd name="T80" fmla="*/ 26 w 118"/>
                <a:gd name="T81" fmla="*/ 126 h 126"/>
                <a:gd name="T82" fmla="*/ 61 w 118"/>
                <a:gd name="T83" fmla="*/ 114 h 126"/>
                <a:gd name="T84" fmla="*/ 69 w 118"/>
                <a:gd name="T85" fmla="*/ 104 h 126"/>
                <a:gd name="T86" fmla="*/ 76 w 118"/>
                <a:gd name="T87" fmla="*/ 78 h 126"/>
                <a:gd name="T88" fmla="*/ 61 w 118"/>
                <a:gd name="T89" fmla="*/ 70 h 126"/>
                <a:gd name="T90" fmla="*/ 92 w 118"/>
                <a:gd name="T91" fmla="*/ 53 h 126"/>
                <a:gd name="T92" fmla="*/ 99 w 118"/>
                <a:gd name="T93" fmla="*/ 70 h 126"/>
                <a:gd name="T94" fmla="*/ 85 w 118"/>
                <a:gd name="T95" fmla="*/ 78 h 126"/>
                <a:gd name="T96" fmla="*/ 92 w 118"/>
                <a:gd name="T97" fmla="*/ 104 h 126"/>
                <a:gd name="T98" fmla="*/ 118 w 118"/>
                <a:gd name="T99" fmla="*/ 97 h 126"/>
                <a:gd name="T100" fmla="*/ 111 w 118"/>
                <a:gd name="T101" fmla="*/ 7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26">
                  <a:moveTo>
                    <a:pt x="114" y="97"/>
                  </a:moveTo>
                  <a:cubicBezTo>
                    <a:pt x="114" y="98"/>
                    <a:pt x="113" y="99"/>
                    <a:pt x="111" y="99"/>
                  </a:cubicBezTo>
                  <a:cubicBezTo>
                    <a:pt x="92" y="99"/>
                    <a:pt x="92" y="99"/>
                    <a:pt x="92" y="99"/>
                  </a:cubicBezTo>
                  <a:cubicBezTo>
                    <a:pt x="91" y="99"/>
                    <a:pt x="90" y="98"/>
                    <a:pt x="90" y="97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6"/>
                    <a:pt x="91" y="75"/>
                    <a:pt x="92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3" y="75"/>
                    <a:pt x="114" y="76"/>
                    <a:pt x="114" y="78"/>
                  </a:cubicBezTo>
                  <a:lnTo>
                    <a:pt x="114" y="97"/>
                  </a:lnTo>
                  <a:close/>
                  <a:moveTo>
                    <a:pt x="57" y="70"/>
                  </a:moveTo>
                  <a:cubicBezTo>
                    <a:pt x="49" y="70"/>
                    <a:pt x="49" y="70"/>
                    <a:pt x="49" y="70"/>
                  </a:cubicBezTo>
                  <a:cubicBezTo>
                    <a:pt x="46" y="70"/>
                    <a:pt x="42" y="74"/>
                    <a:pt x="42" y="78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01"/>
                    <a:pt x="46" y="104"/>
                    <a:pt x="49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7" y="118"/>
                    <a:pt x="53" y="121"/>
                    <a:pt x="49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2" y="121"/>
                    <a:pt x="19" y="118"/>
                    <a:pt x="19" y="11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104"/>
                    <a:pt x="33" y="101"/>
                    <a:pt x="33" y="97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4"/>
                    <a:pt x="30" y="70"/>
                    <a:pt x="26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57"/>
                    <a:pt x="22" y="53"/>
                    <a:pt x="26" y="53"/>
                  </a:cubicBezTo>
                  <a:cubicBezTo>
                    <a:pt x="57" y="53"/>
                    <a:pt x="57" y="53"/>
                    <a:pt x="57" y="53"/>
                  </a:cubicBezTo>
                  <a:lnTo>
                    <a:pt x="57" y="70"/>
                  </a:lnTo>
                  <a:close/>
                  <a:moveTo>
                    <a:pt x="71" y="78"/>
                  </a:moveTo>
                  <a:cubicBezTo>
                    <a:pt x="71" y="97"/>
                    <a:pt x="71" y="97"/>
                    <a:pt x="71" y="97"/>
                  </a:cubicBezTo>
                  <a:cubicBezTo>
                    <a:pt x="71" y="98"/>
                    <a:pt x="70" y="99"/>
                    <a:pt x="6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8" y="99"/>
                    <a:pt x="47" y="98"/>
                    <a:pt x="47" y="97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6"/>
                    <a:pt x="48" y="75"/>
                    <a:pt x="4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70" y="75"/>
                    <a:pt x="71" y="76"/>
                    <a:pt x="71" y="78"/>
                  </a:cubicBezTo>
                  <a:moveTo>
                    <a:pt x="4" y="97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4" y="76"/>
                    <a:pt x="5" y="75"/>
                    <a:pt x="7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8" y="76"/>
                    <a:pt x="28" y="78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98"/>
                    <a:pt x="27" y="99"/>
                    <a:pt x="26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99"/>
                    <a:pt x="4" y="98"/>
                    <a:pt x="4" y="97"/>
                  </a:cubicBezTo>
                  <a:moveTo>
                    <a:pt x="38" y="27"/>
                  </a:moveTo>
                  <a:cubicBezTo>
                    <a:pt x="38" y="7"/>
                    <a:pt x="38" y="7"/>
                    <a:pt x="38" y="7"/>
                  </a:cubicBezTo>
                  <a:cubicBezTo>
                    <a:pt x="38" y="6"/>
                    <a:pt x="39" y="5"/>
                    <a:pt x="40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9" y="5"/>
                    <a:pt x="80" y="6"/>
                    <a:pt x="80" y="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79" y="29"/>
                    <a:pt x="78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9"/>
                    <a:pt x="38" y="28"/>
                    <a:pt x="38" y="27"/>
                  </a:cubicBezTo>
                  <a:moveTo>
                    <a:pt x="111" y="70"/>
                  </a:moveTo>
                  <a:cubicBezTo>
                    <a:pt x="104" y="70"/>
                    <a:pt x="104" y="70"/>
                    <a:pt x="104" y="70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54"/>
                    <a:pt x="99" y="48"/>
                    <a:pt x="92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82" y="34"/>
                    <a:pt x="85" y="31"/>
                    <a:pt x="85" y="2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3"/>
                    <a:pt x="82" y="0"/>
                    <a:pt x="7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6" y="0"/>
                    <a:pt x="33" y="3"/>
                    <a:pt x="33" y="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31"/>
                    <a:pt x="36" y="34"/>
                    <a:pt x="40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9" y="48"/>
                    <a:pt x="14" y="54"/>
                    <a:pt x="14" y="61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3" y="70"/>
                    <a:pt x="0" y="74"/>
                    <a:pt x="0" y="7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1"/>
                    <a:pt x="3" y="104"/>
                    <a:pt x="7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21"/>
                    <a:pt x="19" y="126"/>
                    <a:pt x="26" y="126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56" y="126"/>
                    <a:pt x="61" y="121"/>
                    <a:pt x="61" y="11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72" y="104"/>
                    <a:pt x="76" y="101"/>
                    <a:pt x="76" y="97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4"/>
                    <a:pt x="72" y="70"/>
                    <a:pt x="69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6" y="53"/>
                    <a:pt x="99" y="57"/>
                    <a:pt x="99" y="6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88" y="70"/>
                    <a:pt x="85" y="74"/>
                    <a:pt x="85" y="78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01"/>
                    <a:pt x="88" y="104"/>
                    <a:pt x="92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5" y="104"/>
                    <a:pt x="118" y="101"/>
                    <a:pt x="118" y="97"/>
                  </a:cubicBezTo>
                  <a:cubicBezTo>
                    <a:pt x="118" y="78"/>
                    <a:pt x="118" y="78"/>
                    <a:pt x="118" y="78"/>
                  </a:cubicBezTo>
                  <a:cubicBezTo>
                    <a:pt x="118" y="74"/>
                    <a:pt x="115" y="70"/>
                    <a:pt x="111" y="7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83">
            <a:extLst>
              <a:ext uri="{FF2B5EF4-FFF2-40B4-BE49-F238E27FC236}">
                <a16:creationId xmlns:a16="http://schemas.microsoft.com/office/drawing/2014/main" id="{BCEBD33A-B151-4049-92E6-FF3B77E848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4501" y="1539082"/>
            <a:ext cx="842962" cy="841375"/>
            <a:chOff x="1565" y="1004"/>
            <a:chExt cx="531" cy="530"/>
          </a:xfrm>
        </p:grpSpPr>
        <p:sp>
          <p:nvSpPr>
            <p:cNvPr id="96" name="AutoShape 82">
              <a:extLst>
                <a:ext uri="{FF2B5EF4-FFF2-40B4-BE49-F238E27FC236}">
                  <a16:creationId xmlns:a16="http://schemas.microsoft.com/office/drawing/2014/main" id="{9AEE4360-53E2-482C-B002-18DC382405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65" y="1004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84">
              <a:extLst>
                <a:ext uri="{FF2B5EF4-FFF2-40B4-BE49-F238E27FC236}">
                  <a16:creationId xmlns:a16="http://schemas.microsoft.com/office/drawing/2014/main" id="{51BEE972-AB99-4A2D-AA14-C6A8B8BE4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" y="1004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85">
              <a:extLst>
                <a:ext uri="{FF2B5EF4-FFF2-40B4-BE49-F238E27FC236}">
                  <a16:creationId xmlns:a16="http://schemas.microsoft.com/office/drawing/2014/main" id="{89DAC2C3-5350-4842-A244-90D57822A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3" y="1022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6">
              <a:extLst>
                <a:ext uri="{FF2B5EF4-FFF2-40B4-BE49-F238E27FC236}">
                  <a16:creationId xmlns:a16="http://schemas.microsoft.com/office/drawing/2014/main" id="{FF15C112-2D00-4864-BDDD-AA9B549B5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0" y="1109"/>
              <a:ext cx="303" cy="322"/>
            </a:xfrm>
            <a:custGeom>
              <a:avLst/>
              <a:gdLst>
                <a:gd name="T0" fmla="*/ 111 w 118"/>
                <a:gd name="T1" fmla="*/ 99 h 126"/>
                <a:gd name="T2" fmla="*/ 90 w 118"/>
                <a:gd name="T3" fmla="*/ 97 h 126"/>
                <a:gd name="T4" fmla="*/ 92 w 118"/>
                <a:gd name="T5" fmla="*/ 75 h 126"/>
                <a:gd name="T6" fmla="*/ 114 w 118"/>
                <a:gd name="T7" fmla="*/ 78 h 126"/>
                <a:gd name="T8" fmla="*/ 57 w 118"/>
                <a:gd name="T9" fmla="*/ 70 h 126"/>
                <a:gd name="T10" fmla="*/ 42 w 118"/>
                <a:gd name="T11" fmla="*/ 78 h 126"/>
                <a:gd name="T12" fmla="*/ 49 w 118"/>
                <a:gd name="T13" fmla="*/ 104 h 126"/>
                <a:gd name="T14" fmla="*/ 57 w 118"/>
                <a:gd name="T15" fmla="*/ 114 h 126"/>
                <a:gd name="T16" fmla="*/ 26 w 118"/>
                <a:gd name="T17" fmla="*/ 121 h 126"/>
                <a:gd name="T18" fmla="*/ 19 w 118"/>
                <a:gd name="T19" fmla="*/ 104 h 126"/>
                <a:gd name="T20" fmla="*/ 33 w 118"/>
                <a:gd name="T21" fmla="*/ 97 h 126"/>
                <a:gd name="T22" fmla="*/ 26 w 118"/>
                <a:gd name="T23" fmla="*/ 70 h 126"/>
                <a:gd name="T24" fmla="*/ 19 w 118"/>
                <a:gd name="T25" fmla="*/ 61 h 126"/>
                <a:gd name="T26" fmla="*/ 57 w 118"/>
                <a:gd name="T27" fmla="*/ 53 h 126"/>
                <a:gd name="T28" fmla="*/ 71 w 118"/>
                <a:gd name="T29" fmla="*/ 78 h 126"/>
                <a:gd name="T30" fmla="*/ 69 w 118"/>
                <a:gd name="T31" fmla="*/ 99 h 126"/>
                <a:gd name="T32" fmla="*/ 47 w 118"/>
                <a:gd name="T33" fmla="*/ 97 h 126"/>
                <a:gd name="T34" fmla="*/ 49 w 118"/>
                <a:gd name="T35" fmla="*/ 75 h 126"/>
                <a:gd name="T36" fmla="*/ 71 w 118"/>
                <a:gd name="T37" fmla="*/ 78 h 126"/>
                <a:gd name="T38" fmla="*/ 4 w 118"/>
                <a:gd name="T39" fmla="*/ 78 h 126"/>
                <a:gd name="T40" fmla="*/ 26 w 118"/>
                <a:gd name="T41" fmla="*/ 75 h 126"/>
                <a:gd name="T42" fmla="*/ 28 w 118"/>
                <a:gd name="T43" fmla="*/ 97 h 126"/>
                <a:gd name="T44" fmla="*/ 7 w 118"/>
                <a:gd name="T45" fmla="*/ 99 h 126"/>
                <a:gd name="T46" fmla="*/ 38 w 118"/>
                <a:gd name="T47" fmla="*/ 27 h 126"/>
                <a:gd name="T48" fmla="*/ 40 w 118"/>
                <a:gd name="T49" fmla="*/ 5 h 126"/>
                <a:gd name="T50" fmla="*/ 80 w 118"/>
                <a:gd name="T51" fmla="*/ 7 h 126"/>
                <a:gd name="T52" fmla="*/ 78 w 118"/>
                <a:gd name="T53" fmla="*/ 29 h 126"/>
                <a:gd name="T54" fmla="*/ 38 w 118"/>
                <a:gd name="T55" fmla="*/ 27 h 126"/>
                <a:gd name="T56" fmla="*/ 104 w 118"/>
                <a:gd name="T57" fmla="*/ 70 h 126"/>
                <a:gd name="T58" fmla="*/ 92 w 118"/>
                <a:gd name="T59" fmla="*/ 48 h 126"/>
                <a:gd name="T60" fmla="*/ 61 w 118"/>
                <a:gd name="T61" fmla="*/ 34 h 126"/>
                <a:gd name="T62" fmla="*/ 85 w 118"/>
                <a:gd name="T63" fmla="*/ 27 h 126"/>
                <a:gd name="T64" fmla="*/ 78 w 118"/>
                <a:gd name="T65" fmla="*/ 0 h 126"/>
                <a:gd name="T66" fmla="*/ 33 w 118"/>
                <a:gd name="T67" fmla="*/ 7 h 126"/>
                <a:gd name="T68" fmla="*/ 40 w 118"/>
                <a:gd name="T69" fmla="*/ 34 h 126"/>
                <a:gd name="T70" fmla="*/ 57 w 118"/>
                <a:gd name="T71" fmla="*/ 48 h 126"/>
                <a:gd name="T72" fmla="*/ 14 w 118"/>
                <a:gd name="T73" fmla="*/ 61 h 126"/>
                <a:gd name="T74" fmla="*/ 7 w 118"/>
                <a:gd name="T75" fmla="*/ 70 h 126"/>
                <a:gd name="T76" fmla="*/ 0 w 118"/>
                <a:gd name="T77" fmla="*/ 97 h 126"/>
                <a:gd name="T78" fmla="*/ 14 w 118"/>
                <a:gd name="T79" fmla="*/ 104 h 126"/>
                <a:gd name="T80" fmla="*/ 26 w 118"/>
                <a:gd name="T81" fmla="*/ 126 h 126"/>
                <a:gd name="T82" fmla="*/ 61 w 118"/>
                <a:gd name="T83" fmla="*/ 114 h 126"/>
                <a:gd name="T84" fmla="*/ 69 w 118"/>
                <a:gd name="T85" fmla="*/ 104 h 126"/>
                <a:gd name="T86" fmla="*/ 76 w 118"/>
                <a:gd name="T87" fmla="*/ 78 h 126"/>
                <a:gd name="T88" fmla="*/ 61 w 118"/>
                <a:gd name="T89" fmla="*/ 70 h 126"/>
                <a:gd name="T90" fmla="*/ 92 w 118"/>
                <a:gd name="T91" fmla="*/ 53 h 126"/>
                <a:gd name="T92" fmla="*/ 99 w 118"/>
                <a:gd name="T93" fmla="*/ 70 h 126"/>
                <a:gd name="T94" fmla="*/ 85 w 118"/>
                <a:gd name="T95" fmla="*/ 78 h 126"/>
                <a:gd name="T96" fmla="*/ 92 w 118"/>
                <a:gd name="T97" fmla="*/ 104 h 126"/>
                <a:gd name="T98" fmla="*/ 118 w 118"/>
                <a:gd name="T99" fmla="*/ 97 h 126"/>
                <a:gd name="T100" fmla="*/ 111 w 118"/>
                <a:gd name="T101" fmla="*/ 7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26">
                  <a:moveTo>
                    <a:pt x="114" y="97"/>
                  </a:moveTo>
                  <a:cubicBezTo>
                    <a:pt x="114" y="98"/>
                    <a:pt x="113" y="99"/>
                    <a:pt x="111" y="99"/>
                  </a:cubicBezTo>
                  <a:cubicBezTo>
                    <a:pt x="92" y="99"/>
                    <a:pt x="92" y="99"/>
                    <a:pt x="92" y="99"/>
                  </a:cubicBezTo>
                  <a:cubicBezTo>
                    <a:pt x="91" y="99"/>
                    <a:pt x="90" y="98"/>
                    <a:pt x="90" y="97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6"/>
                    <a:pt x="91" y="75"/>
                    <a:pt x="92" y="75"/>
                  </a:cubicBezTo>
                  <a:cubicBezTo>
                    <a:pt x="111" y="75"/>
                    <a:pt x="111" y="75"/>
                    <a:pt x="111" y="75"/>
                  </a:cubicBezTo>
                  <a:cubicBezTo>
                    <a:pt x="113" y="75"/>
                    <a:pt x="114" y="76"/>
                    <a:pt x="114" y="78"/>
                  </a:cubicBezTo>
                  <a:lnTo>
                    <a:pt x="114" y="97"/>
                  </a:lnTo>
                  <a:close/>
                  <a:moveTo>
                    <a:pt x="57" y="70"/>
                  </a:moveTo>
                  <a:cubicBezTo>
                    <a:pt x="49" y="70"/>
                    <a:pt x="49" y="70"/>
                    <a:pt x="49" y="70"/>
                  </a:cubicBezTo>
                  <a:cubicBezTo>
                    <a:pt x="46" y="70"/>
                    <a:pt x="42" y="74"/>
                    <a:pt x="42" y="78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01"/>
                    <a:pt x="46" y="104"/>
                    <a:pt x="49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7" y="118"/>
                    <a:pt x="53" y="121"/>
                    <a:pt x="49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2" y="121"/>
                    <a:pt x="19" y="118"/>
                    <a:pt x="19" y="11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104"/>
                    <a:pt x="33" y="101"/>
                    <a:pt x="33" y="97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4"/>
                    <a:pt x="30" y="70"/>
                    <a:pt x="26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57"/>
                    <a:pt x="22" y="53"/>
                    <a:pt x="26" y="53"/>
                  </a:cubicBezTo>
                  <a:cubicBezTo>
                    <a:pt x="57" y="53"/>
                    <a:pt x="57" y="53"/>
                    <a:pt x="57" y="53"/>
                  </a:cubicBezTo>
                  <a:lnTo>
                    <a:pt x="57" y="70"/>
                  </a:lnTo>
                  <a:close/>
                  <a:moveTo>
                    <a:pt x="71" y="78"/>
                  </a:moveTo>
                  <a:cubicBezTo>
                    <a:pt x="71" y="97"/>
                    <a:pt x="71" y="97"/>
                    <a:pt x="71" y="97"/>
                  </a:cubicBezTo>
                  <a:cubicBezTo>
                    <a:pt x="71" y="98"/>
                    <a:pt x="70" y="99"/>
                    <a:pt x="6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8" y="99"/>
                    <a:pt x="47" y="98"/>
                    <a:pt x="47" y="97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6"/>
                    <a:pt x="48" y="75"/>
                    <a:pt x="4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70" y="75"/>
                    <a:pt x="71" y="76"/>
                    <a:pt x="71" y="78"/>
                  </a:cubicBezTo>
                  <a:moveTo>
                    <a:pt x="4" y="97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4" y="76"/>
                    <a:pt x="5" y="75"/>
                    <a:pt x="7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8" y="76"/>
                    <a:pt x="28" y="78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98"/>
                    <a:pt x="27" y="99"/>
                    <a:pt x="26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99"/>
                    <a:pt x="4" y="98"/>
                    <a:pt x="4" y="97"/>
                  </a:cubicBezTo>
                  <a:moveTo>
                    <a:pt x="38" y="27"/>
                  </a:moveTo>
                  <a:cubicBezTo>
                    <a:pt x="38" y="7"/>
                    <a:pt x="38" y="7"/>
                    <a:pt x="38" y="7"/>
                  </a:cubicBezTo>
                  <a:cubicBezTo>
                    <a:pt x="38" y="6"/>
                    <a:pt x="39" y="5"/>
                    <a:pt x="40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9" y="5"/>
                    <a:pt x="80" y="6"/>
                    <a:pt x="80" y="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79" y="29"/>
                    <a:pt x="78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9"/>
                    <a:pt x="38" y="28"/>
                    <a:pt x="38" y="27"/>
                  </a:cubicBezTo>
                  <a:moveTo>
                    <a:pt x="111" y="70"/>
                  </a:moveTo>
                  <a:cubicBezTo>
                    <a:pt x="104" y="70"/>
                    <a:pt x="104" y="70"/>
                    <a:pt x="104" y="70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54"/>
                    <a:pt x="99" y="48"/>
                    <a:pt x="92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82" y="34"/>
                    <a:pt x="85" y="31"/>
                    <a:pt x="85" y="2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3"/>
                    <a:pt x="82" y="0"/>
                    <a:pt x="7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6" y="0"/>
                    <a:pt x="33" y="3"/>
                    <a:pt x="33" y="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31"/>
                    <a:pt x="36" y="34"/>
                    <a:pt x="40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9" y="48"/>
                    <a:pt x="14" y="54"/>
                    <a:pt x="14" y="61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3" y="70"/>
                    <a:pt x="0" y="74"/>
                    <a:pt x="0" y="7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1"/>
                    <a:pt x="3" y="104"/>
                    <a:pt x="7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21"/>
                    <a:pt x="19" y="126"/>
                    <a:pt x="26" y="126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56" y="126"/>
                    <a:pt x="61" y="121"/>
                    <a:pt x="61" y="11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72" y="104"/>
                    <a:pt x="76" y="101"/>
                    <a:pt x="76" y="97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4"/>
                    <a:pt x="72" y="70"/>
                    <a:pt x="69" y="70"/>
                  </a:cubicBezTo>
                  <a:cubicBezTo>
                    <a:pt x="61" y="70"/>
                    <a:pt x="61" y="70"/>
                    <a:pt x="61" y="70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6" y="53"/>
                    <a:pt x="99" y="57"/>
                    <a:pt x="99" y="6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88" y="70"/>
                    <a:pt x="85" y="74"/>
                    <a:pt x="85" y="78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01"/>
                    <a:pt x="88" y="104"/>
                    <a:pt x="92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5" y="104"/>
                    <a:pt x="118" y="101"/>
                    <a:pt x="118" y="97"/>
                  </a:cubicBezTo>
                  <a:cubicBezTo>
                    <a:pt x="118" y="78"/>
                    <a:pt x="118" y="78"/>
                    <a:pt x="118" y="78"/>
                  </a:cubicBezTo>
                  <a:cubicBezTo>
                    <a:pt x="118" y="74"/>
                    <a:pt x="115" y="70"/>
                    <a:pt x="111" y="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4" name="Group 89">
            <a:extLst>
              <a:ext uri="{FF2B5EF4-FFF2-40B4-BE49-F238E27FC236}">
                <a16:creationId xmlns:a16="http://schemas.microsoft.com/office/drawing/2014/main" id="{300C0346-3455-4C14-9658-39358B292E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32667" y="1539082"/>
            <a:ext cx="841375" cy="841375"/>
            <a:chOff x="2984" y="1011"/>
            <a:chExt cx="530" cy="530"/>
          </a:xfrm>
        </p:grpSpPr>
        <p:sp>
          <p:nvSpPr>
            <p:cNvPr id="105" name="AutoShape 88">
              <a:extLst>
                <a:ext uri="{FF2B5EF4-FFF2-40B4-BE49-F238E27FC236}">
                  <a16:creationId xmlns:a16="http://schemas.microsoft.com/office/drawing/2014/main" id="{5A733229-B97A-45E2-9FD2-1E74B60C6F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4" y="101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Oval 90">
              <a:extLst>
                <a:ext uri="{FF2B5EF4-FFF2-40B4-BE49-F238E27FC236}">
                  <a16:creationId xmlns:a16="http://schemas.microsoft.com/office/drawing/2014/main" id="{5EAD03C4-CBF2-4C14-B80D-A299025F8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" y="101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1">
              <a:extLst>
                <a:ext uri="{FF2B5EF4-FFF2-40B4-BE49-F238E27FC236}">
                  <a16:creationId xmlns:a16="http://schemas.microsoft.com/office/drawing/2014/main" id="{FC92D99C-D7A0-4628-989B-B4ACC33402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2" y="102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2">
              <a:extLst>
                <a:ext uri="{FF2B5EF4-FFF2-40B4-BE49-F238E27FC236}">
                  <a16:creationId xmlns:a16="http://schemas.microsoft.com/office/drawing/2014/main" id="{EEFC8B48-601E-4B0A-8A26-06F92FEB4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" y="1134"/>
              <a:ext cx="333" cy="287"/>
            </a:xfrm>
            <a:custGeom>
              <a:avLst/>
              <a:gdLst>
                <a:gd name="T0" fmla="*/ 87 w 130"/>
                <a:gd name="T1" fmla="*/ 68 h 112"/>
                <a:gd name="T2" fmla="*/ 125 w 130"/>
                <a:gd name="T3" fmla="*/ 49 h 112"/>
                <a:gd name="T4" fmla="*/ 79 w 130"/>
                <a:gd name="T5" fmla="*/ 23 h 112"/>
                <a:gd name="T6" fmla="*/ 27 w 130"/>
                <a:gd name="T7" fmla="*/ 5 h 112"/>
                <a:gd name="T8" fmla="*/ 79 w 130"/>
                <a:gd name="T9" fmla="*/ 23 h 112"/>
                <a:gd name="T10" fmla="*/ 5 w 130"/>
                <a:gd name="T11" fmla="*/ 68 h 112"/>
                <a:gd name="T12" fmla="*/ 43 w 130"/>
                <a:gd name="T13" fmla="*/ 49 h 112"/>
                <a:gd name="T14" fmla="*/ 51 w 130"/>
                <a:gd name="T15" fmla="*/ 89 h 112"/>
                <a:gd name="T16" fmla="*/ 103 w 130"/>
                <a:gd name="T17" fmla="*/ 107 h 112"/>
                <a:gd name="T18" fmla="*/ 51 w 130"/>
                <a:gd name="T19" fmla="*/ 89 h 112"/>
                <a:gd name="T20" fmla="*/ 108 w 130"/>
                <a:gd name="T21" fmla="*/ 44 h 112"/>
                <a:gd name="T22" fmla="*/ 84 w 130"/>
                <a:gd name="T23" fmla="*/ 2 h 112"/>
                <a:gd name="T24" fmla="*/ 24 w 130"/>
                <a:gd name="T25" fmla="*/ 0 h 112"/>
                <a:gd name="T26" fmla="*/ 22 w 130"/>
                <a:gd name="T27" fmla="*/ 26 h 112"/>
                <a:gd name="T28" fmla="*/ 70 w 130"/>
                <a:gd name="T29" fmla="*/ 28 h 112"/>
                <a:gd name="T30" fmla="*/ 48 w 130"/>
                <a:gd name="T31" fmla="*/ 56 h 112"/>
                <a:gd name="T32" fmla="*/ 46 w 130"/>
                <a:gd name="T33" fmla="*/ 44 h 112"/>
                <a:gd name="T34" fmla="*/ 0 w 130"/>
                <a:gd name="T35" fmla="*/ 47 h 112"/>
                <a:gd name="T36" fmla="*/ 3 w 130"/>
                <a:gd name="T37" fmla="*/ 72 h 112"/>
                <a:gd name="T38" fmla="*/ 46 w 130"/>
                <a:gd name="T39" fmla="*/ 100 h 112"/>
                <a:gd name="T40" fmla="*/ 48 w 130"/>
                <a:gd name="T41" fmla="*/ 112 h 112"/>
                <a:gd name="T42" fmla="*/ 108 w 130"/>
                <a:gd name="T43" fmla="*/ 109 h 112"/>
                <a:gd name="T44" fmla="*/ 106 w 130"/>
                <a:gd name="T45" fmla="*/ 84 h 112"/>
                <a:gd name="T46" fmla="*/ 46 w 130"/>
                <a:gd name="T47" fmla="*/ 86 h 112"/>
                <a:gd name="T48" fmla="*/ 27 w 130"/>
                <a:gd name="T49" fmla="*/ 72 h 112"/>
                <a:gd name="T50" fmla="*/ 48 w 130"/>
                <a:gd name="T51" fmla="*/ 70 h 112"/>
                <a:gd name="T52" fmla="*/ 66 w 130"/>
                <a:gd name="T53" fmla="*/ 54 h 112"/>
                <a:gd name="T54" fmla="*/ 82 w 130"/>
                <a:gd name="T55" fmla="*/ 28 h 112"/>
                <a:gd name="T56" fmla="*/ 84 w 130"/>
                <a:gd name="T57" fmla="*/ 17 h 112"/>
                <a:gd name="T58" fmla="*/ 84 w 130"/>
                <a:gd name="T59" fmla="*/ 44 h 112"/>
                <a:gd name="T60" fmla="*/ 82 w 130"/>
                <a:gd name="T61" fmla="*/ 70 h 112"/>
                <a:gd name="T62" fmla="*/ 127 w 130"/>
                <a:gd name="T63" fmla="*/ 72 h 112"/>
                <a:gd name="T64" fmla="*/ 130 w 130"/>
                <a:gd name="T65" fmla="*/ 4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0" h="112">
                  <a:moveTo>
                    <a:pt x="125" y="68"/>
                  </a:moveTo>
                  <a:cubicBezTo>
                    <a:pt x="87" y="68"/>
                    <a:pt x="87" y="68"/>
                    <a:pt x="87" y="68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125" y="49"/>
                    <a:pt x="125" y="49"/>
                    <a:pt x="125" y="49"/>
                  </a:cubicBezTo>
                  <a:lnTo>
                    <a:pt x="125" y="68"/>
                  </a:lnTo>
                  <a:close/>
                  <a:moveTo>
                    <a:pt x="79" y="23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79" y="5"/>
                    <a:pt x="79" y="5"/>
                    <a:pt x="79" y="5"/>
                  </a:cubicBezTo>
                  <a:lnTo>
                    <a:pt x="79" y="23"/>
                  </a:lnTo>
                  <a:close/>
                  <a:moveTo>
                    <a:pt x="43" y="68"/>
                  </a:moveTo>
                  <a:cubicBezTo>
                    <a:pt x="5" y="68"/>
                    <a:pt x="5" y="68"/>
                    <a:pt x="5" y="6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43" y="49"/>
                    <a:pt x="43" y="49"/>
                    <a:pt x="43" y="49"/>
                  </a:cubicBezTo>
                  <a:lnTo>
                    <a:pt x="43" y="68"/>
                  </a:lnTo>
                  <a:close/>
                  <a:moveTo>
                    <a:pt x="51" y="89"/>
                  </a:moveTo>
                  <a:cubicBezTo>
                    <a:pt x="103" y="89"/>
                    <a:pt x="103" y="89"/>
                    <a:pt x="103" y="89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51" y="107"/>
                    <a:pt x="51" y="107"/>
                    <a:pt x="51" y="107"/>
                  </a:cubicBezTo>
                  <a:lnTo>
                    <a:pt x="51" y="89"/>
                  </a:lnTo>
                  <a:close/>
                  <a:moveTo>
                    <a:pt x="127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34"/>
                    <a:pt x="106" y="13"/>
                    <a:pt x="84" y="1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1"/>
                    <a:pt x="83" y="0"/>
                    <a:pt x="8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1"/>
                    <a:pt x="22" y="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3" y="28"/>
                    <a:pt x="24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33"/>
                    <a:pt x="69" y="44"/>
                    <a:pt x="63" y="50"/>
                  </a:cubicBezTo>
                  <a:cubicBezTo>
                    <a:pt x="59" y="54"/>
                    <a:pt x="54" y="56"/>
                    <a:pt x="48" y="5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5"/>
                    <a:pt x="47" y="44"/>
                    <a:pt x="46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1" y="72"/>
                    <a:pt x="3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0"/>
                    <a:pt x="31" y="99"/>
                    <a:pt x="46" y="100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111"/>
                    <a:pt x="47" y="112"/>
                    <a:pt x="48" y="112"/>
                  </a:cubicBezTo>
                  <a:cubicBezTo>
                    <a:pt x="106" y="112"/>
                    <a:pt x="106" y="112"/>
                    <a:pt x="106" y="112"/>
                  </a:cubicBezTo>
                  <a:cubicBezTo>
                    <a:pt x="107" y="112"/>
                    <a:pt x="108" y="111"/>
                    <a:pt x="108" y="109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108" y="85"/>
                    <a:pt x="107" y="84"/>
                    <a:pt x="10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7" y="84"/>
                    <a:pt x="46" y="85"/>
                    <a:pt x="46" y="86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30" y="94"/>
                    <a:pt x="27" y="82"/>
                    <a:pt x="2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8" y="71"/>
                    <a:pt x="48" y="70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6" y="61"/>
                    <a:pt x="62" y="58"/>
                    <a:pt x="66" y="54"/>
                  </a:cubicBezTo>
                  <a:cubicBezTo>
                    <a:pt x="74" y="46"/>
                    <a:pt x="75" y="33"/>
                    <a:pt x="7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8"/>
                    <a:pt x="84" y="27"/>
                    <a:pt x="84" y="2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100" y="18"/>
                    <a:pt x="103" y="31"/>
                    <a:pt x="103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3" y="44"/>
                    <a:pt x="82" y="45"/>
                    <a:pt x="82" y="47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1"/>
                    <a:pt x="83" y="72"/>
                    <a:pt x="84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9" y="72"/>
                    <a:pt x="130" y="71"/>
                    <a:pt x="130" y="70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5"/>
                    <a:pt x="129" y="44"/>
                    <a:pt x="127" y="4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95">
            <a:extLst>
              <a:ext uri="{FF2B5EF4-FFF2-40B4-BE49-F238E27FC236}">
                <a16:creationId xmlns:a16="http://schemas.microsoft.com/office/drawing/2014/main" id="{D304803B-485C-4AFD-9E5D-A6A1806FB2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2955" y="1580357"/>
            <a:ext cx="760413" cy="758825"/>
            <a:chOff x="3652" y="975"/>
            <a:chExt cx="479" cy="478"/>
          </a:xfrm>
        </p:grpSpPr>
        <p:sp>
          <p:nvSpPr>
            <p:cNvPr id="110" name="AutoShape 94">
              <a:extLst>
                <a:ext uri="{FF2B5EF4-FFF2-40B4-BE49-F238E27FC236}">
                  <a16:creationId xmlns:a16="http://schemas.microsoft.com/office/drawing/2014/main" id="{1518125E-CEDC-4BB3-8134-20C9F7F38B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52" y="97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96">
              <a:extLst>
                <a:ext uri="{FF2B5EF4-FFF2-40B4-BE49-F238E27FC236}">
                  <a16:creationId xmlns:a16="http://schemas.microsoft.com/office/drawing/2014/main" id="{DBD2ABAC-1CB3-4A49-9FEC-A8C081E9A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4" y="97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7">
              <a:extLst>
                <a:ext uri="{FF2B5EF4-FFF2-40B4-BE49-F238E27FC236}">
                  <a16:creationId xmlns:a16="http://schemas.microsoft.com/office/drawing/2014/main" id="{F1055854-3C0A-4926-96B0-6B97D79C42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3" y="1078"/>
              <a:ext cx="319" cy="275"/>
            </a:xfrm>
            <a:custGeom>
              <a:avLst/>
              <a:gdLst>
                <a:gd name="T0" fmla="*/ 87 w 130"/>
                <a:gd name="T1" fmla="*/ 68 h 112"/>
                <a:gd name="T2" fmla="*/ 125 w 130"/>
                <a:gd name="T3" fmla="*/ 49 h 112"/>
                <a:gd name="T4" fmla="*/ 79 w 130"/>
                <a:gd name="T5" fmla="*/ 23 h 112"/>
                <a:gd name="T6" fmla="*/ 27 w 130"/>
                <a:gd name="T7" fmla="*/ 5 h 112"/>
                <a:gd name="T8" fmla="*/ 79 w 130"/>
                <a:gd name="T9" fmla="*/ 23 h 112"/>
                <a:gd name="T10" fmla="*/ 5 w 130"/>
                <a:gd name="T11" fmla="*/ 68 h 112"/>
                <a:gd name="T12" fmla="*/ 43 w 130"/>
                <a:gd name="T13" fmla="*/ 49 h 112"/>
                <a:gd name="T14" fmla="*/ 51 w 130"/>
                <a:gd name="T15" fmla="*/ 89 h 112"/>
                <a:gd name="T16" fmla="*/ 103 w 130"/>
                <a:gd name="T17" fmla="*/ 107 h 112"/>
                <a:gd name="T18" fmla="*/ 51 w 130"/>
                <a:gd name="T19" fmla="*/ 89 h 112"/>
                <a:gd name="T20" fmla="*/ 108 w 130"/>
                <a:gd name="T21" fmla="*/ 44 h 112"/>
                <a:gd name="T22" fmla="*/ 84 w 130"/>
                <a:gd name="T23" fmla="*/ 2 h 112"/>
                <a:gd name="T24" fmla="*/ 24 w 130"/>
                <a:gd name="T25" fmla="*/ 0 h 112"/>
                <a:gd name="T26" fmla="*/ 22 w 130"/>
                <a:gd name="T27" fmla="*/ 26 h 112"/>
                <a:gd name="T28" fmla="*/ 70 w 130"/>
                <a:gd name="T29" fmla="*/ 28 h 112"/>
                <a:gd name="T30" fmla="*/ 48 w 130"/>
                <a:gd name="T31" fmla="*/ 56 h 112"/>
                <a:gd name="T32" fmla="*/ 46 w 130"/>
                <a:gd name="T33" fmla="*/ 44 h 112"/>
                <a:gd name="T34" fmla="*/ 0 w 130"/>
                <a:gd name="T35" fmla="*/ 47 h 112"/>
                <a:gd name="T36" fmla="*/ 3 w 130"/>
                <a:gd name="T37" fmla="*/ 72 h 112"/>
                <a:gd name="T38" fmla="*/ 46 w 130"/>
                <a:gd name="T39" fmla="*/ 100 h 112"/>
                <a:gd name="T40" fmla="*/ 48 w 130"/>
                <a:gd name="T41" fmla="*/ 112 h 112"/>
                <a:gd name="T42" fmla="*/ 108 w 130"/>
                <a:gd name="T43" fmla="*/ 109 h 112"/>
                <a:gd name="T44" fmla="*/ 106 w 130"/>
                <a:gd name="T45" fmla="*/ 84 h 112"/>
                <a:gd name="T46" fmla="*/ 46 w 130"/>
                <a:gd name="T47" fmla="*/ 86 h 112"/>
                <a:gd name="T48" fmla="*/ 27 w 130"/>
                <a:gd name="T49" fmla="*/ 72 h 112"/>
                <a:gd name="T50" fmla="*/ 48 w 130"/>
                <a:gd name="T51" fmla="*/ 70 h 112"/>
                <a:gd name="T52" fmla="*/ 66 w 130"/>
                <a:gd name="T53" fmla="*/ 54 h 112"/>
                <a:gd name="T54" fmla="*/ 82 w 130"/>
                <a:gd name="T55" fmla="*/ 28 h 112"/>
                <a:gd name="T56" fmla="*/ 84 w 130"/>
                <a:gd name="T57" fmla="*/ 17 h 112"/>
                <a:gd name="T58" fmla="*/ 84 w 130"/>
                <a:gd name="T59" fmla="*/ 44 h 112"/>
                <a:gd name="T60" fmla="*/ 82 w 130"/>
                <a:gd name="T61" fmla="*/ 70 h 112"/>
                <a:gd name="T62" fmla="*/ 127 w 130"/>
                <a:gd name="T63" fmla="*/ 72 h 112"/>
                <a:gd name="T64" fmla="*/ 130 w 130"/>
                <a:gd name="T65" fmla="*/ 4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0" h="112">
                  <a:moveTo>
                    <a:pt x="125" y="68"/>
                  </a:moveTo>
                  <a:cubicBezTo>
                    <a:pt x="87" y="68"/>
                    <a:pt x="87" y="68"/>
                    <a:pt x="87" y="68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125" y="49"/>
                    <a:pt x="125" y="49"/>
                    <a:pt x="125" y="49"/>
                  </a:cubicBezTo>
                  <a:lnTo>
                    <a:pt x="125" y="68"/>
                  </a:lnTo>
                  <a:close/>
                  <a:moveTo>
                    <a:pt x="79" y="23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79" y="5"/>
                    <a:pt x="79" y="5"/>
                    <a:pt x="79" y="5"/>
                  </a:cubicBezTo>
                  <a:lnTo>
                    <a:pt x="79" y="23"/>
                  </a:lnTo>
                  <a:close/>
                  <a:moveTo>
                    <a:pt x="43" y="68"/>
                  </a:moveTo>
                  <a:cubicBezTo>
                    <a:pt x="5" y="68"/>
                    <a:pt x="5" y="68"/>
                    <a:pt x="5" y="6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43" y="49"/>
                    <a:pt x="43" y="49"/>
                    <a:pt x="43" y="49"/>
                  </a:cubicBezTo>
                  <a:lnTo>
                    <a:pt x="43" y="68"/>
                  </a:lnTo>
                  <a:close/>
                  <a:moveTo>
                    <a:pt x="51" y="89"/>
                  </a:moveTo>
                  <a:cubicBezTo>
                    <a:pt x="103" y="89"/>
                    <a:pt x="103" y="89"/>
                    <a:pt x="103" y="89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51" y="107"/>
                    <a:pt x="51" y="107"/>
                    <a:pt x="51" y="107"/>
                  </a:cubicBezTo>
                  <a:lnTo>
                    <a:pt x="51" y="89"/>
                  </a:lnTo>
                  <a:close/>
                  <a:moveTo>
                    <a:pt x="127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34"/>
                    <a:pt x="106" y="13"/>
                    <a:pt x="84" y="1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1"/>
                    <a:pt x="83" y="0"/>
                    <a:pt x="8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1"/>
                    <a:pt x="22" y="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3" y="28"/>
                    <a:pt x="24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33"/>
                    <a:pt x="69" y="44"/>
                    <a:pt x="63" y="50"/>
                  </a:cubicBezTo>
                  <a:cubicBezTo>
                    <a:pt x="59" y="54"/>
                    <a:pt x="54" y="56"/>
                    <a:pt x="48" y="5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5"/>
                    <a:pt x="47" y="44"/>
                    <a:pt x="46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1" y="72"/>
                    <a:pt x="3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0"/>
                    <a:pt x="31" y="99"/>
                    <a:pt x="46" y="100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111"/>
                    <a:pt x="47" y="112"/>
                    <a:pt x="48" y="112"/>
                  </a:cubicBezTo>
                  <a:cubicBezTo>
                    <a:pt x="106" y="112"/>
                    <a:pt x="106" y="112"/>
                    <a:pt x="106" y="112"/>
                  </a:cubicBezTo>
                  <a:cubicBezTo>
                    <a:pt x="107" y="112"/>
                    <a:pt x="108" y="111"/>
                    <a:pt x="108" y="109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108" y="85"/>
                    <a:pt x="107" y="84"/>
                    <a:pt x="10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7" y="84"/>
                    <a:pt x="46" y="85"/>
                    <a:pt x="46" y="86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30" y="94"/>
                    <a:pt x="27" y="82"/>
                    <a:pt x="2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8" y="71"/>
                    <a:pt x="48" y="70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6" y="61"/>
                    <a:pt x="62" y="58"/>
                    <a:pt x="66" y="54"/>
                  </a:cubicBezTo>
                  <a:cubicBezTo>
                    <a:pt x="74" y="46"/>
                    <a:pt x="75" y="33"/>
                    <a:pt x="7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8"/>
                    <a:pt x="84" y="27"/>
                    <a:pt x="84" y="2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100" y="18"/>
                    <a:pt x="103" y="31"/>
                    <a:pt x="103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3" y="44"/>
                    <a:pt x="82" y="45"/>
                    <a:pt x="82" y="47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1"/>
                    <a:pt x="83" y="72"/>
                    <a:pt x="84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9" y="72"/>
                    <a:pt x="130" y="71"/>
                    <a:pt x="130" y="70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5"/>
                    <a:pt x="129" y="44"/>
                    <a:pt x="127" y="4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8">
              <a:extLst>
                <a:ext uri="{FF2B5EF4-FFF2-40B4-BE49-F238E27FC236}">
                  <a16:creationId xmlns:a16="http://schemas.microsoft.com/office/drawing/2014/main" id="{D84114B0-8EA5-4741-86C7-307EEA875C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3" y="1078"/>
              <a:ext cx="319" cy="275"/>
            </a:xfrm>
            <a:custGeom>
              <a:avLst/>
              <a:gdLst>
                <a:gd name="T0" fmla="*/ 87 w 130"/>
                <a:gd name="T1" fmla="*/ 68 h 112"/>
                <a:gd name="T2" fmla="*/ 125 w 130"/>
                <a:gd name="T3" fmla="*/ 49 h 112"/>
                <a:gd name="T4" fmla="*/ 79 w 130"/>
                <a:gd name="T5" fmla="*/ 23 h 112"/>
                <a:gd name="T6" fmla="*/ 27 w 130"/>
                <a:gd name="T7" fmla="*/ 5 h 112"/>
                <a:gd name="T8" fmla="*/ 79 w 130"/>
                <a:gd name="T9" fmla="*/ 23 h 112"/>
                <a:gd name="T10" fmla="*/ 5 w 130"/>
                <a:gd name="T11" fmla="*/ 68 h 112"/>
                <a:gd name="T12" fmla="*/ 43 w 130"/>
                <a:gd name="T13" fmla="*/ 49 h 112"/>
                <a:gd name="T14" fmla="*/ 51 w 130"/>
                <a:gd name="T15" fmla="*/ 89 h 112"/>
                <a:gd name="T16" fmla="*/ 103 w 130"/>
                <a:gd name="T17" fmla="*/ 107 h 112"/>
                <a:gd name="T18" fmla="*/ 51 w 130"/>
                <a:gd name="T19" fmla="*/ 89 h 112"/>
                <a:gd name="T20" fmla="*/ 108 w 130"/>
                <a:gd name="T21" fmla="*/ 44 h 112"/>
                <a:gd name="T22" fmla="*/ 84 w 130"/>
                <a:gd name="T23" fmla="*/ 2 h 112"/>
                <a:gd name="T24" fmla="*/ 24 w 130"/>
                <a:gd name="T25" fmla="*/ 0 h 112"/>
                <a:gd name="T26" fmla="*/ 22 w 130"/>
                <a:gd name="T27" fmla="*/ 26 h 112"/>
                <a:gd name="T28" fmla="*/ 70 w 130"/>
                <a:gd name="T29" fmla="*/ 28 h 112"/>
                <a:gd name="T30" fmla="*/ 48 w 130"/>
                <a:gd name="T31" fmla="*/ 56 h 112"/>
                <a:gd name="T32" fmla="*/ 46 w 130"/>
                <a:gd name="T33" fmla="*/ 44 h 112"/>
                <a:gd name="T34" fmla="*/ 0 w 130"/>
                <a:gd name="T35" fmla="*/ 47 h 112"/>
                <a:gd name="T36" fmla="*/ 3 w 130"/>
                <a:gd name="T37" fmla="*/ 72 h 112"/>
                <a:gd name="T38" fmla="*/ 46 w 130"/>
                <a:gd name="T39" fmla="*/ 100 h 112"/>
                <a:gd name="T40" fmla="*/ 48 w 130"/>
                <a:gd name="T41" fmla="*/ 112 h 112"/>
                <a:gd name="T42" fmla="*/ 108 w 130"/>
                <a:gd name="T43" fmla="*/ 109 h 112"/>
                <a:gd name="T44" fmla="*/ 106 w 130"/>
                <a:gd name="T45" fmla="*/ 84 h 112"/>
                <a:gd name="T46" fmla="*/ 46 w 130"/>
                <a:gd name="T47" fmla="*/ 86 h 112"/>
                <a:gd name="T48" fmla="*/ 27 w 130"/>
                <a:gd name="T49" fmla="*/ 72 h 112"/>
                <a:gd name="T50" fmla="*/ 48 w 130"/>
                <a:gd name="T51" fmla="*/ 70 h 112"/>
                <a:gd name="T52" fmla="*/ 66 w 130"/>
                <a:gd name="T53" fmla="*/ 54 h 112"/>
                <a:gd name="T54" fmla="*/ 82 w 130"/>
                <a:gd name="T55" fmla="*/ 28 h 112"/>
                <a:gd name="T56" fmla="*/ 84 w 130"/>
                <a:gd name="T57" fmla="*/ 17 h 112"/>
                <a:gd name="T58" fmla="*/ 84 w 130"/>
                <a:gd name="T59" fmla="*/ 44 h 112"/>
                <a:gd name="T60" fmla="*/ 82 w 130"/>
                <a:gd name="T61" fmla="*/ 70 h 112"/>
                <a:gd name="T62" fmla="*/ 127 w 130"/>
                <a:gd name="T63" fmla="*/ 72 h 112"/>
                <a:gd name="T64" fmla="*/ 130 w 130"/>
                <a:gd name="T65" fmla="*/ 4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0" h="112">
                  <a:moveTo>
                    <a:pt x="125" y="68"/>
                  </a:moveTo>
                  <a:cubicBezTo>
                    <a:pt x="87" y="68"/>
                    <a:pt x="87" y="68"/>
                    <a:pt x="87" y="68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125" y="49"/>
                    <a:pt x="125" y="49"/>
                    <a:pt x="125" y="49"/>
                  </a:cubicBezTo>
                  <a:lnTo>
                    <a:pt x="125" y="68"/>
                  </a:lnTo>
                  <a:close/>
                  <a:moveTo>
                    <a:pt x="79" y="23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79" y="5"/>
                    <a:pt x="79" y="5"/>
                    <a:pt x="79" y="5"/>
                  </a:cubicBezTo>
                  <a:lnTo>
                    <a:pt x="79" y="23"/>
                  </a:lnTo>
                  <a:close/>
                  <a:moveTo>
                    <a:pt x="43" y="68"/>
                  </a:moveTo>
                  <a:cubicBezTo>
                    <a:pt x="5" y="68"/>
                    <a:pt x="5" y="68"/>
                    <a:pt x="5" y="6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43" y="49"/>
                    <a:pt x="43" y="49"/>
                    <a:pt x="43" y="49"/>
                  </a:cubicBezTo>
                  <a:lnTo>
                    <a:pt x="43" y="68"/>
                  </a:lnTo>
                  <a:close/>
                  <a:moveTo>
                    <a:pt x="51" y="89"/>
                  </a:moveTo>
                  <a:cubicBezTo>
                    <a:pt x="103" y="89"/>
                    <a:pt x="103" y="89"/>
                    <a:pt x="103" y="89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51" y="107"/>
                    <a:pt x="51" y="107"/>
                    <a:pt x="51" y="107"/>
                  </a:cubicBezTo>
                  <a:lnTo>
                    <a:pt x="51" y="89"/>
                  </a:lnTo>
                  <a:close/>
                  <a:moveTo>
                    <a:pt x="127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34"/>
                    <a:pt x="106" y="13"/>
                    <a:pt x="84" y="1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1"/>
                    <a:pt x="83" y="0"/>
                    <a:pt x="8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1"/>
                    <a:pt x="22" y="2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3" y="28"/>
                    <a:pt x="24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33"/>
                    <a:pt x="69" y="44"/>
                    <a:pt x="63" y="50"/>
                  </a:cubicBezTo>
                  <a:cubicBezTo>
                    <a:pt x="59" y="54"/>
                    <a:pt x="54" y="56"/>
                    <a:pt x="48" y="5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5"/>
                    <a:pt x="47" y="44"/>
                    <a:pt x="46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1" y="72"/>
                    <a:pt x="3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2" y="90"/>
                    <a:pt x="31" y="99"/>
                    <a:pt x="46" y="100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46" y="111"/>
                    <a:pt x="47" y="112"/>
                    <a:pt x="48" y="112"/>
                  </a:cubicBezTo>
                  <a:cubicBezTo>
                    <a:pt x="106" y="112"/>
                    <a:pt x="106" y="112"/>
                    <a:pt x="106" y="112"/>
                  </a:cubicBezTo>
                  <a:cubicBezTo>
                    <a:pt x="107" y="112"/>
                    <a:pt x="108" y="111"/>
                    <a:pt x="108" y="109"/>
                  </a:cubicBezTo>
                  <a:cubicBezTo>
                    <a:pt x="108" y="86"/>
                    <a:pt x="108" y="86"/>
                    <a:pt x="108" y="86"/>
                  </a:cubicBezTo>
                  <a:cubicBezTo>
                    <a:pt x="108" y="85"/>
                    <a:pt x="107" y="84"/>
                    <a:pt x="10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7" y="84"/>
                    <a:pt x="46" y="85"/>
                    <a:pt x="46" y="86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30" y="94"/>
                    <a:pt x="27" y="82"/>
                    <a:pt x="2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8" y="71"/>
                    <a:pt x="48" y="70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6" y="61"/>
                    <a:pt x="62" y="58"/>
                    <a:pt x="66" y="54"/>
                  </a:cubicBezTo>
                  <a:cubicBezTo>
                    <a:pt x="74" y="46"/>
                    <a:pt x="75" y="33"/>
                    <a:pt x="75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8"/>
                    <a:pt x="84" y="27"/>
                    <a:pt x="84" y="2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100" y="18"/>
                    <a:pt x="103" y="31"/>
                    <a:pt x="103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3" y="44"/>
                    <a:pt x="82" y="45"/>
                    <a:pt x="82" y="47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1"/>
                    <a:pt x="83" y="72"/>
                    <a:pt x="84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9" y="72"/>
                    <a:pt x="130" y="71"/>
                    <a:pt x="130" y="70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5"/>
                    <a:pt x="129" y="44"/>
                    <a:pt x="127" y="4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8" name="Group 101">
            <a:extLst>
              <a:ext uri="{FF2B5EF4-FFF2-40B4-BE49-F238E27FC236}">
                <a16:creationId xmlns:a16="http://schemas.microsoft.com/office/drawing/2014/main" id="{366DDE4A-165D-49F5-ABC5-E98FDEB56C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6396" y="1580357"/>
            <a:ext cx="758825" cy="758825"/>
            <a:chOff x="4973" y="990"/>
            <a:chExt cx="478" cy="478"/>
          </a:xfrm>
        </p:grpSpPr>
        <p:sp>
          <p:nvSpPr>
            <p:cNvPr id="119" name="AutoShape 100">
              <a:extLst>
                <a:ext uri="{FF2B5EF4-FFF2-40B4-BE49-F238E27FC236}">
                  <a16:creationId xmlns:a16="http://schemas.microsoft.com/office/drawing/2014/main" id="{F92C8AB8-8472-4DD0-A2B0-3472D49116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73" y="990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2">
              <a:extLst>
                <a:ext uri="{FF2B5EF4-FFF2-40B4-BE49-F238E27FC236}">
                  <a16:creationId xmlns:a16="http://schemas.microsoft.com/office/drawing/2014/main" id="{F5ABFF18-F93B-4CCC-A992-08124435A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5" y="992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3">
              <a:extLst>
                <a:ext uri="{FF2B5EF4-FFF2-40B4-BE49-F238E27FC236}">
                  <a16:creationId xmlns:a16="http://schemas.microsoft.com/office/drawing/2014/main" id="{0EDB1547-40BE-4806-A455-5BEA53C8AF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1" y="1103"/>
              <a:ext cx="245" cy="255"/>
            </a:xfrm>
            <a:custGeom>
              <a:avLst/>
              <a:gdLst>
                <a:gd name="T0" fmla="*/ 81 w 100"/>
                <a:gd name="T1" fmla="*/ 80 h 104"/>
                <a:gd name="T2" fmla="*/ 96 w 100"/>
                <a:gd name="T3" fmla="*/ 16 h 104"/>
                <a:gd name="T4" fmla="*/ 98 w 100"/>
                <a:gd name="T5" fmla="*/ 12 h 104"/>
                <a:gd name="T6" fmla="*/ 91 w 100"/>
                <a:gd name="T7" fmla="*/ 2 h 104"/>
                <a:gd name="T8" fmla="*/ 86 w 100"/>
                <a:gd name="T9" fmla="*/ 2 h 104"/>
                <a:gd name="T10" fmla="*/ 79 w 100"/>
                <a:gd name="T11" fmla="*/ 12 h 104"/>
                <a:gd name="T12" fmla="*/ 76 w 100"/>
                <a:gd name="T13" fmla="*/ 83 h 104"/>
                <a:gd name="T14" fmla="*/ 86 w 100"/>
                <a:gd name="T15" fmla="*/ 85 h 104"/>
                <a:gd name="T16" fmla="*/ 88 w 100"/>
                <a:gd name="T17" fmla="*/ 104 h 104"/>
                <a:gd name="T18" fmla="*/ 91 w 100"/>
                <a:gd name="T19" fmla="*/ 85 h 104"/>
                <a:gd name="T20" fmla="*/ 100 w 100"/>
                <a:gd name="T21" fmla="*/ 83 h 104"/>
                <a:gd name="T22" fmla="*/ 98 w 100"/>
                <a:gd name="T23" fmla="*/ 12 h 104"/>
                <a:gd name="T24" fmla="*/ 43 w 100"/>
                <a:gd name="T25" fmla="*/ 59 h 104"/>
                <a:gd name="T26" fmla="*/ 57 w 100"/>
                <a:gd name="T27" fmla="*/ 35 h 104"/>
                <a:gd name="T28" fmla="*/ 60 w 100"/>
                <a:gd name="T29" fmla="*/ 31 h 104"/>
                <a:gd name="T30" fmla="*/ 52 w 100"/>
                <a:gd name="T31" fmla="*/ 19 h 104"/>
                <a:gd name="T32" fmla="*/ 48 w 100"/>
                <a:gd name="T33" fmla="*/ 19 h 104"/>
                <a:gd name="T34" fmla="*/ 40 w 100"/>
                <a:gd name="T35" fmla="*/ 31 h 104"/>
                <a:gd name="T36" fmla="*/ 38 w 100"/>
                <a:gd name="T37" fmla="*/ 62 h 104"/>
                <a:gd name="T38" fmla="*/ 48 w 100"/>
                <a:gd name="T39" fmla="*/ 64 h 104"/>
                <a:gd name="T40" fmla="*/ 50 w 100"/>
                <a:gd name="T41" fmla="*/ 92 h 104"/>
                <a:gd name="T42" fmla="*/ 52 w 100"/>
                <a:gd name="T43" fmla="*/ 64 h 104"/>
                <a:gd name="T44" fmla="*/ 62 w 100"/>
                <a:gd name="T45" fmla="*/ 62 h 104"/>
                <a:gd name="T46" fmla="*/ 60 w 100"/>
                <a:gd name="T47" fmla="*/ 31 h 104"/>
                <a:gd name="T48" fmla="*/ 4 w 100"/>
                <a:gd name="T49" fmla="*/ 88 h 104"/>
                <a:gd name="T50" fmla="*/ 19 w 100"/>
                <a:gd name="T51" fmla="*/ 42 h 104"/>
                <a:gd name="T52" fmla="*/ 21 w 100"/>
                <a:gd name="T53" fmla="*/ 38 h 104"/>
                <a:gd name="T54" fmla="*/ 14 w 100"/>
                <a:gd name="T55" fmla="*/ 16 h 104"/>
                <a:gd name="T56" fmla="*/ 9 w 100"/>
                <a:gd name="T57" fmla="*/ 16 h 104"/>
                <a:gd name="T58" fmla="*/ 2 w 100"/>
                <a:gd name="T59" fmla="*/ 38 h 104"/>
                <a:gd name="T60" fmla="*/ 0 w 100"/>
                <a:gd name="T61" fmla="*/ 90 h 104"/>
                <a:gd name="T62" fmla="*/ 9 w 100"/>
                <a:gd name="T63" fmla="*/ 92 h 104"/>
                <a:gd name="T64" fmla="*/ 12 w 100"/>
                <a:gd name="T65" fmla="*/ 104 h 104"/>
                <a:gd name="T66" fmla="*/ 14 w 100"/>
                <a:gd name="T67" fmla="*/ 92 h 104"/>
                <a:gd name="T68" fmla="*/ 24 w 100"/>
                <a:gd name="T69" fmla="*/ 90 h 104"/>
                <a:gd name="T70" fmla="*/ 21 w 100"/>
                <a:gd name="T71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04">
                  <a:moveTo>
                    <a:pt x="96" y="80"/>
                  </a:moveTo>
                  <a:cubicBezTo>
                    <a:pt x="81" y="80"/>
                    <a:pt x="81" y="80"/>
                    <a:pt x="81" y="80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96" y="16"/>
                    <a:pt x="96" y="16"/>
                    <a:pt x="96" y="16"/>
                  </a:cubicBezTo>
                  <a:lnTo>
                    <a:pt x="96" y="80"/>
                  </a:lnTo>
                  <a:close/>
                  <a:moveTo>
                    <a:pt x="98" y="12"/>
                  </a:moveTo>
                  <a:cubicBezTo>
                    <a:pt x="91" y="12"/>
                    <a:pt x="91" y="12"/>
                    <a:pt x="91" y="1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8" y="0"/>
                  </a:cubicBezTo>
                  <a:cubicBezTo>
                    <a:pt x="87" y="0"/>
                    <a:pt x="86" y="1"/>
                    <a:pt x="86" y="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6" y="13"/>
                    <a:pt x="76" y="14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6" y="84"/>
                    <a:pt x="78" y="85"/>
                    <a:pt x="79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102"/>
                    <a:pt x="86" y="102"/>
                    <a:pt x="86" y="102"/>
                  </a:cubicBezTo>
                  <a:cubicBezTo>
                    <a:pt x="86" y="103"/>
                    <a:pt x="87" y="104"/>
                    <a:pt x="88" y="104"/>
                  </a:cubicBezTo>
                  <a:cubicBezTo>
                    <a:pt x="90" y="104"/>
                    <a:pt x="91" y="103"/>
                    <a:pt x="91" y="102"/>
                  </a:cubicBezTo>
                  <a:cubicBezTo>
                    <a:pt x="91" y="85"/>
                    <a:pt x="91" y="85"/>
                    <a:pt x="91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9" y="85"/>
                    <a:pt x="100" y="84"/>
                    <a:pt x="100" y="8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3"/>
                    <a:pt x="99" y="12"/>
                    <a:pt x="98" y="12"/>
                  </a:cubicBezTo>
                  <a:moveTo>
                    <a:pt x="57" y="59"/>
                  </a:moveTo>
                  <a:cubicBezTo>
                    <a:pt x="43" y="59"/>
                    <a:pt x="43" y="59"/>
                    <a:pt x="43" y="5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57" y="35"/>
                    <a:pt x="57" y="35"/>
                    <a:pt x="57" y="35"/>
                  </a:cubicBezTo>
                  <a:lnTo>
                    <a:pt x="57" y="59"/>
                  </a:lnTo>
                  <a:close/>
                  <a:moveTo>
                    <a:pt x="60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7"/>
                    <a:pt x="51" y="16"/>
                    <a:pt x="50" y="16"/>
                  </a:cubicBezTo>
                  <a:cubicBezTo>
                    <a:pt x="49" y="16"/>
                    <a:pt x="48" y="17"/>
                    <a:pt x="48" y="1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8" y="32"/>
                    <a:pt x="38" y="33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3"/>
                    <a:pt x="39" y="64"/>
                    <a:pt x="40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1"/>
                    <a:pt x="49" y="92"/>
                    <a:pt x="50" y="92"/>
                  </a:cubicBezTo>
                  <a:cubicBezTo>
                    <a:pt x="51" y="92"/>
                    <a:pt x="52" y="91"/>
                    <a:pt x="52" y="90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2"/>
                    <a:pt x="61" y="31"/>
                    <a:pt x="60" y="31"/>
                  </a:cubicBezTo>
                  <a:moveTo>
                    <a:pt x="19" y="88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9" y="42"/>
                    <a:pt x="19" y="42"/>
                    <a:pt x="19" y="42"/>
                  </a:cubicBezTo>
                  <a:lnTo>
                    <a:pt x="19" y="88"/>
                  </a:lnTo>
                  <a:close/>
                  <a:moveTo>
                    <a:pt x="21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3" y="14"/>
                    <a:pt x="12" y="14"/>
                  </a:cubicBezTo>
                  <a:cubicBezTo>
                    <a:pt x="10" y="14"/>
                    <a:pt x="9" y="15"/>
                    <a:pt x="9" y="16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102"/>
                    <a:pt x="9" y="102"/>
                    <a:pt x="9" y="102"/>
                  </a:cubicBezTo>
                  <a:cubicBezTo>
                    <a:pt x="9" y="103"/>
                    <a:pt x="10" y="104"/>
                    <a:pt x="12" y="104"/>
                  </a:cubicBezTo>
                  <a:cubicBezTo>
                    <a:pt x="13" y="104"/>
                    <a:pt x="14" y="103"/>
                    <a:pt x="14" y="10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2" y="92"/>
                    <a:pt x="24" y="91"/>
                    <a:pt x="24" y="9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39"/>
                    <a:pt x="22" y="38"/>
                    <a:pt x="21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4">
              <a:extLst>
                <a:ext uri="{FF2B5EF4-FFF2-40B4-BE49-F238E27FC236}">
                  <a16:creationId xmlns:a16="http://schemas.microsoft.com/office/drawing/2014/main" id="{AF7EA697-F634-4E46-998B-E1D1D587A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1" y="1103"/>
              <a:ext cx="245" cy="255"/>
            </a:xfrm>
            <a:custGeom>
              <a:avLst/>
              <a:gdLst>
                <a:gd name="T0" fmla="*/ 81 w 100"/>
                <a:gd name="T1" fmla="*/ 80 h 104"/>
                <a:gd name="T2" fmla="*/ 96 w 100"/>
                <a:gd name="T3" fmla="*/ 16 h 104"/>
                <a:gd name="T4" fmla="*/ 98 w 100"/>
                <a:gd name="T5" fmla="*/ 12 h 104"/>
                <a:gd name="T6" fmla="*/ 91 w 100"/>
                <a:gd name="T7" fmla="*/ 2 h 104"/>
                <a:gd name="T8" fmla="*/ 86 w 100"/>
                <a:gd name="T9" fmla="*/ 2 h 104"/>
                <a:gd name="T10" fmla="*/ 79 w 100"/>
                <a:gd name="T11" fmla="*/ 12 h 104"/>
                <a:gd name="T12" fmla="*/ 76 w 100"/>
                <a:gd name="T13" fmla="*/ 83 h 104"/>
                <a:gd name="T14" fmla="*/ 86 w 100"/>
                <a:gd name="T15" fmla="*/ 85 h 104"/>
                <a:gd name="T16" fmla="*/ 88 w 100"/>
                <a:gd name="T17" fmla="*/ 104 h 104"/>
                <a:gd name="T18" fmla="*/ 91 w 100"/>
                <a:gd name="T19" fmla="*/ 85 h 104"/>
                <a:gd name="T20" fmla="*/ 100 w 100"/>
                <a:gd name="T21" fmla="*/ 83 h 104"/>
                <a:gd name="T22" fmla="*/ 98 w 100"/>
                <a:gd name="T23" fmla="*/ 12 h 104"/>
                <a:gd name="T24" fmla="*/ 43 w 100"/>
                <a:gd name="T25" fmla="*/ 59 h 104"/>
                <a:gd name="T26" fmla="*/ 57 w 100"/>
                <a:gd name="T27" fmla="*/ 35 h 104"/>
                <a:gd name="T28" fmla="*/ 60 w 100"/>
                <a:gd name="T29" fmla="*/ 31 h 104"/>
                <a:gd name="T30" fmla="*/ 52 w 100"/>
                <a:gd name="T31" fmla="*/ 19 h 104"/>
                <a:gd name="T32" fmla="*/ 48 w 100"/>
                <a:gd name="T33" fmla="*/ 19 h 104"/>
                <a:gd name="T34" fmla="*/ 40 w 100"/>
                <a:gd name="T35" fmla="*/ 31 h 104"/>
                <a:gd name="T36" fmla="*/ 38 w 100"/>
                <a:gd name="T37" fmla="*/ 62 h 104"/>
                <a:gd name="T38" fmla="*/ 48 w 100"/>
                <a:gd name="T39" fmla="*/ 64 h 104"/>
                <a:gd name="T40" fmla="*/ 50 w 100"/>
                <a:gd name="T41" fmla="*/ 92 h 104"/>
                <a:gd name="T42" fmla="*/ 52 w 100"/>
                <a:gd name="T43" fmla="*/ 64 h 104"/>
                <a:gd name="T44" fmla="*/ 62 w 100"/>
                <a:gd name="T45" fmla="*/ 62 h 104"/>
                <a:gd name="T46" fmla="*/ 60 w 100"/>
                <a:gd name="T47" fmla="*/ 31 h 104"/>
                <a:gd name="T48" fmla="*/ 4 w 100"/>
                <a:gd name="T49" fmla="*/ 88 h 104"/>
                <a:gd name="T50" fmla="*/ 19 w 100"/>
                <a:gd name="T51" fmla="*/ 42 h 104"/>
                <a:gd name="T52" fmla="*/ 21 w 100"/>
                <a:gd name="T53" fmla="*/ 38 h 104"/>
                <a:gd name="T54" fmla="*/ 14 w 100"/>
                <a:gd name="T55" fmla="*/ 16 h 104"/>
                <a:gd name="T56" fmla="*/ 9 w 100"/>
                <a:gd name="T57" fmla="*/ 16 h 104"/>
                <a:gd name="T58" fmla="*/ 2 w 100"/>
                <a:gd name="T59" fmla="*/ 38 h 104"/>
                <a:gd name="T60" fmla="*/ 0 w 100"/>
                <a:gd name="T61" fmla="*/ 90 h 104"/>
                <a:gd name="T62" fmla="*/ 9 w 100"/>
                <a:gd name="T63" fmla="*/ 92 h 104"/>
                <a:gd name="T64" fmla="*/ 12 w 100"/>
                <a:gd name="T65" fmla="*/ 104 h 104"/>
                <a:gd name="T66" fmla="*/ 14 w 100"/>
                <a:gd name="T67" fmla="*/ 92 h 104"/>
                <a:gd name="T68" fmla="*/ 24 w 100"/>
                <a:gd name="T69" fmla="*/ 90 h 104"/>
                <a:gd name="T70" fmla="*/ 21 w 100"/>
                <a:gd name="T71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04">
                  <a:moveTo>
                    <a:pt x="96" y="80"/>
                  </a:moveTo>
                  <a:cubicBezTo>
                    <a:pt x="81" y="80"/>
                    <a:pt x="81" y="80"/>
                    <a:pt x="81" y="80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96" y="16"/>
                    <a:pt x="96" y="16"/>
                    <a:pt x="96" y="16"/>
                  </a:cubicBezTo>
                  <a:lnTo>
                    <a:pt x="96" y="80"/>
                  </a:lnTo>
                  <a:close/>
                  <a:moveTo>
                    <a:pt x="98" y="12"/>
                  </a:moveTo>
                  <a:cubicBezTo>
                    <a:pt x="91" y="12"/>
                    <a:pt x="91" y="12"/>
                    <a:pt x="91" y="1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8" y="0"/>
                  </a:cubicBezTo>
                  <a:cubicBezTo>
                    <a:pt x="87" y="0"/>
                    <a:pt x="86" y="1"/>
                    <a:pt x="86" y="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6" y="13"/>
                    <a:pt x="76" y="14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6" y="84"/>
                    <a:pt x="78" y="85"/>
                    <a:pt x="79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102"/>
                    <a:pt x="86" y="102"/>
                    <a:pt x="86" y="102"/>
                  </a:cubicBezTo>
                  <a:cubicBezTo>
                    <a:pt x="86" y="103"/>
                    <a:pt x="87" y="104"/>
                    <a:pt x="88" y="104"/>
                  </a:cubicBezTo>
                  <a:cubicBezTo>
                    <a:pt x="90" y="104"/>
                    <a:pt x="91" y="103"/>
                    <a:pt x="91" y="102"/>
                  </a:cubicBezTo>
                  <a:cubicBezTo>
                    <a:pt x="91" y="85"/>
                    <a:pt x="91" y="85"/>
                    <a:pt x="91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9" y="85"/>
                    <a:pt x="100" y="84"/>
                    <a:pt x="100" y="8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3"/>
                    <a:pt x="99" y="12"/>
                    <a:pt x="98" y="12"/>
                  </a:cubicBezTo>
                  <a:moveTo>
                    <a:pt x="57" y="59"/>
                  </a:moveTo>
                  <a:cubicBezTo>
                    <a:pt x="43" y="59"/>
                    <a:pt x="43" y="59"/>
                    <a:pt x="43" y="5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57" y="35"/>
                    <a:pt x="57" y="35"/>
                    <a:pt x="57" y="35"/>
                  </a:cubicBezTo>
                  <a:lnTo>
                    <a:pt x="57" y="59"/>
                  </a:lnTo>
                  <a:close/>
                  <a:moveTo>
                    <a:pt x="60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7"/>
                    <a:pt x="51" y="16"/>
                    <a:pt x="50" y="16"/>
                  </a:cubicBezTo>
                  <a:cubicBezTo>
                    <a:pt x="49" y="16"/>
                    <a:pt x="48" y="17"/>
                    <a:pt x="48" y="1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8" y="32"/>
                    <a:pt x="38" y="33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3"/>
                    <a:pt x="39" y="64"/>
                    <a:pt x="40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1"/>
                    <a:pt x="49" y="92"/>
                    <a:pt x="50" y="92"/>
                  </a:cubicBezTo>
                  <a:cubicBezTo>
                    <a:pt x="51" y="92"/>
                    <a:pt x="52" y="91"/>
                    <a:pt x="52" y="90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2"/>
                    <a:pt x="61" y="31"/>
                    <a:pt x="60" y="31"/>
                  </a:cubicBezTo>
                  <a:moveTo>
                    <a:pt x="19" y="88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9" y="42"/>
                    <a:pt x="19" y="42"/>
                    <a:pt x="19" y="42"/>
                  </a:cubicBezTo>
                  <a:lnTo>
                    <a:pt x="19" y="88"/>
                  </a:lnTo>
                  <a:close/>
                  <a:moveTo>
                    <a:pt x="21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3" y="14"/>
                    <a:pt x="12" y="14"/>
                  </a:cubicBezTo>
                  <a:cubicBezTo>
                    <a:pt x="10" y="14"/>
                    <a:pt x="9" y="15"/>
                    <a:pt x="9" y="16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102"/>
                    <a:pt x="9" y="102"/>
                    <a:pt x="9" y="102"/>
                  </a:cubicBezTo>
                  <a:cubicBezTo>
                    <a:pt x="9" y="103"/>
                    <a:pt x="10" y="104"/>
                    <a:pt x="12" y="104"/>
                  </a:cubicBezTo>
                  <a:cubicBezTo>
                    <a:pt x="13" y="104"/>
                    <a:pt x="14" y="103"/>
                    <a:pt x="14" y="10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2" y="92"/>
                    <a:pt x="24" y="91"/>
                    <a:pt x="24" y="9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39"/>
                    <a:pt x="22" y="38"/>
                    <a:pt x="21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Group 107">
            <a:extLst>
              <a:ext uri="{FF2B5EF4-FFF2-40B4-BE49-F238E27FC236}">
                <a16:creationId xmlns:a16="http://schemas.microsoft.com/office/drawing/2014/main" id="{9CBC69AC-31D6-48AF-8B53-09CD6DD8DEA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2781" y="1539082"/>
            <a:ext cx="841375" cy="841375"/>
            <a:chOff x="4421" y="989"/>
            <a:chExt cx="530" cy="530"/>
          </a:xfrm>
        </p:grpSpPr>
        <p:sp>
          <p:nvSpPr>
            <p:cNvPr id="124" name="AutoShape 106">
              <a:extLst>
                <a:ext uri="{FF2B5EF4-FFF2-40B4-BE49-F238E27FC236}">
                  <a16:creationId xmlns:a16="http://schemas.microsoft.com/office/drawing/2014/main" id="{D1137147-A3FA-4345-90F9-E7A3F28821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1" y="98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108">
              <a:extLst>
                <a:ext uri="{FF2B5EF4-FFF2-40B4-BE49-F238E27FC236}">
                  <a16:creationId xmlns:a16="http://schemas.microsoft.com/office/drawing/2014/main" id="{1C43DBF9-E67C-4109-8447-095579ED7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" y="98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9">
              <a:extLst>
                <a:ext uri="{FF2B5EF4-FFF2-40B4-BE49-F238E27FC236}">
                  <a16:creationId xmlns:a16="http://schemas.microsoft.com/office/drawing/2014/main" id="{104C58FF-09ED-47DF-962B-284490EB7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9" y="100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0">
              <a:extLst>
                <a:ext uri="{FF2B5EF4-FFF2-40B4-BE49-F238E27FC236}">
                  <a16:creationId xmlns:a16="http://schemas.microsoft.com/office/drawing/2014/main" id="{3CC77200-2962-450C-AEF3-FFA38F5BD6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1122"/>
              <a:ext cx="256" cy="266"/>
            </a:xfrm>
            <a:custGeom>
              <a:avLst/>
              <a:gdLst>
                <a:gd name="T0" fmla="*/ 81 w 100"/>
                <a:gd name="T1" fmla="*/ 80 h 104"/>
                <a:gd name="T2" fmla="*/ 96 w 100"/>
                <a:gd name="T3" fmla="*/ 16 h 104"/>
                <a:gd name="T4" fmla="*/ 98 w 100"/>
                <a:gd name="T5" fmla="*/ 12 h 104"/>
                <a:gd name="T6" fmla="*/ 91 w 100"/>
                <a:gd name="T7" fmla="*/ 2 h 104"/>
                <a:gd name="T8" fmla="*/ 86 w 100"/>
                <a:gd name="T9" fmla="*/ 2 h 104"/>
                <a:gd name="T10" fmla="*/ 79 w 100"/>
                <a:gd name="T11" fmla="*/ 12 h 104"/>
                <a:gd name="T12" fmla="*/ 76 w 100"/>
                <a:gd name="T13" fmla="*/ 83 h 104"/>
                <a:gd name="T14" fmla="*/ 86 w 100"/>
                <a:gd name="T15" fmla="*/ 85 h 104"/>
                <a:gd name="T16" fmla="*/ 88 w 100"/>
                <a:gd name="T17" fmla="*/ 104 h 104"/>
                <a:gd name="T18" fmla="*/ 91 w 100"/>
                <a:gd name="T19" fmla="*/ 85 h 104"/>
                <a:gd name="T20" fmla="*/ 100 w 100"/>
                <a:gd name="T21" fmla="*/ 83 h 104"/>
                <a:gd name="T22" fmla="*/ 98 w 100"/>
                <a:gd name="T23" fmla="*/ 12 h 104"/>
                <a:gd name="T24" fmla="*/ 43 w 100"/>
                <a:gd name="T25" fmla="*/ 59 h 104"/>
                <a:gd name="T26" fmla="*/ 57 w 100"/>
                <a:gd name="T27" fmla="*/ 35 h 104"/>
                <a:gd name="T28" fmla="*/ 60 w 100"/>
                <a:gd name="T29" fmla="*/ 31 h 104"/>
                <a:gd name="T30" fmla="*/ 52 w 100"/>
                <a:gd name="T31" fmla="*/ 19 h 104"/>
                <a:gd name="T32" fmla="*/ 48 w 100"/>
                <a:gd name="T33" fmla="*/ 19 h 104"/>
                <a:gd name="T34" fmla="*/ 40 w 100"/>
                <a:gd name="T35" fmla="*/ 31 h 104"/>
                <a:gd name="T36" fmla="*/ 38 w 100"/>
                <a:gd name="T37" fmla="*/ 62 h 104"/>
                <a:gd name="T38" fmla="*/ 48 w 100"/>
                <a:gd name="T39" fmla="*/ 64 h 104"/>
                <a:gd name="T40" fmla="*/ 50 w 100"/>
                <a:gd name="T41" fmla="*/ 92 h 104"/>
                <a:gd name="T42" fmla="*/ 52 w 100"/>
                <a:gd name="T43" fmla="*/ 64 h 104"/>
                <a:gd name="T44" fmla="*/ 62 w 100"/>
                <a:gd name="T45" fmla="*/ 62 h 104"/>
                <a:gd name="T46" fmla="*/ 60 w 100"/>
                <a:gd name="T47" fmla="*/ 31 h 104"/>
                <a:gd name="T48" fmla="*/ 4 w 100"/>
                <a:gd name="T49" fmla="*/ 88 h 104"/>
                <a:gd name="T50" fmla="*/ 19 w 100"/>
                <a:gd name="T51" fmla="*/ 42 h 104"/>
                <a:gd name="T52" fmla="*/ 21 w 100"/>
                <a:gd name="T53" fmla="*/ 38 h 104"/>
                <a:gd name="T54" fmla="*/ 14 w 100"/>
                <a:gd name="T55" fmla="*/ 16 h 104"/>
                <a:gd name="T56" fmla="*/ 9 w 100"/>
                <a:gd name="T57" fmla="*/ 16 h 104"/>
                <a:gd name="T58" fmla="*/ 2 w 100"/>
                <a:gd name="T59" fmla="*/ 38 h 104"/>
                <a:gd name="T60" fmla="*/ 0 w 100"/>
                <a:gd name="T61" fmla="*/ 90 h 104"/>
                <a:gd name="T62" fmla="*/ 9 w 100"/>
                <a:gd name="T63" fmla="*/ 92 h 104"/>
                <a:gd name="T64" fmla="*/ 12 w 100"/>
                <a:gd name="T65" fmla="*/ 104 h 104"/>
                <a:gd name="T66" fmla="*/ 14 w 100"/>
                <a:gd name="T67" fmla="*/ 92 h 104"/>
                <a:gd name="T68" fmla="*/ 24 w 100"/>
                <a:gd name="T69" fmla="*/ 90 h 104"/>
                <a:gd name="T70" fmla="*/ 21 w 100"/>
                <a:gd name="T71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04">
                  <a:moveTo>
                    <a:pt x="96" y="80"/>
                  </a:moveTo>
                  <a:cubicBezTo>
                    <a:pt x="81" y="80"/>
                    <a:pt x="81" y="80"/>
                    <a:pt x="81" y="80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96" y="16"/>
                    <a:pt x="96" y="16"/>
                    <a:pt x="96" y="16"/>
                  </a:cubicBezTo>
                  <a:lnTo>
                    <a:pt x="96" y="80"/>
                  </a:lnTo>
                  <a:close/>
                  <a:moveTo>
                    <a:pt x="98" y="12"/>
                  </a:moveTo>
                  <a:cubicBezTo>
                    <a:pt x="91" y="12"/>
                    <a:pt x="91" y="12"/>
                    <a:pt x="91" y="1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0" y="0"/>
                    <a:pt x="88" y="0"/>
                  </a:cubicBezTo>
                  <a:cubicBezTo>
                    <a:pt x="87" y="0"/>
                    <a:pt x="86" y="1"/>
                    <a:pt x="86" y="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6" y="13"/>
                    <a:pt x="76" y="14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6" y="84"/>
                    <a:pt x="78" y="85"/>
                    <a:pt x="79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102"/>
                    <a:pt x="86" y="102"/>
                    <a:pt x="86" y="102"/>
                  </a:cubicBezTo>
                  <a:cubicBezTo>
                    <a:pt x="86" y="103"/>
                    <a:pt x="87" y="104"/>
                    <a:pt x="88" y="104"/>
                  </a:cubicBezTo>
                  <a:cubicBezTo>
                    <a:pt x="90" y="104"/>
                    <a:pt x="91" y="103"/>
                    <a:pt x="91" y="102"/>
                  </a:cubicBezTo>
                  <a:cubicBezTo>
                    <a:pt x="91" y="85"/>
                    <a:pt x="91" y="85"/>
                    <a:pt x="91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9" y="85"/>
                    <a:pt x="100" y="84"/>
                    <a:pt x="100" y="8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3"/>
                    <a:pt x="99" y="12"/>
                    <a:pt x="98" y="12"/>
                  </a:cubicBezTo>
                  <a:moveTo>
                    <a:pt x="57" y="59"/>
                  </a:moveTo>
                  <a:cubicBezTo>
                    <a:pt x="43" y="59"/>
                    <a:pt x="43" y="59"/>
                    <a:pt x="43" y="5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57" y="35"/>
                    <a:pt x="57" y="35"/>
                    <a:pt x="57" y="35"/>
                  </a:cubicBezTo>
                  <a:lnTo>
                    <a:pt x="57" y="59"/>
                  </a:lnTo>
                  <a:close/>
                  <a:moveTo>
                    <a:pt x="60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7"/>
                    <a:pt x="51" y="16"/>
                    <a:pt x="50" y="16"/>
                  </a:cubicBezTo>
                  <a:cubicBezTo>
                    <a:pt x="49" y="16"/>
                    <a:pt x="48" y="17"/>
                    <a:pt x="48" y="19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9" y="31"/>
                    <a:pt x="38" y="32"/>
                    <a:pt x="38" y="33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3"/>
                    <a:pt x="39" y="64"/>
                    <a:pt x="40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1"/>
                    <a:pt x="49" y="92"/>
                    <a:pt x="50" y="92"/>
                  </a:cubicBezTo>
                  <a:cubicBezTo>
                    <a:pt x="51" y="92"/>
                    <a:pt x="52" y="91"/>
                    <a:pt x="52" y="90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2"/>
                    <a:pt x="61" y="31"/>
                    <a:pt x="60" y="31"/>
                  </a:cubicBezTo>
                  <a:moveTo>
                    <a:pt x="19" y="88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9" y="42"/>
                    <a:pt x="19" y="42"/>
                    <a:pt x="19" y="42"/>
                  </a:cubicBezTo>
                  <a:lnTo>
                    <a:pt x="19" y="88"/>
                  </a:lnTo>
                  <a:close/>
                  <a:moveTo>
                    <a:pt x="21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3" y="14"/>
                    <a:pt x="12" y="14"/>
                  </a:cubicBezTo>
                  <a:cubicBezTo>
                    <a:pt x="10" y="14"/>
                    <a:pt x="9" y="15"/>
                    <a:pt x="9" y="16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102"/>
                    <a:pt x="9" y="102"/>
                    <a:pt x="9" y="102"/>
                  </a:cubicBezTo>
                  <a:cubicBezTo>
                    <a:pt x="9" y="103"/>
                    <a:pt x="10" y="104"/>
                    <a:pt x="12" y="104"/>
                  </a:cubicBezTo>
                  <a:cubicBezTo>
                    <a:pt x="13" y="104"/>
                    <a:pt x="14" y="103"/>
                    <a:pt x="14" y="10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2" y="92"/>
                    <a:pt x="24" y="91"/>
                    <a:pt x="24" y="9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39"/>
                    <a:pt x="22" y="38"/>
                    <a:pt x="21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2" name="Group 113">
            <a:extLst>
              <a:ext uri="{FF2B5EF4-FFF2-40B4-BE49-F238E27FC236}">
                <a16:creationId xmlns:a16="http://schemas.microsoft.com/office/drawing/2014/main" id="{67888547-63B8-4ADB-8301-BAAE4FE6FA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97719" y="2853744"/>
            <a:ext cx="758825" cy="758825"/>
            <a:chOff x="2310" y="1775"/>
            <a:chExt cx="478" cy="478"/>
          </a:xfrm>
        </p:grpSpPr>
        <p:sp>
          <p:nvSpPr>
            <p:cNvPr id="133" name="AutoShape 112">
              <a:extLst>
                <a:ext uri="{FF2B5EF4-FFF2-40B4-BE49-F238E27FC236}">
                  <a16:creationId xmlns:a16="http://schemas.microsoft.com/office/drawing/2014/main" id="{8414FC07-C047-4529-9123-6C9C31CB3BD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10" y="177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4">
              <a:extLst>
                <a:ext uri="{FF2B5EF4-FFF2-40B4-BE49-F238E27FC236}">
                  <a16:creationId xmlns:a16="http://schemas.microsoft.com/office/drawing/2014/main" id="{3F1123BF-B676-4B6C-9DBB-4DFBC6498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2" y="177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5">
              <a:extLst>
                <a:ext uri="{FF2B5EF4-FFF2-40B4-BE49-F238E27FC236}">
                  <a16:creationId xmlns:a16="http://schemas.microsoft.com/office/drawing/2014/main" id="{974987D8-A5B3-42D4-9D48-88D57113E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1" y="1871"/>
              <a:ext cx="299" cy="289"/>
            </a:xfrm>
            <a:custGeom>
              <a:avLst/>
              <a:gdLst>
                <a:gd name="T0" fmla="*/ 63 w 122"/>
                <a:gd name="T1" fmla="*/ 61 h 118"/>
                <a:gd name="T2" fmla="*/ 63 w 122"/>
                <a:gd name="T3" fmla="*/ 114 h 118"/>
                <a:gd name="T4" fmla="*/ 59 w 122"/>
                <a:gd name="T5" fmla="*/ 58 h 118"/>
                <a:gd name="T6" fmla="*/ 59 w 122"/>
                <a:gd name="T7" fmla="*/ 58 h 118"/>
                <a:gd name="T8" fmla="*/ 59 w 122"/>
                <a:gd name="T9" fmla="*/ 58 h 118"/>
                <a:gd name="T10" fmla="*/ 59 w 122"/>
                <a:gd name="T11" fmla="*/ 59 h 118"/>
                <a:gd name="T12" fmla="*/ 59 w 122"/>
                <a:gd name="T13" fmla="*/ 114 h 118"/>
                <a:gd name="T14" fmla="*/ 5 w 122"/>
                <a:gd name="T15" fmla="*/ 59 h 118"/>
                <a:gd name="T16" fmla="*/ 87 w 122"/>
                <a:gd name="T17" fmla="*/ 11 h 118"/>
                <a:gd name="T18" fmla="*/ 81 w 122"/>
                <a:gd name="T19" fmla="*/ 29 h 118"/>
                <a:gd name="T20" fmla="*/ 105 w 122"/>
                <a:gd name="T21" fmla="*/ 57 h 118"/>
                <a:gd name="T22" fmla="*/ 81 w 122"/>
                <a:gd name="T23" fmla="*/ 29 h 118"/>
                <a:gd name="T24" fmla="*/ 65 w 122"/>
                <a:gd name="T25" fmla="*/ 57 h 118"/>
                <a:gd name="T26" fmla="*/ 80 w 122"/>
                <a:gd name="T27" fmla="*/ 57 h 118"/>
                <a:gd name="T28" fmla="*/ 79 w 122"/>
                <a:gd name="T29" fmla="*/ 34 h 118"/>
                <a:gd name="T30" fmla="*/ 85 w 122"/>
                <a:gd name="T31" fmla="*/ 57 h 118"/>
                <a:gd name="T32" fmla="*/ 91 w 122"/>
                <a:gd name="T33" fmla="*/ 13 h 118"/>
                <a:gd name="T34" fmla="*/ 110 w 122"/>
                <a:gd name="T35" fmla="*/ 57 h 118"/>
                <a:gd name="T36" fmla="*/ 91 w 122"/>
                <a:gd name="T37" fmla="*/ 13 h 118"/>
                <a:gd name="T38" fmla="*/ 92 w 122"/>
                <a:gd name="T39" fmla="*/ 8 h 118"/>
                <a:gd name="T40" fmla="*/ 0 w 122"/>
                <a:gd name="T41" fmla="*/ 59 h 118"/>
                <a:gd name="T42" fmla="*/ 61 w 122"/>
                <a:gd name="T43" fmla="*/ 118 h 118"/>
                <a:gd name="T44" fmla="*/ 90 w 122"/>
                <a:gd name="T45" fmla="*/ 95 h 118"/>
                <a:gd name="T46" fmla="*/ 90 w 122"/>
                <a:gd name="T47" fmla="*/ 90 h 118"/>
                <a:gd name="T48" fmla="*/ 90 w 122"/>
                <a:gd name="T49" fmla="*/ 95 h 118"/>
                <a:gd name="T50" fmla="*/ 112 w 122"/>
                <a:gd name="T51" fmla="*/ 69 h 118"/>
                <a:gd name="T52" fmla="*/ 108 w 122"/>
                <a:gd name="T53" fmla="*/ 69 h 118"/>
                <a:gd name="T54" fmla="*/ 90 w 122"/>
                <a:gd name="T55" fmla="*/ 71 h 118"/>
                <a:gd name="T56" fmla="*/ 90 w 122"/>
                <a:gd name="T57" fmla="*/ 66 h 118"/>
                <a:gd name="T58" fmla="*/ 90 w 122"/>
                <a:gd name="T59" fmla="*/ 71 h 118"/>
                <a:gd name="T60" fmla="*/ 93 w 122"/>
                <a:gd name="T61" fmla="*/ 80 h 118"/>
                <a:gd name="T62" fmla="*/ 88 w 122"/>
                <a:gd name="T63" fmla="*/ 80 h 118"/>
                <a:gd name="T64" fmla="*/ 100 w 122"/>
                <a:gd name="T65" fmla="*/ 76 h 118"/>
                <a:gd name="T66" fmla="*/ 100 w 122"/>
                <a:gd name="T67" fmla="*/ 71 h 118"/>
                <a:gd name="T68" fmla="*/ 100 w 122"/>
                <a:gd name="T69" fmla="*/ 76 h 118"/>
                <a:gd name="T70" fmla="*/ 103 w 122"/>
                <a:gd name="T71" fmla="*/ 85 h 118"/>
                <a:gd name="T72" fmla="*/ 98 w 122"/>
                <a:gd name="T73" fmla="*/ 85 h 118"/>
                <a:gd name="T74" fmla="*/ 81 w 122"/>
                <a:gd name="T75" fmla="*/ 76 h 118"/>
                <a:gd name="T76" fmla="*/ 81 w 122"/>
                <a:gd name="T77" fmla="*/ 71 h 118"/>
                <a:gd name="T78" fmla="*/ 81 w 122"/>
                <a:gd name="T79" fmla="*/ 76 h 118"/>
                <a:gd name="T80" fmla="*/ 83 w 122"/>
                <a:gd name="T81" fmla="*/ 97 h 118"/>
                <a:gd name="T82" fmla="*/ 78 w 122"/>
                <a:gd name="T83" fmla="*/ 97 h 118"/>
                <a:gd name="T84" fmla="*/ 81 w 122"/>
                <a:gd name="T85" fmla="*/ 88 h 118"/>
                <a:gd name="T86" fmla="*/ 81 w 122"/>
                <a:gd name="T87" fmla="*/ 83 h 118"/>
                <a:gd name="T88" fmla="*/ 81 w 122"/>
                <a:gd name="T89" fmla="*/ 88 h 118"/>
                <a:gd name="T90" fmla="*/ 73 w 122"/>
                <a:gd name="T91" fmla="*/ 104 h 118"/>
                <a:gd name="T92" fmla="*/ 68 w 122"/>
                <a:gd name="T93" fmla="*/ 104 h 118"/>
                <a:gd name="T94" fmla="*/ 71 w 122"/>
                <a:gd name="T95" fmla="*/ 71 h 118"/>
                <a:gd name="T96" fmla="*/ 71 w 122"/>
                <a:gd name="T97" fmla="*/ 66 h 118"/>
                <a:gd name="T98" fmla="*/ 71 w 122"/>
                <a:gd name="T99" fmla="*/ 71 h 118"/>
                <a:gd name="T100" fmla="*/ 73 w 122"/>
                <a:gd name="T101" fmla="*/ 92 h 118"/>
                <a:gd name="T102" fmla="*/ 68 w 122"/>
                <a:gd name="T103" fmla="*/ 92 h 118"/>
                <a:gd name="T104" fmla="*/ 71 w 122"/>
                <a:gd name="T105" fmla="*/ 83 h 118"/>
                <a:gd name="T106" fmla="*/ 71 w 122"/>
                <a:gd name="T107" fmla="*/ 78 h 118"/>
                <a:gd name="T108" fmla="*/ 71 w 122"/>
                <a:gd name="T109" fmla="*/ 8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2" h="118">
                  <a:moveTo>
                    <a:pt x="63" y="114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6" y="90"/>
                    <a:pt x="93" y="112"/>
                    <a:pt x="63" y="114"/>
                  </a:cubicBezTo>
                  <a:moveTo>
                    <a:pt x="59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0" y="113"/>
                    <a:pt x="41" y="111"/>
                    <a:pt x="33" y="106"/>
                  </a:cubicBezTo>
                  <a:cubicBezTo>
                    <a:pt x="15" y="97"/>
                    <a:pt x="5" y="78"/>
                    <a:pt x="5" y="59"/>
                  </a:cubicBezTo>
                  <a:cubicBezTo>
                    <a:pt x="5" y="29"/>
                    <a:pt x="30" y="4"/>
                    <a:pt x="61" y="4"/>
                  </a:cubicBezTo>
                  <a:cubicBezTo>
                    <a:pt x="70" y="4"/>
                    <a:pt x="79" y="6"/>
                    <a:pt x="87" y="11"/>
                  </a:cubicBezTo>
                  <a:lnTo>
                    <a:pt x="59" y="58"/>
                  </a:lnTo>
                  <a:close/>
                  <a:moveTo>
                    <a:pt x="81" y="29"/>
                  </a:moveTo>
                  <a:cubicBezTo>
                    <a:pt x="85" y="23"/>
                    <a:pt x="85" y="23"/>
                    <a:pt x="85" y="23"/>
                  </a:cubicBezTo>
                  <a:cubicBezTo>
                    <a:pt x="97" y="30"/>
                    <a:pt x="104" y="43"/>
                    <a:pt x="105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7" y="45"/>
                    <a:pt x="91" y="35"/>
                    <a:pt x="81" y="29"/>
                  </a:cubicBezTo>
                  <a:moveTo>
                    <a:pt x="80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7" y="47"/>
                    <a:pt x="80" y="51"/>
                    <a:pt x="80" y="57"/>
                  </a:cubicBezTo>
                  <a:moveTo>
                    <a:pt x="75" y="40"/>
                  </a:moveTo>
                  <a:cubicBezTo>
                    <a:pt x="79" y="34"/>
                    <a:pt x="79" y="34"/>
                    <a:pt x="79" y="34"/>
                  </a:cubicBezTo>
                  <a:cubicBezTo>
                    <a:pt x="87" y="39"/>
                    <a:pt x="92" y="47"/>
                    <a:pt x="93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0"/>
                    <a:pt x="81" y="44"/>
                    <a:pt x="75" y="40"/>
                  </a:cubicBezTo>
                  <a:moveTo>
                    <a:pt x="91" y="13"/>
                  </a:moveTo>
                  <a:cubicBezTo>
                    <a:pt x="107" y="22"/>
                    <a:pt x="117" y="39"/>
                    <a:pt x="117" y="57"/>
                  </a:cubicBezTo>
                  <a:cubicBezTo>
                    <a:pt x="110" y="57"/>
                    <a:pt x="110" y="57"/>
                    <a:pt x="110" y="57"/>
                  </a:cubicBezTo>
                  <a:cubicBezTo>
                    <a:pt x="109" y="41"/>
                    <a:pt x="100" y="27"/>
                    <a:pt x="88" y="19"/>
                  </a:cubicBezTo>
                  <a:lnTo>
                    <a:pt x="91" y="13"/>
                  </a:lnTo>
                  <a:close/>
                  <a:moveTo>
                    <a:pt x="122" y="59"/>
                  </a:moveTo>
                  <a:cubicBezTo>
                    <a:pt x="122" y="38"/>
                    <a:pt x="111" y="18"/>
                    <a:pt x="92" y="8"/>
                  </a:cubicBezTo>
                  <a:cubicBezTo>
                    <a:pt x="82" y="2"/>
                    <a:pt x="72" y="0"/>
                    <a:pt x="61" y="0"/>
                  </a:cubicBezTo>
                  <a:cubicBezTo>
                    <a:pt x="27" y="0"/>
                    <a:pt x="0" y="26"/>
                    <a:pt x="0" y="59"/>
                  </a:cubicBezTo>
                  <a:cubicBezTo>
                    <a:pt x="0" y="80"/>
                    <a:pt x="11" y="100"/>
                    <a:pt x="30" y="110"/>
                  </a:cubicBezTo>
                  <a:cubicBezTo>
                    <a:pt x="40" y="116"/>
                    <a:pt x="50" y="118"/>
                    <a:pt x="61" y="118"/>
                  </a:cubicBezTo>
                  <a:cubicBezTo>
                    <a:pt x="95" y="118"/>
                    <a:pt x="122" y="92"/>
                    <a:pt x="122" y="59"/>
                  </a:cubicBezTo>
                  <a:close/>
                  <a:moveTo>
                    <a:pt x="90" y="95"/>
                  </a:moveTo>
                  <a:cubicBezTo>
                    <a:pt x="92" y="95"/>
                    <a:pt x="93" y="94"/>
                    <a:pt x="93" y="92"/>
                  </a:cubicBezTo>
                  <a:cubicBezTo>
                    <a:pt x="93" y="91"/>
                    <a:pt x="92" y="90"/>
                    <a:pt x="90" y="90"/>
                  </a:cubicBezTo>
                  <a:cubicBezTo>
                    <a:pt x="89" y="90"/>
                    <a:pt x="88" y="91"/>
                    <a:pt x="88" y="92"/>
                  </a:cubicBezTo>
                  <a:cubicBezTo>
                    <a:pt x="88" y="94"/>
                    <a:pt x="89" y="95"/>
                    <a:pt x="90" y="95"/>
                  </a:cubicBezTo>
                  <a:moveTo>
                    <a:pt x="110" y="71"/>
                  </a:moveTo>
                  <a:cubicBezTo>
                    <a:pt x="111" y="71"/>
                    <a:pt x="112" y="70"/>
                    <a:pt x="112" y="69"/>
                  </a:cubicBezTo>
                  <a:cubicBezTo>
                    <a:pt x="112" y="67"/>
                    <a:pt x="111" y="66"/>
                    <a:pt x="110" y="66"/>
                  </a:cubicBezTo>
                  <a:cubicBezTo>
                    <a:pt x="109" y="66"/>
                    <a:pt x="108" y="67"/>
                    <a:pt x="108" y="69"/>
                  </a:cubicBezTo>
                  <a:cubicBezTo>
                    <a:pt x="108" y="70"/>
                    <a:pt x="109" y="71"/>
                    <a:pt x="110" y="71"/>
                  </a:cubicBezTo>
                  <a:moveTo>
                    <a:pt x="90" y="71"/>
                  </a:moveTo>
                  <a:cubicBezTo>
                    <a:pt x="92" y="71"/>
                    <a:pt x="93" y="70"/>
                    <a:pt x="93" y="69"/>
                  </a:cubicBezTo>
                  <a:cubicBezTo>
                    <a:pt x="93" y="67"/>
                    <a:pt x="92" y="66"/>
                    <a:pt x="90" y="66"/>
                  </a:cubicBezTo>
                  <a:cubicBezTo>
                    <a:pt x="89" y="66"/>
                    <a:pt x="88" y="67"/>
                    <a:pt x="88" y="69"/>
                  </a:cubicBezTo>
                  <a:cubicBezTo>
                    <a:pt x="88" y="70"/>
                    <a:pt x="89" y="71"/>
                    <a:pt x="90" y="71"/>
                  </a:cubicBezTo>
                  <a:moveTo>
                    <a:pt x="90" y="83"/>
                  </a:moveTo>
                  <a:cubicBezTo>
                    <a:pt x="92" y="83"/>
                    <a:pt x="93" y="82"/>
                    <a:pt x="93" y="80"/>
                  </a:cubicBezTo>
                  <a:cubicBezTo>
                    <a:pt x="93" y="79"/>
                    <a:pt x="92" y="78"/>
                    <a:pt x="90" y="78"/>
                  </a:cubicBezTo>
                  <a:cubicBezTo>
                    <a:pt x="89" y="78"/>
                    <a:pt x="88" y="79"/>
                    <a:pt x="88" y="80"/>
                  </a:cubicBezTo>
                  <a:cubicBezTo>
                    <a:pt x="88" y="82"/>
                    <a:pt x="89" y="83"/>
                    <a:pt x="90" y="83"/>
                  </a:cubicBezTo>
                  <a:moveTo>
                    <a:pt x="100" y="76"/>
                  </a:moveTo>
                  <a:cubicBezTo>
                    <a:pt x="102" y="76"/>
                    <a:pt x="103" y="75"/>
                    <a:pt x="103" y="73"/>
                  </a:cubicBezTo>
                  <a:cubicBezTo>
                    <a:pt x="103" y="72"/>
                    <a:pt x="102" y="71"/>
                    <a:pt x="100" y="71"/>
                  </a:cubicBezTo>
                  <a:cubicBezTo>
                    <a:pt x="99" y="71"/>
                    <a:pt x="98" y="72"/>
                    <a:pt x="98" y="73"/>
                  </a:cubicBezTo>
                  <a:cubicBezTo>
                    <a:pt x="98" y="75"/>
                    <a:pt x="99" y="76"/>
                    <a:pt x="100" y="76"/>
                  </a:cubicBezTo>
                  <a:moveTo>
                    <a:pt x="100" y="88"/>
                  </a:moveTo>
                  <a:cubicBezTo>
                    <a:pt x="102" y="88"/>
                    <a:pt x="103" y="86"/>
                    <a:pt x="103" y="85"/>
                  </a:cubicBezTo>
                  <a:cubicBezTo>
                    <a:pt x="103" y="84"/>
                    <a:pt x="102" y="83"/>
                    <a:pt x="100" y="83"/>
                  </a:cubicBezTo>
                  <a:cubicBezTo>
                    <a:pt x="99" y="83"/>
                    <a:pt x="98" y="84"/>
                    <a:pt x="98" y="85"/>
                  </a:cubicBezTo>
                  <a:cubicBezTo>
                    <a:pt x="98" y="86"/>
                    <a:pt x="99" y="88"/>
                    <a:pt x="100" y="88"/>
                  </a:cubicBezTo>
                  <a:moveTo>
                    <a:pt x="81" y="76"/>
                  </a:moveTo>
                  <a:cubicBezTo>
                    <a:pt x="82" y="76"/>
                    <a:pt x="83" y="75"/>
                    <a:pt x="83" y="73"/>
                  </a:cubicBezTo>
                  <a:cubicBezTo>
                    <a:pt x="83" y="72"/>
                    <a:pt x="82" y="71"/>
                    <a:pt x="81" y="71"/>
                  </a:cubicBezTo>
                  <a:cubicBezTo>
                    <a:pt x="79" y="71"/>
                    <a:pt x="78" y="72"/>
                    <a:pt x="78" y="73"/>
                  </a:cubicBezTo>
                  <a:cubicBezTo>
                    <a:pt x="78" y="75"/>
                    <a:pt x="79" y="76"/>
                    <a:pt x="81" y="76"/>
                  </a:cubicBezTo>
                  <a:moveTo>
                    <a:pt x="81" y="99"/>
                  </a:moveTo>
                  <a:cubicBezTo>
                    <a:pt x="82" y="99"/>
                    <a:pt x="83" y="98"/>
                    <a:pt x="83" y="97"/>
                  </a:cubicBezTo>
                  <a:cubicBezTo>
                    <a:pt x="83" y="96"/>
                    <a:pt x="82" y="95"/>
                    <a:pt x="81" y="95"/>
                  </a:cubicBezTo>
                  <a:cubicBezTo>
                    <a:pt x="79" y="95"/>
                    <a:pt x="78" y="96"/>
                    <a:pt x="78" y="97"/>
                  </a:cubicBezTo>
                  <a:cubicBezTo>
                    <a:pt x="78" y="98"/>
                    <a:pt x="79" y="99"/>
                    <a:pt x="81" y="99"/>
                  </a:cubicBezTo>
                  <a:moveTo>
                    <a:pt x="81" y="88"/>
                  </a:moveTo>
                  <a:cubicBezTo>
                    <a:pt x="82" y="88"/>
                    <a:pt x="83" y="86"/>
                    <a:pt x="83" y="85"/>
                  </a:cubicBezTo>
                  <a:cubicBezTo>
                    <a:pt x="83" y="84"/>
                    <a:pt x="82" y="83"/>
                    <a:pt x="81" y="83"/>
                  </a:cubicBezTo>
                  <a:cubicBezTo>
                    <a:pt x="79" y="83"/>
                    <a:pt x="78" y="84"/>
                    <a:pt x="78" y="85"/>
                  </a:cubicBezTo>
                  <a:cubicBezTo>
                    <a:pt x="78" y="86"/>
                    <a:pt x="79" y="88"/>
                    <a:pt x="81" y="88"/>
                  </a:cubicBezTo>
                  <a:moveTo>
                    <a:pt x="71" y="107"/>
                  </a:moveTo>
                  <a:cubicBezTo>
                    <a:pt x="72" y="107"/>
                    <a:pt x="73" y="105"/>
                    <a:pt x="73" y="104"/>
                  </a:cubicBezTo>
                  <a:cubicBezTo>
                    <a:pt x="73" y="103"/>
                    <a:pt x="72" y="102"/>
                    <a:pt x="71" y="102"/>
                  </a:cubicBezTo>
                  <a:cubicBezTo>
                    <a:pt x="69" y="102"/>
                    <a:pt x="68" y="103"/>
                    <a:pt x="68" y="104"/>
                  </a:cubicBezTo>
                  <a:cubicBezTo>
                    <a:pt x="68" y="105"/>
                    <a:pt x="69" y="107"/>
                    <a:pt x="71" y="107"/>
                  </a:cubicBezTo>
                  <a:moveTo>
                    <a:pt x="71" y="71"/>
                  </a:moveTo>
                  <a:cubicBezTo>
                    <a:pt x="72" y="71"/>
                    <a:pt x="73" y="70"/>
                    <a:pt x="73" y="69"/>
                  </a:cubicBezTo>
                  <a:cubicBezTo>
                    <a:pt x="73" y="67"/>
                    <a:pt x="72" y="66"/>
                    <a:pt x="71" y="66"/>
                  </a:cubicBezTo>
                  <a:cubicBezTo>
                    <a:pt x="69" y="66"/>
                    <a:pt x="68" y="67"/>
                    <a:pt x="68" y="69"/>
                  </a:cubicBezTo>
                  <a:cubicBezTo>
                    <a:pt x="68" y="70"/>
                    <a:pt x="69" y="71"/>
                    <a:pt x="71" y="71"/>
                  </a:cubicBezTo>
                  <a:moveTo>
                    <a:pt x="71" y="95"/>
                  </a:moveTo>
                  <a:cubicBezTo>
                    <a:pt x="72" y="95"/>
                    <a:pt x="73" y="94"/>
                    <a:pt x="73" y="92"/>
                  </a:cubicBezTo>
                  <a:cubicBezTo>
                    <a:pt x="73" y="91"/>
                    <a:pt x="72" y="90"/>
                    <a:pt x="71" y="90"/>
                  </a:cubicBezTo>
                  <a:cubicBezTo>
                    <a:pt x="69" y="90"/>
                    <a:pt x="68" y="91"/>
                    <a:pt x="68" y="92"/>
                  </a:cubicBezTo>
                  <a:cubicBezTo>
                    <a:pt x="68" y="94"/>
                    <a:pt x="69" y="95"/>
                    <a:pt x="71" y="95"/>
                  </a:cubicBezTo>
                  <a:moveTo>
                    <a:pt x="71" y="83"/>
                  </a:moveTo>
                  <a:cubicBezTo>
                    <a:pt x="72" y="83"/>
                    <a:pt x="73" y="82"/>
                    <a:pt x="73" y="80"/>
                  </a:cubicBezTo>
                  <a:cubicBezTo>
                    <a:pt x="73" y="79"/>
                    <a:pt x="72" y="78"/>
                    <a:pt x="71" y="78"/>
                  </a:cubicBezTo>
                  <a:cubicBezTo>
                    <a:pt x="69" y="78"/>
                    <a:pt x="68" y="79"/>
                    <a:pt x="68" y="80"/>
                  </a:cubicBezTo>
                  <a:cubicBezTo>
                    <a:pt x="68" y="82"/>
                    <a:pt x="69" y="83"/>
                    <a:pt x="71" y="8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16">
              <a:extLst>
                <a:ext uri="{FF2B5EF4-FFF2-40B4-BE49-F238E27FC236}">
                  <a16:creationId xmlns:a16="http://schemas.microsoft.com/office/drawing/2014/main" id="{F540A6F1-A9A2-4057-9367-9C21219C4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1" y="1871"/>
              <a:ext cx="299" cy="289"/>
            </a:xfrm>
            <a:custGeom>
              <a:avLst/>
              <a:gdLst>
                <a:gd name="T0" fmla="*/ 63 w 122"/>
                <a:gd name="T1" fmla="*/ 61 h 118"/>
                <a:gd name="T2" fmla="*/ 63 w 122"/>
                <a:gd name="T3" fmla="*/ 114 h 118"/>
                <a:gd name="T4" fmla="*/ 59 w 122"/>
                <a:gd name="T5" fmla="*/ 58 h 118"/>
                <a:gd name="T6" fmla="*/ 59 w 122"/>
                <a:gd name="T7" fmla="*/ 58 h 118"/>
                <a:gd name="T8" fmla="*/ 59 w 122"/>
                <a:gd name="T9" fmla="*/ 58 h 118"/>
                <a:gd name="T10" fmla="*/ 59 w 122"/>
                <a:gd name="T11" fmla="*/ 59 h 118"/>
                <a:gd name="T12" fmla="*/ 59 w 122"/>
                <a:gd name="T13" fmla="*/ 114 h 118"/>
                <a:gd name="T14" fmla="*/ 5 w 122"/>
                <a:gd name="T15" fmla="*/ 59 h 118"/>
                <a:gd name="T16" fmla="*/ 87 w 122"/>
                <a:gd name="T17" fmla="*/ 11 h 118"/>
                <a:gd name="T18" fmla="*/ 81 w 122"/>
                <a:gd name="T19" fmla="*/ 29 h 118"/>
                <a:gd name="T20" fmla="*/ 105 w 122"/>
                <a:gd name="T21" fmla="*/ 57 h 118"/>
                <a:gd name="T22" fmla="*/ 81 w 122"/>
                <a:gd name="T23" fmla="*/ 29 h 118"/>
                <a:gd name="T24" fmla="*/ 65 w 122"/>
                <a:gd name="T25" fmla="*/ 57 h 118"/>
                <a:gd name="T26" fmla="*/ 80 w 122"/>
                <a:gd name="T27" fmla="*/ 57 h 118"/>
                <a:gd name="T28" fmla="*/ 79 w 122"/>
                <a:gd name="T29" fmla="*/ 34 h 118"/>
                <a:gd name="T30" fmla="*/ 85 w 122"/>
                <a:gd name="T31" fmla="*/ 57 h 118"/>
                <a:gd name="T32" fmla="*/ 91 w 122"/>
                <a:gd name="T33" fmla="*/ 13 h 118"/>
                <a:gd name="T34" fmla="*/ 110 w 122"/>
                <a:gd name="T35" fmla="*/ 57 h 118"/>
                <a:gd name="T36" fmla="*/ 91 w 122"/>
                <a:gd name="T37" fmla="*/ 13 h 118"/>
                <a:gd name="T38" fmla="*/ 92 w 122"/>
                <a:gd name="T39" fmla="*/ 8 h 118"/>
                <a:gd name="T40" fmla="*/ 0 w 122"/>
                <a:gd name="T41" fmla="*/ 59 h 118"/>
                <a:gd name="T42" fmla="*/ 61 w 122"/>
                <a:gd name="T43" fmla="*/ 118 h 118"/>
                <a:gd name="T44" fmla="*/ 90 w 122"/>
                <a:gd name="T45" fmla="*/ 95 h 118"/>
                <a:gd name="T46" fmla="*/ 90 w 122"/>
                <a:gd name="T47" fmla="*/ 90 h 118"/>
                <a:gd name="T48" fmla="*/ 90 w 122"/>
                <a:gd name="T49" fmla="*/ 95 h 118"/>
                <a:gd name="T50" fmla="*/ 112 w 122"/>
                <a:gd name="T51" fmla="*/ 69 h 118"/>
                <a:gd name="T52" fmla="*/ 108 w 122"/>
                <a:gd name="T53" fmla="*/ 69 h 118"/>
                <a:gd name="T54" fmla="*/ 90 w 122"/>
                <a:gd name="T55" fmla="*/ 71 h 118"/>
                <a:gd name="T56" fmla="*/ 90 w 122"/>
                <a:gd name="T57" fmla="*/ 66 h 118"/>
                <a:gd name="T58" fmla="*/ 90 w 122"/>
                <a:gd name="T59" fmla="*/ 71 h 118"/>
                <a:gd name="T60" fmla="*/ 93 w 122"/>
                <a:gd name="T61" fmla="*/ 80 h 118"/>
                <a:gd name="T62" fmla="*/ 88 w 122"/>
                <a:gd name="T63" fmla="*/ 80 h 118"/>
                <a:gd name="T64" fmla="*/ 100 w 122"/>
                <a:gd name="T65" fmla="*/ 76 h 118"/>
                <a:gd name="T66" fmla="*/ 100 w 122"/>
                <a:gd name="T67" fmla="*/ 71 h 118"/>
                <a:gd name="T68" fmla="*/ 100 w 122"/>
                <a:gd name="T69" fmla="*/ 76 h 118"/>
                <a:gd name="T70" fmla="*/ 103 w 122"/>
                <a:gd name="T71" fmla="*/ 85 h 118"/>
                <a:gd name="T72" fmla="*/ 98 w 122"/>
                <a:gd name="T73" fmla="*/ 85 h 118"/>
                <a:gd name="T74" fmla="*/ 81 w 122"/>
                <a:gd name="T75" fmla="*/ 76 h 118"/>
                <a:gd name="T76" fmla="*/ 81 w 122"/>
                <a:gd name="T77" fmla="*/ 71 h 118"/>
                <a:gd name="T78" fmla="*/ 81 w 122"/>
                <a:gd name="T79" fmla="*/ 76 h 118"/>
                <a:gd name="T80" fmla="*/ 83 w 122"/>
                <a:gd name="T81" fmla="*/ 97 h 118"/>
                <a:gd name="T82" fmla="*/ 78 w 122"/>
                <a:gd name="T83" fmla="*/ 97 h 118"/>
                <a:gd name="T84" fmla="*/ 81 w 122"/>
                <a:gd name="T85" fmla="*/ 88 h 118"/>
                <a:gd name="T86" fmla="*/ 81 w 122"/>
                <a:gd name="T87" fmla="*/ 83 h 118"/>
                <a:gd name="T88" fmla="*/ 81 w 122"/>
                <a:gd name="T89" fmla="*/ 88 h 118"/>
                <a:gd name="T90" fmla="*/ 73 w 122"/>
                <a:gd name="T91" fmla="*/ 104 h 118"/>
                <a:gd name="T92" fmla="*/ 68 w 122"/>
                <a:gd name="T93" fmla="*/ 104 h 118"/>
                <a:gd name="T94" fmla="*/ 71 w 122"/>
                <a:gd name="T95" fmla="*/ 71 h 118"/>
                <a:gd name="T96" fmla="*/ 71 w 122"/>
                <a:gd name="T97" fmla="*/ 66 h 118"/>
                <a:gd name="T98" fmla="*/ 71 w 122"/>
                <a:gd name="T99" fmla="*/ 71 h 118"/>
                <a:gd name="T100" fmla="*/ 73 w 122"/>
                <a:gd name="T101" fmla="*/ 92 h 118"/>
                <a:gd name="T102" fmla="*/ 68 w 122"/>
                <a:gd name="T103" fmla="*/ 92 h 118"/>
                <a:gd name="T104" fmla="*/ 71 w 122"/>
                <a:gd name="T105" fmla="*/ 83 h 118"/>
                <a:gd name="T106" fmla="*/ 71 w 122"/>
                <a:gd name="T107" fmla="*/ 78 h 118"/>
                <a:gd name="T108" fmla="*/ 71 w 122"/>
                <a:gd name="T109" fmla="*/ 8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2" h="118">
                  <a:moveTo>
                    <a:pt x="63" y="114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6" y="90"/>
                    <a:pt x="93" y="112"/>
                    <a:pt x="63" y="114"/>
                  </a:cubicBezTo>
                  <a:moveTo>
                    <a:pt x="59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0" y="113"/>
                    <a:pt x="41" y="111"/>
                    <a:pt x="33" y="106"/>
                  </a:cubicBezTo>
                  <a:cubicBezTo>
                    <a:pt x="15" y="97"/>
                    <a:pt x="5" y="78"/>
                    <a:pt x="5" y="59"/>
                  </a:cubicBezTo>
                  <a:cubicBezTo>
                    <a:pt x="5" y="29"/>
                    <a:pt x="30" y="4"/>
                    <a:pt x="61" y="4"/>
                  </a:cubicBezTo>
                  <a:cubicBezTo>
                    <a:pt x="70" y="4"/>
                    <a:pt x="79" y="6"/>
                    <a:pt x="87" y="11"/>
                  </a:cubicBezTo>
                  <a:lnTo>
                    <a:pt x="59" y="58"/>
                  </a:lnTo>
                  <a:close/>
                  <a:moveTo>
                    <a:pt x="81" y="29"/>
                  </a:moveTo>
                  <a:cubicBezTo>
                    <a:pt x="85" y="23"/>
                    <a:pt x="85" y="23"/>
                    <a:pt x="85" y="23"/>
                  </a:cubicBezTo>
                  <a:cubicBezTo>
                    <a:pt x="97" y="30"/>
                    <a:pt x="104" y="43"/>
                    <a:pt x="105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7" y="45"/>
                    <a:pt x="91" y="35"/>
                    <a:pt x="81" y="29"/>
                  </a:cubicBezTo>
                  <a:moveTo>
                    <a:pt x="80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7" y="47"/>
                    <a:pt x="80" y="51"/>
                    <a:pt x="80" y="57"/>
                  </a:cubicBezTo>
                  <a:moveTo>
                    <a:pt x="75" y="40"/>
                  </a:moveTo>
                  <a:cubicBezTo>
                    <a:pt x="79" y="34"/>
                    <a:pt x="79" y="34"/>
                    <a:pt x="79" y="34"/>
                  </a:cubicBezTo>
                  <a:cubicBezTo>
                    <a:pt x="87" y="39"/>
                    <a:pt x="92" y="47"/>
                    <a:pt x="93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0"/>
                    <a:pt x="81" y="44"/>
                    <a:pt x="75" y="40"/>
                  </a:cubicBezTo>
                  <a:moveTo>
                    <a:pt x="91" y="13"/>
                  </a:moveTo>
                  <a:cubicBezTo>
                    <a:pt x="107" y="22"/>
                    <a:pt x="117" y="39"/>
                    <a:pt x="117" y="57"/>
                  </a:cubicBezTo>
                  <a:cubicBezTo>
                    <a:pt x="110" y="57"/>
                    <a:pt x="110" y="57"/>
                    <a:pt x="110" y="57"/>
                  </a:cubicBezTo>
                  <a:cubicBezTo>
                    <a:pt x="109" y="41"/>
                    <a:pt x="100" y="27"/>
                    <a:pt x="88" y="19"/>
                  </a:cubicBezTo>
                  <a:lnTo>
                    <a:pt x="91" y="13"/>
                  </a:lnTo>
                  <a:close/>
                  <a:moveTo>
                    <a:pt x="122" y="59"/>
                  </a:moveTo>
                  <a:cubicBezTo>
                    <a:pt x="122" y="38"/>
                    <a:pt x="111" y="18"/>
                    <a:pt x="92" y="8"/>
                  </a:cubicBezTo>
                  <a:cubicBezTo>
                    <a:pt x="82" y="2"/>
                    <a:pt x="72" y="0"/>
                    <a:pt x="61" y="0"/>
                  </a:cubicBezTo>
                  <a:cubicBezTo>
                    <a:pt x="27" y="0"/>
                    <a:pt x="0" y="26"/>
                    <a:pt x="0" y="59"/>
                  </a:cubicBezTo>
                  <a:cubicBezTo>
                    <a:pt x="0" y="80"/>
                    <a:pt x="11" y="100"/>
                    <a:pt x="30" y="110"/>
                  </a:cubicBezTo>
                  <a:cubicBezTo>
                    <a:pt x="40" y="116"/>
                    <a:pt x="50" y="118"/>
                    <a:pt x="61" y="118"/>
                  </a:cubicBezTo>
                  <a:cubicBezTo>
                    <a:pt x="95" y="118"/>
                    <a:pt x="122" y="92"/>
                    <a:pt x="122" y="59"/>
                  </a:cubicBezTo>
                  <a:close/>
                  <a:moveTo>
                    <a:pt x="90" y="95"/>
                  </a:moveTo>
                  <a:cubicBezTo>
                    <a:pt x="92" y="95"/>
                    <a:pt x="93" y="94"/>
                    <a:pt x="93" y="92"/>
                  </a:cubicBezTo>
                  <a:cubicBezTo>
                    <a:pt x="93" y="91"/>
                    <a:pt x="92" y="90"/>
                    <a:pt x="90" y="90"/>
                  </a:cubicBezTo>
                  <a:cubicBezTo>
                    <a:pt x="89" y="90"/>
                    <a:pt x="88" y="91"/>
                    <a:pt x="88" y="92"/>
                  </a:cubicBezTo>
                  <a:cubicBezTo>
                    <a:pt x="88" y="94"/>
                    <a:pt x="89" y="95"/>
                    <a:pt x="90" y="95"/>
                  </a:cubicBezTo>
                  <a:moveTo>
                    <a:pt x="110" y="71"/>
                  </a:moveTo>
                  <a:cubicBezTo>
                    <a:pt x="111" y="71"/>
                    <a:pt x="112" y="70"/>
                    <a:pt x="112" y="69"/>
                  </a:cubicBezTo>
                  <a:cubicBezTo>
                    <a:pt x="112" y="67"/>
                    <a:pt x="111" y="66"/>
                    <a:pt x="110" y="66"/>
                  </a:cubicBezTo>
                  <a:cubicBezTo>
                    <a:pt x="109" y="66"/>
                    <a:pt x="108" y="67"/>
                    <a:pt x="108" y="69"/>
                  </a:cubicBezTo>
                  <a:cubicBezTo>
                    <a:pt x="108" y="70"/>
                    <a:pt x="109" y="71"/>
                    <a:pt x="110" y="71"/>
                  </a:cubicBezTo>
                  <a:moveTo>
                    <a:pt x="90" y="71"/>
                  </a:moveTo>
                  <a:cubicBezTo>
                    <a:pt x="92" y="71"/>
                    <a:pt x="93" y="70"/>
                    <a:pt x="93" y="69"/>
                  </a:cubicBezTo>
                  <a:cubicBezTo>
                    <a:pt x="93" y="67"/>
                    <a:pt x="92" y="66"/>
                    <a:pt x="90" y="66"/>
                  </a:cubicBezTo>
                  <a:cubicBezTo>
                    <a:pt x="89" y="66"/>
                    <a:pt x="88" y="67"/>
                    <a:pt x="88" y="69"/>
                  </a:cubicBezTo>
                  <a:cubicBezTo>
                    <a:pt x="88" y="70"/>
                    <a:pt x="89" y="71"/>
                    <a:pt x="90" y="71"/>
                  </a:cubicBezTo>
                  <a:moveTo>
                    <a:pt x="90" y="83"/>
                  </a:moveTo>
                  <a:cubicBezTo>
                    <a:pt x="92" y="83"/>
                    <a:pt x="93" y="82"/>
                    <a:pt x="93" y="80"/>
                  </a:cubicBezTo>
                  <a:cubicBezTo>
                    <a:pt x="93" y="79"/>
                    <a:pt x="92" y="78"/>
                    <a:pt x="90" y="78"/>
                  </a:cubicBezTo>
                  <a:cubicBezTo>
                    <a:pt x="89" y="78"/>
                    <a:pt x="88" y="79"/>
                    <a:pt x="88" y="80"/>
                  </a:cubicBezTo>
                  <a:cubicBezTo>
                    <a:pt x="88" y="82"/>
                    <a:pt x="89" y="83"/>
                    <a:pt x="90" y="83"/>
                  </a:cubicBezTo>
                  <a:moveTo>
                    <a:pt x="100" y="76"/>
                  </a:moveTo>
                  <a:cubicBezTo>
                    <a:pt x="102" y="76"/>
                    <a:pt x="103" y="75"/>
                    <a:pt x="103" y="73"/>
                  </a:cubicBezTo>
                  <a:cubicBezTo>
                    <a:pt x="103" y="72"/>
                    <a:pt x="102" y="71"/>
                    <a:pt x="100" y="71"/>
                  </a:cubicBezTo>
                  <a:cubicBezTo>
                    <a:pt x="99" y="71"/>
                    <a:pt x="98" y="72"/>
                    <a:pt x="98" y="73"/>
                  </a:cubicBezTo>
                  <a:cubicBezTo>
                    <a:pt x="98" y="75"/>
                    <a:pt x="99" y="76"/>
                    <a:pt x="100" y="76"/>
                  </a:cubicBezTo>
                  <a:moveTo>
                    <a:pt x="100" y="88"/>
                  </a:moveTo>
                  <a:cubicBezTo>
                    <a:pt x="102" y="88"/>
                    <a:pt x="103" y="86"/>
                    <a:pt x="103" y="85"/>
                  </a:cubicBezTo>
                  <a:cubicBezTo>
                    <a:pt x="103" y="84"/>
                    <a:pt x="102" y="83"/>
                    <a:pt x="100" y="83"/>
                  </a:cubicBezTo>
                  <a:cubicBezTo>
                    <a:pt x="99" y="83"/>
                    <a:pt x="98" y="84"/>
                    <a:pt x="98" y="85"/>
                  </a:cubicBezTo>
                  <a:cubicBezTo>
                    <a:pt x="98" y="86"/>
                    <a:pt x="99" y="88"/>
                    <a:pt x="100" y="88"/>
                  </a:cubicBezTo>
                  <a:moveTo>
                    <a:pt x="81" y="76"/>
                  </a:moveTo>
                  <a:cubicBezTo>
                    <a:pt x="82" y="76"/>
                    <a:pt x="83" y="75"/>
                    <a:pt x="83" y="73"/>
                  </a:cubicBezTo>
                  <a:cubicBezTo>
                    <a:pt x="83" y="72"/>
                    <a:pt x="82" y="71"/>
                    <a:pt x="81" y="71"/>
                  </a:cubicBezTo>
                  <a:cubicBezTo>
                    <a:pt x="79" y="71"/>
                    <a:pt x="78" y="72"/>
                    <a:pt x="78" y="73"/>
                  </a:cubicBezTo>
                  <a:cubicBezTo>
                    <a:pt x="78" y="75"/>
                    <a:pt x="79" y="76"/>
                    <a:pt x="81" y="76"/>
                  </a:cubicBezTo>
                  <a:moveTo>
                    <a:pt x="81" y="99"/>
                  </a:moveTo>
                  <a:cubicBezTo>
                    <a:pt x="82" y="99"/>
                    <a:pt x="83" y="98"/>
                    <a:pt x="83" y="97"/>
                  </a:cubicBezTo>
                  <a:cubicBezTo>
                    <a:pt x="83" y="96"/>
                    <a:pt x="82" y="95"/>
                    <a:pt x="81" y="95"/>
                  </a:cubicBezTo>
                  <a:cubicBezTo>
                    <a:pt x="79" y="95"/>
                    <a:pt x="78" y="96"/>
                    <a:pt x="78" y="97"/>
                  </a:cubicBezTo>
                  <a:cubicBezTo>
                    <a:pt x="78" y="98"/>
                    <a:pt x="79" y="99"/>
                    <a:pt x="81" y="99"/>
                  </a:cubicBezTo>
                  <a:moveTo>
                    <a:pt x="81" y="88"/>
                  </a:moveTo>
                  <a:cubicBezTo>
                    <a:pt x="82" y="88"/>
                    <a:pt x="83" y="86"/>
                    <a:pt x="83" y="85"/>
                  </a:cubicBezTo>
                  <a:cubicBezTo>
                    <a:pt x="83" y="84"/>
                    <a:pt x="82" y="83"/>
                    <a:pt x="81" y="83"/>
                  </a:cubicBezTo>
                  <a:cubicBezTo>
                    <a:pt x="79" y="83"/>
                    <a:pt x="78" y="84"/>
                    <a:pt x="78" y="85"/>
                  </a:cubicBezTo>
                  <a:cubicBezTo>
                    <a:pt x="78" y="86"/>
                    <a:pt x="79" y="88"/>
                    <a:pt x="81" y="88"/>
                  </a:cubicBezTo>
                  <a:moveTo>
                    <a:pt x="71" y="107"/>
                  </a:moveTo>
                  <a:cubicBezTo>
                    <a:pt x="72" y="107"/>
                    <a:pt x="73" y="105"/>
                    <a:pt x="73" y="104"/>
                  </a:cubicBezTo>
                  <a:cubicBezTo>
                    <a:pt x="73" y="103"/>
                    <a:pt x="72" y="102"/>
                    <a:pt x="71" y="102"/>
                  </a:cubicBezTo>
                  <a:cubicBezTo>
                    <a:pt x="69" y="102"/>
                    <a:pt x="68" y="103"/>
                    <a:pt x="68" y="104"/>
                  </a:cubicBezTo>
                  <a:cubicBezTo>
                    <a:pt x="68" y="105"/>
                    <a:pt x="69" y="107"/>
                    <a:pt x="71" y="107"/>
                  </a:cubicBezTo>
                  <a:moveTo>
                    <a:pt x="71" y="71"/>
                  </a:moveTo>
                  <a:cubicBezTo>
                    <a:pt x="72" y="71"/>
                    <a:pt x="73" y="70"/>
                    <a:pt x="73" y="69"/>
                  </a:cubicBezTo>
                  <a:cubicBezTo>
                    <a:pt x="73" y="67"/>
                    <a:pt x="72" y="66"/>
                    <a:pt x="71" y="66"/>
                  </a:cubicBezTo>
                  <a:cubicBezTo>
                    <a:pt x="69" y="66"/>
                    <a:pt x="68" y="67"/>
                    <a:pt x="68" y="69"/>
                  </a:cubicBezTo>
                  <a:cubicBezTo>
                    <a:pt x="68" y="70"/>
                    <a:pt x="69" y="71"/>
                    <a:pt x="71" y="71"/>
                  </a:cubicBezTo>
                  <a:moveTo>
                    <a:pt x="71" y="95"/>
                  </a:moveTo>
                  <a:cubicBezTo>
                    <a:pt x="72" y="95"/>
                    <a:pt x="73" y="94"/>
                    <a:pt x="73" y="92"/>
                  </a:cubicBezTo>
                  <a:cubicBezTo>
                    <a:pt x="73" y="91"/>
                    <a:pt x="72" y="90"/>
                    <a:pt x="71" y="90"/>
                  </a:cubicBezTo>
                  <a:cubicBezTo>
                    <a:pt x="69" y="90"/>
                    <a:pt x="68" y="91"/>
                    <a:pt x="68" y="92"/>
                  </a:cubicBezTo>
                  <a:cubicBezTo>
                    <a:pt x="68" y="94"/>
                    <a:pt x="69" y="95"/>
                    <a:pt x="71" y="95"/>
                  </a:cubicBezTo>
                  <a:moveTo>
                    <a:pt x="71" y="83"/>
                  </a:moveTo>
                  <a:cubicBezTo>
                    <a:pt x="72" y="83"/>
                    <a:pt x="73" y="82"/>
                    <a:pt x="73" y="80"/>
                  </a:cubicBezTo>
                  <a:cubicBezTo>
                    <a:pt x="73" y="79"/>
                    <a:pt x="72" y="78"/>
                    <a:pt x="71" y="78"/>
                  </a:cubicBezTo>
                  <a:cubicBezTo>
                    <a:pt x="69" y="78"/>
                    <a:pt x="68" y="79"/>
                    <a:pt x="68" y="80"/>
                  </a:cubicBezTo>
                  <a:cubicBezTo>
                    <a:pt x="68" y="82"/>
                    <a:pt x="69" y="83"/>
                    <a:pt x="71" y="8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19">
            <a:extLst>
              <a:ext uri="{FF2B5EF4-FFF2-40B4-BE49-F238E27FC236}">
                <a16:creationId xmlns:a16="http://schemas.microsoft.com/office/drawing/2014/main" id="{0070C58E-30D0-4FFC-A659-E4F8842448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0801" y="2812469"/>
            <a:ext cx="842963" cy="841375"/>
            <a:chOff x="1680" y="1775"/>
            <a:chExt cx="531" cy="530"/>
          </a:xfrm>
        </p:grpSpPr>
        <p:sp>
          <p:nvSpPr>
            <p:cNvPr id="138" name="AutoShape 118">
              <a:extLst>
                <a:ext uri="{FF2B5EF4-FFF2-40B4-BE49-F238E27FC236}">
                  <a16:creationId xmlns:a16="http://schemas.microsoft.com/office/drawing/2014/main" id="{1A080108-3FF5-4B16-B82F-9E5474FB40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0" y="1775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Oval 120">
              <a:extLst>
                <a:ext uri="{FF2B5EF4-FFF2-40B4-BE49-F238E27FC236}">
                  <a16:creationId xmlns:a16="http://schemas.microsoft.com/office/drawing/2014/main" id="{03E218FD-D190-4841-8093-9531B568A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1775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1">
              <a:extLst>
                <a:ext uri="{FF2B5EF4-FFF2-40B4-BE49-F238E27FC236}">
                  <a16:creationId xmlns:a16="http://schemas.microsoft.com/office/drawing/2014/main" id="{F51A2CDE-E512-4000-A434-D8F34CD30B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8" y="1793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22">
              <a:extLst>
                <a:ext uri="{FF2B5EF4-FFF2-40B4-BE49-F238E27FC236}">
                  <a16:creationId xmlns:a16="http://schemas.microsoft.com/office/drawing/2014/main" id="{D3E1ED2B-D7DD-4CD9-B984-131D4113ED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0" y="1890"/>
              <a:ext cx="313" cy="302"/>
            </a:xfrm>
            <a:custGeom>
              <a:avLst/>
              <a:gdLst>
                <a:gd name="T0" fmla="*/ 63 w 122"/>
                <a:gd name="T1" fmla="*/ 61 h 118"/>
                <a:gd name="T2" fmla="*/ 63 w 122"/>
                <a:gd name="T3" fmla="*/ 114 h 118"/>
                <a:gd name="T4" fmla="*/ 59 w 122"/>
                <a:gd name="T5" fmla="*/ 58 h 118"/>
                <a:gd name="T6" fmla="*/ 59 w 122"/>
                <a:gd name="T7" fmla="*/ 58 h 118"/>
                <a:gd name="T8" fmla="*/ 59 w 122"/>
                <a:gd name="T9" fmla="*/ 58 h 118"/>
                <a:gd name="T10" fmla="*/ 59 w 122"/>
                <a:gd name="T11" fmla="*/ 59 h 118"/>
                <a:gd name="T12" fmla="*/ 59 w 122"/>
                <a:gd name="T13" fmla="*/ 114 h 118"/>
                <a:gd name="T14" fmla="*/ 5 w 122"/>
                <a:gd name="T15" fmla="*/ 59 h 118"/>
                <a:gd name="T16" fmla="*/ 87 w 122"/>
                <a:gd name="T17" fmla="*/ 11 h 118"/>
                <a:gd name="T18" fmla="*/ 81 w 122"/>
                <a:gd name="T19" fmla="*/ 29 h 118"/>
                <a:gd name="T20" fmla="*/ 105 w 122"/>
                <a:gd name="T21" fmla="*/ 57 h 118"/>
                <a:gd name="T22" fmla="*/ 81 w 122"/>
                <a:gd name="T23" fmla="*/ 29 h 118"/>
                <a:gd name="T24" fmla="*/ 65 w 122"/>
                <a:gd name="T25" fmla="*/ 57 h 118"/>
                <a:gd name="T26" fmla="*/ 80 w 122"/>
                <a:gd name="T27" fmla="*/ 57 h 118"/>
                <a:gd name="T28" fmla="*/ 79 w 122"/>
                <a:gd name="T29" fmla="*/ 34 h 118"/>
                <a:gd name="T30" fmla="*/ 85 w 122"/>
                <a:gd name="T31" fmla="*/ 57 h 118"/>
                <a:gd name="T32" fmla="*/ 91 w 122"/>
                <a:gd name="T33" fmla="*/ 13 h 118"/>
                <a:gd name="T34" fmla="*/ 110 w 122"/>
                <a:gd name="T35" fmla="*/ 57 h 118"/>
                <a:gd name="T36" fmla="*/ 91 w 122"/>
                <a:gd name="T37" fmla="*/ 13 h 118"/>
                <a:gd name="T38" fmla="*/ 92 w 122"/>
                <a:gd name="T39" fmla="*/ 8 h 118"/>
                <a:gd name="T40" fmla="*/ 0 w 122"/>
                <a:gd name="T41" fmla="*/ 59 h 118"/>
                <a:gd name="T42" fmla="*/ 61 w 122"/>
                <a:gd name="T43" fmla="*/ 118 h 118"/>
                <a:gd name="T44" fmla="*/ 90 w 122"/>
                <a:gd name="T45" fmla="*/ 95 h 118"/>
                <a:gd name="T46" fmla="*/ 90 w 122"/>
                <a:gd name="T47" fmla="*/ 90 h 118"/>
                <a:gd name="T48" fmla="*/ 90 w 122"/>
                <a:gd name="T49" fmla="*/ 95 h 118"/>
                <a:gd name="T50" fmla="*/ 112 w 122"/>
                <a:gd name="T51" fmla="*/ 69 h 118"/>
                <a:gd name="T52" fmla="*/ 108 w 122"/>
                <a:gd name="T53" fmla="*/ 69 h 118"/>
                <a:gd name="T54" fmla="*/ 90 w 122"/>
                <a:gd name="T55" fmla="*/ 71 h 118"/>
                <a:gd name="T56" fmla="*/ 90 w 122"/>
                <a:gd name="T57" fmla="*/ 66 h 118"/>
                <a:gd name="T58" fmla="*/ 90 w 122"/>
                <a:gd name="T59" fmla="*/ 71 h 118"/>
                <a:gd name="T60" fmla="*/ 93 w 122"/>
                <a:gd name="T61" fmla="*/ 80 h 118"/>
                <a:gd name="T62" fmla="*/ 88 w 122"/>
                <a:gd name="T63" fmla="*/ 80 h 118"/>
                <a:gd name="T64" fmla="*/ 100 w 122"/>
                <a:gd name="T65" fmla="*/ 76 h 118"/>
                <a:gd name="T66" fmla="*/ 100 w 122"/>
                <a:gd name="T67" fmla="*/ 71 h 118"/>
                <a:gd name="T68" fmla="*/ 100 w 122"/>
                <a:gd name="T69" fmla="*/ 76 h 118"/>
                <a:gd name="T70" fmla="*/ 103 w 122"/>
                <a:gd name="T71" fmla="*/ 85 h 118"/>
                <a:gd name="T72" fmla="*/ 98 w 122"/>
                <a:gd name="T73" fmla="*/ 85 h 118"/>
                <a:gd name="T74" fmla="*/ 81 w 122"/>
                <a:gd name="T75" fmla="*/ 76 h 118"/>
                <a:gd name="T76" fmla="*/ 81 w 122"/>
                <a:gd name="T77" fmla="*/ 71 h 118"/>
                <a:gd name="T78" fmla="*/ 81 w 122"/>
                <a:gd name="T79" fmla="*/ 76 h 118"/>
                <a:gd name="T80" fmla="*/ 83 w 122"/>
                <a:gd name="T81" fmla="*/ 97 h 118"/>
                <a:gd name="T82" fmla="*/ 78 w 122"/>
                <a:gd name="T83" fmla="*/ 97 h 118"/>
                <a:gd name="T84" fmla="*/ 81 w 122"/>
                <a:gd name="T85" fmla="*/ 88 h 118"/>
                <a:gd name="T86" fmla="*/ 81 w 122"/>
                <a:gd name="T87" fmla="*/ 83 h 118"/>
                <a:gd name="T88" fmla="*/ 81 w 122"/>
                <a:gd name="T89" fmla="*/ 88 h 118"/>
                <a:gd name="T90" fmla="*/ 73 w 122"/>
                <a:gd name="T91" fmla="*/ 104 h 118"/>
                <a:gd name="T92" fmla="*/ 68 w 122"/>
                <a:gd name="T93" fmla="*/ 104 h 118"/>
                <a:gd name="T94" fmla="*/ 71 w 122"/>
                <a:gd name="T95" fmla="*/ 71 h 118"/>
                <a:gd name="T96" fmla="*/ 71 w 122"/>
                <a:gd name="T97" fmla="*/ 66 h 118"/>
                <a:gd name="T98" fmla="*/ 71 w 122"/>
                <a:gd name="T99" fmla="*/ 71 h 118"/>
                <a:gd name="T100" fmla="*/ 73 w 122"/>
                <a:gd name="T101" fmla="*/ 92 h 118"/>
                <a:gd name="T102" fmla="*/ 68 w 122"/>
                <a:gd name="T103" fmla="*/ 92 h 118"/>
                <a:gd name="T104" fmla="*/ 71 w 122"/>
                <a:gd name="T105" fmla="*/ 83 h 118"/>
                <a:gd name="T106" fmla="*/ 71 w 122"/>
                <a:gd name="T107" fmla="*/ 78 h 118"/>
                <a:gd name="T108" fmla="*/ 71 w 122"/>
                <a:gd name="T109" fmla="*/ 8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2" h="118">
                  <a:moveTo>
                    <a:pt x="63" y="114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16" y="90"/>
                    <a:pt x="93" y="112"/>
                    <a:pt x="63" y="114"/>
                  </a:cubicBezTo>
                  <a:moveTo>
                    <a:pt x="59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0" y="113"/>
                    <a:pt x="41" y="111"/>
                    <a:pt x="33" y="106"/>
                  </a:cubicBezTo>
                  <a:cubicBezTo>
                    <a:pt x="15" y="97"/>
                    <a:pt x="5" y="78"/>
                    <a:pt x="5" y="59"/>
                  </a:cubicBezTo>
                  <a:cubicBezTo>
                    <a:pt x="5" y="29"/>
                    <a:pt x="30" y="4"/>
                    <a:pt x="61" y="4"/>
                  </a:cubicBezTo>
                  <a:cubicBezTo>
                    <a:pt x="70" y="4"/>
                    <a:pt x="79" y="6"/>
                    <a:pt x="87" y="11"/>
                  </a:cubicBezTo>
                  <a:lnTo>
                    <a:pt x="59" y="58"/>
                  </a:lnTo>
                  <a:close/>
                  <a:moveTo>
                    <a:pt x="81" y="29"/>
                  </a:moveTo>
                  <a:cubicBezTo>
                    <a:pt x="85" y="23"/>
                    <a:pt x="85" y="23"/>
                    <a:pt x="85" y="23"/>
                  </a:cubicBezTo>
                  <a:cubicBezTo>
                    <a:pt x="97" y="30"/>
                    <a:pt x="104" y="43"/>
                    <a:pt x="105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7" y="45"/>
                    <a:pt x="91" y="35"/>
                    <a:pt x="81" y="29"/>
                  </a:cubicBezTo>
                  <a:moveTo>
                    <a:pt x="80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7" y="47"/>
                    <a:pt x="80" y="51"/>
                    <a:pt x="80" y="57"/>
                  </a:cubicBezTo>
                  <a:moveTo>
                    <a:pt x="75" y="40"/>
                  </a:moveTo>
                  <a:cubicBezTo>
                    <a:pt x="79" y="34"/>
                    <a:pt x="79" y="34"/>
                    <a:pt x="79" y="34"/>
                  </a:cubicBezTo>
                  <a:cubicBezTo>
                    <a:pt x="87" y="39"/>
                    <a:pt x="92" y="47"/>
                    <a:pt x="93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0"/>
                    <a:pt x="81" y="44"/>
                    <a:pt x="75" y="40"/>
                  </a:cubicBezTo>
                  <a:moveTo>
                    <a:pt x="91" y="13"/>
                  </a:moveTo>
                  <a:cubicBezTo>
                    <a:pt x="107" y="22"/>
                    <a:pt x="117" y="39"/>
                    <a:pt x="117" y="57"/>
                  </a:cubicBezTo>
                  <a:cubicBezTo>
                    <a:pt x="110" y="57"/>
                    <a:pt x="110" y="57"/>
                    <a:pt x="110" y="57"/>
                  </a:cubicBezTo>
                  <a:cubicBezTo>
                    <a:pt x="109" y="41"/>
                    <a:pt x="100" y="27"/>
                    <a:pt x="88" y="19"/>
                  </a:cubicBezTo>
                  <a:lnTo>
                    <a:pt x="91" y="13"/>
                  </a:lnTo>
                  <a:close/>
                  <a:moveTo>
                    <a:pt x="122" y="59"/>
                  </a:moveTo>
                  <a:cubicBezTo>
                    <a:pt x="122" y="38"/>
                    <a:pt x="111" y="18"/>
                    <a:pt x="92" y="8"/>
                  </a:cubicBezTo>
                  <a:cubicBezTo>
                    <a:pt x="82" y="2"/>
                    <a:pt x="72" y="0"/>
                    <a:pt x="61" y="0"/>
                  </a:cubicBezTo>
                  <a:cubicBezTo>
                    <a:pt x="27" y="0"/>
                    <a:pt x="0" y="26"/>
                    <a:pt x="0" y="59"/>
                  </a:cubicBezTo>
                  <a:cubicBezTo>
                    <a:pt x="0" y="80"/>
                    <a:pt x="11" y="100"/>
                    <a:pt x="30" y="110"/>
                  </a:cubicBezTo>
                  <a:cubicBezTo>
                    <a:pt x="40" y="116"/>
                    <a:pt x="50" y="118"/>
                    <a:pt x="61" y="118"/>
                  </a:cubicBezTo>
                  <a:cubicBezTo>
                    <a:pt x="95" y="118"/>
                    <a:pt x="122" y="92"/>
                    <a:pt x="122" y="59"/>
                  </a:cubicBezTo>
                  <a:close/>
                  <a:moveTo>
                    <a:pt x="90" y="95"/>
                  </a:moveTo>
                  <a:cubicBezTo>
                    <a:pt x="92" y="95"/>
                    <a:pt x="93" y="94"/>
                    <a:pt x="93" y="92"/>
                  </a:cubicBezTo>
                  <a:cubicBezTo>
                    <a:pt x="93" y="91"/>
                    <a:pt x="92" y="90"/>
                    <a:pt x="90" y="90"/>
                  </a:cubicBezTo>
                  <a:cubicBezTo>
                    <a:pt x="89" y="90"/>
                    <a:pt x="88" y="91"/>
                    <a:pt x="88" y="92"/>
                  </a:cubicBezTo>
                  <a:cubicBezTo>
                    <a:pt x="88" y="94"/>
                    <a:pt x="89" y="95"/>
                    <a:pt x="90" y="95"/>
                  </a:cubicBezTo>
                  <a:moveTo>
                    <a:pt x="110" y="71"/>
                  </a:moveTo>
                  <a:cubicBezTo>
                    <a:pt x="111" y="71"/>
                    <a:pt x="112" y="70"/>
                    <a:pt x="112" y="69"/>
                  </a:cubicBezTo>
                  <a:cubicBezTo>
                    <a:pt x="112" y="67"/>
                    <a:pt x="111" y="66"/>
                    <a:pt x="110" y="66"/>
                  </a:cubicBezTo>
                  <a:cubicBezTo>
                    <a:pt x="109" y="66"/>
                    <a:pt x="108" y="67"/>
                    <a:pt x="108" y="69"/>
                  </a:cubicBezTo>
                  <a:cubicBezTo>
                    <a:pt x="108" y="70"/>
                    <a:pt x="109" y="71"/>
                    <a:pt x="110" y="71"/>
                  </a:cubicBezTo>
                  <a:moveTo>
                    <a:pt x="90" y="71"/>
                  </a:moveTo>
                  <a:cubicBezTo>
                    <a:pt x="92" y="71"/>
                    <a:pt x="93" y="70"/>
                    <a:pt x="93" y="69"/>
                  </a:cubicBezTo>
                  <a:cubicBezTo>
                    <a:pt x="93" y="67"/>
                    <a:pt x="92" y="66"/>
                    <a:pt x="90" y="66"/>
                  </a:cubicBezTo>
                  <a:cubicBezTo>
                    <a:pt x="89" y="66"/>
                    <a:pt x="88" y="67"/>
                    <a:pt x="88" y="69"/>
                  </a:cubicBezTo>
                  <a:cubicBezTo>
                    <a:pt x="88" y="70"/>
                    <a:pt x="89" y="71"/>
                    <a:pt x="90" y="71"/>
                  </a:cubicBezTo>
                  <a:moveTo>
                    <a:pt x="90" y="83"/>
                  </a:moveTo>
                  <a:cubicBezTo>
                    <a:pt x="92" y="83"/>
                    <a:pt x="93" y="82"/>
                    <a:pt x="93" y="80"/>
                  </a:cubicBezTo>
                  <a:cubicBezTo>
                    <a:pt x="93" y="79"/>
                    <a:pt x="92" y="78"/>
                    <a:pt x="90" y="78"/>
                  </a:cubicBezTo>
                  <a:cubicBezTo>
                    <a:pt x="89" y="78"/>
                    <a:pt x="88" y="79"/>
                    <a:pt x="88" y="80"/>
                  </a:cubicBezTo>
                  <a:cubicBezTo>
                    <a:pt x="88" y="82"/>
                    <a:pt x="89" y="83"/>
                    <a:pt x="90" y="83"/>
                  </a:cubicBezTo>
                  <a:moveTo>
                    <a:pt x="100" y="76"/>
                  </a:moveTo>
                  <a:cubicBezTo>
                    <a:pt x="102" y="76"/>
                    <a:pt x="103" y="75"/>
                    <a:pt x="103" y="73"/>
                  </a:cubicBezTo>
                  <a:cubicBezTo>
                    <a:pt x="103" y="72"/>
                    <a:pt x="102" y="71"/>
                    <a:pt x="100" y="71"/>
                  </a:cubicBezTo>
                  <a:cubicBezTo>
                    <a:pt x="99" y="71"/>
                    <a:pt x="98" y="72"/>
                    <a:pt x="98" y="73"/>
                  </a:cubicBezTo>
                  <a:cubicBezTo>
                    <a:pt x="98" y="75"/>
                    <a:pt x="99" y="76"/>
                    <a:pt x="100" y="76"/>
                  </a:cubicBezTo>
                  <a:moveTo>
                    <a:pt x="100" y="88"/>
                  </a:moveTo>
                  <a:cubicBezTo>
                    <a:pt x="102" y="88"/>
                    <a:pt x="103" y="86"/>
                    <a:pt x="103" y="85"/>
                  </a:cubicBezTo>
                  <a:cubicBezTo>
                    <a:pt x="103" y="84"/>
                    <a:pt x="102" y="83"/>
                    <a:pt x="100" y="83"/>
                  </a:cubicBezTo>
                  <a:cubicBezTo>
                    <a:pt x="99" y="83"/>
                    <a:pt x="98" y="84"/>
                    <a:pt x="98" y="85"/>
                  </a:cubicBezTo>
                  <a:cubicBezTo>
                    <a:pt x="98" y="86"/>
                    <a:pt x="99" y="88"/>
                    <a:pt x="100" y="88"/>
                  </a:cubicBezTo>
                  <a:moveTo>
                    <a:pt x="81" y="76"/>
                  </a:moveTo>
                  <a:cubicBezTo>
                    <a:pt x="82" y="76"/>
                    <a:pt x="83" y="75"/>
                    <a:pt x="83" y="73"/>
                  </a:cubicBezTo>
                  <a:cubicBezTo>
                    <a:pt x="83" y="72"/>
                    <a:pt x="82" y="71"/>
                    <a:pt x="81" y="71"/>
                  </a:cubicBezTo>
                  <a:cubicBezTo>
                    <a:pt x="79" y="71"/>
                    <a:pt x="78" y="72"/>
                    <a:pt x="78" y="73"/>
                  </a:cubicBezTo>
                  <a:cubicBezTo>
                    <a:pt x="78" y="75"/>
                    <a:pt x="79" y="76"/>
                    <a:pt x="81" y="76"/>
                  </a:cubicBezTo>
                  <a:moveTo>
                    <a:pt x="81" y="99"/>
                  </a:moveTo>
                  <a:cubicBezTo>
                    <a:pt x="82" y="99"/>
                    <a:pt x="83" y="98"/>
                    <a:pt x="83" y="97"/>
                  </a:cubicBezTo>
                  <a:cubicBezTo>
                    <a:pt x="83" y="96"/>
                    <a:pt x="82" y="95"/>
                    <a:pt x="81" y="95"/>
                  </a:cubicBezTo>
                  <a:cubicBezTo>
                    <a:pt x="79" y="95"/>
                    <a:pt x="78" y="96"/>
                    <a:pt x="78" y="97"/>
                  </a:cubicBezTo>
                  <a:cubicBezTo>
                    <a:pt x="78" y="98"/>
                    <a:pt x="79" y="99"/>
                    <a:pt x="81" y="99"/>
                  </a:cubicBezTo>
                  <a:moveTo>
                    <a:pt x="81" y="88"/>
                  </a:moveTo>
                  <a:cubicBezTo>
                    <a:pt x="82" y="88"/>
                    <a:pt x="83" y="86"/>
                    <a:pt x="83" y="85"/>
                  </a:cubicBezTo>
                  <a:cubicBezTo>
                    <a:pt x="83" y="84"/>
                    <a:pt x="82" y="83"/>
                    <a:pt x="81" y="83"/>
                  </a:cubicBezTo>
                  <a:cubicBezTo>
                    <a:pt x="79" y="83"/>
                    <a:pt x="78" y="84"/>
                    <a:pt x="78" y="85"/>
                  </a:cubicBezTo>
                  <a:cubicBezTo>
                    <a:pt x="78" y="86"/>
                    <a:pt x="79" y="88"/>
                    <a:pt x="81" y="88"/>
                  </a:cubicBezTo>
                  <a:moveTo>
                    <a:pt x="71" y="107"/>
                  </a:moveTo>
                  <a:cubicBezTo>
                    <a:pt x="72" y="107"/>
                    <a:pt x="73" y="105"/>
                    <a:pt x="73" y="104"/>
                  </a:cubicBezTo>
                  <a:cubicBezTo>
                    <a:pt x="73" y="103"/>
                    <a:pt x="72" y="102"/>
                    <a:pt x="71" y="102"/>
                  </a:cubicBezTo>
                  <a:cubicBezTo>
                    <a:pt x="69" y="102"/>
                    <a:pt x="68" y="103"/>
                    <a:pt x="68" y="104"/>
                  </a:cubicBezTo>
                  <a:cubicBezTo>
                    <a:pt x="68" y="105"/>
                    <a:pt x="69" y="107"/>
                    <a:pt x="71" y="107"/>
                  </a:cubicBezTo>
                  <a:moveTo>
                    <a:pt x="71" y="71"/>
                  </a:moveTo>
                  <a:cubicBezTo>
                    <a:pt x="72" y="71"/>
                    <a:pt x="73" y="70"/>
                    <a:pt x="73" y="69"/>
                  </a:cubicBezTo>
                  <a:cubicBezTo>
                    <a:pt x="73" y="67"/>
                    <a:pt x="72" y="66"/>
                    <a:pt x="71" y="66"/>
                  </a:cubicBezTo>
                  <a:cubicBezTo>
                    <a:pt x="69" y="66"/>
                    <a:pt x="68" y="67"/>
                    <a:pt x="68" y="69"/>
                  </a:cubicBezTo>
                  <a:cubicBezTo>
                    <a:pt x="68" y="70"/>
                    <a:pt x="69" y="71"/>
                    <a:pt x="71" y="71"/>
                  </a:cubicBezTo>
                  <a:moveTo>
                    <a:pt x="71" y="95"/>
                  </a:moveTo>
                  <a:cubicBezTo>
                    <a:pt x="72" y="95"/>
                    <a:pt x="73" y="94"/>
                    <a:pt x="73" y="92"/>
                  </a:cubicBezTo>
                  <a:cubicBezTo>
                    <a:pt x="73" y="91"/>
                    <a:pt x="72" y="90"/>
                    <a:pt x="71" y="90"/>
                  </a:cubicBezTo>
                  <a:cubicBezTo>
                    <a:pt x="69" y="90"/>
                    <a:pt x="68" y="91"/>
                    <a:pt x="68" y="92"/>
                  </a:cubicBezTo>
                  <a:cubicBezTo>
                    <a:pt x="68" y="94"/>
                    <a:pt x="69" y="95"/>
                    <a:pt x="71" y="95"/>
                  </a:cubicBezTo>
                  <a:moveTo>
                    <a:pt x="71" y="83"/>
                  </a:moveTo>
                  <a:cubicBezTo>
                    <a:pt x="72" y="83"/>
                    <a:pt x="73" y="82"/>
                    <a:pt x="73" y="80"/>
                  </a:cubicBezTo>
                  <a:cubicBezTo>
                    <a:pt x="73" y="79"/>
                    <a:pt x="72" y="78"/>
                    <a:pt x="71" y="78"/>
                  </a:cubicBezTo>
                  <a:cubicBezTo>
                    <a:pt x="69" y="78"/>
                    <a:pt x="68" y="79"/>
                    <a:pt x="68" y="80"/>
                  </a:cubicBezTo>
                  <a:cubicBezTo>
                    <a:pt x="68" y="82"/>
                    <a:pt x="69" y="83"/>
                    <a:pt x="71" y="8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6" name="Group 125">
            <a:extLst>
              <a:ext uri="{FF2B5EF4-FFF2-40B4-BE49-F238E27FC236}">
                <a16:creationId xmlns:a16="http://schemas.microsoft.com/office/drawing/2014/main" id="{BB9B240C-18FB-4C76-A3BA-58813C0856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62237" y="2853744"/>
            <a:ext cx="760413" cy="758825"/>
            <a:chOff x="2228" y="1769"/>
            <a:chExt cx="479" cy="478"/>
          </a:xfrm>
        </p:grpSpPr>
        <p:sp>
          <p:nvSpPr>
            <p:cNvPr id="147" name="AutoShape 124">
              <a:extLst>
                <a:ext uri="{FF2B5EF4-FFF2-40B4-BE49-F238E27FC236}">
                  <a16:creationId xmlns:a16="http://schemas.microsoft.com/office/drawing/2014/main" id="{D94F8E46-9C9D-4A0F-8F85-8978C3CA67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28" y="176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6">
              <a:extLst>
                <a:ext uri="{FF2B5EF4-FFF2-40B4-BE49-F238E27FC236}">
                  <a16:creationId xmlns:a16="http://schemas.microsoft.com/office/drawing/2014/main" id="{FFC16026-BF65-4594-B9AC-B7BEAE1C7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0" y="177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7">
              <a:extLst>
                <a:ext uri="{FF2B5EF4-FFF2-40B4-BE49-F238E27FC236}">
                  <a16:creationId xmlns:a16="http://schemas.microsoft.com/office/drawing/2014/main" id="{35522DFD-BA94-4B23-B0BA-62FA57952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6" y="1865"/>
              <a:ext cx="305" cy="308"/>
            </a:xfrm>
            <a:custGeom>
              <a:avLst/>
              <a:gdLst>
                <a:gd name="T0" fmla="*/ 100 w 124"/>
                <a:gd name="T1" fmla="*/ 80 h 126"/>
                <a:gd name="T2" fmla="*/ 100 w 124"/>
                <a:gd name="T3" fmla="*/ 75 h 126"/>
                <a:gd name="T4" fmla="*/ 93 w 124"/>
                <a:gd name="T5" fmla="*/ 70 h 126"/>
                <a:gd name="T6" fmla="*/ 88 w 124"/>
                <a:gd name="T7" fmla="*/ 70 h 126"/>
                <a:gd name="T8" fmla="*/ 79 w 124"/>
                <a:gd name="T9" fmla="*/ 85 h 126"/>
                <a:gd name="T10" fmla="*/ 93 w 124"/>
                <a:gd name="T11" fmla="*/ 94 h 126"/>
                <a:gd name="T12" fmla="*/ 93 w 124"/>
                <a:gd name="T13" fmla="*/ 104 h 126"/>
                <a:gd name="T14" fmla="*/ 79 w 124"/>
                <a:gd name="T15" fmla="*/ 107 h 126"/>
                <a:gd name="T16" fmla="*/ 88 w 124"/>
                <a:gd name="T17" fmla="*/ 109 h 126"/>
                <a:gd name="T18" fmla="*/ 90 w 124"/>
                <a:gd name="T19" fmla="*/ 116 h 126"/>
                <a:gd name="T20" fmla="*/ 93 w 124"/>
                <a:gd name="T21" fmla="*/ 109 h 126"/>
                <a:gd name="T22" fmla="*/ 93 w 124"/>
                <a:gd name="T23" fmla="*/ 90 h 126"/>
                <a:gd name="T24" fmla="*/ 83 w 124"/>
                <a:gd name="T25" fmla="*/ 85 h 126"/>
                <a:gd name="T26" fmla="*/ 90 w 124"/>
                <a:gd name="T27" fmla="*/ 121 h 126"/>
                <a:gd name="T28" fmla="*/ 90 w 124"/>
                <a:gd name="T29" fmla="*/ 63 h 126"/>
                <a:gd name="T30" fmla="*/ 90 w 124"/>
                <a:gd name="T31" fmla="*/ 121 h 126"/>
                <a:gd name="T32" fmla="*/ 22 w 124"/>
                <a:gd name="T33" fmla="*/ 97 h 126"/>
                <a:gd name="T34" fmla="*/ 65 w 124"/>
                <a:gd name="T35" fmla="*/ 70 h 126"/>
                <a:gd name="T36" fmla="*/ 63 w 124"/>
                <a:gd name="T37" fmla="*/ 111 h 126"/>
                <a:gd name="T38" fmla="*/ 5 w 124"/>
                <a:gd name="T39" fmla="*/ 61 h 126"/>
                <a:gd name="T40" fmla="*/ 19 w 124"/>
                <a:gd name="T41" fmla="*/ 94 h 126"/>
                <a:gd name="T42" fmla="*/ 55 w 124"/>
                <a:gd name="T43" fmla="*/ 5 h 126"/>
                <a:gd name="T44" fmla="*/ 5 w 124"/>
                <a:gd name="T45" fmla="*/ 56 h 126"/>
                <a:gd name="T46" fmla="*/ 60 w 124"/>
                <a:gd name="T47" fmla="*/ 40 h 126"/>
                <a:gd name="T48" fmla="*/ 92 w 124"/>
                <a:gd name="T49" fmla="*/ 19 h 126"/>
                <a:gd name="T50" fmla="*/ 60 w 124"/>
                <a:gd name="T51" fmla="*/ 40 h 126"/>
                <a:gd name="T52" fmla="*/ 73 w 124"/>
                <a:gd name="T53" fmla="*/ 7 h 126"/>
                <a:gd name="T54" fmla="*/ 60 w 124"/>
                <a:gd name="T55" fmla="*/ 33 h 126"/>
                <a:gd name="T56" fmla="*/ 60 w 124"/>
                <a:gd name="T57" fmla="*/ 5 h 126"/>
                <a:gd name="T58" fmla="*/ 60 w 124"/>
                <a:gd name="T59" fmla="*/ 14 h 126"/>
                <a:gd name="T60" fmla="*/ 101 w 124"/>
                <a:gd name="T61" fmla="*/ 29 h 126"/>
                <a:gd name="T62" fmla="*/ 61 w 124"/>
                <a:gd name="T63" fmla="*/ 58 h 126"/>
                <a:gd name="T64" fmla="*/ 101 w 124"/>
                <a:gd name="T65" fmla="*/ 29 h 126"/>
                <a:gd name="T66" fmla="*/ 92 w 124"/>
                <a:gd name="T67" fmla="*/ 58 h 126"/>
                <a:gd name="T68" fmla="*/ 76 w 124"/>
                <a:gd name="T69" fmla="*/ 61 h 126"/>
                <a:gd name="T70" fmla="*/ 107 w 124"/>
                <a:gd name="T71" fmla="*/ 43 h 126"/>
                <a:gd name="T72" fmla="*/ 109 w 124"/>
                <a:gd name="T73" fmla="*/ 60 h 126"/>
                <a:gd name="T74" fmla="*/ 98 w 124"/>
                <a:gd name="T75" fmla="*/ 59 h 126"/>
                <a:gd name="T76" fmla="*/ 109 w 124"/>
                <a:gd name="T77" fmla="*/ 58 h 126"/>
                <a:gd name="T78" fmla="*/ 114 w 124"/>
                <a:gd name="T79" fmla="*/ 58 h 126"/>
                <a:gd name="T80" fmla="*/ 0 w 124"/>
                <a:gd name="T81" fmla="*/ 58 h 126"/>
                <a:gd name="T82" fmla="*/ 67 w 124"/>
                <a:gd name="T83" fmla="*/ 115 h 126"/>
                <a:gd name="T84" fmla="*/ 124 w 124"/>
                <a:gd name="T85" fmla="*/ 9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26">
                  <a:moveTo>
                    <a:pt x="88" y="80"/>
                  </a:moveTo>
                  <a:cubicBezTo>
                    <a:pt x="100" y="80"/>
                    <a:pt x="100" y="80"/>
                    <a:pt x="100" y="80"/>
                  </a:cubicBezTo>
                  <a:cubicBezTo>
                    <a:pt x="101" y="80"/>
                    <a:pt x="102" y="79"/>
                    <a:pt x="102" y="78"/>
                  </a:cubicBezTo>
                  <a:cubicBezTo>
                    <a:pt x="102" y="76"/>
                    <a:pt x="101" y="75"/>
                    <a:pt x="100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69"/>
                    <a:pt x="92" y="68"/>
                    <a:pt x="90" y="68"/>
                  </a:cubicBezTo>
                  <a:cubicBezTo>
                    <a:pt x="89" y="68"/>
                    <a:pt x="88" y="69"/>
                    <a:pt x="88" y="70"/>
                  </a:cubicBezTo>
                  <a:cubicBezTo>
                    <a:pt x="88" y="75"/>
                    <a:pt x="88" y="75"/>
                    <a:pt x="88" y="75"/>
                  </a:cubicBezTo>
                  <a:cubicBezTo>
                    <a:pt x="83" y="75"/>
                    <a:pt x="79" y="79"/>
                    <a:pt x="79" y="85"/>
                  </a:cubicBezTo>
                  <a:cubicBezTo>
                    <a:pt x="79" y="90"/>
                    <a:pt x="83" y="94"/>
                    <a:pt x="88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5" y="94"/>
                    <a:pt x="98" y="97"/>
                    <a:pt x="98" y="99"/>
                  </a:cubicBezTo>
                  <a:cubicBezTo>
                    <a:pt x="98" y="102"/>
                    <a:pt x="95" y="104"/>
                    <a:pt x="93" y="104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0" y="104"/>
                    <a:pt x="79" y="105"/>
                    <a:pt x="79" y="107"/>
                  </a:cubicBezTo>
                  <a:cubicBezTo>
                    <a:pt x="79" y="108"/>
                    <a:pt x="80" y="109"/>
                    <a:pt x="81" y="109"/>
                  </a:cubicBezTo>
                  <a:cubicBezTo>
                    <a:pt x="88" y="109"/>
                    <a:pt x="88" y="109"/>
                    <a:pt x="88" y="109"/>
                  </a:cubicBezTo>
                  <a:cubicBezTo>
                    <a:pt x="88" y="114"/>
                    <a:pt x="88" y="114"/>
                    <a:pt x="88" y="114"/>
                  </a:cubicBezTo>
                  <a:cubicBezTo>
                    <a:pt x="88" y="115"/>
                    <a:pt x="89" y="116"/>
                    <a:pt x="90" y="116"/>
                  </a:cubicBezTo>
                  <a:cubicBezTo>
                    <a:pt x="92" y="116"/>
                    <a:pt x="93" y="115"/>
                    <a:pt x="93" y="114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8" y="109"/>
                    <a:pt x="102" y="105"/>
                    <a:pt x="102" y="99"/>
                  </a:cubicBezTo>
                  <a:cubicBezTo>
                    <a:pt x="102" y="94"/>
                    <a:pt x="98" y="90"/>
                    <a:pt x="93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5" y="90"/>
                    <a:pt x="83" y="87"/>
                    <a:pt x="83" y="85"/>
                  </a:cubicBezTo>
                  <a:cubicBezTo>
                    <a:pt x="83" y="82"/>
                    <a:pt x="85" y="80"/>
                    <a:pt x="88" y="80"/>
                  </a:cubicBezTo>
                  <a:moveTo>
                    <a:pt x="90" y="121"/>
                  </a:moveTo>
                  <a:cubicBezTo>
                    <a:pt x="75" y="121"/>
                    <a:pt x="62" y="108"/>
                    <a:pt x="62" y="92"/>
                  </a:cubicBezTo>
                  <a:cubicBezTo>
                    <a:pt x="62" y="76"/>
                    <a:pt x="75" y="63"/>
                    <a:pt x="90" y="63"/>
                  </a:cubicBezTo>
                  <a:cubicBezTo>
                    <a:pt x="106" y="63"/>
                    <a:pt x="119" y="76"/>
                    <a:pt x="119" y="92"/>
                  </a:cubicBezTo>
                  <a:cubicBezTo>
                    <a:pt x="119" y="108"/>
                    <a:pt x="106" y="121"/>
                    <a:pt x="90" y="121"/>
                  </a:cubicBezTo>
                  <a:moveTo>
                    <a:pt x="57" y="111"/>
                  </a:moveTo>
                  <a:cubicBezTo>
                    <a:pt x="44" y="111"/>
                    <a:pt x="31" y="106"/>
                    <a:pt x="22" y="97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0" y="76"/>
                    <a:pt x="57" y="84"/>
                    <a:pt x="57" y="92"/>
                  </a:cubicBezTo>
                  <a:cubicBezTo>
                    <a:pt x="57" y="99"/>
                    <a:pt x="59" y="106"/>
                    <a:pt x="63" y="111"/>
                  </a:cubicBezTo>
                  <a:cubicBezTo>
                    <a:pt x="61" y="111"/>
                    <a:pt x="59" y="111"/>
                    <a:pt x="57" y="111"/>
                  </a:cubicBezTo>
                  <a:moveTo>
                    <a:pt x="5" y="61"/>
                  </a:moveTo>
                  <a:cubicBezTo>
                    <a:pt x="52" y="61"/>
                    <a:pt x="52" y="61"/>
                    <a:pt x="52" y="61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1" y="85"/>
                    <a:pt x="6" y="73"/>
                    <a:pt x="5" y="61"/>
                  </a:cubicBezTo>
                  <a:moveTo>
                    <a:pt x="55" y="5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6" y="28"/>
                    <a:pt x="28" y="6"/>
                    <a:pt x="55" y="5"/>
                  </a:cubicBezTo>
                  <a:moveTo>
                    <a:pt x="60" y="40"/>
                  </a:moveTo>
                  <a:cubicBezTo>
                    <a:pt x="85" y="13"/>
                    <a:pt x="85" y="13"/>
                    <a:pt x="85" y="13"/>
                  </a:cubicBezTo>
                  <a:cubicBezTo>
                    <a:pt x="88" y="15"/>
                    <a:pt x="90" y="17"/>
                    <a:pt x="92" y="19"/>
                  </a:cubicBezTo>
                  <a:cubicBezTo>
                    <a:pt x="60" y="52"/>
                    <a:pt x="60" y="52"/>
                    <a:pt x="60" y="52"/>
                  </a:cubicBezTo>
                  <a:lnTo>
                    <a:pt x="60" y="40"/>
                  </a:lnTo>
                  <a:close/>
                  <a:moveTo>
                    <a:pt x="60" y="20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76" y="8"/>
                    <a:pt x="78" y="10"/>
                    <a:pt x="81" y="11"/>
                  </a:cubicBezTo>
                  <a:cubicBezTo>
                    <a:pt x="60" y="33"/>
                    <a:pt x="60" y="33"/>
                    <a:pt x="60" y="33"/>
                  </a:cubicBezTo>
                  <a:lnTo>
                    <a:pt x="60" y="20"/>
                  </a:lnTo>
                  <a:close/>
                  <a:moveTo>
                    <a:pt x="60" y="5"/>
                  </a:moveTo>
                  <a:cubicBezTo>
                    <a:pt x="62" y="5"/>
                    <a:pt x="65" y="5"/>
                    <a:pt x="67" y="6"/>
                  </a:cubicBezTo>
                  <a:cubicBezTo>
                    <a:pt x="60" y="14"/>
                    <a:pt x="60" y="14"/>
                    <a:pt x="60" y="14"/>
                  </a:cubicBezTo>
                  <a:lnTo>
                    <a:pt x="60" y="5"/>
                  </a:lnTo>
                  <a:close/>
                  <a:moveTo>
                    <a:pt x="101" y="29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8" y="25"/>
                    <a:pt x="99" y="27"/>
                    <a:pt x="101" y="29"/>
                  </a:cubicBezTo>
                  <a:moveTo>
                    <a:pt x="107" y="43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1" y="58"/>
                    <a:pt x="91" y="58"/>
                    <a:pt x="90" y="58"/>
                  </a:cubicBezTo>
                  <a:cubicBezTo>
                    <a:pt x="85" y="58"/>
                    <a:pt x="81" y="59"/>
                    <a:pt x="76" y="61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5" y="37"/>
                    <a:pt x="106" y="40"/>
                    <a:pt x="107" y="43"/>
                  </a:cubicBezTo>
                  <a:moveTo>
                    <a:pt x="109" y="58"/>
                  </a:moveTo>
                  <a:cubicBezTo>
                    <a:pt x="109" y="59"/>
                    <a:pt x="109" y="59"/>
                    <a:pt x="109" y="6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4" y="61"/>
                    <a:pt x="101" y="60"/>
                    <a:pt x="98" y="59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9" y="51"/>
                    <a:pt x="109" y="55"/>
                    <a:pt x="109" y="58"/>
                  </a:cubicBezTo>
                  <a:moveTo>
                    <a:pt x="113" y="68"/>
                  </a:moveTo>
                  <a:cubicBezTo>
                    <a:pt x="114" y="64"/>
                    <a:pt x="114" y="61"/>
                    <a:pt x="114" y="58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7" y="116"/>
                  </a:cubicBezTo>
                  <a:cubicBezTo>
                    <a:pt x="60" y="116"/>
                    <a:pt x="63" y="116"/>
                    <a:pt x="67" y="115"/>
                  </a:cubicBezTo>
                  <a:cubicBezTo>
                    <a:pt x="73" y="122"/>
                    <a:pt x="81" y="126"/>
                    <a:pt x="90" y="126"/>
                  </a:cubicBezTo>
                  <a:cubicBezTo>
                    <a:pt x="109" y="126"/>
                    <a:pt x="124" y="111"/>
                    <a:pt x="124" y="92"/>
                  </a:cubicBezTo>
                  <a:cubicBezTo>
                    <a:pt x="124" y="82"/>
                    <a:pt x="120" y="74"/>
                    <a:pt x="113" y="6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0" name="Group 130">
            <a:extLst>
              <a:ext uri="{FF2B5EF4-FFF2-40B4-BE49-F238E27FC236}">
                <a16:creationId xmlns:a16="http://schemas.microsoft.com/office/drawing/2014/main" id="{53CA4DB6-8DB3-4841-807C-7A25ADC56D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8625" y="2812469"/>
            <a:ext cx="842962" cy="841375"/>
            <a:chOff x="1665" y="1788"/>
            <a:chExt cx="531" cy="530"/>
          </a:xfrm>
        </p:grpSpPr>
        <p:sp>
          <p:nvSpPr>
            <p:cNvPr id="151" name="AutoShape 129">
              <a:extLst>
                <a:ext uri="{FF2B5EF4-FFF2-40B4-BE49-F238E27FC236}">
                  <a16:creationId xmlns:a16="http://schemas.microsoft.com/office/drawing/2014/main" id="{082A5989-B3FE-44B2-9474-43250ECC03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65" y="178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Oval 131">
              <a:extLst>
                <a:ext uri="{FF2B5EF4-FFF2-40B4-BE49-F238E27FC236}">
                  <a16:creationId xmlns:a16="http://schemas.microsoft.com/office/drawing/2014/main" id="{8DA46818-C1B5-4C2E-A705-52AAFAC5C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5" y="178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2">
              <a:extLst>
                <a:ext uri="{FF2B5EF4-FFF2-40B4-BE49-F238E27FC236}">
                  <a16:creationId xmlns:a16="http://schemas.microsoft.com/office/drawing/2014/main" id="{7FF69B2C-9F85-4280-96D9-921240D97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3" y="180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3">
              <a:extLst>
                <a:ext uri="{FF2B5EF4-FFF2-40B4-BE49-F238E27FC236}">
                  <a16:creationId xmlns:a16="http://schemas.microsoft.com/office/drawing/2014/main" id="{22980BB0-CD9D-4DA1-8EC5-BCA69CD605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3" y="1903"/>
              <a:ext cx="318" cy="323"/>
            </a:xfrm>
            <a:custGeom>
              <a:avLst/>
              <a:gdLst>
                <a:gd name="T0" fmla="*/ 100 w 124"/>
                <a:gd name="T1" fmla="*/ 80 h 126"/>
                <a:gd name="T2" fmla="*/ 100 w 124"/>
                <a:gd name="T3" fmla="*/ 75 h 126"/>
                <a:gd name="T4" fmla="*/ 93 w 124"/>
                <a:gd name="T5" fmla="*/ 70 h 126"/>
                <a:gd name="T6" fmla="*/ 88 w 124"/>
                <a:gd name="T7" fmla="*/ 70 h 126"/>
                <a:gd name="T8" fmla="*/ 79 w 124"/>
                <a:gd name="T9" fmla="*/ 85 h 126"/>
                <a:gd name="T10" fmla="*/ 93 w 124"/>
                <a:gd name="T11" fmla="*/ 94 h 126"/>
                <a:gd name="T12" fmla="*/ 93 w 124"/>
                <a:gd name="T13" fmla="*/ 104 h 126"/>
                <a:gd name="T14" fmla="*/ 79 w 124"/>
                <a:gd name="T15" fmla="*/ 107 h 126"/>
                <a:gd name="T16" fmla="*/ 88 w 124"/>
                <a:gd name="T17" fmla="*/ 109 h 126"/>
                <a:gd name="T18" fmla="*/ 90 w 124"/>
                <a:gd name="T19" fmla="*/ 116 h 126"/>
                <a:gd name="T20" fmla="*/ 93 w 124"/>
                <a:gd name="T21" fmla="*/ 109 h 126"/>
                <a:gd name="T22" fmla="*/ 93 w 124"/>
                <a:gd name="T23" fmla="*/ 90 h 126"/>
                <a:gd name="T24" fmla="*/ 83 w 124"/>
                <a:gd name="T25" fmla="*/ 85 h 126"/>
                <a:gd name="T26" fmla="*/ 90 w 124"/>
                <a:gd name="T27" fmla="*/ 121 h 126"/>
                <a:gd name="T28" fmla="*/ 90 w 124"/>
                <a:gd name="T29" fmla="*/ 63 h 126"/>
                <a:gd name="T30" fmla="*/ 90 w 124"/>
                <a:gd name="T31" fmla="*/ 121 h 126"/>
                <a:gd name="T32" fmla="*/ 22 w 124"/>
                <a:gd name="T33" fmla="*/ 97 h 126"/>
                <a:gd name="T34" fmla="*/ 65 w 124"/>
                <a:gd name="T35" fmla="*/ 70 h 126"/>
                <a:gd name="T36" fmla="*/ 63 w 124"/>
                <a:gd name="T37" fmla="*/ 111 h 126"/>
                <a:gd name="T38" fmla="*/ 5 w 124"/>
                <a:gd name="T39" fmla="*/ 61 h 126"/>
                <a:gd name="T40" fmla="*/ 19 w 124"/>
                <a:gd name="T41" fmla="*/ 94 h 126"/>
                <a:gd name="T42" fmla="*/ 55 w 124"/>
                <a:gd name="T43" fmla="*/ 5 h 126"/>
                <a:gd name="T44" fmla="*/ 5 w 124"/>
                <a:gd name="T45" fmla="*/ 56 h 126"/>
                <a:gd name="T46" fmla="*/ 60 w 124"/>
                <a:gd name="T47" fmla="*/ 40 h 126"/>
                <a:gd name="T48" fmla="*/ 92 w 124"/>
                <a:gd name="T49" fmla="*/ 19 h 126"/>
                <a:gd name="T50" fmla="*/ 60 w 124"/>
                <a:gd name="T51" fmla="*/ 40 h 126"/>
                <a:gd name="T52" fmla="*/ 73 w 124"/>
                <a:gd name="T53" fmla="*/ 7 h 126"/>
                <a:gd name="T54" fmla="*/ 60 w 124"/>
                <a:gd name="T55" fmla="*/ 33 h 126"/>
                <a:gd name="T56" fmla="*/ 60 w 124"/>
                <a:gd name="T57" fmla="*/ 5 h 126"/>
                <a:gd name="T58" fmla="*/ 60 w 124"/>
                <a:gd name="T59" fmla="*/ 14 h 126"/>
                <a:gd name="T60" fmla="*/ 101 w 124"/>
                <a:gd name="T61" fmla="*/ 29 h 126"/>
                <a:gd name="T62" fmla="*/ 61 w 124"/>
                <a:gd name="T63" fmla="*/ 58 h 126"/>
                <a:gd name="T64" fmla="*/ 101 w 124"/>
                <a:gd name="T65" fmla="*/ 29 h 126"/>
                <a:gd name="T66" fmla="*/ 92 w 124"/>
                <a:gd name="T67" fmla="*/ 58 h 126"/>
                <a:gd name="T68" fmla="*/ 76 w 124"/>
                <a:gd name="T69" fmla="*/ 61 h 126"/>
                <a:gd name="T70" fmla="*/ 107 w 124"/>
                <a:gd name="T71" fmla="*/ 43 h 126"/>
                <a:gd name="T72" fmla="*/ 109 w 124"/>
                <a:gd name="T73" fmla="*/ 60 h 126"/>
                <a:gd name="T74" fmla="*/ 98 w 124"/>
                <a:gd name="T75" fmla="*/ 59 h 126"/>
                <a:gd name="T76" fmla="*/ 109 w 124"/>
                <a:gd name="T77" fmla="*/ 58 h 126"/>
                <a:gd name="T78" fmla="*/ 114 w 124"/>
                <a:gd name="T79" fmla="*/ 58 h 126"/>
                <a:gd name="T80" fmla="*/ 0 w 124"/>
                <a:gd name="T81" fmla="*/ 58 h 126"/>
                <a:gd name="T82" fmla="*/ 67 w 124"/>
                <a:gd name="T83" fmla="*/ 115 h 126"/>
                <a:gd name="T84" fmla="*/ 124 w 124"/>
                <a:gd name="T85" fmla="*/ 9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" h="126">
                  <a:moveTo>
                    <a:pt x="88" y="80"/>
                  </a:moveTo>
                  <a:cubicBezTo>
                    <a:pt x="100" y="80"/>
                    <a:pt x="100" y="80"/>
                    <a:pt x="100" y="80"/>
                  </a:cubicBezTo>
                  <a:cubicBezTo>
                    <a:pt x="101" y="80"/>
                    <a:pt x="102" y="79"/>
                    <a:pt x="102" y="78"/>
                  </a:cubicBezTo>
                  <a:cubicBezTo>
                    <a:pt x="102" y="76"/>
                    <a:pt x="101" y="75"/>
                    <a:pt x="100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69"/>
                    <a:pt x="92" y="68"/>
                    <a:pt x="90" y="68"/>
                  </a:cubicBezTo>
                  <a:cubicBezTo>
                    <a:pt x="89" y="68"/>
                    <a:pt x="88" y="69"/>
                    <a:pt x="88" y="70"/>
                  </a:cubicBezTo>
                  <a:cubicBezTo>
                    <a:pt x="88" y="75"/>
                    <a:pt x="88" y="75"/>
                    <a:pt x="88" y="75"/>
                  </a:cubicBezTo>
                  <a:cubicBezTo>
                    <a:pt x="83" y="75"/>
                    <a:pt x="79" y="79"/>
                    <a:pt x="79" y="85"/>
                  </a:cubicBezTo>
                  <a:cubicBezTo>
                    <a:pt x="79" y="90"/>
                    <a:pt x="83" y="94"/>
                    <a:pt x="88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5" y="94"/>
                    <a:pt x="98" y="97"/>
                    <a:pt x="98" y="99"/>
                  </a:cubicBezTo>
                  <a:cubicBezTo>
                    <a:pt x="98" y="102"/>
                    <a:pt x="95" y="104"/>
                    <a:pt x="93" y="104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0" y="104"/>
                    <a:pt x="79" y="105"/>
                    <a:pt x="79" y="107"/>
                  </a:cubicBezTo>
                  <a:cubicBezTo>
                    <a:pt x="79" y="108"/>
                    <a:pt x="80" y="109"/>
                    <a:pt x="81" y="109"/>
                  </a:cubicBezTo>
                  <a:cubicBezTo>
                    <a:pt x="88" y="109"/>
                    <a:pt x="88" y="109"/>
                    <a:pt x="88" y="109"/>
                  </a:cubicBezTo>
                  <a:cubicBezTo>
                    <a:pt x="88" y="114"/>
                    <a:pt x="88" y="114"/>
                    <a:pt x="88" y="114"/>
                  </a:cubicBezTo>
                  <a:cubicBezTo>
                    <a:pt x="88" y="115"/>
                    <a:pt x="89" y="116"/>
                    <a:pt x="90" y="116"/>
                  </a:cubicBezTo>
                  <a:cubicBezTo>
                    <a:pt x="92" y="116"/>
                    <a:pt x="93" y="115"/>
                    <a:pt x="93" y="114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8" y="109"/>
                    <a:pt x="102" y="105"/>
                    <a:pt x="102" y="99"/>
                  </a:cubicBezTo>
                  <a:cubicBezTo>
                    <a:pt x="102" y="94"/>
                    <a:pt x="98" y="90"/>
                    <a:pt x="93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5" y="90"/>
                    <a:pt x="83" y="87"/>
                    <a:pt x="83" y="85"/>
                  </a:cubicBezTo>
                  <a:cubicBezTo>
                    <a:pt x="83" y="82"/>
                    <a:pt x="85" y="80"/>
                    <a:pt x="88" y="80"/>
                  </a:cubicBezTo>
                  <a:moveTo>
                    <a:pt x="90" y="121"/>
                  </a:moveTo>
                  <a:cubicBezTo>
                    <a:pt x="75" y="121"/>
                    <a:pt x="62" y="108"/>
                    <a:pt x="62" y="92"/>
                  </a:cubicBezTo>
                  <a:cubicBezTo>
                    <a:pt x="62" y="76"/>
                    <a:pt x="75" y="63"/>
                    <a:pt x="90" y="63"/>
                  </a:cubicBezTo>
                  <a:cubicBezTo>
                    <a:pt x="106" y="63"/>
                    <a:pt x="119" y="76"/>
                    <a:pt x="119" y="92"/>
                  </a:cubicBezTo>
                  <a:cubicBezTo>
                    <a:pt x="119" y="108"/>
                    <a:pt x="106" y="121"/>
                    <a:pt x="90" y="121"/>
                  </a:cubicBezTo>
                  <a:moveTo>
                    <a:pt x="57" y="111"/>
                  </a:moveTo>
                  <a:cubicBezTo>
                    <a:pt x="44" y="111"/>
                    <a:pt x="31" y="106"/>
                    <a:pt x="22" y="97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0" y="76"/>
                    <a:pt x="57" y="84"/>
                    <a:pt x="57" y="92"/>
                  </a:cubicBezTo>
                  <a:cubicBezTo>
                    <a:pt x="57" y="99"/>
                    <a:pt x="59" y="106"/>
                    <a:pt x="63" y="111"/>
                  </a:cubicBezTo>
                  <a:cubicBezTo>
                    <a:pt x="61" y="111"/>
                    <a:pt x="59" y="111"/>
                    <a:pt x="57" y="111"/>
                  </a:cubicBezTo>
                  <a:moveTo>
                    <a:pt x="5" y="61"/>
                  </a:moveTo>
                  <a:cubicBezTo>
                    <a:pt x="52" y="61"/>
                    <a:pt x="52" y="61"/>
                    <a:pt x="52" y="61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1" y="85"/>
                    <a:pt x="6" y="73"/>
                    <a:pt x="5" y="61"/>
                  </a:cubicBezTo>
                  <a:moveTo>
                    <a:pt x="55" y="5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6" y="28"/>
                    <a:pt x="28" y="6"/>
                    <a:pt x="55" y="5"/>
                  </a:cubicBezTo>
                  <a:moveTo>
                    <a:pt x="60" y="40"/>
                  </a:moveTo>
                  <a:cubicBezTo>
                    <a:pt x="85" y="13"/>
                    <a:pt x="85" y="13"/>
                    <a:pt x="85" y="13"/>
                  </a:cubicBezTo>
                  <a:cubicBezTo>
                    <a:pt x="88" y="15"/>
                    <a:pt x="90" y="17"/>
                    <a:pt x="92" y="19"/>
                  </a:cubicBezTo>
                  <a:cubicBezTo>
                    <a:pt x="60" y="52"/>
                    <a:pt x="60" y="52"/>
                    <a:pt x="60" y="52"/>
                  </a:cubicBezTo>
                  <a:lnTo>
                    <a:pt x="60" y="40"/>
                  </a:lnTo>
                  <a:close/>
                  <a:moveTo>
                    <a:pt x="60" y="20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76" y="8"/>
                    <a:pt x="78" y="10"/>
                    <a:pt x="81" y="11"/>
                  </a:cubicBezTo>
                  <a:cubicBezTo>
                    <a:pt x="60" y="33"/>
                    <a:pt x="60" y="33"/>
                    <a:pt x="60" y="33"/>
                  </a:cubicBezTo>
                  <a:lnTo>
                    <a:pt x="60" y="20"/>
                  </a:lnTo>
                  <a:close/>
                  <a:moveTo>
                    <a:pt x="60" y="5"/>
                  </a:moveTo>
                  <a:cubicBezTo>
                    <a:pt x="62" y="5"/>
                    <a:pt x="65" y="5"/>
                    <a:pt x="67" y="6"/>
                  </a:cubicBezTo>
                  <a:cubicBezTo>
                    <a:pt x="60" y="14"/>
                    <a:pt x="60" y="14"/>
                    <a:pt x="60" y="14"/>
                  </a:cubicBezTo>
                  <a:lnTo>
                    <a:pt x="60" y="5"/>
                  </a:lnTo>
                  <a:close/>
                  <a:moveTo>
                    <a:pt x="101" y="29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8" y="25"/>
                    <a:pt x="99" y="27"/>
                    <a:pt x="101" y="29"/>
                  </a:cubicBezTo>
                  <a:moveTo>
                    <a:pt x="107" y="43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1" y="58"/>
                    <a:pt x="91" y="58"/>
                    <a:pt x="90" y="58"/>
                  </a:cubicBezTo>
                  <a:cubicBezTo>
                    <a:pt x="85" y="58"/>
                    <a:pt x="81" y="59"/>
                    <a:pt x="76" y="61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5" y="37"/>
                    <a:pt x="106" y="40"/>
                    <a:pt x="107" y="43"/>
                  </a:cubicBezTo>
                  <a:moveTo>
                    <a:pt x="109" y="58"/>
                  </a:moveTo>
                  <a:cubicBezTo>
                    <a:pt x="109" y="59"/>
                    <a:pt x="109" y="59"/>
                    <a:pt x="109" y="6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4" y="61"/>
                    <a:pt x="101" y="60"/>
                    <a:pt x="98" y="59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9" y="51"/>
                    <a:pt x="109" y="55"/>
                    <a:pt x="109" y="58"/>
                  </a:cubicBezTo>
                  <a:moveTo>
                    <a:pt x="113" y="68"/>
                  </a:moveTo>
                  <a:cubicBezTo>
                    <a:pt x="114" y="64"/>
                    <a:pt x="114" y="61"/>
                    <a:pt x="114" y="58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8"/>
                  </a:cubicBezTo>
                  <a:cubicBezTo>
                    <a:pt x="0" y="90"/>
                    <a:pt x="26" y="116"/>
                    <a:pt x="57" y="116"/>
                  </a:cubicBezTo>
                  <a:cubicBezTo>
                    <a:pt x="60" y="116"/>
                    <a:pt x="63" y="116"/>
                    <a:pt x="67" y="115"/>
                  </a:cubicBezTo>
                  <a:cubicBezTo>
                    <a:pt x="73" y="122"/>
                    <a:pt x="81" y="126"/>
                    <a:pt x="90" y="126"/>
                  </a:cubicBezTo>
                  <a:cubicBezTo>
                    <a:pt x="109" y="126"/>
                    <a:pt x="124" y="111"/>
                    <a:pt x="124" y="92"/>
                  </a:cubicBezTo>
                  <a:cubicBezTo>
                    <a:pt x="124" y="82"/>
                    <a:pt x="120" y="74"/>
                    <a:pt x="113" y="6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136">
            <a:extLst>
              <a:ext uri="{FF2B5EF4-FFF2-40B4-BE49-F238E27FC236}">
                <a16:creationId xmlns:a16="http://schemas.microsoft.com/office/drawing/2014/main" id="{7C61322F-CA5F-4131-BF9D-AF226DC716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6130" y="2853744"/>
            <a:ext cx="760412" cy="758825"/>
            <a:chOff x="3623" y="1784"/>
            <a:chExt cx="479" cy="478"/>
          </a:xfrm>
        </p:grpSpPr>
        <p:sp>
          <p:nvSpPr>
            <p:cNvPr id="160" name="AutoShape 135">
              <a:extLst>
                <a:ext uri="{FF2B5EF4-FFF2-40B4-BE49-F238E27FC236}">
                  <a16:creationId xmlns:a16="http://schemas.microsoft.com/office/drawing/2014/main" id="{56B190FA-F0E6-4EC1-96FE-C278239B3C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23" y="178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7">
              <a:extLst>
                <a:ext uri="{FF2B5EF4-FFF2-40B4-BE49-F238E27FC236}">
                  <a16:creationId xmlns:a16="http://schemas.microsoft.com/office/drawing/2014/main" id="{7A07B319-7C97-452E-B77C-DF38C220D6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" y="178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38">
              <a:extLst>
                <a:ext uri="{FF2B5EF4-FFF2-40B4-BE49-F238E27FC236}">
                  <a16:creationId xmlns:a16="http://schemas.microsoft.com/office/drawing/2014/main" id="{5E6A411C-B805-466B-A60E-3B0589F8F9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" y="1907"/>
              <a:ext cx="369" cy="235"/>
            </a:xfrm>
            <a:custGeom>
              <a:avLst/>
              <a:gdLst>
                <a:gd name="T0" fmla="*/ 103 w 150"/>
                <a:gd name="T1" fmla="*/ 17 h 96"/>
                <a:gd name="T2" fmla="*/ 110 w 150"/>
                <a:gd name="T3" fmla="*/ 17 h 96"/>
                <a:gd name="T4" fmla="*/ 85 w 150"/>
                <a:gd name="T5" fmla="*/ 27 h 96"/>
                <a:gd name="T6" fmla="*/ 85 w 150"/>
                <a:gd name="T7" fmla="*/ 20 h 96"/>
                <a:gd name="T8" fmla="*/ 85 w 150"/>
                <a:gd name="T9" fmla="*/ 27 h 96"/>
                <a:gd name="T10" fmla="*/ 60 w 150"/>
                <a:gd name="T11" fmla="*/ 47 h 96"/>
                <a:gd name="T12" fmla="*/ 67 w 150"/>
                <a:gd name="T13" fmla="*/ 47 h 96"/>
                <a:gd name="T14" fmla="*/ 43 w 150"/>
                <a:gd name="T15" fmla="*/ 40 h 96"/>
                <a:gd name="T16" fmla="*/ 43 w 150"/>
                <a:gd name="T17" fmla="*/ 33 h 96"/>
                <a:gd name="T18" fmla="*/ 43 w 150"/>
                <a:gd name="T19" fmla="*/ 40 h 96"/>
                <a:gd name="T20" fmla="*/ 100 w 150"/>
                <a:gd name="T21" fmla="*/ 17 h 96"/>
                <a:gd name="T22" fmla="*/ 90 w 150"/>
                <a:gd name="T23" fmla="*/ 20 h 96"/>
                <a:gd name="T24" fmla="*/ 79 w 150"/>
                <a:gd name="T25" fmla="*/ 23 h 96"/>
                <a:gd name="T26" fmla="*/ 66 w 150"/>
                <a:gd name="T27" fmla="*/ 42 h 96"/>
                <a:gd name="T28" fmla="*/ 59 w 150"/>
                <a:gd name="T29" fmla="*/ 43 h 96"/>
                <a:gd name="T30" fmla="*/ 49 w 150"/>
                <a:gd name="T31" fmla="*/ 37 h 96"/>
                <a:gd name="T32" fmla="*/ 37 w 150"/>
                <a:gd name="T33" fmla="*/ 37 h 96"/>
                <a:gd name="T34" fmla="*/ 48 w 150"/>
                <a:gd name="T35" fmla="*/ 40 h 96"/>
                <a:gd name="T36" fmla="*/ 58 w 150"/>
                <a:gd name="T37" fmla="*/ 47 h 96"/>
                <a:gd name="T38" fmla="*/ 70 w 150"/>
                <a:gd name="T39" fmla="*/ 47 h 96"/>
                <a:gd name="T40" fmla="*/ 82 w 150"/>
                <a:gd name="T41" fmla="*/ 29 h 96"/>
                <a:gd name="T42" fmla="*/ 91 w 150"/>
                <a:gd name="T43" fmla="*/ 23 h 96"/>
                <a:gd name="T44" fmla="*/ 101 w 150"/>
                <a:gd name="T45" fmla="*/ 20 h 96"/>
                <a:gd name="T46" fmla="*/ 112 w 150"/>
                <a:gd name="T47" fmla="*/ 17 h 96"/>
                <a:gd name="T48" fmla="*/ 106 w 150"/>
                <a:gd name="T49" fmla="*/ 28 h 96"/>
                <a:gd name="T50" fmla="*/ 104 w 150"/>
                <a:gd name="T51" fmla="*/ 65 h 96"/>
                <a:gd name="T52" fmla="*/ 109 w 150"/>
                <a:gd name="T53" fmla="*/ 65 h 96"/>
                <a:gd name="T54" fmla="*/ 106 w 150"/>
                <a:gd name="T55" fmla="*/ 28 h 96"/>
                <a:gd name="T56" fmla="*/ 82 w 150"/>
                <a:gd name="T57" fmla="*/ 37 h 96"/>
                <a:gd name="T58" fmla="*/ 85 w 150"/>
                <a:gd name="T59" fmla="*/ 68 h 96"/>
                <a:gd name="T60" fmla="*/ 88 w 150"/>
                <a:gd name="T61" fmla="*/ 37 h 96"/>
                <a:gd name="T62" fmla="*/ 63 w 150"/>
                <a:gd name="T63" fmla="*/ 59 h 96"/>
                <a:gd name="T64" fmla="*/ 61 w 150"/>
                <a:gd name="T65" fmla="*/ 65 h 96"/>
                <a:gd name="T66" fmla="*/ 66 w 150"/>
                <a:gd name="T67" fmla="*/ 65 h 96"/>
                <a:gd name="T68" fmla="*/ 63 w 150"/>
                <a:gd name="T69" fmla="*/ 59 h 96"/>
                <a:gd name="T70" fmla="*/ 39 w 150"/>
                <a:gd name="T71" fmla="*/ 51 h 96"/>
                <a:gd name="T72" fmla="*/ 42 w 150"/>
                <a:gd name="T73" fmla="*/ 68 h 96"/>
                <a:gd name="T74" fmla="*/ 45 w 150"/>
                <a:gd name="T75" fmla="*/ 51 h 96"/>
                <a:gd name="T76" fmla="*/ 144 w 150"/>
                <a:gd name="T77" fmla="*/ 82 h 96"/>
                <a:gd name="T78" fmla="*/ 17 w 150"/>
                <a:gd name="T79" fmla="*/ 90 h 96"/>
                <a:gd name="T80" fmla="*/ 6 w 150"/>
                <a:gd name="T81" fmla="*/ 80 h 96"/>
                <a:gd name="T82" fmla="*/ 57 w 150"/>
                <a:gd name="T83" fmla="*/ 78 h 96"/>
                <a:gd name="T84" fmla="*/ 62 w 150"/>
                <a:gd name="T85" fmla="*/ 86 h 96"/>
                <a:gd name="T86" fmla="*/ 92 w 150"/>
                <a:gd name="T87" fmla="*/ 81 h 96"/>
                <a:gd name="T88" fmla="*/ 142 w 150"/>
                <a:gd name="T89" fmla="*/ 78 h 96"/>
                <a:gd name="T90" fmla="*/ 144 w 150"/>
                <a:gd name="T91" fmla="*/ 82 h 96"/>
                <a:gd name="T92" fmla="*/ 89 w 150"/>
                <a:gd name="T93" fmla="*/ 81 h 96"/>
                <a:gd name="T94" fmla="*/ 62 w 150"/>
                <a:gd name="T95" fmla="*/ 83 h 96"/>
                <a:gd name="T96" fmla="*/ 60 w 150"/>
                <a:gd name="T97" fmla="*/ 78 h 96"/>
                <a:gd name="T98" fmla="*/ 21 w 150"/>
                <a:gd name="T99" fmla="*/ 12 h 96"/>
                <a:gd name="T100" fmla="*/ 122 w 150"/>
                <a:gd name="T101" fmla="*/ 6 h 96"/>
                <a:gd name="T102" fmla="*/ 129 w 150"/>
                <a:gd name="T103" fmla="*/ 73 h 96"/>
                <a:gd name="T104" fmla="*/ 21 w 150"/>
                <a:gd name="T105" fmla="*/ 12 h 96"/>
                <a:gd name="T106" fmla="*/ 134 w 150"/>
                <a:gd name="T107" fmla="*/ 73 h 96"/>
                <a:gd name="T108" fmla="*/ 122 w 150"/>
                <a:gd name="T109" fmla="*/ 0 h 96"/>
                <a:gd name="T110" fmla="*/ 16 w 150"/>
                <a:gd name="T111" fmla="*/ 12 h 96"/>
                <a:gd name="T112" fmla="*/ 8 w 150"/>
                <a:gd name="T113" fmla="*/ 73 h 96"/>
                <a:gd name="T114" fmla="*/ 0 w 150"/>
                <a:gd name="T115" fmla="*/ 82 h 96"/>
                <a:gd name="T116" fmla="*/ 133 w 150"/>
                <a:gd name="T117" fmla="*/ 96 h 96"/>
                <a:gd name="T118" fmla="*/ 150 w 150"/>
                <a:gd name="T119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0" h="96">
                  <a:moveTo>
                    <a:pt x="106" y="20"/>
                  </a:moveTo>
                  <a:cubicBezTo>
                    <a:pt x="105" y="20"/>
                    <a:pt x="103" y="18"/>
                    <a:pt x="103" y="17"/>
                  </a:cubicBezTo>
                  <a:cubicBezTo>
                    <a:pt x="103" y="15"/>
                    <a:pt x="105" y="13"/>
                    <a:pt x="106" y="13"/>
                  </a:cubicBezTo>
                  <a:cubicBezTo>
                    <a:pt x="108" y="13"/>
                    <a:pt x="110" y="15"/>
                    <a:pt x="110" y="17"/>
                  </a:cubicBezTo>
                  <a:cubicBezTo>
                    <a:pt x="110" y="18"/>
                    <a:pt x="108" y="20"/>
                    <a:pt x="106" y="20"/>
                  </a:cubicBezTo>
                  <a:moveTo>
                    <a:pt x="85" y="27"/>
                  </a:moveTo>
                  <a:cubicBezTo>
                    <a:pt x="83" y="27"/>
                    <a:pt x="82" y="25"/>
                    <a:pt x="82" y="23"/>
                  </a:cubicBezTo>
                  <a:cubicBezTo>
                    <a:pt x="82" y="22"/>
                    <a:pt x="83" y="20"/>
                    <a:pt x="85" y="20"/>
                  </a:cubicBezTo>
                  <a:cubicBezTo>
                    <a:pt x="87" y="20"/>
                    <a:pt x="88" y="22"/>
                    <a:pt x="88" y="23"/>
                  </a:cubicBezTo>
                  <a:cubicBezTo>
                    <a:pt x="88" y="25"/>
                    <a:pt x="87" y="27"/>
                    <a:pt x="85" y="27"/>
                  </a:cubicBezTo>
                  <a:moveTo>
                    <a:pt x="64" y="50"/>
                  </a:moveTo>
                  <a:cubicBezTo>
                    <a:pt x="62" y="50"/>
                    <a:pt x="60" y="49"/>
                    <a:pt x="60" y="47"/>
                  </a:cubicBezTo>
                  <a:cubicBezTo>
                    <a:pt x="60" y="45"/>
                    <a:pt x="62" y="44"/>
                    <a:pt x="64" y="44"/>
                  </a:cubicBezTo>
                  <a:cubicBezTo>
                    <a:pt x="65" y="44"/>
                    <a:pt x="67" y="45"/>
                    <a:pt x="67" y="47"/>
                  </a:cubicBezTo>
                  <a:cubicBezTo>
                    <a:pt x="67" y="49"/>
                    <a:pt x="65" y="50"/>
                    <a:pt x="64" y="50"/>
                  </a:cubicBezTo>
                  <a:moveTo>
                    <a:pt x="43" y="40"/>
                  </a:moveTo>
                  <a:cubicBezTo>
                    <a:pt x="41" y="40"/>
                    <a:pt x="40" y="38"/>
                    <a:pt x="40" y="37"/>
                  </a:cubicBezTo>
                  <a:cubicBezTo>
                    <a:pt x="40" y="35"/>
                    <a:pt x="41" y="33"/>
                    <a:pt x="43" y="33"/>
                  </a:cubicBezTo>
                  <a:cubicBezTo>
                    <a:pt x="45" y="33"/>
                    <a:pt x="46" y="35"/>
                    <a:pt x="46" y="37"/>
                  </a:cubicBezTo>
                  <a:cubicBezTo>
                    <a:pt x="46" y="38"/>
                    <a:pt x="45" y="40"/>
                    <a:pt x="43" y="40"/>
                  </a:cubicBezTo>
                  <a:moveTo>
                    <a:pt x="106" y="11"/>
                  </a:moveTo>
                  <a:cubicBezTo>
                    <a:pt x="103" y="11"/>
                    <a:pt x="100" y="13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9" y="19"/>
                    <a:pt x="87" y="17"/>
                    <a:pt x="85" y="17"/>
                  </a:cubicBezTo>
                  <a:cubicBezTo>
                    <a:pt x="82" y="17"/>
                    <a:pt x="79" y="20"/>
                    <a:pt x="79" y="23"/>
                  </a:cubicBezTo>
                  <a:cubicBezTo>
                    <a:pt x="79" y="25"/>
                    <a:pt x="79" y="26"/>
                    <a:pt x="80" y="27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5" y="41"/>
                    <a:pt x="64" y="41"/>
                  </a:cubicBezTo>
                  <a:cubicBezTo>
                    <a:pt x="62" y="41"/>
                    <a:pt x="60" y="42"/>
                    <a:pt x="59" y="43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7"/>
                    <a:pt x="49" y="37"/>
                  </a:cubicBezTo>
                  <a:cubicBezTo>
                    <a:pt x="49" y="33"/>
                    <a:pt x="46" y="31"/>
                    <a:pt x="43" y="31"/>
                  </a:cubicBezTo>
                  <a:cubicBezTo>
                    <a:pt x="40" y="31"/>
                    <a:pt x="37" y="33"/>
                    <a:pt x="37" y="37"/>
                  </a:cubicBezTo>
                  <a:cubicBezTo>
                    <a:pt x="37" y="40"/>
                    <a:pt x="40" y="42"/>
                    <a:pt x="43" y="42"/>
                  </a:cubicBezTo>
                  <a:cubicBezTo>
                    <a:pt x="45" y="42"/>
                    <a:pt x="47" y="42"/>
                    <a:pt x="48" y="40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46"/>
                    <a:pt x="58" y="47"/>
                    <a:pt x="58" y="47"/>
                  </a:cubicBezTo>
                  <a:cubicBezTo>
                    <a:pt x="58" y="50"/>
                    <a:pt x="60" y="53"/>
                    <a:pt x="64" y="53"/>
                  </a:cubicBezTo>
                  <a:cubicBezTo>
                    <a:pt x="67" y="53"/>
                    <a:pt x="70" y="50"/>
                    <a:pt x="70" y="47"/>
                  </a:cubicBezTo>
                  <a:cubicBezTo>
                    <a:pt x="70" y="46"/>
                    <a:pt x="69" y="45"/>
                    <a:pt x="68" y="44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4" y="29"/>
                    <a:pt x="85" y="29"/>
                  </a:cubicBezTo>
                  <a:cubicBezTo>
                    <a:pt x="88" y="29"/>
                    <a:pt x="91" y="27"/>
                    <a:pt x="91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2" y="21"/>
                    <a:pt x="104" y="22"/>
                    <a:pt x="106" y="22"/>
                  </a:cubicBezTo>
                  <a:cubicBezTo>
                    <a:pt x="110" y="22"/>
                    <a:pt x="112" y="20"/>
                    <a:pt x="112" y="17"/>
                  </a:cubicBezTo>
                  <a:cubicBezTo>
                    <a:pt x="112" y="13"/>
                    <a:pt x="110" y="11"/>
                    <a:pt x="106" y="11"/>
                  </a:cubicBezTo>
                  <a:moveTo>
                    <a:pt x="106" y="28"/>
                  </a:moveTo>
                  <a:cubicBezTo>
                    <a:pt x="105" y="28"/>
                    <a:pt x="104" y="29"/>
                    <a:pt x="104" y="30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4" y="67"/>
                    <a:pt x="105" y="68"/>
                    <a:pt x="106" y="68"/>
                  </a:cubicBezTo>
                  <a:cubicBezTo>
                    <a:pt x="108" y="68"/>
                    <a:pt x="109" y="67"/>
                    <a:pt x="109" y="65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29"/>
                    <a:pt x="108" y="28"/>
                    <a:pt x="106" y="28"/>
                  </a:cubicBezTo>
                  <a:moveTo>
                    <a:pt x="85" y="35"/>
                  </a:moveTo>
                  <a:cubicBezTo>
                    <a:pt x="83" y="35"/>
                    <a:pt x="82" y="36"/>
                    <a:pt x="82" y="37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7"/>
                    <a:pt x="83" y="68"/>
                    <a:pt x="85" y="68"/>
                  </a:cubicBezTo>
                  <a:cubicBezTo>
                    <a:pt x="86" y="68"/>
                    <a:pt x="88" y="67"/>
                    <a:pt x="88" y="65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6"/>
                    <a:pt x="86" y="35"/>
                    <a:pt x="85" y="35"/>
                  </a:cubicBezTo>
                  <a:moveTo>
                    <a:pt x="63" y="59"/>
                  </a:moveTo>
                  <a:cubicBezTo>
                    <a:pt x="62" y="59"/>
                    <a:pt x="61" y="60"/>
                    <a:pt x="61" y="61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7"/>
                    <a:pt x="62" y="68"/>
                    <a:pt x="63" y="68"/>
                  </a:cubicBezTo>
                  <a:cubicBezTo>
                    <a:pt x="65" y="68"/>
                    <a:pt x="66" y="67"/>
                    <a:pt x="66" y="6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0"/>
                    <a:pt x="65" y="59"/>
                    <a:pt x="63" y="59"/>
                  </a:cubicBezTo>
                  <a:moveTo>
                    <a:pt x="42" y="48"/>
                  </a:moveTo>
                  <a:cubicBezTo>
                    <a:pt x="41" y="48"/>
                    <a:pt x="39" y="50"/>
                    <a:pt x="39" y="51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7"/>
                    <a:pt x="41" y="68"/>
                    <a:pt x="42" y="68"/>
                  </a:cubicBezTo>
                  <a:cubicBezTo>
                    <a:pt x="44" y="68"/>
                    <a:pt x="45" y="67"/>
                    <a:pt x="45" y="6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50"/>
                    <a:pt x="44" y="48"/>
                    <a:pt x="42" y="48"/>
                  </a:cubicBezTo>
                  <a:moveTo>
                    <a:pt x="144" y="82"/>
                  </a:moveTo>
                  <a:cubicBezTo>
                    <a:pt x="144" y="90"/>
                    <a:pt x="136" y="90"/>
                    <a:pt x="133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4" y="90"/>
                    <a:pt x="6" y="90"/>
                    <a:pt x="6" y="82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79"/>
                    <a:pt x="6" y="78"/>
                    <a:pt x="8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4"/>
                    <a:pt x="60" y="86"/>
                    <a:pt x="62" y="86"/>
                  </a:cubicBezTo>
                  <a:cubicBezTo>
                    <a:pt x="88" y="86"/>
                    <a:pt x="88" y="86"/>
                    <a:pt x="88" y="86"/>
                  </a:cubicBezTo>
                  <a:cubicBezTo>
                    <a:pt x="90" y="86"/>
                    <a:pt x="92" y="83"/>
                    <a:pt x="92" y="81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3" y="78"/>
                    <a:pt x="144" y="79"/>
                    <a:pt x="144" y="80"/>
                  </a:cubicBezTo>
                  <a:lnTo>
                    <a:pt x="144" y="82"/>
                  </a:lnTo>
                  <a:close/>
                  <a:moveTo>
                    <a:pt x="89" y="78"/>
                  </a:moveTo>
                  <a:cubicBezTo>
                    <a:pt x="89" y="81"/>
                    <a:pt x="89" y="81"/>
                    <a:pt x="89" y="81"/>
                  </a:cubicBezTo>
                  <a:cubicBezTo>
                    <a:pt x="89" y="82"/>
                    <a:pt x="89" y="83"/>
                    <a:pt x="88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1" y="83"/>
                    <a:pt x="60" y="82"/>
                    <a:pt x="60" y="81"/>
                  </a:cubicBezTo>
                  <a:cubicBezTo>
                    <a:pt x="60" y="78"/>
                    <a:pt x="60" y="78"/>
                    <a:pt x="60" y="78"/>
                  </a:cubicBezTo>
                  <a:lnTo>
                    <a:pt x="89" y="78"/>
                  </a:lnTo>
                  <a:close/>
                  <a:moveTo>
                    <a:pt x="21" y="12"/>
                  </a:moveTo>
                  <a:cubicBezTo>
                    <a:pt x="21" y="8"/>
                    <a:pt x="24" y="6"/>
                    <a:pt x="27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6" y="6"/>
                    <a:pt x="129" y="8"/>
                    <a:pt x="129" y="12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21" y="73"/>
                    <a:pt x="21" y="73"/>
                    <a:pt x="21" y="73"/>
                  </a:cubicBezTo>
                  <a:lnTo>
                    <a:pt x="21" y="12"/>
                  </a:lnTo>
                  <a:close/>
                  <a:moveTo>
                    <a:pt x="142" y="73"/>
                  </a:moveTo>
                  <a:cubicBezTo>
                    <a:pt x="134" y="73"/>
                    <a:pt x="134" y="73"/>
                    <a:pt x="134" y="7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6"/>
                    <a:pt x="129" y="0"/>
                    <a:pt x="12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1" y="0"/>
                    <a:pt x="16" y="6"/>
                    <a:pt x="16" y="12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4" y="73"/>
                    <a:pt x="0" y="76"/>
                    <a:pt x="0" y="8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0"/>
                    <a:pt x="7" y="96"/>
                    <a:pt x="17" y="96"/>
                  </a:cubicBezTo>
                  <a:cubicBezTo>
                    <a:pt x="133" y="96"/>
                    <a:pt x="133" y="96"/>
                    <a:pt x="133" y="96"/>
                  </a:cubicBezTo>
                  <a:cubicBezTo>
                    <a:pt x="143" y="96"/>
                    <a:pt x="150" y="90"/>
                    <a:pt x="150" y="82"/>
                  </a:cubicBezTo>
                  <a:cubicBezTo>
                    <a:pt x="150" y="80"/>
                    <a:pt x="150" y="80"/>
                    <a:pt x="150" y="80"/>
                  </a:cubicBezTo>
                  <a:cubicBezTo>
                    <a:pt x="150" y="76"/>
                    <a:pt x="146" y="73"/>
                    <a:pt x="142" y="7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39">
              <a:extLst>
                <a:ext uri="{FF2B5EF4-FFF2-40B4-BE49-F238E27FC236}">
                  <a16:creationId xmlns:a16="http://schemas.microsoft.com/office/drawing/2014/main" id="{9E4553A0-981E-4A71-989E-3953503EAF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" y="1907"/>
              <a:ext cx="369" cy="235"/>
            </a:xfrm>
            <a:custGeom>
              <a:avLst/>
              <a:gdLst>
                <a:gd name="T0" fmla="*/ 103 w 150"/>
                <a:gd name="T1" fmla="*/ 17 h 96"/>
                <a:gd name="T2" fmla="*/ 110 w 150"/>
                <a:gd name="T3" fmla="*/ 17 h 96"/>
                <a:gd name="T4" fmla="*/ 85 w 150"/>
                <a:gd name="T5" fmla="*/ 27 h 96"/>
                <a:gd name="T6" fmla="*/ 85 w 150"/>
                <a:gd name="T7" fmla="*/ 20 h 96"/>
                <a:gd name="T8" fmla="*/ 85 w 150"/>
                <a:gd name="T9" fmla="*/ 27 h 96"/>
                <a:gd name="T10" fmla="*/ 60 w 150"/>
                <a:gd name="T11" fmla="*/ 47 h 96"/>
                <a:gd name="T12" fmla="*/ 67 w 150"/>
                <a:gd name="T13" fmla="*/ 47 h 96"/>
                <a:gd name="T14" fmla="*/ 43 w 150"/>
                <a:gd name="T15" fmla="*/ 40 h 96"/>
                <a:gd name="T16" fmla="*/ 43 w 150"/>
                <a:gd name="T17" fmla="*/ 33 h 96"/>
                <a:gd name="T18" fmla="*/ 43 w 150"/>
                <a:gd name="T19" fmla="*/ 40 h 96"/>
                <a:gd name="T20" fmla="*/ 100 w 150"/>
                <a:gd name="T21" fmla="*/ 17 h 96"/>
                <a:gd name="T22" fmla="*/ 90 w 150"/>
                <a:gd name="T23" fmla="*/ 20 h 96"/>
                <a:gd name="T24" fmla="*/ 79 w 150"/>
                <a:gd name="T25" fmla="*/ 23 h 96"/>
                <a:gd name="T26" fmla="*/ 66 w 150"/>
                <a:gd name="T27" fmla="*/ 42 h 96"/>
                <a:gd name="T28" fmla="*/ 59 w 150"/>
                <a:gd name="T29" fmla="*/ 43 h 96"/>
                <a:gd name="T30" fmla="*/ 49 w 150"/>
                <a:gd name="T31" fmla="*/ 37 h 96"/>
                <a:gd name="T32" fmla="*/ 37 w 150"/>
                <a:gd name="T33" fmla="*/ 37 h 96"/>
                <a:gd name="T34" fmla="*/ 48 w 150"/>
                <a:gd name="T35" fmla="*/ 40 h 96"/>
                <a:gd name="T36" fmla="*/ 58 w 150"/>
                <a:gd name="T37" fmla="*/ 47 h 96"/>
                <a:gd name="T38" fmla="*/ 70 w 150"/>
                <a:gd name="T39" fmla="*/ 47 h 96"/>
                <a:gd name="T40" fmla="*/ 82 w 150"/>
                <a:gd name="T41" fmla="*/ 29 h 96"/>
                <a:gd name="T42" fmla="*/ 91 w 150"/>
                <a:gd name="T43" fmla="*/ 23 h 96"/>
                <a:gd name="T44" fmla="*/ 101 w 150"/>
                <a:gd name="T45" fmla="*/ 20 h 96"/>
                <a:gd name="T46" fmla="*/ 112 w 150"/>
                <a:gd name="T47" fmla="*/ 17 h 96"/>
                <a:gd name="T48" fmla="*/ 106 w 150"/>
                <a:gd name="T49" fmla="*/ 28 h 96"/>
                <a:gd name="T50" fmla="*/ 104 w 150"/>
                <a:gd name="T51" fmla="*/ 65 h 96"/>
                <a:gd name="T52" fmla="*/ 109 w 150"/>
                <a:gd name="T53" fmla="*/ 65 h 96"/>
                <a:gd name="T54" fmla="*/ 106 w 150"/>
                <a:gd name="T55" fmla="*/ 28 h 96"/>
                <a:gd name="T56" fmla="*/ 82 w 150"/>
                <a:gd name="T57" fmla="*/ 37 h 96"/>
                <a:gd name="T58" fmla="*/ 85 w 150"/>
                <a:gd name="T59" fmla="*/ 68 h 96"/>
                <a:gd name="T60" fmla="*/ 88 w 150"/>
                <a:gd name="T61" fmla="*/ 37 h 96"/>
                <a:gd name="T62" fmla="*/ 63 w 150"/>
                <a:gd name="T63" fmla="*/ 59 h 96"/>
                <a:gd name="T64" fmla="*/ 61 w 150"/>
                <a:gd name="T65" fmla="*/ 65 h 96"/>
                <a:gd name="T66" fmla="*/ 66 w 150"/>
                <a:gd name="T67" fmla="*/ 65 h 96"/>
                <a:gd name="T68" fmla="*/ 63 w 150"/>
                <a:gd name="T69" fmla="*/ 59 h 96"/>
                <a:gd name="T70" fmla="*/ 39 w 150"/>
                <a:gd name="T71" fmla="*/ 51 h 96"/>
                <a:gd name="T72" fmla="*/ 42 w 150"/>
                <a:gd name="T73" fmla="*/ 68 h 96"/>
                <a:gd name="T74" fmla="*/ 45 w 150"/>
                <a:gd name="T75" fmla="*/ 51 h 96"/>
                <a:gd name="T76" fmla="*/ 144 w 150"/>
                <a:gd name="T77" fmla="*/ 82 h 96"/>
                <a:gd name="T78" fmla="*/ 17 w 150"/>
                <a:gd name="T79" fmla="*/ 90 h 96"/>
                <a:gd name="T80" fmla="*/ 6 w 150"/>
                <a:gd name="T81" fmla="*/ 80 h 96"/>
                <a:gd name="T82" fmla="*/ 57 w 150"/>
                <a:gd name="T83" fmla="*/ 78 h 96"/>
                <a:gd name="T84" fmla="*/ 62 w 150"/>
                <a:gd name="T85" fmla="*/ 86 h 96"/>
                <a:gd name="T86" fmla="*/ 92 w 150"/>
                <a:gd name="T87" fmla="*/ 81 h 96"/>
                <a:gd name="T88" fmla="*/ 142 w 150"/>
                <a:gd name="T89" fmla="*/ 78 h 96"/>
                <a:gd name="T90" fmla="*/ 144 w 150"/>
                <a:gd name="T91" fmla="*/ 82 h 96"/>
                <a:gd name="T92" fmla="*/ 89 w 150"/>
                <a:gd name="T93" fmla="*/ 81 h 96"/>
                <a:gd name="T94" fmla="*/ 62 w 150"/>
                <a:gd name="T95" fmla="*/ 83 h 96"/>
                <a:gd name="T96" fmla="*/ 60 w 150"/>
                <a:gd name="T97" fmla="*/ 78 h 96"/>
                <a:gd name="T98" fmla="*/ 21 w 150"/>
                <a:gd name="T99" fmla="*/ 12 h 96"/>
                <a:gd name="T100" fmla="*/ 122 w 150"/>
                <a:gd name="T101" fmla="*/ 6 h 96"/>
                <a:gd name="T102" fmla="*/ 129 w 150"/>
                <a:gd name="T103" fmla="*/ 73 h 96"/>
                <a:gd name="T104" fmla="*/ 21 w 150"/>
                <a:gd name="T105" fmla="*/ 12 h 96"/>
                <a:gd name="T106" fmla="*/ 134 w 150"/>
                <a:gd name="T107" fmla="*/ 73 h 96"/>
                <a:gd name="T108" fmla="*/ 122 w 150"/>
                <a:gd name="T109" fmla="*/ 0 h 96"/>
                <a:gd name="T110" fmla="*/ 16 w 150"/>
                <a:gd name="T111" fmla="*/ 12 h 96"/>
                <a:gd name="T112" fmla="*/ 8 w 150"/>
                <a:gd name="T113" fmla="*/ 73 h 96"/>
                <a:gd name="T114" fmla="*/ 0 w 150"/>
                <a:gd name="T115" fmla="*/ 82 h 96"/>
                <a:gd name="T116" fmla="*/ 133 w 150"/>
                <a:gd name="T117" fmla="*/ 96 h 96"/>
                <a:gd name="T118" fmla="*/ 150 w 150"/>
                <a:gd name="T119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0" h="96">
                  <a:moveTo>
                    <a:pt x="106" y="20"/>
                  </a:moveTo>
                  <a:cubicBezTo>
                    <a:pt x="105" y="20"/>
                    <a:pt x="103" y="18"/>
                    <a:pt x="103" y="17"/>
                  </a:cubicBezTo>
                  <a:cubicBezTo>
                    <a:pt x="103" y="15"/>
                    <a:pt x="105" y="13"/>
                    <a:pt x="106" y="13"/>
                  </a:cubicBezTo>
                  <a:cubicBezTo>
                    <a:pt x="108" y="13"/>
                    <a:pt x="110" y="15"/>
                    <a:pt x="110" y="17"/>
                  </a:cubicBezTo>
                  <a:cubicBezTo>
                    <a:pt x="110" y="18"/>
                    <a:pt x="108" y="20"/>
                    <a:pt x="106" y="20"/>
                  </a:cubicBezTo>
                  <a:moveTo>
                    <a:pt x="85" y="27"/>
                  </a:moveTo>
                  <a:cubicBezTo>
                    <a:pt x="83" y="27"/>
                    <a:pt x="82" y="25"/>
                    <a:pt x="82" y="23"/>
                  </a:cubicBezTo>
                  <a:cubicBezTo>
                    <a:pt x="82" y="22"/>
                    <a:pt x="83" y="20"/>
                    <a:pt x="85" y="20"/>
                  </a:cubicBezTo>
                  <a:cubicBezTo>
                    <a:pt x="87" y="20"/>
                    <a:pt x="88" y="22"/>
                    <a:pt x="88" y="23"/>
                  </a:cubicBezTo>
                  <a:cubicBezTo>
                    <a:pt x="88" y="25"/>
                    <a:pt x="87" y="27"/>
                    <a:pt x="85" y="27"/>
                  </a:cubicBezTo>
                  <a:moveTo>
                    <a:pt x="64" y="50"/>
                  </a:moveTo>
                  <a:cubicBezTo>
                    <a:pt x="62" y="50"/>
                    <a:pt x="60" y="49"/>
                    <a:pt x="60" y="47"/>
                  </a:cubicBezTo>
                  <a:cubicBezTo>
                    <a:pt x="60" y="45"/>
                    <a:pt x="62" y="44"/>
                    <a:pt x="64" y="44"/>
                  </a:cubicBezTo>
                  <a:cubicBezTo>
                    <a:pt x="65" y="44"/>
                    <a:pt x="67" y="45"/>
                    <a:pt x="67" y="47"/>
                  </a:cubicBezTo>
                  <a:cubicBezTo>
                    <a:pt x="67" y="49"/>
                    <a:pt x="65" y="50"/>
                    <a:pt x="64" y="50"/>
                  </a:cubicBezTo>
                  <a:moveTo>
                    <a:pt x="43" y="40"/>
                  </a:moveTo>
                  <a:cubicBezTo>
                    <a:pt x="41" y="40"/>
                    <a:pt x="40" y="38"/>
                    <a:pt x="40" y="37"/>
                  </a:cubicBezTo>
                  <a:cubicBezTo>
                    <a:pt x="40" y="35"/>
                    <a:pt x="41" y="33"/>
                    <a:pt x="43" y="33"/>
                  </a:cubicBezTo>
                  <a:cubicBezTo>
                    <a:pt x="45" y="33"/>
                    <a:pt x="46" y="35"/>
                    <a:pt x="46" y="37"/>
                  </a:cubicBezTo>
                  <a:cubicBezTo>
                    <a:pt x="46" y="38"/>
                    <a:pt x="45" y="40"/>
                    <a:pt x="43" y="40"/>
                  </a:cubicBezTo>
                  <a:moveTo>
                    <a:pt x="106" y="11"/>
                  </a:moveTo>
                  <a:cubicBezTo>
                    <a:pt x="103" y="11"/>
                    <a:pt x="100" y="13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9" y="19"/>
                    <a:pt x="87" y="17"/>
                    <a:pt x="85" y="17"/>
                  </a:cubicBezTo>
                  <a:cubicBezTo>
                    <a:pt x="82" y="17"/>
                    <a:pt x="79" y="20"/>
                    <a:pt x="79" y="23"/>
                  </a:cubicBezTo>
                  <a:cubicBezTo>
                    <a:pt x="79" y="25"/>
                    <a:pt x="79" y="26"/>
                    <a:pt x="80" y="27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5" y="41"/>
                    <a:pt x="64" y="41"/>
                  </a:cubicBezTo>
                  <a:cubicBezTo>
                    <a:pt x="62" y="41"/>
                    <a:pt x="60" y="42"/>
                    <a:pt x="59" y="43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7"/>
                    <a:pt x="49" y="37"/>
                  </a:cubicBezTo>
                  <a:cubicBezTo>
                    <a:pt x="49" y="33"/>
                    <a:pt x="46" y="31"/>
                    <a:pt x="43" y="31"/>
                  </a:cubicBezTo>
                  <a:cubicBezTo>
                    <a:pt x="40" y="31"/>
                    <a:pt x="37" y="33"/>
                    <a:pt x="37" y="37"/>
                  </a:cubicBezTo>
                  <a:cubicBezTo>
                    <a:pt x="37" y="40"/>
                    <a:pt x="40" y="42"/>
                    <a:pt x="43" y="42"/>
                  </a:cubicBezTo>
                  <a:cubicBezTo>
                    <a:pt x="45" y="42"/>
                    <a:pt x="47" y="42"/>
                    <a:pt x="48" y="40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46"/>
                    <a:pt x="58" y="47"/>
                    <a:pt x="58" y="47"/>
                  </a:cubicBezTo>
                  <a:cubicBezTo>
                    <a:pt x="58" y="50"/>
                    <a:pt x="60" y="53"/>
                    <a:pt x="64" y="53"/>
                  </a:cubicBezTo>
                  <a:cubicBezTo>
                    <a:pt x="67" y="53"/>
                    <a:pt x="70" y="50"/>
                    <a:pt x="70" y="47"/>
                  </a:cubicBezTo>
                  <a:cubicBezTo>
                    <a:pt x="70" y="46"/>
                    <a:pt x="69" y="45"/>
                    <a:pt x="68" y="44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4" y="29"/>
                    <a:pt x="85" y="29"/>
                  </a:cubicBezTo>
                  <a:cubicBezTo>
                    <a:pt x="88" y="29"/>
                    <a:pt x="91" y="27"/>
                    <a:pt x="91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2" y="21"/>
                    <a:pt x="104" y="22"/>
                    <a:pt x="106" y="22"/>
                  </a:cubicBezTo>
                  <a:cubicBezTo>
                    <a:pt x="110" y="22"/>
                    <a:pt x="112" y="20"/>
                    <a:pt x="112" y="17"/>
                  </a:cubicBezTo>
                  <a:cubicBezTo>
                    <a:pt x="112" y="13"/>
                    <a:pt x="110" y="11"/>
                    <a:pt x="106" y="11"/>
                  </a:cubicBezTo>
                  <a:moveTo>
                    <a:pt x="106" y="28"/>
                  </a:moveTo>
                  <a:cubicBezTo>
                    <a:pt x="105" y="28"/>
                    <a:pt x="104" y="29"/>
                    <a:pt x="104" y="30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4" y="67"/>
                    <a:pt x="105" y="68"/>
                    <a:pt x="106" y="68"/>
                  </a:cubicBezTo>
                  <a:cubicBezTo>
                    <a:pt x="108" y="68"/>
                    <a:pt x="109" y="67"/>
                    <a:pt x="109" y="65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29"/>
                    <a:pt x="108" y="28"/>
                    <a:pt x="106" y="28"/>
                  </a:cubicBezTo>
                  <a:moveTo>
                    <a:pt x="85" y="35"/>
                  </a:moveTo>
                  <a:cubicBezTo>
                    <a:pt x="83" y="35"/>
                    <a:pt x="82" y="36"/>
                    <a:pt x="82" y="37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7"/>
                    <a:pt x="83" y="68"/>
                    <a:pt x="85" y="68"/>
                  </a:cubicBezTo>
                  <a:cubicBezTo>
                    <a:pt x="86" y="68"/>
                    <a:pt x="88" y="67"/>
                    <a:pt x="88" y="65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6"/>
                    <a:pt x="86" y="35"/>
                    <a:pt x="85" y="35"/>
                  </a:cubicBezTo>
                  <a:moveTo>
                    <a:pt x="63" y="59"/>
                  </a:moveTo>
                  <a:cubicBezTo>
                    <a:pt x="62" y="59"/>
                    <a:pt x="61" y="60"/>
                    <a:pt x="61" y="61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7"/>
                    <a:pt x="62" y="68"/>
                    <a:pt x="63" y="68"/>
                  </a:cubicBezTo>
                  <a:cubicBezTo>
                    <a:pt x="65" y="68"/>
                    <a:pt x="66" y="67"/>
                    <a:pt x="66" y="6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0"/>
                    <a:pt x="65" y="59"/>
                    <a:pt x="63" y="59"/>
                  </a:cubicBezTo>
                  <a:moveTo>
                    <a:pt x="42" y="48"/>
                  </a:moveTo>
                  <a:cubicBezTo>
                    <a:pt x="41" y="48"/>
                    <a:pt x="39" y="50"/>
                    <a:pt x="39" y="51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7"/>
                    <a:pt x="41" y="68"/>
                    <a:pt x="42" y="68"/>
                  </a:cubicBezTo>
                  <a:cubicBezTo>
                    <a:pt x="44" y="68"/>
                    <a:pt x="45" y="67"/>
                    <a:pt x="45" y="6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50"/>
                    <a:pt x="44" y="48"/>
                    <a:pt x="42" y="48"/>
                  </a:cubicBezTo>
                  <a:moveTo>
                    <a:pt x="144" y="82"/>
                  </a:moveTo>
                  <a:cubicBezTo>
                    <a:pt x="144" y="90"/>
                    <a:pt x="136" y="90"/>
                    <a:pt x="133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4" y="90"/>
                    <a:pt x="6" y="90"/>
                    <a:pt x="6" y="82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79"/>
                    <a:pt x="6" y="78"/>
                    <a:pt x="8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4"/>
                    <a:pt x="60" y="86"/>
                    <a:pt x="62" y="86"/>
                  </a:cubicBezTo>
                  <a:cubicBezTo>
                    <a:pt x="88" y="86"/>
                    <a:pt x="88" y="86"/>
                    <a:pt x="88" y="86"/>
                  </a:cubicBezTo>
                  <a:cubicBezTo>
                    <a:pt x="90" y="86"/>
                    <a:pt x="92" y="83"/>
                    <a:pt x="92" y="81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3" y="78"/>
                    <a:pt x="144" y="79"/>
                    <a:pt x="144" y="80"/>
                  </a:cubicBezTo>
                  <a:lnTo>
                    <a:pt x="144" y="82"/>
                  </a:lnTo>
                  <a:close/>
                  <a:moveTo>
                    <a:pt x="89" y="78"/>
                  </a:moveTo>
                  <a:cubicBezTo>
                    <a:pt x="89" y="81"/>
                    <a:pt x="89" y="81"/>
                    <a:pt x="89" y="81"/>
                  </a:cubicBezTo>
                  <a:cubicBezTo>
                    <a:pt x="89" y="82"/>
                    <a:pt x="89" y="83"/>
                    <a:pt x="88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1" y="83"/>
                    <a:pt x="60" y="82"/>
                    <a:pt x="60" y="81"/>
                  </a:cubicBezTo>
                  <a:cubicBezTo>
                    <a:pt x="60" y="78"/>
                    <a:pt x="60" y="78"/>
                    <a:pt x="60" y="78"/>
                  </a:cubicBezTo>
                  <a:lnTo>
                    <a:pt x="89" y="78"/>
                  </a:lnTo>
                  <a:close/>
                  <a:moveTo>
                    <a:pt x="21" y="12"/>
                  </a:moveTo>
                  <a:cubicBezTo>
                    <a:pt x="21" y="8"/>
                    <a:pt x="24" y="6"/>
                    <a:pt x="27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6" y="6"/>
                    <a:pt x="129" y="8"/>
                    <a:pt x="129" y="12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21" y="73"/>
                    <a:pt x="21" y="73"/>
                    <a:pt x="21" y="73"/>
                  </a:cubicBezTo>
                  <a:lnTo>
                    <a:pt x="21" y="12"/>
                  </a:lnTo>
                  <a:close/>
                  <a:moveTo>
                    <a:pt x="142" y="73"/>
                  </a:moveTo>
                  <a:cubicBezTo>
                    <a:pt x="134" y="73"/>
                    <a:pt x="134" y="73"/>
                    <a:pt x="134" y="7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6"/>
                    <a:pt x="129" y="0"/>
                    <a:pt x="12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1" y="0"/>
                    <a:pt x="16" y="6"/>
                    <a:pt x="16" y="12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4" y="73"/>
                    <a:pt x="0" y="76"/>
                    <a:pt x="0" y="8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0"/>
                    <a:pt x="7" y="96"/>
                    <a:pt x="17" y="96"/>
                  </a:cubicBezTo>
                  <a:cubicBezTo>
                    <a:pt x="133" y="96"/>
                    <a:pt x="133" y="96"/>
                    <a:pt x="133" y="96"/>
                  </a:cubicBezTo>
                  <a:cubicBezTo>
                    <a:pt x="143" y="96"/>
                    <a:pt x="150" y="90"/>
                    <a:pt x="150" y="82"/>
                  </a:cubicBezTo>
                  <a:cubicBezTo>
                    <a:pt x="150" y="80"/>
                    <a:pt x="150" y="80"/>
                    <a:pt x="150" y="80"/>
                  </a:cubicBezTo>
                  <a:cubicBezTo>
                    <a:pt x="150" y="76"/>
                    <a:pt x="146" y="73"/>
                    <a:pt x="142" y="7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4" name="Group 142">
            <a:extLst>
              <a:ext uri="{FF2B5EF4-FFF2-40B4-BE49-F238E27FC236}">
                <a16:creationId xmlns:a16="http://schemas.microsoft.com/office/drawing/2014/main" id="{6FCF4042-9A62-48C6-A91B-AA60346F71B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1685" y="2812469"/>
            <a:ext cx="841375" cy="841375"/>
            <a:chOff x="3038" y="1787"/>
            <a:chExt cx="530" cy="530"/>
          </a:xfrm>
        </p:grpSpPr>
        <p:sp>
          <p:nvSpPr>
            <p:cNvPr id="165" name="AutoShape 141">
              <a:extLst>
                <a:ext uri="{FF2B5EF4-FFF2-40B4-BE49-F238E27FC236}">
                  <a16:creationId xmlns:a16="http://schemas.microsoft.com/office/drawing/2014/main" id="{96EC1BC7-D9F8-48F6-A51B-792601E41F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38" y="178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143">
              <a:extLst>
                <a:ext uri="{FF2B5EF4-FFF2-40B4-BE49-F238E27FC236}">
                  <a16:creationId xmlns:a16="http://schemas.microsoft.com/office/drawing/2014/main" id="{076FD126-6318-4AD7-95D1-652149F13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8" y="178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44">
              <a:extLst>
                <a:ext uri="{FF2B5EF4-FFF2-40B4-BE49-F238E27FC236}">
                  <a16:creationId xmlns:a16="http://schemas.microsoft.com/office/drawing/2014/main" id="{144886FD-103D-4846-97A3-614B0FA9A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6" y="180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5">
              <a:extLst>
                <a:ext uri="{FF2B5EF4-FFF2-40B4-BE49-F238E27FC236}">
                  <a16:creationId xmlns:a16="http://schemas.microsoft.com/office/drawing/2014/main" id="{C975458A-BDB4-4282-9DD8-6198239F91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2" y="1930"/>
              <a:ext cx="384" cy="246"/>
            </a:xfrm>
            <a:custGeom>
              <a:avLst/>
              <a:gdLst>
                <a:gd name="T0" fmla="*/ 103 w 150"/>
                <a:gd name="T1" fmla="*/ 17 h 96"/>
                <a:gd name="T2" fmla="*/ 110 w 150"/>
                <a:gd name="T3" fmla="*/ 17 h 96"/>
                <a:gd name="T4" fmla="*/ 85 w 150"/>
                <a:gd name="T5" fmla="*/ 27 h 96"/>
                <a:gd name="T6" fmla="*/ 85 w 150"/>
                <a:gd name="T7" fmla="*/ 20 h 96"/>
                <a:gd name="T8" fmla="*/ 85 w 150"/>
                <a:gd name="T9" fmla="*/ 27 h 96"/>
                <a:gd name="T10" fmla="*/ 60 w 150"/>
                <a:gd name="T11" fmla="*/ 47 h 96"/>
                <a:gd name="T12" fmla="*/ 67 w 150"/>
                <a:gd name="T13" fmla="*/ 47 h 96"/>
                <a:gd name="T14" fmla="*/ 43 w 150"/>
                <a:gd name="T15" fmla="*/ 40 h 96"/>
                <a:gd name="T16" fmla="*/ 43 w 150"/>
                <a:gd name="T17" fmla="*/ 33 h 96"/>
                <a:gd name="T18" fmla="*/ 43 w 150"/>
                <a:gd name="T19" fmla="*/ 40 h 96"/>
                <a:gd name="T20" fmla="*/ 100 w 150"/>
                <a:gd name="T21" fmla="*/ 17 h 96"/>
                <a:gd name="T22" fmla="*/ 90 w 150"/>
                <a:gd name="T23" fmla="*/ 20 h 96"/>
                <a:gd name="T24" fmla="*/ 79 w 150"/>
                <a:gd name="T25" fmla="*/ 23 h 96"/>
                <a:gd name="T26" fmla="*/ 66 w 150"/>
                <a:gd name="T27" fmla="*/ 42 h 96"/>
                <a:gd name="T28" fmla="*/ 59 w 150"/>
                <a:gd name="T29" fmla="*/ 43 h 96"/>
                <a:gd name="T30" fmla="*/ 49 w 150"/>
                <a:gd name="T31" fmla="*/ 37 h 96"/>
                <a:gd name="T32" fmla="*/ 37 w 150"/>
                <a:gd name="T33" fmla="*/ 37 h 96"/>
                <a:gd name="T34" fmla="*/ 48 w 150"/>
                <a:gd name="T35" fmla="*/ 40 h 96"/>
                <a:gd name="T36" fmla="*/ 58 w 150"/>
                <a:gd name="T37" fmla="*/ 47 h 96"/>
                <a:gd name="T38" fmla="*/ 70 w 150"/>
                <a:gd name="T39" fmla="*/ 47 h 96"/>
                <a:gd name="T40" fmla="*/ 82 w 150"/>
                <a:gd name="T41" fmla="*/ 29 h 96"/>
                <a:gd name="T42" fmla="*/ 91 w 150"/>
                <a:gd name="T43" fmla="*/ 23 h 96"/>
                <a:gd name="T44" fmla="*/ 101 w 150"/>
                <a:gd name="T45" fmla="*/ 20 h 96"/>
                <a:gd name="T46" fmla="*/ 112 w 150"/>
                <a:gd name="T47" fmla="*/ 17 h 96"/>
                <a:gd name="T48" fmla="*/ 106 w 150"/>
                <a:gd name="T49" fmla="*/ 28 h 96"/>
                <a:gd name="T50" fmla="*/ 104 w 150"/>
                <a:gd name="T51" fmla="*/ 65 h 96"/>
                <a:gd name="T52" fmla="*/ 109 w 150"/>
                <a:gd name="T53" fmla="*/ 65 h 96"/>
                <a:gd name="T54" fmla="*/ 106 w 150"/>
                <a:gd name="T55" fmla="*/ 28 h 96"/>
                <a:gd name="T56" fmla="*/ 82 w 150"/>
                <a:gd name="T57" fmla="*/ 37 h 96"/>
                <a:gd name="T58" fmla="*/ 85 w 150"/>
                <a:gd name="T59" fmla="*/ 68 h 96"/>
                <a:gd name="T60" fmla="*/ 88 w 150"/>
                <a:gd name="T61" fmla="*/ 37 h 96"/>
                <a:gd name="T62" fmla="*/ 63 w 150"/>
                <a:gd name="T63" fmla="*/ 59 h 96"/>
                <a:gd name="T64" fmla="*/ 61 w 150"/>
                <a:gd name="T65" fmla="*/ 65 h 96"/>
                <a:gd name="T66" fmla="*/ 66 w 150"/>
                <a:gd name="T67" fmla="*/ 65 h 96"/>
                <a:gd name="T68" fmla="*/ 63 w 150"/>
                <a:gd name="T69" fmla="*/ 59 h 96"/>
                <a:gd name="T70" fmla="*/ 39 w 150"/>
                <a:gd name="T71" fmla="*/ 51 h 96"/>
                <a:gd name="T72" fmla="*/ 42 w 150"/>
                <a:gd name="T73" fmla="*/ 68 h 96"/>
                <a:gd name="T74" fmla="*/ 45 w 150"/>
                <a:gd name="T75" fmla="*/ 51 h 96"/>
                <a:gd name="T76" fmla="*/ 144 w 150"/>
                <a:gd name="T77" fmla="*/ 82 h 96"/>
                <a:gd name="T78" fmla="*/ 17 w 150"/>
                <a:gd name="T79" fmla="*/ 90 h 96"/>
                <a:gd name="T80" fmla="*/ 6 w 150"/>
                <a:gd name="T81" fmla="*/ 80 h 96"/>
                <a:gd name="T82" fmla="*/ 57 w 150"/>
                <a:gd name="T83" fmla="*/ 78 h 96"/>
                <a:gd name="T84" fmla="*/ 62 w 150"/>
                <a:gd name="T85" fmla="*/ 86 h 96"/>
                <a:gd name="T86" fmla="*/ 92 w 150"/>
                <a:gd name="T87" fmla="*/ 81 h 96"/>
                <a:gd name="T88" fmla="*/ 142 w 150"/>
                <a:gd name="T89" fmla="*/ 78 h 96"/>
                <a:gd name="T90" fmla="*/ 144 w 150"/>
                <a:gd name="T91" fmla="*/ 82 h 96"/>
                <a:gd name="T92" fmla="*/ 89 w 150"/>
                <a:gd name="T93" fmla="*/ 81 h 96"/>
                <a:gd name="T94" fmla="*/ 62 w 150"/>
                <a:gd name="T95" fmla="*/ 83 h 96"/>
                <a:gd name="T96" fmla="*/ 60 w 150"/>
                <a:gd name="T97" fmla="*/ 78 h 96"/>
                <a:gd name="T98" fmla="*/ 21 w 150"/>
                <a:gd name="T99" fmla="*/ 12 h 96"/>
                <a:gd name="T100" fmla="*/ 122 w 150"/>
                <a:gd name="T101" fmla="*/ 6 h 96"/>
                <a:gd name="T102" fmla="*/ 129 w 150"/>
                <a:gd name="T103" fmla="*/ 73 h 96"/>
                <a:gd name="T104" fmla="*/ 21 w 150"/>
                <a:gd name="T105" fmla="*/ 12 h 96"/>
                <a:gd name="T106" fmla="*/ 134 w 150"/>
                <a:gd name="T107" fmla="*/ 73 h 96"/>
                <a:gd name="T108" fmla="*/ 122 w 150"/>
                <a:gd name="T109" fmla="*/ 0 h 96"/>
                <a:gd name="T110" fmla="*/ 16 w 150"/>
                <a:gd name="T111" fmla="*/ 12 h 96"/>
                <a:gd name="T112" fmla="*/ 8 w 150"/>
                <a:gd name="T113" fmla="*/ 73 h 96"/>
                <a:gd name="T114" fmla="*/ 0 w 150"/>
                <a:gd name="T115" fmla="*/ 82 h 96"/>
                <a:gd name="T116" fmla="*/ 133 w 150"/>
                <a:gd name="T117" fmla="*/ 96 h 96"/>
                <a:gd name="T118" fmla="*/ 150 w 150"/>
                <a:gd name="T119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0" h="96">
                  <a:moveTo>
                    <a:pt x="106" y="20"/>
                  </a:moveTo>
                  <a:cubicBezTo>
                    <a:pt x="105" y="20"/>
                    <a:pt x="103" y="18"/>
                    <a:pt x="103" y="17"/>
                  </a:cubicBezTo>
                  <a:cubicBezTo>
                    <a:pt x="103" y="15"/>
                    <a:pt x="105" y="13"/>
                    <a:pt x="106" y="13"/>
                  </a:cubicBezTo>
                  <a:cubicBezTo>
                    <a:pt x="108" y="13"/>
                    <a:pt x="110" y="15"/>
                    <a:pt x="110" y="17"/>
                  </a:cubicBezTo>
                  <a:cubicBezTo>
                    <a:pt x="110" y="18"/>
                    <a:pt x="108" y="20"/>
                    <a:pt x="106" y="20"/>
                  </a:cubicBezTo>
                  <a:moveTo>
                    <a:pt x="85" y="27"/>
                  </a:moveTo>
                  <a:cubicBezTo>
                    <a:pt x="83" y="27"/>
                    <a:pt x="82" y="25"/>
                    <a:pt x="82" y="23"/>
                  </a:cubicBezTo>
                  <a:cubicBezTo>
                    <a:pt x="82" y="22"/>
                    <a:pt x="83" y="20"/>
                    <a:pt x="85" y="20"/>
                  </a:cubicBezTo>
                  <a:cubicBezTo>
                    <a:pt x="87" y="20"/>
                    <a:pt x="88" y="22"/>
                    <a:pt x="88" y="23"/>
                  </a:cubicBezTo>
                  <a:cubicBezTo>
                    <a:pt x="88" y="25"/>
                    <a:pt x="87" y="27"/>
                    <a:pt x="85" y="27"/>
                  </a:cubicBezTo>
                  <a:moveTo>
                    <a:pt x="64" y="50"/>
                  </a:moveTo>
                  <a:cubicBezTo>
                    <a:pt x="62" y="50"/>
                    <a:pt x="60" y="49"/>
                    <a:pt x="60" y="47"/>
                  </a:cubicBezTo>
                  <a:cubicBezTo>
                    <a:pt x="60" y="45"/>
                    <a:pt x="62" y="44"/>
                    <a:pt x="64" y="44"/>
                  </a:cubicBezTo>
                  <a:cubicBezTo>
                    <a:pt x="65" y="44"/>
                    <a:pt x="67" y="45"/>
                    <a:pt x="67" y="47"/>
                  </a:cubicBezTo>
                  <a:cubicBezTo>
                    <a:pt x="67" y="49"/>
                    <a:pt x="65" y="50"/>
                    <a:pt x="64" y="50"/>
                  </a:cubicBezTo>
                  <a:moveTo>
                    <a:pt x="43" y="40"/>
                  </a:moveTo>
                  <a:cubicBezTo>
                    <a:pt x="41" y="40"/>
                    <a:pt x="40" y="38"/>
                    <a:pt x="40" y="37"/>
                  </a:cubicBezTo>
                  <a:cubicBezTo>
                    <a:pt x="40" y="35"/>
                    <a:pt x="41" y="33"/>
                    <a:pt x="43" y="33"/>
                  </a:cubicBezTo>
                  <a:cubicBezTo>
                    <a:pt x="45" y="33"/>
                    <a:pt x="46" y="35"/>
                    <a:pt x="46" y="37"/>
                  </a:cubicBezTo>
                  <a:cubicBezTo>
                    <a:pt x="46" y="38"/>
                    <a:pt x="45" y="40"/>
                    <a:pt x="43" y="40"/>
                  </a:cubicBezTo>
                  <a:moveTo>
                    <a:pt x="106" y="11"/>
                  </a:moveTo>
                  <a:cubicBezTo>
                    <a:pt x="103" y="11"/>
                    <a:pt x="100" y="13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89" y="19"/>
                    <a:pt x="87" y="17"/>
                    <a:pt x="85" y="17"/>
                  </a:cubicBezTo>
                  <a:cubicBezTo>
                    <a:pt x="82" y="17"/>
                    <a:pt x="79" y="20"/>
                    <a:pt x="79" y="23"/>
                  </a:cubicBezTo>
                  <a:cubicBezTo>
                    <a:pt x="79" y="25"/>
                    <a:pt x="79" y="26"/>
                    <a:pt x="80" y="27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5" y="41"/>
                    <a:pt x="64" y="41"/>
                  </a:cubicBezTo>
                  <a:cubicBezTo>
                    <a:pt x="62" y="41"/>
                    <a:pt x="60" y="42"/>
                    <a:pt x="59" y="43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7"/>
                    <a:pt x="49" y="37"/>
                  </a:cubicBezTo>
                  <a:cubicBezTo>
                    <a:pt x="49" y="33"/>
                    <a:pt x="46" y="31"/>
                    <a:pt x="43" y="31"/>
                  </a:cubicBezTo>
                  <a:cubicBezTo>
                    <a:pt x="40" y="31"/>
                    <a:pt x="37" y="33"/>
                    <a:pt x="37" y="37"/>
                  </a:cubicBezTo>
                  <a:cubicBezTo>
                    <a:pt x="37" y="40"/>
                    <a:pt x="40" y="42"/>
                    <a:pt x="43" y="42"/>
                  </a:cubicBezTo>
                  <a:cubicBezTo>
                    <a:pt x="45" y="42"/>
                    <a:pt x="47" y="42"/>
                    <a:pt x="48" y="40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46"/>
                    <a:pt x="58" y="47"/>
                    <a:pt x="58" y="47"/>
                  </a:cubicBezTo>
                  <a:cubicBezTo>
                    <a:pt x="58" y="50"/>
                    <a:pt x="60" y="53"/>
                    <a:pt x="64" y="53"/>
                  </a:cubicBezTo>
                  <a:cubicBezTo>
                    <a:pt x="67" y="53"/>
                    <a:pt x="70" y="50"/>
                    <a:pt x="70" y="47"/>
                  </a:cubicBezTo>
                  <a:cubicBezTo>
                    <a:pt x="70" y="46"/>
                    <a:pt x="69" y="45"/>
                    <a:pt x="68" y="44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4" y="29"/>
                    <a:pt x="85" y="29"/>
                  </a:cubicBezTo>
                  <a:cubicBezTo>
                    <a:pt x="88" y="29"/>
                    <a:pt x="91" y="27"/>
                    <a:pt x="91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2" y="21"/>
                    <a:pt x="104" y="22"/>
                    <a:pt x="106" y="22"/>
                  </a:cubicBezTo>
                  <a:cubicBezTo>
                    <a:pt x="110" y="22"/>
                    <a:pt x="112" y="20"/>
                    <a:pt x="112" y="17"/>
                  </a:cubicBezTo>
                  <a:cubicBezTo>
                    <a:pt x="112" y="13"/>
                    <a:pt x="110" y="11"/>
                    <a:pt x="106" y="11"/>
                  </a:cubicBezTo>
                  <a:moveTo>
                    <a:pt x="106" y="28"/>
                  </a:moveTo>
                  <a:cubicBezTo>
                    <a:pt x="105" y="28"/>
                    <a:pt x="104" y="29"/>
                    <a:pt x="104" y="30"/>
                  </a:cubicBezTo>
                  <a:cubicBezTo>
                    <a:pt x="104" y="65"/>
                    <a:pt x="104" y="65"/>
                    <a:pt x="104" y="65"/>
                  </a:cubicBezTo>
                  <a:cubicBezTo>
                    <a:pt x="104" y="67"/>
                    <a:pt x="105" y="68"/>
                    <a:pt x="106" y="68"/>
                  </a:cubicBezTo>
                  <a:cubicBezTo>
                    <a:pt x="108" y="68"/>
                    <a:pt x="109" y="67"/>
                    <a:pt x="109" y="65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29"/>
                    <a:pt x="108" y="28"/>
                    <a:pt x="106" y="28"/>
                  </a:cubicBezTo>
                  <a:moveTo>
                    <a:pt x="85" y="35"/>
                  </a:moveTo>
                  <a:cubicBezTo>
                    <a:pt x="83" y="35"/>
                    <a:pt x="82" y="36"/>
                    <a:pt x="82" y="37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7"/>
                    <a:pt x="83" y="68"/>
                    <a:pt x="85" y="68"/>
                  </a:cubicBezTo>
                  <a:cubicBezTo>
                    <a:pt x="86" y="68"/>
                    <a:pt x="88" y="67"/>
                    <a:pt x="88" y="65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6"/>
                    <a:pt x="86" y="35"/>
                    <a:pt x="85" y="35"/>
                  </a:cubicBezTo>
                  <a:moveTo>
                    <a:pt x="63" y="59"/>
                  </a:moveTo>
                  <a:cubicBezTo>
                    <a:pt x="62" y="59"/>
                    <a:pt x="61" y="60"/>
                    <a:pt x="61" y="61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7"/>
                    <a:pt x="62" y="68"/>
                    <a:pt x="63" y="68"/>
                  </a:cubicBezTo>
                  <a:cubicBezTo>
                    <a:pt x="65" y="68"/>
                    <a:pt x="66" y="67"/>
                    <a:pt x="66" y="65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0"/>
                    <a:pt x="65" y="59"/>
                    <a:pt x="63" y="59"/>
                  </a:cubicBezTo>
                  <a:moveTo>
                    <a:pt x="42" y="48"/>
                  </a:moveTo>
                  <a:cubicBezTo>
                    <a:pt x="41" y="48"/>
                    <a:pt x="39" y="50"/>
                    <a:pt x="39" y="51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7"/>
                    <a:pt x="41" y="68"/>
                    <a:pt x="42" y="68"/>
                  </a:cubicBezTo>
                  <a:cubicBezTo>
                    <a:pt x="44" y="68"/>
                    <a:pt x="45" y="67"/>
                    <a:pt x="45" y="6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50"/>
                    <a:pt x="44" y="48"/>
                    <a:pt x="42" y="48"/>
                  </a:cubicBezTo>
                  <a:moveTo>
                    <a:pt x="144" y="82"/>
                  </a:moveTo>
                  <a:cubicBezTo>
                    <a:pt x="144" y="90"/>
                    <a:pt x="136" y="90"/>
                    <a:pt x="133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4" y="90"/>
                    <a:pt x="6" y="90"/>
                    <a:pt x="6" y="82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79"/>
                    <a:pt x="6" y="78"/>
                    <a:pt x="8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4"/>
                    <a:pt x="60" y="86"/>
                    <a:pt x="62" y="86"/>
                  </a:cubicBezTo>
                  <a:cubicBezTo>
                    <a:pt x="88" y="86"/>
                    <a:pt x="88" y="86"/>
                    <a:pt x="88" y="86"/>
                  </a:cubicBezTo>
                  <a:cubicBezTo>
                    <a:pt x="90" y="86"/>
                    <a:pt x="92" y="83"/>
                    <a:pt x="92" y="81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3" y="78"/>
                    <a:pt x="144" y="79"/>
                    <a:pt x="144" y="80"/>
                  </a:cubicBezTo>
                  <a:lnTo>
                    <a:pt x="144" y="82"/>
                  </a:lnTo>
                  <a:close/>
                  <a:moveTo>
                    <a:pt x="89" y="78"/>
                  </a:moveTo>
                  <a:cubicBezTo>
                    <a:pt x="89" y="81"/>
                    <a:pt x="89" y="81"/>
                    <a:pt x="89" y="81"/>
                  </a:cubicBezTo>
                  <a:cubicBezTo>
                    <a:pt x="89" y="82"/>
                    <a:pt x="89" y="83"/>
                    <a:pt x="88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1" y="83"/>
                    <a:pt x="60" y="82"/>
                    <a:pt x="60" y="81"/>
                  </a:cubicBezTo>
                  <a:cubicBezTo>
                    <a:pt x="60" y="78"/>
                    <a:pt x="60" y="78"/>
                    <a:pt x="60" y="78"/>
                  </a:cubicBezTo>
                  <a:lnTo>
                    <a:pt x="89" y="78"/>
                  </a:lnTo>
                  <a:close/>
                  <a:moveTo>
                    <a:pt x="21" y="12"/>
                  </a:moveTo>
                  <a:cubicBezTo>
                    <a:pt x="21" y="8"/>
                    <a:pt x="24" y="6"/>
                    <a:pt x="27" y="6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6" y="6"/>
                    <a:pt x="129" y="8"/>
                    <a:pt x="129" y="12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21" y="73"/>
                    <a:pt x="21" y="73"/>
                    <a:pt x="21" y="73"/>
                  </a:cubicBezTo>
                  <a:lnTo>
                    <a:pt x="21" y="12"/>
                  </a:lnTo>
                  <a:close/>
                  <a:moveTo>
                    <a:pt x="142" y="73"/>
                  </a:moveTo>
                  <a:cubicBezTo>
                    <a:pt x="134" y="73"/>
                    <a:pt x="134" y="73"/>
                    <a:pt x="134" y="73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6"/>
                    <a:pt x="129" y="0"/>
                    <a:pt x="12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1" y="0"/>
                    <a:pt x="16" y="6"/>
                    <a:pt x="16" y="12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4" y="73"/>
                    <a:pt x="0" y="76"/>
                    <a:pt x="0" y="8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0"/>
                    <a:pt x="7" y="96"/>
                    <a:pt x="17" y="96"/>
                  </a:cubicBezTo>
                  <a:cubicBezTo>
                    <a:pt x="133" y="96"/>
                    <a:pt x="133" y="96"/>
                    <a:pt x="133" y="96"/>
                  </a:cubicBezTo>
                  <a:cubicBezTo>
                    <a:pt x="143" y="96"/>
                    <a:pt x="150" y="90"/>
                    <a:pt x="150" y="82"/>
                  </a:cubicBezTo>
                  <a:cubicBezTo>
                    <a:pt x="150" y="80"/>
                    <a:pt x="150" y="80"/>
                    <a:pt x="150" y="80"/>
                  </a:cubicBezTo>
                  <a:cubicBezTo>
                    <a:pt x="150" y="76"/>
                    <a:pt x="146" y="73"/>
                    <a:pt x="142" y="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3" name="Group 148">
            <a:extLst>
              <a:ext uri="{FF2B5EF4-FFF2-40B4-BE49-F238E27FC236}">
                <a16:creationId xmlns:a16="http://schemas.microsoft.com/office/drawing/2014/main" id="{A042A20C-4748-4B1B-9CA2-1E86EA3025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9571" y="2860356"/>
            <a:ext cx="758825" cy="758825"/>
            <a:chOff x="4910" y="1782"/>
            <a:chExt cx="478" cy="478"/>
          </a:xfrm>
        </p:grpSpPr>
        <p:sp>
          <p:nvSpPr>
            <p:cNvPr id="174" name="AutoShape 147">
              <a:extLst>
                <a:ext uri="{FF2B5EF4-FFF2-40B4-BE49-F238E27FC236}">
                  <a16:creationId xmlns:a16="http://schemas.microsoft.com/office/drawing/2014/main" id="{911D272C-7506-498D-A088-3AA938801A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10" y="178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49">
              <a:extLst>
                <a:ext uri="{FF2B5EF4-FFF2-40B4-BE49-F238E27FC236}">
                  <a16:creationId xmlns:a16="http://schemas.microsoft.com/office/drawing/2014/main" id="{DCDFCD79-06DA-4E6D-81F0-2EC34B11B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2" y="178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50">
              <a:extLst>
                <a:ext uri="{FF2B5EF4-FFF2-40B4-BE49-F238E27FC236}">
                  <a16:creationId xmlns:a16="http://schemas.microsoft.com/office/drawing/2014/main" id="{C251D652-D15E-4D58-97BC-DDF80BC775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0" y="1902"/>
              <a:ext cx="260" cy="240"/>
            </a:xfrm>
            <a:custGeom>
              <a:avLst/>
              <a:gdLst>
                <a:gd name="T0" fmla="*/ 5 w 106"/>
                <a:gd name="T1" fmla="*/ 2 h 98"/>
                <a:gd name="T2" fmla="*/ 0 w 106"/>
                <a:gd name="T3" fmla="*/ 2 h 98"/>
                <a:gd name="T4" fmla="*/ 2 w 106"/>
                <a:gd name="T5" fmla="*/ 17 h 98"/>
                <a:gd name="T6" fmla="*/ 2 w 106"/>
                <a:gd name="T7" fmla="*/ 12 h 98"/>
                <a:gd name="T8" fmla="*/ 2 w 106"/>
                <a:gd name="T9" fmla="*/ 17 h 98"/>
                <a:gd name="T10" fmla="*/ 5 w 106"/>
                <a:gd name="T11" fmla="*/ 28 h 98"/>
                <a:gd name="T12" fmla="*/ 0 w 106"/>
                <a:gd name="T13" fmla="*/ 28 h 98"/>
                <a:gd name="T14" fmla="*/ 2 w 106"/>
                <a:gd name="T15" fmla="*/ 43 h 98"/>
                <a:gd name="T16" fmla="*/ 2 w 106"/>
                <a:gd name="T17" fmla="*/ 38 h 98"/>
                <a:gd name="T18" fmla="*/ 2 w 106"/>
                <a:gd name="T19" fmla="*/ 43 h 98"/>
                <a:gd name="T20" fmla="*/ 5 w 106"/>
                <a:gd name="T21" fmla="*/ 53 h 98"/>
                <a:gd name="T22" fmla="*/ 0 w 106"/>
                <a:gd name="T23" fmla="*/ 53 h 98"/>
                <a:gd name="T24" fmla="*/ 2 w 106"/>
                <a:gd name="T25" fmla="*/ 68 h 98"/>
                <a:gd name="T26" fmla="*/ 2 w 106"/>
                <a:gd name="T27" fmla="*/ 64 h 98"/>
                <a:gd name="T28" fmla="*/ 2 w 106"/>
                <a:gd name="T29" fmla="*/ 68 h 98"/>
                <a:gd name="T30" fmla="*/ 5 w 106"/>
                <a:gd name="T31" fmla="*/ 79 h 98"/>
                <a:gd name="T32" fmla="*/ 0 w 106"/>
                <a:gd name="T33" fmla="*/ 79 h 98"/>
                <a:gd name="T34" fmla="*/ 26 w 106"/>
                <a:gd name="T35" fmla="*/ 43 h 98"/>
                <a:gd name="T36" fmla="*/ 18 w 106"/>
                <a:gd name="T37" fmla="*/ 77 h 98"/>
                <a:gd name="T38" fmla="*/ 15 w 106"/>
                <a:gd name="T39" fmla="*/ 81 h 98"/>
                <a:gd name="T40" fmla="*/ 38 w 106"/>
                <a:gd name="T41" fmla="*/ 79 h 98"/>
                <a:gd name="T42" fmla="*/ 28 w 106"/>
                <a:gd name="T43" fmla="*/ 33 h 98"/>
                <a:gd name="T44" fmla="*/ 24 w 106"/>
                <a:gd name="T45" fmla="*/ 33 h 98"/>
                <a:gd name="T46" fmla="*/ 13 w 106"/>
                <a:gd name="T47" fmla="*/ 80 h 98"/>
                <a:gd name="T48" fmla="*/ 57 w 106"/>
                <a:gd name="T49" fmla="*/ 59 h 98"/>
                <a:gd name="T50" fmla="*/ 50 w 106"/>
                <a:gd name="T51" fmla="*/ 77 h 98"/>
                <a:gd name="T52" fmla="*/ 47 w 106"/>
                <a:gd name="T53" fmla="*/ 81 h 98"/>
                <a:gd name="T54" fmla="*/ 70 w 106"/>
                <a:gd name="T55" fmla="*/ 79 h 98"/>
                <a:gd name="T56" fmla="*/ 59 w 106"/>
                <a:gd name="T57" fmla="*/ 52 h 98"/>
                <a:gd name="T58" fmla="*/ 55 w 106"/>
                <a:gd name="T59" fmla="*/ 52 h 98"/>
                <a:gd name="T60" fmla="*/ 45 w 106"/>
                <a:gd name="T61" fmla="*/ 80 h 98"/>
                <a:gd name="T62" fmla="*/ 89 w 106"/>
                <a:gd name="T63" fmla="*/ 19 h 98"/>
                <a:gd name="T64" fmla="*/ 81 w 106"/>
                <a:gd name="T65" fmla="*/ 77 h 98"/>
                <a:gd name="T66" fmla="*/ 78 w 106"/>
                <a:gd name="T67" fmla="*/ 81 h 98"/>
                <a:gd name="T68" fmla="*/ 102 w 106"/>
                <a:gd name="T69" fmla="*/ 79 h 98"/>
                <a:gd name="T70" fmla="*/ 91 w 106"/>
                <a:gd name="T71" fmla="*/ 4 h 98"/>
                <a:gd name="T72" fmla="*/ 87 w 106"/>
                <a:gd name="T73" fmla="*/ 4 h 98"/>
                <a:gd name="T74" fmla="*/ 77 w 106"/>
                <a:gd name="T75" fmla="*/ 81 h 98"/>
                <a:gd name="T76" fmla="*/ 104 w 106"/>
                <a:gd name="T77" fmla="*/ 94 h 98"/>
                <a:gd name="T78" fmla="*/ 0 w 106"/>
                <a:gd name="T79" fmla="*/ 96 h 98"/>
                <a:gd name="T80" fmla="*/ 104 w 106"/>
                <a:gd name="T81" fmla="*/ 98 h 98"/>
                <a:gd name="T82" fmla="*/ 104 w 106"/>
                <a:gd name="T83" fmla="*/ 9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" h="98">
                  <a:moveTo>
                    <a:pt x="2" y="4"/>
                  </a:moveTo>
                  <a:cubicBezTo>
                    <a:pt x="4" y="4"/>
                    <a:pt x="5" y="3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moveTo>
                    <a:pt x="2" y="17"/>
                  </a:moveTo>
                  <a:cubicBezTo>
                    <a:pt x="4" y="17"/>
                    <a:pt x="5" y="16"/>
                    <a:pt x="5" y="15"/>
                  </a:cubicBezTo>
                  <a:cubicBezTo>
                    <a:pt x="5" y="13"/>
                    <a:pt x="4" y="12"/>
                    <a:pt x="2" y="12"/>
                  </a:cubicBezTo>
                  <a:cubicBezTo>
                    <a:pt x="1" y="12"/>
                    <a:pt x="0" y="13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moveTo>
                    <a:pt x="2" y="30"/>
                  </a:moveTo>
                  <a:cubicBezTo>
                    <a:pt x="4" y="30"/>
                    <a:pt x="5" y="29"/>
                    <a:pt x="5" y="28"/>
                  </a:cubicBezTo>
                  <a:cubicBezTo>
                    <a:pt x="5" y="26"/>
                    <a:pt x="4" y="25"/>
                    <a:pt x="2" y="25"/>
                  </a:cubicBezTo>
                  <a:cubicBezTo>
                    <a:pt x="1" y="25"/>
                    <a:pt x="0" y="26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moveTo>
                    <a:pt x="2" y="43"/>
                  </a:moveTo>
                  <a:cubicBezTo>
                    <a:pt x="4" y="43"/>
                    <a:pt x="5" y="42"/>
                    <a:pt x="5" y="40"/>
                  </a:cubicBezTo>
                  <a:cubicBezTo>
                    <a:pt x="5" y="39"/>
                    <a:pt x="4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3"/>
                    <a:pt x="2" y="43"/>
                  </a:cubicBezTo>
                  <a:moveTo>
                    <a:pt x="2" y="55"/>
                  </a:moveTo>
                  <a:cubicBezTo>
                    <a:pt x="4" y="55"/>
                    <a:pt x="5" y="55"/>
                    <a:pt x="5" y="53"/>
                  </a:cubicBezTo>
                  <a:cubicBezTo>
                    <a:pt x="5" y="52"/>
                    <a:pt x="4" y="51"/>
                    <a:pt x="2" y="51"/>
                  </a:cubicBezTo>
                  <a:cubicBezTo>
                    <a:pt x="1" y="51"/>
                    <a:pt x="0" y="52"/>
                    <a:pt x="0" y="53"/>
                  </a:cubicBezTo>
                  <a:cubicBezTo>
                    <a:pt x="0" y="55"/>
                    <a:pt x="1" y="55"/>
                    <a:pt x="2" y="55"/>
                  </a:cubicBezTo>
                  <a:moveTo>
                    <a:pt x="2" y="68"/>
                  </a:moveTo>
                  <a:cubicBezTo>
                    <a:pt x="4" y="68"/>
                    <a:pt x="5" y="67"/>
                    <a:pt x="5" y="66"/>
                  </a:cubicBezTo>
                  <a:cubicBezTo>
                    <a:pt x="5" y="65"/>
                    <a:pt x="4" y="64"/>
                    <a:pt x="2" y="64"/>
                  </a:cubicBezTo>
                  <a:cubicBezTo>
                    <a:pt x="1" y="64"/>
                    <a:pt x="0" y="65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moveTo>
                    <a:pt x="2" y="81"/>
                  </a:moveTo>
                  <a:cubicBezTo>
                    <a:pt x="4" y="81"/>
                    <a:pt x="5" y="80"/>
                    <a:pt x="5" y="79"/>
                  </a:cubicBezTo>
                  <a:cubicBezTo>
                    <a:pt x="5" y="78"/>
                    <a:pt x="4" y="77"/>
                    <a:pt x="2" y="77"/>
                  </a:cubicBezTo>
                  <a:cubicBezTo>
                    <a:pt x="1" y="77"/>
                    <a:pt x="0" y="78"/>
                    <a:pt x="0" y="79"/>
                  </a:cubicBezTo>
                  <a:cubicBezTo>
                    <a:pt x="0" y="80"/>
                    <a:pt x="1" y="81"/>
                    <a:pt x="2" y="81"/>
                  </a:cubicBezTo>
                  <a:moveTo>
                    <a:pt x="26" y="43"/>
                  </a:moveTo>
                  <a:cubicBezTo>
                    <a:pt x="33" y="77"/>
                    <a:pt x="33" y="77"/>
                    <a:pt x="33" y="77"/>
                  </a:cubicBezTo>
                  <a:cubicBezTo>
                    <a:pt x="18" y="77"/>
                    <a:pt x="18" y="77"/>
                    <a:pt x="18" y="77"/>
                  </a:cubicBezTo>
                  <a:lnTo>
                    <a:pt x="26" y="43"/>
                  </a:lnTo>
                  <a:close/>
                  <a:moveTo>
                    <a:pt x="15" y="81"/>
                  </a:move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8" y="80"/>
                    <a:pt x="38" y="79"/>
                  </a:cubicBezTo>
                  <a:cubicBezTo>
                    <a:pt x="38" y="79"/>
                    <a:pt x="38" y="78"/>
                    <a:pt x="38" y="78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7" y="32"/>
                    <a:pt x="27" y="32"/>
                    <a:pt x="26" y="32"/>
                  </a:cubicBezTo>
                  <a:cubicBezTo>
                    <a:pt x="25" y="32"/>
                    <a:pt x="24" y="32"/>
                    <a:pt x="24" y="3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80"/>
                    <a:pt x="13" y="80"/>
                  </a:cubicBezTo>
                  <a:cubicBezTo>
                    <a:pt x="14" y="81"/>
                    <a:pt x="14" y="81"/>
                    <a:pt x="15" y="81"/>
                  </a:cubicBezTo>
                  <a:moveTo>
                    <a:pt x="57" y="59"/>
                  </a:moveTo>
                  <a:cubicBezTo>
                    <a:pt x="65" y="77"/>
                    <a:pt x="65" y="77"/>
                    <a:pt x="65" y="77"/>
                  </a:cubicBezTo>
                  <a:cubicBezTo>
                    <a:pt x="50" y="77"/>
                    <a:pt x="50" y="77"/>
                    <a:pt x="50" y="77"/>
                  </a:cubicBezTo>
                  <a:lnTo>
                    <a:pt x="57" y="59"/>
                  </a:lnTo>
                  <a:close/>
                  <a:moveTo>
                    <a:pt x="47" y="81"/>
                  </a:moveTo>
                  <a:cubicBezTo>
                    <a:pt x="68" y="81"/>
                    <a:pt x="68" y="81"/>
                    <a:pt x="68" y="81"/>
                  </a:cubicBezTo>
                  <a:cubicBezTo>
                    <a:pt x="69" y="81"/>
                    <a:pt x="70" y="80"/>
                    <a:pt x="70" y="79"/>
                  </a:cubicBezTo>
                  <a:cubicBezTo>
                    <a:pt x="70" y="79"/>
                    <a:pt x="70" y="78"/>
                    <a:pt x="70" y="78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8" y="51"/>
                    <a:pt x="57" y="51"/>
                  </a:cubicBezTo>
                  <a:cubicBezTo>
                    <a:pt x="56" y="51"/>
                    <a:pt x="56" y="52"/>
                    <a:pt x="55" y="52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5" y="80"/>
                    <a:pt x="45" y="80"/>
                  </a:cubicBezTo>
                  <a:cubicBezTo>
                    <a:pt x="45" y="81"/>
                    <a:pt x="46" y="81"/>
                    <a:pt x="47" y="81"/>
                  </a:cubicBezTo>
                  <a:moveTo>
                    <a:pt x="89" y="19"/>
                  </a:moveTo>
                  <a:cubicBezTo>
                    <a:pt x="97" y="77"/>
                    <a:pt x="97" y="77"/>
                    <a:pt x="97" y="7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89" y="19"/>
                  </a:lnTo>
                  <a:close/>
                  <a:moveTo>
                    <a:pt x="78" y="81"/>
                  </a:moveTo>
                  <a:cubicBezTo>
                    <a:pt x="99" y="81"/>
                    <a:pt x="99" y="81"/>
                    <a:pt x="99" y="81"/>
                  </a:cubicBezTo>
                  <a:cubicBezTo>
                    <a:pt x="101" y="81"/>
                    <a:pt x="102" y="80"/>
                    <a:pt x="102" y="79"/>
                  </a:cubicBezTo>
                  <a:cubicBezTo>
                    <a:pt x="102" y="79"/>
                    <a:pt x="101" y="79"/>
                    <a:pt x="101" y="78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2"/>
                    <a:pt x="90" y="2"/>
                    <a:pt x="89" y="2"/>
                  </a:cubicBezTo>
                  <a:cubicBezTo>
                    <a:pt x="88" y="2"/>
                    <a:pt x="87" y="2"/>
                    <a:pt x="87" y="4"/>
                  </a:cubicBezTo>
                  <a:cubicBezTo>
                    <a:pt x="76" y="79"/>
                    <a:pt x="76" y="79"/>
                    <a:pt x="76" y="79"/>
                  </a:cubicBezTo>
                  <a:cubicBezTo>
                    <a:pt x="76" y="79"/>
                    <a:pt x="76" y="80"/>
                    <a:pt x="77" y="81"/>
                  </a:cubicBezTo>
                  <a:cubicBezTo>
                    <a:pt x="77" y="81"/>
                    <a:pt x="78" y="81"/>
                    <a:pt x="78" y="81"/>
                  </a:cubicBezTo>
                  <a:moveTo>
                    <a:pt x="104" y="94"/>
                  </a:moveTo>
                  <a:cubicBezTo>
                    <a:pt x="2" y="94"/>
                    <a:pt x="2" y="94"/>
                    <a:pt x="2" y="94"/>
                  </a:cubicBezTo>
                  <a:cubicBezTo>
                    <a:pt x="1" y="94"/>
                    <a:pt x="0" y="95"/>
                    <a:pt x="0" y="96"/>
                  </a:cubicBezTo>
                  <a:cubicBezTo>
                    <a:pt x="0" y="97"/>
                    <a:pt x="1" y="98"/>
                    <a:pt x="2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5" y="98"/>
                    <a:pt x="106" y="97"/>
                    <a:pt x="106" y="96"/>
                  </a:cubicBezTo>
                  <a:cubicBezTo>
                    <a:pt x="106" y="95"/>
                    <a:pt x="105" y="94"/>
                    <a:pt x="104" y="94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7" name="Group 153">
            <a:extLst>
              <a:ext uri="{FF2B5EF4-FFF2-40B4-BE49-F238E27FC236}">
                <a16:creationId xmlns:a16="http://schemas.microsoft.com/office/drawing/2014/main" id="{E066385F-F537-4E28-996F-BA5FCE6CB2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30883" y="2820661"/>
            <a:ext cx="842963" cy="841375"/>
            <a:chOff x="4336" y="1782"/>
            <a:chExt cx="531" cy="530"/>
          </a:xfrm>
        </p:grpSpPr>
        <p:sp>
          <p:nvSpPr>
            <p:cNvPr id="178" name="AutoShape 152">
              <a:extLst>
                <a:ext uri="{FF2B5EF4-FFF2-40B4-BE49-F238E27FC236}">
                  <a16:creationId xmlns:a16="http://schemas.microsoft.com/office/drawing/2014/main" id="{C5425856-04F6-4818-8F65-EEC3F72ECF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36" y="1782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Oval 154">
              <a:extLst>
                <a:ext uri="{FF2B5EF4-FFF2-40B4-BE49-F238E27FC236}">
                  <a16:creationId xmlns:a16="http://schemas.microsoft.com/office/drawing/2014/main" id="{9E8DD72A-D245-4978-B610-3BA2EFD75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6" y="1782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5">
              <a:extLst>
                <a:ext uri="{FF2B5EF4-FFF2-40B4-BE49-F238E27FC236}">
                  <a16:creationId xmlns:a16="http://schemas.microsoft.com/office/drawing/2014/main" id="{8467E9C2-EB82-4F43-A873-9815A92B4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4" y="1800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6">
              <a:extLst>
                <a:ext uri="{FF2B5EF4-FFF2-40B4-BE49-F238E27FC236}">
                  <a16:creationId xmlns:a16="http://schemas.microsoft.com/office/drawing/2014/main" id="{3F87D8D9-E6BA-4716-9DAA-B323ABC539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7" y="1923"/>
              <a:ext cx="272" cy="251"/>
            </a:xfrm>
            <a:custGeom>
              <a:avLst/>
              <a:gdLst>
                <a:gd name="T0" fmla="*/ 5 w 106"/>
                <a:gd name="T1" fmla="*/ 2 h 98"/>
                <a:gd name="T2" fmla="*/ 0 w 106"/>
                <a:gd name="T3" fmla="*/ 2 h 98"/>
                <a:gd name="T4" fmla="*/ 2 w 106"/>
                <a:gd name="T5" fmla="*/ 17 h 98"/>
                <a:gd name="T6" fmla="*/ 2 w 106"/>
                <a:gd name="T7" fmla="*/ 12 h 98"/>
                <a:gd name="T8" fmla="*/ 2 w 106"/>
                <a:gd name="T9" fmla="*/ 17 h 98"/>
                <a:gd name="T10" fmla="*/ 5 w 106"/>
                <a:gd name="T11" fmla="*/ 28 h 98"/>
                <a:gd name="T12" fmla="*/ 0 w 106"/>
                <a:gd name="T13" fmla="*/ 28 h 98"/>
                <a:gd name="T14" fmla="*/ 2 w 106"/>
                <a:gd name="T15" fmla="*/ 43 h 98"/>
                <a:gd name="T16" fmla="*/ 2 w 106"/>
                <a:gd name="T17" fmla="*/ 38 h 98"/>
                <a:gd name="T18" fmla="*/ 2 w 106"/>
                <a:gd name="T19" fmla="*/ 43 h 98"/>
                <a:gd name="T20" fmla="*/ 5 w 106"/>
                <a:gd name="T21" fmla="*/ 53 h 98"/>
                <a:gd name="T22" fmla="*/ 0 w 106"/>
                <a:gd name="T23" fmla="*/ 53 h 98"/>
                <a:gd name="T24" fmla="*/ 2 w 106"/>
                <a:gd name="T25" fmla="*/ 68 h 98"/>
                <a:gd name="T26" fmla="*/ 2 w 106"/>
                <a:gd name="T27" fmla="*/ 64 h 98"/>
                <a:gd name="T28" fmla="*/ 2 w 106"/>
                <a:gd name="T29" fmla="*/ 68 h 98"/>
                <a:gd name="T30" fmla="*/ 5 w 106"/>
                <a:gd name="T31" fmla="*/ 79 h 98"/>
                <a:gd name="T32" fmla="*/ 0 w 106"/>
                <a:gd name="T33" fmla="*/ 79 h 98"/>
                <a:gd name="T34" fmla="*/ 26 w 106"/>
                <a:gd name="T35" fmla="*/ 43 h 98"/>
                <a:gd name="T36" fmla="*/ 18 w 106"/>
                <a:gd name="T37" fmla="*/ 77 h 98"/>
                <a:gd name="T38" fmla="*/ 15 w 106"/>
                <a:gd name="T39" fmla="*/ 81 h 98"/>
                <a:gd name="T40" fmla="*/ 38 w 106"/>
                <a:gd name="T41" fmla="*/ 79 h 98"/>
                <a:gd name="T42" fmla="*/ 28 w 106"/>
                <a:gd name="T43" fmla="*/ 33 h 98"/>
                <a:gd name="T44" fmla="*/ 24 w 106"/>
                <a:gd name="T45" fmla="*/ 33 h 98"/>
                <a:gd name="T46" fmla="*/ 13 w 106"/>
                <a:gd name="T47" fmla="*/ 80 h 98"/>
                <a:gd name="T48" fmla="*/ 57 w 106"/>
                <a:gd name="T49" fmla="*/ 59 h 98"/>
                <a:gd name="T50" fmla="*/ 50 w 106"/>
                <a:gd name="T51" fmla="*/ 77 h 98"/>
                <a:gd name="T52" fmla="*/ 47 w 106"/>
                <a:gd name="T53" fmla="*/ 81 h 98"/>
                <a:gd name="T54" fmla="*/ 70 w 106"/>
                <a:gd name="T55" fmla="*/ 79 h 98"/>
                <a:gd name="T56" fmla="*/ 59 w 106"/>
                <a:gd name="T57" fmla="*/ 52 h 98"/>
                <a:gd name="T58" fmla="*/ 55 w 106"/>
                <a:gd name="T59" fmla="*/ 52 h 98"/>
                <a:gd name="T60" fmla="*/ 45 w 106"/>
                <a:gd name="T61" fmla="*/ 80 h 98"/>
                <a:gd name="T62" fmla="*/ 89 w 106"/>
                <a:gd name="T63" fmla="*/ 19 h 98"/>
                <a:gd name="T64" fmla="*/ 81 w 106"/>
                <a:gd name="T65" fmla="*/ 77 h 98"/>
                <a:gd name="T66" fmla="*/ 78 w 106"/>
                <a:gd name="T67" fmla="*/ 81 h 98"/>
                <a:gd name="T68" fmla="*/ 102 w 106"/>
                <a:gd name="T69" fmla="*/ 79 h 98"/>
                <a:gd name="T70" fmla="*/ 91 w 106"/>
                <a:gd name="T71" fmla="*/ 4 h 98"/>
                <a:gd name="T72" fmla="*/ 87 w 106"/>
                <a:gd name="T73" fmla="*/ 4 h 98"/>
                <a:gd name="T74" fmla="*/ 77 w 106"/>
                <a:gd name="T75" fmla="*/ 81 h 98"/>
                <a:gd name="T76" fmla="*/ 104 w 106"/>
                <a:gd name="T77" fmla="*/ 94 h 98"/>
                <a:gd name="T78" fmla="*/ 0 w 106"/>
                <a:gd name="T79" fmla="*/ 96 h 98"/>
                <a:gd name="T80" fmla="*/ 104 w 106"/>
                <a:gd name="T81" fmla="*/ 98 h 98"/>
                <a:gd name="T82" fmla="*/ 104 w 106"/>
                <a:gd name="T83" fmla="*/ 9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" h="98">
                  <a:moveTo>
                    <a:pt x="2" y="4"/>
                  </a:moveTo>
                  <a:cubicBezTo>
                    <a:pt x="4" y="4"/>
                    <a:pt x="5" y="3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moveTo>
                    <a:pt x="2" y="17"/>
                  </a:moveTo>
                  <a:cubicBezTo>
                    <a:pt x="4" y="17"/>
                    <a:pt x="5" y="16"/>
                    <a:pt x="5" y="15"/>
                  </a:cubicBezTo>
                  <a:cubicBezTo>
                    <a:pt x="5" y="13"/>
                    <a:pt x="4" y="12"/>
                    <a:pt x="2" y="12"/>
                  </a:cubicBezTo>
                  <a:cubicBezTo>
                    <a:pt x="1" y="12"/>
                    <a:pt x="0" y="13"/>
                    <a:pt x="0" y="15"/>
                  </a:cubicBezTo>
                  <a:cubicBezTo>
                    <a:pt x="0" y="16"/>
                    <a:pt x="1" y="17"/>
                    <a:pt x="2" y="17"/>
                  </a:cubicBezTo>
                  <a:moveTo>
                    <a:pt x="2" y="30"/>
                  </a:moveTo>
                  <a:cubicBezTo>
                    <a:pt x="4" y="30"/>
                    <a:pt x="5" y="29"/>
                    <a:pt x="5" y="28"/>
                  </a:cubicBezTo>
                  <a:cubicBezTo>
                    <a:pt x="5" y="26"/>
                    <a:pt x="4" y="25"/>
                    <a:pt x="2" y="25"/>
                  </a:cubicBezTo>
                  <a:cubicBezTo>
                    <a:pt x="1" y="25"/>
                    <a:pt x="0" y="26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moveTo>
                    <a:pt x="2" y="43"/>
                  </a:moveTo>
                  <a:cubicBezTo>
                    <a:pt x="4" y="43"/>
                    <a:pt x="5" y="42"/>
                    <a:pt x="5" y="40"/>
                  </a:cubicBezTo>
                  <a:cubicBezTo>
                    <a:pt x="5" y="39"/>
                    <a:pt x="4" y="38"/>
                    <a:pt x="2" y="38"/>
                  </a:cubicBezTo>
                  <a:cubicBezTo>
                    <a:pt x="1" y="38"/>
                    <a:pt x="0" y="39"/>
                    <a:pt x="0" y="40"/>
                  </a:cubicBezTo>
                  <a:cubicBezTo>
                    <a:pt x="0" y="42"/>
                    <a:pt x="1" y="43"/>
                    <a:pt x="2" y="43"/>
                  </a:cubicBezTo>
                  <a:moveTo>
                    <a:pt x="2" y="55"/>
                  </a:moveTo>
                  <a:cubicBezTo>
                    <a:pt x="4" y="55"/>
                    <a:pt x="5" y="55"/>
                    <a:pt x="5" y="53"/>
                  </a:cubicBezTo>
                  <a:cubicBezTo>
                    <a:pt x="5" y="52"/>
                    <a:pt x="4" y="51"/>
                    <a:pt x="2" y="51"/>
                  </a:cubicBezTo>
                  <a:cubicBezTo>
                    <a:pt x="1" y="51"/>
                    <a:pt x="0" y="52"/>
                    <a:pt x="0" y="53"/>
                  </a:cubicBezTo>
                  <a:cubicBezTo>
                    <a:pt x="0" y="55"/>
                    <a:pt x="1" y="55"/>
                    <a:pt x="2" y="55"/>
                  </a:cubicBezTo>
                  <a:moveTo>
                    <a:pt x="2" y="68"/>
                  </a:moveTo>
                  <a:cubicBezTo>
                    <a:pt x="4" y="68"/>
                    <a:pt x="5" y="67"/>
                    <a:pt x="5" y="66"/>
                  </a:cubicBezTo>
                  <a:cubicBezTo>
                    <a:pt x="5" y="65"/>
                    <a:pt x="4" y="64"/>
                    <a:pt x="2" y="64"/>
                  </a:cubicBezTo>
                  <a:cubicBezTo>
                    <a:pt x="1" y="64"/>
                    <a:pt x="0" y="65"/>
                    <a:pt x="0" y="66"/>
                  </a:cubicBezTo>
                  <a:cubicBezTo>
                    <a:pt x="0" y="67"/>
                    <a:pt x="1" y="68"/>
                    <a:pt x="2" y="68"/>
                  </a:cubicBezTo>
                  <a:moveTo>
                    <a:pt x="2" y="81"/>
                  </a:moveTo>
                  <a:cubicBezTo>
                    <a:pt x="4" y="81"/>
                    <a:pt x="5" y="80"/>
                    <a:pt x="5" y="79"/>
                  </a:cubicBezTo>
                  <a:cubicBezTo>
                    <a:pt x="5" y="78"/>
                    <a:pt x="4" y="77"/>
                    <a:pt x="2" y="77"/>
                  </a:cubicBezTo>
                  <a:cubicBezTo>
                    <a:pt x="1" y="77"/>
                    <a:pt x="0" y="78"/>
                    <a:pt x="0" y="79"/>
                  </a:cubicBezTo>
                  <a:cubicBezTo>
                    <a:pt x="0" y="80"/>
                    <a:pt x="1" y="81"/>
                    <a:pt x="2" y="81"/>
                  </a:cubicBezTo>
                  <a:moveTo>
                    <a:pt x="26" y="43"/>
                  </a:moveTo>
                  <a:cubicBezTo>
                    <a:pt x="33" y="77"/>
                    <a:pt x="33" y="77"/>
                    <a:pt x="33" y="77"/>
                  </a:cubicBezTo>
                  <a:cubicBezTo>
                    <a:pt x="18" y="77"/>
                    <a:pt x="18" y="77"/>
                    <a:pt x="18" y="77"/>
                  </a:cubicBezTo>
                  <a:lnTo>
                    <a:pt x="26" y="43"/>
                  </a:lnTo>
                  <a:close/>
                  <a:moveTo>
                    <a:pt x="15" y="81"/>
                  </a:move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8" y="80"/>
                    <a:pt x="38" y="79"/>
                  </a:cubicBezTo>
                  <a:cubicBezTo>
                    <a:pt x="38" y="79"/>
                    <a:pt x="38" y="78"/>
                    <a:pt x="38" y="78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7" y="32"/>
                    <a:pt x="27" y="32"/>
                    <a:pt x="26" y="32"/>
                  </a:cubicBezTo>
                  <a:cubicBezTo>
                    <a:pt x="25" y="32"/>
                    <a:pt x="24" y="32"/>
                    <a:pt x="24" y="3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80"/>
                    <a:pt x="13" y="80"/>
                  </a:cubicBezTo>
                  <a:cubicBezTo>
                    <a:pt x="14" y="81"/>
                    <a:pt x="14" y="81"/>
                    <a:pt x="15" y="81"/>
                  </a:cubicBezTo>
                  <a:moveTo>
                    <a:pt x="57" y="59"/>
                  </a:moveTo>
                  <a:cubicBezTo>
                    <a:pt x="65" y="77"/>
                    <a:pt x="65" y="77"/>
                    <a:pt x="65" y="77"/>
                  </a:cubicBezTo>
                  <a:cubicBezTo>
                    <a:pt x="50" y="77"/>
                    <a:pt x="50" y="77"/>
                    <a:pt x="50" y="77"/>
                  </a:cubicBezTo>
                  <a:lnTo>
                    <a:pt x="57" y="59"/>
                  </a:lnTo>
                  <a:close/>
                  <a:moveTo>
                    <a:pt x="47" y="81"/>
                  </a:moveTo>
                  <a:cubicBezTo>
                    <a:pt x="68" y="81"/>
                    <a:pt x="68" y="81"/>
                    <a:pt x="68" y="81"/>
                  </a:cubicBezTo>
                  <a:cubicBezTo>
                    <a:pt x="69" y="81"/>
                    <a:pt x="70" y="80"/>
                    <a:pt x="70" y="79"/>
                  </a:cubicBezTo>
                  <a:cubicBezTo>
                    <a:pt x="70" y="79"/>
                    <a:pt x="70" y="78"/>
                    <a:pt x="70" y="78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8" y="51"/>
                    <a:pt x="57" y="51"/>
                  </a:cubicBezTo>
                  <a:cubicBezTo>
                    <a:pt x="56" y="51"/>
                    <a:pt x="56" y="52"/>
                    <a:pt x="55" y="52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5" y="80"/>
                    <a:pt x="45" y="80"/>
                  </a:cubicBezTo>
                  <a:cubicBezTo>
                    <a:pt x="45" y="81"/>
                    <a:pt x="46" y="81"/>
                    <a:pt x="47" y="81"/>
                  </a:cubicBezTo>
                  <a:moveTo>
                    <a:pt x="89" y="19"/>
                  </a:moveTo>
                  <a:cubicBezTo>
                    <a:pt x="97" y="77"/>
                    <a:pt x="97" y="77"/>
                    <a:pt x="97" y="7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89" y="19"/>
                  </a:lnTo>
                  <a:close/>
                  <a:moveTo>
                    <a:pt x="78" y="81"/>
                  </a:moveTo>
                  <a:cubicBezTo>
                    <a:pt x="99" y="81"/>
                    <a:pt x="99" y="81"/>
                    <a:pt x="99" y="81"/>
                  </a:cubicBezTo>
                  <a:cubicBezTo>
                    <a:pt x="101" y="81"/>
                    <a:pt x="102" y="80"/>
                    <a:pt x="102" y="79"/>
                  </a:cubicBezTo>
                  <a:cubicBezTo>
                    <a:pt x="102" y="79"/>
                    <a:pt x="101" y="79"/>
                    <a:pt x="101" y="78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2"/>
                    <a:pt x="90" y="2"/>
                    <a:pt x="89" y="2"/>
                  </a:cubicBezTo>
                  <a:cubicBezTo>
                    <a:pt x="88" y="2"/>
                    <a:pt x="87" y="2"/>
                    <a:pt x="87" y="4"/>
                  </a:cubicBezTo>
                  <a:cubicBezTo>
                    <a:pt x="76" y="79"/>
                    <a:pt x="76" y="79"/>
                    <a:pt x="76" y="79"/>
                  </a:cubicBezTo>
                  <a:cubicBezTo>
                    <a:pt x="76" y="79"/>
                    <a:pt x="76" y="80"/>
                    <a:pt x="77" y="81"/>
                  </a:cubicBezTo>
                  <a:cubicBezTo>
                    <a:pt x="77" y="81"/>
                    <a:pt x="78" y="81"/>
                    <a:pt x="78" y="81"/>
                  </a:cubicBezTo>
                  <a:moveTo>
                    <a:pt x="104" y="94"/>
                  </a:moveTo>
                  <a:cubicBezTo>
                    <a:pt x="2" y="94"/>
                    <a:pt x="2" y="94"/>
                    <a:pt x="2" y="94"/>
                  </a:cubicBezTo>
                  <a:cubicBezTo>
                    <a:pt x="1" y="94"/>
                    <a:pt x="0" y="95"/>
                    <a:pt x="0" y="96"/>
                  </a:cubicBezTo>
                  <a:cubicBezTo>
                    <a:pt x="0" y="97"/>
                    <a:pt x="1" y="98"/>
                    <a:pt x="2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5" y="98"/>
                    <a:pt x="106" y="97"/>
                    <a:pt x="106" y="96"/>
                  </a:cubicBezTo>
                  <a:cubicBezTo>
                    <a:pt x="106" y="95"/>
                    <a:pt x="105" y="94"/>
                    <a:pt x="104" y="9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6" name="Group 159">
            <a:extLst>
              <a:ext uri="{FF2B5EF4-FFF2-40B4-BE49-F238E27FC236}">
                <a16:creationId xmlns:a16="http://schemas.microsoft.com/office/drawing/2014/main" id="{248E8E5F-6822-4B39-B807-99B28C4078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7273" y="4138955"/>
            <a:ext cx="760413" cy="760412"/>
            <a:chOff x="780" y="2623"/>
            <a:chExt cx="479" cy="479"/>
          </a:xfrm>
        </p:grpSpPr>
        <p:sp>
          <p:nvSpPr>
            <p:cNvPr id="187" name="AutoShape 158">
              <a:extLst>
                <a:ext uri="{FF2B5EF4-FFF2-40B4-BE49-F238E27FC236}">
                  <a16:creationId xmlns:a16="http://schemas.microsoft.com/office/drawing/2014/main" id="{77991CC7-01A1-45C1-8662-E0CE70BA35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80" y="2623"/>
              <a:ext cx="47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60">
              <a:extLst>
                <a:ext uri="{FF2B5EF4-FFF2-40B4-BE49-F238E27FC236}">
                  <a16:creationId xmlns:a16="http://schemas.microsoft.com/office/drawing/2014/main" id="{521BB69A-0FDA-410C-A251-57640B2644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" y="2625"/>
              <a:ext cx="477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1">
              <a:extLst>
                <a:ext uri="{FF2B5EF4-FFF2-40B4-BE49-F238E27FC236}">
                  <a16:creationId xmlns:a16="http://schemas.microsoft.com/office/drawing/2014/main" id="{B365C85F-7FE8-4408-BEE6-094938060C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" y="2719"/>
              <a:ext cx="290" cy="290"/>
            </a:xfrm>
            <a:custGeom>
              <a:avLst/>
              <a:gdLst>
                <a:gd name="T0" fmla="*/ 59 w 118"/>
                <a:gd name="T1" fmla="*/ 114 h 118"/>
                <a:gd name="T2" fmla="*/ 4 w 118"/>
                <a:gd name="T3" fmla="*/ 61 h 118"/>
                <a:gd name="T4" fmla="*/ 19 w 118"/>
                <a:gd name="T5" fmla="*/ 61 h 118"/>
                <a:gd name="T6" fmla="*/ 59 w 118"/>
                <a:gd name="T7" fmla="*/ 99 h 118"/>
                <a:gd name="T8" fmla="*/ 99 w 118"/>
                <a:gd name="T9" fmla="*/ 59 h 118"/>
                <a:gd name="T10" fmla="*/ 91 w 118"/>
                <a:gd name="T11" fmla="*/ 34 h 118"/>
                <a:gd name="T12" fmla="*/ 102 w 118"/>
                <a:gd name="T13" fmla="*/ 25 h 118"/>
                <a:gd name="T14" fmla="*/ 114 w 118"/>
                <a:gd name="T15" fmla="*/ 59 h 118"/>
                <a:gd name="T16" fmla="*/ 59 w 118"/>
                <a:gd name="T17" fmla="*/ 114 h 118"/>
                <a:gd name="T18" fmla="*/ 57 w 118"/>
                <a:gd name="T19" fmla="*/ 4 h 118"/>
                <a:gd name="T20" fmla="*/ 57 w 118"/>
                <a:gd name="T21" fmla="*/ 5 h 118"/>
                <a:gd name="T22" fmla="*/ 57 w 118"/>
                <a:gd name="T23" fmla="*/ 19 h 118"/>
                <a:gd name="T24" fmla="*/ 19 w 118"/>
                <a:gd name="T25" fmla="*/ 57 h 118"/>
                <a:gd name="T26" fmla="*/ 4 w 118"/>
                <a:gd name="T27" fmla="*/ 57 h 118"/>
                <a:gd name="T28" fmla="*/ 57 w 118"/>
                <a:gd name="T29" fmla="*/ 4 h 118"/>
                <a:gd name="T30" fmla="*/ 95 w 118"/>
                <a:gd name="T31" fmla="*/ 59 h 118"/>
                <a:gd name="T32" fmla="*/ 59 w 118"/>
                <a:gd name="T33" fmla="*/ 95 h 118"/>
                <a:gd name="T34" fmla="*/ 23 w 118"/>
                <a:gd name="T35" fmla="*/ 59 h 118"/>
                <a:gd name="T36" fmla="*/ 59 w 118"/>
                <a:gd name="T37" fmla="*/ 23 h 118"/>
                <a:gd name="T38" fmla="*/ 95 w 118"/>
                <a:gd name="T39" fmla="*/ 59 h 118"/>
                <a:gd name="T40" fmla="*/ 99 w 118"/>
                <a:gd name="T41" fmla="*/ 21 h 118"/>
                <a:gd name="T42" fmla="*/ 88 w 118"/>
                <a:gd name="T43" fmla="*/ 31 h 118"/>
                <a:gd name="T44" fmla="*/ 61 w 118"/>
                <a:gd name="T45" fmla="*/ 19 h 118"/>
                <a:gd name="T46" fmla="*/ 61 w 118"/>
                <a:gd name="T47" fmla="*/ 5 h 118"/>
                <a:gd name="T48" fmla="*/ 61 w 118"/>
                <a:gd name="T49" fmla="*/ 4 h 118"/>
                <a:gd name="T50" fmla="*/ 99 w 118"/>
                <a:gd name="T51" fmla="*/ 21 h 118"/>
                <a:gd name="T52" fmla="*/ 59 w 118"/>
                <a:gd name="T53" fmla="*/ 0 h 118"/>
                <a:gd name="T54" fmla="*/ 0 w 118"/>
                <a:gd name="T55" fmla="*/ 59 h 118"/>
                <a:gd name="T56" fmla="*/ 59 w 118"/>
                <a:gd name="T57" fmla="*/ 118 h 118"/>
                <a:gd name="T58" fmla="*/ 118 w 118"/>
                <a:gd name="T59" fmla="*/ 59 h 118"/>
                <a:gd name="T60" fmla="*/ 59 w 118"/>
                <a:gd name="T61" fmla="*/ 0 h 118"/>
                <a:gd name="T62" fmla="*/ 45 w 118"/>
                <a:gd name="T63" fmla="*/ 76 h 118"/>
                <a:gd name="T64" fmla="*/ 47 w 118"/>
                <a:gd name="T65" fmla="*/ 76 h 118"/>
                <a:gd name="T66" fmla="*/ 47 w 118"/>
                <a:gd name="T67" fmla="*/ 64 h 118"/>
                <a:gd name="T68" fmla="*/ 52 w 118"/>
                <a:gd name="T69" fmla="*/ 64 h 118"/>
                <a:gd name="T70" fmla="*/ 52 w 118"/>
                <a:gd name="T71" fmla="*/ 73 h 118"/>
                <a:gd name="T72" fmla="*/ 54 w 118"/>
                <a:gd name="T73" fmla="*/ 76 h 118"/>
                <a:gd name="T74" fmla="*/ 57 w 118"/>
                <a:gd name="T75" fmla="*/ 73 h 118"/>
                <a:gd name="T76" fmla="*/ 57 w 118"/>
                <a:gd name="T77" fmla="*/ 45 h 118"/>
                <a:gd name="T78" fmla="*/ 61 w 118"/>
                <a:gd name="T79" fmla="*/ 45 h 118"/>
                <a:gd name="T80" fmla="*/ 61 w 118"/>
                <a:gd name="T81" fmla="*/ 73 h 118"/>
                <a:gd name="T82" fmla="*/ 64 w 118"/>
                <a:gd name="T83" fmla="*/ 76 h 118"/>
                <a:gd name="T84" fmla="*/ 66 w 118"/>
                <a:gd name="T85" fmla="*/ 73 h 118"/>
                <a:gd name="T86" fmla="*/ 66 w 118"/>
                <a:gd name="T87" fmla="*/ 54 h 118"/>
                <a:gd name="T88" fmla="*/ 71 w 118"/>
                <a:gd name="T89" fmla="*/ 54 h 118"/>
                <a:gd name="T90" fmla="*/ 71 w 118"/>
                <a:gd name="T91" fmla="*/ 76 h 118"/>
                <a:gd name="T92" fmla="*/ 73 w 118"/>
                <a:gd name="T93" fmla="*/ 76 h 118"/>
                <a:gd name="T94" fmla="*/ 76 w 118"/>
                <a:gd name="T95" fmla="*/ 73 h 118"/>
                <a:gd name="T96" fmla="*/ 76 w 118"/>
                <a:gd name="T97" fmla="*/ 52 h 118"/>
                <a:gd name="T98" fmla="*/ 73 w 118"/>
                <a:gd name="T99" fmla="*/ 49 h 118"/>
                <a:gd name="T100" fmla="*/ 66 w 118"/>
                <a:gd name="T101" fmla="*/ 49 h 118"/>
                <a:gd name="T102" fmla="*/ 66 w 118"/>
                <a:gd name="T103" fmla="*/ 42 h 118"/>
                <a:gd name="T104" fmla="*/ 64 w 118"/>
                <a:gd name="T105" fmla="*/ 40 h 118"/>
                <a:gd name="T106" fmla="*/ 54 w 118"/>
                <a:gd name="T107" fmla="*/ 40 h 118"/>
                <a:gd name="T108" fmla="*/ 52 w 118"/>
                <a:gd name="T109" fmla="*/ 42 h 118"/>
                <a:gd name="T110" fmla="*/ 52 w 118"/>
                <a:gd name="T111" fmla="*/ 59 h 118"/>
                <a:gd name="T112" fmla="*/ 45 w 118"/>
                <a:gd name="T113" fmla="*/ 59 h 118"/>
                <a:gd name="T114" fmla="*/ 42 w 118"/>
                <a:gd name="T115" fmla="*/ 61 h 118"/>
                <a:gd name="T116" fmla="*/ 42 w 118"/>
                <a:gd name="T117" fmla="*/ 73 h 118"/>
                <a:gd name="T118" fmla="*/ 45 w 118"/>
                <a:gd name="T119" fmla="*/ 7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18">
                  <a:moveTo>
                    <a:pt x="59" y="114"/>
                  </a:moveTo>
                  <a:cubicBezTo>
                    <a:pt x="30" y="114"/>
                    <a:pt x="6" y="90"/>
                    <a:pt x="4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83"/>
                    <a:pt x="37" y="99"/>
                    <a:pt x="59" y="99"/>
                  </a:cubicBezTo>
                  <a:cubicBezTo>
                    <a:pt x="81" y="99"/>
                    <a:pt x="99" y="81"/>
                    <a:pt x="99" y="59"/>
                  </a:cubicBezTo>
                  <a:cubicBezTo>
                    <a:pt x="99" y="50"/>
                    <a:pt x="96" y="41"/>
                    <a:pt x="91" y="34"/>
                  </a:cubicBezTo>
                  <a:cubicBezTo>
                    <a:pt x="102" y="25"/>
                    <a:pt x="102" y="25"/>
                    <a:pt x="102" y="25"/>
                  </a:cubicBezTo>
                  <a:cubicBezTo>
                    <a:pt x="109" y="34"/>
                    <a:pt x="114" y="46"/>
                    <a:pt x="114" y="59"/>
                  </a:cubicBezTo>
                  <a:cubicBezTo>
                    <a:pt x="114" y="89"/>
                    <a:pt x="89" y="114"/>
                    <a:pt x="59" y="114"/>
                  </a:cubicBezTo>
                  <a:moveTo>
                    <a:pt x="57" y="4"/>
                  </a:moveTo>
                  <a:cubicBezTo>
                    <a:pt x="57" y="4"/>
                    <a:pt x="57" y="4"/>
                    <a:pt x="57" y="5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36" y="20"/>
                    <a:pt x="20" y="36"/>
                    <a:pt x="19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6" y="28"/>
                    <a:pt x="28" y="6"/>
                    <a:pt x="57" y="4"/>
                  </a:cubicBezTo>
                  <a:moveTo>
                    <a:pt x="95" y="59"/>
                  </a:moveTo>
                  <a:cubicBezTo>
                    <a:pt x="95" y="79"/>
                    <a:pt x="79" y="95"/>
                    <a:pt x="59" y="95"/>
                  </a:cubicBezTo>
                  <a:cubicBezTo>
                    <a:pt x="39" y="95"/>
                    <a:pt x="23" y="79"/>
                    <a:pt x="23" y="59"/>
                  </a:cubicBezTo>
                  <a:cubicBezTo>
                    <a:pt x="23" y="39"/>
                    <a:pt x="39" y="23"/>
                    <a:pt x="59" y="23"/>
                  </a:cubicBezTo>
                  <a:cubicBezTo>
                    <a:pt x="79" y="23"/>
                    <a:pt x="95" y="39"/>
                    <a:pt x="95" y="59"/>
                  </a:cubicBezTo>
                  <a:moveTo>
                    <a:pt x="99" y="2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1" y="24"/>
                    <a:pt x="72" y="19"/>
                    <a:pt x="61" y="1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76" y="5"/>
                    <a:pt x="89" y="11"/>
                    <a:pt x="99" y="21"/>
                  </a:cubicBezTo>
                  <a:moveTo>
                    <a:pt x="59" y="0"/>
                  </a:moveTo>
                  <a:cubicBezTo>
                    <a:pt x="26" y="0"/>
                    <a:pt x="0" y="26"/>
                    <a:pt x="0" y="59"/>
                  </a:cubicBezTo>
                  <a:cubicBezTo>
                    <a:pt x="0" y="92"/>
                    <a:pt x="26" y="118"/>
                    <a:pt x="59" y="118"/>
                  </a:cubicBezTo>
                  <a:cubicBezTo>
                    <a:pt x="92" y="118"/>
                    <a:pt x="118" y="92"/>
                    <a:pt x="118" y="59"/>
                  </a:cubicBezTo>
                  <a:cubicBezTo>
                    <a:pt x="118" y="26"/>
                    <a:pt x="92" y="0"/>
                    <a:pt x="59" y="0"/>
                  </a:cubicBezTo>
                  <a:moveTo>
                    <a:pt x="45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5"/>
                    <a:pt x="53" y="76"/>
                    <a:pt x="54" y="76"/>
                  </a:cubicBezTo>
                  <a:cubicBezTo>
                    <a:pt x="56" y="76"/>
                    <a:pt x="57" y="75"/>
                    <a:pt x="57" y="73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5"/>
                    <a:pt x="62" y="76"/>
                    <a:pt x="64" y="76"/>
                  </a:cubicBezTo>
                  <a:cubicBezTo>
                    <a:pt x="65" y="76"/>
                    <a:pt x="66" y="75"/>
                    <a:pt x="66" y="7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5" y="76"/>
                    <a:pt x="76" y="75"/>
                    <a:pt x="76" y="7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1"/>
                    <a:pt x="75" y="49"/>
                    <a:pt x="73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0"/>
                    <a:pt x="6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40"/>
                    <a:pt x="52" y="41"/>
                    <a:pt x="52" y="42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3" y="59"/>
                    <a:pt x="42" y="60"/>
                    <a:pt x="42" y="61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5"/>
                    <a:pt x="43" y="76"/>
                    <a:pt x="45" y="7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0" name="Group 164">
            <a:extLst>
              <a:ext uri="{FF2B5EF4-FFF2-40B4-BE49-F238E27FC236}">
                <a16:creationId xmlns:a16="http://schemas.microsoft.com/office/drawing/2014/main" id="{1A06FC7D-4086-49BD-A3D9-5113F3F1ABF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3501" y="4098474"/>
            <a:ext cx="841375" cy="841375"/>
            <a:chOff x="267" y="2623"/>
            <a:chExt cx="530" cy="530"/>
          </a:xfrm>
        </p:grpSpPr>
        <p:sp>
          <p:nvSpPr>
            <p:cNvPr id="191" name="AutoShape 163">
              <a:extLst>
                <a:ext uri="{FF2B5EF4-FFF2-40B4-BE49-F238E27FC236}">
                  <a16:creationId xmlns:a16="http://schemas.microsoft.com/office/drawing/2014/main" id="{D6A9A8B1-9799-45EF-A2A4-DF557BFC9D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7" y="262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Oval 165">
              <a:extLst>
                <a:ext uri="{FF2B5EF4-FFF2-40B4-BE49-F238E27FC236}">
                  <a16:creationId xmlns:a16="http://schemas.microsoft.com/office/drawing/2014/main" id="{FD989079-7244-4926-B601-F76616585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" y="262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66">
              <a:extLst>
                <a:ext uri="{FF2B5EF4-FFF2-40B4-BE49-F238E27FC236}">
                  <a16:creationId xmlns:a16="http://schemas.microsoft.com/office/drawing/2014/main" id="{FFD70BB9-EA2F-4AC9-8E5C-81BD25C978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" y="264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67">
              <a:extLst>
                <a:ext uri="{FF2B5EF4-FFF2-40B4-BE49-F238E27FC236}">
                  <a16:creationId xmlns:a16="http://schemas.microsoft.com/office/drawing/2014/main" id="{889A8B14-CEAE-4D48-A0AC-7BFD4AB223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" y="2738"/>
              <a:ext cx="302" cy="302"/>
            </a:xfrm>
            <a:custGeom>
              <a:avLst/>
              <a:gdLst>
                <a:gd name="T0" fmla="*/ 59 w 118"/>
                <a:gd name="T1" fmla="*/ 114 h 118"/>
                <a:gd name="T2" fmla="*/ 4 w 118"/>
                <a:gd name="T3" fmla="*/ 61 h 118"/>
                <a:gd name="T4" fmla="*/ 19 w 118"/>
                <a:gd name="T5" fmla="*/ 61 h 118"/>
                <a:gd name="T6" fmla="*/ 59 w 118"/>
                <a:gd name="T7" fmla="*/ 99 h 118"/>
                <a:gd name="T8" fmla="*/ 99 w 118"/>
                <a:gd name="T9" fmla="*/ 59 h 118"/>
                <a:gd name="T10" fmla="*/ 91 w 118"/>
                <a:gd name="T11" fmla="*/ 34 h 118"/>
                <a:gd name="T12" fmla="*/ 102 w 118"/>
                <a:gd name="T13" fmla="*/ 25 h 118"/>
                <a:gd name="T14" fmla="*/ 114 w 118"/>
                <a:gd name="T15" fmla="*/ 59 h 118"/>
                <a:gd name="T16" fmla="*/ 59 w 118"/>
                <a:gd name="T17" fmla="*/ 114 h 118"/>
                <a:gd name="T18" fmla="*/ 57 w 118"/>
                <a:gd name="T19" fmla="*/ 4 h 118"/>
                <a:gd name="T20" fmla="*/ 57 w 118"/>
                <a:gd name="T21" fmla="*/ 5 h 118"/>
                <a:gd name="T22" fmla="*/ 57 w 118"/>
                <a:gd name="T23" fmla="*/ 19 h 118"/>
                <a:gd name="T24" fmla="*/ 19 w 118"/>
                <a:gd name="T25" fmla="*/ 57 h 118"/>
                <a:gd name="T26" fmla="*/ 4 w 118"/>
                <a:gd name="T27" fmla="*/ 57 h 118"/>
                <a:gd name="T28" fmla="*/ 57 w 118"/>
                <a:gd name="T29" fmla="*/ 4 h 118"/>
                <a:gd name="T30" fmla="*/ 95 w 118"/>
                <a:gd name="T31" fmla="*/ 59 h 118"/>
                <a:gd name="T32" fmla="*/ 59 w 118"/>
                <a:gd name="T33" fmla="*/ 95 h 118"/>
                <a:gd name="T34" fmla="*/ 23 w 118"/>
                <a:gd name="T35" fmla="*/ 59 h 118"/>
                <a:gd name="T36" fmla="*/ 59 w 118"/>
                <a:gd name="T37" fmla="*/ 23 h 118"/>
                <a:gd name="T38" fmla="*/ 95 w 118"/>
                <a:gd name="T39" fmla="*/ 59 h 118"/>
                <a:gd name="T40" fmla="*/ 99 w 118"/>
                <a:gd name="T41" fmla="*/ 21 h 118"/>
                <a:gd name="T42" fmla="*/ 88 w 118"/>
                <a:gd name="T43" fmla="*/ 31 h 118"/>
                <a:gd name="T44" fmla="*/ 61 w 118"/>
                <a:gd name="T45" fmla="*/ 19 h 118"/>
                <a:gd name="T46" fmla="*/ 61 w 118"/>
                <a:gd name="T47" fmla="*/ 5 h 118"/>
                <a:gd name="T48" fmla="*/ 61 w 118"/>
                <a:gd name="T49" fmla="*/ 4 h 118"/>
                <a:gd name="T50" fmla="*/ 99 w 118"/>
                <a:gd name="T51" fmla="*/ 21 h 118"/>
                <a:gd name="T52" fmla="*/ 59 w 118"/>
                <a:gd name="T53" fmla="*/ 0 h 118"/>
                <a:gd name="T54" fmla="*/ 0 w 118"/>
                <a:gd name="T55" fmla="*/ 59 h 118"/>
                <a:gd name="T56" fmla="*/ 59 w 118"/>
                <a:gd name="T57" fmla="*/ 118 h 118"/>
                <a:gd name="T58" fmla="*/ 118 w 118"/>
                <a:gd name="T59" fmla="*/ 59 h 118"/>
                <a:gd name="T60" fmla="*/ 59 w 118"/>
                <a:gd name="T61" fmla="*/ 0 h 118"/>
                <a:gd name="T62" fmla="*/ 45 w 118"/>
                <a:gd name="T63" fmla="*/ 76 h 118"/>
                <a:gd name="T64" fmla="*/ 47 w 118"/>
                <a:gd name="T65" fmla="*/ 76 h 118"/>
                <a:gd name="T66" fmla="*/ 47 w 118"/>
                <a:gd name="T67" fmla="*/ 64 h 118"/>
                <a:gd name="T68" fmla="*/ 52 w 118"/>
                <a:gd name="T69" fmla="*/ 64 h 118"/>
                <a:gd name="T70" fmla="*/ 52 w 118"/>
                <a:gd name="T71" fmla="*/ 73 h 118"/>
                <a:gd name="T72" fmla="*/ 54 w 118"/>
                <a:gd name="T73" fmla="*/ 76 h 118"/>
                <a:gd name="T74" fmla="*/ 57 w 118"/>
                <a:gd name="T75" fmla="*/ 73 h 118"/>
                <a:gd name="T76" fmla="*/ 57 w 118"/>
                <a:gd name="T77" fmla="*/ 45 h 118"/>
                <a:gd name="T78" fmla="*/ 61 w 118"/>
                <a:gd name="T79" fmla="*/ 45 h 118"/>
                <a:gd name="T80" fmla="*/ 61 w 118"/>
                <a:gd name="T81" fmla="*/ 73 h 118"/>
                <a:gd name="T82" fmla="*/ 64 w 118"/>
                <a:gd name="T83" fmla="*/ 76 h 118"/>
                <a:gd name="T84" fmla="*/ 66 w 118"/>
                <a:gd name="T85" fmla="*/ 73 h 118"/>
                <a:gd name="T86" fmla="*/ 66 w 118"/>
                <a:gd name="T87" fmla="*/ 54 h 118"/>
                <a:gd name="T88" fmla="*/ 71 w 118"/>
                <a:gd name="T89" fmla="*/ 54 h 118"/>
                <a:gd name="T90" fmla="*/ 71 w 118"/>
                <a:gd name="T91" fmla="*/ 76 h 118"/>
                <a:gd name="T92" fmla="*/ 73 w 118"/>
                <a:gd name="T93" fmla="*/ 76 h 118"/>
                <a:gd name="T94" fmla="*/ 76 w 118"/>
                <a:gd name="T95" fmla="*/ 73 h 118"/>
                <a:gd name="T96" fmla="*/ 76 w 118"/>
                <a:gd name="T97" fmla="*/ 52 h 118"/>
                <a:gd name="T98" fmla="*/ 73 w 118"/>
                <a:gd name="T99" fmla="*/ 49 h 118"/>
                <a:gd name="T100" fmla="*/ 66 w 118"/>
                <a:gd name="T101" fmla="*/ 49 h 118"/>
                <a:gd name="T102" fmla="*/ 66 w 118"/>
                <a:gd name="T103" fmla="*/ 42 h 118"/>
                <a:gd name="T104" fmla="*/ 64 w 118"/>
                <a:gd name="T105" fmla="*/ 40 h 118"/>
                <a:gd name="T106" fmla="*/ 54 w 118"/>
                <a:gd name="T107" fmla="*/ 40 h 118"/>
                <a:gd name="T108" fmla="*/ 52 w 118"/>
                <a:gd name="T109" fmla="*/ 42 h 118"/>
                <a:gd name="T110" fmla="*/ 52 w 118"/>
                <a:gd name="T111" fmla="*/ 59 h 118"/>
                <a:gd name="T112" fmla="*/ 45 w 118"/>
                <a:gd name="T113" fmla="*/ 59 h 118"/>
                <a:gd name="T114" fmla="*/ 42 w 118"/>
                <a:gd name="T115" fmla="*/ 61 h 118"/>
                <a:gd name="T116" fmla="*/ 42 w 118"/>
                <a:gd name="T117" fmla="*/ 73 h 118"/>
                <a:gd name="T118" fmla="*/ 45 w 118"/>
                <a:gd name="T119" fmla="*/ 7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18">
                  <a:moveTo>
                    <a:pt x="59" y="114"/>
                  </a:moveTo>
                  <a:cubicBezTo>
                    <a:pt x="30" y="114"/>
                    <a:pt x="6" y="90"/>
                    <a:pt x="4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83"/>
                    <a:pt x="37" y="99"/>
                    <a:pt x="59" y="99"/>
                  </a:cubicBezTo>
                  <a:cubicBezTo>
                    <a:pt x="81" y="99"/>
                    <a:pt x="99" y="81"/>
                    <a:pt x="99" y="59"/>
                  </a:cubicBezTo>
                  <a:cubicBezTo>
                    <a:pt x="99" y="50"/>
                    <a:pt x="96" y="41"/>
                    <a:pt x="91" y="34"/>
                  </a:cubicBezTo>
                  <a:cubicBezTo>
                    <a:pt x="102" y="25"/>
                    <a:pt x="102" y="25"/>
                    <a:pt x="102" y="25"/>
                  </a:cubicBezTo>
                  <a:cubicBezTo>
                    <a:pt x="109" y="34"/>
                    <a:pt x="114" y="46"/>
                    <a:pt x="114" y="59"/>
                  </a:cubicBezTo>
                  <a:cubicBezTo>
                    <a:pt x="114" y="89"/>
                    <a:pt x="89" y="114"/>
                    <a:pt x="59" y="114"/>
                  </a:cubicBezTo>
                  <a:moveTo>
                    <a:pt x="57" y="4"/>
                  </a:moveTo>
                  <a:cubicBezTo>
                    <a:pt x="57" y="4"/>
                    <a:pt x="57" y="4"/>
                    <a:pt x="57" y="5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36" y="20"/>
                    <a:pt x="20" y="36"/>
                    <a:pt x="19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6" y="28"/>
                    <a:pt x="28" y="6"/>
                    <a:pt x="57" y="4"/>
                  </a:cubicBezTo>
                  <a:moveTo>
                    <a:pt x="95" y="59"/>
                  </a:moveTo>
                  <a:cubicBezTo>
                    <a:pt x="95" y="79"/>
                    <a:pt x="79" y="95"/>
                    <a:pt x="59" y="95"/>
                  </a:cubicBezTo>
                  <a:cubicBezTo>
                    <a:pt x="39" y="95"/>
                    <a:pt x="23" y="79"/>
                    <a:pt x="23" y="59"/>
                  </a:cubicBezTo>
                  <a:cubicBezTo>
                    <a:pt x="23" y="39"/>
                    <a:pt x="39" y="23"/>
                    <a:pt x="59" y="23"/>
                  </a:cubicBezTo>
                  <a:cubicBezTo>
                    <a:pt x="79" y="23"/>
                    <a:pt x="95" y="39"/>
                    <a:pt x="95" y="59"/>
                  </a:cubicBezTo>
                  <a:moveTo>
                    <a:pt x="99" y="2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1" y="24"/>
                    <a:pt x="72" y="19"/>
                    <a:pt x="61" y="19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76" y="5"/>
                    <a:pt x="89" y="11"/>
                    <a:pt x="99" y="21"/>
                  </a:cubicBezTo>
                  <a:moveTo>
                    <a:pt x="59" y="0"/>
                  </a:moveTo>
                  <a:cubicBezTo>
                    <a:pt x="26" y="0"/>
                    <a:pt x="0" y="26"/>
                    <a:pt x="0" y="59"/>
                  </a:cubicBezTo>
                  <a:cubicBezTo>
                    <a:pt x="0" y="92"/>
                    <a:pt x="26" y="118"/>
                    <a:pt x="59" y="118"/>
                  </a:cubicBezTo>
                  <a:cubicBezTo>
                    <a:pt x="92" y="118"/>
                    <a:pt x="118" y="92"/>
                    <a:pt x="118" y="59"/>
                  </a:cubicBezTo>
                  <a:cubicBezTo>
                    <a:pt x="118" y="26"/>
                    <a:pt x="92" y="0"/>
                    <a:pt x="59" y="0"/>
                  </a:cubicBezTo>
                  <a:moveTo>
                    <a:pt x="45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5"/>
                    <a:pt x="53" y="76"/>
                    <a:pt x="54" y="76"/>
                  </a:cubicBezTo>
                  <a:cubicBezTo>
                    <a:pt x="56" y="76"/>
                    <a:pt x="57" y="75"/>
                    <a:pt x="57" y="73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5"/>
                    <a:pt x="62" y="76"/>
                    <a:pt x="64" y="76"/>
                  </a:cubicBezTo>
                  <a:cubicBezTo>
                    <a:pt x="65" y="76"/>
                    <a:pt x="66" y="75"/>
                    <a:pt x="66" y="7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5" y="76"/>
                    <a:pt x="76" y="75"/>
                    <a:pt x="76" y="7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1"/>
                    <a:pt x="75" y="49"/>
                    <a:pt x="73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0"/>
                    <a:pt x="6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40"/>
                    <a:pt x="52" y="41"/>
                    <a:pt x="52" y="42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3" y="59"/>
                    <a:pt x="42" y="60"/>
                    <a:pt x="42" y="61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5"/>
                    <a:pt x="43" y="76"/>
                    <a:pt x="45" y="7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9" name="Group 170">
            <a:extLst>
              <a:ext uri="{FF2B5EF4-FFF2-40B4-BE49-F238E27FC236}">
                <a16:creationId xmlns:a16="http://schemas.microsoft.com/office/drawing/2014/main" id="{7D61CAFF-745F-4EED-BC19-CA0D9CD73D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59007" y="4139749"/>
            <a:ext cx="760412" cy="758825"/>
            <a:chOff x="2153" y="2683"/>
            <a:chExt cx="479" cy="478"/>
          </a:xfrm>
        </p:grpSpPr>
        <p:sp>
          <p:nvSpPr>
            <p:cNvPr id="200" name="AutoShape 169">
              <a:extLst>
                <a:ext uri="{FF2B5EF4-FFF2-40B4-BE49-F238E27FC236}">
                  <a16:creationId xmlns:a16="http://schemas.microsoft.com/office/drawing/2014/main" id="{33703C25-8953-40D0-B304-B39409D800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53" y="268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71">
              <a:extLst>
                <a:ext uri="{FF2B5EF4-FFF2-40B4-BE49-F238E27FC236}">
                  <a16:creationId xmlns:a16="http://schemas.microsoft.com/office/drawing/2014/main" id="{811BC6AE-E0E0-4D4C-80DD-78CF60FD3B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5" y="268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72">
              <a:extLst>
                <a:ext uri="{FF2B5EF4-FFF2-40B4-BE49-F238E27FC236}">
                  <a16:creationId xmlns:a16="http://schemas.microsoft.com/office/drawing/2014/main" id="{EE16F9CF-A446-4E52-8325-E0D3304181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8" y="2798"/>
              <a:ext cx="251" cy="250"/>
            </a:xfrm>
            <a:custGeom>
              <a:avLst/>
              <a:gdLst>
                <a:gd name="T0" fmla="*/ 35 w 102"/>
                <a:gd name="T1" fmla="*/ 88 h 102"/>
                <a:gd name="T2" fmla="*/ 69 w 102"/>
                <a:gd name="T3" fmla="*/ 83 h 102"/>
                <a:gd name="T4" fmla="*/ 30 w 102"/>
                <a:gd name="T5" fmla="*/ 99 h 102"/>
                <a:gd name="T6" fmla="*/ 72 w 102"/>
                <a:gd name="T7" fmla="*/ 99 h 102"/>
                <a:gd name="T8" fmla="*/ 97 w 102"/>
                <a:gd name="T9" fmla="*/ 95 h 102"/>
                <a:gd name="T10" fmla="*/ 83 w 102"/>
                <a:gd name="T11" fmla="*/ 88 h 102"/>
                <a:gd name="T12" fmla="*/ 99 w 102"/>
                <a:gd name="T13" fmla="*/ 83 h 102"/>
                <a:gd name="T14" fmla="*/ 79 w 102"/>
                <a:gd name="T15" fmla="*/ 99 h 102"/>
                <a:gd name="T16" fmla="*/ 102 w 102"/>
                <a:gd name="T17" fmla="*/ 95 h 102"/>
                <a:gd name="T18" fmla="*/ 19 w 102"/>
                <a:gd name="T19" fmla="*/ 97 h 102"/>
                <a:gd name="T20" fmla="*/ 5 w 102"/>
                <a:gd name="T21" fmla="*/ 88 h 102"/>
                <a:gd name="T22" fmla="*/ 21 w 102"/>
                <a:gd name="T23" fmla="*/ 83 h 102"/>
                <a:gd name="T24" fmla="*/ 0 w 102"/>
                <a:gd name="T25" fmla="*/ 95 h 102"/>
                <a:gd name="T26" fmla="*/ 23 w 102"/>
                <a:gd name="T27" fmla="*/ 99 h 102"/>
                <a:gd name="T28" fmla="*/ 67 w 102"/>
                <a:gd name="T29" fmla="*/ 74 h 102"/>
                <a:gd name="T30" fmla="*/ 67 w 102"/>
                <a:gd name="T31" fmla="*/ 65 h 102"/>
                <a:gd name="T32" fmla="*/ 33 w 102"/>
                <a:gd name="T33" fmla="*/ 60 h 102"/>
                <a:gd name="T34" fmla="*/ 33 w 102"/>
                <a:gd name="T35" fmla="*/ 79 h 102"/>
                <a:gd name="T36" fmla="*/ 72 w 102"/>
                <a:gd name="T37" fmla="*/ 63 h 102"/>
                <a:gd name="T38" fmla="*/ 83 w 102"/>
                <a:gd name="T39" fmla="*/ 74 h 102"/>
                <a:gd name="T40" fmla="*/ 97 w 102"/>
                <a:gd name="T41" fmla="*/ 74 h 102"/>
                <a:gd name="T42" fmla="*/ 79 w 102"/>
                <a:gd name="T43" fmla="*/ 63 h 102"/>
                <a:gd name="T44" fmla="*/ 99 w 102"/>
                <a:gd name="T45" fmla="*/ 79 h 102"/>
                <a:gd name="T46" fmla="*/ 99 w 102"/>
                <a:gd name="T47" fmla="*/ 60 h 102"/>
                <a:gd name="T48" fmla="*/ 5 w 102"/>
                <a:gd name="T49" fmla="*/ 65 h 102"/>
                <a:gd name="T50" fmla="*/ 21 w 102"/>
                <a:gd name="T51" fmla="*/ 60 h 102"/>
                <a:gd name="T52" fmla="*/ 0 w 102"/>
                <a:gd name="T53" fmla="*/ 76 h 102"/>
                <a:gd name="T54" fmla="*/ 23 w 102"/>
                <a:gd name="T55" fmla="*/ 76 h 102"/>
                <a:gd name="T56" fmla="*/ 67 w 102"/>
                <a:gd name="T57" fmla="*/ 51 h 102"/>
                <a:gd name="T58" fmla="*/ 67 w 102"/>
                <a:gd name="T59" fmla="*/ 42 h 102"/>
                <a:gd name="T60" fmla="*/ 33 w 102"/>
                <a:gd name="T61" fmla="*/ 37 h 102"/>
                <a:gd name="T62" fmla="*/ 33 w 102"/>
                <a:gd name="T63" fmla="*/ 56 h 102"/>
                <a:gd name="T64" fmla="*/ 72 w 102"/>
                <a:gd name="T65" fmla="*/ 39 h 102"/>
                <a:gd name="T66" fmla="*/ 83 w 102"/>
                <a:gd name="T67" fmla="*/ 51 h 102"/>
                <a:gd name="T68" fmla="*/ 97 w 102"/>
                <a:gd name="T69" fmla="*/ 51 h 102"/>
                <a:gd name="T70" fmla="*/ 79 w 102"/>
                <a:gd name="T71" fmla="*/ 39 h 102"/>
                <a:gd name="T72" fmla="*/ 99 w 102"/>
                <a:gd name="T73" fmla="*/ 56 h 102"/>
                <a:gd name="T74" fmla="*/ 99 w 102"/>
                <a:gd name="T75" fmla="*/ 37 h 102"/>
                <a:gd name="T76" fmla="*/ 5 w 102"/>
                <a:gd name="T77" fmla="*/ 42 h 102"/>
                <a:gd name="T78" fmla="*/ 21 w 102"/>
                <a:gd name="T79" fmla="*/ 37 h 102"/>
                <a:gd name="T80" fmla="*/ 0 w 102"/>
                <a:gd name="T81" fmla="*/ 53 h 102"/>
                <a:gd name="T82" fmla="*/ 23 w 102"/>
                <a:gd name="T83" fmla="*/ 53 h 102"/>
                <a:gd name="T84" fmla="*/ 97 w 102"/>
                <a:gd name="T85" fmla="*/ 26 h 102"/>
                <a:gd name="T86" fmla="*/ 7 w 102"/>
                <a:gd name="T87" fmla="*/ 5 h 102"/>
                <a:gd name="T88" fmla="*/ 97 w 102"/>
                <a:gd name="T89" fmla="*/ 26 h 102"/>
                <a:gd name="T90" fmla="*/ 0 w 102"/>
                <a:gd name="T91" fmla="*/ 7 h 102"/>
                <a:gd name="T92" fmla="*/ 99 w 102"/>
                <a:gd name="T93" fmla="*/ 30 h 102"/>
                <a:gd name="T94" fmla="*/ 95 w 102"/>
                <a:gd name="T9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2" h="102">
                  <a:moveTo>
                    <a:pt x="67" y="97"/>
                  </a:moveTo>
                  <a:cubicBezTo>
                    <a:pt x="35" y="97"/>
                    <a:pt x="35" y="97"/>
                    <a:pt x="35" y="97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67" y="88"/>
                    <a:pt x="67" y="88"/>
                    <a:pt x="67" y="88"/>
                  </a:cubicBezTo>
                  <a:lnTo>
                    <a:pt x="67" y="97"/>
                  </a:lnTo>
                  <a:close/>
                  <a:moveTo>
                    <a:pt x="69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1" y="83"/>
                    <a:pt x="30" y="84"/>
                    <a:pt x="30" y="86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101"/>
                    <a:pt x="31" y="102"/>
                    <a:pt x="3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71" y="102"/>
                    <a:pt x="72" y="101"/>
                    <a:pt x="72" y="99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2" y="84"/>
                    <a:pt x="71" y="83"/>
                    <a:pt x="69" y="83"/>
                  </a:cubicBezTo>
                  <a:moveTo>
                    <a:pt x="97" y="95"/>
                  </a:moveTo>
                  <a:cubicBezTo>
                    <a:pt x="97" y="96"/>
                    <a:pt x="96" y="97"/>
                    <a:pt x="95" y="97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3" y="88"/>
                    <a:pt x="83" y="88"/>
                    <a:pt x="83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95"/>
                  </a:lnTo>
                  <a:close/>
                  <a:moveTo>
                    <a:pt x="99" y="83"/>
                  </a:moveTo>
                  <a:cubicBezTo>
                    <a:pt x="81" y="83"/>
                    <a:pt x="81" y="83"/>
                    <a:pt x="81" y="83"/>
                  </a:cubicBezTo>
                  <a:cubicBezTo>
                    <a:pt x="80" y="83"/>
                    <a:pt x="79" y="84"/>
                    <a:pt x="79" y="86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101"/>
                    <a:pt x="80" y="102"/>
                    <a:pt x="81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99" y="102"/>
                    <a:pt x="102" y="99"/>
                    <a:pt x="102" y="95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102" y="84"/>
                    <a:pt x="101" y="83"/>
                    <a:pt x="99" y="83"/>
                  </a:cubicBezTo>
                  <a:moveTo>
                    <a:pt x="19" y="97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6" y="97"/>
                    <a:pt x="5" y="96"/>
                    <a:pt x="5" y="95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19" y="88"/>
                    <a:pt x="19" y="88"/>
                    <a:pt x="19" y="88"/>
                  </a:cubicBezTo>
                  <a:lnTo>
                    <a:pt x="19" y="97"/>
                  </a:lnTo>
                  <a:close/>
                  <a:moveTo>
                    <a:pt x="21" y="83"/>
                  </a:moveTo>
                  <a:cubicBezTo>
                    <a:pt x="3" y="83"/>
                    <a:pt x="3" y="83"/>
                    <a:pt x="3" y="83"/>
                  </a:cubicBezTo>
                  <a:cubicBezTo>
                    <a:pt x="1" y="83"/>
                    <a:pt x="0" y="84"/>
                    <a:pt x="0" y="8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9"/>
                    <a:pt x="3" y="102"/>
                    <a:pt x="7" y="102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2" y="102"/>
                    <a:pt x="23" y="101"/>
                    <a:pt x="23" y="99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4"/>
                    <a:pt x="22" y="83"/>
                    <a:pt x="21" y="83"/>
                  </a:cubicBezTo>
                  <a:moveTo>
                    <a:pt x="67" y="74"/>
                  </a:moveTo>
                  <a:cubicBezTo>
                    <a:pt x="35" y="74"/>
                    <a:pt x="35" y="74"/>
                    <a:pt x="35" y="7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67" y="65"/>
                    <a:pt x="67" y="65"/>
                    <a:pt x="67" y="65"/>
                  </a:cubicBezTo>
                  <a:lnTo>
                    <a:pt x="67" y="74"/>
                  </a:lnTo>
                  <a:close/>
                  <a:moveTo>
                    <a:pt x="69" y="60"/>
                  </a:moveTo>
                  <a:cubicBezTo>
                    <a:pt x="33" y="60"/>
                    <a:pt x="33" y="60"/>
                    <a:pt x="33" y="60"/>
                  </a:cubicBezTo>
                  <a:cubicBezTo>
                    <a:pt x="31" y="60"/>
                    <a:pt x="30" y="61"/>
                    <a:pt x="30" y="63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8"/>
                    <a:pt x="31" y="79"/>
                    <a:pt x="33" y="79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71" y="79"/>
                    <a:pt x="72" y="78"/>
                    <a:pt x="72" y="76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1"/>
                    <a:pt x="71" y="60"/>
                    <a:pt x="69" y="60"/>
                  </a:cubicBezTo>
                  <a:moveTo>
                    <a:pt x="97" y="74"/>
                  </a:moveTo>
                  <a:cubicBezTo>
                    <a:pt x="83" y="74"/>
                    <a:pt x="83" y="74"/>
                    <a:pt x="83" y="74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97" y="65"/>
                    <a:pt x="97" y="65"/>
                    <a:pt x="97" y="65"/>
                  </a:cubicBezTo>
                  <a:lnTo>
                    <a:pt x="97" y="74"/>
                  </a:lnTo>
                  <a:close/>
                  <a:moveTo>
                    <a:pt x="99" y="60"/>
                  </a:moveTo>
                  <a:cubicBezTo>
                    <a:pt x="81" y="60"/>
                    <a:pt x="81" y="60"/>
                    <a:pt x="81" y="60"/>
                  </a:cubicBezTo>
                  <a:cubicBezTo>
                    <a:pt x="80" y="60"/>
                    <a:pt x="79" y="61"/>
                    <a:pt x="79" y="63"/>
                  </a:cubicBezTo>
                  <a:cubicBezTo>
                    <a:pt x="79" y="76"/>
                    <a:pt x="79" y="76"/>
                    <a:pt x="79" y="76"/>
                  </a:cubicBezTo>
                  <a:cubicBezTo>
                    <a:pt x="79" y="78"/>
                    <a:pt x="80" y="79"/>
                    <a:pt x="81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101" y="79"/>
                    <a:pt x="102" y="78"/>
                    <a:pt x="102" y="76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1"/>
                    <a:pt x="101" y="60"/>
                    <a:pt x="99" y="60"/>
                  </a:cubicBezTo>
                  <a:moveTo>
                    <a:pt x="19" y="74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19" y="65"/>
                    <a:pt x="19" y="65"/>
                    <a:pt x="19" y="65"/>
                  </a:cubicBezTo>
                  <a:lnTo>
                    <a:pt x="19" y="74"/>
                  </a:lnTo>
                  <a:close/>
                  <a:moveTo>
                    <a:pt x="21" y="60"/>
                  </a:moveTo>
                  <a:cubicBezTo>
                    <a:pt x="3" y="60"/>
                    <a:pt x="3" y="60"/>
                    <a:pt x="3" y="60"/>
                  </a:cubicBezTo>
                  <a:cubicBezTo>
                    <a:pt x="1" y="60"/>
                    <a:pt x="0" y="61"/>
                    <a:pt x="0" y="6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1" y="79"/>
                    <a:pt x="3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3" y="78"/>
                    <a:pt x="23" y="76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61"/>
                    <a:pt x="22" y="60"/>
                    <a:pt x="21" y="60"/>
                  </a:cubicBezTo>
                  <a:moveTo>
                    <a:pt x="67" y="51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67" y="42"/>
                    <a:pt x="67" y="42"/>
                    <a:pt x="67" y="42"/>
                  </a:cubicBezTo>
                  <a:lnTo>
                    <a:pt x="67" y="51"/>
                  </a:lnTo>
                  <a:close/>
                  <a:moveTo>
                    <a:pt x="69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1" y="37"/>
                    <a:pt x="30" y="38"/>
                    <a:pt x="30" y="39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5"/>
                    <a:pt x="31" y="56"/>
                    <a:pt x="33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1" y="56"/>
                    <a:pt x="72" y="55"/>
                    <a:pt x="72" y="53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8"/>
                    <a:pt x="71" y="37"/>
                    <a:pt x="69" y="37"/>
                  </a:cubicBezTo>
                  <a:moveTo>
                    <a:pt x="97" y="51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97" y="42"/>
                    <a:pt x="97" y="42"/>
                    <a:pt x="97" y="42"/>
                  </a:cubicBezTo>
                  <a:lnTo>
                    <a:pt x="97" y="51"/>
                  </a:lnTo>
                  <a:close/>
                  <a:moveTo>
                    <a:pt x="99" y="37"/>
                  </a:moveTo>
                  <a:cubicBezTo>
                    <a:pt x="81" y="37"/>
                    <a:pt x="81" y="37"/>
                    <a:pt x="81" y="37"/>
                  </a:cubicBezTo>
                  <a:cubicBezTo>
                    <a:pt x="80" y="37"/>
                    <a:pt x="79" y="38"/>
                    <a:pt x="79" y="39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5"/>
                    <a:pt x="80" y="56"/>
                    <a:pt x="81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1" y="56"/>
                    <a:pt x="102" y="55"/>
                    <a:pt x="102" y="53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8"/>
                    <a:pt x="101" y="37"/>
                    <a:pt x="99" y="37"/>
                  </a:cubicBezTo>
                  <a:moveTo>
                    <a:pt x="19" y="51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19" y="42"/>
                    <a:pt x="19" y="42"/>
                    <a:pt x="19" y="42"/>
                  </a:cubicBezTo>
                  <a:lnTo>
                    <a:pt x="19" y="51"/>
                  </a:lnTo>
                  <a:close/>
                  <a:moveTo>
                    <a:pt x="21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8"/>
                    <a:pt x="0" y="3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1" y="56"/>
                    <a:pt x="3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5"/>
                    <a:pt x="23" y="5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8"/>
                    <a:pt x="22" y="37"/>
                    <a:pt x="21" y="37"/>
                  </a:cubicBezTo>
                  <a:moveTo>
                    <a:pt x="97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6" y="5"/>
                    <a:pt x="97" y="6"/>
                    <a:pt x="97" y="7"/>
                  </a:cubicBezTo>
                  <a:lnTo>
                    <a:pt x="97" y="26"/>
                  </a:lnTo>
                  <a:close/>
                  <a:moveTo>
                    <a:pt x="9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3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1" y="30"/>
                    <a:pt x="102" y="29"/>
                    <a:pt x="102" y="28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3"/>
                    <a:pt x="99" y="0"/>
                    <a:pt x="9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3" name="Group 175">
            <a:extLst>
              <a:ext uri="{FF2B5EF4-FFF2-40B4-BE49-F238E27FC236}">
                <a16:creationId xmlns:a16="http://schemas.microsoft.com/office/drawing/2014/main" id="{19BDB677-7066-4857-B5A9-8313583D38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1325" y="4098474"/>
            <a:ext cx="841375" cy="841375"/>
            <a:chOff x="1657" y="2683"/>
            <a:chExt cx="530" cy="530"/>
          </a:xfrm>
        </p:grpSpPr>
        <p:sp>
          <p:nvSpPr>
            <p:cNvPr id="204" name="AutoShape 174">
              <a:extLst>
                <a:ext uri="{FF2B5EF4-FFF2-40B4-BE49-F238E27FC236}">
                  <a16:creationId xmlns:a16="http://schemas.microsoft.com/office/drawing/2014/main" id="{79A3BA2E-950A-492B-B8CF-6DB56DB929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57" y="268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176">
              <a:extLst>
                <a:ext uri="{FF2B5EF4-FFF2-40B4-BE49-F238E27FC236}">
                  <a16:creationId xmlns:a16="http://schemas.microsoft.com/office/drawing/2014/main" id="{D2131DA4-3ADA-4C43-BE6D-16984EE08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7" y="268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77">
              <a:extLst>
                <a:ext uri="{FF2B5EF4-FFF2-40B4-BE49-F238E27FC236}">
                  <a16:creationId xmlns:a16="http://schemas.microsoft.com/office/drawing/2014/main" id="{3202C804-ED84-4D2F-942E-F0AC2ACF9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5" y="270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78">
              <a:extLst>
                <a:ext uri="{FF2B5EF4-FFF2-40B4-BE49-F238E27FC236}">
                  <a16:creationId xmlns:a16="http://schemas.microsoft.com/office/drawing/2014/main" id="{81960227-38D0-4E5A-B139-C05507BFB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2819"/>
              <a:ext cx="261" cy="261"/>
            </a:xfrm>
            <a:custGeom>
              <a:avLst/>
              <a:gdLst>
                <a:gd name="T0" fmla="*/ 35 w 102"/>
                <a:gd name="T1" fmla="*/ 88 h 102"/>
                <a:gd name="T2" fmla="*/ 69 w 102"/>
                <a:gd name="T3" fmla="*/ 83 h 102"/>
                <a:gd name="T4" fmla="*/ 30 w 102"/>
                <a:gd name="T5" fmla="*/ 99 h 102"/>
                <a:gd name="T6" fmla="*/ 72 w 102"/>
                <a:gd name="T7" fmla="*/ 99 h 102"/>
                <a:gd name="T8" fmla="*/ 97 w 102"/>
                <a:gd name="T9" fmla="*/ 95 h 102"/>
                <a:gd name="T10" fmla="*/ 83 w 102"/>
                <a:gd name="T11" fmla="*/ 88 h 102"/>
                <a:gd name="T12" fmla="*/ 99 w 102"/>
                <a:gd name="T13" fmla="*/ 83 h 102"/>
                <a:gd name="T14" fmla="*/ 79 w 102"/>
                <a:gd name="T15" fmla="*/ 99 h 102"/>
                <a:gd name="T16" fmla="*/ 102 w 102"/>
                <a:gd name="T17" fmla="*/ 95 h 102"/>
                <a:gd name="T18" fmla="*/ 19 w 102"/>
                <a:gd name="T19" fmla="*/ 97 h 102"/>
                <a:gd name="T20" fmla="*/ 5 w 102"/>
                <a:gd name="T21" fmla="*/ 88 h 102"/>
                <a:gd name="T22" fmla="*/ 21 w 102"/>
                <a:gd name="T23" fmla="*/ 83 h 102"/>
                <a:gd name="T24" fmla="*/ 0 w 102"/>
                <a:gd name="T25" fmla="*/ 95 h 102"/>
                <a:gd name="T26" fmla="*/ 23 w 102"/>
                <a:gd name="T27" fmla="*/ 99 h 102"/>
                <a:gd name="T28" fmla="*/ 67 w 102"/>
                <a:gd name="T29" fmla="*/ 74 h 102"/>
                <a:gd name="T30" fmla="*/ 67 w 102"/>
                <a:gd name="T31" fmla="*/ 65 h 102"/>
                <a:gd name="T32" fmla="*/ 33 w 102"/>
                <a:gd name="T33" fmla="*/ 60 h 102"/>
                <a:gd name="T34" fmla="*/ 33 w 102"/>
                <a:gd name="T35" fmla="*/ 79 h 102"/>
                <a:gd name="T36" fmla="*/ 72 w 102"/>
                <a:gd name="T37" fmla="*/ 63 h 102"/>
                <a:gd name="T38" fmla="*/ 83 w 102"/>
                <a:gd name="T39" fmla="*/ 74 h 102"/>
                <a:gd name="T40" fmla="*/ 97 w 102"/>
                <a:gd name="T41" fmla="*/ 74 h 102"/>
                <a:gd name="T42" fmla="*/ 79 w 102"/>
                <a:gd name="T43" fmla="*/ 63 h 102"/>
                <a:gd name="T44" fmla="*/ 99 w 102"/>
                <a:gd name="T45" fmla="*/ 79 h 102"/>
                <a:gd name="T46" fmla="*/ 99 w 102"/>
                <a:gd name="T47" fmla="*/ 60 h 102"/>
                <a:gd name="T48" fmla="*/ 5 w 102"/>
                <a:gd name="T49" fmla="*/ 65 h 102"/>
                <a:gd name="T50" fmla="*/ 21 w 102"/>
                <a:gd name="T51" fmla="*/ 60 h 102"/>
                <a:gd name="T52" fmla="*/ 0 w 102"/>
                <a:gd name="T53" fmla="*/ 76 h 102"/>
                <a:gd name="T54" fmla="*/ 23 w 102"/>
                <a:gd name="T55" fmla="*/ 76 h 102"/>
                <a:gd name="T56" fmla="*/ 67 w 102"/>
                <a:gd name="T57" fmla="*/ 51 h 102"/>
                <a:gd name="T58" fmla="*/ 67 w 102"/>
                <a:gd name="T59" fmla="*/ 42 h 102"/>
                <a:gd name="T60" fmla="*/ 33 w 102"/>
                <a:gd name="T61" fmla="*/ 37 h 102"/>
                <a:gd name="T62" fmla="*/ 33 w 102"/>
                <a:gd name="T63" fmla="*/ 56 h 102"/>
                <a:gd name="T64" fmla="*/ 72 w 102"/>
                <a:gd name="T65" fmla="*/ 39 h 102"/>
                <a:gd name="T66" fmla="*/ 83 w 102"/>
                <a:gd name="T67" fmla="*/ 51 h 102"/>
                <a:gd name="T68" fmla="*/ 97 w 102"/>
                <a:gd name="T69" fmla="*/ 51 h 102"/>
                <a:gd name="T70" fmla="*/ 79 w 102"/>
                <a:gd name="T71" fmla="*/ 39 h 102"/>
                <a:gd name="T72" fmla="*/ 99 w 102"/>
                <a:gd name="T73" fmla="*/ 56 h 102"/>
                <a:gd name="T74" fmla="*/ 99 w 102"/>
                <a:gd name="T75" fmla="*/ 37 h 102"/>
                <a:gd name="T76" fmla="*/ 5 w 102"/>
                <a:gd name="T77" fmla="*/ 42 h 102"/>
                <a:gd name="T78" fmla="*/ 21 w 102"/>
                <a:gd name="T79" fmla="*/ 37 h 102"/>
                <a:gd name="T80" fmla="*/ 0 w 102"/>
                <a:gd name="T81" fmla="*/ 53 h 102"/>
                <a:gd name="T82" fmla="*/ 23 w 102"/>
                <a:gd name="T83" fmla="*/ 53 h 102"/>
                <a:gd name="T84" fmla="*/ 97 w 102"/>
                <a:gd name="T85" fmla="*/ 26 h 102"/>
                <a:gd name="T86" fmla="*/ 7 w 102"/>
                <a:gd name="T87" fmla="*/ 5 h 102"/>
                <a:gd name="T88" fmla="*/ 97 w 102"/>
                <a:gd name="T89" fmla="*/ 26 h 102"/>
                <a:gd name="T90" fmla="*/ 0 w 102"/>
                <a:gd name="T91" fmla="*/ 7 h 102"/>
                <a:gd name="T92" fmla="*/ 99 w 102"/>
                <a:gd name="T93" fmla="*/ 30 h 102"/>
                <a:gd name="T94" fmla="*/ 95 w 102"/>
                <a:gd name="T9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2" h="102">
                  <a:moveTo>
                    <a:pt x="67" y="97"/>
                  </a:moveTo>
                  <a:cubicBezTo>
                    <a:pt x="35" y="97"/>
                    <a:pt x="35" y="97"/>
                    <a:pt x="35" y="97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67" y="88"/>
                    <a:pt x="67" y="88"/>
                    <a:pt x="67" y="88"/>
                  </a:cubicBezTo>
                  <a:lnTo>
                    <a:pt x="67" y="97"/>
                  </a:lnTo>
                  <a:close/>
                  <a:moveTo>
                    <a:pt x="69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1" y="83"/>
                    <a:pt x="30" y="84"/>
                    <a:pt x="30" y="86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101"/>
                    <a:pt x="31" y="102"/>
                    <a:pt x="3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71" y="102"/>
                    <a:pt x="72" y="101"/>
                    <a:pt x="72" y="99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2" y="84"/>
                    <a:pt x="71" y="83"/>
                    <a:pt x="69" y="83"/>
                  </a:cubicBezTo>
                  <a:moveTo>
                    <a:pt x="97" y="95"/>
                  </a:moveTo>
                  <a:cubicBezTo>
                    <a:pt x="97" y="96"/>
                    <a:pt x="96" y="97"/>
                    <a:pt x="95" y="97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83" y="88"/>
                    <a:pt x="83" y="88"/>
                    <a:pt x="83" y="88"/>
                  </a:cubicBezTo>
                  <a:cubicBezTo>
                    <a:pt x="97" y="88"/>
                    <a:pt x="97" y="88"/>
                    <a:pt x="97" y="88"/>
                  </a:cubicBezTo>
                  <a:lnTo>
                    <a:pt x="97" y="95"/>
                  </a:lnTo>
                  <a:close/>
                  <a:moveTo>
                    <a:pt x="99" y="83"/>
                  </a:moveTo>
                  <a:cubicBezTo>
                    <a:pt x="81" y="83"/>
                    <a:pt x="81" y="83"/>
                    <a:pt x="81" y="83"/>
                  </a:cubicBezTo>
                  <a:cubicBezTo>
                    <a:pt x="80" y="83"/>
                    <a:pt x="79" y="84"/>
                    <a:pt x="79" y="86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101"/>
                    <a:pt x="80" y="102"/>
                    <a:pt x="81" y="102"/>
                  </a:cubicBezTo>
                  <a:cubicBezTo>
                    <a:pt x="95" y="102"/>
                    <a:pt x="95" y="102"/>
                    <a:pt x="95" y="102"/>
                  </a:cubicBezTo>
                  <a:cubicBezTo>
                    <a:pt x="99" y="102"/>
                    <a:pt x="102" y="99"/>
                    <a:pt x="102" y="95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102" y="84"/>
                    <a:pt x="101" y="83"/>
                    <a:pt x="99" y="83"/>
                  </a:cubicBezTo>
                  <a:moveTo>
                    <a:pt x="19" y="97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6" y="97"/>
                    <a:pt x="5" y="96"/>
                    <a:pt x="5" y="95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19" y="88"/>
                    <a:pt x="19" y="88"/>
                    <a:pt x="19" y="88"/>
                  </a:cubicBezTo>
                  <a:lnTo>
                    <a:pt x="19" y="97"/>
                  </a:lnTo>
                  <a:close/>
                  <a:moveTo>
                    <a:pt x="21" y="83"/>
                  </a:moveTo>
                  <a:cubicBezTo>
                    <a:pt x="3" y="83"/>
                    <a:pt x="3" y="83"/>
                    <a:pt x="3" y="83"/>
                  </a:cubicBezTo>
                  <a:cubicBezTo>
                    <a:pt x="1" y="83"/>
                    <a:pt x="0" y="84"/>
                    <a:pt x="0" y="8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9"/>
                    <a:pt x="3" y="102"/>
                    <a:pt x="7" y="102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2" y="102"/>
                    <a:pt x="23" y="101"/>
                    <a:pt x="23" y="99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4"/>
                    <a:pt x="22" y="83"/>
                    <a:pt x="21" y="83"/>
                  </a:cubicBezTo>
                  <a:moveTo>
                    <a:pt x="67" y="74"/>
                  </a:moveTo>
                  <a:cubicBezTo>
                    <a:pt x="35" y="74"/>
                    <a:pt x="35" y="74"/>
                    <a:pt x="35" y="7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67" y="65"/>
                    <a:pt x="67" y="65"/>
                    <a:pt x="67" y="65"/>
                  </a:cubicBezTo>
                  <a:lnTo>
                    <a:pt x="67" y="74"/>
                  </a:lnTo>
                  <a:close/>
                  <a:moveTo>
                    <a:pt x="69" y="60"/>
                  </a:moveTo>
                  <a:cubicBezTo>
                    <a:pt x="33" y="60"/>
                    <a:pt x="33" y="60"/>
                    <a:pt x="33" y="60"/>
                  </a:cubicBezTo>
                  <a:cubicBezTo>
                    <a:pt x="31" y="60"/>
                    <a:pt x="30" y="61"/>
                    <a:pt x="30" y="63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8"/>
                    <a:pt x="31" y="79"/>
                    <a:pt x="33" y="79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71" y="79"/>
                    <a:pt x="72" y="78"/>
                    <a:pt x="72" y="76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1"/>
                    <a:pt x="71" y="60"/>
                    <a:pt x="69" y="60"/>
                  </a:cubicBezTo>
                  <a:moveTo>
                    <a:pt x="97" y="74"/>
                  </a:moveTo>
                  <a:cubicBezTo>
                    <a:pt x="83" y="74"/>
                    <a:pt x="83" y="74"/>
                    <a:pt x="83" y="74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97" y="65"/>
                    <a:pt x="97" y="65"/>
                    <a:pt x="97" y="65"/>
                  </a:cubicBezTo>
                  <a:lnTo>
                    <a:pt x="97" y="74"/>
                  </a:lnTo>
                  <a:close/>
                  <a:moveTo>
                    <a:pt x="99" y="60"/>
                  </a:moveTo>
                  <a:cubicBezTo>
                    <a:pt x="81" y="60"/>
                    <a:pt x="81" y="60"/>
                    <a:pt x="81" y="60"/>
                  </a:cubicBezTo>
                  <a:cubicBezTo>
                    <a:pt x="80" y="60"/>
                    <a:pt x="79" y="61"/>
                    <a:pt x="79" y="63"/>
                  </a:cubicBezTo>
                  <a:cubicBezTo>
                    <a:pt x="79" y="76"/>
                    <a:pt x="79" y="76"/>
                    <a:pt x="79" y="76"/>
                  </a:cubicBezTo>
                  <a:cubicBezTo>
                    <a:pt x="79" y="78"/>
                    <a:pt x="80" y="79"/>
                    <a:pt x="81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101" y="79"/>
                    <a:pt x="102" y="78"/>
                    <a:pt x="102" y="76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1"/>
                    <a:pt x="101" y="60"/>
                    <a:pt x="99" y="60"/>
                  </a:cubicBezTo>
                  <a:moveTo>
                    <a:pt x="19" y="74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19" y="65"/>
                    <a:pt x="19" y="65"/>
                    <a:pt x="19" y="65"/>
                  </a:cubicBezTo>
                  <a:lnTo>
                    <a:pt x="19" y="74"/>
                  </a:lnTo>
                  <a:close/>
                  <a:moveTo>
                    <a:pt x="21" y="60"/>
                  </a:moveTo>
                  <a:cubicBezTo>
                    <a:pt x="3" y="60"/>
                    <a:pt x="3" y="60"/>
                    <a:pt x="3" y="60"/>
                  </a:cubicBezTo>
                  <a:cubicBezTo>
                    <a:pt x="1" y="60"/>
                    <a:pt x="0" y="61"/>
                    <a:pt x="0" y="6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8"/>
                    <a:pt x="1" y="79"/>
                    <a:pt x="3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3" y="78"/>
                    <a:pt x="23" y="76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61"/>
                    <a:pt x="22" y="60"/>
                    <a:pt x="21" y="60"/>
                  </a:cubicBezTo>
                  <a:moveTo>
                    <a:pt x="67" y="51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67" y="42"/>
                    <a:pt x="67" y="42"/>
                    <a:pt x="67" y="42"/>
                  </a:cubicBezTo>
                  <a:lnTo>
                    <a:pt x="67" y="51"/>
                  </a:lnTo>
                  <a:close/>
                  <a:moveTo>
                    <a:pt x="69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1" y="37"/>
                    <a:pt x="30" y="38"/>
                    <a:pt x="30" y="39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5"/>
                    <a:pt x="31" y="56"/>
                    <a:pt x="33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1" y="56"/>
                    <a:pt x="72" y="55"/>
                    <a:pt x="72" y="53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8"/>
                    <a:pt x="71" y="37"/>
                    <a:pt x="69" y="37"/>
                  </a:cubicBezTo>
                  <a:moveTo>
                    <a:pt x="97" y="51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97" y="42"/>
                    <a:pt x="97" y="42"/>
                    <a:pt x="97" y="42"/>
                  </a:cubicBezTo>
                  <a:lnTo>
                    <a:pt x="97" y="51"/>
                  </a:lnTo>
                  <a:close/>
                  <a:moveTo>
                    <a:pt x="99" y="37"/>
                  </a:moveTo>
                  <a:cubicBezTo>
                    <a:pt x="81" y="37"/>
                    <a:pt x="81" y="37"/>
                    <a:pt x="81" y="37"/>
                  </a:cubicBezTo>
                  <a:cubicBezTo>
                    <a:pt x="80" y="37"/>
                    <a:pt x="79" y="38"/>
                    <a:pt x="79" y="39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5"/>
                    <a:pt x="80" y="56"/>
                    <a:pt x="81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1" y="56"/>
                    <a:pt x="102" y="55"/>
                    <a:pt x="102" y="53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8"/>
                    <a:pt x="101" y="37"/>
                    <a:pt x="99" y="37"/>
                  </a:cubicBezTo>
                  <a:moveTo>
                    <a:pt x="19" y="51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19" y="42"/>
                    <a:pt x="19" y="42"/>
                    <a:pt x="19" y="42"/>
                  </a:cubicBezTo>
                  <a:lnTo>
                    <a:pt x="19" y="51"/>
                  </a:lnTo>
                  <a:close/>
                  <a:moveTo>
                    <a:pt x="21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1" y="37"/>
                    <a:pt x="0" y="38"/>
                    <a:pt x="0" y="3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5"/>
                    <a:pt x="1" y="56"/>
                    <a:pt x="3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2" y="56"/>
                    <a:pt x="23" y="55"/>
                    <a:pt x="23" y="53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8"/>
                    <a:pt x="22" y="37"/>
                    <a:pt x="21" y="37"/>
                  </a:cubicBezTo>
                  <a:moveTo>
                    <a:pt x="97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6" y="5"/>
                    <a:pt x="97" y="6"/>
                    <a:pt x="97" y="7"/>
                  </a:cubicBezTo>
                  <a:lnTo>
                    <a:pt x="97" y="26"/>
                  </a:lnTo>
                  <a:close/>
                  <a:moveTo>
                    <a:pt x="9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3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101" y="30"/>
                    <a:pt x="102" y="29"/>
                    <a:pt x="102" y="28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3"/>
                    <a:pt x="99" y="0"/>
                    <a:pt x="9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2" name="Group 181">
            <a:extLst>
              <a:ext uri="{FF2B5EF4-FFF2-40B4-BE49-F238E27FC236}">
                <a16:creationId xmlns:a16="http://schemas.microsoft.com/office/drawing/2014/main" id="{2038A508-CA40-4390-976B-7B50D30094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305" y="4139749"/>
            <a:ext cx="760412" cy="758825"/>
            <a:chOff x="3609" y="2671"/>
            <a:chExt cx="479" cy="478"/>
          </a:xfrm>
        </p:grpSpPr>
        <p:sp>
          <p:nvSpPr>
            <p:cNvPr id="213" name="AutoShape 180">
              <a:extLst>
                <a:ext uri="{FF2B5EF4-FFF2-40B4-BE49-F238E27FC236}">
                  <a16:creationId xmlns:a16="http://schemas.microsoft.com/office/drawing/2014/main" id="{318B3509-7208-423A-9C19-0D96ECB02E5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09" y="267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82">
              <a:extLst>
                <a:ext uri="{FF2B5EF4-FFF2-40B4-BE49-F238E27FC236}">
                  <a16:creationId xmlns:a16="http://schemas.microsoft.com/office/drawing/2014/main" id="{26F4653F-4266-433E-946B-D7A5AED75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1" y="267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83">
              <a:extLst>
                <a:ext uri="{FF2B5EF4-FFF2-40B4-BE49-F238E27FC236}">
                  <a16:creationId xmlns:a16="http://schemas.microsoft.com/office/drawing/2014/main" id="{59D664C7-5013-44C3-BC8E-463C15ED84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7" y="2779"/>
              <a:ext cx="285" cy="265"/>
            </a:xfrm>
            <a:custGeom>
              <a:avLst/>
              <a:gdLst>
                <a:gd name="T0" fmla="*/ 9 w 116"/>
                <a:gd name="T1" fmla="*/ 104 h 108"/>
                <a:gd name="T2" fmla="*/ 5 w 116"/>
                <a:gd name="T3" fmla="*/ 70 h 108"/>
                <a:gd name="T4" fmla="*/ 18 w 116"/>
                <a:gd name="T5" fmla="*/ 80 h 108"/>
                <a:gd name="T6" fmla="*/ 41 w 116"/>
                <a:gd name="T7" fmla="*/ 79 h 108"/>
                <a:gd name="T8" fmla="*/ 56 w 116"/>
                <a:gd name="T9" fmla="*/ 81 h 108"/>
                <a:gd name="T10" fmla="*/ 74 w 116"/>
                <a:gd name="T11" fmla="*/ 70 h 108"/>
                <a:gd name="T12" fmla="*/ 111 w 116"/>
                <a:gd name="T13" fmla="*/ 77 h 108"/>
                <a:gd name="T14" fmla="*/ 107 w 116"/>
                <a:gd name="T15" fmla="*/ 104 h 108"/>
                <a:gd name="T16" fmla="*/ 22 w 116"/>
                <a:gd name="T17" fmla="*/ 54 h 108"/>
                <a:gd name="T18" fmla="*/ 5 w 116"/>
                <a:gd name="T19" fmla="*/ 65 h 108"/>
                <a:gd name="T20" fmla="*/ 9 w 116"/>
                <a:gd name="T21" fmla="*/ 49 h 108"/>
                <a:gd name="T22" fmla="*/ 56 w 116"/>
                <a:gd name="T23" fmla="*/ 77 h 108"/>
                <a:gd name="T24" fmla="*/ 46 w 116"/>
                <a:gd name="T25" fmla="*/ 70 h 108"/>
                <a:gd name="T26" fmla="*/ 64 w 116"/>
                <a:gd name="T27" fmla="*/ 49 h 108"/>
                <a:gd name="T28" fmla="*/ 25 w 116"/>
                <a:gd name="T29" fmla="*/ 57 h 108"/>
                <a:gd name="T30" fmla="*/ 38 w 116"/>
                <a:gd name="T31" fmla="*/ 73 h 108"/>
                <a:gd name="T32" fmla="*/ 32 w 116"/>
                <a:gd name="T33" fmla="*/ 88 h 108"/>
                <a:gd name="T34" fmla="*/ 16 w 116"/>
                <a:gd name="T35" fmla="*/ 68 h 108"/>
                <a:gd name="T36" fmla="*/ 35 w 116"/>
                <a:gd name="T37" fmla="*/ 36 h 108"/>
                <a:gd name="T38" fmla="*/ 74 w 116"/>
                <a:gd name="T39" fmla="*/ 30 h 108"/>
                <a:gd name="T40" fmla="*/ 75 w 116"/>
                <a:gd name="T41" fmla="*/ 53 h 108"/>
                <a:gd name="T42" fmla="*/ 64 w 116"/>
                <a:gd name="T43" fmla="*/ 45 h 108"/>
                <a:gd name="T44" fmla="*/ 46 w 116"/>
                <a:gd name="T45" fmla="*/ 65 h 108"/>
                <a:gd name="T46" fmla="*/ 35 w 116"/>
                <a:gd name="T47" fmla="*/ 62 h 108"/>
                <a:gd name="T48" fmla="*/ 35 w 116"/>
                <a:gd name="T49" fmla="*/ 36 h 108"/>
                <a:gd name="T50" fmla="*/ 111 w 116"/>
                <a:gd name="T51" fmla="*/ 31 h 108"/>
                <a:gd name="T52" fmla="*/ 97 w 116"/>
                <a:gd name="T53" fmla="*/ 54 h 108"/>
                <a:gd name="T54" fmla="*/ 99 w 116"/>
                <a:gd name="T55" fmla="*/ 31 h 108"/>
                <a:gd name="T56" fmla="*/ 97 w 116"/>
                <a:gd name="T57" fmla="*/ 59 h 108"/>
                <a:gd name="T58" fmla="*/ 111 w 116"/>
                <a:gd name="T59" fmla="*/ 65 h 108"/>
                <a:gd name="T60" fmla="*/ 78 w 116"/>
                <a:gd name="T61" fmla="*/ 68 h 108"/>
                <a:gd name="T62" fmla="*/ 80 w 116"/>
                <a:gd name="T63" fmla="*/ 55 h 108"/>
                <a:gd name="T64" fmla="*/ 114 w 116"/>
                <a:gd name="T65" fmla="*/ 27 h 108"/>
                <a:gd name="T66" fmla="*/ 82 w 116"/>
                <a:gd name="T67" fmla="*/ 38 h 108"/>
                <a:gd name="T68" fmla="*/ 56 w 116"/>
                <a:gd name="T69" fmla="*/ 0 h 108"/>
                <a:gd name="T70" fmla="*/ 24 w 116"/>
                <a:gd name="T71" fmla="*/ 50 h 108"/>
                <a:gd name="T72" fmla="*/ 3 w 116"/>
                <a:gd name="T73" fmla="*/ 45 h 108"/>
                <a:gd name="T74" fmla="*/ 0 w 116"/>
                <a:gd name="T75" fmla="*/ 99 h 108"/>
                <a:gd name="T76" fmla="*/ 107 w 116"/>
                <a:gd name="T77" fmla="*/ 108 h 108"/>
                <a:gd name="T78" fmla="*/ 116 w 116"/>
                <a:gd name="T79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" h="108">
                  <a:moveTo>
                    <a:pt x="107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7" y="104"/>
                    <a:pt x="5" y="102"/>
                    <a:pt x="5" y="99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3" y="70"/>
                    <a:pt x="16" y="75"/>
                    <a:pt x="18" y="80"/>
                  </a:cubicBezTo>
                  <a:cubicBezTo>
                    <a:pt x="22" y="86"/>
                    <a:pt x="25" y="92"/>
                    <a:pt x="32" y="92"/>
                  </a:cubicBezTo>
                  <a:cubicBezTo>
                    <a:pt x="38" y="92"/>
                    <a:pt x="40" y="85"/>
                    <a:pt x="41" y="79"/>
                  </a:cubicBezTo>
                  <a:cubicBezTo>
                    <a:pt x="41" y="78"/>
                    <a:pt x="42" y="77"/>
                    <a:pt x="42" y="76"/>
                  </a:cubicBezTo>
                  <a:cubicBezTo>
                    <a:pt x="46" y="79"/>
                    <a:pt x="51" y="81"/>
                    <a:pt x="56" y="81"/>
                  </a:cubicBezTo>
                  <a:cubicBezTo>
                    <a:pt x="64" y="81"/>
                    <a:pt x="69" y="76"/>
                    <a:pt x="73" y="69"/>
                  </a:cubicBezTo>
                  <a:cubicBezTo>
                    <a:pt x="74" y="69"/>
                    <a:pt x="74" y="69"/>
                    <a:pt x="74" y="70"/>
                  </a:cubicBezTo>
                  <a:cubicBezTo>
                    <a:pt x="79" y="84"/>
                    <a:pt x="83" y="97"/>
                    <a:pt x="91" y="97"/>
                  </a:cubicBezTo>
                  <a:cubicBezTo>
                    <a:pt x="100" y="97"/>
                    <a:pt x="107" y="86"/>
                    <a:pt x="111" y="7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2"/>
                    <a:pt x="109" y="104"/>
                    <a:pt x="107" y="104"/>
                  </a:cubicBezTo>
                  <a:moveTo>
                    <a:pt x="9" y="49"/>
                  </a:moveTo>
                  <a:cubicBezTo>
                    <a:pt x="14" y="49"/>
                    <a:pt x="18" y="51"/>
                    <a:pt x="22" y="54"/>
                  </a:cubicBezTo>
                  <a:cubicBezTo>
                    <a:pt x="18" y="61"/>
                    <a:pt x="14" y="65"/>
                    <a:pt x="9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49"/>
                    <a:pt x="5" y="49"/>
                    <a:pt x="5" y="49"/>
                  </a:cubicBezTo>
                  <a:lnTo>
                    <a:pt x="9" y="49"/>
                  </a:lnTo>
                  <a:close/>
                  <a:moveTo>
                    <a:pt x="71" y="63"/>
                  </a:moveTo>
                  <a:cubicBezTo>
                    <a:pt x="67" y="71"/>
                    <a:pt x="63" y="77"/>
                    <a:pt x="56" y="77"/>
                  </a:cubicBezTo>
                  <a:cubicBezTo>
                    <a:pt x="51" y="77"/>
                    <a:pt x="47" y="75"/>
                    <a:pt x="44" y="72"/>
                  </a:cubicBezTo>
                  <a:cubicBezTo>
                    <a:pt x="44" y="70"/>
                    <a:pt x="45" y="70"/>
                    <a:pt x="46" y="70"/>
                  </a:cubicBezTo>
                  <a:cubicBezTo>
                    <a:pt x="53" y="70"/>
                    <a:pt x="55" y="63"/>
                    <a:pt x="57" y="58"/>
                  </a:cubicBezTo>
                  <a:cubicBezTo>
                    <a:pt x="59" y="53"/>
                    <a:pt x="61" y="49"/>
                    <a:pt x="64" y="49"/>
                  </a:cubicBezTo>
                  <a:cubicBezTo>
                    <a:pt x="66" y="49"/>
                    <a:pt x="69" y="56"/>
                    <a:pt x="71" y="63"/>
                  </a:cubicBezTo>
                  <a:moveTo>
                    <a:pt x="25" y="57"/>
                  </a:moveTo>
                  <a:cubicBezTo>
                    <a:pt x="27" y="60"/>
                    <a:pt x="29" y="62"/>
                    <a:pt x="31" y="64"/>
                  </a:cubicBezTo>
                  <a:cubicBezTo>
                    <a:pt x="33" y="67"/>
                    <a:pt x="36" y="70"/>
                    <a:pt x="38" y="73"/>
                  </a:cubicBezTo>
                  <a:cubicBezTo>
                    <a:pt x="38" y="75"/>
                    <a:pt x="37" y="77"/>
                    <a:pt x="37" y="78"/>
                  </a:cubicBezTo>
                  <a:cubicBezTo>
                    <a:pt x="35" y="84"/>
                    <a:pt x="34" y="88"/>
                    <a:pt x="32" y="88"/>
                  </a:cubicBezTo>
                  <a:cubicBezTo>
                    <a:pt x="28" y="88"/>
                    <a:pt x="25" y="83"/>
                    <a:pt x="23" y="78"/>
                  </a:cubicBezTo>
                  <a:cubicBezTo>
                    <a:pt x="21" y="74"/>
                    <a:pt x="19" y="70"/>
                    <a:pt x="16" y="68"/>
                  </a:cubicBezTo>
                  <a:cubicBezTo>
                    <a:pt x="19" y="66"/>
                    <a:pt x="22" y="62"/>
                    <a:pt x="25" y="57"/>
                  </a:cubicBezTo>
                  <a:moveTo>
                    <a:pt x="35" y="36"/>
                  </a:moveTo>
                  <a:cubicBezTo>
                    <a:pt x="41" y="20"/>
                    <a:pt x="47" y="4"/>
                    <a:pt x="56" y="4"/>
                  </a:cubicBezTo>
                  <a:cubicBezTo>
                    <a:pt x="65" y="4"/>
                    <a:pt x="69" y="17"/>
                    <a:pt x="74" y="30"/>
                  </a:cubicBezTo>
                  <a:cubicBezTo>
                    <a:pt x="76" y="35"/>
                    <a:pt x="78" y="39"/>
                    <a:pt x="80" y="43"/>
                  </a:cubicBezTo>
                  <a:cubicBezTo>
                    <a:pt x="78" y="47"/>
                    <a:pt x="77" y="50"/>
                    <a:pt x="75" y="53"/>
                  </a:cubicBezTo>
                  <a:cubicBezTo>
                    <a:pt x="75" y="54"/>
                    <a:pt x="74" y="55"/>
                    <a:pt x="74" y="57"/>
                  </a:cubicBezTo>
                  <a:cubicBezTo>
                    <a:pt x="71" y="50"/>
                    <a:pt x="68" y="45"/>
                    <a:pt x="64" y="45"/>
                  </a:cubicBezTo>
                  <a:cubicBezTo>
                    <a:pt x="57" y="45"/>
                    <a:pt x="55" y="51"/>
                    <a:pt x="53" y="57"/>
                  </a:cubicBezTo>
                  <a:cubicBezTo>
                    <a:pt x="51" y="62"/>
                    <a:pt x="50" y="65"/>
                    <a:pt x="46" y="65"/>
                  </a:cubicBezTo>
                  <a:cubicBezTo>
                    <a:pt x="44" y="65"/>
                    <a:pt x="42" y="67"/>
                    <a:pt x="40" y="68"/>
                  </a:cubicBezTo>
                  <a:cubicBezTo>
                    <a:pt x="38" y="66"/>
                    <a:pt x="37" y="64"/>
                    <a:pt x="35" y="62"/>
                  </a:cubicBezTo>
                  <a:cubicBezTo>
                    <a:pt x="32" y="59"/>
                    <a:pt x="30" y="56"/>
                    <a:pt x="27" y="53"/>
                  </a:cubicBezTo>
                  <a:cubicBezTo>
                    <a:pt x="30" y="48"/>
                    <a:pt x="32" y="42"/>
                    <a:pt x="35" y="36"/>
                  </a:cubicBezTo>
                  <a:moveTo>
                    <a:pt x="99" y="31"/>
                  </a:moveTo>
                  <a:cubicBezTo>
                    <a:pt x="111" y="31"/>
                    <a:pt x="111" y="31"/>
                    <a:pt x="111" y="31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2" y="54"/>
                    <a:pt x="88" y="50"/>
                    <a:pt x="85" y="43"/>
                  </a:cubicBezTo>
                  <a:cubicBezTo>
                    <a:pt x="88" y="37"/>
                    <a:pt x="93" y="31"/>
                    <a:pt x="99" y="31"/>
                  </a:cubicBezTo>
                  <a:moveTo>
                    <a:pt x="82" y="49"/>
                  </a:moveTo>
                  <a:cubicBezTo>
                    <a:pt x="86" y="54"/>
                    <a:pt x="91" y="59"/>
                    <a:pt x="97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09" y="72"/>
                    <a:pt x="100" y="92"/>
                    <a:pt x="91" y="92"/>
                  </a:cubicBezTo>
                  <a:cubicBezTo>
                    <a:pt x="86" y="92"/>
                    <a:pt x="82" y="78"/>
                    <a:pt x="78" y="68"/>
                  </a:cubicBezTo>
                  <a:cubicBezTo>
                    <a:pt x="78" y="66"/>
                    <a:pt x="77" y="65"/>
                    <a:pt x="76" y="63"/>
                  </a:cubicBezTo>
                  <a:cubicBezTo>
                    <a:pt x="77" y="60"/>
                    <a:pt x="79" y="58"/>
                    <a:pt x="80" y="55"/>
                  </a:cubicBezTo>
                  <a:cubicBezTo>
                    <a:pt x="81" y="53"/>
                    <a:pt x="82" y="51"/>
                    <a:pt x="82" y="49"/>
                  </a:cubicBezTo>
                  <a:moveTo>
                    <a:pt x="114" y="27"/>
                  </a:moveTo>
                  <a:cubicBezTo>
                    <a:pt x="99" y="27"/>
                    <a:pt x="99" y="27"/>
                    <a:pt x="99" y="27"/>
                  </a:cubicBezTo>
                  <a:cubicBezTo>
                    <a:pt x="91" y="27"/>
                    <a:pt x="86" y="32"/>
                    <a:pt x="82" y="38"/>
                  </a:cubicBezTo>
                  <a:cubicBezTo>
                    <a:pt x="81" y="35"/>
                    <a:pt x="80" y="32"/>
                    <a:pt x="78" y="28"/>
                  </a:cubicBezTo>
                  <a:cubicBezTo>
                    <a:pt x="73" y="14"/>
                    <a:pt x="68" y="0"/>
                    <a:pt x="56" y="0"/>
                  </a:cubicBezTo>
                  <a:cubicBezTo>
                    <a:pt x="43" y="0"/>
                    <a:pt x="37" y="16"/>
                    <a:pt x="30" y="34"/>
                  </a:cubicBezTo>
                  <a:cubicBezTo>
                    <a:pt x="28" y="40"/>
                    <a:pt x="26" y="45"/>
                    <a:pt x="24" y="50"/>
                  </a:cubicBezTo>
                  <a:cubicBezTo>
                    <a:pt x="20" y="47"/>
                    <a:pt x="15" y="45"/>
                    <a:pt x="9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12" y="108"/>
                    <a:pt x="116" y="104"/>
                    <a:pt x="116" y="9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8"/>
                    <a:pt x="115" y="27"/>
                    <a:pt x="114" y="2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186">
            <a:extLst>
              <a:ext uri="{FF2B5EF4-FFF2-40B4-BE49-F238E27FC236}">
                <a16:creationId xmlns:a16="http://schemas.microsoft.com/office/drawing/2014/main" id="{64EA2811-2D17-4455-9887-5205DD4725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2826" y="4098474"/>
            <a:ext cx="842962" cy="841375"/>
            <a:chOff x="3061" y="2671"/>
            <a:chExt cx="531" cy="530"/>
          </a:xfrm>
        </p:grpSpPr>
        <p:sp>
          <p:nvSpPr>
            <p:cNvPr id="217" name="AutoShape 185">
              <a:extLst>
                <a:ext uri="{FF2B5EF4-FFF2-40B4-BE49-F238E27FC236}">
                  <a16:creationId xmlns:a16="http://schemas.microsoft.com/office/drawing/2014/main" id="{A1783833-10A9-47E1-B974-94BBE93CD3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1" y="2671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Oval 187">
              <a:extLst>
                <a:ext uri="{FF2B5EF4-FFF2-40B4-BE49-F238E27FC236}">
                  <a16:creationId xmlns:a16="http://schemas.microsoft.com/office/drawing/2014/main" id="{7D45CA49-97FA-4C58-B031-0DE53295C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1" y="2671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88">
              <a:extLst>
                <a:ext uri="{FF2B5EF4-FFF2-40B4-BE49-F238E27FC236}">
                  <a16:creationId xmlns:a16="http://schemas.microsoft.com/office/drawing/2014/main" id="{80412466-2CFC-4985-9946-263E20ED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9" y="2689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89">
              <a:extLst>
                <a:ext uri="{FF2B5EF4-FFF2-40B4-BE49-F238E27FC236}">
                  <a16:creationId xmlns:a16="http://schemas.microsoft.com/office/drawing/2014/main" id="{3C1810F1-8749-40E5-8D74-9F7E7A409A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9" y="2799"/>
              <a:ext cx="298" cy="276"/>
            </a:xfrm>
            <a:custGeom>
              <a:avLst/>
              <a:gdLst>
                <a:gd name="T0" fmla="*/ 9 w 116"/>
                <a:gd name="T1" fmla="*/ 104 h 108"/>
                <a:gd name="T2" fmla="*/ 5 w 116"/>
                <a:gd name="T3" fmla="*/ 70 h 108"/>
                <a:gd name="T4" fmla="*/ 18 w 116"/>
                <a:gd name="T5" fmla="*/ 80 h 108"/>
                <a:gd name="T6" fmla="*/ 41 w 116"/>
                <a:gd name="T7" fmla="*/ 79 h 108"/>
                <a:gd name="T8" fmla="*/ 56 w 116"/>
                <a:gd name="T9" fmla="*/ 81 h 108"/>
                <a:gd name="T10" fmla="*/ 74 w 116"/>
                <a:gd name="T11" fmla="*/ 70 h 108"/>
                <a:gd name="T12" fmla="*/ 111 w 116"/>
                <a:gd name="T13" fmla="*/ 77 h 108"/>
                <a:gd name="T14" fmla="*/ 107 w 116"/>
                <a:gd name="T15" fmla="*/ 104 h 108"/>
                <a:gd name="T16" fmla="*/ 22 w 116"/>
                <a:gd name="T17" fmla="*/ 54 h 108"/>
                <a:gd name="T18" fmla="*/ 5 w 116"/>
                <a:gd name="T19" fmla="*/ 65 h 108"/>
                <a:gd name="T20" fmla="*/ 9 w 116"/>
                <a:gd name="T21" fmla="*/ 49 h 108"/>
                <a:gd name="T22" fmla="*/ 56 w 116"/>
                <a:gd name="T23" fmla="*/ 77 h 108"/>
                <a:gd name="T24" fmla="*/ 46 w 116"/>
                <a:gd name="T25" fmla="*/ 70 h 108"/>
                <a:gd name="T26" fmla="*/ 64 w 116"/>
                <a:gd name="T27" fmla="*/ 49 h 108"/>
                <a:gd name="T28" fmla="*/ 25 w 116"/>
                <a:gd name="T29" fmla="*/ 57 h 108"/>
                <a:gd name="T30" fmla="*/ 38 w 116"/>
                <a:gd name="T31" fmla="*/ 73 h 108"/>
                <a:gd name="T32" fmla="*/ 32 w 116"/>
                <a:gd name="T33" fmla="*/ 88 h 108"/>
                <a:gd name="T34" fmla="*/ 16 w 116"/>
                <a:gd name="T35" fmla="*/ 68 h 108"/>
                <a:gd name="T36" fmla="*/ 35 w 116"/>
                <a:gd name="T37" fmla="*/ 36 h 108"/>
                <a:gd name="T38" fmla="*/ 74 w 116"/>
                <a:gd name="T39" fmla="*/ 30 h 108"/>
                <a:gd name="T40" fmla="*/ 75 w 116"/>
                <a:gd name="T41" fmla="*/ 53 h 108"/>
                <a:gd name="T42" fmla="*/ 64 w 116"/>
                <a:gd name="T43" fmla="*/ 45 h 108"/>
                <a:gd name="T44" fmla="*/ 46 w 116"/>
                <a:gd name="T45" fmla="*/ 65 h 108"/>
                <a:gd name="T46" fmla="*/ 35 w 116"/>
                <a:gd name="T47" fmla="*/ 62 h 108"/>
                <a:gd name="T48" fmla="*/ 35 w 116"/>
                <a:gd name="T49" fmla="*/ 36 h 108"/>
                <a:gd name="T50" fmla="*/ 111 w 116"/>
                <a:gd name="T51" fmla="*/ 31 h 108"/>
                <a:gd name="T52" fmla="*/ 97 w 116"/>
                <a:gd name="T53" fmla="*/ 54 h 108"/>
                <a:gd name="T54" fmla="*/ 99 w 116"/>
                <a:gd name="T55" fmla="*/ 31 h 108"/>
                <a:gd name="T56" fmla="*/ 97 w 116"/>
                <a:gd name="T57" fmla="*/ 59 h 108"/>
                <a:gd name="T58" fmla="*/ 111 w 116"/>
                <a:gd name="T59" fmla="*/ 65 h 108"/>
                <a:gd name="T60" fmla="*/ 78 w 116"/>
                <a:gd name="T61" fmla="*/ 68 h 108"/>
                <a:gd name="T62" fmla="*/ 80 w 116"/>
                <a:gd name="T63" fmla="*/ 55 h 108"/>
                <a:gd name="T64" fmla="*/ 114 w 116"/>
                <a:gd name="T65" fmla="*/ 27 h 108"/>
                <a:gd name="T66" fmla="*/ 82 w 116"/>
                <a:gd name="T67" fmla="*/ 38 h 108"/>
                <a:gd name="T68" fmla="*/ 56 w 116"/>
                <a:gd name="T69" fmla="*/ 0 h 108"/>
                <a:gd name="T70" fmla="*/ 24 w 116"/>
                <a:gd name="T71" fmla="*/ 50 h 108"/>
                <a:gd name="T72" fmla="*/ 3 w 116"/>
                <a:gd name="T73" fmla="*/ 45 h 108"/>
                <a:gd name="T74" fmla="*/ 0 w 116"/>
                <a:gd name="T75" fmla="*/ 99 h 108"/>
                <a:gd name="T76" fmla="*/ 107 w 116"/>
                <a:gd name="T77" fmla="*/ 108 h 108"/>
                <a:gd name="T78" fmla="*/ 116 w 116"/>
                <a:gd name="T79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6" h="108">
                  <a:moveTo>
                    <a:pt x="107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7" y="104"/>
                    <a:pt x="5" y="102"/>
                    <a:pt x="5" y="99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3" y="70"/>
                    <a:pt x="16" y="75"/>
                    <a:pt x="18" y="80"/>
                  </a:cubicBezTo>
                  <a:cubicBezTo>
                    <a:pt x="22" y="86"/>
                    <a:pt x="25" y="92"/>
                    <a:pt x="32" y="92"/>
                  </a:cubicBezTo>
                  <a:cubicBezTo>
                    <a:pt x="38" y="92"/>
                    <a:pt x="40" y="85"/>
                    <a:pt x="41" y="79"/>
                  </a:cubicBezTo>
                  <a:cubicBezTo>
                    <a:pt x="41" y="78"/>
                    <a:pt x="42" y="77"/>
                    <a:pt x="42" y="76"/>
                  </a:cubicBezTo>
                  <a:cubicBezTo>
                    <a:pt x="46" y="79"/>
                    <a:pt x="51" y="81"/>
                    <a:pt x="56" y="81"/>
                  </a:cubicBezTo>
                  <a:cubicBezTo>
                    <a:pt x="64" y="81"/>
                    <a:pt x="69" y="76"/>
                    <a:pt x="73" y="69"/>
                  </a:cubicBezTo>
                  <a:cubicBezTo>
                    <a:pt x="74" y="69"/>
                    <a:pt x="74" y="69"/>
                    <a:pt x="74" y="70"/>
                  </a:cubicBezTo>
                  <a:cubicBezTo>
                    <a:pt x="79" y="84"/>
                    <a:pt x="83" y="97"/>
                    <a:pt x="91" y="97"/>
                  </a:cubicBezTo>
                  <a:cubicBezTo>
                    <a:pt x="100" y="97"/>
                    <a:pt x="107" y="86"/>
                    <a:pt x="111" y="7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2"/>
                    <a:pt x="109" y="104"/>
                    <a:pt x="107" y="104"/>
                  </a:cubicBezTo>
                  <a:moveTo>
                    <a:pt x="9" y="49"/>
                  </a:moveTo>
                  <a:cubicBezTo>
                    <a:pt x="14" y="49"/>
                    <a:pt x="18" y="51"/>
                    <a:pt x="22" y="54"/>
                  </a:cubicBezTo>
                  <a:cubicBezTo>
                    <a:pt x="18" y="61"/>
                    <a:pt x="14" y="65"/>
                    <a:pt x="9" y="65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5" y="49"/>
                    <a:pt x="5" y="49"/>
                    <a:pt x="5" y="49"/>
                  </a:cubicBezTo>
                  <a:lnTo>
                    <a:pt x="9" y="49"/>
                  </a:lnTo>
                  <a:close/>
                  <a:moveTo>
                    <a:pt x="71" y="63"/>
                  </a:moveTo>
                  <a:cubicBezTo>
                    <a:pt x="67" y="71"/>
                    <a:pt x="63" y="77"/>
                    <a:pt x="56" y="77"/>
                  </a:cubicBezTo>
                  <a:cubicBezTo>
                    <a:pt x="51" y="77"/>
                    <a:pt x="47" y="75"/>
                    <a:pt x="44" y="72"/>
                  </a:cubicBezTo>
                  <a:cubicBezTo>
                    <a:pt x="44" y="70"/>
                    <a:pt x="45" y="70"/>
                    <a:pt x="46" y="70"/>
                  </a:cubicBezTo>
                  <a:cubicBezTo>
                    <a:pt x="53" y="70"/>
                    <a:pt x="55" y="63"/>
                    <a:pt x="57" y="58"/>
                  </a:cubicBezTo>
                  <a:cubicBezTo>
                    <a:pt x="59" y="53"/>
                    <a:pt x="61" y="49"/>
                    <a:pt x="64" y="49"/>
                  </a:cubicBezTo>
                  <a:cubicBezTo>
                    <a:pt x="66" y="49"/>
                    <a:pt x="69" y="56"/>
                    <a:pt x="71" y="63"/>
                  </a:cubicBezTo>
                  <a:moveTo>
                    <a:pt x="25" y="57"/>
                  </a:moveTo>
                  <a:cubicBezTo>
                    <a:pt x="27" y="60"/>
                    <a:pt x="29" y="62"/>
                    <a:pt x="31" y="64"/>
                  </a:cubicBezTo>
                  <a:cubicBezTo>
                    <a:pt x="33" y="67"/>
                    <a:pt x="36" y="70"/>
                    <a:pt x="38" y="73"/>
                  </a:cubicBezTo>
                  <a:cubicBezTo>
                    <a:pt x="38" y="75"/>
                    <a:pt x="37" y="77"/>
                    <a:pt x="37" y="78"/>
                  </a:cubicBezTo>
                  <a:cubicBezTo>
                    <a:pt x="35" y="84"/>
                    <a:pt x="34" y="88"/>
                    <a:pt x="32" y="88"/>
                  </a:cubicBezTo>
                  <a:cubicBezTo>
                    <a:pt x="28" y="88"/>
                    <a:pt x="25" y="83"/>
                    <a:pt x="23" y="78"/>
                  </a:cubicBezTo>
                  <a:cubicBezTo>
                    <a:pt x="21" y="74"/>
                    <a:pt x="19" y="70"/>
                    <a:pt x="16" y="68"/>
                  </a:cubicBezTo>
                  <a:cubicBezTo>
                    <a:pt x="19" y="66"/>
                    <a:pt x="22" y="62"/>
                    <a:pt x="25" y="57"/>
                  </a:cubicBezTo>
                  <a:moveTo>
                    <a:pt x="35" y="36"/>
                  </a:moveTo>
                  <a:cubicBezTo>
                    <a:pt x="41" y="20"/>
                    <a:pt x="47" y="4"/>
                    <a:pt x="56" y="4"/>
                  </a:cubicBezTo>
                  <a:cubicBezTo>
                    <a:pt x="65" y="4"/>
                    <a:pt x="69" y="17"/>
                    <a:pt x="74" y="30"/>
                  </a:cubicBezTo>
                  <a:cubicBezTo>
                    <a:pt x="76" y="35"/>
                    <a:pt x="78" y="39"/>
                    <a:pt x="80" y="43"/>
                  </a:cubicBezTo>
                  <a:cubicBezTo>
                    <a:pt x="78" y="47"/>
                    <a:pt x="77" y="50"/>
                    <a:pt x="75" y="53"/>
                  </a:cubicBezTo>
                  <a:cubicBezTo>
                    <a:pt x="75" y="54"/>
                    <a:pt x="74" y="55"/>
                    <a:pt x="74" y="57"/>
                  </a:cubicBezTo>
                  <a:cubicBezTo>
                    <a:pt x="71" y="50"/>
                    <a:pt x="68" y="45"/>
                    <a:pt x="64" y="45"/>
                  </a:cubicBezTo>
                  <a:cubicBezTo>
                    <a:pt x="57" y="45"/>
                    <a:pt x="55" y="51"/>
                    <a:pt x="53" y="57"/>
                  </a:cubicBezTo>
                  <a:cubicBezTo>
                    <a:pt x="51" y="62"/>
                    <a:pt x="50" y="65"/>
                    <a:pt x="46" y="65"/>
                  </a:cubicBezTo>
                  <a:cubicBezTo>
                    <a:pt x="44" y="65"/>
                    <a:pt x="42" y="67"/>
                    <a:pt x="40" y="68"/>
                  </a:cubicBezTo>
                  <a:cubicBezTo>
                    <a:pt x="38" y="66"/>
                    <a:pt x="37" y="64"/>
                    <a:pt x="35" y="62"/>
                  </a:cubicBezTo>
                  <a:cubicBezTo>
                    <a:pt x="32" y="59"/>
                    <a:pt x="30" y="56"/>
                    <a:pt x="27" y="53"/>
                  </a:cubicBezTo>
                  <a:cubicBezTo>
                    <a:pt x="30" y="48"/>
                    <a:pt x="32" y="42"/>
                    <a:pt x="35" y="36"/>
                  </a:cubicBezTo>
                  <a:moveTo>
                    <a:pt x="99" y="31"/>
                  </a:moveTo>
                  <a:cubicBezTo>
                    <a:pt x="111" y="31"/>
                    <a:pt x="111" y="31"/>
                    <a:pt x="111" y="31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2" y="54"/>
                    <a:pt x="88" y="50"/>
                    <a:pt x="85" y="43"/>
                  </a:cubicBezTo>
                  <a:cubicBezTo>
                    <a:pt x="88" y="37"/>
                    <a:pt x="93" y="31"/>
                    <a:pt x="99" y="31"/>
                  </a:cubicBezTo>
                  <a:moveTo>
                    <a:pt x="82" y="49"/>
                  </a:moveTo>
                  <a:cubicBezTo>
                    <a:pt x="86" y="54"/>
                    <a:pt x="91" y="59"/>
                    <a:pt x="97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09" y="72"/>
                    <a:pt x="100" y="92"/>
                    <a:pt x="91" y="92"/>
                  </a:cubicBezTo>
                  <a:cubicBezTo>
                    <a:pt x="86" y="92"/>
                    <a:pt x="82" y="78"/>
                    <a:pt x="78" y="68"/>
                  </a:cubicBezTo>
                  <a:cubicBezTo>
                    <a:pt x="78" y="66"/>
                    <a:pt x="77" y="65"/>
                    <a:pt x="76" y="63"/>
                  </a:cubicBezTo>
                  <a:cubicBezTo>
                    <a:pt x="77" y="60"/>
                    <a:pt x="79" y="58"/>
                    <a:pt x="80" y="55"/>
                  </a:cubicBezTo>
                  <a:cubicBezTo>
                    <a:pt x="81" y="53"/>
                    <a:pt x="82" y="51"/>
                    <a:pt x="82" y="49"/>
                  </a:cubicBezTo>
                  <a:moveTo>
                    <a:pt x="114" y="27"/>
                  </a:moveTo>
                  <a:cubicBezTo>
                    <a:pt x="99" y="27"/>
                    <a:pt x="99" y="27"/>
                    <a:pt x="99" y="27"/>
                  </a:cubicBezTo>
                  <a:cubicBezTo>
                    <a:pt x="91" y="27"/>
                    <a:pt x="86" y="32"/>
                    <a:pt x="82" y="38"/>
                  </a:cubicBezTo>
                  <a:cubicBezTo>
                    <a:pt x="81" y="35"/>
                    <a:pt x="80" y="32"/>
                    <a:pt x="78" y="28"/>
                  </a:cubicBezTo>
                  <a:cubicBezTo>
                    <a:pt x="73" y="14"/>
                    <a:pt x="68" y="0"/>
                    <a:pt x="56" y="0"/>
                  </a:cubicBezTo>
                  <a:cubicBezTo>
                    <a:pt x="43" y="0"/>
                    <a:pt x="37" y="16"/>
                    <a:pt x="30" y="34"/>
                  </a:cubicBezTo>
                  <a:cubicBezTo>
                    <a:pt x="28" y="40"/>
                    <a:pt x="26" y="45"/>
                    <a:pt x="24" y="50"/>
                  </a:cubicBezTo>
                  <a:cubicBezTo>
                    <a:pt x="20" y="47"/>
                    <a:pt x="15" y="45"/>
                    <a:pt x="9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12" y="108"/>
                    <a:pt x="116" y="104"/>
                    <a:pt x="116" y="9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8"/>
                    <a:pt x="115" y="27"/>
                    <a:pt x="114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5" name="Group 192">
            <a:extLst>
              <a:ext uri="{FF2B5EF4-FFF2-40B4-BE49-F238E27FC236}">
                <a16:creationId xmlns:a16="http://schemas.microsoft.com/office/drawing/2014/main" id="{71D76BE7-F478-439C-9931-75ED9E98B0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4809" y="4139749"/>
            <a:ext cx="760412" cy="758825"/>
            <a:chOff x="4877" y="2630"/>
            <a:chExt cx="479" cy="478"/>
          </a:xfrm>
        </p:grpSpPr>
        <p:sp>
          <p:nvSpPr>
            <p:cNvPr id="226" name="AutoShape 191">
              <a:extLst>
                <a:ext uri="{FF2B5EF4-FFF2-40B4-BE49-F238E27FC236}">
                  <a16:creationId xmlns:a16="http://schemas.microsoft.com/office/drawing/2014/main" id="{1389C248-5112-429D-A278-889610F80A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77" y="2630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3">
              <a:extLst>
                <a:ext uri="{FF2B5EF4-FFF2-40B4-BE49-F238E27FC236}">
                  <a16:creationId xmlns:a16="http://schemas.microsoft.com/office/drawing/2014/main" id="{FF27C4BF-F951-471E-8E35-C2708D670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9" y="2632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94">
              <a:extLst>
                <a:ext uri="{FF2B5EF4-FFF2-40B4-BE49-F238E27FC236}">
                  <a16:creationId xmlns:a16="http://schemas.microsoft.com/office/drawing/2014/main" id="{2C000200-1D98-4E7B-996C-C93E9582B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5" y="2728"/>
              <a:ext cx="285" cy="284"/>
            </a:xfrm>
            <a:custGeom>
              <a:avLst/>
              <a:gdLst>
                <a:gd name="T0" fmla="*/ 30 w 116"/>
                <a:gd name="T1" fmla="*/ 63 h 116"/>
                <a:gd name="T2" fmla="*/ 79 w 116"/>
                <a:gd name="T3" fmla="*/ 36 h 116"/>
                <a:gd name="T4" fmla="*/ 79 w 116"/>
                <a:gd name="T5" fmla="*/ 46 h 116"/>
                <a:gd name="T6" fmla="*/ 81 w 116"/>
                <a:gd name="T7" fmla="*/ 49 h 116"/>
                <a:gd name="T8" fmla="*/ 83 w 116"/>
                <a:gd name="T9" fmla="*/ 46 h 116"/>
                <a:gd name="T10" fmla="*/ 83 w 116"/>
                <a:gd name="T11" fmla="*/ 28 h 116"/>
                <a:gd name="T12" fmla="*/ 65 w 116"/>
                <a:gd name="T13" fmla="*/ 28 h 116"/>
                <a:gd name="T14" fmla="*/ 63 w 116"/>
                <a:gd name="T15" fmla="*/ 30 h 116"/>
                <a:gd name="T16" fmla="*/ 65 w 116"/>
                <a:gd name="T17" fmla="*/ 33 h 116"/>
                <a:gd name="T18" fmla="*/ 76 w 116"/>
                <a:gd name="T19" fmla="*/ 33 h 116"/>
                <a:gd name="T20" fmla="*/ 30 w 116"/>
                <a:gd name="T21" fmla="*/ 58 h 116"/>
                <a:gd name="T22" fmla="*/ 28 w 116"/>
                <a:gd name="T23" fmla="*/ 60 h 116"/>
                <a:gd name="T24" fmla="*/ 30 w 116"/>
                <a:gd name="T25" fmla="*/ 63 h 116"/>
                <a:gd name="T26" fmla="*/ 111 w 116"/>
                <a:gd name="T27" fmla="*/ 9 h 116"/>
                <a:gd name="T28" fmla="*/ 109 w 116"/>
                <a:gd name="T29" fmla="*/ 12 h 116"/>
                <a:gd name="T30" fmla="*/ 7 w 116"/>
                <a:gd name="T31" fmla="*/ 12 h 116"/>
                <a:gd name="T32" fmla="*/ 5 w 116"/>
                <a:gd name="T33" fmla="*/ 9 h 116"/>
                <a:gd name="T34" fmla="*/ 5 w 116"/>
                <a:gd name="T35" fmla="*/ 7 h 116"/>
                <a:gd name="T36" fmla="*/ 7 w 116"/>
                <a:gd name="T37" fmla="*/ 5 h 116"/>
                <a:gd name="T38" fmla="*/ 109 w 116"/>
                <a:gd name="T39" fmla="*/ 5 h 116"/>
                <a:gd name="T40" fmla="*/ 111 w 116"/>
                <a:gd name="T41" fmla="*/ 7 h 116"/>
                <a:gd name="T42" fmla="*/ 111 w 116"/>
                <a:gd name="T43" fmla="*/ 9 h 116"/>
                <a:gd name="T44" fmla="*/ 104 w 116"/>
                <a:gd name="T45" fmla="*/ 74 h 116"/>
                <a:gd name="T46" fmla="*/ 12 w 116"/>
                <a:gd name="T47" fmla="*/ 74 h 116"/>
                <a:gd name="T48" fmla="*/ 12 w 116"/>
                <a:gd name="T49" fmla="*/ 16 h 116"/>
                <a:gd name="T50" fmla="*/ 104 w 116"/>
                <a:gd name="T51" fmla="*/ 16 h 116"/>
                <a:gd name="T52" fmla="*/ 104 w 116"/>
                <a:gd name="T53" fmla="*/ 74 h 116"/>
                <a:gd name="T54" fmla="*/ 109 w 116"/>
                <a:gd name="T55" fmla="*/ 0 h 116"/>
                <a:gd name="T56" fmla="*/ 7 w 116"/>
                <a:gd name="T57" fmla="*/ 0 h 116"/>
                <a:gd name="T58" fmla="*/ 0 w 116"/>
                <a:gd name="T59" fmla="*/ 7 h 116"/>
                <a:gd name="T60" fmla="*/ 0 w 116"/>
                <a:gd name="T61" fmla="*/ 9 h 116"/>
                <a:gd name="T62" fmla="*/ 7 w 116"/>
                <a:gd name="T63" fmla="*/ 16 h 116"/>
                <a:gd name="T64" fmla="*/ 7 w 116"/>
                <a:gd name="T65" fmla="*/ 76 h 116"/>
                <a:gd name="T66" fmla="*/ 9 w 116"/>
                <a:gd name="T67" fmla="*/ 79 h 116"/>
                <a:gd name="T68" fmla="*/ 56 w 116"/>
                <a:gd name="T69" fmla="*/ 79 h 116"/>
                <a:gd name="T70" fmla="*/ 56 w 116"/>
                <a:gd name="T71" fmla="*/ 87 h 116"/>
                <a:gd name="T72" fmla="*/ 31 w 116"/>
                <a:gd name="T73" fmla="*/ 112 h 116"/>
                <a:gd name="T74" fmla="*/ 31 w 116"/>
                <a:gd name="T75" fmla="*/ 115 h 116"/>
                <a:gd name="T76" fmla="*/ 33 w 116"/>
                <a:gd name="T77" fmla="*/ 116 h 116"/>
                <a:gd name="T78" fmla="*/ 34 w 116"/>
                <a:gd name="T79" fmla="*/ 115 h 116"/>
                <a:gd name="T80" fmla="*/ 56 w 116"/>
                <a:gd name="T81" fmla="*/ 94 h 116"/>
                <a:gd name="T82" fmla="*/ 56 w 116"/>
                <a:gd name="T83" fmla="*/ 113 h 116"/>
                <a:gd name="T84" fmla="*/ 58 w 116"/>
                <a:gd name="T85" fmla="*/ 116 h 116"/>
                <a:gd name="T86" fmla="*/ 60 w 116"/>
                <a:gd name="T87" fmla="*/ 113 h 116"/>
                <a:gd name="T88" fmla="*/ 60 w 116"/>
                <a:gd name="T89" fmla="*/ 94 h 116"/>
                <a:gd name="T90" fmla="*/ 82 w 116"/>
                <a:gd name="T91" fmla="*/ 115 h 116"/>
                <a:gd name="T92" fmla="*/ 83 w 116"/>
                <a:gd name="T93" fmla="*/ 116 h 116"/>
                <a:gd name="T94" fmla="*/ 85 w 116"/>
                <a:gd name="T95" fmla="*/ 115 h 116"/>
                <a:gd name="T96" fmla="*/ 85 w 116"/>
                <a:gd name="T97" fmla="*/ 112 h 116"/>
                <a:gd name="T98" fmla="*/ 60 w 116"/>
                <a:gd name="T99" fmla="*/ 87 h 116"/>
                <a:gd name="T100" fmla="*/ 60 w 116"/>
                <a:gd name="T101" fmla="*/ 79 h 116"/>
                <a:gd name="T102" fmla="*/ 107 w 116"/>
                <a:gd name="T103" fmla="*/ 79 h 116"/>
                <a:gd name="T104" fmla="*/ 109 w 116"/>
                <a:gd name="T105" fmla="*/ 76 h 116"/>
                <a:gd name="T106" fmla="*/ 109 w 116"/>
                <a:gd name="T107" fmla="*/ 16 h 116"/>
                <a:gd name="T108" fmla="*/ 116 w 116"/>
                <a:gd name="T109" fmla="*/ 9 h 116"/>
                <a:gd name="T110" fmla="*/ 116 w 116"/>
                <a:gd name="T111" fmla="*/ 7 h 116"/>
                <a:gd name="T112" fmla="*/ 109 w 116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116">
                  <a:moveTo>
                    <a:pt x="30" y="63"/>
                  </a:moveTo>
                  <a:cubicBezTo>
                    <a:pt x="48" y="63"/>
                    <a:pt x="66" y="53"/>
                    <a:pt x="79" y="3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8"/>
                    <a:pt x="80" y="49"/>
                    <a:pt x="81" y="49"/>
                  </a:cubicBezTo>
                  <a:cubicBezTo>
                    <a:pt x="82" y="49"/>
                    <a:pt x="83" y="48"/>
                    <a:pt x="83" y="46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4" y="28"/>
                    <a:pt x="63" y="29"/>
                    <a:pt x="63" y="30"/>
                  </a:cubicBezTo>
                  <a:cubicBezTo>
                    <a:pt x="63" y="32"/>
                    <a:pt x="64" y="33"/>
                    <a:pt x="65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64" y="49"/>
                    <a:pt x="47" y="58"/>
                    <a:pt x="30" y="58"/>
                  </a:cubicBezTo>
                  <a:cubicBezTo>
                    <a:pt x="29" y="58"/>
                    <a:pt x="28" y="59"/>
                    <a:pt x="28" y="60"/>
                  </a:cubicBezTo>
                  <a:cubicBezTo>
                    <a:pt x="28" y="62"/>
                    <a:pt x="29" y="63"/>
                    <a:pt x="30" y="63"/>
                  </a:cubicBezTo>
                  <a:moveTo>
                    <a:pt x="111" y="9"/>
                  </a:moveTo>
                  <a:cubicBezTo>
                    <a:pt x="111" y="11"/>
                    <a:pt x="110" y="12"/>
                    <a:pt x="109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5" y="11"/>
                    <a:pt x="5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10" y="5"/>
                    <a:pt x="111" y="6"/>
                    <a:pt x="111" y="7"/>
                  </a:cubicBezTo>
                  <a:lnTo>
                    <a:pt x="111" y="9"/>
                  </a:lnTo>
                  <a:close/>
                  <a:moveTo>
                    <a:pt x="104" y="74"/>
                  </a:moveTo>
                  <a:cubicBezTo>
                    <a:pt x="12" y="74"/>
                    <a:pt x="12" y="74"/>
                    <a:pt x="12" y="7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4" y="16"/>
                    <a:pt x="104" y="16"/>
                    <a:pt x="104" y="16"/>
                  </a:cubicBezTo>
                  <a:lnTo>
                    <a:pt x="104" y="74"/>
                  </a:lnTo>
                  <a:close/>
                  <a:moveTo>
                    <a:pt x="10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6"/>
                    <a:pt x="7" y="1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78"/>
                    <a:pt x="8" y="79"/>
                    <a:pt x="9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0" y="113"/>
                    <a:pt x="30" y="114"/>
                    <a:pt x="31" y="115"/>
                  </a:cubicBezTo>
                  <a:cubicBezTo>
                    <a:pt x="31" y="115"/>
                    <a:pt x="32" y="116"/>
                    <a:pt x="33" y="116"/>
                  </a:cubicBezTo>
                  <a:cubicBezTo>
                    <a:pt x="33" y="116"/>
                    <a:pt x="34" y="115"/>
                    <a:pt x="34" y="115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6" y="115"/>
                    <a:pt x="57" y="116"/>
                    <a:pt x="58" y="116"/>
                  </a:cubicBezTo>
                  <a:cubicBezTo>
                    <a:pt x="59" y="116"/>
                    <a:pt x="60" y="115"/>
                    <a:pt x="60" y="11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3" y="116"/>
                    <a:pt x="83" y="116"/>
                  </a:cubicBezTo>
                  <a:cubicBezTo>
                    <a:pt x="84" y="116"/>
                    <a:pt x="85" y="115"/>
                    <a:pt x="85" y="115"/>
                  </a:cubicBezTo>
                  <a:cubicBezTo>
                    <a:pt x="86" y="114"/>
                    <a:pt x="86" y="113"/>
                    <a:pt x="85" y="112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8" y="79"/>
                    <a:pt x="109" y="78"/>
                    <a:pt x="109" y="76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13" y="16"/>
                    <a:pt x="116" y="13"/>
                    <a:pt x="116" y="9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3"/>
                    <a:pt x="113" y="0"/>
                    <a:pt x="10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5">
              <a:extLst>
                <a:ext uri="{FF2B5EF4-FFF2-40B4-BE49-F238E27FC236}">
                  <a16:creationId xmlns:a16="http://schemas.microsoft.com/office/drawing/2014/main" id="{3B9E3D66-1D10-44F9-96FC-617D97DDF6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5" y="2728"/>
              <a:ext cx="285" cy="284"/>
            </a:xfrm>
            <a:custGeom>
              <a:avLst/>
              <a:gdLst>
                <a:gd name="T0" fmla="*/ 30 w 116"/>
                <a:gd name="T1" fmla="*/ 63 h 116"/>
                <a:gd name="T2" fmla="*/ 79 w 116"/>
                <a:gd name="T3" fmla="*/ 36 h 116"/>
                <a:gd name="T4" fmla="*/ 79 w 116"/>
                <a:gd name="T5" fmla="*/ 46 h 116"/>
                <a:gd name="T6" fmla="*/ 81 w 116"/>
                <a:gd name="T7" fmla="*/ 49 h 116"/>
                <a:gd name="T8" fmla="*/ 83 w 116"/>
                <a:gd name="T9" fmla="*/ 46 h 116"/>
                <a:gd name="T10" fmla="*/ 83 w 116"/>
                <a:gd name="T11" fmla="*/ 28 h 116"/>
                <a:gd name="T12" fmla="*/ 65 w 116"/>
                <a:gd name="T13" fmla="*/ 28 h 116"/>
                <a:gd name="T14" fmla="*/ 63 w 116"/>
                <a:gd name="T15" fmla="*/ 30 h 116"/>
                <a:gd name="T16" fmla="*/ 65 w 116"/>
                <a:gd name="T17" fmla="*/ 33 h 116"/>
                <a:gd name="T18" fmla="*/ 76 w 116"/>
                <a:gd name="T19" fmla="*/ 33 h 116"/>
                <a:gd name="T20" fmla="*/ 30 w 116"/>
                <a:gd name="T21" fmla="*/ 58 h 116"/>
                <a:gd name="T22" fmla="*/ 28 w 116"/>
                <a:gd name="T23" fmla="*/ 60 h 116"/>
                <a:gd name="T24" fmla="*/ 30 w 116"/>
                <a:gd name="T25" fmla="*/ 63 h 116"/>
                <a:gd name="T26" fmla="*/ 111 w 116"/>
                <a:gd name="T27" fmla="*/ 9 h 116"/>
                <a:gd name="T28" fmla="*/ 109 w 116"/>
                <a:gd name="T29" fmla="*/ 12 h 116"/>
                <a:gd name="T30" fmla="*/ 7 w 116"/>
                <a:gd name="T31" fmla="*/ 12 h 116"/>
                <a:gd name="T32" fmla="*/ 5 w 116"/>
                <a:gd name="T33" fmla="*/ 9 h 116"/>
                <a:gd name="T34" fmla="*/ 5 w 116"/>
                <a:gd name="T35" fmla="*/ 7 h 116"/>
                <a:gd name="T36" fmla="*/ 7 w 116"/>
                <a:gd name="T37" fmla="*/ 5 h 116"/>
                <a:gd name="T38" fmla="*/ 109 w 116"/>
                <a:gd name="T39" fmla="*/ 5 h 116"/>
                <a:gd name="T40" fmla="*/ 111 w 116"/>
                <a:gd name="T41" fmla="*/ 7 h 116"/>
                <a:gd name="T42" fmla="*/ 111 w 116"/>
                <a:gd name="T43" fmla="*/ 9 h 116"/>
                <a:gd name="T44" fmla="*/ 104 w 116"/>
                <a:gd name="T45" fmla="*/ 74 h 116"/>
                <a:gd name="T46" fmla="*/ 12 w 116"/>
                <a:gd name="T47" fmla="*/ 74 h 116"/>
                <a:gd name="T48" fmla="*/ 12 w 116"/>
                <a:gd name="T49" fmla="*/ 16 h 116"/>
                <a:gd name="T50" fmla="*/ 104 w 116"/>
                <a:gd name="T51" fmla="*/ 16 h 116"/>
                <a:gd name="T52" fmla="*/ 104 w 116"/>
                <a:gd name="T53" fmla="*/ 74 h 116"/>
                <a:gd name="T54" fmla="*/ 109 w 116"/>
                <a:gd name="T55" fmla="*/ 0 h 116"/>
                <a:gd name="T56" fmla="*/ 7 w 116"/>
                <a:gd name="T57" fmla="*/ 0 h 116"/>
                <a:gd name="T58" fmla="*/ 0 w 116"/>
                <a:gd name="T59" fmla="*/ 7 h 116"/>
                <a:gd name="T60" fmla="*/ 0 w 116"/>
                <a:gd name="T61" fmla="*/ 9 h 116"/>
                <a:gd name="T62" fmla="*/ 7 w 116"/>
                <a:gd name="T63" fmla="*/ 16 h 116"/>
                <a:gd name="T64" fmla="*/ 7 w 116"/>
                <a:gd name="T65" fmla="*/ 76 h 116"/>
                <a:gd name="T66" fmla="*/ 9 w 116"/>
                <a:gd name="T67" fmla="*/ 79 h 116"/>
                <a:gd name="T68" fmla="*/ 56 w 116"/>
                <a:gd name="T69" fmla="*/ 79 h 116"/>
                <a:gd name="T70" fmla="*/ 56 w 116"/>
                <a:gd name="T71" fmla="*/ 87 h 116"/>
                <a:gd name="T72" fmla="*/ 31 w 116"/>
                <a:gd name="T73" fmla="*/ 112 h 116"/>
                <a:gd name="T74" fmla="*/ 31 w 116"/>
                <a:gd name="T75" fmla="*/ 115 h 116"/>
                <a:gd name="T76" fmla="*/ 33 w 116"/>
                <a:gd name="T77" fmla="*/ 116 h 116"/>
                <a:gd name="T78" fmla="*/ 34 w 116"/>
                <a:gd name="T79" fmla="*/ 115 h 116"/>
                <a:gd name="T80" fmla="*/ 56 w 116"/>
                <a:gd name="T81" fmla="*/ 94 h 116"/>
                <a:gd name="T82" fmla="*/ 56 w 116"/>
                <a:gd name="T83" fmla="*/ 113 h 116"/>
                <a:gd name="T84" fmla="*/ 58 w 116"/>
                <a:gd name="T85" fmla="*/ 116 h 116"/>
                <a:gd name="T86" fmla="*/ 60 w 116"/>
                <a:gd name="T87" fmla="*/ 113 h 116"/>
                <a:gd name="T88" fmla="*/ 60 w 116"/>
                <a:gd name="T89" fmla="*/ 94 h 116"/>
                <a:gd name="T90" fmla="*/ 82 w 116"/>
                <a:gd name="T91" fmla="*/ 115 h 116"/>
                <a:gd name="T92" fmla="*/ 83 w 116"/>
                <a:gd name="T93" fmla="*/ 116 h 116"/>
                <a:gd name="T94" fmla="*/ 85 w 116"/>
                <a:gd name="T95" fmla="*/ 115 h 116"/>
                <a:gd name="T96" fmla="*/ 85 w 116"/>
                <a:gd name="T97" fmla="*/ 112 h 116"/>
                <a:gd name="T98" fmla="*/ 60 w 116"/>
                <a:gd name="T99" fmla="*/ 87 h 116"/>
                <a:gd name="T100" fmla="*/ 60 w 116"/>
                <a:gd name="T101" fmla="*/ 79 h 116"/>
                <a:gd name="T102" fmla="*/ 107 w 116"/>
                <a:gd name="T103" fmla="*/ 79 h 116"/>
                <a:gd name="T104" fmla="*/ 109 w 116"/>
                <a:gd name="T105" fmla="*/ 76 h 116"/>
                <a:gd name="T106" fmla="*/ 109 w 116"/>
                <a:gd name="T107" fmla="*/ 16 h 116"/>
                <a:gd name="T108" fmla="*/ 116 w 116"/>
                <a:gd name="T109" fmla="*/ 9 h 116"/>
                <a:gd name="T110" fmla="*/ 116 w 116"/>
                <a:gd name="T111" fmla="*/ 7 h 116"/>
                <a:gd name="T112" fmla="*/ 109 w 116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116">
                  <a:moveTo>
                    <a:pt x="30" y="63"/>
                  </a:moveTo>
                  <a:cubicBezTo>
                    <a:pt x="48" y="63"/>
                    <a:pt x="66" y="53"/>
                    <a:pt x="79" y="3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8"/>
                    <a:pt x="80" y="49"/>
                    <a:pt x="81" y="49"/>
                  </a:cubicBezTo>
                  <a:cubicBezTo>
                    <a:pt x="82" y="49"/>
                    <a:pt x="83" y="48"/>
                    <a:pt x="83" y="46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4" y="28"/>
                    <a:pt x="63" y="29"/>
                    <a:pt x="63" y="30"/>
                  </a:cubicBezTo>
                  <a:cubicBezTo>
                    <a:pt x="63" y="32"/>
                    <a:pt x="64" y="33"/>
                    <a:pt x="65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64" y="49"/>
                    <a:pt x="47" y="58"/>
                    <a:pt x="30" y="58"/>
                  </a:cubicBezTo>
                  <a:cubicBezTo>
                    <a:pt x="29" y="58"/>
                    <a:pt x="28" y="59"/>
                    <a:pt x="28" y="60"/>
                  </a:cubicBezTo>
                  <a:cubicBezTo>
                    <a:pt x="28" y="62"/>
                    <a:pt x="29" y="63"/>
                    <a:pt x="30" y="63"/>
                  </a:cubicBezTo>
                  <a:moveTo>
                    <a:pt x="111" y="9"/>
                  </a:moveTo>
                  <a:cubicBezTo>
                    <a:pt x="111" y="11"/>
                    <a:pt x="110" y="12"/>
                    <a:pt x="109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5" y="11"/>
                    <a:pt x="5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10" y="5"/>
                    <a:pt x="111" y="6"/>
                    <a:pt x="111" y="7"/>
                  </a:cubicBezTo>
                  <a:lnTo>
                    <a:pt x="111" y="9"/>
                  </a:lnTo>
                  <a:close/>
                  <a:moveTo>
                    <a:pt x="104" y="74"/>
                  </a:moveTo>
                  <a:cubicBezTo>
                    <a:pt x="12" y="74"/>
                    <a:pt x="12" y="74"/>
                    <a:pt x="12" y="7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4" y="16"/>
                    <a:pt x="104" y="16"/>
                    <a:pt x="104" y="16"/>
                  </a:cubicBezTo>
                  <a:lnTo>
                    <a:pt x="104" y="74"/>
                  </a:lnTo>
                  <a:close/>
                  <a:moveTo>
                    <a:pt x="10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6"/>
                    <a:pt x="7" y="1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78"/>
                    <a:pt x="8" y="79"/>
                    <a:pt x="9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0" y="113"/>
                    <a:pt x="30" y="114"/>
                    <a:pt x="31" y="115"/>
                  </a:cubicBezTo>
                  <a:cubicBezTo>
                    <a:pt x="31" y="115"/>
                    <a:pt x="32" y="116"/>
                    <a:pt x="33" y="116"/>
                  </a:cubicBezTo>
                  <a:cubicBezTo>
                    <a:pt x="33" y="116"/>
                    <a:pt x="34" y="115"/>
                    <a:pt x="34" y="115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6" y="115"/>
                    <a:pt x="57" y="116"/>
                    <a:pt x="58" y="116"/>
                  </a:cubicBezTo>
                  <a:cubicBezTo>
                    <a:pt x="59" y="116"/>
                    <a:pt x="60" y="115"/>
                    <a:pt x="60" y="11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3" y="116"/>
                    <a:pt x="83" y="116"/>
                  </a:cubicBezTo>
                  <a:cubicBezTo>
                    <a:pt x="84" y="116"/>
                    <a:pt x="85" y="115"/>
                    <a:pt x="85" y="115"/>
                  </a:cubicBezTo>
                  <a:cubicBezTo>
                    <a:pt x="86" y="114"/>
                    <a:pt x="86" y="113"/>
                    <a:pt x="85" y="112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8" y="79"/>
                    <a:pt x="109" y="78"/>
                    <a:pt x="109" y="76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13" y="16"/>
                    <a:pt x="116" y="13"/>
                    <a:pt x="116" y="9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3"/>
                    <a:pt x="113" y="0"/>
                    <a:pt x="109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198">
            <a:extLst>
              <a:ext uri="{FF2B5EF4-FFF2-40B4-BE49-F238E27FC236}">
                <a16:creationId xmlns:a16="http://schemas.microsoft.com/office/drawing/2014/main" id="{931EB1DC-B551-4D0E-91D1-40CE8F42DB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1193" y="4098474"/>
            <a:ext cx="842963" cy="841375"/>
            <a:chOff x="4394" y="2640"/>
            <a:chExt cx="531" cy="530"/>
          </a:xfrm>
        </p:grpSpPr>
        <p:sp>
          <p:nvSpPr>
            <p:cNvPr id="231" name="AutoShape 197">
              <a:extLst>
                <a:ext uri="{FF2B5EF4-FFF2-40B4-BE49-F238E27FC236}">
                  <a16:creationId xmlns:a16="http://schemas.microsoft.com/office/drawing/2014/main" id="{D394D734-DF39-4D3C-93FC-3AFA86B5AC8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94" y="2640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Oval 199">
              <a:extLst>
                <a:ext uri="{FF2B5EF4-FFF2-40B4-BE49-F238E27FC236}">
                  <a16:creationId xmlns:a16="http://schemas.microsoft.com/office/drawing/2014/main" id="{9146D7EC-C6EC-44E0-9A92-62669D249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4" y="2640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00">
              <a:extLst>
                <a:ext uri="{FF2B5EF4-FFF2-40B4-BE49-F238E27FC236}">
                  <a16:creationId xmlns:a16="http://schemas.microsoft.com/office/drawing/2014/main" id="{29011C5F-FC1D-4866-88CF-F14855E75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2" y="2658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201">
              <a:extLst>
                <a:ext uri="{FF2B5EF4-FFF2-40B4-BE49-F238E27FC236}">
                  <a16:creationId xmlns:a16="http://schemas.microsoft.com/office/drawing/2014/main" id="{1610A9F1-0058-4F50-86D1-12B81A18D1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2" y="2758"/>
              <a:ext cx="298" cy="297"/>
            </a:xfrm>
            <a:custGeom>
              <a:avLst/>
              <a:gdLst>
                <a:gd name="T0" fmla="*/ 30 w 116"/>
                <a:gd name="T1" fmla="*/ 63 h 116"/>
                <a:gd name="T2" fmla="*/ 79 w 116"/>
                <a:gd name="T3" fmla="*/ 36 h 116"/>
                <a:gd name="T4" fmla="*/ 79 w 116"/>
                <a:gd name="T5" fmla="*/ 46 h 116"/>
                <a:gd name="T6" fmla="*/ 81 w 116"/>
                <a:gd name="T7" fmla="*/ 49 h 116"/>
                <a:gd name="T8" fmla="*/ 83 w 116"/>
                <a:gd name="T9" fmla="*/ 46 h 116"/>
                <a:gd name="T10" fmla="*/ 83 w 116"/>
                <a:gd name="T11" fmla="*/ 28 h 116"/>
                <a:gd name="T12" fmla="*/ 65 w 116"/>
                <a:gd name="T13" fmla="*/ 28 h 116"/>
                <a:gd name="T14" fmla="*/ 63 w 116"/>
                <a:gd name="T15" fmla="*/ 30 h 116"/>
                <a:gd name="T16" fmla="*/ 65 w 116"/>
                <a:gd name="T17" fmla="*/ 33 h 116"/>
                <a:gd name="T18" fmla="*/ 76 w 116"/>
                <a:gd name="T19" fmla="*/ 33 h 116"/>
                <a:gd name="T20" fmla="*/ 30 w 116"/>
                <a:gd name="T21" fmla="*/ 58 h 116"/>
                <a:gd name="T22" fmla="*/ 28 w 116"/>
                <a:gd name="T23" fmla="*/ 60 h 116"/>
                <a:gd name="T24" fmla="*/ 30 w 116"/>
                <a:gd name="T25" fmla="*/ 63 h 116"/>
                <a:gd name="T26" fmla="*/ 111 w 116"/>
                <a:gd name="T27" fmla="*/ 9 h 116"/>
                <a:gd name="T28" fmla="*/ 109 w 116"/>
                <a:gd name="T29" fmla="*/ 12 h 116"/>
                <a:gd name="T30" fmla="*/ 7 w 116"/>
                <a:gd name="T31" fmla="*/ 12 h 116"/>
                <a:gd name="T32" fmla="*/ 5 w 116"/>
                <a:gd name="T33" fmla="*/ 9 h 116"/>
                <a:gd name="T34" fmla="*/ 5 w 116"/>
                <a:gd name="T35" fmla="*/ 7 h 116"/>
                <a:gd name="T36" fmla="*/ 7 w 116"/>
                <a:gd name="T37" fmla="*/ 5 h 116"/>
                <a:gd name="T38" fmla="*/ 109 w 116"/>
                <a:gd name="T39" fmla="*/ 5 h 116"/>
                <a:gd name="T40" fmla="*/ 111 w 116"/>
                <a:gd name="T41" fmla="*/ 7 h 116"/>
                <a:gd name="T42" fmla="*/ 111 w 116"/>
                <a:gd name="T43" fmla="*/ 9 h 116"/>
                <a:gd name="T44" fmla="*/ 104 w 116"/>
                <a:gd name="T45" fmla="*/ 74 h 116"/>
                <a:gd name="T46" fmla="*/ 12 w 116"/>
                <a:gd name="T47" fmla="*/ 74 h 116"/>
                <a:gd name="T48" fmla="*/ 12 w 116"/>
                <a:gd name="T49" fmla="*/ 16 h 116"/>
                <a:gd name="T50" fmla="*/ 104 w 116"/>
                <a:gd name="T51" fmla="*/ 16 h 116"/>
                <a:gd name="T52" fmla="*/ 104 w 116"/>
                <a:gd name="T53" fmla="*/ 74 h 116"/>
                <a:gd name="T54" fmla="*/ 109 w 116"/>
                <a:gd name="T55" fmla="*/ 0 h 116"/>
                <a:gd name="T56" fmla="*/ 7 w 116"/>
                <a:gd name="T57" fmla="*/ 0 h 116"/>
                <a:gd name="T58" fmla="*/ 0 w 116"/>
                <a:gd name="T59" fmla="*/ 7 h 116"/>
                <a:gd name="T60" fmla="*/ 0 w 116"/>
                <a:gd name="T61" fmla="*/ 9 h 116"/>
                <a:gd name="T62" fmla="*/ 7 w 116"/>
                <a:gd name="T63" fmla="*/ 16 h 116"/>
                <a:gd name="T64" fmla="*/ 7 w 116"/>
                <a:gd name="T65" fmla="*/ 76 h 116"/>
                <a:gd name="T66" fmla="*/ 9 w 116"/>
                <a:gd name="T67" fmla="*/ 79 h 116"/>
                <a:gd name="T68" fmla="*/ 56 w 116"/>
                <a:gd name="T69" fmla="*/ 79 h 116"/>
                <a:gd name="T70" fmla="*/ 56 w 116"/>
                <a:gd name="T71" fmla="*/ 87 h 116"/>
                <a:gd name="T72" fmla="*/ 31 w 116"/>
                <a:gd name="T73" fmla="*/ 112 h 116"/>
                <a:gd name="T74" fmla="*/ 31 w 116"/>
                <a:gd name="T75" fmla="*/ 115 h 116"/>
                <a:gd name="T76" fmla="*/ 33 w 116"/>
                <a:gd name="T77" fmla="*/ 116 h 116"/>
                <a:gd name="T78" fmla="*/ 34 w 116"/>
                <a:gd name="T79" fmla="*/ 115 h 116"/>
                <a:gd name="T80" fmla="*/ 56 w 116"/>
                <a:gd name="T81" fmla="*/ 94 h 116"/>
                <a:gd name="T82" fmla="*/ 56 w 116"/>
                <a:gd name="T83" fmla="*/ 113 h 116"/>
                <a:gd name="T84" fmla="*/ 58 w 116"/>
                <a:gd name="T85" fmla="*/ 116 h 116"/>
                <a:gd name="T86" fmla="*/ 60 w 116"/>
                <a:gd name="T87" fmla="*/ 113 h 116"/>
                <a:gd name="T88" fmla="*/ 60 w 116"/>
                <a:gd name="T89" fmla="*/ 94 h 116"/>
                <a:gd name="T90" fmla="*/ 82 w 116"/>
                <a:gd name="T91" fmla="*/ 115 h 116"/>
                <a:gd name="T92" fmla="*/ 83 w 116"/>
                <a:gd name="T93" fmla="*/ 116 h 116"/>
                <a:gd name="T94" fmla="*/ 85 w 116"/>
                <a:gd name="T95" fmla="*/ 115 h 116"/>
                <a:gd name="T96" fmla="*/ 85 w 116"/>
                <a:gd name="T97" fmla="*/ 112 h 116"/>
                <a:gd name="T98" fmla="*/ 60 w 116"/>
                <a:gd name="T99" fmla="*/ 87 h 116"/>
                <a:gd name="T100" fmla="*/ 60 w 116"/>
                <a:gd name="T101" fmla="*/ 79 h 116"/>
                <a:gd name="T102" fmla="*/ 107 w 116"/>
                <a:gd name="T103" fmla="*/ 79 h 116"/>
                <a:gd name="T104" fmla="*/ 109 w 116"/>
                <a:gd name="T105" fmla="*/ 76 h 116"/>
                <a:gd name="T106" fmla="*/ 109 w 116"/>
                <a:gd name="T107" fmla="*/ 16 h 116"/>
                <a:gd name="T108" fmla="*/ 116 w 116"/>
                <a:gd name="T109" fmla="*/ 9 h 116"/>
                <a:gd name="T110" fmla="*/ 116 w 116"/>
                <a:gd name="T111" fmla="*/ 7 h 116"/>
                <a:gd name="T112" fmla="*/ 109 w 116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6" h="116">
                  <a:moveTo>
                    <a:pt x="30" y="63"/>
                  </a:moveTo>
                  <a:cubicBezTo>
                    <a:pt x="48" y="63"/>
                    <a:pt x="66" y="53"/>
                    <a:pt x="79" y="3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8"/>
                    <a:pt x="80" y="49"/>
                    <a:pt x="81" y="49"/>
                  </a:cubicBezTo>
                  <a:cubicBezTo>
                    <a:pt x="82" y="49"/>
                    <a:pt x="83" y="48"/>
                    <a:pt x="83" y="46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4" y="28"/>
                    <a:pt x="63" y="29"/>
                    <a:pt x="63" y="30"/>
                  </a:cubicBezTo>
                  <a:cubicBezTo>
                    <a:pt x="63" y="32"/>
                    <a:pt x="64" y="33"/>
                    <a:pt x="65" y="33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64" y="49"/>
                    <a:pt x="47" y="58"/>
                    <a:pt x="30" y="58"/>
                  </a:cubicBezTo>
                  <a:cubicBezTo>
                    <a:pt x="29" y="58"/>
                    <a:pt x="28" y="59"/>
                    <a:pt x="28" y="60"/>
                  </a:cubicBezTo>
                  <a:cubicBezTo>
                    <a:pt x="28" y="62"/>
                    <a:pt x="29" y="63"/>
                    <a:pt x="30" y="63"/>
                  </a:cubicBezTo>
                  <a:moveTo>
                    <a:pt x="111" y="9"/>
                  </a:moveTo>
                  <a:cubicBezTo>
                    <a:pt x="111" y="11"/>
                    <a:pt x="110" y="12"/>
                    <a:pt x="109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5" y="11"/>
                    <a:pt x="5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10" y="5"/>
                    <a:pt x="111" y="6"/>
                    <a:pt x="111" y="7"/>
                  </a:cubicBezTo>
                  <a:lnTo>
                    <a:pt x="111" y="9"/>
                  </a:lnTo>
                  <a:close/>
                  <a:moveTo>
                    <a:pt x="104" y="74"/>
                  </a:moveTo>
                  <a:cubicBezTo>
                    <a:pt x="12" y="74"/>
                    <a:pt x="12" y="74"/>
                    <a:pt x="12" y="7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04" y="16"/>
                    <a:pt x="104" y="16"/>
                    <a:pt x="104" y="16"/>
                  </a:cubicBezTo>
                  <a:lnTo>
                    <a:pt x="104" y="74"/>
                  </a:lnTo>
                  <a:close/>
                  <a:moveTo>
                    <a:pt x="10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3"/>
                    <a:pt x="3" y="16"/>
                    <a:pt x="7" y="1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78"/>
                    <a:pt x="8" y="79"/>
                    <a:pt x="9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0" y="113"/>
                    <a:pt x="30" y="114"/>
                    <a:pt x="31" y="115"/>
                  </a:cubicBezTo>
                  <a:cubicBezTo>
                    <a:pt x="31" y="115"/>
                    <a:pt x="32" y="116"/>
                    <a:pt x="33" y="116"/>
                  </a:cubicBezTo>
                  <a:cubicBezTo>
                    <a:pt x="33" y="116"/>
                    <a:pt x="34" y="115"/>
                    <a:pt x="34" y="115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6" y="115"/>
                    <a:pt x="57" y="116"/>
                    <a:pt x="58" y="116"/>
                  </a:cubicBezTo>
                  <a:cubicBezTo>
                    <a:pt x="59" y="116"/>
                    <a:pt x="60" y="115"/>
                    <a:pt x="60" y="11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3" y="116"/>
                    <a:pt x="83" y="116"/>
                  </a:cubicBezTo>
                  <a:cubicBezTo>
                    <a:pt x="84" y="116"/>
                    <a:pt x="85" y="115"/>
                    <a:pt x="85" y="115"/>
                  </a:cubicBezTo>
                  <a:cubicBezTo>
                    <a:pt x="86" y="114"/>
                    <a:pt x="86" y="113"/>
                    <a:pt x="85" y="112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08" y="79"/>
                    <a:pt x="109" y="78"/>
                    <a:pt x="109" y="76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13" y="16"/>
                    <a:pt x="116" y="13"/>
                    <a:pt x="116" y="9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3"/>
                    <a:pt x="113" y="0"/>
                    <a:pt x="10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9" name="Group 204">
            <a:extLst>
              <a:ext uri="{FF2B5EF4-FFF2-40B4-BE49-F238E27FC236}">
                <a16:creationId xmlns:a16="http://schemas.microsoft.com/office/drawing/2014/main" id="{9254D382-6858-44DC-A582-E0ADCE13E8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8861" y="5456854"/>
            <a:ext cx="758825" cy="758825"/>
            <a:chOff x="679" y="3456"/>
            <a:chExt cx="478" cy="478"/>
          </a:xfrm>
        </p:grpSpPr>
        <p:sp>
          <p:nvSpPr>
            <p:cNvPr id="240" name="AutoShape 203">
              <a:extLst>
                <a:ext uri="{FF2B5EF4-FFF2-40B4-BE49-F238E27FC236}">
                  <a16:creationId xmlns:a16="http://schemas.microsoft.com/office/drawing/2014/main" id="{AADAAB0F-3E02-4BB7-9AC7-23505E2E978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79" y="345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5">
              <a:extLst>
                <a:ext uri="{FF2B5EF4-FFF2-40B4-BE49-F238E27FC236}">
                  <a16:creationId xmlns:a16="http://schemas.microsoft.com/office/drawing/2014/main" id="{9A33C926-E2B7-4A4C-A897-6F8A536A9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" y="345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06">
              <a:extLst>
                <a:ext uri="{FF2B5EF4-FFF2-40B4-BE49-F238E27FC236}">
                  <a16:creationId xmlns:a16="http://schemas.microsoft.com/office/drawing/2014/main" id="{4E0A9BFC-0F0C-45F8-8BB4-7886B8879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" y="3581"/>
              <a:ext cx="299" cy="230"/>
            </a:xfrm>
            <a:custGeom>
              <a:avLst/>
              <a:gdLst>
                <a:gd name="T0" fmla="*/ 16 w 122"/>
                <a:gd name="T1" fmla="*/ 5 h 94"/>
                <a:gd name="T2" fmla="*/ 110 w 122"/>
                <a:gd name="T3" fmla="*/ 9 h 94"/>
                <a:gd name="T4" fmla="*/ 12 w 122"/>
                <a:gd name="T5" fmla="*/ 11 h 94"/>
                <a:gd name="T6" fmla="*/ 12 w 122"/>
                <a:gd name="T7" fmla="*/ 16 h 94"/>
                <a:gd name="T8" fmla="*/ 110 w 122"/>
                <a:gd name="T9" fmla="*/ 71 h 94"/>
                <a:gd name="T10" fmla="*/ 115 w 122"/>
                <a:gd name="T11" fmla="*/ 9 h 94"/>
                <a:gd name="T12" fmla="*/ 16 w 122"/>
                <a:gd name="T13" fmla="*/ 0 h 94"/>
                <a:gd name="T14" fmla="*/ 7 w 122"/>
                <a:gd name="T15" fmla="*/ 71 h 94"/>
                <a:gd name="T16" fmla="*/ 12 w 122"/>
                <a:gd name="T17" fmla="*/ 16 h 94"/>
                <a:gd name="T18" fmla="*/ 111 w 122"/>
                <a:gd name="T19" fmla="*/ 89 h 94"/>
                <a:gd name="T20" fmla="*/ 5 w 122"/>
                <a:gd name="T21" fmla="*/ 83 h 94"/>
                <a:gd name="T22" fmla="*/ 48 w 122"/>
                <a:gd name="T23" fmla="*/ 81 h 94"/>
                <a:gd name="T24" fmla="*/ 51 w 122"/>
                <a:gd name="T25" fmla="*/ 86 h 94"/>
                <a:gd name="T26" fmla="*/ 74 w 122"/>
                <a:gd name="T27" fmla="*/ 83 h 94"/>
                <a:gd name="T28" fmla="*/ 117 w 122"/>
                <a:gd name="T29" fmla="*/ 81 h 94"/>
                <a:gd name="T30" fmla="*/ 120 w 122"/>
                <a:gd name="T31" fmla="*/ 76 h 94"/>
                <a:gd name="T32" fmla="*/ 69 w 122"/>
                <a:gd name="T33" fmla="*/ 79 h 94"/>
                <a:gd name="T34" fmla="*/ 53 w 122"/>
                <a:gd name="T35" fmla="*/ 81 h 94"/>
                <a:gd name="T36" fmla="*/ 51 w 122"/>
                <a:gd name="T37" fmla="*/ 76 h 94"/>
                <a:gd name="T38" fmla="*/ 0 w 122"/>
                <a:gd name="T39" fmla="*/ 79 h 94"/>
                <a:gd name="T40" fmla="*/ 11 w 122"/>
                <a:gd name="T41" fmla="*/ 94 h 94"/>
                <a:gd name="T42" fmla="*/ 122 w 122"/>
                <a:gd name="T43" fmla="*/ 83 h 94"/>
                <a:gd name="T44" fmla="*/ 120 w 122"/>
                <a:gd name="T45" fmla="*/ 76 h 94"/>
                <a:gd name="T46" fmla="*/ 36 w 122"/>
                <a:gd name="T47" fmla="*/ 62 h 94"/>
                <a:gd name="T48" fmla="*/ 32 w 122"/>
                <a:gd name="T49" fmla="*/ 67 h 94"/>
                <a:gd name="T50" fmla="*/ 87 w 122"/>
                <a:gd name="T51" fmla="*/ 62 h 94"/>
                <a:gd name="T52" fmla="*/ 83 w 122"/>
                <a:gd name="T53" fmla="*/ 40 h 94"/>
                <a:gd name="T54" fmla="*/ 78 w 122"/>
                <a:gd name="T55" fmla="*/ 62 h 94"/>
                <a:gd name="T56" fmla="*/ 72 w 122"/>
                <a:gd name="T57" fmla="*/ 24 h 94"/>
                <a:gd name="T58" fmla="*/ 67 w 122"/>
                <a:gd name="T59" fmla="*/ 62 h 94"/>
                <a:gd name="T60" fmla="*/ 62 w 122"/>
                <a:gd name="T61" fmla="*/ 33 h 94"/>
                <a:gd name="T62" fmla="*/ 57 w 122"/>
                <a:gd name="T63" fmla="*/ 62 h 94"/>
                <a:gd name="T64" fmla="*/ 52 w 122"/>
                <a:gd name="T65" fmla="*/ 45 h 94"/>
                <a:gd name="T66" fmla="*/ 47 w 122"/>
                <a:gd name="T67" fmla="*/ 62 h 94"/>
                <a:gd name="T68" fmla="*/ 41 w 122"/>
                <a:gd name="T69" fmla="*/ 3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" h="94">
                  <a:moveTo>
                    <a:pt x="12" y="9"/>
                  </a:moveTo>
                  <a:cubicBezTo>
                    <a:pt x="12" y="7"/>
                    <a:pt x="14" y="5"/>
                    <a:pt x="16" y="5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8" y="5"/>
                    <a:pt x="110" y="7"/>
                    <a:pt x="110" y="9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12" y="9"/>
                  </a:lnTo>
                  <a:close/>
                  <a:moveTo>
                    <a:pt x="12" y="16"/>
                  </a:moveTo>
                  <a:cubicBezTo>
                    <a:pt x="110" y="16"/>
                    <a:pt x="110" y="16"/>
                    <a:pt x="110" y="16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5" y="4"/>
                    <a:pt x="111" y="0"/>
                    <a:pt x="10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7" y="4"/>
                    <a:pt x="7" y="9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12" y="71"/>
                    <a:pt x="12" y="71"/>
                    <a:pt x="12" y="71"/>
                  </a:cubicBezTo>
                  <a:lnTo>
                    <a:pt x="12" y="16"/>
                  </a:lnTo>
                  <a:close/>
                  <a:moveTo>
                    <a:pt x="117" y="83"/>
                  </a:moveTo>
                  <a:cubicBezTo>
                    <a:pt x="117" y="86"/>
                    <a:pt x="115" y="89"/>
                    <a:pt x="1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7" y="89"/>
                    <a:pt x="5" y="86"/>
                    <a:pt x="5" y="83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5"/>
                    <a:pt x="49" y="86"/>
                    <a:pt x="51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3" y="86"/>
                    <a:pt x="74" y="85"/>
                    <a:pt x="74" y="83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117" y="81"/>
                    <a:pt x="117" y="81"/>
                    <a:pt x="117" y="81"/>
                  </a:cubicBezTo>
                  <a:lnTo>
                    <a:pt x="117" y="83"/>
                  </a:lnTo>
                  <a:close/>
                  <a:moveTo>
                    <a:pt x="120" y="76"/>
                  </a:moveTo>
                  <a:cubicBezTo>
                    <a:pt x="71" y="76"/>
                    <a:pt x="71" y="76"/>
                    <a:pt x="71" y="76"/>
                  </a:cubicBezTo>
                  <a:cubicBezTo>
                    <a:pt x="70" y="76"/>
                    <a:pt x="69" y="77"/>
                    <a:pt x="69" y="79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7"/>
                    <a:pt x="52" y="76"/>
                    <a:pt x="51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6"/>
                    <a:pt x="0" y="77"/>
                    <a:pt x="0" y="79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9"/>
                    <a:pt x="5" y="94"/>
                    <a:pt x="11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7" y="94"/>
                    <a:pt x="122" y="89"/>
                    <a:pt x="122" y="83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7"/>
                    <a:pt x="121" y="76"/>
                    <a:pt x="120" y="76"/>
                  </a:cubicBezTo>
                  <a:moveTo>
                    <a:pt x="36" y="37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37"/>
                    <a:pt x="41" y="37"/>
                    <a:pt x="41" y="37"/>
                  </a:cubicBezTo>
                  <a:lnTo>
                    <a:pt x="36" y="37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3" name="Group 209">
            <a:extLst>
              <a:ext uri="{FF2B5EF4-FFF2-40B4-BE49-F238E27FC236}">
                <a16:creationId xmlns:a16="http://schemas.microsoft.com/office/drawing/2014/main" id="{F3CA432A-DBA9-4763-B110-562A94914D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9095" y="5415579"/>
            <a:ext cx="841375" cy="841375"/>
            <a:chOff x="225" y="3448"/>
            <a:chExt cx="530" cy="530"/>
          </a:xfrm>
        </p:grpSpPr>
        <p:sp>
          <p:nvSpPr>
            <p:cNvPr id="244" name="AutoShape 208">
              <a:extLst>
                <a:ext uri="{FF2B5EF4-FFF2-40B4-BE49-F238E27FC236}">
                  <a16:creationId xmlns:a16="http://schemas.microsoft.com/office/drawing/2014/main" id="{46C5008B-9A54-41D5-9FD5-6E4B763EC9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" y="344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210">
              <a:extLst>
                <a:ext uri="{FF2B5EF4-FFF2-40B4-BE49-F238E27FC236}">
                  <a16:creationId xmlns:a16="http://schemas.microsoft.com/office/drawing/2014/main" id="{47A35922-0CAD-46EE-9825-1FE83AE85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" y="344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11">
              <a:extLst>
                <a:ext uri="{FF2B5EF4-FFF2-40B4-BE49-F238E27FC236}">
                  <a16:creationId xmlns:a16="http://schemas.microsoft.com/office/drawing/2014/main" id="{4036D793-AA08-4BFE-A05E-8AEB9A2847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346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2">
              <a:extLst>
                <a:ext uri="{FF2B5EF4-FFF2-40B4-BE49-F238E27FC236}">
                  <a16:creationId xmlns:a16="http://schemas.microsoft.com/office/drawing/2014/main" id="{F2A32130-6EA7-4179-B015-8B19321F0C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" y="3594"/>
              <a:ext cx="312" cy="241"/>
            </a:xfrm>
            <a:custGeom>
              <a:avLst/>
              <a:gdLst>
                <a:gd name="T0" fmla="*/ 16 w 122"/>
                <a:gd name="T1" fmla="*/ 5 h 94"/>
                <a:gd name="T2" fmla="*/ 110 w 122"/>
                <a:gd name="T3" fmla="*/ 9 h 94"/>
                <a:gd name="T4" fmla="*/ 12 w 122"/>
                <a:gd name="T5" fmla="*/ 11 h 94"/>
                <a:gd name="T6" fmla="*/ 12 w 122"/>
                <a:gd name="T7" fmla="*/ 16 h 94"/>
                <a:gd name="T8" fmla="*/ 110 w 122"/>
                <a:gd name="T9" fmla="*/ 71 h 94"/>
                <a:gd name="T10" fmla="*/ 115 w 122"/>
                <a:gd name="T11" fmla="*/ 9 h 94"/>
                <a:gd name="T12" fmla="*/ 16 w 122"/>
                <a:gd name="T13" fmla="*/ 0 h 94"/>
                <a:gd name="T14" fmla="*/ 7 w 122"/>
                <a:gd name="T15" fmla="*/ 71 h 94"/>
                <a:gd name="T16" fmla="*/ 12 w 122"/>
                <a:gd name="T17" fmla="*/ 16 h 94"/>
                <a:gd name="T18" fmla="*/ 111 w 122"/>
                <a:gd name="T19" fmla="*/ 89 h 94"/>
                <a:gd name="T20" fmla="*/ 5 w 122"/>
                <a:gd name="T21" fmla="*/ 83 h 94"/>
                <a:gd name="T22" fmla="*/ 48 w 122"/>
                <a:gd name="T23" fmla="*/ 81 h 94"/>
                <a:gd name="T24" fmla="*/ 51 w 122"/>
                <a:gd name="T25" fmla="*/ 86 h 94"/>
                <a:gd name="T26" fmla="*/ 74 w 122"/>
                <a:gd name="T27" fmla="*/ 83 h 94"/>
                <a:gd name="T28" fmla="*/ 117 w 122"/>
                <a:gd name="T29" fmla="*/ 81 h 94"/>
                <a:gd name="T30" fmla="*/ 120 w 122"/>
                <a:gd name="T31" fmla="*/ 76 h 94"/>
                <a:gd name="T32" fmla="*/ 69 w 122"/>
                <a:gd name="T33" fmla="*/ 79 h 94"/>
                <a:gd name="T34" fmla="*/ 53 w 122"/>
                <a:gd name="T35" fmla="*/ 81 h 94"/>
                <a:gd name="T36" fmla="*/ 51 w 122"/>
                <a:gd name="T37" fmla="*/ 76 h 94"/>
                <a:gd name="T38" fmla="*/ 0 w 122"/>
                <a:gd name="T39" fmla="*/ 79 h 94"/>
                <a:gd name="T40" fmla="*/ 11 w 122"/>
                <a:gd name="T41" fmla="*/ 94 h 94"/>
                <a:gd name="T42" fmla="*/ 122 w 122"/>
                <a:gd name="T43" fmla="*/ 83 h 94"/>
                <a:gd name="T44" fmla="*/ 120 w 122"/>
                <a:gd name="T45" fmla="*/ 76 h 94"/>
                <a:gd name="T46" fmla="*/ 36 w 122"/>
                <a:gd name="T47" fmla="*/ 62 h 94"/>
                <a:gd name="T48" fmla="*/ 32 w 122"/>
                <a:gd name="T49" fmla="*/ 67 h 94"/>
                <a:gd name="T50" fmla="*/ 87 w 122"/>
                <a:gd name="T51" fmla="*/ 62 h 94"/>
                <a:gd name="T52" fmla="*/ 83 w 122"/>
                <a:gd name="T53" fmla="*/ 40 h 94"/>
                <a:gd name="T54" fmla="*/ 78 w 122"/>
                <a:gd name="T55" fmla="*/ 62 h 94"/>
                <a:gd name="T56" fmla="*/ 72 w 122"/>
                <a:gd name="T57" fmla="*/ 24 h 94"/>
                <a:gd name="T58" fmla="*/ 67 w 122"/>
                <a:gd name="T59" fmla="*/ 62 h 94"/>
                <a:gd name="T60" fmla="*/ 62 w 122"/>
                <a:gd name="T61" fmla="*/ 33 h 94"/>
                <a:gd name="T62" fmla="*/ 57 w 122"/>
                <a:gd name="T63" fmla="*/ 62 h 94"/>
                <a:gd name="T64" fmla="*/ 52 w 122"/>
                <a:gd name="T65" fmla="*/ 45 h 94"/>
                <a:gd name="T66" fmla="*/ 47 w 122"/>
                <a:gd name="T67" fmla="*/ 62 h 94"/>
                <a:gd name="T68" fmla="*/ 41 w 122"/>
                <a:gd name="T69" fmla="*/ 3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2" h="94">
                  <a:moveTo>
                    <a:pt x="12" y="9"/>
                  </a:moveTo>
                  <a:cubicBezTo>
                    <a:pt x="12" y="7"/>
                    <a:pt x="14" y="5"/>
                    <a:pt x="16" y="5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8" y="5"/>
                    <a:pt x="110" y="7"/>
                    <a:pt x="110" y="9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12" y="9"/>
                  </a:lnTo>
                  <a:close/>
                  <a:moveTo>
                    <a:pt x="12" y="16"/>
                  </a:moveTo>
                  <a:cubicBezTo>
                    <a:pt x="110" y="16"/>
                    <a:pt x="110" y="16"/>
                    <a:pt x="110" y="16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5" y="4"/>
                    <a:pt x="111" y="0"/>
                    <a:pt x="10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7" y="4"/>
                    <a:pt x="7" y="9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12" y="71"/>
                    <a:pt x="12" y="71"/>
                    <a:pt x="12" y="71"/>
                  </a:cubicBezTo>
                  <a:lnTo>
                    <a:pt x="12" y="16"/>
                  </a:lnTo>
                  <a:close/>
                  <a:moveTo>
                    <a:pt x="117" y="83"/>
                  </a:moveTo>
                  <a:cubicBezTo>
                    <a:pt x="117" y="86"/>
                    <a:pt x="115" y="89"/>
                    <a:pt x="1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7" y="89"/>
                    <a:pt x="5" y="86"/>
                    <a:pt x="5" y="83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5"/>
                    <a:pt x="49" y="86"/>
                    <a:pt x="51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3" y="86"/>
                    <a:pt x="74" y="85"/>
                    <a:pt x="74" y="83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117" y="81"/>
                    <a:pt x="117" y="81"/>
                    <a:pt x="117" y="81"/>
                  </a:cubicBezTo>
                  <a:lnTo>
                    <a:pt x="117" y="83"/>
                  </a:lnTo>
                  <a:close/>
                  <a:moveTo>
                    <a:pt x="120" y="76"/>
                  </a:moveTo>
                  <a:cubicBezTo>
                    <a:pt x="71" y="76"/>
                    <a:pt x="71" y="76"/>
                    <a:pt x="71" y="76"/>
                  </a:cubicBezTo>
                  <a:cubicBezTo>
                    <a:pt x="70" y="76"/>
                    <a:pt x="69" y="77"/>
                    <a:pt x="69" y="79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7"/>
                    <a:pt x="52" y="76"/>
                    <a:pt x="51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6"/>
                    <a:pt x="0" y="77"/>
                    <a:pt x="0" y="79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9"/>
                    <a:pt x="5" y="94"/>
                    <a:pt x="11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7" y="94"/>
                    <a:pt x="122" y="89"/>
                    <a:pt x="122" y="83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7"/>
                    <a:pt x="121" y="76"/>
                    <a:pt x="120" y="76"/>
                  </a:cubicBezTo>
                  <a:moveTo>
                    <a:pt x="36" y="37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37"/>
                    <a:pt x="41" y="37"/>
                    <a:pt x="41" y="37"/>
                  </a:cubicBezTo>
                  <a:lnTo>
                    <a:pt x="36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215">
            <a:extLst>
              <a:ext uri="{FF2B5EF4-FFF2-40B4-BE49-F238E27FC236}">
                <a16:creationId xmlns:a16="http://schemas.microsoft.com/office/drawing/2014/main" id="{11AE9710-F5A0-4D1D-A14E-1B11E08182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67882" y="5456854"/>
            <a:ext cx="760413" cy="758825"/>
            <a:chOff x="2316" y="3487"/>
            <a:chExt cx="479" cy="478"/>
          </a:xfrm>
        </p:grpSpPr>
        <p:sp>
          <p:nvSpPr>
            <p:cNvPr id="253" name="AutoShape 214">
              <a:extLst>
                <a:ext uri="{FF2B5EF4-FFF2-40B4-BE49-F238E27FC236}">
                  <a16:creationId xmlns:a16="http://schemas.microsoft.com/office/drawing/2014/main" id="{B096AC6B-DA10-4640-B1D5-B9D4DC34AB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16" y="348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16">
              <a:extLst>
                <a:ext uri="{FF2B5EF4-FFF2-40B4-BE49-F238E27FC236}">
                  <a16:creationId xmlns:a16="http://schemas.microsoft.com/office/drawing/2014/main" id="{B00D6C20-1D59-4114-9AE8-7B6112C1E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8" y="348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17">
              <a:extLst>
                <a:ext uri="{FF2B5EF4-FFF2-40B4-BE49-F238E27FC236}">
                  <a16:creationId xmlns:a16="http://schemas.microsoft.com/office/drawing/2014/main" id="{3CB41FEE-FC84-4D64-B72E-7C62BD0F56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1" y="3578"/>
              <a:ext cx="231" cy="299"/>
            </a:xfrm>
            <a:custGeom>
              <a:avLst/>
              <a:gdLst>
                <a:gd name="T0" fmla="*/ 40 w 94"/>
                <a:gd name="T1" fmla="*/ 97 h 122"/>
                <a:gd name="T2" fmla="*/ 25 w 94"/>
                <a:gd name="T3" fmla="*/ 113 h 122"/>
                <a:gd name="T4" fmla="*/ 25 w 94"/>
                <a:gd name="T5" fmla="*/ 68 h 122"/>
                <a:gd name="T6" fmla="*/ 22 w 94"/>
                <a:gd name="T7" fmla="*/ 66 h 122"/>
                <a:gd name="T8" fmla="*/ 20 w 94"/>
                <a:gd name="T9" fmla="*/ 68 h 122"/>
                <a:gd name="T10" fmla="*/ 20 w 94"/>
                <a:gd name="T11" fmla="*/ 113 h 122"/>
                <a:gd name="T12" fmla="*/ 4 w 94"/>
                <a:gd name="T13" fmla="*/ 97 h 122"/>
                <a:gd name="T14" fmla="*/ 1 w 94"/>
                <a:gd name="T15" fmla="*/ 97 h 122"/>
                <a:gd name="T16" fmla="*/ 1 w 94"/>
                <a:gd name="T17" fmla="*/ 100 h 122"/>
                <a:gd name="T18" fmla="*/ 22 w 94"/>
                <a:gd name="T19" fmla="*/ 122 h 122"/>
                <a:gd name="T20" fmla="*/ 44 w 94"/>
                <a:gd name="T21" fmla="*/ 100 h 122"/>
                <a:gd name="T22" fmla="*/ 44 w 94"/>
                <a:gd name="T23" fmla="*/ 97 h 122"/>
                <a:gd name="T24" fmla="*/ 40 w 94"/>
                <a:gd name="T25" fmla="*/ 97 h 122"/>
                <a:gd name="T26" fmla="*/ 22 w 94"/>
                <a:gd name="T27" fmla="*/ 0 h 122"/>
                <a:gd name="T28" fmla="*/ 1 w 94"/>
                <a:gd name="T29" fmla="*/ 22 h 122"/>
                <a:gd name="T30" fmla="*/ 1 w 94"/>
                <a:gd name="T31" fmla="*/ 25 h 122"/>
                <a:gd name="T32" fmla="*/ 4 w 94"/>
                <a:gd name="T33" fmla="*/ 25 h 122"/>
                <a:gd name="T34" fmla="*/ 20 w 94"/>
                <a:gd name="T35" fmla="*/ 9 h 122"/>
                <a:gd name="T36" fmla="*/ 20 w 94"/>
                <a:gd name="T37" fmla="*/ 53 h 122"/>
                <a:gd name="T38" fmla="*/ 22 w 94"/>
                <a:gd name="T39" fmla="*/ 56 h 122"/>
                <a:gd name="T40" fmla="*/ 25 w 94"/>
                <a:gd name="T41" fmla="*/ 53 h 122"/>
                <a:gd name="T42" fmla="*/ 25 w 94"/>
                <a:gd name="T43" fmla="*/ 9 h 122"/>
                <a:gd name="T44" fmla="*/ 40 w 94"/>
                <a:gd name="T45" fmla="*/ 25 h 122"/>
                <a:gd name="T46" fmla="*/ 42 w 94"/>
                <a:gd name="T47" fmla="*/ 26 h 122"/>
                <a:gd name="T48" fmla="*/ 44 w 94"/>
                <a:gd name="T49" fmla="*/ 25 h 122"/>
                <a:gd name="T50" fmla="*/ 44 w 94"/>
                <a:gd name="T51" fmla="*/ 22 h 122"/>
                <a:gd name="T52" fmla="*/ 22 w 94"/>
                <a:gd name="T53" fmla="*/ 0 h 122"/>
                <a:gd name="T54" fmla="*/ 77 w 94"/>
                <a:gd name="T55" fmla="*/ 21 h 122"/>
                <a:gd name="T56" fmla="*/ 84 w 94"/>
                <a:gd name="T57" fmla="*/ 41 h 122"/>
                <a:gd name="T58" fmla="*/ 69 w 94"/>
                <a:gd name="T59" fmla="*/ 41 h 122"/>
                <a:gd name="T60" fmla="*/ 77 w 94"/>
                <a:gd name="T61" fmla="*/ 21 h 122"/>
                <a:gd name="T62" fmla="*/ 61 w 94"/>
                <a:gd name="T63" fmla="*/ 56 h 122"/>
                <a:gd name="T64" fmla="*/ 62 w 94"/>
                <a:gd name="T65" fmla="*/ 56 h 122"/>
                <a:gd name="T66" fmla="*/ 64 w 94"/>
                <a:gd name="T67" fmla="*/ 54 h 122"/>
                <a:gd name="T68" fmla="*/ 67 w 94"/>
                <a:gd name="T69" fmla="*/ 46 h 122"/>
                <a:gd name="T70" fmla="*/ 86 w 94"/>
                <a:gd name="T71" fmla="*/ 46 h 122"/>
                <a:gd name="T72" fmla="*/ 89 w 94"/>
                <a:gd name="T73" fmla="*/ 54 h 122"/>
                <a:gd name="T74" fmla="*/ 92 w 94"/>
                <a:gd name="T75" fmla="*/ 56 h 122"/>
                <a:gd name="T76" fmla="*/ 94 w 94"/>
                <a:gd name="T77" fmla="*/ 53 h 122"/>
                <a:gd name="T78" fmla="*/ 79 w 94"/>
                <a:gd name="T79" fmla="*/ 12 h 122"/>
                <a:gd name="T80" fmla="*/ 77 w 94"/>
                <a:gd name="T81" fmla="*/ 11 h 122"/>
                <a:gd name="T82" fmla="*/ 74 w 94"/>
                <a:gd name="T83" fmla="*/ 12 h 122"/>
                <a:gd name="T84" fmla="*/ 60 w 94"/>
                <a:gd name="T85" fmla="*/ 53 h 122"/>
                <a:gd name="T86" fmla="*/ 61 w 94"/>
                <a:gd name="T87" fmla="*/ 56 h 122"/>
                <a:gd name="T88" fmla="*/ 92 w 94"/>
                <a:gd name="T89" fmla="*/ 106 h 122"/>
                <a:gd name="T90" fmla="*/ 67 w 94"/>
                <a:gd name="T91" fmla="*/ 106 h 122"/>
                <a:gd name="T92" fmla="*/ 94 w 94"/>
                <a:gd name="T93" fmla="*/ 70 h 122"/>
                <a:gd name="T94" fmla="*/ 94 w 94"/>
                <a:gd name="T95" fmla="*/ 67 h 122"/>
                <a:gd name="T96" fmla="*/ 92 w 94"/>
                <a:gd name="T97" fmla="*/ 66 h 122"/>
                <a:gd name="T98" fmla="*/ 62 w 94"/>
                <a:gd name="T99" fmla="*/ 66 h 122"/>
                <a:gd name="T100" fmla="*/ 59 w 94"/>
                <a:gd name="T101" fmla="*/ 68 h 122"/>
                <a:gd name="T102" fmla="*/ 62 w 94"/>
                <a:gd name="T103" fmla="*/ 71 h 122"/>
                <a:gd name="T104" fmla="*/ 87 w 94"/>
                <a:gd name="T105" fmla="*/ 71 h 122"/>
                <a:gd name="T106" fmla="*/ 60 w 94"/>
                <a:gd name="T107" fmla="*/ 107 h 122"/>
                <a:gd name="T108" fmla="*/ 60 w 94"/>
                <a:gd name="T109" fmla="*/ 110 h 122"/>
                <a:gd name="T110" fmla="*/ 62 w 94"/>
                <a:gd name="T111" fmla="*/ 111 h 122"/>
                <a:gd name="T112" fmla="*/ 92 w 94"/>
                <a:gd name="T113" fmla="*/ 111 h 122"/>
                <a:gd name="T114" fmla="*/ 94 w 94"/>
                <a:gd name="T115" fmla="*/ 109 h 122"/>
                <a:gd name="T116" fmla="*/ 92 w 94"/>
                <a:gd name="T117" fmla="*/ 10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" h="122">
                  <a:moveTo>
                    <a:pt x="40" y="97"/>
                  </a:moveTo>
                  <a:cubicBezTo>
                    <a:pt x="25" y="113"/>
                    <a:pt x="25" y="113"/>
                    <a:pt x="25" y="113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7"/>
                    <a:pt x="24" y="66"/>
                    <a:pt x="22" y="66"/>
                  </a:cubicBezTo>
                  <a:cubicBezTo>
                    <a:pt x="21" y="66"/>
                    <a:pt x="20" y="67"/>
                    <a:pt x="20" y="68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3" y="96"/>
                    <a:pt x="2" y="96"/>
                    <a:pt x="1" y="97"/>
                  </a:cubicBezTo>
                  <a:cubicBezTo>
                    <a:pt x="0" y="98"/>
                    <a:pt x="0" y="99"/>
                    <a:pt x="1" y="100"/>
                  </a:cubicBezTo>
                  <a:cubicBezTo>
                    <a:pt x="22" y="122"/>
                    <a:pt x="22" y="122"/>
                    <a:pt x="22" y="122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5" y="99"/>
                    <a:pt x="45" y="98"/>
                    <a:pt x="44" y="97"/>
                  </a:cubicBezTo>
                  <a:cubicBezTo>
                    <a:pt x="43" y="96"/>
                    <a:pt x="41" y="96"/>
                    <a:pt x="40" y="97"/>
                  </a:cubicBezTo>
                  <a:moveTo>
                    <a:pt x="22" y="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3"/>
                    <a:pt x="0" y="24"/>
                    <a:pt x="1" y="25"/>
                  </a:cubicBezTo>
                  <a:cubicBezTo>
                    <a:pt x="2" y="26"/>
                    <a:pt x="3" y="26"/>
                    <a:pt x="4" y="25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5"/>
                    <a:pt x="21" y="56"/>
                    <a:pt x="22" y="56"/>
                  </a:cubicBezTo>
                  <a:cubicBezTo>
                    <a:pt x="24" y="56"/>
                    <a:pt x="25" y="55"/>
                    <a:pt x="25" y="53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6"/>
                    <a:pt x="41" y="26"/>
                    <a:pt x="42" y="26"/>
                  </a:cubicBezTo>
                  <a:cubicBezTo>
                    <a:pt x="43" y="26"/>
                    <a:pt x="43" y="26"/>
                    <a:pt x="44" y="25"/>
                  </a:cubicBezTo>
                  <a:cubicBezTo>
                    <a:pt x="45" y="24"/>
                    <a:pt x="45" y="23"/>
                    <a:pt x="44" y="22"/>
                  </a:cubicBezTo>
                  <a:lnTo>
                    <a:pt x="22" y="0"/>
                  </a:lnTo>
                  <a:close/>
                  <a:moveTo>
                    <a:pt x="77" y="2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69" y="41"/>
                    <a:pt x="69" y="41"/>
                    <a:pt x="69" y="41"/>
                  </a:cubicBezTo>
                  <a:lnTo>
                    <a:pt x="77" y="21"/>
                  </a:lnTo>
                  <a:close/>
                  <a:moveTo>
                    <a:pt x="61" y="56"/>
                  </a:moveTo>
                  <a:cubicBezTo>
                    <a:pt x="61" y="56"/>
                    <a:pt x="62" y="56"/>
                    <a:pt x="62" y="56"/>
                  </a:cubicBezTo>
                  <a:cubicBezTo>
                    <a:pt x="63" y="56"/>
                    <a:pt x="64" y="55"/>
                    <a:pt x="64" y="54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6"/>
                    <a:pt x="91" y="56"/>
                    <a:pt x="92" y="56"/>
                  </a:cubicBezTo>
                  <a:cubicBezTo>
                    <a:pt x="94" y="55"/>
                    <a:pt x="94" y="54"/>
                    <a:pt x="94" y="53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1"/>
                    <a:pt x="78" y="11"/>
                    <a:pt x="77" y="11"/>
                  </a:cubicBezTo>
                  <a:cubicBezTo>
                    <a:pt x="76" y="11"/>
                    <a:pt x="75" y="11"/>
                    <a:pt x="74" y="12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9" y="54"/>
                    <a:pt x="60" y="55"/>
                    <a:pt x="61" y="56"/>
                  </a:cubicBezTo>
                  <a:moveTo>
                    <a:pt x="92" y="106"/>
                  </a:moveTo>
                  <a:cubicBezTo>
                    <a:pt x="67" y="106"/>
                    <a:pt x="67" y="106"/>
                    <a:pt x="67" y="106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69"/>
                    <a:pt x="94" y="68"/>
                    <a:pt x="94" y="67"/>
                  </a:cubicBezTo>
                  <a:cubicBezTo>
                    <a:pt x="93" y="67"/>
                    <a:pt x="92" y="66"/>
                    <a:pt x="9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9" y="67"/>
                    <a:pt x="59" y="68"/>
                  </a:cubicBezTo>
                  <a:cubicBezTo>
                    <a:pt x="59" y="70"/>
                    <a:pt x="60" y="71"/>
                    <a:pt x="62" y="71"/>
                  </a:cubicBezTo>
                  <a:cubicBezTo>
                    <a:pt x="87" y="71"/>
                    <a:pt x="87" y="71"/>
                    <a:pt x="87" y="71"/>
                  </a:cubicBezTo>
                  <a:cubicBezTo>
                    <a:pt x="60" y="107"/>
                    <a:pt x="60" y="107"/>
                    <a:pt x="60" y="107"/>
                  </a:cubicBezTo>
                  <a:cubicBezTo>
                    <a:pt x="59" y="108"/>
                    <a:pt x="59" y="109"/>
                    <a:pt x="60" y="110"/>
                  </a:cubicBezTo>
                  <a:cubicBezTo>
                    <a:pt x="60" y="111"/>
                    <a:pt x="61" y="111"/>
                    <a:pt x="62" y="111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3" y="111"/>
                    <a:pt x="94" y="110"/>
                    <a:pt x="94" y="109"/>
                  </a:cubicBezTo>
                  <a:cubicBezTo>
                    <a:pt x="94" y="107"/>
                    <a:pt x="93" y="106"/>
                    <a:pt x="92" y="106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6" name="Group 220">
            <a:extLst>
              <a:ext uri="{FF2B5EF4-FFF2-40B4-BE49-F238E27FC236}">
                <a16:creationId xmlns:a16="http://schemas.microsoft.com/office/drawing/2014/main" id="{4D34C20F-F7D7-40C3-AFA8-2C2AF67C39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2912" y="5415579"/>
            <a:ext cx="842963" cy="841375"/>
            <a:chOff x="1734" y="3487"/>
            <a:chExt cx="531" cy="530"/>
          </a:xfrm>
        </p:grpSpPr>
        <p:sp>
          <p:nvSpPr>
            <p:cNvPr id="257" name="AutoShape 219">
              <a:extLst>
                <a:ext uri="{FF2B5EF4-FFF2-40B4-BE49-F238E27FC236}">
                  <a16:creationId xmlns:a16="http://schemas.microsoft.com/office/drawing/2014/main" id="{A9D1EDB1-3F6C-45AB-9875-67A72D3D51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34" y="3487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221">
              <a:extLst>
                <a:ext uri="{FF2B5EF4-FFF2-40B4-BE49-F238E27FC236}">
                  <a16:creationId xmlns:a16="http://schemas.microsoft.com/office/drawing/2014/main" id="{5BF7FAAC-E0E5-4369-8C48-55ACDE2E3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4" y="3487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2">
              <a:extLst>
                <a:ext uri="{FF2B5EF4-FFF2-40B4-BE49-F238E27FC236}">
                  <a16:creationId xmlns:a16="http://schemas.microsoft.com/office/drawing/2014/main" id="{92747B20-FDF1-4C9E-8D4F-BAA04C4F89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2" y="3505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3">
              <a:extLst>
                <a:ext uri="{FF2B5EF4-FFF2-40B4-BE49-F238E27FC236}">
                  <a16:creationId xmlns:a16="http://schemas.microsoft.com/office/drawing/2014/main" id="{F361D5CE-F729-4173-8B86-372DBCFA01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0" y="3597"/>
              <a:ext cx="241" cy="312"/>
            </a:xfrm>
            <a:custGeom>
              <a:avLst/>
              <a:gdLst>
                <a:gd name="T0" fmla="*/ 40 w 94"/>
                <a:gd name="T1" fmla="*/ 97 h 122"/>
                <a:gd name="T2" fmla="*/ 25 w 94"/>
                <a:gd name="T3" fmla="*/ 113 h 122"/>
                <a:gd name="T4" fmla="*/ 25 w 94"/>
                <a:gd name="T5" fmla="*/ 68 h 122"/>
                <a:gd name="T6" fmla="*/ 22 w 94"/>
                <a:gd name="T7" fmla="*/ 66 h 122"/>
                <a:gd name="T8" fmla="*/ 20 w 94"/>
                <a:gd name="T9" fmla="*/ 68 h 122"/>
                <a:gd name="T10" fmla="*/ 20 w 94"/>
                <a:gd name="T11" fmla="*/ 113 h 122"/>
                <a:gd name="T12" fmla="*/ 4 w 94"/>
                <a:gd name="T13" fmla="*/ 97 h 122"/>
                <a:gd name="T14" fmla="*/ 1 w 94"/>
                <a:gd name="T15" fmla="*/ 97 h 122"/>
                <a:gd name="T16" fmla="*/ 1 w 94"/>
                <a:gd name="T17" fmla="*/ 100 h 122"/>
                <a:gd name="T18" fmla="*/ 22 w 94"/>
                <a:gd name="T19" fmla="*/ 122 h 122"/>
                <a:gd name="T20" fmla="*/ 44 w 94"/>
                <a:gd name="T21" fmla="*/ 100 h 122"/>
                <a:gd name="T22" fmla="*/ 44 w 94"/>
                <a:gd name="T23" fmla="*/ 97 h 122"/>
                <a:gd name="T24" fmla="*/ 40 w 94"/>
                <a:gd name="T25" fmla="*/ 97 h 122"/>
                <a:gd name="T26" fmla="*/ 22 w 94"/>
                <a:gd name="T27" fmla="*/ 0 h 122"/>
                <a:gd name="T28" fmla="*/ 1 w 94"/>
                <a:gd name="T29" fmla="*/ 22 h 122"/>
                <a:gd name="T30" fmla="*/ 1 w 94"/>
                <a:gd name="T31" fmla="*/ 25 h 122"/>
                <a:gd name="T32" fmla="*/ 4 w 94"/>
                <a:gd name="T33" fmla="*/ 25 h 122"/>
                <a:gd name="T34" fmla="*/ 20 w 94"/>
                <a:gd name="T35" fmla="*/ 9 h 122"/>
                <a:gd name="T36" fmla="*/ 20 w 94"/>
                <a:gd name="T37" fmla="*/ 53 h 122"/>
                <a:gd name="T38" fmla="*/ 22 w 94"/>
                <a:gd name="T39" fmla="*/ 56 h 122"/>
                <a:gd name="T40" fmla="*/ 25 w 94"/>
                <a:gd name="T41" fmla="*/ 53 h 122"/>
                <a:gd name="T42" fmla="*/ 25 w 94"/>
                <a:gd name="T43" fmla="*/ 9 h 122"/>
                <a:gd name="T44" fmla="*/ 40 w 94"/>
                <a:gd name="T45" fmla="*/ 25 h 122"/>
                <a:gd name="T46" fmla="*/ 42 w 94"/>
                <a:gd name="T47" fmla="*/ 26 h 122"/>
                <a:gd name="T48" fmla="*/ 44 w 94"/>
                <a:gd name="T49" fmla="*/ 25 h 122"/>
                <a:gd name="T50" fmla="*/ 44 w 94"/>
                <a:gd name="T51" fmla="*/ 22 h 122"/>
                <a:gd name="T52" fmla="*/ 22 w 94"/>
                <a:gd name="T53" fmla="*/ 0 h 122"/>
                <a:gd name="T54" fmla="*/ 77 w 94"/>
                <a:gd name="T55" fmla="*/ 21 h 122"/>
                <a:gd name="T56" fmla="*/ 84 w 94"/>
                <a:gd name="T57" fmla="*/ 41 h 122"/>
                <a:gd name="T58" fmla="*/ 69 w 94"/>
                <a:gd name="T59" fmla="*/ 41 h 122"/>
                <a:gd name="T60" fmla="*/ 77 w 94"/>
                <a:gd name="T61" fmla="*/ 21 h 122"/>
                <a:gd name="T62" fmla="*/ 61 w 94"/>
                <a:gd name="T63" fmla="*/ 56 h 122"/>
                <a:gd name="T64" fmla="*/ 62 w 94"/>
                <a:gd name="T65" fmla="*/ 56 h 122"/>
                <a:gd name="T66" fmla="*/ 64 w 94"/>
                <a:gd name="T67" fmla="*/ 54 h 122"/>
                <a:gd name="T68" fmla="*/ 67 w 94"/>
                <a:gd name="T69" fmla="*/ 46 h 122"/>
                <a:gd name="T70" fmla="*/ 86 w 94"/>
                <a:gd name="T71" fmla="*/ 46 h 122"/>
                <a:gd name="T72" fmla="*/ 89 w 94"/>
                <a:gd name="T73" fmla="*/ 54 h 122"/>
                <a:gd name="T74" fmla="*/ 92 w 94"/>
                <a:gd name="T75" fmla="*/ 56 h 122"/>
                <a:gd name="T76" fmla="*/ 94 w 94"/>
                <a:gd name="T77" fmla="*/ 53 h 122"/>
                <a:gd name="T78" fmla="*/ 79 w 94"/>
                <a:gd name="T79" fmla="*/ 12 h 122"/>
                <a:gd name="T80" fmla="*/ 77 w 94"/>
                <a:gd name="T81" fmla="*/ 11 h 122"/>
                <a:gd name="T82" fmla="*/ 74 w 94"/>
                <a:gd name="T83" fmla="*/ 12 h 122"/>
                <a:gd name="T84" fmla="*/ 60 w 94"/>
                <a:gd name="T85" fmla="*/ 53 h 122"/>
                <a:gd name="T86" fmla="*/ 61 w 94"/>
                <a:gd name="T87" fmla="*/ 56 h 122"/>
                <a:gd name="T88" fmla="*/ 92 w 94"/>
                <a:gd name="T89" fmla="*/ 106 h 122"/>
                <a:gd name="T90" fmla="*/ 67 w 94"/>
                <a:gd name="T91" fmla="*/ 106 h 122"/>
                <a:gd name="T92" fmla="*/ 94 w 94"/>
                <a:gd name="T93" fmla="*/ 70 h 122"/>
                <a:gd name="T94" fmla="*/ 94 w 94"/>
                <a:gd name="T95" fmla="*/ 67 h 122"/>
                <a:gd name="T96" fmla="*/ 92 w 94"/>
                <a:gd name="T97" fmla="*/ 66 h 122"/>
                <a:gd name="T98" fmla="*/ 62 w 94"/>
                <a:gd name="T99" fmla="*/ 66 h 122"/>
                <a:gd name="T100" fmla="*/ 59 w 94"/>
                <a:gd name="T101" fmla="*/ 68 h 122"/>
                <a:gd name="T102" fmla="*/ 62 w 94"/>
                <a:gd name="T103" fmla="*/ 71 h 122"/>
                <a:gd name="T104" fmla="*/ 87 w 94"/>
                <a:gd name="T105" fmla="*/ 71 h 122"/>
                <a:gd name="T106" fmla="*/ 60 w 94"/>
                <a:gd name="T107" fmla="*/ 107 h 122"/>
                <a:gd name="T108" fmla="*/ 60 w 94"/>
                <a:gd name="T109" fmla="*/ 110 h 122"/>
                <a:gd name="T110" fmla="*/ 62 w 94"/>
                <a:gd name="T111" fmla="*/ 111 h 122"/>
                <a:gd name="T112" fmla="*/ 92 w 94"/>
                <a:gd name="T113" fmla="*/ 111 h 122"/>
                <a:gd name="T114" fmla="*/ 94 w 94"/>
                <a:gd name="T115" fmla="*/ 109 h 122"/>
                <a:gd name="T116" fmla="*/ 92 w 94"/>
                <a:gd name="T117" fmla="*/ 10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" h="122">
                  <a:moveTo>
                    <a:pt x="40" y="97"/>
                  </a:moveTo>
                  <a:cubicBezTo>
                    <a:pt x="25" y="113"/>
                    <a:pt x="25" y="113"/>
                    <a:pt x="25" y="113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7"/>
                    <a:pt x="24" y="66"/>
                    <a:pt x="22" y="66"/>
                  </a:cubicBezTo>
                  <a:cubicBezTo>
                    <a:pt x="21" y="66"/>
                    <a:pt x="20" y="67"/>
                    <a:pt x="20" y="68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3" y="96"/>
                    <a:pt x="2" y="96"/>
                    <a:pt x="1" y="97"/>
                  </a:cubicBezTo>
                  <a:cubicBezTo>
                    <a:pt x="0" y="98"/>
                    <a:pt x="0" y="99"/>
                    <a:pt x="1" y="100"/>
                  </a:cubicBezTo>
                  <a:cubicBezTo>
                    <a:pt x="22" y="122"/>
                    <a:pt x="22" y="122"/>
                    <a:pt x="22" y="122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5" y="99"/>
                    <a:pt x="45" y="98"/>
                    <a:pt x="44" y="97"/>
                  </a:cubicBezTo>
                  <a:cubicBezTo>
                    <a:pt x="43" y="96"/>
                    <a:pt x="41" y="96"/>
                    <a:pt x="40" y="97"/>
                  </a:cubicBezTo>
                  <a:moveTo>
                    <a:pt x="22" y="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3"/>
                    <a:pt x="0" y="24"/>
                    <a:pt x="1" y="25"/>
                  </a:cubicBezTo>
                  <a:cubicBezTo>
                    <a:pt x="2" y="26"/>
                    <a:pt x="3" y="26"/>
                    <a:pt x="4" y="25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5"/>
                    <a:pt x="21" y="56"/>
                    <a:pt x="22" y="56"/>
                  </a:cubicBezTo>
                  <a:cubicBezTo>
                    <a:pt x="24" y="56"/>
                    <a:pt x="25" y="55"/>
                    <a:pt x="25" y="53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1" y="26"/>
                    <a:pt x="41" y="26"/>
                    <a:pt x="42" y="26"/>
                  </a:cubicBezTo>
                  <a:cubicBezTo>
                    <a:pt x="43" y="26"/>
                    <a:pt x="43" y="26"/>
                    <a:pt x="44" y="25"/>
                  </a:cubicBezTo>
                  <a:cubicBezTo>
                    <a:pt x="45" y="24"/>
                    <a:pt x="45" y="23"/>
                    <a:pt x="44" y="22"/>
                  </a:cubicBezTo>
                  <a:lnTo>
                    <a:pt x="22" y="0"/>
                  </a:lnTo>
                  <a:close/>
                  <a:moveTo>
                    <a:pt x="77" y="2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69" y="41"/>
                    <a:pt x="69" y="41"/>
                    <a:pt x="69" y="41"/>
                  </a:cubicBezTo>
                  <a:lnTo>
                    <a:pt x="77" y="21"/>
                  </a:lnTo>
                  <a:close/>
                  <a:moveTo>
                    <a:pt x="61" y="56"/>
                  </a:moveTo>
                  <a:cubicBezTo>
                    <a:pt x="61" y="56"/>
                    <a:pt x="62" y="56"/>
                    <a:pt x="62" y="56"/>
                  </a:cubicBezTo>
                  <a:cubicBezTo>
                    <a:pt x="63" y="56"/>
                    <a:pt x="64" y="55"/>
                    <a:pt x="64" y="54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6"/>
                    <a:pt x="91" y="56"/>
                    <a:pt x="92" y="56"/>
                  </a:cubicBezTo>
                  <a:cubicBezTo>
                    <a:pt x="94" y="55"/>
                    <a:pt x="94" y="54"/>
                    <a:pt x="94" y="53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1"/>
                    <a:pt x="78" y="11"/>
                    <a:pt x="77" y="11"/>
                  </a:cubicBezTo>
                  <a:cubicBezTo>
                    <a:pt x="76" y="11"/>
                    <a:pt x="75" y="11"/>
                    <a:pt x="74" y="12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9" y="54"/>
                    <a:pt x="60" y="55"/>
                    <a:pt x="61" y="56"/>
                  </a:cubicBezTo>
                  <a:moveTo>
                    <a:pt x="92" y="106"/>
                  </a:moveTo>
                  <a:cubicBezTo>
                    <a:pt x="67" y="106"/>
                    <a:pt x="67" y="106"/>
                    <a:pt x="67" y="106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69"/>
                    <a:pt x="94" y="68"/>
                    <a:pt x="94" y="67"/>
                  </a:cubicBezTo>
                  <a:cubicBezTo>
                    <a:pt x="93" y="67"/>
                    <a:pt x="92" y="66"/>
                    <a:pt x="9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9" y="67"/>
                    <a:pt x="59" y="68"/>
                  </a:cubicBezTo>
                  <a:cubicBezTo>
                    <a:pt x="59" y="70"/>
                    <a:pt x="60" y="71"/>
                    <a:pt x="62" y="71"/>
                  </a:cubicBezTo>
                  <a:cubicBezTo>
                    <a:pt x="87" y="71"/>
                    <a:pt x="87" y="71"/>
                    <a:pt x="87" y="71"/>
                  </a:cubicBezTo>
                  <a:cubicBezTo>
                    <a:pt x="60" y="107"/>
                    <a:pt x="60" y="107"/>
                    <a:pt x="60" y="107"/>
                  </a:cubicBezTo>
                  <a:cubicBezTo>
                    <a:pt x="59" y="108"/>
                    <a:pt x="59" y="109"/>
                    <a:pt x="60" y="110"/>
                  </a:cubicBezTo>
                  <a:cubicBezTo>
                    <a:pt x="60" y="111"/>
                    <a:pt x="61" y="111"/>
                    <a:pt x="62" y="111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3" y="111"/>
                    <a:pt x="94" y="110"/>
                    <a:pt x="94" y="109"/>
                  </a:cubicBezTo>
                  <a:cubicBezTo>
                    <a:pt x="94" y="107"/>
                    <a:pt x="93" y="106"/>
                    <a:pt x="92" y="1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26">
            <a:extLst>
              <a:ext uri="{FF2B5EF4-FFF2-40B4-BE49-F238E27FC236}">
                <a16:creationId xmlns:a16="http://schemas.microsoft.com/office/drawing/2014/main" id="{9F7BBA82-846E-40C3-BD7A-7ACF174493E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1225" y="5456854"/>
            <a:ext cx="760413" cy="758825"/>
            <a:chOff x="3596" y="3407"/>
            <a:chExt cx="479" cy="478"/>
          </a:xfrm>
        </p:grpSpPr>
        <p:sp>
          <p:nvSpPr>
            <p:cNvPr id="266" name="AutoShape 225">
              <a:extLst>
                <a:ext uri="{FF2B5EF4-FFF2-40B4-BE49-F238E27FC236}">
                  <a16:creationId xmlns:a16="http://schemas.microsoft.com/office/drawing/2014/main" id="{07A1D0FB-DA61-4F02-A690-29A36E2C09F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96" y="3407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27">
              <a:extLst>
                <a:ext uri="{FF2B5EF4-FFF2-40B4-BE49-F238E27FC236}">
                  <a16:creationId xmlns:a16="http://schemas.microsoft.com/office/drawing/2014/main" id="{BADB24F3-7321-4E53-8CA3-FCD5487CA1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8" y="3409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28">
              <a:extLst>
                <a:ext uri="{FF2B5EF4-FFF2-40B4-BE49-F238E27FC236}">
                  <a16:creationId xmlns:a16="http://schemas.microsoft.com/office/drawing/2014/main" id="{F242CB7F-20DA-48DA-92BF-72489E999D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1" y="3532"/>
              <a:ext cx="251" cy="230"/>
            </a:xfrm>
            <a:custGeom>
              <a:avLst/>
              <a:gdLst>
                <a:gd name="T0" fmla="*/ 60 w 102"/>
                <a:gd name="T1" fmla="*/ 89 h 94"/>
                <a:gd name="T2" fmla="*/ 3 w 102"/>
                <a:gd name="T3" fmla="*/ 89 h 94"/>
                <a:gd name="T4" fmla="*/ 0 w 102"/>
                <a:gd name="T5" fmla="*/ 92 h 94"/>
                <a:gd name="T6" fmla="*/ 3 w 102"/>
                <a:gd name="T7" fmla="*/ 94 h 94"/>
                <a:gd name="T8" fmla="*/ 60 w 102"/>
                <a:gd name="T9" fmla="*/ 94 h 94"/>
                <a:gd name="T10" fmla="*/ 62 w 102"/>
                <a:gd name="T11" fmla="*/ 92 h 94"/>
                <a:gd name="T12" fmla="*/ 60 w 102"/>
                <a:gd name="T13" fmla="*/ 89 h 94"/>
                <a:gd name="T14" fmla="*/ 60 w 102"/>
                <a:gd name="T15" fmla="*/ 59 h 94"/>
                <a:gd name="T16" fmla="*/ 3 w 102"/>
                <a:gd name="T17" fmla="*/ 59 h 94"/>
                <a:gd name="T18" fmla="*/ 0 w 102"/>
                <a:gd name="T19" fmla="*/ 62 h 94"/>
                <a:gd name="T20" fmla="*/ 3 w 102"/>
                <a:gd name="T21" fmla="*/ 64 h 94"/>
                <a:gd name="T22" fmla="*/ 60 w 102"/>
                <a:gd name="T23" fmla="*/ 64 h 94"/>
                <a:gd name="T24" fmla="*/ 62 w 102"/>
                <a:gd name="T25" fmla="*/ 62 h 94"/>
                <a:gd name="T26" fmla="*/ 60 w 102"/>
                <a:gd name="T27" fmla="*/ 59 h 94"/>
                <a:gd name="T28" fmla="*/ 3 w 102"/>
                <a:gd name="T29" fmla="*/ 5 h 94"/>
                <a:gd name="T30" fmla="*/ 60 w 102"/>
                <a:gd name="T31" fmla="*/ 5 h 94"/>
                <a:gd name="T32" fmla="*/ 62 w 102"/>
                <a:gd name="T33" fmla="*/ 2 h 94"/>
                <a:gd name="T34" fmla="*/ 60 w 102"/>
                <a:gd name="T35" fmla="*/ 0 h 94"/>
                <a:gd name="T36" fmla="*/ 3 w 102"/>
                <a:gd name="T37" fmla="*/ 0 h 94"/>
                <a:gd name="T38" fmla="*/ 0 w 102"/>
                <a:gd name="T39" fmla="*/ 2 h 94"/>
                <a:gd name="T40" fmla="*/ 3 w 102"/>
                <a:gd name="T41" fmla="*/ 5 h 94"/>
                <a:gd name="T42" fmla="*/ 79 w 102"/>
                <a:gd name="T43" fmla="*/ 8 h 94"/>
                <a:gd name="T44" fmla="*/ 75 w 102"/>
                <a:gd name="T45" fmla="*/ 8 h 94"/>
                <a:gd name="T46" fmla="*/ 75 w 102"/>
                <a:gd name="T47" fmla="*/ 11 h 94"/>
                <a:gd name="T48" fmla="*/ 93 w 102"/>
                <a:gd name="T49" fmla="*/ 30 h 94"/>
                <a:gd name="T50" fmla="*/ 3 w 102"/>
                <a:gd name="T51" fmla="*/ 30 h 94"/>
                <a:gd name="T52" fmla="*/ 0 w 102"/>
                <a:gd name="T53" fmla="*/ 32 h 94"/>
                <a:gd name="T54" fmla="*/ 3 w 102"/>
                <a:gd name="T55" fmla="*/ 35 h 94"/>
                <a:gd name="T56" fmla="*/ 93 w 102"/>
                <a:gd name="T57" fmla="*/ 35 h 94"/>
                <a:gd name="T58" fmla="*/ 75 w 102"/>
                <a:gd name="T59" fmla="*/ 53 h 94"/>
                <a:gd name="T60" fmla="*/ 75 w 102"/>
                <a:gd name="T61" fmla="*/ 56 h 94"/>
                <a:gd name="T62" fmla="*/ 77 w 102"/>
                <a:gd name="T63" fmla="*/ 57 h 94"/>
                <a:gd name="T64" fmla="*/ 79 w 102"/>
                <a:gd name="T65" fmla="*/ 56 h 94"/>
                <a:gd name="T66" fmla="*/ 102 w 102"/>
                <a:gd name="T67" fmla="*/ 32 h 94"/>
                <a:gd name="T68" fmla="*/ 79 w 102"/>
                <a:gd name="T69" fmla="*/ 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94">
                  <a:moveTo>
                    <a:pt x="60" y="89"/>
                  </a:move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2"/>
                  </a:cubicBezTo>
                  <a:cubicBezTo>
                    <a:pt x="0" y="93"/>
                    <a:pt x="1" y="94"/>
                    <a:pt x="3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2" y="93"/>
                    <a:pt x="62" y="92"/>
                  </a:cubicBezTo>
                  <a:cubicBezTo>
                    <a:pt x="62" y="90"/>
                    <a:pt x="61" y="89"/>
                    <a:pt x="60" y="89"/>
                  </a:cubicBezTo>
                  <a:moveTo>
                    <a:pt x="60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1" y="59"/>
                    <a:pt x="0" y="61"/>
                    <a:pt x="0" y="62"/>
                  </a:cubicBezTo>
                  <a:cubicBezTo>
                    <a:pt x="0" y="63"/>
                    <a:pt x="1" y="64"/>
                    <a:pt x="3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61"/>
                    <a:pt x="61" y="59"/>
                    <a:pt x="60" y="59"/>
                  </a:cubicBezTo>
                  <a:moveTo>
                    <a:pt x="3" y="5"/>
                  </a:moveTo>
                  <a:cubicBezTo>
                    <a:pt x="60" y="5"/>
                    <a:pt x="60" y="5"/>
                    <a:pt x="60" y="5"/>
                  </a:cubicBezTo>
                  <a:cubicBezTo>
                    <a:pt x="61" y="5"/>
                    <a:pt x="62" y="4"/>
                    <a:pt x="62" y="2"/>
                  </a:cubicBezTo>
                  <a:cubicBezTo>
                    <a:pt x="62" y="1"/>
                    <a:pt x="61" y="0"/>
                    <a:pt x="6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moveTo>
                    <a:pt x="79" y="8"/>
                  </a:moveTo>
                  <a:cubicBezTo>
                    <a:pt x="78" y="7"/>
                    <a:pt x="76" y="7"/>
                    <a:pt x="75" y="8"/>
                  </a:cubicBezTo>
                  <a:cubicBezTo>
                    <a:pt x="74" y="9"/>
                    <a:pt x="74" y="11"/>
                    <a:pt x="75" y="11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0" y="31"/>
                    <a:pt x="0" y="32"/>
                  </a:cubicBezTo>
                  <a:cubicBezTo>
                    <a:pt x="0" y="33"/>
                    <a:pt x="1" y="35"/>
                    <a:pt x="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8" y="57"/>
                    <a:pt x="79" y="56"/>
                  </a:cubicBezTo>
                  <a:cubicBezTo>
                    <a:pt x="102" y="32"/>
                    <a:pt x="102" y="32"/>
                    <a:pt x="102" y="32"/>
                  </a:cubicBezTo>
                  <a:lnTo>
                    <a:pt x="79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29">
              <a:extLst>
                <a:ext uri="{FF2B5EF4-FFF2-40B4-BE49-F238E27FC236}">
                  <a16:creationId xmlns:a16="http://schemas.microsoft.com/office/drawing/2014/main" id="{0F07F91C-CDD6-4B38-9D66-B0A7D5203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1" y="3532"/>
              <a:ext cx="251" cy="230"/>
            </a:xfrm>
            <a:custGeom>
              <a:avLst/>
              <a:gdLst>
                <a:gd name="T0" fmla="*/ 60 w 102"/>
                <a:gd name="T1" fmla="*/ 89 h 94"/>
                <a:gd name="T2" fmla="*/ 3 w 102"/>
                <a:gd name="T3" fmla="*/ 89 h 94"/>
                <a:gd name="T4" fmla="*/ 0 w 102"/>
                <a:gd name="T5" fmla="*/ 92 h 94"/>
                <a:gd name="T6" fmla="*/ 3 w 102"/>
                <a:gd name="T7" fmla="*/ 94 h 94"/>
                <a:gd name="T8" fmla="*/ 60 w 102"/>
                <a:gd name="T9" fmla="*/ 94 h 94"/>
                <a:gd name="T10" fmla="*/ 62 w 102"/>
                <a:gd name="T11" fmla="*/ 92 h 94"/>
                <a:gd name="T12" fmla="*/ 60 w 102"/>
                <a:gd name="T13" fmla="*/ 89 h 94"/>
                <a:gd name="T14" fmla="*/ 60 w 102"/>
                <a:gd name="T15" fmla="*/ 59 h 94"/>
                <a:gd name="T16" fmla="*/ 3 w 102"/>
                <a:gd name="T17" fmla="*/ 59 h 94"/>
                <a:gd name="T18" fmla="*/ 0 w 102"/>
                <a:gd name="T19" fmla="*/ 62 h 94"/>
                <a:gd name="T20" fmla="*/ 3 w 102"/>
                <a:gd name="T21" fmla="*/ 64 h 94"/>
                <a:gd name="T22" fmla="*/ 60 w 102"/>
                <a:gd name="T23" fmla="*/ 64 h 94"/>
                <a:gd name="T24" fmla="*/ 62 w 102"/>
                <a:gd name="T25" fmla="*/ 62 h 94"/>
                <a:gd name="T26" fmla="*/ 60 w 102"/>
                <a:gd name="T27" fmla="*/ 59 h 94"/>
                <a:gd name="T28" fmla="*/ 3 w 102"/>
                <a:gd name="T29" fmla="*/ 5 h 94"/>
                <a:gd name="T30" fmla="*/ 60 w 102"/>
                <a:gd name="T31" fmla="*/ 5 h 94"/>
                <a:gd name="T32" fmla="*/ 62 w 102"/>
                <a:gd name="T33" fmla="*/ 2 h 94"/>
                <a:gd name="T34" fmla="*/ 60 w 102"/>
                <a:gd name="T35" fmla="*/ 0 h 94"/>
                <a:gd name="T36" fmla="*/ 3 w 102"/>
                <a:gd name="T37" fmla="*/ 0 h 94"/>
                <a:gd name="T38" fmla="*/ 0 w 102"/>
                <a:gd name="T39" fmla="*/ 2 h 94"/>
                <a:gd name="T40" fmla="*/ 3 w 102"/>
                <a:gd name="T41" fmla="*/ 5 h 94"/>
                <a:gd name="T42" fmla="*/ 79 w 102"/>
                <a:gd name="T43" fmla="*/ 8 h 94"/>
                <a:gd name="T44" fmla="*/ 75 w 102"/>
                <a:gd name="T45" fmla="*/ 8 h 94"/>
                <a:gd name="T46" fmla="*/ 75 w 102"/>
                <a:gd name="T47" fmla="*/ 11 h 94"/>
                <a:gd name="T48" fmla="*/ 93 w 102"/>
                <a:gd name="T49" fmla="*/ 30 h 94"/>
                <a:gd name="T50" fmla="*/ 3 w 102"/>
                <a:gd name="T51" fmla="*/ 30 h 94"/>
                <a:gd name="T52" fmla="*/ 0 w 102"/>
                <a:gd name="T53" fmla="*/ 32 h 94"/>
                <a:gd name="T54" fmla="*/ 3 w 102"/>
                <a:gd name="T55" fmla="*/ 35 h 94"/>
                <a:gd name="T56" fmla="*/ 93 w 102"/>
                <a:gd name="T57" fmla="*/ 35 h 94"/>
                <a:gd name="T58" fmla="*/ 75 w 102"/>
                <a:gd name="T59" fmla="*/ 53 h 94"/>
                <a:gd name="T60" fmla="*/ 75 w 102"/>
                <a:gd name="T61" fmla="*/ 56 h 94"/>
                <a:gd name="T62" fmla="*/ 77 w 102"/>
                <a:gd name="T63" fmla="*/ 57 h 94"/>
                <a:gd name="T64" fmla="*/ 79 w 102"/>
                <a:gd name="T65" fmla="*/ 56 h 94"/>
                <a:gd name="T66" fmla="*/ 102 w 102"/>
                <a:gd name="T67" fmla="*/ 32 h 94"/>
                <a:gd name="T68" fmla="*/ 79 w 102"/>
                <a:gd name="T69" fmla="*/ 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94">
                  <a:moveTo>
                    <a:pt x="60" y="89"/>
                  </a:move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2"/>
                  </a:cubicBezTo>
                  <a:cubicBezTo>
                    <a:pt x="0" y="93"/>
                    <a:pt x="1" y="94"/>
                    <a:pt x="3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2" y="93"/>
                    <a:pt x="62" y="92"/>
                  </a:cubicBezTo>
                  <a:cubicBezTo>
                    <a:pt x="62" y="90"/>
                    <a:pt x="61" y="89"/>
                    <a:pt x="60" y="89"/>
                  </a:cubicBezTo>
                  <a:moveTo>
                    <a:pt x="60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1" y="59"/>
                    <a:pt x="0" y="61"/>
                    <a:pt x="0" y="62"/>
                  </a:cubicBezTo>
                  <a:cubicBezTo>
                    <a:pt x="0" y="63"/>
                    <a:pt x="1" y="64"/>
                    <a:pt x="3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61"/>
                    <a:pt x="61" y="59"/>
                    <a:pt x="60" y="59"/>
                  </a:cubicBezTo>
                  <a:moveTo>
                    <a:pt x="3" y="5"/>
                  </a:moveTo>
                  <a:cubicBezTo>
                    <a:pt x="60" y="5"/>
                    <a:pt x="60" y="5"/>
                    <a:pt x="60" y="5"/>
                  </a:cubicBezTo>
                  <a:cubicBezTo>
                    <a:pt x="61" y="5"/>
                    <a:pt x="62" y="4"/>
                    <a:pt x="62" y="2"/>
                  </a:cubicBezTo>
                  <a:cubicBezTo>
                    <a:pt x="62" y="1"/>
                    <a:pt x="61" y="0"/>
                    <a:pt x="6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moveTo>
                    <a:pt x="79" y="8"/>
                  </a:moveTo>
                  <a:cubicBezTo>
                    <a:pt x="78" y="7"/>
                    <a:pt x="76" y="7"/>
                    <a:pt x="75" y="8"/>
                  </a:cubicBezTo>
                  <a:cubicBezTo>
                    <a:pt x="74" y="9"/>
                    <a:pt x="74" y="11"/>
                    <a:pt x="75" y="11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0" y="31"/>
                    <a:pt x="0" y="32"/>
                  </a:cubicBezTo>
                  <a:cubicBezTo>
                    <a:pt x="0" y="33"/>
                    <a:pt x="1" y="35"/>
                    <a:pt x="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8" y="57"/>
                    <a:pt x="79" y="56"/>
                  </a:cubicBezTo>
                  <a:cubicBezTo>
                    <a:pt x="102" y="32"/>
                    <a:pt x="102" y="32"/>
                    <a:pt x="102" y="32"/>
                  </a:cubicBezTo>
                  <a:lnTo>
                    <a:pt x="79" y="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0" name="Group 232">
            <a:extLst>
              <a:ext uri="{FF2B5EF4-FFF2-40B4-BE49-F238E27FC236}">
                <a16:creationId xmlns:a16="http://schemas.microsoft.com/office/drawing/2014/main" id="{48678AB1-6ABD-43EC-B8CA-8F7C705E3E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29176" y="5415579"/>
            <a:ext cx="841375" cy="841375"/>
            <a:chOff x="3002" y="3407"/>
            <a:chExt cx="530" cy="530"/>
          </a:xfrm>
        </p:grpSpPr>
        <p:sp>
          <p:nvSpPr>
            <p:cNvPr id="271" name="AutoShape 231">
              <a:extLst>
                <a:ext uri="{FF2B5EF4-FFF2-40B4-BE49-F238E27FC236}">
                  <a16:creationId xmlns:a16="http://schemas.microsoft.com/office/drawing/2014/main" id="{C05297EB-E0EA-4737-9AE0-7A5361F38E4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02" y="340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233">
              <a:extLst>
                <a:ext uri="{FF2B5EF4-FFF2-40B4-BE49-F238E27FC236}">
                  <a16:creationId xmlns:a16="http://schemas.microsoft.com/office/drawing/2014/main" id="{5293CD3E-5EC1-456A-87D5-7FB580C7F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2" y="340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4">
              <a:extLst>
                <a:ext uri="{FF2B5EF4-FFF2-40B4-BE49-F238E27FC236}">
                  <a16:creationId xmlns:a16="http://schemas.microsoft.com/office/drawing/2014/main" id="{DE4BFEE8-ECC3-4180-A809-3FC8968B9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0" y="342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35">
              <a:extLst>
                <a:ext uri="{FF2B5EF4-FFF2-40B4-BE49-F238E27FC236}">
                  <a16:creationId xmlns:a16="http://schemas.microsoft.com/office/drawing/2014/main" id="{A18D925C-D1E0-4DC2-BFDF-ADFF1D47FE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8" y="3553"/>
              <a:ext cx="261" cy="241"/>
            </a:xfrm>
            <a:custGeom>
              <a:avLst/>
              <a:gdLst>
                <a:gd name="T0" fmla="*/ 60 w 102"/>
                <a:gd name="T1" fmla="*/ 89 h 94"/>
                <a:gd name="T2" fmla="*/ 3 w 102"/>
                <a:gd name="T3" fmla="*/ 89 h 94"/>
                <a:gd name="T4" fmla="*/ 0 w 102"/>
                <a:gd name="T5" fmla="*/ 92 h 94"/>
                <a:gd name="T6" fmla="*/ 3 w 102"/>
                <a:gd name="T7" fmla="*/ 94 h 94"/>
                <a:gd name="T8" fmla="*/ 60 w 102"/>
                <a:gd name="T9" fmla="*/ 94 h 94"/>
                <a:gd name="T10" fmla="*/ 62 w 102"/>
                <a:gd name="T11" fmla="*/ 92 h 94"/>
                <a:gd name="T12" fmla="*/ 60 w 102"/>
                <a:gd name="T13" fmla="*/ 89 h 94"/>
                <a:gd name="T14" fmla="*/ 60 w 102"/>
                <a:gd name="T15" fmla="*/ 59 h 94"/>
                <a:gd name="T16" fmla="*/ 3 w 102"/>
                <a:gd name="T17" fmla="*/ 59 h 94"/>
                <a:gd name="T18" fmla="*/ 0 w 102"/>
                <a:gd name="T19" fmla="*/ 62 h 94"/>
                <a:gd name="T20" fmla="*/ 3 w 102"/>
                <a:gd name="T21" fmla="*/ 64 h 94"/>
                <a:gd name="T22" fmla="*/ 60 w 102"/>
                <a:gd name="T23" fmla="*/ 64 h 94"/>
                <a:gd name="T24" fmla="*/ 62 w 102"/>
                <a:gd name="T25" fmla="*/ 62 h 94"/>
                <a:gd name="T26" fmla="*/ 60 w 102"/>
                <a:gd name="T27" fmla="*/ 59 h 94"/>
                <a:gd name="T28" fmla="*/ 3 w 102"/>
                <a:gd name="T29" fmla="*/ 5 h 94"/>
                <a:gd name="T30" fmla="*/ 60 w 102"/>
                <a:gd name="T31" fmla="*/ 5 h 94"/>
                <a:gd name="T32" fmla="*/ 62 w 102"/>
                <a:gd name="T33" fmla="*/ 2 h 94"/>
                <a:gd name="T34" fmla="*/ 60 w 102"/>
                <a:gd name="T35" fmla="*/ 0 h 94"/>
                <a:gd name="T36" fmla="*/ 3 w 102"/>
                <a:gd name="T37" fmla="*/ 0 h 94"/>
                <a:gd name="T38" fmla="*/ 0 w 102"/>
                <a:gd name="T39" fmla="*/ 2 h 94"/>
                <a:gd name="T40" fmla="*/ 3 w 102"/>
                <a:gd name="T41" fmla="*/ 5 h 94"/>
                <a:gd name="T42" fmla="*/ 79 w 102"/>
                <a:gd name="T43" fmla="*/ 8 h 94"/>
                <a:gd name="T44" fmla="*/ 75 w 102"/>
                <a:gd name="T45" fmla="*/ 8 h 94"/>
                <a:gd name="T46" fmla="*/ 75 w 102"/>
                <a:gd name="T47" fmla="*/ 11 h 94"/>
                <a:gd name="T48" fmla="*/ 93 w 102"/>
                <a:gd name="T49" fmla="*/ 30 h 94"/>
                <a:gd name="T50" fmla="*/ 3 w 102"/>
                <a:gd name="T51" fmla="*/ 30 h 94"/>
                <a:gd name="T52" fmla="*/ 0 w 102"/>
                <a:gd name="T53" fmla="*/ 32 h 94"/>
                <a:gd name="T54" fmla="*/ 3 w 102"/>
                <a:gd name="T55" fmla="*/ 35 h 94"/>
                <a:gd name="T56" fmla="*/ 93 w 102"/>
                <a:gd name="T57" fmla="*/ 35 h 94"/>
                <a:gd name="T58" fmla="*/ 75 w 102"/>
                <a:gd name="T59" fmla="*/ 53 h 94"/>
                <a:gd name="T60" fmla="*/ 75 w 102"/>
                <a:gd name="T61" fmla="*/ 56 h 94"/>
                <a:gd name="T62" fmla="*/ 77 w 102"/>
                <a:gd name="T63" fmla="*/ 57 h 94"/>
                <a:gd name="T64" fmla="*/ 79 w 102"/>
                <a:gd name="T65" fmla="*/ 56 h 94"/>
                <a:gd name="T66" fmla="*/ 102 w 102"/>
                <a:gd name="T67" fmla="*/ 32 h 94"/>
                <a:gd name="T68" fmla="*/ 79 w 102"/>
                <a:gd name="T69" fmla="*/ 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94">
                  <a:moveTo>
                    <a:pt x="60" y="89"/>
                  </a:move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2"/>
                  </a:cubicBezTo>
                  <a:cubicBezTo>
                    <a:pt x="0" y="93"/>
                    <a:pt x="1" y="94"/>
                    <a:pt x="3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2" y="93"/>
                    <a:pt x="62" y="92"/>
                  </a:cubicBezTo>
                  <a:cubicBezTo>
                    <a:pt x="62" y="90"/>
                    <a:pt x="61" y="89"/>
                    <a:pt x="60" y="89"/>
                  </a:cubicBezTo>
                  <a:moveTo>
                    <a:pt x="60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1" y="59"/>
                    <a:pt x="0" y="61"/>
                    <a:pt x="0" y="62"/>
                  </a:cubicBezTo>
                  <a:cubicBezTo>
                    <a:pt x="0" y="63"/>
                    <a:pt x="1" y="64"/>
                    <a:pt x="3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2" y="63"/>
                    <a:pt x="62" y="62"/>
                  </a:cubicBezTo>
                  <a:cubicBezTo>
                    <a:pt x="62" y="61"/>
                    <a:pt x="61" y="59"/>
                    <a:pt x="60" y="59"/>
                  </a:cubicBezTo>
                  <a:moveTo>
                    <a:pt x="3" y="5"/>
                  </a:moveTo>
                  <a:cubicBezTo>
                    <a:pt x="60" y="5"/>
                    <a:pt x="60" y="5"/>
                    <a:pt x="60" y="5"/>
                  </a:cubicBezTo>
                  <a:cubicBezTo>
                    <a:pt x="61" y="5"/>
                    <a:pt x="62" y="4"/>
                    <a:pt x="62" y="2"/>
                  </a:cubicBezTo>
                  <a:cubicBezTo>
                    <a:pt x="62" y="1"/>
                    <a:pt x="61" y="0"/>
                    <a:pt x="6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3" y="5"/>
                  </a:cubicBezTo>
                  <a:moveTo>
                    <a:pt x="79" y="8"/>
                  </a:moveTo>
                  <a:cubicBezTo>
                    <a:pt x="78" y="7"/>
                    <a:pt x="76" y="7"/>
                    <a:pt x="75" y="8"/>
                  </a:cubicBezTo>
                  <a:cubicBezTo>
                    <a:pt x="74" y="9"/>
                    <a:pt x="74" y="11"/>
                    <a:pt x="75" y="11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0" y="31"/>
                    <a:pt x="0" y="32"/>
                  </a:cubicBezTo>
                  <a:cubicBezTo>
                    <a:pt x="0" y="33"/>
                    <a:pt x="1" y="35"/>
                    <a:pt x="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4" y="54"/>
                    <a:pt x="74" y="55"/>
                    <a:pt x="75" y="56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8" y="57"/>
                    <a:pt x="79" y="56"/>
                  </a:cubicBezTo>
                  <a:cubicBezTo>
                    <a:pt x="102" y="32"/>
                    <a:pt x="102" y="32"/>
                    <a:pt x="102" y="32"/>
                  </a:cubicBezTo>
                  <a:lnTo>
                    <a:pt x="79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9" name="Group 238">
            <a:extLst>
              <a:ext uri="{FF2B5EF4-FFF2-40B4-BE49-F238E27FC236}">
                <a16:creationId xmlns:a16="http://schemas.microsoft.com/office/drawing/2014/main" id="{8D77A9F8-14CF-4CC5-A865-DAB6C1F83A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1634" y="5456854"/>
            <a:ext cx="760412" cy="758825"/>
            <a:chOff x="5007" y="3460"/>
            <a:chExt cx="479" cy="478"/>
          </a:xfrm>
        </p:grpSpPr>
        <p:sp>
          <p:nvSpPr>
            <p:cNvPr id="280" name="AutoShape 237">
              <a:extLst>
                <a:ext uri="{FF2B5EF4-FFF2-40B4-BE49-F238E27FC236}">
                  <a16:creationId xmlns:a16="http://schemas.microsoft.com/office/drawing/2014/main" id="{66556FE7-6BBB-4759-B3C9-8713DED02E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07" y="3460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39">
              <a:extLst>
                <a:ext uri="{FF2B5EF4-FFF2-40B4-BE49-F238E27FC236}">
                  <a16:creationId xmlns:a16="http://schemas.microsoft.com/office/drawing/2014/main" id="{64D64DEC-D711-454E-83C0-F653002E8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9" y="3462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40">
              <a:extLst>
                <a:ext uri="{FF2B5EF4-FFF2-40B4-BE49-F238E27FC236}">
                  <a16:creationId xmlns:a16="http://schemas.microsoft.com/office/drawing/2014/main" id="{2C559E53-56AD-47E3-A4C3-EBFD671AAB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0" y="3551"/>
              <a:ext cx="295" cy="279"/>
            </a:xfrm>
            <a:custGeom>
              <a:avLst/>
              <a:gdLst>
                <a:gd name="T0" fmla="*/ 10 w 295"/>
                <a:gd name="T1" fmla="*/ 269 h 279"/>
                <a:gd name="T2" fmla="*/ 3 w 295"/>
                <a:gd name="T3" fmla="*/ 213 h 279"/>
                <a:gd name="T4" fmla="*/ 3 w 295"/>
                <a:gd name="T5" fmla="*/ 215 h 279"/>
                <a:gd name="T6" fmla="*/ 0 w 295"/>
                <a:gd name="T7" fmla="*/ 218 h 279"/>
                <a:gd name="T8" fmla="*/ 0 w 295"/>
                <a:gd name="T9" fmla="*/ 218 h 279"/>
                <a:gd name="T10" fmla="*/ 0 w 295"/>
                <a:gd name="T11" fmla="*/ 277 h 279"/>
                <a:gd name="T12" fmla="*/ 0 w 295"/>
                <a:gd name="T13" fmla="*/ 279 h 279"/>
                <a:gd name="T14" fmla="*/ 3 w 295"/>
                <a:gd name="T15" fmla="*/ 279 h 279"/>
                <a:gd name="T16" fmla="*/ 57 w 295"/>
                <a:gd name="T17" fmla="*/ 279 h 279"/>
                <a:gd name="T18" fmla="*/ 57 w 295"/>
                <a:gd name="T19" fmla="*/ 279 h 279"/>
                <a:gd name="T20" fmla="*/ 59 w 295"/>
                <a:gd name="T21" fmla="*/ 277 h 279"/>
                <a:gd name="T22" fmla="*/ 62 w 295"/>
                <a:gd name="T23" fmla="*/ 274 h 279"/>
                <a:gd name="T24" fmla="*/ 62 w 295"/>
                <a:gd name="T25" fmla="*/ 218 h 279"/>
                <a:gd name="T26" fmla="*/ 59 w 295"/>
                <a:gd name="T27" fmla="*/ 218 h 279"/>
                <a:gd name="T28" fmla="*/ 59 w 295"/>
                <a:gd name="T29" fmla="*/ 215 h 279"/>
                <a:gd name="T30" fmla="*/ 57 w 295"/>
                <a:gd name="T31" fmla="*/ 213 h 279"/>
                <a:gd name="T32" fmla="*/ 145 w 295"/>
                <a:gd name="T33" fmla="*/ 169 h 279"/>
                <a:gd name="T34" fmla="*/ 101 w 295"/>
                <a:gd name="T35" fmla="*/ 159 h 279"/>
                <a:gd name="T36" fmla="*/ 98 w 295"/>
                <a:gd name="T37" fmla="*/ 159 h 279"/>
                <a:gd name="T38" fmla="*/ 96 w 295"/>
                <a:gd name="T39" fmla="*/ 161 h 279"/>
                <a:gd name="T40" fmla="*/ 96 w 295"/>
                <a:gd name="T41" fmla="*/ 164 h 279"/>
                <a:gd name="T42" fmla="*/ 96 w 295"/>
                <a:gd name="T43" fmla="*/ 274 h 279"/>
                <a:gd name="T44" fmla="*/ 96 w 295"/>
                <a:gd name="T45" fmla="*/ 277 h 279"/>
                <a:gd name="T46" fmla="*/ 98 w 295"/>
                <a:gd name="T47" fmla="*/ 279 h 279"/>
                <a:gd name="T48" fmla="*/ 98 w 295"/>
                <a:gd name="T49" fmla="*/ 279 h 279"/>
                <a:gd name="T50" fmla="*/ 152 w 295"/>
                <a:gd name="T51" fmla="*/ 279 h 279"/>
                <a:gd name="T52" fmla="*/ 155 w 295"/>
                <a:gd name="T53" fmla="*/ 279 h 279"/>
                <a:gd name="T54" fmla="*/ 155 w 295"/>
                <a:gd name="T55" fmla="*/ 277 h 279"/>
                <a:gd name="T56" fmla="*/ 157 w 295"/>
                <a:gd name="T57" fmla="*/ 274 h 279"/>
                <a:gd name="T58" fmla="*/ 155 w 295"/>
                <a:gd name="T59" fmla="*/ 161 h 279"/>
                <a:gd name="T60" fmla="*/ 155 w 295"/>
                <a:gd name="T61" fmla="*/ 159 h 279"/>
                <a:gd name="T62" fmla="*/ 152 w 295"/>
                <a:gd name="T63" fmla="*/ 159 h 279"/>
                <a:gd name="T64" fmla="*/ 101 w 295"/>
                <a:gd name="T65" fmla="*/ 159 h 279"/>
                <a:gd name="T66" fmla="*/ 241 w 295"/>
                <a:gd name="T67" fmla="*/ 269 h 279"/>
                <a:gd name="T68" fmla="*/ 221 w 295"/>
                <a:gd name="T69" fmla="*/ 12 h 279"/>
                <a:gd name="T70" fmla="*/ 219 w 295"/>
                <a:gd name="T71" fmla="*/ 0 h 279"/>
                <a:gd name="T72" fmla="*/ 216 w 295"/>
                <a:gd name="T73" fmla="*/ 0 h 279"/>
                <a:gd name="T74" fmla="*/ 145 w 295"/>
                <a:gd name="T75" fmla="*/ 71 h 279"/>
                <a:gd name="T76" fmla="*/ 145 w 295"/>
                <a:gd name="T77" fmla="*/ 73 h 279"/>
                <a:gd name="T78" fmla="*/ 148 w 295"/>
                <a:gd name="T79" fmla="*/ 76 h 279"/>
                <a:gd name="T80" fmla="*/ 150 w 295"/>
                <a:gd name="T81" fmla="*/ 78 h 279"/>
                <a:gd name="T82" fmla="*/ 189 w 295"/>
                <a:gd name="T83" fmla="*/ 274 h 279"/>
                <a:gd name="T84" fmla="*/ 192 w 295"/>
                <a:gd name="T85" fmla="*/ 277 h 279"/>
                <a:gd name="T86" fmla="*/ 192 w 295"/>
                <a:gd name="T87" fmla="*/ 279 h 279"/>
                <a:gd name="T88" fmla="*/ 194 w 295"/>
                <a:gd name="T89" fmla="*/ 279 h 279"/>
                <a:gd name="T90" fmla="*/ 248 w 295"/>
                <a:gd name="T91" fmla="*/ 279 h 279"/>
                <a:gd name="T92" fmla="*/ 248 w 295"/>
                <a:gd name="T93" fmla="*/ 279 h 279"/>
                <a:gd name="T94" fmla="*/ 251 w 295"/>
                <a:gd name="T95" fmla="*/ 277 h 279"/>
                <a:gd name="T96" fmla="*/ 251 w 295"/>
                <a:gd name="T97" fmla="*/ 274 h 279"/>
                <a:gd name="T98" fmla="*/ 293 w 295"/>
                <a:gd name="T99" fmla="*/ 78 h 279"/>
                <a:gd name="T100" fmla="*/ 295 w 295"/>
                <a:gd name="T101" fmla="*/ 76 h 279"/>
                <a:gd name="T102" fmla="*/ 295 w 295"/>
                <a:gd name="T103" fmla="*/ 73 h 279"/>
                <a:gd name="T104" fmla="*/ 295 w 295"/>
                <a:gd name="T105" fmla="*/ 71 h 279"/>
                <a:gd name="T106" fmla="*/ 224 w 295"/>
                <a:gd name="T107" fmla="*/ 0 h 279"/>
                <a:gd name="T108" fmla="*/ 221 w 295"/>
                <a:gd name="T109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5" h="279">
                  <a:moveTo>
                    <a:pt x="10" y="225"/>
                  </a:moveTo>
                  <a:lnTo>
                    <a:pt x="52" y="225"/>
                  </a:lnTo>
                  <a:lnTo>
                    <a:pt x="52" y="269"/>
                  </a:lnTo>
                  <a:lnTo>
                    <a:pt x="10" y="269"/>
                  </a:lnTo>
                  <a:lnTo>
                    <a:pt x="10" y="225"/>
                  </a:lnTo>
                  <a:close/>
                  <a:moveTo>
                    <a:pt x="5" y="213"/>
                  </a:moveTo>
                  <a:lnTo>
                    <a:pt x="5" y="213"/>
                  </a:lnTo>
                  <a:lnTo>
                    <a:pt x="3" y="213"/>
                  </a:lnTo>
                  <a:lnTo>
                    <a:pt x="3" y="213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9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9" y="279"/>
                  </a:lnTo>
                  <a:lnTo>
                    <a:pt x="59" y="279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7"/>
                  </a:lnTo>
                  <a:lnTo>
                    <a:pt x="62" y="277"/>
                  </a:lnTo>
                  <a:lnTo>
                    <a:pt x="62" y="277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59" y="218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7" y="215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" y="213"/>
                  </a:lnTo>
                  <a:close/>
                  <a:moveTo>
                    <a:pt x="106" y="169"/>
                  </a:moveTo>
                  <a:lnTo>
                    <a:pt x="145" y="169"/>
                  </a:lnTo>
                  <a:lnTo>
                    <a:pt x="145" y="269"/>
                  </a:lnTo>
                  <a:lnTo>
                    <a:pt x="106" y="269"/>
                  </a:lnTo>
                  <a:lnTo>
                    <a:pt x="106" y="169"/>
                  </a:lnTo>
                  <a:close/>
                  <a:moveTo>
                    <a:pt x="101" y="159"/>
                  </a:move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6" y="159"/>
                  </a:lnTo>
                  <a:lnTo>
                    <a:pt x="96" y="159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274"/>
                  </a:lnTo>
                  <a:lnTo>
                    <a:pt x="96" y="274"/>
                  </a:lnTo>
                  <a:lnTo>
                    <a:pt x="96" y="274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101" y="279"/>
                  </a:lnTo>
                  <a:lnTo>
                    <a:pt x="150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5" y="277"/>
                  </a:lnTo>
                  <a:lnTo>
                    <a:pt x="155" y="277"/>
                  </a:lnTo>
                  <a:lnTo>
                    <a:pt x="155" y="277"/>
                  </a:lnTo>
                  <a:lnTo>
                    <a:pt x="155" y="277"/>
                  </a:lnTo>
                  <a:lnTo>
                    <a:pt x="155" y="274"/>
                  </a:lnTo>
                  <a:lnTo>
                    <a:pt x="155" y="274"/>
                  </a:lnTo>
                  <a:lnTo>
                    <a:pt x="157" y="274"/>
                  </a:lnTo>
                  <a:lnTo>
                    <a:pt x="157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01" y="159"/>
                  </a:lnTo>
                  <a:close/>
                  <a:moveTo>
                    <a:pt x="221" y="12"/>
                  </a:moveTo>
                  <a:lnTo>
                    <a:pt x="278" y="68"/>
                  </a:lnTo>
                  <a:lnTo>
                    <a:pt x="241" y="68"/>
                  </a:lnTo>
                  <a:lnTo>
                    <a:pt x="241" y="269"/>
                  </a:lnTo>
                  <a:lnTo>
                    <a:pt x="199" y="269"/>
                  </a:lnTo>
                  <a:lnTo>
                    <a:pt x="199" y="68"/>
                  </a:lnTo>
                  <a:lnTo>
                    <a:pt x="162" y="68"/>
                  </a:lnTo>
                  <a:lnTo>
                    <a:pt x="221" y="12"/>
                  </a:lnTo>
                  <a:close/>
                  <a:moveTo>
                    <a:pt x="221" y="0"/>
                  </a:moveTo>
                  <a:lnTo>
                    <a:pt x="219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148" y="68"/>
                  </a:lnTo>
                  <a:lnTo>
                    <a:pt x="148" y="71"/>
                  </a:lnTo>
                  <a:lnTo>
                    <a:pt x="148" y="71"/>
                  </a:lnTo>
                  <a:lnTo>
                    <a:pt x="145" y="71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6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89" y="78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7"/>
                  </a:lnTo>
                  <a:lnTo>
                    <a:pt x="189" y="277"/>
                  </a:lnTo>
                  <a:lnTo>
                    <a:pt x="192" y="277"/>
                  </a:lnTo>
                  <a:lnTo>
                    <a:pt x="192" y="277"/>
                  </a:lnTo>
                  <a:lnTo>
                    <a:pt x="192" y="279"/>
                  </a:lnTo>
                  <a:lnTo>
                    <a:pt x="192" y="279"/>
                  </a:lnTo>
                  <a:lnTo>
                    <a:pt x="192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246" y="279"/>
                  </a:lnTo>
                  <a:lnTo>
                    <a:pt x="246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51" y="279"/>
                  </a:lnTo>
                  <a:lnTo>
                    <a:pt x="251" y="277"/>
                  </a:lnTo>
                  <a:lnTo>
                    <a:pt x="251" y="277"/>
                  </a:lnTo>
                  <a:lnTo>
                    <a:pt x="251" y="277"/>
                  </a:lnTo>
                  <a:lnTo>
                    <a:pt x="251" y="277"/>
                  </a:lnTo>
                  <a:lnTo>
                    <a:pt x="251" y="274"/>
                  </a:lnTo>
                  <a:lnTo>
                    <a:pt x="251" y="274"/>
                  </a:lnTo>
                  <a:lnTo>
                    <a:pt x="251" y="274"/>
                  </a:lnTo>
                  <a:lnTo>
                    <a:pt x="251" y="78"/>
                  </a:lnTo>
                  <a:lnTo>
                    <a:pt x="290" y="78"/>
                  </a:lnTo>
                  <a:lnTo>
                    <a:pt x="293" y="78"/>
                  </a:lnTo>
                  <a:lnTo>
                    <a:pt x="293" y="78"/>
                  </a:lnTo>
                  <a:lnTo>
                    <a:pt x="293" y="78"/>
                  </a:lnTo>
                  <a:lnTo>
                    <a:pt x="293" y="78"/>
                  </a:lnTo>
                  <a:lnTo>
                    <a:pt x="295" y="76"/>
                  </a:lnTo>
                  <a:lnTo>
                    <a:pt x="295" y="76"/>
                  </a:lnTo>
                  <a:lnTo>
                    <a:pt x="295" y="76"/>
                  </a:lnTo>
                  <a:lnTo>
                    <a:pt x="295" y="76"/>
                  </a:lnTo>
                  <a:lnTo>
                    <a:pt x="295" y="73"/>
                  </a:lnTo>
                  <a:lnTo>
                    <a:pt x="295" y="73"/>
                  </a:lnTo>
                  <a:lnTo>
                    <a:pt x="295" y="73"/>
                  </a:lnTo>
                  <a:lnTo>
                    <a:pt x="295" y="73"/>
                  </a:lnTo>
                  <a:lnTo>
                    <a:pt x="295" y="71"/>
                  </a:lnTo>
                  <a:lnTo>
                    <a:pt x="295" y="71"/>
                  </a:lnTo>
                  <a:lnTo>
                    <a:pt x="295" y="71"/>
                  </a:lnTo>
                  <a:lnTo>
                    <a:pt x="295" y="68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3" name="Group 243">
            <a:extLst>
              <a:ext uri="{FF2B5EF4-FFF2-40B4-BE49-F238E27FC236}">
                <a16:creationId xmlns:a16="http://schemas.microsoft.com/office/drawing/2014/main" id="{43B5D5D2-C954-4ABD-AD24-664EB26325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5785" y="5415579"/>
            <a:ext cx="841375" cy="841375"/>
            <a:chOff x="4418" y="3460"/>
            <a:chExt cx="530" cy="530"/>
          </a:xfrm>
        </p:grpSpPr>
        <p:sp>
          <p:nvSpPr>
            <p:cNvPr id="284" name="AutoShape 242">
              <a:extLst>
                <a:ext uri="{FF2B5EF4-FFF2-40B4-BE49-F238E27FC236}">
                  <a16:creationId xmlns:a16="http://schemas.microsoft.com/office/drawing/2014/main" id="{1AA88AA7-6FE6-4CE0-A7A3-BB13C5AB8B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8" y="346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244">
              <a:extLst>
                <a:ext uri="{FF2B5EF4-FFF2-40B4-BE49-F238E27FC236}">
                  <a16:creationId xmlns:a16="http://schemas.microsoft.com/office/drawing/2014/main" id="{73C697F5-E56B-4673-8B6E-4F4727F6D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8" y="346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45">
              <a:extLst>
                <a:ext uri="{FF2B5EF4-FFF2-40B4-BE49-F238E27FC236}">
                  <a16:creationId xmlns:a16="http://schemas.microsoft.com/office/drawing/2014/main" id="{0F68EECA-4840-47FC-A185-1E34009750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6" y="347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46">
              <a:extLst>
                <a:ext uri="{FF2B5EF4-FFF2-40B4-BE49-F238E27FC236}">
                  <a16:creationId xmlns:a16="http://schemas.microsoft.com/office/drawing/2014/main" id="{C9F6D146-E316-4DD4-85DC-E53209B783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1" y="3570"/>
              <a:ext cx="307" cy="292"/>
            </a:xfrm>
            <a:custGeom>
              <a:avLst/>
              <a:gdLst>
                <a:gd name="T0" fmla="*/ 10 w 307"/>
                <a:gd name="T1" fmla="*/ 282 h 292"/>
                <a:gd name="T2" fmla="*/ 2 w 307"/>
                <a:gd name="T3" fmla="*/ 223 h 292"/>
                <a:gd name="T4" fmla="*/ 2 w 307"/>
                <a:gd name="T5" fmla="*/ 225 h 292"/>
                <a:gd name="T6" fmla="*/ 0 w 307"/>
                <a:gd name="T7" fmla="*/ 228 h 292"/>
                <a:gd name="T8" fmla="*/ 0 w 307"/>
                <a:gd name="T9" fmla="*/ 228 h 292"/>
                <a:gd name="T10" fmla="*/ 0 w 307"/>
                <a:gd name="T11" fmla="*/ 289 h 292"/>
                <a:gd name="T12" fmla="*/ 0 w 307"/>
                <a:gd name="T13" fmla="*/ 292 h 292"/>
                <a:gd name="T14" fmla="*/ 2 w 307"/>
                <a:gd name="T15" fmla="*/ 292 h 292"/>
                <a:gd name="T16" fmla="*/ 59 w 307"/>
                <a:gd name="T17" fmla="*/ 292 h 292"/>
                <a:gd name="T18" fmla="*/ 59 w 307"/>
                <a:gd name="T19" fmla="*/ 292 h 292"/>
                <a:gd name="T20" fmla="*/ 61 w 307"/>
                <a:gd name="T21" fmla="*/ 289 h 292"/>
                <a:gd name="T22" fmla="*/ 64 w 307"/>
                <a:gd name="T23" fmla="*/ 287 h 292"/>
                <a:gd name="T24" fmla="*/ 64 w 307"/>
                <a:gd name="T25" fmla="*/ 228 h 292"/>
                <a:gd name="T26" fmla="*/ 61 w 307"/>
                <a:gd name="T27" fmla="*/ 228 h 292"/>
                <a:gd name="T28" fmla="*/ 61 w 307"/>
                <a:gd name="T29" fmla="*/ 225 h 292"/>
                <a:gd name="T30" fmla="*/ 59 w 307"/>
                <a:gd name="T31" fmla="*/ 223 h 292"/>
                <a:gd name="T32" fmla="*/ 151 w 307"/>
                <a:gd name="T33" fmla="*/ 177 h 292"/>
                <a:gd name="T34" fmla="*/ 105 w 307"/>
                <a:gd name="T35" fmla="*/ 166 h 292"/>
                <a:gd name="T36" fmla="*/ 102 w 307"/>
                <a:gd name="T37" fmla="*/ 166 h 292"/>
                <a:gd name="T38" fmla="*/ 100 w 307"/>
                <a:gd name="T39" fmla="*/ 169 h 292"/>
                <a:gd name="T40" fmla="*/ 100 w 307"/>
                <a:gd name="T41" fmla="*/ 172 h 292"/>
                <a:gd name="T42" fmla="*/ 100 w 307"/>
                <a:gd name="T43" fmla="*/ 287 h 292"/>
                <a:gd name="T44" fmla="*/ 100 w 307"/>
                <a:gd name="T45" fmla="*/ 289 h 292"/>
                <a:gd name="T46" fmla="*/ 102 w 307"/>
                <a:gd name="T47" fmla="*/ 292 h 292"/>
                <a:gd name="T48" fmla="*/ 102 w 307"/>
                <a:gd name="T49" fmla="*/ 292 h 292"/>
                <a:gd name="T50" fmla="*/ 159 w 307"/>
                <a:gd name="T51" fmla="*/ 292 h 292"/>
                <a:gd name="T52" fmla="*/ 161 w 307"/>
                <a:gd name="T53" fmla="*/ 292 h 292"/>
                <a:gd name="T54" fmla="*/ 161 w 307"/>
                <a:gd name="T55" fmla="*/ 289 h 292"/>
                <a:gd name="T56" fmla="*/ 164 w 307"/>
                <a:gd name="T57" fmla="*/ 287 h 292"/>
                <a:gd name="T58" fmla="*/ 161 w 307"/>
                <a:gd name="T59" fmla="*/ 169 h 292"/>
                <a:gd name="T60" fmla="*/ 161 w 307"/>
                <a:gd name="T61" fmla="*/ 166 h 292"/>
                <a:gd name="T62" fmla="*/ 159 w 307"/>
                <a:gd name="T63" fmla="*/ 166 h 292"/>
                <a:gd name="T64" fmla="*/ 105 w 307"/>
                <a:gd name="T65" fmla="*/ 166 h 292"/>
                <a:gd name="T66" fmla="*/ 251 w 307"/>
                <a:gd name="T67" fmla="*/ 282 h 292"/>
                <a:gd name="T68" fmla="*/ 230 w 307"/>
                <a:gd name="T69" fmla="*/ 13 h 292"/>
                <a:gd name="T70" fmla="*/ 228 w 307"/>
                <a:gd name="T71" fmla="*/ 0 h 292"/>
                <a:gd name="T72" fmla="*/ 225 w 307"/>
                <a:gd name="T73" fmla="*/ 0 h 292"/>
                <a:gd name="T74" fmla="*/ 151 w 307"/>
                <a:gd name="T75" fmla="*/ 74 h 292"/>
                <a:gd name="T76" fmla="*/ 151 w 307"/>
                <a:gd name="T77" fmla="*/ 77 h 292"/>
                <a:gd name="T78" fmla="*/ 153 w 307"/>
                <a:gd name="T79" fmla="*/ 79 h 292"/>
                <a:gd name="T80" fmla="*/ 156 w 307"/>
                <a:gd name="T81" fmla="*/ 82 h 292"/>
                <a:gd name="T82" fmla="*/ 197 w 307"/>
                <a:gd name="T83" fmla="*/ 287 h 292"/>
                <a:gd name="T84" fmla="*/ 200 w 307"/>
                <a:gd name="T85" fmla="*/ 289 h 292"/>
                <a:gd name="T86" fmla="*/ 200 w 307"/>
                <a:gd name="T87" fmla="*/ 292 h 292"/>
                <a:gd name="T88" fmla="*/ 202 w 307"/>
                <a:gd name="T89" fmla="*/ 292 h 292"/>
                <a:gd name="T90" fmla="*/ 258 w 307"/>
                <a:gd name="T91" fmla="*/ 292 h 292"/>
                <a:gd name="T92" fmla="*/ 258 w 307"/>
                <a:gd name="T93" fmla="*/ 292 h 292"/>
                <a:gd name="T94" fmla="*/ 261 w 307"/>
                <a:gd name="T95" fmla="*/ 289 h 292"/>
                <a:gd name="T96" fmla="*/ 261 w 307"/>
                <a:gd name="T97" fmla="*/ 287 h 292"/>
                <a:gd name="T98" fmla="*/ 304 w 307"/>
                <a:gd name="T99" fmla="*/ 82 h 292"/>
                <a:gd name="T100" fmla="*/ 307 w 307"/>
                <a:gd name="T101" fmla="*/ 79 h 292"/>
                <a:gd name="T102" fmla="*/ 307 w 307"/>
                <a:gd name="T103" fmla="*/ 77 h 292"/>
                <a:gd name="T104" fmla="*/ 307 w 307"/>
                <a:gd name="T105" fmla="*/ 74 h 292"/>
                <a:gd name="T106" fmla="*/ 233 w 307"/>
                <a:gd name="T107" fmla="*/ 0 h 292"/>
                <a:gd name="T108" fmla="*/ 230 w 307"/>
                <a:gd name="T10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7" h="292">
                  <a:moveTo>
                    <a:pt x="10" y="236"/>
                  </a:moveTo>
                  <a:lnTo>
                    <a:pt x="54" y="236"/>
                  </a:lnTo>
                  <a:lnTo>
                    <a:pt x="54" y="282"/>
                  </a:lnTo>
                  <a:lnTo>
                    <a:pt x="10" y="282"/>
                  </a:lnTo>
                  <a:lnTo>
                    <a:pt x="10" y="236"/>
                  </a:lnTo>
                  <a:close/>
                  <a:moveTo>
                    <a:pt x="5" y="223"/>
                  </a:moveTo>
                  <a:lnTo>
                    <a:pt x="5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0" y="289"/>
                  </a:lnTo>
                  <a:lnTo>
                    <a:pt x="0" y="289"/>
                  </a:lnTo>
                  <a:lnTo>
                    <a:pt x="0" y="289"/>
                  </a:lnTo>
                  <a:lnTo>
                    <a:pt x="0" y="289"/>
                  </a:lnTo>
                  <a:lnTo>
                    <a:pt x="0" y="292"/>
                  </a:lnTo>
                  <a:lnTo>
                    <a:pt x="2" y="292"/>
                  </a:lnTo>
                  <a:lnTo>
                    <a:pt x="2" y="292"/>
                  </a:lnTo>
                  <a:lnTo>
                    <a:pt x="2" y="292"/>
                  </a:lnTo>
                  <a:lnTo>
                    <a:pt x="2" y="292"/>
                  </a:lnTo>
                  <a:lnTo>
                    <a:pt x="2" y="292"/>
                  </a:lnTo>
                  <a:lnTo>
                    <a:pt x="5" y="292"/>
                  </a:lnTo>
                  <a:lnTo>
                    <a:pt x="5" y="292"/>
                  </a:lnTo>
                  <a:lnTo>
                    <a:pt x="59" y="292"/>
                  </a:lnTo>
                  <a:lnTo>
                    <a:pt x="59" y="292"/>
                  </a:lnTo>
                  <a:lnTo>
                    <a:pt x="59" y="292"/>
                  </a:lnTo>
                  <a:lnTo>
                    <a:pt x="59" y="292"/>
                  </a:lnTo>
                  <a:lnTo>
                    <a:pt x="59" y="292"/>
                  </a:lnTo>
                  <a:lnTo>
                    <a:pt x="61" y="292"/>
                  </a:lnTo>
                  <a:lnTo>
                    <a:pt x="61" y="292"/>
                  </a:lnTo>
                  <a:lnTo>
                    <a:pt x="61" y="292"/>
                  </a:lnTo>
                  <a:lnTo>
                    <a:pt x="61" y="289"/>
                  </a:lnTo>
                  <a:lnTo>
                    <a:pt x="61" y="289"/>
                  </a:lnTo>
                  <a:lnTo>
                    <a:pt x="64" y="289"/>
                  </a:lnTo>
                  <a:lnTo>
                    <a:pt x="64" y="289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1" y="228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" y="223"/>
                  </a:lnTo>
                  <a:close/>
                  <a:moveTo>
                    <a:pt x="110" y="177"/>
                  </a:moveTo>
                  <a:lnTo>
                    <a:pt x="151" y="177"/>
                  </a:lnTo>
                  <a:lnTo>
                    <a:pt x="151" y="282"/>
                  </a:lnTo>
                  <a:lnTo>
                    <a:pt x="110" y="282"/>
                  </a:lnTo>
                  <a:lnTo>
                    <a:pt x="110" y="177"/>
                  </a:lnTo>
                  <a:close/>
                  <a:moveTo>
                    <a:pt x="105" y="166"/>
                  </a:moveTo>
                  <a:lnTo>
                    <a:pt x="102" y="166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0" y="172"/>
                  </a:lnTo>
                  <a:lnTo>
                    <a:pt x="100" y="172"/>
                  </a:lnTo>
                  <a:lnTo>
                    <a:pt x="100" y="172"/>
                  </a:lnTo>
                  <a:lnTo>
                    <a:pt x="100" y="287"/>
                  </a:lnTo>
                  <a:lnTo>
                    <a:pt x="100" y="287"/>
                  </a:lnTo>
                  <a:lnTo>
                    <a:pt x="100" y="287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0" y="289"/>
                  </a:lnTo>
                  <a:lnTo>
                    <a:pt x="100" y="292"/>
                  </a:lnTo>
                  <a:lnTo>
                    <a:pt x="100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2" y="292"/>
                  </a:lnTo>
                  <a:lnTo>
                    <a:pt x="105" y="292"/>
                  </a:lnTo>
                  <a:lnTo>
                    <a:pt x="156" y="292"/>
                  </a:lnTo>
                  <a:lnTo>
                    <a:pt x="159" y="292"/>
                  </a:lnTo>
                  <a:lnTo>
                    <a:pt x="159" y="292"/>
                  </a:lnTo>
                  <a:lnTo>
                    <a:pt x="159" y="292"/>
                  </a:lnTo>
                  <a:lnTo>
                    <a:pt x="159" y="292"/>
                  </a:lnTo>
                  <a:lnTo>
                    <a:pt x="159" y="292"/>
                  </a:lnTo>
                  <a:lnTo>
                    <a:pt x="161" y="292"/>
                  </a:lnTo>
                  <a:lnTo>
                    <a:pt x="161" y="292"/>
                  </a:lnTo>
                  <a:lnTo>
                    <a:pt x="161" y="289"/>
                  </a:lnTo>
                  <a:lnTo>
                    <a:pt x="161" y="289"/>
                  </a:lnTo>
                  <a:lnTo>
                    <a:pt x="161" y="289"/>
                  </a:lnTo>
                  <a:lnTo>
                    <a:pt x="161" y="289"/>
                  </a:lnTo>
                  <a:lnTo>
                    <a:pt x="161" y="287"/>
                  </a:lnTo>
                  <a:lnTo>
                    <a:pt x="161" y="287"/>
                  </a:lnTo>
                  <a:lnTo>
                    <a:pt x="164" y="287"/>
                  </a:lnTo>
                  <a:lnTo>
                    <a:pt x="164" y="172"/>
                  </a:lnTo>
                  <a:lnTo>
                    <a:pt x="161" y="172"/>
                  </a:lnTo>
                  <a:lnTo>
                    <a:pt x="161" y="172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6"/>
                  </a:lnTo>
                  <a:lnTo>
                    <a:pt x="161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6" y="166"/>
                  </a:lnTo>
                  <a:lnTo>
                    <a:pt x="105" y="166"/>
                  </a:lnTo>
                  <a:close/>
                  <a:moveTo>
                    <a:pt x="230" y="13"/>
                  </a:moveTo>
                  <a:lnTo>
                    <a:pt x="289" y="72"/>
                  </a:lnTo>
                  <a:lnTo>
                    <a:pt x="251" y="72"/>
                  </a:lnTo>
                  <a:lnTo>
                    <a:pt x="251" y="282"/>
                  </a:lnTo>
                  <a:lnTo>
                    <a:pt x="207" y="282"/>
                  </a:lnTo>
                  <a:lnTo>
                    <a:pt x="207" y="72"/>
                  </a:lnTo>
                  <a:lnTo>
                    <a:pt x="169" y="72"/>
                  </a:lnTo>
                  <a:lnTo>
                    <a:pt x="230" y="13"/>
                  </a:lnTo>
                  <a:close/>
                  <a:moveTo>
                    <a:pt x="230" y="0"/>
                  </a:move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153" y="72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1" y="74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82"/>
                  </a:lnTo>
                  <a:lnTo>
                    <a:pt x="153" y="82"/>
                  </a:lnTo>
                  <a:lnTo>
                    <a:pt x="156" y="82"/>
                  </a:lnTo>
                  <a:lnTo>
                    <a:pt x="156" y="82"/>
                  </a:lnTo>
                  <a:lnTo>
                    <a:pt x="156" y="82"/>
                  </a:lnTo>
                  <a:lnTo>
                    <a:pt x="197" y="82"/>
                  </a:lnTo>
                  <a:lnTo>
                    <a:pt x="197" y="287"/>
                  </a:lnTo>
                  <a:lnTo>
                    <a:pt x="197" y="287"/>
                  </a:lnTo>
                  <a:lnTo>
                    <a:pt x="197" y="287"/>
                  </a:lnTo>
                  <a:lnTo>
                    <a:pt x="197" y="289"/>
                  </a:lnTo>
                  <a:lnTo>
                    <a:pt x="197" y="289"/>
                  </a:lnTo>
                  <a:lnTo>
                    <a:pt x="200" y="289"/>
                  </a:lnTo>
                  <a:lnTo>
                    <a:pt x="200" y="289"/>
                  </a:lnTo>
                  <a:lnTo>
                    <a:pt x="200" y="292"/>
                  </a:lnTo>
                  <a:lnTo>
                    <a:pt x="200" y="292"/>
                  </a:lnTo>
                  <a:lnTo>
                    <a:pt x="200" y="292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61" y="292"/>
                  </a:lnTo>
                  <a:lnTo>
                    <a:pt x="261" y="289"/>
                  </a:lnTo>
                  <a:lnTo>
                    <a:pt x="261" y="289"/>
                  </a:lnTo>
                  <a:lnTo>
                    <a:pt x="261" y="289"/>
                  </a:lnTo>
                  <a:lnTo>
                    <a:pt x="261" y="289"/>
                  </a:lnTo>
                  <a:lnTo>
                    <a:pt x="261" y="287"/>
                  </a:lnTo>
                  <a:lnTo>
                    <a:pt x="261" y="287"/>
                  </a:lnTo>
                  <a:lnTo>
                    <a:pt x="261" y="287"/>
                  </a:lnTo>
                  <a:lnTo>
                    <a:pt x="261" y="82"/>
                  </a:lnTo>
                  <a:lnTo>
                    <a:pt x="302" y="82"/>
                  </a:lnTo>
                  <a:lnTo>
                    <a:pt x="304" y="82"/>
                  </a:lnTo>
                  <a:lnTo>
                    <a:pt x="304" y="82"/>
                  </a:lnTo>
                  <a:lnTo>
                    <a:pt x="304" y="82"/>
                  </a:lnTo>
                  <a:lnTo>
                    <a:pt x="304" y="82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7" y="77"/>
                  </a:lnTo>
                  <a:lnTo>
                    <a:pt x="307" y="77"/>
                  </a:lnTo>
                  <a:lnTo>
                    <a:pt x="307" y="77"/>
                  </a:lnTo>
                  <a:lnTo>
                    <a:pt x="307" y="74"/>
                  </a:lnTo>
                  <a:lnTo>
                    <a:pt x="307" y="74"/>
                  </a:lnTo>
                  <a:lnTo>
                    <a:pt x="307" y="74"/>
                  </a:lnTo>
                  <a:lnTo>
                    <a:pt x="307" y="72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162085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9C3F8F2-FB85-4034-9E20-1975295CA3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554447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ent Bar Chart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sent Bar Chart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r Chart U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rt Downward Tren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rt Upward Trend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rt Upward Trend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Volume Char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ter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ter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ter 3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eckma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rus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ov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umbs Up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umbs Dow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usical Not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asketbal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otbal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roph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rst Plac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C9BFF8E3-E73B-4AE6-A49A-578D4BB618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228" y="303077"/>
            <a:ext cx="758825" cy="758825"/>
            <a:chOff x="677" y="216"/>
            <a:chExt cx="478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B82AF9C2-48C6-487F-B65C-5A8919C88A8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77" y="21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E7E4625-EABA-4CC9-A328-3A6B94E9F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" y="21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D30D920-5D77-4F06-97CF-3F052E4142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" y="307"/>
              <a:ext cx="211" cy="299"/>
            </a:xfrm>
            <a:custGeom>
              <a:avLst/>
              <a:gdLst>
                <a:gd name="T0" fmla="*/ 110 w 211"/>
                <a:gd name="T1" fmla="*/ 169 h 299"/>
                <a:gd name="T2" fmla="*/ 137 w 211"/>
                <a:gd name="T3" fmla="*/ 90 h 299"/>
                <a:gd name="T4" fmla="*/ 44 w 211"/>
                <a:gd name="T5" fmla="*/ 139 h 299"/>
                <a:gd name="T6" fmla="*/ 137 w 211"/>
                <a:gd name="T7" fmla="*/ 90 h 299"/>
                <a:gd name="T8" fmla="*/ 86 w 211"/>
                <a:gd name="T9" fmla="*/ 61 h 299"/>
                <a:gd name="T10" fmla="*/ 83 w 211"/>
                <a:gd name="T11" fmla="*/ 66 h 299"/>
                <a:gd name="T12" fmla="*/ 86 w 211"/>
                <a:gd name="T13" fmla="*/ 68 h 299"/>
                <a:gd name="T14" fmla="*/ 103 w 211"/>
                <a:gd name="T15" fmla="*/ 71 h 299"/>
                <a:gd name="T16" fmla="*/ 88 w 211"/>
                <a:gd name="T17" fmla="*/ 85 h 299"/>
                <a:gd name="T18" fmla="*/ 59 w 211"/>
                <a:gd name="T19" fmla="*/ 100 h 299"/>
                <a:gd name="T20" fmla="*/ 34 w 211"/>
                <a:gd name="T21" fmla="*/ 110 h 299"/>
                <a:gd name="T22" fmla="*/ 32 w 211"/>
                <a:gd name="T23" fmla="*/ 115 h 299"/>
                <a:gd name="T24" fmla="*/ 32 w 211"/>
                <a:gd name="T25" fmla="*/ 117 h 299"/>
                <a:gd name="T26" fmla="*/ 37 w 211"/>
                <a:gd name="T27" fmla="*/ 120 h 299"/>
                <a:gd name="T28" fmla="*/ 71 w 211"/>
                <a:gd name="T29" fmla="*/ 105 h 299"/>
                <a:gd name="T30" fmla="*/ 95 w 211"/>
                <a:gd name="T31" fmla="*/ 90 h 299"/>
                <a:gd name="T32" fmla="*/ 110 w 211"/>
                <a:gd name="T33" fmla="*/ 93 h 299"/>
                <a:gd name="T34" fmla="*/ 113 w 211"/>
                <a:gd name="T35" fmla="*/ 98 h 299"/>
                <a:gd name="T36" fmla="*/ 115 w 211"/>
                <a:gd name="T37" fmla="*/ 98 h 299"/>
                <a:gd name="T38" fmla="*/ 120 w 211"/>
                <a:gd name="T39" fmla="*/ 95 h 299"/>
                <a:gd name="T40" fmla="*/ 120 w 211"/>
                <a:gd name="T41" fmla="*/ 63 h 299"/>
                <a:gd name="T42" fmla="*/ 117 w 211"/>
                <a:gd name="T43" fmla="*/ 61 h 299"/>
                <a:gd name="T44" fmla="*/ 49 w 211"/>
                <a:gd name="T45" fmla="*/ 14 h 299"/>
                <a:gd name="T46" fmla="*/ 44 w 211"/>
                <a:gd name="T47" fmla="*/ 17 h 299"/>
                <a:gd name="T48" fmla="*/ 46 w 211"/>
                <a:gd name="T49" fmla="*/ 22 h 299"/>
                <a:gd name="T50" fmla="*/ 49 w 211"/>
                <a:gd name="T51" fmla="*/ 22 h 299"/>
                <a:gd name="T52" fmla="*/ 54 w 211"/>
                <a:gd name="T53" fmla="*/ 22 h 299"/>
                <a:gd name="T54" fmla="*/ 54 w 211"/>
                <a:gd name="T55" fmla="*/ 17 h 299"/>
                <a:gd name="T56" fmla="*/ 51 w 211"/>
                <a:gd name="T57" fmla="*/ 14 h 299"/>
                <a:gd name="T58" fmla="*/ 159 w 211"/>
                <a:gd name="T59" fmla="*/ 14 h 299"/>
                <a:gd name="T60" fmla="*/ 157 w 211"/>
                <a:gd name="T61" fmla="*/ 17 h 299"/>
                <a:gd name="T62" fmla="*/ 157 w 211"/>
                <a:gd name="T63" fmla="*/ 19 h 299"/>
                <a:gd name="T64" fmla="*/ 159 w 211"/>
                <a:gd name="T65" fmla="*/ 22 h 299"/>
                <a:gd name="T66" fmla="*/ 164 w 211"/>
                <a:gd name="T67" fmla="*/ 22 h 299"/>
                <a:gd name="T68" fmla="*/ 167 w 211"/>
                <a:gd name="T69" fmla="*/ 17 h 299"/>
                <a:gd name="T70" fmla="*/ 164 w 211"/>
                <a:gd name="T71" fmla="*/ 14 h 299"/>
                <a:gd name="T72" fmla="*/ 201 w 211"/>
                <a:gd name="T73" fmla="*/ 203 h 299"/>
                <a:gd name="T74" fmla="*/ 5 w 211"/>
                <a:gd name="T75" fmla="*/ 0 h 299"/>
                <a:gd name="T76" fmla="*/ 0 w 211"/>
                <a:gd name="T77" fmla="*/ 2 h 299"/>
                <a:gd name="T78" fmla="*/ 0 w 211"/>
                <a:gd name="T79" fmla="*/ 208 h 299"/>
                <a:gd name="T80" fmla="*/ 2 w 211"/>
                <a:gd name="T81" fmla="*/ 213 h 299"/>
                <a:gd name="T82" fmla="*/ 22 w 211"/>
                <a:gd name="T83" fmla="*/ 294 h 299"/>
                <a:gd name="T84" fmla="*/ 24 w 211"/>
                <a:gd name="T85" fmla="*/ 299 h 299"/>
                <a:gd name="T86" fmla="*/ 29 w 211"/>
                <a:gd name="T87" fmla="*/ 299 h 299"/>
                <a:gd name="T88" fmla="*/ 32 w 211"/>
                <a:gd name="T89" fmla="*/ 296 h 299"/>
                <a:gd name="T90" fmla="*/ 100 w 211"/>
                <a:gd name="T91" fmla="*/ 296 h 299"/>
                <a:gd name="T92" fmla="*/ 103 w 211"/>
                <a:gd name="T93" fmla="*/ 299 h 299"/>
                <a:gd name="T94" fmla="*/ 108 w 211"/>
                <a:gd name="T95" fmla="*/ 299 h 299"/>
                <a:gd name="T96" fmla="*/ 110 w 211"/>
                <a:gd name="T97" fmla="*/ 294 h 299"/>
                <a:gd name="T98" fmla="*/ 179 w 211"/>
                <a:gd name="T99" fmla="*/ 296 h 299"/>
                <a:gd name="T100" fmla="*/ 184 w 211"/>
                <a:gd name="T101" fmla="*/ 299 h 299"/>
                <a:gd name="T102" fmla="*/ 186 w 211"/>
                <a:gd name="T103" fmla="*/ 296 h 299"/>
                <a:gd name="T104" fmla="*/ 189 w 211"/>
                <a:gd name="T105" fmla="*/ 294 h 299"/>
                <a:gd name="T106" fmla="*/ 208 w 211"/>
                <a:gd name="T107" fmla="*/ 211 h 299"/>
                <a:gd name="T108" fmla="*/ 211 w 211"/>
                <a:gd name="T109" fmla="*/ 208 h 299"/>
                <a:gd name="T110" fmla="*/ 211 w 211"/>
                <a:gd name="T111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1" h="299">
                  <a:moveTo>
                    <a:pt x="54" y="149"/>
                  </a:moveTo>
                  <a:lnTo>
                    <a:pt x="64" y="149"/>
                  </a:lnTo>
                  <a:lnTo>
                    <a:pt x="64" y="169"/>
                  </a:lnTo>
                  <a:lnTo>
                    <a:pt x="54" y="169"/>
                  </a:lnTo>
                  <a:lnTo>
                    <a:pt x="54" y="149"/>
                  </a:lnTo>
                  <a:close/>
                  <a:moveTo>
                    <a:pt x="100" y="135"/>
                  </a:moveTo>
                  <a:lnTo>
                    <a:pt x="110" y="135"/>
                  </a:lnTo>
                  <a:lnTo>
                    <a:pt x="110" y="169"/>
                  </a:lnTo>
                  <a:lnTo>
                    <a:pt x="100" y="169"/>
                  </a:lnTo>
                  <a:lnTo>
                    <a:pt x="100" y="135"/>
                  </a:lnTo>
                  <a:close/>
                  <a:moveTo>
                    <a:pt x="147" y="100"/>
                  </a:moveTo>
                  <a:lnTo>
                    <a:pt x="157" y="100"/>
                  </a:lnTo>
                  <a:lnTo>
                    <a:pt x="157" y="169"/>
                  </a:lnTo>
                  <a:lnTo>
                    <a:pt x="147" y="169"/>
                  </a:lnTo>
                  <a:lnTo>
                    <a:pt x="147" y="100"/>
                  </a:lnTo>
                  <a:close/>
                  <a:moveTo>
                    <a:pt x="137" y="90"/>
                  </a:moveTo>
                  <a:lnTo>
                    <a:pt x="137" y="169"/>
                  </a:lnTo>
                  <a:lnTo>
                    <a:pt x="120" y="169"/>
                  </a:lnTo>
                  <a:lnTo>
                    <a:pt x="120" y="125"/>
                  </a:lnTo>
                  <a:lnTo>
                    <a:pt x="91" y="125"/>
                  </a:lnTo>
                  <a:lnTo>
                    <a:pt x="91" y="169"/>
                  </a:lnTo>
                  <a:lnTo>
                    <a:pt x="73" y="169"/>
                  </a:lnTo>
                  <a:lnTo>
                    <a:pt x="73" y="139"/>
                  </a:lnTo>
                  <a:lnTo>
                    <a:pt x="44" y="139"/>
                  </a:lnTo>
                  <a:lnTo>
                    <a:pt x="44" y="169"/>
                  </a:lnTo>
                  <a:lnTo>
                    <a:pt x="32" y="169"/>
                  </a:lnTo>
                  <a:lnTo>
                    <a:pt x="32" y="179"/>
                  </a:lnTo>
                  <a:lnTo>
                    <a:pt x="179" y="179"/>
                  </a:lnTo>
                  <a:lnTo>
                    <a:pt x="179" y="169"/>
                  </a:lnTo>
                  <a:lnTo>
                    <a:pt x="167" y="169"/>
                  </a:lnTo>
                  <a:lnTo>
                    <a:pt x="167" y="90"/>
                  </a:lnTo>
                  <a:lnTo>
                    <a:pt x="137" y="90"/>
                  </a:lnTo>
                  <a:close/>
                  <a:moveTo>
                    <a:pt x="115" y="61"/>
                  </a:move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0" y="73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5" y="78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88" y="83"/>
                  </a:lnTo>
                  <a:lnTo>
                    <a:pt x="88" y="85"/>
                  </a:lnTo>
                  <a:lnTo>
                    <a:pt x="86" y="85"/>
                  </a:lnTo>
                  <a:lnTo>
                    <a:pt x="83" y="88"/>
                  </a:lnTo>
                  <a:lnTo>
                    <a:pt x="81" y="88"/>
                  </a:lnTo>
                  <a:lnTo>
                    <a:pt x="76" y="93"/>
                  </a:lnTo>
                  <a:lnTo>
                    <a:pt x="71" y="95"/>
                  </a:lnTo>
                  <a:lnTo>
                    <a:pt x="66" y="98"/>
                  </a:lnTo>
                  <a:lnTo>
                    <a:pt x="64" y="100"/>
                  </a:lnTo>
                  <a:lnTo>
                    <a:pt x="59" y="100"/>
                  </a:lnTo>
                  <a:lnTo>
                    <a:pt x="54" y="103"/>
                  </a:lnTo>
                  <a:lnTo>
                    <a:pt x="49" y="105"/>
                  </a:lnTo>
                  <a:lnTo>
                    <a:pt x="44" y="108"/>
                  </a:lnTo>
                  <a:lnTo>
                    <a:pt x="39" y="108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4" y="117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41" y="117"/>
                  </a:lnTo>
                  <a:lnTo>
                    <a:pt x="46" y="115"/>
                  </a:lnTo>
                  <a:lnTo>
                    <a:pt x="51" y="115"/>
                  </a:lnTo>
                  <a:lnTo>
                    <a:pt x="56" y="112"/>
                  </a:lnTo>
                  <a:lnTo>
                    <a:pt x="61" y="110"/>
                  </a:lnTo>
                  <a:lnTo>
                    <a:pt x="66" y="108"/>
                  </a:lnTo>
                  <a:lnTo>
                    <a:pt x="71" y="105"/>
                  </a:lnTo>
                  <a:lnTo>
                    <a:pt x="76" y="103"/>
                  </a:lnTo>
                  <a:lnTo>
                    <a:pt x="81" y="100"/>
                  </a:lnTo>
                  <a:lnTo>
                    <a:pt x="86" y="98"/>
                  </a:lnTo>
                  <a:lnTo>
                    <a:pt x="88" y="95"/>
                  </a:lnTo>
                  <a:lnTo>
                    <a:pt x="91" y="95"/>
                  </a:lnTo>
                  <a:lnTo>
                    <a:pt x="93" y="93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8" y="88"/>
                  </a:lnTo>
                  <a:lnTo>
                    <a:pt x="100" y="85"/>
                  </a:lnTo>
                  <a:lnTo>
                    <a:pt x="103" y="85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8" y="81"/>
                  </a:lnTo>
                  <a:lnTo>
                    <a:pt x="110" y="78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66"/>
                  </a:lnTo>
                  <a:lnTo>
                    <a:pt x="120" y="66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close/>
                  <a:moveTo>
                    <a:pt x="49" y="12"/>
                  </a:moveTo>
                  <a:lnTo>
                    <a:pt x="49" y="12"/>
                  </a:lnTo>
                  <a:lnTo>
                    <a:pt x="49" y="12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49" y="12"/>
                  </a:lnTo>
                  <a:close/>
                  <a:moveTo>
                    <a:pt x="162" y="12"/>
                  </a:moveTo>
                  <a:lnTo>
                    <a:pt x="159" y="12"/>
                  </a:lnTo>
                  <a:lnTo>
                    <a:pt x="159" y="12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2" y="12"/>
                  </a:lnTo>
                  <a:close/>
                  <a:moveTo>
                    <a:pt x="10" y="36"/>
                  </a:moveTo>
                  <a:lnTo>
                    <a:pt x="201" y="36"/>
                  </a:lnTo>
                  <a:lnTo>
                    <a:pt x="201" y="203"/>
                  </a:lnTo>
                  <a:lnTo>
                    <a:pt x="10" y="203"/>
                  </a:lnTo>
                  <a:lnTo>
                    <a:pt x="10" y="36"/>
                  </a:lnTo>
                  <a:close/>
                  <a:moveTo>
                    <a:pt x="10" y="9"/>
                  </a:moveTo>
                  <a:lnTo>
                    <a:pt x="201" y="9"/>
                  </a:lnTo>
                  <a:lnTo>
                    <a:pt x="201" y="27"/>
                  </a:lnTo>
                  <a:lnTo>
                    <a:pt x="10" y="27"/>
                  </a:lnTo>
                  <a:lnTo>
                    <a:pt x="10" y="9"/>
                  </a:lnTo>
                  <a:close/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2" y="211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5" y="213"/>
                  </a:lnTo>
                  <a:lnTo>
                    <a:pt x="5" y="213"/>
                  </a:lnTo>
                  <a:lnTo>
                    <a:pt x="44" y="213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24" y="296"/>
                  </a:lnTo>
                  <a:lnTo>
                    <a:pt x="24" y="296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32" y="299"/>
                  </a:lnTo>
                  <a:lnTo>
                    <a:pt x="32" y="299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54" y="213"/>
                  </a:lnTo>
                  <a:lnTo>
                    <a:pt x="100" y="213"/>
                  </a:lnTo>
                  <a:lnTo>
                    <a:pt x="100" y="294"/>
                  </a:lnTo>
                  <a:lnTo>
                    <a:pt x="100" y="294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13"/>
                  </a:lnTo>
                  <a:lnTo>
                    <a:pt x="157" y="213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6"/>
                  </a:lnTo>
                  <a:lnTo>
                    <a:pt x="186" y="296"/>
                  </a:lnTo>
                  <a:lnTo>
                    <a:pt x="189" y="296"/>
                  </a:lnTo>
                  <a:lnTo>
                    <a:pt x="189" y="296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67" y="213"/>
                  </a:lnTo>
                  <a:lnTo>
                    <a:pt x="206" y="213"/>
                  </a:lnTo>
                  <a:lnTo>
                    <a:pt x="206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9D88C70-03A5-4E86-BAEE-AFE12F400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" y="307"/>
              <a:ext cx="211" cy="299"/>
            </a:xfrm>
            <a:custGeom>
              <a:avLst/>
              <a:gdLst>
                <a:gd name="T0" fmla="*/ 110 w 211"/>
                <a:gd name="T1" fmla="*/ 169 h 299"/>
                <a:gd name="T2" fmla="*/ 137 w 211"/>
                <a:gd name="T3" fmla="*/ 90 h 299"/>
                <a:gd name="T4" fmla="*/ 44 w 211"/>
                <a:gd name="T5" fmla="*/ 139 h 299"/>
                <a:gd name="T6" fmla="*/ 137 w 211"/>
                <a:gd name="T7" fmla="*/ 90 h 299"/>
                <a:gd name="T8" fmla="*/ 86 w 211"/>
                <a:gd name="T9" fmla="*/ 61 h 299"/>
                <a:gd name="T10" fmla="*/ 83 w 211"/>
                <a:gd name="T11" fmla="*/ 66 h 299"/>
                <a:gd name="T12" fmla="*/ 86 w 211"/>
                <a:gd name="T13" fmla="*/ 68 h 299"/>
                <a:gd name="T14" fmla="*/ 103 w 211"/>
                <a:gd name="T15" fmla="*/ 71 h 299"/>
                <a:gd name="T16" fmla="*/ 88 w 211"/>
                <a:gd name="T17" fmla="*/ 85 h 299"/>
                <a:gd name="T18" fmla="*/ 59 w 211"/>
                <a:gd name="T19" fmla="*/ 100 h 299"/>
                <a:gd name="T20" fmla="*/ 34 w 211"/>
                <a:gd name="T21" fmla="*/ 110 h 299"/>
                <a:gd name="T22" fmla="*/ 32 w 211"/>
                <a:gd name="T23" fmla="*/ 115 h 299"/>
                <a:gd name="T24" fmla="*/ 32 w 211"/>
                <a:gd name="T25" fmla="*/ 117 h 299"/>
                <a:gd name="T26" fmla="*/ 37 w 211"/>
                <a:gd name="T27" fmla="*/ 120 h 299"/>
                <a:gd name="T28" fmla="*/ 71 w 211"/>
                <a:gd name="T29" fmla="*/ 105 h 299"/>
                <a:gd name="T30" fmla="*/ 95 w 211"/>
                <a:gd name="T31" fmla="*/ 90 h 299"/>
                <a:gd name="T32" fmla="*/ 110 w 211"/>
                <a:gd name="T33" fmla="*/ 93 h 299"/>
                <a:gd name="T34" fmla="*/ 113 w 211"/>
                <a:gd name="T35" fmla="*/ 98 h 299"/>
                <a:gd name="T36" fmla="*/ 115 w 211"/>
                <a:gd name="T37" fmla="*/ 98 h 299"/>
                <a:gd name="T38" fmla="*/ 120 w 211"/>
                <a:gd name="T39" fmla="*/ 95 h 299"/>
                <a:gd name="T40" fmla="*/ 120 w 211"/>
                <a:gd name="T41" fmla="*/ 63 h 299"/>
                <a:gd name="T42" fmla="*/ 117 w 211"/>
                <a:gd name="T43" fmla="*/ 61 h 299"/>
                <a:gd name="T44" fmla="*/ 49 w 211"/>
                <a:gd name="T45" fmla="*/ 14 h 299"/>
                <a:gd name="T46" fmla="*/ 44 w 211"/>
                <a:gd name="T47" fmla="*/ 17 h 299"/>
                <a:gd name="T48" fmla="*/ 46 w 211"/>
                <a:gd name="T49" fmla="*/ 22 h 299"/>
                <a:gd name="T50" fmla="*/ 49 w 211"/>
                <a:gd name="T51" fmla="*/ 22 h 299"/>
                <a:gd name="T52" fmla="*/ 54 w 211"/>
                <a:gd name="T53" fmla="*/ 22 h 299"/>
                <a:gd name="T54" fmla="*/ 54 w 211"/>
                <a:gd name="T55" fmla="*/ 17 h 299"/>
                <a:gd name="T56" fmla="*/ 51 w 211"/>
                <a:gd name="T57" fmla="*/ 14 h 299"/>
                <a:gd name="T58" fmla="*/ 159 w 211"/>
                <a:gd name="T59" fmla="*/ 14 h 299"/>
                <a:gd name="T60" fmla="*/ 157 w 211"/>
                <a:gd name="T61" fmla="*/ 17 h 299"/>
                <a:gd name="T62" fmla="*/ 157 w 211"/>
                <a:gd name="T63" fmla="*/ 19 h 299"/>
                <a:gd name="T64" fmla="*/ 159 w 211"/>
                <a:gd name="T65" fmla="*/ 22 h 299"/>
                <a:gd name="T66" fmla="*/ 164 w 211"/>
                <a:gd name="T67" fmla="*/ 22 h 299"/>
                <a:gd name="T68" fmla="*/ 167 w 211"/>
                <a:gd name="T69" fmla="*/ 17 h 299"/>
                <a:gd name="T70" fmla="*/ 164 w 211"/>
                <a:gd name="T71" fmla="*/ 14 h 299"/>
                <a:gd name="T72" fmla="*/ 201 w 211"/>
                <a:gd name="T73" fmla="*/ 203 h 299"/>
                <a:gd name="T74" fmla="*/ 5 w 211"/>
                <a:gd name="T75" fmla="*/ 0 h 299"/>
                <a:gd name="T76" fmla="*/ 0 w 211"/>
                <a:gd name="T77" fmla="*/ 2 h 299"/>
                <a:gd name="T78" fmla="*/ 0 w 211"/>
                <a:gd name="T79" fmla="*/ 208 h 299"/>
                <a:gd name="T80" fmla="*/ 2 w 211"/>
                <a:gd name="T81" fmla="*/ 213 h 299"/>
                <a:gd name="T82" fmla="*/ 22 w 211"/>
                <a:gd name="T83" fmla="*/ 294 h 299"/>
                <a:gd name="T84" fmla="*/ 24 w 211"/>
                <a:gd name="T85" fmla="*/ 299 h 299"/>
                <a:gd name="T86" fmla="*/ 29 w 211"/>
                <a:gd name="T87" fmla="*/ 299 h 299"/>
                <a:gd name="T88" fmla="*/ 32 w 211"/>
                <a:gd name="T89" fmla="*/ 296 h 299"/>
                <a:gd name="T90" fmla="*/ 100 w 211"/>
                <a:gd name="T91" fmla="*/ 296 h 299"/>
                <a:gd name="T92" fmla="*/ 103 w 211"/>
                <a:gd name="T93" fmla="*/ 299 h 299"/>
                <a:gd name="T94" fmla="*/ 108 w 211"/>
                <a:gd name="T95" fmla="*/ 299 h 299"/>
                <a:gd name="T96" fmla="*/ 110 w 211"/>
                <a:gd name="T97" fmla="*/ 294 h 299"/>
                <a:gd name="T98" fmla="*/ 179 w 211"/>
                <a:gd name="T99" fmla="*/ 296 h 299"/>
                <a:gd name="T100" fmla="*/ 184 w 211"/>
                <a:gd name="T101" fmla="*/ 299 h 299"/>
                <a:gd name="T102" fmla="*/ 186 w 211"/>
                <a:gd name="T103" fmla="*/ 296 h 299"/>
                <a:gd name="T104" fmla="*/ 189 w 211"/>
                <a:gd name="T105" fmla="*/ 294 h 299"/>
                <a:gd name="T106" fmla="*/ 208 w 211"/>
                <a:gd name="T107" fmla="*/ 211 h 299"/>
                <a:gd name="T108" fmla="*/ 211 w 211"/>
                <a:gd name="T109" fmla="*/ 208 h 299"/>
                <a:gd name="T110" fmla="*/ 211 w 211"/>
                <a:gd name="T111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1" h="299">
                  <a:moveTo>
                    <a:pt x="54" y="149"/>
                  </a:moveTo>
                  <a:lnTo>
                    <a:pt x="64" y="149"/>
                  </a:lnTo>
                  <a:lnTo>
                    <a:pt x="64" y="169"/>
                  </a:lnTo>
                  <a:lnTo>
                    <a:pt x="54" y="169"/>
                  </a:lnTo>
                  <a:lnTo>
                    <a:pt x="54" y="149"/>
                  </a:lnTo>
                  <a:close/>
                  <a:moveTo>
                    <a:pt x="100" y="135"/>
                  </a:moveTo>
                  <a:lnTo>
                    <a:pt x="110" y="135"/>
                  </a:lnTo>
                  <a:lnTo>
                    <a:pt x="110" y="169"/>
                  </a:lnTo>
                  <a:lnTo>
                    <a:pt x="100" y="169"/>
                  </a:lnTo>
                  <a:lnTo>
                    <a:pt x="100" y="135"/>
                  </a:lnTo>
                  <a:close/>
                  <a:moveTo>
                    <a:pt x="147" y="100"/>
                  </a:moveTo>
                  <a:lnTo>
                    <a:pt x="157" y="100"/>
                  </a:lnTo>
                  <a:lnTo>
                    <a:pt x="157" y="169"/>
                  </a:lnTo>
                  <a:lnTo>
                    <a:pt x="147" y="169"/>
                  </a:lnTo>
                  <a:lnTo>
                    <a:pt x="147" y="100"/>
                  </a:lnTo>
                  <a:close/>
                  <a:moveTo>
                    <a:pt x="137" y="90"/>
                  </a:moveTo>
                  <a:lnTo>
                    <a:pt x="137" y="169"/>
                  </a:lnTo>
                  <a:lnTo>
                    <a:pt x="120" y="169"/>
                  </a:lnTo>
                  <a:lnTo>
                    <a:pt x="120" y="125"/>
                  </a:lnTo>
                  <a:lnTo>
                    <a:pt x="91" y="125"/>
                  </a:lnTo>
                  <a:lnTo>
                    <a:pt x="91" y="169"/>
                  </a:lnTo>
                  <a:lnTo>
                    <a:pt x="73" y="169"/>
                  </a:lnTo>
                  <a:lnTo>
                    <a:pt x="73" y="139"/>
                  </a:lnTo>
                  <a:lnTo>
                    <a:pt x="44" y="139"/>
                  </a:lnTo>
                  <a:lnTo>
                    <a:pt x="44" y="169"/>
                  </a:lnTo>
                  <a:lnTo>
                    <a:pt x="32" y="169"/>
                  </a:lnTo>
                  <a:lnTo>
                    <a:pt x="32" y="179"/>
                  </a:lnTo>
                  <a:lnTo>
                    <a:pt x="179" y="179"/>
                  </a:lnTo>
                  <a:lnTo>
                    <a:pt x="179" y="169"/>
                  </a:lnTo>
                  <a:lnTo>
                    <a:pt x="167" y="169"/>
                  </a:lnTo>
                  <a:lnTo>
                    <a:pt x="167" y="90"/>
                  </a:lnTo>
                  <a:lnTo>
                    <a:pt x="137" y="90"/>
                  </a:lnTo>
                  <a:close/>
                  <a:moveTo>
                    <a:pt x="115" y="61"/>
                  </a:move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68"/>
                  </a:lnTo>
                  <a:lnTo>
                    <a:pt x="86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0" y="73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5" y="78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88" y="83"/>
                  </a:lnTo>
                  <a:lnTo>
                    <a:pt x="88" y="85"/>
                  </a:lnTo>
                  <a:lnTo>
                    <a:pt x="86" y="85"/>
                  </a:lnTo>
                  <a:lnTo>
                    <a:pt x="83" y="88"/>
                  </a:lnTo>
                  <a:lnTo>
                    <a:pt x="81" y="88"/>
                  </a:lnTo>
                  <a:lnTo>
                    <a:pt x="76" y="93"/>
                  </a:lnTo>
                  <a:lnTo>
                    <a:pt x="71" y="95"/>
                  </a:lnTo>
                  <a:lnTo>
                    <a:pt x="66" y="98"/>
                  </a:lnTo>
                  <a:lnTo>
                    <a:pt x="64" y="100"/>
                  </a:lnTo>
                  <a:lnTo>
                    <a:pt x="59" y="100"/>
                  </a:lnTo>
                  <a:lnTo>
                    <a:pt x="54" y="103"/>
                  </a:lnTo>
                  <a:lnTo>
                    <a:pt x="49" y="105"/>
                  </a:lnTo>
                  <a:lnTo>
                    <a:pt x="44" y="108"/>
                  </a:lnTo>
                  <a:lnTo>
                    <a:pt x="39" y="108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4" y="117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41" y="117"/>
                  </a:lnTo>
                  <a:lnTo>
                    <a:pt x="46" y="115"/>
                  </a:lnTo>
                  <a:lnTo>
                    <a:pt x="51" y="115"/>
                  </a:lnTo>
                  <a:lnTo>
                    <a:pt x="56" y="112"/>
                  </a:lnTo>
                  <a:lnTo>
                    <a:pt x="61" y="110"/>
                  </a:lnTo>
                  <a:lnTo>
                    <a:pt x="66" y="108"/>
                  </a:lnTo>
                  <a:lnTo>
                    <a:pt x="71" y="105"/>
                  </a:lnTo>
                  <a:lnTo>
                    <a:pt x="76" y="103"/>
                  </a:lnTo>
                  <a:lnTo>
                    <a:pt x="81" y="100"/>
                  </a:lnTo>
                  <a:lnTo>
                    <a:pt x="86" y="98"/>
                  </a:lnTo>
                  <a:lnTo>
                    <a:pt x="88" y="95"/>
                  </a:lnTo>
                  <a:lnTo>
                    <a:pt x="91" y="95"/>
                  </a:lnTo>
                  <a:lnTo>
                    <a:pt x="93" y="93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8" y="88"/>
                  </a:lnTo>
                  <a:lnTo>
                    <a:pt x="100" y="85"/>
                  </a:lnTo>
                  <a:lnTo>
                    <a:pt x="103" y="85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8" y="81"/>
                  </a:lnTo>
                  <a:lnTo>
                    <a:pt x="110" y="78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66"/>
                  </a:lnTo>
                  <a:lnTo>
                    <a:pt x="120" y="66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close/>
                  <a:moveTo>
                    <a:pt x="49" y="12"/>
                  </a:moveTo>
                  <a:lnTo>
                    <a:pt x="49" y="12"/>
                  </a:lnTo>
                  <a:lnTo>
                    <a:pt x="49" y="12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49" y="12"/>
                  </a:lnTo>
                  <a:close/>
                  <a:moveTo>
                    <a:pt x="162" y="12"/>
                  </a:moveTo>
                  <a:lnTo>
                    <a:pt x="159" y="12"/>
                  </a:lnTo>
                  <a:lnTo>
                    <a:pt x="159" y="12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9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2" y="12"/>
                  </a:lnTo>
                  <a:close/>
                  <a:moveTo>
                    <a:pt x="10" y="36"/>
                  </a:moveTo>
                  <a:lnTo>
                    <a:pt x="201" y="36"/>
                  </a:lnTo>
                  <a:lnTo>
                    <a:pt x="201" y="203"/>
                  </a:lnTo>
                  <a:lnTo>
                    <a:pt x="10" y="203"/>
                  </a:lnTo>
                  <a:lnTo>
                    <a:pt x="10" y="36"/>
                  </a:lnTo>
                  <a:close/>
                  <a:moveTo>
                    <a:pt x="10" y="9"/>
                  </a:moveTo>
                  <a:lnTo>
                    <a:pt x="201" y="9"/>
                  </a:lnTo>
                  <a:lnTo>
                    <a:pt x="201" y="27"/>
                  </a:lnTo>
                  <a:lnTo>
                    <a:pt x="10" y="27"/>
                  </a:lnTo>
                  <a:lnTo>
                    <a:pt x="10" y="9"/>
                  </a:lnTo>
                  <a:close/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2" y="211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5" y="213"/>
                  </a:lnTo>
                  <a:lnTo>
                    <a:pt x="5" y="213"/>
                  </a:lnTo>
                  <a:lnTo>
                    <a:pt x="44" y="213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24" y="296"/>
                  </a:lnTo>
                  <a:lnTo>
                    <a:pt x="24" y="296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4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32" y="299"/>
                  </a:lnTo>
                  <a:lnTo>
                    <a:pt x="32" y="299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32" y="296"/>
                  </a:lnTo>
                  <a:lnTo>
                    <a:pt x="54" y="213"/>
                  </a:lnTo>
                  <a:lnTo>
                    <a:pt x="100" y="213"/>
                  </a:lnTo>
                  <a:lnTo>
                    <a:pt x="100" y="294"/>
                  </a:lnTo>
                  <a:lnTo>
                    <a:pt x="100" y="294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13"/>
                  </a:lnTo>
                  <a:lnTo>
                    <a:pt x="157" y="213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6"/>
                  </a:lnTo>
                  <a:lnTo>
                    <a:pt x="179" y="299"/>
                  </a:lnTo>
                  <a:lnTo>
                    <a:pt x="179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1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6"/>
                  </a:lnTo>
                  <a:lnTo>
                    <a:pt x="186" y="296"/>
                  </a:lnTo>
                  <a:lnTo>
                    <a:pt x="189" y="296"/>
                  </a:lnTo>
                  <a:lnTo>
                    <a:pt x="189" y="296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89" y="294"/>
                  </a:lnTo>
                  <a:lnTo>
                    <a:pt x="167" y="213"/>
                  </a:lnTo>
                  <a:lnTo>
                    <a:pt x="206" y="213"/>
                  </a:lnTo>
                  <a:lnTo>
                    <a:pt x="206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208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0">
            <a:extLst>
              <a:ext uri="{FF2B5EF4-FFF2-40B4-BE49-F238E27FC236}">
                <a16:creationId xmlns:a16="http://schemas.microsoft.com/office/drawing/2014/main" id="{870C98B4-6C9A-48DC-8322-237BBAC9A6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21" y="261802"/>
            <a:ext cx="841375" cy="841375"/>
            <a:chOff x="159" y="216"/>
            <a:chExt cx="530" cy="530"/>
          </a:xfrm>
        </p:grpSpPr>
        <p:sp>
          <p:nvSpPr>
            <p:cNvPr id="13" name="AutoShape 9">
              <a:extLst>
                <a:ext uri="{FF2B5EF4-FFF2-40B4-BE49-F238E27FC236}">
                  <a16:creationId xmlns:a16="http://schemas.microsoft.com/office/drawing/2014/main" id="{BB038885-DAA6-4360-8D9B-E861AF3BA7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9" y="21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2995EA60-1C0B-426C-B95E-BF434DE48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" y="21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1040F400-1C66-43B4-9A94-B5CD0D0367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" y="23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F27E87EF-ED23-49DA-968D-A3229FEFD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" y="326"/>
              <a:ext cx="220" cy="312"/>
            </a:xfrm>
            <a:custGeom>
              <a:avLst/>
              <a:gdLst>
                <a:gd name="T0" fmla="*/ 115 w 220"/>
                <a:gd name="T1" fmla="*/ 177 h 312"/>
                <a:gd name="T2" fmla="*/ 143 w 220"/>
                <a:gd name="T3" fmla="*/ 95 h 312"/>
                <a:gd name="T4" fmla="*/ 46 w 220"/>
                <a:gd name="T5" fmla="*/ 146 h 312"/>
                <a:gd name="T6" fmla="*/ 143 w 220"/>
                <a:gd name="T7" fmla="*/ 95 h 312"/>
                <a:gd name="T8" fmla="*/ 90 w 220"/>
                <a:gd name="T9" fmla="*/ 64 h 312"/>
                <a:gd name="T10" fmla="*/ 87 w 220"/>
                <a:gd name="T11" fmla="*/ 69 h 312"/>
                <a:gd name="T12" fmla="*/ 90 w 220"/>
                <a:gd name="T13" fmla="*/ 72 h 312"/>
                <a:gd name="T14" fmla="*/ 108 w 220"/>
                <a:gd name="T15" fmla="*/ 74 h 312"/>
                <a:gd name="T16" fmla="*/ 92 w 220"/>
                <a:gd name="T17" fmla="*/ 90 h 312"/>
                <a:gd name="T18" fmla="*/ 62 w 220"/>
                <a:gd name="T19" fmla="*/ 105 h 312"/>
                <a:gd name="T20" fmla="*/ 36 w 220"/>
                <a:gd name="T21" fmla="*/ 115 h 312"/>
                <a:gd name="T22" fmla="*/ 33 w 220"/>
                <a:gd name="T23" fmla="*/ 120 h 312"/>
                <a:gd name="T24" fmla="*/ 33 w 220"/>
                <a:gd name="T25" fmla="*/ 123 h 312"/>
                <a:gd name="T26" fmla="*/ 38 w 220"/>
                <a:gd name="T27" fmla="*/ 125 h 312"/>
                <a:gd name="T28" fmla="*/ 74 w 220"/>
                <a:gd name="T29" fmla="*/ 110 h 312"/>
                <a:gd name="T30" fmla="*/ 100 w 220"/>
                <a:gd name="T31" fmla="*/ 95 h 312"/>
                <a:gd name="T32" fmla="*/ 115 w 220"/>
                <a:gd name="T33" fmla="*/ 97 h 312"/>
                <a:gd name="T34" fmla="*/ 118 w 220"/>
                <a:gd name="T35" fmla="*/ 102 h 312"/>
                <a:gd name="T36" fmla="*/ 120 w 220"/>
                <a:gd name="T37" fmla="*/ 102 h 312"/>
                <a:gd name="T38" fmla="*/ 126 w 220"/>
                <a:gd name="T39" fmla="*/ 100 h 312"/>
                <a:gd name="T40" fmla="*/ 126 w 220"/>
                <a:gd name="T41" fmla="*/ 67 h 312"/>
                <a:gd name="T42" fmla="*/ 123 w 220"/>
                <a:gd name="T43" fmla="*/ 64 h 312"/>
                <a:gd name="T44" fmla="*/ 51 w 220"/>
                <a:gd name="T45" fmla="*/ 15 h 312"/>
                <a:gd name="T46" fmla="*/ 46 w 220"/>
                <a:gd name="T47" fmla="*/ 18 h 312"/>
                <a:gd name="T48" fmla="*/ 49 w 220"/>
                <a:gd name="T49" fmla="*/ 23 h 312"/>
                <a:gd name="T50" fmla="*/ 51 w 220"/>
                <a:gd name="T51" fmla="*/ 23 h 312"/>
                <a:gd name="T52" fmla="*/ 56 w 220"/>
                <a:gd name="T53" fmla="*/ 23 h 312"/>
                <a:gd name="T54" fmla="*/ 56 w 220"/>
                <a:gd name="T55" fmla="*/ 18 h 312"/>
                <a:gd name="T56" fmla="*/ 54 w 220"/>
                <a:gd name="T57" fmla="*/ 15 h 312"/>
                <a:gd name="T58" fmla="*/ 167 w 220"/>
                <a:gd name="T59" fmla="*/ 15 h 312"/>
                <a:gd name="T60" fmla="*/ 164 w 220"/>
                <a:gd name="T61" fmla="*/ 18 h 312"/>
                <a:gd name="T62" fmla="*/ 164 w 220"/>
                <a:gd name="T63" fmla="*/ 20 h 312"/>
                <a:gd name="T64" fmla="*/ 167 w 220"/>
                <a:gd name="T65" fmla="*/ 23 h 312"/>
                <a:gd name="T66" fmla="*/ 172 w 220"/>
                <a:gd name="T67" fmla="*/ 23 h 312"/>
                <a:gd name="T68" fmla="*/ 174 w 220"/>
                <a:gd name="T69" fmla="*/ 18 h 312"/>
                <a:gd name="T70" fmla="*/ 172 w 220"/>
                <a:gd name="T71" fmla="*/ 15 h 312"/>
                <a:gd name="T72" fmla="*/ 210 w 220"/>
                <a:gd name="T73" fmla="*/ 213 h 312"/>
                <a:gd name="T74" fmla="*/ 5 w 220"/>
                <a:gd name="T75" fmla="*/ 0 h 312"/>
                <a:gd name="T76" fmla="*/ 0 w 220"/>
                <a:gd name="T77" fmla="*/ 3 h 312"/>
                <a:gd name="T78" fmla="*/ 0 w 220"/>
                <a:gd name="T79" fmla="*/ 218 h 312"/>
                <a:gd name="T80" fmla="*/ 3 w 220"/>
                <a:gd name="T81" fmla="*/ 223 h 312"/>
                <a:gd name="T82" fmla="*/ 23 w 220"/>
                <a:gd name="T83" fmla="*/ 307 h 312"/>
                <a:gd name="T84" fmla="*/ 26 w 220"/>
                <a:gd name="T85" fmla="*/ 312 h 312"/>
                <a:gd name="T86" fmla="*/ 31 w 220"/>
                <a:gd name="T87" fmla="*/ 312 h 312"/>
                <a:gd name="T88" fmla="*/ 33 w 220"/>
                <a:gd name="T89" fmla="*/ 310 h 312"/>
                <a:gd name="T90" fmla="*/ 105 w 220"/>
                <a:gd name="T91" fmla="*/ 310 h 312"/>
                <a:gd name="T92" fmla="*/ 108 w 220"/>
                <a:gd name="T93" fmla="*/ 312 h 312"/>
                <a:gd name="T94" fmla="*/ 113 w 220"/>
                <a:gd name="T95" fmla="*/ 312 h 312"/>
                <a:gd name="T96" fmla="*/ 115 w 220"/>
                <a:gd name="T97" fmla="*/ 307 h 312"/>
                <a:gd name="T98" fmla="*/ 187 w 220"/>
                <a:gd name="T99" fmla="*/ 310 h 312"/>
                <a:gd name="T100" fmla="*/ 192 w 220"/>
                <a:gd name="T101" fmla="*/ 312 h 312"/>
                <a:gd name="T102" fmla="*/ 195 w 220"/>
                <a:gd name="T103" fmla="*/ 310 h 312"/>
                <a:gd name="T104" fmla="*/ 197 w 220"/>
                <a:gd name="T105" fmla="*/ 307 h 312"/>
                <a:gd name="T106" fmla="*/ 218 w 220"/>
                <a:gd name="T107" fmla="*/ 220 h 312"/>
                <a:gd name="T108" fmla="*/ 220 w 220"/>
                <a:gd name="T109" fmla="*/ 218 h 312"/>
                <a:gd name="T110" fmla="*/ 220 w 220"/>
                <a:gd name="T111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0" h="312">
                  <a:moveTo>
                    <a:pt x="56" y="156"/>
                  </a:moveTo>
                  <a:lnTo>
                    <a:pt x="67" y="156"/>
                  </a:lnTo>
                  <a:lnTo>
                    <a:pt x="67" y="177"/>
                  </a:lnTo>
                  <a:lnTo>
                    <a:pt x="56" y="177"/>
                  </a:lnTo>
                  <a:lnTo>
                    <a:pt x="56" y="156"/>
                  </a:lnTo>
                  <a:close/>
                  <a:moveTo>
                    <a:pt x="105" y="141"/>
                  </a:moveTo>
                  <a:lnTo>
                    <a:pt x="115" y="141"/>
                  </a:lnTo>
                  <a:lnTo>
                    <a:pt x="115" y="177"/>
                  </a:lnTo>
                  <a:lnTo>
                    <a:pt x="105" y="177"/>
                  </a:lnTo>
                  <a:lnTo>
                    <a:pt x="105" y="141"/>
                  </a:lnTo>
                  <a:close/>
                  <a:moveTo>
                    <a:pt x="154" y="105"/>
                  </a:moveTo>
                  <a:lnTo>
                    <a:pt x="164" y="105"/>
                  </a:lnTo>
                  <a:lnTo>
                    <a:pt x="164" y="177"/>
                  </a:lnTo>
                  <a:lnTo>
                    <a:pt x="154" y="177"/>
                  </a:lnTo>
                  <a:lnTo>
                    <a:pt x="154" y="105"/>
                  </a:lnTo>
                  <a:close/>
                  <a:moveTo>
                    <a:pt x="143" y="95"/>
                  </a:moveTo>
                  <a:lnTo>
                    <a:pt x="143" y="177"/>
                  </a:lnTo>
                  <a:lnTo>
                    <a:pt x="126" y="177"/>
                  </a:lnTo>
                  <a:lnTo>
                    <a:pt x="126" y="131"/>
                  </a:lnTo>
                  <a:lnTo>
                    <a:pt x="95" y="131"/>
                  </a:lnTo>
                  <a:lnTo>
                    <a:pt x="95" y="177"/>
                  </a:lnTo>
                  <a:lnTo>
                    <a:pt x="77" y="177"/>
                  </a:lnTo>
                  <a:lnTo>
                    <a:pt x="77" y="146"/>
                  </a:lnTo>
                  <a:lnTo>
                    <a:pt x="46" y="146"/>
                  </a:lnTo>
                  <a:lnTo>
                    <a:pt x="46" y="177"/>
                  </a:lnTo>
                  <a:lnTo>
                    <a:pt x="33" y="177"/>
                  </a:lnTo>
                  <a:lnTo>
                    <a:pt x="33" y="187"/>
                  </a:lnTo>
                  <a:lnTo>
                    <a:pt x="187" y="187"/>
                  </a:lnTo>
                  <a:lnTo>
                    <a:pt x="187" y="177"/>
                  </a:lnTo>
                  <a:lnTo>
                    <a:pt x="174" y="177"/>
                  </a:lnTo>
                  <a:lnTo>
                    <a:pt x="174" y="95"/>
                  </a:lnTo>
                  <a:lnTo>
                    <a:pt x="143" y="95"/>
                  </a:lnTo>
                  <a:close/>
                  <a:moveTo>
                    <a:pt x="120" y="64"/>
                  </a:move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5" y="77"/>
                  </a:lnTo>
                  <a:lnTo>
                    <a:pt x="102" y="79"/>
                  </a:lnTo>
                  <a:lnTo>
                    <a:pt x="102" y="82"/>
                  </a:lnTo>
                  <a:lnTo>
                    <a:pt x="100" y="82"/>
                  </a:lnTo>
                  <a:lnTo>
                    <a:pt x="97" y="84"/>
                  </a:lnTo>
                  <a:lnTo>
                    <a:pt x="95" y="84"/>
                  </a:lnTo>
                  <a:lnTo>
                    <a:pt x="92" y="87"/>
                  </a:lnTo>
                  <a:lnTo>
                    <a:pt x="92" y="90"/>
                  </a:lnTo>
                  <a:lnTo>
                    <a:pt x="90" y="90"/>
                  </a:lnTo>
                  <a:lnTo>
                    <a:pt x="87" y="92"/>
                  </a:lnTo>
                  <a:lnTo>
                    <a:pt x="85" y="92"/>
                  </a:lnTo>
                  <a:lnTo>
                    <a:pt x="79" y="97"/>
                  </a:lnTo>
                  <a:lnTo>
                    <a:pt x="74" y="100"/>
                  </a:lnTo>
                  <a:lnTo>
                    <a:pt x="69" y="102"/>
                  </a:lnTo>
                  <a:lnTo>
                    <a:pt x="67" y="105"/>
                  </a:lnTo>
                  <a:lnTo>
                    <a:pt x="62" y="105"/>
                  </a:lnTo>
                  <a:lnTo>
                    <a:pt x="56" y="108"/>
                  </a:lnTo>
                  <a:lnTo>
                    <a:pt x="51" y="110"/>
                  </a:lnTo>
                  <a:lnTo>
                    <a:pt x="46" y="113"/>
                  </a:lnTo>
                  <a:lnTo>
                    <a:pt x="41" y="113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5"/>
                  </a:lnTo>
                  <a:lnTo>
                    <a:pt x="36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44" y="123"/>
                  </a:lnTo>
                  <a:lnTo>
                    <a:pt x="49" y="120"/>
                  </a:lnTo>
                  <a:lnTo>
                    <a:pt x="54" y="120"/>
                  </a:lnTo>
                  <a:lnTo>
                    <a:pt x="59" y="118"/>
                  </a:lnTo>
                  <a:lnTo>
                    <a:pt x="64" y="115"/>
                  </a:lnTo>
                  <a:lnTo>
                    <a:pt x="69" y="113"/>
                  </a:lnTo>
                  <a:lnTo>
                    <a:pt x="74" y="110"/>
                  </a:lnTo>
                  <a:lnTo>
                    <a:pt x="79" y="108"/>
                  </a:lnTo>
                  <a:lnTo>
                    <a:pt x="85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5" y="100"/>
                  </a:lnTo>
                  <a:lnTo>
                    <a:pt x="97" y="97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2" y="92"/>
                  </a:lnTo>
                  <a:lnTo>
                    <a:pt x="105" y="90"/>
                  </a:lnTo>
                  <a:lnTo>
                    <a:pt x="108" y="90"/>
                  </a:lnTo>
                  <a:lnTo>
                    <a:pt x="110" y="87"/>
                  </a:lnTo>
                  <a:lnTo>
                    <a:pt x="110" y="84"/>
                  </a:lnTo>
                  <a:lnTo>
                    <a:pt x="113" y="84"/>
                  </a:lnTo>
                  <a:lnTo>
                    <a:pt x="115" y="82"/>
                  </a:lnTo>
                  <a:lnTo>
                    <a:pt x="115" y="97"/>
                  </a:lnTo>
                  <a:lnTo>
                    <a:pt x="115" y="97"/>
                  </a:lnTo>
                  <a:lnTo>
                    <a:pt x="115" y="97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23" y="102"/>
                  </a:lnTo>
                  <a:lnTo>
                    <a:pt x="123" y="102"/>
                  </a:lnTo>
                  <a:lnTo>
                    <a:pt x="123" y="102"/>
                  </a:lnTo>
                  <a:lnTo>
                    <a:pt x="123" y="102"/>
                  </a:lnTo>
                  <a:lnTo>
                    <a:pt x="123" y="100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69"/>
                  </a:lnTo>
                  <a:lnTo>
                    <a:pt x="126" y="69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close/>
                  <a:moveTo>
                    <a:pt x="51" y="13"/>
                  </a:moveTo>
                  <a:lnTo>
                    <a:pt x="51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9" y="20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1" y="13"/>
                  </a:lnTo>
                  <a:close/>
                  <a:moveTo>
                    <a:pt x="169" y="13"/>
                  </a:moveTo>
                  <a:lnTo>
                    <a:pt x="167" y="13"/>
                  </a:lnTo>
                  <a:lnTo>
                    <a:pt x="167" y="13"/>
                  </a:lnTo>
                  <a:lnTo>
                    <a:pt x="167" y="15"/>
                  </a:lnTo>
                  <a:lnTo>
                    <a:pt x="167" y="15"/>
                  </a:lnTo>
                  <a:lnTo>
                    <a:pt x="167" y="15"/>
                  </a:lnTo>
                  <a:lnTo>
                    <a:pt x="167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2" y="20"/>
                  </a:lnTo>
                  <a:lnTo>
                    <a:pt x="174" y="20"/>
                  </a:lnTo>
                  <a:lnTo>
                    <a:pt x="174" y="20"/>
                  </a:lnTo>
                  <a:lnTo>
                    <a:pt x="174" y="20"/>
                  </a:lnTo>
                  <a:lnTo>
                    <a:pt x="174" y="20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72" y="15"/>
                  </a:lnTo>
                  <a:lnTo>
                    <a:pt x="169" y="15"/>
                  </a:lnTo>
                  <a:lnTo>
                    <a:pt x="169" y="15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69" y="13"/>
                  </a:lnTo>
                  <a:close/>
                  <a:moveTo>
                    <a:pt x="10" y="38"/>
                  </a:moveTo>
                  <a:lnTo>
                    <a:pt x="210" y="38"/>
                  </a:lnTo>
                  <a:lnTo>
                    <a:pt x="210" y="213"/>
                  </a:lnTo>
                  <a:lnTo>
                    <a:pt x="10" y="213"/>
                  </a:lnTo>
                  <a:lnTo>
                    <a:pt x="10" y="38"/>
                  </a:lnTo>
                  <a:close/>
                  <a:moveTo>
                    <a:pt x="10" y="10"/>
                  </a:moveTo>
                  <a:lnTo>
                    <a:pt x="210" y="10"/>
                  </a:lnTo>
                  <a:lnTo>
                    <a:pt x="210" y="28"/>
                  </a:lnTo>
                  <a:lnTo>
                    <a:pt x="10" y="28"/>
                  </a:lnTo>
                  <a:lnTo>
                    <a:pt x="10" y="10"/>
                  </a:lnTo>
                  <a:close/>
                  <a:moveTo>
                    <a:pt x="5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3" y="220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5" y="223"/>
                  </a:lnTo>
                  <a:lnTo>
                    <a:pt x="5" y="223"/>
                  </a:lnTo>
                  <a:lnTo>
                    <a:pt x="46" y="223"/>
                  </a:lnTo>
                  <a:lnTo>
                    <a:pt x="23" y="307"/>
                  </a:lnTo>
                  <a:lnTo>
                    <a:pt x="23" y="307"/>
                  </a:lnTo>
                  <a:lnTo>
                    <a:pt x="23" y="307"/>
                  </a:lnTo>
                  <a:lnTo>
                    <a:pt x="23" y="307"/>
                  </a:lnTo>
                  <a:lnTo>
                    <a:pt x="23" y="307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6" y="310"/>
                  </a:lnTo>
                  <a:lnTo>
                    <a:pt x="26" y="310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28" y="312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3" y="312"/>
                  </a:lnTo>
                  <a:lnTo>
                    <a:pt x="33" y="312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56" y="223"/>
                  </a:lnTo>
                  <a:lnTo>
                    <a:pt x="105" y="223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5" y="310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223"/>
                  </a:lnTo>
                  <a:lnTo>
                    <a:pt x="164" y="223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7" y="312"/>
                  </a:lnTo>
                  <a:lnTo>
                    <a:pt x="187" y="312"/>
                  </a:lnTo>
                  <a:lnTo>
                    <a:pt x="190" y="312"/>
                  </a:lnTo>
                  <a:lnTo>
                    <a:pt x="190" y="312"/>
                  </a:lnTo>
                  <a:lnTo>
                    <a:pt x="190" y="312"/>
                  </a:lnTo>
                  <a:lnTo>
                    <a:pt x="190" y="312"/>
                  </a:lnTo>
                  <a:lnTo>
                    <a:pt x="192" y="312"/>
                  </a:lnTo>
                  <a:lnTo>
                    <a:pt x="192" y="312"/>
                  </a:lnTo>
                  <a:lnTo>
                    <a:pt x="192" y="312"/>
                  </a:lnTo>
                  <a:lnTo>
                    <a:pt x="192" y="312"/>
                  </a:lnTo>
                  <a:lnTo>
                    <a:pt x="192" y="312"/>
                  </a:lnTo>
                  <a:lnTo>
                    <a:pt x="195" y="312"/>
                  </a:lnTo>
                  <a:lnTo>
                    <a:pt x="195" y="312"/>
                  </a:lnTo>
                  <a:lnTo>
                    <a:pt x="195" y="312"/>
                  </a:lnTo>
                  <a:lnTo>
                    <a:pt x="195" y="312"/>
                  </a:lnTo>
                  <a:lnTo>
                    <a:pt x="195" y="310"/>
                  </a:lnTo>
                  <a:lnTo>
                    <a:pt x="195" y="310"/>
                  </a:lnTo>
                  <a:lnTo>
                    <a:pt x="197" y="310"/>
                  </a:lnTo>
                  <a:lnTo>
                    <a:pt x="197" y="310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74" y="223"/>
                  </a:lnTo>
                  <a:lnTo>
                    <a:pt x="215" y="223"/>
                  </a:lnTo>
                  <a:lnTo>
                    <a:pt x="215" y="223"/>
                  </a:lnTo>
                  <a:lnTo>
                    <a:pt x="218" y="223"/>
                  </a:lnTo>
                  <a:lnTo>
                    <a:pt x="218" y="223"/>
                  </a:lnTo>
                  <a:lnTo>
                    <a:pt x="218" y="223"/>
                  </a:lnTo>
                  <a:lnTo>
                    <a:pt x="218" y="223"/>
                  </a:lnTo>
                  <a:lnTo>
                    <a:pt x="218" y="220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5960FE53-41F9-418E-99FF-F903012857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420" y="303077"/>
            <a:ext cx="760413" cy="758825"/>
            <a:chOff x="2252" y="126"/>
            <a:chExt cx="479" cy="478"/>
          </a:xfrm>
        </p:grpSpPr>
        <p:sp>
          <p:nvSpPr>
            <p:cNvPr id="22" name="AutoShape 15">
              <a:extLst>
                <a:ext uri="{FF2B5EF4-FFF2-40B4-BE49-F238E27FC236}">
                  <a16:creationId xmlns:a16="http://schemas.microsoft.com/office/drawing/2014/main" id="{41A55E02-872E-46E1-83B7-C67E918EBFB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52" y="12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F9E13C08-D842-4EEA-B90C-0C7DFA6C0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4" y="12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8">
              <a:extLst>
                <a:ext uri="{FF2B5EF4-FFF2-40B4-BE49-F238E27FC236}">
                  <a16:creationId xmlns:a16="http://schemas.microsoft.com/office/drawing/2014/main" id="{A5B3179F-6E2D-4B33-90C4-5A6998D0B2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7" y="339"/>
              <a:ext cx="15" cy="52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19">
              <a:extLst>
                <a:ext uri="{FF2B5EF4-FFF2-40B4-BE49-F238E27FC236}">
                  <a16:creationId xmlns:a16="http://schemas.microsoft.com/office/drawing/2014/main" id="{33373309-FAA4-413A-B1EF-0F49CD716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4" y="307"/>
              <a:ext cx="12" cy="84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20">
              <a:extLst>
                <a:ext uri="{FF2B5EF4-FFF2-40B4-BE49-F238E27FC236}">
                  <a16:creationId xmlns:a16="http://schemas.microsoft.com/office/drawing/2014/main" id="{B5466D1D-3C3D-4ECC-8243-C2EF5D4986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327"/>
              <a:ext cx="15" cy="64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1">
              <a:extLst>
                <a:ext uri="{FF2B5EF4-FFF2-40B4-BE49-F238E27FC236}">
                  <a16:creationId xmlns:a16="http://schemas.microsoft.com/office/drawing/2014/main" id="{34BACA50-26EF-47D7-8334-3F366D3FE5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9" y="361"/>
              <a:ext cx="12" cy="30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AE6D3CC2-0D13-450B-AF8F-D843519A2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3" y="229"/>
              <a:ext cx="260" cy="275"/>
            </a:xfrm>
            <a:custGeom>
              <a:avLst/>
              <a:gdLst>
                <a:gd name="T0" fmla="*/ 260 w 260"/>
                <a:gd name="T1" fmla="*/ 22 h 275"/>
                <a:gd name="T2" fmla="*/ 257 w 260"/>
                <a:gd name="T3" fmla="*/ 20 h 275"/>
                <a:gd name="T4" fmla="*/ 253 w 260"/>
                <a:gd name="T5" fmla="*/ 17 h 275"/>
                <a:gd name="T6" fmla="*/ 253 w 260"/>
                <a:gd name="T7" fmla="*/ 17 h 275"/>
                <a:gd name="T8" fmla="*/ 137 w 260"/>
                <a:gd name="T9" fmla="*/ 17 h 275"/>
                <a:gd name="T10" fmla="*/ 135 w 260"/>
                <a:gd name="T11" fmla="*/ 2 h 275"/>
                <a:gd name="T12" fmla="*/ 132 w 260"/>
                <a:gd name="T13" fmla="*/ 2 h 275"/>
                <a:gd name="T14" fmla="*/ 130 w 260"/>
                <a:gd name="T15" fmla="*/ 0 h 275"/>
                <a:gd name="T16" fmla="*/ 125 w 260"/>
                <a:gd name="T17" fmla="*/ 2 h 275"/>
                <a:gd name="T18" fmla="*/ 122 w 260"/>
                <a:gd name="T19" fmla="*/ 5 h 275"/>
                <a:gd name="T20" fmla="*/ 122 w 260"/>
                <a:gd name="T21" fmla="*/ 7 h 275"/>
                <a:gd name="T22" fmla="*/ 122 w 260"/>
                <a:gd name="T23" fmla="*/ 17 h 275"/>
                <a:gd name="T24" fmla="*/ 2 w 260"/>
                <a:gd name="T25" fmla="*/ 20 h 275"/>
                <a:gd name="T26" fmla="*/ 0 w 260"/>
                <a:gd name="T27" fmla="*/ 22 h 275"/>
                <a:gd name="T28" fmla="*/ 0 w 260"/>
                <a:gd name="T29" fmla="*/ 24 h 275"/>
                <a:gd name="T30" fmla="*/ 0 w 260"/>
                <a:gd name="T31" fmla="*/ 24 h 275"/>
                <a:gd name="T32" fmla="*/ 0 w 260"/>
                <a:gd name="T33" fmla="*/ 24 h 275"/>
                <a:gd name="T34" fmla="*/ 0 w 260"/>
                <a:gd name="T35" fmla="*/ 211 h 275"/>
                <a:gd name="T36" fmla="*/ 2 w 260"/>
                <a:gd name="T37" fmla="*/ 213 h 275"/>
                <a:gd name="T38" fmla="*/ 7 w 260"/>
                <a:gd name="T39" fmla="*/ 216 h 275"/>
                <a:gd name="T40" fmla="*/ 81 w 260"/>
                <a:gd name="T41" fmla="*/ 216 h 275"/>
                <a:gd name="T42" fmla="*/ 66 w 260"/>
                <a:gd name="T43" fmla="*/ 275 h 275"/>
                <a:gd name="T44" fmla="*/ 81 w 260"/>
                <a:gd name="T45" fmla="*/ 275 h 275"/>
                <a:gd name="T46" fmla="*/ 95 w 260"/>
                <a:gd name="T47" fmla="*/ 216 h 275"/>
                <a:gd name="T48" fmla="*/ 122 w 260"/>
                <a:gd name="T49" fmla="*/ 216 h 275"/>
                <a:gd name="T50" fmla="*/ 122 w 260"/>
                <a:gd name="T51" fmla="*/ 275 h 275"/>
                <a:gd name="T52" fmla="*/ 137 w 260"/>
                <a:gd name="T53" fmla="*/ 275 h 275"/>
                <a:gd name="T54" fmla="*/ 137 w 260"/>
                <a:gd name="T55" fmla="*/ 216 h 275"/>
                <a:gd name="T56" fmla="*/ 164 w 260"/>
                <a:gd name="T57" fmla="*/ 216 h 275"/>
                <a:gd name="T58" fmla="*/ 179 w 260"/>
                <a:gd name="T59" fmla="*/ 275 h 275"/>
                <a:gd name="T60" fmla="*/ 194 w 260"/>
                <a:gd name="T61" fmla="*/ 275 h 275"/>
                <a:gd name="T62" fmla="*/ 179 w 260"/>
                <a:gd name="T63" fmla="*/ 216 h 275"/>
                <a:gd name="T64" fmla="*/ 257 w 260"/>
                <a:gd name="T65" fmla="*/ 213 h 275"/>
                <a:gd name="T66" fmla="*/ 260 w 260"/>
                <a:gd name="T67" fmla="*/ 211 h 275"/>
                <a:gd name="T68" fmla="*/ 260 w 260"/>
                <a:gd name="T69" fmla="*/ 208 h 275"/>
                <a:gd name="T70" fmla="*/ 260 w 260"/>
                <a:gd name="T71" fmla="*/ 22 h 275"/>
                <a:gd name="T72" fmla="*/ 245 w 260"/>
                <a:gd name="T73" fmla="*/ 201 h 275"/>
                <a:gd name="T74" fmla="*/ 14 w 260"/>
                <a:gd name="T75" fmla="*/ 201 h 275"/>
                <a:gd name="T76" fmla="*/ 14 w 260"/>
                <a:gd name="T77" fmla="*/ 32 h 275"/>
                <a:gd name="T78" fmla="*/ 245 w 260"/>
                <a:gd name="T79" fmla="*/ 32 h 275"/>
                <a:gd name="T80" fmla="*/ 245 w 260"/>
                <a:gd name="T81" fmla="*/ 20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" h="275">
                  <a:moveTo>
                    <a:pt x="260" y="22"/>
                  </a:moveTo>
                  <a:lnTo>
                    <a:pt x="257" y="20"/>
                  </a:lnTo>
                  <a:lnTo>
                    <a:pt x="253" y="17"/>
                  </a:lnTo>
                  <a:lnTo>
                    <a:pt x="253" y="17"/>
                  </a:lnTo>
                  <a:lnTo>
                    <a:pt x="137" y="17"/>
                  </a:lnTo>
                  <a:lnTo>
                    <a:pt x="135" y="2"/>
                  </a:lnTo>
                  <a:lnTo>
                    <a:pt x="132" y="2"/>
                  </a:lnTo>
                  <a:lnTo>
                    <a:pt x="130" y="0"/>
                  </a:lnTo>
                  <a:lnTo>
                    <a:pt x="125" y="2"/>
                  </a:lnTo>
                  <a:lnTo>
                    <a:pt x="122" y="5"/>
                  </a:lnTo>
                  <a:lnTo>
                    <a:pt x="122" y="7"/>
                  </a:lnTo>
                  <a:lnTo>
                    <a:pt x="122" y="17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11"/>
                  </a:lnTo>
                  <a:lnTo>
                    <a:pt x="2" y="213"/>
                  </a:lnTo>
                  <a:lnTo>
                    <a:pt x="7" y="216"/>
                  </a:lnTo>
                  <a:lnTo>
                    <a:pt x="81" y="216"/>
                  </a:lnTo>
                  <a:lnTo>
                    <a:pt x="66" y="275"/>
                  </a:lnTo>
                  <a:lnTo>
                    <a:pt x="81" y="275"/>
                  </a:lnTo>
                  <a:lnTo>
                    <a:pt x="95" y="216"/>
                  </a:lnTo>
                  <a:lnTo>
                    <a:pt x="122" y="216"/>
                  </a:lnTo>
                  <a:lnTo>
                    <a:pt x="122" y="275"/>
                  </a:lnTo>
                  <a:lnTo>
                    <a:pt x="137" y="275"/>
                  </a:lnTo>
                  <a:lnTo>
                    <a:pt x="137" y="216"/>
                  </a:lnTo>
                  <a:lnTo>
                    <a:pt x="164" y="216"/>
                  </a:lnTo>
                  <a:lnTo>
                    <a:pt x="179" y="275"/>
                  </a:lnTo>
                  <a:lnTo>
                    <a:pt x="194" y="275"/>
                  </a:lnTo>
                  <a:lnTo>
                    <a:pt x="179" y="216"/>
                  </a:lnTo>
                  <a:lnTo>
                    <a:pt x="257" y="213"/>
                  </a:lnTo>
                  <a:lnTo>
                    <a:pt x="260" y="211"/>
                  </a:lnTo>
                  <a:lnTo>
                    <a:pt x="260" y="208"/>
                  </a:lnTo>
                  <a:lnTo>
                    <a:pt x="260" y="22"/>
                  </a:lnTo>
                  <a:close/>
                  <a:moveTo>
                    <a:pt x="245" y="201"/>
                  </a:moveTo>
                  <a:lnTo>
                    <a:pt x="14" y="201"/>
                  </a:lnTo>
                  <a:lnTo>
                    <a:pt x="14" y="32"/>
                  </a:lnTo>
                  <a:lnTo>
                    <a:pt x="245" y="32"/>
                  </a:lnTo>
                  <a:lnTo>
                    <a:pt x="245" y="201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5">
            <a:extLst>
              <a:ext uri="{FF2B5EF4-FFF2-40B4-BE49-F238E27FC236}">
                <a16:creationId xmlns:a16="http://schemas.microsoft.com/office/drawing/2014/main" id="{7440E3FC-2AFD-4E92-9CE9-45D3339B9D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4181" y="261802"/>
            <a:ext cx="842963" cy="841375"/>
            <a:chOff x="1618" y="218"/>
            <a:chExt cx="531" cy="530"/>
          </a:xfrm>
        </p:grpSpPr>
        <p:sp>
          <p:nvSpPr>
            <p:cNvPr id="30" name="AutoShape 24">
              <a:extLst>
                <a:ext uri="{FF2B5EF4-FFF2-40B4-BE49-F238E27FC236}">
                  <a16:creationId xmlns:a16="http://schemas.microsoft.com/office/drawing/2014/main" id="{55C9046C-BEB4-420A-B0CF-CDDB25A7C2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18" y="21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6">
              <a:extLst>
                <a:ext uri="{FF2B5EF4-FFF2-40B4-BE49-F238E27FC236}">
                  <a16:creationId xmlns:a16="http://schemas.microsoft.com/office/drawing/2014/main" id="{0C9DA92C-5033-48F2-8976-0B811BBF0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8" y="21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8DA1F143-FC3A-41EE-A83D-F41D7E0D1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6" y="23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8">
              <a:extLst>
                <a:ext uri="{FF2B5EF4-FFF2-40B4-BE49-F238E27FC236}">
                  <a16:creationId xmlns:a16="http://schemas.microsoft.com/office/drawing/2014/main" id="{BB589B62-24EE-4E11-AF06-113584D6A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0" y="456"/>
              <a:ext cx="15" cy="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9">
              <a:extLst>
                <a:ext uri="{FF2B5EF4-FFF2-40B4-BE49-F238E27FC236}">
                  <a16:creationId xmlns:a16="http://schemas.microsoft.com/office/drawing/2014/main" id="{F4C69832-9FBC-497C-BDF7-7EA972E5F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9" y="423"/>
              <a:ext cx="13" cy="8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0">
              <a:extLst>
                <a:ext uri="{FF2B5EF4-FFF2-40B4-BE49-F238E27FC236}">
                  <a16:creationId xmlns:a16="http://schemas.microsoft.com/office/drawing/2014/main" id="{565D5D90-F545-464F-AD4B-6E9B29B72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4" y="443"/>
              <a:ext cx="15" cy="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31">
              <a:extLst>
                <a:ext uri="{FF2B5EF4-FFF2-40B4-BE49-F238E27FC236}">
                  <a16:creationId xmlns:a16="http://schemas.microsoft.com/office/drawing/2014/main" id="{9E5F3CCC-E7FA-4220-A8A1-7D538F0CE4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8" y="479"/>
              <a:ext cx="13" cy="3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2">
              <a:extLst>
                <a:ext uri="{FF2B5EF4-FFF2-40B4-BE49-F238E27FC236}">
                  <a16:creationId xmlns:a16="http://schemas.microsoft.com/office/drawing/2014/main" id="{07219E5C-A06F-4EF8-8FA6-C937C9C7A1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9" y="341"/>
              <a:ext cx="272" cy="287"/>
            </a:xfrm>
            <a:custGeom>
              <a:avLst/>
              <a:gdLst>
                <a:gd name="T0" fmla="*/ 272 w 272"/>
                <a:gd name="T1" fmla="*/ 23 h 287"/>
                <a:gd name="T2" fmla="*/ 269 w 272"/>
                <a:gd name="T3" fmla="*/ 20 h 287"/>
                <a:gd name="T4" fmla="*/ 264 w 272"/>
                <a:gd name="T5" fmla="*/ 18 h 287"/>
                <a:gd name="T6" fmla="*/ 264 w 272"/>
                <a:gd name="T7" fmla="*/ 18 h 287"/>
                <a:gd name="T8" fmla="*/ 143 w 272"/>
                <a:gd name="T9" fmla="*/ 18 h 287"/>
                <a:gd name="T10" fmla="*/ 141 w 272"/>
                <a:gd name="T11" fmla="*/ 2 h 287"/>
                <a:gd name="T12" fmla="*/ 138 w 272"/>
                <a:gd name="T13" fmla="*/ 2 h 287"/>
                <a:gd name="T14" fmla="*/ 136 w 272"/>
                <a:gd name="T15" fmla="*/ 0 h 287"/>
                <a:gd name="T16" fmla="*/ 131 w 272"/>
                <a:gd name="T17" fmla="*/ 2 h 287"/>
                <a:gd name="T18" fmla="*/ 128 w 272"/>
                <a:gd name="T19" fmla="*/ 5 h 287"/>
                <a:gd name="T20" fmla="*/ 128 w 272"/>
                <a:gd name="T21" fmla="*/ 7 h 287"/>
                <a:gd name="T22" fmla="*/ 128 w 272"/>
                <a:gd name="T23" fmla="*/ 18 h 287"/>
                <a:gd name="T24" fmla="*/ 2 w 272"/>
                <a:gd name="T25" fmla="*/ 20 h 287"/>
                <a:gd name="T26" fmla="*/ 0 w 272"/>
                <a:gd name="T27" fmla="*/ 23 h 287"/>
                <a:gd name="T28" fmla="*/ 0 w 272"/>
                <a:gd name="T29" fmla="*/ 25 h 287"/>
                <a:gd name="T30" fmla="*/ 0 w 272"/>
                <a:gd name="T31" fmla="*/ 25 h 287"/>
                <a:gd name="T32" fmla="*/ 0 w 272"/>
                <a:gd name="T33" fmla="*/ 25 h 287"/>
                <a:gd name="T34" fmla="*/ 0 w 272"/>
                <a:gd name="T35" fmla="*/ 220 h 287"/>
                <a:gd name="T36" fmla="*/ 2 w 272"/>
                <a:gd name="T37" fmla="*/ 223 h 287"/>
                <a:gd name="T38" fmla="*/ 7 w 272"/>
                <a:gd name="T39" fmla="*/ 225 h 287"/>
                <a:gd name="T40" fmla="*/ 84 w 272"/>
                <a:gd name="T41" fmla="*/ 225 h 287"/>
                <a:gd name="T42" fmla="*/ 69 w 272"/>
                <a:gd name="T43" fmla="*/ 287 h 287"/>
                <a:gd name="T44" fmla="*/ 84 w 272"/>
                <a:gd name="T45" fmla="*/ 287 h 287"/>
                <a:gd name="T46" fmla="*/ 100 w 272"/>
                <a:gd name="T47" fmla="*/ 225 h 287"/>
                <a:gd name="T48" fmla="*/ 128 w 272"/>
                <a:gd name="T49" fmla="*/ 225 h 287"/>
                <a:gd name="T50" fmla="*/ 128 w 272"/>
                <a:gd name="T51" fmla="*/ 287 h 287"/>
                <a:gd name="T52" fmla="*/ 143 w 272"/>
                <a:gd name="T53" fmla="*/ 287 h 287"/>
                <a:gd name="T54" fmla="*/ 143 w 272"/>
                <a:gd name="T55" fmla="*/ 225 h 287"/>
                <a:gd name="T56" fmla="*/ 172 w 272"/>
                <a:gd name="T57" fmla="*/ 225 h 287"/>
                <a:gd name="T58" fmla="*/ 187 w 272"/>
                <a:gd name="T59" fmla="*/ 287 h 287"/>
                <a:gd name="T60" fmla="*/ 202 w 272"/>
                <a:gd name="T61" fmla="*/ 287 h 287"/>
                <a:gd name="T62" fmla="*/ 187 w 272"/>
                <a:gd name="T63" fmla="*/ 225 h 287"/>
                <a:gd name="T64" fmla="*/ 269 w 272"/>
                <a:gd name="T65" fmla="*/ 223 h 287"/>
                <a:gd name="T66" fmla="*/ 272 w 272"/>
                <a:gd name="T67" fmla="*/ 220 h 287"/>
                <a:gd name="T68" fmla="*/ 272 w 272"/>
                <a:gd name="T69" fmla="*/ 217 h 287"/>
                <a:gd name="T70" fmla="*/ 272 w 272"/>
                <a:gd name="T71" fmla="*/ 23 h 287"/>
                <a:gd name="T72" fmla="*/ 256 w 272"/>
                <a:gd name="T73" fmla="*/ 210 h 287"/>
                <a:gd name="T74" fmla="*/ 15 w 272"/>
                <a:gd name="T75" fmla="*/ 210 h 287"/>
                <a:gd name="T76" fmla="*/ 15 w 272"/>
                <a:gd name="T77" fmla="*/ 33 h 287"/>
                <a:gd name="T78" fmla="*/ 256 w 272"/>
                <a:gd name="T79" fmla="*/ 33 h 287"/>
                <a:gd name="T80" fmla="*/ 256 w 272"/>
                <a:gd name="T81" fmla="*/ 21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2" h="287">
                  <a:moveTo>
                    <a:pt x="272" y="23"/>
                  </a:moveTo>
                  <a:lnTo>
                    <a:pt x="269" y="20"/>
                  </a:lnTo>
                  <a:lnTo>
                    <a:pt x="264" y="18"/>
                  </a:lnTo>
                  <a:lnTo>
                    <a:pt x="264" y="18"/>
                  </a:lnTo>
                  <a:lnTo>
                    <a:pt x="143" y="18"/>
                  </a:lnTo>
                  <a:lnTo>
                    <a:pt x="141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8" y="5"/>
                  </a:lnTo>
                  <a:lnTo>
                    <a:pt x="128" y="7"/>
                  </a:lnTo>
                  <a:lnTo>
                    <a:pt x="128" y="18"/>
                  </a:lnTo>
                  <a:lnTo>
                    <a:pt x="2" y="20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20"/>
                  </a:lnTo>
                  <a:lnTo>
                    <a:pt x="2" y="223"/>
                  </a:lnTo>
                  <a:lnTo>
                    <a:pt x="7" y="225"/>
                  </a:lnTo>
                  <a:lnTo>
                    <a:pt x="84" y="225"/>
                  </a:lnTo>
                  <a:lnTo>
                    <a:pt x="69" y="287"/>
                  </a:lnTo>
                  <a:lnTo>
                    <a:pt x="84" y="287"/>
                  </a:lnTo>
                  <a:lnTo>
                    <a:pt x="100" y="225"/>
                  </a:lnTo>
                  <a:lnTo>
                    <a:pt x="128" y="225"/>
                  </a:lnTo>
                  <a:lnTo>
                    <a:pt x="128" y="287"/>
                  </a:lnTo>
                  <a:lnTo>
                    <a:pt x="143" y="287"/>
                  </a:lnTo>
                  <a:lnTo>
                    <a:pt x="143" y="225"/>
                  </a:lnTo>
                  <a:lnTo>
                    <a:pt x="172" y="225"/>
                  </a:lnTo>
                  <a:lnTo>
                    <a:pt x="187" y="287"/>
                  </a:lnTo>
                  <a:lnTo>
                    <a:pt x="202" y="287"/>
                  </a:lnTo>
                  <a:lnTo>
                    <a:pt x="187" y="225"/>
                  </a:lnTo>
                  <a:lnTo>
                    <a:pt x="269" y="223"/>
                  </a:lnTo>
                  <a:lnTo>
                    <a:pt x="272" y="220"/>
                  </a:lnTo>
                  <a:lnTo>
                    <a:pt x="272" y="217"/>
                  </a:lnTo>
                  <a:lnTo>
                    <a:pt x="272" y="23"/>
                  </a:lnTo>
                  <a:close/>
                  <a:moveTo>
                    <a:pt x="256" y="210"/>
                  </a:moveTo>
                  <a:lnTo>
                    <a:pt x="15" y="210"/>
                  </a:lnTo>
                  <a:lnTo>
                    <a:pt x="15" y="33"/>
                  </a:lnTo>
                  <a:lnTo>
                    <a:pt x="256" y="33"/>
                  </a:lnTo>
                  <a:lnTo>
                    <a:pt x="256" y="2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E9EE657E-7AB1-46DB-B4FF-7ADA4CDD6D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720" y="261865"/>
            <a:ext cx="842168" cy="841248"/>
          </a:xfrm>
          <a:prstGeom prst="rect">
            <a:avLst/>
          </a:prstGeom>
        </p:spPr>
      </p:pic>
      <p:grpSp>
        <p:nvGrpSpPr>
          <p:cNvPr id="42" name="Group 35">
            <a:extLst>
              <a:ext uri="{FF2B5EF4-FFF2-40B4-BE49-F238E27FC236}">
                <a16:creationId xmlns:a16="http://schemas.microsoft.com/office/drawing/2014/main" id="{2D0ECF1B-C71E-4887-B1D7-8EA7E4A11E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2410" y="303077"/>
            <a:ext cx="758825" cy="758825"/>
            <a:chOff x="3551" y="235"/>
            <a:chExt cx="478" cy="478"/>
          </a:xfrm>
        </p:grpSpPr>
        <p:sp>
          <p:nvSpPr>
            <p:cNvPr id="43" name="AutoShape 34">
              <a:extLst>
                <a:ext uri="{FF2B5EF4-FFF2-40B4-BE49-F238E27FC236}">
                  <a16:creationId xmlns:a16="http://schemas.microsoft.com/office/drawing/2014/main" id="{04A9D00F-2391-456A-A4D2-10C2163C709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51" y="235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1346C91C-7F45-4B66-B91E-DE897576F8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3" y="237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2B329450-AC8E-4B0A-8AD7-B92D19492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4" y="326"/>
              <a:ext cx="294" cy="279"/>
            </a:xfrm>
            <a:custGeom>
              <a:avLst/>
              <a:gdLst>
                <a:gd name="T0" fmla="*/ 10 w 294"/>
                <a:gd name="T1" fmla="*/ 269 h 279"/>
                <a:gd name="T2" fmla="*/ 2 w 294"/>
                <a:gd name="T3" fmla="*/ 213 h 279"/>
                <a:gd name="T4" fmla="*/ 2 w 294"/>
                <a:gd name="T5" fmla="*/ 215 h 279"/>
                <a:gd name="T6" fmla="*/ 0 w 294"/>
                <a:gd name="T7" fmla="*/ 218 h 279"/>
                <a:gd name="T8" fmla="*/ 0 w 294"/>
                <a:gd name="T9" fmla="*/ 218 h 279"/>
                <a:gd name="T10" fmla="*/ 0 w 294"/>
                <a:gd name="T11" fmla="*/ 277 h 279"/>
                <a:gd name="T12" fmla="*/ 0 w 294"/>
                <a:gd name="T13" fmla="*/ 279 h 279"/>
                <a:gd name="T14" fmla="*/ 2 w 294"/>
                <a:gd name="T15" fmla="*/ 279 h 279"/>
                <a:gd name="T16" fmla="*/ 56 w 294"/>
                <a:gd name="T17" fmla="*/ 279 h 279"/>
                <a:gd name="T18" fmla="*/ 56 w 294"/>
                <a:gd name="T19" fmla="*/ 279 h 279"/>
                <a:gd name="T20" fmla="*/ 59 w 294"/>
                <a:gd name="T21" fmla="*/ 277 h 279"/>
                <a:gd name="T22" fmla="*/ 61 w 294"/>
                <a:gd name="T23" fmla="*/ 274 h 279"/>
                <a:gd name="T24" fmla="*/ 61 w 294"/>
                <a:gd name="T25" fmla="*/ 218 h 279"/>
                <a:gd name="T26" fmla="*/ 59 w 294"/>
                <a:gd name="T27" fmla="*/ 218 h 279"/>
                <a:gd name="T28" fmla="*/ 59 w 294"/>
                <a:gd name="T29" fmla="*/ 215 h 279"/>
                <a:gd name="T30" fmla="*/ 56 w 294"/>
                <a:gd name="T31" fmla="*/ 213 h 279"/>
                <a:gd name="T32" fmla="*/ 145 w 294"/>
                <a:gd name="T33" fmla="*/ 169 h 279"/>
                <a:gd name="T34" fmla="*/ 100 w 294"/>
                <a:gd name="T35" fmla="*/ 159 h 279"/>
                <a:gd name="T36" fmla="*/ 98 w 294"/>
                <a:gd name="T37" fmla="*/ 159 h 279"/>
                <a:gd name="T38" fmla="*/ 96 w 294"/>
                <a:gd name="T39" fmla="*/ 161 h 279"/>
                <a:gd name="T40" fmla="*/ 96 w 294"/>
                <a:gd name="T41" fmla="*/ 164 h 279"/>
                <a:gd name="T42" fmla="*/ 96 w 294"/>
                <a:gd name="T43" fmla="*/ 274 h 279"/>
                <a:gd name="T44" fmla="*/ 96 w 294"/>
                <a:gd name="T45" fmla="*/ 277 h 279"/>
                <a:gd name="T46" fmla="*/ 98 w 294"/>
                <a:gd name="T47" fmla="*/ 279 h 279"/>
                <a:gd name="T48" fmla="*/ 98 w 294"/>
                <a:gd name="T49" fmla="*/ 279 h 279"/>
                <a:gd name="T50" fmla="*/ 152 w 294"/>
                <a:gd name="T51" fmla="*/ 279 h 279"/>
                <a:gd name="T52" fmla="*/ 154 w 294"/>
                <a:gd name="T53" fmla="*/ 279 h 279"/>
                <a:gd name="T54" fmla="*/ 154 w 294"/>
                <a:gd name="T55" fmla="*/ 277 h 279"/>
                <a:gd name="T56" fmla="*/ 157 w 294"/>
                <a:gd name="T57" fmla="*/ 274 h 279"/>
                <a:gd name="T58" fmla="*/ 154 w 294"/>
                <a:gd name="T59" fmla="*/ 161 h 279"/>
                <a:gd name="T60" fmla="*/ 154 w 294"/>
                <a:gd name="T61" fmla="*/ 159 h 279"/>
                <a:gd name="T62" fmla="*/ 152 w 294"/>
                <a:gd name="T63" fmla="*/ 159 h 279"/>
                <a:gd name="T64" fmla="*/ 100 w 294"/>
                <a:gd name="T65" fmla="*/ 159 h 279"/>
                <a:gd name="T66" fmla="*/ 240 w 294"/>
                <a:gd name="T67" fmla="*/ 269 h 279"/>
                <a:gd name="T68" fmla="*/ 221 w 294"/>
                <a:gd name="T69" fmla="*/ 12 h 279"/>
                <a:gd name="T70" fmla="*/ 218 w 294"/>
                <a:gd name="T71" fmla="*/ 0 h 279"/>
                <a:gd name="T72" fmla="*/ 216 w 294"/>
                <a:gd name="T73" fmla="*/ 0 h 279"/>
                <a:gd name="T74" fmla="*/ 145 w 294"/>
                <a:gd name="T75" fmla="*/ 71 h 279"/>
                <a:gd name="T76" fmla="*/ 145 w 294"/>
                <a:gd name="T77" fmla="*/ 73 h 279"/>
                <a:gd name="T78" fmla="*/ 147 w 294"/>
                <a:gd name="T79" fmla="*/ 76 h 279"/>
                <a:gd name="T80" fmla="*/ 149 w 294"/>
                <a:gd name="T81" fmla="*/ 78 h 279"/>
                <a:gd name="T82" fmla="*/ 189 w 294"/>
                <a:gd name="T83" fmla="*/ 274 h 279"/>
                <a:gd name="T84" fmla="*/ 191 w 294"/>
                <a:gd name="T85" fmla="*/ 277 h 279"/>
                <a:gd name="T86" fmla="*/ 191 w 294"/>
                <a:gd name="T87" fmla="*/ 279 h 279"/>
                <a:gd name="T88" fmla="*/ 194 w 294"/>
                <a:gd name="T89" fmla="*/ 279 h 279"/>
                <a:gd name="T90" fmla="*/ 248 w 294"/>
                <a:gd name="T91" fmla="*/ 279 h 279"/>
                <a:gd name="T92" fmla="*/ 248 w 294"/>
                <a:gd name="T93" fmla="*/ 279 h 279"/>
                <a:gd name="T94" fmla="*/ 250 w 294"/>
                <a:gd name="T95" fmla="*/ 277 h 279"/>
                <a:gd name="T96" fmla="*/ 250 w 294"/>
                <a:gd name="T97" fmla="*/ 274 h 279"/>
                <a:gd name="T98" fmla="*/ 292 w 294"/>
                <a:gd name="T99" fmla="*/ 78 h 279"/>
                <a:gd name="T100" fmla="*/ 294 w 294"/>
                <a:gd name="T101" fmla="*/ 76 h 279"/>
                <a:gd name="T102" fmla="*/ 294 w 294"/>
                <a:gd name="T103" fmla="*/ 73 h 279"/>
                <a:gd name="T104" fmla="*/ 294 w 294"/>
                <a:gd name="T105" fmla="*/ 71 h 279"/>
                <a:gd name="T106" fmla="*/ 223 w 294"/>
                <a:gd name="T107" fmla="*/ 0 h 279"/>
                <a:gd name="T108" fmla="*/ 221 w 294"/>
                <a:gd name="T109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4" h="279">
                  <a:moveTo>
                    <a:pt x="10" y="225"/>
                  </a:moveTo>
                  <a:lnTo>
                    <a:pt x="51" y="225"/>
                  </a:lnTo>
                  <a:lnTo>
                    <a:pt x="51" y="269"/>
                  </a:lnTo>
                  <a:lnTo>
                    <a:pt x="10" y="269"/>
                  </a:lnTo>
                  <a:lnTo>
                    <a:pt x="10" y="225"/>
                  </a:lnTo>
                  <a:close/>
                  <a:moveTo>
                    <a:pt x="5" y="213"/>
                  </a:moveTo>
                  <a:lnTo>
                    <a:pt x="5" y="213"/>
                  </a:lnTo>
                  <a:lnTo>
                    <a:pt x="2" y="213"/>
                  </a:lnTo>
                  <a:lnTo>
                    <a:pt x="2" y="213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2" y="215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6" y="279"/>
                  </a:lnTo>
                  <a:lnTo>
                    <a:pt x="56" y="279"/>
                  </a:lnTo>
                  <a:lnTo>
                    <a:pt x="56" y="279"/>
                  </a:lnTo>
                  <a:lnTo>
                    <a:pt x="56" y="279"/>
                  </a:lnTo>
                  <a:lnTo>
                    <a:pt x="56" y="279"/>
                  </a:lnTo>
                  <a:lnTo>
                    <a:pt x="59" y="279"/>
                  </a:lnTo>
                  <a:lnTo>
                    <a:pt x="59" y="279"/>
                  </a:lnTo>
                  <a:lnTo>
                    <a:pt x="59" y="279"/>
                  </a:lnTo>
                  <a:lnTo>
                    <a:pt x="59" y="277"/>
                  </a:lnTo>
                  <a:lnTo>
                    <a:pt x="59" y="277"/>
                  </a:lnTo>
                  <a:lnTo>
                    <a:pt x="61" y="277"/>
                  </a:lnTo>
                  <a:lnTo>
                    <a:pt x="61" y="277"/>
                  </a:lnTo>
                  <a:lnTo>
                    <a:pt x="61" y="274"/>
                  </a:lnTo>
                  <a:lnTo>
                    <a:pt x="61" y="274"/>
                  </a:lnTo>
                  <a:lnTo>
                    <a:pt x="61" y="274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59" y="218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9" y="215"/>
                  </a:lnTo>
                  <a:lnTo>
                    <a:pt x="56" y="215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" y="213"/>
                  </a:lnTo>
                  <a:close/>
                  <a:moveTo>
                    <a:pt x="105" y="169"/>
                  </a:moveTo>
                  <a:lnTo>
                    <a:pt x="145" y="169"/>
                  </a:lnTo>
                  <a:lnTo>
                    <a:pt x="145" y="269"/>
                  </a:lnTo>
                  <a:lnTo>
                    <a:pt x="105" y="269"/>
                  </a:lnTo>
                  <a:lnTo>
                    <a:pt x="105" y="169"/>
                  </a:lnTo>
                  <a:close/>
                  <a:moveTo>
                    <a:pt x="100" y="159"/>
                  </a:move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96" y="159"/>
                  </a:lnTo>
                  <a:lnTo>
                    <a:pt x="96" y="159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274"/>
                  </a:lnTo>
                  <a:lnTo>
                    <a:pt x="96" y="274"/>
                  </a:lnTo>
                  <a:lnTo>
                    <a:pt x="96" y="274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98" y="279"/>
                  </a:lnTo>
                  <a:lnTo>
                    <a:pt x="100" y="279"/>
                  </a:lnTo>
                  <a:lnTo>
                    <a:pt x="149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2" y="279"/>
                  </a:lnTo>
                  <a:lnTo>
                    <a:pt x="154" y="279"/>
                  </a:lnTo>
                  <a:lnTo>
                    <a:pt x="154" y="279"/>
                  </a:lnTo>
                  <a:lnTo>
                    <a:pt x="154" y="277"/>
                  </a:lnTo>
                  <a:lnTo>
                    <a:pt x="154" y="277"/>
                  </a:lnTo>
                  <a:lnTo>
                    <a:pt x="154" y="277"/>
                  </a:lnTo>
                  <a:lnTo>
                    <a:pt x="154" y="277"/>
                  </a:lnTo>
                  <a:lnTo>
                    <a:pt x="154" y="274"/>
                  </a:lnTo>
                  <a:lnTo>
                    <a:pt x="154" y="274"/>
                  </a:lnTo>
                  <a:lnTo>
                    <a:pt x="157" y="274"/>
                  </a:lnTo>
                  <a:lnTo>
                    <a:pt x="157" y="164"/>
                  </a:lnTo>
                  <a:lnTo>
                    <a:pt x="154" y="164"/>
                  </a:lnTo>
                  <a:lnTo>
                    <a:pt x="154" y="164"/>
                  </a:lnTo>
                  <a:lnTo>
                    <a:pt x="154" y="161"/>
                  </a:lnTo>
                  <a:lnTo>
                    <a:pt x="154" y="161"/>
                  </a:lnTo>
                  <a:lnTo>
                    <a:pt x="154" y="161"/>
                  </a:lnTo>
                  <a:lnTo>
                    <a:pt x="154" y="161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49" y="159"/>
                  </a:lnTo>
                  <a:lnTo>
                    <a:pt x="100" y="159"/>
                  </a:lnTo>
                  <a:close/>
                  <a:moveTo>
                    <a:pt x="221" y="12"/>
                  </a:moveTo>
                  <a:lnTo>
                    <a:pt x="277" y="68"/>
                  </a:lnTo>
                  <a:lnTo>
                    <a:pt x="240" y="68"/>
                  </a:lnTo>
                  <a:lnTo>
                    <a:pt x="240" y="269"/>
                  </a:lnTo>
                  <a:lnTo>
                    <a:pt x="199" y="269"/>
                  </a:lnTo>
                  <a:lnTo>
                    <a:pt x="199" y="68"/>
                  </a:lnTo>
                  <a:lnTo>
                    <a:pt x="162" y="68"/>
                  </a:lnTo>
                  <a:lnTo>
                    <a:pt x="221" y="12"/>
                  </a:lnTo>
                  <a:close/>
                  <a:moveTo>
                    <a:pt x="221" y="0"/>
                  </a:move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147" y="68"/>
                  </a:lnTo>
                  <a:lnTo>
                    <a:pt x="147" y="71"/>
                  </a:lnTo>
                  <a:lnTo>
                    <a:pt x="147" y="71"/>
                  </a:lnTo>
                  <a:lnTo>
                    <a:pt x="145" y="71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5" y="76"/>
                  </a:lnTo>
                  <a:lnTo>
                    <a:pt x="147" y="76"/>
                  </a:lnTo>
                  <a:lnTo>
                    <a:pt x="147" y="76"/>
                  </a:lnTo>
                  <a:lnTo>
                    <a:pt x="147" y="76"/>
                  </a:lnTo>
                  <a:lnTo>
                    <a:pt x="147" y="78"/>
                  </a:lnTo>
                  <a:lnTo>
                    <a:pt x="147" y="78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89" y="78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7"/>
                  </a:lnTo>
                  <a:lnTo>
                    <a:pt x="189" y="277"/>
                  </a:lnTo>
                  <a:lnTo>
                    <a:pt x="191" y="277"/>
                  </a:lnTo>
                  <a:lnTo>
                    <a:pt x="191" y="277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245" y="279"/>
                  </a:lnTo>
                  <a:lnTo>
                    <a:pt x="245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50" y="279"/>
                  </a:lnTo>
                  <a:lnTo>
                    <a:pt x="250" y="277"/>
                  </a:lnTo>
                  <a:lnTo>
                    <a:pt x="250" y="277"/>
                  </a:lnTo>
                  <a:lnTo>
                    <a:pt x="250" y="277"/>
                  </a:lnTo>
                  <a:lnTo>
                    <a:pt x="250" y="277"/>
                  </a:lnTo>
                  <a:lnTo>
                    <a:pt x="250" y="274"/>
                  </a:lnTo>
                  <a:lnTo>
                    <a:pt x="250" y="274"/>
                  </a:lnTo>
                  <a:lnTo>
                    <a:pt x="250" y="274"/>
                  </a:lnTo>
                  <a:lnTo>
                    <a:pt x="250" y="78"/>
                  </a:lnTo>
                  <a:lnTo>
                    <a:pt x="289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3"/>
                  </a:lnTo>
                  <a:lnTo>
                    <a:pt x="294" y="73"/>
                  </a:lnTo>
                  <a:lnTo>
                    <a:pt x="294" y="73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71"/>
                  </a:lnTo>
                  <a:lnTo>
                    <a:pt x="294" y="71"/>
                  </a:lnTo>
                  <a:lnTo>
                    <a:pt x="294" y="68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0">
            <a:extLst>
              <a:ext uri="{FF2B5EF4-FFF2-40B4-BE49-F238E27FC236}">
                <a16:creationId xmlns:a16="http://schemas.microsoft.com/office/drawing/2014/main" id="{75592614-7A72-44BB-BC4F-FF8C3CE867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33195" y="303077"/>
            <a:ext cx="760412" cy="758825"/>
            <a:chOff x="4821" y="200"/>
            <a:chExt cx="479" cy="478"/>
          </a:xfrm>
        </p:grpSpPr>
        <p:sp>
          <p:nvSpPr>
            <p:cNvPr id="51" name="AutoShape 39">
              <a:extLst>
                <a:ext uri="{FF2B5EF4-FFF2-40B4-BE49-F238E27FC236}">
                  <a16:creationId xmlns:a16="http://schemas.microsoft.com/office/drawing/2014/main" id="{22680AA7-5711-4F0C-B092-775481F0B7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21" y="200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FFBA7790-543A-412C-A4E6-2B5D56D71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" y="202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B9E476F6-98F4-4A28-89CF-F4CA2FBEE9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2" y="308"/>
              <a:ext cx="260" cy="265"/>
            </a:xfrm>
            <a:custGeom>
              <a:avLst/>
              <a:gdLst>
                <a:gd name="T0" fmla="*/ 41 w 260"/>
                <a:gd name="T1" fmla="*/ 49 h 265"/>
                <a:gd name="T2" fmla="*/ 39 w 260"/>
                <a:gd name="T3" fmla="*/ 49 h 265"/>
                <a:gd name="T4" fmla="*/ 39 w 260"/>
                <a:gd name="T5" fmla="*/ 51 h 265"/>
                <a:gd name="T6" fmla="*/ 39 w 260"/>
                <a:gd name="T7" fmla="*/ 54 h 265"/>
                <a:gd name="T8" fmla="*/ 39 w 260"/>
                <a:gd name="T9" fmla="*/ 56 h 265"/>
                <a:gd name="T10" fmla="*/ 88 w 260"/>
                <a:gd name="T11" fmla="*/ 132 h 265"/>
                <a:gd name="T12" fmla="*/ 90 w 260"/>
                <a:gd name="T13" fmla="*/ 132 h 265"/>
                <a:gd name="T14" fmla="*/ 93 w 260"/>
                <a:gd name="T15" fmla="*/ 132 h 265"/>
                <a:gd name="T16" fmla="*/ 95 w 260"/>
                <a:gd name="T17" fmla="*/ 132 h 265"/>
                <a:gd name="T18" fmla="*/ 154 w 260"/>
                <a:gd name="T19" fmla="*/ 149 h 265"/>
                <a:gd name="T20" fmla="*/ 154 w 260"/>
                <a:gd name="T21" fmla="*/ 152 h 265"/>
                <a:gd name="T22" fmla="*/ 159 w 260"/>
                <a:gd name="T23" fmla="*/ 152 h 265"/>
                <a:gd name="T24" fmla="*/ 162 w 260"/>
                <a:gd name="T25" fmla="*/ 152 h 265"/>
                <a:gd name="T26" fmla="*/ 191 w 260"/>
                <a:gd name="T27" fmla="*/ 125 h 265"/>
                <a:gd name="T28" fmla="*/ 218 w 260"/>
                <a:gd name="T29" fmla="*/ 184 h 265"/>
                <a:gd name="T30" fmla="*/ 216 w 260"/>
                <a:gd name="T31" fmla="*/ 184 h 265"/>
                <a:gd name="T32" fmla="*/ 213 w 260"/>
                <a:gd name="T33" fmla="*/ 186 h 265"/>
                <a:gd name="T34" fmla="*/ 213 w 260"/>
                <a:gd name="T35" fmla="*/ 189 h 265"/>
                <a:gd name="T36" fmla="*/ 213 w 260"/>
                <a:gd name="T37" fmla="*/ 191 h 265"/>
                <a:gd name="T38" fmla="*/ 213 w 260"/>
                <a:gd name="T39" fmla="*/ 194 h 265"/>
                <a:gd name="T40" fmla="*/ 216 w 260"/>
                <a:gd name="T41" fmla="*/ 194 h 265"/>
                <a:gd name="T42" fmla="*/ 218 w 260"/>
                <a:gd name="T43" fmla="*/ 196 h 265"/>
                <a:gd name="T44" fmla="*/ 250 w 260"/>
                <a:gd name="T45" fmla="*/ 198 h 265"/>
                <a:gd name="T46" fmla="*/ 253 w 260"/>
                <a:gd name="T47" fmla="*/ 198 h 265"/>
                <a:gd name="T48" fmla="*/ 255 w 260"/>
                <a:gd name="T49" fmla="*/ 198 h 265"/>
                <a:gd name="T50" fmla="*/ 255 w 260"/>
                <a:gd name="T51" fmla="*/ 196 h 265"/>
                <a:gd name="T52" fmla="*/ 255 w 260"/>
                <a:gd name="T53" fmla="*/ 194 h 265"/>
                <a:gd name="T54" fmla="*/ 260 w 260"/>
                <a:gd name="T55" fmla="*/ 159 h 265"/>
                <a:gd name="T56" fmla="*/ 260 w 260"/>
                <a:gd name="T57" fmla="*/ 157 h 265"/>
                <a:gd name="T58" fmla="*/ 257 w 260"/>
                <a:gd name="T59" fmla="*/ 154 h 265"/>
                <a:gd name="T60" fmla="*/ 255 w 260"/>
                <a:gd name="T61" fmla="*/ 154 h 265"/>
                <a:gd name="T62" fmla="*/ 253 w 260"/>
                <a:gd name="T63" fmla="*/ 154 h 265"/>
                <a:gd name="T64" fmla="*/ 250 w 260"/>
                <a:gd name="T65" fmla="*/ 154 h 265"/>
                <a:gd name="T66" fmla="*/ 248 w 260"/>
                <a:gd name="T67" fmla="*/ 157 h 265"/>
                <a:gd name="T68" fmla="*/ 248 w 260"/>
                <a:gd name="T69" fmla="*/ 159 h 265"/>
                <a:gd name="T70" fmla="*/ 196 w 260"/>
                <a:gd name="T71" fmla="*/ 113 h 265"/>
                <a:gd name="T72" fmla="*/ 194 w 260"/>
                <a:gd name="T73" fmla="*/ 110 h 265"/>
                <a:gd name="T74" fmla="*/ 191 w 260"/>
                <a:gd name="T75" fmla="*/ 110 h 265"/>
                <a:gd name="T76" fmla="*/ 189 w 260"/>
                <a:gd name="T77" fmla="*/ 110 h 265"/>
                <a:gd name="T78" fmla="*/ 186 w 260"/>
                <a:gd name="T79" fmla="*/ 110 h 265"/>
                <a:gd name="T80" fmla="*/ 130 w 260"/>
                <a:gd name="T81" fmla="*/ 91 h 265"/>
                <a:gd name="T82" fmla="*/ 130 w 260"/>
                <a:gd name="T83" fmla="*/ 88 h 265"/>
                <a:gd name="T84" fmla="*/ 125 w 260"/>
                <a:gd name="T85" fmla="*/ 88 h 265"/>
                <a:gd name="T86" fmla="*/ 122 w 260"/>
                <a:gd name="T87" fmla="*/ 91 h 265"/>
                <a:gd name="T88" fmla="*/ 51 w 260"/>
                <a:gd name="T89" fmla="*/ 49 h 265"/>
                <a:gd name="T90" fmla="*/ 49 w 260"/>
                <a:gd name="T91" fmla="*/ 46 h 265"/>
                <a:gd name="T92" fmla="*/ 46 w 260"/>
                <a:gd name="T93" fmla="*/ 46 h 265"/>
                <a:gd name="T94" fmla="*/ 0 w 260"/>
                <a:gd name="T95" fmla="*/ 42 h 265"/>
                <a:gd name="T96" fmla="*/ 0 w 260"/>
                <a:gd name="T97" fmla="*/ 110 h 265"/>
                <a:gd name="T98" fmla="*/ 0 w 260"/>
                <a:gd name="T99" fmla="*/ 181 h 265"/>
                <a:gd name="T100" fmla="*/ 68 w 260"/>
                <a:gd name="T101" fmla="*/ 252 h 265"/>
                <a:gd name="T102" fmla="*/ 137 w 260"/>
                <a:gd name="T103" fmla="*/ 252 h 265"/>
                <a:gd name="T104" fmla="*/ 206 w 260"/>
                <a:gd name="T105" fmla="*/ 252 h 265"/>
                <a:gd name="T106" fmla="*/ 257 w 260"/>
                <a:gd name="T107" fmla="*/ 252 h 265"/>
                <a:gd name="T108" fmla="*/ 12 w 260"/>
                <a:gd name="T109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" h="265">
                  <a:moveTo>
                    <a:pt x="44" y="46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39" y="49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86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90" y="132"/>
                  </a:lnTo>
                  <a:lnTo>
                    <a:pt x="90" y="132"/>
                  </a:lnTo>
                  <a:lnTo>
                    <a:pt x="90" y="132"/>
                  </a:lnTo>
                  <a:lnTo>
                    <a:pt x="90" y="132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95" y="132"/>
                  </a:lnTo>
                  <a:lnTo>
                    <a:pt x="95" y="132"/>
                  </a:lnTo>
                  <a:lnTo>
                    <a:pt x="95" y="132"/>
                  </a:lnTo>
                  <a:lnTo>
                    <a:pt x="125" y="105"/>
                  </a:lnTo>
                  <a:lnTo>
                    <a:pt x="152" y="149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52"/>
                  </a:lnTo>
                  <a:lnTo>
                    <a:pt x="157" y="152"/>
                  </a:lnTo>
                  <a:lnTo>
                    <a:pt x="157" y="152"/>
                  </a:lnTo>
                  <a:lnTo>
                    <a:pt x="157" y="152"/>
                  </a:lnTo>
                  <a:lnTo>
                    <a:pt x="159" y="152"/>
                  </a:lnTo>
                  <a:lnTo>
                    <a:pt x="159" y="152"/>
                  </a:lnTo>
                  <a:lnTo>
                    <a:pt x="159" y="152"/>
                  </a:lnTo>
                  <a:lnTo>
                    <a:pt x="159" y="152"/>
                  </a:lnTo>
                  <a:lnTo>
                    <a:pt x="162" y="152"/>
                  </a:lnTo>
                  <a:lnTo>
                    <a:pt x="162" y="152"/>
                  </a:lnTo>
                  <a:lnTo>
                    <a:pt x="162" y="149"/>
                  </a:lnTo>
                  <a:lnTo>
                    <a:pt x="162" y="149"/>
                  </a:lnTo>
                  <a:lnTo>
                    <a:pt x="191" y="125"/>
                  </a:lnTo>
                  <a:lnTo>
                    <a:pt x="235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3" y="194"/>
                  </a:lnTo>
                  <a:lnTo>
                    <a:pt x="213" y="194"/>
                  </a:lnTo>
                  <a:lnTo>
                    <a:pt x="213" y="194"/>
                  </a:lnTo>
                  <a:lnTo>
                    <a:pt x="213" y="194"/>
                  </a:lnTo>
                  <a:lnTo>
                    <a:pt x="216" y="194"/>
                  </a:lnTo>
                  <a:lnTo>
                    <a:pt x="216" y="196"/>
                  </a:lnTo>
                  <a:lnTo>
                    <a:pt x="216" y="196"/>
                  </a:lnTo>
                  <a:lnTo>
                    <a:pt x="216" y="196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50" y="198"/>
                  </a:lnTo>
                  <a:lnTo>
                    <a:pt x="250" y="198"/>
                  </a:lnTo>
                  <a:lnTo>
                    <a:pt x="250" y="198"/>
                  </a:lnTo>
                  <a:lnTo>
                    <a:pt x="250" y="198"/>
                  </a:lnTo>
                  <a:lnTo>
                    <a:pt x="253" y="198"/>
                  </a:lnTo>
                  <a:lnTo>
                    <a:pt x="253" y="198"/>
                  </a:lnTo>
                  <a:lnTo>
                    <a:pt x="253" y="198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5" y="198"/>
                  </a:lnTo>
                  <a:lnTo>
                    <a:pt x="255" y="198"/>
                  </a:lnTo>
                  <a:lnTo>
                    <a:pt x="255" y="198"/>
                  </a:lnTo>
                  <a:lnTo>
                    <a:pt x="255" y="196"/>
                  </a:lnTo>
                  <a:lnTo>
                    <a:pt x="255" y="196"/>
                  </a:lnTo>
                  <a:lnTo>
                    <a:pt x="255" y="196"/>
                  </a:lnTo>
                  <a:lnTo>
                    <a:pt x="255" y="196"/>
                  </a:lnTo>
                  <a:lnTo>
                    <a:pt x="255" y="196"/>
                  </a:lnTo>
                  <a:lnTo>
                    <a:pt x="255" y="194"/>
                  </a:lnTo>
                  <a:lnTo>
                    <a:pt x="257" y="194"/>
                  </a:lnTo>
                  <a:lnTo>
                    <a:pt x="257" y="194"/>
                  </a:lnTo>
                  <a:lnTo>
                    <a:pt x="257" y="194"/>
                  </a:lnTo>
                  <a:lnTo>
                    <a:pt x="260" y="159"/>
                  </a:lnTo>
                  <a:lnTo>
                    <a:pt x="260" y="159"/>
                  </a:lnTo>
                  <a:lnTo>
                    <a:pt x="260" y="159"/>
                  </a:lnTo>
                  <a:lnTo>
                    <a:pt x="260" y="157"/>
                  </a:lnTo>
                  <a:lnTo>
                    <a:pt x="260" y="157"/>
                  </a:lnTo>
                  <a:lnTo>
                    <a:pt x="257" y="157"/>
                  </a:lnTo>
                  <a:lnTo>
                    <a:pt x="257" y="157"/>
                  </a:lnTo>
                  <a:lnTo>
                    <a:pt x="257" y="157"/>
                  </a:lnTo>
                  <a:lnTo>
                    <a:pt x="257" y="154"/>
                  </a:lnTo>
                  <a:lnTo>
                    <a:pt x="257" y="154"/>
                  </a:lnTo>
                  <a:lnTo>
                    <a:pt x="257" y="154"/>
                  </a:lnTo>
                  <a:lnTo>
                    <a:pt x="255" y="154"/>
                  </a:lnTo>
                  <a:lnTo>
                    <a:pt x="255" y="154"/>
                  </a:lnTo>
                  <a:lnTo>
                    <a:pt x="255" y="154"/>
                  </a:lnTo>
                  <a:lnTo>
                    <a:pt x="255" y="154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0" y="154"/>
                  </a:lnTo>
                  <a:lnTo>
                    <a:pt x="250" y="154"/>
                  </a:lnTo>
                  <a:lnTo>
                    <a:pt x="250" y="154"/>
                  </a:lnTo>
                  <a:lnTo>
                    <a:pt x="250" y="154"/>
                  </a:lnTo>
                  <a:lnTo>
                    <a:pt x="248" y="154"/>
                  </a:lnTo>
                  <a:lnTo>
                    <a:pt x="248" y="157"/>
                  </a:lnTo>
                  <a:lnTo>
                    <a:pt x="248" y="157"/>
                  </a:lnTo>
                  <a:lnTo>
                    <a:pt x="248" y="157"/>
                  </a:lnTo>
                  <a:lnTo>
                    <a:pt x="248" y="157"/>
                  </a:lnTo>
                  <a:lnTo>
                    <a:pt x="248" y="159"/>
                  </a:lnTo>
                  <a:lnTo>
                    <a:pt x="248" y="159"/>
                  </a:lnTo>
                  <a:lnTo>
                    <a:pt x="248" y="159"/>
                  </a:lnTo>
                  <a:lnTo>
                    <a:pt x="245" y="176"/>
                  </a:lnTo>
                  <a:lnTo>
                    <a:pt x="196" y="113"/>
                  </a:lnTo>
                  <a:lnTo>
                    <a:pt x="196" y="113"/>
                  </a:lnTo>
                  <a:lnTo>
                    <a:pt x="196" y="110"/>
                  </a:lnTo>
                  <a:lnTo>
                    <a:pt x="196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86" y="110"/>
                  </a:lnTo>
                  <a:lnTo>
                    <a:pt x="159" y="135"/>
                  </a:lnTo>
                  <a:lnTo>
                    <a:pt x="132" y="91"/>
                  </a:lnTo>
                  <a:lnTo>
                    <a:pt x="132" y="91"/>
                  </a:lnTo>
                  <a:lnTo>
                    <a:pt x="130" y="91"/>
                  </a:lnTo>
                  <a:lnTo>
                    <a:pt x="130" y="91"/>
                  </a:lnTo>
                  <a:lnTo>
                    <a:pt x="130" y="91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5" y="88"/>
                  </a:lnTo>
                  <a:lnTo>
                    <a:pt x="125" y="88"/>
                  </a:lnTo>
                  <a:lnTo>
                    <a:pt x="125" y="88"/>
                  </a:lnTo>
                  <a:lnTo>
                    <a:pt x="125" y="88"/>
                  </a:lnTo>
                  <a:lnTo>
                    <a:pt x="122" y="91"/>
                  </a:lnTo>
                  <a:lnTo>
                    <a:pt x="122" y="91"/>
                  </a:lnTo>
                  <a:lnTo>
                    <a:pt x="122" y="91"/>
                  </a:lnTo>
                  <a:lnTo>
                    <a:pt x="93" y="118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4" y="46"/>
                  </a:lnTo>
                  <a:close/>
                  <a:moveTo>
                    <a:pt x="12" y="0"/>
                  </a:moveTo>
                  <a:lnTo>
                    <a:pt x="12" y="42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12" y="110"/>
                  </a:lnTo>
                  <a:lnTo>
                    <a:pt x="0" y="110"/>
                  </a:lnTo>
                  <a:lnTo>
                    <a:pt x="0" y="122"/>
                  </a:lnTo>
                  <a:lnTo>
                    <a:pt x="12" y="122"/>
                  </a:lnTo>
                  <a:lnTo>
                    <a:pt x="12" y="181"/>
                  </a:lnTo>
                  <a:lnTo>
                    <a:pt x="0" y="181"/>
                  </a:lnTo>
                  <a:lnTo>
                    <a:pt x="0" y="194"/>
                  </a:lnTo>
                  <a:lnTo>
                    <a:pt x="12" y="194"/>
                  </a:lnTo>
                  <a:lnTo>
                    <a:pt x="12" y="252"/>
                  </a:lnTo>
                  <a:lnTo>
                    <a:pt x="68" y="252"/>
                  </a:lnTo>
                  <a:lnTo>
                    <a:pt x="68" y="265"/>
                  </a:lnTo>
                  <a:lnTo>
                    <a:pt x="83" y="265"/>
                  </a:lnTo>
                  <a:lnTo>
                    <a:pt x="83" y="252"/>
                  </a:lnTo>
                  <a:lnTo>
                    <a:pt x="137" y="252"/>
                  </a:lnTo>
                  <a:lnTo>
                    <a:pt x="137" y="265"/>
                  </a:lnTo>
                  <a:lnTo>
                    <a:pt x="149" y="265"/>
                  </a:lnTo>
                  <a:lnTo>
                    <a:pt x="149" y="252"/>
                  </a:lnTo>
                  <a:lnTo>
                    <a:pt x="206" y="252"/>
                  </a:lnTo>
                  <a:lnTo>
                    <a:pt x="206" y="265"/>
                  </a:lnTo>
                  <a:lnTo>
                    <a:pt x="218" y="265"/>
                  </a:lnTo>
                  <a:lnTo>
                    <a:pt x="218" y="252"/>
                  </a:lnTo>
                  <a:lnTo>
                    <a:pt x="257" y="252"/>
                  </a:lnTo>
                  <a:lnTo>
                    <a:pt x="257" y="240"/>
                  </a:lnTo>
                  <a:lnTo>
                    <a:pt x="24" y="240"/>
                  </a:lnTo>
                  <a:lnTo>
                    <a:pt x="24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45">
            <a:extLst>
              <a:ext uri="{FF2B5EF4-FFF2-40B4-BE49-F238E27FC236}">
                <a16:creationId xmlns:a16="http://schemas.microsoft.com/office/drawing/2014/main" id="{0C4DA6E9-CE52-4B91-B31A-3F261E2C91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3358" y="261802"/>
            <a:ext cx="841375" cy="841375"/>
            <a:chOff x="4332" y="176"/>
            <a:chExt cx="530" cy="530"/>
          </a:xfrm>
        </p:grpSpPr>
        <p:sp>
          <p:nvSpPr>
            <p:cNvPr id="55" name="AutoShape 44">
              <a:extLst>
                <a:ext uri="{FF2B5EF4-FFF2-40B4-BE49-F238E27FC236}">
                  <a16:creationId xmlns:a16="http://schemas.microsoft.com/office/drawing/2014/main" id="{6F9B54DE-F63A-4469-99E5-73680708D2B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32" y="17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46">
              <a:extLst>
                <a:ext uri="{FF2B5EF4-FFF2-40B4-BE49-F238E27FC236}">
                  <a16:creationId xmlns:a16="http://schemas.microsoft.com/office/drawing/2014/main" id="{DE9D557A-45FF-4483-828A-371DBCEA6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2" y="17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2E1BECFA-CF57-4A41-8661-44B64D2466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0" y="19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E2F938EB-39E9-482C-B51D-0E9EA40DA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304"/>
              <a:ext cx="272" cy="276"/>
            </a:xfrm>
            <a:custGeom>
              <a:avLst/>
              <a:gdLst>
                <a:gd name="T0" fmla="*/ 44 w 272"/>
                <a:gd name="T1" fmla="*/ 51 h 276"/>
                <a:gd name="T2" fmla="*/ 41 w 272"/>
                <a:gd name="T3" fmla="*/ 51 h 276"/>
                <a:gd name="T4" fmla="*/ 41 w 272"/>
                <a:gd name="T5" fmla="*/ 54 h 276"/>
                <a:gd name="T6" fmla="*/ 41 w 272"/>
                <a:gd name="T7" fmla="*/ 56 h 276"/>
                <a:gd name="T8" fmla="*/ 41 w 272"/>
                <a:gd name="T9" fmla="*/ 59 h 276"/>
                <a:gd name="T10" fmla="*/ 93 w 272"/>
                <a:gd name="T11" fmla="*/ 138 h 276"/>
                <a:gd name="T12" fmla="*/ 95 w 272"/>
                <a:gd name="T13" fmla="*/ 138 h 276"/>
                <a:gd name="T14" fmla="*/ 98 w 272"/>
                <a:gd name="T15" fmla="*/ 138 h 276"/>
                <a:gd name="T16" fmla="*/ 100 w 272"/>
                <a:gd name="T17" fmla="*/ 138 h 276"/>
                <a:gd name="T18" fmla="*/ 162 w 272"/>
                <a:gd name="T19" fmla="*/ 156 h 276"/>
                <a:gd name="T20" fmla="*/ 162 w 272"/>
                <a:gd name="T21" fmla="*/ 159 h 276"/>
                <a:gd name="T22" fmla="*/ 167 w 272"/>
                <a:gd name="T23" fmla="*/ 159 h 276"/>
                <a:gd name="T24" fmla="*/ 169 w 272"/>
                <a:gd name="T25" fmla="*/ 159 h 276"/>
                <a:gd name="T26" fmla="*/ 200 w 272"/>
                <a:gd name="T27" fmla="*/ 130 h 276"/>
                <a:gd name="T28" fmla="*/ 228 w 272"/>
                <a:gd name="T29" fmla="*/ 192 h 276"/>
                <a:gd name="T30" fmla="*/ 226 w 272"/>
                <a:gd name="T31" fmla="*/ 192 h 276"/>
                <a:gd name="T32" fmla="*/ 223 w 272"/>
                <a:gd name="T33" fmla="*/ 195 h 276"/>
                <a:gd name="T34" fmla="*/ 223 w 272"/>
                <a:gd name="T35" fmla="*/ 197 h 276"/>
                <a:gd name="T36" fmla="*/ 223 w 272"/>
                <a:gd name="T37" fmla="*/ 200 h 276"/>
                <a:gd name="T38" fmla="*/ 223 w 272"/>
                <a:gd name="T39" fmla="*/ 202 h 276"/>
                <a:gd name="T40" fmla="*/ 226 w 272"/>
                <a:gd name="T41" fmla="*/ 202 h 276"/>
                <a:gd name="T42" fmla="*/ 228 w 272"/>
                <a:gd name="T43" fmla="*/ 205 h 276"/>
                <a:gd name="T44" fmla="*/ 262 w 272"/>
                <a:gd name="T45" fmla="*/ 207 h 276"/>
                <a:gd name="T46" fmla="*/ 264 w 272"/>
                <a:gd name="T47" fmla="*/ 207 h 276"/>
                <a:gd name="T48" fmla="*/ 267 w 272"/>
                <a:gd name="T49" fmla="*/ 207 h 276"/>
                <a:gd name="T50" fmla="*/ 267 w 272"/>
                <a:gd name="T51" fmla="*/ 205 h 276"/>
                <a:gd name="T52" fmla="*/ 267 w 272"/>
                <a:gd name="T53" fmla="*/ 202 h 276"/>
                <a:gd name="T54" fmla="*/ 272 w 272"/>
                <a:gd name="T55" fmla="*/ 166 h 276"/>
                <a:gd name="T56" fmla="*/ 272 w 272"/>
                <a:gd name="T57" fmla="*/ 164 h 276"/>
                <a:gd name="T58" fmla="*/ 269 w 272"/>
                <a:gd name="T59" fmla="*/ 161 h 276"/>
                <a:gd name="T60" fmla="*/ 267 w 272"/>
                <a:gd name="T61" fmla="*/ 161 h 276"/>
                <a:gd name="T62" fmla="*/ 264 w 272"/>
                <a:gd name="T63" fmla="*/ 161 h 276"/>
                <a:gd name="T64" fmla="*/ 262 w 272"/>
                <a:gd name="T65" fmla="*/ 161 h 276"/>
                <a:gd name="T66" fmla="*/ 259 w 272"/>
                <a:gd name="T67" fmla="*/ 164 h 276"/>
                <a:gd name="T68" fmla="*/ 259 w 272"/>
                <a:gd name="T69" fmla="*/ 166 h 276"/>
                <a:gd name="T70" fmla="*/ 205 w 272"/>
                <a:gd name="T71" fmla="*/ 118 h 276"/>
                <a:gd name="T72" fmla="*/ 203 w 272"/>
                <a:gd name="T73" fmla="*/ 115 h 276"/>
                <a:gd name="T74" fmla="*/ 200 w 272"/>
                <a:gd name="T75" fmla="*/ 115 h 276"/>
                <a:gd name="T76" fmla="*/ 198 w 272"/>
                <a:gd name="T77" fmla="*/ 115 h 276"/>
                <a:gd name="T78" fmla="*/ 195 w 272"/>
                <a:gd name="T79" fmla="*/ 115 h 276"/>
                <a:gd name="T80" fmla="*/ 136 w 272"/>
                <a:gd name="T81" fmla="*/ 95 h 276"/>
                <a:gd name="T82" fmla="*/ 136 w 272"/>
                <a:gd name="T83" fmla="*/ 92 h 276"/>
                <a:gd name="T84" fmla="*/ 131 w 272"/>
                <a:gd name="T85" fmla="*/ 92 h 276"/>
                <a:gd name="T86" fmla="*/ 128 w 272"/>
                <a:gd name="T87" fmla="*/ 95 h 276"/>
                <a:gd name="T88" fmla="*/ 54 w 272"/>
                <a:gd name="T89" fmla="*/ 51 h 276"/>
                <a:gd name="T90" fmla="*/ 52 w 272"/>
                <a:gd name="T91" fmla="*/ 49 h 276"/>
                <a:gd name="T92" fmla="*/ 49 w 272"/>
                <a:gd name="T93" fmla="*/ 49 h 276"/>
                <a:gd name="T94" fmla="*/ 0 w 272"/>
                <a:gd name="T95" fmla="*/ 43 h 276"/>
                <a:gd name="T96" fmla="*/ 0 w 272"/>
                <a:gd name="T97" fmla="*/ 115 h 276"/>
                <a:gd name="T98" fmla="*/ 0 w 272"/>
                <a:gd name="T99" fmla="*/ 189 h 276"/>
                <a:gd name="T100" fmla="*/ 72 w 272"/>
                <a:gd name="T101" fmla="*/ 264 h 276"/>
                <a:gd name="T102" fmla="*/ 144 w 272"/>
                <a:gd name="T103" fmla="*/ 264 h 276"/>
                <a:gd name="T104" fmla="*/ 216 w 272"/>
                <a:gd name="T105" fmla="*/ 264 h 276"/>
                <a:gd name="T106" fmla="*/ 269 w 272"/>
                <a:gd name="T107" fmla="*/ 264 h 276"/>
                <a:gd name="T108" fmla="*/ 13 w 272"/>
                <a:gd name="T10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2" h="276">
                  <a:moveTo>
                    <a:pt x="47" y="49"/>
                  </a:moveTo>
                  <a:lnTo>
                    <a:pt x="47" y="49"/>
                  </a:lnTo>
                  <a:lnTo>
                    <a:pt x="47" y="49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1" y="51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90" y="136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131" y="110"/>
                  </a:lnTo>
                  <a:lnTo>
                    <a:pt x="159" y="156"/>
                  </a:lnTo>
                  <a:lnTo>
                    <a:pt x="162" y="156"/>
                  </a:lnTo>
                  <a:lnTo>
                    <a:pt x="162" y="156"/>
                  </a:lnTo>
                  <a:lnTo>
                    <a:pt x="162" y="156"/>
                  </a:lnTo>
                  <a:lnTo>
                    <a:pt x="162" y="156"/>
                  </a:lnTo>
                  <a:lnTo>
                    <a:pt x="162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7" y="159"/>
                  </a:lnTo>
                  <a:lnTo>
                    <a:pt x="167" y="159"/>
                  </a:lnTo>
                  <a:lnTo>
                    <a:pt x="167" y="159"/>
                  </a:lnTo>
                  <a:lnTo>
                    <a:pt x="167" y="159"/>
                  </a:lnTo>
                  <a:lnTo>
                    <a:pt x="169" y="159"/>
                  </a:lnTo>
                  <a:lnTo>
                    <a:pt x="169" y="159"/>
                  </a:lnTo>
                  <a:lnTo>
                    <a:pt x="169" y="156"/>
                  </a:lnTo>
                  <a:lnTo>
                    <a:pt x="169" y="156"/>
                  </a:lnTo>
                  <a:lnTo>
                    <a:pt x="200" y="130"/>
                  </a:lnTo>
                  <a:lnTo>
                    <a:pt x="246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6" y="192"/>
                  </a:lnTo>
                  <a:lnTo>
                    <a:pt x="226" y="192"/>
                  </a:lnTo>
                  <a:lnTo>
                    <a:pt x="226" y="192"/>
                  </a:lnTo>
                  <a:lnTo>
                    <a:pt x="226" y="192"/>
                  </a:lnTo>
                  <a:lnTo>
                    <a:pt x="226" y="192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200"/>
                  </a:lnTo>
                  <a:lnTo>
                    <a:pt x="223" y="200"/>
                  </a:lnTo>
                  <a:lnTo>
                    <a:pt x="223" y="200"/>
                  </a:lnTo>
                  <a:lnTo>
                    <a:pt x="223" y="200"/>
                  </a:lnTo>
                  <a:lnTo>
                    <a:pt x="223" y="202"/>
                  </a:lnTo>
                  <a:lnTo>
                    <a:pt x="223" y="202"/>
                  </a:lnTo>
                  <a:lnTo>
                    <a:pt x="223" y="202"/>
                  </a:lnTo>
                  <a:lnTo>
                    <a:pt x="223" y="202"/>
                  </a:lnTo>
                  <a:lnTo>
                    <a:pt x="226" y="202"/>
                  </a:lnTo>
                  <a:lnTo>
                    <a:pt x="226" y="205"/>
                  </a:lnTo>
                  <a:lnTo>
                    <a:pt x="226" y="205"/>
                  </a:lnTo>
                  <a:lnTo>
                    <a:pt x="226" y="205"/>
                  </a:lnTo>
                  <a:lnTo>
                    <a:pt x="228" y="205"/>
                  </a:lnTo>
                  <a:lnTo>
                    <a:pt x="228" y="205"/>
                  </a:lnTo>
                  <a:lnTo>
                    <a:pt x="228" y="205"/>
                  </a:lnTo>
                  <a:lnTo>
                    <a:pt x="262" y="207"/>
                  </a:lnTo>
                  <a:lnTo>
                    <a:pt x="262" y="207"/>
                  </a:lnTo>
                  <a:lnTo>
                    <a:pt x="262" y="207"/>
                  </a:lnTo>
                  <a:lnTo>
                    <a:pt x="262" y="207"/>
                  </a:lnTo>
                  <a:lnTo>
                    <a:pt x="264" y="207"/>
                  </a:lnTo>
                  <a:lnTo>
                    <a:pt x="264" y="207"/>
                  </a:lnTo>
                  <a:lnTo>
                    <a:pt x="264" y="207"/>
                  </a:lnTo>
                  <a:lnTo>
                    <a:pt x="264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7" y="205"/>
                  </a:lnTo>
                  <a:lnTo>
                    <a:pt x="267" y="205"/>
                  </a:lnTo>
                  <a:lnTo>
                    <a:pt x="267" y="205"/>
                  </a:lnTo>
                  <a:lnTo>
                    <a:pt x="267" y="205"/>
                  </a:lnTo>
                  <a:lnTo>
                    <a:pt x="267" y="202"/>
                  </a:lnTo>
                  <a:lnTo>
                    <a:pt x="269" y="202"/>
                  </a:lnTo>
                  <a:lnTo>
                    <a:pt x="269" y="202"/>
                  </a:lnTo>
                  <a:lnTo>
                    <a:pt x="269" y="202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2" y="164"/>
                  </a:lnTo>
                  <a:lnTo>
                    <a:pt x="272" y="164"/>
                  </a:lnTo>
                  <a:lnTo>
                    <a:pt x="269" y="164"/>
                  </a:lnTo>
                  <a:lnTo>
                    <a:pt x="269" y="164"/>
                  </a:lnTo>
                  <a:lnTo>
                    <a:pt x="269" y="164"/>
                  </a:lnTo>
                  <a:lnTo>
                    <a:pt x="269" y="161"/>
                  </a:lnTo>
                  <a:lnTo>
                    <a:pt x="269" y="161"/>
                  </a:lnTo>
                  <a:lnTo>
                    <a:pt x="269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2" y="161"/>
                  </a:lnTo>
                  <a:lnTo>
                    <a:pt x="262" y="161"/>
                  </a:lnTo>
                  <a:lnTo>
                    <a:pt x="262" y="161"/>
                  </a:lnTo>
                  <a:lnTo>
                    <a:pt x="262" y="161"/>
                  </a:lnTo>
                  <a:lnTo>
                    <a:pt x="259" y="161"/>
                  </a:lnTo>
                  <a:lnTo>
                    <a:pt x="259" y="164"/>
                  </a:lnTo>
                  <a:lnTo>
                    <a:pt x="259" y="164"/>
                  </a:lnTo>
                  <a:lnTo>
                    <a:pt x="259" y="164"/>
                  </a:lnTo>
                  <a:lnTo>
                    <a:pt x="259" y="164"/>
                  </a:lnTo>
                  <a:lnTo>
                    <a:pt x="259" y="166"/>
                  </a:lnTo>
                  <a:lnTo>
                    <a:pt x="259" y="166"/>
                  </a:lnTo>
                  <a:lnTo>
                    <a:pt x="259" y="166"/>
                  </a:lnTo>
                  <a:lnTo>
                    <a:pt x="257" y="184"/>
                  </a:lnTo>
                  <a:lnTo>
                    <a:pt x="205" y="118"/>
                  </a:lnTo>
                  <a:lnTo>
                    <a:pt x="205" y="118"/>
                  </a:lnTo>
                  <a:lnTo>
                    <a:pt x="205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5" y="115"/>
                  </a:lnTo>
                  <a:lnTo>
                    <a:pt x="167" y="141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6" y="95"/>
                  </a:lnTo>
                  <a:lnTo>
                    <a:pt x="136" y="95"/>
                  </a:lnTo>
                  <a:lnTo>
                    <a:pt x="136" y="95"/>
                  </a:lnTo>
                  <a:lnTo>
                    <a:pt x="136" y="92"/>
                  </a:lnTo>
                  <a:lnTo>
                    <a:pt x="136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98" y="123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7" y="49"/>
                  </a:lnTo>
                  <a:close/>
                  <a:moveTo>
                    <a:pt x="13" y="0"/>
                  </a:moveTo>
                  <a:lnTo>
                    <a:pt x="13" y="43"/>
                  </a:lnTo>
                  <a:lnTo>
                    <a:pt x="0" y="43"/>
                  </a:lnTo>
                  <a:lnTo>
                    <a:pt x="0" y="56"/>
                  </a:lnTo>
                  <a:lnTo>
                    <a:pt x="13" y="56"/>
                  </a:lnTo>
                  <a:lnTo>
                    <a:pt x="13" y="115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13" y="128"/>
                  </a:lnTo>
                  <a:lnTo>
                    <a:pt x="13" y="189"/>
                  </a:lnTo>
                  <a:lnTo>
                    <a:pt x="0" y="189"/>
                  </a:lnTo>
                  <a:lnTo>
                    <a:pt x="0" y="202"/>
                  </a:lnTo>
                  <a:lnTo>
                    <a:pt x="13" y="202"/>
                  </a:lnTo>
                  <a:lnTo>
                    <a:pt x="13" y="264"/>
                  </a:lnTo>
                  <a:lnTo>
                    <a:pt x="72" y="264"/>
                  </a:lnTo>
                  <a:lnTo>
                    <a:pt x="72" y="276"/>
                  </a:lnTo>
                  <a:lnTo>
                    <a:pt x="88" y="276"/>
                  </a:lnTo>
                  <a:lnTo>
                    <a:pt x="88" y="264"/>
                  </a:lnTo>
                  <a:lnTo>
                    <a:pt x="144" y="264"/>
                  </a:lnTo>
                  <a:lnTo>
                    <a:pt x="144" y="276"/>
                  </a:lnTo>
                  <a:lnTo>
                    <a:pt x="157" y="276"/>
                  </a:lnTo>
                  <a:lnTo>
                    <a:pt x="157" y="264"/>
                  </a:lnTo>
                  <a:lnTo>
                    <a:pt x="216" y="264"/>
                  </a:lnTo>
                  <a:lnTo>
                    <a:pt x="216" y="276"/>
                  </a:lnTo>
                  <a:lnTo>
                    <a:pt x="228" y="276"/>
                  </a:lnTo>
                  <a:lnTo>
                    <a:pt x="228" y="264"/>
                  </a:lnTo>
                  <a:lnTo>
                    <a:pt x="269" y="264"/>
                  </a:lnTo>
                  <a:lnTo>
                    <a:pt x="269" y="251"/>
                  </a:lnTo>
                  <a:lnTo>
                    <a:pt x="26" y="251"/>
                  </a:lnTo>
                  <a:lnTo>
                    <a:pt x="26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51">
            <a:extLst>
              <a:ext uri="{FF2B5EF4-FFF2-40B4-BE49-F238E27FC236}">
                <a16:creationId xmlns:a16="http://schemas.microsoft.com/office/drawing/2014/main" id="{518E67C9-8861-4FDA-8AAB-1AD663BAA9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5197" y="1559696"/>
            <a:ext cx="750887" cy="750888"/>
            <a:chOff x="969" y="994"/>
            <a:chExt cx="473" cy="473"/>
          </a:xfrm>
        </p:grpSpPr>
        <p:sp>
          <p:nvSpPr>
            <p:cNvPr id="64" name="AutoShape 50">
              <a:extLst>
                <a:ext uri="{FF2B5EF4-FFF2-40B4-BE49-F238E27FC236}">
                  <a16:creationId xmlns:a16="http://schemas.microsoft.com/office/drawing/2014/main" id="{48B10454-24E7-415B-9B87-5E1C8AB3B11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69" y="994"/>
              <a:ext cx="473" cy="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2">
              <a:extLst>
                <a:ext uri="{FF2B5EF4-FFF2-40B4-BE49-F238E27FC236}">
                  <a16:creationId xmlns:a16="http://schemas.microsoft.com/office/drawing/2014/main" id="{09A2A2D8-CF63-4942-9BF8-E166D5FD4E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" y="996"/>
              <a:ext cx="471" cy="471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3">
              <a:extLst>
                <a:ext uri="{FF2B5EF4-FFF2-40B4-BE49-F238E27FC236}">
                  <a16:creationId xmlns:a16="http://schemas.microsoft.com/office/drawing/2014/main" id="{F8B4DEB4-7F3A-43B7-8F0A-7F58718B06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4" y="1091"/>
              <a:ext cx="286" cy="281"/>
            </a:xfrm>
            <a:custGeom>
              <a:avLst/>
              <a:gdLst>
                <a:gd name="T0" fmla="*/ 240 w 286"/>
                <a:gd name="T1" fmla="*/ 53 h 281"/>
                <a:gd name="T2" fmla="*/ 237 w 286"/>
                <a:gd name="T3" fmla="*/ 56 h 281"/>
                <a:gd name="T4" fmla="*/ 235 w 286"/>
                <a:gd name="T5" fmla="*/ 58 h 281"/>
                <a:gd name="T6" fmla="*/ 235 w 286"/>
                <a:gd name="T7" fmla="*/ 61 h 281"/>
                <a:gd name="T8" fmla="*/ 235 w 286"/>
                <a:gd name="T9" fmla="*/ 63 h 281"/>
                <a:gd name="T10" fmla="*/ 237 w 286"/>
                <a:gd name="T11" fmla="*/ 66 h 281"/>
                <a:gd name="T12" fmla="*/ 237 w 286"/>
                <a:gd name="T13" fmla="*/ 68 h 281"/>
                <a:gd name="T14" fmla="*/ 240 w 286"/>
                <a:gd name="T15" fmla="*/ 68 h 281"/>
                <a:gd name="T16" fmla="*/ 211 w 286"/>
                <a:gd name="T17" fmla="*/ 129 h 281"/>
                <a:gd name="T18" fmla="*/ 177 w 286"/>
                <a:gd name="T19" fmla="*/ 102 h 281"/>
                <a:gd name="T20" fmla="*/ 174 w 286"/>
                <a:gd name="T21" fmla="*/ 99 h 281"/>
                <a:gd name="T22" fmla="*/ 172 w 286"/>
                <a:gd name="T23" fmla="*/ 102 h 281"/>
                <a:gd name="T24" fmla="*/ 169 w 286"/>
                <a:gd name="T25" fmla="*/ 104 h 281"/>
                <a:gd name="T26" fmla="*/ 104 w 286"/>
                <a:gd name="T27" fmla="*/ 121 h 281"/>
                <a:gd name="T28" fmla="*/ 101 w 286"/>
                <a:gd name="T29" fmla="*/ 121 h 281"/>
                <a:gd name="T30" fmla="*/ 99 w 286"/>
                <a:gd name="T31" fmla="*/ 121 h 281"/>
                <a:gd name="T32" fmla="*/ 97 w 286"/>
                <a:gd name="T33" fmla="*/ 121 h 281"/>
                <a:gd name="T34" fmla="*/ 43 w 286"/>
                <a:gd name="T35" fmla="*/ 199 h 281"/>
                <a:gd name="T36" fmla="*/ 41 w 286"/>
                <a:gd name="T37" fmla="*/ 201 h 281"/>
                <a:gd name="T38" fmla="*/ 41 w 286"/>
                <a:gd name="T39" fmla="*/ 206 h 281"/>
                <a:gd name="T40" fmla="*/ 43 w 286"/>
                <a:gd name="T41" fmla="*/ 209 h 281"/>
                <a:gd name="T42" fmla="*/ 46 w 286"/>
                <a:gd name="T43" fmla="*/ 209 h 281"/>
                <a:gd name="T44" fmla="*/ 48 w 286"/>
                <a:gd name="T45" fmla="*/ 211 h 281"/>
                <a:gd name="T46" fmla="*/ 53 w 286"/>
                <a:gd name="T47" fmla="*/ 209 h 281"/>
                <a:gd name="T48" fmla="*/ 55 w 286"/>
                <a:gd name="T49" fmla="*/ 209 h 281"/>
                <a:gd name="T50" fmla="*/ 135 w 286"/>
                <a:gd name="T51" fmla="*/ 165 h 281"/>
                <a:gd name="T52" fmla="*/ 138 w 286"/>
                <a:gd name="T53" fmla="*/ 167 h 281"/>
                <a:gd name="T54" fmla="*/ 140 w 286"/>
                <a:gd name="T55" fmla="*/ 167 h 281"/>
                <a:gd name="T56" fmla="*/ 143 w 286"/>
                <a:gd name="T57" fmla="*/ 165 h 281"/>
                <a:gd name="T58" fmla="*/ 206 w 286"/>
                <a:gd name="T59" fmla="*/ 143 h 281"/>
                <a:gd name="T60" fmla="*/ 208 w 286"/>
                <a:gd name="T61" fmla="*/ 143 h 281"/>
                <a:gd name="T62" fmla="*/ 211 w 286"/>
                <a:gd name="T63" fmla="*/ 146 h 281"/>
                <a:gd name="T64" fmla="*/ 216 w 286"/>
                <a:gd name="T65" fmla="*/ 143 h 281"/>
                <a:gd name="T66" fmla="*/ 216 w 286"/>
                <a:gd name="T67" fmla="*/ 143 h 281"/>
                <a:gd name="T68" fmla="*/ 274 w 286"/>
                <a:gd name="T69" fmla="*/ 95 h 281"/>
                <a:gd name="T70" fmla="*/ 274 w 286"/>
                <a:gd name="T71" fmla="*/ 97 h 281"/>
                <a:gd name="T72" fmla="*/ 276 w 286"/>
                <a:gd name="T73" fmla="*/ 99 h 281"/>
                <a:gd name="T74" fmla="*/ 279 w 286"/>
                <a:gd name="T75" fmla="*/ 99 h 281"/>
                <a:gd name="T76" fmla="*/ 283 w 286"/>
                <a:gd name="T77" fmla="*/ 99 h 281"/>
                <a:gd name="T78" fmla="*/ 283 w 286"/>
                <a:gd name="T79" fmla="*/ 97 h 281"/>
                <a:gd name="T80" fmla="*/ 286 w 286"/>
                <a:gd name="T81" fmla="*/ 95 h 281"/>
                <a:gd name="T82" fmla="*/ 286 w 286"/>
                <a:gd name="T83" fmla="*/ 92 h 281"/>
                <a:gd name="T84" fmla="*/ 283 w 286"/>
                <a:gd name="T85" fmla="*/ 56 h 281"/>
                <a:gd name="T86" fmla="*/ 283 w 286"/>
                <a:gd name="T87" fmla="*/ 53 h 281"/>
                <a:gd name="T88" fmla="*/ 281 w 286"/>
                <a:gd name="T89" fmla="*/ 53 h 281"/>
                <a:gd name="T90" fmla="*/ 279 w 286"/>
                <a:gd name="T91" fmla="*/ 51 h 281"/>
                <a:gd name="T92" fmla="*/ 276 w 286"/>
                <a:gd name="T93" fmla="*/ 51 h 281"/>
                <a:gd name="T94" fmla="*/ 0 w 286"/>
                <a:gd name="T95" fmla="*/ 44 h 281"/>
                <a:gd name="T96" fmla="*/ 0 w 286"/>
                <a:gd name="T97" fmla="*/ 119 h 281"/>
                <a:gd name="T98" fmla="*/ 0 w 286"/>
                <a:gd name="T99" fmla="*/ 192 h 281"/>
                <a:gd name="T100" fmla="*/ 75 w 286"/>
                <a:gd name="T101" fmla="*/ 267 h 281"/>
                <a:gd name="T102" fmla="*/ 150 w 286"/>
                <a:gd name="T103" fmla="*/ 267 h 281"/>
                <a:gd name="T104" fmla="*/ 228 w 286"/>
                <a:gd name="T105" fmla="*/ 267 h 281"/>
                <a:gd name="T106" fmla="*/ 286 w 286"/>
                <a:gd name="T107" fmla="*/ 267 h 281"/>
                <a:gd name="T108" fmla="*/ 12 w 286"/>
                <a:gd name="T10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6" h="281">
                  <a:moveTo>
                    <a:pt x="276" y="51"/>
                  </a:moveTo>
                  <a:lnTo>
                    <a:pt x="242" y="53"/>
                  </a:lnTo>
                  <a:lnTo>
                    <a:pt x="240" y="53"/>
                  </a:lnTo>
                  <a:lnTo>
                    <a:pt x="240" y="53"/>
                  </a:lnTo>
                  <a:lnTo>
                    <a:pt x="240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62" y="66"/>
                  </a:lnTo>
                  <a:lnTo>
                    <a:pt x="211" y="129"/>
                  </a:lnTo>
                  <a:lnTo>
                    <a:pt x="179" y="102"/>
                  </a:lnTo>
                  <a:lnTo>
                    <a:pt x="179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4" y="102"/>
                  </a:lnTo>
                  <a:lnTo>
                    <a:pt x="174" y="102"/>
                  </a:lnTo>
                  <a:lnTo>
                    <a:pt x="174" y="99"/>
                  </a:lnTo>
                  <a:lnTo>
                    <a:pt x="174" y="102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69" y="102"/>
                  </a:lnTo>
                  <a:lnTo>
                    <a:pt x="169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38" y="150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43" y="199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5" y="209"/>
                  </a:lnTo>
                  <a:lnTo>
                    <a:pt x="101" y="138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8" y="167"/>
                  </a:lnTo>
                  <a:lnTo>
                    <a:pt x="138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5" y="165"/>
                  </a:lnTo>
                  <a:lnTo>
                    <a:pt x="145" y="163"/>
                  </a:lnTo>
                  <a:lnTo>
                    <a:pt x="177" y="116"/>
                  </a:lnTo>
                  <a:lnTo>
                    <a:pt x="206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3"/>
                  </a:lnTo>
                  <a:lnTo>
                    <a:pt x="213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71" y="75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7"/>
                  </a:lnTo>
                  <a:lnTo>
                    <a:pt x="274" y="97"/>
                  </a:lnTo>
                  <a:lnTo>
                    <a:pt x="276" y="97"/>
                  </a:lnTo>
                  <a:lnTo>
                    <a:pt x="276" y="97"/>
                  </a:lnTo>
                  <a:lnTo>
                    <a:pt x="276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3" y="99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6" y="97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2"/>
                  </a:lnTo>
                  <a:lnTo>
                    <a:pt x="286" y="92"/>
                  </a:lnTo>
                  <a:lnTo>
                    <a:pt x="286" y="92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6" y="51"/>
                  </a:lnTo>
                  <a:lnTo>
                    <a:pt x="276" y="51"/>
                  </a:lnTo>
                  <a:lnTo>
                    <a:pt x="276" y="51"/>
                  </a:lnTo>
                  <a:lnTo>
                    <a:pt x="276" y="51"/>
                  </a:lnTo>
                  <a:close/>
                  <a:moveTo>
                    <a:pt x="12" y="0"/>
                  </a:moveTo>
                  <a:lnTo>
                    <a:pt x="12" y="44"/>
                  </a:lnTo>
                  <a:lnTo>
                    <a:pt x="0" y="44"/>
                  </a:lnTo>
                  <a:lnTo>
                    <a:pt x="0" y="58"/>
                  </a:lnTo>
                  <a:lnTo>
                    <a:pt x="12" y="58"/>
                  </a:lnTo>
                  <a:lnTo>
                    <a:pt x="12" y="119"/>
                  </a:lnTo>
                  <a:lnTo>
                    <a:pt x="0" y="119"/>
                  </a:lnTo>
                  <a:lnTo>
                    <a:pt x="0" y="131"/>
                  </a:lnTo>
                  <a:lnTo>
                    <a:pt x="12" y="131"/>
                  </a:lnTo>
                  <a:lnTo>
                    <a:pt x="12" y="192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12" y="204"/>
                  </a:lnTo>
                  <a:lnTo>
                    <a:pt x="12" y="267"/>
                  </a:lnTo>
                  <a:lnTo>
                    <a:pt x="75" y="267"/>
                  </a:lnTo>
                  <a:lnTo>
                    <a:pt x="75" y="281"/>
                  </a:lnTo>
                  <a:lnTo>
                    <a:pt x="89" y="281"/>
                  </a:lnTo>
                  <a:lnTo>
                    <a:pt x="89" y="267"/>
                  </a:lnTo>
                  <a:lnTo>
                    <a:pt x="150" y="267"/>
                  </a:lnTo>
                  <a:lnTo>
                    <a:pt x="150" y="281"/>
                  </a:lnTo>
                  <a:lnTo>
                    <a:pt x="165" y="281"/>
                  </a:lnTo>
                  <a:lnTo>
                    <a:pt x="165" y="267"/>
                  </a:lnTo>
                  <a:lnTo>
                    <a:pt x="228" y="267"/>
                  </a:lnTo>
                  <a:lnTo>
                    <a:pt x="228" y="281"/>
                  </a:lnTo>
                  <a:lnTo>
                    <a:pt x="240" y="281"/>
                  </a:lnTo>
                  <a:lnTo>
                    <a:pt x="240" y="267"/>
                  </a:lnTo>
                  <a:lnTo>
                    <a:pt x="286" y="267"/>
                  </a:lnTo>
                  <a:lnTo>
                    <a:pt x="286" y="255"/>
                  </a:lnTo>
                  <a:lnTo>
                    <a:pt x="26" y="255"/>
                  </a:lnTo>
                  <a:lnTo>
                    <a:pt x="26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4">
              <a:extLst>
                <a:ext uri="{FF2B5EF4-FFF2-40B4-BE49-F238E27FC236}">
                  <a16:creationId xmlns:a16="http://schemas.microsoft.com/office/drawing/2014/main" id="{E9EB3BA7-9A3B-4095-89EA-2A0BEC9BA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4" y="1091"/>
              <a:ext cx="286" cy="281"/>
            </a:xfrm>
            <a:custGeom>
              <a:avLst/>
              <a:gdLst>
                <a:gd name="T0" fmla="*/ 240 w 286"/>
                <a:gd name="T1" fmla="*/ 53 h 281"/>
                <a:gd name="T2" fmla="*/ 237 w 286"/>
                <a:gd name="T3" fmla="*/ 56 h 281"/>
                <a:gd name="T4" fmla="*/ 235 w 286"/>
                <a:gd name="T5" fmla="*/ 58 h 281"/>
                <a:gd name="T6" fmla="*/ 235 w 286"/>
                <a:gd name="T7" fmla="*/ 61 h 281"/>
                <a:gd name="T8" fmla="*/ 235 w 286"/>
                <a:gd name="T9" fmla="*/ 63 h 281"/>
                <a:gd name="T10" fmla="*/ 237 w 286"/>
                <a:gd name="T11" fmla="*/ 66 h 281"/>
                <a:gd name="T12" fmla="*/ 237 w 286"/>
                <a:gd name="T13" fmla="*/ 68 h 281"/>
                <a:gd name="T14" fmla="*/ 240 w 286"/>
                <a:gd name="T15" fmla="*/ 68 h 281"/>
                <a:gd name="T16" fmla="*/ 211 w 286"/>
                <a:gd name="T17" fmla="*/ 129 h 281"/>
                <a:gd name="T18" fmla="*/ 177 w 286"/>
                <a:gd name="T19" fmla="*/ 102 h 281"/>
                <a:gd name="T20" fmla="*/ 174 w 286"/>
                <a:gd name="T21" fmla="*/ 99 h 281"/>
                <a:gd name="T22" fmla="*/ 172 w 286"/>
                <a:gd name="T23" fmla="*/ 102 h 281"/>
                <a:gd name="T24" fmla="*/ 169 w 286"/>
                <a:gd name="T25" fmla="*/ 104 h 281"/>
                <a:gd name="T26" fmla="*/ 104 w 286"/>
                <a:gd name="T27" fmla="*/ 121 h 281"/>
                <a:gd name="T28" fmla="*/ 101 w 286"/>
                <a:gd name="T29" fmla="*/ 121 h 281"/>
                <a:gd name="T30" fmla="*/ 99 w 286"/>
                <a:gd name="T31" fmla="*/ 121 h 281"/>
                <a:gd name="T32" fmla="*/ 97 w 286"/>
                <a:gd name="T33" fmla="*/ 121 h 281"/>
                <a:gd name="T34" fmla="*/ 43 w 286"/>
                <a:gd name="T35" fmla="*/ 199 h 281"/>
                <a:gd name="T36" fmla="*/ 41 w 286"/>
                <a:gd name="T37" fmla="*/ 201 h 281"/>
                <a:gd name="T38" fmla="*/ 41 w 286"/>
                <a:gd name="T39" fmla="*/ 206 h 281"/>
                <a:gd name="T40" fmla="*/ 43 w 286"/>
                <a:gd name="T41" fmla="*/ 209 h 281"/>
                <a:gd name="T42" fmla="*/ 46 w 286"/>
                <a:gd name="T43" fmla="*/ 209 h 281"/>
                <a:gd name="T44" fmla="*/ 48 w 286"/>
                <a:gd name="T45" fmla="*/ 211 h 281"/>
                <a:gd name="T46" fmla="*/ 53 w 286"/>
                <a:gd name="T47" fmla="*/ 209 h 281"/>
                <a:gd name="T48" fmla="*/ 55 w 286"/>
                <a:gd name="T49" fmla="*/ 209 h 281"/>
                <a:gd name="T50" fmla="*/ 135 w 286"/>
                <a:gd name="T51" fmla="*/ 165 h 281"/>
                <a:gd name="T52" fmla="*/ 138 w 286"/>
                <a:gd name="T53" fmla="*/ 167 h 281"/>
                <a:gd name="T54" fmla="*/ 140 w 286"/>
                <a:gd name="T55" fmla="*/ 167 h 281"/>
                <a:gd name="T56" fmla="*/ 143 w 286"/>
                <a:gd name="T57" fmla="*/ 165 h 281"/>
                <a:gd name="T58" fmla="*/ 206 w 286"/>
                <a:gd name="T59" fmla="*/ 143 h 281"/>
                <a:gd name="T60" fmla="*/ 208 w 286"/>
                <a:gd name="T61" fmla="*/ 143 h 281"/>
                <a:gd name="T62" fmla="*/ 211 w 286"/>
                <a:gd name="T63" fmla="*/ 146 h 281"/>
                <a:gd name="T64" fmla="*/ 216 w 286"/>
                <a:gd name="T65" fmla="*/ 143 h 281"/>
                <a:gd name="T66" fmla="*/ 216 w 286"/>
                <a:gd name="T67" fmla="*/ 143 h 281"/>
                <a:gd name="T68" fmla="*/ 274 w 286"/>
                <a:gd name="T69" fmla="*/ 95 h 281"/>
                <a:gd name="T70" fmla="*/ 274 w 286"/>
                <a:gd name="T71" fmla="*/ 97 h 281"/>
                <a:gd name="T72" fmla="*/ 276 w 286"/>
                <a:gd name="T73" fmla="*/ 99 h 281"/>
                <a:gd name="T74" fmla="*/ 279 w 286"/>
                <a:gd name="T75" fmla="*/ 99 h 281"/>
                <a:gd name="T76" fmla="*/ 283 w 286"/>
                <a:gd name="T77" fmla="*/ 99 h 281"/>
                <a:gd name="T78" fmla="*/ 283 w 286"/>
                <a:gd name="T79" fmla="*/ 97 h 281"/>
                <a:gd name="T80" fmla="*/ 286 w 286"/>
                <a:gd name="T81" fmla="*/ 95 h 281"/>
                <a:gd name="T82" fmla="*/ 286 w 286"/>
                <a:gd name="T83" fmla="*/ 92 h 281"/>
                <a:gd name="T84" fmla="*/ 283 w 286"/>
                <a:gd name="T85" fmla="*/ 56 h 281"/>
                <a:gd name="T86" fmla="*/ 283 w 286"/>
                <a:gd name="T87" fmla="*/ 53 h 281"/>
                <a:gd name="T88" fmla="*/ 281 w 286"/>
                <a:gd name="T89" fmla="*/ 53 h 281"/>
                <a:gd name="T90" fmla="*/ 279 w 286"/>
                <a:gd name="T91" fmla="*/ 51 h 281"/>
                <a:gd name="T92" fmla="*/ 276 w 286"/>
                <a:gd name="T93" fmla="*/ 51 h 281"/>
                <a:gd name="T94" fmla="*/ 0 w 286"/>
                <a:gd name="T95" fmla="*/ 44 h 281"/>
                <a:gd name="T96" fmla="*/ 0 w 286"/>
                <a:gd name="T97" fmla="*/ 119 h 281"/>
                <a:gd name="T98" fmla="*/ 0 w 286"/>
                <a:gd name="T99" fmla="*/ 192 h 281"/>
                <a:gd name="T100" fmla="*/ 75 w 286"/>
                <a:gd name="T101" fmla="*/ 267 h 281"/>
                <a:gd name="T102" fmla="*/ 150 w 286"/>
                <a:gd name="T103" fmla="*/ 267 h 281"/>
                <a:gd name="T104" fmla="*/ 228 w 286"/>
                <a:gd name="T105" fmla="*/ 267 h 281"/>
                <a:gd name="T106" fmla="*/ 286 w 286"/>
                <a:gd name="T107" fmla="*/ 267 h 281"/>
                <a:gd name="T108" fmla="*/ 12 w 286"/>
                <a:gd name="T10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6" h="281">
                  <a:moveTo>
                    <a:pt x="276" y="51"/>
                  </a:moveTo>
                  <a:lnTo>
                    <a:pt x="242" y="53"/>
                  </a:lnTo>
                  <a:lnTo>
                    <a:pt x="240" y="53"/>
                  </a:lnTo>
                  <a:lnTo>
                    <a:pt x="240" y="53"/>
                  </a:lnTo>
                  <a:lnTo>
                    <a:pt x="240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7" y="56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58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3"/>
                  </a:lnTo>
                  <a:lnTo>
                    <a:pt x="235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6"/>
                  </a:lnTo>
                  <a:lnTo>
                    <a:pt x="237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62" y="66"/>
                  </a:lnTo>
                  <a:lnTo>
                    <a:pt x="211" y="129"/>
                  </a:lnTo>
                  <a:lnTo>
                    <a:pt x="179" y="102"/>
                  </a:lnTo>
                  <a:lnTo>
                    <a:pt x="179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4" y="102"/>
                  </a:lnTo>
                  <a:lnTo>
                    <a:pt x="174" y="102"/>
                  </a:lnTo>
                  <a:lnTo>
                    <a:pt x="174" y="99"/>
                  </a:lnTo>
                  <a:lnTo>
                    <a:pt x="174" y="102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69" y="102"/>
                  </a:lnTo>
                  <a:lnTo>
                    <a:pt x="169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38" y="150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43" y="199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1" y="206"/>
                  </a:lnTo>
                  <a:lnTo>
                    <a:pt x="41" y="206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3" y="209"/>
                  </a:lnTo>
                  <a:lnTo>
                    <a:pt x="55" y="209"/>
                  </a:lnTo>
                  <a:lnTo>
                    <a:pt x="101" y="138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8" y="167"/>
                  </a:lnTo>
                  <a:lnTo>
                    <a:pt x="138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3" y="165"/>
                  </a:lnTo>
                  <a:lnTo>
                    <a:pt x="145" y="165"/>
                  </a:lnTo>
                  <a:lnTo>
                    <a:pt x="145" y="163"/>
                  </a:lnTo>
                  <a:lnTo>
                    <a:pt x="177" y="116"/>
                  </a:lnTo>
                  <a:lnTo>
                    <a:pt x="206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08" y="143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3"/>
                  </a:lnTo>
                  <a:lnTo>
                    <a:pt x="213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16" y="143"/>
                  </a:lnTo>
                  <a:lnTo>
                    <a:pt x="271" y="75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5"/>
                  </a:lnTo>
                  <a:lnTo>
                    <a:pt x="274" y="97"/>
                  </a:lnTo>
                  <a:lnTo>
                    <a:pt x="274" y="97"/>
                  </a:lnTo>
                  <a:lnTo>
                    <a:pt x="276" y="97"/>
                  </a:lnTo>
                  <a:lnTo>
                    <a:pt x="276" y="97"/>
                  </a:lnTo>
                  <a:lnTo>
                    <a:pt x="276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3" y="99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6" y="97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2"/>
                  </a:lnTo>
                  <a:lnTo>
                    <a:pt x="286" y="92"/>
                  </a:lnTo>
                  <a:lnTo>
                    <a:pt x="286" y="92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3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9" y="51"/>
                  </a:lnTo>
                  <a:lnTo>
                    <a:pt x="276" y="51"/>
                  </a:lnTo>
                  <a:lnTo>
                    <a:pt x="276" y="51"/>
                  </a:lnTo>
                  <a:lnTo>
                    <a:pt x="276" y="51"/>
                  </a:lnTo>
                  <a:lnTo>
                    <a:pt x="276" y="51"/>
                  </a:lnTo>
                  <a:close/>
                  <a:moveTo>
                    <a:pt x="12" y="0"/>
                  </a:moveTo>
                  <a:lnTo>
                    <a:pt x="12" y="44"/>
                  </a:lnTo>
                  <a:lnTo>
                    <a:pt x="0" y="44"/>
                  </a:lnTo>
                  <a:lnTo>
                    <a:pt x="0" y="58"/>
                  </a:lnTo>
                  <a:lnTo>
                    <a:pt x="12" y="58"/>
                  </a:lnTo>
                  <a:lnTo>
                    <a:pt x="12" y="119"/>
                  </a:lnTo>
                  <a:lnTo>
                    <a:pt x="0" y="119"/>
                  </a:lnTo>
                  <a:lnTo>
                    <a:pt x="0" y="131"/>
                  </a:lnTo>
                  <a:lnTo>
                    <a:pt x="12" y="131"/>
                  </a:lnTo>
                  <a:lnTo>
                    <a:pt x="12" y="192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12" y="204"/>
                  </a:lnTo>
                  <a:lnTo>
                    <a:pt x="12" y="267"/>
                  </a:lnTo>
                  <a:lnTo>
                    <a:pt x="75" y="267"/>
                  </a:lnTo>
                  <a:lnTo>
                    <a:pt x="75" y="281"/>
                  </a:lnTo>
                  <a:lnTo>
                    <a:pt x="89" y="281"/>
                  </a:lnTo>
                  <a:lnTo>
                    <a:pt x="89" y="267"/>
                  </a:lnTo>
                  <a:lnTo>
                    <a:pt x="150" y="267"/>
                  </a:lnTo>
                  <a:lnTo>
                    <a:pt x="150" y="281"/>
                  </a:lnTo>
                  <a:lnTo>
                    <a:pt x="165" y="281"/>
                  </a:lnTo>
                  <a:lnTo>
                    <a:pt x="165" y="267"/>
                  </a:lnTo>
                  <a:lnTo>
                    <a:pt x="228" y="267"/>
                  </a:lnTo>
                  <a:lnTo>
                    <a:pt x="228" y="281"/>
                  </a:lnTo>
                  <a:lnTo>
                    <a:pt x="240" y="281"/>
                  </a:lnTo>
                  <a:lnTo>
                    <a:pt x="240" y="267"/>
                  </a:lnTo>
                  <a:lnTo>
                    <a:pt x="286" y="267"/>
                  </a:lnTo>
                  <a:lnTo>
                    <a:pt x="286" y="255"/>
                  </a:lnTo>
                  <a:lnTo>
                    <a:pt x="26" y="255"/>
                  </a:lnTo>
                  <a:lnTo>
                    <a:pt x="26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57">
            <a:extLst>
              <a:ext uri="{FF2B5EF4-FFF2-40B4-BE49-F238E27FC236}">
                <a16:creationId xmlns:a16="http://schemas.microsoft.com/office/drawing/2014/main" id="{FCB85D98-B4E5-478F-9229-290EC989FA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21" y="1514453"/>
            <a:ext cx="841375" cy="841375"/>
            <a:chOff x="272" y="982"/>
            <a:chExt cx="530" cy="530"/>
          </a:xfrm>
        </p:grpSpPr>
        <p:sp>
          <p:nvSpPr>
            <p:cNvPr id="69" name="AutoShape 56">
              <a:extLst>
                <a:ext uri="{FF2B5EF4-FFF2-40B4-BE49-F238E27FC236}">
                  <a16:creationId xmlns:a16="http://schemas.microsoft.com/office/drawing/2014/main" id="{9B9F8BC1-4B4D-4DC7-A965-5D07376CFE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72" y="9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Oval 58">
              <a:extLst>
                <a:ext uri="{FF2B5EF4-FFF2-40B4-BE49-F238E27FC236}">
                  <a16:creationId xmlns:a16="http://schemas.microsoft.com/office/drawing/2014/main" id="{289AC0FB-361A-4FC1-9066-2ABAEFE642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" y="9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7AB3FAF2-D448-4C69-933E-63478850FC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" y="10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03B26CBF-C2FB-4DC4-BE68-01FBA032D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" y="1100"/>
              <a:ext cx="302" cy="297"/>
            </a:xfrm>
            <a:custGeom>
              <a:avLst/>
              <a:gdLst>
                <a:gd name="T0" fmla="*/ 254 w 302"/>
                <a:gd name="T1" fmla="*/ 56 h 297"/>
                <a:gd name="T2" fmla="*/ 251 w 302"/>
                <a:gd name="T3" fmla="*/ 59 h 297"/>
                <a:gd name="T4" fmla="*/ 248 w 302"/>
                <a:gd name="T5" fmla="*/ 61 h 297"/>
                <a:gd name="T6" fmla="*/ 248 w 302"/>
                <a:gd name="T7" fmla="*/ 64 h 297"/>
                <a:gd name="T8" fmla="*/ 248 w 302"/>
                <a:gd name="T9" fmla="*/ 66 h 297"/>
                <a:gd name="T10" fmla="*/ 251 w 302"/>
                <a:gd name="T11" fmla="*/ 69 h 297"/>
                <a:gd name="T12" fmla="*/ 251 w 302"/>
                <a:gd name="T13" fmla="*/ 71 h 297"/>
                <a:gd name="T14" fmla="*/ 254 w 302"/>
                <a:gd name="T15" fmla="*/ 71 h 297"/>
                <a:gd name="T16" fmla="*/ 223 w 302"/>
                <a:gd name="T17" fmla="*/ 135 h 297"/>
                <a:gd name="T18" fmla="*/ 187 w 302"/>
                <a:gd name="T19" fmla="*/ 107 h 297"/>
                <a:gd name="T20" fmla="*/ 184 w 302"/>
                <a:gd name="T21" fmla="*/ 105 h 297"/>
                <a:gd name="T22" fmla="*/ 182 w 302"/>
                <a:gd name="T23" fmla="*/ 107 h 297"/>
                <a:gd name="T24" fmla="*/ 179 w 302"/>
                <a:gd name="T25" fmla="*/ 110 h 297"/>
                <a:gd name="T26" fmla="*/ 110 w 302"/>
                <a:gd name="T27" fmla="*/ 128 h 297"/>
                <a:gd name="T28" fmla="*/ 108 w 302"/>
                <a:gd name="T29" fmla="*/ 128 h 297"/>
                <a:gd name="T30" fmla="*/ 105 w 302"/>
                <a:gd name="T31" fmla="*/ 128 h 297"/>
                <a:gd name="T32" fmla="*/ 103 w 302"/>
                <a:gd name="T33" fmla="*/ 128 h 297"/>
                <a:gd name="T34" fmla="*/ 46 w 302"/>
                <a:gd name="T35" fmla="*/ 210 h 297"/>
                <a:gd name="T36" fmla="*/ 44 w 302"/>
                <a:gd name="T37" fmla="*/ 212 h 297"/>
                <a:gd name="T38" fmla="*/ 44 w 302"/>
                <a:gd name="T39" fmla="*/ 217 h 297"/>
                <a:gd name="T40" fmla="*/ 46 w 302"/>
                <a:gd name="T41" fmla="*/ 220 h 297"/>
                <a:gd name="T42" fmla="*/ 49 w 302"/>
                <a:gd name="T43" fmla="*/ 220 h 297"/>
                <a:gd name="T44" fmla="*/ 51 w 302"/>
                <a:gd name="T45" fmla="*/ 222 h 297"/>
                <a:gd name="T46" fmla="*/ 56 w 302"/>
                <a:gd name="T47" fmla="*/ 220 h 297"/>
                <a:gd name="T48" fmla="*/ 59 w 302"/>
                <a:gd name="T49" fmla="*/ 220 h 297"/>
                <a:gd name="T50" fmla="*/ 143 w 302"/>
                <a:gd name="T51" fmla="*/ 174 h 297"/>
                <a:gd name="T52" fmla="*/ 146 w 302"/>
                <a:gd name="T53" fmla="*/ 176 h 297"/>
                <a:gd name="T54" fmla="*/ 149 w 302"/>
                <a:gd name="T55" fmla="*/ 176 h 297"/>
                <a:gd name="T56" fmla="*/ 151 w 302"/>
                <a:gd name="T57" fmla="*/ 174 h 297"/>
                <a:gd name="T58" fmla="*/ 218 w 302"/>
                <a:gd name="T59" fmla="*/ 151 h 297"/>
                <a:gd name="T60" fmla="*/ 220 w 302"/>
                <a:gd name="T61" fmla="*/ 151 h 297"/>
                <a:gd name="T62" fmla="*/ 223 w 302"/>
                <a:gd name="T63" fmla="*/ 153 h 297"/>
                <a:gd name="T64" fmla="*/ 228 w 302"/>
                <a:gd name="T65" fmla="*/ 151 h 297"/>
                <a:gd name="T66" fmla="*/ 228 w 302"/>
                <a:gd name="T67" fmla="*/ 151 h 297"/>
                <a:gd name="T68" fmla="*/ 289 w 302"/>
                <a:gd name="T69" fmla="*/ 100 h 297"/>
                <a:gd name="T70" fmla="*/ 289 w 302"/>
                <a:gd name="T71" fmla="*/ 102 h 297"/>
                <a:gd name="T72" fmla="*/ 292 w 302"/>
                <a:gd name="T73" fmla="*/ 105 h 297"/>
                <a:gd name="T74" fmla="*/ 295 w 302"/>
                <a:gd name="T75" fmla="*/ 105 h 297"/>
                <a:gd name="T76" fmla="*/ 300 w 302"/>
                <a:gd name="T77" fmla="*/ 105 h 297"/>
                <a:gd name="T78" fmla="*/ 300 w 302"/>
                <a:gd name="T79" fmla="*/ 102 h 297"/>
                <a:gd name="T80" fmla="*/ 302 w 302"/>
                <a:gd name="T81" fmla="*/ 100 h 297"/>
                <a:gd name="T82" fmla="*/ 302 w 302"/>
                <a:gd name="T83" fmla="*/ 97 h 297"/>
                <a:gd name="T84" fmla="*/ 300 w 302"/>
                <a:gd name="T85" fmla="*/ 59 h 297"/>
                <a:gd name="T86" fmla="*/ 300 w 302"/>
                <a:gd name="T87" fmla="*/ 56 h 297"/>
                <a:gd name="T88" fmla="*/ 297 w 302"/>
                <a:gd name="T89" fmla="*/ 56 h 297"/>
                <a:gd name="T90" fmla="*/ 295 w 302"/>
                <a:gd name="T91" fmla="*/ 53 h 297"/>
                <a:gd name="T92" fmla="*/ 292 w 302"/>
                <a:gd name="T93" fmla="*/ 53 h 297"/>
                <a:gd name="T94" fmla="*/ 0 w 302"/>
                <a:gd name="T95" fmla="*/ 46 h 297"/>
                <a:gd name="T96" fmla="*/ 0 w 302"/>
                <a:gd name="T97" fmla="*/ 125 h 297"/>
                <a:gd name="T98" fmla="*/ 0 w 302"/>
                <a:gd name="T99" fmla="*/ 202 h 297"/>
                <a:gd name="T100" fmla="*/ 79 w 302"/>
                <a:gd name="T101" fmla="*/ 281 h 297"/>
                <a:gd name="T102" fmla="*/ 159 w 302"/>
                <a:gd name="T103" fmla="*/ 281 h 297"/>
                <a:gd name="T104" fmla="*/ 241 w 302"/>
                <a:gd name="T105" fmla="*/ 281 h 297"/>
                <a:gd name="T106" fmla="*/ 302 w 302"/>
                <a:gd name="T107" fmla="*/ 281 h 297"/>
                <a:gd name="T108" fmla="*/ 13 w 302"/>
                <a:gd name="T10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2" h="297">
                  <a:moveTo>
                    <a:pt x="292" y="53"/>
                  </a:moveTo>
                  <a:lnTo>
                    <a:pt x="256" y="56"/>
                  </a:lnTo>
                  <a:lnTo>
                    <a:pt x="254" y="56"/>
                  </a:lnTo>
                  <a:lnTo>
                    <a:pt x="254" y="56"/>
                  </a:lnTo>
                  <a:lnTo>
                    <a:pt x="254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48" y="61"/>
                  </a:lnTo>
                  <a:lnTo>
                    <a:pt x="248" y="61"/>
                  </a:lnTo>
                  <a:lnTo>
                    <a:pt x="248" y="61"/>
                  </a:lnTo>
                  <a:lnTo>
                    <a:pt x="248" y="61"/>
                  </a:lnTo>
                  <a:lnTo>
                    <a:pt x="248" y="64"/>
                  </a:lnTo>
                  <a:lnTo>
                    <a:pt x="248" y="64"/>
                  </a:lnTo>
                  <a:lnTo>
                    <a:pt x="248" y="64"/>
                  </a:lnTo>
                  <a:lnTo>
                    <a:pt x="248" y="64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48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51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56" y="71"/>
                  </a:lnTo>
                  <a:lnTo>
                    <a:pt x="256" y="71"/>
                  </a:lnTo>
                  <a:lnTo>
                    <a:pt x="277" y="69"/>
                  </a:lnTo>
                  <a:lnTo>
                    <a:pt x="223" y="135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4" y="107"/>
                  </a:lnTo>
                  <a:lnTo>
                    <a:pt x="184" y="107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2" y="107"/>
                  </a:lnTo>
                  <a:lnTo>
                    <a:pt x="182" y="107"/>
                  </a:lnTo>
                  <a:lnTo>
                    <a:pt x="182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46" y="15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46" y="210"/>
                  </a:lnTo>
                  <a:lnTo>
                    <a:pt x="46" y="212"/>
                  </a:lnTo>
                  <a:lnTo>
                    <a:pt x="46" y="212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7"/>
                  </a:lnTo>
                  <a:lnTo>
                    <a:pt x="44" y="217"/>
                  </a:lnTo>
                  <a:lnTo>
                    <a:pt x="46" y="217"/>
                  </a:lnTo>
                  <a:lnTo>
                    <a:pt x="46" y="217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46" y="220"/>
                  </a:lnTo>
                  <a:lnTo>
                    <a:pt x="49" y="220"/>
                  </a:lnTo>
                  <a:lnTo>
                    <a:pt x="49" y="222"/>
                  </a:lnTo>
                  <a:lnTo>
                    <a:pt x="49" y="222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4" y="222"/>
                  </a:lnTo>
                  <a:lnTo>
                    <a:pt x="54" y="222"/>
                  </a:lnTo>
                  <a:lnTo>
                    <a:pt x="54" y="222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9" y="220"/>
                  </a:lnTo>
                  <a:lnTo>
                    <a:pt x="108" y="146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6" y="176"/>
                  </a:lnTo>
                  <a:lnTo>
                    <a:pt x="146" y="176"/>
                  </a:lnTo>
                  <a:lnTo>
                    <a:pt x="146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4" y="174"/>
                  </a:lnTo>
                  <a:lnTo>
                    <a:pt x="154" y="171"/>
                  </a:lnTo>
                  <a:lnTo>
                    <a:pt x="187" y="123"/>
                  </a:lnTo>
                  <a:lnTo>
                    <a:pt x="218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5" y="153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8" y="151"/>
                  </a:lnTo>
                  <a:lnTo>
                    <a:pt x="228" y="151"/>
                  </a:lnTo>
                  <a:lnTo>
                    <a:pt x="228" y="151"/>
                  </a:lnTo>
                  <a:lnTo>
                    <a:pt x="228" y="151"/>
                  </a:lnTo>
                  <a:lnTo>
                    <a:pt x="228" y="151"/>
                  </a:lnTo>
                  <a:lnTo>
                    <a:pt x="287" y="79"/>
                  </a:lnTo>
                  <a:lnTo>
                    <a:pt x="289" y="97"/>
                  </a:lnTo>
                  <a:lnTo>
                    <a:pt x="289" y="97"/>
                  </a:lnTo>
                  <a:lnTo>
                    <a:pt x="289" y="100"/>
                  </a:lnTo>
                  <a:lnTo>
                    <a:pt x="289" y="100"/>
                  </a:lnTo>
                  <a:lnTo>
                    <a:pt x="289" y="100"/>
                  </a:lnTo>
                  <a:lnTo>
                    <a:pt x="289" y="100"/>
                  </a:lnTo>
                  <a:lnTo>
                    <a:pt x="289" y="102"/>
                  </a:lnTo>
                  <a:lnTo>
                    <a:pt x="289" y="102"/>
                  </a:lnTo>
                  <a:lnTo>
                    <a:pt x="292" y="102"/>
                  </a:lnTo>
                  <a:lnTo>
                    <a:pt x="292" y="102"/>
                  </a:lnTo>
                  <a:lnTo>
                    <a:pt x="292" y="105"/>
                  </a:lnTo>
                  <a:lnTo>
                    <a:pt x="295" y="105"/>
                  </a:lnTo>
                  <a:lnTo>
                    <a:pt x="295" y="105"/>
                  </a:lnTo>
                  <a:lnTo>
                    <a:pt x="295" y="105"/>
                  </a:lnTo>
                  <a:lnTo>
                    <a:pt x="295" y="105"/>
                  </a:lnTo>
                  <a:lnTo>
                    <a:pt x="297" y="105"/>
                  </a:lnTo>
                  <a:lnTo>
                    <a:pt x="297" y="105"/>
                  </a:lnTo>
                  <a:lnTo>
                    <a:pt x="297" y="105"/>
                  </a:lnTo>
                  <a:lnTo>
                    <a:pt x="300" y="105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0" y="102"/>
                  </a:lnTo>
                  <a:lnTo>
                    <a:pt x="302" y="102"/>
                  </a:lnTo>
                  <a:lnTo>
                    <a:pt x="302" y="100"/>
                  </a:lnTo>
                  <a:lnTo>
                    <a:pt x="302" y="100"/>
                  </a:lnTo>
                  <a:lnTo>
                    <a:pt x="302" y="100"/>
                  </a:lnTo>
                  <a:lnTo>
                    <a:pt x="302" y="100"/>
                  </a:lnTo>
                  <a:lnTo>
                    <a:pt x="302" y="100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0" y="61"/>
                  </a:lnTo>
                  <a:lnTo>
                    <a:pt x="300" y="61"/>
                  </a:lnTo>
                  <a:lnTo>
                    <a:pt x="300" y="59"/>
                  </a:lnTo>
                  <a:lnTo>
                    <a:pt x="300" y="59"/>
                  </a:lnTo>
                  <a:lnTo>
                    <a:pt x="300" y="59"/>
                  </a:lnTo>
                  <a:lnTo>
                    <a:pt x="300" y="59"/>
                  </a:lnTo>
                  <a:lnTo>
                    <a:pt x="300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5" y="53"/>
                  </a:lnTo>
                  <a:lnTo>
                    <a:pt x="295" y="53"/>
                  </a:lnTo>
                  <a:lnTo>
                    <a:pt x="295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close/>
                  <a:moveTo>
                    <a:pt x="13" y="0"/>
                  </a:moveTo>
                  <a:lnTo>
                    <a:pt x="13" y="46"/>
                  </a:lnTo>
                  <a:lnTo>
                    <a:pt x="0" y="46"/>
                  </a:lnTo>
                  <a:lnTo>
                    <a:pt x="0" y="61"/>
                  </a:lnTo>
                  <a:lnTo>
                    <a:pt x="13" y="61"/>
                  </a:lnTo>
                  <a:lnTo>
                    <a:pt x="13" y="125"/>
                  </a:lnTo>
                  <a:lnTo>
                    <a:pt x="0" y="125"/>
                  </a:lnTo>
                  <a:lnTo>
                    <a:pt x="0" y="138"/>
                  </a:lnTo>
                  <a:lnTo>
                    <a:pt x="13" y="138"/>
                  </a:lnTo>
                  <a:lnTo>
                    <a:pt x="13" y="202"/>
                  </a:lnTo>
                  <a:lnTo>
                    <a:pt x="0" y="202"/>
                  </a:lnTo>
                  <a:lnTo>
                    <a:pt x="0" y="215"/>
                  </a:lnTo>
                  <a:lnTo>
                    <a:pt x="13" y="215"/>
                  </a:lnTo>
                  <a:lnTo>
                    <a:pt x="13" y="281"/>
                  </a:lnTo>
                  <a:lnTo>
                    <a:pt x="79" y="281"/>
                  </a:lnTo>
                  <a:lnTo>
                    <a:pt x="79" y="297"/>
                  </a:lnTo>
                  <a:lnTo>
                    <a:pt x="95" y="297"/>
                  </a:lnTo>
                  <a:lnTo>
                    <a:pt x="95" y="281"/>
                  </a:lnTo>
                  <a:lnTo>
                    <a:pt x="159" y="281"/>
                  </a:lnTo>
                  <a:lnTo>
                    <a:pt x="159" y="297"/>
                  </a:lnTo>
                  <a:lnTo>
                    <a:pt x="174" y="297"/>
                  </a:lnTo>
                  <a:lnTo>
                    <a:pt x="174" y="281"/>
                  </a:lnTo>
                  <a:lnTo>
                    <a:pt x="241" y="281"/>
                  </a:lnTo>
                  <a:lnTo>
                    <a:pt x="241" y="297"/>
                  </a:lnTo>
                  <a:lnTo>
                    <a:pt x="254" y="297"/>
                  </a:lnTo>
                  <a:lnTo>
                    <a:pt x="254" y="281"/>
                  </a:lnTo>
                  <a:lnTo>
                    <a:pt x="302" y="281"/>
                  </a:lnTo>
                  <a:lnTo>
                    <a:pt x="302" y="269"/>
                  </a:lnTo>
                  <a:lnTo>
                    <a:pt x="28" y="269"/>
                  </a:lnTo>
                  <a:lnTo>
                    <a:pt x="28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7" name="Group 63">
            <a:extLst>
              <a:ext uri="{FF2B5EF4-FFF2-40B4-BE49-F238E27FC236}">
                <a16:creationId xmlns:a16="http://schemas.microsoft.com/office/drawing/2014/main" id="{5EE628AA-A371-4A82-B651-DBD472ED6C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214" y="1551759"/>
            <a:ext cx="758825" cy="758825"/>
            <a:chOff x="2285" y="964"/>
            <a:chExt cx="478" cy="478"/>
          </a:xfrm>
        </p:grpSpPr>
        <p:sp>
          <p:nvSpPr>
            <p:cNvPr id="78" name="AutoShape 62">
              <a:extLst>
                <a:ext uri="{FF2B5EF4-FFF2-40B4-BE49-F238E27FC236}">
                  <a16:creationId xmlns:a16="http://schemas.microsoft.com/office/drawing/2014/main" id="{B8141C28-5B57-4D7E-A450-889AFD5631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85" y="964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64">
              <a:extLst>
                <a:ext uri="{FF2B5EF4-FFF2-40B4-BE49-F238E27FC236}">
                  <a16:creationId xmlns:a16="http://schemas.microsoft.com/office/drawing/2014/main" id="{E99F2E50-370B-4995-A193-FA9AE7A5AB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7" y="966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65">
              <a:extLst>
                <a:ext uri="{FF2B5EF4-FFF2-40B4-BE49-F238E27FC236}">
                  <a16:creationId xmlns:a16="http://schemas.microsoft.com/office/drawing/2014/main" id="{C96ECDE0-DD31-4148-9658-E9090A18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8" y="1158"/>
              <a:ext cx="284" cy="176"/>
            </a:xfrm>
            <a:custGeom>
              <a:avLst/>
              <a:gdLst>
                <a:gd name="T0" fmla="*/ 284 w 284"/>
                <a:gd name="T1" fmla="*/ 176 h 176"/>
                <a:gd name="T2" fmla="*/ 284 w 284"/>
                <a:gd name="T3" fmla="*/ 161 h 176"/>
                <a:gd name="T4" fmla="*/ 252 w 284"/>
                <a:gd name="T5" fmla="*/ 161 h 176"/>
                <a:gd name="T6" fmla="*/ 252 w 284"/>
                <a:gd name="T7" fmla="*/ 0 h 176"/>
                <a:gd name="T8" fmla="*/ 196 w 284"/>
                <a:gd name="T9" fmla="*/ 0 h 176"/>
                <a:gd name="T10" fmla="*/ 196 w 284"/>
                <a:gd name="T11" fmla="*/ 161 h 176"/>
                <a:gd name="T12" fmla="*/ 169 w 284"/>
                <a:gd name="T13" fmla="*/ 161 h 176"/>
                <a:gd name="T14" fmla="*/ 169 w 284"/>
                <a:gd name="T15" fmla="*/ 41 h 176"/>
                <a:gd name="T16" fmla="*/ 115 w 284"/>
                <a:gd name="T17" fmla="*/ 41 h 176"/>
                <a:gd name="T18" fmla="*/ 115 w 284"/>
                <a:gd name="T19" fmla="*/ 161 h 176"/>
                <a:gd name="T20" fmla="*/ 88 w 284"/>
                <a:gd name="T21" fmla="*/ 161 h 176"/>
                <a:gd name="T22" fmla="*/ 88 w 284"/>
                <a:gd name="T23" fmla="*/ 105 h 176"/>
                <a:gd name="T24" fmla="*/ 32 w 284"/>
                <a:gd name="T25" fmla="*/ 105 h 176"/>
                <a:gd name="T26" fmla="*/ 32 w 284"/>
                <a:gd name="T27" fmla="*/ 161 h 176"/>
                <a:gd name="T28" fmla="*/ 0 w 284"/>
                <a:gd name="T29" fmla="*/ 161 h 176"/>
                <a:gd name="T30" fmla="*/ 0 w 284"/>
                <a:gd name="T31" fmla="*/ 176 h 176"/>
                <a:gd name="T32" fmla="*/ 47 w 284"/>
                <a:gd name="T33" fmla="*/ 176 h 176"/>
                <a:gd name="T34" fmla="*/ 47 w 284"/>
                <a:gd name="T35" fmla="*/ 120 h 176"/>
                <a:gd name="T36" fmla="*/ 73 w 284"/>
                <a:gd name="T37" fmla="*/ 120 h 176"/>
                <a:gd name="T38" fmla="*/ 73 w 284"/>
                <a:gd name="T39" fmla="*/ 176 h 176"/>
                <a:gd name="T40" fmla="*/ 130 w 284"/>
                <a:gd name="T41" fmla="*/ 176 h 176"/>
                <a:gd name="T42" fmla="*/ 130 w 284"/>
                <a:gd name="T43" fmla="*/ 56 h 176"/>
                <a:gd name="T44" fmla="*/ 154 w 284"/>
                <a:gd name="T45" fmla="*/ 56 h 176"/>
                <a:gd name="T46" fmla="*/ 154 w 284"/>
                <a:gd name="T47" fmla="*/ 176 h 176"/>
                <a:gd name="T48" fmla="*/ 211 w 284"/>
                <a:gd name="T49" fmla="*/ 176 h 176"/>
                <a:gd name="T50" fmla="*/ 211 w 284"/>
                <a:gd name="T51" fmla="*/ 14 h 176"/>
                <a:gd name="T52" fmla="*/ 238 w 284"/>
                <a:gd name="T53" fmla="*/ 14 h 176"/>
                <a:gd name="T54" fmla="*/ 238 w 284"/>
                <a:gd name="T55" fmla="*/ 176 h 176"/>
                <a:gd name="T56" fmla="*/ 284 w 284"/>
                <a:gd name="T57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84" h="176">
                  <a:moveTo>
                    <a:pt x="284" y="176"/>
                  </a:moveTo>
                  <a:lnTo>
                    <a:pt x="284" y="161"/>
                  </a:lnTo>
                  <a:lnTo>
                    <a:pt x="252" y="161"/>
                  </a:lnTo>
                  <a:lnTo>
                    <a:pt x="252" y="0"/>
                  </a:lnTo>
                  <a:lnTo>
                    <a:pt x="196" y="0"/>
                  </a:lnTo>
                  <a:lnTo>
                    <a:pt x="196" y="161"/>
                  </a:lnTo>
                  <a:lnTo>
                    <a:pt x="169" y="161"/>
                  </a:lnTo>
                  <a:lnTo>
                    <a:pt x="169" y="41"/>
                  </a:lnTo>
                  <a:lnTo>
                    <a:pt x="115" y="41"/>
                  </a:lnTo>
                  <a:lnTo>
                    <a:pt x="115" y="161"/>
                  </a:lnTo>
                  <a:lnTo>
                    <a:pt x="88" y="161"/>
                  </a:lnTo>
                  <a:lnTo>
                    <a:pt x="88" y="105"/>
                  </a:lnTo>
                  <a:lnTo>
                    <a:pt x="32" y="105"/>
                  </a:lnTo>
                  <a:lnTo>
                    <a:pt x="32" y="161"/>
                  </a:lnTo>
                  <a:lnTo>
                    <a:pt x="0" y="161"/>
                  </a:lnTo>
                  <a:lnTo>
                    <a:pt x="0" y="176"/>
                  </a:lnTo>
                  <a:lnTo>
                    <a:pt x="47" y="176"/>
                  </a:lnTo>
                  <a:lnTo>
                    <a:pt x="47" y="120"/>
                  </a:lnTo>
                  <a:lnTo>
                    <a:pt x="73" y="120"/>
                  </a:lnTo>
                  <a:lnTo>
                    <a:pt x="73" y="176"/>
                  </a:lnTo>
                  <a:lnTo>
                    <a:pt x="130" y="176"/>
                  </a:lnTo>
                  <a:lnTo>
                    <a:pt x="130" y="56"/>
                  </a:lnTo>
                  <a:lnTo>
                    <a:pt x="154" y="56"/>
                  </a:lnTo>
                  <a:lnTo>
                    <a:pt x="154" y="176"/>
                  </a:lnTo>
                  <a:lnTo>
                    <a:pt x="211" y="176"/>
                  </a:lnTo>
                  <a:lnTo>
                    <a:pt x="211" y="14"/>
                  </a:lnTo>
                  <a:lnTo>
                    <a:pt x="238" y="14"/>
                  </a:lnTo>
                  <a:lnTo>
                    <a:pt x="238" y="176"/>
                  </a:lnTo>
                  <a:lnTo>
                    <a:pt x="284" y="1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6">
              <a:extLst>
                <a:ext uri="{FF2B5EF4-FFF2-40B4-BE49-F238E27FC236}">
                  <a16:creationId xmlns:a16="http://schemas.microsoft.com/office/drawing/2014/main" id="{DB6A5EE2-4B44-41E9-BE11-A81D4AE51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8" y="1074"/>
              <a:ext cx="287" cy="157"/>
            </a:xfrm>
            <a:custGeom>
              <a:avLst/>
              <a:gdLst>
                <a:gd name="T0" fmla="*/ 0 w 287"/>
                <a:gd name="T1" fmla="*/ 123 h 157"/>
                <a:gd name="T2" fmla="*/ 0 w 287"/>
                <a:gd name="T3" fmla="*/ 125 h 157"/>
                <a:gd name="T4" fmla="*/ 0 w 287"/>
                <a:gd name="T5" fmla="*/ 125 h 157"/>
                <a:gd name="T6" fmla="*/ 3 w 287"/>
                <a:gd name="T7" fmla="*/ 128 h 157"/>
                <a:gd name="T8" fmla="*/ 52 w 287"/>
                <a:gd name="T9" fmla="*/ 157 h 157"/>
                <a:gd name="T10" fmla="*/ 93 w 287"/>
                <a:gd name="T11" fmla="*/ 86 h 157"/>
                <a:gd name="T12" fmla="*/ 135 w 287"/>
                <a:gd name="T13" fmla="*/ 98 h 157"/>
                <a:gd name="T14" fmla="*/ 177 w 287"/>
                <a:gd name="T15" fmla="*/ 35 h 157"/>
                <a:gd name="T16" fmla="*/ 213 w 287"/>
                <a:gd name="T17" fmla="*/ 52 h 157"/>
                <a:gd name="T18" fmla="*/ 260 w 287"/>
                <a:gd name="T19" fmla="*/ 25 h 157"/>
                <a:gd name="T20" fmla="*/ 270 w 287"/>
                <a:gd name="T21" fmla="*/ 40 h 157"/>
                <a:gd name="T22" fmla="*/ 287 w 287"/>
                <a:gd name="T23" fmla="*/ 3 h 157"/>
                <a:gd name="T24" fmla="*/ 245 w 287"/>
                <a:gd name="T25" fmla="*/ 0 h 157"/>
                <a:gd name="T26" fmla="*/ 255 w 287"/>
                <a:gd name="T27" fmla="*/ 13 h 157"/>
                <a:gd name="T28" fmla="*/ 213 w 287"/>
                <a:gd name="T29" fmla="*/ 37 h 157"/>
                <a:gd name="T30" fmla="*/ 169 w 287"/>
                <a:gd name="T31" fmla="*/ 15 h 157"/>
                <a:gd name="T32" fmla="*/ 128 w 287"/>
                <a:gd name="T33" fmla="*/ 81 h 157"/>
                <a:gd name="T34" fmla="*/ 86 w 287"/>
                <a:gd name="T35" fmla="*/ 69 h 157"/>
                <a:gd name="T36" fmla="*/ 47 w 287"/>
                <a:gd name="T37" fmla="*/ 135 h 157"/>
                <a:gd name="T38" fmla="*/ 7 w 287"/>
                <a:gd name="T39" fmla="*/ 113 h 157"/>
                <a:gd name="T40" fmla="*/ 7 w 287"/>
                <a:gd name="T41" fmla="*/ 113 h 157"/>
                <a:gd name="T42" fmla="*/ 3 w 287"/>
                <a:gd name="T43" fmla="*/ 116 h 157"/>
                <a:gd name="T44" fmla="*/ 0 w 287"/>
                <a:gd name="T45" fmla="*/ 118 h 157"/>
                <a:gd name="T46" fmla="*/ 0 w 287"/>
                <a:gd name="T47" fmla="*/ 12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7" h="157">
                  <a:moveTo>
                    <a:pt x="0" y="123"/>
                  </a:moveTo>
                  <a:lnTo>
                    <a:pt x="0" y="125"/>
                  </a:lnTo>
                  <a:lnTo>
                    <a:pt x="0" y="125"/>
                  </a:lnTo>
                  <a:lnTo>
                    <a:pt x="3" y="128"/>
                  </a:lnTo>
                  <a:lnTo>
                    <a:pt x="52" y="157"/>
                  </a:lnTo>
                  <a:lnTo>
                    <a:pt x="93" y="86"/>
                  </a:lnTo>
                  <a:lnTo>
                    <a:pt x="135" y="98"/>
                  </a:lnTo>
                  <a:lnTo>
                    <a:pt x="177" y="35"/>
                  </a:lnTo>
                  <a:lnTo>
                    <a:pt x="213" y="52"/>
                  </a:lnTo>
                  <a:lnTo>
                    <a:pt x="260" y="25"/>
                  </a:lnTo>
                  <a:lnTo>
                    <a:pt x="270" y="40"/>
                  </a:lnTo>
                  <a:lnTo>
                    <a:pt x="287" y="3"/>
                  </a:lnTo>
                  <a:lnTo>
                    <a:pt x="245" y="0"/>
                  </a:lnTo>
                  <a:lnTo>
                    <a:pt x="255" y="13"/>
                  </a:lnTo>
                  <a:lnTo>
                    <a:pt x="213" y="37"/>
                  </a:lnTo>
                  <a:lnTo>
                    <a:pt x="169" y="15"/>
                  </a:lnTo>
                  <a:lnTo>
                    <a:pt x="128" y="81"/>
                  </a:lnTo>
                  <a:lnTo>
                    <a:pt x="86" y="69"/>
                  </a:lnTo>
                  <a:lnTo>
                    <a:pt x="47" y="13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3" y="116"/>
                  </a:lnTo>
                  <a:lnTo>
                    <a:pt x="0" y="118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69">
            <a:extLst>
              <a:ext uri="{FF2B5EF4-FFF2-40B4-BE49-F238E27FC236}">
                <a16:creationId xmlns:a16="http://schemas.microsoft.com/office/drawing/2014/main" id="{97691777-49AC-4894-B687-66130A45E7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4975" y="1517628"/>
            <a:ext cx="841375" cy="841375"/>
            <a:chOff x="1636" y="991"/>
            <a:chExt cx="530" cy="530"/>
          </a:xfrm>
        </p:grpSpPr>
        <p:sp>
          <p:nvSpPr>
            <p:cNvPr id="83" name="AutoShape 68">
              <a:extLst>
                <a:ext uri="{FF2B5EF4-FFF2-40B4-BE49-F238E27FC236}">
                  <a16:creationId xmlns:a16="http://schemas.microsoft.com/office/drawing/2014/main" id="{BA981A53-860B-4707-9E23-38E4187A45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36" y="991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0">
              <a:extLst>
                <a:ext uri="{FF2B5EF4-FFF2-40B4-BE49-F238E27FC236}">
                  <a16:creationId xmlns:a16="http://schemas.microsoft.com/office/drawing/2014/main" id="{41E488A7-0E73-4825-A491-8BD5377311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" y="991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1">
              <a:extLst>
                <a:ext uri="{FF2B5EF4-FFF2-40B4-BE49-F238E27FC236}">
                  <a16:creationId xmlns:a16="http://schemas.microsoft.com/office/drawing/2014/main" id="{FDBC0919-F2BF-4606-AC9E-397D48652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" y="1009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2">
              <a:extLst>
                <a:ext uri="{FF2B5EF4-FFF2-40B4-BE49-F238E27FC236}">
                  <a16:creationId xmlns:a16="http://schemas.microsoft.com/office/drawing/2014/main" id="{E70DC1FB-3179-47B9-A5CF-B67DC6E682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1209"/>
              <a:ext cx="297" cy="184"/>
            </a:xfrm>
            <a:custGeom>
              <a:avLst/>
              <a:gdLst>
                <a:gd name="T0" fmla="*/ 297 w 297"/>
                <a:gd name="T1" fmla="*/ 184 h 184"/>
                <a:gd name="T2" fmla="*/ 297 w 297"/>
                <a:gd name="T3" fmla="*/ 169 h 184"/>
                <a:gd name="T4" fmla="*/ 264 w 297"/>
                <a:gd name="T5" fmla="*/ 169 h 184"/>
                <a:gd name="T6" fmla="*/ 264 w 297"/>
                <a:gd name="T7" fmla="*/ 0 h 184"/>
                <a:gd name="T8" fmla="*/ 205 w 297"/>
                <a:gd name="T9" fmla="*/ 0 h 184"/>
                <a:gd name="T10" fmla="*/ 205 w 297"/>
                <a:gd name="T11" fmla="*/ 169 h 184"/>
                <a:gd name="T12" fmla="*/ 176 w 297"/>
                <a:gd name="T13" fmla="*/ 169 h 184"/>
                <a:gd name="T14" fmla="*/ 176 w 297"/>
                <a:gd name="T15" fmla="*/ 43 h 184"/>
                <a:gd name="T16" fmla="*/ 120 w 297"/>
                <a:gd name="T17" fmla="*/ 43 h 184"/>
                <a:gd name="T18" fmla="*/ 120 w 297"/>
                <a:gd name="T19" fmla="*/ 169 h 184"/>
                <a:gd name="T20" fmla="*/ 92 w 297"/>
                <a:gd name="T21" fmla="*/ 169 h 184"/>
                <a:gd name="T22" fmla="*/ 92 w 297"/>
                <a:gd name="T23" fmla="*/ 110 h 184"/>
                <a:gd name="T24" fmla="*/ 33 w 297"/>
                <a:gd name="T25" fmla="*/ 110 h 184"/>
                <a:gd name="T26" fmla="*/ 33 w 297"/>
                <a:gd name="T27" fmla="*/ 169 h 184"/>
                <a:gd name="T28" fmla="*/ 0 w 297"/>
                <a:gd name="T29" fmla="*/ 169 h 184"/>
                <a:gd name="T30" fmla="*/ 0 w 297"/>
                <a:gd name="T31" fmla="*/ 184 h 184"/>
                <a:gd name="T32" fmla="*/ 48 w 297"/>
                <a:gd name="T33" fmla="*/ 184 h 184"/>
                <a:gd name="T34" fmla="*/ 48 w 297"/>
                <a:gd name="T35" fmla="*/ 125 h 184"/>
                <a:gd name="T36" fmla="*/ 77 w 297"/>
                <a:gd name="T37" fmla="*/ 125 h 184"/>
                <a:gd name="T38" fmla="*/ 77 w 297"/>
                <a:gd name="T39" fmla="*/ 184 h 184"/>
                <a:gd name="T40" fmla="*/ 135 w 297"/>
                <a:gd name="T41" fmla="*/ 184 h 184"/>
                <a:gd name="T42" fmla="*/ 135 w 297"/>
                <a:gd name="T43" fmla="*/ 58 h 184"/>
                <a:gd name="T44" fmla="*/ 161 w 297"/>
                <a:gd name="T45" fmla="*/ 58 h 184"/>
                <a:gd name="T46" fmla="*/ 161 w 297"/>
                <a:gd name="T47" fmla="*/ 184 h 184"/>
                <a:gd name="T48" fmla="*/ 220 w 297"/>
                <a:gd name="T49" fmla="*/ 184 h 184"/>
                <a:gd name="T50" fmla="*/ 220 w 297"/>
                <a:gd name="T51" fmla="*/ 15 h 184"/>
                <a:gd name="T52" fmla="*/ 248 w 297"/>
                <a:gd name="T53" fmla="*/ 15 h 184"/>
                <a:gd name="T54" fmla="*/ 248 w 297"/>
                <a:gd name="T55" fmla="*/ 184 h 184"/>
                <a:gd name="T56" fmla="*/ 297 w 297"/>
                <a:gd name="T57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7" h="184">
                  <a:moveTo>
                    <a:pt x="297" y="184"/>
                  </a:moveTo>
                  <a:lnTo>
                    <a:pt x="297" y="169"/>
                  </a:lnTo>
                  <a:lnTo>
                    <a:pt x="264" y="169"/>
                  </a:lnTo>
                  <a:lnTo>
                    <a:pt x="264" y="0"/>
                  </a:lnTo>
                  <a:lnTo>
                    <a:pt x="205" y="0"/>
                  </a:lnTo>
                  <a:lnTo>
                    <a:pt x="205" y="169"/>
                  </a:lnTo>
                  <a:lnTo>
                    <a:pt x="176" y="169"/>
                  </a:lnTo>
                  <a:lnTo>
                    <a:pt x="176" y="43"/>
                  </a:lnTo>
                  <a:lnTo>
                    <a:pt x="120" y="43"/>
                  </a:lnTo>
                  <a:lnTo>
                    <a:pt x="120" y="169"/>
                  </a:lnTo>
                  <a:lnTo>
                    <a:pt x="92" y="169"/>
                  </a:lnTo>
                  <a:lnTo>
                    <a:pt x="92" y="110"/>
                  </a:lnTo>
                  <a:lnTo>
                    <a:pt x="33" y="110"/>
                  </a:lnTo>
                  <a:lnTo>
                    <a:pt x="33" y="169"/>
                  </a:lnTo>
                  <a:lnTo>
                    <a:pt x="0" y="169"/>
                  </a:lnTo>
                  <a:lnTo>
                    <a:pt x="0" y="184"/>
                  </a:lnTo>
                  <a:lnTo>
                    <a:pt x="48" y="184"/>
                  </a:lnTo>
                  <a:lnTo>
                    <a:pt x="48" y="125"/>
                  </a:lnTo>
                  <a:lnTo>
                    <a:pt x="77" y="125"/>
                  </a:lnTo>
                  <a:lnTo>
                    <a:pt x="77" y="184"/>
                  </a:lnTo>
                  <a:lnTo>
                    <a:pt x="135" y="184"/>
                  </a:lnTo>
                  <a:lnTo>
                    <a:pt x="135" y="58"/>
                  </a:lnTo>
                  <a:lnTo>
                    <a:pt x="161" y="58"/>
                  </a:lnTo>
                  <a:lnTo>
                    <a:pt x="161" y="184"/>
                  </a:lnTo>
                  <a:lnTo>
                    <a:pt x="220" y="184"/>
                  </a:lnTo>
                  <a:lnTo>
                    <a:pt x="220" y="15"/>
                  </a:lnTo>
                  <a:lnTo>
                    <a:pt x="248" y="15"/>
                  </a:lnTo>
                  <a:lnTo>
                    <a:pt x="248" y="184"/>
                  </a:lnTo>
                  <a:lnTo>
                    <a:pt x="297" y="1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3">
              <a:extLst>
                <a:ext uri="{FF2B5EF4-FFF2-40B4-BE49-F238E27FC236}">
                  <a16:creationId xmlns:a16="http://schemas.microsoft.com/office/drawing/2014/main" id="{6ADBEBF9-7816-48AA-A2E5-DDC9E2BAD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121"/>
              <a:ext cx="299" cy="164"/>
            </a:xfrm>
            <a:custGeom>
              <a:avLst/>
              <a:gdLst>
                <a:gd name="T0" fmla="*/ 0 w 299"/>
                <a:gd name="T1" fmla="*/ 128 h 164"/>
                <a:gd name="T2" fmla="*/ 0 w 299"/>
                <a:gd name="T3" fmla="*/ 131 h 164"/>
                <a:gd name="T4" fmla="*/ 0 w 299"/>
                <a:gd name="T5" fmla="*/ 131 h 164"/>
                <a:gd name="T6" fmla="*/ 2 w 299"/>
                <a:gd name="T7" fmla="*/ 134 h 164"/>
                <a:gd name="T8" fmla="*/ 53 w 299"/>
                <a:gd name="T9" fmla="*/ 164 h 164"/>
                <a:gd name="T10" fmla="*/ 97 w 299"/>
                <a:gd name="T11" fmla="*/ 90 h 164"/>
                <a:gd name="T12" fmla="*/ 140 w 299"/>
                <a:gd name="T13" fmla="*/ 103 h 164"/>
                <a:gd name="T14" fmla="*/ 184 w 299"/>
                <a:gd name="T15" fmla="*/ 36 h 164"/>
                <a:gd name="T16" fmla="*/ 222 w 299"/>
                <a:gd name="T17" fmla="*/ 54 h 164"/>
                <a:gd name="T18" fmla="*/ 271 w 299"/>
                <a:gd name="T19" fmla="*/ 26 h 164"/>
                <a:gd name="T20" fmla="*/ 281 w 299"/>
                <a:gd name="T21" fmla="*/ 41 h 164"/>
                <a:gd name="T22" fmla="*/ 299 w 299"/>
                <a:gd name="T23" fmla="*/ 3 h 164"/>
                <a:gd name="T24" fmla="*/ 256 w 299"/>
                <a:gd name="T25" fmla="*/ 0 h 164"/>
                <a:gd name="T26" fmla="*/ 266 w 299"/>
                <a:gd name="T27" fmla="*/ 13 h 164"/>
                <a:gd name="T28" fmla="*/ 222 w 299"/>
                <a:gd name="T29" fmla="*/ 39 h 164"/>
                <a:gd name="T30" fmla="*/ 176 w 299"/>
                <a:gd name="T31" fmla="*/ 16 h 164"/>
                <a:gd name="T32" fmla="*/ 133 w 299"/>
                <a:gd name="T33" fmla="*/ 85 h 164"/>
                <a:gd name="T34" fmla="*/ 89 w 299"/>
                <a:gd name="T35" fmla="*/ 72 h 164"/>
                <a:gd name="T36" fmla="*/ 48 w 299"/>
                <a:gd name="T37" fmla="*/ 141 h 164"/>
                <a:gd name="T38" fmla="*/ 7 w 299"/>
                <a:gd name="T39" fmla="*/ 118 h 164"/>
                <a:gd name="T40" fmla="*/ 7 w 299"/>
                <a:gd name="T41" fmla="*/ 118 h 164"/>
                <a:gd name="T42" fmla="*/ 2 w 299"/>
                <a:gd name="T43" fmla="*/ 121 h 164"/>
                <a:gd name="T44" fmla="*/ 0 w 299"/>
                <a:gd name="T45" fmla="*/ 123 h 164"/>
                <a:gd name="T46" fmla="*/ 0 w 299"/>
                <a:gd name="T47" fmla="*/ 12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9" h="164">
                  <a:moveTo>
                    <a:pt x="0" y="128"/>
                  </a:moveTo>
                  <a:lnTo>
                    <a:pt x="0" y="131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53" y="164"/>
                  </a:lnTo>
                  <a:lnTo>
                    <a:pt x="97" y="90"/>
                  </a:lnTo>
                  <a:lnTo>
                    <a:pt x="140" y="103"/>
                  </a:lnTo>
                  <a:lnTo>
                    <a:pt x="184" y="36"/>
                  </a:lnTo>
                  <a:lnTo>
                    <a:pt x="222" y="54"/>
                  </a:lnTo>
                  <a:lnTo>
                    <a:pt x="271" y="26"/>
                  </a:lnTo>
                  <a:lnTo>
                    <a:pt x="281" y="41"/>
                  </a:lnTo>
                  <a:lnTo>
                    <a:pt x="299" y="3"/>
                  </a:lnTo>
                  <a:lnTo>
                    <a:pt x="256" y="0"/>
                  </a:lnTo>
                  <a:lnTo>
                    <a:pt x="266" y="13"/>
                  </a:lnTo>
                  <a:lnTo>
                    <a:pt x="222" y="39"/>
                  </a:lnTo>
                  <a:lnTo>
                    <a:pt x="176" y="16"/>
                  </a:lnTo>
                  <a:lnTo>
                    <a:pt x="133" y="85"/>
                  </a:lnTo>
                  <a:lnTo>
                    <a:pt x="89" y="72"/>
                  </a:lnTo>
                  <a:lnTo>
                    <a:pt x="48" y="141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2" y="121"/>
                  </a:lnTo>
                  <a:lnTo>
                    <a:pt x="0" y="123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76">
            <a:extLst>
              <a:ext uri="{FF2B5EF4-FFF2-40B4-BE49-F238E27FC236}">
                <a16:creationId xmlns:a16="http://schemas.microsoft.com/office/drawing/2014/main" id="{B509F0ED-89B0-4E6D-828A-D07B1CE181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2410" y="1551759"/>
            <a:ext cx="758825" cy="760413"/>
            <a:chOff x="3481" y="982"/>
            <a:chExt cx="478" cy="479"/>
          </a:xfrm>
        </p:grpSpPr>
        <p:sp>
          <p:nvSpPr>
            <p:cNvPr id="93" name="AutoShape 75">
              <a:extLst>
                <a:ext uri="{FF2B5EF4-FFF2-40B4-BE49-F238E27FC236}">
                  <a16:creationId xmlns:a16="http://schemas.microsoft.com/office/drawing/2014/main" id="{D653AE31-3E7F-418E-B1EC-09A7F7944CE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481" y="982"/>
              <a:ext cx="478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77">
              <a:extLst>
                <a:ext uri="{FF2B5EF4-FFF2-40B4-BE49-F238E27FC236}">
                  <a16:creationId xmlns:a16="http://schemas.microsoft.com/office/drawing/2014/main" id="{F4C160D3-2B76-4CC0-BE4A-686912979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3" y="984"/>
              <a:ext cx="476" cy="47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8">
              <a:extLst>
                <a:ext uri="{FF2B5EF4-FFF2-40B4-BE49-F238E27FC236}">
                  <a16:creationId xmlns:a16="http://schemas.microsoft.com/office/drawing/2014/main" id="{259A0B14-724D-479C-9507-BB727CED97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1" y="1088"/>
              <a:ext cx="221" cy="270"/>
            </a:xfrm>
            <a:custGeom>
              <a:avLst/>
              <a:gdLst>
                <a:gd name="T0" fmla="*/ 67 w 90"/>
                <a:gd name="T1" fmla="*/ 47 h 110"/>
                <a:gd name="T2" fmla="*/ 87 w 90"/>
                <a:gd name="T3" fmla="*/ 47 h 110"/>
                <a:gd name="T4" fmla="*/ 90 w 90"/>
                <a:gd name="T5" fmla="*/ 47 h 110"/>
                <a:gd name="T6" fmla="*/ 78 w 90"/>
                <a:gd name="T7" fmla="*/ 3 h 110"/>
                <a:gd name="T8" fmla="*/ 83 w 90"/>
                <a:gd name="T9" fmla="*/ 0 h 110"/>
                <a:gd name="T10" fmla="*/ 70 w 90"/>
                <a:gd name="T11" fmla="*/ 3 h 110"/>
                <a:gd name="T12" fmla="*/ 75 w 90"/>
                <a:gd name="T13" fmla="*/ 33 h 110"/>
                <a:gd name="T14" fmla="*/ 75 w 90"/>
                <a:gd name="T15" fmla="*/ 60 h 110"/>
                <a:gd name="T16" fmla="*/ 70 w 90"/>
                <a:gd name="T17" fmla="*/ 107 h 110"/>
                <a:gd name="T18" fmla="*/ 83 w 90"/>
                <a:gd name="T19" fmla="*/ 110 h 110"/>
                <a:gd name="T20" fmla="*/ 78 w 90"/>
                <a:gd name="T21" fmla="*/ 107 h 110"/>
                <a:gd name="T22" fmla="*/ 90 w 90"/>
                <a:gd name="T23" fmla="*/ 47 h 110"/>
                <a:gd name="T24" fmla="*/ 35 w 90"/>
                <a:gd name="T25" fmla="*/ 85 h 110"/>
                <a:gd name="T26" fmla="*/ 55 w 90"/>
                <a:gd name="T27" fmla="*/ 85 h 110"/>
                <a:gd name="T28" fmla="*/ 47 w 90"/>
                <a:gd name="T29" fmla="*/ 71 h 110"/>
                <a:gd name="T30" fmla="*/ 52 w 90"/>
                <a:gd name="T31" fmla="*/ 3 h 110"/>
                <a:gd name="T32" fmla="*/ 38 w 90"/>
                <a:gd name="T33" fmla="*/ 0 h 110"/>
                <a:gd name="T34" fmla="*/ 43 w 90"/>
                <a:gd name="T35" fmla="*/ 3 h 110"/>
                <a:gd name="T36" fmla="*/ 31 w 90"/>
                <a:gd name="T37" fmla="*/ 85 h 110"/>
                <a:gd name="T38" fmla="*/ 43 w 90"/>
                <a:gd name="T39" fmla="*/ 107 h 110"/>
                <a:gd name="T40" fmla="*/ 38 w 90"/>
                <a:gd name="T41" fmla="*/ 110 h 110"/>
                <a:gd name="T42" fmla="*/ 52 w 90"/>
                <a:gd name="T43" fmla="*/ 107 h 110"/>
                <a:gd name="T44" fmla="*/ 47 w 90"/>
                <a:gd name="T45" fmla="*/ 98 h 110"/>
                <a:gd name="T46" fmla="*/ 47 w 90"/>
                <a:gd name="T47" fmla="*/ 71 h 110"/>
                <a:gd name="T48" fmla="*/ 3 w 90"/>
                <a:gd name="T49" fmla="*/ 25 h 110"/>
                <a:gd name="T50" fmla="*/ 23 w 90"/>
                <a:gd name="T51" fmla="*/ 25 h 110"/>
                <a:gd name="T52" fmla="*/ 15 w 90"/>
                <a:gd name="T53" fmla="*/ 12 h 110"/>
                <a:gd name="T54" fmla="*/ 20 w 90"/>
                <a:gd name="T55" fmla="*/ 3 h 110"/>
                <a:gd name="T56" fmla="*/ 7 w 90"/>
                <a:gd name="T57" fmla="*/ 0 h 110"/>
                <a:gd name="T58" fmla="*/ 11 w 90"/>
                <a:gd name="T59" fmla="*/ 3 h 110"/>
                <a:gd name="T60" fmla="*/ 0 w 90"/>
                <a:gd name="T61" fmla="*/ 25 h 110"/>
                <a:gd name="T62" fmla="*/ 11 w 90"/>
                <a:gd name="T63" fmla="*/ 107 h 110"/>
                <a:gd name="T64" fmla="*/ 7 w 90"/>
                <a:gd name="T65" fmla="*/ 110 h 110"/>
                <a:gd name="T66" fmla="*/ 20 w 90"/>
                <a:gd name="T67" fmla="*/ 107 h 110"/>
                <a:gd name="T68" fmla="*/ 15 w 90"/>
                <a:gd name="T69" fmla="*/ 39 h 110"/>
                <a:gd name="T70" fmla="*/ 15 w 90"/>
                <a:gd name="T71" fmla="*/ 1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0">
                  <a:moveTo>
                    <a:pt x="77" y="57"/>
                  </a:moveTo>
                  <a:cubicBezTo>
                    <a:pt x="71" y="57"/>
                    <a:pt x="67" y="52"/>
                    <a:pt x="67" y="47"/>
                  </a:cubicBezTo>
                  <a:cubicBezTo>
                    <a:pt x="67" y="41"/>
                    <a:pt x="71" y="37"/>
                    <a:pt x="77" y="37"/>
                  </a:cubicBezTo>
                  <a:cubicBezTo>
                    <a:pt x="82" y="37"/>
                    <a:pt x="87" y="41"/>
                    <a:pt x="87" y="47"/>
                  </a:cubicBezTo>
                  <a:cubicBezTo>
                    <a:pt x="87" y="52"/>
                    <a:pt x="82" y="57"/>
                    <a:pt x="77" y="57"/>
                  </a:cubicBezTo>
                  <a:moveTo>
                    <a:pt x="90" y="47"/>
                  </a:moveTo>
                  <a:cubicBezTo>
                    <a:pt x="90" y="40"/>
                    <a:pt x="85" y="34"/>
                    <a:pt x="78" y="3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68" y="34"/>
                    <a:pt x="63" y="40"/>
                    <a:pt x="63" y="47"/>
                  </a:cubicBezTo>
                  <a:cubicBezTo>
                    <a:pt x="63" y="54"/>
                    <a:pt x="68" y="60"/>
                    <a:pt x="75" y="6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10"/>
                    <a:pt x="70" y="110"/>
                    <a:pt x="70" y="11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78" y="107"/>
                    <a:pt x="78" y="107"/>
                    <a:pt x="78" y="107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85" y="60"/>
                    <a:pt x="90" y="54"/>
                    <a:pt x="90" y="47"/>
                  </a:cubicBezTo>
                  <a:moveTo>
                    <a:pt x="45" y="95"/>
                  </a:moveTo>
                  <a:cubicBezTo>
                    <a:pt x="39" y="95"/>
                    <a:pt x="35" y="90"/>
                    <a:pt x="35" y="85"/>
                  </a:cubicBezTo>
                  <a:cubicBezTo>
                    <a:pt x="35" y="79"/>
                    <a:pt x="39" y="75"/>
                    <a:pt x="45" y="75"/>
                  </a:cubicBezTo>
                  <a:cubicBezTo>
                    <a:pt x="51" y="75"/>
                    <a:pt x="55" y="79"/>
                    <a:pt x="55" y="85"/>
                  </a:cubicBezTo>
                  <a:cubicBezTo>
                    <a:pt x="55" y="90"/>
                    <a:pt x="51" y="95"/>
                    <a:pt x="45" y="95"/>
                  </a:cubicBezTo>
                  <a:moveTo>
                    <a:pt x="47" y="71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36" y="72"/>
                    <a:pt x="31" y="78"/>
                    <a:pt x="31" y="85"/>
                  </a:cubicBezTo>
                  <a:cubicBezTo>
                    <a:pt x="31" y="92"/>
                    <a:pt x="36" y="97"/>
                    <a:pt x="43" y="98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110"/>
                    <a:pt x="38" y="110"/>
                    <a:pt x="38" y="110"/>
                  </a:cubicBezTo>
                  <a:cubicBezTo>
                    <a:pt x="52" y="110"/>
                    <a:pt x="52" y="110"/>
                    <a:pt x="52" y="110"/>
                  </a:cubicBezTo>
                  <a:cubicBezTo>
                    <a:pt x="52" y="107"/>
                    <a:pt x="52" y="107"/>
                    <a:pt x="52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54" y="97"/>
                    <a:pt x="59" y="92"/>
                    <a:pt x="59" y="85"/>
                  </a:cubicBezTo>
                  <a:cubicBezTo>
                    <a:pt x="59" y="78"/>
                    <a:pt x="54" y="72"/>
                    <a:pt x="47" y="71"/>
                  </a:cubicBezTo>
                  <a:moveTo>
                    <a:pt x="13" y="35"/>
                  </a:moveTo>
                  <a:cubicBezTo>
                    <a:pt x="8" y="35"/>
                    <a:pt x="3" y="31"/>
                    <a:pt x="3" y="25"/>
                  </a:cubicBezTo>
                  <a:cubicBezTo>
                    <a:pt x="3" y="20"/>
                    <a:pt x="8" y="15"/>
                    <a:pt x="13" y="15"/>
                  </a:cubicBezTo>
                  <a:cubicBezTo>
                    <a:pt x="19" y="15"/>
                    <a:pt x="23" y="20"/>
                    <a:pt x="23" y="25"/>
                  </a:cubicBezTo>
                  <a:cubicBezTo>
                    <a:pt x="23" y="31"/>
                    <a:pt x="19" y="35"/>
                    <a:pt x="13" y="35"/>
                  </a:cubicBezTo>
                  <a:moveTo>
                    <a:pt x="15" y="12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5" y="13"/>
                    <a:pt x="0" y="18"/>
                    <a:pt x="0" y="25"/>
                  </a:cubicBezTo>
                  <a:cubicBezTo>
                    <a:pt x="0" y="32"/>
                    <a:pt x="5" y="38"/>
                    <a:pt x="11" y="39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22" y="38"/>
                    <a:pt x="27" y="32"/>
                    <a:pt x="27" y="25"/>
                  </a:cubicBezTo>
                  <a:cubicBezTo>
                    <a:pt x="27" y="18"/>
                    <a:pt x="22" y="13"/>
                    <a:pt x="15" y="1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Group 81">
            <a:extLst>
              <a:ext uri="{FF2B5EF4-FFF2-40B4-BE49-F238E27FC236}">
                <a16:creationId xmlns:a16="http://schemas.microsoft.com/office/drawing/2014/main" id="{8B346917-60F7-42E1-B79E-F6D1D367D8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5323" y="1520803"/>
            <a:ext cx="842962" cy="841375"/>
            <a:chOff x="2987" y="988"/>
            <a:chExt cx="531" cy="530"/>
          </a:xfrm>
        </p:grpSpPr>
        <p:sp>
          <p:nvSpPr>
            <p:cNvPr id="97" name="AutoShape 80">
              <a:extLst>
                <a:ext uri="{FF2B5EF4-FFF2-40B4-BE49-F238E27FC236}">
                  <a16:creationId xmlns:a16="http://schemas.microsoft.com/office/drawing/2014/main" id="{0D297E06-4464-45A4-8E6D-2542DF522C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7" y="98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82">
              <a:extLst>
                <a:ext uri="{FF2B5EF4-FFF2-40B4-BE49-F238E27FC236}">
                  <a16:creationId xmlns:a16="http://schemas.microsoft.com/office/drawing/2014/main" id="{8DBA91A9-AF74-4BE6-A0FC-F5CF8589CB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7" y="98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83">
              <a:extLst>
                <a:ext uri="{FF2B5EF4-FFF2-40B4-BE49-F238E27FC236}">
                  <a16:creationId xmlns:a16="http://schemas.microsoft.com/office/drawing/2014/main" id="{A2D3A6F0-F3D5-4CEF-93C6-A14261BFB7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5" y="100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4">
              <a:extLst>
                <a:ext uri="{FF2B5EF4-FFF2-40B4-BE49-F238E27FC236}">
                  <a16:creationId xmlns:a16="http://schemas.microsoft.com/office/drawing/2014/main" id="{995523F5-8F3F-472D-AADA-4DE35CCBE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8" y="1113"/>
              <a:ext cx="231" cy="282"/>
            </a:xfrm>
            <a:custGeom>
              <a:avLst/>
              <a:gdLst>
                <a:gd name="T0" fmla="*/ 67 w 90"/>
                <a:gd name="T1" fmla="*/ 47 h 110"/>
                <a:gd name="T2" fmla="*/ 87 w 90"/>
                <a:gd name="T3" fmla="*/ 47 h 110"/>
                <a:gd name="T4" fmla="*/ 90 w 90"/>
                <a:gd name="T5" fmla="*/ 47 h 110"/>
                <a:gd name="T6" fmla="*/ 78 w 90"/>
                <a:gd name="T7" fmla="*/ 3 h 110"/>
                <a:gd name="T8" fmla="*/ 83 w 90"/>
                <a:gd name="T9" fmla="*/ 0 h 110"/>
                <a:gd name="T10" fmla="*/ 70 w 90"/>
                <a:gd name="T11" fmla="*/ 3 h 110"/>
                <a:gd name="T12" fmla="*/ 75 w 90"/>
                <a:gd name="T13" fmla="*/ 33 h 110"/>
                <a:gd name="T14" fmla="*/ 75 w 90"/>
                <a:gd name="T15" fmla="*/ 60 h 110"/>
                <a:gd name="T16" fmla="*/ 70 w 90"/>
                <a:gd name="T17" fmla="*/ 107 h 110"/>
                <a:gd name="T18" fmla="*/ 83 w 90"/>
                <a:gd name="T19" fmla="*/ 110 h 110"/>
                <a:gd name="T20" fmla="*/ 78 w 90"/>
                <a:gd name="T21" fmla="*/ 107 h 110"/>
                <a:gd name="T22" fmla="*/ 90 w 90"/>
                <a:gd name="T23" fmla="*/ 47 h 110"/>
                <a:gd name="T24" fmla="*/ 35 w 90"/>
                <a:gd name="T25" fmla="*/ 85 h 110"/>
                <a:gd name="T26" fmla="*/ 55 w 90"/>
                <a:gd name="T27" fmla="*/ 85 h 110"/>
                <a:gd name="T28" fmla="*/ 47 w 90"/>
                <a:gd name="T29" fmla="*/ 71 h 110"/>
                <a:gd name="T30" fmla="*/ 52 w 90"/>
                <a:gd name="T31" fmla="*/ 3 h 110"/>
                <a:gd name="T32" fmla="*/ 38 w 90"/>
                <a:gd name="T33" fmla="*/ 0 h 110"/>
                <a:gd name="T34" fmla="*/ 43 w 90"/>
                <a:gd name="T35" fmla="*/ 3 h 110"/>
                <a:gd name="T36" fmla="*/ 31 w 90"/>
                <a:gd name="T37" fmla="*/ 85 h 110"/>
                <a:gd name="T38" fmla="*/ 43 w 90"/>
                <a:gd name="T39" fmla="*/ 107 h 110"/>
                <a:gd name="T40" fmla="*/ 38 w 90"/>
                <a:gd name="T41" fmla="*/ 110 h 110"/>
                <a:gd name="T42" fmla="*/ 52 w 90"/>
                <a:gd name="T43" fmla="*/ 107 h 110"/>
                <a:gd name="T44" fmla="*/ 47 w 90"/>
                <a:gd name="T45" fmla="*/ 98 h 110"/>
                <a:gd name="T46" fmla="*/ 47 w 90"/>
                <a:gd name="T47" fmla="*/ 71 h 110"/>
                <a:gd name="T48" fmla="*/ 3 w 90"/>
                <a:gd name="T49" fmla="*/ 25 h 110"/>
                <a:gd name="T50" fmla="*/ 23 w 90"/>
                <a:gd name="T51" fmla="*/ 25 h 110"/>
                <a:gd name="T52" fmla="*/ 15 w 90"/>
                <a:gd name="T53" fmla="*/ 12 h 110"/>
                <a:gd name="T54" fmla="*/ 20 w 90"/>
                <a:gd name="T55" fmla="*/ 3 h 110"/>
                <a:gd name="T56" fmla="*/ 7 w 90"/>
                <a:gd name="T57" fmla="*/ 0 h 110"/>
                <a:gd name="T58" fmla="*/ 11 w 90"/>
                <a:gd name="T59" fmla="*/ 3 h 110"/>
                <a:gd name="T60" fmla="*/ 0 w 90"/>
                <a:gd name="T61" fmla="*/ 25 h 110"/>
                <a:gd name="T62" fmla="*/ 11 w 90"/>
                <a:gd name="T63" fmla="*/ 107 h 110"/>
                <a:gd name="T64" fmla="*/ 7 w 90"/>
                <a:gd name="T65" fmla="*/ 110 h 110"/>
                <a:gd name="T66" fmla="*/ 20 w 90"/>
                <a:gd name="T67" fmla="*/ 107 h 110"/>
                <a:gd name="T68" fmla="*/ 15 w 90"/>
                <a:gd name="T69" fmla="*/ 39 h 110"/>
                <a:gd name="T70" fmla="*/ 15 w 90"/>
                <a:gd name="T71" fmla="*/ 1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0">
                  <a:moveTo>
                    <a:pt x="77" y="57"/>
                  </a:moveTo>
                  <a:cubicBezTo>
                    <a:pt x="71" y="57"/>
                    <a:pt x="67" y="52"/>
                    <a:pt x="67" y="47"/>
                  </a:cubicBezTo>
                  <a:cubicBezTo>
                    <a:pt x="67" y="41"/>
                    <a:pt x="71" y="37"/>
                    <a:pt x="77" y="37"/>
                  </a:cubicBezTo>
                  <a:cubicBezTo>
                    <a:pt x="82" y="37"/>
                    <a:pt x="87" y="41"/>
                    <a:pt x="87" y="47"/>
                  </a:cubicBezTo>
                  <a:cubicBezTo>
                    <a:pt x="87" y="52"/>
                    <a:pt x="82" y="57"/>
                    <a:pt x="77" y="57"/>
                  </a:cubicBezTo>
                  <a:moveTo>
                    <a:pt x="90" y="47"/>
                  </a:moveTo>
                  <a:cubicBezTo>
                    <a:pt x="90" y="40"/>
                    <a:pt x="85" y="34"/>
                    <a:pt x="78" y="3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68" y="34"/>
                    <a:pt x="63" y="40"/>
                    <a:pt x="63" y="47"/>
                  </a:cubicBezTo>
                  <a:cubicBezTo>
                    <a:pt x="63" y="54"/>
                    <a:pt x="68" y="60"/>
                    <a:pt x="75" y="60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10"/>
                    <a:pt x="70" y="110"/>
                    <a:pt x="70" y="11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78" y="107"/>
                    <a:pt x="78" y="107"/>
                    <a:pt x="78" y="107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85" y="60"/>
                    <a:pt x="90" y="54"/>
                    <a:pt x="90" y="47"/>
                  </a:cubicBezTo>
                  <a:moveTo>
                    <a:pt x="45" y="95"/>
                  </a:moveTo>
                  <a:cubicBezTo>
                    <a:pt x="39" y="95"/>
                    <a:pt x="35" y="90"/>
                    <a:pt x="35" y="85"/>
                  </a:cubicBezTo>
                  <a:cubicBezTo>
                    <a:pt x="35" y="79"/>
                    <a:pt x="39" y="75"/>
                    <a:pt x="45" y="75"/>
                  </a:cubicBezTo>
                  <a:cubicBezTo>
                    <a:pt x="51" y="75"/>
                    <a:pt x="55" y="79"/>
                    <a:pt x="55" y="85"/>
                  </a:cubicBezTo>
                  <a:cubicBezTo>
                    <a:pt x="55" y="90"/>
                    <a:pt x="51" y="95"/>
                    <a:pt x="45" y="95"/>
                  </a:cubicBezTo>
                  <a:moveTo>
                    <a:pt x="47" y="71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36" y="72"/>
                    <a:pt x="31" y="78"/>
                    <a:pt x="31" y="85"/>
                  </a:cubicBezTo>
                  <a:cubicBezTo>
                    <a:pt x="31" y="92"/>
                    <a:pt x="36" y="97"/>
                    <a:pt x="43" y="98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38" y="110"/>
                    <a:pt x="38" y="110"/>
                    <a:pt x="38" y="110"/>
                  </a:cubicBezTo>
                  <a:cubicBezTo>
                    <a:pt x="52" y="110"/>
                    <a:pt x="52" y="110"/>
                    <a:pt x="52" y="110"/>
                  </a:cubicBezTo>
                  <a:cubicBezTo>
                    <a:pt x="52" y="107"/>
                    <a:pt x="52" y="107"/>
                    <a:pt x="52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54" y="97"/>
                    <a:pt x="59" y="92"/>
                    <a:pt x="59" y="85"/>
                  </a:cubicBezTo>
                  <a:cubicBezTo>
                    <a:pt x="59" y="78"/>
                    <a:pt x="54" y="72"/>
                    <a:pt x="47" y="71"/>
                  </a:cubicBezTo>
                  <a:moveTo>
                    <a:pt x="13" y="35"/>
                  </a:moveTo>
                  <a:cubicBezTo>
                    <a:pt x="8" y="35"/>
                    <a:pt x="3" y="31"/>
                    <a:pt x="3" y="25"/>
                  </a:cubicBezTo>
                  <a:cubicBezTo>
                    <a:pt x="3" y="20"/>
                    <a:pt x="8" y="15"/>
                    <a:pt x="13" y="15"/>
                  </a:cubicBezTo>
                  <a:cubicBezTo>
                    <a:pt x="19" y="15"/>
                    <a:pt x="23" y="20"/>
                    <a:pt x="23" y="25"/>
                  </a:cubicBezTo>
                  <a:cubicBezTo>
                    <a:pt x="23" y="31"/>
                    <a:pt x="19" y="35"/>
                    <a:pt x="13" y="35"/>
                  </a:cubicBezTo>
                  <a:moveTo>
                    <a:pt x="15" y="12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5" y="13"/>
                    <a:pt x="0" y="18"/>
                    <a:pt x="0" y="25"/>
                  </a:cubicBezTo>
                  <a:cubicBezTo>
                    <a:pt x="0" y="32"/>
                    <a:pt x="5" y="38"/>
                    <a:pt x="11" y="39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22" y="38"/>
                    <a:pt x="27" y="32"/>
                    <a:pt x="27" y="25"/>
                  </a:cubicBezTo>
                  <a:cubicBezTo>
                    <a:pt x="27" y="18"/>
                    <a:pt x="22" y="13"/>
                    <a:pt x="15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87">
            <a:extLst>
              <a:ext uri="{FF2B5EF4-FFF2-40B4-BE49-F238E27FC236}">
                <a16:creationId xmlns:a16="http://schemas.microsoft.com/office/drawing/2014/main" id="{CF3F0048-E80A-499D-8DAF-2F2CBA6781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33195" y="1553463"/>
            <a:ext cx="760412" cy="758825"/>
            <a:chOff x="4861" y="962"/>
            <a:chExt cx="479" cy="478"/>
          </a:xfrm>
        </p:grpSpPr>
        <p:sp>
          <p:nvSpPr>
            <p:cNvPr id="106" name="AutoShape 86">
              <a:extLst>
                <a:ext uri="{FF2B5EF4-FFF2-40B4-BE49-F238E27FC236}">
                  <a16:creationId xmlns:a16="http://schemas.microsoft.com/office/drawing/2014/main" id="{AF48E2B6-154E-4740-BF4D-1066FA80A1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61" y="962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88">
              <a:extLst>
                <a:ext uri="{FF2B5EF4-FFF2-40B4-BE49-F238E27FC236}">
                  <a16:creationId xmlns:a16="http://schemas.microsoft.com/office/drawing/2014/main" id="{05515E5A-4F83-45D0-8965-0437B9BAD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3" y="964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9">
              <a:extLst>
                <a:ext uri="{FF2B5EF4-FFF2-40B4-BE49-F238E27FC236}">
                  <a16:creationId xmlns:a16="http://schemas.microsoft.com/office/drawing/2014/main" id="{52F8A326-8CD1-4F94-9942-2583F06E5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2" y="1040"/>
              <a:ext cx="319" cy="246"/>
            </a:xfrm>
            <a:custGeom>
              <a:avLst/>
              <a:gdLst>
                <a:gd name="T0" fmla="*/ 65 w 130"/>
                <a:gd name="T1" fmla="*/ 20 h 100"/>
                <a:gd name="T2" fmla="*/ 95 w 130"/>
                <a:gd name="T3" fmla="*/ 32 h 100"/>
                <a:gd name="T4" fmla="*/ 99 w 130"/>
                <a:gd name="T5" fmla="*/ 31 h 100"/>
                <a:gd name="T6" fmla="*/ 99 w 130"/>
                <a:gd name="T7" fmla="*/ 28 h 100"/>
                <a:gd name="T8" fmla="*/ 65 w 130"/>
                <a:gd name="T9" fmla="*/ 15 h 100"/>
                <a:gd name="T10" fmla="*/ 15 w 130"/>
                <a:gd name="T11" fmla="*/ 65 h 100"/>
                <a:gd name="T12" fmla="*/ 22 w 130"/>
                <a:gd name="T13" fmla="*/ 91 h 100"/>
                <a:gd name="T14" fmla="*/ 24 w 130"/>
                <a:gd name="T15" fmla="*/ 92 h 100"/>
                <a:gd name="T16" fmla="*/ 26 w 130"/>
                <a:gd name="T17" fmla="*/ 92 h 100"/>
                <a:gd name="T18" fmla="*/ 27 w 130"/>
                <a:gd name="T19" fmla="*/ 88 h 100"/>
                <a:gd name="T20" fmla="*/ 20 w 130"/>
                <a:gd name="T21" fmla="*/ 65 h 100"/>
                <a:gd name="T22" fmla="*/ 65 w 130"/>
                <a:gd name="T23" fmla="*/ 20 h 100"/>
                <a:gd name="T24" fmla="*/ 65 w 130"/>
                <a:gd name="T25" fmla="*/ 85 h 100"/>
                <a:gd name="T26" fmla="*/ 58 w 130"/>
                <a:gd name="T27" fmla="*/ 78 h 100"/>
                <a:gd name="T28" fmla="*/ 65 w 130"/>
                <a:gd name="T29" fmla="*/ 70 h 100"/>
                <a:gd name="T30" fmla="*/ 72 w 130"/>
                <a:gd name="T31" fmla="*/ 78 h 100"/>
                <a:gd name="T32" fmla="*/ 65 w 130"/>
                <a:gd name="T33" fmla="*/ 85 h 100"/>
                <a:gd name="T34" fmla="*/ 106 w 130"/>
                <a:gd name="T35" fmla="*/ 33 h 100"/>
                <a:gd name="T36" fmla="*/ 72 w 130"/>
                <a:gd name="T37" fmla="*/ 67 h 100"/>
                <a:gd name="T38" fmla="*/ 65 w 130"/>
                <a:gd name="T39" fmla="*/ 65 h 100"/>
                <a:gd name="T40" fmla="*/ 53 w 130"/>
                <a:gd name="T41" fmla="*/ 78 h 100"/>
                <a:gd name="T42" fmla="*/ 55 w 130"/>
                <a:gd name="T43" fmla="*/ 84 h 100"/>
                <a:gd name="T44" fmla="*/ 43 w 130"/>
                <a:gd name="T45" fmla="*/ 96 h 100"/>
                <a:gd name="T46" fmla="*/ 43 w 130"/>
                <a:gd name="T47" fmla="*/ 99 h 100"/>
                <a:gd name="T48" fmla="*/ 45 w 130"/>
                <a:gd name="T49" fmla="*/ 100 h 100"/>
                <a:gd name="T50" fmla="*/ 47 w 130"/>
                <a:gd name="T51" fmla="*/ 99 h 100"/>
                <a:gd name="T52" fmla="*/ 58 w 130"/>
                <a:gd name="T53" fmla="*/ 88 h 100"/>
                <a:gd name="T54" fmla="*/ 65 w 130"/>
                <a:gd name="T55" fmla="*/ 90 h 100"/>
                <a:gd name="T56" fmla="*/ 77 w 130"/>
                <a:gd name="T57" fmla="*/ 78 h 100"/>
                <a:gd name="T58" fmla="*/ 75 w 130"/>
                <a:gd name="T59" fmla="*/ 71 h 100"/>
                <a:gd name="T60" fmla="*/ 109 w 130"/>
                <a:gd name="T61" fmla="*/ 37 h 100"/>
                <a:gd name="T62" fmla="*/ 109 w 130"/>
                <a:gd name="T63" fmla="*/ 33 h 100"/>
                <a:gd name="T64" fmla="*/ 106 w 130"/>
                <a:gd name="T65" fmla="*/ 33 h 100"/>
                <a:gd name="T66" fmla="*/ 65 w 130"/>
                <a:gd name="T67" fmla="*/ 0 h 100"/>
                <a:gd name="T68" fmla="*/ 0 w 130"/>
                <a:gd name="T69" fmla="*/ 65 h 100"/>
                <a:gd name="T70" fmla="*/ 10 w 130"/>
                <a:gd name="T71" fmla="*/ 99 h 100"/>
                <a:gd name="T72" fmla="*/ 13 w 130"/>
                <a:gd name="T73" fmla="*/ 100 h 100"/>
                <a:gd name="T74" fmla="*/ 14 w 130"/>
                <a:gd name="T75" fmla="*/ 96 h 100"/>
                <a:gd name="T76" fmla="*/ 5 w 130"/>
                <a:gd name="T77" fmla="*/ 65 h 100"/>
                <a:gd name="T78" fmla="*/ 65 w 130"/>
                <a:gd name="T79" fmla="*/ 5 h 100"/>
                <a:gd name="T80" fmla="*/ 125 w 130"/>
                <a:gd name="T81" fmla="*/ 65 h 100"/>
                <a:gd name="T82" fmla="*/ 116 w 130"/>
                <a:gd name="T83" fmla="*/ 96 h 100"/>
                <a:gd name="T84" fmla="*/ 117 w 130"/>
                <a:gd name="T85" fmla="*/ 100 h 100"/>
                <a:gd name="T86" fmla="*/ 118 w 130"/>
                <a:gd name="T87" fmla="*/ 100 h 100"/>
                <a:gd name="T88" fmla="*/ 120 w 130"/>
                <a:gd name="T89" fmla="*/ 99 h 100"/>
                <a:gd name="T90" fmla="*/ 130 w 130"/>
                <a:gd name="T91" fmla="*/ 65 h 100"/>
                <a:gd name="T92" fmla="*/ 65 w 130"/>
                <a:gd name="T9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0" h="100">
                  <a:moveTo>
                    <a:pt x="65" y="20"/>
                  </a:moveTo>
                  <a:cubicBezTo>
                    <a:pt x="77" y="20"/>
                    <a:pt x="87" y="24"/>
                    <a:pt x="95" y="32"/>
                  </a:cubicBezTo>
                  <a:cubicBezTo>
                    <a:pt x="96" y="33"/>
                    <a:pt x="98" y="33"/>
                    <a:pt x="99" y="31"/>
                  </a:cubicBezTo>
                  <a:cubicBezTo>
                    <a:pt x="100" y="30"/>
                    <a:pt x="100" y="29"/>
                    <a:pt x="99" y="28"/>
                  </a:cubicBezTo>
                  <a:cubicBezTo>
                    <a:pt x="90" y="20"/>
                    <a:pt x="78" y="15"/>
                    <a:pt x="65" y="15"/>
                  </a:cubicBezTo>
                  <a:cubicBezTo>
                    <a:pt x="37" y="15"/>
                    <a:pt x="15" y="37"/>
                    <a:pt x="15" y="65"/>
                  </a:cubicBezTo>
                  <a:cubicBezTo>
                    <a:pt x="15" y="75"/>
                    <a:pt x="18" y="83"/>
                    <a:pt x="22" y="91"/>
                  </a:cubicBezTo>
                  <a:cubicBezTo>
                    <a:pt x="23" y="92"/>
                    <a:pt x="24" y="92"/>
                    <a:pt x="24" y="92"/>
                  </a:cubicBezTo>
                  <a:cubicBezTo>
                    <a:pt x="25" y="92"/>
                    <a:pt x="25" y="92"/>
                    <a:pt x="26" y="92"/>
                  </a:cubicBezTo>
                  <a:cubicBezTo>
                    <a:pt x="27" y="91"/>
                    <a:pt x="27" y="90"/>
                    <a:pt x="27" y="88"/>
                  </a:cubicBezTo>
                  <a:cubicBezTo>
                    <a:pt x="22" y="82"/>
                    <a:pt x="20" y="74"/>
                    <a:pt x="20" y="65"/>
                  </a:cubicBezTo>
                  <a:cubicBezTo>
                    <a:pt x="20" y="40"/>
                    <a:pt x="40" y="20"/>
                    <a:pt x="65" y="20"/>
                  </a:cubicBezTo>
                  <a:moveTo>
                    <a:pt x="65" y="85"/>
                  </a:moveTo>
                  <a:cubicBezTo>
                    <a:pt x="61" y="85"/>
                    <a:pt x="58" y="82"/>
                    <a:pt x="58" y="78"/>
                  </a:cubicBezTo>
                  <a:cubicBezTo>
                    <a:pt x="58" y="73"/>
                    <a:pt x="61" y="70"/>
                    <a:pt x="65" y="70"/>
                  </a:cubicBezTo>
                  <a:cubicBezTo>
                    <a:pt x="69" y="70"/>
                    <a:pt x="72" y="73"/>
                    <a:pt x="72" y="78"/>
                  </a:cubicBezTo>
                  <a:cubicBezTo>
                    <a:pt x="72" y="82"/>
                    <a:pt x="69" y="85"/>
                    <a:pt x="65" y="85"/>
                  </a:cubicBezTo>
                  <a:moveTo>
                    <a:pt x="106" y="33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0" y="66"/>
                    <a:pt x="68" y="65"/>
                    <a:pt x="65" y="65"/>
                  </a:cubicBezTo>
                  <a:cubicBezTo>
                    <a:pt x="58" y="65"/>
                    <a:pt x="53" y="71"/>
                    <a:pt x="53" y="78"/>
                  </a:cubicBezTo>
                  <a:cubicBezTo>
                    <a:pt x="53" y="80"/>
                    <a:pt x="53" y="82"/>
                    <a:pt x="55" y="8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2" y="97"/>
                    <a:pt x="42" y="98"/>
                    <a:pt x="43" y="99"/>
                  </a:cubicBezTo>
                  <a:cubicBezTo>
                    <a:pt x="44" y="100"/>
                    <a:pt x="44" y="100"/>
                    <a:pt x="45" y="100"/>
                  </a:cubicBezTo>
                  <a:cubicBezTo>
                    <a:pt x="46" y="100"/>
                    <a:pt x="46" y="100"/>
                    <a:pt x="47" y="99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0" y="89"/>
                    <a:pt x="62" y="90"/>
                    <a:pt x="65" y="90"/>
                  </a:cubicBezTo>
                  <a:cubicBezTo>
                    <a:pt x="72" y="90"/>
                    <a:pt x="77" y="84"/>
                    <a:pt x="77" y="78"/>
                  </a:cubicBezTo>
                  <a:cubicBezTo>
                    <a:pt x="77" y="75"/>
                    <a:pt x="77" y="73"/>
                    <a:pt x="75" y="71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10" y="36"/>
                    <a:pt x="110" y="34"/>
                    <a:pt x="109" y="33"/>
                  </a:cubicBezTo>
                  <a:cubicBezTo>
                    <a:pt x="108" y="32"/>
                    <a:pt x="107" y="32"/>
                    <a:pt x="106" y="33"/>
                  </a:cubicBezTo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77"/>
                    <a:pt x="4" y="89"/>
                    <a:pt x="10" y="99"/>
                  </a:cubicBezTo>
                  <a:cubicBezTo>
                    <a:pt x="10" y="100"/>
                    <a:pt x="12" y="100"/>
                    <a:pt x="13" y="100"/>
                  </a:cubicBezTo>
                  <a:cubicBezTo>
                    <a:pt x="14" y="99"/>
                    <a:pt x="15" y="97"/>
                    <a:pt x="14" y="96"/>
                  </a:cubicBezTo>
                  <a:cubicBezTo>
                    <a:pt x="8" y="87"/>
                    <a:pt x="5" y="76"/>
                    <a:pt x="5" y="65"/>
                  </a:cubicBezTo>
                  <a:cubicBezTo>
                    <a:pt x="5" y="32"/>
                    <a:pt x="32" y="5"/>
                    <a:pt x="65" y="5"/>
                  </a:cubicBezTo>
                  <a:cubicBezTo>
                    <a:pt x="98" y="5"/>
                    <a:pt x="125" y="32"/>
                    <a:pt x="125" y="65"/>
                  </a:cubicBezTo>
                  <a:cubicBezTo>
                    <a:pt x="125" y="76"/>
                    <a:pt x="122" y="87"/>
                    <a:pt x="116" y="96"/>
                  </a:cubicBezTo>
                  <a:cubicBezTo>
                    <a:pt x="115" y="97"/>
                    <a:pt x="116" y="99"/>
                    <a:pt x="117" y="100"/>
                  </a:cubicBezTo>
                  <a:cubicBezTo>
                    <a:pt x="117" y="100"/>
                    <a:pt x="118" y="100"/>
                    <a:pt x="118" y="100"/>
                  </a:cubicBezTo>
                  <a:cubicBezTo>
                    <a:pt x="119" y="100"/>
                    <a:pt x="120" y="100"/>
                    <a:pt x="120" y="99"/>
                  </a:cubicBezTo>
                  <a:cubicBezTo>
                    <a:pt x="126" y="89"/>
                    <a:pt x="130" y="77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92">
            <a:extLst>
              <a:ext uri="{FF2B5EF4-FFF2-40B4-BE49-F238E27FC236}">
                <a16:creationId xmlns:a16="http://schemas.microsoft.com/office/drawing/2014/main" id="{40334C12-6CD3-4B03-9D89-D5C0E5D075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2564" y="1514761"/>
            <a:ext cx="842962" cy="841375"/>
            <a:chOff x="4353" y="977"/>
            <a:chExt cx="531" cy="530"/>
          </a:xfrm>
        </p:grpSpPr>
        <p:sp>
          <p:nvSpPr>
            <p:cNvPr id="110" name="AutoShape 91">
              <a:extLst>
                <a:ext uri="{FF2B5EF4-FFF2-40B4-BE49-F238E27FC236}">
                  <a16:creationId xmlns:a16="http://schemas.microsoft.com/office/drawing/2014/main" id="{1F282612-808D-42C3-BE2D-24E162A775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53" y="977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Oval 93">
              <a:extLst>
                <a:ext uri="{FF2B5EF4-FFF2-40B4-BE49-F238E27FC236}">
                  <a16:creationId xmlns:a16="http://schemas.microsoft.com/office/drawing/2014/main" id="{F4445846-17C1-4CCE-AEC5-B4CB7952B4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" y="977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4">
              <a:extLst>
                <a:ext uri="{FF2B5EF4-FFF2-40B4-BE49-F238E27FC236}">
                  <a16:creationId xmlns:a16="http://schemas.microsoft.com/office/drawing/2014/main" id="{C99C0959-DD6E-4319-A888-6EA0CF036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1" y="995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5">
              <a:extLst>
                <a:ext uri="{FF2B5EF4-FFF2-40B4-BE49-F238E27FC236}">
                  <a16:creationId xmlns:a16="http://schemas.microsoft.com/office/drawing/2014/main" id="{489A8B60-6A8F-4BC7-8CA6-B37F48FCBA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3" y="1074"/>
              <a:ext cx="333" cy="256"/>
            </a:xfrm>
            <a:custGeom>
              <a:avLst/>
              <a:gdLst>
                <a:gd name="T0" fmla="*/ 65 w 130"/>
                <a:gd name="T1" fmla="*/ 20 h 100"/>
                <a:gd name="T2" fmla="*/ 95 w 130"/>
                <a:gd name="T3" fmla="*/ 32 h 100"/>
                <a:gd name="T4" fmla="*/ 99 w 130"/>
                <a:gd name="T5" fmla="*/ 31 h 100"/>
                <a:gd name="T6" fmla="*/ 99 w 130"/>
                <a:gd name="T7" fmla="*/ 28 h 100"/>
                <a:gd name="T8" fmla="*/ 65 w 130"/>
                <a:gd name="T9" fmla="*/ 15 h 100"/>
                <a:gd name="T10" fmla="*/ 15 w 130"/>
                <a:gd name="T11" fmla="*/ 65 h 100"/>
                <a:gd name="T12" fmla="*/ 22 w 130"/>
                <a:gd name="T13" fmla="*/ 91 h 100"/>
                <a:gd name="T14" fmla="*/ 24 w 130"/>
                <a:gd name="T15" fmla="*/ 92 h 100"/>
                <a:gd name="T16" fmla="*/ 26 w 130"/>
                <a:gd name="T17" fmla="*/ 92 h 100"/>
                <a:gd name="T18" fmla="*/ 27 w 130"/>
                <a:gd name="T19" fmla="*/ 88 h 100"/>
                <a:gd name="T20" fmla="*/ 20 w 130"/>
                <a:gd name="T21" fmla="*/ 65 h 100"/>
                <a:gd name="T22" fmla="*/ 65 w 130"/>
                <a:gd name="T23" fmla="*/ 20 h 100"/>
                <a:gd name="T24" fmla="*/ 65 w 130"/>
                <a:gd name="T25" fmla="*/ 85 h 100"/>
                <a:gd name="T26" fmla="*/ 58 w 130"/>
                <a:gd name="T27" fmla="*/ 78 h 100"/>
                <a:gd name="T28" fmla="*/ 65 w 130"/>
                <a:gd name="T29" fmla="*/ 70 h 100"/>
                <a:gd name="T30" fmla="*/ 72 w 130"/>
                <a:gd name="T31" fmla="*/ 78 h 100"/>
                <a:gd name="T32" fmla="*/ 65 w 130"/>
                <a:gd name="T33" fmla="*/ 85 h 100"/>
                <a:gd name="T34" fmla="*/ 106 w 130"/>
                <a:gd name="T35" fmla="*/ 33 h 100"/>
                <a:gd name="T36" fmla="*/ 72 w 130"/>
                <a:gd name="T37" fmla="*/ 67 h 100"/>
                <a:gd name="T38" fmla="*/ 65 w 130"/>
                <a:gd name="T39" fmla="*/ 65 h 100"/>
                <a:gd name="T40" fmla="*/ 53 w 130"/>
                <a:gd name="T41" fmla="*/ 78 h 100"/>
                <a:gd name="T42" fmla="*/ 55 w 130"/>
                <a:gd name="T43" fmla="*/ 84 h 100"/>
                <a:gd name="T44" fmla="*/ 43 w 130"/>
                <a:gd name="T45" fmla="*/ 96 h 100"/>
                <a:gd name="T46" fmla="*/ 43 w 130"/>
                <a:gd name="T47" fmla="*/ 99 h 100"/>
                <a:gd name="T48" fmla="*/ 45 w 130"/>
                <a:gd name="T49" fmla="*/ 100 h 100"/>
                <a:gd name="T50" fmla="*/ 47 w 130"/>
                <a:gd name="T51" fmla="*/ 99 h 100"/>
                <a:gd name="T52" fmla="*/ 58 w 130"/>
                <a:gd name="T53" fmla="*/ 88 h 100"/>
                <a:gd name="T54" fmla="*/ 65 w 130"/>
                <a:gd name="T55" fmla="*/ 90 h 100"/>
                <a:gd name="T56" fmla="*/ 77 w 130"/>
                <a:gd name="T57" fmla="*/ 78 h 100"/>
                <a:gd name="T58" fmla="*/ 75 w 130"/>
                <a:gd name="T59" fmla="*/ 71 h 100"/>
                <a:gd name="T60" fmla="*/ 109 w 130"/>
                <a:gd name="T61" fmla="*/ 37 h 100"/>
                <a:gd name="T62" fmla="*/ 109 w 130"/>
                <a:gd name="T63" fmla="*/ 33 h 100"/>
                <a:gd name="T64" fmla="*/ 106 w 130"/>
                <a:gd name="T65" fmla="*/ 33 h 100"/>
                <a:gd name="T66" fmla="*/ 65 w 130"/>
                <a:gd name="T67" fmla="*/ 0 h 100"/>
                <a:gd name="T68" fmla="*/ 0 w 130"/>
                <a:gd name="T69" fmla="*/ 65 h 100"/>
                <a:gd name="T70" fmla="*/ 10 w 130"/>
                <a:gd name="T71" fmla="*/ 99 h 100"/>
                <a:gd name="T72" fmla="*/ 13 w 130"/>
                <a:gd name="T73" fmla="*/ 100 h 100"/>
                <a:gd name="T74" fmla="*/ 14 w 130"/>
                <a:gd name="T75" fmla="*/ 96 h 100"/>
                <a:gd name="T76" fmla="*/ 5 w 130"/>
                <a:gd name="T77" fmla="*/ 65 h 100"/>
                <a:gd name="T78" fmla="*/ 65 w 130"/>
                <a:gd name="T79" fmla="*/ 5 h 100"/>
                <a:gd name="T80" fmla="*/ 125 w 130"/>
                <a:gd name="T81" fmla="*/ 65 h 100"/>
                <a:gd name="T82" fmla="*/ 116 w 130"/>
                <a:gd name="T83" fmla="*/ 96 h 100"/>
                <a:gd name="T84" fmla="*/ 117 w 130"/>
                <a:gd name="T85" fmla="*/ 100 h 100"/>
                <a:gd name="T86" fmla="*/ 118 w 130"/>
                <a:gd name="T87" fmla="*/ 100 h 100"/>
                <a:gd name="T88" fmla="*/ 120 w 130"/>
                <a:gd name="T89" fmla="*/ 99 h 100"/>
                <a:gd name="T90" fmla="*/ 130 w 130"/>
                <a:gd name="T91" fmla="*/ 65 h 100"/>
                <a:gd name="T92" fmla="*/ 65 w 130"/>
                <a:gd name="T9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0" h="100">
                  <a:moveTo>
                    <a:pt x="65" y="20"/>
                  </a:moveTo>
                  <a:cubicBezTo>
                    <a:pt x="77" y="20"/>
                    <a:pt x="87" y="24"/>
                    <a:pt x="95" y="32"/>
                  </a:cubicBezTo>
                  <a:cubicBezTo>
                    <a:pt x="96" y="33"/>
                    <a:pt x="98" y="33"/>
                    <a:pt x="99" y="31"/>
                  </a:cubicBezTo>
                  <a:cubicBezTo>
                    <a:pt x="100" y="30"/>
                    <a:pt x="100" y="29"/>
                    <a:pt x="99" y="28"/>
                  </a:cubicBezTo>
                  <a:cubicBezTo>
                    <a:pt x="90" y="20"/>
                    <a:pt x="78" y="15"/>
                    <a:pt x="65" y="15"/>
                  </a:cubicBezTo>
                  <a:cubicBezTo>
                    <a:pt x="37" y="15"/>
                    <a:pt x="15" y="37"/>
                    <a:pt x="15" y="65"/>
                  </a:cubicBezTo>
                  <a:cubicBezTo>
                    <a:pt x="15" y="75"/>
                    <a:pt x="18" y="83"/>
                    <a:pt x="22" y="91"/>
                  </a:cubicBezTo>
                  <a:cubicBezTo>
                    <a:pt x="23" y="92"/>
                    <a:pt x="24" y="92"/>
                    <a:pt x="24" y="92"/>
                  </a:cubicBezTo>
                  <a:cubicBezTo>
                    <a:pt x="25" y="92"/>
                    <a:pt x="25" y="92"/>
                    <a:pt x="26" y="92"/>
                  </a:cubicBezTo>
                  <a:cubicBezTo>
                    <a:pt x="27" y="91"/>
                    <a:pt x="27" y="90"/>
                    <a:pt x="27" y="88"/>
                  </a:cubicBezTo>
                  <a:cubicBezTo>
                    <a:pt x="22" y="82"/>
                    <a:pt x="20" y="74"/>
                    <a:pt x="20" y="65"/>
                  </a:cubicBezTo>
                  <a:cubicBezTo>
                    <a:pt x="20" y="40"/>
                    <a:pt x="40" y="20"/>
                    <a:pt x="65" y="20"/>
                  </a:cubicBezTo>
                  <a:moveTo>
                    <a:pt x="65" y="85"/>
                  </a:moveTo>
                  <a:cubicBezTo>
                    <a:pt x="61" y="85"/>
                    <a:pt x="58" y="82"/>
                    <a:pt x="58" y="78"/>
                  </a:cubicBezTo>
                  <a:cubicBezTo>
                    <a:pt x="58" y="73"/>
                    <a:pt x="61" y="70"/>
                    <a:pt x="65" y="70"/>
                  </a:cubicBezTo>
                  <a:cubicBezTo>
                    <a:pt x="69" y="70"/>
                    <a:pt x="72" y="73"/>
                    <a:pt x="72" y="78"/>
                  </a:cubicBezTo>
                  <a:cubicBezTo>
                    <a:pt x="72" y="82"/>
                    <a:pt x="69" y="85"/>
                    <a:pt x="65" y="85"/>
                  </a:cubicBezTo>
                  <a:moveTo>
                    <a:pt x="106" y="33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0" y="66"/>
                    <a:pt x="68" y="65"/>
                    <a:pt x="65" y="65"/>
                  </a:cubicBezTo>
                  <a:cubicBezTo>
                    <a:pt x="58" y="65"/>
                    <a:pt x="53" y="71"/>
                    <a:pt x="53" y="78"/>
                  </a:cubicBezTo>
                  <a:cubicBezTo>
                    <a:pt x="53" y="80"/>
                    <a:pt x="53" y="82"/>
                    <a:pt x="55" y="8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2" y="97"/>
                    <a:pt x="42" y="98"/>
                    <a:pt x="43" y="99"/>
                  </a:cubicBezTo>
                  <a:cubicBezTo>
                    <a:pt x="44" y="100"/>
                    <a:pt x="44" y="100"/>
                    <a:pt x="45" y="100"/>
                  </a:cubicBezTo>
                  <a:cubicBezTo>
                    <a:pt x="46" y="100"/>
                    <a:pt x="46" y="100"/>
                    <a:pt x="47" y="99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0" y="89"/>
                    <a:pt x="62" y="90"/>
                    <a:pt x="65" y="90"/>
                  </a:cubicBezTo>
                  <a:cubicBezTo>
                    <a:pt x="72" y="90"/>
                    <a:pt x="77" y="84"/>
                    <a:pt x="77" y="78"/>
                  </a:cubicBezTo>
                  <a:cubicBezTo>
                    <a:pt x="77" y="75"/>
                    <a:pt x="77" y="73"/>
                    <a:pt x="75" y="71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10" y="36"/>
                    <a:pt x="110" y="34"/>
                    <a:pt x="109" y="33"/>
                  </a:cubicBezTo>
                  <a:cubicBezTo>
                    <a:pt x="108" y="32"/>
                    <a:pt x="107" y="32"/>
                    <a:pt x="106" y="33"/>
                  </a:cubicBezTo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77"/>
                    <a:pt x="4" y="89"/>
                    <a:pt x="10" y="99"/>
                  </a:cubicBezTo>
                  <a:cubicBezTo>
                    <a:pt x="10" y="100"/>
                    <a:pt x="12" y="100"/>
                    <a:pt x="13" y="100"/>
                  </a:cubicBezTo>
                  <a:cubicBezTo>
                    <a:pt x="14" y="99"/>
                    <a:pt x="15" y="97"/>
                    <a:pt x="14" y="96"/>
                  </a:cubicBezTo>
                  <a:cubicBezTo>
                    <a:pt x="8" y="87"/>
                    <a:pt x="5" y="76"/>
                    <a:pt x="5" y="65"/>
                  </a:cubicBezTo>
                  <a:cubicBezTo>
                    <a:pt x="5" y="32"/>
                    <a:pt x="32" y="5"/>
                    <a:pt x="65" y="5"/>
                  </a:cubicBezTo>
                  <a:cubicBezTo>
                    <a:pt x="98" y="5"/>
                    <a:pt x="125" y="32"/>
                    <a:pt x="125" y="65"/>
                  </a:cubicBezTo>
                  <a:cubicBezTo>
                    <a:pt x="125" y="76"/>
                    <a:pt x="122" y="87"/>
                    <a:pt x="116" y="96"/>
                  </a:cubicBezTo>
                  <a:cubicBezTo>
                    <a:pt x="115" y="97"/>
                    <a:pt x="116" y="99"/>
                    <a:pt x="117" y="100"/>
                  </a:cubicBezTo>
                  <a:cubicBezTo>
                    <a:pt x="117" y="100"/>
                    <a:pt x="118" y="100"/>
                    <a:pt x="118" y="100"/>
                  </a:cubicBezTo>
                  <a:cubicBezTo>
                    <a:pt x="119" y="100"/>
                    <a:pt x="120" y="100"/>
                    <a:pt x="120" y="99"/>
                  </a:cubicBezTo>
                  <a:cubicBezTo>
                    <a:pt x="126" y="89"/>
                    <a:pt x="130" y="77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8" name="Group 98">
            <a:extLst>
              <a:ext uri="{FF2B5EF4-FFF2-40B4-BE49-F238E27FC236}">
                <a16:creationId xmlns:a16="http://schemas.microsoft.com/office/drawing/2014/main" id="{ED46C94A-FF02-4967-9DFB-47806ACB3E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0434" y="2865390"/>
            <a:ext cx="760412" cy="758825"/>
            <a:chOff x="897" y="1790"/>
            <a:chExt cx="479" cy="478"/>
          </a:xfrm>
        </p:grpSpPr>
        <p:sp>
          <p:nvSpPr>
            <p:cNvPr id="119" name="AutoShape 97">
              <a:extLst>
                <a:ext uri="{FF2B5EF4-FFF2-40B4-BE49-F238E27FC236}">
                  <a16:creationId xmlns:a16="http://schemas.microsoft.com/office/drawing/2014/main" id="{4D930AC1-6257-401F-ACF6-2ED16EBB20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7" y="1790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9">
              <a:extLst>
                <a:ext uri="{FF2B5EF4-FFF2-40B4-BE49-F238E27FC236}">
                  <a16:creationId xmlns:a16="http://schemas.microsoft.com/office/drawing/2014/main" id="{A8F3F728-9B37-47D2-AED2-39F9F0FCE5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" y="1792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0">
              <a:extLst>
                <a:ext uri="{FF2B5EF4-FFF2-40B4-BE49-F238E27FC236}">
                  <a16:creationId xmlns:a16="http://schemas.microsoft.com/office/drawing/2014/main" id="{C24BE5AB-F527-4EE2-9372-86D1AAE05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" y="1871"/>
              <a:ext cx="344" cy="260"/>
            </a:xfrm>
            <a:custGeom>
              <a:avLst/>
              <a:gdLst>
                <a:gd name="T0" fmla="*/ 83 w 140"/>
                <a:gd name="T1" fmla="*/ 76 h 106"/>
                <a:gd name="T2" fmla="*/ 70 w 140"/>
                <a:gd name="T3" fmla="*/ 89 h 106"/>
                <a:gd name="T4" fmla="*/ 57 w 140"/>
                <a:gd name="T5" fmla="*/ 76 h 106"/>
                <a:gd name="T6" fmla="*/ 70 w 140"/>
                <a:gd name="T7" fmla="*/ 63 h 106"/>
                <a:gd name="T8" fmla="*/ 83 w 140"/>
                <a:gd name="T9" fmla="*/ 76 h 106"/>
                <a:gd name="T10" fmla="*/ 98 w 140"/>
                <a:gd name="T11" fmla="*/ 22 h 106"/>
                <a:gd name="T12" fmla="*/ 94 w 140"/>
                <a:gd name="T13" fmla="*/ 23 h 106"/>
                <a:gd name="T14" fmla="*/ 76 w 140"/>
                <a:gd name="T15" fmla="*/ 58 h 106"/>
                <a:gd name="T16" fmla="*/ 70 w 140"/>
                <a:gd name="T17" fmla="*/ 57 h 106"/>
                <a:gd name="T18" fmla="*/ 51 w 140"/>
                <a:gd name="T19" fmla="*/ 76 h 106"/>
                <a:gd name="T20" fmla="*/ 70 w 140"/>
                <a:gd name="T21" fmla="*/ 95 h 106"/>
                <a:gd name="T22" fmla="*/ 89 w 140"/>
                <a:gd name="T23" fmla="*/ 76 h 106"/>
                <a:gd name="T24" fmla="*/ 81 w 140"/>
                <a:gd name="T25" fmla="*/ 61 h 106"/>
                <a:gd name="T26" fmla="*/ 99 w 140"/>
                <a:gd name="T27" fmla="*/ 25 h 106"/>
                <a:gd name="T28" fmla="*/ 98 w 140"/>
                <a:gd name="T29" fmla="*/ 22 h 106"/>
                <a:gd name="T30" fmla="*/ 77 w 140"/>
                <a:gd name="T31" fmla="*/ 21 h 106"/>
                <a:gd name="T32" fmla="*/ 80 w 140"/>
                <a:gd name="T33" fmla="*/ 19 h 106"/>
                <a:gd name="T34" fmla="*/ 78 w 140"/>
                <a:gd name="T35" fmla="*/ 16 h 106"/>
                <a:gd name="T36" fmla="*/ 24 w 140"/>
                <a:gd name="T37" fmla="*/ 36 h 106"/>
                <a:gd name="T38" fmla="*/ 24 w 140"/>
                <a:gd name="T39" fmla="*/ 40 h 106"/>
                <a:gd name="T40" fmla="*/ 26 w 140"/>
                <a:gd name="T41" fmla="*/ 40 h 106"/>
                <a:gd name="T42" fmla="*/ 28 w 140"/>
                <a:gd name="T43" fmla="*/ 39 h 106"/>
                <a:gd name="T44" fmla="*/ 77 w 140"/>
                <a:gd name="T45" fmla="*/ 21 h 106"/>
                <a:gd name="T46" fmla="*/ 59 w 140"/>
                <a:gd name="T47" fmla="*/ 104 h 106"/>
                <a:gd name="T48" fmla="*/ 42 w 140"/>
                <a:gd name="T49" fmla="*/ 86 h 106"/>
                <a:gd name="T50" fmla="*/ 40 w 140"/>
                <a:gd name="T51" fmla="*/ 85 h 106"/>
                <a:gd name="T52" fmla="*/ 39 w 140"/>
                <a:gd name="T53" fmla="*/ 87 h 106"/>
                <a:gd name="T54" fmla="*/ 58 w 140"/>
                <a:gd name="T55" fmla="*/ 106 h 106"/>
                <a:gd name="T56" fmla="*/ 59 w 140"/>
                <a:gd name="T57" fmla="*/ 106 h 106"/>
                <a:gd name="T58" fmla="*/ 60 w 140"/>
                <a:gd name="T59" fmla="*/ 106 h 106"/>
                <a:gd name="T60" fmla="*/ 59 w 140"/>
                <a:gd name="T61" fmla="*/ 104 h 106"/>
                <a:gd name="T62" fmla="*/ 139 w 140"/>
                <a:gd name="T63" fmla="*/ 42 h 106"/>
                <a:gd name="T64" fmla="*/ 111 w 140"/>
                <a:gd name="T65" fmla="*/ 11 h 106"/>
                <a:gd name="T66" fmla="*/ 70 w 140"/>
                <a:gd name="T67" fmla="*/ 0 h 106"/>
                <a:gd name="T68" fmla="*/ 29 w 140"/>
                <a:gd name="T69" fmla="*/ 11 h 106"/>
                <a:gd name="T70" fmla="*/ 1 w 140"/>
                <a:gd name="T71" fmla="*/ 42 h 106"/>
                <a:gd name="T72" fmla="*/ 1 w 140"/>
                <a:gd name="T73" fmla="*/ 44 h 106"/>
                <a:gd name="T74" fmla="*/ 2 w 140"/>
                <a:gd name="T75" fmla="*/ 45 h 106"/>
                <a:gd name="T76" fmla="*/ 14 w 140"/>
                <a:gd name="T77" fmla="*/ 51 h 106"/>
                <a:gd name="T78" fmla="*/ 18 w 140"/>
                <a:gd name="T79" fmla="*/ 50 h 106"/>
                <a:gd name="T80" fmla="*/ 17 w 140"/>
                <a:gd name="T81" fmla="*/ 47 h 106"/>
                <a:gd name="T82" fmla="*/ 7 w 140"/>
                <a:gd name="T83" fmla="*/ 42 h 106"/>
                <a:gd name="T84" fmla="*/ 70 w 140"/>
                <a:gd name="T85" fmla="*/ 5 h 106"/>
                <a:gd name="T86" fmla="*/ 133 w 140"/>
                <a:gd name="T87" fmla="*/ 42 h 106"/>
                <a:gd name="T88" fmla="*/ 123 w 140"/>
                <a:gd name="T89" fmla="*/ 47 h 106"/>
                <a:gd name="T90" fmla="*/ 122 w 140"/>
                <a:gd name="T91" fmla="*/ 50 h 106"/>
                <a:gd name="T92" fmla="*/ 124 w 140"/>
                <a:gd name="T93" fmla="*/ 52 h 106"/>
                <a:gd name="T94" fmla="*/ 126 w 140"/>
                <a:gd name="T95" fmla="*/ 52 h 106"/>
                <a:gd name="T96" fmla="*/ 138 w 140"/>
                <a:gd name="T97" fmla="*/ 45 h 106"/>
                <a:gd name="T98" fmla="*/ 139 w 140"/>
                <a:gd name="T99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0" h="106">
                  <a:moveTo>
                    <a:pt x="83" y="76"/>
                  </a:moveTo>
                  <a:cubicBezTo>
                    <a:pt x="83" y="83"/>
                    <a:pt x="77" y="89"/>
                    <a:pt x="70" y="89"/>
                  </a:cubicBezTo>
                  <a:cubicBezTo>
                    <a:pt x="63" y="89"/>
                    <a:pt x="57" y="83"/>
                    <a:pt x="57" y="76"/>
                  </a:cubicBezTo>
                  <a:cubicBezTo>
                    <a:pt x="57" y="69"/>
                    <a:pt x="63" y="63"/>
                    <a:pt x="70" y="63"/>
                  </a:cubicBezTo>
                  <a:cubicBezTo>
                    <a:pt x="77" y="63"/>
                    <a:pt x="83" y="69"/>
                    <a:pt x="83" y="76"/>
                  </a:cubicBezTo>
                  <a:moveTo>
                    <a:pt x="98" y="22"/>
                  </a:moveTo>
                  <a:cubicBezTo>
                    <a:pt x="96" y="21"/>
                    <a:pt x="95" y="21"/>
                    <a:pt x="94" y="23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4" y="58"/>
                    <a:pt x="72" y="57"/>
                    <a:pt x="70" y="57"/>
                  </a:cubicBezTo>
                  <a:cubicBezTo>
                    <a:pt x="60" y="57"/>
                    <a:pt x="51" y="66"/>
                    <a:pt x="51" y="76"/>
                  </a:cubicBezTo>
                  <a:cubicBezTo>
                    <a:pt x="51" y="86"/>
                    <a:pt x="60" y="95"/>
                    <a:pt x="70" y="95"/>
                  </a:cubicBezTo>
                  <a:cubicBezTo>
                    <a:pt x="80" y="95"/>
                    <a:pt x="89" y="86"/>
                    <a:pt x="89" y="76"/>
                  </a:cubicBezTo>
                  <a:cubicBezTo>
                    <a:pt x="89" y="70"/>
                    <a:pt x="85" y="64"/>
                    <a:pt x="81" y="61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100" y="24"/>
                    <a:pt x="99" y="22"/>
                    <a:pt x="98" y="22"/>
                  </a:cubicBezTo>
                  <a:moveTo>
                    <a:pt x="77" y="21"/>
                  </a:moveTo>
                  <a:cubicBezTo>
                    <a:pt x="79" y="21"/>
                    <a:pt x="80" y="20"/>
                    <a:pt x="80" y="19"/>
                  </a:cubicBezTo>
                  <a:cubicBezTo>
                    <a:pt x="80" y="17"/>
                    <a:pt x="79" y="16"/>
                    <a:pt x="78" y="16"/>
                  </a:cubicBezTo>
                  <a:cubicBezTo>
                    <a:pt x="58" y="13"/>
                    <a:pt x="38" y="21"/>
                    <a:pt x="24" y="36"/>
                  </a:cubicBezTo>
                  <a:cubicBezTo>
                    <a:pt x="23" y="37"/>
                    <a:pt x="23" y="39"/>
                    <a:pt x="24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7" y="40"/>
                    <a:pt x="27" y="40"/>
                    <a:pt x="28" y="39"/>
                  </a:cubicBezTo>
                  <a:cubicBezTo>
                    <a:pt x="40" y="25"/>
                    <a:pt x="59" y="19"/>
                    <a:pt x="77" y="21"/>
                  </a:cubicBezTo>
                  <a:moveTo>
                    <a:pt x="59" y="104"/>
                  </a:moveTo>
                  <a:cubicBezTo>
                    <a:pt x="51" y="101"/>
                    <a:pt x="45" y="94"/>
                    <a:pt x="42" y="86"/>
                  </a:cubicBezTo>
                  <a:cubicBezTo>
                    <a:pt x="41" y="85"/>
                    <a:pt x="41" y="85"/>
                    <a:pt x="40" y="85"/>
                  </a:cubicBezTo>
                  <a:cubicBezTo>
                    <a:pt x="39" y="85"/>
                    <a:pt x="39" y="86"/>
                    <a:pt x="39" y="87"/>
                  </a:cubicBezTo>
                  <a:cubicBezTo>
                    <a:pt x="42" y="96"/>
                    <a:pt x="49" y="103"/>
                    <a:pt x="58" y="106"/>
                  </a:cubicBezTo>
                  <a:cubicBezTo>
                    <a:pt x="58" y="106"/>
                    <a:pt x="59" y="106"/>
                    <a:pt x="59" y="106"/>
                  </a:cubicBezTo>
                  <a:cubicBezTo>
                    <a:pt x="59" y="106"/>
                    <a:pt x="60" y="106"/>
                    <a:pt x="60" y="106"/>
                  </a:cubicBezTo>
                  <a:cubicBezTo>
                    <a:pt x="60" y="105"/>
                    <a:pt x="60" y="104"/>
                    <a:pt x="59" y="104"/>
                  </a:cubicBezTo>
                  <a:moveTo>
                    <a:pt x="139" y="42"/>
                  </a:moveTo>
                  <a:cubicBezTo>
                    <a:pt x="133" y="29"/>
                    <a:pt x="123" y="19"/>
                    <a:pt x="111" y="11"/>
                  </a:cubicBezTo>
                  <a:cubicBezTo>
                    <a:pt x="99" y="4"/>
                    <a:pt x="85" y="0"/>
                    <a:pt x="70" y="0"/>
                  </a:cubicBezTo>
                  <a:cubicBezTo>
                    <a:pt x="55" y="0"/>
                    <a:pt x="41" y="4"/>
                    <a:pt x="29" y="11"/>
                  </a:cubicBezTo>
                  <a:cubicBezTo>
                    <a:pt x="17" y="19"/>
                    <a:pt x="7" y="29"/>
                    <a:pt x="1" y="42"/>
                  </a:cubicBezTo>
                  <a:cubicBezTo>
                    <a:pt x="0" y="43"/>
                    <a:pt x="0" y="43"/>
                    <a:pt x="1" y="44"/>
                  </a:cubicBezTo>
                  <a:cubicBezTo>
                    <a:pt x="1" y="45"/>
                    <a:pt x="1" y="45"/>
                    <a:pt x="2" y="45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6" y="52"/>
                    <a:pt x="17" y="51"/>
                    <a:pt x="18" y="50"/>
                  </a:cubicBezTo>
                  <a:cubicBezTo>
                    <a:pt x="19" y="49"/>
                    <a:pt x="18" y="47"/>
                    <a:pt x="17" y="47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19" y="19"/>
                    <a:pt x="43" y="5"/>
                    <a:pt x="70" y="5"/>
                  </a:cubicBezTo>
                  <a:cubicBezTo>
                    <a:pt x="96" y="5"/>
                    <a:pt x="121" y="19"/>
                    <a:pt x="133" y="42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2" y="48"/>
                    <a:pt x="121" y="49"/>
                    <a:pt x="122" y="50"/>
                  </a:cubicBezTo>
                  <a:cubicBezTo>
                    <a:pt x="123" y="51"/>
                    <a:pt x="124" y="52"/>
                    <a:pt x="124" y="52"/>
                  </a:cubicBezTo>
                  <a:cubicBezTo>
                    <a:pt x="125" y="52"/>
                    <a:pt x="125" y="52"/>
                    <a:pt x="126" y="5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9" y="45"/>
                    <a:pt x="140" y="43"/>
                    <a:pt x="139" y="4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103">
            <a:extLst>
              <a:ext uri="{FF2B5EF4-FFF2-40B4-BE49-F238E27FC236}">
                <a16:creationId xmlns:a16="http://schemas.microsoft.com/office/drawing/2014/main" id="{082C0400-C4CB-4511-A6E5-6578803BEC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21" y="2824116"/>
            <a:ext cx="841375" cy="841375"/>
            <a:chOff x="301" y="1790"/>
            <a:chExt cx="530" cy="530"/>
          </a:xfrm>
        </p:grpSpPr>
        <p:sp>
          <p:nvSpPr>
            <p:cNvPr id="123" name="AutoShape 102">
              <a:extLst>
                <a:ext uri="{FF2B5EF4-FFF2-40B4-BE49-F238E27FC236}">
                  <a16:creationId xmlns:a16="http://schemas.microsoft.com/office/drawing/2014/main" id="{B04990AA-79B4-4566-B5C3-9E1376871D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1" y="1790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04">
              <a:extLst>
                <a:ext uri="{FF2B5EF4-FFF2-40B4-BE49-F238E27FC236}">
                  <a16:creationId xmlns:a16="http://schemas.microsoft.com/office/drawing/2014/main" id="{A0953273-CDBC-417F-8D0C-6530D5AA8F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" y="1790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05">
              <a:extLst>
                <a:ext uri="{FF2B5EF4-FFF2-40B4-BE49-F238E27FC236}">
                  <a16:creationId xmlns:a16="http://schemas.microsoft.com/office/drawing/2014/main" id="{80ABCF7D-32D5-4777-89C1-8B1F5505DC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" y="1808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6">
              <a:extLst>
                <a:ext uri="{FF2B5EF4-FFF2-40B4-BE49-F238E27FC236}">
                  <a16:creationId xmlns:a16="http://schemas.microsoft.com/office/drawing/2014/main" id="{513825B5-583E-44D8-B3BD-C18453C88C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" y="1890"/>
              <a:ext cx="358" cy="271"/>
            </a:xfrm>
            <a:custGeom>
              <a:avLst/>
              <a:gdLst>
                <a:gd name="T0" fmla="*/ 83 w 140"/>
                <a:gd name="T1" fmla="*/ 76 h 106"/>
                <a:gd name="T2" fmla="*/ 70 w 140"/>
                <a:gd name="T3" fmla="*/ 89 h 106"/>
                <a:gd name="T4" fmla="*/ 57 w 140"/>
                <a:gd name="T5" fmla="*/ 76 h 106"/>
                <a:gd name="T6" fmla="*/ 70 w 140"/>
                <a:gd name="T7" fmla="*/ 63 h 106"/>
                <a:gd name="T8" fmla="*/ 83 w 140"/>
                <a:gd name="T9" fmla="*/ 76 h 106"/>
                <a:gd name="T10" fmla="*/ 98 w 140"/>
                <a:gd name="T11" fmla="*/ 22 h 106"/>
                <a:gd name="T12" fmla="*/ 94 w 140"/>
                <a:gd name="T13" fmla="*/ 23 h 106"/>
                <a:gd name="T14" fmla="*/ 76 w 140"/>
                <a:gd name="T15" fmla="*/ 58 h 106"/>
                <a:gd name="T16" fmla="*/ 70 w 140"/>
                <a:gd name="T17" fmla="*/ 57 h 106"/>
                <a:gd name="T18" fmla="*/ 51 w 140"/>
                <a:gd name="T19" fmla="*/ 76 h 106"/>
                <a:gd name="T20" fmla="*/ 70 w 140"/>
                <a:gd name="T21" fmla="*/ 95 h 106"/>
                <a:gd name="T22" fmla="*/ 89 w 140"/>
                <a:gd name="T23" fmla="*/ 76 h 106"/>
                <a:gd name="T24" fmla="*/ 81 w 140"/>
                <a:gd name="T25" fmla="*/ 61 h 106"/>
                <a:gd name="T26" fmla="*/ 99 w 140"/>
                <a:gd name="T27" fmla="*/ 25 h 106"/>
                <a:gd name="T28" fmla="*/ 98 w 140"/>
                <a:gd name="T29" fmla="*/ 22 h 106"/>
                <a:gd name="T30" fmla="*/ 77 w 140"/>
                <a:gd name="T31" fmla="*/ 21 h 106"/>
                <a:gd name="T32" fmla="*/ 80 w 140"/>
                <a:gd name="T33" fmla="*/ 19 h 106"/>
                <a:gd name="T34" fmla="*/ 78 w 140"/>
                <a:gd name="T35" fmla="*/ 16 h 106"/>
                <a:gd name="T36" fmla="*/ 24 w 140"/>
                <a:gd name="T37" fmla="*/ 36 h 106"/>
                <a:gd name="T38" fmla="*/ 24 w 140"/>
                <a:gd name="T39" fmla="*/ 40 h 106"/>
                <a:gd name="T40" fmla="*/ 26 w 140"/>
                <a:gd name="T41" fmla="*/ 40 h 106"/>
                <a:gd name="T42" fmla="*/ 28 w 140"/>
                <a:gd name="T43" fmla="*/ 39 h 106"/>
                <a:gd name="T44" fmla="*/ 77 w 140"/>
                <a:gd name="T45" fmla="*/ 21 h 106"/>
                <a:gd name="T46" fmla="*/ 59 w 140"/>
                <a:gd name="T47" fmla="*/ 104 h 106"/>
                <a:gd name="T48" fmla="*/ 42 w 140"/>
                <a:gd name="T49" fmla="*/ 86 h 106"/>
                <a:gd name="T50" fmla="*/ 40 w 140"/>
                <a:gd name="T51" fmla="*/ 85 h 106"/>
                <a:gd name="T52" fmla="*/ 39 w 140"/>
                <a:gd name="T53" fmla="*/ 87 h 106"/>
                <a:gd name="T54" fmla="*/ 58 w 140"/>
                <a:gd name="T55" fmla="*/ 106 h 106"/>
                <a:gd name="T56" fmla="*/ 59 w 140"/>
                <a:gd name="T57" fmla="*/ 106 h 106"/>
                <a:gd name="T58" fmla="*/ 60 w 140"/>
                <a:gd name="T59" fmla="*/ 106 h 106"/>
                <a:gd name="T60" fmla="*/ 59 w 140"/>
                <a:gd name="T61" fmla="*/ 104 h 106"/>
                <a:gd name="T62" fmla="*/ 139 w 140"/>
                <a:gd name="T63" fmla="*/ 42 h 106"/>
                <a:gd name="T64" fmla="*/ 111 w 140"/>
                <a:gd name="T65" fmla="*/ 11 h 106"/>
                <a:gd name="T66" fmla="*/ 70 w 140"/>
                <a:gd name="T67" fmla="*/ 0 h 106"/>
                <a:gd name="T68" fmla="*/ 29 w 140"/>
                <a:gd name="T69" fmla="*/ 11 h 106"/>
                <a:gd name="T70" fmla="*/ 1 w 140"/>
                <a:gd name="T71" fmla="*/ 42 h 106"/>
                <a:gd name="T72" fmla="*/ 1 w 140"/>
                <a:gd name="T73" fmla="*/ 44 h 106"/>
                <a:gd name="T74" fmla="*/ 2 w 140"/>
                <a:gd name="T75" fmla="*/ 45 h 106"/>
                <a:gd name="T76" fmla="*/ 14 w 140"/>
                <a:gd name="T77" fmla="*/ 51 h 106"/>
                <a:gd name="T78" fmla="*/ 18 w 140"/>
                <a:gd name="T79" fmla="*/ 50 h 106"/>
                <a:gd name="T80" fmla="*/ 17 w 140"/>
                <a:gd name="T81" fmla="*/ 47 h 106"/>
                <a:gd name="T82" fmla="*/ 7 w 140"/>
                <a:gd name="T83" fmla="*/ 42 h 106"/>
                <a:gd name="T84" fmla="*/ 70 w 140"/>
                <a:gd name="T85" fmla="*/ 5 h 106"/>
                <a:gd name="T86" fmla="*/ 133 w 140"/>
                <a:gd name="T87" fmla="*/ 42 h 106"/>
                <a:gd name="T88" fmla="*/ 123 w 140"/>
                <a:gd name="T89" fmla="*/ 47 h 106"/>
                <a:gd name="T90" fmla="*/ 122 w 140"/>
                <a:gd name="T91" fmla="*/ 50 h 106"/>
                <a:gd name="T92" fmla="*/ 124 w 140"/>
                <a:gd name="T93" fmla="*/ 52 h 106"/>
                <a:gd name="T94" fmla="*/ 126 w 140"/>
                <a:gd name="T95" fmla="*/ 52 h 106"/>
                <a:gd name="T96" fmla="*/ 138 w 140"/>
                <a:gd name="T97" fmla="*/ 45 h 106"/>
                <a:gd name="T98" fmla="*/ 139 w 140"/>
                <a:gd name="T99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0" h="106">
                  <a:moveTo>
                    <a:pt x="83" y="76"/>
                  </a:moveTo>
                  <a:cubicBezTo>
                    <a:pt x="83" y="83"/>
                    <a:pt x="77" y="89"/>
                    <a:pt x="70" y="89"/>
                  </a:cubicBezTo>
                  <a:cubicBezTo>
                    <a:pt x="63" y="89"/>
                    <a:pt x="57" y="83"/>
                    <a:pt x="57" y="76"/>
                  </a:cubicBezTo>
                  <a:cubicBezTo>
                    <a:pt x="57" y="69"/>
                    <a:pt x="63" y="63"/>
                    <a:pt x="70" y="63"/>
                  </a:cubicBezTo>
                  <a:cubicBezTo>
                    <a:pt x="77" y="63"/>
                    <a:pt x="83" y="69"/>
                    <a:pt x="83" y="76"/>
                  </a:cubicBezTo>
                  <a:moveTo>
                    <a:pt x="98" y="22"/>
                  </a:moveTo>
                  <a:cubicBezTo>
                    <a:pt x="96" y="21"/>
                    <a:pt x="95" y="21"/>
                    <a:pt x="94" y="23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4" y="58"/>
                    <a:pt x="72" y="57"/>
                    <a:pt x="70" y="57"/>
                  </a:cubicBezTo>
                  <a:cubicBezTo>
                    <a:pt x="60" y="57"/>
                    <a:pt x="51" y="66"/>
                    <a:pt x="51" y="76"/>
                  </a:cubicBezTo>
                  <a:cubicBezTo>
                    <a:pt x="51" y="86"/>
                    <a:pt x="60" y="95"/>
                    <a:pt x="70" y="95"/>
                  </a:cubicBezTo>
                  <a:cubicBezTo>
                    <a:pt x="80" y="95"/>
                    <a:pt x="89" y="86"/>
                    <a:pt x="89" y="76"/>
                  </a:cubicBezTo>
                  <a:cubicBezTo>
                    <a:pt x="89" y="70"/>
                    <a:pt x="85" y="64"/>
                    <a:pt x="81" y="61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100" y="24"/>
                    <a:pt x="99" y="22"/>
                    <a:pt x="98" y="22"/>
                  </a:cubicBezTo>
                  <a:moveTo>
                    <a:pt x="77" y="21"/>
                  </a:moveTo>
                  <a:cubicBezTo>
                    <a:pt x="79" y="21"/>
                    <a:pt x="80" y="20"/>
                    <a:pt x="80" y="19"/>
                  </a:cubicBezTo>
                  <a:cubicBezTo>
                    <a:pt x="80" y="17"/>
                    <a:pt x="79" y="16"/>
                    <a:pt x="78" y="16"/>
                  </a:cubicBezTo>
                  <a:cubicBezTo>
                    <a:pt x="58" y="13"/>
                    <a:pt x="38" y="21"/>
                    <a:pt x="24" y="36"/>
                  </a:cubicBezTo>
                  <a:cubicBezTo>
                    <a:pt x="23" y="37"/>
                    <a:pt x="23" y="39"/>
                    <a:pt x="24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7" y="40"/>
                    <a:pt x="27" y="40"/>
                    <a:pt x="28" y="39"/>
                  </a:cubicBezTo>
                  <a:cubicBezTo>
                    <a:pt x="40" y="25"/>
                    <a:pt x="59" y="19"/>
                    <a:pt x="77" y="21"/>
                  </a:cubicBezTo>
                  <a:moveTo>
                    <a:pt x="59" y="104"/>
                  </a:moveTo>
                  <a:cubicBezTo>
                    <a:pt x="51" y="101"/>
                    <a:pt x="45" y="94"/>
                    <a:pt x="42" y="86"/>
                  </a:cubicBezTo>
                  <a:cubicBezTo>
                    <a:pt x="41" y="85"/>
                    <a:pt x="41" y="85"/>
                    <a:pt x="40" y="85"/>
                  </a:cubicBezTo>
                  <a:cubicBezTo>
                    <a:pt x="39" y="85"/>
                    <a:pt x="39" y="86"/>
                    <a:pt x="39" y="87"/>
                  </a:cubicBezTo>
                  <a:cubicBezTo>
                    <a:pt x="42" y="96"/>
                    <a:pt x="49" y="103"/>
                    <a:pt x="58" y="106"/>
                  </a:cubicBezTo>
                  <a:cubicBezTo>
                    <a:pt x="58" y="106"/>
                    <a:pt x="59" y="106"/>
                    <a:pt x="59" y="106"/>
                  </a:cubicBezTo>
                  <a:cubicBezTo>
                    <a:pt x="59" y="106"/>
                    <a:pt x="60" y="106"/>
                    <a:pt x="60" y="106"/>
                  </a:cubicBezTo>
                  <a:cubicBezTo>
                    <a:pt x="60" y="105"/>
                    <a:pt x="60" y="104"/>
                    <a:pt x="59" y="104"/>
                  </a:cubicBezTo>
                  <a:moveTo>
                    <a:pt x="139" y="42"/>
                  </a:moveTo>
                  <a:cubicBezTo>
                    <a:pt x="133" y="29"/>
                    <a:pt x="123" y="19"/>
                    <a:pt x="111" y="11"/>
                  </a:cubicBezTo>
                  <a:cubicBezTo>
                    <a:pt x="99" y="4"/>
                    <a:pt x="85" y="0"/>
                    <a:pt x="70" y="0"/>
                  </a:cubicBezTo>
                  <a:cubicBezTo>
                    <a:pt x="55" y="0"/>
                    <a:pt x="41" y="4"/>
                    <a:pt x="29" y="11"/>
                  </a:cubicBezTo>
                  <a:cubicBezTo>
                    <a:pt x="17" y="19"/>
                    <a:pt x="7" y="29"/>
                    <a:pt x="1" y="42"/>
                  </a:cubicBezTo>
                  <a:cubicBezTo>
                    <a:pt x="0" y="43"/>
                    <a:pt x="0" y="43"/>
                    <a:pt x="1" y="44"/>
                  </a:cubicBezTo>
                  <a:cubicBezTo>
                    <a:pt x="1" y="45"/>
                    <a:pt x="1" y="45"/>
                    <a:pt x="2" y="45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6" y="52"/>
                    <a:pt x="17" y="51"/>
                    <a:pt x="18" y="50"/>
                  </a:cubicBezTo>
                  <a:cubicBezTo>
                    <a:pt x="19" y="49"/>
                    <a:pt x="18" y="47"/>
                    <a:pt x="17" y="47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19" y="19"/>
                    <a:pt x="43" y="5"/>
                    <a:pt x="70" y="5"/>
                  </a:cubicBezTo>
                  <a:cubicBezTo>
                    <a:pt x="96" y="5"/>
                    <a:pt x="121" y="19"/>
                    <a:pt x="133" y="42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2" y="48"/>
                    <a:pt x="121" y="49"/>
                    <a:pt x="122" y="50"/>
                  </a:cubicBezTo>
                  <a:cubicBezTo>
                    <a:pt x="123" y="51"/>
                    <a:pt x="124" y="52"/>
                    <a:pt x="124" y="52"/>
                  </a:cubicBezTo>
                  <a:cubicBezTo>
                    <a:pt x="125" y="52"/>
                    <a:pt x="125" y="52"/>
                    <a:pt x="126" y="5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9" y="45"/>
                    <a:pt x="140" y="43"/>
                    <a:pt x="139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1" name="Group 109">
            <a:extLst>
              <a:ext uri="{FF2B5EF4-FFF2-40B4-BE49-F238E27FC236}">
                <a16:creationId xmlns:a16="http://schemas.microsoft.com/office/drawing/2014/main" id="{7F7E707F-E218-45D7-A4A3-AEE771C272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420" y="2847096"/>
            <a:ext cx="760412" cy="758825"/>
            <a:chOff x="2343" y="1833"/>
            <a:chExt cx="479" cy="478"/>
          </a:xfrm>
        </p:grpSpPr>
        <p:sp>
          <p:nvSpPr>
            <p:cNvPr id="132" name="AutoShape 108">
              <a:extLst>
                <a:ext uri="{FF2B5EF4-FFF2-40B4-BE49-F238E27FC236}">
                  <a16:creationId xmlns:a16="http://schemas.microsoft.com/office/drawing/2014/main" id="{5795FCAB-B411-4768-ADEE-164647DED16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343" y="183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0">
              <a:extLst>
                <a:ext uri="{FF2B5EF4-FFF2-40B4-BE49-F238E27FC236}">
                  <a16:creationId xmlns:a16="http://schemas.microsoft.com/office/drawing/2014/main" id="{0B9BB460-7545-4090-8E0B-8D1A6226B0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183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1">
              <a:extLst>
                <a:ext uri="{FF2B5EF4-FFF2-40B4-BE49-F238E27FC236}">
                  <a16:creationId xmlns:a16="http://schemas.microsoft.com/office/drawing/2014/main" id="{9CA1C1AB-3750-436D-97D2-99EA19F69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5" y="1919"/>
              <a:ext cx="378" cy="191"/>
            </a:xfrm>
            <a:custGeom>
              <a:avLst/>
              <a:gdLst>
                <a:gd name="T0" fmla="*/ 77 w 154"/>
                <a:gd name="T1" fmla="*/ 63 h 78"/>
                <a:gd name="T2" fmla="*/ 73 w 154"/>
                <a:gd name="T3" fmla="*/ 61 h 78"/>
                <a:gd name="T4" fmla="*/ 77 w 154"/>
                <a:gd name="T5" fmla="*/ 57 h 78"/>
                <a:gd name="T6" fmla="*/ 80 w 154"/>
                <a:gd name="T7" fmla="*/ 59 h 78"/>
                <a:gd name="T8" fmla="*/ 16 w 154"/>
                <a:gd name="T9" fmla="*/ 74 h 78"/>
                <a:gd name="T10" fmla="*/ 60 w 154"/>
                <a:gd name="T11" fmla="*/ 66 h 78"/>
                <a:gd name="T12" fmla="*/ 77 w 154"/>
                <a:gd name="T13" fmla="*/ 49 h 78"/>
                <a:gd name="T14" fmla="*/ 79 w 154"/>
                <a:gd name="T15" fmla="*/ 54 h 78"/>
                <a:gd name="T16" fmla="*/ 71 w 154"/>
                <a:gd name="T17" fmla="*/ 56 h 78"/>
                <a:gd name="T18" fmla="*/ 73 w 154"/>
                <a:gd name="T19" fmla="*/ 66 h 78"/>
                <a:gd name="T20" fmla="*/ 82 w 154"/>
                <a:gd name="T21" fmla="*/ 64 h 78"/>
                <a:gd name="T22" fmla="*/ 82 w 154"/>
                <a:gd name="T23" fmla="*/ 56 h 78"/>
                <a:gd name="T24" fmla="*/ 92 w 154"/>
                <a:gd name="T25" fmla="*/ 64 h 78"/>
                <a:gd name="T26" fmla="*/ 138 w 154"/>
                <a:gd name="T27" fmla="*/ 66 h 78"/>
                <a:gd name="T28" fmla="*/ 16 w 154"/>
                <a:gd name="T29" fmla="*/ 74 h 78"/>
                <a:gd name="T30" fmla="*/ 26 w 154"/>
                <a:gd name="T31" fmla="*/ 51 h 78"/>
                <a:gd name="T32" fmla="*/ 18 w 154"/>
                <a:gd name="T33" fmla="*/ 47 h 78"/>
                <a:gd name="T34" fmla="*/ 33 w 154"/>
                <a:gd name="T35" fmla="*/ 34 h 78"/>
                <a:gd name="T36" fmla="*/ 28 w 154"/>
                <a:gd name="T37" fmla="*/ 27 h 78"/>
                <a:gd name="T38" fmla="*/ 47 w 154"/>
                <a:gd name="T39" fmla="*/ 20 h 78"/>
                <a:gd name="T40" fmla="*/ 46 w 154"/>
                <a:gd name="T41" fmla="*/ 12 h 78"/>
                <a:gd name="T42" fmla="*/ 65 w 154"/>
                <a:gd name="T43" fmla="*/ 13 h 78"/>
                <a:gd name="T44" fmla="*/ 67 w 154"/>
                <a:gd name="T45" fmla="*/ 4 h 78"/>
                <a:gd name="T46" fmla="*/ 87 w 154"/>
                <a:gd name="T47" fmla="*/ 4 h 78"/>
                <a:gd name="T48" fmla="*/ 88 w 154"/>
                <a:gd name="T49" fmla="*/ 13 h 78"/>
                <a:gd name="T50" fmla="*/ 109 w 154"/>
                <a:gd name="T51" fmla="*/ 12 h 78"/>
                <a:gd name="T52" fmla="*/ 107 w 154"/>
                <a:gd name="T53" fmla="*/ 20 h 78"/>
                <a:gd name="T54" fmla="*/ 126 w 154"/>
                <a:gd name="T55" fmla="*/ 27 h 78"/>
                <a:gd name="T56" fmla="*/ 121 w 154"/>
                <a:gd name="T57" fmla="*/ 34 h 78"/>
                <a:gd name="T58" fmla="*/ 136 w 154"/>
                <a:gd name="T59" fmla="*/ 46 h 78"/>
                <a:gd name="T60" fmla="*/ 129 w 154"/>
                <a:gd name="T61" fmla="*/ 52 h 78"/>
                <a:gd name="T62" fmla="*/ 138 w 154"/>
                <a:gd name="T63" fmla="*/ 62 h 78"/>
                <a:gd name="T64" fmla="*/ 87 w 154"/>
                <a:gd name="T65" fmla="*/ 49 h 78"/>
                <a:gd name="T66" fmla="*/ 100 w 154"/>
                <a:gd name="T67" fmla="*/ 24 h 78"/>
                <a:gd name="T68" fmla="*/ 77 w 154"/>
                <a:gd name="T69" fmla="*/ 46 h 78"/>
                <a:gd name="T70" fmla="*/ 16 w 154"/>
                <a:gd name="T71" fmla="*/ 62 h 78"/>
                <a:gd name="T72" fmla="*/ 141 w 154"/>
                <a:gd name="T73" fmla="*/ 74 h 78"/>
                <a:gd name="T74" fmla="*/ 77 w 154"/>
                <a:gd name="T75" fmla="*/ 0 h 78"/>
                <a:gd name="T76" fmla="*/ 13 w 154"/>
                <a:gd name="T77" fmla="*/ 74 h 78"/>
                <a:gd name="T78" fmla="*/ 0 w 154"/>
                <a:gd name="T79" fmla="*/ 78 h 78"/>
                <a:gd name="T80" fmla="*/ 154 w 154"/>
                <a:gd name="T81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78">
                  <a:moveTo>
                    <a:pt x="80" y="62"/>
                  </a:moveTo>
                  <a:cubicBezTo>
                    <a:pt x="79" y="63"/>
                    <a:pt x="78" y="63"/>
                    <a:pt x="77" y="63"/>
                  </a:cubicBezTo>
                  <a:cubicBezTo>
                    <a:pt x="76" y="63"/>
                    <a:pt x="75" y="63"/>
                    <a:pt x="75" y="63"/>
                  </a:cubicBezTo>
                  <a:cubicBezTo>
                    <a:pt x="74" y="62"/>
                    <a:pt x="74" y="62"/>
                    <a:pt x="73" y="61"/>
                  </a:cubicBezTo>
                  <a:cubicBezTo>
                    <a:pt x="73" y="60"/>
                    <a:pt x="73" y="59"/>
                    <a:pt x="74" y="58"/>
                  </a:cubicBezTo>
                  <a:cubicBezTo>
                    <a:pt x="75" y="57"/>
                    <a:pt x="76" y="57"/>
                    <a:pt x="77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80" y="58"/>
                    <a:pt x="80" y="59"/>
                    <a:pt x="80" y="59"/>
                  </a:cubicBezTo>
                  <a:cubicBezTo>
                    <a:pt x="81" y="60"/>
                    <a:pt x="80" y="61"/>
                    <a:pt x="80" y="62"/>
                  </a:cubicBezTo>
                  <a:moveTo>
                    <a:pt x="16" y="74"/>
                  </a:moveTo>
                  <a:cubicBezTo>
                    <a:pt x="16" y="72"/>
                    <a:pt x="16" y="68"/>
                    <a:pt x="16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6"/>
                    <a:pt x="62" y="65"/>
                    <a:pt x="62" y="64"/>
                  </a:cubicBezTo>
                  <a:cubicBezTo>
                    <a:pt x="62" y="56"/>
                    <a:pt x="69" y="49"/>
                    <a:pt x="77" y="49"/>
                  </a:cubicBezTo>
                  <a:cubicBezTo>
                    <a:pt x="79" y="49"/>
                    <a:pt x="80" y="49"/>
                    <a:pt x="82" y="50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3"/>
                    <a:pt x="78" y="53"/>
                    <a:pt x="77" y="53"/>
                  </a:cubicBezTo>
                  <a:cubicBezTo>
                    <a:pt x="75" y="53"/>
                    <a:pt x="73" y="54"/>
                    <a:pt x="71" y="56"/>
                  </a:cubicBezTo>
                  <a:cubicBezTo>
                    <a:pt x="70" y="58"/>
                    <a:pt x="70" y="59"/>
                    <a:pt x="70" y="61"/>
                  </a:cubicBezTo>
                  <a:cubicBezTo>
                    <a:pt x="70" y="63"/>
                    <a:pt x="72" y="65"/>
                    <a:pt x="73" y="66"/>
                  </a:cubicBezTo>
                  <a:cubicBezTo>
                    <a:pt x="74" y="66"/>
                    <a:pt x="75" y="67"/>
                    <a:pt x="77" y="67"/>
                  </a:cubicBezTo>
                  <a:cubicBezTo>
                    <a:pt x="79" y="67"/>
                    <a:pt x="81" y="66"/>
                    <a:pt x="82" y="64"/>
                  </a:cubicBezTo>
                  <a:cubicBezTo>
                    <a:pt x="84" y="62"/>
                    <a:pt x="84" y="61"/>
                    <a:pt x="84" y="59"/>
                  </a:cubicBezTo>
                  <a:cubicBezTo>
                    <a:pt x="83" y="58"/>
                    <a:pt x="83" y="57"/>
                    <a:pt x="82" y="56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9" y="54"/>
                    <a:pt x="92" y="59"/>
                    <a:pt x="92" y="64"/>
                  </a:cubicBezTo>
                  <a:cubicBezTo>
                    <a:pt x="92" y="65"/>
                    <a:pt x="93" y="66"/>
                    <a:pt x="94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8"/>
                    <a:pt x="138" y="72"/>
                    <a:pt x="138" y="74"/>
                  </a:cubicBezTo>
                  <a:lnTo>
                    <a:pt x="16" y="74"/>
                  </a:lnTo>
                  <a:close/>
                  <a:moveTo>
                    <a:pt x="17" y="50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20" y="41"/>
                    <a:pt x="23" y="35"/>
                    <a:pt x="27" y="3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33" y="22"/>
                    <a:pt x="38" y="17"/>
                    <a:pt x="43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51" y="9"/>
                    <a:pt x="57" y="6"/>
                    <a:pt x="64" y="5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70" y="4"/>
                    <a:pt x="74" y="4"/>
                    <a:pt x="77" y="4"/>
                  </a:cubicBezTo>
                  <a:cubicBezTo>
                    <a:pt x="80" y="4"/>
                    <a:pt x="84" y="4"/>
                    <a:pt x="87" y="4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7" y="6"/>
                    <a:pt x="103" y="9"/>
                    <a:pt x="109" y="12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7" y="18"/>
                    <a:pt x="122" y="22"/>
                    <a:pt x="126" y="27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1" y="35"/>
                    <a:pt x="134" y="40"/>
                    <a:pt x="136" y="4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8" y="54"/>
                    <a:pt x="138" y="58"/>
                    <a:pt x="138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95" y="57"/>
                    <a:pt x="92" y="52"/>
                    <a:pt x="87" y="49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2" y="46"/>
                    <a:pt x="79" y="46"/>
                    <a:pt x="77" y="46"/>
                  </a:cubicBezTo>
                  <a:cubicBezTo>
                    <a:pt x="67" y="46"/>
                    <a:pt x="59" y="53"/>
                    <a:pt x="59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58"/>
                    <a:pt x="16" y="54"/>
                    <a:pt x="17" y="50"/>
                  </a:cubicBezTo>
                  <a:moveTo>
                    <a:pt x="141" y="74"/>
                  </a:moveTo>
                  <a:cubicBezTo>
                    <a:pt x="141" y="71"/>
                    <a:pt x="142" y="66"/>
                    <a:pt x="142" y="64"/>
                  </a:cubicBezTo>
                  <a:cubicBezTo>
                    <a:pt x="142" y="29"/>
                    <a:pt x="113" y="0"/>
                    <a:pt x="77" y="0"/>
                  </a:cubicBezTo>
                  <a:cubicBezTo>
                    <a:pt x="41" y="0"/>
                    <a:pt x="12" y="29"/>
                    <a:pt x="12" y="64"/>
                  </a:cubicBezTo>
                  <a:cubicBezTo>
                    <a:pt x="12" y="66"/>
                    <a:pt x="13" y="71"/>
                    <a:pt x="1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54" y="74"/>
                    <a:pt x="154" y="74"/>
                    <a:pt x="154" y="74"/>
                  </a:cubicBezTo>
                  <a:lnTo>
                    <a:pt x="141" y="7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12">
              <a:extLst>
                <a:ext uri="{FF2B5EF4-FFF2-40B4-BE49-F238E27FC236}">
                  <a16:creationId xmlns:a16="http://schemas.microsoft.com/office/drawing/2014/main" id="{F8DCA170-28E2-4A75-9A3F-B8BF9A1325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5" y="1919"/>
              <a:ext cx="378" cy="191"/>
            </a:xfrm>
            <a:custGeom>
              <a:avLst/>
              <a:gdLst>
                <a:gd name="T0" fmla="*/ 77 w 154"/>
                <a:gd name="T1" fmla="*/ 63 h 78"/>
                <a:gd name="T2" fmla="*/ 73 w 154"/>
                <a:gd name="T3" fmla="*/ 61 h 78"/>
                <a:gd name="T4" fmla="*/ 77 w 154"/>
                <a:gd name="T5" fmla="*/ 57 h 78"/>
                <a:gd name="T6" fmla="*/ 80 w 154"/>
                <a:gd name="T7" fmla="*/ 59 h 78"/>
                <a:gd name="T8" fmla="*/ 16 w 154"/>
                <a:gd name="T9" fmla="*/ 74 h 78"/>
                <a:gd name="T10" fmla="*/ 60 w 154"/>
                <a:gd name="T11" fmla="*/ 66 h 78"/>
                <a:gd name="T12" fmla="*/ 77 w 154"/>
                <a:gd name="T13" fmla="*/ 49 h 78"/>
                <a:gd name="T14" fmla="*/ 79 w 154"/>
                <a:gd name="T15" fmla="*/ 54 h 78"/>
                <a:gd name="T16" fmla="*/ 71 w 154"/>
                <a:gd name="T17" fmla="*/ 56 h 78"/>
                <a:gd name="T18" fmla="*/ 73 w 154"/>
                <a:gd name="T19" fmla="*/ 66 h 78"/>
                <a:gd name="T20" fmla="*/ 82 w 154"/>
                <a:gd name="T21" fmla="*/ 64 h 78"/>
                <a:gd name="T22" fmla="*/ 82 w 154"/>
                <a:gd name="T23" fmla="*/ 56 h 78"/>
                <a:gd name="T24" fmla="*/ 92 w 154"/>
                <a:gd name="T25" fmla="*/ 64 h 78"/>
                <a:gd name="T26" fmla="*/ 138 w 154"/>
                <a:gd name="T27" fmla="*/ 66 h 78"/>
                <a:gd name="T28" fmla="*/ 16 w 154"/>
                <a:gd name="T29" fmla="*/ 74 h 78"/>
                <a:gd name="T30" fmla="*/ 26 w 154"/>
                <a:gd name="T31" fmla="*/ 51 h 78"/>
                <a:gd name="T32" fmla="*/ 18 w 154"/>
                <a:gd name="T33" fmla="*/ 47 h 78"/>
                <a:gd name="T34" fmla="*/ 33 w 154"/>
                <a:gd name="T35" fmla="*/ 34 h 78"/>
                <a:gd name="T36" fmla="*/ 28 w 154"/>
                <a:gd name="T37" fmla="*/ 27 h 78"/>
                <a:gd name="T38" fmla="*/ 47 w 154"/>
                <a:gd name="T39" fmla="*/ 20 h 78"/>
                <a:gd name="T40" fmla="*/ 46 w 154"/>
                <a:gd name="T41" fmla="*/ 12 h 78"/>
                <a:gd name="T42" fmla="*/ 65 w 154"/>
                <a:gd name="T43" fmla="*/ 13 h 78"/>
                <a:gd name="T44" fmla="*/ 67 w 154"/>
                <a:gd name="T45" fmla="*/ 4 h 78"/>
                <a:gd name="T46" fmla="*/ 87 w 154"/>
                <a:gd name="T47" fmla="*/ 4 h 78"/>
                <a:gd name="T48" fmla="*/ 88 w 154"/>
                <a:gd name="T49" fmla="*/ 13 h 78"/>
                <a:gd name="T50" fmla="*/ 109 w 154"/>
                <a:gd name="T51" fmla="*/ 12 h 78"/>
                <a:gd name="T52" fmla="*/ 107 w 154"/>
                <a:gd name="T53" fmla="*/ 20 h 78"/>
                <a:gd name="T54" fmla="*/ 126 w 154"/>
                <a:gd name="T55" fmla="*/ 27 h 78"/>
                <a:gd name="T56" fmla="*/ 121 w 154"/>
                <a:gd name="T57" fmla="*/ 34 h 78"/>
                <a:gd name="T58" fmla="*/ 136 w 154"/>
                <a:gd name="T59" fmla="*/ 46 h 78"/>
                <a:gd name="T60" fmla="*/ 129 w 154"/>
                <a:gd name="T61" fmla="*/ 52 h 78"/>
                <a:gd name="T62" fmla="*/ 138 w 154"/>
                <a:gd name="T63" fmla="*/ 62 h 78"/>
                <a:gd name="T64" fmla="*/ 87 w 154"/>
                <a:gd name="T65" fmla="*/ 49 h 78"/>
                <a:gd name="T66" fmla="*/ 100 w 154"/>
                <a:gd name="T67" fmla="*/ 24 h 78"/>
                <a:gd name="T68" fmla="*/ 77 w 154"/>
                <a:gd name="T69" fmla="*/ 46 h 78"/>
                <a:gd name="T70" fmla="*/ 16 w 154"/>
                <a:gd name="T71" fmla="*/ 62 h 78"/>
                <a:gd name="T72" fmla="*/ 141 w 154"/>
                <a:gd name="T73" fmla="*/ 74 h 78"/>
                <a:gd name="T74" fmla="*/ 77 w 154"/>
                <a:gd name="T75" fmla="*/ 0 h 78"/>
                <a:gd name="T76" fmla="*/ 13 w 154"/>
                <a:gd name="T77" fmla="*/ 74 h 78"/>
                <a:gd name="T78" fmla="*/ 0 w 154"/>
                <a:gd name="T79" fmla="*/ 78 h 78"/>
                <a:gd name="T80" fmla="*/ 154 w 154"/>
                <a:gd name="T81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78">
                  <a:moveTo>
                    <a:pt x="80" y="62"/>
                  </a:moveTo>
                  <a:cubicBezTo>
                    <a:pt x="79" y="63"/>
                    <a:pt x="78" y="63"/>
                    <a:pt x="77" y="63"/>
                  </a:cubicBezTo>
                  <a:cubicBezTo>
                    <a:pt x="76" y="63"/>
                    <a:pt x="75" y="63"/>
                    <a:pt x="75" y="63"/>
                  </a:cubicBezTo>
                  <a:cubicBezTo>
                    <a:pt x="74" y="62"/>
                    <a:pt x="74" y="62"/>
                    <a:pt x="73" y="61"/>
                  </a:cubicBezTo>
                  <a:cubicBezTo>
                    <a:pt x="73" y="60"/>
                    <a:pt x="73" y="59"/>
                    <a:pt x="74" y="58"/>
                  </a:cubicBezTo>
                  <a:cubicBezTo>
                    <a:pt x="75" y="57"/>
                    <a:pt x="76" y="57"/>
                    <a:pt x="77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80" y="58"/>
                    <a:pt x="80" y="59"/>
                    <a:pt x="80" y="59"/>
                  </a:cubicBezTo>
                  <a:cubicBezTo>
                    <a:pt x="81" y="60"/>
                    <a:pt x="80" y="61"/>
                    <a:pt x="80" y="62"/>
                  </a:cubicBezTo>
                  <a:moveTo>
                    <a:pt x="16" y="74"/>
                  </a:moveTo>
                  <a:cubicBezTo>
                    <a:pt x="16" y="72"/>
                    <a:pt x="16" y="68"/>
                    <a:pt x="16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6"/>
                    <a:pt x="62" y="65"/>
                    <a:pt x="62" y="64"/>
                  </a:cubicBezTo>
                  <a:cubicBezTo>
                    <a:pt x="62" y="56"/>
                    <a:pt x="69" y="49"/>
                    <a:pt x="77" y="49"/>
                  </a:cubicBezTo>
                  <a:cubicBezTo>
                    <a:pt x="79" y="49"/>
                    <a:pt x="80" y="49"/>
                    <a:pt x="82" y="50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3"/>
                    <a:pt x="78" y="53"/>
                    <a:pt x="77" y="53"/>
                  </a:cubicBezTo>
                  <a:cubicBezTo>
                    <a:pt x="75" y="53"/>
                    <a:pt x="73" y="54"/>
                    <a:pt x="71" y="56"/>
                  </a:cubicBezTo>
                  <a:cubicBezTo>
                    <a:pt x="70" y="58"/>
                    <a:pt x="70" y="59"/>
                    <a:pt x="70" y="61"/>
                  </a:cubicBezTo>
                  <a:cubicBezTo>
                    <a:pt x="70" y="63"/>
                    <a:pt x="72" y="65"/>
                    <a:pt x="73" y="66"/>
                  </a:cubicBezTo>
                  <a:cubicBezTo>
                    <a:pt x="74" y="66"/>
                    <a:pt x="75" y="67"/>
                    <a:pt x="77" y="67"/>
                  </a:cubicBezTo>
                  <a:cubicBezTo>
                    <a:pt x="79" y="67"/>
                    <a:pt x="81" y="66"/>
                    <a:pt x="82" y="64"/>
                  </a:cubicBezTo>
                  <a:cubicBezTo>
                    <a:pt x="84" y="62"/>
                    <a:pt x="84" y="61"/>
                    <a:pt x="84" y="59"/>
                  </a:cubicBezTo>
                  <a:cubicBezTo>
                    <a:pt x="83" y="58"/>
                    <a:pt x="83" y="57"/>
                    <a:pt x="82" y="56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9" y="54"/>
                    <a:pt x="92" y="59"/>
                    <a:pt x="92" y="64"/>
                  </a:cubicBezTo>
                  <a:cubicBezTo>
                    <a:pt x="92" y="65"/>
                    <a:pt x="93" y="66"/>
                    <a:pt x="94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8"/>
                    <a:pt x="138" y="72"/>
                    <a:pt x="138" y="74"/>
                  </a:cubicBezTo>
                  <a:lnTo>
                    <a:pt x="16" y="74"/>
                  </a:lnTo>
                  <a:close/>
                  <a:moveTo>
                    <a:pt x="17" y="50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20" y="41"/>
                    <a:pt x="23" y="35"/>
                    <a:pt x="27" y="3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33" y="22"/>
                    <a:pt x="38" y="17"/>
                    <a:pt x="43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51" y="9"/>
                    <a:pt x="57" y="6"/>
                    <a:pt x="64" y="5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70" y="4"/>
                    <a:pt x="74" y="4"/>
                    <a:pt x="77" y="4"/>
                  </a:cubicBezTo>
                  <a:cubicBezTo>
                    <a:pt x="80" y="4"/>
                    <a:pt x="84" y="4"/>
                    <a:pt x="87" y="4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7" y="6"/>
                    <a:pt x="103" y="9"/>
                    <a:pt x="109" y="12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7" y="18"/>
                    <a:pt x="122" y="22"/>
                    <a:pt x="126" y="27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1" y="35"/>
                    <a:pt x="134" y="40"/>
                    <a:pt x="136" y="4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8" y="54"/>
                    <a:pt x="138" y="58"/>
                    <a:pt x="138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95" y="57"/>
                    <a:pt x="92" y="52"/>
                    <a:pt x="87" y="49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2" y="46"/>
                    <a:pt x="79" y="46"/>
                    <a:pt x="77" y="46"/>
                  </a:cubicBezTo>
                  <a:cubicBezTo>
                    <a:pt x="67" y="46"/>
                    <a:pt x="59" y="53"/>
                    <a:pt x="59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58"/>
                    <a:pt x="16" y="54"/>
                    <a:pt x="17" y="50"/>
                  </a:cubicBezTo>
                  <a:moveTo>
                    <a:pt x="141" y="74"/>
                  </a:moveTo>
                  <a:cubicBezTo>
                    <a:pt x="141" y="71"/>
                    <a:pt x="142" y="66"/>
                    <a:pt x="142" y="64"/>
                  </a:cubicBezTo>
                  <a:cubicBezTo>
                    <a:pt x="142" y="29"/>
                    <a:pt x="113" y="0"/>
                    <a:pt x="77" y="0"/>
                  </a:cubicBezTo>
                  <a:cubicBezTo>
                    <a:pt x="41" y="0"/>
                    <a:pt x="12" y="29"/>
                    <a:pt x="12" y="64"/>
                  </a:cubicBezTo>
                  <a:cubicBezTo>
                    <a:pt x="12" y="66"/>
                    <a:pt x="13" y="71"/>
                    <a:pt x="1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54" y="74"/>
                    <a:pt x="154" y="74"/>
                    <a:pt x="154" y="74"/>
                  </a:cubicBezTo>
                  <a:lnTo>
                    <a:pt x="141" y="7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6" name="Group 115">
            <a:extLst>
              <a:ext uri="{FF2B5EF4-FFF2-40B4-BE49-F238E27FC236}">
                <a16:creationId xmlns:a16="http://schemas.microsoft.com/office/drawing/2014/main" id="{9975AB10-FA52-4A94-BBF4-343F1BDCDC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4975" y="2827291"/>
            <a:ext cx="841375" cy="841375"/>
            <a:chOff x="1664" y="1808"/>
            <a:chExt cx="530" cy="530"/>
          </a:xfrm>
        </p:grpSpPr>
        <p:sp>
          <p:nvSpPr>
            <p:cNvPr id="137" name="AutoShape 114">
              <a:extLst>
                <a:ext uri="{FF2B5EF4-FFF2-40B4-BE49-F238E27FC236}">
                  <a16:creationId xmlns:a16="http://schemas.microsoft.com/office/drawing/2014/main" id="{607BB5D9-4934-48BD-BBB6-D620C9CB59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64" y="180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Oval 116">
              <a:extLst>
                <a:ext uri="{FF2B5EF4-FFF2-40B4-BE49-F238E27FC236}">
                  <a16:creationId xmlns:a16="http://schemas.microsoft.com/office/drawing/2014/main" id="{6C70A32B-91A1-43F8-86F8-D650AEC3EF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4" y="180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7">
              <a:extLst>
                <a:ext uri="{FF2B5EF4-FFF2-40B4-BE49-F238E27FC236}">
                  <a16:creationId xmlns:a16="http://schemas.microsoft.com/office/drawing/2014/main" id="{4D0087DB-2039-4E63-8E40-C6347BD8CE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2" y="182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18">
              <a:extLst>
                <a:ext uri="{FF2B5EF4-FFF2-40B4-BE49-F238E27FC236}">
                  <a16:creationId xmlns:a16="http://schemas.microsoft.com/office/drawing/2014/main" id="{99CE1B7E-77CA-46A2-874B-EDF53D228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3" y="1913"/>
              <a:ext cx="394" cy="200"/>
            </a:xfrm>
            <a:custGeom>
              <a:avLst/>
              <a:gdLst>
                <a:gd name="T0" fmla="*/ 77 w 154"/>
                <a:gd name="T1" fmla="*/ 63 h 78"/>
                <a:gd name="T2" fmla="*/ 73 w 154"/>
                <a:gd name="T3" fmla="*/ 61 h 78"/>
                <a:gd name="T4" fmla="*/ 77 w 154"/>
                <a:gd name="T5" fmla="*/ 57 h 78"/>
                <a:gd name="T6" fmla="*/ 80 w 154"/>
                <a:gd name="T7" fmla="*/ 59 h 78"/>
                <a:gd name="T8" fmla="*/ 16 w 154"/>
                <a:gd name="T9" fmla="*/ 74 h 78"/>
                <a:gd name="T10" fmla="*/ 60 w 154"/>
                <a:gd name="T11" fmla="*/ 66 h 78"/>
                <a:gd name="T12" fmla="*/ 77 w 154"/>
                <a:gd name="T13" fmla="*/ 49 h 78"/>
                <a:gd name="T14" fmla="*/ 79 w 154"/>
                <a:gd name="T15" fmla="*/ 54 h 78"/>
                <a:gd name="T16" fmla="*/ 71 w 154"/>
                <a:gd name="T17" fmla="*/ 56 h 78"/>
                <a:gd name="T18" fmla="*/ 73 w 154"/>
                <a:gd name="T19" fmla="*/ 66 h 78"/>
                <a:gd name="T20" fmla="*/ 82 w 154"/>
                <a:gd name="T21" fmla="*/ 64 h 78"/>
                <a:gd name="T22" fmla="*/ 82 w 154"/>
                <a:gd name="T23" fmla="*/ 56 h 78"/>
                <a:gd name="T24" fmla="*/ 92 w 154"/>
                <a:gd name="T25" fmla="*/ 64 h 78"/>
                <a:gd name="T26" fmla="*/ 138 w 154"/>
                <a:gd name="T27" fmla="*/ 66 h 78"/>
                <a:gd name="T28" fmla="*/ 16 w 154"/>
                <a:gd name="T29" fmla="*/ 74 h 78"/>
                <a:gd name="T30" fmla="*/ 26 w 154"/>
                <a:gd name="T31" fmla="*/ 51 h 78"/>
                <a:gd name="T32" fmla="*/ 18 w 154"/>
                <a:gd name="T33" fmla="*/ 47 h 78"/>
                <a:gd name="T34" fmla="*/ 33 w 154"/>
                <a:gd name="T35" fmla="*/ 34 h 78"/>
                <a:gd name="T36" fmla="*/ 28 w 154"/>
                <a:gd name="T37" fmla="*/ 27 h 78"/>
                <a:gd name="T38" fmla="*/ 47 w 154"/>
                <a:gd name="T39" fmla="*/ 20 h 78"/>
                <a:gd name="T40" fmla="*/ 46 w 154"/>
                <a:gd name="T41" fmla="*/ 12 h 78"/>
                <a:gd name="T42" fmla="*/ 65 w 154"/>
                <a:gd name="T43" fmla="*/ 13 h 78"/>
                <a:gd name="T44" fmla="*/ 67 w 154"/>
                <a:gd name="T45" fmla="*/ 4 h 78"/>
                <a:gd name="T46" fmla="*/ 87 w 154"/>
                <a:gd name="T47" fmla="*/ 4 h 78"/>
                <a:gd name="T48" fmla="*/ 88 w 154"/>
                <a:gd name="T49" fmla="*/ 13 h 78"/>
                <a:gd name="T50" fmla="*/ 109 w 154"/>
                <a:gd name="T51" fmla="*/ 12 h 78"/>
                <a:gd name="T52" fmla="*/ 107 w 154"/>
                <a:gd name="T53" fmla="*/ 20 h 78"/>
                <a:gd name="T54" fmla="*/ 126 w 154"/>
                <a:gd name="T55" fmla="*/ 27 h 78"/>
                <a:gd name="T56" fmla="*/ 121 w 154"/>
                <a:gd name="T57" fmla="*/ 34 h 78"/>
                <a:gd name="T58" fmla="*/ 136 w 154"/>
                <a:gd name="T59" fmla="*/ 46 h 78"/>
                <a:gd name="T60" fmla="*/ 129 w 154"/>
                <a:gd name="T61" fmla="*/ 52 h 78"/>
                <a:gd name="T62" fmla="*/ 138 w 154"/>
                <a:gd name="T63" fmla="*/ 62 h 78"/>
                <a:gd name="T64" fmla="*/ 87 w 154"/>
                <a:gd name="T65" fmla="*/ 49 h 78"/>
                <a:gd name="T66" fmla="*/ 100 w 154"/>
                <a:gd name="T67" fmla="*/ 24 h 78"/>
                <a:gd name="T68" fmla="*/ 77 w 154"/>
                <a:gd name="T69" fmla="*/ 46 h 78"/>
                <a:gd name="T70" fmla="*/ 16 w 154"/>
                <a:gd name="T71" fmla="*/ 62 h 78"/>
                <a:gd name="T72" fmla="*/ 141 w 154"/>
                <a:gd name="T73" fmla="*/ 74 h 78"/>
                <a:gd name="T74" fmla="*/ 77 w 154"/>
                <a:gd name="T75" fmla="*/ 0 h 78"/>
                <a:gd name="T76" fmla="*/ 13 w 154"/>
                <a:gd name="T77" fmla="*/ 74 h 78"/>
                <a:gd name="T78" fmla="*/ 0 w 154"/>
                <a:gd name="T79" fmla="*/ 78 h 78"/>
                <a:gd name="T80" fmla="*/ 154 w 154"/>
                <a:gd name="T81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78">
                  <a:moveTo>
                    <a:pt x="80" y="62"/>
                  </a:moveTo>
                  <a:cubicBezTo>
                    <a:pt x="79" y="63"/>
                    <a:pt x="78" y="63"/>
                    <a:pt x="77" y="63"/>
                  </a:cubicBezTo>
                  <a:cubicBezTo>
                    <a:pt x="76" y="63"/>
                    <a:pt x="75" y="63"/>
                    <a:pt x="75" y="63"/>
                  </a:cubicBezTo>
                  <a:cubicBezTo>
                    <a:pt x="74" y="62"/>
                    <a:pt x="74" y="62"/>
                    <a:pt x="73" y="61"/>
                  </a:cubicBezTo>
                  <a:cubicBezTo>
                    <a:pt x="73" y="60"/>
                    <a:pt x="73" y="59"/>
                    <a:pt x="74" y="58"/>
                  </a:cubicBezTo>
                  <a:cubicBezTo>
                    <a:pt x="75" y="57"/>
                    <a:pt x="76" y="57"/>
                    <a:pt x="77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80" y="58"/>
                    <a:pt x="80" y="59"/>
                    <a:pt x="80" y="59"/>
                  </a:cubicBezTo>
                  <a:cubicBezTo>
                    <a:pt x="81" y="60"/>
                    <a:pt x="80" y="61"/>
                    <a:pt x="80" y="62"/>
                  </a:cubicBezTo>
                  <a:moveTo>
                    <a:pt x="16" y="74"/>
                  </a:moveTo>
                  <a:cubicBezTo>
                    <a:pt x="16" y="72"/>
                    <a:pt x="16" y="68"/>
                    <a:pt x="16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6"/>
                    <a:pt x="62" y="65"/>
                    <a:pt x="62" y="64"/>
                  </a:cubicBezTo>
                  <a:cubicBezTo>
                    <a:pt x="62" y="56"/>
                    <a:pt x="69" y="49"/>
                    <a:pt x="77" y="49"/>
                  </a:cubicBezTo>
                  <a:cubicBezTo>
                    <a:pt x="79" y="49"/>
                    <a:pt x="80" y="49"/>
                    <a:pt x="82" y="50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3"/>
                    <a:pt x="78" y="53"/>
                    <a:pt x="77" y="53"/>
                  </a:cubicBezTo>
                  <a:cubicBezTo>
                    <a:pt x="75" y="53"/>
                    <a:pt x="73" y="54"/>
                    <a:pt x="71" y="56"/>
                  </a:cubicBezTo>
                  <a:cubicBezTo>
                    <a:pt x="70" y="58"/>
                    <a:pt x="70" y="59"/>
                    <a:pt x="70" y="61"/>
                  </a:cubicBezTo>
                  <a:cubicBezTo>
                    <a:pt x="70" y="63"/>
                    <a:pt x="72" y="65"/>
                    <a:pt x="73" y="66"/>
                  </a:cubicBezTo>
                  <a:cubicBezTo>
                    <a:pt x="74" y="66"/>
                    <a:pt x="75" y="67"/>
                    <a:pt x="77" y="67"/>
                  </a:cubicBezTo>
                  <a:cubicBezTo>
                    <a:pt x="79" y="67"/>
                    <a:pt x="81" y="66"/>
                    <a:pt x="82" y="64"/>
                  </a:cubicBezTo>
                  <a:cubicBezTo>
                    <a:pt x="84" y="62"/>
                    <a:pt x="84" y="61"/>
                    <a:pt x="84" y="59"/>
                  </a:cubicBezTo>
                  <a:cubicBezTo>
                    <a:pt x="83" y="58"/>
                    <a:pt x="83" y="57"/>
                    <a:pt x="82" y="56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9" y="54"/>
                    <a:pt x="92" y="59"/>
                    <a:pt x="92" y="64"/>
                  </a:cubicBezTo>
                  <a:cubicBezTo>
                    <a:pt x="92" y="65"/>
                    <a:pt x="93" y="66"/>
                    <a:pt x="94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8"/>
                    <a:pt x="138" y="72"/>
                    <a:pt x="138" y="74"/>
                  </a:cubicBezTo>
                  <a:lnTo>
                    <a:pt x="16" y="74"/>
                  </a:lnTo>
                  <a:close/>
                  <a:moveTo>
                    <a:pt x="17" y="50"/>
                  </a:moveTo>
                  <a:cubicBezTo>
                    <a:pt x="26" y="51"/>
                    <a:pt x="26" y="51"/>
                    <a:pt x="26" y="5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20" y="41"/>
                    <a:pt x="23" y="35"/>
                    <a:pt x="27" y="3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33" y="22"/>
                    <a:pt x="38" y="17"/>
                    <a:pt x="43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51" y="9"/>
                    <a:pt x="57" y="6"/>
                    <a:pt x="64" y="5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70" y="4"/>
                    <a:pt x="74" y="4"/>
                    <a:pt x="77" y="4"/>
                  </a:cubicBezTo>
                  <a:cubicBezTo>
                    <a:pt x="80" y="4"/>
                    <a:pt x="84" y="4"/>
                    <a:pt x="87" y="4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7" y="6"/>
                    <a:pt x="103" y="9"/>
                    <a:pt x="109" y="12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7" y="18"/>
                    <a:pt x="122" y="22"/>
                    <a:pt x="126" y="27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1" y="35"/>
                    <a:pt x="134" y="40"/>
                    <a:pt x="136" y="4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8" y="54"/>
                    <a:pt x="138" y="58"/>
                    <a:pt x="138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95" y="57"/>
                    <a:pt x="92" y="52"/>
                    <a:pt x="87" y="49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2" y="46"/>
                    <a:pt x="79" y="46"/>
                    <a:pt x="77" y="46"/>
                  </a:cubicBezTo>
                  <a:cubicBezTo>
                    <a:pt x="67" y="46"/>
                    <a:pt x="59" y="53"/>
                    <a:pt x="59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58"/>
                    <a:pt x="16" y="54"/>
                    <a:pt x="17" y="50"/>
                  </a:cubicBezTo>
                  <a:moveTo>
                    <a:pt x="141" y="74"/>
                  </a:moveTo>
                  <a:cubicBezTo>
                    <a:pt x="141" y="71"/>
                    <a:pt x="142" y="66"/>
                    <a:pt x="142" y="64"/>
                  </a:cubicBezTo>
                  <a:cubicBezTo>
                    <a:pt x="142" y="29"/>
                    <a:pt x="113" y="0"/>
                    <a:pt x="77" y="0"/>
                  </a:cubicBezTo>
                  <a:cubicBezTo>
                    <a:pt x="41" y="0"/>
                    <a:pt x="12" y="29"/>
                    <a:pt x="12" y="64"/>
                  </a:cubicBezTo>
                  <a:cubicBezTo>
                    <a:pt x="12" y="66"/>
                    <a:pt x="13" y="71"/>
                    <a:pt x="1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54" y="74"/>
                    <a:pt x="154" y="74"/>
                    <a:pt x="154" y="74"/>
                  </a:cubicBezTo>
                  <a:lnTo>
                    <a:pt x="141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121">
            <a:extLst>
              <a:ext uri="{FF2B5EF4-FFF2-40B4-BE49-F238E27FC236}">
                <a16:creationId xmlns:a16="http://schemas.microsoft.com/office/drawing/2014/main" id="{CC90F265-7F2E-4A3F-AA3C-062169BBF1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1616" y="2850271"/>
            <a:ext cx="760413" cy="758825"/>
            <a:chOff x="3520" y="1765"/>
            <a:chExt cx="479" cy="478"/>
          </a:xfrm>
        </p:grpSpPr>
        <p:sp>
          <p:nvSpPr>
            <p:cNvPr id="146" name="AutoShape 120">
              <a:extLst>
                <a:ext uri="{FF2B5EF4-FFF2-40B4-BE49-F238E27FC236}">
                  <a16:creationId xmlns:a16="http://schemas.microsoft.com/office/drawing/2014/main" id="{75742C75-3E01-450B-AF7D-9B00E11677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20" y="1765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2">
              <a:extLst>
                <a:ext uri="{FF2B5EF4-FFF2-40B4-BE49-F238E27FC236}">
                  <a16:creationId xmlns:a16="http://schemas.microsoft.com/office/drawing/2014/main" id="{1A0A8BEA-833F-4CA0-A75E-372BD2BAC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2" y="1767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3">
              <a:extLst>
                <a:ext uri="{FF2B5EF4-FFF2-40B4-BE49-F238E27FC236}">
                  <a16:creationId xmlns:a16="http://schemas.microsoft.com/office/drawing/2014/main" id="{97417DD3-13C9-4444-9C88-3FFC1D0D9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" y="1836"/>
              <a:ext cx="116" cy="260"/>
            </a:xfrm>
            <a:custGeom>
              <a:avLst/>
              <a:gdLst>
                <a:gd name="T0" fmla="*/ 40 w 47"/>
                <a:gd name="T1" fmla="*/ 103 h 106"/>
                <a:gd name="T2" fmla="*/ 4 w 47"/>
                <a:gd name="T3" fmla="*/ 101 h 106"/>
                <a:gd name="T4" fmla="*/ 5 w 47"/>
                <a:gd name="T5" fmla="*/ 99 h 106"/>
                <a:gd name="T6" fmla="*/ 42 w 47"/>
                <a:gd name="T7" fmla="*/ 99 h 106"/>
                <a:gd name="T8" fmla="*/ 42 w 47"/>
                <a:gd name="T9" fmla="*/ 101 h 106"/>
                <a:gd name="T10" fmla="*/ 11 w 47"/>
                <a:gd name="T11" fmla="*/ 87 h 106"/>
                <a:gd name="T12" fmla="*/ 23 w 47"/>
                <a:gd name="T13" fmla="*/ 87 h 106"/>
                <a:gd name="T14" fmla="*/ 36 w 47"/>
                <a:gd name="T15" fmla="*/ 87 h 106"/>
                <a:gd name="T16" fmla="*/ 43 w 47"/>
                <a:gd name="T17" fmla="*/ 94 h 106"/>
                <a:gd name="T18" fmla="*/ 23 w 47"/>
                <a:gd name="T19" fmla="*/ 96 h 106"/>
                <a:gd name="T20" fmla="*/ 4 w 47"/>
                <a:gd name="T21" fmla="*/ 94 h 106"/>
                <a:gd name="T22" fmla="*/ 11 w 47"/>
                <a:gd name="T23" fmla="*/ 81 h 106"/>
                <a:gd name="T24" fmla="*/ 23 w 47"/>
                <a:gd name="T25" fmla="*/ 49 h 106"/>
                <a:gd name="T26" fmla="*/ 36 w 47"/>
                <a:gd name="T27" fmla="*/ 81 h 106"/>
                <a:gd name="T28" fmla="*/ 33 w 47"/>
                <a:gd name="T29" fmla="*/ 84 h 106"/>
                <a:gd name="T30" fmla="*/ 13 w 47"/>
                <a:gd name="T31" fmla="*/ 84 h 106"/>
                <a:gd name="T32" fmla="*/ 11 w 47"/>
                <a:gd name="T33" fmla="*/ 81 h 106"/>
                <a:gd name="T34" fmla="*/ 26 w 47"/>
                <a:gd name="T35" fmla="*/ 37 h 106"/>
                <a:gd name="T36" fmla="*/ 23 w 47"/>
                <a:gd name="T37" fmla="*/ 45 h 106"/>
                <a:gd name="T38" fmla="*/ 21 w 47"/>
                <a:gd name="T39" fmla="*/ 37 h 106"/>
                <a:gd name="T40" fmla="*/ 15 w 47"/>
                <a:gd name="T41" fmla="*/ 32 h 106"/>
                <a:gd name="T42" fmla="*/ 20 w 47"/>
                <a:gd name="T43" fmla="*/ 31 h 106"/>
                <a:gd name="T44" fmla="*/ 15 w 47"/>
                <a:gd name="T45" fmla="*/ 19 h 106"/>
                <a:gd name="T46" fmla="*/ 23 w 47"/>
                <a:gd name="T47" fmla="*/ 20 h 106"/>
                <a:gd name="T48" fmla="*/ 31 w 47"/>
                <a:gd name="T49" fmla="*/ 19 h 106"/>
                <a:gd name="T50" fmla="*/ 27 w 47"/>
                <a:gd name="T51" fmla="*/ 31 h 106"/>
                <a:gd name="T52" fmla="*/ 31 w 47"/>
                <a:gd name="T53" fmla="*/ 32 h 106"/>
                <a:gd name="T54" fmla="*/ 31 w 47"/>
                <a:gd name="T55" fmla="*/ 33 h 106"/>
                <a:gd name="T56" fmla="*/ 15 w 47"/>
                <a:gd name="T57" fmla="*/ 33 h 106"/>
                <a:gd name="T58" fmla="*/ 39 w 47"/>
                <a:gd name="T59" fmla="*/ 84 h 106"/>
                <a:gd name="T60" fmla="*/ 38 w 47"/>
                <a:gd name="T61" fmla="*/ 79 h 106"/>
                <a:gd name="T62" fmla="*/ 31 w 47"/>
                <a:gd name="T63" fmla="*/ 48 h 106"/>
                <a:gd name="T64" fmla="*/ 32 w 47"/>
                <a:gd name="T65" fmla="*/ 42 h 106"/>
                <a:gd name="T66" fmla="*/ 31 w 47"/>
                <a:gd name="T67" fmla="*/ 37 h 106"/>
                <a:gd name="T68" fmla="*/ 31 w 47"/>
                <a:gd name="T69" fmla="*/ 28 h 106"/>
                <a:gd name="T70" fmla="*/ 35 w 47"/>
                <a:gd name="T71" fmla="*/ 17 h 106"/>
                <a:gd name="T72" fmla="*/ 25 w 47"/>
                <a:gd name="T73" fmla="*/ 16 h 106"/>
                <a:gd name="T74" fmla="*/ 32 w 47"/>
                <a:gd name="T75" fmla="*/ 11 h 106"/>
                <a:gd name="T76" fmla="*/ 32 w 47"/>
                <a:gd name="T77" fmla="*/ 8 h 106"/>
                <a:gd name="T78" fmla="*/ 25 w 47"/>
                <a:gd name="T79" fmla="*/ 1 h 106"/>
                <a:gd name="T80" fmla="*/ 22 w 47"/>
                <a:gd name="T81" fmla="*/ 1 h 106"/>
                <a:gd name="T82" fmla="*/ 15 w 47"/>
                <a:gd name="T83" fmla="*/ 8 h 106"/>
                <a:gd name="T84" fmla="*/ 15 w 47"/>
                <a:gd name="T85" fmla="*/ 11 h 106"/>
                <a:gd name="T86" fmla="*/ 22 w 47"/>
                <a:gd name="T87" fmla="*/ 16 h 106"/>
                <a:gd name="T88" fmla="*/ 12 w 47"/>
                <a:gd name="T89" fmla="*/ 17 h 106"/>
                <a:gd name="T90" fmla="*/ 15 w 47"/>
                <a:gd name="T91" fmla="*/ 28 h 106"/>
                <a:gd name="T92" fmla="*/ 15 w 47"/>
                <a:gd name="T93" fmla="*/ 37 h 106"/>
                <a:gd name="T94" fmla="*/ 14 w 47"/>
                <a:gd name="T95" fmla="*/ 42 h 106"/>
                <a:gd name="T96" fmla="*/ 16 w 47"/>
                <a:gd name="T97" fmla="*/ 48 h 106"/>
                <a:gd name="T98" fmla="*/ 8 w 47"/>
                <a:gd name="T99" fmla="*/ 79 h 106"/>
                <a:gd name="T100" fmla="*/ 8 w 47"/>
                <a:gd name="T101" fmla="*/ 84 h 106"/>
                <a:gd name="T102" fmla="*/ 0 w 47"/>
                <a:gd name="T103" fmla="*/ 94 h 106"/>
                <a:gd name="T104" fmla="*/ 1 w 47"/>
                <a:gd name="T105" fmla="*/ 101 h 106"/>
                <a:gd name="T106" fmla="*/ 6 w 47"/>
                <a:gd name="T107" fmla="*/ 106 h 106"/>
                <a:gd name="T108" fmla="*/ 46 w 47"/>
                <a:gd name="T109" fmla="*/ 102 h 106"/>
                <a:gd name="T110" fmla="*/ 45 w 47"/>
                <a:gd name="T111" fmla="*/ 97 h 106"/>
                <a:gd name="T112" fmla="*/ 44 w 47"/>
                <a:gd name="T113" fmla="*/ 8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106">
                  <a:moveTo>
                    <a:pt x="42" y="101"/>
                  </a:moveTo>
                  <a:cubicBezTo>
                    <a:pt x="42" y="102"/>
                    <a:pt x="42" y="103"/>
                    <a:pt x="40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5" y="103"/>
                    <a:pt x="4" y="102"/>
                    <a:pt x="4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0"/>
                    <a:pt x="4" y="99"/>
                    <a:pt x="5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100"/>
                    <a:pt x="42" y="101"/>
                  </a:cubicBezTo>
                  <a:cubicBezTo>
                    <a:pt x="42" y="101"/>
                    <a:pt x="42" y="101"/>
                    <a:pt x="42" y="101"/>
                  </a:cubicBezTo>
                  <a:moveTo>
                    <a:pt x="5" y="91"/>
                  </a:moveTo>
                  <a:cubicBezTo>
                    <a:pt x="7" y="89"/>
                    <a:pt x="10" y="87"/>
                    <a:pt x="11" y="87"/>
                  </a:cubicBezTo>
                  <a:cubicBezTo>
                    <a:pt x="12" y="87"/>
                    <a:pt x="13" y="87"/>
                    <a:pt x="13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4" y="87"/>
                    <a:pt x="35" y="87"/>
                    <a:pt x="36" y="87"/>
                  </a:cubicBezTo>
                  <a:cubicBezTo>
                    <a:pt x="37" y="87"/>
                    <a:pt x="40" y="89"/>
                    <a:pt x="42" y="91"/>
                  </a:cubicBezTo>
                  <a:cubicBezTo>
                    <a:pt x="43" y="92"/>
                    <a:pt x="43" y="93"/>
                    <a:pt x="43" y="94"/>
                  </a:cubicBezTo>
                  <a:cubicBezTo>
                    <a:pt x="43" y="94"/>
                    <a:pt x="42" y="95"/>
                    <a:pt x="42" y="96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4" y="95"/>
                    <a:pt x="4" y="94"/>
                    <a:pt x="4" y="94"/>
                  </a:cubicBezTo>
                  <a:cubicBezTo>
                    <a:pt x="4" y="93"/>
                    <a:pt x="4" y="92"/>
                    <a:pt x="5" y="91"/>
                  </a:cubicBezTo>
                  <a:moveTo>
                    <a:pt x="11" y="81"/>
                  </a:moveTo>
                  <a:cubicBezTo>
                    <a:pt x="20" y="70"/>
                    <a:pt x="20" y="54"/>
                    <a:pt x="20" y="49"/>
                  </a:cubicBezTo>
                  <a:cubicBezTo>
                    <a:pt x="21" y="49"/>
                    <a:pt x="22" y="49"/>
                    <a:pt x="23" y="49"/>
                  </a:cubicBezTo>
                  <a:cubicBezTo>
                    <a:pt x="24" y="49"/>
                    <a:pt x="25" y="49"/>
                    <a:pt x="26" y="49"/>
                  </a:cubicBezTo>
                  <a:cubicBezTo>
                    <a:pt x="26" y="54"/>
                    <a:pt x="27" y="70"/>
                    <a:pt x="36" y="81"/>
                  </a:cubicBezTo>
                  <a:cubicBezTo>
                    <a:pt x="36" y="81"/>
                    <a:pt x="36" y="82"/>
                    <a:pt x="36" y="83"/>
                  </a:cubicBezTo>
                  <a:cubicBezTo>
                    <a:pt x="35" y="83"/>
                    <a:pt x="34" y="84"/>
                    <a:pt x="33" y="8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3"/>
                    <a:pt x="11" y="83"/>
                  </a:cubicBezTo>
                  <a:cubicBezTo>
                    <a:pt x="10" y="82"/>
                    <a:pt x="11" y="81"/>
                    <a:pt x="11" y="81"/>
                  </a:cubicBezTo>
                  <a:moveTo>
                    <a:pt x="21" y="37"/>
                  </a:moveTo>
                  <a:cubicBezTo>
                    <a:pt x="26" y="37"/>
                    <a:pt x="26" y="37"/>
                    <a:pt x="26" y="37"/>
                  </a:cubicBezTo>
                  <a:cubicBezTo>
                    <a:pt x="26" y="39"/>
                    <a:pt x="26" y="42"/>
                    <a:pt x="30" y="45"/>
                  </a:cubicBezTo>
                  <a:cubicBezTo>
                    <a:pt x="28" y="45"/>
                    <a:pt x="26" y="45"/>
                    <a:pt x="23" y="45"/>
                  </a:cubicBezTo>
                  <a:cubicBezTo>
                    <a:pt x="21" y="45"/>
                    <a:pt x="19" y="45"/>
                    <a:pt x="17" y="45"/>
                  </a:cubicBezTo>
                  <a:cubicBezTo>
                    <a:pt x="20" y="42"/>
                    <a:pt x="21" y="39"/>
                    <a:pt x="21" y="37"/>
                  </a:cubicBezTo>
                  <a:moveTo>
                    <a:pt x="15" y="33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9" y="32"/>
                    <a:pt x="19" y="31"/>
                    <a:pt x="20" y="31"/>
                  </a:cubicBezTo>
                  <a:cubicBezTo>
                    <a:pt x="20" y="30"/>
                    <a:pt x="20" y="30"/>
                    <a:pt x="20" y="2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20"/>
                    <a:pt x="24" y="20"/>
                    <a:pt x="24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30"/>
                    <a:pt x="27" y="31"/>
                  </a:cubicBezTo>
                  <a:cubicBezTo>
                    <a:pt x="27" y="31"/>
                    <a:pt x="28" y="32"/>
                    <a:pt x="29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2" y="32"/>
                    <a:pt x="32" y="32"/>
                    <a:pt x="32" y="33"/>
                  </a:cubicBezTo>
                  <a:cubicBezTo>
                    <a:pt x="32" y="33"/>
                    <a:pt x="32" y="33"/>
                    <a:pt x="31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moveTo>
                    <a:pt x="44" y="88"/>
                  </a:moveTo>
                  <a:cubicBezTo>
                    <a:pt x="42" y="87"/>
                    <a:pt x="40" y="85"/>
                    <a:pt x="39" y="84"/>
                  </a:cubicBezTo>
                  <a:cubicBezTo>
                    <a:pt x="40" y="82"/>
                    <a:pt x="39" y="80"/>
                    <a:pt x="39" y="79"/>
                  </a:cubicBezTo>
                  <a:cubicBezTo>
                    <a:pt x="39" y="79"/>
                    <a:pt x="38" y="79"/>
                    <a:pt x="38" y="79"/>
                  </a:cubicBezTo>
                  <a:cubicBezTo>
                    <a:pt x="30" y="68"/>
                    <a:pt x="30" y="53"/>
                    <a:pt x="30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2" y="48"/>
                    <a:pt x="33" y="47"/>
                    <a:pt x="33" y="46"/>
                  </a:cubicBezTo>
                  <a:cubicBezTo>
                    <a:pt x="34" y="44"/>
                    <a:pt x="33" y="43"/>
                    <a:pt x="32" y="42"/>
                  </a:cubicBezTo>
                  <a:cubicBezTo>
                    <a:pt x="30" y="40"/>
                    <a:pt x="29" y="38"/>
                    <a:pt x="29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4" y="37"/>
                    <a:pt x="36" y="35"/>
                    <a:pt x="36" y="33"/>
                  </a:cubicBezTo>
                  <a:cubicBezTo>
                    <a:pt x="36" y="30"/>
                    <a:pt x="34" y="28"/>
                    <a:pt x="31" y="28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19"/>
                    <a:pt x="35" y="18"/>
                    <a:pt x="35" y="17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1"/>
                    <a:pt x="33" y="11"/>
                    <a:pt x="33" y="10"/>
                  </a:cubicBezTo>
                  <a:cubicBezTo>
                    <a:pt x="33" y="9"/>
                    <a:pt x="33" y="8"/>
                    <a:pt x="32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22" y="0"/>
                    <a:pt x="22" y="0"/>
                    <a:pt x="22" y="1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4" y="8"/>
                    <a:pt x="13" y="9"/>
                    <a:pt x="13" y="10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6"/>
                    <a:pt x="12" y="17"/>
                  </a:cubicBezTo>
                  <a:cubicBezTo>
                    <a:pt x="11" y="18"/>
                    <a:pt x="11" y="19"/>
                    <a:pt x="12" y="20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1" y="30"/>
                    <a:pt x="11" y="33"/>
                  </a:cubicBezTo>
                  <a:cubicBezTo>
                    <a:pt x="11" y="35"/>
                    <a:pt x="13" y="37"/>
                    <a:pt x="15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8"/>
                    <a:pt x="17" y="40"/>
                    <a:pt x="14" y="42"/>
                  </a:cubicBezTo>
                  <a:cubicBezTo>
                    <a:pt x="14" y="43"/>
                    <a:pt x="13" y="44"/>
                    <a:pt x="13" y="46"/>
                  </a:cubicBezTo>
                  <a:cubicBezTo>
                    <a:pt x="14" y="47"/>
                    <a:pt x="15" y="48"/>
                    <a:pt x="16" y="48"/>
                  </a:cubicBezTo>
                  <a:cubicBezTo>
                    <a:pt x="16" y="48"/>
                    <a:pt x="16" y="48"/>
                    <a:pt x="17" y="48"/>
                  </a:cubicBezTo>
                  <a:cubicBezTo>
                    <a:pt x="17" y="53"/>
                    <a:pt x="17" y="68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80"/>
                    <a:pt x="7" y="82"/>
                    <a:pt x="8" y="84"/>
                  </a:cubicBezTo>
                  <a:cubicBezTo>
                    <a:pt x="7" y="85"/>
                    <a:pt x="5" y="87"/>
                    <a:pt x="3" y="88"/>
                  </a:cubicBezTo>
                  <a:cubicBezTo>
                    <a:pt x="1" y="90"/>
                    <a:pt x="0" y="92"/>
                    <a:pt x="0" y="94"/>
                  </a:cubicBezTo>
                  <a:cubicBezTo>
                    <a:pt x="1" y="95"/>
                    <a:pt x="1" y="96"/>
                    <a:pt x="2" y="97"/>
                  </a:cubicBezTo>
                  <a:cubicBezTo>
                    <a:pt x="1" y="98"/>
                    <a:pt x="1" y="99"/>
                    <a:pt x="1" y="101"/>
                  </a:cubicBezTo>
                  <a:cubicBezTo>
                    <a:pt x="1" y="101"/>
                    <a:pt x="1" y="101"/>
                    <a:pt x="1" y="102"/>
                  </a:cubicBezTo>
                  <a:cubicBezTo>
                    <a:pt x="1" y="105"/>
                    <a:pt x="4" y="106"/>
                    <a:pt x="6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3" y="106"/>
                    <a:pt x="45" y="105"/>
                    <a:pt x="46" y="102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99"/>
                    <a:pt x="46" y="98"/>
                    <a:pt x="45" y="97"/>
                  </a:cubicBezTo>
                  <a:cubicBezTo>
                    <a:pt x="46" y="96"/>
                    <a:pt x="46" y="95"/>
                    <a:pt x="46" y="94"/>
                  </a:cubicBezTo>
                  <a:cubicBezTo>
                    <a:pt x="47" y="92"/>
                    <a:pt x="46" y="90"/>
                    <a:pt x="44" y="8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4">
              <a:extLst>
                <a:ext uri="{FF2B5EF4-FFF2-40B4-BE49-F238E27FC236}">
                  <a16:creationId xmlns:a16="http://schemas.microsoft.com/office/drawing/2014/main" id="{5ABEA658-D5AA-4271-8D30-E6C9830B2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2" y="2022"/>
              <a:ext cx="131" cy="152"/>
            </a:xfrm>
            <a:custGeom>
              <a:avLst/>
              <a:gdLst>
                <a:gd name="T0" fmla="*/ 26 w 53"/>
                <a:gd name="T1" fmla="*/ 59 h 62"/>
                <a:gd name="T2" fmla="*/ 24 w 53"/>
                <a:gd name="T3" fmla="*/ 58 h 62"/>
                <a:gd name="T4" fmla="*/ 36 w 53"/>
                <a:gd name="T5" fmla="*/ 50 h 62"/>
                <a:gd name="T6" fmla="*/ 50 w 53"/>
                <a:gd name="T7" fmla="*/ 43 h 62"/>
                <a:gd name="T8" fmla="*/ 49 w 53"/>
                <a:gd name="T9" fmla="*/ 45 h 62"/>
                <a:gd name="T10" fmla="*/ 23 w 53"/>
                <a:gd name="T11" fmla="*/ 46 h 62"/>
                <a:gd name="T12" fmla="*/ 38 w 53"/>
                <a:gd name="T13" fmla="*/ 37 h 62"/>
                <a:gd name="T14" fmla="*/ 46 w 53"/>
                <a:gd name="T15" fmla="*/ 37 h 62"/>
                <a:gd name="T16" fmla="*/ 47 w 53"/>
                <a:gd name="T17" fmla="*/ 39 h 62"/>
                <a:gd name="T18" fmla="*/ 22 w 53"/>
                <a:gd name="T19" fmla="*/ 54 h 62"/>
                <a:gd name="T20" fmla="*/ 21 w 53"/>
                <a:gd name="T21" fmla="*/ 54 h 62"/>
                <a:gd name="T22" fmla="*/ 14 w 53"/>
                <a:gd name="T23" fmla="*/ 25 h 62"/>
                <a:gd name="T24" fmla="*/ 14 w 53"/>
                <a:gd name="T25" fmla="*/ 25 h 62"/>
                <a:gd name="T26" fmla="*/ 16 w 53"/>
                <a:gd name="T27" fmla="*/ 22 h 62"/>
                <a:gd name="T28" fmla="*/ 14 w 53"/>
                <a:gd name="T29" fmla="*/ 21 h 62"/>
                <a:gd name="T30" fmla="*/ 10 w 53"/>
                <a:gd name="T31" fmla="*/ 5 h 62"/>
                <a:gd name="T32" fmla="*/ 21 w 53"/>
                <a:gd name="T33" fmla="*/ 8 h 62"/>
                <a:gd name="T34" fmla="*/ 21 w 53"/>
                <a:gd name="T35" fmla="*/ 19 h 62"/>
                <a:gd name="T36" fmla="*/ 25 w 53"/>
                <a:gd name="T37" fmla="*/ 18 h 62"/>
                <a:gd name="T38" fmla="*/ 25 w 53"/>
                <a:gd name="T39" fmla="*/ 19 h 62"/>
                <a:gd name="T40" fmla="*/ 16 w 53"/>
                <a:gd name="T41" fmla="*/ 25 h 62"/>
                <a:gd name="T42" fmla="*/ 14 w 53"/>
                <a:gd name="T43" fmla="*/ 25 h 62"/>
                <a:gd name="T44" fmla="*/ 38 w 53"/>
                <a:gd name="T45" fmla="*/ 33 h 62"/>
                <a:gd name="T46" fmla="*/ 23 w 53"/>
                <a:gd name="T47" fmla="*/ 43 h 62"/>
                <a:gd name="T48" fmla="*/ 20 w 53"/>
                <a:gd name="T49" fmla="*/ 42 h 62"/>
                <a:gd name="T50" fmla="*/ 22 w 53"/>
                <a:gd name="T51" fmla="*/ 25 h 62"/>
                <a:gd name="T52" fmla="*/ 37 w 53"/>
                <a:gd name="T53" fmla="*/ 32 h 62"/>
                <a:gd name="T54" fmla="*/ 50 w 53"/>
                <a:gd name="T55" fmla="*/ 36 h 62"/>
                <a:gd name="T56" fmla="*/ 41 w 53"/>
                <a:gd name="T57" fmla="*/ 33 h 62"/>
                <a:gd name="T58" fmla="*/ 38 w 53"/>
                <a:gd name="T59" fmla="*/ 29 h 62"/>
                <a:gd name="T60" fmla="*/ 28 w 53"/>
                <a:gd name="T61" fmla="*/ 17 h 62"/>
                <a:gd name="T62" fmla="*/ 24 w 53"/>
                <a:gd name="T63" fmla="*/ 6 h 62"/>
                <a:gd name="T64" fmla="*/ 8 w 53"/>
                <a:gd name="T65" fmla="*/ 2 h 62"/>
                <a:gd name="T66" fmla="*/ 11 w 53"/>
                <a:gd name="T67" fmla="*/ 24 h 62"/>
                <a:gd name="T68" fmla="*/ 11 w 53"/>
                <a:gd name="T69" fmla="*/ 27 h 62"/>
                <a:gd name="T70" fmla="*/ 16 w 53"/>
                <a:gd name="T71" fmla="*/ 29 h 62"/>
                <a:gd name="T72" fmla="*/ 17 w 53"/>
                <a:gd name="T73" fmla="*/ 42 h 62"/>
                <a:gd name="T74" fmla="*/ 17 w 53"/>
                <a:gd name="T75" fmla="*/ 51 h 62"/>
                <a:gd name="T76" fmla="*/ 20 w 53"/>
                <a:gd name="T77" fmla="*/ 57 h 62"/>
                <a:gd name="T78" fmla="*/ 22 w 53"/>
                <a:gd name="T79" fmla="*/ 61 h 62"/>
                <a:gd name="T80" fmla="*/ 27 w 53"/>
                <a:gd name="T81" fmla="*/ 62 h 62"/>
                <a:gd name="T82" fmla="*/ 53 w 53"/>
                <a:gd name="T83" fmla="*/ 44 h 62"/>
                <a:gd name="T84" fmla="*/ 51 w 53"/>
                <a:gd name="T85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" h="62">
                  <a:moveTo>
                    <a:pt x="49" y="45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5" y="59"/>
                    <a:pt x="24" y="59"/>
                    <a:pt x="24" y="59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7"/>
                    <a:pt x="24" y="57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2"/>
                    <a:pt x="50" y="43"/>
                    <a:pt x="50" y="43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0" y="44"/>
                    <a:pt x="50" y="44"/>
                    <a:pt x="49" y="45"/>
                  </a:cubicBezTo>
                  <a:moveTo>
                    <a:pt x="20" y="52"/>
                  </a:moveTo>
                  <a:cubicBezTo>
                    <a:pt x="21" y="49"/>
                    <a:pt x="22" y="47"/>
                    <a:pt x="23" y="46"/>
                  </a:cubicBezTo>
                  <a:cubicBezTo>
                    <a:pt x="23" y="46"/>
                    <a:pt x="24" y="46"/>
                    <a:pt x="24" y="4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9" y="37"/>
                    <a:pt x="39" y="37"/>
                    <a:pt x="40" y="36"/>
                  </a:cubicBezTo>
                  <a:cubicBezTo>
                    <a:pt x="41" y="36"/>
                    <a:pt x="43" y="36"/>
                    <a:pt x="46" y="37"/>
                  </a:cubicBezTo>
                  <a:cubicBezTo>
                    <a:pt x="46" y="37"/>
                    <a:pt x="47" y="37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3"/>
                    <a:pt x="20" y="52"/>
                    <a:pt x="20" y="52"/>
                  </a:cubicBezTo>
                  <a:moveTo>
                    <a:pt x="14" y="25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4"/>
                    <a:pt x="16" y="23"/>
                    <a:pt x="16" y="22"/>
                  </a:cubicBezTo>
                  <a:cubicBezTo>
                    <a:pt x="16" y="21"/>
                    <a:pt x="15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1" y="21"/>
                    <a:pt x="8" y="19"/>
                    <a:pt x="7" y="17"/>
                  </a:cubicBezTo>
                  <a:cubicBezTo>
                    <a:pt x="4" y="13"/>
                    <a:pt x="6" y="7"/>
                    <a:pt x="10" y="5"/>
                  </a:cubicBezTo>
                  <a:cubicBezTo>
                    <a:pt x="12" y="4"/>
                    <a:pt x="14" y="4"/>
                    <a:pt x="16" y="4"/>
                  </a:cubicBezTo>
                  <a:cubicBezTo>
                    <a:pt x="18" y="5"/>
                    <a:pt x="20" y="6"/>
                    <a:pt x="21" y="8"/>
                  </a:cubicBezTo>
                  <a:cubicBezTo>
                    <a:pt x="23" y="11"/>
                    <a:pt x="23" y="14"/>
                    <a:pt x="21" y="17"/>
                  </a:cubicBezTo>
                  <a:cubicBezTo>
                    <a:pt x="21" y="17"/>
                    <a:pt x="21" y="18"/>
                    <a:pt x="21" y="19"/>
                  </a:cubicBezTo>
                  <a:cubicBezTo>
                    <a:pt x="22" y="19"/>
                    <a:pt x="23" y="19"/>
                    <a:pt x="24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moveTo>
                    <a:pt x="37" y="32"/>
                  </a:moveTo>
                  <a:cubicBezTo>
                    <a:pt x="37" y="32"/>
                    <a:pt x="38" y="32"/>
                    <a:pt x="38" y="33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2" y="43"/>
                    <a:pt x="22" y="43"/>
                    <a:pt x="21" y="43"/>
                  </a:cubicBezTo>
                  <a:cubicBezTo>
                    <a:pt x="20" y="43"/>
                    <a:pt x="20" y="42"/>
                    <a:pt x="20" y="42"/>
                  </a:cubicBezTo>
                  <a:cubicBezTo>
                    <a:pt x="21" y="37"/>
                    <a:pt x="20" y="32"/>
                    <a:pt x="19" y="27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7"/>
                    <a:pt x="33" y="30"/>
                    <a:pt x="37" y="32"/>
                  </a:cubicBezTo>
                  <a:moveTo>
                    <a:pt x="51" y="39"/>
                  </a:moveTo>
                  <a:cubicBezTo>
                    <a:pt x="51" y="38"/>
                    <a:pt x="51" y="37"/>
                    <a:pt x="50" y="36"/>
                  </a:cubicBezTo>
                  <a:cubicBezTo>
                    <a:pt x="50" y="35"/>
                    <a:pt x="48" y="33"/>
                    <a:pt x="46" y="33"/>
                  </a:cubicBezTo>
                  <a:cubicBezTo>
                    <a:pt x="44" y="33"/>
                    <a:pt x="42" y="33"/>
                    <a:pt x="41" y="33"/>
                  </a:cubicBezTo>
                  <a:cubicBezTo>
                    <a:pt x="41" y="31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4" y="27"/>
                    <a:pt x="31" y="25"/>
                    <a:pt x="27" y="22"/>
                  </a:cubicBezTo>
                  <a:cubicBezTo>
                    <a:pt x="29" y="20"/>
                    <a:pt x="29" y="18"/>
                    <a:pt x="28" y="17"/>
                  </a:cubicBezTo>
                  <a:cubicBezTo>
                    <a:pt x="28" y="16"/>
                    <a:pt x="27" y="15"/>
                    <a:pt x="26" y="15"/>
                  </a:cubicBezTo>
                  <a:cubicBezTo>
                    <a:pt x="26" y="12"/>
                    <a:pt x="26" y="9"/>
                    <a:pt x="24" y="6"/>
                  </a:cubicBezTo>
                  <a:cubicBezTo>
                    <a:pt x="23" y="3"/>
                    <a:pt x="20" y="2"/>
                    <a:pt x="17" y="1"/>
                  </a:cubicBezTo>
                  <a:cubicBezTo>
                    <a:pt x="14" y="0"/>
                    <a:pt x="11" y="0"/>
                    <a:pt x="8" y="2"/>
                  </a:cubicBezTo>
                  <a:cubicBezTo>
                    <a:pt x="2" y="5"/>
                    <a:pt x="0" y="13"/>
                    <a:pt x="4" y="18"/>
                  </a:cubicBezTo>
                  <a:cubicBezTo>
                    <a:pt x="5" y="21"/>
                    <a:pt x="8" y="23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10" y="26"/>
                    <a:pt x="11" y="27"/>
                  </a:cubicBezTo>
                  <a:cubicBezTo>
                    <a:pt x="12" y="28"/>
                    <a:pt x="13" y="29"/>
                    <a:pt x="14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7" y="33"/>
                    <a:pt x="18" y="38"/>
                    <a:pt x="17" y="41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3"/>
                    <a:pt x="17" y="45"/>
                    <a:pt x="19" y="46"/>
                  </a:cubicBezTo>
                  <a:cubicBezTo>
                    <a:pt x="18" y="47"/>
                    <a:pt x="18" y="49"/>
                    <a:pt x="17" y="51"/>
                  </a:cubicBezTo>
                  <a:cubicBezTo>
                    <a:pt x="16" y="52"/>
                    <a:pt x="17" y="54"/>
                    <a:pt x="18" y="56"/>
                  </a:cubicBezTo>
                  <a:cubicBezTo>
                    <a:pt x="19" y="56"/>
                    <a:pt x="19" y="57"/>
                    <a:pt x="20" y="57"/>
                  </a:cubicBezTo>
                  <a:cubicBezTo>
                    <a:pt x="20" y="57"/>
                    <a:pt x="20" y="58"/>
                    <a:pt x="20" y="58"/>
                  </a:cubicBezTo>
                  <a:cubicBezTo>
                    <a:pt x="20" y="59"/>
                    <a:pt x="21" y="60"/>
                    <a:pt x="22" y="61"/>
                  </a:cubicBezTo>
                  <a:cubicBezTo>
                    <a:pt x="22" y="62"/>
                    <a:pt x="24" y="62"/>
                    <a:pt x="25" y="62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3" y="47"/>
                    <a:pt x="53" y="45"/>
                    <a:pt x="53" y="44"/>
                  </a:cubicBezTo>
                  <a:cubicBezTo>
                    <a:pt x="53" y="43"/>
                    <a:pt x="53" y="43"/>
                    <a:pt x="53" y="42"/>
                  </a:cubicBezTo>
                  <a:cubicBezTo>
                    <a:pt x="53" y="41"/>
                    <a:pt x="52" y="40"/>
                    <a:pt x="51" y="3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5">
              <a:extLst>
                <a:ext uri="{FF2B5EF4-FFF2-40B4-BE49-F238E27FC236}">
                  <a16:creationId xmlns:a16="http://schemas.microsoft.com/office/drawing/2014/main" id="{118F6C16-222C-4858-8140-CECDAEB6A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1" y="2047"/>
              <a:ext cx="41" cy="10"/>
            </a:xfrm>
            <a:custGeom>
              <a:avLst/>
              <a:gdLst>
                <a:gd name="T0" fmla="*/ 15 w 17"/>
                <a:gd name="T1" fmla="*/ 0 h 4"/>
                <a:gd name="T2" fmla="*/ 2 w 17"/>
                <a:gd name="T3" fmla="*/ 0 h 4"/>
                <a:gd name="T4" fmla="*/ 0 w 17"/>
                <a:gd name="T5" fmla="*/ 2 h 4"/>
                <a:gd name="T6" fmla="*/ 2 w 17"/>
                <a:gd name="T7" fmla="*/ 4 h 4"/>
                <a:gd name="T8" fmla="*/ 2 w 17"/>
                <a:gd name="T9" fmla="*/ 4 h 4"/>
                <a:gd name="T10" fmla="*/ 15 w 17"/>
                <a:gd name="T11" fmla="*/ 3 h 4"/>
                <a:gd name="T12" fmla="*/ 17 w 17"/>
                <a:gd name="T13" fmla="*/ 1 h 4"/>
                <a:gd name="T14" fmla="*/ 15 w 17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1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2"/>
                    <a:pt x="17" y="1"/>
                  </a:cubicBezTo>
                  <a:cubicBezTo>
                    <a:pt x="17" y="0"/>
                    <a:pt x="16" y="0"/>
                    <a:pt x="15" y="0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6">
              <a:extLst>
                <a:ext uri="{FF2B5EF4-FFF2-40B4-BE49-F238E27FC236}">
                  <a16:creationId xmlns:a16="http://schemas.microsoft.com/office/drawing/2014/main" id="{336ECFA4-7791-4373-BA58-095DC2976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" y="2005"/>
              <a:ext cx="39" cy="25"/>
            </a:xfrm>
            <a:custGeom>
              <a:avLst/>
              <a:gdLst>
                <a:gd name="T0" fmla="*/ 14 w 16"/>
                <a:gd name="T1" fmla="*/ 7 h 10"/>
                <a:gd name="T2" fmla="*/ 3 w 16"/>
                <a:gd name="T3" fmla="*/ 0 h 10"/>
                <a:gd name="T4" fmla="*/ 1 w 16"/>
                <a:gd name="T5" fmla="*/ 1 h 10"/>
                <a:gd name="T6" fmla="*/ 1 w 16"/>
                <a:gd name="T7" fmla="*/ 3 h 10"/>
                <a:gd name="T8" fmla="*/ 13 w 16"/>
                <a:gd name="T9" fmla="*/ 10 h 10"/>
                <a:gd name="T10" fmla="*/ 14 w 16"/>
                <a:gd name="T11" fmla="*/ 10 h 10"/>
                <a:gd name="T12" fmla="*/ 15 w 16"/>
                <a:gd name="T13" fmla="*/ 9 h 10"/>
                <a:gd name="T14" fmla="*/ 14 w 16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0">
                  <a:moveTo>
                    <a:pt x="14" y="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4" y="10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6" y="8"/>
                    <a:pt x="15" y="7"/>
                    <a:pt x="14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7">
              <a:extLst>
                <a:ext uri="{FF2B5EF4-FFF2-40B4-BE49-F238E27FC236}">
                  <a16:creationId xmlns:a16="http://schemas.microsoft.com/office/drawing/2014/main" id="{75E1D5CB-C47F-41AD-97B5-4F4DE0547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" y="1981"/>
              <a:ext cx="19" cy="36"/>
            </a:xfrm>
            <a:custGeom>
              <a:avLst/>
              <a:gdLst>
                <a:gd name="T0" fmla="*/ 4 w 8"/>
                <a:gd name="T1" fmla="*/ 14 h 15"/>
                <a:gd name="T2" fmla="*/ 6 w 8"/>
                <a:gd name="T3" fmla="*/ 15 h 15"/>
                <a:gd name="T4" fmla="*/ 7 w 8"/>
                <a:gd name="T5" fmla="*/ 15 h 15"/>
                <a:gd name="T6" fmla="*/ 8 w 8"/>
                <a:gd name="T7" fmla="*/ 13 h 15"/>
                <a:gd name="T8" fmla="*/ 3 w 8"/>
                <a:gd name="T9" fmla="*/ 1 h 15"/>
                <a:gd name="T10" fmla="*/ 1 w 8"/>
                <a:gd name="T11" fmla="*/ 0 h 15"/>
                <a:gd name="T12" fmla="*/ 0 w 8"/>
                <a:gd name="T13" fmla="*/ 2 h 15"/>
                <a:gd name="T14" fmla="*/ 4 w 8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5">
                  <a:moveTo>
                    <a:pt x="4" y="14"/>
                  </a:moveTo>
                  <a:cubicBezTo>
                    <a:pt x="5" y="15"/>
                    <a:pt x="5" y="15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8" y="15"/>
                    <a:pt x="8" y="14"/>
                    <a:pt x="8" y="1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lnTo>
                    <a:pt x="4" y="14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8">
              <a:extLst>
                <a:ext uri="{FF2B5EF4-FFF2-40B4-BE49-F238E27FC236}">
                  <a16:creationId xmlns:a16="http://schemas.microsoft.com/office/drawing/2014/main" id="{247428C6-5280-4B04-A42B-5E6EADAF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9" y="1981"/>
              <a:ext cx="17" cy="36"/>
            </a:xfrm>
            <a:custGeom>
              <a:avLst/>
              <a:gdLst>
                <a:gd name="T0" fmla="*/ 2 w 7"/>
                <a:gd name="T1" fmla="*/ 15 h 15"/>
                <a:gd name="T2" fmla="*/ 2 w 7"/>
                <a:gd name="T3" fmla="*/ 15 h 15"/>
                <a:gd name="T4" fmla="*/ 4 w 7"/>
                <a:gd name="T5" fmla="*/ 13 h 15"/>
                <a:gd name="T6" fmla="*/ 7 w 7"/>
                <a:gd name="T7" fmla="*/ 2 h 15"/>
                <a:gd name="T8" fmla="*/ 6 w 7"/>
                <a:gd name="T9" fmla="*/ 0 h 15"/>
                <a:gd name="T10" fmla="*/ 3 w 7"/>
                <a:gd name="T11" fmla="*/ 1 h 15"/>
                <a:gd name="T12" fmla="*/ 0 w 7"/>
                <a:gd name="T13" fmla="*/ 12 h 15"/>
                <a:gd name="T14" fmla="*/ 2 w 7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4"/>
                    <a:pt x="4" y="1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4" name="Group 131">
            <a:extLst>
              <a:ext uri="{FF2B5EF4-FFF2-40B4-BE49-F238E27FC236}">
                <a16:creationId xmlns:a16="http://schemas.microsoft.com/office/drawing/2014/main" id="{09CDA00E-405E-4BAC-A9A7-4B955D3088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6117" y="2819971"/>
            <a:ext cx="841375" cy="841375"/>
            <a:chOff x="2938" y="1738"/>
            <a:chExt cx="530" cy="530"/>
          </a:xfrm>
        </p:grpSpPr>
        <p:sp>
          <p:nvSpPr>
            <p:cNvPr id="155" name="AutoShape 130">
              <a:extLst>
                <a:ext uri="{FF2B5EF4-FFF2-40B4-BE49-F238E27FC236}">
                  <a16:creationId xmlns:a16="http://schemas.microsoft.com/office/drawing/2014/main" id="{33C214C6-D728-4EA7-B111-6AD7A9261A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8" y="1738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Oval 132">
              <a:extLst>
                <a:ext uri="{FF2B5EF4-FFF2-40B4-BE49-F238E27FC236}">
                  <a16:creationId xmlns:a16="http://schemas.microsoft.com/office/drawing/2014/main" id="{753286BC-8467-4A13-AB9A-5E4035DD6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8" y="1738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33">
              <a:extLst>
                <a:ext uri="{FF2B5EF4-FFF2-40B4-BE49-F238E27FC236}">
                  <a16:creationId xmlns:a16="http://schemas.microsoft.com/office/drawing/2014/main" id="{84A5C0A6-2D2F-4061-BE59-0AF4DC158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6" y="1756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4">
              <a:extLst>
                <a:ext uri="{FF2B5EF4-FFF2-40B4-BE49-F238E27FC236}">
                  <a16:creationId xmlns:a16="http://schemas.microsoft.com/office/drawing/2014/main" id="{ABC73480-71D0-400F-B21F-531E61D7DD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2" y="1827"/>
              <a:ext cx="120" cy="272"/>
            </a:xfrm>
            <a:custGeom>
              <a:avLst/>
              <a:gdLst>
                <a:gd name="T0" fmla="*/ 40 w 47"/>
                <a:gd name="T1" fmla="*/ 103 h 106"/>
                <a:gd name="T2" fmla="*/ 4 w 47"/>
                <a:gd name="T3" fmla="*/ 101 h 106"/>
                <a:gd name="T4" fmla="*/ 5 w 47"/>
                <a:gd name="T5" fmla="*/ 99 h 106"/>
                <a:gd name="T6" fmla="*/ 42 w 47"/>
                <a:gd name="T7" fmla="*/ 99 h 106"/>
                <a:gd name="T8" fmla="*/ 42 w 47"/>
                <a:gd name="T9" fmla="*/ 101 h 106"/>
                <a:gd name="T10" fmla="*/ 11 w 47"/>
                <a:gd name="T11" fmla="*/ 87 h 106"/>
                <a:gd name="T12" fmla="*/ 23 w 47"/>
                <a:gd name="T13" fmla="*/ 87 h 106"/>
                <a:gd name="T14" fmla="*/ 36 w 47"/>
                <a:gd name="T15" fmla="*/ 87 h 106"/>
                <a:gd name="T16" fmla="*/ 43 w 47"/>
                <a:gd name="T17" fmla="*/ 94 h 106"/>
                <a:gd name="T18" fmla="*/ 23 w 47"/>
                <a:gd name="T19" fmla="*/ 96 h 106"/>
                <a:gd name="T20" fmla="*/ 4 w 47"/>
                <a:gd name="T21" fmla="*/ 94 h 106"/>
                <a:gd name="T22" fmla="*/ 11 w 47"/>
                <a:gd name="T23" fmla="*/ 81 h 106"/>
                <a:gd name="T24" fmla="*/ 23 w 47"/>
                <a:gd name="T25" fmla="*/ 49 h 106"/>
                <a:gd name="T26" fmla="*/ 36 w 47"/>
                <a:gd name="T27" fmla="*/ 81 h 106"/>
                <a:gd name="T28" fmla="*/ 33 w 47"/>
                <a:gd name="T29" fmla="*/ 84 h 106"/>
                <a:gd name="T30" fmla="*/ 13 w 47"/>
                <a:gd name="T31" fmla="*/ 84 h 106"/>
                <a:gd name="T32" fmla="*/ 11 w 47"/>
                <a:gd name="T33" fmla="*/ 81 h 106"/>
                <a:gd name="T34" fmla="*/ 26 w 47"/>
                <a:gd name="T35" fmla="*/ 37 h 106"/>
                <a:gd name="T36" fmla="*/ 23 w 47"/>
                <a:gd name="T37" fmla="*/ 45 h 106"/>
                <a:gd name="T38" fmla="*/ 21 w 47"/>
                <a:gd name="T39" fmla="*/ 37 h 106"/>
                <a:gd name="T40" fmla="*/ 15 w 47"/>
                <a:gd name="T41" fmla="*/ 32 h 106"/>
                <a:gd name="T42" fmla="*/ 20 w 47"/>
                <a:gd name="T43" fmla="*/ 31 h 106"/>
                <a:gd name="T44" fmla="*/ 15 w 47"/>
                <a:gd name="T45" fmla="*/ 19 h 106"/>
                <a:gd name="T46" fmla="*/ 23 w 47"/>
                <a:gd name="T47" fmla="*/ 20 h 106"/>
                <a:gd name="T48" fmla="*/ 31 w 47"/>
                <a:gd name="T49" fmla="*/ 19 h 106"/>
                <a:gd name="T50" fmla="*/ 27 w 47"/>
                <a:gd name="T51" fmla="*/ 31 h 106"/>
                <a:gd name="T52" fmla="*/ 31 w 47"/>
                <a:gd name="T53" fmla="*/ 32 h 106"/>
                <a:gd name="T54" fmla="*/ 31 w 47"/>
                <a:gd name="T55" fmla="*/ 33 h 106"/>
                <a:gd name="T56" fmla="*/ 15 w 47"/>
                <a:gd name="T57" fmla="*/ 33 h 106"/>
                <a:gd name="T58" fmla="*/ 39 w 47"/>
                <a:gd name="T59" fmla="*/ 84 h 106"/>
                <a:gd name="T60" fmla="*/ 38 w 47"/>
                <a:gd name="T61" fmla="*/ 79 h 106"/>
                <a:gd name="T62" fmla="*/ 31 w 47"/>
                <a:gd name="T63" fmla="*/ 48 h 106"/>
                <a:gd name="T64" fmla="*/ 32 w 47"/>
                <a:gd name="T65" fmla="*/ 42 h 106"/>
                <a:gd name="T66" fmla="*/ 31 w 47"/>
                <a:gd name="T67" fmla="*/ 37 h 106"/>
                <a:gd name="T68" fmla="*/ 31 w 47"/>
                <a:gd name="T69" fmla="*/ 28 h 106"/>
                <a:gd name="T70" fmla="*/ 35 w 47"/>
                <a:gd name="T71" fmla="*/ 17 h 106"/>
                <a:gd name="T72" fmla="*/ 25 w 47"/>
                <a:gd name="T73" fmla="*/ 16 h 106"/>
                <a:gd name="T74" fmla="*/ 32 w 47"/>
                <a:gd name="T75" fmla="*/ 11 h 106"/>
                <a:gd name="T76" fmla="*/ 32 w 47"/>
                <a:gd name="T77" fmla="*/ 8 h 106"/>
                <a:gd name="T78" fmla="*/ 25 w 47"/>
                <a:gd name="T79" fmla="*/ 1 h 106"/>
                <a:gd name="T80" fmla="*/ 22 w 47"/>
                <a:gd name="T81" fmla="*/ 1 h 106"/>
                <a:gd name="T82" fmla="*/ 15 w 47"/>
                <a:gd name="T83" fmla="*/ 8 h 106"/>
                <a:gd name="T84" fmla="*/ 15 w 47"/>
                <a:gd name="T85" fmla="*/ 11 h 106"/>
                <a:gd name="T86" fmla="*/ 22 w 47"/>
                <a:gd name="T87" fmla="*/ 16 h 106"/>
                <a:gd name="T88" fmla="*/ 12 w 47"/>
                <a:gd name="T89" fmla="*/ 17 h 106"/>
                <a:gd name="T90" fmla="*/ 15 w 47"/>
                <a:gd name="T91" fmla="*/ 28 h 106"/>
                <a:gd name="T92" fmla="*/ 15 w 47"/>
                <a:gd name="T93" fmla="*/ 37 h 106"/>
                <a:gd name="T94" fmla="*/ 14 w 47"/>
                <a:gd name="T95" fmla="*/ 42 h 106"/>
                <a:gd name="T96" fmla="*/ 16 w 47"/>
                <a:gd name="T97" fmla="*/ 48 h 106"/>
                <a:gd name="T98" fmla="*/ 8 w 47"/>
                <a:gd name="T99" fmla="*/ 79 h 106"/>
                <a:gd name="T100" fmla="*/ 8 w 47"/>
                <a:gd name="T101" fmla="*/ 84 h 106"/>
                <a:gd name="T102" fmla="*/ 0 w 47"/>
                <a:gd name="T103" fmla="*/ 94 h 106"/>
                <a:gd name="T104" fmla="*/ 1 w 47"/>
                <a:gd name="T105" fmla="*/ 101 h 106"/>
                <a:gd name="T106" fmla="*/ 6 w 47"/>
                <a:gd name="T107" fmla="*/ 106 h 106"/>
                <a:gd name="T108" fmla="*/ 46 w 47"/>
                <a:gd name="T109" fmla="*/ 102 h 106"/>
                <a:gd name="T110" fmla="*/ 45 w 47"/>
                <a:gd name="T111" fmla="*/ 97 h 106"/>
                <a:gd name="T112" fmla="*/ 44 w 47"/>
                <a:gd name="T113" fmla="*/ 8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106">
                  <a:moveTo>
                    <a:pt x="42" y="101"/>
                  </a:moveTo>
                  <a:cubicBezTo>
                    <a:pt x="42" y="102"/>
                    <a:pt x="42" y="103"/>
                    <a:pt x="40" y="103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5" y="103"/>
                    <a:pt x="4" y="102"/>
                    <a:pt x="4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0"/>
                    <a:pt x="4" y="99"/>
                    <a:pt x="5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100"/>
                    <a:pt x="42" y="101"/>
                  </a:cubicBezTo>
                  <a:cubicBezTo>
                    <a:pt x="42" y="101"/>
                    <a:pt x="42" y="101"/>
                    <a:pt x="42" y="101"/>
                  </a:cubicBezTo>
                  <a:moveTo>
                    <a:pt x="5" y="91"/>
                  </a:moveTo>
                  <a:cubicBezTo>
                    <a:pt x="7" y="89"/>
                    <a:pt x="10" y="87"/>
                    <a:pt x="11" y="87"/>
                  </a:cubicBezTo>
                  <a:cubicBezTo>
                    <a:pt x="12" y="87"/>
                    <a:pt x="13" y="87"/>
                    <a:pt x="13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4" y="87"/>
                    <a:pt x="35" y="87"/>
                    <a:pt x="36" y="87"/>
                  </a:cubicBezTo>
                  <a:cubicBezTo>
                    <a:pt x="37" y="87"/>
                    <a:pt x="40" y="89"/>
                    <a:pt x="42" y="91"/>
                  </a:cubicBezTo>
                  <a:cubicBezTo>
                    <a:pt x="43" y="92"/>
                    <a:pt x="43" y="93"/>
                    <a:pt x="43" y="94"/>
                  </a:cubicBezTo>
                  <a:cubicBezTo>
                    <a:pt x="43" y="94"/>
                    <a:pt x="42" y="95"/>
                    <a:pt x="42" y="96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4" y="95"/>
                    <a:pt x="4" y="94"/>
                    <a:pt x="4" y="94"/>
                  </a:cubicBezTo>
                  <a:cubicBezTo>
                    <a:pt x="4" y="93"/>
                    <a:pt x="4" y="92"/>
                    <a:pt x="5" y="91"/>
                  </a:cubicBezTo>
                  <a:moveTo>
                    <a:pt x="11" y="81"/>
                  </a:moveTo>
                  <a:cubicBezTo>
                    <a:pt x="20" y="70"/>
                    <a:pt x="20" y="54"/>
                    <a:pt x="20" y="49"/>
                  </a:cubicBezTo>
                  <a:cubicBezTo>
                    <a:pt x="21" y="49"/>
                    <a:pt x="22" y="49"/>
                    <a:pt x="23" y="49"/>
                  </a:cubicBezTo>
                  <a:cubicBezTo>
                    <a:pt x="24" y="49"/>
                    <a:pt x="25" y="49"/>
                    <a:pt x="26" y="49"/>
                  </a:cubicBezTo>
                  <a:cubicBezTo>
                    <a:pt x="26" y="54"/>
                    <a:pt x="27" y="70"/>
                    <a:pt x="36" y="81"/>
                  </a:cubicBezTo>
                  <a:cubicBezTo>
                    <a:pt x="36" y="81"/>
                    <a:pt x="36" y="82"/>
                    <a:pt x="36" y="83"/>
                  </a:cubicBezTo>
                  <a:cubicBezTo>
                    <a:pt x="35" y="83"/>
                    <a:pt x="34" y="84"/>
                    <a:pt x="33" y="8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3"/>
                    <a:pt x="11" y="83"/>
                  </a:cubicBezTo>
                  <a:cubicBezTo>
                    <a:pt x="10" y="82"/>
                    <a:pt x="11" y="81"/>
                    <a:pt x="11" y="81"/>
                  </a:cubicBezTo>
                  <a:moveTo>
                    <a:pt x="21" y="37"/>
                  </a:moveTo>
                  <a:cubicBezTo>
                    <a:pt x="26" y="37"/>
                    <a:pt x="26" y="37"/>
                    <a:pt x="26" y="37"/>
                  </a:cubicBezTo>
                  <a:cubicBezTo>
                    <a:pt x="26" y="39"/>
                    <a:pt x="26" y="42"/>
                    <a:pt x="30" y="45"/>
                  </a:cubicBezTo>
                  <a:cubicBezTo>
                    <a:pt x="28" y="45"/>
                    <a:pt x="26" y="45"/>
                    <a:pt x="23" y="45"/>
                  </a:cubicBezTo>
                  <a:cubicBezTo>
                    <a:pt x="21" y="45"/>
                    <a:pt x="19" y="45"/>
                    <a:pt x="17" y="45"/>
                  </a:cubicBezTo>
                  <a:cubicBezTo>
                    <a:pt x="20" y="42"/>
                    <a:pt x="21" y="39"/>
                    <a:pt x="21" y="37"/>
                  </a:cubicBezTo>
                  <a:moveTo>
                    <a:pt x="15" y="33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9" y="32"/>
                    <a:pt x="19" y="31"/>
                    <a:pt x="20" y="31"/>
                  </a:cubicBezTo>
                  <a:cubicBezTo>
                    <a:pt x="20" y="30"/>
                    <a:pt x="20" y="30"/>
                    <a:pt x="20" y="2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20"/>
                    <a:pt x="24" y="20"/>
                    <a:pt x="24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30"/>
                    <a:pt x="27" y="31"/>
                  </a:cubicBezTo>
                  <a:cubicBezTo>
                    <a:pt x="27" y="31"/>
                    <a:pt x="28" y="32"/>
                    <a:pt x="29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2" y="32"/>
                    <a:pt x="32" y="32"/>
                    <a:pt x="32" y="33"/>
                  </a:cubicBezTo>
                  <a:cubicBezTo>
                    <a:pt x="32" y="33"/>
                    <a:pt x="32" y="33"/>
                    <a:pt x="31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moveTo>
                    <a:pt x="44" y="88"/>
                  </a:moveTo>
                  <a:cubicBezTo>
                    <a:pt x="42" y="87"/>
                    <a:pt x="40" y="85"/>
                    <a:pt x="39" y="84"/>
                  </a:cubicBezTo>
                  <a:cubicBezTo>
                    <a:pt x="40" y="82"/>
                    <a:pt x="39" y="80"/>
                    <a:pt x="39" y="79"/>
                  </a:cubicBezTo>
                  <a:cubicBezTo>
                    <a:pt x="39" y="79"/>
                    <a:pt x="38" y="79"/>
                    <a:pt x="38" y="79"/>
                  </a:cubicBezTo>
                  <a:cubicBezTo>
                    <a:pt x="30" y="68"/>
                    <a:pt x="30" y="53"/>
                    <a:pt x="30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2" y="48"/>
                    <a:pt x="33" y="47"/>
                    <a:pt x="33" y="46"/>
                  </a:cubicBezTo>
                  <a:cubicBezTo>
                    <a:pt x="34" y="44"/>
                    <a:pt x="33" y="43"/>
                    <a:pt x="32" y="42"/>
                  </a:cubicBezTo>
                  <a:cubicBezTo>
                    <a:pt x="30" y="40"/>
                    <a:pt x="29" y="38"/>
                    <a:pt x="29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4" y="37"/>
                    <a:pt x="36" y="35"/>
                    <a:pt x="36" y="33"/>
                  </a:cubicBezTo>
                  <a:cubicBezTo>
                    <a:pt x="36" y="30"/>
                    <a:pt x="34" y="28"/>
                    <a:pt x="31" y="28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19"/>
                    <a:pt x="35" y="18"/>
                    <a:pt x="35" y="17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1"/>
                    <a:pt x="33" y="11"/>
                    <a:pt x="33" y="10"/>
                  </a:cubicBezTo>
                  <a:cubicBezTo>
                    <a:pt x="33" y="9"/>
                    <a:pt x="33" y="8"/>
                    <a:pt x="32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22" y="0"/>
                    <a:pt x="22" y="0"/>
                    <a:pt x="22" y="1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4" y="8"/>
                    <a:pt x="13" y="9"/>
                    <a:pt x="13" y="10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6"/>
                    <a:pt x="12" y="17"/>
                  </a:cubicBezTo>
                  <a:cubicBezTo>
                    <a:pt x="11" y="18"/>
                    <a:pt x="11" y="19"/>
                    <a:pt x="12" y="20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28"/>
                    <a:pt x="11" y="30"/>
                    <a:pt x="11" y="33"/>
                  </a:cubicBezTo>
                  <a:cubicBezTo>
                    <a:pt x="11" y="35"/>
                    <a:pt x="13" y="37"/>
                    <a:pt x="15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8"/>
                    <a:pt x="17" y="40"/>
                    <a:pt x="14" y="42"/>
                  </a:cubicBezTo>
                  <a:cubicBezTo>
                    <a:pt x="14" y="43"/>
                    <a:pt x="13" y="44"/>
                    <a:pt x="13" y="46"/>
                  </a:cubicBezTo>
                  <a:cubicBezTo>
                    <a:pt x="14" y="47"/>
                    <a:pt x="15" y="48"/>
                    <a:pt x="16" y="48"/>
                  </a:cubicBezTo>
                  <a:cubicBezTo>
                    <a:pt x="16" y="48"/>
                    <a:pt x="16" y="48"/>
                    <a:pt x="17" y="48"/>
                  </a:cubicBezTo>
                  <a:cubicBezTo>
                    <a:pt x="17" y="53"/>
                    <a:pt x="17" y="68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80"/>
                    <a:pt x="7" y="82"/>
                    <a:pt x="8" y="84"/>
                  </a:cubicBezTo>
                  <a:cubicBezTo>
                    <a:pt x="7" y="85"/>
                    <a:pt x="5" y="87"/>
                    <a:pt x="3" y="88"/>
                  </a:cubicBezTo>
                  <a:cubicBezTo>
                    <a:pt x="1" y="90"/>
                    <a:pt x="0" y="92"/>
                    <a:pt x="0" y="94"/>
                  </a:cubicBezTo>
                  <a:cubicBezTo>
                    <a:pt x="1" y="95"/>
                    <a:pt x="1" y="96"/>
                    <a:pt x="2" y="97"/>
                  </a:cubicBezTo>
                  <a:cubicBezTo>
                    <a:pt x="1" y="98"/>
                    <a:pt x="1" y="99"/>
                    <a:pt x="1" y="101"/>
                  </a:cubicBezTo>
                  <a:cubicBezTo>
                    <a:pt x="1" y="101"/>
                    <a:pt x="1" y="101"/>
                    <a:pt x="1" y="102"/>
                  </a:cubicBezTo>
                  <a:cubicBezTo>
                    <a:pt x="1" y="105"/>
                    <a:pt x="4" y="106"/>
                    <a:pt x="6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3" y="106"/>
                    <a:pt x="45" y="105"/>
                    <a:pt x="46" y="102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99"/>
                    <a:pt x="46" y="98"/>
                    <a:pt x="45" y="97"/>
                  </a:cubicBezTo>
                  <a:cubicBezTo>
                    <a:pt x="46" y="96"/>
                    <a:pt x="46" y="95"/>
                    <a:pt x="46" y="94"/>
                  </a:cubicBezTo>
                  <a:cubicBezTo>
                    <a:pt x="47" y="92"/>
                    <a:pt x="46" y="90"/>
                    <a:pt x="44" y="8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5">
              <a:extLst>
                <a:ext uri="{FF2B5EF4-FFF2-40B4-BE49-F238E27FC236}">
                  <a16:creationId xmlns:a16="http://schemas.microsoft.com/office/drawing/2014/main" id="{3F651015-42F4-4916-8E76-3D21555C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2" y="2022"/>
              <a:ext cx="136" cy="159"/>
            </a:xfrm>
            <a:custGeom>
              <a:avLst/>
              <a:gdLst>
                <a:gd name="T0" fmla="*/ 26 w 53"/>
                <a:gd name="T1" fmla="*/ 59 h 62"/>
                <a:gd name="T2" fmla="*/ 24 w 53"/>
                <a:gd name="T3" fmla="*/ 58 h 62"/>
                <a:gd name="T4" fmla="*/ 36 w 53"/>
                <a:gd name="T5" fmla="*/ 50 h 62"/>
                <a:gd name="T6" fmla="*/ 50 w 53"/>
                <a:gd name="T7" fmla="*/ 43 h 62"/>
                <a:gd name="T8" fmla="*/ 49 w 53"/>
                <a:gd name="T9" fmla="*/ 45 h 62"/>
                <a:gd name="T10" fmla="*/ 23 w 53"/>
                <a:gd name="T11" fmla="*/ 46 h 62"/>
                <a:gd name="T12" fmla="*/ 38 w 53"/>
                <a:gd name="T13" fmla="*/ 37 h 62"/>
                <a:gd name="T14" fmla="*/ 46 w 53"/>
                <a:gd name="T15" fmla="*/ 37 h 62"/>
                <a:gd name="T16" fmla="*/ 47 w 53"/>
                <a:gd name="T17" fmla="*/ 39 h 62"/>
                <a:gd name="T18" fmla="*/ 22 w 53"/>
                <a:gd name="T19" fmla="*/ 54 h 62"/>
                <a:gd name="T20" fmla="*/ 21 w 53"/>
                <a:gd name="T21" fmla="*/ 54 h 62"/>
                <a:gd name="T22" fmla="*/ 14 w 53"/>
                <a:gd name="T23" fmla="*/ 25 h 62"/>
                <a:gd name="T24" fmla="*/ 14 w 53"/>
                <a:gd name="T25" fmla="*/ 25 h 62"/>
                <a:gd name="T26" fmla="*/ 16 w 53"/>
                <a:gd name="T27" fmla="*/ 22 h 62"/>
                <a:gd name="T28" fmla="*/ 14 w 53"/>
                <a:gd name="T29" fmla="*/ 21 h 62"/>
                <a:gd name="T30" fmla="*/ 10 w 53"/>
                <a:gd name="T31" fmla="*/ 5 h 62"/>
                <a:gd name="T32" fmla="*/ 21 w 53"/>
                <a:gd name="T33" fmla="*/ 8 h 62"/>
                <a:gd name="T34" fmla="*/ 21 w 53"/>
                <a:gd name="T35" fmla="*/ 19 h 62"/>
                <a:gd name="T36" fmla="*/ 25 w 53"/>
                <a:gd name="T37" fmla="*/ 18 h 62"/>
                <a:gd name="T38" fmla="*/ 25 w 53"/>
                <a:gd name="T39" fmla="*/ 19 h 62"/>
                <a:gd name="T40" fmla="*/ 16 w 53"/>
                <a:gd name="T41" fmla="*/ 25 h 62"/>
                <a:gd name="T42" fmla="*/ 14 w 53"/>
                <a:gd name="T43" fmla="*/ 25 h 62"/>
                <a:gd name="T44" fmla="*/ 38 w 53"/>
                <a:gd name="T45" fmla="*/ 33 h 62"/>
                <a:gd name="T46" fmla="*/ 23 w 53"/>
                <a:gd name="T47" fmla="*/ 43 h 62"/>
                <a:gd name="T48" fmla="*/ 20 w 53"/>
                <a:gd name="T49" fmla="*/ 42 h 62"/>
                <a:gd name="T50" fmla="*/ 22 w 53"/>
                <a:gd name="T51" fmla="*/ 25 h 62"/>
                <a:gd name="T52" fmla="*/ 37 w 53"/>
                <a:gd name="T53" fmla="*/ 32 h 62"/>
                <a:gd name="T54" fmla="*/ 50 w 53"/>
                <a:gd name="T55" fmla="*/ 36 h 62"/>
                <a:gd name="T56" fmla="*/ 41 w 53"/>
                <a:gd name="T57" fmla="*/ 33 h 62"/>
                <a:gd name="T58" fmla="*/ 38 w 53"/>
                <a:gd name="T59" fmla="*/ 29 h 62"/>
                <a:gd name="T60" fmla="*/ 28 w 53"/>
                <a:gd name="T61" fmla="*/ 17 h 62"/>
                <a:gd name="T62" fmla="*/ 24 w 53"/>
                <a:gd name="T63" fmla="*/ 6 h 62"/>
                <a:gd name="T64" fmla="*/ 8 w 53"/>
                <a:gd name="T65" fmla="*/ 2 h 62"/>
                <a:gd name="T66" fmla="*/ 11 w 53"/>
                <a:gd name="T67" fmla="*/ 24 h 62"/>
                <a:gd name="T68" fmla="*/ 11 w 53"/>
                <a:gd name="T69" fmla="*/ 27 h 62"/>
                <a:gd name="T70" fmla="*/ 16 w 53"/>
                <a:gd name="T71" fmla="*/ 29 h 62"/>
                <a:gd name="T72" fmla="*/ 17 w 53"/>
                <a:gd name="T73" fmla="*/ 42 h 62"/>
                <a:gd name="T74" fmla="*/ 17 w 53"/>
                <a:gd name="T75" fmla="*/ 51 h 62"/>
                <a:gd name="T76" fmla="*/ 20 w 53"/>
                <a:gd name="T77" fmla="*/ 57 h 62"/>
                <a:gd name="T78" fmla="*/ 22 w 53"/>
                <a:gd name="T79" fmla="*/ 61 h 62"/>
                <a:gd name="T80" fmla="*/ 27 w 53"/>
                <a:gd name="T81" fmla="*/ 62 h 62"/>
                <a:gd name="T82" fmla="*/ 53 w 53"/>
                <a:gd name="T83" fmla="*/ 44 h 62"/>
                <a:gd name="T84" fmla="*/ 51 w 53"/>
                <a:gd name="T85" fmla="*/ 3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" h="62">
                  <a:moveTo>
                    <a:pt x="49" y="45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5" y="59"/>
                    <a:pt x="24" y="59"/>
                    <a:pt x="24" y="59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7"/>
                    <a:pt x="24" y="57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2"/>
                    <a:pt x="50" y="43"/>
                    <a:pt x="50" y="43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0" y="44"/>
                    <a:pt x="50" y="44"/>
                    <a:pt x="49" y="45"/>
                  </a:cubicBezTo>
                  <a:moveTo>
                    <a:pt x="20" y="52"/>
                  </a:moveTo>
                  <a:cubicBezTo>
                    <a:pt x="21" y="49"/>
                    <a:pt x="22" y="47"/>
                    <a:pt x="23" y="46"/>
                  </a:cubicBezTo>
                  <a:cubicBezTo>
                    <a:pt x="23" y="46"/>
                    <a:pt x="24" y="46"/>
                    <a:pt x="24" y="4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9" y="37"/>
                    <a:pt x="39" y="37"/>
                    <a:pt x="40" y="36"/>
                  </a:cubicBezTo>
                  <a:cubicBezTo>
                    <a:pt x="41" y="36"/>
                    <a:pt x="43" y="36"/>
                    <a:pt x="46" y="37"/>
                  </a:cubicBezTo>
                  <a:cubicBezTo>
                    <a:pt x="46" y="37"/>
                    <a:pt x="47" y="37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3"/>
                    <a:pt x="20" y="52"/>
                    <a:pt x="20" y="52"/>
                  </a:cubicBezTo>
                  <a:moveTo>
                    <a:pt x="14" y="25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4"/>
                    <a:pt x="16" y="23"/>
                    <a:pt x="16" y="22"/>
                  </a:cubicBezTo>
                  <a:cubicBezTo>
                    <a:pt x="16" y="21"/>
                    <a:pt x="15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1" y="21"/>
                    <a:pt x="8" y="19"/>
                    <a:pt x="7" y="17"/>
                  </a:cubicBezTo>
                  <a:cubicBezTo>
                    <a:pt x="4" y="13"/>
                    <a:pt x="6" y="7"/>
                    <a:pt x="10" y="5"/>
                  </a:cubicBezTo>
                  <a:cubicBezTo>
                    <a:pt x="12" y="4"/>
                    <a:pt x="14" y="4"/>
                    <a:pt x="16" y="4"/>
                  </a:cubicBezTo>
                  <a:cubicBezTo>
                    <a:pt x="18" y="5"/>
                    <a:pt x="20" y="6"/>
                    <a:pt x="21" y="8"/>
                  </a:cubicBezTo>
                  <a:cubicBezTo>
                    <a:pt x="23" y="11"/>
                    <a:pt x="23" y="14"/>
                    <a:pt x="21" y="17"/>
                  </a:cubicBezTo>
                  <a:cubicBezTo>
                    <a:pt x="21" y="17"/>
                    <a:pt x="21" y="18"/>
                    <a:pt x="21" y="19"/>
                  </a:cubicBezTo>
                  <a:cubicBezTo>
                    <a:pt x="22" y="19"/>
                    <a:pt x="23" y="19"/>
                    <a:pt x="24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moveTo>
                    <a:pt x="37" y="32"/>
                  </a:moveTo>
                  <a:cubicBezTo>
                    <a:pt x="37" y="32"/>
                    <a:pt x="38" y="32"/>
                    <a:pt x="38" y="33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2" y="43"/>
                    <a:pt x="22" y="43"/>
                    <a:pt x="21" y="43"/>
                  </a:cubicBezTo>
                  <a:cubicBezTo>
                    <a:pt x="20" y="43"/>
                    <a:pt x="20" y="42"/>
                    <a:pt x="20" y="42"/>
                  </a:cubicBezTo>
                  <a:cubicBezTo>
                    <a:pt x="21" y="37"/>
                    <a:pt x="20" y="32"/>
                    <a:pt x="19" y="27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7"/>
                    <a:pt x="33" y="30"/>
                    <a:pt x="37" y="32"/>
                  </a:cubicBezTo>
                  <a:moveTo>
                    <a:pt x="51" y="39"/>
                  </a:moveTo>
                  <a:cubicBezTo>
                    <a:pt x="51" y="38"/>
                    <a:pt x="51" y="37"/>
                    <a:pt x="50" y="36"/>
                  </a:cubicBezTo>
                  <a:cubicBezTo>
                    <a:pt x="50" y="35"/>
                    <a:pt x="48" y="33"/>
                    <a:pt x="46" y="33"/>
                  </a:cubicBezTo>
                  <a:cubicBezTo>
                    <a:pt x="44" y="33"/>
                    <a:pt x="42" y="33"/>
                    <a:pt x="41" y="33"/>
                  </a:cubicBezTo>
                  <a:cubicBezTo>
                    <a:pt x="41" y="31"/>
                    <a:pt x="39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4" y="27"/>
                    <a:pt x="31" y="25"/>
                    <a:pt x="27" y="22"/>
                  </a:cubicBezTo>
                  <a:cubicBezTo>
                    <a:pt x="29" y="20"/>
                    <a:pt x="29" y="18"/>
                    <a:pt x="28" y="17"/>
                  </a:cubicBezTo>
                  <a:cubicBezTo>
                    <a:pt x="28" y="16"/>
                    <a:pt x="27" y="15"/>
                    <a:pt x="26" y="15"/>
                  </a:cubicBezTo>
                  <a:cubicBezTo>
                    <a:pt x="26" y="12"/>
                    <a:pt x="26" y="9"/>
                    <a:pt x="24" y="6"/>
                  </a:cubicBezTo>
                  <a:cubicBezTo>
                    <a:pt x="23" y="3"/>
                    <a:pt x="20" y="2"/>
                    <a:pt x="17" y="1"/>
                  </a:cubicBezTo>
                  <a:cubicBezTo>
                    <a:pt x="14" y="0"/>
                    <a:pt x="11" y="0"/>
                    <a:pt x="8" y="2"/>
                  </a:cubicBezTo>
                  <a:cubicBezTo>
                    <a:pt x="2" y="5"/>
                    <a:pt x="0" y="13"/>
                    <a:pt x="4" y="18"/>
                  </a:cubicBezTo>
                  <a:cubicBezTo>
                    <a:pt x="5" y="21"/>
                    <a:pt x="8" y="23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10" y="26"/>
                    <a:pt x="11" y="27"/>
                  </a:cubicBezTo>
                  <a:cubicBezTo>
                    <a:pt x="12" y="28"/>
                    <a:pt x="13" y="29"/>
                    <a:pt x="14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7" y="33"/>
                    <a:pt x="18" y="38"/>
                    <a:pt x="17" y="41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3"/>
                    <a:pt x="17" y="45"/>
                    <a:pt x="19" y="46"/>
                  </a:cubicBezTo>
                  <a:cubicBezTo>
                    <a:pt x="18" y="47"/>
                    <a:pt x="18" y="49"/>
                    <a:pt x="17" y="51"/>
                  </a:cubicBezTo>
                  <a:cubicBezTo>
                    <a:pt x="16" y="52"/>
                    <a:pt x="17" y="54"/>
                    <a:pt x="18" y="56"/>
                  </a:cubicBezTo>
                  <a:cubicBezTo>
                    <a:pt x="19" y="56"/>
                    <a:pt x="19" y="57"/>
                    <a:pt x="20" y="57"/>
                  </a:cubicBezTo>
                  <a:cubicBezTo>
                    <a:pt x="20" y="57"/>
                    <a:pt x="20" y="58"/>
                    <a:pt x="20" y="58"/>
                  </a:cubicBezTo>
                  <a:cubicBezTo>
                    <a:pt x="20" y="59"/>
                    <a:pt x="21" y="60"/>
                    <a:pt x="22" y="61"/>
                  </a:cubicBezTo>
                  <a:cubicBezTo>
                    <a:pt x="22" y="62"/>
                    <a:pt x="24" y="62"/>
                    <a:pt x="25" y="62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3" y="47"/>
                    <a:pt x="53" y="45"/>
                    <a:pt x="53" y="44"/>
                  </a:cubicBezTo>
                  <a:cubicBezTo>
                    <a:pt x="53" y="43"/>
                    <a:pt x="53" y="43"/>
                    <a:pt x="53" y="42"/>
                  </a:cubicBezTo>
                  <a:cubicBezTo>
                    <a:pt x="53" y="41"/>
                    <a:pt x="52" y="40"/>
                    <a:pt x="51" y="3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36">
              <a:extLst>
                <a:ext uri="{FF2B5EF4-FFF2-40B4-BE49-F238E27FC236}">
                  <a16:creationId xmlns:a16="http://schemas.microsoft.com/office/drawing/2014/main" id="{4444E01D-30F9-4437-BDFE-881DB1E32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" y="2048"/>
              <a:ext cx="44" cy="10"/>
            </a:xfrm>
            <a:custGeom>
              <a:avLst/>
              <a:gdLst>
                <a:gd name="T0" fmla="*/ 15 w 17"/>
                <a:gd name="T1" fmla="*/ 0 h 4"/>
                <a:gd name="T2" fmla="*/ 2 w 17"/>
                <a:gd name="T3" fmla="*/ 0 h 4"/>
                <a:gd name="T4" fmla="*/ 0 w 17"/>
                <a:gd name="T5" fmla="*/ 2 h 4"/>
                <a:gd name="T6" fmla="*/ 2 w 17"/>
                <a:gd name="T7" fmla="*/ 4 h 4"/>
                <a:gd name="T8" fmla="*/ 2 w 17"/>
                <a:gd name="T9" fmla="*/ 4 h 4"/>
                <a:gd name="T10" fmla="*/ 15 w 17"/>
                <a:gd name="T11" fmla="*/ 3 h 4"/>
                <a:gd name="T12" fmla="*/ 17 w 17"/>
                <a:gd name="T13" fmla="*/ 1 h 4"/>
                <a:gd name="T14" fmla="*/ 15 w 17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1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2"/>
                    <a:pt x="17" y="1"/>
                  </a:cubicBezTo>
                  <a:cubicBezTo>
                    <a:pt x="17" y="0"/>
                    <a:pt x="16" y="0"/>
                    <a:pt x="1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7">
              <a:extLst>
                <a:ext uri="{FF2B5EF4-FFF2-40B4-BE49-F238E27FC236}">
                  <a16:creationId xmlns:a16="http://schemas.microsoft.com/office/drawing/2014/main" id="{FBAD8E97-D1C8-4EF9-B48B-FB4F817E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" y="2004"/>
              <a:ext cx="41" cy="26"/>
            </a:xfrm>
            <a:custGeom>
              <a:avLst/>
              <a:gdLst>
                <a:gd name="T0" fmla="*/ 14 w 16"/>
                <a:gd name="T1" fmla="*/ 7 h 10"/>
                <a:gd name="T2" fmla="*/ 3 w 16"/>
                <a:gd name="T3" fmla="*/ 0 h 10"/>
                <a:gd name="T4" fmla="*/ 1 w 16"/>
                <a:gd name="T5" fmla="*/ 1 h 10"/>
                <a:gd name="T6" fmla="*/ 1 w 16"/>
                <a:gd name="T7" fmla="*/ 3 h 10"/>
                <a:gd name="T8" fmla="*/ 13 w 16"/>
                <a:gd name="T9" fmla="*/ 10 h 10"/>
                <a:gd name="T10" fmla="*/ 14 w 16"/>
                <a:gd name="T11" fmla="*/ 10 h 10"/>
                <a:gd name="T12" fmla="*/ 15 w 16"/>
                <a:gd name="T13" fmla="*/ 9 h 10"/>
                <a:gd name="T14" fmla="*/ 14 w 16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0">
                  <a:moveTo>
                    <a:pt x="14" y="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4" y="10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6" y="8"/>
                    <a:pt x="15" y="7"/>
                    <a:pt x="14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38">
              <a:extLst>
                <a:ext uri="{FF2B5EF4-FFF2-40B4-BE49-F238E27FC236}">
                  <a16:creationId xmlns:a16="http://schemas.microsoft.com/office/drawing/2014/main" id="{E3D4A156-9272-499F-88F3-01D1C699B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" y="1979"/>
              <a:ext cx="20" cy="38"/>
            </a:xfrm>
            <a:custGeom>
              <a:avLst/>
              <a:gdLst>
                <a:gd name="T0" fmla="*/ 4 w 8"/>
                <a:gd name="T1" fmla="*/ 14 h 15"/>
                <a:gd name="T2" fmla="*/ 6 w 8"/>
                <a:gd name="T3" fmla="*/ 15 h 15"/>
                <a:gd name="T4" fmla="*/ 7 w 8"/>
                <a:gd name="T5" fmla="*/ 15 h 15"/>
                <a:gd name="T6" fmla="*/ 8 w 8"/>
                <a:gd name="T7" fmla="*/ 13 h 15"/>
                <a:gd name="T8" fmla="*/ 3 w 8"/>
                <a:gd name="T9" fmla="*/ 1 h 15"/>
                <a:gd name="T10" fmla="*/ 1 w 8"/>
                <a:gd name="T11" fmla="*/ 0 h 15"/>
                <a:gd name="T12" fmla="*/ 0 w 8"/>
                <a:gd name="T13" fmla="*/ 2 h 15"/>
                <a:gd name="T14" fmla="*/ 4 w 8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5">
                  <a:moveTo>
                    <a:pt x="4" y="14"/>
                  </a:moveTo>
                  <a:cubicBezTo>
                    <a:pt x="5" y="15"/>
                    <a:pt x="5" y="15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8" y="15"/>
                    <a:pt x="8" y="14"/>
                    <a:pt x="8" y="1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lnTo>
                    <a:pt x="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39">
              <a:extLst>
                <a:ext uri="{FF2B5EF4-FFF2-40B4-BE49-F238E27FC236}">
                  <a16:creationId xmlns:a16="http://schemas.microsoft.com/office/drawing/2014/main" id="{6BC2D3BE-E429-4D4B-AF25-844EB515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0" y="1979"/>
              <a:ext cx="18" cy="38"/>
            </a:xfrm>
            <a:custGeom>
              <a:avLst/>
              <a:gdLst>
                <a:gd name="T0" fmla="*/ 2 w 7"/>
                <a:gd name="T1" fmla="*/ 15 h 15"/>
                <a:gd name="T2" fmla="*/ 2 w 7"/>
                <a:gd name="T3" fmla="*/ 15 h 15"/>
                <a:gd name="T4" fmla="*/ 4 w 7"/>
                <a:gd name="T5" fmla="*/ 13 h 15"/>
                <a:gd name="T6" fmla="*/ 7 w 7"/>
                <a:gd name="T7" fmla="*/ 2 h 15"/>
                <a:gd name="T8" fmla="*/ 6 w 7"/>
                <a:gd name="T9" fmla="*/ 0 h 15"/>
                <a:gd name="T10" fmla="*/ 3 w 7"/>
                <a:gd name="T11" fmla="*/ 1 h 15"/>
                <a:gd name="T12" fmla="*/ 0 w 7"/>
                <a:gd name="T13" fmla="*/ 12 h 15"/>
                <a:gd name="T14" fmla="*/ 2 w 7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4"/>
                    <a:pt x="4" y="1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8" name="Group 142">
            <a:extLst>
              <a:ext uri="{FF2B5EF4-FFF2-40B4-BE49-F238E27FC236}">
                <a16:creationId xmlns:a16="http://schemas.microsoft.com/office/drawing/2014/main" id="{C6A31AD4-D1E0-4D57-9CC3-301E84E0C8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33195" y="2848546"/>
            <a:ext cx="760412" cy="758825"/>
            <a:chOff x="4949" y="1776"/>
            <a:chExt cx="479" cy="478"/>
          </a:xfrm>
        </p:grpSpPr>
        <p:sp>
          <p:nvSpPr>
            <p:cNvPr id="169" name="AutoShape 141">
              <a:extLst>
                <a:ext uri="{FF2B5EF4-FFF2-40B4-BE49-F238E27FC236}">
                  <a16:creationId xmlns:a16="http://schemas.microsoft.com/office/drawing/2014/main" id="{EF446168-3C09-473A-AE91-3AC1E1062B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49" y="1776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3">
              <a:extLst>
                <a:ext uri="{FF2B5EF4-FFF2-40B4-BE49-F238E27FC236}">
                  <a16:creationId xmlns:a16="http://schemas.microsoft.com/office/drawing/2014/main" id="{8F9AE911-E02F-4BE9-93C9-62D8324C2E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1" y="1778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4">
              <a:extLst>
                <a:ext uri="{FF2B5EF4-FFF2-40B4-BE49-F238E27FC236}">
                  <a16:creationId xmlns:a16="http://schemas.microsoft.com/office/drawing/2014/main" id="{E58876E9-B60C-42EB-8603-71D2C5865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1977"/>
              <a:ext cx="22" cy="22"/>
            </a:xfrm>
            <a:custGeom>
              <a:avLst/>
              <a:gdLst>
                <a:gd name="T0" fmla="*/ 2 w 9"/>
                <a:gd name="T1" fmla="*/ 9 h 9"/>
                <a:gd name="T2" fmla="*/ 4 w 9"/>
                <a:gd name="T3" fmla="*/ 8 h 9"/>
                <a:gd name="T4" fmla="*/ 8 w 9"/>
                <a:gd name="T5" fmla="*/ 4 h 9"/>
                <a:gd name="T6" fmla="*/ 8 w 9"/>
                <a:gd name="T7" fmla="*/ 1 h 9"/>
                <a:gd name="T8" fmla="*/ 5 w 9"/>
                <a:gd name="T9" fmla="*/ 1 h 9"/>
                <a:gd name="T10" fmla="*/ 1 w 9"/>
                <a:gd name="T11" fmla="*/ 5 h 9"/>
                <a:gd name="T12" fmla="*/ 0 w 9"/>
                <a:gd name="T13" fmla="*/ 7 h 9"/>
                <a:gd name="T14" fmla="*/ 2 w 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2" y="9"/>
                  </a:moveTo>
                  <a:cubicBezTo>
                    <a:pt x="3" y="9"/>
                    <a:pt x="3" y="8"/>
                    <a:pt x="4" y="8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45">
              <a:extLst>
                <a:ext uri="{FF2B5EF4-FFF2-40B4-BE49-F238E27FC236}">
                  <a16:creationId xmlns:a16="http://schemas.microsoft.com/office/drawing/2014/main" id="{EE0C77EE-D30F-4826-9F78-838B395E7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" y="1899"/>
              <a:ext cx="17" cy="17"/>
            </a:xfrm>
            <a:custGeom>
              <a:avLst/>
              <a:gdLst>
                <a:gd name="T0" fmla="*/ 2 w 7"/>
                <a:gd name="T1" fmla="*/ 7 h 7"/>
                <a:gd name="T2" fmla="*/ 4 w 7"/>
                <a:gd name="T3" fmla="*/ 6 h 7"/>
                <a:gd name="T4" fmla="*/ 7 w 7"/>
                <a:gd name="T5" fmla="*/ 3 h 7"/>
                <a:gd name="T6" fmla="*/ 7 w 7"/>
                <a:gd name="T7" fmla="*/ 1 h 7"/>
                <a:gd name="T8" fmla="*/ 6 w 7"/>
                <a:gd name="T9" fmla="*/ 0 h 7"/>
                <a:gd name="T10" fmla="*/ 4 w 7"/>
                <a:gd name="T11" fmla="*/ 0 h 7"/>
                <a:gd name="T12" fmla="*/ 1 w 7"/>
                <a:gd name="T13" fmla="*/ 3 h 7"/>
                <a:gd name="T14" fmla="*/ 0 w 7"/>
                <a:gd name="T15" fmla="*/ 6 h 7"/>
                <a:gd name="T16" fmla="*/ 2 w 7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3" y="7"/>
                    <a:pt x="3" y="7"/>
                    <a:pt x="4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6"/>
                    <a:pt x="1" y="7"/>
                    <a:pt x="2" y="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98719EC7-3D5C-4938-AD5F-928FE762E4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2" y="1852"/>
              <a:ext cx="307" cy="306"/>
            </a:xfrm>
            <a:custGeom>
              <a:avLst/>
              <a:gdLst>
                <a:gd name="T0" fmla="*/ 44 w 125"/>
                <a:gd name="T1" fmla="*/ 72 h 125"/>
                <a:gd name="T2" fmla="*/ 34 w 125"/>
                <a:gd name="T3" fmla="*/ 88 h 125"/>
                <a:gd name="T4" fmla="*/ 35 w 125"/>
                <a:gd name="T5" fmla="*/ 92 h 125"/>
                <a:gd name="T6" fmla="*/ 50 w 125"/>
                <a:gd name="T7" fmla="*/ 78 h 125"/>
                <a:gd name="T8" fmla="*/ 21 w 125"/>
                <a:gd name="T9" fmla="*/ 117 h 125"/>
                <a:gd name="T10" fmla="*/ 7 w 125"/>
                <a:gd name="T11" fmla="*/ 118 h 125"/>
                <a:gd name="T12" fmla="*/ 7 w 125"/>
                <a:gd name="T13" fmla="*/ 118 h 125"/>
                <a:gd name="T14" fmla="*/ 8 w 125"/>
                <a:gd name="T15" fmla="*/ 104 h 125"/>
                <a:gd name="T16" fmla="*/ 31 w 125"/>
                <a:gd name="T17" fmla="*/ 44 h 125"/>
                <a:gd name="T18" fmla="*/ 81 w 125"/>
                <a:gd name="T19" fmla="*/ 91 h 125"/>
                <a:gd name="T20" fmla="*/ 78 w 125"/>
                <a:gd name="T21" fmla="*/ 97 h 125"/>
                <a:gd name="T22" fmla="*/ 75 w 125"/>
                <a:gd name="T23" fmla="*/ 97 h 125"/>
                <a:gd name="T24" fmla="*/ 52 w 125"/>
                <a:gd name="T25" fmla="*/ 74 h 125"/>
                <a:gd name="T26" fmla="*/ 52 w 125"/>
                <a:gd name="T27" fmla="*/ 74 h 125"/>
                <a:gd name="T28" fmla="*/ 28 w 125"/>
                <a:gd name="T29" fmla="*/ 50 h 125"/>
                <a:gd name="T30" fmla="*/ 75 w 125"/>
                <a:gd name="T31" fmla="*/ 5 h 125"/>
                <a:gd name="T32" fmla="*/ 77 w 125"/>
                <a:gd name="T33" fmla="*/ 10 h 125"/>
                <a:gd name="T34" fmla="*/ 84 w 125"/>
                <a:gd name="T35" fmla="*/ 13 h 125"/>
                <a:gd name="T36" fmla="*/ 82 w 125"/>
                <a:gd name="T37" fmla="*/ 25 h 125"/>
                <a:gd name="T38" fmla="*/ 83 w 125"/>
                <a:gd name="T39" fmla="*/ 29 h 125"/>
                <a:gd name="T40" fmla="*/ 93 w 125"/>
                <a:gd name="T41" fmla="*/ 21 h 125"/>
                <a:gd name="T42" fmla="*/ 94 w 125"/>
                <a:gd name="T43" fmla="*/ 30 h 125"/>
                <a:gd name="T44" fmla="*/ 98 w 125"/>
                <a:gd name="T45" fmla="*/ 34 h 125"/>
                <a:gd name="T46" fmla="*/ 108 w 125"/>
                <a:gd name="T47" fmla="*/ 36 h 125"/>
                <a:gd name="T48" fmla="*/ 111 w 125"/>
                <a:gd name="T49" fmla="*/ 44 h 125"/>
                <a:gd name="T50" fmla="*/ 121 w 125"/>
                <a:gd name="T51" fmla="*/ 50 h 125"/>
                <a:gd name="T52" fmla="*/ 78 w 125"/>
                <a:gd name="T53" fmla="*/ 83 h 125"/>
                <a:gd name="T54" fmla="*/ 87 w 125"/>
                <a:gd name="T55" fmla="*/ 71 h 125"/>
                <a:gd name="T56" fmla="*/ 75 w 125"/>
                <a:gd name="T57" fmla="*/ 80 h 125"/>
                <a:gd name="T58" fmla="*/ 85 w 125"/>
                <a:gd name="T59" fmla="*/ 61 h 125"/>
                <a:gd name="T60" fmla="*/ 82 w 125"/>
                <a:gd name="T61" fmla="*/ 58 h 125"/>
                <a:gd name="T62" fmla="*/ 63 w 125"/>
                <a:gd name="T63" fmla="*/ 68 h 125"/>
                <a:gd name="T64" fmla="*/ 87 w 125"/>
                <a:gd name="T65" fmla="*/ 41 h 125"/>
                <a:gd name="T66" fmla="*/ 60 w 125"/>
                <a:gd name="T67" fmla="*/ 65 h 125"/>
                <a:gd name="T68" fmla="*/ 75 w 125"/>
                <a:gd name="T69" fmla="*/ 38 h 125"/>
                <a:gd name="T70" fmla="*/ 72 w 125"/>
                <a:gd name="T71" fmla="*/ 36 h 125"/>
                <a:gd name="T72" fmla="*/ 46 w 125"/>
                <a:gd name="T73" fmla="*/ 50 h 125"/>
                <a:gd name="T74" fmla="*/ 61 w 125"/>
                <a:gd name="T75" fmla="*/ 33 h 125"/>
                <a:gd name="T76" fmla="*/ 57 w 125"/>
                <a:gd name="T77" fmla="*/ 33 h 125"/>
                <a:gd name="T78" fmla="*/ 40 w 125"/>
                <a:gd name="T79" fmla="*/ 44 h 125"/>
                <a:gd name="T80" fmla="*/ 4 w 125"/>
                <a:gd name="T81" fmla="*/ 121 h 125"/>
                <a:gd name="T82" fmla="*/ 15 w 125"/>
                <a:gd name="T83" fmla="*/ 125 h 125"/>
                <a:gd name="T84" fmla="*/ 56 w 125"/>
                <a:gd name="T85" fmla="*/ 84 h 125"/>
                <a:gd name="T86" fmla="*/ 81 w 125"/>
                <a:gd name="T87" fmla="*/ 100 h 125"/>
                <a:gd name="T88" fmla="*/ 84 w 125"/>
                <a:gd name="T89" fmla="*/ 89 h 125"/>
                <a:gd name="T90" fmla="*/ 125 w 125"/>
                <a:gd name="T91" fmla="*/ 50 h 125"/>
                <a:gd name="T92" fmla="*/ 118 w 125"/>
                <a:gd name="T93" fmla="*/ 40 h 125"/>
                <a:gd name="T94" fmla="*/ 116 w 125"/>
                <a:gd name="T95" fmla="*/ 39 h 125"/>
                <a:gd name="T96" fmla="*/ 112 w 125"/>
                <a:gd name="T97" fmla="*/ 36 h 125"/>
                <a:gd name="T98" fmla="*/ 106 w 125"/>
                <a:gd name="T99" fmla="*/ 29 h 125"/>
                <a:gd name="T100" fmla="*/ 99 w 125"/>
                <a:gd name="T101" fmla="*/ 29 h 125"/>
                <a:gd name="T102" fmla="*/ 100 w 125"/>
                <a:gd name="T103" fmla="*/ 22 h 125"/>
                <a:gd name="T104" fmla="*/ 85 w 125"/>
                <a:gd name="T105" fmla="*/ 8 h 125"/>
                <a:gd name="T106" fmla="*/ 82 w 125"/>
                <a:gd name="T107" fmla="*/ 5 h 125"/>
                <a:gd name="T108" fmla="*/ 80 w 125"/>
                <a:gd name="T109" fmla="*/ 3 h 125"/>
                <a:gd name="T110" fmla="*/ 75 w 125"/>
                <a:gd name="T111" fmla="*/ 0 h 125"/>
                <a:gd name="T112" fmla="*/ 37 w 125"/>
                <a:gd name="T113" fmla="*/ 41 h 125"/>
                <a:gd name="T114" fmla="*/ 25 w 125"/>
                <a:gd name="T115" fmla="*/ 44 h 125"/>
                <a:gd name="T116" fmla="*/ 25 w 125"/>
                <a:gd name="T117" fmla="*/ 53 h 125"/>
                <a:gd name="T118" fmla="*/ 5 w 125"/>
                <a:gd name="T119" fmla="*/ 101 h 125"/>
                <a:gd name="T120" fmla="*/ 4 w 125"/>
                <a:gd name="T121" fmla="*/ 12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5" h="125">
                  <a:moveTo>
                    <a:pt x="8" y="104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4" y="89"/>
                    <a:pt x="34" y="89"/>
                    <a:pt x="34" y="90"/>
                  </a:cubicBezTo>
                  <a:cubicBezTo>
                    <a:pt x="34" y="91"/>
                    <a:pt x="34" y="91"/>
                    <a:pt x="35" y="92"/>
                  </a:cubicBezTo>
                  <a:cubicBezTo>
                    <a:pt x="36" y="92"/>
                    <a:pt x="37" y="92"/>
                    <a:pt x="37" y="91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0" y="119"/>
                    <a:pt x="17" y="121"/>
                    <a:pt x="14" y="121"/>
                  </a:cubicBezTo>
                  <a:cubicBezTo>
                    <a:pt x="12" y="121"/>
                    <a:pt x="9" y="120"/>
                    <a:pt x="7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5" y="116"/>
                    <a:pt x="4" y="113"/>
                    <a:pt x="5" y="111"/>
                  </a:cubicBezTo>
                  <a:cubicBezTo>
                    <a:pt x="5" y="108"/>
                    <a:pt x="6" y="106"/>
                    <a:pt x="8" y="104"/>
                  </a:cubicBezTo>
                  <a:close/>
                  <a:moveTo>
                    <a:pt x="28" y="47"/>
                  </a:move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4"/>
                    <a:pt x="34" y="44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2" y="92"/>
                    <a:pt x="82" y="94"/>
                    <a:pt x="81" y="94"/>
                  </a:cubicBezTo>
                  <a:cubicBezTo>
                    <a:pt x="78" y="97"/>
                    <a:pt x="78" y="97"/>
                    <a:pt x="78" y="97"/>
                  </a:cubicBezTo>
                  <a:cubicBezTo>
                    <a:pt x="78" y="98"/>
                    <a:pt x="77" y="98"/>
                    <a:pt x="77" y="98"/>
                  </a:cubicBezTo>
                  <a:cubicBezTo>
                    <a:pt x="76" y="98"/>
                    <a:pt x="75" y="98"/>
                    <a:pt x="75" y="97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7" y="49"/>
                    <a:pt x="27" y="48"/>
                    <a:pt x="28" y="47"/>
                  </a:cubicBezTo>
                  <a:moveTo>
                    <a:pt x="75" y="5"/>
                  </a:moveTo>
                  <a:cubicBezTo>
                    <a:pt x="77" y="6"/>
                    <a:pt x="77" y="6"/>
                    <a:pt x="77" y="6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1"/>
                    <a:pt x="79" y="13"/>
                    <a:pt x="81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6"/>
                    <a:pt x="82" y="27"/>
                    <a:pt x="82" y="27"/>
                  </a:cubicBezTo>
                  <a:cubicBezTo>
                    <a:pt x="82" y="28"/>
                    <a:pt x="83" y="29"/>
                    <a:pt x="83" y="29"/>
                  </a:cubicBezTo>
                  <a:cubicBezTo>
                    <a:pt x="84" y="29"/>
                    <a:pt x="85" y="29"/>
                    <a:pt x="85" y="28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1"/>
                    <a:pt x="94" y="32"/>
                    <a:pt x="95" y="33"/>
                  </a:cubicBezTo>
                  <a:cubicBezTo>
                    <a:pt x="96" y="34"/>
                    <a:pt x="97" y="34"/>
                    <a:pt x="98" y="34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2"/>
                    <a:pt x="110" y="44"/>
                    <a:pt x="111" y="4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8" y="73"/>
                    <a:pt x="88" y="72"/>
                    <a:pt x="87" y="71"/>
                  </a:cubicBezTo>
                  <a:cubicBezTo>
                    <a:pt x="86" y="70"/>
                    <a:pt x="85" y="70"/>
                    <a:pt x="84" y="71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6" y="60"/>
                    <a:pt x="86" y="58"/>
                    <a:pt x="85" y="58"/>
                  </a:cubicBezTo>
                  <a:cubicBezTo>
                    <a:pt x="85" y="57"/>
                    <a:pt x="83" y="57"/>
                    <a:pt x="82" y="58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88" y="44"/>
                    <a:pt x="88" y="42"/>
                    <a:pt x="87" y="41"/>
                  </a:cubicBezTo>
                  <a:cubicBezTo>
                    <a:pt x="86" y="41"/>
                    <a:pt x="85" y="41"/>
                    <a:pt x="84" y="41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6" y="38"/>
                    <a:pt x="76" y="36"/>
                    <a:pt x="75" y="36"/>
                  </a:cubicBezTo>
                  <a:cubicBezTo>
                    <a:pt x="74" y="35"/>
                    <a:pt x="73" y="35"/>
                    <a:pt x="72" y="3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1" y="35"/>
                    <a:pt x="61" y="34"/>
                    <a:pt x="61" y="33"/>
                  </a:cubicBezTo>
                  <a:cubicBezTo>
                    <a:pt x="61" y="33"/>
                    <a:pt x="60" y="32"/>
                    <a:pt x="59" y="32"/>
                  </a:cubicBezTo>
                  <a:cubicBezTo>
                    <a:pt x="59" y="32"/>
                    <a:pt x="58" y="32"/>
                    <a:pt x="57" y="3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0" y="44"/>
                    <a:pt x="40" y="44"/>
                    <a:pt x="40" y="44"/>
                  </a:cubicBezTo>
                  <a:lnTo>
                    <a:pt x="75" y="5"/>
                  </a:lnTo>
                  <a:close/>
                  <a:moveTo>
                    <a:pt x="4" y="121"/>
                  </a:moveTo>
                  <a:cubicBezTo>
                    <a:pt x="7" y="123"/>
                    <a:pt x="10" y="125"/>
                    <a:pt x="14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8" y="125"/>
                    <a:pt x="22" y="123"/>
                    <a:pt x="24" y="120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5" y="103"/>
                    <a:pt x="79" y="103"/>
                    <a:pt x="81" y="100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86" y="95"/>
                    <a:pt x="86" y="91"/>
                    <a:pt x="84" y="89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5" y="52"/>
                    <a:pt x="125" y="51"/>
                    <a:pt x="125" y="50"/>
                  </a:cubicBezTo>
                  <a:cubicBezTo>
                    <a:pt x="125" y="50"/>
                    <a:pt x="125" y="49"/>
                    <a:pt x="124" y="48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7" y="39"/>
                    <a:pt x="116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5"/>
                    <a:pt x="112" y="34"/>
                    <a:pt x="112" y="34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6" y="28"/>
                    <a:pt x="104" y="28"/>
                    <a:pt x="103" y="28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1" y="24"/>
                    <a:pt x="100" y="23"/>
                    <a:pt x="100" y="22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8"/>
                    <a:pt x="85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2" y="4"/>
                    <a:pt x="81" y="3"/>
                    <a:pt x="81" y="3"/>
                  </a:cubicBezTo>
                  <a:cubicBezTo>
                    <a:pt x="81" y="3"/>
                    <a:pt x="80" y="3"/>
                    <a:pt x="80" y="3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6" y="0"/>
                    <a:pt x="76" y="0"/>
                    <a:pt x="75" y="0"/>
                  </a:cubicBezTo>
                  <a:cubicBezTo>
                    <a:pt x="74" y="0"/>
                    <a:pt x="73" y="0"/>
                    <a:pt x="73" y="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4" y="39"/>
                    <a:pt x="30" y="39"/>
                    <a:pt x="28" y="41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4" y="46"/>
                    <a:pt x="23" y="47"/>
                    <a:pt x="23" y="49"/>
                  </a:cubicBezTo>
                  <a:cubicBezTo>
                    <a:pt x="23" y="50"/>
                    <a:pt x="24" y="52"/>
                    <a:pt x="25" y="53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2" y="103"/>
                    <a:pt x="1" y="107"/>
                    <a:pt x="0" y="111"/>
                  </a:cubicBezTo>
                  <a:cubicBezTo>
                    <a:pt x="0" y="114"/>
                    <a:pt x="2" y="118"/>
                    <a:pt x="4" y="121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47">
              <a:extLst>
                <a:ext uri="{FF2B5EF4-FFF2-40B4-BE49-F238E27FC236}">
                  <a16:creationId xmlns:a16="http://schemas.microsoft.com/office/drawing/2014/main" id="{45007E29-EF6A-4F2C-B711-0F1B69D77B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2" y="2107"/>
              <a:ext cx="34" cy="32"/>
            </a:xfrm>
            <a:custGeom>
              <a:avLst/>
              <a:gdLst>
                <a:gd name="T0" fmla="*/ 5 w 14"/>
                <a:gd name="T1" fmla="*/ 5 h 13"/>
                <a:gd name="T2" fmla="*/ 8 w 14"/>
                <a:gd name="T3" fmla="*/ 5 h 13"/>
                <a:gd name="T4" fmla="*/ 9 w 14"/>
                <a:gd name="T5" fmla="*/ 7 h 13"/>
                <a:gd name="T6" fmla="*/ 8 w 14"/>
                <a:gd name="T7" fmla="*/ 8 h 13"/>
                <a:gd name="T8" fmla="*/ 5 w 14"/>
                <a:gd name="T9" fmla="*/ 8 h 13"/>
                <a:gd name="T10" fmla="*/ 5 w 14"/>
                <a:gd name="T11" fmla="*/ 7 h 13"/>
                <a:gd name="T12" fmla="*/ 5 w 14"/>
                <a:gd name="T13" fmla="*/ 5 h 13"/>
                <a:gd name="T14" fmla="*/ 7 w 14"/>
                <a:gd name="T15" fmla="*/ 13 h 13"/>
                <a:gd name="T16" fmla="*/ 11 w 14"/>
                <a:gd name="T17" fmla="*/ 11 h 13"/>
                <a:gd name="T18" fmla="*/ 12 w 14"/>
                <a:gd name="T19" fmla="*/ 3 h 13"/>
                <a:gd name="T20" fmla="*/ 4 w 14"/>
                <a:gd name="T21" fmla="*/ 1 h 13"/>
                <a:gd name="T22" fmla="*/ 1 w 14"/>
                <a:gd name="T23" fmla="*/ 8 h 13"/>
                <a:gd name="T24" fmla="*/ 7 w 14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5" y="5"/>
                  </a:moveTo>
                  <a:cubicBezTo>
                    <a:pt x="6" y="4"/>
                    <a:pt x="7" y="4"/>
                    <a:pt x="8" y="5"/>
                  </a:cubicBezTo>
                  <a:cubicBezTo>
                    <a:pt x="8" y="5"/>
                    <a:pt x="9" y="6"/>
                    <a:pt x="9" y="7"/>
                  </a:cubicBezTo>
                  <a:cubicBezTo>
                    <a:pt x="9" y="7"/>
                    <a:pt x="8" y="8"/>
                    <a:pt x="8" y="8"/>
                  </a:cubicBezTo>
                  <a:cubicBezTo>
                    <a:pt x="7" y="9"/>
                    <a:pt x="6" y="9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6"/>
                    <a:pt x="5" y="5"/>
                    <a:pt x="5" y="5"/>
                  </a:cubicBezTo>
                  <a:close/>
                  <a:moveTo>
                    <a:pt x="7" y="13"/>
                  </a:moveTo>
                  <a:cubicBezTo>
                    <a:pt x="8" y="13"/>
                    <a:pt x="10" y="12"/>
                    <a:pt x="11" y="11"/>
                  </a:cubicBezTo>
                  <a:cubicBezTo>
                    <a:pt x="13" y="9"/>
                    <a:pt x="14" y="6"/>
                    <a:pt x="12" y="3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2" y="2"/>
                    <a:pt x="0" y="5"/>
                    <a:pt x="1" y="8"/>
                  </a:cubicBezTo>
                  <a:cubicBezTo>
                    <a:pt x="1" y="11"/>
                    <a:pt x="4" y="13"/>
                    <a:pt x="7" y="13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5" name="Group 150">
            <a:extLst>
              <a:ext uri="{FF2B5EF4-FFF2-40B4-BE49-F238E27FC236}">
                <a16:creationId xmlns:a16="http://schemas.microsoft.com/office/drawing/2014/main" id="{15C2985C-FDAC-47C6-9DB6-805C8FD69C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2564" y="2819971"/>
            <a:ext cx="842962" cy="841375"/>
            <a:chOff x="4425" y="1782"/>
            <a:chExt cx="531" cy="530"/>
          </a:xfrm>
        </p:grpSpPr>
        <p:sp>
          <p:nvSpPr>
            <p:cNvPr id="176" name="AutoShape 149">
              <a:extLst>
                <a:ext uri="{FF2B5EF4-FFF2-40B4-BE49-F238E27FC236}">
                  <a16:creationId xmlns:a16="http://schemas.microsoft.com/office/drawing/2014/main" id="{6C58C60D-8F9E-41E2-A4C0-991F1DEB06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25" y="1782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51">
              <a:extLst>
                <a:ext uri="{FF2B5EF4-FFF2-40B4-BE49-F238E27FC236}">
                  <a16:creationId xmlns:a16="http://schemas.microsoft.com/office/drawing/2014/main" id="{9CE44D23-5278-4737-8F6F-8B0F7A02D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1782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52">
              <a:extLst>
                <a:ext uri="{FF2B5EF4-FFF2-40B4-BE49-F238E27FC236}">
                  <a16:creationId xmlns:a16="http://schemas.microsoft.com/office/drawing/2014/main" id="{61E72394-8E7E-4C8C-8AEB-78C57C9F1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" y="1800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53">
              <a:extLst>
                <a:ext uri="{FF2B5EF4-FFF2-40B4-BE49-F238E27FC236}">
                  <a16:creationId xmlns:a16="http://schemas.microsoft.com/office/drawing/2014/main" id="{E95C6B22-9E9B-488C-9714-06840E6CA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" y="2007"/>
              <a:ext cx="24" cy="23"/>
            </a:xfrm>
            <a:custGeom>
              <a:avLst/>
              <a:gdLst>
                <a:gd name="T0" fmla="*/ 2 w 9"/>
                <a:gd name="T1" fmla="*/ 9 h 9"/>
                <a:gd name="T2" fmla="*/ 4 w 9"/>
                <a:gd name="T3" fmla="*/ 8 h 9"/>
                <a:gd name="T4" fmla="*/ 8 w 9"/>
                <a:gd name="T5" fmla="*/ 4 h 9"/>
                <a:gd name="T6" fmla="*/ 8 w 9"/>
                <a:gd name="T7" fmla="*/ 1 h 9"/>
                <a:gd name="T8" fmla="*/ 5 w 9"/>
                <a:gd name="T9" fmla="*/ 1 h 9"/>
                <a:gd name="T10" fmla="*/ 1 w 9"/>
                <a:gd name="T11" fmla="*/ 5 h 9"/>
                <a:gd name="T12" fmla="*/ 0 w 9"/>
                <a:gd name="T13" fmla="*/ 7 h 9"/>
                <a:gd name="T14" fmla="*/ 2 w 9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">
                  <a:moveTo>
                    <a:pt x="2" y="9"/>
                  </a:moveTo>
                  <a:cubicBezTo>
                    <a:pt x="3" y="9"/>
                    <a:pt x="3" y="8"/>
                    <a:pt x="4" y="8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54">
              <a:extLst>
                <a:ext uri="{FF2B5EF4-FFF2-40B4-BE49-F238E27FC236}">
                  <a16:creationId xmlns:a16="http://schemas.microsoft.com/office/drawing/2014/main" id="{35EC7D2F-E136-44EA-A84B-6562C3AE5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1925"/>
              <a:ext cx="18" cy="18"/>
            </a:xfrm>
            <a:custGeom>
              <a:avLst/>
              <a:gdLst>
                <a:gd name="T0" fmla="*/ 2 w 7"/>
                <a:gd name="T1" fmla="*/ 7 h 7"/>
                <a:gd name="T2" fmla="*/ 4 w 7"/>
                <a:gd name="T3" fmla="*/ 6 h 7"/>
                <a:gd name="T4" fmla="*/ 7 w 7"/>
                <a:gd name="T5" fmla="*/ 3 h 7"/>
                <a:gd name="T6" fmla="*/ 7 w 7"/>
                <a:gd name="T7" fmla="*/ 1 h 7"/>
                <a:gd name="T8" fmla="*/ 6 w 7"/>
                <a:gd name="T9" fmla="*/ 0 h 7"/>
                <a:gd name="T10" fmla="*/ 4 w 7"/>
                <a:gd name="T11" fmla="*/ 0 h 7"/>
                <a:gd name="T12" fmla="*/ 1 w 7"/>
                <a:gd name="T13" fmla="*/ 3 h 7"/>
                <a:gd name="T14" fmla="*/ 0 w 7"/>
                <a:gd name="T15" fmla="*/ 6 h 7"/>
                <a:gd name="T16" fmla="*/ 2 w 7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3" y="7"/>
                    <a:pt x="3" y="7"/>
                    <a:pt x="4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6"/>
                    <a:pt x="1" y="7"/>
                    <a:pt x="2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5">
              <a:extLst>
                <a:ext uri="{FF2B5EF4-FFF2-40B4-BE49-F238E27FC236}">
                  <a16:creationId xmlns:a16="http://schemas.microsoft.com/office/drawing/2014/main" id="{B33B07DD-5A8E-434C-9EB0-F213EAE78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" y="1877"/>
              <a:ext cx="321" cy="320"/>
            </a:xfrm>
            <a:custGeom>
              <a:avLst/>
              <a:gdLst>
                <a:gd name="T0" fmla="*/ 44 w 125"/>
                <a:gd name="T1" fmla="*/ 72 h 125"/>
                <a:gd name="T2" fmla="*/ 34 w 125"/>
                <a:gd name="T3" fmla="*/ 88 h 125"/>
                <a:gd name="T4" fmla="*/ 35 w 125"/>
                <a:gd name="T5" fmla="*/ 92 h 125"/>
                <a:gd name="T6" fmla="*/ 50 w 125"/>
                <a:gd name="T7" fmla="*/ 78 h 125"/>
                <a:gd name="T8" fmla="*/ 21 w 125"/>
                <a:gd name="T9" fmla="*/ 117 h 125"/>
                <a:gd name="T10" fmla="*/ 7 w 125"/>
                <a:gd name="T11" fmla="*/ 118 h 125"/>
                <a:gd name="T12" fmla="*/ 7 w 125"/>
                <a:gd name="T13" fmla="*/ 118 h 125"/>
                <a:gd name="T14" fmla="*/ 8 w 125"/>
                <a:gd name="T15" fmla="*/ 104 h 125"/>
                <a:gd name="T16" fmla="*/ 31 w 125"/>
                <a:gd name="T17" fmla="*/ 44 h 125"/>
                <a:gd name="T18" fmla="*/ 81 w 125"/>
                <a:gd name="T19" fmla="*/ 91 h 125"/>
                <a:gd name="T20" fmla="*/ 78 w 125"/>
                <a:gd name="T21" fmla="*/ 97 h 125"/>
                <a:gd name="T22" fmla="*/ 75 w 125"/>
                <a:gd name="T23" fmla="*/ 97 h 125"/>
                <a:gd name="T24" fmla="*/ 52 w 125"/>
                <a:gd name="T25" fmla="*/ 74 h 125"/>
                <a:gd name="T26" fmla="*/ 52 w 125"/>
                <a:gd name="T27" fmla="*/ 74 h 125"/>
                <a:gd name="T28" fmla="*/ 28 w 125"/>
                <a:gd name="T29" fmla="*/ 50 h 125"/>
                <a:gd name="T30" fmla="*/ 75 w 125"/>
                <a:gd name="T31" fmla="*/ 5 h 125"/>
                <a:gd name="T32" fmla="*/ 77 w 125"/>
                <a:gd name="T33" fmla="*/ 10 h 125"/>
                <a:gd name="T34" fmla="*/ 84 w 125"/>
                <a:gd name="T35" fmla="*/ 13 h 125"/>
                <a:gd name="T36" fmla="*/ 82 w 125"/>
                <a:gd name="T37" fmla="*/ 25 h 125"/>
                <a:gd name="T38" fmla="*/ 83 w 125"/>
                <a:gd name="T39" fmla="*/ 29 h 125"/>
                <a:gd name="T40" fmla="*/ 93 w 125"/>
                <a:gd name="T41" fmla="*/ 21 h 125"/>
                <a:gd name="T42" fmla="*/ 94 w 125"/>
                <a:gd name="T43" fmla="*/ 30 h 125"/>
                <a:gd name="T44" fmla="*/ 98 w 125"/>
                <a:gd name="T45" fmla="*/ 34 h 125"/>
                <a:gd name="T46" fmla="*/ 108 w 125"/>
                <a:gd name="T47" fmla="*/ 36 h 125"/>
                <a:gd name="T48" fmla="*/ 111 w 125"/>
                <a:gd name="T49" fmla="*/ 44 h 125"/>
                <a:gd name="T50" fmla="*/ 121 w 125"/>
                <a:gd name="T51" fmla="*/ 50 h 125"/>
                <a:gd name="T52" fmla="*/ 78 w 125"/>
                <a:gd name="T53" fmla="*/ 83 h 125"/>
                <a:gd name="T54" fmla="*/ 87 w 125"/>
                <a:gd name="T55" fmla="*/ 71 h 125"/>
                <a:gd name="T56" fmla="*/ 75 w 125"/>
                <a:gd name="T57" fmla="*/ 80 h 125"/>
                <a:gd name="T58" fmla="*/ 85 w 125"/>
                <a:gd name="T59" fmla="*/ 61 h 125"/>
                <a:gd name="T60" fmla="*/ 82 w 125"/>
                <a:gd name="T61" fmla="*/ 58 h 125"/>
                <a:gd name="T62" fmla="*/ 63 w 125"/>
                <a:gd name="T63" fmla="*/ 68 h 125"/>
                <a:gd name="T64" fmla="*/ 87 w 125"/>
                <a:gd name="T65" fmla="*/ 41 h 125"/>
                <a:gd name="T66" fmla="*/ 60 w 125"/>
                <a:gd name="T67" fmla="*/ 65 h 125"/>
                <a:gd name="T68" fmla="*/ 75 w 125"/>
                <a:gd name="T69" fmla="*/ 38 h 125"/>
                <a:gd name="T70" fmla="*/ 72 w 125"/>
                <a:gd name="T71" fmla="*/ 36 h 125"/>
                <a:gd name="T72" fmla="*/ 46 w 125"/>
                <a:gd name="T73" fmla="*/ 50 h 125"/>
                <a:gd name="T74" fmla="*/ 61 w 125"/>
                <a:gd name="T75" fmla="*/ 33 h 125"/>
                <a:gd name="T76" fmla="*/ 57 w 125"/>
                <a:gd name="T77" fmla="*/ 33 h 125"/>
                <a:gd name="T78" fmla="*/ 40 w 125"/>
                <a:gd name="T79" fmla="*/ 44 h 125"/>
                <a:gd name="T80" fmla="*/ 4 w 125"/>
                <a:gd name="T81" fmla="*/ 121 h 125"/>
                <a:gd name="T82" fmla="*/ 15 w 125"/>
                <a:gd name="T83" fmla="*/ 125 h 125"/>
                <a:gd name="T84" fmla="*/ 56 w 125"/>
                <a:gd name="T85" fmla="*/ 84 h 125"/>
                <a:gd name="T86" fmla="*/ 81 w 125"/>
                <a:gd name="T87" fmla="*/ 100 h 125"/>
                <a:gd name="T88" fmla="*/ 84 w 125"/>
                <a:gd name="T89" fmla="*/ 89 h 125"/>
                <a:gd name="T90" fmla="*/ 125 w 125"/>
                <a:gd name="T91" fmla="*/ 50 h 125"/>
                <a:gd name="T92" fmla="*/ 118 w 125"/>
                <a:gd name="T93" fmla="*/ 40 h 125"/>
                <a:gd name="T94" fmla="*/ 116 w 125"/>
                <a:gd name="T95" fmla="*/ 39 h 125"/>
                <a:gd name="T96" fmla="*/ 112 w 125"/>
                <a:gd name="T97" fmla="*/ 36 h 125"/>
                <a:gd name="T98" fmla="*/ 106 w 125"/>
                <a:gd name="T99" fmla="*/ 29 h 125"/>
                <a:gd name="T100" fmla="*/ 99 w 125"/>
                <a:gd name="T101" fmla="*/ 29 h 125"/>
                <a:gd name="T102" fmla="*/ 100 w 125"/>
                <a:gd name="T103" fmla="*/ 22 h 125"/>
                <a:gd name="T104" fmla="*/ 85 w 125"/>
                <a:gd name="T105" fmla="*/ 8 h 125"/>
                <a:gd name="T106" fmla="*/ 82 w 125"/>
                <a:gd name="T107" fmla="*/ 5 h 125"/>
                <a:gd name="T108" fmla="*/ 80 w 125"/>
                <a:gd name="T109" fmla="*/ 3 h 125"/>
                <a:gd name="T110" fmla="*/ 75 w 125"/>
                <a:gd name="T111" fmla="*/ 0 h 125"/>
                <a:gd name="T112" fmla="*/ 37 w 125"/>
                <a:gd name="T113" fmla="*/ 41 h 125"/>
                <a:gd name="T114" fmla="*/ 25 w 125"/>
                <a:gd name="T115" fmla="*/ 44 h 125"/>
                <a:gd name="T116" fmla="*/ 25 w 125"/>
                <a:gd name="T117" fmla="*/ 53 h 125"/>
                <a:gd name="T118" fmla="*/ 5 w 125"/>
                <a:gd name="T119" fmla="*/ 101 h 125"/>
                <a:gd name="T120" fmla="*/ 4 w 125"/>
                <a:gd name="T121" fmla="*/ 12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5" h="125">
                  <a:moveTo>
                    <a:pt x="8" y="104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4" y="89"/>
                    <a:pt x="34" y="89"/>
                    <a:pt x="34" y="90"/>
                  </a:cubicBezTo>
                  <a:cubicBezTo>
                    <a:pt x="34" y="91"/>
                    <a:pt x="34" y="91"/>
                    <a:pt x="35" y="92"/>
                  </a:cubicBezTo>
                  <a:cubicBezTo>
                    <a:pt x="36" y="92"/>
                    <a:pt x="37" y="92"/>
                    <a:pt x="37" y="91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0" y="119"/>
                    <a:pt x="17" y="121"/>
                    <a:pt x="14" y="121"/>
                  </a:cubicBezTo>
                  <a:cubicBezTo>
                    <a:pt x="12" y="121"/>
                    <a:pt x="9" y="120"/>
                    <a:pt x="7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5" y="116"/>
                    <a:pt x="4" y="113"/>
                    <a:pt x="5" y="111"/>
                  </a:cubicBezTo>
                  <a:cubicBezTo>
                    <a:pt x="5" y="108"/>
                    <a:pt x="6" y="106"/>
                    <a:pt x="8" y="104"/>
                  </a:cubicBezTo>
                  <a:close/>
                  <a:moveTo>
                    <a:pt x="28" y="47"/>
                  </a:move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4"/>
                    <a:pt x="34" y="44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2" y="92"/>
                    <a:pt x="82" y="94"/>
                    <a:pt x="81" y="94"/>
                  </a:cubicBezTo>
                  <a:cubicBezTo>
                    <a:pt x="78" y="97"/>
                    <a:pt x="78" y="97"/>
                    <a:pt x="78" y="97"/>
                  </a:cubicBezTo>
                  <a:cubicBezTo>
                    <a:pt x="78" y="98"/>
                    <a:pt x="77" y="98"/>
                    <a:pt x="77" y="98"/>
                  </a:cubicBezTo>
                  <a:cubicBezTo>
                    <a:pt x="76" y="98"/>
                    <a:pt x="75" y="98"/>
                    <a:pt x="75" y="97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7" y="49"/>
                    <a:pt x="27" y="48"/>
                    <a:pt x="28" y="47"/>
                  </a:cubicBezTo>
                  <a:moveTo>
                    <a:pt x="75" y="5"/>
                  </a:moveTo>
                  <a:cubicBezTo>
                    <a:pt x="77" y="6"/>
                    <a:pt x="77" y="6"/>
                    <a:pt x="77" y="6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1"/>
                    <a:pt x="79" y="13"/>
                    <a:pt x="81" y="13"/>
                  </a:cubicBezTo>
                  <a:cubicBezTo>
                    <a:pt x="84" y="13"/>
                    <a:pt x="84" y="13"/>
                    <a:pt x="84" y="13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6"/>
                    <a:pt x="82" y="27"/>
                    <a:pt x="82" y="27"/>
                  </a:cubicBezTo>
                  <a:cubicBezTo>
                    <a:pt x="82" y="28"/>
                    <a:pt x="83" y="29"/>
                    <a:pt x="83" y="29"/>
                  </a:cubicBezTo>
                  <a:cubicBezTo>
                    <a:pt x="84" y="29"/>
                    <a:pt x="85" y="29"/>
                    <a:pt x="85" y="28"/>
                  </a:cubicBezTo>
                  <a:cubicBezTo>
                    <a:pt x="93" y="21"/>
                    <a:pt x="93" y="21"/>
                    <a:pt x="93" y="21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1"/>
                    <a:pt x="94" y="32"/>
                    <a:pt x="95" y="33"/>
                  </a:cubicBezTo>
                  <a:cubicBezTo>
                    <a:pt x="96" y="34"/>
                    <a:pt x="97" y="34"/>
                    <a:pt x="98" y="34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2"/>
                    <a:pt x="110" y="44"/>
                    <a:pt x="111" y="44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8" y="73"/>
                    <a:pt x="88" y="72"/>
                    <a:pt x="87" y="71"/>
                  </a:cubicBezTo>
                  <a:cubicBezTo>
                    <a:pt x="86" y="70"/>
                    <a:pt x="85" y="70"/>
                    <a:pt x="84" y="71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6" y="60"/>
                    <a:pt x="86" y="58"/>
                    <a:pt x="85" y="58"/>
                  </a:cubicBezTo>
                  <a:cubicBezTo>
                    <a:pt x="85" y="57"/>
                    <a:pt x="83" y="57"/>
                    <a:pt x="82" y="58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88" y="44"/>
                    <a:pt x="88" y="42"/>
                    <a:pt x="87" y="41"/>
                  </a:cubicBezTo>
                  <a:cubicBezTo>
                    <a:pt x="86" y="41"/>
                    <a:pt x="85" y="41"/>
                    <a:pt x="84" y="41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6" y="38"/>
                    <a:pt x="76" y="36"/>
                    <a:pt x="75" y="36"/>
                  </a:cubicBezTo>
                  <a:cubicBezTo>
                    <a:pt x="74" y="35"/>
                    <a:pt x="73" y="35"/>
                    <a:pt x="72" y="3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1" y="35"/>
                    <a:pt x="61" y="34"/>
                    <a:pt x="61" y="33"/>
                  </a:cubicBezTo>
                  <a:cubicBezTo>
                    <a:pt x="61" y="33"/>
                    <a:pt x="60" y="32"/>
                    <a:pt x="59" y="32"/>
                  </a:cubicBezTo>
                  <a:cubicBezTo>
                    <a:pt x="59" y="32"/>
                    <a:pt x="58" y="32"/>
                    <a:pt x="57" y="3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0" y="44"/>
                    <a:pt x="40" y="44"/>
                    <a:pt x="40" y="44"/>
                  </a:cubicBezTo>
                  <a:lnTo>
                    <a:pt x="75" y="5"/>
                  </a:lnTo>
                  <a:close/>
                  <a:moveTo>
                    <a:pt x="4" y="121"/>
                  </a:moveTo>
                  <a:cubicBezTo>
                    <a:pt x="7" y="123"/>
                    <a:pt x="10" y="125"/>
                    <a:pt x="14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8" y="125"/>
                    <a:pt x="22" y="123"/>
                    <a:pt x="24" y="120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5" y="103"/>
                    <a:pt x="79" y="103"/>
                    <a:pt x="81" y="100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86" y="95"/>
                    <a:pt x="86" y="91"/>
                    <a:pt x="84" y="89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5" y="52"/>
                    <a:pt x="125" y="51"/>
                    <a:pt x="125" y="50"/>
                  </a:cubicBezTo>
                  <a:cubicBezTo>
                    <a:pt x="125" y="50"/>
                    <a:pt x="125" y="49"/>
                    <a:pt x="124" y="48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7" y="39"/>
                    <a:pt x="116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5"/>
                    <a:pt x="112" y="34"/>
                    <a:pt x="112" y="34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6" y="28"/>
                    <a:pt x="104" y="28"/>
                    <a:pt x="103" y="28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1" y="24"/>
                    <a:pt x="100" y="23"/>
                    <a:pt x="100" y="22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8"/>
                    <a:pt x="85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2" y="4"/>
                    <a:pt x="81" y="3"/>
                    <a:pt x="81" y="3"/>
                  </a:cubicBezTo>
                  <a:cubicBezTo>
                    <a:pt x="81" y="3"/>
                    <a:pt x="80" y="3"/>
                    <a:pt x="80" y="3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6" y="0"/>
                    <a:pt x="76" y="0"/>
                    <a:pt x="75" y="0"/>
                  </a:cubicBezTo>
                  <a:cubicBezTo>
                    <a:pt x="74" y="0"/>
                    <a:pt x="73" y="0"/>
                    <a:pt x="73" y="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4" y="39"/>
                    <a:pt x="30" y="39"/>
                    <a:pt x="28" y="41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4" y="46"/>
                    <a:pt x="23" y="47"/>
                    <a:pt x="23" y="49"/>
                  </a:cubicBezTo>
                  <a:cubicBezTo>
                    <a:pt x="23" y="50"/>
                    <a:pt x="24" y="52"/>
                    <a:pt x="25" y="53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2" y="103"/>
                    <a:pt x="1" y="107"/>
                    <a:pt x="0" y="111"/>
                  </a:cubicBezTo>
                  <a:cubicBezTo>
                    <a:pt x="0" y="114"/>
                    <a:pt x="2" y="118"/>
                    <a:pt x="4" y="1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56">
              <a:extLst>
                <a:ext uri="{FF2B5EF4-FFF2-40B4-BE49-F238E27FC236}">
                  <a16:creationId xmlns:a16="http://schemas.microsoft.com/office/drawing/2014/main" id="{3BFBF3E1-76AC-40E3-AF2C-A5ABB1133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9" y="2143"/>
              <a:ext cx="35" cy="33"/>
            </a:xfrm>
            <a:custGeom>
              <a:avLst/>
              <a:gdLst>
                <a:gd name="T0" fmla="*/ 5 w 14"/>
                <a:gd name="T1" fmla="*/ 5 h 13"/>
                <a:gd name="T2" fmla="*/ 8 w 14"/>
                <a:gd name="T3" fmla="*/ 5 h 13"/>
                <a:gd name="T4" fmla="*/ 9 w 14"/>
                <a:gd name="T5" fmla="*/ 7 h 13"/>
                <a:gd name="T6" fmla="*/ 8 w 14"/>
                <a:gd name="T7" fmla="*/ 8 h 13"/>
                <a:gd name="T8" fmla="*/ 5 w 14"/>
                <a:gd name="T9" fmla="*/ 8 h 13"/>
                <a:gd name="T10" fmla="*/ 5 w 14"/>
                <a:gd name="T11" fmla="*/ 7 h 13"/>
                <a:gd name="T12" fmla="*/ 5 w 14"/>
                <a:gd name="T13" fmla="*/ 5 h 13"/>
                <a:gd name="T14" fmla="*/ 7 w 14"/>
                <a:gd name="T15" fmla="*/ 13 h 13"/>
                <a:gd name="T16" fmla="*/ 11 w 14"/>
                <a:gd name="T17" fmla="*/ 11 h 13"/>
                <a:gd name="T18" fmla="*/ 12 w 14"/>
                <a:gd name="T19" fmla="*/ 3 h 13"/>
                <a:gd name="T20" fmla="*/ 4 w 14"/>
                <a:gd name="T21" fmla="*/ 1 h 13"/>
                <a:gd name="T22" fmla="*/ 1 w 14"/>
                <a:gd name="T23" fmla="*/ 8 h 13"/>
                <a:gd name="T24" fmla="*/ 7 w 14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5" y="5"/>
                  </a:moveTo>
                  <a:cubicBezTo>
                    <a:pt x="6" y="4"/>
                    <a:pt x="7" y="4"/>
                    <a:pt x="8" y="5"/>
                  </a:cubicBezTo>
                  <a:cubicBezTo>
                    <a:pt x="8" y="5"/>
                    <a:pt x="9" y="6"/>
                    <a:pt x="9" y="7"/>
                  </a:cubicBezTo>
                  <a:cubicBezTo>
                    <a:pt x="9" y="7"/>
                    <a:pt x="8" y="8"/>
                    <a:pt x="8" y="8"/>
                  </a:cubicBezTo>
                  <a:cubicBezTo>
                    <a:pt x="7" y="9"/>
                    <a:pt x="6" y="9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6"/>
                    <a:pt x="5" y="5"/>
                    <a:pt x="5" y="5"/>
                  </a:cubicBezTo>
                  <a:close/>
                  <a:moveTo>
                    <a:pt x="7" y="13"/>
                  </a:moveTo>
                  <a:cubicBezTo>
                    <a:pt x="8" y="13"/>
                    <a:pt x="10" y="12"/>
                    <a:pt x="11" y="11"/>
                  </a:cubicBezTo>
                  <a:cubicBezTo>
                    <a:pt x="13" y="9"/>
                    <a:pt x="14" y="6"/>
                    <a:pt x="12" y="3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2" y="2"/>
                    <a:pt x="0" y="5"/>
                    <a:pt x="1" y="8"/>
                  </a:cubicBezTo>
                  <a:cubicBezTo>
                    <a:pt x="1" y="11"/>
                    <a:pt x="4" y="13"/>
                    <a:pt x="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7" name="Group 159">
            <a:extLst>
              <a:ext uri="{FF2B5EF4-FFF2-40B4-BE49-F238E27FC236}">
                <a16:creationId xmlns:a16="http://schemas.microsoft.com/office/drawing/2014/main" id="{AFCD1E11-D43B-4168-A477-ACD4EB08D8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1228" y="4137856"/>
            <a:ext cx="758825" cy="758825"/>
            <a:chOff x="940" y="2602"/>
            <a:chExt cx="478" cy="478"/>
          </a:xfrm>
        </p:grpSpPr>
        <p:sp>
          <p:nvSpPr>
            <p:cNvPr id="188" name="AutoShape 158">
              <a:extLst>
                <a:ext uri="{FF2B5EF4-FFF2-40B4-BE49-F238E27FC236}">
                  <a16:creationId xmlns:a16="http://schemas.microsoft.com/office/drawing/2014/main" id="{9C54E1B4-4943-47F9-AA66-49D380DC2A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0" y="2602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60">
              <a:extLst>
                <a:ext uri="{FF2B5EF4-FFF2-40B4-BE49-F238E27FC236}">
                  <a16:creationId xmlns:a16="http://schemas.microsoft.com/office/drawing/2014/main" id="{E2273DDB-30DE-4BAB-A287-EA978699A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" y="2604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61">
              <a:extLst>
                <a:ext uri="{FF2B5EF4-FFF2-40B4-BE49-F238E27FC236}">
                  <a16:creationId xmlns:a16="http://schemas.microsoft.com/office/drawing/2014/main" id="{F641C23A-AD03-4B2E-B292-A66942510A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" y="2715"/>
              <a:ext cx="145" cy="262"/>
            </a:xfrm>
            <a:custGeom>
              <a:avLst/>
              <a:gdLst>
                <a:gd name="T0" fmla="*/ 6 w 59"/>
                <a:gd name="T1" fmla="*/ 75 h 107"/>
                <a:gd name="T2" fmla="*/ 6 w 59"/>
                <a:gd name="T3" fmla="*/ 71 h 107"/>
                <a:gd name="T4" fmla="*/ 43 w 59"/>
                <a:gd name="T5" fmla="*/ 73 h 107"/>
                <a:gd name="T6" fmla="*/ 32 w 59"/>
                <a:gd name="T7" fmla="*/ 103 h 107"/>
                <a:gd name="T8" fmla="*/ 15 w 59"/>
                <a:gd name="T9" fmla="*/ 79 h 107"/>
                <a:gd name="T10" fmla="*/ 32 w 59"/>
                <a:gd name="T11" fmla="*/ 103 h 107"/>
                <a:gd name="T12" fmla="*/ 11 w 59"/>
                <a:gd name="T13" fmla="*/ 22 h 107"/>
                <a:gd name="T14" fmla="*/ 13 w 59"/>
                <a:gd name="T15" fmla="*/ 39 h 107"/>
                <a:gd name="T16" fmla="*/ 17 w 59"/>
                <a:gd name="T17" fmla="*/ 39 h 107"/>
                <a:gd name="T18" fmla="*/ 19 w 59"/>
                <a:gd name="T19" fmla="*/ 15 h 107"/>
                <a:gd name="T20" fmla="*/ 21 w 59"/>
                <a:gd name="T21" fmla="*/ 37 h 107"/>
                <a:gd name="T22" fmla="*/ 26 w 59"/>
                <a:gd name="T23" fmla="*/ 37 h 107"/>
                <a:gd name="T24" fmla="*/ 28 w 59"/>
                <a:gd name="T25" fmla="*/ 4 h 107"/>
                <a:gd name="T26" fmla="*/ 30 w 59"/>
                <a:gd name="T27" fmla="*/ 37 h 107"/>
                <a:gd name="T28" fmla="*/ 34 w 59"/>
                <a:gd name="T29" fmla="*/ 37 h 107"/>
                <a:gd name="T30" fmla="*/ 36 w 59"/>
                <a:gd name="T31" fmla="*/ 13 h 107"/>
                <a:gd name="T32" fmla="*/ 38 w 59"/>
                <a:gd name="T33" fmla="*/ 41 h 107"/>
                <a:gd name="T34" fmla="*/ 42 w 59"/>
                <a:gd name="T35" fmla="*/ 43 h 107"/>
                <a:gd name="T36" fmla="*/ 53 w 59"/>
                <a:gd name="T37" fmla="*/ 33 h 107"/>
                <a:gd name="T38" fmla="*/ 55 w 59"/>
                <a:gd name="T39" fmla="*/ 35 h 107"/>
                <a:gd name="T40" fmla="*/ 39 w 59"/>
                <a:gd name="T41" fmla="*/ 52 h 107"/>
                <a:gd name="T42" fmla="*/ 38 w 59"/>
                <a:gd name="T43" fmla="*/ 66 h 107"/>
                <a:gd name="T44" fmla="*/ 9 w 59"/>
                <a:gd name="T45" fmla="*/ 24 h 107"/>
                <a:gd name="T46" fmla="*/ 43 w 59"/>
                <a:gd name="T47" fmla="*/ 54 h 107"/>
                <a:gd name="T48" fmla="*/ 59 w 59"/>
                <a:gd name="T49" fmla="*/ 35 h 107"/>
                <a:gd name="T50" fmla="*/ 48 w 59"/>
                <a:gd name="T51" fmla="*/ 30 h 107"/>
                <a:gd name="T52" fmla="*/ 43 w 59"/>
                <a:gd name="T53" fmla="*/ 15 h 107"/>
                <a:gd name="T54" fmla="*/ 34 w 59"/>
                <a:gd name="T55" fmla="*/ 9 h 107"/>
                <a:gd name="T56" fmla="*/ 28 w 59"/>
                <a:gd name="T57" fmla="*/ 0 h 107"/>
                <a:gd name="T58" fmla="*/ 21 w 59"/>
                <a:gd name="T59" fmla="*/ 11 h 107"/>
                <a:gd name="T60" fmla="*/ 13 w 59"/>
                <a:gd name="T61" fmla="*/ 17 h 107"/>
                <a:gd name="T62" fmla="*/ 7 w 59"/>
                <a:gd name="T63" fmla="*/ 18 h 107"/>
                <a:gd name="T64" fmla="*/ 4 w 59"/>
                <a:gd name="T65" fmla="*/ 67 h 107"/>
                <a:gd name="T66" fmla="*/ 6 w 59"/>
                <a:gd name="T67" fmla="*/ 79 h 107"/>
                <a:gd name="T68" fmla="*/ 11 w 59"/>
                <a:gd name="T69" fmla="*/ 105 h 107"/>
                <a:gd name="T70" fmla="*/ 34 w 59"/>
                <a:gd name="T71" fmla="*/ 107 h 107"/>
                <a:gd name="T72" fmla="*/ 36 w 59"/>
                <a:gd name="T73" fmla="*/ 79 h 107"/>
                <a:gd name="T74" fmla="*/ 47 w 59"/>
                <a:gd name="T75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9" h="107">
                  <a:moveTo>
                    <a:pt x="41" y="75"/>
                  </a:moveTo>
                  <a:cubicBezTo>
                    <a:pt x="6" y="75"/>
                    <a:pt x="6" y="75"/>
                    <a:pt x="6" y="75"/>
                  </a:cubicBezTo>
                  <a:cubicBezTo>
                    <a:pt x="5" y="75"/>
                    <a:pt x="4" y="74"/>
                    <a:pt x="4" y="73"/>
                  </a:cubicBezTo>
                  <a:cubicBezTo>
                    <a:pt x="4" y="72"/>
                    <a:pt x="5" y="71"/>
                    <a:pt x="6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1"/>
                    <a:pt x="43" y="72"/>
                    <a:pt x="43" y="73"/>
                  </a:cubicBezTo>
                  <a:cubicBezTo>
                    <a:pt x="43" y="74"/>
                    <a:pt x="42" y="75"/>
                    <a:pt x="41" y="75"/>
                  </a:cubicBezTo>
                  <a:moveTo>
                    <a:pt x="32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2" y="79"/>
                    <a:pt x="32" y="79"/>
                    <a:pt x="32" y="79"/>
                  </a:cubicBezTo>
                  <a:lnTo>
                    <a:pt x="32" y="103"/>
                  </a:lnTo>
                  <a:close/>
                  <a:moveTo>
                    <a:pt x="9" y="24"/>
                  </a:moveTo>
                  <a:cubicBezTo>
                    <a:pt x="9" y="23"/>
                    <a:pt x="9" y="22"/>
                    <a:pt x="11" y="22"/>
                  </a:cubicBezTo>
                  <a:cubicBezTo>
                    <a:pt x="12" y="22"/>
                    <a:pt x="13" y="23"/>
                    <a:pt x="13" y="24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4" y="41"/>
                    <a:pt x="15" y="41"/>
                  </a:cubicBezTo>
                  <a:cubicBezTo>
                    <a:pt x="16" y="41"/>
                    <a:pt x="17" y="40"/>
                    <a:pt x="17" y="39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6"/>
                    <a:pt x="18" y="15"/>
                    <a:pt x="19" y="15"/>
                  </a:cubicBezTo>
                  <a:cubicBezTo>
                    <a:pt x="20" y="15"/>
                    <a:pt x="21" y="16"/>
                    <a:pt x="21" y="1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8"/>
                    <a:pt x="22" y="39"/>
                    <a:pt x="24" y="39"/>
                  </a:cubicBezTo>
                  <a:cubicBezTo>
                    <a:pt x="25" y="39"/>
                    <a:pt x="26" y="38"/>
                    <a:pt x="26" y="3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5"/>
                    <a:pt x="27" y="4"/>
                    <a:pt x="28" y="4"/>
                  </a:cubicBezTo>
                  <a:cubicBezTo>
                    <a:pt x="29" y="4"/>
                    <a:pt x="30" y="5"/>
                    <a:pt x="30" y="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8"/>
                    <a:pt x="31" y="39"/>
                    <a:pt x="32" y="39"/>
                  </a:cubicBezTo>
                  <a:cubicBezTo>
                    <a:pt x="33" y="39"/>
                    <a:pt x="34" y="38"/>
                    <a:pt x="34" y="37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4"/>
                    <a:pt x="35" y="13"/>
                    <a:pt x="36" y="13"/>
                  </a:cubicBezTo>
                  <a:cubicBezTo>
                    <a:pt x="38" y="13"/>
                    <a:pt x="38" y="14"/>
                    <a:pt x="38" y="15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3"/>
                    <a:pt x="40" y="43"/>
                  </a:cubicBezTo>
                  <a:cubicBezTo>
                    <a:pt x="41" y="43"/>
                    <a:pt x="42" y="43"/>
                    <a:pt x="42" y="4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3"/>
                    <a:pt x="5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5" y="34"/>
                    <a:pt x="55" y="34"/>
                    <a:pt x="55" y="35"/>
                  </a:cubicBezTo>
                  <a:cubicBezTo>
                    <a:pt x="55" y="35"/>
                    <a:pt x="55" y="36"/>
                    <a:pt x="54" y="36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8" y="53"/>
                    <a:pt x="38" y="53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9" y="66"/>
                    <a:pt x="9" y="66"/>
                    <a:pt x="9" y="66"/>
                  </a:cubicBezTo>
                  <a:lnTo>
                    <a:pt x="9" y="24"/>
                  </a:lnTo>
                  <a:close/>
                  <a:moveTo>
                    <a:pt x="43" y="67"/>
                  </a:moveTo>
                  <a:cubicBezTo>
                    <a:pt x="43" y="54"/>
                    <a:pt x="43" y="54"/>
                    <a:pt x="43" y="54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9" y="38"/>
                    <a:pt x="59" y="37"/>
                    <a:pt x="59" y="35"/>
                  </a:cubicBezTo>
                  <a:cubicBezTo>
                    <a:pt x="59" y="33"/>
                    <a:pt x="59" y="32"/>
                    <a:pt x="58" y="30"/>
                  </a:cubicBezTo>
                  <a:cubicBezTo>
                    <a:pt x="55" y="28"/>
                    <a:pt x="51" y="28"/>
                    <a:pt x="48" y="30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3"/>
                    <a:pt x="42" y="11"/>
                    <a:pt x="40" y="10"/>
                  </a:cubicBezTo>
                  <a:cubicBezTo>
                    <a:pt x="38" y="9"/>
                    <a:pt x="36" y="8"/>
                    <a:pt x="34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3"/>
                    <a:pt x="31" y="0"/>
                    <a:pt x="28" y="0"/>
                  </a:cubicBezTo>
                  <a:cubicBezTo>
                    <a:pt x="24" y="0"/>
                    <a:pt x="21" y="3"/>
                    <a:pt x="21" y="7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9" y="11"/>
                    <a:pt x="17" y="11"/>
                    <a:pt x="16" y="12"/>
                  </a:cubicBezTo>
                  <a:cubicBezTo>
                    <a:pt x="14" y="13"/>
                    <a:pt x="13" y="15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1" y="17"/>
                    <a:pt x="9" y="17"/>
                    <a:pt x="7" y="18"/>
                  </a:cubicBezTo>
                  <a:cubicBezTo>
                    <a:pt x="5" y="20"/>
                    <a:pt x="4" y="22"/>
                    <a:pt x="4" y="24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" y="68"/>
                    <a:pt x="0" y="71"/>
                    <a:pt x="0" y="74"/>
                  </a:cubicBezTo>
                  <a:cubicBezTo>
                    <a:pt x="1" y="77"/>
                    <a:pt x="3" y="79"/>
                    <a:pt x="6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6"/>
                    <a:pt x="12" y="107"/>
                    <a:pt x="13" y="107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35" y="107"/>
                    <a:pt x="36" y="106"/>
                    <a:pt x="36" y="105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4" y="79"/>
                    <a:pt x="46" y="77"/>
                    <a:pt x="47" y="74"/>
                  </a:cubicBezTo>
                  <a:cubicBezTo>
                    <a:pt x="47" y="71"/>
                    <a:pt x="46" y="68"/>
                    <a:pt x="43" y="6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62">
              <a:extLst>
                <a:ext uri="{FF2B5EF4-FFF2-40B4-BE49-F238E27FC236}">
                  <a16:creationId xmlns:a16="http://schemas.microsoft.com/office/drawing/2014/main" id="{1D48A634-FB35-41F0-8BC9-08469D3E4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8" y="2715"/>
              <a:ext cx="144" cy="262"/>
            </a:xfrm>
            <a:custGeom>
              <a:avLst/>
              <a:gdLst>
                <a:gd name="T0" fmla="*/ 18 w 59"/>
                <a:gd name="T1" fmla="*/ 75 h 107"/>
                <a:gd name="T2" fmla="*/ 18 w 59"/>
                <a:gd name="T3" fmla="*/ 71 h 107"/>
                <a:gd name="T4" fmla="*/ 55 w 59"/>
                <a:gd name="T5" fmla="*/ 73 h 107"/>
                <a:gd name="T6" fmla="*/ 44 w 59"/>
                <a:gd name="T7" fmla="*/ 103 h 107"/>
                <a:gd name="T8" fmla="*/ 27 w 59"/>
                <a:gd name="T9" fmla="*/ 79 h 107"/>
                <a:gd name="T10" fmla="*/ 44 w 59"/>
                <a:gd name="T11" fmla="*/ 103 h 107"/>
                <a:gd name="T12" fmla="*/ 4 w 59"/>
                <a:gd name="T13" fmla="*/ 35 h 107"/>
                <a:gd name="T14" fmla="*/ 6 w 59"/>
                <a:gd name="T15" fmla="*/ 33 h 107"/>
                <a:gd name="T16" fmla="*/ 17 w 59"/>
                <a:gd name="T17" fmla="*/ 43 h 107"/>
                <a:gd name="T18" fmla="*/ 21 w 59"/>
                <a:gd name="T19" fmla="*/ 41 h 107"/>
                <a:gd name="T20" fmla="*/ 23 w 59"/>
                <a:gd name="T21" fmla="*/ 13 h 107"/>
                <a:gd name="T22" fmla="*/ 25 w 59"/>
                <a:gd name="T23" fmla="*/ 37 h 107"/>
                <a:gd name="T24" fmla="*/ 29 w 59"/>
                <a:gd name="T25" fmla="*/ 37 h 107"/>
                <a:gd name="T26" fmla="*/ 31 w 59"/>
                <a:gd name="T27" fmla="*/ 4 h 107"/>
                <a:gd name="T28" fmla="*/ 33 w 59"/>
                <a:gd name="T29" fmla="*/ 37 h 107"/>
                <a:gd name="T30" fmla="*/ 38 w 59"/>
                <a:gd name="T31" fmla="*/ 37 h 107"/>
                <a:gd name="T32" fmla="*/ 40 w 59"/>
                <a:gd name="T33" fmla="*/ 15 h 107"/>
                <a:gd name="T34" fmla="*/ 42 w 59"/>
                <a:gd name="T35" fmla="*/ 39 h 107"/>
                <a:gd name="T36" fmla="*/ 46 w 59"/>
                <a:gd name="T37" fmla="*/ 39 h 107"/>
                <a:gd name="T38" fmla="*/ 48 w 59"/>
                <a:gd name="T39" fmla="*/ 22 h 107"/>
                <a:gd name="T40" fmla="*/ 50 w 59"/>
                <a:gd name="T41" fmla="*/ 66 h 107"/>
                <a:gd name="T42" fmla="*/ 21 w 59"/>
                <a:gd name="T43" fmla="*/ 53 h 107"/>
                <a:gd name="T44" fmla="*/ 5 w 59"/>
                <a:gd name="T45" fmla="*/ 36 h 107"/>
                <a:gd name="T46" fmla="*/ 55 w 59"/>
                <a:gd name="T47" fmla="*/ 24 h 107"/>
                <a:gd name="T48" fmla="*/ 46 w 59"/>
                <a:gd name="T49" fmla="*/ 18 h 107"/>
                <a:gd name="T50" fmla="*/ 43 w 59"/>
                <a:gd name="T51" fmla="*/ 12 h 107"/>
                <a:gd name="T52" fmla="*/ 38 w 59"/>
                <a:gd name="T53" fmla="*/ 7 h 107"/>
                <a:gd name="T54" fmla="*/ 25 w 59"/>
                <a:gd name="T55" fmla="*/ 7 h 107"/>
                <a:gd name="T56" fmla="*/ 19 w 59"/>
                <a:gd name="T57" fmla="*/ 10 h 107"/>
                <a:gd name="T58" fmla="*/ 16 w 59"/>
                <a:gd name="T59" fmla="*/ 36 h 107"/>
                <a:gd name="T60" fmla="*/ 1 w 59"/>
                <a:gd name="T61" fmla="*/ 30 h 107"/>
                <a:gd name="T62" fmla="*/ 1 w 59"/>
                <a:gd name="T63" fmla="*/ 39 h 107"/>
                <a:gd name="T64" fmla="*/ 16 w 59"/>
                <a:gd name="T65" fmla="*/ 67 h 107"/>
                <a:gd name="T66" fmla="*/ 18 w 59"/>
                <a:gd name="T67" fmla="*/ 79 h 107"/>
                <a:gd name="T68" fmla="*/ 23 w 59"/>
                <a:gd name="T69" fmla="*/ 105 h 107"/>
                <a:gd name="T70" fmla="*/ 46 w 59"/>
                <a:gd name="T71" fmla="*/ 107 h 107"/>
                <a:gd name="T72" fmla="*/ 48 w 59"/>
                <a:gd name="T73" fmla="*/ 79 h 107"/>
                <a:gd name="T74" fmla="*/ 59 w 59"/>
                <a:gd name="T75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9" h="107">
                  <a:moveTo>
                    <a:pt x="53" y="75"/>
                  </a:moveTo>
                  <a:cubicBezTo>
                    <a:pt x="18" y="75"/>
                    <a:pt x="18" y="75"/>
                    <a:pt x="18" y="75"/>
                  </a:cubicBezTo>
                  <a:cubicBezTo>
                    <a:pt x="17" y="75"/>
                    <a:pt x="16" y="74"/>
                    <a:pt x="16" y="73"/>
                  </a:cubicBezTo>
                  <a:cubicBezTo>
                    <a:pt x="16" y="72"/>
                    <a:pt x="17" y="71"/>
                    <a:pt x="18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1"/>
                    <a:pt x="55" y="72"/>
                    <a:pt x="55" y="73"/>
                  </a:cubicBezTo>
                  <a:cubicBezTo>
                    <a:pt x="55" y="74"/>
                    <a:pt x="54" y="75"/>
                    <a:pt x="53" y="75"/>
                  </a:cubicBezTo>
                  <a:moveTo>
                    <a:pt x="44" y="103"/>
                  </a:moveTo>
                  <a:cubicBezTo>
                    <a:pt x="27" y="103"/>
                    <a:pt x="27" y="103"/>
                    <a:pt x="27" y="103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44" y="79"/>
                    <a:pt x="44" y="79"/>
                    <a:pt x="44" y="79"/>
                  </a:cubicBezTo>
                  <a:lnTo>
                    <a:pt x="44" y="103"/>
                  </a:lnTo>
                  <a:close/>
                  <a:moveTo>
                    <a:pt x="5" y="36"/>
                  </a:moveTo>
                  <a:cubicBezTo>
                    <a:pt x="4" y="36"/>
                    <a:pt x="4" y="35"/>
                    <a:pt x="4" y="35"/>
                  </a:cubicBezTo>
                  <a:cubicBezTo>
                    <a:pt x="4" y="34"/>
                    <a:pt x="4" y="34"/>
                    <a:pt x="5" y="33"/>
                  </a:cubicBezTo>
                  <a:cubicBezTo>
                    <a:pt x="5" y="33"/>
                    <a:pt x="5" y="33"/>
                    <a:pt x="6" y="33"/>
                  </a:cubicBezTo>
                  <a:cubicBezTo>
                    <a:pt x="7" y="33"/>
                    <a:pt x="7" y="33"/>
                    <a:pt x="8" y="3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8" y="43"/>
                    <a:pt x="19" y="43"/>
                  </a:cubicBezTo>
                  <a:cubicBezTo>
                    <a:pt x="20" y="43"/>
                    <a:pt x="21" y="42"/>
                    <a:pt x="21" y="4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3"/>
                    <a:pt x="23" y="13"/>
                  </a:cubicBezTo>
                  <a:cubicBezTo>
                    <a:pt x="24" y="13"/>
                    <a:pt x="25" y="14"/>
                    <a:pt x="25" y="15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9"/>
                    <a:pt x="27" y="39"/>
                  </a:cubicBezTo>
                  <a:cubicBezTo>
                    <a:pt x="28" y="39"/>
                    <a:pt x="29" y="38"/>
                    <a:pt x="29" y="3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5"/>
                    <a:pt x="30" y="4"/>
                    <a:pt x="31" y="4"/>
                  </a:cubicBezTo>
                  <a:cubicBezTo>
                    <a:pt x="32" y="4"/>
                    <a:pt x="33" y="5"/>
                    <a:pt x="33" y="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8"/>
                    <a:pt x="34" y="39"/>
                    <a:pt x="35" y="39"/>
                  </a:cubicBezTo>
                  <a:cubicBezTo>
                    <a:pt x="37" y="39"/>
                    <a:pt x="38" y="38"/>
                    <a:pt x="38" y="3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6"/>
                    <a:pt x="39" y="15"/>
                    <a:pt x="40" y="15"/>
                  </a:cubicBezTo>
                  <a:cubicBezTo>
                    <a:pt x="41" y="15"/>
                    <a:pt x="42" y="16"/>
                    <a:pt x="42" y="17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0"/>
                    <a:pt x="43" y="41"/>
                    <a:pt x="44" y="41"/>
                  </a:cubicBezTo>
                  <a:cubicBezTo>
                    <a:pt x="45" y="41"/>
                    <a:pt x="46" y="40"/>
                    <a:pt x="46" y="3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3"/>
                    <a:pt x="47" y="22"/>
                    <a:pt x="48" y="22"/>
                  </a:cubicBezTo>
                  <a:cubicBezTo>
                    <a:pt x="50" y="22"/>
                    <a:pt x="50" y="23"/>
                    <a:pt x="50" y="2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0" y="52"/>
                    <a:pt x="20" y="52"/>
                  </a:cubicBezTo>
                  <a:lnTo>
                    <a:pt x="5" y="36"/>
                  </a:lnTo>
                  <a:close/>
                  <a:moveTo>
                    <a:pt x="55" y="67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55" y="22"/>
                    <a:pt x="54" y="20"/>
                    <a:pt x="52" y="18"/>
                  </a:cubicBezTo>
                  <a:cubicBezTo>
                    <a:pt x="50" y="17"/>
                    <a:pt x="48" y="17"/>
                    <a:pt x="46" y="18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5"/>
                    <a:pt x="45" y="13"/>
                    <a:pt x="43" y="12"/>
                  </a:cubicBezTo>
                  <a:cubicBezTo>
                    <a:pt x="42" y="11"/>
                    <a:pt x="40" y="11"/>
                    <a:pt x="38" y="11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3"/>
                    <a:pt x="35" y="0"/>
                    <a:pt x="31" y="0"/>
                  </a:cubicBezTo>
                  <a:cubicBezTo>
                    <a:pt x="28" y="0"/>
                    <a:pt x="25" y="3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3" y="8"/>
                    <a:pt x="21" y="9"/>
                    <a:pt x="19" y="10"/>
                  </a:cubicBezTo>
                  <a:cubicBezTo>
                    <a:pt x="17" y="11"/>
                    <a:pt x="16" y="13"/>
                    <a:pt x="16" y="15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8" y="28"/>
                    <a:pt x="4" y="28"/>
                    <a:pt x="1" y="30"/>
                  </a:cubicBezTo>
                  <a:cubicBezTo>
                    <a:pt x="0" y="32"/>
                    <a:pt x="0" y="33"/>
                    <a:pt x="0" y="35"/>
                  </a:cubicBezTo>
                  <a:cubicBezTo>
                    <a:pt x="0" y="37"/>
                    <a:pt x="0" y="38"/>
                    <a:pt x="1" y="39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3" y="68"/>
                    <a:pt x="12" y="71"/>
                    <a:pt x="12" y="74"/>
                  </a:cubicBezTo>
                  <a:cubicBezTo>
                    <a:pt x="13" y="77"/>
                    <a:pt x="15" y="79"/>
                    <a:pt x="18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105"/>
                    <a:pt x="23" y="105"/>
                    <a:pt x="23" y="105"/>
                  </a:cubicBezTo>
                  <a:cubicBezTo>
                    <a:pt x="23" y="106"/>
                    <a:pt x="24" y="107"/>
                    <a:pt x="25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7" y="107"/>
                    <a:pt x="48" y="106"/>
                    <a:pt x="48" y="105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6" y="79"/>
                    <a:pt x="58" y="77"/>
                    <a:pt x="59" y="74"/>
                  </a:cubicBezTo>
                  <a:cubicBezTo>
                    <a:pt x="59" y="71"/>
                    <a:pt x="58" y="68"/>
                    <a:pt x="55" y="67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2" name="Group 165">
            <a:extLst>
              <a:ext uri="{FF2B5EF4-FFF2-40B4-BE49-F238E27FC236}">
                <a16:creationId xmlns:a16="http://schemas.microsoft.com/office/drawing/2014/main" id="{5E95C43B-5FEC-4D33-AD66-6E91F2F689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21" y="4096581"/>
            <a:ext cx="841375" cy="841375"/>
            <a:chOff x="299" y="2602"/>
            <a:chExt cx="530" cy="530"/>
          </a:xfrm>
        </p:grpSpPr>
        <p:sp>
          <p:nvSpPr>
            <p:cNvPr id="193" name="AutoShape 164">
              <a:extLst>
                <a:ext uri="{FF2B5EF4-FFF2-40B4-BE49-F238E27FC236}">
                  <a16:creationId xmlns:a16="http://schemas.microsoft.com/office/drawing/2014/main" id="{CE4C9A10-C56A-4C9C-87F9-2C86C159F3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9" y="260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166">
              <a:extLst>
                <a:ext uri="{FF2B5EF4-FFF2-40B4-BE49-F238E27FC236}">
                  <a16:creationId xmlns:a16="http://schemas.microsoft.com/office/drawing/2014/main" id="{7C189EBE-CAFE-4F44-AB55-5F96B1D48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" y="260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67">
              <a:extLst>
                <a:ext uri="{FF2B5EF4-FFF2-40B4-BE49-F238E27FC236}">
                  <a16:creationId xmlns:a16="http://schemas.microsoft.com/office/drawing/2014/main" id="{3C2064CD-39B9-4E38-BD1E-CD3A6B1D0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" y="262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68">
              <a:extLst>
                <a:ext uri="{FF2B5EF4-FFF2-40B4-BE49-F238E27FC236}">
                  <a16:creationId xmlns:a16="http://schemas.microsoft.com/office/drawing/2014/main" id="{EE1FF4ED-6BE8-4DFF-8A32-4F2828183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" y="2735"/>
              <a:ext cx="151" cy="274"/>
            </a:xfrm>
            <a:custGeom>
              <a:avLst/>
              <a:gdLst>
                <a:gd name="T0" fmla="*/ 6 w 59"/>
                <a:gd name="T1" fmla="*/ 75 h 107"/>
                <a:gd name="T2" fmla="*/ 6 w 59"/>
                <a:gd name="T3" fmla="*/ 71 h 107"/>
                <a:gd name="T4" fmla="*/ 43 w 59"/>
                <a:gd name="T5" fmla="*/ 73 h 107"/>
                <a:gd name="T6" fmla="*/ 32 w 59"/>
                <a:gd name="T7" fmla="*/ 103 h 107"/>
                <a:gd name="T8" fmla="*/ 15 w 59"/>
                <a:gd name="T9" fmla="*/ 79 h 107"/>
                <a:gd name="T10" fmla="*/ 32 w 59"/>
                <a:gd name="T11" fmla="*/ 103 h 107"/>
                <a:gd name="T12" fmla="*/ 11 w 59"/>
                <a:gd name="T13" fmla="*/ 22 h 107"/>
                <a:gd name="T14" fmla="*/ 13 w 59"/>
                <a:gd name="T15" fmla="*/ 39 h 107"/>
                <a:gd name="T16" fmla="*/ 17 w 59"/>
                <a:gd name="T17" fmla="*/ 39 h 107"/>
                <a:gd name="T18" fmla="*/ 19 w 59"/>
                <a:gd name="T19" fmla="*/ 15 h 107"/>
                <a:gd name="T20" fmla="*/ 21 w 59"/>
                <a:gd name="T21" fmla="*/ 37 h 107"/>
                <a:gd name="T22" fmla="*/ 26 w 59"/>
                <a:gd name="T23" fmla="*/ 37 h 107"/>
                <a:gd name="T24" fmla="*/ 28 w 59"/>
                <a:gd name="T25" fmla="*/ 4 h 107"/>
                <a:gd name="T26" fmla="*/ 30 w 59"/>
                <a:gd name="T27" fmla="*/ 37 h 107"/>
                <a:gd name="T28" fmla="*/ 34 w 59"/>
                <a:gd name="T29" fmla="*/ 37 h 107"/>
                <a:gd name="T30" fmla="*/ 36 w 59"/>
                <a:gd name="T31" fmla="*/ 13 h 107"/>
                <a:gd name="T32" fmla="*/ 38 w 59"/>
                <a:gd name="T33" fmla="*/ 41 h 107"/>
                <a:gd name="T34" fmla="*/ 42 w 59"/>
                <a:gd name="T35" fmla="*/ 43 h 107"/>
                <a:gd name="T36" fmla="*/ 53 w 59"/>
                <a:gd name="T37" fmla="*/ 33 h 107"/>
                <a:gd name="T38" fmla="*/ 55 w 59"/>
                <a:gd name="T39" fmla="*/ 35 h 107"/>
                <a:gd name="T40" fmla="*/ 39 w 59"/>
                <a:gd name="T41" fmla="*/ 52 h 107"/>
                <a:gd name="T42" fmla="*/ 38 w 59"/>
                <a:gd name="T43" fmla="*/ 66 h 107"/>
                <a:gd name="T44" fmla="*/ 9 w 59"/>
                <a:gd name="T45" fmla="*/ 24 h 107"/>
                <a:gd name="T46" fmla="*/ 43 w 59"/>
                <a:gd name="T47" fmla="*/ 54 h 107"/>
                <a:gd name="T48" fmla="*/ 59 w 59"/>
                <a:gd name="T49" fmla="*/ 35 h 107"/>
                <a:gd name="T50" fmla="*/ 48 w 59"/>
                <a:gd name="T51" fmla="*/ 30 h 107"/>
                <a:gd name="T52" fmla="*/ 43 w 59"/>
                <a:gd name="T53" fmla="*/ 15 h 107"/>
                <a:gd name="T54" fmla="*/ 34 w 59"/>
                <a:gd name="T55" fmla="*/ 9 h 107"/>
                <a:gd name="T56" fmla="*/ 28 w 59"/>
                <a:gd name="T57" fmla="*/ 0 h 107"/>
                <a:gd name="T58" fmla="*/ 21 w 59"/>
                <a:gd name="T59" fmla="*/ 11 h 107"/>
                <a:gd name="T60" fmla="*/ 13 w 59"/>
                <a:gd name="T61" fmla="*/ 17 h 107"/>
                <a:gd name="T62" fmla="*/ 7 w 59"/>
                <a:gd name="T63" fmla="*/ 18 h 107"/>
                <a:gd name="T64" fmla="*/ 4 w 59"/>
                <a:gd name="T65" fmla="*/ 67 h 107"/>
                <a:gd name="T66" fmla="*/ 6 w 59"/>
                <a:gd name="T67" fmla="*/ 79 h 107"/>
                <a:gd name="T68" fmla="*/ 11 w 59"/>
                <a:gd name="T69" fmla="*/ 105 h 107"/>
                <a:gd name="T70" fmla="*/ 34 w 59"/>
                <a:gd name="T71" fmla="*/ 107 h 107"/>
                <a:gd name="T72" fmla="*/ 36 w 59"/>
                <a:gd name="T73" fmla="*/ 79 h 107"/>
                <a:gd name="T74" fmla="*/ 47 w 59"/>
                <a:gd name="T75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9" h="107">
                  <a:moveTo>
                    <a:pt x="41" y="75"/>
                  </a:moveTo>
                  <a:cubicBezTo>
                    <a:pt x="6" y="75"/>
                    <a:pt x="6" y="75"/>
                    <a:pt x="6" y="75"/>
                  </a:cubicBezTo>
                  <a:cubicBezTo>
                    <a:pt x="5" y="75"/>
                    <a:pt x="4" y="74"/>
                    <a:pt x="4" y="73"/>
                  </a:cubicBezTo>
                  <a:cubicBezTo>
                    <a:pt x="4" y="72"/>
                    <a:pt x="5" y="71"/>
                    <a:pt x="6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1"/>
                    <a:pt x="43" y="72"/>
                    <a:pt x="43" y="73"/>
                  </a:cubicBezTo>
                  <a:cubicBezTo>
                    <a:pt x="43" y="74"/>
                    <a:pt x="42" y="75"/>
                    <a:pt x="41" y="75"/>
                  </a:cubicBezTo>
                  <a:moveTo>
                    <a:pt x="32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2" y="79"/>
                    <a:pt x="32" y="79"/>
                    <a:pt x="32" y="79"/>
                  </a:cubicBezTo>
                  <a:lnTo>
                    <a:pt x="32" y="103"/>
                  </a:lnTo>
                  <a:close/>
                  <a:moveTo>
                    <a:pt x="9" y="24"/>
                  </a:moveTo>
                  <a:cubicBezTo>
                    <a:pt x="9" y="23"/>
                    <a:pt x="9" y="22"/>
                    <a:pt x="11" y="22"/>
                  </a:cubicBezTo>
                  <a:cubicBezTo>
                    <a:pt x="12" y="22"/>
                    <a:pt x="13" y="23"/>
                    <a:pt x="13" y="24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4" y="41"/>
                    <a:pt x="15" y="41"/>
                  </a:cubicBezTo>
                  <a:cubicBezTo>
                    <a:pt x="16" y="41"/>
                    <a:pt x="17" y="40"/>
                    <a:pt x="17" y="39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6"/>
                    <a:pt x="18" y="15"/>
                    <a:pt x="19" y="15"/>
                  </a:cubicBezTo>
                  <a:cubicBezTo>
                    <a:pt x="20" y="15"/>
                    <a:pt x="21" y="16"/>
                    <a:pt x="21" y="1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8"/>
                    <a:pt x="22" y="39"/>
                    <a:pt x="24" y="39"/>
                  </a:cubicBezTo>
                  <a:cubicBezTo>
                    <a:pt x="25" y="39"/>
                    <a:pt x="26" y="38"/>
                    <a:pt x="26" y="3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5"/>
                    <a:pt x="27" y="4"/>
                    <a:pt x="28" y="4"/>
                  </a:cubicBezTo>
                  <a:cubicBezTo>
                    <a:pt x="29" y="4"/>
                    <a:pt x="30" y="5"/>
                    <a:pt x="30" y="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8"/>
                    <a:pt x="31" y="39"/>
                    <a:pt x="32" y="39"/>
                  </a:cubicBezTo>
                  <a:cubicBezTo>
                    <a:pt x="33" y="39"/>
                    <a:pt x="34" y="38"/>
                    <a:pt x="34" y="37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4"/>
                    <a:pt x="35" y="13"/>
                    <a:pt x="36" y="13"/>
                  </a:cubicBezTo>
                  <a:cubicBezTo>
                    <a:pt x="38" y="13"/>
                    <a:pt x="38" y="14"/>
                    <a:pt x="38" y="15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2"/>
                    <a:pt x="39" y="43"/>
                    <a:pt x="40" y="43"/>
                  </a:cubicBezTo>
                  <a:cubicBezTo>
                    <a:pt x="41" y="43"/>
                    <a:pt x="42" y="43"/>
                    <a:pt x="42" y="4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3"/>
                    <a:pt x="5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5" y="34"/>
                    <a:pt x="55" y="34"/>
                    <a:pt x="55" y="35"/>
                  </a:cubicBezTo>
                  <a:cubicBezTo>
                    <a:pt x="55" y="35"/>
                    <a:pt x="55" y="36"/>
                    <a:pt x="54" y="36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8" y="53"/>
                    <a:pt x="38" y="53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9" y="66"/>
                    <a:pt x="9" y="66"/>
                    <a:pt x="9" y="66"/>
                  </a:cubicBezTo>
                  <a:lnTo>
                    <a:pt x="9" y="24"/>
                  </a:lnTo>
                  <a:close/>
                  <a:moveTo>
                    <a:pt x="43" y="67"/>
                  </a:moveTo>
                  <a:cubicBezTo>
                    <a:pt x="43" y="54"/>
                    <a:pt x="43" y="54"/>
                    <a:pt x="43" y="54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9" y="38"/>
                    <a:pt x="59" y="37"/>
                    <a:pt x="59" y="35"/>
                  </a:cubicBezTo>
                  <a:cubicBezTo>
                    <a:pt x="59" y="33"/>
                    <a:pt x="59" y="32"/>
                    <a:pt x="58" y="30"/>
                  </a:cubicBezTo>
                  <a:cubicBezTo>
                    <a:pt x="55" y="28"/>
                    <a:pt x="51" y="28"/>
                    <a:pt x="48" y="30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3"/>
                    <a:pt x="42" y="11"/>
                    <a:pt x="40" y="10"/>
                  </a:cubicBezTo>
                  <a:cubicBezTo>
                    <a:pt x="38" y="9"/>
                    <a:pt x="36" y="8"/>
                    <a:pt x="34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3"/>
                    <a:pt x="31" y="0"/>
                    <a:pt x="28" y="0"/>
                  </a:cubicBezTo>
                  <a:cubicBezTo>
                    <a:pt x="24" y="0"/>
                    <a:pt x="21" y="3"/>
                    <a:pt x="21" y="7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9" y="11"/>
                    <a:pt x="17" y="11"/>
                    <a:pt x="16" y="12"/>
                  </a:cubicBezTo>
                  <a:cubicBezTo>
                    <a:pt x="14" y="13"/>
                    <a:pt x="13" y="15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1" y="17"/>
                    <a:pt x="9" y="17"/>
                    <a:pt x="7" y="18"/>
                  </a:cubicBezTo>
                  <a:cubicBezTo>
                    <a:pt x="5" y="20"/>
                    <a:pt x="4" y="22"/>
                    <a:pt x="4" y="24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" y="68"/>
                    <a:pt x="0" y="71"/>
                    <a:pt x="0" y="74"/>
                  </a:cubicBezTo>
                  <a:cubicBezTo>
                    <a:pt x="1" y="77"/>
                    <a:pt x="3" y="79"/>
                    <a:pt x="6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6"/>
                    <a:pt x="12" y="107"/>
                    <a:pt x="13" y="107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35" y="107"/>
                    <a:pt x="36" y="106"/>
                    <a:pt x="36" y="105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4" y="79"/>
                    <a:pt x="46" y="77"/>
                    <a:pt x="47" y="74"/>
                  </a:cubicBezTo>
                  <a:cubicBezTo>
                    <a:pt x="47" y="71"/>
                    <a:pt x="46" y="68"/>
                    <a:pt x="43" y="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69">
              <a:extLst>
                <a:ext uri="{FF2B5EF4-FFF2-40B4-BE49-F238E27FC236}">
                  <a16:creationId xmlns:a16="http://schemas.microsoft.com/office/drawing/2014/main" id="{FACD65CC-807A-4724-AEE9-CFB2DC8CC1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" y="2735"/>
              <a:ext cx="151" cy="274"/>
            </a:xfrm>
            <a:custGeom>
              <a:avLst/>
              <a:gdLst>
                <a:gd name="T0" fmla="*/ 18 w 59"/>
                <a:gd name="T1" fmla="*/ 75 h 107"/>
                <a:gd name="T2" fmla="*/ 18 w 59"/>
                <a:gd name="T3" fmla="*/ 71 h 107"/>
                <a:gd name="T4" fmla="*/ 55 w 59"/>
                <a:gd name="T5" fmla="*/ 73 h 107"/>
                <a:gd name="T6" fmla="*/ 44 w 59"/>
                <a:gd name="T7" fmla="*/ 103 h 107"/>
                <a:gd name="T8" fmla="*/ 27 w 59"/>
                <a:gd name="T9" fmla="*/ 79 h 107"/>
                <a:gd name="T10" fmla="*/ 44 w 59"/>
                <a:gd name="T11" fmla="*/ 103 h 107"/>
                <a:gd name="T12" fmla="*/ 4 w 59"/>
                <a:gd name="T13" fmla="*/ 35 h 107"/>
                <a:gd name="T14" fmla="*/ 6 w 59"/>
                <a:gd name="T15" fmla="*/ 33 h 107"/>
                <a:gd name="T16" fmla="*/ 17 w 59"/>
                <a:gd name="T17" fmla="*/ 43 h 107"/>
                <a:gd name="T18" fmla="*/ 21 w 59"/>
                <a:gd name="T19" fmla="*/ 41 h 107"/>
                <a:gd name="T20" fmla="*/ 23 w 59"/>
                <a:gd name="T21" fmla="*/ 13 h 107"/>
                <a:gd name="T22" fmla="*/ 25 w 59"/>
                <a:gd name="T23" fmla="*/ 37 h 107"/>
                <a:gd name="T24" fmla="*/ 29 w 59"/>
                <a:gd name="T25" fmla="*/ 37 h 107"/>
                <a:gd name="T26" fmla="*/ 31 w 59"/>
                <a:gd name="T27" fmla="*/ 4 h 107"/>
                <a:gd name="T28" fmla="*/ 33 w 59"/>
                <a:gd name="T29" fmla="*/ 37 h 107"/>
                <a:gd name="T30" fmla="*/ 38 w 59"/>
                <a:gd name="T31" fmla="*/ 37 h 107"/>
                <a:gd name="T32" fmla="*/ 40 w 59"/>
                <a:gd name="T33" fmla="*/ 15 h 107"/>
                <a:gd name="T34" fmla="*/ 42 w 59"/>
                <a:gd name="T35" fmla="*/ 39 h 107"/>
                <a:gd name="T36" fmla="*/ 46 w 59"/>
                <a:gd name="T37" fmla="*/ 39 h 107"/>
                <a:gd name="T38" fmla="*/ 48 w 59"/>
                <a:gd name="T39" fmla="*/ 22 h 107"/>
                <a:gd name="T40" fmla="*/ 50 w 59"/>
                <a:gd name="T41" fmla="*/ 66 h 107"/>
                <a:gd name="T42" fmla="*/ 21 w 59"/>
                <a:gd name="T43" fmla="*/ 53 h 107"/>
                <a:gd name="T44" fmla="*/ 5 w 59"/>
                <a:gd name="T45" fmla="*/ 36 h 107"/>
                <a:gd name="T46" fmla="*/ 55 w 59"/>
                <a:gd name="T47" fmla="*/ 24 h 107"/>
                <a:gd name="T48" fmla="*/ 46 w 59"/>
                <a:gd name="T49" fmla="*/ 18 h 107"/>
                <a:gd name="T50" fmla="*/ 43 w 59"/>
                <a:gd name="T51" fmla="*/ 12 h 107"/>
                <a:gd name="T52" fmla="*/ 38 w 59"/>
                <a:gd name="T53" fmla="*/ 7 h 107"/>
                <a:gd name="T54" fmla="*/ 25 w 59"/>
                <a:gd name="T55" fmla="*/ 7 h 107"/>
                <a:gd name="T56" fmla="*/ 19 w 59"/>
                <a:gd name="T57" fmla="*/ 10 h 107"/>
                <a:gd name="T58" fmla="*/ 16 w 59"/>
                <a:gd name="T59" fmla="*/ 36 h 107"/>
                <a:gd name="T60" fmla="*/ 1 w 59"/>
                <a:gd name="T61" fmla="*/ 30 h 107"/>
                <a:gd name="T62" fmla="*/ 1 w 59"/>
                <a:gd name="T63" fmla="*/ 39 h 107"/>
                <a:gd name="T64" fmla="*/ 16 w 59"/>
                <a:gd name="T65" fmla="*/ 67 h 107"/>
                <a:gd name="T66" fmla="*/ 18 w 59"/>
                <a:gd name="T67" fmla="*/ 79 h 107"/>
                <a:gd name="T68" fmla="*/ 23 w 59"/>
                <a:gd name="T69" fmla="*/ 105 h 107"/>
                <a:gd name="T70" fmla="*/ 46 w 59"/>
                <a:gd name="T71" fmla="*/ 107 h 107"/>
                <a:gd name="T72" fmla="*/ 48 w 59"/>
                <a:gd name="T73" fmla="*/ 79 h 107"/>
                <a:gd name="T74" fmla="*/ 59 w 59"/>
                <a:gd name="T75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9" h="107">
                  <a:moveTo>
                    <a:pt x="53" y="75"/>
                  </a:moveTo>
                  <a:cubicBezTo>
                    <a:pt x="18" y="75"/>
                    <a:pt x="18" y="75"/>
                    <a:pt x="18" y="75"/>
                  </a:cubicBezTo>
                  <a:cubicBezTo>
                    <a:pt x="17" y="75"/>
                    <a:pt x="16" y="74"/>
                    <a:pt x="16" y="73"/>
                  </a:cubicBezTo>
                  <a:cubicBezTo>
                    <a:pt x="16" y="72"/>
                    <a:pt x="17" y="71"/>
                    <a:pt x="18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1"/>
                    <a:pt x="55" y="72"/>
                    <a:pt x="55" y="73"/>
                  </a:cubicBezTo>
                  <a:cubicBezTo>
                    <a:pt x="55" y="74"/>
                    <a:pt x="54" y="75"/>
                    <a:pt x="53" y="75"/>
                  </a:cubicBezTo>
                  <a:moveTo>
                    <a:pt x="44" y="103"/>
                  </a:moveTo>
                  <a:cubicBezTo>
                    <a:pt x="27" y="103"/>
                    <a:pt x="27" y="103"/>
                    <a:pt x="27" y="103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44" y="79"/>
                    <a:pt x="44" y="79"/>
                    <a:pt x="44" y="79"/>
                  </a:cubicBezTo>
                  <a:lnTo>
                    <a:pt x="44" y="103"/>
                  </a:lnTo>
                  <a:close/>
                  <a:moveTo>
                    <a:pt x="5" y="36"/>
                  </a:moveTo>
                  <a:cubicBezTo>
                    <a:pt x="4" y="36"/>
                    <a:pt x="4" y="35"/>
                    <a:pt x="4" y="35"/>
                  </a:cubicBezTo>
                  <a:cubicBezTo>
                    <a:pt x="4" y="34"/>
                    <a:pt x="4" y="34"/>
                    <a:pt x="5" y="33"/>
                  </a:cubicBezTo>
                  <a:cubicBezTo>
                    <a:pt x="5" y="33"/>
                    <a:pt x="5" y="33"/>
                    <a:pt x="6" y="33"/>
                  </a:cubicBezTo>
                  <a:cubicBezTo>
                    <a:pt x="7" y="33"/>
                    <a:pt x="7" y="33"/>
                    <a:pt x="8" y="3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8" y="43"/>
                    <a:pt x="19" y="43"/>
                  </a:cubicBezTo>
                  <a:cubicBezTo>
                    <a:pt x="20" y="43"/>
                    <a:pt x="21" y="42"/>
                    <a:pt x="21" y="41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3"/>
                    <a:pt x="23" y="13"/>
                  </a:cubicBezTo>
                  <a:cubicBezTo>
                    <a:pt x="24" y="13"/>
                    <a:pt x="25" y="14"/>
                    <a:pt x="25" y="15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9"/>
                    <a:pt x="27" y="39"/>
                  </a:cubicBezTo>
                  <a:cubicBezTo>
                    <a:pt x="28" y="39"/>
                    <a:pt x="29" y="38"/>
                    <a:pt x="29" y="3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5"/>
                    <a:pt x="30" y="4"/>
                    <a:pt x="31" y="4"/>
                  </a:cubicBezTo>
                  <a:cubicBezTo>
                    <a:pt x="32" y="4"/>
                    <a:pt x="33" y="5"/>
                    <a:pt x="33" y="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8"/>
                    <a:pt x="34" y="39"/>
                    <a:pt x="35" y="39"/>
                  </a:cubicBezTo>
                  <a:cubicBezTo>
                    <a:pt x="37" y="39"/>
                    <a:pt x="38" y="38"/>
                    <a:pt x="38" y="3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6"/>
                    <a:pt x="39" y="15"/>
                    <a:pt x="40" y="15"/>
                  </a:cubicBezTo>
                  <a:cubicBezTo>
                    <a:pt x="41" y="15"/>
                    <a:pt x="42" y="16"/>
                    <a:pt x="42" y="17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40"/>
                    <a:pt x="43" y="41"/>
                    <a:pt x="44" y="41"/>
                  </a:cubicBezTo>
                  <a:cubicBezTo>
                    <a:pt x="45" y="41"/>
                    <a:pt x="46" y="40"/>
                    <a:pt x="46" y="3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3"/>
                    <a:pt x="47" y="22"/>
                    <a:pt x="48" y="22"/>
                  </a:cubicBezTo>
                  <a:cubicBezTo>
                    <a:pt x="50" y="22"/>
                    <a:pt x="50" y="23"/>
                    <a:pt x="50" y="2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0" y="52"/>
                    <a:pt x="20" y="52"/>
                  </a:cubicBezTo>
                  <a:lnTo>
                    <a:pt x="5" y="36"/>
                  </a:lnTo>
                  <a:close/>
                  <a:moveTo>
                    <a:pt x="55" y="67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55" y="22"/>
                    <a:pt x="54" y="20"/>
                    <a:pt x="52" y="18"/>
                  </a:cubicBezTo>
                  <a:cubicBezTo>
                    <a:pt x="50" y="17"/>
                    <a:pt x="48" y="17"/>
                    <a:pt x="46" y="18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5"/>
                    <a:pt x="45" y="13"/>
                    <a:pt x="43" y="12"/>
                  </a:cubicBezTo>
                  <a:cubicBezTo>
                    <a:pt x="42" y="11"/>
                    <a:pt x="40" y="11"/>
                    <a:pt x="38" y="11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3"/>
                    <a:pt x="35" y="0"/>
                    <a:pt x="31" y="0"/>
                  </a:cubicBezTo>
                  <a:cubicBezTo>
                    <a:pt x="28" y="0"/>
                    <a:pt x="25" y="3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3" y="8"/>
                    <a:pt x="21" y="9"/>
                    <a:pt x="19" y="10"/>
                  </a:cubicBezTo>
                  <a:cubicBezTo>
                    <a:pt x="17" y="11"/>
                    <a:pt x="16" y="13"/>
                    <a:pt x="16" y="15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8" y="28"/>
                    <a:pt x="4" y="28"/>
                    <a:pt x="1" y="30"/>
                  </a:cubicBezTo>
                  <a:cubicBezTo>
                    <a:pt x="0" y="32"/>
                    <a:pt x="0" y="33"/>
                    <a:pt x="0" y="35"/>
                  </a:cubicBezTo>
                  <a:cubicBezTo>
                    <a:pt x="0" y="37"/>
                    <a:pt x="0" y="38"/>
                    <a:pt x="1" y="39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3" y="68"/>
                    <a:pt x="12" y="71"/>
                    <a:pt x="12" y="74"/>
                  </a:cubicBezTo>
                  <a:cubicBezTo>
                    <a:pt x="13" y="77"/>
                    <a:pt x="15" y="79"/>
                    <a:pt x="18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105"/>
                    <a:pt x="23" y="105"/>
                    <a:pt x="23" y="105"/>
                  </a:cubicBezTo>
                  <a:cubicBezTo>
                    <a:pt x="23" y="106"/>
                    <a:pt x="24" y="107"/>
                    <a:pt x="25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7" y="107"/>
                    <a:pt x="48" y="106"/>
                    <a:pt x="48" y="105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6" y="79"/>
                    <a:pt x="58" y="77"/>
                    <a:pt x="59" y="74"/>
                  </a:cubicBezTo>
                  <a:cubicBezTo>
                    <a:pt x="59" y="71"/>
                    <a:pt x="58" y="68"/>
                    <a:pt x="55" y="6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2" name="Group 172">
            <a:extLst>
              <a:ext uri="{FF2B5EF4-FFF2-40B4-BE49-F238E27FC236}">
                <a16:creationId xmlns:a16="http://schemas.microsoft.com/office/drawing/2014/main" id="{C1B3FD5D-CF01-41A5-84A2-14E8CA344A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7420" y="4137856"/>
            <a:ext cx="760413" cy="758825"/>
            <a:chOff x="2130" y="2614"/>
            <a:chExt cx="479" cy="478"/>
          </a:xfrm>
        </p:grpSpPr>
        <p:sp>
          <p:nvSpPr>
            <p:cNvPr id="203" name="AutoShape 171">
              <a:extLst>
                <a:ext uri="{FF2B5EF4-FFF2-40B4-BE49-F238E27FC236}">
                  <a16:creationId xmlns:a16="http://schemas.microsoft.com/office/drawing/2014/main" id="{CDA07A26-4243-47F8-A3C4-CBA13C509F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30" y="2614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73">
              <a:extLst>
                <a:ext uri="{FF2B5EF4-FFF2-40B4-BE49-F238E27FC236}">
                  <a16:creationId xmlns:a16="http://schemas.microsoft.com/office/drawing/2014/main" id="{C3A6EC80-4854-4DB6-A651-3A8661162F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2" y="2616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74">
              <a:extLst>
                <a:ext uri="{FF2B5EF4-FFF2-40B4-BE49-F238E27FC236}">
                  <a16:creationId xmlns:a16="http://schemas.microsoft.com/office/drawing/2014/main" id="{89A2DB7C-35AB-448C-AB81-78A1DEAE60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8" y="2700"/>
              <a:ext cx="285" cy="277"/>
            </a:xfrm>
            <a:custGeom>
              <a:avLst/>
              <a:gdLst>
                <a:gd name="T0" fmla="*/ 92 w 116"/>
                <a:gd name="T1" fmla="*/ 108 h 113"/>
                <a:gd name="T2" fmla="*/ 91 w 116"/>
                <a:gd name="T3" fmla="*/ 104 h 113"/>
                <a:gd name="T4" fmla="*/ 91 w 116"/>
                <a:gd name="T5" fmla="*/ 60 h 113"/>
                <a:gd name="T6" fmla="*/ 112 w 116"/>
                <a:gd name="T7" fmla="*/ 59 h 113"/>
                <a:gd name="T8" fmla="*/ 80 w 116"/>
                <a:gd name="T9" fmla="*/ 106 h 113"/>
                <a:gd name="T10" fmla="*/ 57 w 116"/>
                <a:gd name="T11" fmla="*/ 110 h 113"/>
                <a:gd name="T12" fmla="*/ 13 w 116"/>
                <a:gd name="T13" fmla="*/ 105 h 113"/>
                <a:gd name="T14" fmla="*/ 13 w 116"/>
                <a:gd name="T15" fmla="*/ 93 h 113"/>
                <a:gd name="T16" fmla="*/ 13 w 116"/>
                <a:gd name="T17" fmla="*/ 89 h 113"/>
                <a:gd name="T18" fmla="*/ 6 w 116"/>
                <a:gd name="T19" fmla="*/ 82 h 113"/>
                <a:gd name="T20" fmla="*/ 12 w 116"/>
                <a:gd name="T21" fmla="*/ 75 h 113"/>
                <a:gd name="T22" fmla="*/ 9 w 116"/>
                <a:gd name="T23" fmla="*/ 73 h 113"/>
                <a:gd name="T24" fmla="*/ 6 w 116"/>
                <a:gd name="T25" fmla="*/ 62 h 113"/>
                <a:gd name="T26" fmla="*/ 11 w 116"/>
                <a:gd name="T27" fmla="*/ 61 h 113"/>
                <a:gd name="T28" fmla="*/ 25 w 116"/>
                <a:gd name="T29" fmla="*/ 60 h 113"/>
                <a:gd name="T30" fmla="*/ 24 w 116"/>
                <a:gd name="T31" fmla="*/ 59 h 113"/>
                <a:gd name="T32" fmla="*/ 13 w 116"/>
                <a:gd name="T33" fmla="*/ 57 h 113"/>
                <a:gd name="T34" fmla="*/ 9 w 116"/>
                <a:gd name="T35" fmla="*/ 50 h 113"/>
                <a:gd name="T36" fmla="*/ 15 w 116"/>
                <a:gd name="T37" fmla="*/ 45 h 113"/>
                <a:gd name="T38" fmla="*/ 47 w 116"/>
                <a:gd name="T39" fmla="*/ 48 h 113"/>
                <a:gd name="T40" fmla="*/ 53 w 116"/>
                <a:gd name="T41" fmla="*/ 46 h 113"/>
                <a:gd name="T42" fmla="*/ 51 w 116"/>
                <a:gd name="T43" fmla="*/ 20 h 113"/>
                <a:gd name="T44" fmla="*/ 66 w 116"/>
                <a:gd name="T45" fmla="*/ 6 h 113"/>
                <a:gd name="T46" fmla="*/ 82 w 116"/>
                <a:gd name="T47" fmla="*/ 59 h 113"/>
                <a:gd name="T48" fmla="*/ 86 w 116"/>
                <a:gd name="T49" fmla="*/ 63 h 113"/>
                <a:gd name="T50" fmla="*/ 87 w 116"/>
                <a:gd name="T51" fmla="*/ 104 h 113"/>
                <a:gd name="T52" fmla="*/ 114 w 116"/>
                <a:gd name="T53" fmla="*/ 55 h 113"/>
                <a:gd name="T54" fmla="*/ 87 w 116"/>
                <a:gd name="T55" fmla="*/ 59 h 113"/>
                <a:gd name="T56" fmla="*/ 85 w 116"/>
                <a:gd name="T57" fmla="*/ 58 h 113"/>
                <a:gd name="T58" fmla="*/ 70 w 116"/>
                <a:gd name="T59" fmla="*/ 5 h 113"/>
                <a:gd name="T60" fmla="*/ 58 w 116"/>
                <a:gd name="T61" fmla="*/ 2 h 113"/>
                <a:gd name="T62" fmla="*/ 48 w 116"/>
                <a:gd name="T63" fmla="*/ 44 h 113"/>
                <a:gd name="T64" fmla="*/ 15 w 116"/>
                <a:gd name="T65" fmla="*/ 41 h 113"/>
                <a:gd name="T66" fmla="*/ 5 w 116"/>
                <a:gd name="T67" fmla="*/ 50 h 113"/>
                <a:gd name="T68" fmla="*/ 8 w 116"/>
                <a:gd name="T69" fmla="*/ 57 h 113"/>
                <a:gd name="T70" fmla="*/ 0 w 116"/>
                <a:gd name="T71" fmla="*/ 66 h 113"/>
                <a:gd name="T72" fmla="*/ 2 w 116"/>
                <a:gd name="T73" fmla="*/ 82 h 113"/>
                <a:gd name="T74" fmla="*/ 6 w 116"/>
                <a:gd name="T75" fmla="*/ 98 h 113"/>
                <a:gd name="T76" fmla="*/ 33 w 116"/>
                <a:gd name="T77" fmla="*/ 111 h 113"/>
                <a:gd name="T78" fmla="*/ 80 w 116"/>
                <a:gd name="T79" fmla="*/ 109 h 113"/>
                <a:gd name="T80" fmla="*/ 87 w 116"/>
                <a:gd name="T81" fmla="*/ 107 h 113"/>
                <a:gd name="T82" fmla="*/ 114 w 116"/>
                <a:gd name="T83" fmla="*/ 112 h 113"/>
                <a:gd name="T84" fmla="*/ 116 w 116"/>
                <a:gd name="T85" fmla="*/ 5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3">
                  <a:moveTo>
                    <a:pt x="112" y="108"/>
                  </a:moveTo>
                  <a:cubicBezTo>
                    <a:pt x="92" y="108"/>
                    <a:pt x="92" y="108"/>
                    <a:pt x="92" y="108"/>
                  </a:cubicBezTo>
                  <a:cubicBezTo>
                    <a:pt x="91" y="108"/>
                    <a:pt x="91" y="108"/>
                    <a:pt x="91" y="107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2" y="59"/>
                  </a:cubicBezTo>
                  <a:cubicBezTo>
                    <a:pt x="112" y="59"/>
                    <a:pt x="112" y="59"/>
                    <a:pt x="112" y="59"/>
                  </a:cubicBezTo>
                  <a:lnTo>
                    <a:pt x="112" y="108"/>
                  </a:lnTo>
                  <a:close/>
                  <a:moveTo>
                    <a:pt x="80" y="106"/>
                  </a:moveTo>
                  <a:cubicBezTo>
                    <a:pt x="79" y="106"/>
                    <a:pt x="79" y="106"/>
                    <a:pt x="79" y="106"/>
                  </a:cubicBezTo>
                  <a:cubicBezTo>
                    <a:pt x="74" y="108"/>
                    <a:pt x="67" y="110"/>
                    <a:pt x="57" y="110"/>
                  </a:cubicBezTo>
                  <a:cubicBezTo>
                    <a:pt x="51" y="110"/>
                    <a:pt x="43" y="109"/>
                    <a:pt x="33" y="107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1" y="105"/>
                    <a:pt x="9" y="102"/>
                    <a:pt x="10" y="98"/>
                  </a:cubicBezTo>
                  <a:cubicBezTo>
                    <a:pt x="10" y="96"/>
                    <a:pt x="11" y="93"/>
                    <a:pt x="13" y="93"/>
                  </a:cubicBezTo>
                  <a:cubicBezTo>
                    <a:pt x="14" y="92"/>
                    <a:pt x="14" y="92"/>
                    <a:pt x="14" y="91"/>
                  </a:cubicBezTo>
                  <a:cubicBezTo>
                    <a:pt x="14" y="90"/>
                    <a:pt x="14" y="89"/>
                    <a:pt x="13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7" y="89"/>
                    <a:pt x="5" y="86"/>
                    <a:pt x="6" y="82"/>
                  </a:cubicBezTo>
                  <a:cubicBezTo>
                    <a:pt x="6" y="79"/>
                    <a:pt x="8" y="77"/>
                    <a:pt x="10" y="77"/>
                  </a:cubicBezTo>
                  <a:cubicBezTo>
                    <a:pt x="11" y="77"/>
                    <a:pt x="12" y="76"/>
                    <a:pt x="12" y="75"/>
                  </a:cubicBezTo>
                  <a:cubicBezTo>
                    <a:pt x="12" y="74"/>
                    <a:pt x="11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6" y="73"/>
                    <a:pt x="3" y="70"/>
                    <a:pt x="4" y="66"/>
                  </a:cubicBezTo>
                  <a:cubicBezTo>
                    <a:pt x="4" y="65"/>
                    <a:pt x="5" y="63"/>
                    <a:pt x="6" y="62"/>
                  </a:cubicBezTo>
                  <a:cubicBezTo>
                    <a:pt x="7" y="61"/>
                    <a:pt x="9" y="61"/>
                    <a:pt x="10" y="61"/>
                  </a:cubicBezTo>
                  <a:cubicBezTo>
                    <a:pt x="10" y="61"/>
                    <a:pt x="10" y="61"/>
                    <a:pt x="11" y="61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4" y="62"/>
                    <a:pt x="24" y="61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4" y="59"/>
                    <a:pt x="24" y="59"/>
                  </a:cubicBezTo>
                  <a:cubicBezTo>
                    <a:pt x="24" y="58"/>
                    <a:pt x="23" y="58"/>
                    <a:pt x="23" y="58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2" y="57"/>
                    <a:pt x="11" y="56"/>
                    <a:pt x="10" y="55"/>
                  </a:cubicBezTo>
                  <a:cubicBezTo>
                    <a:pt x="9" y="54"/>
                    <a:pt x="9" y="52"/>
                    <a:pt x="9" y="50"/>
                  </a:cubicBezTo>
                  <a:cubicBezTo>
                    <a:pt x="9" y="48"/>
                    <a:pt x="10" y="47"/>
                    <a:pt x="11" y="46"/>
                  </a:cubicBezTo>
                  <a:cubicBezTo>
                    <a:pt x="12" y="45"/>
                    <a:pt x="14" y="44"/>
                    <a:pt x="15" y="45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2" y="48"/>
                    <a:pt x="53" y="47"/>
                    <a:pt x="53" y="46"/>
                  </a:cubicBezTo>
                  <a:cubicBezTo>
                    <a:pt x="53" y="46"/>
                    <a:pt x="53" y="45"/>
                    <a:pt x="52" y="45"/>
                  </a:cubicBezTo>
                  <a:cubicBezTo>
                    <a:pt x="52" y="45"/>
                    <a:pt x="47" y="41"/>
                    <a:pt x="51" y="20"/>
                  </a:cubicBezTo>
                  <a:cubicBezTo>
                    <a:pt x="53" y="12"/>
                    <a:pt x="56" y="7"/>
                    <a:pt x="60" y="5"/>
                  </a:cubicBezTo>
                  <a:cubicBezTo>
                    <a:pt x="62" y="4"/>
                    <a:pt x="65" y="5"/>
                    <a:pt x="66" y="6"/>
                  </a:cubicBezTo>
                  <a:cubicBezTo>
                    <a:pt x="66" y="10"/>
                    <a:pt x="67" y="26"/>
                    <a:pt x="67" y="28"/>
                  </a:cubicBezTo>
                  <a:cubicBezTo>
                    <a:pt x="68" y="31"/>
                    <a:pt x="76" y="46"/>
                    <a:pt x="82" y="59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4" y="63"/>
                    <a:pt x="86" y="63"/>
                    <a:pt x="86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85" y="104"/>
                    <a:pt x="83" y="105"/>
                    <a:pt x="80" y="106"/>
                  </a:cubicBezTo>
                  <a:moveTo>
                    <a:pt x="114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0" y="55"/>
                    <a:pt x="88" y="57"/>
                    <a:pt x="87" y="59"/>
                  </a:cubicBezTo>
                  <a:cubicBezTo>
                    <a:pt x="87" y="59"/>
                    <a:pt x="87" y="59"/>
                    <a:pt x="86" y="59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7" y="41"/>
                    <a:pt x="71" y="29"/>
                    <a:pt x="71" y="27"/>
                  </a:cubicBezTo>
                  <a:cubicBezTo>
                    <a:pt x="70" y="26"/>
                    <a:pt x="70" y="13"/>
                    <a:pt x="70" y="5"/>
                  </a:cubicBezTo>
                  <a:cubicBezTo>
                    <a:pt x="70" y="4"/>
                    <a:pt x="69" y="4"/>
                    <a:pt x="69" y="3"/>
                  </a:cubicBezTo>
                  <a:cubicBezTo>
                    <a:pt x="69" y="3"/>
                    <a:pt x="64" y="0"/>
                    <a:pt x="58" y="2"/>
                  </a:cubicBezTo>
                  <a:cubicBezTo>
                    <a:pt x="54" y="4"/>
                    <a:pt x="50" y="10"/>
                    <a:pt x="48" y="19"/>
                  </a:cubicBezTo>
                  <a:cubicBezTo>
                    <a:pt x="45" y="34"/>
                    <a:pt x="46" y="41"/>
                    <a:pt x="48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3" y="41"/>
                    <a:pt x="11" y="42"/>
                    <a:pt x="9" y="43"/>
                  </a:cubicBezTo>
                  <a:cubicBezTo>
                    <a:pt x="7" y="45"/>
                    <a:pt x="6" y="47"/>
                    <a:pt x="5" y="50"/>
                  </a:cubicBezTo>
                  <a:cubicBezTo>
                    <a:pt x="5" y="53"/>
                    <a:pt x="6" y="55"/>
                    <a:pt x="7" y="57"/>
                  </a:cubicBezTo>
                  <a:cubicBezTo>
                    <a:pt x="7" y="57"/>
                    <a:pt x="7" y="57"/>
                    <a:pt x="8" y="57"/>
                  </a:cubicBezTo>
                  <a:cubicBezTo>
                    <a:pt x="6" y="58"/>
                    <a:pt x="5" y="58"/>
                    <a:pt x="4" y="59"/>
                  </a:cubicBezTo>
                  <a:cubicBezTo>
                    <a:pt x="2" y="61"/>
                    <a:pt x="1" y="63"/>
                    <a:pt x="0" y="66"/>
                  </a:cubicBezTo>
                  <a:cubicBezTo>
                    <a:pt x="0" y="70"/>
                    <a:pt x="2" y="74"/>
                    <a:pt x="5" y="76"/>
                  </a:cubicBezTo>
                  <a:cubicBezTo>
                    <a:pt x="4" y="77"/>
                    <a:pt x="2" y="79"/>
                    <a:pt x="2" y="82"/>
                  </a:cubicBezTo>
                  <a:cubicBezTo>
                    <a:pt x="2" y="87"/>
                    <a:pt x="4" y="91"/>
                    <a:pt x="8" y="92"/>
                  </a:cubicBezTo>
                  <a:cubicBezTo>
                    <a:pt x="7" y="94"/>
                    <a:pt x="6" y="96"/>
                    <a:pt x="6" y="98"/>
                  </a:cubicBezTo>
                  <a:cubicBezTo>
                    <a:pt x="6" y="103"/>
                    <a:pt x="9" y="108"/>
                    <a:pt x="13" y="109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3" y="112"/>
                    <a:pt x="51" y="113"/>
                    <a:pt x="57" y="113"/>
                  </a:cubicBezTo>
                  <a:cubicBezTo>
                    <a:pt x="68" y="113"/>
                    <a:pt x="74" y="111"/>
                    <a:pt x="80" y="109"/>
                  </a:cubicBezTo>
                  <a:cubicBezTo>
                    <a:pt x="81" y="109"/>
                    <a:pt x="81" y="109"/>
                    <a:pt x="81" y="109"/>
                  </a:cubicBezTo>
                  <a:cubicBezTo>
                    <a:pt x="84" y="108"/>
                    <a:pt x="86" y="108"/>
                    <a:pt x="87" y="107"/>
                  </a:cubicBezTo>
                  <a:cubicBezTo>
                    <a:pt x="88" y="110"/>
                    <a:pt x="90" y="112"/>
                    <a:pt x="92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1"/>
                    <a:pt x="116" y="11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6"/>
                    <a:pt x="115" y="55"/>
                    <a:pt x="114" y="55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6" name="Group 177">
            <a:extLst>
              <a:ext uri="{FF2B5EF4-FFF2-40B4-BE49-F238E27FC236}">
                <a16:creationId xmlns:a16="http://schemas.microsoft.com/office/drawing/2014/main" id="{79F1F5BD-54C7-4669-9958-1CDD3007A3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4181" y="4096581"/>
            <a:ext cx="842963" cy="841375"/>
            <a:chOff x="1608" y="2631"/>
            <a:chExt cx="531" cy="530"/>
          </a:xfrm>
        </p:grpSpPr>
        <p:sp>
          <p:nvSpPr>
            <p:cNvPr id="207" name="AutoShape 176">
              <a:extLst>
                <a:ext uri="{FF2B5EF4-FFF2-40B4-BE49-F238E27FC236}">
                  <a16:creationId xmlns:a16="http://schemas.microsoft.com/office/drawing/2014/main" id="{4D3A4668-29F4-492A-9991-9A1709B095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08" y="2631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178">
              <a:extLst>
                <a:ext uri="{FF2B5EF4-FFF2-40B4-BE49-F238E27FC236}">
                  <a16:creationId xmlns:a16="http://schemas.microsoft.com/office/drawing/2014/main" id="{26286DE5-5EE0-4F7A-946E-81EB9421B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" y="2631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79">
              <a:extLst>
                <a:ext uri="{FF2B5EF4-FFF2-40B4-BE49-F238E27FC236}">
                  <a16:creationId xmlns:a16="http://schemas.microsoft.com/office/drawing/2014/main" id="{E5EC8981-541B-4399-8A8D-ACF678F80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6" y="2649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80">
              <a:extLst>
                <a:ext uri="{FF2B5EF4-FFF2-40B4-BE49-F238E27FC236}">
                  <a16:creationId xmlns:a16="http://schemas.microsoft.com/office/drawing/2014/main" id="{C0C64008-1B1B-4A61-AB49-2D36FDAA1E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6" y="2736"/>
              <a:ext cx="298" cy="289"/>
            </a:xfrm>
            <a:custGeom>
              <a:avLst/>
              <a:gdLst>
                <a:gd name="T0" fmla="*/ 92 w 116"/>
                <a:gd name="T1" fmla="*/ 108 h 113"/>
                <a:gd name="T2" fmla="*/ 91 w 116"/>
                <a:gd name="T3" fmla="*/ 104 h 113"/>
                <a:gd name="T4" fmla="*/ 91 w 116"/>
                <a:gd name="T5" fmla="*/ 60 h 113"/>
                <a:gd name="T6" fmla="*/ 112 w 116"/>
                <a:gd name="T7" fmla="*/ 59 h 113"/>
                <a:gd name="T8" fmla="*/ 80 w 116"/>
                <a:gd name="T9" fmla="*/ 106 h 113"/>
                <a:gd name="T10" fmla="*/ 57 w 116"/>
                <a:gd name="T11" fmla="*/ 110 h 113"/>
                <a:gd name="T12" fmla="*/ 13 w 116"/>
                <a:gd name="T13" fmla="*/ 105 h 113"/>
                <a:gd name="T14" fmla="*/ 13 w 116"/>
                <a:gd name="T15" fmla="*/ 93 h 113"/>
                <a:gd name="T16" fmla="*/ 13 w 116"/>
                <a:gd name="T17" fmla="*/ 89 h 113"/>
                <a:gd name="T18" fmla="*/ 6 w 116"/>
                <a:gd name="T19" fmla="*/ 82 h 113"/>
                <a:gd name="T20" fmla="*/ 12 w 116"/>
                <a:gd name="T21" fmla="*/ 75 h 113"/>
                <a:gd name="T22" fmla="*/ 9 w 116"/>
                <a:gd name="T23" fmla="*/ 73 h 113"/>
                <a:gd name="T24" fmla="*/ 6 w 116"/>
                <a:gd name="T25" fmla="*/ 62 h 113"/>
                <a:gd name="T26" fmla="*/ 11 w 116"/>
                <a:gd name="T27" fmla="*/ 61 h 113"/>
                <a:gd name="T28" fmla="*/ 25 w 116"/>
                <a:gd name="T29" fmla="*/ 60 h 113"/>
                <a:gd name="T30" fmla="*/ 24 w 116"/>
                <a:gd name="T31" fmla="*/ 59 h 113"/>
                <a:gd name="T32" fmla="*/ 13 w 116"/>
                <a:gd name="T33" fmla="*/ 57 h 113"/>
                <a:gd name="T34" fmla="*/ 9 w 116"/>
                <a:gd name="T35" fmla="*/ 50 h 113"/>
                <a:gd name="T36" fmla="*/ 15 w 116"/>
                <a:gd name="T37" fmla="*/ 45 h 113"/>
                <a:gd name="T38" fmla="*/ 47 w 116"/>
                <a:gd name="T39" fmla="*/ 48 h 113"/>
                <a:gd name="T40" fmla="*/ 53 w 116"/>
                <a:gd name="T41" fmla="*/ 46 h 113"/>
                <a:gd name="T42" fmla="*/ 51 w 116"/>
                <a:gd name="T43" fmla="*/ 20 h 113"/>
                <a:gd name="T44" fmla="*/ 66 w 116"/>
                <a:gd name="T45" fmla="*/ 6 h 113"/>
                <a:gd name="T46" fmla="*/ 82 w 116"/>
                <a:gd name="T47" fmla="*/ 59 h 113"/>
                <a:gd name="T48" fmla="*/ 86 w 116"/>
                <a:gd name="T49" fmla="*/ 63 h 113"/>
                <a:gd name="T50" fmla="*/ 87 w 116"/>
                <a:gd name="T51" fmla="*/ 104 h 113"/>
                <a:gd name="T52" fmla="*/ 114 w 116"/>
                <a:gd name="T53" fmla="*/ 55 h 113"/>
                <a:gd name="T54" fmla="*/ 87 w 116"/>
                <a:gd name="T55" fmla="*/ 59 h 113"/>
                <a:gd name="T56" fmla="*/ 85 w 116"/>
                <a:gd name="T57" fmla="*/ 58 h 113"/>
                <a:gd name="T58" fmla="*/ 70 w 116"/>
                <a:gd name="T59" fmla="*/ 5 h 113"/>
                <a:gd name="T60" fmla="*/ 58 w 116"/>
                <a:gd name="T61" fmla="*/ 2 h 113"/>
                <a:gd name="T62" fmla="*/ 48 w 116"/>
                <a:gd name="T63" fmla="*/ 44 h 113"/>
                <a:gd name="T64" fmla="*/ 15 w 116"/>
                <a:gd name="T65" fmla="*/ 41 h 113"/>
                <a:gd name="T66" fmla="*/ 5 w 116"/>
                <a:gd name="T67" fmla="*/ 50 h 113"/>
                <a:gd name="T68" fmla="*/ 8 w 116"/>
                <a:gd name="T69" fmla="*/ 57 h 113"/>
                <a:gd name="T70" fmla="*/ 0 w 116"/>
                <a:gd name="T71" fmla="*/ 66 h 113"/>
                <a:gd name="T72" fmla="*/ 2 w 116"/>
                <a:gd name="T73" fmla="*/ 82 h 113"/>
                <a:gd name="T74" fmla="*/ 6 w 116"/>
                <a:gd name="T75" fmla="*/ 98 h 113"/>
                <a:gd name="T76" fmla="*/ 33 w 116"/>
                <a:gd name="T77" fmla="*/ 111 h 113"/>
                <a:gd name="T78" fmla="*/ 80 w 116"/>
                <a:gd name="T79" fmla="*/ 109 h 113"/>
                <a:gd name="T80" fmla="*/ 87 w 116"/>
                <a:gd name="T81" fmla="*/ 107 h 113"/>
                <a:gd name="T82" fmla="*/ 114 w 116"/>
                <a:gd name="T83" fmla="*/ 112 h 113"/>
                <a:gd name="T84" fmla="*/ 116 w 116"/>
                <a:gd name="T85" fmla="*/ 5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3">
                  <a:moveTo>
                    <a:pt x="112" y="108"/>
                  </a:moveTo>
                  <a:cubicBezTo>
                    <a:pt x="92" y="108"/>
                    <a:pt x="92" y="108"/>
                    <a:pt x="92" y="108"/>
                  </a:cubicBezTo>
                  <a:cubicBezTo>
                    <a:pt x="91" y="108"/>
                    <a:pt x="91" y="108"/>
                    <a:pt x="91" y="107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2" y="59"/>
                  </a:cubicBezTo>
                  <a:cubicBezTo>
                    <a:pt x="112" y="59"/>
                    <a:pt x="112" y="59"/>
                    <a:pt x="112" y="59"/>
                  </a:cubicBezTo>
                  <a:lnTo>
                    <a:pt x="112" y="108"/>
                  </a:lnTo>
                  <a:close/>
                  <a:moveTo>
                    <a:pt x="80" y="106"/>
                  </a:moveTo>
                  <a:cubicBezTo>
                    <a:pt x="79" y="106"/>
                    <a:pt x="79" y="106"/>
                    <a:pt x="79" y="106"/>
                  </a:cubicBezTo>
                  <a:cubicBezTo>
                    <a:pt x="74" y="108"/>
                    <a:pt x="67" y="110"/>
                    <a:pt x="57" y="110"/>
                  </a:cubicBezTo>
                  <a:cubicBezTo>
                    <a:pt x="51" y="110"/>
                    <a:pt x="43" y="109"/>
                    <a:pt x="33" y="107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1" y="105"/>
                    <a:pt x="9" y="102"/>
                    <a:pt x="10" y="98"/>
                  </a:cubicBezTo>
                  <a:cubicBezTo>
                    <a:pt x="10" y="96"/>
                    <a:pt x="11" y="93"/>
                    <a:pt x="13" y="93"/>
                  </a:cubicBezTo>
                  <a:cubicBezTo>
                    <a:pt x="14" y="92"/>
                    <a:pt x="14" y="92"/>
                    <a:pt x="14" y="91"/>
                  </a:cubicBezTo>
                  <a:cubicBezTo>
                    <a:pt x="14" y="90"/>
                    <a:pt x="14" y="89"/>
                    <a:pt x="13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7" y="89"/>
                    <a:pt x="5" y="86"/>
                    <a:pt x="6" y="82"/>
                  </a:cubicBezTo>
                  <a:cubicBezTo>
                    <a:pt x="6" y="79"/>
                    <a:pt x="8" y="77"/>
                    <a:pt x="10" y="77"/>
                  </a:cubicBezTo>
                  <a:cubicBezTo>
                    <a:pt x="11" y="77"/>
                    <a:pt x="12" y="76"/>
                    <a:pt x="12" y="75"/>
                  </a:cubicBezTo>
                  <a:cubicBezTo>
                    <a:pt x="12" y="74"/>
                    <a:pt x="11" y="73"/>
                    <a:pt x="10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6" y="73"/>
                    <a:pt x="3" y="70"/>
                    <a:pt x="4" y="66"/>
                  </a:cubicBezTo>
                  <a:cubicBezTo>
                    <a:pt x="4" y="65"/>
                    <a:pt x="5" y="63"/>
                    <a:pt x="6" y="62"/>
                  </a:cubicBezTo>
                  <a:cubicBezTo>
                    <a:pt x="7" y="61"/>
                    <a:pt x="9" y="61"/>
                    <a:pt x="10" y="61"/>
                  </a:cubicBezTo>
                  <a:cubicBezTo>
                    <a:pt x="10" y="61"/>
                    <a:pt x="10" y="61"/>
                    <a:pt x="11" y="61"/>
                  </a:cubicBezTo>
                  <a:cubicBezTo>
                    <a:pt x="23" y="62"/>
                    <a:pt x="23" y="62"/>
                    <a:pt x="23" y="62"/>
                  </a:cubicBezTo>
                  <a:cubicBezTo>
                    <a:pt x="24" y="62"/>
                    <a:pt x="24" y="61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4" y="59"/>
                    <a:pt x="24" y="59"/>
                  </a:cubicBezTo>
                  <a:cubicBezTo>
                    <a:pt x="24" y="58"/>
                    <a:pt x="23" y="58"/>
                    <a:pt x="23" y="58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2" y="57"/>
                    <a:pt x="11" y="56"/>
                    <a:pt x="10" y="55"/>
                  </a:cubicBezTo>
                  <a:cubicBezTo>
                    <a:pt x="9" y="54"/>
                    <a:pt x="9" y="52"/>
                    <a:pt x="9" y="50"/>
                  </a:cubicBezTo>
                  <a:cubicBezTo>
                    <a:pt x="9" y="48"/>
                    <a:pt x="10" y="47"/>
                    <a:pt x="11" y="46"/>
                  </a:cubicBezTo>
                  <a:cubicBezTo>
                    <a:pt x="12" y="45"/>
                    <a:pt x="14" y="44"/>
                    <a:pt x="15" y="45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2" y="48"/>
                    <a:pt x="53" y="47"/>
                    <a:pt x="53" y="46"/>
                  </a:cubicBezTo>
                  <a:cubicBezTo>
                    <a:pt x="53" y="46"/>
                    <a:pt x="53" y="45"/>
                    <a:pt x="52" y="45"/>
                  </a:cubicBezTo>
                  <a:cubicBezTo>
                    <a:pt x="52" y="45"/>
                    <a:pt x="47" y="41"/>
                    <a:pt x="51" y="20"/>
                  </a:cubicBezTo>
                  <a:cubicBezTo>
                    <a:pt x="53" y="12"/>
                    <a:pt x="56" y="7"/>
                    <a:pt x="60" y="5"/>
                  </a:cubicBezTo>
                  <a:cubicBezTo>
                    <a:pt x="62" y="4"/>
                    <a:pt x="65" y="5"/>
                    <a:pt x="66" y="6"/>
                  </a:cubicBezTo>
                  <a:cubicBezTo>
                    <a:pt x="66" y="10"/>
                    <a:pt x="67" y="26"/>
                    <a:pt x="67" y="28"/>
                  </a:cubicBezTo>
                  <a:cubicBezTo>
                    <a:pt x="68" y="31"/>
                    <a:pt x="76" y="46"/>
                    <a:pt x="82" y="59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4" y="63"/>
                    <a:pt x="86" y="63"/>
                    <a:pt x="86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85" y="104"/>
                    <a:pt x="83" y="105"/>
                    <a:pt x="80" y="106"/>
                  </a:cubicBezTo>
                  <a:moveTo>
                    <a:pt x="114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0" y="55"/>
                    <a:pt x="88" y="57"/>
                    <a:pt x="87" y="59"/>
                  </a:cubicBezTo>
                  <a:cubicBezTo>
                    <a:pt x="87" y="59"/>
                    <a:pt x="87" y="59"/>
                    <a:pt x="86" y="59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77" y="41"/>
                    <a:pt x="71" y="29"/>
                    <a:pt x="71" y="27"/>
                  </a:cubicBezTo>
                  <a:cubicBezTo>
                    <a:pt x="70" y="26"/>
                    <a:pt x="70" y="13"/>
                    <a:pt x="70" y="5"/>
                  </a:cubicBezTo>
                  <a:cubicBezTo>
                    <a:pt x="70" y="4"/>
                    <a:pt x="69" y="4"/>
                    <a:pt x="69" y="3"/>
                  </a:cubicBezTo>
                  <a:cubicBezTo>
                    <a:pt x="69" y="3"/>
                    <a:pt x="64" y="0"/>
                    <a:pt x="58" y="2"/>
                  </a:cubicBezTo>
                  <a:cubicBezTo>
                    <a:pt x="54" y="4"/>
                    <a:pt x="50" y="10"/>
                    <a:pt x="48" y="19"/>
                  </a:cubicBezTo>
                  <a:cubicBezTo>
                    <a:pt x="45" y="34"/>
                    <a:pt x="46" y="41"/>
                    <a:pt x="48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3" y="41"/>
                    <a:pt x="11" y="42"/>
                    <a:pt x="9" y="43"/>
                  </a:cubicBezTo>
                  <a:cubicBezTo>
                    <a:pt x="7" y="45"/>
                    <a:pt x="6" y="47"/>
                    <a:pt x="5" y="50"/>
                  </a:cubicBezTo>
                  <a:cubicBezTo>
                    <a:pt x="5" y="53"/>
                    <a:pt x="6" y="55"/>
                    <a:pt x="7" y="57"/>
                  </a:cubicBezTo>
                  <a:cubicBezTo>
                    <a:pt x="7" y="57"/>
                    <a:pt x="7" y="57"/>
                    <a:pt x="8" y="57"/>
                  </a:cubicBezTo>
                  <a:cubicBezTo>
                    <a:pt x="6" y="58"/>
                    <a:pt x="5" y="58"/>
                    <a:pt x="4" y="59"/>
                  </a:cubicBezTo>
                  <a:cubicBezTo>
                    <a:pt x="2" y="61"/>
                    <a:pt x="1" y="63"/>
                    <a:pt x="0" y="66"/>
                  </a:cubicBezTo>
                  <a:cubicBezTo>
                    <a:pt x="0" y="70"/>
                    <a:pt x="2" y="74"/>
                    <a:pt x="5" y="76"/>
                  </a:cubicBezTo>
                  <a:cubicBezTo>
                    <a:pt x="4" y="77"/>
                    <a:pt x="2" y="79"/>
                    <a:pt x="2" y="82"/>
                  </a:cubicBezTo>
                  <a:cubicBezTo>
                    <a:pt x="2" y="87"/>
                    <a:pt x="4" y="91"/>
                    <a:pt x="8" y="92"/>
                  </a:cubicBezTo>
                  <a:cubicBezTo>
                    <a:pt x="7" y="94"/>
                    <a:pt x="6" y="96"/>
                    <a:pt x="6" y="98"/>
                  </a:cubicBezTo>
                  <a:cubicBezTo>
                    <a:pt x="6" y="103"/>
                    <a:pt x="9" y="108"/>
                    <a:pt x="13" y="109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3" y="112"/>
                    <a:pt x="51" y="113"/>
                    <a:pt x="57" y="113"/>
                  </a:cubicBezTo>
                  <a:cubicBezTo>
                    <a:pt x="68" y="113"/>
                    <a:pt x="74" y="111"/>
                    <a:pt x="80" y="109"/>
                  </a:cubicBezTo>
                  <a:cubicBezTo>
                    <a:pt x="81" y="109"/>
                    <a:pt x="81" y="109"/>
                    <a:pt x="81" y="109"/>
                  </a:cubicBezTo>
                  <a:cubicBezTo>
                    <a:pt x="84" y="108"/>
                    <a:pt x="86" y="108"/>
                    <a:pt x="87" y="107"/>
                  </a:cubicBezTo>
                  <a:cubicBezTo>
                    <a:pt x="88" y="110"/>
                    <a:pt x="90" y="112"/>
                    <a:pt x="92" y="112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5" y="112"/>
                    <a:pt x="116" y="111"/>
                    <a:pt x="116" y="110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6"/>
                    <a:pt x="115" y="55"/>
                    <a:pt x="114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5" name="Group 183">
            <a:extLst>
              <a:ext uri="{FF2B5EF4-FFF2-40B4-BE49-F238E27FC236}">
                <a16:creationId xmlns:a16="http://schemas.microsoft.com/office/drawing/2014/main" id="{D2C01E03-B961-4461-BCB1-34154FC8478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1616" y="4137856"/>
            <a:ext cx="760412" cy="758825"/>
            <a:chOff x="3571" y="2609"/>
            <a:chExt cx="479" cy="478"/>
          </a:xfrm>
        </p:grpSpPr>
        <p:sp>
          <p:nvSpPr>
            <p:cNvPr id="216" name="AutoShape 182">
              <a:extLst>
                <a:ext uri="{FF2B5EF4-FFF2-40B4-BE49-F238E27FC236}">
                  <a16:creationId xmlns:a16="http://schemas.microsoft.com/office/drawing/2014/main" id="{D8499819-4FB9-4D0D-B3A7-96DFC39EA4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571" y="260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84">
              <a:extLst>
                <a:ext uri="{FF2B5EF4-FFF2-40B4-BE49-F238E27FC236}">
                  <a16:creationId xmlns:a16="http://schemas.microsoft.com/office/drawing/2014/main" id="{B2701DF3-E3C7-4B51-A9AD-9DD53BFB7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3" y="261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5">
              <a:extLst>
                <a:ext uri="{FF2B5EF4-FFF2-40B4-BE49-F238E27FC236}">
                  <a16:creationId xmlns:a16="http://schemas.microsoft.com/office/drawing/2014/main" id="{D3C57D6A-F54A-418F-AB2D-F6AC95FFD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" y="2746"/>
              <a:ext cx="285" cy="275"/>
            </a:xfrm>
            <a:custGeom>
              <a:avLst/>
              <a:gdLst>
                <a:gd name="T0" fmla="*/ 110 w 116"/>
                <a:gd name="T1" fmla="*/ 51 h 112"/>
                <a:gd name="T2" fmla="*/ 93 w 116"/>
                <a:gd name="T3" fmla="*/ 51 h 112"/>
                <a:gd name="T4" fmla="*/ 91 w 116"/>
                <a:gd name="T5" fmla="*/ 53 h 112"/>
                <a:gd name="T6" fmla="*/ 93 w 116"/>
                <a:gd name="T7" fmla="*/ 55 h 112"/>
                <a:gd name="T8" fmla="*/ 106 w 116"/>
                <a:gd name="T9" fmla="*/ 58 h 112"/>
                <a:gd name="T10" fmla="*/ 105 w 116"/>
                <a:gd name="T11" fmla="*/ 67 h 112"/>
                <a:gd name="T12" fmla="*/ 69 w 116"/>
                <a:gd name="T13" fmla="*/ 65 h 112"/>
                <a:gd name="T14" fmla="*/ 65 w 116"/>
                <a:gd name="T15" fmla="*/ 65 h 112"/>
                <a:gd name="T16" fmla="*/ 64 w 116"/>
                <a:gd name="T17" fmla="*/ 68 h 112"/>
                <a:gd name="T18" fmla="*/ 56 w 116"/>
                <a:gd name="T19" fmla="*/ 108 h 112"/>
                <a:gd name="T20" fmla="*/ 49 w 116"/>
                <a:gd name="T21" fmla="*/ 85 h 112"/>
                <a:gd name="T22" fmla="*/ 33 w 116"/>
                <a:gd name="T23" fmla="*/ 52 h 112"/>
                <a:gd name="T24" fmla="*/ 29 w 116"/>
                <a:gd name="T25" fmla="*/ 50 h 112"/>
                <a:gd name="T26" fmla="*/ 36 w 116"/>
                <a:gd name="T27" fmla="*/ 7 h 112"/>
                <a:gd name="T28" fmla="*/ 59 w 116"/>
                <a:gd name="T29" fmla="*/ 4 h 112"/>
                <a:gd name="T30" fmla="*/ 103 w 116"/>
                <a:gd name="T31" fmla="*/ 8 h 112"/>
                <a:gd name="T32" fmla="*/ 103 w 116"/>
                <a:gd name="T33" fmla="*/ 20 h 112"/>
                <a:gd name="T34" fmla="*/ 103 w 116"/>
                <a:gd name="T35" fmla="*/ 24 h 112"/>
                <a:gd name="T36" fmla="*/ 110 w 116"/>
                <a:gd name="T37" fmla="*/ 31 h 112"/>
                <a:gd name="T38" fmla="*/ 104 w 116"/>
                <a:gd name="T39" fmla="*/ 38 h 112"/>
                <a:gd name="T40" fmla="*/ 107 w 116"/>
                <a:gd name="T41" fmla="*/ 40 h 112"/>
                <a:gd name="T42" fmla="*/ 25 w 116"/>
                <a:gd name="T43" fmla="*/ 53 h 112"/>
                <a:gd name="T44" fmla="*/ 4 w 116"/>
                <a:gd name="T45" fmla="*/ 54 h 112"/>
                <a:gd name="T46" fmla="*/ 24 w 116"/>
                <a:gd name="T47" fmla="*/ 5 h 112"/>
                <a:gd name="T48" fmla="*/ 25 w 116"/>
                <a:gd name="T49" fmla="*/ 9 h 112"/>
                <a:gd name="T50" fmla="*/ 25 w 116"/>
                <a:gd name="T51" fmla="*/ 53 h 112"/>
                <a:gd name="T52" fmla="*/ 114 w 116"/>
                <a:gd name="T53" fmla="*/ 31 h 112"/>
                <a:gd name="T54" fmla="*/ 110 w 116"/>
                <a:gd name="T55" fmla="*/ 15 h 112"/>
                <a:gd name="T56" fmla="*/ 83 w 116"/>
                <a:gd name="T57" fmla="*/ 3 h 112"/>
                <a:gd name="T58" fmla="*/ 36 w 116"/>
                <a:gd name="T59" fmla="*/ 4 h 112"/>
                <a:gd name="T60" fmla="*/ 29 w 116"/>
                <a:gd name="T61" fmla="*/ 6 h 112"/>
                <a:gd name="T62" fmla="*/ 2 w 116"/>
                <a:gd name="T63" fmla="*/ 1 h 112"/>
                <a:gd name="T64" fmla="*/ 0 w 116"/>
                <a:gd name="T65" fmla="*/ 56 h 112"/>
                <a:gd name="T66" fmla="*/ 24 w 116"/>
                <a:gd name="T67" fmla="*/ 58 h 112"/>
                <a:gd name="T68" fmla="*/ 30 w 116"/>
                <a:gd name="T69" fmla="*/ 54 h 112"/>
                <a:gd name="T70" fmla="*/ 45 w 116"/>
                <a:gd name="T71" fmla="*/ 86 h 112"/>
                <a:gd name="T72" fmla="*/ 47 w 116"/>
                <a:gd name="T73" fmla="*/ 110 h 112"/>
                <a:gd name="T74" fmla="*/ 58 w 116"/>
                <a:gd name="T75" fmla="*/ 111 h 112"/>
                <a:gd name="T76" fmla="*/ 68 w 116"/>
                <a:gd name="T77" fmla="*/ 69 h 112"/>
                <a:gd name="T78" fmla="*/ 101 w 116"/>
                <a:gd name="T79" fmla="*/ 72 h 112"/>
                <a:gd name="T80" fmla="*/ 111 w 116"/>
                <a:gd name="T81" fmla="*/ 63 h 112"/>
                <a:gd name="T82" fmla="*/ 108 w 116"/>
                <a:gd name="T83" fmla="*/ 56 h 112"/>
                <a:gd name="T84" fmla="*/ 116 w 116"/>
                <a:gd name="T85" fmla="*/ 4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2">
                  <a:moveTo>
                    <a:pt x="112" y="47"/>
                  </a:moveTo>
                  <a:cubicBezTo>
                    <a:pt x="112" y="48"/>
                    <a:pt x="111" y="50"/>
                    <a:pt x="110" y="51"/>
                  </a:cubicBezTo>
                  <a:cubicBezTo>
                    <a:pt x="109" y="52"/>
                    <a:pt x="107" y="53"/>
                    <a:pt x="105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2" y="52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4" y="56"/>
                    <a:pt x="105" y="57"/>
                    <a:pt x="106" y="58"/>
                  </a:cubicBezTo>
                  <a:cubicBezTo>
                    <a:pt x="107" y="59"/>
                    <a:pt x="107" y="61"/>
                    <a:pt x="107" y="63"/>
                  </a:cubicBezTo>
                  <a:cubicBezTo>
                    <a:pt x="107" y="64"/>
                    <a:pt x="106" y="66"/>
                    <a:pt x="105" y="67"/>
                  </a:cubicBezTo>
                  <a:cubicBezTo>
                    <a:pt x="104" y="68"/>
                    <a:pt x="103" y="69"/>
                    <a:pt x="101" y="69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4" y="65"/>
                    <a:pt x="63" y="66"/>
                    <a:pt x="63" y="67"/>
                  </a:cubicBezTo>
                  <a:cubicBezTo>
                    <a:pt x="63" y="67"/>
                    <a:pt x="63" y="68"/>
                    <a:pt x="64" y="68"/>
                  </a:cubicBezTo>
                  <a:cubicBezTo>
                    <a:pt x="64" y="68"/>
                    <a:pt x="69" y="72"/>
                    <a:pt x="65" y="93"/>
                  </a:cubicBezTo>
                  <a:cubicBezTo>
                    <a:pt x="63" y="101"/>
                    <a:pt x="60" y="106"/>
                    <a:pt x="56" y="108"/>
                  </a:cubicBezTo>
                  <a:cubicBezTo>
                    <a:pt x="54" y="109"/>
                    <a:pt x="51" y="108"/>
                    <a:pt x="50" y="107"/>
                  </a:cubicBezTo>
                  <a:cubicBezTo>
                    <a:pt x="50" y="103"/>
                    <a:pt x="49" y="87"/>
                    <a:pt x="49" y="85"/>
                  </a:cubicBezTo>
                  <a:cubicBezTo>
                    <a:pt x="48" y="83"/>
                    <a:pt x="40" y="67"/>
                    <a:pt x="34" y="54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2" y="50"/>
                    <a:pt x="30" y="50"/>
                    <a:pt x="30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1" y="9"/>
                    <a:pt x="33" y="8"/>
                    <a:pt x="36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42" y="5"/>
                    <a:pt x="49" y="4"/>
                    <a:pt x="59" y="4"/>
                  </a:cubicBezTo>
                  <a:cubicBezTo>
                    <a:pt x="65" y="4"/>
                    <a:pt x="73" y="4"/>
                    <a:pt x="83" y="6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8"/>
                    <a:pt x="107" y="11"/>
                    <a:pt x="106" y="15"/>
                  </a:cubicBezTo>
                  <a:cubicBezTo>
                    <a:pt x="106" y="17"/>
                    <a:pt x="105" y="20"/>
                    <a:pt x="103" y="20"/>
                  </a:cubicBezTo>
                  <a:cubicBezTo>
                    <a:pt x="102" y="21"/>
                    <a:pt x="102" y="21"/>
                    <a:pt x="102" y="22"/>
                  </a:cubicBezTo>
                  <a:cubicBezTo>
                    <a:pt x="102" y="23"/>
                    <a:pt x="102" y="24"/>
                    <a:pt x="103" y="24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9" y="24"/>
                    <a:pt x="111" y="27"/>
                    <a:pt x="110" y="31"/>
                  </a:cubicBezTo>
                  <a:cubicBezTo>
                    <a:pt x="110" y="34"/>
                    <a:pt x="108" y="36"/>
                    <a:pt x="106" y="36"/>
                  </a:cubicBezTo>
                  <a:cubicBezTo>
                    <a:pt x="105" y="36"/>
                    <a:pt x="104" y="37"/>
                    <a:pt x="104" y="38"/>
                  </a:cubicBezTo>
                  <a:cubicBezTo>
                    <a:pt x="104" y="39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10" y="40"/>
                    <a:pt x="113" y="43"/>
                    <a:pt x="112" y="47"/>
                  </a:cubicBezTo>
                  <a:moveTo>
                    <a:pt x="25" y="53"/>
                  </a:moveTo>
                  <a:cubicBezTo>
                    <a:pt x="25" y="53"/>
                    <a:pt x="25" y="54"/>
                    <a:pt x="2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6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51"/>
                    <a:pt x="25" y="51"/>
                    <a:pt x="25" y="51"/>
                  </a:cubicBezTo>
                  <a:lnTo>
                    <a:pt x="25" y="53"/>
                  </a:lnTo>
                  <a:close/>
                  <a:moveTo>
                    <a:pt x="111" y="38"/>
                  </a:moveTo>
                  <a:cubicBezTo>
                    <a:pt x="112" y="36"/>
                    <a:pt x="114" y="34"/>
                    <a:pt x="114" y="31"/>
                  </a:cubicBezTo>
                  <a:cubicBezTo>
                    <a:pt x="114" y="26"/>
                    <a:pt x="112" y="22"/>
                    <a:pt x="108" y="21"/>
                  </a:cubicBezTo>
                  <a:cubicBezTo>
                    <a:pt x="109" y="19"/>
                    <a:pt x="110" y="17"/>
                    <a:pt x="110" y="15"/>
                  </a:cubicBezTo>
                  <a:cubicBezTo>
                    <a:pt x="110" y="10"/>
                    <a:pt x="107" y="5"/>
                    <a:pt x="103" y="5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3" y="1"/>
                    <a:pt x="65" y="0"/>
                    <a:pt x="59" y="0"/>
                  </a:cubicBezTo>
                  <a:cubicBezTo>
                    <a:pt x="48" y="0"/>
                    <a:pt x="42" y="2"/>
                    <a:pt x="36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2" y="5"/>
                    <a:pt x="30" y="5"/>
                    <a:pt x="29" y="6"/>
                  </a:cubicBezTo>
                  <a:cubicBezTo>
                    <a:pt x="28" y="3"/>
                    <a:pt x="26" y="1"/>
                    <a:pt x="24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7"/>
                    <a:pt x="1" y="58"/>
                    <a:pt x="2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6" y="58"/>
                    <a:pt x="28" y="56"/>
                    <a:pt x="29" y="54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9" y="72"/>
                    <a:pt x="45" y="84"/>
                    <a:pt x="45" y="86"/>
                  </a:cubicBezTo>
                  <a:cubicBezTo>
                    <a:pt x="46" y="88"/>
                    <a:pt x="46" y="101"/>
                    <a:pt x="46" y="108"/>
                  </a:cubicBezTo>
                  <a:cubicBezTo>
                    <a:pt x="46" y="109"/>
                    <a:pt x="47" y="109"/>
                    <a:pt x="47" y="110"/>
                  </a:cubicBezTo>
                  <a:cubicBezTo>
                    <a:pt x="47" y="110"/>
                    <a:pt x="50" y="112"/>
                    <a:pt x="54" y="112"/>
                  </a:cubicBezTo>
                  <a:cubicBezTo>
                    <a:pt x="55" y="112"/>
                    <a:pt x="56" y="111"/>
                    <a:pt x="58" y="111"/>
                  </a:cubicBezTo>
                  <a:cubicBezTo>
                    <a:pt x="62" y="109"/>
                    <a:pt x="66" y="103"/>
                    <a:pt x="68" y="94"/>
                  </a:cubicBezTo>
                  <a:cubicBezTo>
                    <a:pt x="71" y="79"/>
                    <a:pt x="70" y="72"/>
                    <a:pt x="68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3" y="72"/>
                    <a:pt x="106" y="71"/>
                    <a:pt x="107" y="70"/>
                  </a:cubicBezTo>
                  <a:cubicBezTo>
                    <a:pt x="109" y="68"/>
                    <a:pt x="110" y="66"/>
                    <a:pt x="111" y="63"/>
                  </a:cubicBezTo>
                  <a:cubicBezTo>
                    <a:pt x="111" y="61"/>
                    <a:pt x="110" y="58"/>
                    <a:pt x="109" y="56"/>
                  </a:cubicBezTo>
                  <a:cubicBezTo>
                    <a:pt x="109" y="56"/>
                    <a:pt x="109" y="56"/>
                    <a:pt x="108" y="56"/>
                  </a:cubicBezTo>
                  <a:cubicBezTo>
                    <a:pt x="110" y="55"/>
                    <a:pt x="111" y="55"/>
                    <a:pt x="112" y="54"/>
                  </a:cubicBezTo>
                  <a:cubicBezTo>
                    <a:pt x="114" y="52"/>
                    <a:pt x="116" y="50"/>
                    <a:pt x="116" y="47"/>
                  </a:cubicBezTo>
                  <a:cubicBezTo>
                    <a:pt x="116" y="43"/>
                    <a:pt x="114" y="39"/>
                    <a:pt x="111" y="38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9" name="Group 188">
            <a:extLst>
              <a:ext uri="{FF2B5EF4-FFF2-40B4-BE49-F238E27FC236}">
                <a16:creationId xmlns:a16="http://schemas.microsoft.com/office/drawing/2014/main" id="{46EC3CF4-86AC-4235-AE74-C54B263C8A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6117" y="4096581"/>
            <a:ext cx="841375" cy="841375"/>
            <a:chOff x="2984" y="2582"/>
            <a:chExt cx="530" cy="530"/>
          </a:xfrm>
        </p:grpSpPr>
        <p:sp>
          <p:nvSpPr>
            <p:cNvPr id="220" name="AutoShape 187">
              <a:extLst>
                <a:ext uri="{FF2B5EF4-FFF2-40B4-BE49-F238E27FC236}">
                  <a16:creationId xmlns:a16="http://schemas.microsoft.com/office/drawing/2014/main" id="{58E31B60-1A93-4E48-9452-821C49DAC2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84" y="2582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Oval 189">
              <a:extLst>
                <a:ext uri="{FF2B5EF4-FFF2-40B4-BE49-F238E27FC236}">
                  <a16:creationId xmlns:a16="http://schemas.microsoft.com/office/drawing/2014/main" id="{0372C037-68BB-4E77-84E1-2A9E2EBF4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" y="2582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90">
              <a:extLst>
                <a:ext uri="{FF2B5EF4-FFF2-40B4-BE49-F238E27FC236}">
                  <a16:creationId xmlns:a16="http://schemas.microsoft.com/office/drawing/2014/main" id="{4036BCC6-C29D-4304-83A4-4D90D8302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2" y="2600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91">
              <a:extLst>
                <a:ext uri="{FF2B5EF4-FFF2-40B4-BE49-F238E27FC236}">
                  <a16:creationId xmlns:a16="http://schemas.microsoft.com/office/drawing/2014/main" id="{E224064F-8EED-4A3F-9CA9-E12BBE8277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2" y="2741"/>
              <a:ext cx="297" cy="286"/>
            </a:xfrm>
            <a:custGeom>
              <a:avLst/>
              <a:gdLst>
                <a:gd name="T0" fmla="*/ 110 w 116"/>
                <a:gd name="T1" fmla="*/ 51 h 112"/>
                <a:gd name="T2" fmla="*/ 93 w 116"/>
                <a:gd name="T3" fmla="*/ 51 h 112"/>
                <a:gd name="T4" fmla="*/ 91 w 116"/>
                <a:gd name="T5" fmla="*/ 53 h 112"/>
                <a:gd name="T6" fmla="*/ 93 w 116"/>
                <a:gd name="T7" fmla="*/ 55 h 112"/>
                <a:gd name="T8" fmla="*/ 106 w 116"/>
                <a:gd name="T9" fmla="*/ 58 h 112"/>
                <a:gd name="T10" fmla="*/ 105 w 116"/>
                <a:gd name="T11" fmla="*/ 67 h 112"/>
                <a:gd name="T12" fmla="*/ 69 w 116"/>
                <a:gd name="T13" fmla="*/ 65 h 112"/>
                <a:gd name="T14" fmla="*/ 65 w 116"/>
                <a:gd name="T15" fmla="*/ 65 h 112"/>
                <a:gd name="T16" fmla="*/ 64 w 116"/>
                <a:gd name="T17" fmla="*/ 68 h 112"/>
                <a:gd name="T18" fmla="*/ 56 w 116"/>
                <a:gd name="T19" fmla="*/ 108 h 112"/>
                <a:gd name="T20" fmla="*/ 49 w 116"/>
                <a:gd name="T21" fmla="*/ 85 h 112"/>
                <a:gd name="T22" fmla="*/ 33 w 116"/>
                <a:gd name="T23" fmla="*/ 52 h 112"/>
                <a:gd name="T24" fmla="*/ 29 w 116"/>
                <a:gd name="T25" fmla="*/ 50 h 112"/>
                <a:gd name="T26" fmla="*/ 36 w 116"/>
                <a:gd name="T27" fmla="*/ 7 h 112"/>
                <a:gd name="T28" fmla="*/ 59 w 116"/>
                <a:gd name="T29" fmla="*/ 4 h 112"/>
                <a:gd name="T30" fmla="*/ 103 w 116"/>
                <a:gd name="T31" fmla="*/ 8 h 112"/>
                <a:gd name="T32" fmla="*/ 103 w 116"/>
                <a:gd name="T33" fmla="*/ 20 h 112"/>
                <a:gd name="T34" fmla="*/ 103 w 116"/>
                <a:gd name="T35" fmla="*/ 24 h 112"/>
                <a:gd name="T36" fmla="*/ 110 w 116"/>
                <a:gd name="T37" fmla="*/ 31 h 112"/>
                <a:gd name="T38" fmla="*/ 104 w 116"/>
                <a:gd name="T39" fmla="*/ 38 h 112"/>
                <a:gd name="T40" fmla="*/ 107 w 116"/>
                <a:gd name="T41" fmla="*/ 40 h 112"/>
                <a:gd name="T42" fmla="*/ 25 w 116"/>
                <a:gd name="T43" fmla="*/ 53 h 112"/>
                <a:gd name="T44" fmla="*/ 4 w 116"/>
                <a:gd name="T45" fmla="*/ 54 h 112"/>
                <a:gd name="T46" fmla="*/ 24 w 116"/>
                <a:gd name="T47" fmla="*/ 5 h 112"/>
                <a:gd name="T48" fmla="*/ 25 w 116"/>
                <a:gd name="T49" fmla="*/ 9 h 112"/>
                <a:gd name="T50" fmla="*/ 25 w 116"/>
                <a:gd name="T51" fmla="*/ 53 h 112"/>
                <a:gd name="T52" fmla="*/ 114 w 116"/>
                <a:gd name="T53" fmla="*/ 31 h 112"/>
                <a:gd name="T54" fmla="*/ 110 w 116"/>
                <a:gd name="T55" fmla="*/ 15 h 112"/>
                <a:gd name="T56" fmla="*/ 83 w 116"/>
                <a:gd name="T57" fmla="*/ 3 h 112"/>
                <a:gd name="T58" fmla="*/ 36 w 116"/>
                <a:gd name="T59" fmla="*/ 4 h 112"/>
                <a:gd name="T60" fmla="*/ 29 w 116"/>
                <a:gd name="T61" fmla="*/ 6 h 112"/>
                <a:gd name="T62" fmla="*/ 2 w 116"/>
                <a:gd name="T63" fmla="*/ 1 h 112"/>
                <a:gd name="T64" fmla="*/ 0 w 116"/>
                <a:gd name="T65" fmla="*/ 56 h 112"/>
                <a:gd name="T66" fmla="*/ 24 w 116"/>
                <a:gd name="T67" fmla="*/ 58 h 112"/>
                <a:gd name="T68" fmla="*/ 30 w 116"/>
                <a:gd name="T69" fmla="*/ 54 h 112"/>
                <a:gd name="T70" fmla="*/ 45 w 116"/>
                <a:gd name="T71" fmla="*/ 86 h 112"/>
                <a:gd name="T72" fmla="*/ 47 w 116"/>
                <a:gd name="T73" fmla="*/ 110 h 112"/>
                <a:gd name="T74" fmla="*/ 58 w 116"/>
                <a:gd name="T75" fmla="*/ 111 h 112"/>
                <a:gd name="T76" fmla="*/ 68 w 116"/>
                <a:gd name="T77" fmla="*/ 69 h 112"/>
                <a:gd name="T78" fmla="*/ 101 w 116"/>
                <a:gd name="T79" fmla="*/ 72 h 112"/>
                <a:gd name="T80" fmla="*/ 111 w 116"/>
                <a:gd name="T81" fmla="*/ 63 h 112"/>
                <a:gd name="T82" fmla="*/ 108 w 116"/>
                <a:gd name="T83" fmla="*/ 56 h 112"/>
                <a:gd name="T84" fmla="*/ 116 w 116"/>
                <a:gd name="T85" fmla="*/ 4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" h="112">
                  <a:moveTo>
                    <a:pt x="112" y="47"/>
                  </a:moveTo>
                  <a:cubicBezTo>
                    <a:pt x="112" y="48"/>
                    <a:pt x="111" y="50"/>
                    <a:pt x="110" y="51"/>
                  </a:cubicBezTo>
                  <a:cubicBezTo>
                    <a:pt x="109" y="52"/>
                    <a:pt x="107" y="53"/>
                    <a:pt x="105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2" y="52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4" y="56"/>
                    <a:pt x="105" y="57"/>
                    <a:pt x="106" y="58"/>
                  </a:cubicBezTo>
                  <a:cubicBezTo>
                    <a:pt x="107" y="59"/>
                    <a:pt x="107" y="61"/>
                    <a:pt x="107" y="63"/>
                  </a:cubicBezTo>
                  <a:cubicBezTo>
                    <a:pt x="107" y="64"/>
                    <a:pt x="106" y="66"/>
                    <a:pt x="105" y="67"/>
                  </a:cubicBezTo>
                  <a:cubicBezTo>
                    <a:pt x="104" y="68"/>
                    <a:pt x="103" y="69"/>
                    <a:pt x="101" y="69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4" y="65"/>
                    <a:pt x="63" y="66"/>
                    <a:pt x="63" y="67"/>
                  </a:cubicBezTo>
                  <a:cubicBezTo>
                    <a:pt x="63" y="67"/>
                    <a:pt x="63" y="68"/>
                    <a:pt x="64" y="68"/>
                  </a:cubicBezTo>
                  <a:cubicBezTo>
                    <a:pt x="64" y="68"/>
                    <a:pt x="69" y="72"/>
                    <a:pt x="65" y="93"/>
                  </a:cubicBezTo>
                  <a:cubicBezTo>
                    <a:pt x="63" y="101"/>
                    <a:pt x="60" y="106"/>
                    <a:pt x="56" y="108"/>
                  </a:cubicBezTo>
                  <a:cubicBezTo>
                    <a:pt x="54" y="109"/>
                    <a:pt x="51" y="108"/>
                    <a:pt x="50" y="107"/>
                  </a:cubicBezTo>
                  <a:cubicBezTo>
                    <a:pt x="50" y="103"/>
                    <a:pt x="49" y="87"/>
                    <a:pt x="49" y="85"/>
                  </a:cubicBezTo>
                  <a:cubicBezTo>
                    <a:pt x="48" y="83"/>
                    <a:pt x="40" y="67"/>
                    <a:pt x="34" y="54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2" y="50"/>
                    <a:pt x="30" y="50"/>
                    <a:pt x="30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1" y="9"/>
                    <a:pt x="33" y="8"/>
                    <a:pt x="36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42" y="5"/>
                    <a:pt x="49" y="4"/>
                    <a:pt x="59" y="4"/>
                  </a:cubicBezTo>
                  <a:cubicBezTo>
                    <a:pt x="65" y="4"/>
                    <a:pt x="73" y="4"/>
                    <a:pt x="83" y="6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8"/>
                    <a:pt x="107" y="11"/>
                    <a:pt x="106" y="15"/>
                  </a:cubicBezTo>
                  <a:cubicBezTo>
                    <a:pt x="106" y="17"/>
                    <a:pt x="105" y="20"/>
                    <a:pt x="103" y="20"/>
                  </a:cubicBezTo>
                  <a:cubicBezTo>
                    <a:pt x="102" y="21"/>
                    <a:pt x="102" y="21"/>
                    <a:pt x="102" y="22"/>
                  </a:cubicBezTo>
                  <a:cubicBezTo>
                    <a:pt x="102" y="23"/>
                    <a:pt x="102" y="24"/>
                    <a:pt x="103" y="24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9" y="24"/>
                    <a:pt x="111" y="27"/>
                    <a:pt x="110" y="31"/>
                  </a:cubicBezTo>
                  <a:cubicBezTo>
                    <a:pt x="110" y="34"/>
                    <a:pt x="108" y="36"/>
                    <a:pt x="106" y="36"/>
                  </a:cubicBezTo>
                  <a:cubicBezTo>
                    <a:pt x="105" y="36"/>
                    <a:pt x="104" y="37"/>
                    <a:pt x="104" y="38"/>
                  </a:cubicBezTo>
                  <a:cubicBezTo>
                    <a:pt x="104" y="39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10" y="40"/>
                    <a:pt x="113" y="43"/>
                    <a:pt x="112" y="47"/>
                  </a:cubicBezTo>
                  <a:moveTo>
                    <a:pt x="25" y="53"/>
                  </a:moveTo>
                  <a:cubicBezTo>
                    <a:pt x="25" y="53"/>
                    <a:pt x="25" y="54"/>
                    <a:pt x="2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6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51"/>
                    <a:pt x="25" y="51"/>
                    <a:pt x="25" y="51"/>
                  </a:cubicBezTo>
                  <a:lnTo>
                    <a:pt x="25" y="53"/>
                  </a:lnTo>
                  <a:close/>
                  <a:moveTo>
                    <a:pt x="111" y="38"/>
                  </a:moveTo>
                  <a:cubicBezTo>
                    <a:pt x="112" y="36"/>
                    <a:pt x="114" y="34"/>
                    <a:pt x="114" y="31"/>
                  </a:cubicBezTo>
                  <a:cubicBezTo>
                    <a:pt x="114" y="26"/>
                    <a:pt x="112" y="22"/>
                    <a:pt x="108" y="21"/>
                  </a:cubicBezTo>
                  <a:cubicBezTo>
                    <a:pt x="109" y="19"/>
                    <a:pt x="110" y="17"/>
                    <a:pt x="110" y="15"/>
                  </a:cubicBezTo>
                  <a:cubicBezTo>
                    <a:pt x="110" y="10"/>
                    <a:pt x="107" y="5"/>
                    <a:pt x="103" y="5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73" y="1"/>
                    <a:pt x="65" y="0"/>
                    <a:pt x="59" y="0"/>
                  </a:cubicBezTo>
                  <a:cubicBezTo>
                    <a:pt x="48" y="0"/>
                    <a:pt x="42" y="2"/>
                    <a:pt x="36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2" y="5"/>
                    <a:pt x="30" y="5"/>
                    <a:pt x="29" y="6"/>
                  </a:cubicBezTo>
                  <a:cubicBezTo>
                    <a:pt x="28" y="3"/>
                    <a:pt x="26" y="1"/>
                    <a:pt x="24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7"/>
                    <a:pt x="1" y="58"/>
                    <a:pt x="2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6" y="58"/>
                    <a:pt x="28" y="56"/>
                    <a:pt x="29" y="54"/>
                  </a:cubicBezTo>
                  <a:cubicBezTo>
                    <a:pt x="29" y="54"/>
                    <a:pt x="29" y="54"/>
                    <a:pt x="30" y="54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9" y="72"/>
                    <a:pt x="45" y="84"/>
                    <a:pt x="45" y="86"/>
                  </a:cubicBezTo>
                  <a:cubicBezTo>
                    <a:pt x="46" y="88"/>
                    <a:pt x="46" y="101"/>
                    <a:pt x="46" y="108"/>
                  </a:cubicBezTo>
                  <a:cubicBezTo>
                    <a:pt x="46" y="109"/>
                    <a:pt x="47" y="109"/>
                    <a:pt x="47" y="110"/>
                  </a:cubicBezTo>
                  <a:cubicBezTo>
                    <a:pt x="47" y="110"/>
                    <a:pt x="50" y="112"/>
                    <a:pt x="54" y="112"/>
                  </a:cubicBezTo>
                  <a:cubicBezTo>
                    <a:pt x="55" y="112"/>
                    <a:pt x="56" y="111"/>
                    <a:pt x="58" y="111"/>
                  </a:cubicBezTo>
                  <a:cubicBezTo>
                    <a:pt x="62" y="109"/>
                    <a:pt x="66" y="103"/>
                    <a:pt x="68" y="94"/>
                  </a:cubicBezTo>
                  <a:cubicBezTo>
                    <a:pt x="71" y="79"/>
                    <a:pt x="70" y="72"/>
                    <a:pt x="68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3" y="72"/>
                    <a:pt x="106" y="71"/>
                    <a:pt x="107" y="70"/>
                  </a:cubicBezTo>
                  <a:cubicBezTo>
                    <a:pt x="109" y="68"/>
                    <a:pt x="110" y="66"/>
                    <a:pt x="111" y="63"/>
                  </a:cubicBezTo>
                  <a:cubicBezTo>
                    <a:pt x="111" y="61"/>
                    <a:pt x="110" y="58"/>
                    <a:pt x="109" y="56"/>
                  </a:cubicBezTo>
                  <a:cubicBezTo>
                    <a:pt x="109" y="56"/>
                    <a:pt x="109" y="56"/>
                    <a:pt x="108" y="56"/>
                  </a:cubicBezTo>
                  <a:cubicBezTo>
                    <a:pt x="110" y="55"/>
                    <a:pt x="111" y="55"/>
                    <a:pt x="112" y="54"/>
                  </a:cubicBezTo>
                  <a:cubicBezTo>
                    <a:pt x="114" y="52"/>
                    <a:pt x="116" y="50"/>
                    <a:pt x="116" y="47"/>
                  </a:cubicBezTo>
                  <a:cubicBezTo>
                    <a:pt x="116" y="43"/>
                    <a:pt x="114" y="39"/>
                    <a:pt x="111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8" name="Group 194">
            <a:extLst>
              <a:ext uri="{FF2B5EF4-FFF2-40B4-BE49-F238E27FC236}">
                <a16:creationId xmlns:a16="http://schemas.microsoft.com/office/drawing/2014/main" id="{251BAE0C-CD62-498B-9C47-D51ED42E2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33989" y="4137856"/>
            <a:ext cx="758825" cy="758825"/>
            <a:chOff x="4994" y="2586"/>
            <a:chExt cx="478" cy="478"/>
          </a:xfrm>
        </p:grpSpPr>
        <p:sp>
          <p:nvSpPr>
            <p:cNvPr id="229" name="AutoShape 193">
              <a:extLst>
                <a:ext uri="{FF2B5EF4-FFF2-40B4-BE49-F238E27FC236}">
                  <a16:creationId xmlns:a16="http://schemas.microsoft.com/office/drawing/2014/main" id="{4571D3D1-3387-4491-9B03-A3CD3C7088B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94" y="258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5">
              <a:extLst>
                <a:ext uri="{FF2B5EF4-FFF2-40B4-BE49-F238E27FC236}">
                  <a16:creationId xmlns:a16="http://schemas.microsoft.com/office/drawing/2014/main" id="{5C80F446-6DED-4E0D-BBB3-656C459D1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6" y="258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96">
              <a:extLst>
                <a:ext uri="{FF2B5EF4-FFF2-40B4-BE49-F238E27FC236}">
                  <a16:creationId xmlns:a16="http://schemas.microsoft.com/office/drawing/2014/main" id="{67A72683-0B32-49E3-B4DF-AD6F0483D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4" y="2674"/>
              <a:ext cx="241" cy="265"/>
            </a:xfrm>
            <a:custGeom>
              <a:avLst/>
              <a:gdLst>
                <a:gd name="T0" fmla="*/ 66 w 241"/>
                <a:gd name="T1" fmla="*/ 64 h 265"/>
                <a:gd name="T2" fmla="*/ 226 w 241"/>
                <a:gd name="T3" fmla="*/ 10 h 265"/>
                <a:gd name="T4" fmla="*/ 233 w 241"/>
                <a:gd name="T5" fmla="*/ 214 h 265"/>
                <a:gd name="T6" fmla="*/ 231 w 241"/>
                <a:gd name="T7" fmla="*/ 226 h 265"/>
                <a:gd name="T8" fmla="*/ 223 w 241"/>
                <a:gd name="T9" fmla="*/ 238 h 265"/>
                <a:gd name="T10" fmla="*/ 214 w 241"/>
                <a:gd name="T11" fmla="*/ 245 h 265"/>
                <a:gd name="T12" fmla="*/ 199 w 241"/>
                <a:gd name="T13" fmla="*/ 253 h 265"/>
                <a:gd name="T14" fmla="*/ 182 w 241"/>
                <a:gd name="T15" fmla="*/ 253 h 265"/>
                <a:gd name="T16" fmla="*/ 167 w 241"/>
                <a:gd name="T17" fmla="*/ 243 h 265"/>
                <a:gd name="T18" fmla="*/ 160 w 241"/>
                <a:gd name="T19" fmla="*/ 233 h 265"/>
                <a:gd name="T20" fmla="*/ 162 w 241"/>
                <a:gd name="T21" fmla="*/ 221 h 265"/>
                <a:gd name="T22" fmla="*/ 169 w 241"/>
                <a:gd name="T23" fmla="*/ 206 h 265"/>
                <a:gd name="T24" fmla="*/ 184 w 241"/>
                <a:gd name="T25" fmla="*/ 196 h 265"/>
                <a:gd name="T26" fmla="*/ 201 w 241"/>
                <a:gd name="T27" fmla="*/ 194 h 265"/>
                <a:gd name="T28" fmla="*/ 214 w 241"/>
                <a:gd name="T29" fmla="*/ 66 h 265"/>
                <a:gd name="T30" fmla="*/ 211 w 241"/>
                <a:gd name="T31" fmla="*/ 59 h 265"/>
                <a:gd name="T32" fmla="*/ 201 w 241"/>
                <a:gd name="T33" fmla="*/ 57 h 265"/>
                <a:gd name="T34" fmla="*/ 81 w 241"/>
                <a:gd name="T35" fmla="*/ 101 h 265"/>
                <a:gd name="T36" fmla="*/ 76 w 241"/>
                <a:gd name="T37" fmla="*/ 108 h 265"/>
                <a:gd name="T38" fmla="*/ 81 w 241"/>
                <a:gd name="T39" fmla="*/ 221 h 265"/>
                <a:gd name="T40" fmla="*/ 79 w 241"/>
                <a:gd name="T41" fmla="*/ 233 h 265"/>
                <a:gd name="T42" fmla="*/ 71 w 241"/>
                <a:gd name="T43" fmla="*/ 243 h 265"/>
                <a:gd name="T44" fmla="*/ 62 w 241"/>
                <a:gd name="T45" fmla="*/ 250 h 265"/>
                <a:gd name="T46" fmla="*/ 44 w 241"/>
                <a:gd name="T47" fmla="*/ 255 h 265"/>
                <a:gd name="T48" fmla="*/ 27 w 241"/>
                <a:gd name="T49" fmla="*/ 255 h 265"/>
                <a:gd name="T50" fmla="*/ 13 w 241"/>
                <a:gd name="T51" fmla="*/ 245 h 265"/>
                <a:gd name="T52" fmla="*/ 10 w 241"/>
                <a:gd name="T53" fmla="*/ 236 h 265"/>
                <a:gd name="T54" fmla="*/ 10 w 241"/>
                <a:gd name="T55" fmla="*/ 223 h 265"/>
                <a:gd name="T56" fmla="*/ 20 w 241"/>
                <a:gd name="T57" fmla="*/ 209 h 265"/>
                <a:gd name="T58" fmla="*/ 35 w 241"/>
                <a:gd name="T59" fmla="*/ 201 h 265"/>
                <a:gd name="T60" fmla="*/ 52 w 241"/>
                <a:gd name="T61" fmla="*/ 196 h 265"/>
                <a:gd name="T62" fmla="*/ 64 w 241"/>
                <a:gd name="T63" fmla="*/ 54 h 265"/>
                <a:gd name="T64" fmla="*/ 57 w 241"/>
                <a:gd name="T65" fmla="*/ 59 h 265"/>
                <a:gd name="T66" fmla="*/ 54 w 241"/>
                <a:gd name="T67" fmla="*/ 66 h 265"/>
                <a:gd name="T68" fmla="*/ 37 w 241"/>
                <a:gd name="T69" fmla="*/ 189 h 265"/>
                <a:gd name="T70" fmla="*/ 20 w 241"/>
                <a:gd name="T71" fmla="*/ 199 h 265"/>
                <a:gd name="T72" fmla="*/ 5 w 241"/>
                <a:gd name="T73" fmla="*/ 214 h 265"/>
                <a:gd name="T74" fmla="*/ 0 w 241"/>
                <a:gd name="T75" fmla="*/ 228 h 265"/>
                <a:gd name="T76" fmla="*/ 0 w 241"/>
                <a:gd name="T77" fmla="*/ 240 h 265"/>
                <a:gd name="T78" fmla="*/ 10 w 241"/>
                <a:gd name="T79" fmla="*/ 255 h 265"/>
                <a:gd name="T80" fmla="*/ 30 w 241"/>
                <a:gd name="T81" fmla="*/ 265 h 265"/>
                <a:gd name="T82" fmla="*/ 52 w 241"/>
                <a:gd name="T83" fmla="*/ 265 h 265"/>
                <a:gd name="T84" fmla="*/ 69 w 241"/>
                <a:gd name="T85" fmla="*/ 258 h 265"/>
                <a:gd name="T86" fmla="*/ 81 w 241"/>
                <a:gd name="T87" fmla="*/ 245 h 265"/>
                <a:gd name="T88" fmla="*/ 89 w 241"/>
                <a:gd name="T89" fmla="*/ 233 h 265"/>
                <a:gd name="T90" fmla="*/ 89 w 241"/>
                <a:gd name="T91" fmla="*/ 216 h 265"/>
                <a:gd name="T92" fmla="*/ 86 w 241"/>
                <a:gd name="T93" fmla="*/ 108 h 265"/>
                <a:gd name="T94" fmla="*/ 204 w 241"/>
                <a:gd name="T95" fmla="*/ 66 h 265"/>
                <a:gd name="T96" fmla="*/ 209 w 241"/>
                <a:gd name="T97" fmla="*/ 184 h 265"/>
                <a:gd name="T98" fmla="*/ 187 w 241"/>
                <a:gd name="T99" fmla="*/ 187 h 265"/>
                <a:gd name="T100" fmla="*/ 169 w 241"/>
                <a:gd name="T101" fmla="*/ 196 h 265"/>
                <a:gd name="T102" fmla="*/ 155 w 241"/>
                <a:gd name="T103" fmla="*/ 211 h 265"/>
                <a:gd name="T104" fmla="*/ 152 w 241"/>
                <a:gd name="T105" fmla="*/ 226 h 265"/>
                <a:gd name="T106" fmla="*/ 152 w 241"/>
                <a:gd name="T107" fmla="*/ 238 h 265"/>
                <a:gd name="T108" fmla="*/ 162 w 241"/>
                <a:gd name="T109" fmla="*/ 253 h 265"/>
                <a:gd name="T110" fmla="*/ 184 w 241"/>
                <a:gd name="T111" fmla="*/ 263 h 265"/>
                <a:gd name="T112" fmla="*/ 206 w 241"/>
                <a:gd name="T113" fmla="*/ 260 h 265"/>
                <a:gd name="T114" fmla="*/ 223 w 241"/>
                <a:gd name="T115" fmla="*/ 250 h 265"/>
                <a:gd name="T116" fmla="*/ 236 w 241"/>
                <a:gd name="T117" fmla="*/ 240 h 265"/>
                <a:gd name="T118" fmla="*/ 241 w 241"/>
                <a:gd name="T119" fmla="*/ 226 h 265"/>
                <a:gd name="T120" fmla="*/ 241 w 241"/>
                <a:gd name="T121" fmla="*/ 209 h 265"/>
                <a:gd name="T122" fmla="*/ 233 w 241"/>
                <a:gd name="T123" fmla="*/ 8 h 265"/>
                <a:gd name="T124" fmla="*/ 228 w 241"/>
                <a:gd name="T125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1" h="265">
                  <a:moveTo>
                    <a:pt x="64" y="66"/>
                  </a:move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223" y="8"/>
                  </a:lnTo>
                  <a:lnTo>
                    <a:pt x="223" y="8"/>
                  </a:lnTo>
                  <a:lnTo>
                    <a:pt x="223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31" y="206"/>
                  </a:lnTo>
                  <a:lnTo>
                    <a:pt x="231" y="209"/>
                  </a:lnTo>
                  <a:lnTo>
                    <a:pt x="231" y="209"/>
                  </a:lnTo>
                  <a:lnTo>
                    <a:pt x="231" y="211"/>
                  </a:lnTo>
                  <a:lnTo>
                    <a:pt x="231" y="214"/>
                  </a:lnTo>
                  <a:lnTo>
                    <a:pt x="233" y="214"/>
                  </a:lnTo>
                  <a:lnTo>
                    <a:pt x="233" y="216"/>
                  </a:lnTo>
                  <a:lnTo>
                    <a:pt x="233" y="218"/>
                  </a:lnTo>
                  <a:lnTo>
                    <a:pt x="233" y="218"/>
                  </a:lnTo>
                  <a:lnTo>
                    <a:pt x="231" y="221"/>
                  </a:lnTo>
                  <a:lnTo>
                    <a:pt x="231" y="221"/>
                  </a:lnTo>
                  <a:lnTo>
                    <a:pt x="231" y="223"/>
                  </a:lnTo>
                  <a:lnTo>
                    <a:pt x="231" y="226"/>
                  </a:lnTo>
                  <a:lnTo>
                    <a:pt x="231" y="226"/>
                  </a:lnTo>
                  <a:lnTo>
                    <a:pt x="231" y="228"/>
                  </a:lnTo>
                  <a:lnTo>
                    <a:pt x="228" y="228"/>
                  </a:lnTo>
                  <a:lnTo>
                    <a:pt x="228" y="231"/>
                  </a:lnTo>
                  <a:lnTo>
                    <a:pt x="228" y="233"/>
                  </a:lnTo>
                  <a:lnTo>
                    <a:pt x="228" y="233"/>
                  </a:lnTo>
                  <a:lnTo>
                    <a:pt x="226" y="236"/>
                  </a:lnTo>
                  <a:lnTo>
                    <a:pt x="226" y="236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3" y="240"/>
                  </a:lnTo>
                  <a:lnTo>
                    <a:pt x="221" y="240"/>
                  </a:lnTo>
                  <a:lnTo>
                    <a:pt x="221" y="240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6" y="245"/>
                  </a:lnTo>
                  <a:lnTo>
                    <a:pt x="214" y="245"/>
                  </a:lnTo>
                  <a:lnTo>
                    <a:pt x="214" y="248"/>
                  </a:lnTo>
                  <a:lnTo>
                    <a:pt x="211" y="248"/>
                  </a:lnTo>
                  <a:lnTo>
                    <a:pt x="209" y="248"/>
                  </a:lnTo>
                  <a:lnTo>
                    <a:pt x="209" y="248"/>
                  </a:lnTo>
                  <a:lnTo>
                    <a:pt x="206" y="250"/>
                  </a:lnTo>
                  <a:lnTo>
                    <a:pt x="204" y="250"/>
                  </a:lnTo>
                  <a:lnTo>
                    <a:pt x="201" y="250"/>
                  </a:lnTo>
                  <a:lnTo>
                    <a:pt x="199" y="253"/>
                  </a:lnTo>
                  <a:lnTo>
                    <a:pt x="196" y="253"/>
                  </a:lnTo>
                  <a:lnTo>
                    <a:pt x="194" y="253"/>
                  </a:lnTo>
                  <a:lnTo>
                    <a:pt x="192" y="253"/>
                  </a:lnTo>
                  <a:lnTo>
                    <a:pt x="189" y="253"/>
                  </a:lnTo>
                  <a:lnTo>
                    <a:pt x="187" y="253"/>
                  </a:lnTo>
                  <a:lnTo>
                    <a:pt x="184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79" y="250"/>
                  </a:lnTo>
                  <a:lnTo>
                    <a:pt x="177" y="250"/>
                  </a:lnTo>
                  <a:lnTo>
                    <a:pt x="174" y="250"/>
                  </a:lnTo>
                  <a:lnTo>
                    <a:pt x="172" y="248"/>
                  </a:lnTo>
                  <a:lnTo>
                    <a:pt x="172" y="248"/>
                  </a:lnTo>
                  <a:lnTo>
                    <a:pt x="169" y="245"/>
                  </a:lnTo>
                  <a:lnTo>
                    <a:pt x="167" y="245"/>
                  </a:lnTo>
                  <a:lnTo>
                    <a:pt x="167" y="243"/>
                  </a:lnTo>
                  <a:lnTo>
                    <a:pt x="165" y="243"/>
                  </a:lnTo>
                  <a:lnTo>
                    <a:pt x="165" y="240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3"/>
                  </a:lnTo>
                  <a:lnTo>
                    <a:pt x="160" y="233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28"/>
                  </a:lnTo>
                  <a:lnTo>
                    <a:pt x="160" y="228"/>
                  </a:lnTo>
                  <a:lnTo>
                    <a:pt x="160" y="226"/>
                  </a:lnTo>
                  <a:lnTo>
                    <a:pt x="160" y="226"/>
                  </a:lnTo>
                  <a:lnTo>
                    <a:pt x="162" y="223"/>
                  </a:lnTo>
                  <a:lnTo>
                    <a:pt x="162" y="221"/>
                  </a:lnTo>
                  <a:lnTo>
                    <a:pt x="162" y="218"/>
                  </a:lnTo>
                  <a:lnTo>
                    <a:pt x="162" y="216"/>
                  </a:lnTo>
                  <a:lnTo>
                    <a:pt x="165" y="216"/>
                  </a:lnTo>
                  <a:lnTo>
                    <a:pt x="165" y="214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9" y="209"/>
                  </a:lnTo>
                  <a:lnTo>
                    <a:pt x="169" y="206"/>
                  </a:lnTo>
                  <a:lnTo>
                    <a:pt x="172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7" y="201"/>
                  </a:lnTo>
                  <a:lnTo>
                    <a:pt x="177" y="201"/>
                  </a:lnTo>
                  <a:lnTo>
                    <a:pt x="179" y="199"/>
                  </a:lnTo>
                  <a:lnTo>
                    <a:pt x="182" y="199"/>
                  </a:lnTo>
                  <a:lnTo>
                    <a:pt x="184" y="196"/>
                  </a:lnTo>
                  <a:lnTo>
                    <a:pt x="187" y="196"/>
                  </a:lnTo>
                  <a:lnTo>
                    <a:pt x="187" y="196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4" y="194"/>
                  </a:lnTo>
                  <a:lnTo>
                    <a:pt x="196" y="194"/>
                  </a:lnTo>
                  <a:lnTo>
                    <a:pt x="199" y="194"/>
                  </a:lnTo>
                  <a:lnTo>
                    <a:pt x="201" y="194"/>
                  </a:lnTo>
                  <a:lnTo>
                    <a:pt x="204" y="194"/>
                  </a:lnTo>
                  <a:lnTo>
                    <a:pt x="206" y="194"/>
                  </a:lnTo>
                  <a:lnTo>
                    <a:pt x="209" y="194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8" y="196"/>
                  </a:lnTo>
                  <a:lnTo>
                    <a:pt x="216" y="66"/>
                  </a:lnTo>
                  <a:lnTo>
                    <a:pt x="214" y="66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2"/>
                  </a:lnTo>
                  <a:lnTo>
                    <a:pt x="214" y="62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6" y="57"/>
                  </a:lnTo>
                  <a:lnTo>
                    <a:pt x="206" y="57"/>
                  </a:lnTo>
                  <a:lnTo>
                    <a:pt x="204" y="57"/>
                  </a:lnTo>
                  <a:lnTo>
                    <a:pt x="204" y="57"/>
                  </a:lnTo>
                  <a:lnTo>
                    <a:pt x="201" y="57"/>
                  </a:lnTo>
                  <a:lnTo>
                    <a:pt x="201" y="57"/>
                  </a:lnTo>
                  <a:lnTo>
                    <a:pt x="89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1" y="98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9" y="101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1"/>
                  </a:lnTo>
                  <a:lnTo>
                    <a:pt x="79" y="211"/>
                  </a:lnTo>
                  <a:lnTo>
                    <a:pt x="79" y="211"/>
                  </a:lnTo>
                  <a:lnTo>
                    <a:pt x="79" y="214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81" y="218"/>
                  </a:lnTo>
                  <a:lnTo>
                    <a:pt x="81" y="221"/>
                  </a:lnTo>
                  <a:lnTo>
                    <a:pt x="81" y="221"/>
                  </a:lnTo>
                  <a:lnTo>
                    <a:pt x="79" y="223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8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79" y="233"/>
                  </a:lnTo>
                  <a:lnTo>
                    <a:pt x="76" y="233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6" y="238"/>
                  </a:lnTo>
                  <a:lnTo>
                    <a:pt x="74" y="238"/>
                  </a:lnTo>
                  <a:lnTo>
                    <a:pt x="74" y="240"/>
                  </a:lnTo>
                  <a:lnTo>
                    <a:pt x="71" y="240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4" y="248"/>
                  </a:lnTo>
                  <a:lnTo>
                    <a:pt x="62" y="250"/>
                  </a:lnTo>
                  <a:lnTo>
                    <a:pt x="62" y="250"/>
                  </a:lnTo>
                  <a:lnTo>
                    <a:pt x="59" y="250"/>
                  </a:lnTo>
                  <a:lnTo>
                    <a:pt x="57" y="253"/>
                  </a:lnTo>
                  <a:lnTo>
                    <a:pt x="57" y="253"/>
                  </a:lnTo>
                  <a:lnTo>
                    <a:pt x="54" y="253"/>
                  </a:lnTo>
                  <a:lnTo>
                    <a:pt x="52" y="255"/>
                  </a:lnTo>
                  <a:lnTo>
                    <a:pt x="49" y="255"/>
                  </a:lnTo>
                  <a:lnTo>
                    <a:pt x="47" y="255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8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0" y="255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2" y="253"/>
                  </a:lnTo>
                  <a:lnTo>
                    <a:pt x="20" y="253"/>
                  </a:lnTo>
                  <a:lnTo>
                    <a:pt x="20" y="250"/>
                  </a:lnTo>
                  <a:lnTo>
                    <a:pt x="17" y="250"/>
                  </a:lnTo>
                  <a:lnTo>
                    <a:pt x="15" y="248"/>
                  </a:lnTo>
                  <a:lnTo>
                    <a:pt x="15" y="248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0" y="243"/>
                  </a:lnTo>
                  <a:lnTo>
                    <a:pt x="10" y="240"/>
                  </a:lnTo>
                  <a:lnTo>
                    <a:pt x="10" y="240"/>
                  </a:lnTo>
                  <a:lnTo>
                    <a:pt x="10" y="238"/>
                  </a:lnTo>
                  <a:lnTo>
                    <a:pt x="10" y="238"/>
                  </a:lnTo>
                  <a:lnTo>
                    <a:pt x="10" y="236"/>
                  </a:lnTo>
                  <a:lnTo>
                    <a:pt x="10" y="236"/>
                  </a:lnTo>
                  <a:lnTo>
                    <a:pt x="8" y="236"/>
                  </a:lnTo>
                  <a:lnTo>
                    <a:pt x="8" y="233"/>
                  </a:lnTo>
                  <a:lnTo>
                    <a:pt x="8" y="233"/>
                  </a:lnTo>
                  <a:lnTo>
                    <a:pt x="8" y="231"/>
                  </a:lnTo>
                  <a:lnTo>
                    <a:pt x="8" y="231"/>
                  </a:lnTo>
                  <a:lnTo>
                    <a:pt x="10" y="228"/>
                  </a:lnTo>
                  <a:lnTo>
                    <a:pt x="10" y="226"/>
                  </a:lnTo>
                  <a:lnTo>
                    <a:pt x="10" y="223"/>
                  </a:lnTo>
                  <a:lnTo>
                    <a:pt x="13" y="221"/>
                  </a:lnTo>
                  <a:lnTo>
                    <a:pt x="13" y="218"/>
                  </a:lnTo>
                  <a:lnTo>
                    <a:pt x="13" y="218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4"/>
                  </a:lnTo>
                  <a:lnTo>
                    <a:pt x="17" y="211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2" y="206"/>
                  </a:lnTo>
                  <a:lnTo>
                    <a:pt x="25" y="206"/>
                  </a:lnTo>
                  <a:lnTo>
                    <a:pt x="27" y="204"/>
                  </a:lnTo>
                  <a:lnTo>
                    <a:pt x="27" y="204"/>
                  </a:lnTo>
                  <a:lnTo>
                    <a:pt x="30" y="201"/>
                  </a:lnTo>
                  <a:lnTo>
                    <a:pt x="32" y="201"/>
                  </a:lnTo>
                  <a:lnTo>
                    <a:pt x="35" y="201"/>
                  </a:lnTo>
                  <a:lnTo>
                    <a:pt x="37" y="199"/>
                  </a:lnTo>
                  <a:lnTo>
                    <a:pt x="37" y="199"/>
                  </a:lnTo>
                  <a:lnTo>
                    <a:pt x="40" y="199"/>
                  </a:lnTo>
                  <a:lnTo>
                    <a:pt x="42" y="199"/>
                  </a:lnTo>
                  <a:lnTo>
                    <a:pt x="44" y="196"/>
                  </a:lnTo>
                  <a:lnTo>
                    <a:pt x="47" y="196"/>
                  </a:lnTo>
                  <a:lnTo>
                    <a:pt x="49" y="196"/>
                  </a:lnTo>
                  <a:lnTo>
                    <a:pt x="52" y="196"/>
                  </a:lnTo>
                  <a:lnTo>
                    <a:pt x="54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62" y="199"/>
                  </a:lnTo>
                  <a:lnTo>
                    <a:pt x="66" y="199"/>
                  </a:lnTo>
                  <a:lnTo>
                    <a:pt x="64" y="66"/>
                  </a:lnTo>
                  <a:close/>
                  <a:moveTo>
                    <a:pt x="223" y="0"/>
                  </a:moveTo>
                  <a:lnTo>
                    <a:pt x="64" y="54"/>
                  </a:lnTo>
                  <a:lnTo>
                    <a:pt x="64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2"/>
                  </a:lnTo>
                  <a:lnTo>
                    <a:pt x="54" y="62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7" y="187"/>
                  </a:lnTo>
                  <a:lnTo>
                    <a:pt x="54" y="187"/>
                  </a:lnTo>
                  <a:lnTo>
                    <a:pt x="52" y="187"/>
                  </a:lnTo>
                  <a:lnTo>
                    <a:pt x="49" y="187"/>
                  </a:lnTo>
                  <a:lnTo>
                    <a:pt x="47" y="187"/>
                  </a:lnTo>
                  <a:lnTo>
                    <a:pt x="44" y="189"/>
                  </a:lnTo>
                  <a:lnTo>
                    <a:pt x="42" y="189"/>
                  </a:lnTo>
                  <a:lnTo>
                    <a:pt x="37" y="189"/>
                  </a:lnTo>
                  <a:lnTo>
                    <a:pt x="35" y="189"/>
                  </a:lnTo>
                  <a:lnTo>
                    <a:pt x="32" y="191"/>
                  </a:lnTo>
                  <a:lnTo>
                    <a:pt x="30" y="191"/>
                  </a:lnTo>
                  <a:lnTo>
                    <a:pt x="27" y="191"/>
                  </a:lnTo>
                  <a:lnTo>
                    <a:pt x="25" y="194"/>
                  </a:lnTo>
                  <a:lnTo>
                    <a:pt x="22" y="196"/>
                  </a:lnTo>
                  <a:lnTo>
                    <a:pt x="20" y="196"/>
                  </a:lnTo>
                  <a:lnTo>
                    <a:pt x="20" y="199"/>
                  </a:lnTo>
                  <a:lnTo>
                    <a:pt x="17" y="199"/>
                  </a:lnTo>
                  <a:lnTo>
                    <a:pt x="15" y="201"/>
                  </a:lnTo>
                  <a:lnTo>
                    <a:pt x="13" y="204"/>
                  </a:lnTo>
                  <a:lnTo>
                    <a:pt x="10" y="204"/>
                  </a:lnTo>
                  <a:lnTo>
                    <a:pt x="10" y="206"/>
                  </a:lnTo>
                  <a:lnTo>
                    <a:pt x="8" y="209"/>
                  </a:lnTo>
                  <a:lnTo>
                    <a:pt x="8" y="211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3" y="216"/>
                  </a:lnTo>
                  <a:lnTo>
                    <a:pt x="3" y="218"/>
                  </a:lnTo>
                  <a:lnTo>
                    <a:pt x="0" y="22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26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31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40"/>
                  </a:lnTo>
                  <a:lnTo>
                    <a:pt x="0" y="240"/>
                  </a:lnTo>
                  <a:lnTo>
                    <a:pt x="0" y="243"/>
                  </a:lnTo>
                  <a:lnTo>
                    <a:pt x="3" y="245"/>
                  </a:lnTo>
                  <a:lnTo>
                    <a:pt x="3" y="248"/>
                  </a:lnTo>
                  <a:lnTo>
                    <a:pt x="5" y="250"/>
                  </a:lnTo>
                  <a:lnTo>
                    <a:pt x="5" y="253"/>
                  </a:lnTo>
                  <a:lnTo>
                    <a:pt x="8" y="253"/>
                  </a:lnTo>
                  <a:lnTo>
                    <a:pt x="10" y="255"/>
                  </a:lnTo>
                  <a:lnTo>
                    <a:pt x="10" y="258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7" y="263"/>
                  </a:lnTo>
                  <a:lnTo>
                    <a:pt x="20" y="263"/>
                  </a:lnTo>
                  <a:lnTo>
                    <a:pt x="22" y="265"/>
                  </a:lnTo>
                  <a:lnTo>
                    <a:pt x="27" y="265"/>
                  </a:lnTo>
                  <a:lnTo>
                    <a:pt x="30" y="265"/>
                  </a:lnTo>
                  <a:lnTo>
                    <a:pt x="32" y="265"/>
                  </a:lnTo>
                  <a:lnTo>
                    <a:pt x="35" y="265"/>
                  </a:lnTo>
                  <a:lnTo>
                    <a:pt x="37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7" y="265"/>
                  </a:lnTo>
                  <a:lnTo>
                    <a:pt x="49" y="265"/>
                  </a:lnTo>
                  <a:lnTo>
                    <a:pt x="52" y="265"/>
                  </a:lnTo>
                  <a:lnTo>
                    <a:pt x="54" y="263"/>
                  </a:lnTo>
                  <a:lnTo>
                    <a:pt x="57" y="263"/>
                  </a:lnTo>
                  <a:lnTo>
                    <a:pt x="59" y="263"/>
                  </a:lnTo>
                  <a:lnTo>
                    <a:pt x="62" y="260"/>
                  </a:lnTo>
                  <a:lnTo>
                    <a:pt x="64" y="260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9" y="258"/>
                  </a:lnTo>
                  <a:lnTo>
                    <a:pt x="71" y="255"/>
                  </a:lnTo>
                  <a:lnTo>
                    <a:pt x="74" y="255"/>
                  </a:lnTo>
                  <a:lnTo>
                    <a:pt x="74" y="253"/>
                  </a:lnTo>
                  <a:lnTo>
                    <a:pt x="76" y="253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81" y="245"/>
                  </a:lnTo>
                  <a:lnTo>
                    <a:pt x="84" y="245"/>
                  </a:lnTo>
                  <a:lnTo>
                    <a:pt x="84" y="243"/>
                  </a:lnTo>
                  <a:lnTo>
                    <a:pt x="84" y="240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9" y="233"/>
                  </a:lnTo>
                  <a:lnTo>
                    <a:pt x="89" y="233"/>
                  </a:lnTo>
                  <a:lnTo>
                    <a:pt x="89" y="231"/>
                  </a:lnTo>
                  <a:lnTo>
                    <a:pt x="89" y="228"/>
                  </a:lnTo>
                  <a:lnTo>
                    <a:pt x="89" y="226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1"/>
                  </a:lnTo>
                  <a:lnTo>
                    <a:pt x="89" y="218"/>
                  </a:lnTo>
                  <a:lnTo>
                    <a:pt x="89" y="216"/>
                  </a:lnTo>
                  <a:lnTo>
                    <a:pt x="89" y="214"/>
                  </a:lnTo>
                  <a:lnTo>
                    <a:pt x="89" y="211"/>
                  </a:lnTo>
                  <a:lnTo>
                    <a:pt x="89" y="209"/>
                  </a:lnTo>
                  <a:lnTo>
                    <a:pt x="89" y="209"/>
                  </a:lnTo>
                  <a:lnTo>
                    <a:pt x="89" y="209"/>
                  </a:lnTo>
                  <a:lnTo>
                    <a:pt x="86" y="111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184"/>
                  </a:lnTo>
                  <a:lnTo>
                    <a:pt x="206" y="184"/>
                  </a:lnTo>
                  <a:lnTo>
                    <a:pt x="204" y="184"/>
                  </a:lnTo>
                  <a:lnTo>
                    <a:pt x="201" y="184"/>
                  </a:lnTo>
                  <a:lnTo>
                    <a:pt x="199" y="184"/>
                  </a:lnTo>
                  <a:lnTo>
                    <a:pt x="196" y="184"/>
                  </a:lnTo>
                  <a:lnTo>
                    <a:pt x="192" y="184"/>
                  </a:lnTo>
                  <a:lnTo>
                    <a:pt x="189" y="184"/>
                  </a:lnTo>
                  <a:lnTo>
                    <a:pt x="187" y="187"/>
                  </a:lnTo>
                  <a:lnTo>
                    <a:pt x="184" y="187"/>
                  </a:lnTo>
                  <a:lnTo>
                    <a:pt x="182" y="187"/>
                  </a:lnTo>
                  <a:lnTo>
                    <a:pt x="179" y="189"/>
                  </a:lnTo>
                  <a:lnTo>
                    <a:pt x="177" y="189"/>
                  </a:lnTo>
                  <a:lnTo>
                    <a:pt x="174" y="191"/>
                  </a:lnTo>
                  <a:lnTo>
                    <a:pt x="172" y="191"/>
                  </a:lnTo>
                  <a:lnTo>
                    <a:pt x="169" y="194"/>
                  </a:lnTo>
                  <a:lnTo>
                    <a:pt x="169" y="196"/>
                  </a:lnTo>
                  <a:lnTo>
                    <a:pt x="167" y="196"/>
                  </a:lnTo>
                  <a:lnTo>
                    <a:pt x="165" y="199"/>
                  </a:lnTo>
                  <a:lnTo>
                    <a:pt x="162" y="201"/>
                  </a:lnTo>
                  <a:lnTo>
                    <a:pt x="162" y="204"/>
                  </a:lnTo>
                  <a:lnTo>
                    <a:pt x="160" y="204"/>
                  </a:lnTo>
                  <a:lnTo>
                    <a:pt x="157" y="206"/>
                  </a:lnTo>
                  <a:lnTo>
                    <a:pt x="157" y="209"/>
                  </a:lnTo>
                  <a:lnTo>
                    <a:pt x="155" y="211"/>
                  </a:lnTo>
                  <a:lnTo>
                    <a:pt x="155" y="214"/>
                  </a:lnTo>
                  <a:lnTo>
                    <a:pt x="155" y="216"/>
                  </a:lnTo>
                  <a:lnTo>
                    <a:pt x="152" y="216"/>
                  </a:lnTo>
                  <a:lnTo>
                    <a:pt x="152" y="218"/>
                  </a:lnTo>
                  <a:lnTo>
                    <a:pt x="152" y="221"/>
                  </a:lnTo>
                  <a:lnTo>
                    <a:pt x="152" y="221"/>
                  </a:lnTo>
                  <a:lnTo>
                    <a:pt x="152" y="223"/>
                  </a:lnTo>
                  <a:lnTo>
                    <a:pt x="152" y="226"/>
                  </a:lnTo>
                  <a:lnTo>
                    <a:pt x="150" y="226"/>
                  </a:lnTo>
                  <a:lnTo>
                    <a:pt x="150" y="228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2" y="233"/>
                  </a:lnTo>
                  <a:lnTo>
                    <a:pt x="152" y="236"/>
                  </a:lnTo>
                  <a:lnTo>
                    <a:pt x="152" y="236"/>
                  </a:lnTo>
                  <a:lnTo>
                    <a:pt x="152" y="238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5" y="243"/>
                  </a:lnTo>
                  <a:lnTo>
                    <a:pt x="155" y="245"/>
                  </a:lnTo>
                  <a:lnTo>
                    <a:pt x="157" y="248"/>
                  </a:lnTo>
                  <a:lnTo>
                    <a:pt x="160" y="250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5" y="255"/>
                  </a:lnTo>
                  <a:lnTo>
                    <a:pt x="167" y="258"/>
                  </a:lnTo>
                  <a:lnTo>
                    <a:pt x="169" y="258"/>
                  </a:lnTo>
                  <a:lnTo>
                    <a:pt x="172" y="260"/>
                  </a:lnTo>
                  <a:lnTo>
                    <a:pt x="174" y="260"/>
                  </a:lnTo>
                  <a:lnTo>
                    <a:pt x="177" y="260"/>
                  </a:lnTo>
                  <a:lnTo>
                    <a:pt x="182" y="263"/>
                  </a:lnTo>
                  <a:lnTo>
                    <a:pt x="184" y="263"/>
                  </a:lnTo>
                  <a:lnTo>
                    <a:pt x="187" y="263"/>
                  </a:lnTo>
                  <a:lnTo>
                    <a:pt x="189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9" y="263"/>
                  </a:lnTo>
                  <a:lnTo>
                    <a:pt x="201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9" y="260"/>
                  </a:lnTo>
                  <a:lnTo>
                    <a:pt x="211" y="258"/>
                  </a:lnTo>
                  <a:lnTo>
                    <a:pt x="214" y="258"/>
                  </a:lnTo>
                  <a:lnTo>
                    <a:pt x="216" y="255"/>
                  </a:lnTo>
                  <a:lnTo>
                    <a:pt x="218" y="255"/>
                  </a:lnTo>
                  <a:lnTo>
                    <a:pt x="218" y="253"/>
                  </a:lnTo>
                  <a:lnTo>
                    <a:pt x="221" y="253"/>
                  </a:lnTo>
                  <a:lnTo>
                    <a:pt x="223" y="250"/>
                  </a:lnTo>
                  <a:lnTo>
                    <a:pt x="226" y="250"/>
                  </a:lnTo>
                  <a:lnTo>
                    <a:pt x="226" y="248"/>
                  </a:lnTo>
                  <a:lnTo>
                    <a:pt x="228" y="248"/>
                  </a:lnTo>
                  <a:lnTo>
                    <a:pt x="228" y="245"/>
                  </a:lnTo>
                  <a:lnTo>
                    <a:pt x="231" y="245"/>
                  </a:lnTo>
                  <a:lnTo>
                    <a:pt x="233" y="243"/>
                  </a:lnTo>
                  <a:lnTo>
                    <a:pt x="233" y="240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6"/>
                  </a:lnTo>
                  <a:lnTo>
                    <a:pt x="238" y="236"/>
                  </a:lnTo>
                  <a:lnTo>
                    <a:pt x="238" y="233"/>
                  </a:lnTo>
                  <a:lnTo>
                    <a:pt x="238" y="231"/>
                  </a:lnTo>
                  <a:lnTo>
                    <a:pt x="241" y="228"/>
                  </a:lnTo>
                  <a:lnTo>
                    <a:pt x="241" y="228"/>
                  </a:lnTo>
                  <a:lnTo>
                    <a:pt x="241" y="226"/>
                  </a:lnTo>
                  <a:lnTo>
                    <a:pt x="241" y="223"/>
                  </a:lnTo>
                  <a:lnTo>
                    <a:pt x="241" y="221"/>
                  </a:lnTo>
                  <a:lnTo>
                    <a:pt x="241" y="221"/>
                  </a:lnTo>
                  <a:lnTo>
                    <a:pt x="241" y="218"/>
                  </a:lnTo>
                  <a:lnTo>
                    <a:pt x="241" y="216"/>
                  </a:lnTo>
                  <a:lnTo>
                    <a:pt x="241" y="214"/>
                  </a:lnTo>
                  <a:lnTo>
                    <a:pt x="241" y="211"/>
                  </a:lnTo>
                  <a:lnTo>
                    <a:pt x="241" y="209"/>
                  </a:lnTo>
                  <a:lnTo>
                    <a:pt x="241" y="209"/>
                  </a:lnTo>
                  <a:lnTo>
                    <a:pt x="241" y="206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8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33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97">
              <a:extLst>
                <a:ext uri="{FF2B5EF4-FFF2-40B4-BE49-F238E27FC236}">
                  <a16:creationId xmlns:a16="http://schemas.microsoft.com/office/drawing/2014/main" id="{B0B156B1-29EF-4351-BFE8-71E6A4B37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4" y="2674"/>
              <a:ext cx="241" cy="265"/>
            </a:xfrm>
            <a:custGeom>
              <a:avLst/>
              <a:gdLst>
                <a:gd name="T0" fmla="*/ 66 w 241"/>
                <a:gd name="T1" fmla="*/ 64 h 265"/>
                <a:gd name="T2" fmla="*/ 226 w 241"/>
                <a:gd name="T3" fmla="*/ 10 h 265"/>
                <a:gd name="T4" fmla="*/ 233 w 241"/>
                <a:gd name="T5" fmla="*/ 214 h 265"/>
                <a:gd name="T6" fmla="*/ 231 w 241"/>
                <a:gd name="T7" fmla="*/ 226 h 265"/>
                <a:gd name="T8" fmla="*/ 223 w 241"/>
                <a:gd name="T9" fmla="*/ 238 h 265"/>
                <a:gd name="T10" fmla="*/ 214 w 241"/>
                <a:gd name="T11" fmla="*/ 245 h 265"/>
                <a:gd name="T12" fmla="*/ 199 w 241"/>
                <a:gd name="T13" fmla="*/ 253 h 265"/>
                <a:gd name="T14" fmla="*/ 182 w 241"/>
                <a:gd name="T15" fmla="*/ 253 h 265"/>
                <a:gd name="T16" fmla="*/ 167 w 241"/>
                <a:gd name="T17" fmla="*/ 243 h 265"/>
                <a:gd name="T18" fmla="*/ 160 w 241"/>
                <a:gd name="T19" fmla="*/ 233 h 265"/>
                <a:gd name="T20" fmla="*/ 162 w 241"/>
                <a:gd name="T21" fmla="*/ 221 h 265"/>
                <a:gd name="T22" fmla="*/ 169 w 241"/>
                <a:gd name="T23" fmla="*/ 206 h 265"/>
                <a:gd name="T24" fmla="*/ 184 w 241"/>
                <a:gd name="T25" fmla="*/ 196 h 265"/>
                <a:gd name="T26" fmla="*/ 201 w 241"/>
                <a:gd name="T27" fmla="*/ 194 h 265"/>
                <a:gd name="T28" fmla="*/ 214 w 241"/>
                <a:gd name="T29" fmla="*/ 66 h 265"/>
                <a:gd name="T30" fmla="*/ 211 w 241"/>
                <a:gd name="T31" fmla="*/ 59 h 265"/>
                <a:gd name="T32" fmla="*/ 201 w 241"/>
                <a:gd name="T33" fmla="*/ 57 h 265"/>
                <a:gd name="T34" fmla="*/ 81 w 241"/>
                <a:gd name="T35" fmla="*/ 101 h 265"/>
                <a:gd name="T36" fmla="*/ 76 w 241"/>
                <a:gd name="T37" fmla="*/ 108 h 265"/>
                <a:gd name="T38" fmla="*/ 81 w 241"/>
                <a:gd name="T39" fmla="*/ 221 h 265"/>
                <a:gd name="T40" fmla="*/ 79 w 241"/>
                <a:gd name="T41" fmla="*/ 233 h 265"/>
                <a:gd name="T42" fmla="*/ 71 w 241"/>
                <a:gd name="T43" fmla="*/ 243 h 265"/>
                <a:gd name="T44" fmla="*/ 62 w 241"/>
                <a:gd name="T45" fmla="*/ 250 h 265"/>
                <a:gd name="T46" fmla="*/ 44 w 241"/>
                <a:gd name="T47" fmla="*/ 255 h 265"/>
                <a:gd name="T48" fmla="*/ 27 w 241"/>
                <a:gd name="T49" fmla="*/ 255 h 265"/>
                <a:gd name="T50" fmla="*/ 13 w 241"/>
                <a:gd name="T51" fmla="*/ 245 h 265"/>
                <a:gd name="T52" fmla="*/ 10 w 241"/>
                <a:gd name="T53" fmla="*/ 236 h 265"/>
                <a:gd name="T54" fmla="*/ 10 w 241"/>
                <a:gd name="T55" fmla="*/ 223 h 265"/>
                <a:gd name="T56" fmla="*/ 20 w 241"/>
                <a:gd name="T57" fmla="*/ 209 h 265"/>
                <a:gd name="T58" fmla="*/ 35 w 241"/>
                <a:gd name="T59" fmla="*/ 201 h 265"/>
                <a:gd name="T60" fmla="*/ 52 w 241"/>
                <a:gd name="T61" fmla="*/ 196 h 265"/>
                <a:gd name="T62" fmla="*/ 64 w 241"/>
                <a:gd name="T63" fmla="*/ 54 h 265"/>
                <a:gd name="T64" fmla="*/ 57 w 241"/>
                <a:gd name="T65" fmla="*/ 59 h 265"/>
                <a:gd name="T66" fmla="*/ 54 w 241"/>
                <a:gd name="T67" fmla="*/ 66 h 265"/>
                <a:gd name="T68" fmla="*/ 37 w 241"/>
                <a:gd name="T69" fmla="*/ 189 h 265"/>
                <a:gd name="T70" fmla="*/ 20 w 241"/>
                <a:gd name="T71" fmla="*/ 199 h 265"/>
                <a:gd name="T72" fmla="*/ 5 w 241"/>
                <a:gd name="T73" fmla="*/ 214 h 265"/>
                <a:gd name="T74" fmla="*/ 0 w 241"/>
                <a:gd name="T75" fmla="*/ 228 h 265"/>
                <a:gd name="T76" fmla="*/ 0 w 241"/>
                <a:gd name="T77" fmla="*/ 240 h 265"/>
                <a:gd name="T78" fmla="*/ 10 w 241"/>
                <a:gd name="T79" fmla="*/ 255 h 265"/>
                <a:gd name="T80" fmla="*/ 30 w 241"/>
                <a:gd name="T81" fmla="*/ 265 h 265"/>
                <a:gd name="T82" fmla="*/ 52 w 241"/>
                <a:gd name="T83" fmla="*/ 265 h 265"/>
                <a:gd name="T84" fmla="*/ 69 w 241"/>
                <a:gd name="T85" fmla="*/ 258 h 265"/>
                <a:gd name="T86" fmla="*/ 81 w 241"/>
                <a:gd name="T87" fmla="*/ 245 h 265"/>
                <a:gd name="T88" fmla="*/ 89 w 241"/>
                <a:gd name="T89" fmla="*/ 233 h 265"/>
                <a:gd name="T90" fmla="*/ 89 w 241"/>
                <a:gd name="T91" fmla="*/ 216 h 265"/>
                <a:gd name="T92" fmla="*/ 86 w 241"/>
                <a:gd name="T93" fmla="*/ 108 h 265"/>
                <a:gd name="T94" fmla="*/ 204 w 241"/>
                <a:gd name="T95" fmla="*/ 66 h 265"/>
                <a:gd name="T96" fmla="*/ 209 w 241"/>
                <a:gd name="T97" fmla="*/ 184 h 265"/>
                <a:gd name="T98" fmla="*/ 187 w 241"/>
                <a:gd name="T99" fmla="*/ 187 h 265"/>
                <a:gd name="T100" fmla="*/ 169 w 241"/>
                <a:gd name="T101" fmla="*/ 196 h 265"/>
                <a:gd name="T102" fmla="*/ 155 w 241"/>
                <a:gd name="T103" fmla="*/ 211 h 265"/>
                <a:gd name="T104" fmla="*/ 152 w 241"/>
                <a:gd name="T105" fmla="*/ 226 h 265"/>
                <a:gd name="T106" fmla="*/ 152 w 241"/>
                <a:gd name="T107" fmla="*/ 238 h 265"/>
                <a:gd name="T108" fmla="*/ 162 w 241"/>
                <a:gd name="T109" fmla="*/ 253 h 265"/>
                <a:gd name="T110" fmla="*/ 184 w 241"/>
                <a:gd name="T111" fmla="*/ 263 h 265"/>
                <a:gd name="T112" fmla="*/ 206 w 241"/>
                <a:gd name="T113" fmla="*/ 260 h 265"/>
                <a:gd name="T114" fmla="*/ 223 w 241"/>
                <a:gd name="T115" fmla="*/ 250 h 265"/>
                <a:gd name="T116" fmla="*/ 236 w 241"/>
                <a:gd name="T117" fmla="*/ 240 h 265"/>
                <a:gd name="T118" fmla="*/ 241 w 241"/>
                <a:gd name="T119" fmla="*/ 226 h 265"/>
                <a:gd name="T120" fmla="*/ 241 w 241"/>
                <a:gd name="T121" fmla="*/ 209 h 265"/>
                <a:gd name="T122" fmla="*/ 233 w 241"/>
                <a:gd name="T123" fmla="*/ 8 h 265"/>
                <a:gd name="T124" fmla="*/ 228 w 241"/>
                <a:gd name="T125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1" h="265">
                  <a:moveTo>
                    <a:pt x="64" y="66"/>
                  </a:move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223" y="8"/>
                  </a:lnTo>
                  <a:lnTo>
                    <a:pt x="223" y="8"/>
                  </a:lnTo>
                  <a:lnTo>
                    <a:pt x="223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31" y="206"/>
                  </a:lnTo>
                  <a:lnTo>
                    <a:pt x="231" y="209"/>
                  </a:lnTo>
                  <a:lnTo>
                    <a:pt x="231" y="209"/>
                  </a:lnTo>
                  <a:lnTo>
                    <a:pt x="231" y="211"/>
                  </a:lnTo>
                  <a:lnTo>
                    <a:pt x="231" y="214"/>
                  </a:lnTo>
                  <a:lnTo>
                    <a:pt x="233" y="214"/>
                  </a:lnTo>
                  <a:lnTo>
                    <a:pt x="233" y="216"/>
                  </a:lnTo>
                  <a:lnTo>
                    <a:pt x="233" y="218"/>
                  </a:lnTo>
                  <a:lnTo>
                    <a:pt x="233" y="218"/>
                  </a:lnTo>
                  <a:lnTo>
                    <a:pt x="231" y="221"/>
                  </a:lnTo>
                  <a:lnTo>
                    <a:pt x="231" y="221"/>
                  </a:lnTo>
                  <a:lnTo>
                    <a:pt x="231" y="223"/>
                  </a:lnTo>
                  <a:lnTo>
                    <a:pt x="231" y="226"/>
                  </a:lnTo>
                  <a:lnTo>
                    <a:pt x="231" y="226"/>
                  </a:lnTo>
                  <a:lnTo>
                    <a:pt x="231" y="228"/>
                  </a:lnTo>
                  <a:lnTo>
                    <a:pt x="228" y="228"/>
                  </a:lnTo>
                  <a:lnTo>
                    <a:pt x="228" y="231"/>
                  </a:lnTo>
                  <a:lnTo>
                    <a:pt x="228" y="233"/>
                  </a:lnTo>
                  <a:lnTo>
                    <a:pt x="228" y="233"/>
                  </a:lnTo>
                  <a:lnTo>
                    <a:pt x="226" y="236"/>
                  </a:lnTo>
                  <a:lnTo>
                    <a:pt x="226" y="236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3" y="240"/>
                  </a:lnTo>
                  <a:lnTo>
                    <a:pt x="221" y="240"/>
                  </a:lnTo>
                  <a:lnTo>
                    <a:pt x="221" y="240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6" y="245"/>
                  </a:lnTo>
                  <a:lnTo>
                    <a:pt x="214" y="245"/>
                  </a:lnTo>
                  <a:lnTo>
                    <a:pt x="214" y="248"/>
                  </a:lnTo>
                  <a:lnTo>
                    <a:pt x="211" y="248"/>
                  </a:lnTo>
                  <a:lnTo>
                    <a:pt x="209" y="248"/>
                  </a:lnTo>
                  <a:lnTo>
                    <a:pt x="209" y="248"/>
                  </a:lnTo>
                  <a:lnTo>
                    <a:pt x="206" y="250"/>
                  </a:lnTo>
                  <a:lnTo>
                    <a:pt x="204" y="250"/>
                  </a:lnTo>
                  <a:lnTo>
                    <a:pt x="201" y="250"/>
                  </a:lnTo>
                  <a:lnTo>
                    <a:pt x="199" y="253"/>
                  </a:lnTo>
                  <a:lnTo>
                    <a:pt x="196" y="253"/>
                  </a:lnTo>
                  <a:lnTo>
                    <a:pt x="194" y="253"/>
                  </a:lnTo>
                  <a:lnTo>
                    <a:pt x="192" y="253"/>
                  </a:lnTo>
                  <a:lnTo>
                    <a:pt x="189" y="253"/>
                  </a:lnTo>
                  <a:lnTo>
                    <a:pt x="187" y="253"/>
                  </a:lnTo>
                  <a:lnTo>
                    <a:pt x="184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79" y="250"/>
                  </a:lnTo>
                  <a:lnTo>
                    <a:pt x="177" y="250"/>
                  </a:lnTo>
                  <a:lnTo>
                    <a:pt x="174" y="250"/>
                  </a:lnTo>
                  <a:lnTo>
                    <a:pt x="172" y="248"/>
                  </a:lnTo>
                  <a:lnTo>
                    <a:pt x="172" y="248"/>
                  </a:lnTo>
                  <a:lnTo>
                    <a:pt x="169" y="245"/>
                  </a:lnTo>
                  <a:lnTo>
                    <a:pt x="167" y="245"/>
                  </a:lnTo>
                  <a:lnTo>
                    <a:pt x="167" y="243"/>
                  </a:lnTo>
                  <a:lnTo>
                    <a:pt x="165" y="243"/>
                  </a:lnTo>
                  <a:lnTo>
                    <a:pt x="165" y="240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3"/>
                  </a:lnTo>
                  <a:lnTo>
                    <a:pt x="160" y="233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28"/>
                  </a:lnTo>
                  <a:lnTo>
                    <a:pt x="160" y="228"/>
                  </a:lnTo>
                  <a:lnTo>
                    <a:pt x="160" y="226"/>
                  </a:lnTo>
                  <a:lnTo>
                    <a:pt x="160" y="226"/>
                  </a:lnTo>
                  <a:lnTo>
                    <a:pt x="162" y="223"/>
                  </a:lnTo>
                  <a:lnTo>
                    <a:pt x="162" y="221"/>
                  </a:lnTo>
                  <a:lnTo>
                    <a:pt x="162" y="218"/>
                  </a:lnTo>
                  <a:lnTo>
                    <a:pt x="162" y="216"/>
                  </a:lnTo>
                  <a:lnTo>
                    <a:pt x="165" y="216"/>
                  </a:lnTo>
                  <a:lnTo>
                    <a:pt x="165" y="214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9" y="209"/>
                  </a:lnTo>
                  <a:lnTo>
                    <a:pt x="169" y="206"/>
                  </a:lnTo>
                  <a:lnTo>
                    <a:pt x="172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7" y="201"/>
                  </a:lnTo>
                  <a:lnTo>
                    <a:pt x="177" y="201"/>
                  </a:lnTo>
                  <a:lnTo>
                    <a:pt x="179" y="199"/>
                  </a:lnTo>
                  <a:lnTo>
                    <a:pt x="182" y="199"/>
                  </a:lnTo>
                  <a:lnTo>
                    <a:pt x="184" y="196"/>
                  </a:lnTo>
                  <a:lnTo>
                    <a:pt x="187" y="196"/>
                  </a:lnTo>
                  <a:lnTo>
                    <a:pt x="187" y="196"/>
                  </a:lnTo>
                  <a:lnTo>
                    <a:pt x="189" y="194"/>
                  </a:lnTo>
                  <a:lnTo>
                    <a:pt x="192" y="194"/>
                  </a:lnTo>
                  <a:lnTo>
                    <a:pt x="194" y="194"/>
                  </a:lnTo>
                  <a:lnTo>
                    <a:pt x="196" y="194"/>
                  </a:lnTo>
                  <a:lnTo>
                    <a:pt x="199" y="194"/>
                  </a:lnTo>
                  <a:lnTo>
                    <a:pt x="201" y="194"/>
                  </a:lnTo>
                  <a:lnTo>
                    <a:pt x="204" y="194"/>
                  </a:lnTo>
                  <a:lnTo>
                    <a:pt x="206" y="194"/>
                  </a:lnTo>
                  <a:lnTo>
                    <a:pt x="209" y="194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8" y="196"/>
                  </a:lnTo>
                  <a:lnTo>
                    <a:pt x="216" y="66"/>
                  </a:lnTo>
                  <a:lnTo>
                    <a:pt x="214" y="66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2"/>
                  </a:lnTo>
                  <a:lnTo>
                    <a:pt x="214" y="62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6" y="57"/>
                  </a:lnTo>
                  <a:lnTo>
                    <a:pt x="206" y="57"/>
                  </a:lnTo>
                  <a:lnTo>
                    <a:pt x="204" y="57"/>
                  </a:lnTo>
                  <a:lnTo>
                    <a:pt x="204" y="57"/>
                  </a:lnTo>
                  <a:lnTo>
                    <a:pt x="201" y="57"/>
                  </a:lnTo>
                  <a:lnTo>
                    <a:pt x="201" y="57"/>
                  </a:lnTo>
                  <a:lnTo>
                    <a:pt x="89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1" y="98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9" y="101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1"/>
                  </a:lnTo>
                  <a:lnTo>
                    <a:pt x="79" y="211"/>
                  </a:lnTo>
                  <a:lnTo>
                    <a:pt x="79" y="211"/>
                  </a:lnTo>
                  <a:lnTo>
                    <a:pt x="79" y="214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81" y="218"/>
                  </a:lnTo>
                  <a:lnTo>
                    <a:pt x="81" y="221"/>
                  </a:lnTo>
                  <a:lnTo>
                    <a:pt x="81" y="221"/>
                  </a:lnTo>
                  <a:lnTo>
                    <a:pt x="79" y="223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8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79" y="233"/>
                  </a:lnTo>
                  <a:lnTo>
                    <a:pt x="76" y="233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6" y="238"/>
                  </a:lnTo>
                  <a:lnTo>
                    <a:pt x="74" y="238"/>
                  </a:lnTo>
                  <a:lnTo>
                    <a:pt x="74" y="240"/>
                  </a:lnTo>
                  <a:lnTo>
                    <a:pt x="71" y="240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4" y="248"/>
                  </a:lnTo>
                  <a:lnTo>
                    <a:pt x="62" y="250"/>
                  </a:lnTo>
                  <a:lnTo>
                    <a:pt x="62" y="250"/>
                  </a:lnTo>
                  <a:lnTo>
                    <a:pt x="59" y="250"/>
                  </a:lnTo>
                  <a:lnTo>
                    <a:pt x="57" y="253"/>
                  </a:lnTo>
                  <a:lnTo>
                    <a:pt x="57" y="253"/>
                  </a:lnTo>
                  <a:lnTo>
                    <a:pt x="54" y="253"/>
                  </a:lnTo>
                  <a:lnTo>
                    <a:pt x="52" y="255"/>
                  </a:lnTo>
                  <a:lnTo>
                    <a:pt x="49" y="255"/>
                  </a:lnTo>
                  <a:lnTo>
                    <a:pt x="47" y="255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8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0" y="255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2" y="253"/>
                  </a:lnTo>
                  <a:lnTo>
                    <a:pt x="20" y="253"/>
                  </a:lnTo>
                  <a:lnTo>
                    <a:pt x="20" y="250"/>
                  </a:lnTo>
                  <a:lnTo>
                    <a:pt x="17" y="250"/>
                  </a:lnTo>
                  <a:lnTo>
                    <a:pt x="15" y="248"/>
                  </a:lnTo>
                  <a:lnTo>
                    <a:pt x="15" y="248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0" y="243"/>
                  </a:lnTo>
                  <a:lnTo>
                    <a:pt x="10" y="240"/>
                  </a:lnTo>
                  <a:lnTo>
                    <a:pt x="10" y="240"/>
                  </a:lnTo>
                  <a:lnTo>
                    <a:pt x="10" y="238"/>
                  </a:lnTo>
                  <a:lnTo>
                    <a:pt x="10" y="238"/>
                  </a:lnTo>
                  <a:lnTo>
                    <a:pt x="10" y="236"/>
                  </a:lnTo>
                  <a:lnTo>
                    <a:pt x="10" y="236"/>
                  </a:lnTo>
                  <a:lnTo>
                    <a:pt x="8" y="236"/>
                  </a:lnTo>
                  <a:lnTo>
                    <a:pt x="8" y="233"/>
                  </a:lnTo>
                  <a:lnTo>
                    <a:pt x="8" y="233"/>
                  </a:lnTo>
                  <a:lnTo>
                    <a:pt x="8" y="231"/>
                  </a:lnTo>
                  <a:lnTo>
                    <a:pt x="8" y="231"/>
                  </a:lnTo>
                  <a:lnTo>
                    <a:pt x="10" y="228"/>
                  </a:lnTo>
                  <a:lnTo>
                    <a:pt x="10" y="226"/>
                  </a:lnTo>
                  <a:lnTo>
                    <a:pt x="10" y="223"/>
                  </a:lnTo>
                  <a:lnTo>
                    <a:pt x="13" y="221"/>
                  </a:lnTo>
                  <a:lnTo>
                    <a:pt x="13" y="218"/>
                  </a:lnTo>
                  <a:lnTo>
                    <a:pt x="13" y="218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4"/>
                  </a:lnTo>
                  <a:lnTo>
                    <a:pt x="17" y="211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2" y="206"/>
                  </a:lnTo>
                  <a:lnTo>
                    <a:pt x="25" y="206"/>
                  </a:lnTo>
                  <a:lnTo>
                    <a:pt x="27" y="204"/>
                  </a:lnTo>
                  <a:lnTo>
                    <a:pt x="27" y="204"/>
                  </a:lnTo>
                  <a:lnTo>
                    <a:pt x="30" y="201"/>
                  </a:lnTo>
                  <a:lnTo>
                    <a:pt x="32" y="201"/>
                  </a:lnTo>
                  <a:lnTo>
                    <a:pt x="35" y="201"/>
                  </a:lnTo>
                  <a:lnTo>
                    <a:pt x="37" y="199"/>
                  </a:lnTo>
                  <a:lnTo>
                    <a:pt x="37" y="199"/>
                  </a:lnTo>
                  <a:lnTo>
                    <a:pt x="40" y="199"/>
                  </a:lnTo>
                  <a:lnTo>
                    <a:pt x="42" y="199"/>
                  </a:lnTo>
                  <a:lnTo>
                    <a:pt x="44" y="196"/>
                  </a:lnTo>
                  <a:lnTo>
                    <a:pt x="47" y="196"/>
                  </a:lnTo>
                  <a:lnTo>
                    <a:pt x="49" y="196"/>
                  </a:lnTo>
                  <a:lnTo>
                    <a:pt x="52" y="196"/>
                  </a:lnTo>
                  <a:lnTo>
                    <a:pt x="54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62" y="199"/>
                  </a:lnTo>
                  <a:lnTo>
                    <a:pt x="66" y="199"/>
                  </a:lnTo>
                  <a:lnTo>
                    <a:pt x="64" y="66"/>
                  </a:lnTo>
                  <a:close/>
                  <a:moveTo>
                    <a:pt x="223" y="0"/>
                  </a:moveTo>
                  <a:lnTo>
                    <a:pt x="64" y="54"/>
                  </a:lnTo>
                  <a:lnTo>
                    <a:pt x="64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2"/>
                  </a:lnTo>
                  <a:lnTo>
                    <a:pt x="54" y="62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7" y="187"/>
                  </a:lnTo>
                  <a:lnTo>
                    <a:pt x="54" y="187"/>
                  </a:lnTo>
                  <a:lnTo>
                    <a:pt x="52" y="187"/>
                  </a:lnTo>
                  <a:lnTo>
                    <a:pt x="49" y="187"/>
                  </a:lnTo>
                  <a:lnTo>
                    <a:pt x="47" y="187"/>
                  </a:lnTo>
                  <a:lnTo>
                    <a:pt x="44" y="189"/>
                  </a:lnTo>
                  <a:lnTo>
                    <a:pt x="42" y="189"/>
                  </a:lnTo>
                  <a:lnTo>
                    <a:pt x="37" y="189"/>
                  </a:lnTo>
                  <a:lnTo>
                    <a:pt x="35" y="189"/>
                  </a:lnTo>
                  <a:lnTo>
                    <a:pt x="32" y="191"/>
                  </a:lnTo>
                  <a:lnTo>
                    <a:pt x="30" y="191"/>
                  </a:lnTo>
                  <a:lnTo>
                    <a:pt x="27" y="191"/>
                  </a:lnTo>
                  <a:lnTo>
                    <a:pt x="25" y="194"/>
                  </a:lnTo>
                  <a:lnTo>
                    <a:pt x="22" y="196"/>
                  </a:lnTo>
                  <a:lnTo>
                    <a:pt x="20" y="196"/>
                  </a:lnTo>
                  <a:lnTo>
                    <a:pt x="20" y="199"/>
                  </a:lnTo>
                  <a:lnTo>
                    <a:pt x="17" y="199"/>
                  </a:lnTo>
                  <a:lnTo>
                    <a:pt x="15" y="201"/>
                  </a:lnTo>
                  <a:lnTo>
                    <a:pt x="13" y="204"/>
                  </a:lnTo>
                  <a:lnTo>
                    <a:pt x="10" y="204"/>
                  </a:lnTo>
                  <a:lnTo>
                    <a:pt x="10" y="206"/>
                  </a:lnTo>
                  <a:lnTo>
                    <a:pt x="8" y="209"/>
                  </a:lnTo>
                  <a:lnTo>
                    <a:pt x="8" y="211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3" y="216"/>
                  </a:lnTo>
                  <a:lnTo>
                    <a:pt x="3" y="218"/>
                  </a:lnTo>
                  <a:lnTo>
                    <a:pt x="0" y="22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26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31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40"/>
                  </a:lnTo>
                  <a:lnTo>
                    <a:pt x="0" y="240"/>
                  </a:lnTo>
                  <a:lnTo>
                    <a:pt x="0" y="243"/>
                  </a:lnTo>
                  <a:lnTo>
                    <a:pt x="3" y="245"/>
                  </a:lnTo>
                  <a:lnTo>
                    <a:pt x="3" y="248"/>
                  </a:lnTo>
                  <a:lnTo>
                    <a:pt x="5" y="250"/>
                  </a:lnTo>
                  <a:lnTo>
                    <a:pt x="5" y="253"/>
                  </a:lnTo>
                  <a:lnTo>
                    <a:pt x="8" y="253"/>
                  </a:lnTo>
                  <a:lnTo>
                    <a:pt x="10" y="255"/>
                  </a:lnTo>
                  <a:lnTo>
                    <a:pt x="10" y="258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7" y="263"/>
                  </a:lnTo>
                  <a:lnTo>
                    <a:pt x="20" y="263"/>
                  </a:lnTo>
                  <a:lnTo>
                    <a:pt x="22" y="265"/>
                  </a:lnTo>
                  <a:lnTo>
                    <a:pt x="27" y="265"/>
                  </a:lnTo>
                  <a:lnTo>
                    <a:pt x="30" y="265"/>
                  </a:lnTo>
                  <a:lnTo>
                    <a:pt x="32" y="265"/>
                  </a:lnTo>
                  <a:lnTo>
                    <a:pt x="35" y="265"/>
                  </a:lnTo>
                  <a:lnTo>
                    <a:pt x="37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7" y="265"/>
                  </a:lnTo>
                  <a:lnTo>
                    <a:pt x="49" y="265"/>
                  </a:lnTo>
                  <a:lnTo>
                    <a:pt x="52" y="265"/>
                  </a:lnTo>
                  <a:lnTo>
                    <a:pt x="54" y="263"/>
                  </a:lnTo>
                  <a:lnTo>
                    <a:pt x="57" y="263"/>
                  </a:lnTo>
                  <a:lnTo>
                    <a:pt x="59" y="263"/>
                  </a:lnTo>
                  <a:lnTo>
                    <a:pt x="62" y="260"/>
                  </a:lnTo>
                  <a:lnTo>
                    <a:pt x="64" y="260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9" y="258"/>
                  </a:lnTo>
                  <a:lnTo>
                    <a:pt x="71" y="255"/>
                  </a:lnTo>
                  <a:lnTo>
                    <a:pt x="74" y="255"/>
                  </a:lnTo>
                  <a:lnTo>
                    <a:pt x="74" y="253"/>
                  </a:lnTo>
                  <a:lnTo>
                    <a:pt x="76" y="253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81" y="245"/>
                  </a:lnTo>
                  <a:lnTo>
                    <a:pt x="84" y="245"/>
                  </a:lnTo>
                  <a:lnTo>
                    <a:pt x="84" y="243"/>
                  </a:lnTo>
                  <a:lnTo>
                    <a:pt x="84" y="240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9" y="233"/>
                  </a:lnTo>
                  <a:lnTo>
                    <a:pt x="89" y="233"/>
                  </a:lnTo>
                  <a:lnTo>
                    <a:pt x="89" y="231"/>
                  </a:lnTo>
                  <a:lnTo>
                    <a:pt x="89" y="228"/>
                  </a:lnTo>
                  <a:lnTo>
                    <a:pt x="89" y="226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1"/>
                  </a:lnTo>
                  <a:lnTo>
                    <a:pt x="89" y="218"/>
                  </a:lnTo>
                  <a:lnTo>
                    <a:pt x="89" y="216"/>
                  </a:lnTo>
                  <a:lnTo>
                    <a:pt x="89" y="214"/>
                  </a:lnTo>
                  <a:lnTo>
                    <a:pt x="89" y="211"/>
                  </a:lnTo>
                  <a:lnTo>
                    <a:pt x="89" y="209"/>
                  </a:lnTo>
                  <a:lnTo>
                    <a:pt x="89" y="209"/>
                  </a:lnTo>
                  <a:lnTo>
                    <a:pt x="89" y="209"/>
                  </a:lnTo>
                  <a:lnTo>
                    <a:pt x="86" y="111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184"/>
                  </a:lnTo>
                  <a:lnTo>
                    <a:pt x="206" y="184"/>
                  </a:lnTo>
                  <a:lnTo>
                    <a:pt x="204" y="184"/>
                  </a:lnTo>
                  <a:lnTo>
                    <a:pt x="201" y="184"/>
                  </a:lnTo>
                  <a:lnTo>
                    <a:pt x="199" y="184"/>
                  </a:lnTo>
                  <a:lnTo>
                    <a:pt x="196" y="184"/>
                  </a:lnTo>
                  <a:lnTo>
                    <a:pt x="192" y="184"/>
                  </a:lnTo>
                  <a:lnTo>
                    <a:pt x="189" y="184"/>
                  </a:lnTo>
                  <a:lnTo>
                    <a:pt x="187" y="187"/>
                  </a:lnTo>
                  <a:lnTo>
                    <a:pt x="184" y="187"/>
                  </a:lnTo>
                  <a:lnTo>
                    <a:pt x="182" y="187"/>
                  </a:lnTo>
                  <a:lnTo>
                    <a:pt x="179" y="189"/>
                  </a:lnTo>
                  <a:lnTo>
                    <a:pt x="177" y="189"/>
                  </a:lnTo>
                  <a:lnTo>
                    <a:pt x="174" y="191"/>
                  </a:lnTo>
                  <a:lnTo>
                    <a:pt x="172" y="191"/>
                  </a:lnTo>
                  <a:lnTo>
                    <a:pt x="169" y="194"/>
                  </a:lnTo>
                  <a:lnTo>
                    <a:pt x="169" y="196"/>
                  </a:lnTo>
                  <a:lnTo>
                    <a:pt x="167" y="196"/>
                  </a:lnTo>
                  <a:lnTo>
                    <a:pt x="165" y="199"/>
                  </a:lnTo>
                  <a:lnTo>
                    <a:pt x="162" y="201"/>
                  </a:lnTo>
                  <a:lnTo>
                    <a:pt x="162" y="204"/>
                  </a:lnTo>
                  <a:lnTo>
                    <a:pt x="160" y="204"/>
                  </a:lnTo>
                  <a:lnTo>
                    <a:pt x="157" y="206"/>
                  </a:lnTo>
                  <a:lnTo>
                    <a:pt x="157" y="209"/>
                  </a:lnTo>
                  <a:lnTo>
                    <a:pt x="155" y="211"/>
                  </a:lnTo>
                  <a:lnTo>
                    <a:pt x="155" y="214"/>
                  </a:lnTo>
                  <a:lnTo>
                    <a:pt x="155" y="216"/>
                  </a:lnTo>
                  <a:lnTo>
                    <a:pt x="152" y="216"/>
                  </a:lnTo>
                  <a:lnTo>
                    <a:pt x="152" y="218"/>
                  </a:lnTo>
                  <a:lnTo>
                    <a:pt x="152" y="221"/>
                  </a:lnTo>
                  <a:lnTo>
                    <a:pt x="152" y="221"/>
                  </a:lnTo>
                  <a:lnTo>
                    <a:pt x="152" y="223"/>
                  </a:lnTo>
                  <a:lnTo>
                    <a:pt x="152" y="226"/>
                  </a:lnTo>
                  <a:lnTo>
                    <a:pt x="150" y="226"/>
                  </a:lnTo>
                  <a:lnTo>
                    <a:pt x="150" y="228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2" y="233"/>
                  </a:lnTo>
                  <a:lnTo>
                    <a:pt x="152" y="236"/>
                  </a:lnTo>
                  <a:lnTo>
                    <a:pt x="152" y="236"/>
                  </a:lnTo>
                  <a:lnTo>
                    <a:pt x="152" y="238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5" y="243"/>
                  </a:lnTo>
                  <a:lnTo>
                    <a:pt x="155" y="245"/>
                  </a:lnTo>
                  <a:lnTo>
                    <a:pt x="157" y="248"/>
                  </a:lnTo>
                  <a:lnTo>
                    <a:pt x="160" y="250"/>
                  </a:lnTo>
                  <a:lnTo>
                    <a:pt x="162" y="253"/>
                  </a:lnTo>
                  <a:lnTo>
                    <a:pt x="162" y="253"/>
                  </a:lnTo>
                  <a:lnTo>
                    <a:pt x="165" y="255"/>
                  </a:lnTo>
                  <a:lnTo>
                    <a:pt x="167" y="258"/>
                  </a:lnTo>
                  <a:lnTo>
                    <a:pt x="169" y="258"/>
                  </a:lnTo>
                  <a:lnTo>
                    <a:pt x="172" y="260"/>
                  </a:lnTo>
                  <a:lnTo>
                    <a:pt x="174" y="260"/>
                  </a:lnTo>
                  <a:lnTo>
                    <a:pt x="177" y="260"/>
                  </a:lnTo>
                  <a:lnTo>
                    <a:pt x="182" y="263"/>
                  </a:lnTo>
                  <a:lnTo>
                    <a:pt x="184" y="263"/>
                  </a:lnTo>
                  <a:lnTo>
                    <a:pt x="187" y="263"/>
                  </a:lnTo>
                  <a:lnTo>
                    <a:pt x="189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9" y="263"/>
                  </a:lnTo>
                  <a:lnTo>
                    <a:pt x="201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9" y="260"/>
                  </a:lnTo>
                  <a:lnTo>
                    <a:pt x="211" y="258"/>
                  </a:lnTo>
                  <a:lnTo>
                    <a:pt x="214" y="258"/>
                  </a:lnTo>
                  <a:lnTo>
                    <a:pt x="216" y="255"/>
                  </a:lnTo>
                  <a:lnTo>
                    <a:pt x="218" y="255"/>
                  </a:lnTo>
                  <a:lnTo>
                    <a:pt x="218" y="253"/>
                  </a:lnTo>
                  <a:lnTo>
                    <a:pt x="221" y="253"/>
                  </a:lnTo>
                  <a:lnTo>
                    <a:pt x="223" y="250"/>
                  </a:lnTo>
                  <a:lnTo>
                    <a:pt x="226" y="250"/>
                  </a:lnTo>
                  <a:lnTo>
                    <a:pt x="226" y="248"/>
                  </a:lnTo>
                  <a:lnTo>
                    <a:pt x="228" y="248"/>
                  </a:lnTo>
                  <a:lnTo>
                    <a:pt x="228" y="245"/>
                  </a:lnTo>
                  <a:lnTo>
                    <a:pt x="231" y="245"/>
                  </a:lnTo>
                  <a:lnTo>
                    <a:pt x="233" y="243"/>
                  </a:lnTo>
                  <a:lnTo>
                    <a:pt x="233" y="240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6"/>
                  </a:lnTo>
                  <a:lnTo>
                    <a:pt x="238" y="236"/>
                  </a:lnTo>
                  <a:lnTo>
                    <a:pt x="238" y="233"/>
                  </a:lnTo>
                  <a:lnTo>
                    <a:pt x="238" y="231"/>
                  </a:lnTo>
                  <a:lnTo>
                    <a:pt x="241" y="228"/>
                  </a:lnTo>
                  <a:lnTo>
                    <a:pt x="241" y="228"/>
                  </a:lnTo>
                  <a:lnTo>
                    <a:pt x="241" y="226"/>
                  </a:lnTo>
                  <a:lnTo>
                    <a:pt x="241" y="223"/>
                  </a:lnTo>
                  <a:lnTo>
                    <a:pt x="241" y="221"/>
                  </a:lnTo>
                  <a:lnTo>
                    <a:pt x="241" y="221"/>
                  </a:lnTo>
                  <a:lnTo>
                    <a:pt x="241" y="218"/>
                  </a:lnTo>
                  <a:lnTo>
                    <a:pt x="241" y="216"/>
                  </a:lnTo>
                  <a:lnTo>
                    <a:pt x="241" y="214"/>
                  </a:lnTo>
                  <a:lnTo>
                    <a:pt x="241" y="211"/>
                  </a:lnTo>
                  <a:lnTo>
                    <a:pt x="241" y="209"/>
                  </a:lnTo>
                  <a:lnTo>
                    <a:pt x="241" y="209"/>
                  </a:lnTo>
                  <a:lnTo>
                    <a:pt x="241" y="206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8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33" y="5"/>
                  </a:lnTo>
                  <a:lnTo>
                    <a:pt x="233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3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3" name="Group 200">
            <a:extLst>
              <a:ext uri="{FF2B5EF4-FFF2-40B4-BE49-F238E27FC236}">
                <a16:creationId xmlns:a16="http://schemas.microsoft.com/office/drawing/2014/main" id="{2A5B10AB-A061-43A2-8DD0-6ADE7DE639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3358" y="4096581"/>
            <a:ext cx="841375" cy="841375"/>
            <a:chOff x="4355" y="2593"/>
            <a:chExt cx="530" cy="530"/>
          </a:xfrm>
        </p:grpSpPr>
        <p:sp>
          <p:nvSpPr>
            <p:cNvPr id="234" name="AutoShape 199">
              <a:extLst>
                <a:ext uri="{FF2B5EF4-FFF2-40B4-BE49-F238E27FC236}">
                  <a16:creationId xmlns:a16="http://schemas.microsoft.com/office/drawing/2014/main" id="{241815FB-0EA5-4E0A-B9A6-6136B74441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355" y="2593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Oval 201">
              <a:extLst>
                <a:ext uri="{FF2B5EF4-FFF2-40B4-BE49-F238E27FC236}">
                  <a16:creationId xmlns:a16="http://schemas.microsoft.com/office/drawing/2014/main" id="{981C4981-D890-4FCA-901E-C78C6A250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5" y="2593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202">
              <a:extLst>
                <a:ext uri="{FF2B5EF4-FFF2-40B4-BE49-F238E27FC236}">
                  <a16:creationId xmlns:a16="http://schemas.microsoft.com/office/drawing/2014/main" id="{FFAEEDA9-F943-4513-A459-B0C07471E6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3" y="2611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3">
              <a:extLst>
                <a:ext uri="{FF2B5EF4-FFF2-40B4-BE49-F238E27FC236}">
                  <a16:creationId xmlns:a16="http://schemas.microsoft.com/office/drawing/2014/main" id="{EC93A01A-49FD-4D1C-AC46-5E07EDA358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5" y="2700"/>
              <a:ext cx="251" cy="277"/>
            </a:xfrm>
            <a:custGeom>
              <a:avLst/>
              <a:gdLst>
                <a:gd name="T0" fmla="*/ 70 w 251"/>
                <a:gd name="T1" fmla="*/ 67 h 277"/>
                <a:gd name="T2" fmla="*/ 236 w 251"/>
                <a:gd name="T3" fmla="*/ 11 h 277"/>
                <a:gd name="T4" fmla="*/ 244 w 251"/>
                <a:gd name="T5" fmla="*/ 223 h 277"/>
                <a:gd name="T6" fmla="*/ 241 w 251"/>
                <a:gd name="T7" fmla="*/ 236 h 277"/>
                <a:gd name="T8" fmla="*/ 233 w 251"/>
                <a:gd name="T9" fmla="*/ 249 h 277"/>
                <a:gd name="T10" fmla="*/ 223 w 251"/>
                <a:gd name="T11" fmla="*/ 256 h 277"/>
                <a:gd name="T12" fmla="*/ 208 w 251"/>
                <a:gd name="T13" fmla="*/ 264 h 277"/>
                <a:gd name="T14" fmla="*/ 190 w 251"/>
                <a:gd name="T15" fmla="*/ 264 h 277"/>
                <a:gd name="T16" fmla="*/ 175 w 251"/>
                <a:gd name="T17" fmla="*/ 254 h 277"/>
                <a:gd name="T18" fmla="*/ 167 w 251"/>
                <a:gd name="T19" fmla="*/ 244 h 277"/>
                <a:gd name="T20" fmla="*/ 169 w 251"/>
                <a:gd name="T21" fmla="*/ 231 h 277"/>
                <a:gd name="T22" fmla="*/ 177 w 251"/>
                <a:gd name="T23" fmla="*/ 216 h 277"/>
                <a:gd name="T24" fmla="*/ 193 w 251"/>
                <a:gd name="T25" fmla="*/ 205 h 277"/>
                <a:gd name="T26" fmla="*/ 210 w 251"/>
                <a:gd name="T27" fmla="*/ 203 h 277"/>
                <a:gd name="T28" fmla="*/ 223 w 251"/>
                <a:gd name="T29" fmla="*/ 70 h 277"/>
                <a:gd name="T30" fmla="*/ 221 w 251"/>
                <a:gd name="T31" fmla="*/ 62 h 277"/>
                <a:gd name="T32" fmla="*/ 210 w 251"/>
                <a:gd name="T33" fmla="*/ 59 h 277"/>
                <a:gd name="T34" fmla="*/ 85 w 251"/>
                <a:gd name="T35" fmla="*/ 105 h 277"/>
                <a:gd name="T36" fmla="*/ 80 w 251"/>
                <a:gd name="T37" fmla="*/ 113 h 277"/>
                <a:gd name="T38" fmla="*/ 85 w 251"/>
                <a:gd name="T39" fmla="*/ 231 h 277"/>
                <a:gd name="T40" fmla="*/ 82 w 251"/>
                <a:gd name="T41" fmla="*/ 244 h 277"/>
                <a:gd name="T42" fmla="*/ 75 w 251"/>
                <a:gd name="T43" fmla="*/ 254 h 277"/>
                <a:gd name="T44" fmla="*/ 64 w 251"/>
                <a:gd name="T45" fmla="*/ 262 h 277"/>
                <a:gd name="T46" fmla="*/ 47 w 251"/>
                <a:gd name="T47" fmla="*/ 267 h 277"/>
                <a:gd name="T48" fmla="*/ 29 w 251"/>
                <a:gd name="T49" fmla="*/ 267 h 277"/>
                <a:gd name="T50" fmla="*/ 13 w 251"/>
                <a:gd name="T51" fmla="*/ 256 h 277"/>
                <a:gd name="T52" fmla="*/ 11 w 251"/>
                <a:gd name="T53" fmla="*/ 246 h 277"/>
                <a:gd name="T54" fmla="*/ 11 w 251"/>
                <a:gd name="T55" fmla="*/ 233 h 277"/>
                <a:gd name="T56" fmla="*/ 21 w 251"/>
                <a:gd name="T57" fmla="*/ 218 h 277"/>
                <a:gd name="T58" fmla="*/ 36 w 251"/>
                <a:gd name="T59" fmla="*/ 210 h 277"/>
                <a:gd name="T60" fmla="*/ 54 w 251"/>
                <a:gd name="T61" fmla="*/ 205 h 277"/>
                <a:gd name="T62" fmla="*/ 67 w 251"/>
                <a:gd name="T63" fmla="*/ 57 h 277"/>
                <a:gd name="T64" fmla="*/ 59 w 251"/>
                <a:gd name="T65" fmla="*/ 62 h 277"/>
                <a:gd name="T66" fmla="*/ 57 w 251"/>
                <a:gd name="T67" fmla="*/ 70 h 277"/>
                <a:gd name="T68" fmla="*/ 39 w 251"/>
                <a:gd name="T69" fmla="*/ 198 h 277"/>
                <a:gd name="T70" fmla="*/ 21 w 251"/>
                <a:gd name="T71" fmla="*/ 208 h 277"/>
                <a:gd name="T72" fmla="*/ 6 w 251"/>
                <a:gd name="T73" fmla="*/ 223 h 277"/>
                <a:gd name="T74" fmla="*/ 0 w 251"/>
                <a:gd name="T75" fmla="*/ 239 h 277"/>
                <a:gd name="T76" fmla="*/ 0 w 251"/>
                <a:gd name="T77" fmla="*/ 251 h 277"/>
                <a:gd name="T78" fmla="*/ 11 w 251"/>
                <a:gd name="T79" fmla="*/ 267 h 277"/>
                <a:gd name="T80" fmla="*/ 31 w 251"/>
                <a:gd name="T81" fmla="*/ 277 h 277"/>
                <a:gd name="T82" fmla="*/ 54 w 251"/>
                <a:gd name="T83" fmla="*/ 277 h 277"/>
                <a:gd name="T84" fmla="*/ 72 w 251"/>
                <a:gd name="T85" fmla="*/ 269 h 277"/>
                <a:gd name="T86" fmla="*/ 85 w 251"/>
                <a:gd name="T87" fmla="*/ 256 h 277"/>
                <a:gd name="T88" fmla="*/ 93 w 251"/>
                <a:gd name="T89" fmla="*/ 244 h 277"/>
                <a:gd name="T90" fmla="*/ 93 w 251"/>
                <a:gd name="T91" fmla="*/ 226 h 277"/>
                <a:gd name="T92" fmla="*/ 90 w 251"/>
                <a:gd name="T93" fmla="*/ 113 h 277"/>
                <a:gd name="T94" fmla="*/ 213 w 251"/>
                <a:gd name="T95" fmla="*/ 70 h 277"/>
                <a:gd name="T96" fmla="*/ 218 w 251"/>
                <a:gd name="T97" fmla="*/ 192 h 277"/>
                <a:gd name="T98" fmla="*/ 195 w 251"/>
                <a:gd name="T99" fmla="*/ 195 h 277"/>
                <a:gd name="T100" fmla="*/ 177 w 251"/>
                <a:gd name="T101" fmla="*/ 205 h 277"/>
                <a:gd name="T102" fmla="*/ 162 w 251"/>
                <a:gd name="T103" fmla="*/ 221 h 277"/>
                <a:gd name="T104" fmla="*/ 159 w 251"/>
                <a:gd name="T105" fmla="*/ 236 h 277"/>
                <a:gd name="T106" fmla="*/ 159 w 251"/>
                <a:gd name="T107" fmla="*/ 249 h 277"/>
                <a:gd name="T108" fmla="*/ 169 w 251"/>
                <a:gd name="T109" fmla="*/ 264 h 277"/>
                <a:gd name="T110" fmla="*/ 193 w 251"/>
                <a:gd name="T111" fmla="*/ 274 h 277"/>
                <a:gd name="T112" fmla="*/ 216 w 251"/>
                <a:gd name="T113" fmla="*/ 272 h 277"/>
                <a:gd name="T114" fmla="*/ 233 w 251"/>
                <a:gd name="T115" fmla="*/ 262 h 277"/>
                <a:gd name="T116" fmla="*/ 246 w 251"/>
                <a:gd name="T117" fmla="*/ 251 h 277"/>
                <a:gd name="T118" fmla="*/ 251 w 251"/>
                <a:gd name="T119" fmla="*/ 236 h 277"/>
                <a:gd name="T120" fmla="*/ 251 w 251"/>
                <a:gd name="T121" fmla="*/ 218 h 277"/>
                <a:gd name="T122" fmla="*/ 244 w 251"/>
                <a:gd name="T123" fmla="*/ 8 h 277"/>
                <a:gd name="T124" fmla="*/ 239 w 251"/>
                <a:gd name="T125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277">
                  <a:moveTo>
                    <a:pt x="67" y="70"/>
                  </a:move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3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41" y="216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41" y="221"/>
                  </a:lnTo>
                  <a:lnTo>
                    <a:pt x="241" y="223"/>
                  </a:lnTo>
                  <a:lnTo>
                    <a:pt x="244" y="223"/>
                  </a:lnTo>
                  <a:lnTo>
                    <a:pt x="244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41" y="231"/>
                  </a:lnTo>
                  <a:lnTo>
                    <a:pt x="241" y="231"/>
                  </a:lnTo>
                  <a:lnTo>
                    <a:pt x="241" y="233"/>
                  </a:lnTo>
                  <a:lnTo>
                    <a:pt x="241" y="236"/>
                  </a:lnTo>
                  <a:lnTo>
                    <a:pt x="241" y="236"/>
                  </a:lnTo>
                  <a:lnTo>
                    <a:pt x="241" y="239"/>
                  </a:lnTo>
                  <a:lnTo>
                    <a:pt x="239" y="239"/>
                  </a:lnTo>
                  <a:lnTo>
                    <a:pt x="239" y="241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6" y="246"/>
                  </a:lnTo>
                  <a:lnTo>
                    <a:pt x="236" y="246"/>
                  </a:lnTo>
                  <a:lnTo>
                    <a:pt x="233" y="249"/>
                  </a:lnTo>
                  <a:lnTo>
                    <a:pt x="233" y="249"/>
                  </a:lnTo>
                  <a:lnTo>
                    <a:pt x="233" y="251"/>
                  </a:lnTo>
                  <a:lnTo>
                    <a:pt x="231" y="251"/>
                  </a:lnTo>
                  <a:lnTo>
                    <a:pt x="231" y="251"/>
                  </a:lnTo>
                  <a:lnTo>
                    <a:pt x="228" y="254"/>
                  </a:lnTo>
                  <a:lnTo>
                    <a:pt x="228" y="254"/>
                  </a:lnTo>
                  <a:lnTo>
                    <a:pt x="226" y="256"/>
                  </a:lnTo>
                  <a:lnTo>
                    <a:pt x="223" y="256"/>
                  </a:lnTo>
                  <a:lnTo>
                    <a:pt x="223" y="259"/>
                  </a:lnTo>
                  <a:lnTo>
                    <a:pt x="221" y="259"/>
                  </a:lnTo>
                  <a:lnTo>
                    <a:pt x="218" y="259"/>
                  </a:lnTo>
                  <a:lnTo>
                    <a:pt x="218" y="259"/>
                  </a:lnTo>
                  <a:lnTo>
                    <a:pt x="216" y="262"/>
                  </a:lnTo>
                  <a:lnTo>
                    <a:pt x="213" y="262"/>
                  </a:lnTo>
                  <a:lnTo>
                    <a:pt x="210" y="262"/>
                  </a:lnTo>
                  <a:lnTo>
                    <a:pt x="208" y="264"/>
                  </a:lnTo>
                  <a:lnTo>
                    <a:pt x="205" y="264"/>
                  </a:lnTo>
                  <a:lnTo>
                    <a:pt x="203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5" y="264"/>
                  </a:lnTo>
                  <a:lnTo>
                    <a:pt x="193" y="264"/>
                  </a:lnTo>
                  <a:lnTo>
                    <a:pt x="190" y="264"/>
                  </a:lnTo>
                  <a:lnTo>
                    <a:pt x="190" y="264"/>
                  </a:lnTo>
                  <a:lnTo>
                    <a:pt x="187" y="262"/>
                  </a:lnTo>
                  <a:lnTo>
                    <a:pt x="185" y="262"/>
                  </a:lnTo>
                  <a:lnTo>
                    <a:pt x="182" y="262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4"/>
                  </a:lnTo>
                  <a:lnTo>
                    <a:pt x="172" y="254"/>
                  </a:lnTo>
                  <a:lnTo>
                    <a:pt x="172" y="251"/>
                  </a:lnTo>
                  <a:lnTo>
                    <a:pt x="169" y="249"/>
                  </a:lnTo>
                  <a:lnTo>
                    <a:pt x="169" y="249"/>
                  </a:lnTo>
                  <a:lnTo>
                    <a:pt x="169" y="246"/>
                  </a:lnTo>
                  <a:lnTo>
                    <a:pt x="169" y="246"/>
                  </a:lnTo>
                  <a:lnTo>
                    <a:pt x="169" y="244"/>
                  </a:lnTo>
                  <a:lnTo>
                    <a:pt x="167" y="244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39"/>
                  </a:lnTo>
                  <a:lnTo>
                    <a:pt x="167" y="239"/>
                  </a:lnTo>
                  <a:lnTo>
                    <a:pt x="167" y="236"/>
                  </a:lnTo>
                  <a:lnTo>
                    <a:pt x="167" y="236"/>
                  </a:lnTo>
                  <a:lnTo>
                    <a:pt x="169" y="233"/>
                  </a:lnTo>
                  <a:lnTo>
                    <a:pt x="169" y="231"/>
                  </a:lnTo>
                  <a:lnTo>
                    <a:pt x="169" y="228"/>
                  </a:lnTo>
                  <a:lnTo>
                    <a:pt x="169" y="226"/>
                  </a:lnTo>
                  <a:lnTo>
                    <a:pt x="172" y="226"/>
                  </a:lnTo>
                  <a:lnTo>
                    <a:pt x="172" y="223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7" y="218"/>
                  </a:lnTo>
                  <a:lnTo>
                    <a:pt x="177" y="216"/>
                  </a:lnTo>
                  <a:lnTo>
                    <a:pt x="180" y="216"/>
                  </a:lnTo>
                  <a:lnTo>
                    <a:pt x="180" y="213"/>
                  </a:lnTo>
                  <a:lnTo>
                    <a:pt x="182" y="213"/>
                  </a:lnTo>
                  <a:lnTo>
                    <a:pt x="185" y="210"/>
                  </a:lnTo>
                  <a:lnTo>
                    <a:pt x="185" y="210"/>
                  </a:lnTo>
                  <a:lnTo>
                    <a:pt x="187" y="208"/>
                  </a:lnTo>
                  <a:lnTo>
                    <a:pt x="190" y="208"/>
                  </a:lnTo>
                  <a:lnTo>
                    <a:pt x="193" y="205"/>
                  </a:lnTo>
                  <a:lnTo>
                    <a:pt x="195" y="205"/>
                  </a:lnTo>
                  <a:lnTo>
                    <a:pt x="195" y="205"/>
                  </a:lnTo>
                  <a:lnTo>
                    <a:pt x="198" y="203"/>
                  </a:lnTo>
                  <a:lnTo>
                    <a:pt x="200" y="203"/>
                  </a:lnTo>
                  <a:lnTo>
                    <a:pt x="203" y="203"/>
                  </a:lnTo>
                  <a:lnTo>
                    <a:pt x="205" y="203"/>
                  </a:lnTo>
                  <a:lnTo>
                    <a:pt x="208" y="203"/>
                  </a:lnTo>
                  <a:lnTo>
                    <a:pt x="210" y="203"/>
                  </a:lnTo>
                  <a:lnTo>
                    <a:pt x="213" y="203"/>
                  </a:lnTo>
                  <a:lnTo>
                    <a:pt x="216" y="203"/>
                  </a:lnTo>
                  <a:lnTo>
                    <a:pt x="218" y="203"/>
                  </a:lnTo>
                  <a:lnTo>
                    <a:pt x="221" y="203"/>
                  </a:lnTo>
                  <a:lnTo>
                    <a:pt x="221" y="203"/>
                  </a:lnTo>
                  <a:lnTo>
                    <a:pt x="228" y="205"/>
                  </a:lnTo>
                  <a:lnTo>
                    <a:pt x="226" y="70"/>
                  </a:lnTo>
                  <a:lnTo>
                    <a:pt x="223" y="70"/>
                  </a:lnTo>
                  <a:lnTo>
                    <a:pt x="223" y="67"/>
                  </a:lnTo>
                  <a:lnTo>
                    <a:pt x="223" y="67"/>
                  </a:lnTo>
                  <a:lnTo>
                    <a:pt x="223" y="67"/>
                  </a:lnTo>
                  <a:lnTo>
                    <a:pt x="223" y="64"/>
                  </a:lnTo>
                  <a:lnTo>
                    <a:pt x="223" y="64"/>
                  </a:lnTo>
                  <a:lnTo>
                    <a:pt x="221" y="62"/>
                  </a:lnTo>
                  <a:lnTo>
                    <a:pt x="221" y="62"/>
                  </a:lnTo>
                  <a:lnTo>
                    <a:pt x="221" y="62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93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2" y="105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80" y="113"/>
                  </a:lnTo>
                  <a:lnTo>
                    <a:pt x="80" y="113"/>
                  </a:lnTo>
                  <a:lnTo>
                    <a:pt x="80" y="116"/>
                  </a:lnTo>
                  <a:lnTo>
                    <a:pt x="82" y="221"/>
                  </a:lnTo>
                  <a:lnTo>
                    <a:pt x="82" y="221"/>
                  </a:lnTo>
                  <a:lnTo>
                    <a:pt x="82" y="223"/>
                  </a:lnTo>
                  <a:lnTo>
                    <a:pt x="82" y="226"/>
                  </a:lnTo>
                  <a:lnTo>
                    <a:pt x="82" y="226"/>
                  </a:lnTo>
                  <a:lnTo>
                    <a:pt x="85" y="228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2" y="233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2" y="239"/>
                  </a:lnTo>
                  <a:lnTo>
                    <a:pt x="82" y="241"/>
                  </a:lnTo>
                  <a:lnTo>
                    <a:pt x="82" y="241"/>
                  </a:lnTo>
                  <a:lnTo>
                    <a:pt x="82" y="244"/>
                  </a:lnTo>
                  <a:lnTo>
                    <a:pt x="80" y="244"/>
                  </a:lnTo>
                  <a:lnTo>
                    <a:pt x="80" y="246"/>
                  </a:lnTo>
                  <a:lnTo>
                    <a:pt x="80" y="246"/>
                  </a:lnTo>
                  <a:lnTo>
                    <a:pt x="80" y="249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4"/>
                  </a:lnTo>
                  <a:lnTo>
                    <a:pt x="75" y="254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7" y="259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2" y="262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7" y="264"/>
                  </a:lnTo>
                  <a:lnTo>
                    <a:pt x="54" y="267"/>
                  </a:lnTo>
                  <a:lnTo>
                    <a:pt x="52" y="267"/>
                  </a:lnTo>
                  <a:lnTo>
                    <a:pt x="49" y="267"/>
                  </a:lnTo>
                  <a:lnTo>
                    <a:pt x="47" y="267"/>
                  </a:lnTo>
                  <a:lnTo>
                    <a:pt x="44" y="267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6" y="269"/>
                  </a:lnTo>
                  <a:lnTo>
                    <a:pt x="34" y="267"/>
                  </a:lnTo>
                  <a:lnTo>
                    <a:pt x="34" y="267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6" y="267"/>
                  </a:lnTo>
                  <a:lnTo>
                    <a:pt x="24" y="264"/>
                  </a:lnTo>
                  <a:lnTo>
                    <a:pt x="21" y="264"/>
                  </a:lnTo>
                  <a:lnTo>
                    <a:pt x="21" y="262"/>
                  </a:lnTo>
                  <a:lnTo>
                    <a:pt x="18" y="262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1" y="254"/>
                  </a:lnTo>
                  <a:lnTo>
                    <a:pt x="11" y="251"/>
                  </a:lnTo>
                  <a:lnTo>
                    <a:pt x="11" y="251"/>
                  </a:lnTo>
                  <a:lnTo>
                    <a:pt x="11" y="249"/>
                  </a:lnTo>
                  <a:lnTo>
                    <a:pt x="11" y="249"/>
                  </a:lnTo>
                  <a:lnTo>
                    <a:pt x="11" y="246"/>
                  </a:lnTo>
                  <a:lnTo>
                    <a:pt x="11" y="246"/>
                  </a:lnTo>
                  <a:lnTo>
                    <a:pt x="8" y="246"/>
                  </a:lnTo>
                  <a:lnTo>
                    <a:pt x="8" y="244"/>
                  </a:lnTo>
                  <a:lnTo>
                    <a:pt x="8" y="244"/>
                  </a:lnTo>
                  <a:lnTo>
                    <a:pt x="8" y="241"/>
                  </a:lnTo>
                  <a:lnTo>
                    <a:pt x="8" y="241"/>
                  </a:lnTo>
                  <a:lnTo>
                    <a:pt x="11" y="239"/>
                  </a:lnTo>
                  <a:lnTo>
                    <a:pt x="11" y="236"/>
                  </a:lnTo>
                  <a:lnTo>
                    <a:pt x="11" y="233"/>
                  </a:lnTo>
                  <a:lnTo>
                    <a:pt x="13" y="231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6" y="226"/>
                  </a:lnTo>
                  <a:lnTo>
                    <a:pt x="16" y="223"/>
                  </a:lnTo>
                  <a:lnTo>
                    <a:pt x="18" y="223"/>
                  </a:lnTo>
                  <a:lnTo>
                    <a:pt x="18" y="221"/>
                  </a:lnTo>
                  <a:lnTo>
                    <a:pt x="21" y="218"/>
                  </a:lnTo>
                  <a:lnTo>
                    <a:pt x="21" y="218"/>
                  </a:lnTo>
                  <a:lnTo>
                    <a:pt x="24" y="216"/>
                  </a:lnTo>
                  <a:lnTo>
                    <a:pt x="26" y="216"/>
                  </a:lnTo>
                  <a:lnTo>
                    <a:pt x="29" y="213"/>
                  </a:lnTo>
                  <a:lnTo>
                    <a:pt x="29" y="213"/>
                  </a:lnTo>
                  <a:lnTo>
                    <a:pt x="31" y="210"/>
                  </a:lnTo>
                  <a:lnTo>
                    <a:pt x="34" y="210"/>
                  </a:lnTo>
                  <a:lnTo>
                    <a:pt x="36" y="210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41" y="208"/>
                  </a:lnTo>
                  <a:lnTo>
                    <a:pt x="44" y="208"/>
                  </a:lnTo>
                  <a:lnTo>
                    <a:pt x="47" y="205"/>
                  </a:lnTo>
                  <a:lnTo>
                    <a:pt x="49" y="205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2" y="205"/>
                  </a:lnTo>
                  <a:lnTo>
                    <a:pt x="64" y="208"/>
                  </a:lnTo>
                  <a:lnTo>
                    <a:pt x="70" y="208"/>
                  </a:lnTo>
                  <a:lnTo>
                    <a:pt x="67" y="70"/>
                  </a:lnTo>
                  <a:close/>
                  <a:moveTo>
                    <a:pt x="233" y="0"/>
                  </a:moveTo>
                  <a:lnTo>
                    <a:pt x="67" y="57"/>
                  </a:lnTo>
                  <a:lnTo>
                    <a:pt x="67" y="57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4"/>
                  </a:lnTo>
                  <a:lnTo>
                    <a:pt x="57" y="64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9" y="195"/>
                  </a:lnTo>
                  <a:lnTo>
                    <a:pt x="57" y="195"/>
                  </a:lnTo>
                  <a:lnTo>
                    <a:pt x="54" y="195"/>
                  </a:lnTo>
                  <a:lnTo>
                    <a:pt x="52" y="195"/>
                  </a:lnTo>
                  <a:lnTo>
                    <a:pt x="49" y="195"/>
                  </a:lnTo>
                  <a:lnTo>
                    <a:pt x="47" y="198"/>
                  </a:lnTo>
                  <a:lnTo>
                    <a:pt x="44" y="198"/>
                  </a:lnTo>
                  <a:lnTo>
                    <a:pt x="39" y="198"/>
                  </a:lnTo>
                  <a:lnTo>
                    <a:pt x="36" y="198"/>
                  </a:lnTo>
                  <a:lnTo>
                    <a:pt x="34" y="200"/>
                  </a:lnTo>
                  <a:lnTo>
                    <a:pt x="31" y="200"/>
                  </a:lnTo>
                  <a:lnTo>
                    <a:pt x="29" y="200"/>
                  </a:lnTo>
                  <a:lnTo>
                    <a:pt x="26" y="203"/>
                  </a:lnTo>
                  <a:lnTo>
                    <a:pt x="24" y="205"/>
                  </a:lnTo>
                  <a:lnTo>
                    <a:pt x="21" y="205"/>
                  </a:lnTo>
                  <a:lnTo>
                    <a:pt x="21" y="208"/>
                  </a:lnTo>
                  <a:lnTo>
                    <a:pt x="18" y="208"/>
                  </a:lnTo>
                  <a:lnTo>
                    <a:pt x="16" y="210"/>
                  </a:lnTo>
                  <a:lnTo>
                    <a:pt x="13" y="213"/>
                  </a:lnTo>
                  <a:lnTo>
                    <a:pt x="11" y="213"/>
                  </a:lnTo>
                  <a:lnTo>
                    <a:pt x="11" y="216"/>
                  </a:lnTo>
                  <a:lnTo>
                    <a:pt x="8" y="218"/>
                  </a:lnTo>
                  <a:lnTo>
                    <a:pt x="8" y="221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3" y="226"/>
                  </a:lnTo>
                  <a:lnTo>
                    <a:pt x="3" y="228"/>
                  </a:lnTo>
                  <a:lnTo>
                    <a:pt x="0" y="231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41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4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6" y="262"/>
                  </a:lnTo>
                  <a:lnTo>
                    <a:pt x="6" y="264"/>
                  </a:lnTo>
                  <a:lnTo>
                    <a:pt x="8" y="264"/>
                  </a:lnTo>
                  <a:lnTo>
                    <a:pt x="11" y="267"/>
                  </a:lnTo>
                  <a:lnTo>
                    <a:pt x="11" y="269"/>
                  </a:lnTo>
                  <a:lnTo>
                    <a:pt x="13" y="272"/>
                  </a:lnTo>
                  <a:lnTo>
                    <a:pt x="16" y="272"/>
                  </a:lnTo>
                  <a:lnTo>
                    <a:pt x="18" y="274"/>
                  </a:lnTo>
                  <a:lnTo>
                    <a:pt x="21" y="274"/>
                  </a:lnTo>
                  <a:lnTo>
                    <a:pt x="24" y="277"/>
                  </a:lnTo>
                  <a:lnTo>
                    <a:pt x="29" y="277"/>
                  </a:lnTo>
                  <a:lnTo>
                    <a:pt x="31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9" y="277"/>
                  </a:lnTo>
                  <a:lnTo>
                    <a:pt x="44" y="277"/>
                  </a:lnTo>
                  <a:lnTo>
                    <a:pt x="47" y="277"/>
                  </a:lnTo>
                  <a:lnTo>
                    <a:pt x="49" y="277"/>
                  </a:lnTo>
                  <a:lnTo>
                    <a:pt x="52" y="277"/>
                  </a:lnTo>
                  <a:lnTo>
                    <a:pt x="54" y="277"/>
                  </a:lnTo>
                  <a:lnTo>
                    <a:pt x="57" y="274"/>
                  </a:lnTo>
                  <a:lnTo>
                    <a:pt x="59" y="274"/>
                  </a:lnTo>
                  <a:lnTo>
                    <a:pt x="62" y="274"/>
                  </a:lnTo>
                  <a:lnTo>
                    <a:pt x="64" y="272"/>
                  </a:lnTo>
                  <a:lnTo>
                    <a:pt x="67" y="272"/>
                  </a:lnTo>
                  <a:lnTo>
                    <a:pt x="70" y="269"/>
                  </a:lnTo>
                  <a:lnTo>
                    <a:pt x="70" y="269"/>
                  </a:lnTo>
                  <a:lnTo>
                    <a:pt x="72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4"/>
                  </a:lnTo>
                  <a:lnTo>
                    <a:pt x="80" y="264"/>
                  </a:lnTo>
                  <a:lnTo>
                    <a:pt x="82" y="262"/>
                  </a:lnTo>
                  <a:lnTo>
                    <a:pt x="82" y="259"/>
                  </a:lnTo>
                  <a:lnTo>
                    <a:pt x="85" y="259"/>
                  </a:lnTo>
                  <a:lnTo>
                    <a:pt x="85" y="256"/>
                  </a:lnTo>
                  <a:lnTo>
                    <a:pt x="88" y="256"/>
                  </a:lnTo>
                  <a:lnTo>
                    <a:pt x="88" y="254"/>
                  </a:lnTo>
                  <a:lnTo>
                    <a:pt x="88" y="251"/>
                  </a:lnTo>
                  <a:lnTo>
                    <a:pt x="90" y="251"/>
                  </a:lnTo>
                  <a:lnTo>
                    <a:pt x="90" y="249"/>
                  </a:lnTo>
                  <a:lnTo>
                    <a:pt x="90" y="246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1"/>
                  </a:lnTo>
                  <a:lnTo>
                    <a:pt x="93" y="239"/>
                  </a:lnTo>
                  <a:lnTo>
                    <a:pt x="93" y="236"/>
                  </a:lnTo>
                  <a:lnTo>
                    <a:pt x="93" y="233"/>
                  </a:lnTo>
                  <a:lnTo>
                    <a:pt x="93" y="233"/>
                  </a:lnTo>
                  <a:lnTo>
                    <a:pt x="93" y="231"/>
                  </a:lnTo>
                  <a:lnTo>
                    <a:pt x="93" y="228"/>
                  </a:lnTo>
                  <a:lnTo>
                    <a:pt x="93" y="226"/>
                  </a:lnTo>
                  <a:lnTo>
                    <a:pt x="93" y="223"/>
                  </a:lnTo>
                  <a:lnTo>
                    <a:pt x="93" y="221"/>
                  </a:lnTo>
                  <a:lnTo>
                    <a:pt x="93" y="218"/>
                  </a:lnTo>
                  <a:lnTo>
                    <a:pt x="93" y="218"/>
                  </a:lnTo>
                  <a:lnTo>
                    <a:pt x="93" y="218"/>
                  </a:lnTo>
                  <a:lnTo>
                    <a:pt x="90" y="116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8" y="192"/>
                  </a:lnTo>
                  <a:lnTo>
                    <a:pt x="216" y="192"/>
                  </a:lnTo>
                  <a:lnTo>
                    <a:pt x="213" y="192"/>
                  </a:lnTo>
                  <a:lnTo>
                    <a:pt x="210" y="192"/>
                  </a:lnTo>
                  <a:lnTo>
                    <a:pt x="208" y="192"/>
                  </a:lnTo>
                  <a:lnTo>
                    <a:pt x="205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5" y="195"/>
                  </a:lnTo>
                  <a:lnTo>
                    <a:pt x="193" y="195"/>
                  </a:lnTo>
                  <a:lnTo>
                    <a:pt x="190" y="195"/>
                  </a:lnTo>
                  <a:lnTo>
                    <a:pt x="187" y="198"/>
                  </a:lnTo>
                  <a:lnTo>
                    <a:pt x="185" y="198"/>
                  </a:lnTo>
                  <a:lnTo>
                    <a:pt x="182" y="200"/>
                  </a:lnTo>
                  <a:lnTo>
                    <a:pt x="180" y="200"/>
                  </a:lnTo>
                  <a:lnTo>
                    <a:pt x="177" y="203"/>
                  </a:lnTo>
                  <a:lnTo>
                    <a:pt x="177" y="205"/>
                  </a:lnTo>
                  <a:lnTo>
                    <a:pt x="175" y="205"/>
                  </a:lnTo>
                  <a:lnTo>
                    <a:pt x="172" y="208"/>
                  </a:lnTo>
                  <a:lnTo>
                    <a:pt x="169" y="210"/>
                  </a:lnTo>
                  <a:lnTo>
                    <a:pt x="169" y="213"/>
                  </a:lnTo>
                  <a:lnTo>
                    <a:pt x="167" y="213"/>
                  </a:lnTo>
                  <a:lnTo>
                    <a:pt x="164" y="216"/>
                  </a:lnTo>
                  <a:lnTo>
                    <a:pt x="164" y="218"/>
                  </a:lnTo>
                  <a:lnTo>
                    <a:pt x="162" y="221"/>
                  </a:lnTo>
                  <a:lnTo>
                    <a:pt x="162" y="223"/>
                  </a:lnTo>
                  <a:lnTo>
                    <a:pt x="162" y="226"/>
                  </a:lnTo>
                  <a:lnTo>
                    <a:pt x="159" y="226"/>
                  </a:lnTo>
                  <a:lnTo>
                    <a:pt x="159" y="228"/>
                  </a:lnTo>
                  <a:lnTo>
                    <a:pt x="159" y="231"/>
                  </a:lnTo>
                  <a:lnTo>
                    <a:pt x="159" y="231"/>
                  </a:lnTo>
                  <a:lnTo>
                    <a:pt x="159" y="233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7" y="239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9" y="244"/>
                  </a:lnTo>
                  <a:lnTo>
                    <a:pt x="159" y="246"/>
                  </a:lnTo>
                  <a:lnTo>
                    <a:pt x="159" y="246"/>
                  </a:lnTo>
                  <a:lnTo>
                    <a:pt x="159" y="249"/>
                  </a:lnTo>
                  <a:lnTo>
                    <a:pt x="159" y="251"/>
                  </a:lnTo>
                  <a:lnTo>
                    <a:pt x="159" y="251"/>
                  </a:lnTo>
                  <a:lnTo>
                    <a:pt x="162" y="254"/>
                  </a:lnTo>
                  <a:lnTo>
                    <a:pt x="162" y="256"/>
                  </a:lnTo>
                  <a:lnTo>
                    <a:pt x="164" y="259"/>
                  </a:lnTo>
                  <a:lnTo>
                    <a:pt x="167" y="262"/>
                  </a:lnTo>
                  <a:lnTo>
                    <a:pt x="169" y="264"/>
                  </a:lnTo>
                  <a:lnTo>
                    <a:pt x="169" y="264"/>
                  </a:lnTo>
                  <a:lnTo>
                    <a:pt x="172" y="267"/>
                  </a:lnTo>
                  <a:lnTo>
                    <a:pt x="175" y="269"/>
                  </a:lnTo>
                  <a:lnTo>
                    <a:pt x="177" y="269"/>
                  </a:lnTo>
                  <a:lnTo>
                    <a:pt x="180" y="272"/>
                  </a:lnTo>
                  <a:lnTo>
                    <a:pt x="182" y="272"/>
                  </a:lnTo>
                  <a:lnTo>
                    <a:pt x="185" y="272"/>
                  </a:lnTo>
                  <a:lnTo>
                    <a:pt x="190" y="274"/>
                  </a:lnTo>
                  <a:lnTo>
                    <a:pt x="193" y="274"/>
                  </a:lnTo>
                  <a:lnTo>
                    <a:pt x="195" y="274"/>
                  </a:lnTo>
                  <a:lnTo>
                    <a:pt x="198" y="274"/>
                  </a:lnTo>
                  <a:lnTo>
                    <a:pt x="200" y="274"/>
                  </a:lnTo>
                  <a:lnTo>
                    <a:pt x="205" y="274"/>
                  </a:lnTo>
                  <a:lnTo>
                    <a:pt x="208" y="274"/>
                  </a:lnTo>
                  <a:lnTo>
                    <a:pt x="210" y="272"/>
                  </a:lnTo>
                  <a:lnTo>
                    <a:pt x="213" y="272"/>
                  </a:lnTo>
                  <a:lnTo>
                    <a:pt x="216" y="272"/>
                  </a:lnTo>
                  <a:lnTo>
                    <a:pt x="218" y="272"/>
                  </a:lnTo>
                  <a:lnTo>
                    <a:pt x="221" y="269"/>
                  </a:lnTo>
                  <a:lnTo>
                    <a:pt x="223" y="269"/>
                  </a:lnTo>
                  <a:lnTo>
                    <a:pt x="226" y="267"/>
                  </a:lnTo>
                  <a:lnTo>
                    <a:pt x="228" y="267"/>
                  </a:lnTo>
                  <a:lnTo>
                    <a:pt x="228" y="264"/>
                  </a:lnTo>
                  <a:lnTo>
                    <a:pt x="231" y="264"/>
                  </a:lnTo>
                  <a:lnTo>
                    <a:pt x="233" y="262"/>
                  </a:lnTo>
                  <a:lnTo>
                    <a:pt x="236" y="262"/>
                  </a:lnTo>
                  <a:lnTo>
                    <a:pt x="236" y="259"/>
                  </a:lnTo>
                  <a:lnTo>
                    <a:pt x="239" y="259"/>
                  </a:lnTo>
                  <a:lnTo>
                    <a:pt x="239" y="256"/>
                  </a:lnTo>
                  <a:lnTo>
                    <a:pt x="241" y="256"/>
                  </a:lnTo>
                  <a:lnTo>
                    <a:pt x="244" y="254"/>
                  </a:lnTo>
                  <a:lnTo>
                    <a:pt x="244" y="251"/>
                  </a:lnTo>
                  <a:lnTo>
                    <a:pt x="246" y="251"/>
                  </a:lnTo>
                  <a:lnTo>
                    <a:pt x="246" y="249"/>
                  </a:lnTo>
                  <a:lnTo>
                    <a:pt x="246" y="246"/>
                  </a:lnTo>
                  <a:lnTo>
                    <a:pt x="249" y="246"/>
                  </a:lnTo>
                  <a:lnTo>
                    <a:pt x="249" y="244"/>
                  </a:lnTo>
                  <a:lnTo>
                    <a:pt x="249" y="241"/>
                  </a:lnTo>
                  <a:lnTo>
                    <a:pt x="251" y="239"/>
                  </a:lnTo>
                  <a:lnTo>
                    <a:pt x="251" y="239"/>
                  </a:lnTo>
                  <a:lnTo>
                    <a:pt x="251" y="236"/>
                  </a:lnTo>
                  <a:lnTo>
                    <a:pt x="251" y="233"/>
                  </a:lnTo>
                  <a:lnTo>
                    <a:pt x="251" y="231"/>
                  </a:lnTo>
                  <a:lnTo>
                    <a:pt x="251" y="231"/>
                  </a:lnTo>
                  <a:lnTo>
                    <a:pt x="251" y="228"/>
                  </a:lnTo>
                  <a:lnTo>
                    <a:pt x="251" y="226"/>
                  </a:lnTo>
                  <a:lnTo>
                    <a:pt x="251" y="223"/>
                  </a:lnTo>
                  <a:lnTo>
                    <a:pt x="251" y="221"/>
                  </a:lnTo>
                  <a:lnTo>
                    <a:pt x="251" y="218"/>
                  </a:lnTo>
                  <a:lnTo>
                    <a:pt x="251" y="218"/>
                  </a:lnTo>
                  <a:lnTo>
                    <a:pt x="251" y="216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46" y="11"/>
                  </a:lnTo>
                  <a:lnTo>
                    <a:pt x="246" y="11"/>
                  </a:lnTo>
                  <a:lnTo>
                    <a:pt x="246" y="8"/>
                  </a:lnTo>
                  <a:lnTo>
                    <a:pt x="244" y="8"/>
                  </a:lnTo>
                  <a:lnTo>
                    <a:pt x="244" y="6"/>
                  </a:lnTo>
                  <a:lnTo>
                    <a:pt x="244" y="6"/>
                  </a:lnTo>
                  <a:lnTo>
                    <a:pt x="244" y="6"/>
                  </a:lnTo>
                  <a:lnTo>
                    <a:pt x="244" y="3"/>
                  </a:lnTo>
                  <a:lnTo>
                    <a:pt x="241" y="3"/>
                  </a:lnTo>
                  <a:lnTo>
                    <a:pt x="241" y="3"/>
                  </a:lnTo>
                  <a:lnTo>
                    <a:pt x="239" y="0"/>
                  </a:lnTo>
                  <a:lnTo>
                    <a:pt x="239" y="0"/>
                  </a:lnTo>
                  <a:lnTo>
                    <a:pt x="239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2" name="Group 206">
            <a:extLst>
              <a:ext uri="{FF2B5EF4-FFF2-40B4-BE49-F238E27FC236}">
                <a16:creationId xmlns:a16="http://schemas.microsoft.com/office/drawing/2014/main" id="{8A00596D-5A93-43D5-BDEB-131F947904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0434" y="5461668"/>
            <a:ext cx="760412" cy="758825"/>
            <a:chOff x="897" y="3608"/>
            <a:chExt cx="479" cy="478"/>
          </a:xfrm>
        </p:grpSpPr>
        <p:sp>
          <p:nvSpPr>
            <p:cNvPr id="243" name="AutoShape 205">
              <a:extLst>
                <a:ext uri="{FF2B5EF4-FFF2-40B4-BE49-F238E27FC236}">
                  <a16:creationId xmlns:a16="http://schemas.microsoft.com/office/drawing/2014/main" id="{EEB57566-4C47-48B0-8404-CE15F4E330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97" y="3608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07">
              <a:extLst>
                <a:ext uri="{FF2B5EF4-FFF2-40B4-BE49-F238E27FC236}">
                  <a16:creationId xmlns:a16="http://schemas.microsoft.com/office/drawing/2014/main" id="{2232089B-37EC-4A08-B62E-D16C7ED55A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" y="3610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08">
              <a:extLst>
                <a:ext uri="{FF2B5EF4-FFF2-40B4-BE49-F238E27FC236}">
                  <a16:creationId xmlns:a16="http://schemas.microsoft.com/office/drawing/2014/main" id="{D6747816-6898-40D2-893A-01282237FE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" y="3713"/>
              <a:ext cx="270" cy="270"/>
            </a:xfrm>
            <a:custGeom>
              <a:avLst/>
              <a:gdLst>
                <a:gd name="T0" fmla="*/ 201 w 270"/>
                <a:gd name="T1" fmla="*/ 123 h 270"/>
                <a:gd name="T2" fmla="*/ 181 w 270"/>
                <a:gd name="T3" fmla="*/ 81 h 270"/>
                <a:gd name="T4" fmla="*/ 231 w 270"/>
                <a:gd name="T5" fmla="*/ 94 h 270"/>
                <a:gd name="T6" fmla="*/ 260 w 270"/>
                <a:gd name="T7" fmla="*/ 133 h 270"/>
                <a:gd name="T8" fmla="*/ 253 w 270"/>
                <a:gd name="T9" fmla="*/ 179 h 270"/>
                <a:gd name="T10" fmla="*/ 17 w 270"/>
                <a:gd name="T11" fmla="*/ 177 h 270"/>
                <a:gd name="T12" fmla="*/ 9 w 270"/>
                <a:gd name="T13" fmla="*/ 123 h 270"/>
                <a:gd name="T14" fmla="*/ 41 w 270"/>
                <a:gd name="T15" fmla="*/ 94 h 270"/>
                <a:gd name="T16" fmla="*/ 81 w 270"/>
                <a:gd name="T17" fmla="*/ 79 h 270"/>
                <a:gd name="T18" fmla="*/ 108 w 270"/>
                <a:gd name="T19" fmla="*/ 84 h 270"/>
                <a:gd name="T20" fmla="*/ 88 w 270"/>
                <a:gd name="T21" fmla="*/ 128 h 270"/>
                <a:gd name="T22" fmla="*/ 49 w 270"/>
                <a:gd name="T23" fmla="*/ 182 h 270"/>
                <a:gd name="T24" fmla="*/ 154 w 270"/>
                <a:gd name="T25" fmla="*/ 189 h 270"/>
                <a:gd name="T26" fmla="*/ 162 w 270"/>
                <a:gd name="T27" fmla="*/ 74 h 270"/>
                <a:gd name="T28" fmla="*/ 179 w 270"/>
                <a:gd name="T29" fmla="*/ 103 h 270"/>
                <a:gd name="T30" fmla="*/ 218 w 270"/>
                <a:gd name="T31" fmla="*/ 162 h 270"/>
                <a:gd name="T32" fmla="*/ 238 w 270"/>
                <a:gd name="T33" fmla="*/ 206 h 270"/>
                <a:gd name="T34" fmla="*/ 206 w 270"/>
                <a:gd name="T35" fmla="*/ 238 h 270"/>
                <a:gd name="T36" fmla="*/ 167 w 270"/>
                <a:gd name="T37" fmla="*/ 258 h 270"/>
                <a:gd name="T38" fmla="*/ 113 w 270"/>
                <a:gd name="T39" fmla="*/ 258 h 270"/>
                <a:gd name="T40" fmla="*/ 73 w 270"/>
                <a:gd name="T41" fmla="*/ 246 h 270"/>
                <a:gd name="T42" fmla="*/ 44 w 270"/>
                <a:gd name="T43" fmla="*/ 216 h 270"/>
                <a:gd name="T44" fmla="*/ 76 w 270"/>
                <a:gd name="T45" fmla="*/ 157 h 270"/>
                <a:gd name="T46" fmla="*/ 115 w 270"/>
                <a:gd name="T47" fmla="*/ 96 h 270"/>
                <a:gd name="T48" fmla="*/ 127 w 270"/>
                <a:gd name="T49" fmla="*/ 71 h 270"/>
                <a:gd name="T50" fmla="*/ 145 w 270"/>
                <a:gd name="T51" fmla="*/ 145 h 270"/>
                <a:gd name="T52" fmla="*/ 250 w 270"/>
                <a:gd name="T53" fmla="*/ 91 h 270"/>
                <a:gd name="T54" fmla="*/ 191 w 270"/>
                <a:gd name="T55" fmla="*/ 69 h 270"/>
                <a:gd name="T56" fmla="*/ 189 w 270"/>
                <a:gd name="T57" fmla="*/ 49 h 270"/>
                <a:gd name="T58" fmla="*/ 211 w 270"/>
                <a:gd name="T59" fmla="*/ 37 h 270"/>
                <a:gd name="T60" fmla="*/ 248 w 270"/>
                <a:gd name="T61" fmla="*/ 81 h 270"/>
                <a:gd name="T62" fmla="*/ 36 w 270"/>
                <a:gd name="T63" fmla="*/ 59 h 270"/>
                <a:gd name="T64" fmla="*/ 81 w 270"/>
                <a:gd name="T65" fmla="*/ 37 h 270"/>
                <a:gd name="T66" fmla="*/ 105 w 270"/>
                <a:gd name="T67" fmla="*/ 57 h 270"/>
                <a:gd name="T68" fmla="*/ 51 w 270"/>
                <a:gd name="T69" fmla="*/ 79 h 270"/>
                <a:gd name="T70" fmla="*/ 149 w 270"/>
                <a:gd name="T71" fmla="*/ 49 h 270"/>
                <a:gd name="T72" fmla="*/ 181 w 270"/>
                <a:gd name="T73" fmla="*/ 20 h 270"/>
                <a:gd name="T74" fmla="*/ 189 w 270"/>
                <a:gd name="T75" fmla="*/ 37 h 270"/>
                <a:gd name="T76" fmla="*/ 174 w 270"/>
                <a:gd name="T77" fmla="*/ 57 h 270"/>
                <a:gd name="T78" fmla="*/ 113 w 270"/>
                <a:gd name="T79" fmla="*/ 49 h 270"/>
                <a:gd name="T80" fmla="*/ 83 w 270"/>
                <a:gd name="T81" fmla="*/ 27 h 270"/>
                <a:gd name="T82" fmla="*/ 110 w 270"/>
                <a:gd name="T83" fmla="*/ 13 h 270"/>
                <a:gd name="T84" fmla="*/ 142 w 270"/>
                <a:gd name="T85" fmla="*/ 62 h 270"/>
                <a:gd name="T86" fmla="*/ 115 w 270"/>
                <a:gd name="T87" fmla="*/ 3 h 270"/>
                <a:gd name="T88" fmla="*/ 73 w 270"/>
                <a:gd name="T89" fmla="*/ 15 h 270"/>
                <a:gd name="T90" fmla="*/ 39 w 270"/>
                <a:gd name="T91" fmla="*/ 40 h 270"/>
                <a:gd name="T92" fmla="*/ 14 w 270"/>
                <a:gd name="T93" fmla="*/ 74 h 270"/>
                <a:gd name="T94" fmla="*/ 2 w 270"/>
                <a:gd name="T95" fmla="*/ 116 h 270"/>
                <a:gd name="T96" fmla="*/ 2 w 270"/>
                <a:gd name="T97" fmla="*/ 160 h 270"/>
                <a:gd name="T98" fmla="*/ 17 w 270"/>
                <a:gd name="T99" fmla="*/ 199 h 270"/>
                <a:gd name="T100" fmla="*/ 41 w 270"/>
                <a:gd name="T101" fmla="*/ 233 h 270"/>
                <a:gd name="T102" fmla="*/ 76 w 270"/>
                <a:gd name="T103" fmla="*/ 258 h 270"/>
                <a:gd name="T104" fmla="*/ 118 w 270"/>
                <a:gd name="T105" fmla="*/ 270 h 270"/>
                <a:gd name="T106" fmla="*/ 162 w 270"/>
                <a:gd name="T107" fmla="*/ 268 h 270"/>
                <a:gd name="T108" fmla="*/ 201 w 270"/>
                <a:gd name="T109" fmla="*/ 253 h 270"/>
                <a:gd name="T110" fmla="*/ 235 w 270"/>
                <a:gd name="T111" fmla="*/ 226 h 270"/>
                <a:gd name="T112" fmla="*/ 258 w 270"/>
                <a:gd name="T113" fmla="*/ 192 h 270"/>
                <a:gd name="T114" fmla="*/ 270 w 270"/>
                <a:gd name="T115" fmla="*/ 150 h 270"/>
                <a:gd name="T116" fmla="*/ 265 w 270"/>
                <a:gd name="T117" fmla="*/ 101 h 270"/>
                <a:gd name="T118" fmla="*/ 248 w 270"/>
                <a:gd name="T119" fmla="*/ 62 h 270"/>
                <a:gd name="T120" fmla="*/ 221 w 270"/>
                <a:gd name="T121" fmla="*/ 32 h 270"/>
                <a:gd name="T122" fmla="*/ 184 w 270"/>
                <a:gd name="T123" fmla="*/ 10 h 270"/>
                <a:gd name="T124" fmla="*/ 142 w 270"/>
                <a:gd name="T12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0" h="270">
                  <a:moveTo>
                    <a:pt x="243" y="187"/>
                  </a:moveTo>
                  <a:lnTo>
                    <a:pt x="240" y="182"/>
                  </a:lnTo>
                  <a:lnTo>
                    <a:pt x="235" y="174"/>
                  </a:lnTo>
                  <a:lnTo>
                    <a:pt x="233" y="167"/>
                  </a:lnTo>
                  <a:lnTo>
                    <a:pt x="228" y="162"/>
                  </a:lnTo>
                  <a:lnTo>
                    <a:pt x="223" y="155"/>
                  </a:lnTo>
                  <a:lnTo>
                    <a:pt x="221" y="150"/>
                  </a:lnTo>
                  <a:lnTo>
                    <a:pt x="216" y="143"/>
                  </a:lnTo>
                  <a:lnTo>
                    <a:pt x="213" y="140"/>
                  </a:lnTo>
                  <a:lnTo>
                    <a:pt x="208" y="135"/>
                  </a:lnTo>
                  <a:lnTo>
                    <a:pt x="206" y="133"/>
                  </a:lnTo>
                  <a:lnTo>
                    <a:pt x="204" y="128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6" y="116"/>
                  </a:lnTo>
                  <a:lnTo>
                    <a:pt x="194" y="111"/>
                  </a:lnTo>
                  <a:lnTo>
                    <a:pt x="191" y="106"/>
                  </a:lnTo>
                  <a:lnTo>
                    <a:pt x="189" y="101"/>
                  </a:lnTo>
                  <a:lnTo>
                    <a:pt x="186" y="98"/>
                  </a:lnTo>
                  <a:lnTo>
                    <a:pt x="186" y="96"/>
                  </a:lnTo>
                  <a:lnTo>
                    <a:pt x="184" y="94"/>
                  </a:lnTo>
                  <a:lnTo>
                    <a:pt x="184" y="91"/>
                  </a:lnTo>
                  <a:lnTo>
                    <a:pt x="184" y="89"/>
                  </a:lnTo>
                  <a:lnTo>
                    <a:pt x="181" y="86"/>
                  </a:lnTo>
                  <a:lnTo>
                    <a:pt x="181" y="84"/>
                  </a:lnTo>
                  <a:lnTo>
                    <a:pt x="181" y="81"/>
                  </a:lnTo>
                  <a:lnTo>
                    <a:pt x="181" y="79"/>
                  </a:lnTo>
                  <a:lnTo>
                    <a:pt x="181" y="79"/>
                  </a:lnTo>
                  <a:lnTo>
                    <a:pt x="181" y="76"/>
                  </a:lnTo>
                  <a:lnTo>
                    <a:pt x="186" y="76"/>
                  </a:lnTo>
                  <a:lnTo>
                    <a:pt x="191" y="79"/>
                  </a:lnTo>
                  <a:lnTo>
                    <a:pt x="196" y="79"/>
                  </a:lnTo>
                  <a:lnTo>
                    <a:pt x="201" y="81"/>
                  </a:lnTo>
                  <a:lnTo>
                    <a:pt x="206" y="84"/>
                  </a:lnTo>
                  <a:lnTo>
                    <a:pt x="211" y="84"/>
                  </a:lnTo>
                  <a:lnTo>
                    <a:pt x="216" y="86"/>
                  </a:lnTo>
                  <a:lnTo>
                    <a:pt x="221" y="89"/>
                  </a:lnTo>
                  <a:lnTo>
                    <a:pt x="226" y="91"/>
                  </a:lnTo>
                  <a:lnTo>
                    <a:pt x="231" y="94"/>
                  </a:lnTo>
                  <a:lnTo>
                    <a:pt x="235" y="96"/>
                  </a:lnTo>
                  <a:lnTo>
                    <a:pt x="240" y="98"/>
                  </a:lnTo>
                  <a:lnTo>
                    <a:pt x="245" y="101"/>
                  </a:lnTo>
                  <a:lnTo>
                    <a:pt x="250" y="103"/>
                  </a:lnTo>
                  <a:lnTo>
                    <a:pt x="253" y="106"/>
                  </a:lnTo>
                  <a:lnTo>
                    <a:pt x="258" y="108"/>
                  </a:lnTo>
                  <a:lnTo>
                    <a:pt x="258" y="111"/>
                  </a:lnTo>
                  <a:lnTo>
                    <a:pt x="260" y="116"/>
                  </a:lnTo>
                  <a:lnTo>
                    <a:pt x="260" y="118"/>
                  </a:lnTo>
                  <a:lnTo>
                    <a:pt x="260" y="123"/>
                  </a:lnTo>
                  <a:lnTo>
                    <a:pt x="260" y="125"/>
                  </a:lnTo>
                  <a:lnTo>
                    <a:pt x="260" y="128"/>
                  </a:lnTo>
                  <a:lnTo>
                    <a:pt x="260" y="133"/>
                  </a:lnTo>
                  <a:lnTo>
                    <a:pt x="260" y="135"/>
                  </a:lnTo>
                  <a:lnTo>
                    <a:pt x="260" y="140"/>
                  </a:lnTo>
                  <a:lnTo>
                    <a:pt x="260" y="143"/>
                  </a:lnTo>
                  <a:lnTo>
                    <a:pt x="260" y="147"/>
                  </a:lnTo>
                  <a:lnTo>
                    <a:pt x="260" y="150"/>
                  </a:lnTo>
                  <a:lnTo>
                    <a:pt x="260" y="155"/>
                  </a:lnTo>
                  <a:lnTo>
                    <a:pt x="258" y="157"/>
                  </a:lnTo>
                  <a:lnTo>
                    <a:pt x="258" y="162"/>
                  </a:lnTo>
                  <a:lnTo>
                    <a:pt x="258" y="165"/>
                  </a:lnTo>
                  <a:lnTo>
                    <a:pt x="255" y="170"/>
                  </a:lnTo>
                  <a:lnTo>
                    <a:pt x="255" y="172"/>
                  </a:lnTo>
                  <a:lnTo>
                    <a:pt x="255" y="177"/>
                  </a:lnTo>
                  <a:lnTo>
                    <a:pt x="253" y="179"/>
                  </a:lnTo>
                  <a:lnTo>
                    <a:pt x="250" y="182"/>
                  </a:lnTo>
                  <a:lnTo>
                    <a:pt x="250" y="187"/>
                  </a:lnTo>
                  <a:lnTo>
                    <a:pt x="248" y="189"/>
                  </a:lnTo>
                  <a:lnTo>
                    <a:pt x="248" y="194"/>
                  </a:lnTo>
                  <a:lnTo>
                    <a:pt x="243" y="187"/>
                  </a:lnTo>
                  <a:close/>
                  <a:moveTo>
                    <a:pt x="32" y="209"/>
                  </a:moveTo>
                  <a:lnTo>
                    <a:pt x="29" y="204"/>
                  </a:lnTo>
                  <a:lnTo>
                    <a:pt x="27" y="199"/>
                  </a:lnTo>
                  <a:lnTo>
                    <a:pt x="24" y="194"/>
                  </a:lnTo>
                  <a:lnTo>
                    <a:pt x="22" y="192"/>
                  </a:lnTo>
                  <a:lnTo>
                    <a:pt x="19" y="187"/>
                  </a:lnTo>
                  <a:lnTo>
                    <a:pt x="17" y="182"/>
                  </a:lnTo>
                  <a:lnTo>
                    <a:pt x="17" y="177"/>
                  </a:lnTo>
                  <a:lnTo>
                    <a:pt x="14" y="172"/>
                  </a:lnTo>
                  <a:lnTo>
                    <a:pt x="12" y="167"/>
                  </a:lnTo>
                  <a:lnTo>
                    <a:pt x="12" y="162"/>
                  </a:lnTo>
                  <a:lnTo>
                    <a:pt x="9" y="155"/>
                  </a:lnTo>
                  <a:lnTo>
                    <a:pt x="9" y="150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9" y="135"/>
                  </a:lnTo>
                  <a:lnTo>
                    <a:pt x="9" y="133"/>
                  </a:lnTo>
                  <a:lnTo>
                    <a:pt x="9" y="130"/>
                  </a:lnTo>
                  <a:lnTo>
                    <a:pt x="9" y="128"/>
                  </a:lnTo>
                  <a:lnTo>
                    <a:pt x="9" y="125"/>
                  </a:lnTo>
                  <a:lnTo>
                    <a:pt x="9" y="123"/>
                  </a:lnTo>
                  <a:lnTo>
                    <a:pt x="9" y="121"/>
                  </a:lnTo>
                  <a:lnTo>
                    <a:pt x="9" y="113"/>
                  </a:lnTo>
                  <a:lnTo>
                    <a:pt x="14" y="111"/>
                  </a:lnTo>
                  <a:lnTo>
                    <a:pt x="17" y="111"/>
                  </a:lnTo>
                  <a:lnTo>
                    <a:pt x="19" y="108"/>
                  </a:lnTo>
                  <a:lnTo>
                    <a:pt x="22" y="106"/>
                  </a:lnTo>
                  <a:lnTo>
                    <a:pt x="24" y="103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4" y="94"/>
                  </a:lnTo>
                  <a:lnTo>
                    <a:pt x="46" y="91"/>
                  </a:lnTo>
                  <a:lnTo>
                    <a:pt x="49" y="89"/>
                  </a:lnTo>
                  <a:lnTo>
                    <a:pt x="54" y="89"/>
                  </a:lnTo>
                  <a:lnTo>
                    <a:pt x="56" y="86"/>
                  </a:lnTo>
                  <a:lnTo>
                    <a:pt x="59" y="86"/>
                  </a:lnTo>
                  <a:lnTo>
                    <a:pt x="63" y="84"/>
                  </a:lnTo>
                  <a:lnTo>
                    <a:pt x="66" y="84"/>
                  </a:lnTo>
                  <a:lnTo>
                    <a:pt x="68" y="81"/>
                  </a:lnTo>
                  <a:lnTo>
                    <a:pt x="71" y="81"/>
                  </a:lnTo>
                  <a:lnTo>
                    <a:pt x="76" y="81"/>
                  </a:lnTo>
                  <a:lnTo>
                    <a:pt x="78" y="79"/>
                  </a:lnTo>
                  <a:lnTo>
                    <a:pt x="81" y="79"/>
                  </a:lnTo>
                  <a:lnTo>
                    <a:pt x="86" y="79"/>
                  </a:lnTo>
                  <a:lnTo>
                    <a:pt x="88" y="76"/>
                  </a:lnTo>
                  <a:lnTo>
                    <a:pt x="93" y="76"/>
                  </a:lnTo>
                  <a:lnTo>
                    <a:pt x="95" y="76"/>
                  </a:lnTo>
                  <a:lnTo>
                    <a:pt x="98" y="74"/>
                  </a:lnTo>
                  <a:lnTo>
                    <a:pt x="103" y="74"/>
                  </a:lnTo>
                  <a:lnTo>
                    <a:pt x="105" y="74"/>
                  </a:lnTo>
                  <a:lnTo>
                    <a:pt x="110" y="74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8" y="84"/>
                  </a:lnTo>
                  <a:lnTo>
                    <a:pt x="108" y="86"/>
                  </a:lnTo>
                  <a:lnTo>
                    <a:pt x="108" y="89"/>
                  </a:lnTo>
                  <a:lnTo>
                    <a:pt x="105" y="91"/>
                  </a:lnTo>
                  <a:lnTo>
                    <a:pt x="105" y="94"/>
                  </a:lnTo>
                  <a:lnTo>
                    <a:pt x="105" y="96"/>
                  </a:lnTo>
                  <a:lnTo>
                    <a:pt x="103" y="98"/>
                  </a:lnTo>
                  <a:lnTo>
                    <a:pt x="103" y="101"/>
                  </a:lnTo>
                  <a:lnTo>
                    <a:pt x="100" y="106"/>
                  </a:lnTo>
                  <a:lnTo>
                    <a:pt x="98" y="111"/>
                  </a:lnTo>
                  <a:lnTo>
                    <a:pt x="95" y="113"/>
                  </a:lnTo>
                  <a:lnTo>
                    <a:pt x="93" y="118"/>
                  </a:lnTo>
                  <a:lnTo>
                    <a:pt x="91" y="123"/>
                  </a:lnTo>
                  <a:lnTo>
                    <a:pt x="88" y="128"/>
                  </a:lnTo>
                  <a:lnTo>
                    <a:pt x="83" y="133"/>
                  </a:lnTo>
                  <a:lnTo>
                    <a:pt x="81" y="135"/>
                  </a:lnTo>
                  <a:lnTo>
                    <a:pt x="78" y="140"/>
                  </a:lnTo>
                  <a:lnTo>
                    <a:pt x="76" y="143"/>
                  </a:lnTo>
                  <a:lnTo>
                    <a:pt x="71" y="147"/>
                  </a:lnTo>
                  <a:lnTo>
                    <a:pt x="68" y="152"/>
                  </a:lnTo>
                  <a:lnTo>
                    <a:pt x="66" y="157"/>
                  </a:lnTo>
                  <a:lnTo>
                    <a:pt x="61" y="162"/>
                  </a:lnTo>
                  <a:lnTo>
                    <a:pt x="59" y="165"/>
                  </a:lnTo>
                  <a:lnTo>
                    <a:pt x="56" y="170"/>
                  </a:lnTo>
                  <a:lnTo>
                    <a:pt x="54" y="174"/>
                  </a:lnTo>
                  <a:lnTo>
                    <a:pt x="51" y="179"/>
                  </a:lnTo>
                  <a:lnTo>
                    <a:pt x="49" y="182"/>
                  </a:lnTo>
                  <a:lnTo>
                    <a:pt x="46" y="187"/>
                  </a:lnTo>
                  <a:lnTo>
                    <a:pt x="44" y="192"/>
                  </a:lnTo>
                  <a:lnTo>
                    <a:pt x="41" y="197"/>
                  </a:lnTo>
                  <a:lnTo>
                    <a:pt x="41" y="199"/>
                  </a:lnTo>
                  <a:lnTo>
                    <a:pt x="39" y="204"/>
                  </a:lnTo>
                  <a:lnTo>
                    <a:pt x="36" y="209"/>
                  </a:lnTo>
                  <a:lnTo>
                    <a:pt x="36" y="214"/>
                  </a:lnTo>
                  <a:lnTo>
                    <a:pt x="32" y="209"/>
                  </a:lnTo>
                  <a:close/>
                  <a:moveTo>
                    <a:pt x="149" y="246"/>
                  </a:moveTo>
                  <a:lnTo>
                    <a:pt x="152" y="231"/>
                  </a:lnTo>
                  <a:lnTo>
                    <a:pt x="152" y="219"/>
                  </a:lnTo>
                  <a:lnTo>
                    <a:pt x="152" y="204"/>
                  </a:lnTo>
                  <a:lnTo>
                    <a:pt x="154" y="189"/>
                  </a:lnTo>
                  <a:lnTo>
                    <a:pt x="154" y="174"/>
                  </a:lnTo>
                  <a:lnTo>
                    <a:pt x="154" y="160"/>
                  </a:lnTo>
                  <a:lnTo>
                    <a:pt x="154" y="145"/>
                  </a:lnTo>
                  <a:lnTo>
                    <a:pt x="154" y="138"/>
                  </a:lnTo>
                  <a:lnTo>
                    <a:pt x="154" y="128"/>
                  </a:lnTo>
                  <a:lnTo>
                    <a:pt x="154" y="118"/>
                  </a:lnTo>
                  <a:lnTo>
                    <a:pt x="154" y="108"/>
                  </a:lnTo>
                  <a:lnTo>
                    <a:pt x="154" y="101"/>
                  </a:lnTo>
                  <a:lnTo>
                    <a:pt x="154" y="91"/>
                  </a:lnTo>
                  <a:lnTo>
                    <a:pt x="152" y="81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2" y="74"/>
                  </a:lnTo>
                  <a:lnTo>
                    <a:pt x="167" y="74"/>
                  </a:lnTo>
                  <a:lnTo>
                    <a:pt x="172" y="74"/>
                  </a:lnTo>
                  <a:lnTo>
                    <a:pt x="172" y="76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2" y="81"/>
                  </a:lnTo>
                  <a:lnTo>
                    <a:pt x="172" y="84"/>
                  </a:lnTo>
                  <a:lnTo>
                    <a:pt x="174" y="86"/>
                  </a:lnTo>
                  <a:lnTo>
                    <a:pt x="174" y="89"/>
                  </a:lnTo>
                  <a:lnTo>
                    <a:pt x="174" y="91"/>
                  </a:lnTo>
                  <a:lnTo>
                    <a:pt x="177" y="94"/>
                  </a:lnTo>
                  <a:lnTo>
                    <a:pt x="177" y="98"/>
                  </a:lnTo>
                  <a:lnTo>
                    <a:pt x="179" y="103"/>
                  </a:lnTo>
                  <a:lnTo>
                    <a:pt x="181" y="108"/>
                  </a:lnTo>
                  <a:lnTo>
                    <a:pt x="184" y="113"/>
                  </a:lnTo>
                  <a:lnTo>
                    <a:pt x="186" y="118"/>
                  </a:lnTo>
                  <a:lnTo>
                    <a:pt x="189" y="123"/>
                  </a:lnTo>
                  <a:lnTo>
                    <a:pt x="191" y="128"/>
                  </a:lnTo>
                  <a:lnTo>
                    <a:pt x="196" y="133"/>
                  </a:lnTo>
                  <a:lnTo>
                    <a:pt x="199" y="138"/>
                  </a:lnTo>
                  <a:lnTo>
                    <a:pt x="204" y="143"/>
                  </a:lnTo>
                  <a:lnTo>
                    <a:pt x="208" y="150"/>
                  </a:lnTo>
                  <a:lnTo>
                    <a:pt x="211" y="152"/>
                  </a:lnTo>
                  <a:lnTo>
                    <a:pt x="213" y="157"/>
                  </a:lnTo>
                  <a:lnTo>
                    <a:pt x="216" y="160"/>
                  </a:lnTo>
                  <a:lnTo>
                    <a:pt x="218" y="162"/>
                  </a:lnTo>
                  <a:lnTo>
                    <a:pt x="221" y="167"/>
                  </a:lnTo>
                  <a:lnTo>
                    <a:pt x="223" y="170"/>
                  </a:lnTo>
                  <a:lnTo>
                    <a:pt x="226" y="172"/>
                  </a:lnTo>
                  <a:lnTo>
                    <a:pt x="226" y="177"/>
                  </a:lnTo>
                  <a:lnTo>
                    <a:pt x="228" y="179"/>
                  </a:lnTo>
                  <a:lnTo>
                    <a:pt x="231" y="182"/>
                  </a:lnTo>
                  <a:lnTo>
                    <a:pt x="233" y="187"/>
                  </a:lnTo>
                  <a:lnTo>
                    <a:pt x="235" y="189"/>
                  </a:lnTo>
                  <a:lnTo>
                    <a:pt x="235" y="194"/>
                  </a:lnTo>
                  <a:lnTo>
                    <a:pt x="238" y="197"/>
                  </a:lnTo>
                  <a:lnTo>
                    <a:pt x="240" y="199"/>
                  </a:lnTo>
                  <a:lnTo>
                    <a:pt x="240" y="204"/>
                  </a:lnTo>
                  <a:lnTo>
                    <a:pt x="238" y="206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8" y="219"/>
                  </a:lnTo>
                  <a:lnTo>
                    <a:pt x="226" y="223"/>
                  </a:lnTo>
                  <a:lnTo>
                    <a:pt x="223" y="226"/>
                  </a:lnTo>
                  <a:lnTo>
                    <a:pt x="221" y="228"/>
                  </a:lnTo>
                  <a:lnTo>
                    <a:pt x="218" y="228"/>
                  </a:lnTo>
                  <a:lnTo>
                    <a:pt x="216" y="231"/>
                  </a:lnTo>
                  <a:lnTo>
                    <a:pt x="213" y="233"/>
                  </a:lnTo>
                  <a:lnTo>
                    <a:pt x="211" y="236"/>
                  </a:lnTo>
                  <a:lnTo>
                    <a:pt x="206" y="238"/>
                  </a:lnTo>
                  <a:lnTo>
                    <a:pt x="204" y="241"/>
                  </a:lnTo>
                  <a:lnTo>
                    <a:pt x="201" y="243"/>
                  </a:lnTo>
                  <a:lnTo>
                    <a:pt x="199" y="243"/>
                  </a:lnTo>
                  <a:lnTo>
                    <a:pt x="196" y="246"/>
                  </a:lnTo>
                  <a:lnTo>
                    <a:pt x="191" y="248"/>
                  </a:lnTo>
                  <a:lnTo>
                    <a:pt x="189" y="248"/>
                  </a:lnTo>
                  <a:lnTo>
                    <a:pt x="186" y="250"/>
                  </a:lnTo>
                  <a:lnTo>
                    <a:pt x="181" y="250"/>
                  </a:lnTo>
                  <a:lnTo>
                    <a:pt x="179" y="253"/>
                  </a:lnTo>
                  <a:lnTo>
                    <a:pt x="177" y="253"/>
                  </a:lnTo>
                  <a:lnTo>
                    <a:pt x="172" y="255"/>
                  </a:lnTo>
                  <a:lnTo>
                    <a:pt x="169" y="255"/>
                  </a:lnTo>
                  <a:lnTo>
                    <a:pt x="167" y="258"/>
                  </a:lnTo>
                  <a:lnTo>
                    <a:pt x="162" y="258"/>
                  </a:lnTo>
                  <a:lnTo>
                    <a:pt x="159" y="258"/>
                  </a:lnTo>
                  <a:lnTo>
                    <a:pt x="157" y="260"/>
                  </a:lnTo>
                  <a:lnTo>
                    <a:pt x="152" y="260"/>
                  </a:lnTo>
                  <a:lnTo>
                    <a:pt x="149" y="260"/>
                  </a:lnTo>
                  <a:lnTo>
                    <a:pt x="149" y="246"/>
                  </a:lnTo>
                  <a:close/>
                  <a:moveTo>
                    <a:pt x="132" y="260"/>
                  </a:moveTo>
                  <a:lnTo>
                    <a:pt x="127" y="260"/>
                  </a:lnTo>
                  <a:lnTo>
                    <a:pt x="125" y="260"/>
                  </a:lnTo>
                  <a:lnTo>
                    <a:pt x="122" y="260"/>
                  </a:lnTo>
                  <a:lnTo>
                    <a:pt x="118" y="260"/>
                  </a:lnTo>
                  <a:lnTo>
                    <a:pt x="115" y="260"/>
                  </a:lnTo>
                  <a:lnTo>
                    <a:pt x="113" y="258"/>
                  </a:lnTo>
                  <a:lnTo>
                    <a:pt x="110" y="258"/>
                  </a:lnTo>
                  <a:lnTo>
                    <a:pt x="105" y="258"/>
                  </a:lnTo>
                  <a:lnTo>
                    <a:pt x="103" y="258"/>
                  </a:lnTo>
                  <a:lnTo>
                    <a:pt x="100" y="255"/>
                  </a:lnTo>
                  <a:lnTo>
                    <a:pt x="98" y="255"/>
                  </a:lnTo>
                  <a:lnTo>
                    <a:pt x="93" y="253"/>
                  </a:lnTo>
                  <a:lnTo>
                    <a:pt x="91" y="253"/>
                  </a:lnTo>
                  <a:lnTo>
                    <a:pt x="88" y="250"/>
                  </a:lnTo>
                  <a:lnTo>
                    <a:pt x="86" y="250"/>
                  </a:lnTo>
                  <a:lnTo>
                    <a:pt x="81" y="248"/>
                  </a:lnTo>
                  <a:lnTo>
                    <a:pt x="78" y="248"/>
                  </a:lnTo>
                  <a:lnTo>
                    <a:pt x="76" y="246"/>
                  </a:lnTo>
                  <a:lnTo>
                    <a:pt x="73" y="246"/>
                  </a:lnTo>
                  <a:lnTo>
                    <a:pt x="71" y="243"/>
                  </a:lnTo>
                  <a:lnTo>
                    <a:pt x="68" y="241"/>
                  </a:lnTo>
                  <a:lnTo>
                    <a:pt x="66" y="241"/>
                  </a:lnTo>
                  <a:lnTo>
                    <a:pt x="63" y="238"/>
                  </a:lnTo>
                  <a:lnTo>
                    <a:pt x="59" y="236"/>
                  </a:lnTo>
                  <a:lnTo>
                    <a:pt x="56" y="233"/>
                  </a:lnTo>
                  <a:lnTo>
                    <a:pt x="54" y="231"/>
                  </a:lnTo>
                  <a:lnTo>
                    <a:pt x="51" y="231"/>
                  </a:lnTo>
                  <a:lnTo>
                    <a:pt x="49" y="228"/>
                  </a:lnTo>
                  <a:lnTo>
                    <a:pt x="46" y="226"/>
                  </a:lnTo>
                  <a:lnTo>
                    <a:pt x="44" y="223"/>
                  </a:lnTo>
                  <a:lnTo>
                    <a:pt x="44" y="221"/>
                  </a:lnTo>
                  <a:lnTo>
                    <a:pt x="44" y="216"/>
                  </a:lnTo>
                  <a:lnTo>
                    <a:pt x="46" y="211"/>
                  </a:lnTo>
                  <a:lnTo>
                    <a:pt x="46" y="209"/>
                  </a:lnTo>
                  <a:lnTo>
                    <a:pt x="49" y="204"/>
                  </a:lnTo>
                  <a:lnTo>
                    <a:pt x="51" y="199"/>
                  </a:lnTo>
                  <a:lnTo>
                    <a:pt x="54" y="194"/>
                  </a:lnTo>
                  <a:lnTo>
                    <a:pt x="56" y="189"/>
                  </a:lnTo>
                  <a:lnTo>
                    <a:pt x="59" y="187"/>
                  </a:lnTo>
                  <a:lnTo>
                    <a:pt x="61" y="182"/>
                  </a:lnTo>
                  <a:lnTo>
                    <a:pt x="63" y="177"/>
                  </a:lnTo>
                  <a:lnTo>
                    <a:pt x="66" y="172"/>
                  </a:lnTo>
                  <a:lnTo>
                    <a:pt x="68" y="167"/>
                  </a:lnTo>
                  <a:lnTo>
                    <a:pt x="73" y="162"/>
                  </a:lnTo>
                  <a:lnTo>
                    <a:pt x="76" y="157"/>
                  </a:lnTo>
                  <a:lnTo>
                    <a:pt x="78" y="155"/>
                  </a:lnTo>
                  <a:lnTo>
                    <a:pt x="83" y="150"/>
                  </a:lnTo>
                  <a:lnTo>
                    <a:pt x="86" y="143"/>
                  </a:lnTo>
                  <a:lnTo>
                    <a:pt x="91" y="138"/>
                  </a:lnTo>
                  <a:lnTo>
                    <a:pt x="95" y="133"/>
                  </a:lnTo>
                  <a:lnTo>
                    <a:pt x="98" y="128"/>
                  </a:lnTo>
                  <a:lnTo>
                    <a:pt x="100" y="123"/>
                  </a:lnTo>
                  <a:lnTo>
                    <a:pt x="105" y="118"/>
                  </a:lnTo>
                  <a:lnTo>
                    <a:pt x="108" y="113"/>
                  </a:lnTo>
                  <a:lnTo>
                    <a:pt x="110" y="108"/>
                  </a:lnTo>
                  <a:lnTo>
                    <a:pt x="113" y="103"/>
                  </a:lnTo>
                  <a:lnTo>
                    <a:pt x="113" y="98"/>
                  </a:lnTo>
                  <a:lnTo>
                    <a:pt x="115" y="96"/>
                  </a:lnTo>
                  <a:lnTo>
                    <a:pt x="115" y="94"/>
                  </a:lnTo>
                  <a:lnTo>
                    <a:pt x="115" y="91"/>
                  </a:lnTo>
                  <a:lnTo>
                    <a:pt x="118" y="89"/>
                  </a:lnTo>
                  <a:lnTo>
                    <a:pt x="118" y="86"/>
                  </a:lnTo>
                  <a:lnTo>
                    <a:pt x="118" y="84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79"/>
                  </a:lnTo>
                  <a:lnTo>
                    <a:pt x="118" y="76"/>
                  </a:lnTo>
                  <a:lnTo>
                    <a:pt x="118" y="74"/>
                  </a:lnTo>
                  <a:lnTo>
                    <a:pt x="118" y="71"/>
                  </a:lnTo>
                  <a:lnTo>
                    <a:pt x="122" y="71"/>
                  </a:lnTo>
                  <a:lnTo>
                    <a:pt x="127" y="71"/>
                  </a:lnTo>
                  <a:lnTo>
                    <a:pt x="132" y="71"/>
                  </a:lnTo>
                  <a:lnTo>
                    <a:pt x="137" y="71"/>
                  </a:lnTo>
                  <a:lnTo>
                    <a:pt x="140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81"/>
                  </a:lnTo>
                  <a:lnTo>
                    <a:pt x="145" y="91"/>
                  </a:lnTo>
                  <a:lnTo>
                    <a:pt x="145" y="101"/>
                  </a:lnTo>
                  <a:lnTo>
                    <a:pt x="145" y="108"/>
                  </a:lnTo>
                  <a:lnTo>
                    <a:pt x="145" y="118"/>
                  </a:lnTo>
                  <a:lnTo>
                    <a:pt x="145" y="128"/>
                  </a:lnTo>
                  <a:lnTo>
                    <a:pt x="145" y="138"/>
                  </a:lnTo>
                  <a:lnTo>
                    <a:pt x="145" y="145"/>
                  </a:lnTo>
                  <a:lnTo>
                    <a:pt x="145" y="160"/>
                  </a:lnTo>
                  <a:lnTo>
                    <a:pt x="145" y="174"/>
                  </a:lnTo>
                  <a:lnTo>
                    <a:pt x="145" y="189"/>
                  </a:lnTo>
                  <a:lnTo>
                    <a:pt x="145" y="204"/>
                  </a:lnTo>
                  <a:lnTo>
                    <a:pt x="142" y="219"/>
                  </a:lnTo>
                  <a:lnTo>
                    <a:pt x="142" y="233"/>
                  </a:lnTo>
                  <a:lnTo>
                    <a:pt x="140" y="246"/>
                  </a:lnTo>
                  <a:lnTo>
                    <a:pt x="140" y="260"/>
                  </a:lnTo>
                  <a:lnTo>
                    <a:pt x="137" y="260"/>
                  </a:lnTo>
                  <a:lnTo>
                    <a:pt x="137" y="260"/>
                  </a:lnTo>
                  <a:lnTo>
                    <a:pt x="135" y="260"/>
                  </a:lnTo>
                  <a:lnTo>
                    <a:pt x="132" y="260"/>
                  </a:lnTo>
                  <a:close/>
                  <a:moveTo>
                    <a:pt x="250" y="91"/>
                  </a:moveTo>
                  <a:lnTo>
                    <a:pt x="245" y="89"/>
                  </a:lnTo>
                  <a:lnTo>
                    <a:pt x="240" y="89"/>
                  </a:lnTo>
                  <a:lnTo>
                    <a:pt x="238" y="86"/>
                  </a:lnTo>
                  <a:lnTo>
                    <a:pt x="233" y="84"/>
                  </a:lnTo>
                  <a:lnTo>
                    <a:pt x="228" y="81"/>
                  </a:lnTo>
                  <a:lnTo>
                    <a:pt x="223" y="79"/>
                  </a:lnTo>
                  <a:lnTo>
                    <a:pt x="218" y="76"/>
                  </a:lnTo>
                  <a:lnTo>
                    <a:pt x="216" y="76"/>
                  </a:lnTo>
                  <a:lnTo>
                    <a:pt x="211" y="74"/>
                  </a:lnTo>
                  <a:lnTo>
                    <a:pt x="206" y="71"/>
                  </a:lnTo>
                  <a:lnTo>
                    <a:pt x="201" y="71"/>
                  </a:lnTo>
                  <a:lnTo>
                    <a:pt x="196" y="69"/>
                  </a:lnTo>
                  <a:lnTo>
                    <a:pt x="191" y="69"/>
                  </a:lnTo>
                  <a:lnTo>
                    <a:pt x="186" y="67"/>
                  </a:lnTo>
                  <a:lnTo>
                    <a:pt x="181" y="67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2"/>
                  </a:lnTo>
                  <a:lnTo>
                    <a:pt x="184" y="59"/>
                  </a:lnTo>
                  <a:lnTo>
                    <a:pt x="184" y="59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47"/>
                  </a:lnTo>
                  <a:lnTo>
                    <a:pt x="194" y="47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2"/>
                  </a:lnTo>
                  <a:lnTo>
                    <a:pt x="199" y="42"/>
                  </a:lnTo>
                  <a:lnTo>
                    <a:pt x="201" y="40"/>
                  </a:lnTo>
                  <a:lnTo>
                    <a:pt x="204" y="40"/>
                  </a:lnTo>
                  <a:lnTo>
                    <a:pt x="206" y="37"/>
                  </a:lnTo>
                  <a:lnTo>
                    <a:pt x="208" y="37"/>
                  </a:lnTo>
                  <a:lnTo>
                    <a:pt x="208" y="37"/>
                  </a:lnTo>
                  <a:lnTo>
                    <a:pt x="211" y="37"/>
                  </a:lnTo>
                  <a:lnTo>
                    <a:pt x="216" y="40"/>
                  </a:lnTo>
                  <a:lnTo>
                    <a:pt x="218" y="42"/>
                  </a:lnTo>
                  <a:lnTo>
                    <a:pt x="223" y="45"/>
                  </a:lnTo>
                  <a:lnTo>
                    <a:pt x="226" y="49"/>
                  </a:lnTo>
                  <a:lnTo>
                    <a:pt x="228" y="52"/>
                  </a:lnTo>
                  <a:lnTo>
                    <a:pt x="231" y="54"/>
                  </a:lnTo>
                  <a:lnTo>
                    <a:pt x="235" y="59"/>
                  </a:lnTo>
                  <a:lnTo>
                    <a:pt x="238" y="62"/>
                  </a:lnTo>
                  <a:lnTo>
                    <a:pt x="240" y="67"/>
                  </a:lnTo>
                  <a:lnTo>
                    <a:pt x="243" y="69"/>
                  </a:lnTo>
                  <a:lnTo>
                    <a:pt x="245" y="74"/>
                  </a:lnTo>
                  <a:lnTo>
                    <a:pt x="248" y="79"/>
                  </a:lnTo>
                  <a:lnTo>
                    <a:pt x="248" y="81"/>
                  </a:lnTo>
                  <a:lnTo>
                    <a:pt x="250" y="86"/>
                  </a:lnTo>
                  <a:lnTo>
                    <a:pt x="253" y="91"/>
                  </a:lnTo>
                  <a:lnTo>
                    <a:pt x="255" y="94"/>
                  </a:lnTo>
                  <a:lnTo>
                    <a:pt x="250" y="91"/>
                  </a:lnTo>
                  <a:close/>
                  <a:moveTo>
                    <a:pt x="17" y="94"/>
                  </a:moveTo>
                  <a:lnTo>
                    <a:pt x="17" y="89"/>
                  </a:lnTo>
                  <a:lnTo>
                    <a:pt x="19" y="84"/>
                  </a:lnTo>
                  <a:lnTo>
                    <a:pt x="22" y="81"/>
                  </a:lnTo>
                  <a:lnTo>
                    <a:pt x="24" y="76"/>
                  </a:lnTo>
                  <a:lnTo>
                    <a:pt x="27" y="71"/>
                  </a:lnTo>
                  <a:lnTo>
                    <a:pt x="29" y="67"/>
                  </a:lnTo>
                  <a:lnTo>
                    <a:pt x="32" y="62"/>
                  </a:lnTo>
                  <a:lnTo>
                    <a:pt x="36" y="59"/>
                  </a:lnTo>
                  <a:lnTo>
                    <a:pt x="39" y="54"/>
                  </a:lnTo>
                  <a:lnTo>
                    <a:pt x="41" y="49"/>
                  </a:lnTo>
                  <a:lnTo>
                    <a:pt x="46" y="47"/>
                  </a:lnTo>
                  <a:lnTo>
                    <a:pt x="49" y="42"/>
                  </a:lnTo>
                  <a:lnTo>
                    <a:pt x="54" y="40"/>
                  </a:lnTo>
                  <a:lnTo>
                    <a:pt x="59" y="37"/>
                  </a:lnTo>
                  <a:lnTo>
                    <a:pt x="61" y="32"/>
                  </a:lnTo>
                  <a:lnTo>
                    <a:pt x="66" y="32"/>
                  </a:lnTo>
                  <a:lnTo>
                    <a:pt x="68" y="35"/>
                  </a:lnTo>
                  <a:lnTo>
                    <a:pt x="71" y="35"/>
                  </a:lnTo>
                  <a:lnTo>
                    <a:pt x="76" y="35"/>
                  </a:lnTo>
                  <a:lnTo>
                    <a:pt x="78" y="35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8" y="40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5" y="45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100" y="49"/>
                  </a:lnTo>
                  <a:lnTo>
                    <a:pt x="103" y="52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62"/>
                  </a:lnTo>
                  <a:lnTo>
                    <a:pt x="108" y="64"/>
                  </a:lnTo>
                  <a:lnTo>
                    <a:pt x="103" y="64"/>
                  </a:lnTo>
                  <a:lnTo>
                    <a:pt x="95" y="67"/>
                  </a:lnTo>
                  <a:lnTo>
                    <a:pt x="88" y="67"/>
                  </a:lnTo>
                  <a:lnTo>
                    <a:pt x="83" y="69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63" y="74"/>
                  </a:lnTo>
                  <a:lnTo>
                    <a:pt x="59" y="76"/>
                  </a:lnTo>
                  <a:lnTo>
                    <a:pt x="51" y="79"/>
                  </a:lnTo>
                  <a:lnTo>
                    <a:pt x="46" y="81"/>
                  </a:lnTo>
                  <a:lnTo>
                    <a:pt x="41" y="84"/>
                  </a:lnTo>
                  <a:lnTo>
                    <a:pt x="34" y="86"/>
                  </a:lnTo>
                  <a:lnTo>
                    <a:pt x="29" y="89"/>
                  </a:lnTo>
                  <a:lnTo>
                    <a:pt x="24" y="94"/>
                  </a:lnTo>
                  <a:lnTo>
                    <a:pt x="19" y="96"/>
                  </a:lnTo>
                  <a:lnTo>
                    <a:pt x="14" y="101"/>
                  </a:lnTo>
                  <a:lnTo>
                    <a:pt x="17" y="94"/>
                  </a:lnTo>
                  <a:close/>
                  <a:moveTo>
                    <a:pt x="167" y="64"/>
                  </a:moveTo>
                  <a:lnTo>
                    <a:pt x="162" y="64"/>
                  </a:lnTo>
                  <a:lnTo>
                    <a:pt x="157" y="64"/>
                  </a:lnTo>
                  <a:lnTo>
                    <a:pt x="152" y="62"/>
                  </a:lnTo>
                  <a:lnTo>
                    <a:pt x="149" y="49"/>
                  </a:lnTo>
                  <a:lnTo>
                    <a:pt x="149" y="35"/>
                  </a:lnTo>
                  <a:lnTo>
                    <a:pt x="147" y="22"/>
                  </a:lnTo>
                  <a:lnTo>
                    <a:pt x="147" y="10"/>
                  </a:lnTo>
                  <a:lnTo>
                    <a:pt x="149" y="10"/>
                  </a:lnTo>
                  <a:lnTo>
                    <a:pt x="154" y="10"/>
                  </a:lnTo>
                  <a:lnTo>
                    <a:pt x="157" y="13"/>
                  </a:lnTo>
                  <a:lnTo>
                    <a:pt x="162" y="13"/>
                  </a:lnTo>
                  <a:lnTo>
                    <a:pt x="164" y="13"/>
                  </a:lnTo>
                  <a:lnTo>
                    <a:pt x="169" y="15"/>
                  </a:lnTo>
                  <a:lnTo>
                    <a:pt x="172" y="15"/>
                  </a:lnTo>
                  <a:lnTo>
                    <a:pt x="177" y="18"/>
                  </a:lnTo>
                  <a:lnTo>
                    <a:pt x="179" y="18"/>
                  </a:lnTo>
                  <a:lnTo>
                    <a:pt x="181" y="20"/>
                  </a:lnTo>
                  <a:lnTo>
                    <a:pt x="186" y="20"/>
                  </a:lnTo>
                  <a:lnTo>
                    <a:pt x="189" y="22"/>
                  </a:lnTo>
                  <a:lnTo>
                    <a:pt x="194" y="25"/>
                  </a:lnTo>
                  <a:lnTo>
                    <a:pt x="196" y="25"/>
                  </a:lnTo>
                  <a:lnTo>
                    <a:pt x="199" y="27"/>
                  </a:lnTo>
                  <a:lnTo>
                    <a:pt x="204" y="30"/>
                  </a:lnTo>
                  <a:lnTo>
                    <a:pt x="201" y="30"/>
                  </a:lnTo>
                  <a:lnTo>
                    <a:pt x="199" y="32"/>
                  </a:lnTo>
                  <a:lnTo>
                    <a:pt x="196" y="32"/>
                  </a:lnTo>
                  <a:lnTo>
                    <a:pt x="194" y="32"/>
                  </a:lnTo>
                  <a:lnTo>
                    <a:pt x="194" y="35"/>
                  </a:lnTo>
                  <a:lnTo>
                    <a:pt x="191" y="35"/>
                  </a:lnTo>
                  <a:lnTo>
                    <a:pt x="189" y="37"/>
                  </a:lnTo>
                  <a:lnTo>
                    <a:pt x="189" y="37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84" y="42"/>
                  </a:lnTo>
                  <a:lnTo>
                    <a:pt x="181" y="42"/>
                  </a:lnTo>
                  <a:lnTo>
                    <a:pt x="181" y="45"/>
                  </a:lnTo>
                  <a:lnTo>
                    <a:pt x="179" y="47"/>
                  </a:lnTo>
                  <a:lnTo>
                    <a:pt x="179" y="47"/>
                  </a:lnTo>
                  <a:lnTo>
                    <a:pt x="177" y="49"/>
                  </a:lnTo>
                  <a:lnTo>
                    <a:pt x="177" y="52"/>
                  </a:lnTo>
                  <a:lnTo>
                    <a:pt x="177" y="52"/>
                  </a:lnTo>
                  <a:lnTo>
                    <a:pt x="174" y="54"/>
                  </a:lnTo>
                  <a:lnTo>
                    <a:pt x="174" y="57"/>
                  </a:lnTo>
                  <a:lnTo>
                    <a:pt x="174" y="59"/>
                  </a:lnTo>
                  <a:lnTo>
                    <a:pt x="174" y="62"/>
                  </a:lnTo>
                  <a:lnTo>
                    <a:pt x="172" y="62"/>
                  </a:lnTo>
                  <a:lnTo>
                    <a:pt x="172" y="64"/>
                  </a:lnTo>
                  <a:lnTo>
                    <a:pt x="167" y="64"/>
                  </a:lnTo>
                  <a:close/>
                  <a:moveTo>
                    <a:pt x="118" y="62"/>
                  </a:moveTo>
                  <a:lnTo>
                    <a:pt x="118" y="59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110" y="47"/>
                  </a:lnTo>
                  <a:lnTo>
                    <a:pt x="110" y="45"/>
                  </a:lnTo>
                  <a:lnTo>
                    <a:pt x="108" y="42"/>
                  </a:lnTo>
                  <a:lnTo>
                    <a:pt x="105" y="42"/>
                  </a:lnTo>
                  <a:lnTo>
                    <a:pt x="103" y="40"/>
                  </a:lnTo>
                  <a:lnTo>
                    <a:pt x="100" y="37"/>
                  </a:lnTo>
                  <a:lnTo>
                    <a:pt x="98" y="35"/>
                  </a:lnTo>
                  <a:lnTo>
                    <a:pt x="95" y="35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3" y="27"/>
                  </a:lnTo>
                  <a:lnTo>
                    <a:pt x="81" y="27"/>
                  </a:lnTo>
                  <a:lnTo>
                    <a:pt x="78" y="25"/>
                  </a:lnTo>
                  <a:lnTo>
                    <a:pt x="73" y="25"/>
                  </a:lnTo>
                  <a:lnTo>
                    <a:pt x="78" y="22"/>
                  </a:lnTo>
                  <a:lnTo>
                    <a:pt x="81" y="22"/>
                  </a:lnTo>
                  <a:lnTo>
                    <a:pt x="86" y="20"/>
                  </a:lnTo>
                  <a:lnTo>
                    <a:pt x="88" y="18"/>
                  </a:lnTo>
                  <a:lnTo>
                    <a:pt x="93" y="18"/>
                  </a:lnTo>
                  <a:lnTo>
                    <a:pt x="95" y="15"/>
                  </a:lnTo>
                  <a:lnTo>
                    <a:pt x="100" y="15"/>
                  </a:lnTo>
                  <a:lnTo>
                    <a:pt x="103" y="13"/>
                  </a:lnTo>
                  <a:lnTo>
                    <a:pt x="108" y="13"/>
                  </a:lnTo>
                  <a:lnTo>
                    <a:pt x="110" y="13"/>
                  </a:lnTo>
                  <a:lnTo>
                    <a:pt x="115" y="10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27" y="10"/>
                  </a:lnTo>
                  <a:lnTo>
                    <a:pt x="130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22"/>
                  </a:lnTo>
                  <a:lnTo>
                    <a:pt x="140" y="35"/>
                  </a:lnTo>
                  <a:lnTo>
                    <a:pt x="140" y="49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37" y="62"/>
                  </a:lnTo>
                  <a:lnTo>
                    <a:pt x="132" y="62"/>
                  </a:lnTo>
                  <a:lnTo>
                    <a:pt x="127" y="62"/>
                  </a:lnTo>
                  <a:lnTo>
                    <a:pt x="122" y="62"/>
                  </a:lnTo>
                  <a:lnTo>
                    <a:pt x="118" y="64"/>
                  </a:lnTo>
                  <a:lnTo>
                    <a:pt x="118" y="62"/>
                  </a:lnTo>
                  <a:close/>
                  <a:moveTo>
                    <a:pt x="135" y="0"/>
                  </a:moveTo>
                  <a:lnTo>
                    <a:pt x="132" y="0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0" y="0"/>
                  </a:lnTo>
                  <a:lnTo>
                    <a:pt x="118" y="0"/>
                  </a:lnTo>
                  <a:lnTo>
                    <a:pt x="115" y="3"/>
                  </a:lnTo>
                  <a:lnTo>
                    <a:pt x="110" y="3"/>
                  </a:lnTo>
                  <a:lnTo>
                    <a:pt x="108" y="3"/>
                  </a:lnTo>
                  <a:lnTo>
                    <a:pt x="105" y="3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5" y="5"/>
                  </a:lnTo>
                  <a:lnTo>
                    <a:pt x="91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3" y="10"/>
                  </a:lnTo>
                  <a:lnTo>
                    <a:pt x="78" y="13"/>
                  </a:lnTo>
                  <a:lnTo>
                    <a:pt x="76" y="13"/>
                  </a:lnTo>
                  <a:lnTo>
                    <a:pt x="73" y="15"/>
                  </a:lnTo>
                  <a:lnTo>
                    <a:pt x="71" y="18"/>
                  </a:lnTo>
                  <a:lnTo>
                    <a:pt x="68" y="18"/>
                  </a:lnTo>
                  <a:lnTo>
                    <a:pt x="63" y="20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6" y="25"/>
                  </a:lnTo>
                  <a:lnTo>
                    <a:pt x="54" y="27"/>
                  </a:lnTo>
                  <a:lnTo>
                    <a:pt x="51" y="30"/>
                  </a:lnTo>
                  <a:lnTo>
                    <a:pt x="49" y="32"/>
                  </a:lnTo>
                  <a:lnTo>
                    <a:pt x="46" y="32"/>
                  </a:lnTo>
                  <a:lnTo>
                    <a:pt x="44" y="35"/>
                  </a:lnTo>
                  <a:lnTo>
                    <a:pt x="41" y="37"/>
                  </a:lnTo>
                  <a:lnTo>
                    <a:pt x="39" y="40"/>
                  </a:lnTo>
                  <a:lnTo>
                    <a:pt x="36" y="42"/>
                  </a:lnTo>
                  <a:lnTo>
                    <a:pt x="34" y="45"/>
                  </a:lnTo>
                  <a:lnTo>
                    <a:pt x="32" y="47"/>
                  </a:lnTo>
                  <a:lnTo>
                    <a:pt x="29" y="49"/>
                  </a:lnTo>
                  <a:lnTo>
                    <a:pt x="29" y="52"/>
                  </a:lnTo>
                  <a:lnTo>
                    <a:pt x="27" y="54"/>
                  </a:lnTo>
                  <a:lnTo>
                    <a:pt x="24" y="57"/>
                  </a:lnTo>
                  <a:lnTo>
                    <a:pt x="22" y="59"/>
                  </a:lnTo>
                  <a:lnTo>
                    <a:pt x="22" y="62"/>
                  </a:lnTo>
                  <a:lnTo>
                    <a:pt x="19" y="64"/>
                  </a:lnTo>
                  <a:lnTo>
                    <a:pt x="17" y="69"/>
                  </a:lnTo>
                  <a:lnTo>
                    <a:pt x="17" y="71"/>
                  </a:lnTo>
                  <a:lnTo>
                    <a:pt x="14" y="74"/>
                  </a:lnTo>
                  <a:lnTo>
                    <a:pt x="12" y="76"/>
                  </a:lnTo>
                  <a:lnTo>
                    <a:pt x="12" y="79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5" y="96"/>
                  </a:lnTo>
                  <a:lnTo>
                    <a:pt x="5" y="98"/>
                  </a:lnTo>
                  <a:lnTo>
                    <a:pt x="5" y="101"/>
                  </a:lnTo>
                  <a:lnTo>
                    <a:pt x="2" y="106"/>
                  </a:lnTo>
                  <a:lnTo>
                    <a:pt x="2" y="108"/>
                  </a:lnTo>
                  <a:lnTo>
                    <a:pt x="2" y="111"/>
                  </a:lnTo>
                  <a:lnTo>
                    <a:pt x="2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5"/>
                  </a:lnTo>
                  <a:lnTo>
                    <a:pt x="0" y="128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138"/>
                  </a:lnTo>
                  <a:lnTo>
                    <a:pt x="0" y="143"/>
                  </a:lnTo>
                  <a:lnTo>
                    <a:pt x="0" y="145"/>
                  </a:lnTo>
                  <a:lnTo>
                    <a:pt x="0" y="150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2" y="160"/>
                  </a:lnTo>
                  <a:lnTo>
                    <a:pt x="2" y="162"/>
                  </a:lnTo>
                  <a:lnTo>
                    <a:pt x="2" y="165"/>
                  </a:lnTo>
                  <a:lnTo>
                    <a:pt x="5" y="170"/>
                  </a:lnTo>
                  <a:lnTo>
                    <a:pt x="5" y="172"/>
                  </a:lnTo>
                  <a:lnTo>
                    <a:pt x="5" y="174"/>
                  </a:lnTo>
                  <a:lnTo>
                    <a:pt x="7" y="179"/>
                  </a:lnTo>
                  <a:lnTo>
                    <a:pt x="7" y="182"/>
                  </a:lnTo>
                  <a:lnTo>
                    <a:pt x="9" y="184"/>
                  </a:lnTo>
                  <a:lnTo>
                    <a:pt x="9" y="187"/>
                  </a:lnTo>
                  <a:lnTo>
                    <a:pt x="12" y="192"/>
                  </a:lnTo>
                  <a:lnTo>
                    <a:pt x="12" y="194"/>
                  </a:lnTo>
                  <a:lnTo>
                    <a:pt x="14" y="197"/>
                  </a:lnTo>
                  <a:lnTo>
                    <a:pt x="17" y="199"/>
                  </a:lnTo>
                  <a:lnTo>
                    <a:pt x="17" y="201"/>
                  </a:lnTo>
                  <a:lnTo>
                    <a:pt x="19" y="206"/>
                  </a:lnTo>
                  <a:lnTo>
                    <a:pt x="22" y="209"/>
                  </a:lnTo>
                  <a:lnTo>
                    <a:pt x="22" y="211"/>
                  </a:lnTo>
                  <a:lnTo>
                    <a:pt x="24" y="214"/>
                  </a:lnTo>
                  <a:lnTo>
                    <a:pt x="27" y="216"/>
                  </a:lnTo>
                  <a:lnTo>
                    <a:pt x="29" y="219"/>
                  </a:lnTo>
                  <a:lnTo>
                    <a:pt x="29" y="221"/>
                  </a:lnTo>
                  <a:lnTo>
                    <a:pt x="32" y="223"/>
                  </a:lnTo>
                  <a:lnTo>
                    <a:pt x="34" y="226"/>
                  </a:lnTo>
                  <a:lnTo>
                    <a:pt x="36" y="228"/>
                  </a:lnTo>
                  <a:lnTo>
                    <a:pt x="39" y="231"/>
                  </a:lnTo>
                  <a:lnTo>
                    <a:pt x="41" y="233"/>
                  </a:lnTo>
                  <a:lnTo>
                    <a:pt x="44" y="236"/>
                  </a:lnTo>
                  <a:lnTo>
                    <a:pt x="46" y="238"/>
                  </a:lnTo>
                  <a:lnTo>
                    <a:pt x="49" y="238"/>
                  </a:lnTo>
                  <a:lnTo>
                    <a:pt x="51" y="241"/>
                  </a:lnTo>
                  <a:lnTo>
                    <a:pt x="54" y="243"/>
                  </a:lnTo>
                  <a:lnTo>
                    <a:pt x="56" y="246"/>
                  </a:lnTo>
                  <a:lnTo>
                    <a:pt x="59" y="248"/>
                  </a:lnTo>
                  <a:lnTo>
                    <a:pt x="61" y="248"/>
                  </a:lnTo>
                  <a:lnTo>
                    <a:pt x="63" y="250"/>
                  </a:lnTo>
                  <a:lnTo>
                    <a:pt x="68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6" y="258"/>
                  </a:lnTo>
                  <a:lnTo>
                    <a:pt x="78" y="258"/>
                  </a:lnTo>
                  <a:lnTo>
                    <a:pt x="83" y="260"/>
                  </a:lnTo>
                  <a:lnTo>
                    <a:pt x="86" y="260"/>
                  </a:lnTo>
                  <a:lnTo>
                    <a:pt x="88" y="263"/>
                  </a:lnTo>
                  <a:lnTo>
                    <a:pt x="91" y="263"/>
                  </a:lnTo>
                  <a:lnTo>
                    <a:pt x="95" y="265"/>
                  </a:lnTo>
                  <a:lnTo>
                    <a:pt x="98" y="265"/>
                  </a:lnTo>
                  <a:lnTo>
                    <a:pt x="100" y="265"/>
                  </a:lnTo>
                  <a:lnTo>
                    <a:pt x="105" y="268"/>
                  </a:lnTo>
                  <a:lnTo>
                    <a:pt x="108" y="268"/>
                  </a:lnTo>
                  <a:lnTo>
                    <a:pt x="110" y="268"/>
                  </a:lnTo>
                  <a:lnTo>
                    <a:pt x="115" y="268"/>
                  </a:lnTo>
                  <a:lnTo>
                    <a:pt x="118" y="270"/>
                  </a:lnTo>
                  <a:lnTo>
                    <a:pt x="120" y="270"/>
                  </a:lnTo>
                  <a:lnTo>
                    <a:pt x="125" y="270"/>
                  </a:lnTo>
                  <a:lnTo>
                    <a:pt x="127" y="270"/>
                  </a:lnTo>
                  <a:lnTo>
                    <a:pt x="132" y="270"/>
                  </a:lnTo>
                  <a:lnTo>
                    <a:pt x="135" y="270"/>
                  </a:lnTo>
                  <a:lnTo>
                    <a:pt x="137" y="270"/>
                  </a:lnTo>
                  <a:lnTo>
                    <a:pt x="142" y="270"/>
                  </a:lnTo>
                  <a:lnTo>
                    <a:pt x="145" y="270"/>
                  </a:lnTo>
                  <a:lnTo>
                    <a:pt x="149" y="270"/>
                  </a:lnTo>
                  <a:lnTo>
                    <a:pt x="152" y="270"/>
                  </a:lnTo>
                  <a:lnTo>
                    <a:pt x="154" y="268"/>
                  </a:lnTo>
                  <a:lnTo>
                    <a:pt x="159" y="268"/>
                  </a:lnTo>
                  <a:lnTo>
                    <a:pt x="162" y="268"/>
                  </a:lnTo>
                  <a:lnTo>
                    <a:pt x="164" y="268"/>
                  </a:lnTo>
                  <a:lnTo>
                    <a:pt x="169" y="265"/>
                  </a:lnTo>
                  <a:lnTo>
                    <a:pt x="172" y="265"/>
                  </a:lnTo>
                  <a:lnTo>
                    <a:pt x="174" y="265"/>
                  </a:lnTo>
                  <a:lnTo>
                    <a:pt x="179" y="263"/>
                  </a:lnTo>
                  <a:lnTo>
                    <a:pt x="181" y="263"/>
                  </a:lnTo>
                  <a:lnTo>
                    <a:pt x="184" y="260"/>
                  </a:lnTo>
                  <a:lnTo>
                    <a:pt x="186" y="260"/>
                  </a:lnTo>
                  <a:lnTo>
                    <a:pt x="191" y="258"/>
                  </a:lnTo>
                  <a:lnTo>
                    <a:pt x="194" y="258"/>
                  </a:lnTo>
                  <a:lnTo>
                    <a:pt x="196" y="255"/>
                  </a:lnTo>
                  <a:lnTo>
                    <a:pt x="199" y="253"/>
                  </a:lnTo>
                  <a:lnTo>
                    <a:pt x="201" y="253"/>
                  </a:lnTo>
                  <a:lnTo>
                    <a:pt x="206" y="250"/>
                  </a:lnTo>
                  <a:lnTo>
                    <a:pt x="208" y="248"/>
                  </a:lnTo>
                  <a:lnTo>
                    <a:pt x="211" y="248"/>
                  </a:lnTo>
                  <a:lnTo>
                    <a:pt x="213" y="246"/>
                  </a:lnTo>
                  <a:lnTo>
                    <a:pt x="216" y="243"/>
                  </a:lnTo>
                  <a:lnTo>
                    <a:pt x="218" y="241"/>
                  </a:lnTo>
                  <a:lnTo>
                    <a:pt x="221" y="238"/>
                  </a:lnTo>
                  <a:lnTo>
                    <a:pt x="223" y="238"/>
                  </a:lnTo>
                  <a:lnTo>
                    <a:pt x="226" y="236"/>
                  </a:lnTo>
                  <a:lnTo>
                    <a:pt x="228" y="233"/>
                  </a:lnTo>
                  <a:lnTo>
                    <a:pt x="231" y="231"/>
                  </a:lnTo>
                  <a:lnTo>
                    <a:pt x="233" y="228"/>
                  </a:lnTo>
                  <a:lnTo>
                    <a:pt x="235" y="226"/>
                  </a:lnTo>
                  <a:lnTo>
                    <a:pt x="238" y="223"/>
                  </a:lnTo>
                  <a:lnTo>
                    <a:pt x="240" y="221"/>
                  </a:lnTo>
                  <a:lnTo>
                    <a:pt x="240" y="219"/>
                  </a:lnTo>
                  <a:lnTo>
                    <a:pt x="243" y="216"/>
                  </a:lnTo>
                  <a:lnTo>
                    <a:pt x="245" y="214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50" y="206"/>
                  </a:lnTo>
                  <a:lnTo>
                    <a:pt x="253" y="201"/>
                  </a:lnTo>
                  <a:lnTo>
                    <a:pt x="253" y="199"/>
                  </a:lnTo>
                  <a:lnTo>
                    <a:pt x="255" y="197"/>
                  </a:lnTo>
                  <a:lnTo>
                    <a:pt x="258" y="194"/>
                  </a:lnTo>
                  <a:lnTo>
                    <a:pt x="258" y="192"/>
                  </a:lnTo>
                  <a:lnTo>
                    <a:pt x="260" y="187"/>
                  </a:lnTo>
                  <a:lnTo>
                    <a:pt x="260" y="184"/>
                  </a:lnTo>
                  <a:lnTo>
                    <a:pt x="262" y="182"/>
                  </a:lnTo>
                  <a:lnTo>
                    <a:pt x="262" y="179"/>
                  </a:lnTo>
                  <a:lnTo>
                    <a:pt x="265" y="174"/>
                  </a:lnTo>
                  <a:lnTo>
                    <a:pt x="265" y="172"/>
                  </a:lnTo>
                  <a:lnTo>
                    <a:pt x="265" y="170"/>
                  </a:lnTo>
                  <a:lnTo>
                    <a:pt x="267" y="165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55"/>
                  </a:lnTo>
                  <a:lnTo>
                    <a:pt x="270" y="152"/>
                  </a:lnTo>
                  <a:lnTo>
                    <a:pt x="270" y="150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38"/>
                  </a:lnTo>
                  <a:lnTo>
                    <a:pt x="270" y="133"/>
                  </a:lnTo>
                  <a:lnTo>
                    <a:pt x="270" y="128"/>
                  </a:lnTo>
                  <a:lnTo>
                    <a:pt x="270" y="125"/>
                  </a:lnTo>
                  <a:lnTo>
                    <a:pt x="270" y="121"/>
                  </a:lnTo>
                  <a:lnTo>
                    <a:pt x="270" y="118"/>
                  </a:lnTo>
                  <a:lnTo>
                    <a:pt x="267" y="116"/>
                  </a:lnTo>
                  <a:lnTo>
                    <a:pt x="267" y="111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5" y="101"/>
                  </a:lnTo>
                  <a:lnTo>
                    <a:pt x="265" y="98"/>
                  </a:lnTo>
                  <a:lnTo>
                    <a:pt x="265" y="96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0" y="86"/>
                  </a:lnTo>
                  <a:lnTo>
                    <a:pt x="260" y="84"/>
                  </a:lnTo>
                  <a:lnTo>
                    <a:pt x="258" y="79"/>
                  </a:lnTo>
                  <a:lnTo>
                    <a:pt x="258" y="76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3" y="69"/>
                  </a:lnTo>
                  <a:lnTo>
                    <a:pt x="250" y="64"/>
                  </a:lnTo>
                  <a:lnTo>
                    <a:pt x="248" y="62"/>
                  </a:lnTo>
                  <a:lnTo>
                    <a:pt x="248" y="59"/>
                  </a:lnTo>
                  <a:lnTo>
                    <a:pt x="245" y="57"/>
                  </a:lnTo>
                  <a:lnTo>
                    <a:pt x="243" y="54"/>
                  </a:lnTo>
                  <a:lnTo>
                    <a:pt x="240" y="52"/>
                  </a:lnTo>
                  <a:lnTo>
                    <a:pt x="240" y="49"/>
                  </a:lnTo>
                  <a:lnTo>
                    <a:pt x="238" y="47"/>
                  </a:lnTo>
                  <a:lnTo>
                    <a:pt x="235" y="45"/>
                  </a:lnTo>
                  <a:lnTo>
                    <a:pt x="233" y="42"/>
                  </a:lnTo>
                  <a:lnTo>
                    <a:pt x="231" y="40"/>
                  </a:lnTo>
                  <a:lnTo>
                    <a:pt x="228" y="37"/>
                  </a:lnTo>
                  <a:lnTo>
                    <a:pt x="226" y="35"/>
                  </a:lnTo>
                  <a:lnTo>
                    <a:pt x="223" y="32"/>
                  </a:lnTo>
                  <a:lnTo>
                    <a:pt x="221" y="32"/>
                  </a:lnTo>
                  <a:lnTo>
                    <a:pt x="218" y="30"/>
                  </a:lnTo>
                  <a:lnTo>
                    <a:pt x="216" y="27"/>
                  </a:lnTo>
                  <a:lnTo>
                    <a:pt x="213" y="25"/>
                  </a:lnTo>
                  <a:lnTo>
                    <a:pt x="211" y="22"/>
                  </a:lnTo>
                  <a:lnTo>
                    <a:pt x="208" y="22"/>
                  </a:lnTo>
                  <a:lnTo>
                    <a:pt x="206" y="20"/>
                  </a:lnTo>
                  <a:lnTo>
                    <a:pt x="201" y="18"/>
                  </a:lnTo>
                  <a:lnTo>
                    <a:pt x="199" y="18"/>
                  </a:lnTo>
                  <a:lnTo>
                    <a:pt x="196" y="15"/>
                  </a:lnTo>
                  <a:lnTo>
                    <a:pt x="194" y="13"/>
                  </a:lnTo>
                  <a:lnTo>
                    <a:pt x="191" y="13"/>
                  </a:lnTo>
                  <a:lnTo>
                    <a:pt x="186" y="10"/>
                  </a:lnTo>
                  <a:lnTo>
                    <a:pt x="184" y="10"/>
                  </a:lnTo>
                  <a:lnTo>
                    <a:pt x="181" y="8"/>
                  </a:lnTo>
                  <a:lnTo>
                    <a:pt x="179" y="8"/>
                  </a:lnTo>
                  <a:lnTo>
                    <a:pt x="174" y="5"/>
                  </a:lnTo>
                  <a:lnTo>
                    <a:pt x="172" y="5"/>
                  </a:lnTo>
                  <a:lnTo>
                    <a:pt x="169" y="5"/>
                  </a:lnTo>
                  <a:lnTo>
                    <a:pt x="164" y="3"/>
                  </a:lnTo>
                  <a:lnTo>
                    <a:pt x="162" y="3"/>
                  </a:lnTo>
                  <a:lnTo>
                    <a:pt x="159" y="3"/>
                  </a:lnTo>
                  <a:lnTo>
                    <a:pt x="154" y="3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37" y="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09">
              <a:extLst>
                <a:ext uri="{FF2B5EF4-FFF2-40B4-BE49-F238E27FC236}">
                  <a16:creationId xmlns:a16="http://schemas.microsoft.com/office/drawing/2014/main" id="{62A1A9D3-F359-4830-B4F3-9F396211A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" y="3713"/>
              <a:ext cx="270" cy="270"/>
            </a:xfrm>
            <a:custGeom>
              <a:avLst/>
              <a:gdLst>
                <a:gd name="T0" fmla="*/ 201 w 270"/>
                <a:gd name="T1" fmla="*/ 123 h 270"/>
                <a:gd name="T2" fmla="*/ 181 w 270"/>
                <a:gd name="T3" fmla="*/ 81 h 270"/>
                <a:gd name="T4" fmla="*/ 231 w 270"/>
                <a:gd name="T5" fmla="*/ 94 h 270"/>
                <a:gd name="T6" fmla="*/ 260 w 270"/>
                <a:gd name="T7" fmla="*/ 133 h 270"/>
                <a:gd name="T8" fmla="*/ 253 w 270"/>
                <a:gd name="T9" fmla="*/ 179 h 270"/>
                <a:gd name="T10" fmla="*/ 17 w 270"/>
                <a:gd name="T11" fmla="*/ 177 h 270"/>
                <a:gd name="T12" fmla="*/ 9 w 270"/>
                <a:gd name="T13" fmla="*/ 123 h 270"/>
                <a:gd name="T14" fmla="*/ 41 w 270"/>
                <a:gd name="T15" fmla="*/ 94 h 270"/>
                <a:gd name="T16" fmla="*/ 81 w 270"/>
                <a:gd name="T17" fmla="*/ 79 h 270"/>
                <a:gd name="T18" fmla="*/ 108 w 270"/>
                <a:gd name="T19" fmla="*/ 84 h 270"/>
                <a:gd name="T20" fmla="*/ 88 w 270"/>
                <a:gd name="T21" fmla="*/ 128 h 270"/>
                <a:gd name="T22" fmla="*/ 49 w 270"/>
                <a:gd name="T23" fmla="*/ 182 h 270"/>
                <a:gd name="T24" fmla="*/ 154 w 270"/>
                <a:gd name="T25" fmla="*/ 189 h 270"/>
                <a:gd name="T26" fmla="*/ 162 w 270"/>
                <a:gd name="T27" fmla="*/ 74 h 270"/>
                <a:gd name="T28" fmla="*/ 179 w 270"/>
                <a:gd name="T29" fmla="*/ 103 h 270"/>
                <a:gd name="T30" fmla="*/ 218 w 270"/>
                <a:gd name="T31" fmla="*/ 162 h 270"/>
                <a:gd name="T32" fmla="*/ 238 w 270"/>
                <a:gd name="T33" fmla="*/ 206 h 270"/>
                <a:gd name="T34" fmla="*/ 206 w 270"/>
                <a:gd name="T35" fmla="*/ 238 h 270"/>
                <a:gd name="T36" fmla="*/ 167 w 270"/>
                <a:gd name="T37" fmla="*/ 258 h 270"/>
                <a:gd name="T38" fmla="*/ 113 w 270"/>
                <a:gd name="T39" fmla="*/ 258 h 270"/>
                <a:gd name="T40" fmla="*/ 73 w 270"/>
                <a:gd name="T41" fmla="*/ 246 h 270"/>
                <a:gd name="T42" fmla="*/ 44 w 270"/>
                <a:gd name="T43" fmla="*/ 216 h 270"/>
                <a:gd name="T44" fmla="*/ 76 w 270"/>
                <a:gd name="T45" fmla="*/ 157 h 270"/>
                <a:gd name="T46" fmla="*/ 115 w 270"/>
                <a:gd name="T47" fmla="*/ 96 h 270"/>
                <a:gd name="T48" fmla="*/ 127 w 270"/>
                <a:gd name="T49" fmla="*/ 71 h 270"/>
                <a:gd name="T50" fmla="*/ 145 w 270"/>
                <a:gd name="T51" fmla="*/ 145 h 270"/>
                <a:gd name="T52" fmla="*/ 250 w 270"/>
                <a:gd name="T53" fmla="*/ 91 h 270"/>
                <a:gd name="T54" fmla="*/ 191 w 270"/>
                <a:gd name="T55" fmla="*/ 69 h 270"/>
                <a:gd name="T56" fmla="*/ 189 w 270"/>
                <a:gd name="T57" fmla="*/ 49 h 270"/>
                <a:gd name="T58" fmla="*/ 211 w 270"/>
                <a:gd name="T59" fmla="*/ 37 h 270"/>
                <a:gd name="T60" fmla="*/ 248 w 270"/>
                <a:gd name="T61" fmla="*/ 81 h 270"/>
                <a:gd name="T62" fmla="*/ 36 w 270"/>
                <a:gd name="T63" fmla="*/ 59 h 270"/>
                <a:gd name="T64" fmla="*/ 81 w 270"/>
                <a:gd name="T65" fmla="*/ 37 h 270"/>
                <a:gd name="T66" fmla="*/ 105 w 270"/>
                <a:gd name="T67" fmla="*/ 57 h 270"/>
                <a:gd name="T68" fmla="*/ 51 w 270"/>
                <a:gd name="T69" fmla="*/ 79 h 270"/>
                <a:gd name="T70" fmla="*/ 149 w 270"/>
                <a:gd name="T71" fmla="*/ 49 h 270"/>
                <a:gd name="T72" fmla="*/ 181 w 270"/>
                <a:gd name="T73" fmla="*/ 20 h 270"/>
                <a:gd name="T74" fmla="*/ 189 w 270"/>
                <a:gd name="T75" fmla="*/ 37 h 270"/>
                <a:gd name="T76" fmla="*/ 174 w 270"/>
                <a:gd name="T77" fmla="*/ 57 h 270"/>
                <a:gd name="T78" fmla="*/ 113 w 270"/>
                <a:gd name="T79" fmla="*/ 49 h 270"/>
                <a:gd name="T80" fmla="*/ 83 w 270"/>
                <a:gd name="T81" fmla="*/ 27 h 270"/>
                <a:gd name="T82" fmla="*/ 110 w 270"/>
                <a:gd name="T83" fmla="*/ 13 h 270"/>
                <a:gd name="T84" fmla="*/ 142 w 270"/>
                <a:gd name="T85" fmla="*/ 62 h 270"/>
                <a:gd name="T86" fmla="*/ 115 w 270"/>
                <a:gd name="T87" fmla="*/ 3 h 270"/>
                <a:gd name="T88" fmla="*/ 73 w 270"/>
                <a:gd name="T89" fmla="*/ 15 h 270"/>
                <a:gd name="T90" fmla="*/ 39 w 270"/>
                <a:gd name="T91" fmla="*/ 40 h 270"/>
                <a:gd name="T92" fmla="*/ 14 w 270"/>
                <a:gd name="T93" fmla="*/ 74 h 270"/>
                <a:gd name="T94" fmla="*/ 2 w 270"/>
                <a:gd name="T95" fmla="*/ 116 h 270"/>
                <a:gd name="T96" fmla="*/ 2 w 270"/>
                <a:gd name="T97" fmla="*/ 160 h 270"/>
                <a:gd name="T98" fmla="*/ 17 w 270"/>
                <a:gd name="T99" fmla="*/ 199 h 270"/>
                <a:gd name="T100" fmla="*/ 41 w 270"/>
                <a:gd name="T101" fmla="*/ 233 h 270"/>
                <a:gd name="T102" fmla="*/ 76 w 270"/>
                <a:gd name="T103" fmla="*/ 258 h 270"/>
                <a:gd name="T104" fmla="*/ 118 w 270"/>
                <a:gd name="T105" fmla="*/ 270 h 270"/>
                <a:gd name="T106" fmla="*/ 162 w 270"/>
                <a:gd name="T107" fmla="*/ 268 h 270"/>
                <a:gd name="T108" fmla="*/ 201 w 270"/>
                <a:gd name="T109" fmla="*/ 253 h 270"/>
                <a:gd name="T110" fmla="*/ 235 w 270"/>
                <a:gd name="T111" fmla="*/ 226 h 270"/>
                <a:gd name="T112" fmla="*/ 258 w 270"/>
                <a:gd name="T113" fmla="*/ 192 h 270"/>
                <a:gd name="T114" fmla="*/ 270 w 270"/>
                <a:gd name="T115" fmla="*/ 150 h 270"/>
                <a:gd name="T116" fmla="*/ 265 w 270"/>
                <a:gd name="T117" fmla="*/ 101 h 270"/>
                <a:gd name="T118" fmla="*/ 248 w 270"/>
                <a:gd name="T119" fmla="*/ 62 h 270"/>
                <a:gd name="T120" fmla="*/ 221 w 270"/>
                <a:gd name="T121" fmla="*/ 32 h 270"/>
                <a:gd name="T122" fmla="*/ 184 w 270"/>
                <a:gd name="T123" fmla="*/ 10 h 270"/>
                <a:gd name="T124" fmla="*/ 142 w 270"/>
                <a:gd name="T12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0" h="270">
                  <a:moveTo>
                    <a:pt x="243" y="187"/>
                  </a:moveTo>
                  <a:lnTo>
                    <a:pt x="240" y="182"/>
                  </a:lnTo>
                  <a:lnTo>
                    <a:pt x="235" y="174"/>
                  </a:lnTo>
                  <a:lnTo>
                    <a:pt x="233" y="167"/>
                  </a:lnTo>
                  <a:lnTo>
                    <a:pt x="228" y="162"/>
                  </a:lnTo>
                  <a:lnTo>
                    <a:pt x="223" y="155"/>
                  </a:lnTo>
                  <a:lnTo>
                    <a:pt x="221" y="150"/>
                  </a:lnTo>
                  <a:lnTo>
                    <a:pt x="216" y="143"/>
                  </a:lnTo>
                  <a:lnTo>
                    <a:pt x="213" y="140"/>
                  </a:lnTo>
                  <a:lnTo>
                    <a:pt x="208" y="135"/>
                  </a:lnTo>
                  <a:lnTo>
                    <a:pt x="206" y="133"/>
                  </a:lnTo>
                  <a:lnTo>
                    <a:pt x="204" y="128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6" y="116"/>
                  </a:lnTo>
                  <a:lnTo>
                    <a:pt x="194" y="111"/>
                  </a:lnTo>
                  <a:lnTo>
                    <a:pt x="191" y="106"/>
                  </a:lnTo>
                  <a:lnTo>
                    <a:pt x="189" y="101"/>
                  </a:lnTo>
                  <a:lnTo>
                    <a:pt x="186" y="98"/>
                  </a:lnTo>
                  <a:lnTo>
                    <a:pt x="186" y="96"/>
                  </a:lnTo>
                  <a:lnTo>
                    <a:pt x="184" y="94"/>
                  </a:lnTo>
                  <a:lnTo>
                    <a:pt x="184" y="91"/>
                  </a:lnTo>
                  <a:lnTo>
                    <a:pt x="184" y="89"/>
                  </a:lnTo>
                  <a:lnTo>
                    <a:pt x="181" y="86"/>
                  </a:lnTo>
                  <a:lnTo>
                    <a:pt x="181" y="84"/>
                  </a:lnTo>
                  <a:lnTo>
                    <a:pt x="181" y="81"/>
                  </a:lnTo>
                  <a:lnTo>
                    <a:pt x="181" y="79"/>
                  </a:lnTo>
                  <a:lnTo>
                    <a:pt x="181" y="79"/>
                  </a:lnTo>
                  <a:lnTo>
                    <a:pt x="181" y="76"/>
                  </a:lnTo>
                  <a:lnTo>
                    <a:pt x="186" y="76"/>
                  </a:lnTo>
                  <a:lnTo>
                    <a:pt x="191" y="79"/>
                  </a:lnTo>
                  <a:lnTo>
                    <a:pt x="196" y="79"/>
                  </a:lnTo>
                  <a:lnTo>
                    <a:pt x="201" y="81"/>
                  </a:lnTo>
                  <a:lnTo>
                    <a:pt x="206" y="84"/>
                  </a:lnTo>
                  <a:lnTo>
                    <a:pt x="211" y="84"/>
                  </a:lnTo>
                  <a:lnTo>
                    <a:pt x="216" y="86"/>
                  </a:lnTo>
                  <a:lnTo>
                    <a:pt x="221" y="89"/>
                  </a:lnTo>
                  <a:lnTo>
                    <a:pt x="226" y="91"/>
                  </a:lnTo>
                  <a:lnTo>
                    <a:pt x="231" y="94"/>
                  </a:lnTo>
                  <a:lnTo>
                    <a:pt x="235" y="96"/>
                  </a:lnTo>
                  <a:lnTo>
                    <a:pt x="240" y="98"/>
                  </a:lnTo>
                  <a:lnTo>
                    <a:pt x="245" y="101"/>
                  </a:lnTo>
                  <a:lnTo>
                    <a:pt x="250" y="103"/>
                  </a:lnTo>
                  <a:lnTo>
                    <a:pt x="253" y="106"/>
                  </a:lnTo>
                  <a:lnTo>
                    <a:pt x="258" y="108"/>
                  </a:lnTo>
                  <a:lnTo>
                    <a:pt x="258" y="111"/>
                  </a:lnTo>
                  <a:lnTo>
                    <a:pt x="260" y="116"/>
                  </a:lnTo>
                  <a:lnTo>
                    <a:pt x="260" y="118"/>
                  </a:lnTo>
                  <a:lnTo>
                    <a:pt x="260" y="123"/>
                  </a:lnTo>
                  <a:lnTo>
                    <a:pt x="260" y="125"/>
                  </a:lnTo>
                  <a:lnTo>
                    <a:pt x="260" y="128"/>
                  </a:lnTo>
                  <a:lnTo>
                    <a:pt x="260" y="133"/>
                  </a:lnTo>
                  <a:lnTo>
                    <a:pt x="260" y="135"/>
                  </a:lnTo>
                  <a:lnTo>
                    <a:pt x="260" y="140"/>
                  </a:lnTo>
                  <a:lnTo>
                    <a:pt x="260" y="143"/>
                  </a:lnTo>
                  <a:lnTo>
                    <a:pt x="260" y="147"/>
                  </a:lnTo>
                  <a:lnTo>
                    <a:pt x="260" y="150"/>
                  </a:lnTo>
                  <a:lnTo>
                    <a:pt x="260" y="155"/>
                  </a:lnTo>
                  <a:lnTo>
                    <a:pt x="258" y="157"/>
                  </a:lnTo>
                  <a:lnTo>
                    <a:pt x="258" y="162"/>
                  </a:lnTo>
                  <a:lnTo>
                    <a:pt x="258" y="165"/>
                  </a:lnTo>
                  <a:lnTo>
                    <a:pt x="255" y="170"/>
                  </a:lnTo>
                  <a:lnTo>
                    <a:pt x="255" y="172"/>
                  </a:lnTo>
                  <a:lnTo>
                    <a:pt x="255" y="177"/>
                  </a:lnTo>
                  <a:lnTo>
                    <a:pt x="253" y="179"/>
                  </a:lnTo>
                  <a:lnTo>
                    <a:pt x="250" y="182"/>
                  </a:lnTo>
                  <a:lnTo>
                    <a:pt x="250" y="187"/>
                  </a:lnTo>
                  <a:lnTo>
                    <a:pt x="248" y="189"/>
                  </a:lnTo>
                  <a:lnTo>
                    <a:pt x="248" y="194"/>
                  </a:lnTo>
                  <a:lnTo>
                    <a:pt x="243" y="187"/>
                  </a:lnTo>
                  <a:close/>
                  <a:moveTo>
                    <a:pt x="32" y="209"/>
                  </a:moveTo>
                  <a:lnTo>
                    <a:pt x="29" y="204"/>
                  </a:lnTo>
                  <a:lnTo>
                    <a:pt x="27" y="199"/>
                  </a:lnTo>
                  <a:lnTo>
                    <a:pt x="24" y="194"/>
                  </a:lnTo>
                  <a:lnTo>
                    <a:pt x="22" y="192"/>
                  </a:lnTo>
                  <a:lnTo>
                    <a:pt x="19" y="187"/>
                  </a:lnTo>
                  <a:lnTo>
                    <a:pt x="17" y="182"/>
                  </a:lnTo>
                  <a:lnTo>
                    <a:pt x="17" y="177"/>
                  </a:lnTo>
                  <a:lnTo>
                    <a:pt x="14" y="172"/>
                  </a:lnTo>
                  <a:lnTo>
                    <a:pt x="12" y="167"/>
                  </a:lnTo>
                  <a:lnTo>
                    <a:pt x="12" y="162"/>
                  </a:lnTo>
                  <a:lnTo>
                    <a:pt x="9" y="155"/>
                  </a:lnTo>
                  <a:lnTo>
                    <a:pt x="9" y="150"/>
                  </a:lnTo>
                  <a:lnTo>
                    <a:pt x="9" y="145"/>
                  </a:lnTo>
                  <a:lnTo>
                    <a:pt x="9" y="140"/>
                  </a:lnTo>
                  <a:lnTo>
                    <a:pt x="9" y="135"/>
                  </a:lnTo>
                  <a:lnTo>
                    <a:pt x="9" y="133"/>
                  </a:lnTo>
                  <a:lnTo>
                    <a:pt x="9" y="130"/>
                  </a:lnTo>
                  <a:lnTo>
                    <a:pt x="9" y="128"/>
                  </a:lnTo>
                  <a:lnTo>
                    <a:pt x="9" y="125"/>
                  </a:lnTo>
                  <a:lnTo>
                    <a:pt x="9" y="123"/>
                  </a:lnTo>
                  <a:lnTo>
                    <a:pt x="9" y="121"/>
                  </a:lnTo>
                  <a:lnTo>
                    <a:pt x="9" y="113"/>
                  </a:lnTo>
                  <a:lnTo>
                    <a:pt x="14" y="111"/>
                  </a:lnTo>
                  <a:lnTo>
                    <a:pt x="17" y="111"/>
                  </a:lnTo>
                  <a:lnTo>
                    <a:pt x="19" y="108"/>
                  </a:lnTo>
                  <a:lnTo>
                    <a:pt x="22" y="106"/>
                  </a:lnTo>
                  <a:lnTo>
                    <a:pt x="24" y="103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4" y="94"/>
                  </a:lnTo>
                  <a:lnTo>
                    <a:pt x="46" y="91"/>
                  </a:lnTo>
                  <a:lnTo>
                    <a:pt x="49" y="89"/>
                  </a:lnTo>
                  <a:lnTo>
                    <a:pt x="54" y="89"/>
                  </a:lnTo>
                  <a:lnTo>
                    <a:pt x="56" y="86"/>
                  </a:lnTo>
                  <a:lnTo>
                    <a:pt x="59" y="86"/>
                  </a:lnTo>
                  <a:lnTo>
                    <a:pt x="63" y="84"/>
                  </a:lnTo>
                  <a:lnTo>
                    <a:pt x="66" y="84"/>
                  </a:lnTo>
                  <a:lnTo>
                    <a:pt x="68" y="81"/>
                  </a:lnTo>
                  <a:lnTo>
                    <a:pt x="71" y="81"/>
                  </a:lnTo>
                  <a:lnTo>
                    <a:pt x="76" y="81"/>
                  </a:lnTo>
                  <a:lnTo>
                    <a:pt x="78" y="79"/>
                  </a:lnTo>
                  <a:lnTo>
                    <a:pt x="81" y="79"/>
                  </a:lnTo>
                  <a:lnTo>
                    <a:pt x="86" y="79"/>
                  </a:lnTo>
                  <a:lnTo>
                    <a:pt x="88" y="76"/>
                  </a:lnTo>
                  <a:lnTo>
                    <a:pt x="93" y="76"/>
                  </a:lnTo>
                  <a:lnTo>
                    <a:pt x="95" y="76"/>
                  </a:lnTo>
                  <a:lnTo>
                    <a:pt x="98" y="74"/>
                  </a:lnTo>
                  <a:lnTo>
                    <a:pt x="103" y="74"/>
                  </a:lnTo>
                  <a:lnTo>
                    <a:pt x="105" y="74"/>
                  </a:lnTo>
                  <a:lnTo>
                    <a:pt x="110" y="74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8" y="84"/>
                  </a:lnTo>
                  <a:lnTo>
                    <a:pt x="108" y="86"/>
                  </a:lnTo>
                  <a:lnTo>
                    <a:pt x="108" y="89"/>
                  </a:lnTo>
                  <a:lnTo>
                    <a:pt x="105" y="91"/>
                  </a:lnTo>
                  <a:lnTo>
                    <a:pt x="105" y="94"/>
                  </a:lnTo>
                  <a:lnTo>
                    <a:pt x="105" y="96"/>
                  </a:lnTo>
                  <a:lnTo>
                    <a:pt x="103" y="98"/>
                  </a:lnTo>
                  <a:lnTo>
                    <a:pt x="103" y="101"/>
                  </a:lnTo>
                  <a:lnTo>
                    <a:pt x="100" y="106"/>
                  </a:lnTo>
                  <a:lnTo>
                    <a:pt x="98" y="111"/>
                  </a:lnTo>
                  <a:lnTo>
                    <a:pt x="95" y="113"/>
                  </a:lnTo>
                  <a:lnTo>
                    <a:pt x="93" y="118"/>
                  </a:lnTo>
                  <a:lnTo>
                    <a:pt x="91" y="123"/>
                  </a:lnTo>
                  <a:lnTo>
                    <a:pt x="88" y="128"/>
                  </a:lnTo>
                  <a:lnTo>
                    <a:pt x="83" y="133"/>
                  </a:lnTo>
                  <a:lnTo>
                    <a:pt x="81" y="135"/>
                  </a:lnTo>
                  <a:lnTo>
                    <a:pt x="78" y="140"/>
                  </a:lnTo>
                  <a:lnTo>
                    <a:pt x="76" y="143"/>
                  </a:lnTo>
                  <a:lnTo>
                    <a:pt x="71" y="147"/>
                  </a:lnTo>
                  <a:lnTo>
                    <a:pt x="68" y="152"/>
                  </a:lnTo>
                  <a:lnTo>
                    <a:pt x="66" y="157"/>
                  </a:lnTo>
                  <a:lnTo>
                    <a:pt x="61" y="162"/>
                  </a:lnTo>
                  <a:lnTo>
                    <a:pt x="59" y="165"/>
                  </a:lnTo>
                  <a:lnTo>
                    <a:pt x="56" y="170"/>
                  </a:lnTo>
                  <a:lnTo>
                    <a:pt x="54" y="174"/>
                  </a:lnTo>
                  <a:lnTo>
                    <a:pt x="51" y="179"/>
                  </a:lnTo>
                  <a:lnTo>
                    <a:pt x="49" y="182"/>
                  </a:lnTo>
                  <a:lnTo>
                    <a:pt x="46" y="187"/>
                  </a:lnTo>
                  <a:lnTo>
                    <a:pt x="44" y="192"/>
                  </a:lnTo>
                  <a:lnTo>
                    <a:pt x="41" y="197"/>
                  </a:lnTo>
                  <a:lnTo>
                    <a:pt x="41" y="199"/>
                  </a:lnTo>
                  <a:lnTo>
                    <a:pt x="39" y="204"/>
                  </a:lnTo>
                  <a:lnTo>
                    <a:pt x="36" y="209"/>
                  </a:lnTo>
                  <a:lnTo>
                    <a:pt x="36" y="214"/>
                  </a:lnTo>
                  <a:lnTo>
                    <a:pt x="32" y="209"/>
                  </a:lnTo>
                  <a:close/>
                  <a:moveTo>
                    <a:pt x="149" y="246"/>
                  </a:moveTo>
                  <a:lnTo>
                    <a:pt x="152" y="231"/>
                  </a:lnTo>
                  <a:lnTo>
                    <a:pt x="152" y="219"/>
                  </a:lnTo>
                  <a:lnTo>
                    <a:pt x="152" y="204"/>
                  </a:lnTo>
                  <a:lnTo>
                    <a:pt x="154" y="189"/>
                  </a:lnTo>
                  <a:lnTo>
                    <a:pt x="154" y="174"/>
                  </a:lnTo>
                  <a:lnTo>
                    <a:pt x="154" y="160"/>
                  </a:lnTo>
                  <a:lnTo>
                    <a:pt x="154" y="145"/>
                  </a:lnTo>
                  <a:lnTo>
                    <a:pt x="154" y="138"/>
                  </a:lnTo>
                  <a:lnTo>
                    <a:pt x="154" y="128"/>
                  </a:lnTo>
                  <a:lnTo>
                    <a:pt x="154" y="118"/>
                  </a:lnTo>
                  <a:lnTo>
                    <a:pt x="154" y="108"/>
                  </a:lnTo>
                  <a:lnTo>
                    <a:pt x="154" y="101"/>
                  </a:lnTo>
                  <a:lnTo>
                    <a:pt x="154" y="91"/>
                  </a:lnTo>
                  <a:lnTo>
                    <a:pt x="152" y="81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2" y="74"/>
                  </a:lnTo>
                  <a:lnTo>
                    <a:pt x="167" y="74"/>
                  </a:lnTo>
                  <a:lnTo>
                    <a:pt x="172" y="74"/>
                  </a:lnTo>
                  <a:lnTo>
                    <a:pt x="172" y="76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2" y="81"/>
                  </a:lnTo>
                  <a:lnTo>
                    <a:pt x="172" y="84"/>
                  </a:lnTo>
                  <a:lnTo>
                    <a:pt x="174" y="86"/>
                  </a:lnTo>
                  <a:lnTo>
                    <a:pt x="174" y="89"/>
                  </a:lnTo>
                  <a:lnTo>
                    <a:pt x="174" y="91"/>
                  </a:lnTo>
                  <a:lnTo>
                    <a:pt x="177" y="94"/>
                  </a:lnTo>
                  <a:lnTo>
                    <a:pt x="177" y="98"/>
                  </a:lnTo>
                  <a:lnTo>
                    <a:pt x="179" y="103"/>
                  </a:lnTo>
                  <a:lnTo>
                    <a:pt x="181" y="108"/>
                  </a:lnTo>
                  <a:lnTo>
                    <a:pt x="184" y="113"/>
                  </a:lnTo>
                  <a:lnTo>
                    <a:pt x="186" y="118"/>
                  </a:lnTo>
                  <a:lnTo>
                    <a:pt x="189" y="123"/>
                  </a:lnTo>
                  <a:lnTo>
                    <a:pt x="191" y="128"/>
                  </a:lnTo>
                  <a:lnTo>
                    <a:pt x="196" y="133"/>
                  </a:lnTo>
                  <a:lnTo>
                    <a:pt x="199" y="138"/>
                  </a:lnTo>
                  <a:lnTo>
                    <a:pt x="204" y="143"/>
                  </a:lnTo>
                  <a:lnTo>
                    <a:pt x="208" y="150"/>
                  </a:lnTo>
                  <a:lnTo>
                    <a:pt x="211" y="152"/>
                  </a:lnTo>
                  <a:lnTo>
                    <a:pt x="213" y="157"/>
                  </a:lnTo>
                  <a:lnTo>
                    <a:pt x="216" y="160"/>
                  </a:lnTo>
                  <a:lnTo>
                    <a:pt x="218" y="162"/>
                  </a:lnTo>
                  <a:lnTo>
                    <a:pt x="221" y="167"/>
                  </a:lnTo>
                  <a:lnTo>
                    <a:pt x="223" y="170"/>
                  </a:lnTo>
                  <a:lnTo>
                    <a:pt x="226" y="172"/>
                  </a:lnTo>
                  <a:lnTo>
                    <a:pt x="226" y="177"/>
                  </a:lnTo>
                  <a:lnTo>
                    <a:pt x="228" y="179"/>
                  </a:lnTo>
                  <a:lnTo>
                    <a:pt x="231" y="182"/>
                  </a:lnTo>
                  <a:lnTo>
                    <a:pt x="233" y="187"/>
                  </a:lnTo>
                  <a:lnTo>
                    <a:pt x="235" y="189"/>
                  </a:lnTo>
                  <a:lnTo>
                    <a:pt x="235" y="194"/>
                  </a:lnTo>
                  <a:lnTo>
                    <a:pt x="238" y="197"/>
                  </a:lnTo>
                  <a:lnTo>
                    <a:pt x="240" y="199"/>
                  </a:lnTo>
                  <a:lnTo>
                    <a:pt x="240" y="204"/>
                  </a:lnTo>
                  <a:lnTo>
                    <a:pt x="238" y="206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8" y="219"/>
                  </a:lnTo>
                  <a:lnTo>
                    <a:pt x="226" y="223"/>
                  </a:lnTo>
                  <a:lnTo>
                    <a:pt x="223" y="226"/>
                  </a:lnTo>
                  <a:lnTo>
                    <a:pt x="221" y="228"/>
                  </a:lnTo>
                  <a:lnTo>
                    <a:pt x="218" y="228"/>
                  </a:lnTo>
                  <a:lnTo>
                    <a:pt x="216" y="231"/>
                  </a:lnTo>
                  <a:lnTo>
                    <a:pt x="213" y="233"/>
                  </a:lnTo>
                  <a:lnTo>
                    <a:pt x="211" y="236"/>
                  </a:lnTo>
                  <a:lnTo>
                    <a:pt x="206" y="238"/>
                  </a:lnTo>
                  <a:lnTo>
                    <a:pt x="204" y="241"/>
                  </a:lnTo>
                  <a:lnTo>
                    <a:pt x="201" y="243"/>
                  </a:lnTo>
                  <a:lnTo>
                    <a:pt x="199" y="243"/>
                  </a:lnTo>
                  <a:lnTo>
                    <a:pt x="196" y="246"/>
                  </a:lnTo>
                  <a:lnTo>
                    <a:pt x="191" y="248"/>
                  </a:lnTo>
                  <a:lnTo>
                    <a:pt x="189" y="248"/>
                  </a:lnTo>
                  <a:lnTo>
                    <a:pt x="186" y="250"/>
                  </a:lnTo>
                  <a:lnTo>
                    <a:pt x="181" y="250"/>
                  </a:lnTo>
                  <a:lnTo>
                    <a:pt x="179" y="253"/>
                  </a:lnTo>
                  <a:lnTo>
                    <a:pt x="177" y="253"/>
                  </a:lnTo>
                  <a:lnTo>
                    <a:pt x="172" y="255"/>
                  </a:lnTo>
                  <a:lnTo>
                    <a:pt x="169" y="255"/>
                  </a:lnTo>
                  <a:lnTo>
                    <a:pt x="167" y="258"/>
                  </a:lnTo>
                  <a:lnTo>
                    <a:pt x="162" y="258"/>
                  </a:lnTo>
                  <a:lnTo>
                    <a:pt x="159" y="258"/>
                  </a:lnTo>
                  <a:lnTo>
                    <a:pt x="157" y="260"/>
                  </a:lnTo>
                  <a:lnTo>
                    <a:pt x="152" y="260"/>
                  </a:lnTo>
                  <a:lnTo>
                    <a:pt x="149" y="260"/>
                  </a:lnTo>
                  <a:lnTo>
                    <a:pt x="149" y="246"/>
                  </a:lnTo>
                  <a:close/>
                  <a:moveTo>
                    <a:pt x="132" y="260"/>
                  </a:moveTo>
                  <a:lnTo>
                    <a:pt x="127" y="260"/>
                  </a:lnTo>
                  <a:lnTo>
                    <a:pt x="125" y="260"/>
                  </a:lnTo>
                  <a:lnTo>
                    <a:pt x="122" y="260"/>
                  </a:lnTo>
                  <a:lnTo>
                    <a:pt x="118" y="260"/>
                  </a:lnTo>
                  <a:lnTo>
                    <a:pt x="115" y="260"/>
                  </a:lnTo>
                  <a:lnTo>
                    <a:pt x="113" y="258"/>
                  </a:lnTo>
                  <a:lnTo>
                    <a:pt x="110" y="258"/>
                  </a:lnTo>
                  <a:lnTo>
                    <a:pt x="105" y="258"/>
                  </a:lnTo>
                  <a:lnTo>
                    <a:pt x="103" y="258"/>
                  </a:lnTo>
                  <a:lnTo>
                    <a:pt x="100" y="255"/>
                  </a:lnTo>
                  <a:lnTo>
                    <a:pt x="98" y="255"/>
                  </a:lnTo>
                  <a:lnTo>
                    <a:pt x="93" y="253"/>
                  </a:lnTo>
                  <a:lnTo>
                    <a:pt x="91" y="253"/>
                  </a:lnTo>
                  <a:lnTo>
                    <a:pt x="88" y="250"/>
                  </a:lnTo>
                  <a:lnTo>
                    <a:pt x="86" y="250"/>
                  </a:lnTo>
                  <a:lnTo>
                    <a:pt x="81" y="248"/>
                  </a:lnTo>
                  <a:lnTo>
                    <a:pt x="78" y="248"/>
                  </a:lnTo>
                  <a:lnTo>
                    <a:pt x="76" y="246"/>
                  </a:lnTo>
                  <a:lnTo>
                    <a:pt x="73" y="246"/>
                  </a:lnTo>
                  <a:lnTo>
                    <a:pt x="71" y="243"/>
                  </a:lnTo>
                  <a:lnTo>
                    <a:pt x="68" y="241"/>
                  </a:lnTo>
                  <a:lnTo>
                    <a:pt x="66" y="241"/>
                  </a:lnTo>
                  <a:lnTo>
                    <a:pt x="63" y="238"/>
                  </a:lnTo>
                  <a:lnTo>
                    <a:pt x="59" y="236"/>
                  </a:lnTo>
                  <a:lnTo>
                    <a:pt x="56" y="233"/>
                  </a:lnTo>
                  <a:lnTo>
                    <a:pt x="54" y="231"/>
                  </a:lnTo>
                  <a:lnTo>
                    <a:pt x="51" y="231"/>
                  </a:lnTo>
                  <a:lnTo>
                    <a:pt x="49" y="228"/>
                  </a:lnTo>
                  <a:lnTo>
                    <a:pt x="46" y="226"/>
                  </a:lnTo>
                  <a:lnTo>
                    <a:pt x="44" y="223"/>
                  </a:lnTo>
                  <a:lnTo>
                    <a:pt x="44" y="221"/>
                  </a:lnTo>
                  <a:lnTo>
                    <a:pt x="44" y="216"/>
                  </a:lnTo>
                  <a:lnTo>
                    <a:pt x="46" y="211"/>
                  </a:lnTo>
                  <a:lnTo>
                    <a:pt x="46" y="209"/>
                  </a:lnTo>
                  <a:lnTo>
                    <a:pt x="49" y="204"/>
                  </a:lnTo>
                  <a:lnTo>
                    <a:pt x="51" y="199"/>
                  </a:lnTo>
                  <a:lnTo>
                    <a:pt x="54" y="194"/>
                  </a:lnTo>
                  <a:lnTo>
                    <a:pt x="56" y="189"/>
                  </a:lnTo>
                  <a:lnTo>
                    <a:pt x="59" y="187"/>
                  </a:lnTo>
                  <a:lnTo>
                    <a:pt x="61" y="182"/>
                  </a:lnTo>
                  <a:lnTo>
                    <a:pt x="63" y="177"/>
                  </a:lnTo>
                  <a:lnTo>
                    <a:pt x="66" y="172"/>
                  </a:lnTo>
                  <a:lnTo>
                    <a:pt x="68" y="167"/>
                  </a:lnTo>
                  <a:lnTo>
                    <a:pt x="73" y="162"/>
                  </a:lnTo>
                  <a:lnTo>
                    <a:pt x="76" y="157"/>
                  </a:lnTo>
                  <a:lnTo>
                    <a:pt x="78" y="155"/>
                  </a:lnTo>
                  <a:lnTo>
                    <a:pt x="83" y="150"/>
                  </a:lnTo>
                  <a:lnTo>
                    <a:pt x="86" y="143"/>
                  </a:lnTo>
                  <a:lnTo>
                    <a:pt x="91" y="138"/>
                  </a:lnTo>
                  <a:lnTo>
                    <a:pt x="95" y="133"/>
                  </a:lnTo>
                  <a:lnTo>
                    <a:pt x="98" y="128"/>
                  </a:lnTo>
                  <a:lnTo>
                    <a:pt x="100" y="123"/>
                  </a:lnTo>
                  <a:lnTo>
                    <a:pt x="105" y="118"/>
                  </a:lnTo>
                  <a:lnTo>
                    <a:pt x="108" y="113"/>
                  </a:lnTo>
                  <a:lnTo>
                    <a:pt x="110" y="108"/>
                  </a:lnTo>
                  <a:lnTo>
                    <a:pt x="113" y="103"/>
                  </a:lnTo>
                  <a:lnTo>
                    <a:pt x="113" y="98"/>
                  </a:lnTo>
                  <a:lnTo>
                    <a:pt x="115" y="96"/>
                  </a:lnTo>
                  <a:lnTo>
                    <a:pt x="115" y="94"/>
                  </a:lnTo>
                  <a:lnTo>
                    <a:pt x="115" y="91"/>
                  </a:lnTo>
                  <a:lnTo>
                    <a:pt x="118" y="89"/>
                  </a:lnTo>
                  <a:lnTo>
                    <a:pt x="118" y="86"/>
                  </a:lnTo>
                  <a:lnTo>
                    <a:pt x="118" y="84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79"/>
                  </a:lnTo>
                  <a:lnTo>
                    <a:pt x="118" y="76"/>
                  </a:lnTo>
                  <a:lnTo>
                    <a:pt x="118" y="74"/>
                  </a:lnTo>
                  <a:lnTo>
                    <a:pt x="118" y="71"/>
                  </a:lnTo>
                  <a:lnTo>
                    <a:pt x="122" y="71"/>
                  </a:lnTo>
                  <a:lnTo>
                    <a:pt x="127" y="71"/>
                  </a:lnTo>
                  <a:lnTo>
                    <a:pt x="132" y="71"/>
                  </a:lnTo>
                  <a:lnTo>
                    <a:pt x="137" y="71"/>
                  </a:lnTo>
                  <a:lnTo>
                    <a:pt x="140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81"/>
                  </a:lnTo>
                  <a:lnTo>
                    <a:pt x="145" y="91"/>
                  </a:lnTo>
                  <a:lnTo>
                    <a:pt x="145" y="101"/>
                  </a:lnTo>
                  <a:lnTo>
                    <a:pt x="145" y="108"/>
                  </a:lnTo>
                  <a:lnTo>
                    <a:pt x="145" y="118"/>
                  </a:lnTo>
                  <a:lnTo>
                    <a:pt x="145" y="128"/>
                  </a:lnTo>
                  <a:lnTo>
                    <a:pt x="145" y="138"/>
                  </a:lnTo>
                  <a:lnTo>
                    <a:pt x="145" y="145"/>
                  </a:lnTo>
                  <a:lnTo>
                    <a:pt x="145" y="160"/>
                  </a:lnTo>
                  <a:lnTo>
                    <a:pt x="145" y="174"/>
                  </a:lnTo>
                  <a:lnTo>
                    <a:pt x="145" y="189"/>
                  </a:lnTo>
                  <a:lnTo>
                    <a:pt x="145" y="204"/>
                  </a:lnTo>
                  <a:lnTo>
                    <a:pt x="142" y="219"/>
                  </a:lnTo>
                  <a:lnTo>
                    <a:pt x="142" y="233"/>
                  </a:lnTo>
                  <a:lnTo>
                    <a:pt x="140" y="246"/>
                  </a:lnTo>
                  <a:lnTo>
                    <a:pt x="140" y="260"/>
                  </a:lnTo>
                  <a:lnTo>
                    <a:pt x="137" y="260"/>
                  </a:lnTo>
                  <a:lnTo>
                    <a:pt x="137" y="260"/>
                  </a:lnTo>
                  <a:lnTo>
                    <a:pt x="135" y="260"/>
                  </a:lnTo>
                  <a:lnTo>
                    <a:pt x="132" y="260"/>
                  </a:lnTo>
                  <a:close/>
                  <a:moveTo>
                    <a:pt x="250" y="91"/>
                  </a:moveTo>
                  <a:lnTo>
                    <a:pt x="245" y="89"/>
                  </a:lnTo>
                  <a:lnTo>
                    <a:pt x="240" y="89"/>
                  </a:lnTo>
                  <a:lnTo>
                    <a:pt x="238" y="86"/>
                  </a:lnTo>
                  <a:lnTo>
                    <a:pt x="233" y="84"/>
                  </a:lnTo>
                  <a:lnTo>
                    <a:pt x="228" y="81"/>
                  </a:lnTo>
                  <a:lnTo>
                    <a:pt x="223" y="79"/>
                  </a:lnTo>
                  <a:lnTo>
                    <a:pt x="218" y="76"/>
                  </a:lnTo>
                  <a:lnTo>
                    <a:pt x="216" y="76"/>
                  </a:lnTo>
                  <a:lnTo>
                    <a:pt x="211" y="74"/>
                  </a:lnTo>
                  <a:lnTo>
                    <a:pt x="206" y="71"/>
                  </a:lnTo>
                  <a:lnTo>
                    <a:pt x="201" y="71"/>
                  </a:lnTo>
                  <a:lnTo>
                    <a:pt x="196" y="69"/>
                  </a:lnTo>
                  <a:lnTo>
                    <a:pt x="191" y="69"/>
                  </a:lnTo>
                  <a:lnTo>
                    <a:pt x="186" y="67"/>
                  </a:lnTo>
                  <a:lnTo>
                    <a:pt x="181" y="67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2"/>
                  </a:lnTo>
                  <a:lnTo>
                    <a:pt x="184" y="59"/>
                  </a:lnTo>
                  <a:lnTo>
                    <a:pt x="184" y="59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47"/>
                  </a:lnTo>
                  <a:lnTo>
                    <a:pt x="194" y="47"/>
                  </a:lnTo>
                  <a:lnTo>
                    <a:pt x="194" y="45"/>
                  </a:lnTo>
                  <a:lnTo>
                    <a:pt x="196" y="45"/>
                  </a:lnTo>
                  <a:lnTo>
                    <a:pt x="199" y="42"/>
                  </a:lnTo>
                  <a:lnTo>
                    <a:pt x="199" y="42"/>
                  </a:lnTo>
                  <a:lnTo>
                    <a:pt x="201" y="40"/>
                  </a:lnTo>
                  <a:lnTo>
                    <a:pt x="204" y="40"/>
                  </a:lnTo>
                  <a:lnTo>
                    <a:pt x="206" y="37"/>
                  </a:lnTo>
                  <a:lnTo>
                    <a:pt x="208" y="37"/>
                  </a:lnTo>
                  <a:lnTo>
                    <a:pt x="208" y="37"/>
                  </a:lnTo>
                  <a:lnTo>
                    <a:pt x="211" y="37"/>
                  </a:lnTo>
                  <a:lnTo>
                    <a:pt x="216" y="40"/>
                  </a:lnTo>
                  <a:lnTo>
                    <a:pt x="218" y="42"/>
                  </a:lnTo>
                  <a:lnTo>
                    <a:pt x="223" y="45"/>
                  </a:lnTo>
                  <a:lnTo>
                    <a:pt x="226" y="49"/>
                  </a:lnTo>
                  <a:lnTo>
                    <a:pt x="228" y="52"/>
                  </a:lnTo>
                  <a:lnTo>
                    <a:pt x="231" y="54"/>
                  </a:lnTo>
                  <a:lnTo>
                    <a:pt x="235" y="59"/>
                  </a:lnTo>
                  <a:lnTo>
                    <a:pt x="238" y="62"/>
                  </a:lnTo>
                  <a:lnTo>
                    <a:pt x="240" y="67"/>
                  </a:lnTo>
                  <a:lnTo>
                    <a:pt x="243" y="69"/>
                  </a:lnTo>
                  <a:lnTo>
                    <a:pt x="245" y="74"/>
                  </a:lnTo>
                  <a:lnTo>
                    <a:pt x="248" y="79"/>
                  </a:lnTo>
                  <a:lnTo>
                    <a:pt x="248" y="81"/>
                  </a:lnTo>
                  <a:lnTo>
                    <a:pt x="250" y="86"/>
                  </a:lnTo>
                  <a:lnTo>
                    <a:pt x="253" y="91"/>
                  </a:lnTo>
                  <a:lnTo>
                    <a:pt x="255" y="94"/>
                  </a:lnTo>
                  <a:lnTo>
                    <a:pt x="250" y="91"/>
                  </a:lnTo>
                  <a:close/>
                  <a:moveTo>
                    <a:pt x="17" y="94"/>
                  </a:moveTo>
                  <a:lnTo>
                    <a:pt x="17" y="89"/>
                  </a:lnTo>
                  <a:lnTo>
                    <a:pt x="19" y="84"/>
                  </a:lnTo>
                  <a:lnTo>
                    <a:pt x="22" y="81"/>
                  </a:lnTo>
                  <a:lnTo>
                    <a:pt x="24" y="76"/>
                  </a:lnTo>
                  <a:lnTo>
                    <a:pt x="27" y="71"/>
                  </a:lnTo>
                  <a:lnTo>
                    <a:pt x="29" y="67"/>
                  </a:lnTo>
                  <a:lnTo>
                    <a:pt x="32" y="62"/>
                  </a:lnTo>
                  <a:lnTo>
                    <a:pt x="36" y="59"/>
                  </a:lnTo>
                  <a:lnTo>
                    <a:pt x="39" y="54"/>
                  </a:lnTo>
                  <a:lnTo>
                    <a:pt x="41" y="49"/>
                  </a:lnTo>
                  <a:lnTo>
                    <a:pt x="46" y="47"/>
                  </a:lnTo>
                  <a:lnTo>
                    <a:pt x="49" y="42"/>
                  </a:lnTo>
                  <a:lnTo>
                    <a:pt x="54" y="40"/>
                  </a:lnTo>
                  <a:lnTo>
                    <a:pt x="59" y="37"/>
                  </a:lnTo>
                  <a:lnTo>
                    <a:pt x="61" y="32"/>
                  </a:lnTo>
                  <a:lnTo>
                    <a:pt x="66" y="32"/>
                  </a:lnTo>
                  <a:lnTo>
                    <a:pt x="68" y="35"/>
                  </a:lnTo>
                  <a:lnTo>
                    <a:pt x="71" y="35"/>
                  </a:lnTo>
                  <a:lnTo>
                    <a:pt x="76" y="35"/>
                  </a:lnTo>
                  <a:lnTo>
                    <a:pt x="78" y="35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8" y="40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5" y="45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100" y="49"/>
                  </a:lnTo>
                  <a:lnTo>
                    <a:pt x="103" y="52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62"/>
                  </a:lnTo>
                  <a:lnTo>
                    <a:pt x="108" y="64"/>
                  </a:lnTo>
                  <a:lnTo>
                    <a:pt x="103" y="64"/>
                  </a:lnTo>
                  <a:lnTo>
                    <a:pt x="95" y="67"/>
                  </a:lnTo>
                  <a:lnTo>
                    <a:pt x="88" y="67"/>
                  </a:lnTo>
                  <a:lnTo>
                    <a:pt x="83" y="69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63" y="74"/>
                  </a:lnTo>
                  <a:lnTo>
                    <a:pt x="59" y="76"/>
                  </a:lnTo>
                  <a:lnTo>
                    <a:pt x="51" y="79"/>
                  </a:lnTo>
                  <a:lnTo>
                    <a:pt x="46" y="81"/>
                  </a:lnTo>
                  <a:lnTo>
                    <a:pt x="41" y="84"/>
                  </a:lnTo>
                  <a:lnTo>
                    <a:pt x="34" y="86"/>
                  </a:lnTo>
                  <a:lnTo>
                    <a:pt x="29" y="89"/>
                  </a:lnTo>
                  <a:lnTo>
                    <a:pt x="24" y="94"/>
                  </a:lnTo>
                  <a:lnTo>
                    <a:pt x="19" y="96"/>
                  </a:lnTo>
                  <a:lnTo>
                    <a:pt x="14" y="101"/>
                  </a:lnTo>
                  <a:lnTo>
                    <a:pt x="17" y="94"/>
                  </a:lnTo>
                  <a:close/>
                  <a:moveTo>
                    <a:pt x="167" y="64"/>
                  </a:moveTo>
                  <a:lnTo>
                    <a:pt x="162" y="64"/>
                  </a:lnTo>
                  <a:lnTo>
                    <a:pt x="157" y="64"/>
                  </a:lnTo>
                  <a:lnTo>
                    <a:pt x="152" y="62"/>
                  </a:lnTo>
                  <a:lnTo>
                    <a:pt x="149" y="49"/>
                  </a:lnTo>
                  <a:lnTo>
                    <a:pt x="149" y="35"/>
                  </a:lnTo>
                  <a:lnTo>
                    <a:pt x="147" y="22"/>
                  </a:lnTo>
                  <a:lnTo>
                    <a:pt x="147" y="10"/>
                  </a:lnTo>
                  <a:lnTo>
                    <a:pt x="149" y="10"/>
                  </a:lnTo>
                  <a:lnTo>
                    <a:pt x="154" y="10"/>
                  </a:lnTo>
                  <a:lnTo>
                    <a:pt x="157" y="13"/>
                  </a:lnTo>
                  <a:lnTo>
                    <a:pt x="162" y="13"/>
                  </a:lnTo>
                  <a:lnTo>
                    <a:pt x="164" y="13"/>
                  </a:lnTo>
                  <a:lnTo>
                    <a:pt x="169" y="15"/>
                  </a:lnTo>
                  <a:lnTo>
                    <a:pt x="172" y="15"/>
                  </a:lnTo>
                  <a:lnTo>
                    <a:pt x="177" y="18"/>
                  </a:lnTo>
                  <a:lnTo>
                    <a:pt x="179" y="18"/>
                  </a:lnTo>
                  <a:lnTo>
                    <a:pt x="181" y="20"/>
                  </a:lnTo>
                  <a:lnTo>
                    <a:pt x="186" y="20"/>
                  </a:lnTo>
                  <a:lnTo>
                    <a:pt x="189" y="22"/>
                  </a:lnTo>
                  <a:lnTo>
                    <a:pt x="194" y="25"/>
                  </a:lnTo>
                  <a:lnTo>
                    <a:pt x="196" y="25"/>
                  </a:lnTo>
                  <a:lnTo>
                    <a:pt x="199" y="27"/>
                  </a:lnTo>
                  <a:lnTo>
                    <a:pt x="204" y="30"/>
                  </a:lnTo>
                  <a:lnTo>
                    <a:pt x="201" y="30"/>
                  </a:lnTo>
                  <a:lnTo>
                    <a:pt x="199" y="32"/>
                  </a:lnTo>
                  <a:lnTo>
                    <a:pt x="196" y="32"/>
                  </a:lnTo>
                  <a:lnTo>
                    <a:pt x="194" y="32"/>
                  </a:lnTo>
                  <a:lnTo>
                    <a:pt x="194" y="35"/>
                  </a:lnTo>
                  <a:lnTo>
                    <a:pt x="191" y="35"/>
                  </a:lnTo>
                  <a:lnTo>
                    <a:pt x="189" y="37"/>
                  </a:lnTo>
                  <a:lnTo>
                    <a:pt x="189" y="37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84" y="42"/>
                  </a:lnTo>
                  <a:lnTo>
                    <a:pt x="181" y="42"/>
                  </a:lnTo>
                  <a:lnTo>
                    <a:pt x="181" y="45"/>
                  </a:lnTo>
                  <a:lnTo>
                    <a:pt x="179" y="47"/>
                  </a:lnTo>
                  <a:lnTo>
                    <a:pt x="179" y="47"/>
                  </a:lnTo>
                  <a:lnTo>
                    <a:pt x="177" y="49"/>
                  </a:lnTo>
                  <a:lnTo>
                    <a:pt x="177" y="52"/>
                  </a:lnTo>
                  <a:lnTo>
                    <a:pt x="177" y="52"/>
                  </a:lnTo>
                  <a:lnTo>
                    <a:pt x="174" y="54"/>
                  </a:lnTo>
                  <a:lnTo>
                    <a:pt x="174" y="57"/>
                  </a:lnTo>
                  <a:lnTo>
                    <a:pt x="174" y="59"/>
                  </a:lnTo>
                  <a:lnTo>
                    <a:pt x="174" y="62"/>
                  </a:lnTo>
                  <a:lnTo>
                    <a:pt x="172" y="62"/>
                  </a:lnTo>
                  <a:lnTo>
                    <a:pt x="172" y="64"/>
                  </a:lnTo>
                  <a:lnTo>
                    <a:pt x="167" y="64"/>
                  </a:lnTo>
                  <a:close/>
                  <a:moveTo>
                    <a:pt x="118" y="62"/>
                  </a:moveTo>
                  <a:lnTo>
                    <a:pt x="118" y="59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110" y="47"/>
                  </a:lnTo>
                  <a:lnTo>
                    <a:pt x="110" y="45"/>
                  </a:lnTo>
                  <a:lnTo>
                    <a:pt x="108" y="42"/>
                  </a:lnTo>
                  <a:lnTo>
                    <a:pt x="105" y="42"/>
                  </a:lnTo>
                  <a:lnTo>
                    <a:pt x="103" y="40"/>
                  </a:lnTo>
                  <a:lnTo>
                    <a:pt x="100" y="37"/>
                  </a:lnTo>
                  <a:lnTo>
                    <a:pt x="98" y="35"/>
                  </a:lnTo>
                  <a:lnTo>
                    <a:pt x="95" y="35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3" y="27"/>
                  </a:lnTo>
                  <a:lnTo>
                    <a:pt x="81" y="27"/>
                  </a:lnTo>
                  <a:lnTo>
                    <a:pt x="78" y="25"/>
                  </a:lnTo>
                  <a:lnTo>
                    <a:pt x="73" y="25"/>
                  </a:lnTo>
                  <a:lnTo>
                    <a:pt x="78" y="22"/>
                  </a:lnTo>
                  <a:lnTo>
                    <a:pt x="81" y="22"/>
                  </a:lnTo>
                  <a:lnTo>
                    <a:pt x="86" y="20"/>
                  </a:lnTo>
                  <a:lnTo>
                    <a:pt x="88" y="18"/>
                  </a:lnTo>
                  <a:lnTo>
                    <a:pt x="93" y="18"/>
                  </a:lnTo>
                  <a:lnTo>
                    <a:pt x="95" y="15"/>
                  </a:lnTo>
                  <a:lnTo>
                    <a:pt x="100" y="15"/>
                  </a:lnTo>
                  <a:lnTo>
                    <a:pt x="103" y="13"/>
                  </a:lnTo>
                  <a:lnTo>
                    <a:pt x="108" y="13"/>
                  </a:lnTo>
                  <a:lnTo>
                    <a:pt x="110" y="13"/>
                  </a:lnTo>
                  <a:lnTo>
                    <a:pt x="115" y="10"/>
                  </a:lnTo>
                  <a:lnTo>
                    <a:pt x="120" y="10"/>
                  </a:lnTo>
                  <a:lnTo>
                    <a:pt x="122" y="10"/>
                  </a:lnTo>
                  <a:lnTo>
                    <a:pt x="127" y="10"/>
                  </a:lnTo>
                  <a:lnTo>
                    <a:pt x="130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22"/>
                  </a:lnTo>
                  <a:lnTo>
                    <a:pt x="140" y="35"/>
                  </a:lnTo>
                  <a:lnTo>
                    <a:pt x="140" y="49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37" y="62"/>
                  </a:lnTo>
                  <a:lnTo>
                    <a:pt x="132" y="62"/>
                  </a:lnTo>
                  <a:lnTo>
                    <a:pt x="127" y="62"/>
                  </a:lnTo>
                  <a:lnTo>
                    <a:pt x="122" y="62"/>
                  </a:lnTo>
                  <a:lnTo>
                    <a:pt x="118" y="64"/>
                  </a:lnTo>
                  <a:lnTo>
                    <a:pt x="118" y="62"/>
                  </a:lnTo>
                  <a:close/>
                  <a:moveTo>
                    <a:pt x="135" y="0"/>
                  </a:moveTo>
                  <a:lnTo>
                    <a:pt x="132" y="0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0" y="0"/>
                  </a:lnTo>
                  <a:lnTo>
                    <a:pt x="118" y="0"/>
                  </a:lnTo>
                  <a:lnTo>
                    <a:pt x="115" y="3"/>
                  </a:lnTo>
                  <a:lnTo>
                    <a:pt x="110" y="3"/>
                  </a:lnTo>
                  <a:lnTo>
                    <a:pt x="108" y="3"/>
                  </a:lnTo>
                  <a:lnTo>
                    <a:pt x="105" y="3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5" y="5"/>
                  </a:lnTo>
                  <a:lnTo>
                    <a:pt x="91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3" y="10"/>
                  </a:lnTo>
                  <a:lnTo>
                    <a:pt x="78" y="13"/>
                  </a:lnTo>
                  <a:lnTo>
                    <a:pt x="76" y="13"/>
                  </a:lnTo>
                  <a:lnTo>
                    <a:pt x="73" y="15"/>
                  </a:lnTo>
                  <a:lnTo>
                    <a:pt x="71" y="18"/>
                  </a:lnTo>
                  <a:lnTo>
                    <a:pt x="68" y="18"/>
                  </a:lnTo>
                  <a:lnTo>
                    <a:pt x="63" y="20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6" y="25"/>
                  </a:lnTo>
                  <a:lnTo>
                    <a:pt x="54" y="27"/>
                  </a:lnTo>
                  <a:lnTo>
                    <a:pt x="51" y="30"/>
                  </a:lnTo>
                  <a:lnTo>
                    <a:pt x="49" y="32"/>
                  </a:lnTo>
                  <a:lnTo>
                    <a:pt x="46" y="32"/>
                  </a:lnTo>
                  <a:lnTo>
                    <a:pt x="44" y="35"/>
                  </a:lnTo>
                  <a:lnTo>
                    <a:pt x="41" y="37"/>
                  </a:lnTo>
                  <a:lnTo>
                    <a:pt x="39" y="40"/>
                  </a:lnTo>
                  <a:lnTo>
                    <a:pt x="36" y="42"/>
                  </a:lnTo>
                  <a:lnTo>
                    <a:pt x="34" y="45"/>
                  </a:lnTo>
                  <a:lnTo>
                    <a:pt x="32" y="47"/>
                  </a:lnTo>
                  <a:lnTo>
                    <a:pt x="29" y="49"/>
                  </a:lnTo>
                  <a:lnTo>
                    <a:pt x="29" y="52"/>
                  </a:lnTo>
                  <a:lnTo>
                    <a:pt x="27" y="54"/>
                  </a:lnTo>
                  <a:lnTo>
                    <a:pt x="24" y="57"/>
                  </a:lnTo>
                  <a:lnTo>
                    <a:pt x="22" y="59"/>
                  </a:lnTo>
                  <a:lnTo>
                    <a:pt x="22" y="62"/>
                  </a:lnTo>
                  <a:lnTo>
                    <a:pt x="19" y="64"/>
                  </a:lnTo>
                  <a:lnTo>
                    <a:pt x="17" y="69"/>
                  </a:lnTo>
                  <a:lnTo>
                    <a:pt x="17" y="71"/>
                  </a:lnTo>
                  <a:lnTo>
                    <a:pt x="14" y="74"/>
                  </a:lnTo>
                  <a:lnTo>
                    <a:pt x="12" y="76"/>
                  </a:lnTo>
                  <a:lnTo>
                    <a:pt x="12" y="79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5" y="96"/>
                  </a:lnTo>
                  <a:lnTo>
                    <a:pt x="5" y="98"/>
                  </a:lnTo>
                  <a:lnTo>
                    <a:pt x="5" y="101"/>
                  </a:lnTo>
                  <a:lnTo>
                    <a:pt x="2" y="106"/>
                  </a:lnTo>
                  <a:lnTo>
                    <a:pt x="2" y="108"/>
                  </a:lnTo>
                  <a:lnTo>
                    <a:pt x="2" y="111"/>
                  </a:lnTo>
                  <a:lnTo>
                    <a:pt x="2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5"/>
                  </a:lnTo>
                  <a:lnTo>
                    <a:pt x="0" y="128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138"/>
                  </a:lnTo>
                  <a:lnTo>
                    <a:pt x="0" y="143"/>
                  </a:lnTo>
                  <a:lnTo>
                    <a:pt x="0" y="145"/>
                  </a:lnTo>
                  <a:lnTo>
                    <a:pt x="0" y="150"/>
                  </a:lnTo>
                  <a:lnTo>
                    <a:pt x="0" y="152"/>
                  </a:lnTo>
                  <a:lnTo>
                    <a:pt x="2" y="155"/>
                  </a:lnTo>
                  <a:lnTo>
                    <a:pt x="2" y="160"/>
                  </a:lnTo>
                  <a:lnTo>
                    <a:pt x="2" y="162"/>
                  </a:lnTo>
                  <a:lnTo>
                    <a:pt x="2" y="165"/>
                  </a:lnTo>
                  <a:lnTo>
                    <a:pt x="5" y="170"/>
                  </a:lnTo>
                  <a:lnTo>
                    <a:pt x="5" y="172"/>
                  </a:lnTo>
                  <a:lnTo>
                    <a:pt x="5" y="174"/>
                  </a:lnTo>
                  <a:lnTo>
                    <a:pt x="7" y="179"/>
                  </a:lnTo>
                  <a:lnTo>
                    <a:pt x="7" y="182"/>
                  </a:lnTo>
                  <a:lnTo>
                    <a:pt x="9" y="184"/>
                  </a:lnTo>
                  <a:lnTo>
                    <a:pt x="9" y="187"/>
                  </a:lnTo>
                  <a:lnTo>
                    <a:pt x="12" y="192"/>
                  </a:lnTo>
                  <a:lnTo>
                    <a:pt x="12" y="194"/>
                  </a:lnTo>
                  <a:lnTo>
                    <a:pt x="14" y="197"/>
                  </a:lnTo>
                  <a:lnTo>
                    <a:pt x="17" y="199"/>
                  </a:lnTo>
                  <a:lnTo>
                    <a:pt x="17" y="201"/>
                  </a:lnTo>
                  <a:lnTo>
                    <a:pt x="19" y="206"/>
                  </a:lnTo>
                  <a:lnTo>
                    <a:pt x="22" y="209"/>
                  </a:lnTo>
                  <a:lnTo>
                    <a:pt x="22" y="211"/>
                  </a:lnTo>
                  <a:lnTo>
                    <a:pt x="24" y="214"/>
                  </a:lnTo>
                  <a:lnTo>
                    <a:pt x="27" y="216"/>
                  </a:lnTo>
                  <a:lnTo>
                    <a:pt x="29" y="219"/>
                  </a:lnTo>
                  <a:lnTo>
                    <a:pt x="29" y="221"/>
                  </a:lnTo>
                  <a:lnTo>
                    <a:pt x="32" y="223"/>
                  </a:lnTo>
                  <a:lnTo>
                    <a:pt x="34" y="226"/>
                  </a:lnTo>
                  <a:lnTo>
                    <a:pt x="36" y="228"/>
                  </a:lnTo>
                  <a:lnTo>
                    <a:pt x="39" y="231"/>
                  </a:lnTo>
                  <a:lnTo>
                    <a:pt x="41" y="233"/>
                  </a:lnTo>
                  <a:lnTo>
                    <a:pt x="44" y="236"/>
                  </a:lnTo>
                  <a:lnTo>
                    <a:pt x="46" y="238"/>
                  </a:lnTo>
                  <a:lnTo>
                    <a:pt x="49" y="238"/>
                  </a:lnTo>
                  <a:lnTo>
                    <a:pt x="51" y="241"/>
                  </a:lnTo>
                  <a:lnTo>
                    <a:pt x="54" y="243"/>
                  </a:lnTo>
                  <a:lnTo>
                    <a:pt x="56" y="246"/>
                  </a:lnTo>
                  <a:lnTo>
                    <a:pt x="59" y="248"/>
                  </a:lnTo>
                  <a:lnTo>
                    <a:pt x="61" y="248"/>
                  </a:lnTo>
                  <a:lnTo>
                    <a:pt x="63" y="250"/>
                  </a:lnTo>
                  <a:lnTo>
                    <a:pt x="68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6" y="258"/>
                  </a:lnTo>
                  <a:lnTo>
                    <a:pt x="78" y="258"/>
                  </a:lnTo>
                  <a:lnTo>
                    <a:pt x="83" y="260"/>
                  </a:lnTo>
                  <a:lnTo>
                    <a:pt x="86" y="260"/>
                  </a:lnTo>
                  <a:lnTo>
                    <a:pt x="88" y="263"/>
                  </a:lnTo>
                  <a:lnTo>
                    <a:pt x="91" y="263"/>
                  </a:lnTo>
                  <a:lnTo>
                    <a:pt x="95" y="265"/>
                  </a:lnTo>
                  <a:lnTo>
                    <a:pt x="98" y="265"/>
                  </a:lnTo>
                  <a:lnTo>
                    <a:pt x="100" y="265"/>
                  </a:lnTo>
                  <a:lnTo>
                    <a:pt x="105" y="268"/>
                  </a:lnTo>
                  <a:lnTo>
                    <a:pt x="108" y="268"/>
                  </a:lnTo>
                  <a:lnTo>
                    <a:pt x="110" y="268"/>
                  </a:lnTo>
                  <a:lnTo>
                    <a:pt x="115" y="268"/>
                  </a:lnTo>
                  <a:lnTo>
                    <a:pt x="118" y="270"/>
                  </a:lnTo>
                  <a:lnTo>
                    <a:pt x="120" y="270"/>
                  </a:lnTo>
                  <a:lnTo>
                    <a:pt x="125" y="270"/>
                  </a:lnTo>
                  <a:lnTo>
                    <a:pt x="127" y="270"/>
                  </a:lnTo>
                  <a:lnTo>
                    <a:pt x="132" y="270"/>
                  </a:lnTo>
                  <a:lnTo>
                    <a:pt x="135" y="270"/>
                  </a:lnTo>
                  <a:lnTo>
                    <a:pt x="137" y="270"/>
                  </a:lnTo>
                  <a:lnTo>
                    <a:pt x="142" y="270"/>
                  </a:lnTo>
                  <a:lnTo>
                    <a:pt x="145" y="270"/>
                  </a:lnTo>
                  <a:lnTo>
                    <a:pt x="149" y="270"/>
                  </a:lnTo>
                  <a:lnTo>
                    <a:pt x="152" y="270"/>
                  </a:lnTo>
                  <a:lnTo>
                    <a:pt x="154" y="268"/>
                  </a:lnTo>
                  <a:lnTo>
                    <a:pt x="159" y="268"/>
                  </a:lnTo>
                  <a:lnTo>
                    <a:pt x="162" y="268"/>
                  </a:lnTo>
                  <a:lnTo>
                    <a:pt x="164" y="268"/>
                  </a:lnTo>
                  <a:lnTo>
                    <a:pt x="169" y="265"/>
                  </a:lnTo>
                  <a:lnTo>
                    <a:pt x="172" y="265"/>
                  </a:lnTo>
                  <a:lnTo>
                    <a:pt x="174" y="265"/>
                  </a:lnTo>
                  <a:lnTo>
                    <a:pt x="179" y="263"/>
                  </a:lnTo>
                  <a:lnTo>
                    <a:pt x="181" y="263"/>
                  </a:lnTo>
                  <a:lnTo>
                    <a:pt x="184" y="260"/>
                  </a:lnTo>
                  <a:lnTo>
                    <a:pt x="186" y="260"/>
                  </a:lnTo>
                  <a:lnTo>
                    <a:pt x="191" y="258"/>
                  </a:lnTo>
                  <a:lnTo>
                    <a:pt x="194" y="258"/>
                  </a:lnTo>
                  <a:lnTo>
                    <a:pt x="196" y="255"/>
                  </a:lnTo>
                  <a:lnTo>
                    <a:pt x="199" y="253"/>
                  </a:lnTo>
                  <a:lnTo>
                    <a:pt x="201" y="253"/>
                  </a:lnTo>
                  <a:lnTo>
                    <a:pt x="206" y="250"/>
                  </a:lnTo>
                  <a:lnTo>
                    <a:pt x="208" y="248"/>
                  </a:lnTo>
                  <a:lnTo>
                    <a:pt x="211" y="248"/>
                  </a:lnTo>
                  <a:lnTo>
                    <a:pt x="213" y="246"/>
                  </a:lnTo>
                  <a:lnTo>
                    <a:pt x="216" y="243"/>
                  </a:lnTo>
                  <a:lnTo>
                    <a:pt x="218" y="241"/>
                  </a:lnTo>
                  <a:lnTo>
                    <a:pt x="221" y="238"/>
                  </a:lnTo>
                  <a:lnTo>
                    <a:pt x="223" y="238"/>
                  </a:lnTo>
                  <a:lnTo>
                    <a:pt x="226" y="236"/>
                  </a:lnTo>
                  <a:lnTo>
                    <a:pt x="228" y="233"/>
                  </a:lnTo>
                  <a:lnTo>
                    <a:pt x="231" y="231"/>
                  </a:lnTo>
                  <a:lnTo>
                    <a:pt x="233" y="228"/>
                  </a:lnTo>
                  <a:lnTo>
                    <a:pt x="235" y="226"/>
                  </a:lnTo>
                  <a:lnTo>
                    <a:pt x="238" y="223"/>
                  </a:lnTo>
                  <a:lnTo>
                    <a:pt x="240" y="221"/>
                  </a:lnTo>
                  <a:lnTo>
                    <a:pt x="240" y="219"/>
                  </a:lnTo>
                  <a:lnTo>
                    <a:pt x="243" y="216"/>
                  </a:lnTo>
                  <a:lnTo>
                    <a:pt x="245" y="214"/>
                  </a:lnTo>
                  <a:lnTo>
                    <a:pt x="248" y="211"/>
                  </a:lnTo>
                  <a:lnTo>
                    <a:pt x="248" y="209"/>
                  </a:lnTo>
                  <a:lnTo>
                    <a:pt x="250" y="206"/>
                  </a:lnTo>
                  <a:lnTo>
                    <a:pt x="253" y="201"/>
                  </a:lnTo>
                  <a:lnTo>
                    <a:pt x="253" y="199"/>
                  </a:lnTo>
                  <a:lnTo>
                    <a:pt x="255" y="197"/>
                  </a:lnTo>
                  <a:lnTo>
                    <a:pt x="258" y="194"/>
                  </a:lnTo>
                  <a:lnTo>
                    <a:pt x="258" y="192"/>
                  </a:lnTo>
                  <a:lnTo>
                    <a:pt x="260" y="187"/>
                  </a:lnTo>
                  <a:lnTo>
                    <a:pt x="260" y="184"/>
                  </a:lnTo>
                  <a:lnTo>
                    <a:pt x="262" y="182"/>
                  </a:lnTo>
                  <a:lnTo>
                    <a:pt x="262" y="179"/>
                  </a:lnTo>
                  <a:lnTo>
                    <a:pt x="265" y="174"/>
                  </a:lnTo>
                  <a:lnTo>
                    <a:pt x="265" y="172"/>
                  </a:lnTo>
                  <a:lnTo>
                    <a:pt x="265" y="170"/>
                  </a:lnTo>
                  <a:lnTo>
                    <a:pt x="267" y="165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55"/>
                  </a:lnTo>
                  <a:lnTo>
                    <a:pt x="270" y="152"/>
                  </a:lnTo>
                  <a:lnTo>
                    <a:pt x="270" y="150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38"/>
                  </a:lnTo>
                  <a:lnTo>
                    <a:pt x="270" y="133"/>
                  </a:lnTo>
                  <a:lnTo>
                    <a:pt x="270" y="128"/>
                  </a:lnTo>
                  <a:lnTo>
                    <a:pt x="270" y="125"/>
                  </a:lnTo>
                  <a:lnTo>
                    <a:pt x="270" y="121"/>
                  </a:lnTo>
                  <a:lnTo>
                    <a:pt x="270" y="118"/>
                  </a:lnTo>
                  <a:lnTo>
                    <a:pt x="267" y="116"/>
                  </a:lnTo>
                  <a:lnTo>
                    <a:pt x="267" y="111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5" y="101"/>
                  </a:lnTo>
                  <a:lnTo>
                    <a:pt x="265" y="98"/>
                  </a:lnTo>
                  <a:lnTo>
                    <a:pt x="265" y="96"/>
                  </a:lnTo>
                  <a:lnTo>
                    <a:pt x="262" y="91"/>
                  </a:lnTo>
                  <a:lnTo>
                    <a:pt x="262" y="89"/>
                  </a:lnTo>
                  <a:lnTo>
                    <a:pt x="260" y="86"/>
                  </a:lnTo>
                  <a:lnTo>
                    <a:pt x="260" y="84"/>
                  </a:lnTo>
                  <a:lnTo>
                    <a:pt x="258" y="79"/>
                  </a:lnTo>
                  <a:lnTo>
                    <a:pt x="258" y="76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3" y="69"/>
                  </a:lnTo>
                  <a:lnTo>
                    <a:pt x="250" y="64"/>
                  </a:lnTo>
                  <a:lnTo>
                    <a:pt x="248" y="62"/>
                  </a:lnTo>
                  <a:lnTo>
                    <a:pt x="248" y="59"/>
                  </a:lnTo>
                  <a:lnTo>
                    <a:pt x="245" y="57"/>
                  </a:lnTo>
                  <a:lnTo>
                    <a:pt x="243" y="54"/>
                  </a:lnTo>
                  <a:lnTo>
                    <a:pt x="240" y="52"/>
                  </a:lnTo>
                  <a:lnTo>
                    <a:pt x="240" y="49"/>
                  </a:lnTo>
                  <a:lnTo>
                    <a:pt x="238" y="47"/>
                  </a:lnTo>
                  <a:lnTo>
                    <a:pt x="235" y="45"/>
                  </a:lnTo>
                  <a:lnTo>
                    <a:pt x="233" y="42"/>
                  </a:lnTo>
                  <a:lnTo>
                    <a:pt x="231" y="40"/>
                  </a:lnTo>
                  <a:lnTo>
                    <a:pt x="228" y="37"/>
                  </a:lnTo>
                  <a:lnTo>
                    <a:pt x="226" y="35"/>
                  </a:lnTo>
                  <a:lnTo>
                    <a:pt x="223" y="32"/>
                  </a:lnTo>
                  <a:lnTo>
                    <a:pt x="221" y="32"/>
                  </a:lnTo>
                  <a:lnTo>
                    <a:pt x="218" y="30"/>
                  </a:lnTo>
                  <a:lnTo>
                    <a:pt x="216" y="27"/>
                  </a:lnTo>
                  <a:lnTo>
                    <a:pt x="213" y="25"/>
                  </a:lnTo>
                  <a:lnTo>
                    <a:pt x="211" y="22"/>
                  </a:lnTo>
                  <a:lnTo>
                    <a:pt x="208" y="22"/>
                  </a:lnTo>
                  <a:lnTo>
                    <a:pt x="206" y="20"/>
                  </a:lnTo>
                  <a:lnTo>
                    <a:pt x="201" y="18"/>
                  </a:lnTo>
                  <a:lnTo>
                    <a:pt x="199" y="18"/>
                  </a:lnTo>
                  <a:lnTo>
                    <a:pt x="196" y="15"/>
                  </a:lnTo>
                  <a:lnTo>
                    <a:pt x="194" y="13"/>
                  </a:lnTo>
                  <a:lnTo>
                    <a:pt x="191" y="13"/>
                  </a:lnTo>
                  <a:lnTo>
                    <a:pt x="186" y="10"/>
                  </a:lnTo>
                  <a:lnTo>
                    <a:pt x="184" y="10"/>
                  </a:lnTo>
                  <a:lnTo>
                    <a:pt x="181" y="8"/>
                  </a:lnTo>
                  <a:lnTo>
                    <a:pt x="179" y="8"/>
                  </a:lnTo>
                  <a:lnTo>
                    <a:pt x="174" y="5"/>
                  </a:lnTo>
                  <a:lnTo>
                    <a:pt x="172" y="5"/>
                  </a:lnTo>
                  <a:lnTo>
                    <a:pt x="169" y="5"/>
                  </a:lnTo>
                  <a:lnTo>
                    <a:pt x="164" y="3"/>
                  </a:lnTo>
                  <a:lnTo>
                    <a:pt x="162" y="3"/>
                  </a:lnTo>
                  <a:lnTo>
                    <a:pt x="159" y="3"/>
                  </a:lnTo>
                  <a:lnTo>
                    <a:pt x="154" y="3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37" y="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7" name="Group 212">
            <a:extLst>
              <a:ext uri="{FF2B5EF4-FFF2-40B4-BE49-F238E27FC236}">
                <a16:creationId xmlns:a16="http://schemas.microsoft.com/office/drawing/2014/main" id="{5157AFD0-1DFC-429D-87C2-B8A764733CB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9921" y="5420393"/>
            <a:ext cx="841375" cy="841375"/>
            <a:chOff x="188" y="3496"/>
            <a:chExt cx="530" cy="530"/>
          </a:xfrm>
        </p:grpSpPr>
        <p:sp>
          <p:nvSpPr>
            <p:cNvPr id="248" name="AutoShape 211">
              <a:extLst>
                <a:ext uri="{FF2B5EF4-FFF2-40B4-BE49-F238E27FC236}">
                  <a16:creationId xmlns:a16="http://schemas.microsoft.com/office/drawing/2014/main" id="{D330B786-DA4B-4D3D-B9FF-9684284C52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8" y="3496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213">
              <a:extLst>
                <a:ext uri="{FF2B5EF4-FFF2-40B4-BE49-F238E27FC236}">
                  <a16:creationId xmlns:a16="http://schemas.microsoft.com/office/drawing/2014/main" id="{79E8DFAC-7218-447B-A415-9CD1E2A74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" y="3496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4">
              <a:extLst>
                <a:ext uri="{FF2B5EF4-FFF2-40B4-BE49-F238E27FC236}">
                  <a16:creationId xmlns:a16="http://schemas.microsoft.com/office/drawing/2014/main" id="{1489259B-A76D-43FD-BAEC-E7626A5E4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" y="3514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5">
              <a:extLst>
                <a:ext uri="{FF2B5EF4-FFF2-40B4-BE49-F238E27FC236}">
                  <a16:creationId xmlns:a16="http://schemas.microsoft.com/office/drawing/2014/main" id="{0C9B242C-003F-4AFE-9328-5DD63D4E2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" y="3621"/>
              <a:ext cx="282" cy="282"/>
            </a:xfrm>
            <a:custGeom>
              <a:avLst/>
              <a:gdLst>
                <a:gd name="T0" fmla="*/ 210 w 282"/>
                <a:gd name="T1" fmla="*/ 128 h 282"/>
                <a:gd name="T2" fmla="*/ 190 w 282"/>
                <a:gd name="T3" fmla="*/ 85 h 282"/>
                <a:gd name="T4" fmla="*/ 241 w 282"/>
                <a:gd name="T5" fmla="*/ 98 h 282"/>
                <a:gd name="T6" fmla="*/ 272 w 282"/>
                <a:gd name="T7" fmla="*/ 139 h 282"/>
                <a:gd name="T8" fmla="*/ 264 w 282"/>
                <a:gd name="T9" fmla="*/ 187 h 282"/>
                <a:gd name="T10" fmla="*/ 18 w 282"/>
                <a:gd name="T11" fmla="*/ 185 h 282"/>
                <a:gd name="T12" fmla="*/ 11 w 282"/>
                <a:gd name="T13" fmla="*/ 128 h 282"/>
                <a:gd name="T14" fmla="*/ 44 w 282"/>
                <a:gd name="T15" fmla="*/ 98 h 282"/>
                <a:gd name="T16" fmla="*/ 85 w 282"/>
                <a:gd name="T17" fmla="*/ 82 h 282"/>
                <a:gd name="T18" fmla="*/ 113 w 282"/>
                <a:gd name="T19" fmla="*/ 87 h 282"/>
                <a:gd name="T20" fmla="*/ 93 w 282"/>
                <a:gd name="T21" fmla="*/ 133 h 282"/>
                <a:gd name="T22" fmla="*/ 52 w 282"/>
                <a:gd name="T23" fmla="*/ 190 h 282"/>
                <a:gd name="T24" fmla="*/ 162 w 282"/>
                <a:gd name="T25" fmla="*/ 198 h 282"/>
                <a:gd name="T26" fmla="*/ 169 w 282"/>
                <a:gd name="T27" fmla="*/ 77 h 282"/>
                <a:gd name="T28" fmla="*/ 187 w 282"/>
                <a:gd name="T29" fmla="*/ 108 h 282"/>
                <a:gd name="T30" fmla="*/ 228 w 282"/>
                <a:gd name="T31" fmla="*/ 169 h 282"/>
                <a:gd name="T32" fmla="*/ 249 w 282"/>
                <a:gd name="T33" fmla="*/ 215 h 282"/>
                <a:gd name="T34" fmla="*/ 215 w 282"/>
                <a:gd name="T35" fmla="*/ 249 h 282"/>
                <a:gd name="T36" fmla="*/ 174 w 282"/>
                <a:gd name="T37" fmla="*/ 269 h 282"/>
                <a:gd name="T38" fmla="*/ 118 w 282"/>
                <a:gd name="T39" fmla="*/ 269 h 282"/>
                <a:gd name="T40" fmla="*/ 77 w 282"/>
                <a:gd name="T41" fmla="*/ 256 h 282"/>
                <a:gd name="T42" fmla="*/ 46 w 282"/>
                <a:gd name="T43" fmla="*/ 226 h 282"/>
                <a:gd name="T44" fmla="*/ 80 w 282"/>
                <a:gd name="T45" fmla="*/ 164 h 282"/>
                <a:gd name="T46" fmla="*/ 121 w 282"/>
                <a:gd name="T47" fmla="*/ 100 h 282"/>
                <a:gd name="T48" fmla="*/ 133 w 282"/>
                <a:gd name="T49" fmla="*/ 75 h 282"/>
                <a:gd name="T50" fmla="*/ 151 w 282"/>
                <a:gd name="T51" fmla="*/ 151 h 282"/>
                <a:gd name="T52" fmla="*/ 262 w 282"/>
                <a:gd name="T53" fmla="*/ 95 h 282"/>
                <a:gd name="T54" fmla="*/ 200 w 282"/>
                <a:gd name="T55" fmla="*/ 72 h 282"/>
                <a:gd name="T56" fmla="*/ 198 w 282"/>
                <a:gd name="T57" fmla="*/ 52 h 282"/>
                <a:gd name="T58" fmla="*/ 221 w 282"/>
                <a:gd name="T59" fmla="*/ 39 h 282"/>
                <a:gd name="T60" fmla="*/ 259 w 282"/>
                <a:gd name="T61" fmla="*/ 85 h 282"/>
                <a:gd name="T62" fmla="*/ 39 w 282"/>
                <a:gd name="T63" fmla="*/ 62 h 282"/>
                <a:gd name="T64" fmla="*/ 85 w 282"/>
                <a:gd name="T65" fmla="*/ 39 h 282"/>
                <a:gd name="T66" fmla="*/ 110 w 282"/>
                <a:gd name="T67" fmla="*/ 59 h 282"/>
                <a:gd name="T68" fmla="*/ 54 w 282"/>
                <a:gd name="T69" fmla="*/ 82 h 282"/>
                <a:gd name="T70" fmla="*/ 157 w 282"/>
                <a:gd name="T71" fmla="*/ 52 h 282"/>
                <a:gd name="T72" fmla="*/ 190 w 282"/>
                <a:gd name="T73" fmla="*/ 21 h 282"/>
                <a:gd name="T74" fmla="*/ 198 w 282"/>
                <a:gd name="T75" fmla="*/ 39 h 282"/>
                <a:gd name="T76" fmla="*/ 182 w 282"/>
                <a:gd name="T77" fmla="*/ 59 h 282"/>
                <a:gd name="T78" fmla="*/ 118 w 282"/>
                <a:gd name="T79" fmla="*/ 52 h 282"/>
                <a:gd name="T80" fmla="*/ 87 w 282"/>
                <a:gd name="T81" fmla="*/ 29 h 282"/>
                <a:gd name="T82" fmla="*/ 116 w 282"/>
                <a:gd name="T83" fmla="*/ 13 h 282"/>
                <a:gd name="T84" fmla="*/ 149 w 282"/>
                <a:gd name="T85" fmla="*/ 64 h 282"/>
                <a:gd name="T86" fmla="*/ 121 w 282"/>
                <a:gd name="T87" fmla="*/ 3 h 282"/>
                <a:gd name="T88" fmla="*/ 77 w 282"/>
                <a:gd name="T89" fmla="*/ 16 h 282"/>
                <a:gd name="T90" fmla="*/ 41 w 282"/>
                <a:gd name="T91" fmla="*/ 41 h 282"/>
                <a:gd name="T92" fmla="*/ 16 w 282"/>
                <a:gd name="T93" fmla="*/ 77 h 282"/>
                <a:gd name="T94" fmla="*/ 3 w 282"/>
                <a:gd name="T95" fmla="*/ 121 h 282"/>
                <a:gd name="T96" fmla="*/ 3 w 282"/>
                <a:gd name="T97" fmla="*/ 167 h 282"/>
                <a:gd name="T98" fmla="*/ 18 w 282"/>
                <a:gd name="T99" fmla="*/ 208 h 282"/>
                <a:gd name="T100" fmla="*/ 44 w 282"/>
                <a:gd name="T101" fmla="*/ 244 h 282"/>
                <a:gd name="T102" fmla="*/ 80 w 282"/>
                <a:gd name="T103" fmla="*/ 269 h 282"/>
                <a:gd name="T104" fmla="*/ 123 w 282"/>
                <a:gd name="T105" fmla="*/ 282 h 282"/>
                <a:gd name="T106" fmla="*/ 169 w 282"/>
                <a:gd name="T107" fmla="*/ 279 h 282"/>
                <a:gd name="T108" fmla="*/ 210 w 282"/>
                <a:gd name="T109" fmla="*/ 264 h 282"/>
                <a:gd name="T110" fmla="*/ 246 w 282"/>
                <a:gd name="T111" fmla="*/ 236 h 282"/>
                <a:gd name="T112" fmla="*/ 269 w 282"/>
                <a:gd name="T113" fmla="*/ 200 h 282"/>
                <a:gd name="T114" fmla="*/ 282 w 282"/>
                <a:gd name="T115" fmla="*/ 157 h 282"/>
                <a:gd name="T116" fmla="*/ 277 w 282"/>
                <a:gd name="T117" fmla="*/ 105 h 282"/>
                <a:gd name="T118" fmla="*/ 259 w 282"/>
                <a:gd name="T119" fmla="*/ 64 h 282"/>
                <a:gd name="T120" fmla="*/ 231 w 282"/>
                <a:gd name="T121" fmla="*/ 34 h 282"/>
                <a:gd name="T122" fmla="*/ 192 w 282"/>
                <a:gd name="T123" fmla="*/ 11 h 282"/>
                <a:gd name="T124" fmla="*/ 149 w 282"/>
                <a:gd name="T125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2" h="282">
                  <a:moveTo>
                    <a:pt x="254" y="195"/>
                  </a:moveTo>
                  <a:lnTo>
                    <a:pt x="251" y="190"/>
                  </a:lnTo>
                  <a:lnTo>
                    <a:pt x="246" y="182"/>
                  </a:lnTo>
                  <a:lnTo>
                    <a:pt x="244" y="174"/>
                  </a:lnTo>
                  <a:lnTo>
                    <a:pt x="238" y="169"/>
                  </a:lnTo>
                  <a:lnTo>
                    <a:pt x="233" y="162"/>
                  </a:lnTo>
                  <a:lnTo>
                    <a:pt x="231" y="157"/>
                  </a:lnTo>
                  <a:lnTo>
                    <a:pt x="226" y="149"/>
                  </a:lnTo>
                  <a:lnTo>
                    <a:pt x="223" y="146"/>
                  </a:lnTo>
                  <a:lnTo>
                    <a:pt x="218" y="141"/>
                  </a:lnTo>
                  <a:lnTo>
                    <a:pt x="215" y="139"/>
                  </a:lnTo>
                  <a:lnTo>
                    <a:pt x="213" y="133"/>
                  </a:lnTo>
                  <a:lnTo>
                    <a:pt x="210" y="128"/>
                  </a:lnTo>
                  <a:lnTo>
                    <a:pt x="208" y="126"/>
                  </a:lnTo>
                  <a:lnTo>
                    <a:pt x="205" y="121"/>
                  </a:lnTo>
                  <a:lnTo>
                    <a:pt x="203" y="116"/>
                  </a:lnTo>
                  <a:lnTo>
                    <a:pt x="200" y="110"/>
                  </a:lnTo>
                  <a:lnTo>
                    <a:pt x="198" y="105"/>
                  </a:lnTo>
                  <a:lnTo>
                    <a:pt x="195" y="103"/>
                  </a:lnTo>
                  <a:lnTo>
                    <a:pt x="195" y="100"/>
                  </a:lnTo>
                  <a:lnTo>
                    <a:pt x="192" y="98"/>
                  </a:lnTo>
                  <a:lnTo>
                    <a:pt x="192" y="95"/>
                  </a:lnTo>
                  <a:lnTo>
                    <a:pt x="192" y="93"/>
                  </a:lnTo>
                  <a:lnTo>
                    <a:pt x="190" y="90"/>
                  </a:lnTo>
                  <a:lnTo>
                    <a:pt x="190" y="87"/>
                  </a:lnTo>
                  <a:lnTo>
                    <a:pt x="190" y="85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0" y="80"/>
                  </a:lnTo>
                  <a:lnTo>
                    <a:pt x="195" y="80"/>
                  </a:lnTo>
                  <a:lnTo>
                    <a:pt x="200" y="82"/>
                  </a:lnTo>
                  <a:lnTo>
                    <a:pt x="205" y="82"/>
                  </a:lnTo>
                  <a:lnTo>
                    <a:pt x="210" y="85"/>
                  </a:lnTo>
                  <a:lnTo>
                    <a:pt x="215" y="87"/>
                  </a:lnTo>
                  <a:lnTo>
                    <a:pt x="221" y="87"/>
                  </a:lnTo>
                  <a:lnTo>
                    <a:pt x="226" y="90"/>
                  </a:lnTo>
                  <a:lnTo>
                    <a:pt x="231" y="93"/>
                  </a:lnTo>
                  <a:lnTo>
                    <a:pt x="236" y="95"/>
                  </a:lnTo>
                  <a:lnTo>
                    <a:pt x="241" y="98"/>
                  </a:lnTo>
                  <a:lnTo>
                    <a:pt x="246" y="100"/>
                  </a:lnTo>
                  <a:lnTo>
                    <a:pt x="251" y="103"/>
                  </a:lnTo>
                  <a:lnTo>
                    <a:pt x="256" y="105"/>
                  </a:lnTo>
                  <a:lnTo>
                    <a:pt x="262" y="108"/>
                  </a:lnTo>
                  <a:lnTo>
                    <a:pt x="264" y="110"/>
                  </a:lnTo>
                  <a:lnTo>
                    <a:pt x="269" y="113"/>
                  </a:lnTo>
                  <a:lnTo>
                    <a:pt x="269" y="116"/>
                  </a:lnTo>
                  <a:lnTo>
                    <a:pt x="272" y="121"/>
                  </a:lnTo>
                  <a:lnTo>
                    <a:pt x="272" y="123"/>
                  </a:lnTo>
                  <a:lnTo>
                    <a:pt x="272" y="128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2" y="139"/>
                  </a:lnTo>
                  <a:lnTo>
                    <a:pt x="272" y="141"/>
                  </a:lnTo>
                  <a:lnTo>
                    <a:pt x="272" y="146"/>
                  </a:lnTo>
                  <a:lnTo>
                    <a:pt x="272" y="149"/>
                  </a:lnTo>
                  <a:lnTo>
                    <a:pt x="272" y="154"/>
                  </a:lnTo>
                  <a:lnTo>
                    <a:pt x="272" y="157"/>
                  </a:lnTo>
                  <a:lnTo>
                    <a:pt x="272" y="162"/>
                  </a:lnTo>
                  <a:lnTo>
                    <a:pt x="269" y="164"/>
                  </a:lnTo>
                  <a:lnTo>
                    <a:pt x="269" y="169"/>
                  </a:lnTo>
                  <a:lnTo>
                    <a:pt x="269" y="172"/>
                  </a:lnTo>
                  <a:lnTo>
                    <a:pt x="267" y="177"/>
                  </a:lnTo>
                  <a:lnTo>
                    <a:pt x="267" y="180"/>
                  </a:lnTo>
                  <a:lnTo>
                    <a:pt x="267" y="185"/>
                  </a:lnTo>
                  <a:lnTo>
                    <a:pt x="264" y="187"/>
                  </a:lnTo>
                  <a:lnTo>
                    <a:pt x="262" y="190"/>
                  </a:lnTo>
                  <a:lnTo>
                    <a:pt x="262" y="195"/>
                  </a:lnTo>
                  <a:lnTo>
                    <a:pt x="259" y="198"/>
                  </a:lnTo>
                  <a:lnTo>
                    <a:pt x="259" y="203"/>
                  </a:lnTo>
                  <a:lnTo>
                    <a:pt x="254" y="195"/>
                  </a:lnTo>
                  <a:close/>
                  <a:moveTo>
                    <a:pt x="34" y="218"/>
                  </a:moveTo>
                  <a:lnTo>
                    <a:pt x="31" y="213"/>
                  </a:lnTo>
                  <a:lnTo>
                    <a:pt x="29" y="208"/>
                  </a:lnTo>
                  <a:lnTo>
                    <a:pt x="26" y="203"/>
                  </a:lnTo>
                  <a:lnTo>
                    <a:pt x="23" y="200"/>
                  </a:lnTo>
                  <a:lnTo>
                    <a:pt x="21" y="195"/>
                  </a:lnTo>
                  <a:lnTo>
                    <a:pt x="18" y="190"/>
                  </a:lnTo>
                  <a:lnTo>
                    <a:pt x="18" y="185"/>
                  </a:lnTo>
                  <a:lnTo>
                    <a:pt x="16" y="180"/>
                  </a:lnTo>
                  <a:lnTo>
                    <a:pt x="13" y="174"/>
                  </a:lnTo>
                  <a:lnTo>
                    <a:pt x="13" y="169"/>
                  </a:lnTo>
                  <a:lnTo>
                    <a:pt x="11" y="162"/>
                  </a:lnTo>
                  <a:lnTo>
                    <a:pt x="11" y="157"/>
                  </a:lnTo>
                  <a:lnTo>
                    <a:pt x="11" y="151"/>
                  </a:lnTo>
                  <a:lnTo>
                    <a:pt x="11" y="146"/>
                  </a:lnTo>
                  <a:lnTo>
                    <a:pt x="11" y="141"/>
                  </a:lnTo>
                  <a:lnTo>
                    <a:pt x="11" y="139"/>
                  </a:lnTo>
                  <a:lnTo>
                    <a:pt x="11" y="136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1" y="126"/>
                  </a:lnTo>
                  <a:lnTo>
                    <a:pt x="11" y="118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1" y="113"/>
                  </a:lnTo>
                  <a:lnTo>
                    <a:pt x="23" y="110"/>
                  </a:lnTo>
                  <a:lnTo>
                    <a:pt x="26" y="108"/>
                  </a:lnTo>
                  <a:lnTo>
                    <a:pt x="29" y="108"/>
                  </a:lnTo>
                  <a:lnTo>
                    <a:pt x="31" y="105"/>
                  </a:lnTo>
                  <a:lnTo>
                    <a:pt x="34" y="103"/>
                  </a:lnTo>
                  <a:lnTo>
                    <a:pt x="36" y="103"/>
                  </a:lnTo>
                  <a:lnTo>
                    <a:pt x="41" y="100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9" y="95"/>
                  </a:lnTo>
                  <a:lnTo>
                    <a:pt x="52" y="93"/>
                  </a:lnTo>
                  <a:lnTo>
                    <a:pt x="57" y="93"/>
                  </a:lnTo>
                  <a:lnTo>
                    <a:pt x="59" y="90"/>
                  </a:lnTo>
                  <a:lnTo>
                    <a:pt x="62" y="90"/>
                  </a:lnTo>
                  <a:lnTo>
                    <a:pt x="67" y="87"/>
                  </a:lnTo>
                  <a:lnTo>
                    <a:pt x="69" y="87"/>
                  </a:lnTo>
                  <a:lnTo>
                    <a:pt x="72" y="85"/>
                  </a:lnTo>
                  <a:lnTo>
                    <a:pt x="75" y="85"/>
                  </a:lnTo>
                  <a:lnTo>
                    <a:pt x="80" y="85"/>
                  </a:lnTo>
                  <a:lnTo>
                    <a:pt x="82" y="82"/>
                  </a:lnTo>
                  <a:lnTo>
                    <a:pt x="85" y="82"/>
                  </a:lnTo>
                  <a:lnTo>
                    <a:pt x="90" y="82"/>
                  </a:lnTo>
                  <a:lnTo>
                    <a:pt x="93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3" y="77"/>
                  </a:lnTo>
                  <a:lnTo>
                    <a:pt x="108" y="77"/>
                  </a:lnTo>
                  <a:lnTo>
                    <a:pt x="110" y="77"/>
                  </a:lnTo>
                  <a:lnTo>
                    <a:pt x="116" y="77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3" y="82"/>
                  </a:lnTo>
                  <a:lnTo>
                    <a:pt x="113" y="85"/>
                  </a:lnTo>
                  <a:lnTo>
                    <a:pt x="113" y="87"/>
                  </a:lnTo>
                  <a:lnTo>
                    <a:pt x="113" y="90"/>
                  </a:lnTo>
                  <a:lnTo>
                    <a:pt x="113" y="93"/>
                  </a:lnTo>
                  <a:lnTo>
                    <a:pt x="110" y="95"/>
                  </a:lnTo>
                  <a:lnTo>
                    <a:pt x="110" y="98"/>
                  </a:lnTo>
                  <a:lnTo>
                    <a:pt x="110" y="100"/>
                  </a:lnTo>
                  <a:lnTo>
                    <a:pt x="108" y="103"/>
                  </a:lnTo>
                  <a:lnTo>
                    <a:pt x="108" y="105"/>
                  </a:lnTo>
                  <a:lnTo>
                    <a:pt x="105" y="110"/>
                  </a:lnTo>
                  <a:lnTo>
                    <a:pt x="103" y="116"/>
                  </a:lnTo>
                  <a:lnTo>
                    <a:pt x="100" y="118"/>
                  </a:lnTo>
                  <a:lnTo>
                    <a:pt x="98" y="123"/>
                  </a:lnTo>
                  <a:lnTo>
                    <a:pt x="95" y="128"/>
                  </a:lnTo>
                  <a:lnTo>
                    <a:pt x="93" y="133"/>
                  </a:lnTo>
                  <a:lnTo>
                    <a:pt x="87" y="139"/>
                  </a:lnTo>
                  <a:lnTo>
                    <a:pt x="85" y="141"/>
                  </a:lnTo>
                  <a:lnTo>
                    <a:pt x="82" y="146"/>
                  </a:lnTo>
                  <a:lnTo>
                    <a:pt x="80" y="149"/>
                  </a:lnTo>
                  <a:lnTo>
                    <a:pt x="75" y="154"/>
                  </a:lnTo>
                  <a:lnTo>
                    <a:pt x="72" y="159"/>
                  </a:lnTo>
                  <a:lnTo>
                    <a:pt x="69" y="164"/>
                  </a:lnTo>
                  <a:lnTo>
                    <a:pt x="64" y="169"/>
                  </a:lnTo>
                  <a:lnTo>
                    <a:pt x="62" y="172"/>
                  </a:lnTo>
                  <a:lnTo>
                    <a:pt x="59" y="177"/>
                  </a:lnTo>
                  <a:lnTo>
                    <a:pt x="57" y="182"/>
                  </a:lnTo>
                  <a:lnTo>
                    <a:pt x="54" y="187"/>
                  </a:lnTo>
                  <a:lnTo>
                    <a:pt x="52" y="190"/>
                  </a:lnTo>
                  <a:lnTo>
                    <a:pt x="49" y="195"/>
                  </a:lnTo>
                  <a:lnTo>
                    <a:pt x="46" y="200"/>
                  </a:lnTo>
                  <a:lnTo>
                    <a:pt x="44" y="205"/>
                  </a:lnTo>
                  <a:lnTo>
                    <a:pt x="44" y="208"/>
                  </a:lnTo>
                  <a:lnTo>
                    <a:pt x="41" y="213"/>
                  </a:lnTo>
                  <a:lnTo>
                    <a:pt x="39" y="218"/>
                  </a:lnTo>
                  <a:lnTo>
                    <a:pt x="39" y="223"/>
                  </a:lnTo>
                  <a:lnTo>
                    <a:pt x="34" y="218"/>
                  </a:lnTo>
                  <a:close/>
                  <a:moveTo>
                    <a:pt x="157" y="256"/>
                  </a:moveTo>
                  <a:lnTo>
                    <a:pt x="159" y="241"/>
                  </a:lnTo>
                  <a:lnTo>
                    <a:pt x="159" y="228"/>
                  </a:lnTo>
                  <a:lnTo>
                    <a:pt x="159" y="213"/>
                  </a:lnTo>
                  <a:lnTo>
                    <a:pt x="162" y="198"/>
                  </a:lnTo>
                  <a:lnTo>
                    <a:pt x="162" y="182"/>
                  </a:lnTo>
                  <a:lnTo>
                    <a:pt x="162" y="167"/>
                  </a:lnTo>
                  <a:lnTo>
                    <a:pt x="162" y="151"/>
                  </a:lnTo>
                  <a:lnTo>
                    <a:pt x="162" y="144"/>
                  </a:lnTo>
                  <a:lnTo>
                    <a:pt x="162" y="133"/>
                  </a:lnTo>
                  <a:lnTo>
                    <a:pt x="162" y="123"/>
                  </a:lnTo>
                  <a:lnTo>
                    <a:pt x="162" y="113"/>
                  </a:lnTo>
                  <a:lnTo>
                    <a:pt x="162" y="105"/>
                  </a:lnTo>
                  <a:lnTo>
                    <a:pt x="162" y="95"/>
                  </a:lnTo>
                  <a:lnTo>
                    <a:pt x="159" y="85"/>
                  </a:lnTo>
                  <a:lnTo>
                    <a:pt x="159" y="75"/>
                  </a:lnTo>
                  <a:lnTo>
                    <a:pt x="164" y="75"/>
                  </a:lnTo>
                  <a:lnTo>
                    <a:pt x="169" y="77"/>
                  </a:lnTo>
                  <a:lnTo>
                    <a:pt x="174" y="77"/>
                  </a:lnTo>
                  <a:lnTo>
                    <a:pt x="180" y="77"/>
                  </a:lnTo>
                  <a:lnTo>
                    <a:pt x="180" y="80"/>
                  </a:lnTo>
                  <a:lnTo>
                    <a:pt x="180" y="82"/>
                  </a:lnTo>
                  <a:lnTo>
                    <a:pt x="180" y="82"/>
                  </a:lnTo>
                  <a:lnTo>
                    <a:pt x="180" y="85"/>
                  </a:lnTo>
                  <a:lnTo>
                    <a:pt x="180" y="87"/>
                  </a:lnTo>
                  <a:lnTo>
                    <a:pt x="182" y="90"/>
                  </a:lnTo>
                  <a:lnTo>
                    <a:pt x="182" y="93"/>
                  </a:lnTo>
                  <a:lnTo>
                    <a:pt x="182" y="95"/>
                  </a:lnTo>
                  <a:lnTo>
                    <a:pt x="185" y="98"/>
                  </a:lnTo>
                  <a:lnTo>
                    <a:pt x="185" y="103"/>
                  </a:lnTo>
                  <a:lnTo>
                    <a:pt x="187" y="108"/>
                  </a:lnTo>
                  <a:lnTo>
                    <a:pt x="190" y="113"/>
                  </a:lnTo>
                  <a:lnTo>
                    <a:pt x="192" y="118"/>
                  </a:lnTo>
                  <a:lnTo>
                    <a:pt x="195" y="123"/>
                  </a:lnTo>
                  <a:lnTo>
                    <a:pt x="198" y="128"/>
                  </a:lnTo>
                  <a:lnTo>
                    <a:pt x="200" y="133"/>
                  </a:lnTo>
                  <a:lnTo>
                    <a:pt x="205" y="139"/>
                  </a:lnTo>
                  <a:lnTo>
                    <a:pt x="208" y="144"/>
                  </a:lnTo>
                  <a:lnTo>
                    <a:pt x="213" y="149"/>
                  </a:lnTo>
                  <a:lnTo>
                    <a:pt x="218" y="157"/>
                  </a:lnTo>
                  <a:lnTo>
                    <a:pt x="221" y="159"/>
                  </a:lnTo>
                  <a:lnTo>
                    <a:pt x="223" y="164"/>
                  </a:lnTo>
                  <a:lnTo>
                    <a:pt x="226" y="167"/>
                  </a:lnTo>
                  <a:lnTo>
                    <a:pt x="228" y="169"/>
                  </a:lnTo>
                  <a:lnTo>
                    <a:pt x="231" y="174"/>
                  </a:lnTo>
                  <a:lnTo>
                    <a:pt x="233" y="177"/>
                  </a:lnTo>
                  <a:lnTo>
                    <a:pt x="236" y="180"/>
                  </a:lnTo>
                  <a:lnTo>
                    <a:pt x="236" y="185"/>
                  </a:lnTo>
                  <a:lnTo>
                    <a:pt x="238" y="187"/>
                  </a:lnTo>
                  <a:lnTo>
                    <a:pt x="241" y="190"/>
                  </a:lnTo>
                  <a:lnTo>
                    <a:pt x="244" y="195"/>
                  </a:lnTo>
                  <a:lnTo>
                    <a:pt x="246" y="198"/>
                  </a:lnTo>
                  <a:lnTo>
                    <a:pt x="246" y="203"/>
                  </a:lnTo>
                  <a:lnTo>
                    <a:pt x="249" y="205"/>
                  </a:lnTo>
                  <a:lnTo>
                    <a:pt x="251" y="208"/>
                  </a:lnTo>
                  <a:lnTo>
                    <a:pt x="251" y="213"/>
                  </a:lnTo>
                  <a:lnTo>
                    <a:pt x="249" y="215"/>
                  </a:lnTo>
                  <a:lnTo>
                    <a:pt x="246" y="218"/>
                  </a:lnTo>
                  <a:lnTo>
                    <a:pt x="246" y="221"/>
                  </a:lnTo>
                  <a:lnTo>
                    <a:pt x="244" y="223"/>
                  </a:lnTo>
                  <a:lnTo>
                    <a:pt x="241" y="226"/>
                  </a:lnTo>
                  <a:lnTo>
                    <a:pt x="238" y="228"/>
                  </a:lnTo>
                  <a:lnTo>
                    <a:pt x="236" y="233"/>
                  </a:lnTo>
                  <a:lnTo>
                    <a:pt x="233" y="236"/>
                  </a:lnTo>
                  <a:lnTo>
                    <a:pt x="231" y="238"/>
                  </a:lnTo>
                  <a:lnTo>
                    <a:pt x="228" y="238"/>
                  </a:lnTo>
                  <a:lnTo>
                    <a:pt x="226" y="241"/>
                  </a:lnTo>
                  <a:lnTo>
                    <a:pt x="223" y="244"/>
                  </a:lnTo>
                  <a:lnTo>
                    <a:pt x="221" y="246"/>
                  </a:lnTo>
                  <a:lnTo>
                    <a:pt x="215" y="249"/>
                  </a:lnTo>
                  <a:lnTo>
                    <a:pt x="213" y="251"/>
                  </a:lnTo>
                  <a:lnTo>
                    <a:pt x="210" y="254"/>
                  </a:lnTo>
                  <a:lnTo>
                    <a:pt x="208" y="254"/>
                  </a:lnTo>
                  <a:lnTo>
                    <a:pt x="205" y="256"/>
                  </a:lnTo>
                  <a:lnTo>
                    <a:pt x="200" y="259"/>
                  </a:lnTo>
                  <a:lnTo>
                    <a:pt x="198" y="259"/>
                  </a:lnTo>
                  <a:lnTo>
                    <a:pt x="195" y="262"/>
                  </a:lnTo>
                  <a:lnTo>
                    <a:pt x="190" y="262"/>
                  </a:lnTo>
                  <a:lnTo>
                    <a:pt x="187" y="264"/>
                  </a:lnTo>
                  <a:lnTo>
                    <a:pt x="185" y="264"/>
                  </a:lnTo>
                  <a:lnTo>
                    <a:pt x="180" y="267"/>
                  </a:lnTo>
                  <a:lnTo>
                    <a:pt x="177" y="267"/>
                  </a:lnTo>
                  <a:lnTo>
                    <a:pt x="174" y="269"/>
                  </a:lnTo>
                  <a:lnTo>
                    <a:pt x="169" y="269"/>
                  </a:lnTo>
                  <a:lnTo>
                    <a:pt x="167" y="269"/>
                  </a:lnTo>
                  <a:lnTo>
                    <a:pt x="164" y="272"/>
                  </a:lnTo>
                  <a:lnTo>
                    <a:pt x="159" y="272"/>
                  </a:lnTo>
                  <a:lnTo>
                    <a:pt x="157" y="272"/>
                  </a:lnTo>
                  <a:lnTo>
                    <a:pt x="157" y="256"/>
                  </a:lnTo>
                  <a:close/>
                  <a:moveTo>
                    <a:pt x="139" y="272"/>
                  </a:moveTo>
                  <a:lnTo>
                    <a:pt x="133" y="272"/>
                  </a:lnTo>
                  <a:lnTo>
                    <a:pt x="131" y="272"/>
                  </a:lnTo>
                  <a:lnTo>
                    <a:pt x="128" y="272"/>
                  </a:lnTo>
                  <a:lnTo>
                    <a:pt x="123" y="272"/>
                  </a:lnTo>
                  <a:lnTo>
                    <a:pt x="121" y="272"/>
                  </a:lnTo>
                  <a:lnTo>
                    <a:pt x="118" y="269"/>
                  </a:lnTo>
                  <a:lnTo>
                    <a:pt x="116" y="269"/>
                  </a:lnTo>
                  <a:lnTo>
                    <a:pt x="110" y="269"/>
                  </a:lnTo>
                  <a:lnTo>
                    <a:pt x="108" y="269"/>
                  </a:lnTo>
                  <a:lnTo>
                    <a:pt x="105" y="267"/>
                  </a:lnTo>
                  <a:lnTo>
                    <a:pt x="103" y="267"/>
                  </a:lnTo>
                  <a:lnTo>
                    <a:pt x="98" y="264"/>
                  </a:lnTo>
                  <a:lnTo>
                    <a:pt x="95" y="264"/>
                  </a:lnTo>
                  <a:lnTo>
                    <a:pt x="93" y="262"/>
                  </a:lnTo>
                  <a:lnTo>
                    <a:pt x="90" y="262"/>
                  </a:lnTo>
                  <a:lnTo>
                    <a:pt x="85" y="259"/>
                  </a:lnTo>
                  <a:lnTo>
                    <a:pt x="82" y="259"/>
                  </a:lnTo>
                  <a:lnTo>
                    <a:pt x="80" y="256"/>
                  </a:lnTo>
                  <a:lnTo>
                    <a:pt x="77" y="256"/>
                  </a:lnTo>
                  <a:lnTo>
                    <a:pt x="75" y="254"/>
                  </a:lnTo>
                  <a:lnTo>
                    <a:pt x="72" y="251"/>
                  </a:lnTo>
                  <a:lnTo>
                    <a:pt x="69" y="251"/>
                  </a:lnTo>
                  <a:lnTo>
                    <a:pt x="67" y="249"/>
                  </a:lnTo>
                  <a:lnTo>
                    <a:pt x="62" y="246"/>
                  </a:lnTo>
                  <a:lnTo>
                    <a:pt x="59" y="244"/>
                  </a:lnTo>
                  <a:lnTo>
                    <a:pt x="57" y="241"/>
                  </a:lnTo>
                  <a:lnTo>
                    <a:pt x="54" y="241"/>
                  </a:lnTo>
                  <a:lnTo>
                    <a:pt x="52" y="238"/>
                  </a:lnTo>
                  <a:lnTo>
                    <a:pt x="49" y="236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6"/>
                  </a:lnTo>
                  <a:lnTo>
                    <a:pt x="49" y="221"/>
                  </a:lnTo>
                  <a:lnTo>
                    <a:pt x="49" y="218"/>
                  </a:lnTo>
                  <a:lnTo>
                    <a:pt x="52" y="213"/>
                  </a:lnTo>
                  <a:lnTo>
                    <a:pt x="54" y="208"/>
                  </a:lnTo>
                  <a:lnTo>
                    <a:pt x="57" y="203"/>
                  </a:lnTo>
                  <a:lnTo>
                    <a:pt x="59" y="198"/>
                  </a:lnTo>
                  <a:lnTo>
                    <a:pt x="62" y="195"/>
                  </a:lnTo>
                  <a:lnTo>
                    <a:pt x="64" y="190"/>
                  </a:lnTo>
                  <a:lnTo>
                    <a:pt x="67" y="185"/>
                  </a:lnTo>
                  <a:lnTo>
                    <a:pt x="69" y="180"/>
                  </a:lnTo>
                  <a:lnTo>
                    <a:pt x="72" y="174"/>
                  </a:lnTo>
                  <a:lnTo>
                    <a:pt x="77" y="169"/>
                  </a:lnTo>
                  <a:lnTo>
                    <a:pt x="80" y="164"/>
                  </a:lnTo>
                  <a:lnTo>
                    <a:pt x="82" y="162"/>
                  </a:lnTo>
                  <a:lnTo>
                    <a:pt x="87" y="157"/>
                  </a:lnTo>
                  <a:lnTo>
                    <a:pt x="90" y="149"/>
                  </a:lnTo>
                  <a:lnTo>
                    <a:pt x="95" y="144"/>
                  </a:lnTo>
                  <a:lnTo>
                    <a:pt x="100" y="139"/>
                  </a:lnTo>
                  <a:lnTo>
                    <a:pt x="103" y="133"/>
                  </a:lnTo>
                  <a:lnTo>
                    <a:pt x="105" y="128"/>
                  </a:lnTo>
                  <a:lnTo>
                    <a:pt x="110" y="123"/>
                  </a:lnTo>
                  <a:lnTo>
                    <a:pt x="113" y="118"/>
                  </a:lnTo>
                  <a:lnTo>
                    <a:pt x="116" y="113"/>
                  </a:lnTo>
                  <a:lnTo>
                    <a:pt x="118" y="108"/>
                  </a:lnTo>
                  <a:lnTo>
                    <a:pt x="118" y="103"/>
                  </a:lnTo>
                  <a:lnTo>
                    <a:pt x="121" y="100"/>
                  </a:lnTo>
                  <a:lnTo>
                    <a:pt x="121" y="98"/>
                  </a:lnTo>
                  <a:lnTo>
                    <a:pt x="121" y="95"/>
                  </a:lnTo>
                  <a:lnTo>
                    <a:pt x="123" y="93"/>
                  </a:lnTo>
                  <a:lnTo>
                    <a:pt x="123" y="90"/>
                  </a:lnTo>
                  <a:lnTo>
                    <a:pt x="123" y="87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7"/>
                  </a:lnTo>
                  <a:lnTo>
                    <a:pt x="123" y="75"/>
                  </a:lnTo>
                  <a:lnTo>
                    <a:pt x="128" y="75"/>
                  </a:lnTo>
                  <a:lnTo>
                    <a:pt x="133" y="75"/>
                  </a:lnTo>
                  <a:lnTo>
                    <a:pt x="139" y="75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85"/>
                  </a:lnTo>
                  <a:lnTo>
                    <a:pt x="151" y="95"/>
                  </a:lnTo>
                  <a:lnTo>
                    <a:pt x="151" y="105"/>
                  </a:lnTo>
                  <a:lnTo>
                    <a:pt x="151" y="113"/>
                  </a:lnTo>
                  <a:lnTo>
                    <a:pt x="151" y="123"/>
                  </a:lnTo>
                  <a:lnTo>
                    <a:pt x="151" y="133"/>
                  </a:lnTo>
                  <a:lnTo>
                    <a:pt x="151" y="144"/>
                  </a:lnTo>
                  <a:lnTo>
                    <a:pt x="151" y="151"/>
                  </a:lnTo>
                  <a:lnTo>
                    <a:pt x="151" y="167"/>
                  </a:lnTo>
                  <a:lnTo>
                    <a:pt x="151" y="182"/>
                  </a:lnTo>
                  <a:lnTo>
                    <a:pt x="151" y="198"/>
                  </a:lnTo>
                  <a:lnTo>
                    <a:pt x="151" y="213"/>
                  </a:lnTo>
                  <a:lnTo>
                    <a:pt x="149" y="228"/>
                  </a:lnTo>
                  <a:lnTo>
                    <a:pt x="149" y="244"/>
                  </a:lnTo>
                  <a:lnTo>
                    <a:pt x="146" y="256"/>
                  </a:lnTo>
                  <a:lnTo>
                    <a:pt x="146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1" y="272"/>
                  </a:lnTo>
                  <a:lnTo>
                    <a:pt x="139" y="272"/>
                  </a:lnTo>
                  <a:close/>
                  <a:moveTo>
                    <a:pt x="262" y="95"/>
                  </a:moveTo>
                  <a:lnTo>
                    <a:pt x="256" y="93"/>
                  </a:lnTo>
                  <a:lnTo>
                    <a:pt x="251" y="93"/>
                  </a:lnTo>
                  <a:lnTo>
                    <a:pt x="249" y="90"/>
                  </a:lnTo>
                  <a:lnTo>
                    <a:pt x="244" y="87"/>
                  </a:lnTo>
                  <a:lnTo>
                    <a:pt x="238" y="85"/>
                  </a:lnTo>
                  <a:lnTo>
                    <a:pt x="233" y="82"/>
                  </a:lnTo>
                  <a:lnTo>
                    <a:pt x="228" y="80"/>
                  </a:lnTo>
                  <a:lnTo>
                    <a:pt x="226" y="80"/>
                  </a:lnTo>
                  <a:lnTo>
                    <a:pt x="221" y="77"/>
                  </a:lnTo>
                  <a:lnTo>
                    <a:pt x="215" y="75"/>
                  </a:lnTo>
                  <a:lnTo>
                    <a:pt x="210" y="75"/>
                  </a:lnTo>
                  <a:lnTo>
                    <a:pt x="205" y="72"/>
                  </a:lnTo>
                  <a:lnTo>
                    <a:pt x="200" y="72"/>
                  </a:lnTo>
                  <a:lnTo>
                    <a:pt x="195" y="69"/>
                  </a:lnTo>
                  <a:lnTo>
                    <a:pt x="190" y="69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4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2" y="59"/>
                  </a:lnTo>
                  <a:lnTo>
                    <a:pt x="192" y="59"/>
                  </a:lnTo>
                  <a:lnTo>
                    <a:pt x="195" y="57"/>
                  </a:lnTo>
                  <a:lnTo>
                    <a:pt x="195" y="54"/>
                  </a:lnTo>
                  <a:lnTo>
                    <a:pt x="198" y="54"/>
                  </a:lnTo>
                  <a:lnTo>
                    <a:pt x="198" y="52"/>
                  </a:lnTo>
                  <a:lnTo>
                    <a:pt x="200" y="52"/>
                  </a:lnTo>
                  <a:lnTo>
                    <a:pt x="200" y="49"/>
                  </a:lnTo>
                  <a:lnTo>
                    <a:pt x="203" y="49"/>
                  </a:lnTo>
                  <a:lnTo>
                    <a:pt x="203" y="46"/>
                  </a:lnTo>
                  <a:lnTo>
                    <a:pt x="205" y="46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10" y="41"/>
                  </a:lnTo>
                  <a:lnTo>
                    <a:pt x="213" y="41"/>
                  </a:lnTo>
                  <a:lnTo>
                    <a:pt x="215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21" y="39"/>
                  </a:lnTo>
                  <a:lnTo>
                    <a:pt x="226" y="41"/>
                  </a:lnTo>
                  <a:lnTo>
                    <a:pt x="228" y="44"/>
                  </a:lnTo>
                  <a:lnTo>
                    <a:pt x="233" y="46"/>
                  </a:lnTo>
                  <a:lnTo>
                    <a:pt x="236" y="52"/>
                  </a:lnTo>
                  <a:lnTo>
                    <a:pt x="238" y="54"/>
                  </a:lnTo>
                  <a:lnTo>
                    <a:pt x="241" y="57"/>
                  </a:lnTo>
                  <a:lnTo>
                    <a:pt x="246" y="62"/>
                  </a:lnTo>
                  <a:lnTo>
                    <a:pt x="249" y="64"/>
                  </a:lnTo>
                  <a:lnTo>
                    <a:pt x="251" y="69"/>
                  </a:lnTo>
                  <a:lnTo>
                    <a:pt x="254" y="72"/>
                  </a:lnTo>
                  <a:lnTo>
                    <a:pt x="256" y="77"/>
                  </a:lnTo>
                  <a:lnTo>
                    <a:pt x="259" y="82"/>
                  </a:lnTo>
                  <a:lnTo>
                    <a:pt x="259" y="85"/>
                  </a:lnTo>
                  <a:lnTo>
                    <a:pt x="262" y="90"/>
                  </a:lnTo>
                  <a:lnTo>
                    <a:pt x="264" y="95"/>
                  </a:lnTo>
                  <a:lnTo>
                    <a:pt x="267" y="98"/>
                  </a:lnTo>
                  <a:lnTo>
                    <a:pt x="262" y="95"/>
                  </a:lnTo>
                  <a:close/>
                  <a:moveTo>
                    <a:pt x="18" y="98"/>
                  </a:moveTo>
                  <a:lnTo>
                    <a:pt x="18" y="93"/>
                  </a:lnTo>
                  <a:lnTo>
                    <a:pt x="21" y="87"/>
                  </a:lnTo>
                  <a:lnTo>
                    <a:pt x="23" y="85"/>
                  </a:lnTo>
                  <a:lnTo>
                    <a:pt x="26" y="80"/>
                  </a:lnTo>
                  <a:lnTo>
                    <a:pt x="29" y="75"/>
                  </a:lnTo>
                  <a:lnTo>
                    <a:pt x="31" y="69"/>
                  </a:lnTo>
                  <a:lnTo>
                    <a:pt x="34" y="64"/>
                  </a:lnTo>
                  <a:lnTo>
                    <a:pt x="39" y="62"/>
                  </a:lnTo>
                  <a:lnTo>
                    <a:pt x="41" y="57"/>
                  </a:lnTo>
                  <a:lnTo>
                    <a:pt x="44" y="52"/>
                  </a:lnTo>
                  <a:lnTo>
                    <a:pt x="49" y="49"/>
                  </a:lnTo>
                  <a:lnTo>
                    <a:pt x="52" y="44"/>
                  </a:lnTo>
                  <a:lnTo>
                    <a:pt x="57" y="41"/>
                  </a:lnTo>
                  <a:lnTo>
                    <a:pt x="62" y="39"/>
                  </a:lnTo>
                  <a:lnTo>
                    <a:pt x="64" y="34"/>
                  </a:lnTo>
                  <a:lnTo>
                    <a:pt x="69" y="34"/>
                  </a:lnTo>
                  <a:lnTo>
                    <a:pt x="72" y="36"/>
                  </a:lnTo>
                  <a:lnTo>
                    <a:pt x="75" y="36"/>
                  </a:lnTo>
                  <a:lnTo>
                    <a:pt x="80" y="36"/>
                  </a:lnTo>
                  <a:lnTo>
                    <a:pt x="82" y="36"/>
                  </a:lnTo>
                  <a:lnTo>
                    <a:pt x="85" y="39"/>
                  </a:lnTo>
                  <a:lnTo>
                    <a:pt x="87" y="39"/>
                  </a:lnTo>
                  <a:lnTo>
                    <a:pt x="93" y="41"/>
                  </a:lnTo>
                  <a:lnTo>
                    <a:pt x="95" y="44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103" y="49"/>
                  </a:lnTo>
                  <a:lnTo>
                    <a:pt x="105" y="49"/>
                  </a:lnTo>
                  <a:lnTo>
                    <a:pt x="105" y="52"/>
                  </a:lnTo>
                  <a:lnTo>
                    <a:pt x="108" y="54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3" y="62"/>
                  </a:lnTo>
                  <a:lnTo>
                    <a:pt x="113" y="62"/>
                  </a:lnTo>
                  <a:lnTo>
                    <a:pt x="113" y="64"/>
                  </a:lnTo>
                  <a:lnTo>
                    <a:pt x="113" y="67"/>
                  </a:lnTo>
                  <a:lnTo>
                    <a:pt x="108" y="67"/>
                  </a:lnTo>
                  <a:lnTo>
                    <a:pt x="100" y="69"/>
                  </a:lnTo>
                  <a:lnTo>
                    <a:pt x="93" y="69"/>
                  </a:lnTo>
                  <a:lnTo>
                    <a:pt x="87" y="72"/>
                  </a:lnTo>
                  <a:lnTo>
                    <a:pt x="80" y="75"/>
                  </a:lnTo>
                  <a:lnTo>
                    <a:pt x="75" y="75"/>
                  </a:lnTo>
                  <a:lnTo>
                    <a:pt x="67" y="77"/>
                  </a:lnTo>
                  <a:lnTo>
                    <a:pt x="62" y="80"/>
                  </a:lnTo>
                  <a:lnTo>
                    <a:pt x="54" y="82"/>
                  </a:lnTo>
                  <a:lnTo>
                    <a:pt x="49" y="85"/>
                  </a:lnTo>
                  <a:lnTo>
                    <a:pt x="44" y="87"/>
                  </a:lnTo>
                  <a:lnTo>
                    <a:pt x="36" y="90"/>
                  </a:lnTo>
                  <a:lnTo>
                    <a:pt x="31" y="93"/>
                  </a:lnTo>
                  <a:lnTo>
                    <a:pt x="26" y="98"/>
                  </a:lnTo>
                  <a:lnTo>
                    <a:pt x="21" y="100"/>
                  </a:lnTo>
                  <a:lnTo>
                    <a:pt x="16" y="105"/>
                  </a:lnTo>
                  <a:lnTo>
                    <a:pt x="18" y="98"/>
                  </a:lnTo>
                  <a:close/>
                  <a:moveTo>
                    <a:pt x="174" y="67"/>
                  </a:moveTo>
                  <a:lnTo>
                    <a:pt x="169" y="67"/>
                  </a:lnTo>
                  <a:lnTo>
                    <a:pt x="164" y="67"/>
                  </a:lnTo>
                  <a:lnTo>
                    <a:pt x="159" y="64"/>
                  </a:lnTo>
                  <a:lnTo>
                    <a:pt x="157" y="52"/>
                  </a:lnTo>
                  <a:lnTo>
                    <a:pt x="157" y="36"/>
                  </a:lnTo>
                  <a:lnTo>
                    <a:pt x="154" y="23"/>
                  </a:lnTo>
                  <a:lnTo>
                    <a:pt x="154" y="11"/>
                  </a:lnTo>
                  <a:lnTo>
                    <a:pt x="157" y="11"/>
                  </a:lnTo>
                  <a:lnTo>
                    <a:pt x="162" y="11"/>
                  </a:lnTo>
                  <a:lnTo>
                    <a:pt x="164" y="13"/>
                  </a:lnTo>
                  <a:lnTo>
                    <a:pt x="169" y="13"/>
                  </a:lnTo>
                  <a:lnTo>
                    <a:pt x="172" y="13"/>
                  </a:lnTo>
                  <a:lnTo>
                    <a:pt x="177" y="16"/>
                  </a:lnTo>
                  <a:lnTo>
                    <a:pt x="180" y="16"/>
                  </a:lnTo>
                  <a:lnTo>
                    <a:pt x="185" y="18"/>
                  </a:lnTo>
                  <a:lnTo>
                    <a:pt x="187" y="18"/>
                  </a:lnTo>
                  <a:lnTo>
                    <a:pt x="190" y="21"/>
                  </a:lnTo>
                  <a:lnTo>
                    <a:pt x="195" y="21"/>
                  </a:lnTo>
                  <a:lnTo>
                    <a:pt x="198" y="23"/>
                  </a:lnTo>
                  <a:lnTo>
                    <a:pt x="203" y="26"/>
                  </a:lnTo>
                  <a:lnTo>
                    <a:pt x="205" y="26"/>
                  </a:lnTo>
                  <a:lnTo>
                    <a:pt x="208" y="29"/>
                  </a:lnTo>
                  <a:lnTo>
                    <a:pt x="213" y="31"/>
                  </a:lnTo>
                  <a:lnTo>
                    <a:pt x="210" y="31"/>
                  </a:lnTo>
                  <a:lnTo>
                    <a:pt x="208" y="34"/>
                  </a:lnTo>
                  <a:lnTo>
                    <a:pt x="205" y="34"/>
                  </a:lnTo>
                  <a:lnTo>
                    <a:pt x="203" y="34"/>
                  </a:lnTo>
                  <a:lnTo>
                    <a:pt x="203" y="36"/>
                  </a:lnTo>
                  <a:lnTo>
                    <a:pt x="200" y="36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2" y="44"/>
                  </a:lnTo>
                  <a:lnTo>
                    <a:pt x="190" y="44"/>
                  </a:lnTo>
                  <a:lnTo>
                    <a:pt x="190" y="46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5" y="52"/>
                  </a:lnTo>
                  <a:lnTo>
                    <a:pt x="185" y="54"/>
                  </a:lnTo>
                  <a:lnTo>
                    <a:pt x="185" y="54"/>
                  </a:lnTo>
                  <a:lnTo>
                    <a:pt x="182" y="57"/>
                  </a:lnTo>
                  <a:lnTo>
                    <a:pt x="182" y="59"/>
                  </a:lnTo>
                  <a:lnTo>
                    <a:pt x="182" y="62"/>
                  </a:lnTo>
                  <a:lnTo>
                    <a:pt x="182" y="64"/>
                  </a:lnTo>
                  <a:lnTo>
                    <a:pt x="180" y="64"/>
                  </a:lnTo>
                  <a:lnTo>
                    <a:pt x="180" y="67"/>
                  </a:lnTo>
                  <a:lnTo>
                    <a:pt x="174" y="67"/>
                  </a:lnTo>
                  <a:close/>
                  <a:moveTo>
                    <a:pt x="123" y="64"/>
                  </a:moveTo>
                  <a:lnTo>
                    <a:pt x="123" y="62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7"/>
                  </a:lnTo>
                  <a:lnTo>
                    <a:pt x="121" y="54"/>
                  </a:lnTo>
                  <a:lnTo>
                    <a:pt x="118" y="54"/>
                  </a:lnTo>
                  <a:lnTo>
                    <a:pt x="118" y="52"/>
                  </a:lnTo>
                  <a:lnTo>
                    <a:pt x="116" y="49"/>
                  </a:lnTo>
                  <a:lnTo>
                    <a:pt x="116" y="46"/>
                  </a:lnTo>
                  <a:lnTo>
                    <a:pt x="113" y="44"/>
                  </a:lnTo>
                  <a:lnTo>
                    <a:pt x="110" y="44"/>
                  </a:lnTo>
                  <a:lnTo>
                    <a:pt x="108" y="41"/>
                  </a:lnTo>
                  <a:lnTo>
                    <a:pt x="105" y="39"/>
                  </a:lnTo>
                  <a:lnTo>
                    <a:pt x="103" y="36"/>
                  </a:lnTo>
                  <a:lnTo>
                    <a:pt x="100" y="36"/>
                  </a:lnTo>
                  <a:lnTo>
                    <a:pt x="98" y="34"/>
                  </a:lnTo>
                  <a:lnTo>
                    <a:pt x="95" y="34"/>
                  </a:lnTo>
                  <a:lnTo>
                    <a:pt x="93" y="31"/>
                  </a:lnTo>
                  <a:lnTo>
                    <a:pt x="90" y="31"/>
                  </a:lnTo>
                  <a:lnTo>
                    <a:pt x="87" y="29"/>
                  </a:lnTo>
                  <a:lnTo>
                    <a:pt x="85" y="29"/>
                  </a:lnTo>
                  <a:lnTo>
                    <a:pt x="82" y="26"/>
                  </a:lnTo>
                  <a:lnTo>
                    <a:pt x="77" y="26"/>
                  </a:lnTo>
                  <a:lnTo>
                    <a:pt x="82" y="23"/>
                  </a:lnTo>
                  <a:lnTo>
                    <a:pt x="85" y="23"/>
                  </a:lnTo>
                  <a:lnTo>
                    <a:pt x="90" y="21"/>
                  </a:lnTo>
                  <a:lnTo>
                    <a:pt x="93" y="18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5" y="16"/>
                  </a:lnTo>
                  <a:lnTo>
                    <a:pt x="108" y="13"/>
                  </a:lnTo>
                  <a:lnTo>
                    <a:pt x="113" y="13"/>
                  </a:lnTo>
                  <a:lnTo>
                    <a:pt x="116" y="13"/>
                  </a:lnTo>
                  <a:lnTo>
                    <a:pt x="121" y="11"/>
                  </a:lnTo>
                  <a:lnTo>
                    <a:pt x="126" y="11"/>
                  </a:lnTo>
                  <a:lnTo>
                    <a:pt x="128" y="11"/>
                  </a:lnTo>
                  <a:lnTo>
                    <a:pt x="133" y="11"/>
                  </a:lnTo>
                  <a:lnTo>
                    <a:pt x="136" y="11"/>
                  </a:lnTo>
                  <a:lnTo>
                    <a:pt x="141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23"/>
                  </a:lnTo>
                  <a:lnTo>
                    <a:pt x="146" y="36"/>
                  </a:lnTo>
                  <a:lnTo>
                    <a:pt x="146" y="52"/>
                  </a:lnTo>
                  <a:lnTo>
                    <a:pt x="149" y="64"/>
                  </a:lnTo>
                  <a:lnTo>
                    <a:pt x="149" y="64"/>
                  </a:lnTo>
                  <a:lnTo>
                    <a:pt x="144" y="64"/>
                  </a:lnTo>
                  <a:lnTo>
                    <a:pt x="139" y="64"/>
                  </a:lnTo>
                  <a:lnTo>
                    <a:pt x="133" y="64"/>
                  </a:lnTo>
                  <a:lnTo>
                    <a:pt x="128" y="64"/>
                  </a:lnTo>
                  <a:lnTo>
                    <a:pt x="123" y="67"/>
                  </a:lnTo>
                  <a:lnTo>
                    <a:pt x="123" y="64"/>
                  </a:lnTo>
                  <a:close/>
                  <a:moveTo>
                    <a:pt x="141" y="0"/>
                  </a:moveTo>
                  <a:lnTo>
                    <a:pt x="139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6" y="0"/>
                  </a:lnTo>
                  <a:lnTo>
                    <a:pt x="123" y="0"/>
                  </a:lnTo>
                  <a:lnTo>
                    <a:pt x="121" y="3"/>
                  </a:lnTo>
                  <a:lnTo>
                    <a:pt x="116" y="3"/>
                  </a:lnTo>
                  <a:lnTo>
                    <a:pt x="113" y="3"/>
                  </a:lnTo>
                  <a:lnTo>
                    <a:pt x="110" y="3"/>
                  </a:lnTo>
                  <a:lnTo>
                    <a:pt x="105" y="5"/>
                  </a:lnTo>
                  <a:lnTo>
                    <a:pt x="103" y="5"/>
                  </a:lnTo>
                  <a:lnTo>
                    <a:pt x="100" y="5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1"/>
                  </a:lnTo>
                  <a:lnTo>
                    <a:pt x="87" y="11"/>
                  </a:lnTo>
                  <a:lnTo>
                    <a:pt x="82" y="13"/>
                  </a:lnTo>
                  <a:lnTo>
                    <a:pt x="80" y="13"/>
                  </a:lnTo>
                  <a:lnTo>
                    <a:pt x="77" y="16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67" y="21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59" y="26"/>
                  </a:lnTo>
                  <a:lnTo>
                    <a:pt x="57" y="29"/>
                  </a:lnTo>
                  <a:lnTo>
                    <a:pt x="54" y="31"/>
                  </a:lnTo>
                  <a:lnTo>
                    <a:pt x="52" y="34"/>
                  </a:lnTo>
                  <a:lnTo>
                    <a:pt x="49" y="34"/>
                  </a:lnTo>
                  <a:lnTo>
                    <a:pt x="46" y="36"/>
                  </a:lnTo>
                  <a:lnTo>
                    <a:pt x="44" y="39"/>
                  </a:lnTo>
                  <a:lnTo>
                    <a:pt x="41" y="41"/>
                  </a:lnTo>
                  <a:lnTo>
                    <a:pt x="39" y="44"/>
                  </a:lnTo>
                  <a:lnTo>
                    <a:pt x="36" y="46"/>
                  </a:lnTo>
                  <a:lnTo>
                    <a:pt x="34" y="49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29" y="57"/>
                  </a:lnTo>
                  <a:lnTo>
                    <a:pt x="26" y="59"/>
                  </a:lnTo>
                  <a:lnTo>
                    <a:pt x="23" y="62"/>
                  </a:lnTo>
                  <a:lnTo>
                    <a:pt x="23" y="64"/>
                  </a:lnTo>
                  <a:lnTo>
                    <a:pt x="21" y="67"/>
                  </a:lnTo>
                  <a:lnTo>
                    <a:pt x="18" y="72"/>
                  </a:lnTo>
                  <a:lnTo>
                    <a:pt x="18" y="75"/>
                  </a:lnTo>
                  <a:lnTo>
                    <a:pt x="16" y="77"/>
                  </a:lnTo>
                  <a:lnTo>
                    <a:pt x="13" y="80"/>
                  </a:lnTo>
                  <a:lnTo>
                    <a:pt x="13" y="82"/>
                  </a:lnTo>
                  <a:lnTo>
                    <a:pt x="11" y="87"/>
                  </a:lnTo>
                  <a:lnTo>
                    <a:pt x="11" y="90"/>
                  </a:lnTo>
                  <a:lnTo>
                    <a:pt x="8" y="93"/>
                  </a:lnTo>
                  <a:lnTo>
                    <a:pt x="8" y="95"/>
                  </a:lnTo>
                  <a:lnTo>
                    <a:pt x="5" y="100"/>
                  </a:lnTo>
                  <a:lnTo>
                    <a:pt x="5" y="103"/>
                  </a:lnTo>
                  <a:lnTo>
                    <a:pt x="5" y="105"/>
                  </a:lnTo>
                  <a:lnTo>
                    <a:pt x="3" y="110"/>
                  </a:lnTo>
                  <a:lnTo>
                    <a:pt x="3" y="113"/>
                  </a:lnTo>
                  <a:lnTo>
                    <a:pt x="3" y="116"/>
                  </a:lnTo>
                  <a:lnTo>
                    <a:pt x="3" y="121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131"/>
                  </a:lnTo>
                  <a:lnTo>
                    <a:pt x="0" y="133"/>
                  </a:lnTo>
                  <a:lnTo>
                    <a:pt x="0" y="139"/>
                  </a:lnTo>
                  <a:lnTo>
                    <a:pt x="0" y="141"/>
                  </a:lnTo>
                  <a:lnTo>
                    <a:pt x="0" y="144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7"/>
                  </a:lnTo>
                  <a:lnTo>
                    <a:pt x="0" y="159"/>
                  </a:lnTo>
                  <a:lnTo>
                    <a:pt x="3" y="162"/>
                  </a:lnTo>
                  <a:lnTo>
                    <a:pt x="3" y="167"/>
                  </a:lnTo>
                  <a:lnTo>
                    <a:pt x="3" y="169"/>
                  </a:lnTo>
                  <a:lnTo>
                    <a:pt x="3" y="172"/>
                  </a:lnTo>
                  <a:lnTo>
                    <a:pt x="5" y="177"/>
                  </a:lnTo>
                  <a:lnTo>
                    <a:pt x="5" y="180"/>
                  </a:lnTo>
                  <a:lnTo>
                    <a:pt x="5" y="182"/>
                  </a:lnTo>
                  <a:lnTo>
                    <a:pt x="8" y="187"/>
                  </a:lnTo>
                  <a:lnTo>
                    <a:pt x="8" y="190"/>
                  </a:lnTo>
                  <a:lnTo>
                    <a:pt x="11" y="192"/>
                  </a:lnTo>
                  <a:lnTo>
                    <a:pt x="11" y="195"/>
                  </a:lnTo>
                  <a:lnTo>
                    <a:pt x="13" y="200"/>
                  </a:lnTo>
                  <a:lnTo>
                    <a:pt x="13" y="203"/>
                  </a:lnTo>
                  <a:lnTo>
                    <a:pt x="16" y="205"/>
                  </a:lnTo>
                  <a:lnTo>
                    <a:pt x="18" y="208"/>
                  </a:lnTo>
                  <a:lnTo>
                    <a:pt x="18" y="210"/>
                  </a:lnTo>
                  <a:lnTo>
                    <a:pt x="21" y="215"/>
                  </a:lnTo>
                  <a:lnTo>
                    <a:pt x="23" y="218"/>
                  </a:lnTo>
                  <a:lnTo>
                    <a:pt x="23" y="221"/>
                  </a:lnTo>
                  <a:lnTo>
                    <a:pt x="26" y="223"/>
                  </a:lnTo>
                  <a:lnTo>
                    <a:pt x="29" y="226"/>
                  </a:lnTo>
                  <a:lnTo>
                    <a:pt x="31" y="228"/>
                  </a:lnTo>
                  <a:lnTo>
                    <a:pt x="31" y="231"/>
                  </a:lnTo>
                  <a:lnTo>
                    <a:pt x="34" y="233"/>
                  </a:lnTo>
                  <a:lnTo>
                    <a:pt x="36" y="236"/>
                  </a:lnTo>
                  <a:lnTo>
                    <a:pt x="39" y="238"/>
                  </a:lnTo>
                  <a:lnTo>
                    <a:pt x="41" y="241"/>
                  </a:lnTo>
                  <a:lnTo>
                    <a:pt x="44" y="244"/>
                  </a:lnTo>
                  <a:lnTo>
                    <a:pt x="46" y="246"/>
                  </a:lnTo>
                  <a:lnTo>
                    <a:pt x="49" y="249"/>
                  </a:lnTo>
                  <a:lnTo>
                    <a:pt x="52" y="249"/>
                  </a:lnTo>
                  <a:lnTo>
                    <a:pt x="54" y="251"/>
                  </a:lnTo>
                  <a:lnTo>
                    <a:pt x="57" y="254"/>
                  </a:lnTo>
                  <a:lnTo>
                    <a:pt x="59" y="256"/>
                  </a:lnTo>
                  <a:lnTo>
                    <a:pt x="62" y="259"/>
                  </a:lnTo>
                  <a:lnTo>
                    <a:pt x="64" y="259"/>
                  </a:lnTo>
                  <a:lnTo>
                    <a:pt x="67" y="262"/>
                  </a:lnTo>
                  <a:lnTo>
                    <a:pt x="72" y="264"/>
                  </a:lnTo>
                  <a:lnTo>
                    <a:pt x="75" y="264"/>
                  </a:lnTo>
                  <a:lnTo>
                    <a:pt x="77" y="267"/>
                  </a:lnTo>
                  <a:lnTo>
                    <a:pt x="80" y="269"/>
                  </a:lnTo>
                  <a:lnTo>
                    <a:pt x="82" y="269"/>
                  </a:lnTo>
                  <a:lnTo>
                    <a:pt x="87" y="272"/>
                  </a:lnTo>
                  <a:lnTo>
                    <a:pt x="90" y="272"/>
                  </a:lnTo>
                  <a:lnTo>
                    <a:pt x="93" y="274"/>
                  </a:lnTo>
                  <a:lnTo>
                    <a:pt x="95" y="274"/>
                  </a:lnTo>
                  <a:lnTo>
                    <a:pt x="100" y="277"/>
                  </a:lnTo>
                  <a:lnTo>
                    <a:pt x="103" y="277"/>
                  </a:lnTo>
                  <a:lnTo>
                    <a:pt x="105" y="277"/>
                  </a:lnTo>
                  <a:lnTo>
                    <a:pt x="110" y="279"/>
                  </a:lnTo>
                  <a:lnTo>
                    <a:pt x="113" y="279"/>
                  </a:lnTo>
                  <a:lnTo>
                    <a:pt x="116" y="279"/>
                  </a:lnTo>
                  <a:lnTo>
                    <a:pt x="121" y="279"/>
                  </a:lnTo>
                  <a:lnTo>
                    <a:pt x="123" y="282"/>
                  </a:lnTo>
                  <a:lnTo>
                    <a:pt x="126" y="282"/>
                  </a:lnTo>
                  <a:lnTo>
                    <a:pt x="131" y="282"/>
                  </a:lnTo>
                  <a:lnTo>
                    <a:pt x="133" y="282"/>
                  </a:lnTo>
                  <a:lnTo>
                    <a:pt x="139" y="282"/>
                  </a:lnTo>
                  <a:lnTo>
                    <a:pt x="141" y="282"/>
                  </a:lnTo>
                  <a:lnTo>
                    <a:pt x="144" y="282"/>
                  </a:lnTo>
                  <a:lnTo>
                    <a:pt x="149" y="282"/>
                  </a:lnTo>
                  <a:lnTo>
                    <a:pt x="151" y="282"/>
                  </a:lnTo>
                  <a:lnTo>
                    <a:pt x="157" y="282"/>
                  </a:lnTo>
                  <a:lnTo>
                    <a:pt x="159" y="282"/>
                  </a:lnTo>
                  <a:lnTo>
                    <a:pt x="162" y="279"/>
                  </a:lnTo>
                  <a:lnTo>
                    <a:pt x="167" y="279"/>
                  </a:lnTo>
                  <a:lnTo>
                    <a:pt x="169" y="279"/>
                  </a:lnTo>
                  <a:lnTo>
                    <a:pt x="172" y="279"/>
                  </a:lnTo>
                  <a:lnTo>
                    <a:pt x="177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7" y="274"/>
                  </a:lnTo>
                  <a:lnTo>
                    <a:pt x="190" y="274"/>
                  </a:lnTo>
                  <a:lnTo>
                    <a:pt x="192" y="272"/>
                  </a:lnTo>
                  <a:lnTo>
                    <a:pt x="195" y="272"/>
                  </a:lnTo>
                  <a:lnTo>
                    <a:pt x="200" y="269"/>
                  </a:lnTo>
                  <a:lnTo>
                    <a:pt x="203" y="269"/>
                  </a:lnTo>
                  <a:lnTo>
                    <a:pt x="205" y="267"/>
                  </a:lnTo>
                  <a:lnTo>
                    <a:pt x="208" y="264"/>
                  </a:lnTo>
                  <a:lnTo>
                    <a:pt x="210" y="264"/>
                  </a:lnTo>
                  <a:lnTo>
                    <a:pt x="215" y="262"/>
                  </a:lnTo>
                  <a:lnTo>
                    <a:pt x="218" y="259"/>
                  </a:lnTo>
                  <a:lnTo>
                    <a:pt x="221" y="259"/>
                  </a:lnTo>
                  <a:lnTo>
                    <a:pt x="223" y="256"/>
                  </a:lnTo>
                  <a:lnTo>
                    <a:pt x="226" y="254"/>
                  </a:lnTo>
                  <a:lnTo>
                    <a:pt x="228" y="251"/>
                  </a:lnTo>
                  <a:lnTo>
                    <a:pt x="231" y="249"/>
                  </a:lnTo>
                  <a:lnTo>
                    <a:pt x="233" y="249"/>
                  </a:lnTo>
                  <a:lnTo>
                    <a:pt x="236" y="246"/>
                  </a:lnTo>
                  <a:lnTo>
                    <a:pt x="238" y="244"/>
                  </a:lnTo>
                  <a:lnTo>
                    <a:pt x="241" y="241"/>
                  </a:lnTo>
                  <a:lnTo>
                    <a:pt x="244" y="238"/>
                  </a:lnTo>
                  <a:lnTo>
                    <a:pt x="246" y="236"/>
                  </a:lnTo>
                  <a:lnTo>
                    <a:pt x="249" y="233"/>
                  </a:lnTo>
                  <a:lnTo>
                    <a:pt x="251" y="231"/>
                  </a:lnTo>
                  <a:lnTo>
                    <a:pt x="251" y="228"/>
                  </a:lnTo>
                  <a:lnTo>
                    <a:pt x="254" y="226"/>
                  </a:lnTo>
                  <a:lnTo>
                    <a:pt x="256" y="223"/>
                  </a:lnTo>
                  <a:lnTo>
                    <a:pt x="259" y="221"/>
                  </a:lnTo>
                  <a:lnTo>
                    <a:pt x="259" y="218"/>
                  </a:lnTo>
                  <a:lnTo>
                    <a:pt x="262" y="215"/>
                  </a:lnTo>
                  <a:lnTo>
                    <a:pt x="264" y="210"/>
                  </a:lnTo>
                  <a:lnTo>
                    <a:pt x="264" y="208"/>
                  </a:lnTo>
                  <a:lnTo>
                    <a:pt x="267" y="205"/>
                  </a:lnTo>
                  <a:lnTo>
                    <a:pt x="269" y="203"/>
                  </a:lnTo>
                  <a:lnTo>
                    <a:pt x="269" y="200"/>
                  </a:lnTo>
                  <a:lnTo>
                    <a:pt x="272" y="195"/>
                  </a:lnTo>
                  <a:lnTo>
                    <a:pt x="272" y="192"/>
                  </a:lnTo>
                  <a:lnTo>
                    <a:pt x="274" y="190"/>
                  </a:lnTo>
                  <a:lnTo>
                    <a:pt x="274" y="187"/>
                  </a:lnTo>
                  <a:lnTo>
                    <a:pt x="277" y="182"/>
                  </a:lnTo>
                  <a:lnTo>
                    <a:pt x="277" y="180"/>
                  </a:lnTo>
                  <a:lnTo>
                    <a:pt x="277" y="177"/>
                  </a:lnTo>
                  <a:lnTo>
                    <a:pt x="279" y="172"/>
                  </a:lnTo>
                  <a:lnTo>
                    <a:pt x="279" y="169"/>
                  </a:lnTo>
                  <a:lnTo>
                    <a:pt x="279" y="167"/>
                  </a:lnTo>
                  <a:lnTo>
                    <a:pt x="279" y="162"/>
                  </a:lnTo>
                  <a:lnTo>
                    <a:pt x="282" y="159"/>
                  </a:lnTo>
                  <a:lnTo>
                    <a:pt x="282" y="157"/>
                  </a:lnTo>
                  <a:lnTo>
                    <a:pt x="282" y="151"/>
                  </a:lnTo>
                  <a:lnTo>
                    <a:pt x="282" y="149"/>
                  </a:lnTo>
                  <a:lnTo>
                    <a:pt x="282" y="144"/>
                  </a:lnTo>
                  <a:lnTo>
                    <a:pt x="282" y="139"/>
                  </a:lnTo>
                  <a:lnTo>
                    <a:pt x="282" y="133"/>
                  </a:lnTo>
                  <a:lnTo>
                    <a:pt x="282" y="131"/>
                  </a:lnTo>
                  <a:lnTo>
                    <a:pt x="282" y="126"/>
                  </a:lnTo>
                  <a:lnTo>
                    <a:pt x="282" y="123"/>
                  </a:lnTo>
                  <a:lnTo>
                    <a:pt x="279" y="121"/>
                  </a:lnTo>
                  <a:lnTo>
                    <a:pt x="279" y="116"/>
                  </a:lnTo>
                  <a:lnTo>
                    <a:pt x="279" y="113"/>
                  </a:lnTo>
                  <a:lnTo>
                    <a:pt x="279" y="110"/>
                  </a:lnTo>
                  <a:lnTo>
                    <a:pt x="277" y="105"/>
                  </a:lnTo>
                  <a:lnTo>
                    <a:pt x="277" y="103"/>
                  </a:lnTo>
                  <a:lnTo>
                    <a:pt x="277" y="100"/>
                  </a:lnTo>
                  <a:lnTo>
                    <a:pt x="274" y="95"/>
                  </a:lnTo>
                  <a:lnTo>
                    <a:pt x="274" y="93"/>
                  </a:lnTo>
                  <a:lnTo>
                    <a:pt x="272" y="90"/>
                  </a:lnTo>
                  <a:lnTo>
                    <a:pt x="272" y="87"/>
                  </a:lnTo>
                  <a:lnTo>
                    <a:pt x="269" y="82"/>
                  </a:lnTo>
                  <a:lnTo>
                    <a:pt x="269" y="80"/>
                  </a:lnTo>
                  <a:lnTo>
                    <a:pt x="267" y="77"/>
                  </a:lnTo>
                  <a:lnTo>
                    <a:pt x="264" y="75"/>
                  </a:lnTo>
                  <a:lnTo>
                    <a:pt x="264" y="72"/>
                  </a:lnTo>
                  <a:lnTo>
                    <a:pt x="262" y="67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56" y="59"/>
                  </a:lnTo>
                  <a:lnTo>
                    <a:pt x="254" y="57"/>
                  </a:lnTo>
                  <a:lnTo>
                    <a:pt x="251" y="54"/>
                  </a:lnTo>
                  <a:lnTo>
                    <a:pt x="251" y="52"/>
                  </a:lnTo>
                  <a:lnTo>
                    <a:pt x="249" y="49"/>
                  </a:lnTo>
                  <a:lnTo>
                    <a:pt x="246" y="46"/>
                  </a:lnTo>
                  <a:lnTo>
                    <a:pt x="244" y="44"/>
                  </a:lnTo>
                  <a:lnTo>
                    <a:pt x="241" y="41"/>
                  </a:lnTo>
                  <a:lnTo>
                    <a:pt x="238" y="39"/>
                  </a:lnTo>
                  <a:lnTo>
                    <a:pt x="236" y="36"/>
                  </a:lnTo>
                  <a:lnTo>
                    <a:pt x="233" y="34"/>
                  </a:lnTo>
                  <a:lnTo>
                    <a:pt x="231" y="34"/>
                  </a:lnTo>
                  <a:lnTo>
                    <a:pt x="228" y="31"/>
                  </a:lnTo>
                  <a:lnTo>
                    <a:pt x="226" y="29"/>
                  </a:lnTo>
                  <a:lnTo>
                    <a:pt x="223" y="26"/>
                  </a:lnTo>
                  <a:lnTo>
                    <a:pt x="221" y="23"/>
                  </a:lnTo>
                  <a:lnTo>
                    <a:pt x="218" y="23"/>
                  </a:lnTo>
                  <a:lnTo>
                    <a:pt x="215" y="21"/>
                  </a:lnTo>
                  <a:lnTo>
                    <a:pt x="210" y="18"/>
                  </a:lnTo>
                  <a:lnTo>
                    <a:pt x="208" y="18"/>
                  </a:lnTo>
                  <a:lnTo>
                    <a:pt x="205" y="16"/>
                  </a:lnTo>
                  <a:lnTo>
                    <a:pt x="203" y="13"/>
                  </a:lnTo>
                  <a:lnTo>
                    <a:pt x="200" y="13"/>
                  </a:lnTo>
                  <a:lnTo>
                    <a:pt x="195" y="11"/>
                  </a:lnTo>
                  <a:lnTo>
                    <a:pt x="192" y="11"/>
                  </a:lnTo>
                  <a:lnTo>
                    <a:pt x="190" y="8"/>
                  </a:lnTo>
                  <a:lnTo>
                    <a:pt x="187" y="8"/>
                  </a:lnTo>
                  <a:lnTo>
                    <a:pt x="182" y="5"/>
                  </a:lnTo>
                  <a:lnTo>
                    <a:pt x="180" y="5"/>
                  </a:lnTo>
                  <a:lnTo>
                    <a:pt x="177" y="5"/>
                  </a:lnTo>
                  <a:lnTo>
                    <a:pt x="172" y="3"/>
                  </a:lnTo>
                  <a:lnTo>
                    <a:pt x="169" y="3"/>
                  </a:lnTo>
                  <a:lnTo>
                    <a:pt x="167" y="3"/>
                  </a:lnTo>
                  <a:lnTo>
                    <a:pt x="162" y="3"/>
                  </a:lnTo>
                  <a:lnTo>
                    <a:pt x="159" y="0"/>
                  </a:lnTo>
                  <a:lnTo>
                    <a:pt x="157" y="0"/>
                  </a:lnTo>
                  <a:lnTo>
                    <a:pt x="151" y="0"/>
                  </a:lnTo>
                  <a:lnTo>
                    <a:pt x="149" y="0"/>
                  </a:lnTo>
                  <a:lnTo>
                    <a:pt x="144" y="0"/>
                  </a:lnTo>
                  <a:lnTo>
                    <a:pt x="14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6" name="Group 218">
            <a:extLst>
              <a:ext uri="{FF2B5EF4-FFF2-40B4-BE49-F238E27FC236}">
                <a16:creationId xmlns:a16="http://schemas.microsoft.com/office/drawing/2014/main" id="{DCE8B1CD-A9D0-4537-BF60-2C06396C0F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8214" y="5461668"/>
            <a:ext cx="758825" cy="758825"/>
            <a:chOff x="2167" y="3516"/>
            <a:chExt cx="478" cy="478"/>
          </a:xfrm>
        </p:grpSpPr>
        <p:sp>
          <p:nvSpPr>
            <p:cNvPr id="257" name="AutoShape 217">
              <a:extLst>
                <a:ext uri="{FF2B5EF4-FFF2-40B4-BE49-F238E27FC236}">
                  <a16:creationId xmlns:a16="http://schemas.microsoft.com/office/drawing/2014/main" id="{2774D2E6-B190-4B3F-AF80-C4FBCBC199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167" y="3516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19">
              <a:extLst>
                <a:ext uri="{FF2B5EF4-FFF2-40B4-BE49-F238E27FC236}">
                  <a16:creationId xmlns:a16="http://schemas.microsoft.com/office/drawing/2014/main" id="{50513124-3E1D-4E45-A50A-6E3DE68162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9" y="3518"/>
              <a:ext cx="476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220">
              <a:extLst>
                <a:ext uri="{FF2B5EF4-FFF2-40B4-BE49-F238E27FC236}">
                  <a16:creationId xmlns:a16="http://schemas.microsoft.com/office/drawing/2014/main" id="{FEB041D9-9285-4580-8499-9CB950AF9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7" y="367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1">
              <a:extLst>
                <a:ext uri="{FF2B5EF4-FFF2-40B4-BE49-F238E27FC236}">
                  <a16:creationId xmlns:a16="http://schemas.microsoft.com/office/drawing/2014/main" id="{4E72771B-E55E-4130-927B-E58E94B2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3742"/>
              <a:ext cx="88" cy="90"/>
            </a:xfrm>
            <a:custGeom>
              <a:avLst/>
              <a:gdLst>
                <a:gd name="T0" fmla="*/ 0 w 88"/>
                <a:gd name="T1" fmla="*/ 88 h 90"/>
                <a:gd name="T2" fmla="*/ 2 w 88"/>
                <a:gd name="T3" fmla="*/ 90 h 90"/>
                <a:gd name="T4" fmla="*/ 2 w 88"/>
                <a:gd name="T5" fmla="*/ 90 h 90"/>
                <a:gd name="T6" fmla="*/ 5 w 88"/>
                <a:gd name="T7" fmla="*/ 90 h 90"/>
                <a:gd name="T8" fmla="*/ 22 w 88"/>
                <a:gd name="T9" fmla="*/ 80 h 90"/>
                <a:gd name="T10" fmla="*/ 37 w 88"/>
                <a:gd name="T11" fmla="*/ 71 h 90"/>
                <a:gd name="T12" fmla="*/ 51 w 88"/>
                <a:gd name="T13" fmla="*/ 58 h 90"/>
                <a:gd name="T14" fmla="*/ 69 w 88"/>
                <a:gd name="T15" fmla="*/ 39 h 90"/>
                <a:gd name="T16" fmla="*/ 81 w 88"/>
                <a:gd name="T17" fmla="*/ 19 h 90"/>
                <a:gd name="T18" fmla="*/ 88 w 88"/>
                <a:gd name="T19" fmla="*/ 4 h 90"/>
                <a:gd name="T20" fmla="*/ 88 w 88"/>
                <a:gd name="T21" fmla="*/ 4 h 90"/>
                <a:gd name="T22" fmla="*/ 88 w 88"/>
                <a:gd name="T23" fmla="*/ 2 h 90"/>
                <a:gd name="T24" fmla="*/ 86 w 88"/>
                <a:gd name="T25" fmla="*/ 2 h 90"/>
                <a:gd name="T26" fmla="*/ 86 w 88"/>
                <a:gd name="T27" fmla="*/ 2 h 90"/>
                <a:gd name="T28" fmla="*/ 86 w 88"/>
                <a:gd name="T29" fmla="*/ 2 h 90"/>
                <a:gd name="T30" fmla="*/ 83 w 88"/>
                <a:gd name="T31" fmla="*/ 0 h 90"/>
                <a:gd name="T32" fmla="*/ 86 w 88"/>
                <a:gd name="T33" fmla="*/ 2 h 90"/>
                <a:gd name="T34" fmla="*/ 83 w 88"/>
                <a:gd name="T35" fmla="*/ 2 h 90"/>
                <a:gd name="T36" fmla="*/ 81 w 88"/>
                <a:gd name="T37" fmla="*/ 4 h 90"/>
                <a:gd name="T38" fmla="*/ 71 w 88"/>
                <a:gd name="T39" fmla="*/ 19 h 90"/>
                <a:gd name="T40" fmla="*/ 61 w 88"/>
                <a:gd name="T41" fmla="*/ 34 h 90"/>
                <a:gd name="T42" fmla="*/ 49 w 88"/>
                <a:gd name="T43" fmla="*/ 46 h 90"/>
                <a:gd name="T44" fmla="*/ 32 w 88"/>
                <a:gd name="T45" fmla="*/ 63 h 90"/>
                <a:gd name="T46" fmla="*/ 15 w 88"/>
                <a:gd name="T47" fmla="*/ 76 h 90"/>
                <a:gd name="T48" fmla="*/ 0 w 88"/>
                <a:gd name="T49" fmla="*/ 85 h 90"/>
                <a:gd name="T50" fmla="*/ 0 w 88"/>
                <a:gd name="T51" fmla="*/ 85 h 90"/>
                <a:gd name="T52" fmla="*/ 0 w 88"/>
                <a:gd name="T53" fmla="*/ 85 h 90"/>
                <a:gd name="T54" fmla="*/ 0 w 88"/>
                <a:gd name="T55" fmla="*/ 88 h 90"/>
                <a:gd name="T56" fmla="*/ 0 w 88"/>
                <a:gd name="T57" fmla="*/ 8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90">
                  <a:moveTo>
                    <a:pt x="0" y="88"/>
                  </a:moveTo>
                  <a:lnTo>
                    <a:pt x="2" y="90"/>
                  </a:lnTo>
                  <a:lnTo>
                    <a:pt x="2" y="90"/>
                  </a:lnTo>
                  <a:lnTo>
                    <a:pt x="5" y="90"/>
                  </a:lnTo>
                  <a:lnTo>
                    <a:pt x="22" y="80"/>
                  </a:lnTo>
                  <a:lnTo>
                    <a:pt x="37" y="71"/>
                  </a:lnTo>
                  <a:lnTo>
                    <a:pt x="51" y="58"/>
                  </a:lnTo>
                  <a:lnTo>
                    <a:pt x="69" y="39"/>
                  </a:lnTo>
                  <a:lnTo>
                    <a:pt x="81" y="19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83" y="2"/>
                  </a:lnTo>
                  <a:lnTo>
                    <a:pt x="81" y="4"/>
                  </a:lnTo>
                  <a:lnTo>
                    <a:pt x="71" y="19"/>
                  </a:lnTo>
                  <a:lnTo>
                    <a:pt x="61" y="34"/>
                  </a:lnTo>
                  <a:lnTo>
                    <a:pt x="49" y="46"/>
                  </a:lnTo>
                  <a:lnTo>
                    <a:pt x="32" y="63"/>
                  </a:lnTo>
                  <a:lnTo>
                    <a:pt x="15" y="7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Rectangle 222">
              <a:extLst>
                <a:ext uri="{FF2B5EF4-FFF2-40B4-BE49-F238E27FC236}">
                  <a16:creationId xmlns:a16="http://schemas.microsoft.com/office/drawing/2014/main" id="{7DBC6ED1-F270-4265-85E3-BFA23B01B6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6" y="37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23">
              <a:extLst>
                <a:ext uri="{FF2B5EF4-FFF2-40B4-BE49-F238E27FC236}">
                  <a16:creationId xmlns:a16="http://schemas.microsoft.com/office/drawing/2014/main" id="{69FBB701-80AD-4C26-8805-DA2AE9E00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3675"/>
              <a:ext cx="113" cy="113"/>
            </a:xfrm>
            <a:custGeom>
              <a:avLst/>
              <a:gdLst>
                <a:gd name="T0" fmla="*/ 52 w 113"/>
                <a:gd name="T1" fmla="*/ 89 h 113"/>
                <a:gd name="T2" fmla="*/ 49 w 113"/>
                <a:gd name="T3" fmla="*/ 84 h 113"/>
                <a:gd name="T4" fmla="*/ 54 w 113"/>
                <a:gd name="T5" fmla="*/ 62 h 113"/>
                <a:gd name="T6" fmla="*/ 69 w 113"/>
                <a:gd name="T7" fmla="*/ 71 h 113"/>
                <a:gd name="T8" fmla="*/ 71 w 113"/>
                <a:gd name="T9" fmla="*/ 67 h 113"/>
                <a:gd name="T10" fmla="*/ 69 w 113"/>
                <a:gd name="T11" fmla="*/ 64 h 113"/>
                <a:gd name="T12" fmla="*/ 76 w 113"/>
                <a:gd name="T13" fmla="*/ 42 h 113"/>
                <a:gd name="T14" fmla="*/ 89 w 113"/>
                <a:gd name="T15" fmla="*/ 52 h 113"/>
                <a:gd name="T16" fmla="*/ 91 w 113"/>
                <a:gd name="T17" fmla="*/ 52 h 113"/>
                <a:gd name="T18" fmla="*/ 89 w 113"/>
                <a:gd name="T19" fmla="*/ 49 h 113"/>
                <a:gd name="T20" fmla="*/ 91 w 113"/>
                <a:gd name="T21" fmla="*/ 47 h 113"/>
                <a:gd name="T22" fmla="*/ 91 w 113"/>
                <a:gd name="T23" fmla="*/ 44 h 113"/>
                <a:gd name="T24" fmla="*/ 98 w 113"/>
                <a:gd name="T25" fmla="*/ 22 h 113"/>
                <a:gd name="T26" fmla="*/ 111 w 113"/>
                <a:gd name="T27" fmla="*/ 32 h 113"/>
                <a:gd name="T28" fmla="*/ 113 w 113"/>
                <a:gd name="T29" fmla="*/ 27 h 113"/>
                <a:gd name="T30" fmla="*/ 113 w 113"/>
                <a:gd name="T31" fmla="*/ 25 h 113"/>
                <a:gd name="T32" fmla="*/ 89 w 113"/>
                <a:gd name="T33" fmla="*/ 0 h 113"/>
                <a:gd name="T34" fmla="*/ 86 w 113"/>
                <a:gd name="T35" fmla="*/ 0 h 113"/>
                <a:gd name="T36" fmla="*/ 81 w 113"/>
                <a:gd name="T37" fmla="*/ 0 h 113"/>
                <a:gd name="T38" fmla="*/ 84 w 113"/>
                <a:gd name="T39" fmla="*/ 3 h 113"/>
                <a:gd name="T40" fmla="*/ 84 w 113"/>
                <a:gd name="T41" fmla="*/ 8 h 113"/>
                <a:gd name="T42" fmla="*/ 91 w 113"/>
                <a:gd name="T43" fmla="*/ 17 h 113"/>
                <a:gd name="T44" fmla="*/ 67 w 113"/>
                <a:gd name="T45" fmla="*/ 20 h 113"/>
                <a:gd name="T46" fmla="*/ 64 w 113"/>
                <a:gd name="T47" fmla="*/ 20 h 113"/>
                <a:gd name="T48" fmla="*/ 62 w 113"/>
                <a:gd name="T49" fmla="*/ 17 h 113"/>
                <a:gd name="T50" fmla="*/ 62 w 113"/>
                <a:gd name="T51" fmla="*/ 20 h 113"/>
                <a:gd name="T52" fmla="*/ 59 w 113"/>
                <a:gd name="T53" fmla="*/ 25 h 113"/>
                <a:gd name="T54" fmla="*/ 69 w 113"/>
                <a:gd name="T55" fmla="*/ 35 h 113"/>
                <a:gd name="T56" fmla="*/ 44 w 113"/>
                <a:gd name="T57" fmla="*/ 40 h 113"/>
                <a:gd name="T58" fmla="*/ 42 w 113"/>
                <a:gd name="T59" fmla="*/ 40 h 113"/>
                <a:gd name="T60" fmla="*/ 37 w 113"/>
                <a:gd name="T61" fmla="*/ 42 h 113"/>
                <a:gd name="T62" fmla="*/ 40 w 113"/>
                <a:gd name="T63" fmla="*/ 42 h 113"/>
                <a:gd name="T64" fmla="*/ 40 w 113"/>
                <a:gd name="T65" fmla="*/ 47 h 113"/>
                <a:gd name="T66" fmla="*/ 35 w 113"/>
                <a:gd name="T67" fmla="*/ 69 h 113"/>
                <a:gd name="T68" fmla="*/ 25 w 113"/>
                <a:gd name="T69" fmla="*/ 59 h 113"/>
                <a:gd name="T70" fmla="*/ 20 w 113"/>
                <a:gd name="T71" fmla="*/ 59 h 113"/>
                <a:gd name="T72" fmla="*/ 22 w 113"/>
                <a:gd name="T73" fmla="*/ 62 h 113"/>
                <a:gd name="T74" fmla="*/ 20 w 113"/>
                <a:gd name="T75" fmla="*/ 64 h 113"/>
                <a:gd name="T76" fmla="*/ 20 w 113"/>
                <a:gd name="T77" fmla="*/ 67 h 113"/>
                <a:gd name="T78" fmla="*/ 15 w 113"/>
                <a:gd name="T79" fmla="*/ 91 h 113"/>
                <a:gd name="T80" fmla="*/ 5 w 113"/>
                <a:gd name="T81" fmla="*/ 81 h 113"/>
                <a:gd name="T82" fmla="*/ 0 w 113"/>
                <a:gd name="T83" fmla="*/ 84 h 113"/>
                <a:gd name="T84" fmla="*/ 3 w 113"/>
                <a:gd name="T85" fmla="*/ 89 h 113"/>
                <a:gd name="T86" fmla="*/ 30 w 113"/>
                <a:gd name="T87" fmla="*/ 113 h 113"/>
                <a:gd name="T88" fmla="*/ 32 w 113"/>
                <a:gd name="T89" fmla="*/ 111 h 113"/>
                <a:gd name="T90" fmla="*/ 32 w 113"/>
                <a:gd name="T91" fmla="*/ 111 h 113"/>
                <a:gd name="T92" fmla="*/ 30 w 113"/>
                <a:gd name="T93" fmla="*/ 106 h 113"/>
                <a:gd name="T94" fmla="*/ 35 w 113"/>
                <a:gd name="T95" fmla="*/ 81 h 113"/>
                <a:gd name="T96" fmla="*/ 47 w 113"/>
                <a:gd name="T97" fmla="*/ 91 h 113"/>
                <a:gd name="T98" fmla="*/ 49 w 113"/>
                <a:gd name="T99" fmla="*/ 93 h 113"/>
                <a:gd name="T100" fmla="*/ 49 w 113"/>
                <a:gd name="T101" fmla="*/ 91 h 113"/>
                <a:gd name="T102" fmla="*/ 52 w 113"/>
                <a:gd name="T103" fmla="*/ 91 h 113"/>
                <a:gd name="T104" fmla="*/ 52 w 113"/>
                <a:gd name="T105" fmla="*/ 89 h 113"/>
                <a:gd name="T106" fmla="*/ 52 w 113"/>
                <a:gd name="T107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" h="113">
                  <a:moveTo>
                    <a:pt x="52" y="89"/>
                  </a:moveTo>
                  <a:lnTo>
                    <a:pt x="52" y="89"/>
                  </a:lnTo>
                  <a:lnTo>
                    <a:pt x="49" y="86"/>
                  </a:lnTo>
                  <a:lnTo>
                    <a:pt x="49" y="84"/>
                  </a:lnTo>
                  <a:lnTo>
                    <a:pt x="42" y="76"/>
                  </a:lnTo>
                  <a:lnTo>
                    <a:pt x="54" y="62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2" y="54"/>
                  </a:lnTo>
                  <a:lnTo>
                    <a:pt x="76" y="42"/>
                  </a:lnTo>
                  <a:lnTo>
                    <a:pt x="86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91" y="52"/>
                  </a:lnTo>
                  <a:lnTo>
                    <a:pt x="91" y="52"/>
                  </a:lnTo>
                  <a:lnTo>
                    <a:pt x="89" y="49"/>
                  </a:lnTo>
                  <a:lnTo>
                    <a:pt x="91" y="49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4"/>
                  </a:lnTo>
                  <a:lnTo>
                    <a:pt x="81" y="35"/>
                  </a:lnTo>
                  <a:lnTo>
                    <a:pt x="98" y="22"/>
                  </a:lnTo>
                  <a:lnTo>
                    <a:pt x="108" y="32"/>
                  </a:lnTo>
                  <a:lnTo>
                    <a:pt x="111" y="32"/>
                  </a:lnTo>
                  <a:lnTo>
                    <a:pt x="113" y="30"/>
                  </a:lnTo>
                  <a:lnTo>
                    <a:pt x="113" y="27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4" y="3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4" y="3"/>
                  </a:lnTo>
                  <a:lnTo>
                    <a:pt x="81" y="5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1" y="17"/>
                  </a:lnTo>
                  <a:lnTo>
                    <a:pt x="76" y="30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2" y="17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2" y="27"/>
                  </a:lnTo>
                  <a:lnTo>
                    <a:pt x="69" y="35"/>
                  </a:lnTo>
                  <a:lnTo>
                    <a:pt x="54" y="4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2" y="40"/>
                  </a:lnTo>
                  <a:lnTo>
                    <a:pt x="40" y="42"/>
                  </a:lnTo>
                  <a:lnTo>
                    <a:pt x="37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9" y="54"/>
                  </a:lnTo>
                  <a:lnTo>
                    <a:pt x="35" y="6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2" y="62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2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30" y="76"/>
                  </a:lnTo>
                  <a:lnTo>
                    <a:pt x="15" y="9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3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3" y="89"/>
                  </a:lnTo>
                  <a:lnTo>
                    <a:pt x="27" y="113"/>
                  </a:lnTo>
                  <a:lnTo>
                    <a:pt x="30" y="113"/>
                  </a:lnTo>
                  <a:lnTo>
                    <a:pt x="32" y="113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08"/>
                  </a:lnTo>
                  <a:lnTo>
                    <a:pt x="30" y="106"/>
                  </a:lnTo>
                  <a:lnTo>
                    <a:pt x="22" y="98"/>
                  </a:lnTo>
                  <a:lnTo>
                    <a:pt x="35" y="81"/>
                  </a:lnTo>
                  <a:lnTo>
                    <a:pt x="44" y="91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2" y="91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4">
              <a:extLst>
                <a:ext uri="{FF2B5EF4-FFF2-40B4-BE49-F238E27FC236}">
                  <a16:creationId xmlns:a16="http://schemas.microsoft.com/office/drawing/2014/main" id="{7F18E682-E20B-4DCB-A3CF-F76E29B042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2" y="3631"/>
              <a:ext cx="250" cy="250"/>
            </a:xfrm>
            <a:custGeom>
              <a:avLst/>
              <a:gdLst>
                <a:gd name="T0" fmla="*/ 250 w 250"/>
                <a:gd name="T1" fmla="*/ 49 h 250"/>
                <a:gd name="T2" fmla="*/ 245 w 250"/>
                <a:gd name="T3" fmla="*/ 27 h 250"/>
                <a:gd name="T4" fmla="*/ 238 w 250"/>
                <a:gd name="T5" fmla="*/ 15 h 250"/>
                <a:gd name="T6" fmla="*/ 231 w 250"/>
                <a:gd name="T7" fmla="*/ 10 h 250"/>
                <a:gd name="T8" fmla="*/ 209 w 250"/>
                <a:gd name="T9" fmla="*/ 3 h 250"/>
                <a:gd name="T10" fmla="*/ 191 w 250"/>
                <a:gd name="T11" fmla="*/ 0 h 250"/>
                <a:gd name="T12" fmla="*/ 167 w 250"/>
                <a:gd name="T13" fmla="*/ 3 h 250"/>
                <a:gd name="T14" fmla="*/ 142 w 250"/>
                <a:gd name="T15" fmla="*/ 8 h 250"/>
                <a:gd name="T16" fmla="*/ 115 w 250"/>
                <a:gd name="T17" fmla="*/ 20 h 250"/>
                <a:gd name="T18" fmla="*/ 91 w 250"/>
                <a:gd name="T19" fmla="*/ 32 h 250"/>
                <a:gd name="T20" fmla="*/ 64 w 250"/>
                <a:gd name="T21" fmla="*/ 57 h 250"/>
                <a:gd name="T22" fmla="*/ 44 w 250"/>
                <a:gd name="T23" fmla="*/ 74 h 250"/>
                <a:gd name="T24" fmla="*/ 25 w 250"/>
                <a:gd name="T25" fmla="*/ 106 h 250"/>
                <a:gd name="T26" fmla="*/ 10 w 250"/>
                <a:gd name="T27" fmla="*/ 137 h 250"/>
                <a:gd name="T28" fmla="*/ 5 w 250"/>
                <a:gd name="T29" fmla="*/ 157 h 250"/>
                <a:gd name="T30" fmla="*/ 0 w 250"/>
                <a:gd name="T31" fmla="*/ 182 h 250"/>
                <a:gd name="T32" fmla="*/ 3 w 250"/>
                <a:gd name="T33" fmla="*/ 211 h 250"/>
                <a:gd name="T34" fmla="*/ 10 w 250"/>
                <a:gd name="T35" fmla="*/ 231 h 250"/>
                <a:gd name="T36" fmla="*/ 20 w 250"/>
                <a:gd name="T37" fmla="*/ 240 h 250"/>
                <a:gd name="T38" fmla="*/ 37 w 250"/>
                <a:gd name="T39" fmla="*/ 248 h 250"/>
                <a:gd name="T40" fmla="*/ 59 w 250"/>
                <a:gd name="T41" fmla="*/ 250 h 250"/>
                <a:gd name="T42" fmla="*/ 84 w 250"/>
                <a:gd name="T43" fmla="*/ 248 h 250"/>
                <a:gd name="T44" fmla="*/ 108 w 250"/>
                <a:gd name="T45" fmla="*/ 243 h 250"/>
                <a:gd name="T46" fmla="*/ 135 w 250"/>
                <a:gd name="T47" fmla="*/ 231 h 250"/>
                <a:gd name="T48" fmla="*/ 160 w 250"/>
                <a:gd name="T49" fmla="*/ 218 h 250"/>
                <a:gd name="T50" fmla="*/ 184 w 250"/>
                <a:gd name="T51" fmla="*/ 199 h 250"/>
                <a:gd name="T52" fmla="*/ 206 w 250"/>
                <a:gd name="T53" fmla="*/ 177 h 250"/>
                <a:gd name="T54" fmla="*/ 221 w 250"/>
                <a:gd name="T55" fmla="*/ 155 h 250"/>
                <a:gd name="T56" fmla="*/ 236 w 250"/>
                <a:gd name="T57" fmla="*/ 128 h 250"/>
                <a:gd name="T58" fmla="*/ 243 w 250"/>
                <a:gd name="T59" fmla="*/ 103 h 250"/>
                <a:gd name="T60" fmla="*/ 248 w 250"/>
                <a:gd name="T61" fmla="*/ 74 h 250"/>
                <a:gd name="T62" fmla="*/ 76 w 250"/>
                <a:gd name="T63" fmla="*/ 236 h 250"/>
                <a:gd name="T64" fmla="*/ 47 w 250"/>
                <a:gd name="T65" fmla="*/ 236 h 250"/>
                <a:gd name="T66" fmla="*/ 27 w 250"/>
                <a:gd name="T67" fmla="*/ 231 h 250"/>
                <a:gd name="T68" fmla="*/ 20 w 250"/>
                <a:gd name="T69" fmla="*/ 223 h 250"/>
                <a:gd name="T70" fmla="*/ 15 w 250"/>
                <a:gd name="T71" fmla="*/ 209 h 250"/>
                <a:gd name="T72" fmla="*/ 12 w 250"/>
                <a:gd name="T73" fmla="*/ 189 h 250"/>
                <a:gd name="T74" fmla="*/ 17 w 250"/>
                <a:gd name="T75" fmla="*/ 160 h 250"/>
                <a:gd name="T76" fmla="*/ 76 w 250"/>
                <a:gd name="T77" fmla="*/ 236 h 250"/>
                <a:gd name="T78" fmla="*/ 218 w 250"/>
                <a:gd name="T79" fmla="*/ 135 h 250"/>
                <a:gd name="T80" fmla="*/ 199 w 250"/>
                <a:gd name="T81" fmla="*/ 164 h 250"/>
                <a:gd name="T82" fmla="*/ 179 w 250"/>
                <a:gd name="T83" fmla="*/ 187 h 250"/>
                <a:gd name="T84" fmla="*/ 152 w 250"/>
                <a:gd name="T85" fmla="*/ 209 h 250"/>
                <a:gd name="T86" fmla="*/ 125 w 250"/>
                <a:gd name="T87" fmla="*/ 221 h 250"/>
                <a:gd name="T88" fmla="*/ 106 w 250"/>
                <a:gd name="T89" fmla="*/ 231 h 250"/>
                <a:gd name="T90" fmla="*/ 25 w 250"/>
                <a:gd name="T91" fmla="*/ 133 h 250"/>
                <a:gd name="T92" fmla="*/ 37 w 250"/>
                <a:gd name="T93" fmla="*/ 106 h 250"/>
                <a:gd name="T94" fmla="*/ 57 w 250"/>
                <a:gd name="T95" fmla="*/ 79 h 250"/>
                <a:gd name="T96" fmla="*/ 79 w 250"/>
                <a:gd name="T97" fmla="*/ 59 h 250"/>
                <a:gd name="T98" fmla="*/ 103 w 250"/>
                <a:gd name="T99" fmla="*/ 39 h 250"/>
                <a:gd name="T100" fmla="*/ 125 w 250"/>
                <a:gd name="T101" fmla="*/ 30 h 250"/>
                <a:gd name="T102" fmla="*/ 145 w 250"/>
                <a:gd name="T103" fmla="*/ 20 h 250"/>
                <a:gd name="T104" fmla="*/ 223 w 250"/>
                <a:gd name="T105" fmla="*/ 123 h 250"/>
                <a:gd name="T106" fmla="*/ 233 w 250"/>
                <a:gd name="T107" fmla="*/ 91 h 250"/>
                <a:gd name="T108" fmla="*/ 174 w 250"/>
                <a:gd name="T109" fmla="*/ 15 h 250"/>
                <a:gd name="T110" fmla="*/ 206 w 250"/>
                <a:gd name="T111" fmla="*/ 15 h 250"/>
                <a:gd name="T112" fmla="*/ 223 w 250"/>
                <a:gd name="T113" fmla="*/ 20 h 250"/>
                <a:gd name="T114" fmla="*/ 231 w 250"/>
                <a:gd name="T115" fmla="*/ 27 h 250"/>
                <a:gd name="T116" fmla="*/ 236 w 250"/>
                <a:gd name="T117" fmla="*/ 39 h 250"/>
                <a:gd name="T118" fmla="*/ 238 w 250"/>
                <a:gd name="T119" fmla="*/ 6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0" h="250">
                  <a:moveTo>
                    <a:pt x="250" y="59"/>
                  </a:moveTo>
                  <a:lnTo>
                    <a:pt x="250" y="49"/>
                  </a:lnTo>
                  <a:lnTo>
                    <a:pt x="248" y="35"/>
                  </a:lnTo>
                  <a:lnTo>
                    <a:pt x="245" y="27"/>
                  </a:lnTo>
                  <a:lnTo>
                    <a:pt x="240" y="20"/>
                  </a:lnTo>
                  <a:lnTo>
                    <a:pt x="238" y="15"/>
                  </a:lnTo>
                  <a:lnTo>
                    <a:pt x="236" y="12"/>
                  </a:lnTo>
                  <a:lnTo>
                    <a:pt x="231" y="10"/>
                  </a:lnTo>
                  <a:lnTo>
                    <a:pt x="221" y="5"/>
                  </a:lnTo>
                  <a:lnTo>
                    <a:pt x="209" y="3"/>
                  </a:lnTo>
                  <a:lnTo>
                    <a:pt x="201" y="3"/>
                  </a:lnTo>
                  <a:lnTo>
                    <a:pt x="191" y="0"/>
                  </a:lnTo>
                  <a:lnTo>
                    <a:pt x="182" y="0"/>
                  </a:lnTo>
                  <a:lnTo>
                    <a:pt x="167" y="3"/>
                  </a:lnTo>
                  <a:lnTo>
                    <a:pt x="152" y="5"/>
                  </a:lnTo>
                  <a:lnTo>
                    <a:pt x="142" y="8"/>
                  </a:lnTo>
                  <a:lnTo>
                    <a:pt x="128" y="12"/>
                  </a:lnTo>
                  <a:lnTo>
                    <a:pt x="115" y="20"/>
                  </a:lnTo>
                  <a:lnTo>
                    <a:pt x="106" y="25"/>
                  </a:lnTo>
                  <a:lnTo>
                    <a:pt x="91" y="32"/>
                  </a:lnTo>
                  <a:lnTo>
                    <a:pt x="74" y="44"/>
                  </a:lnTo>
                  <a:lnTo>
                    <a:pt x="64" y="57"/>
                  </a:lnTo>
                  <a:lnTo>
                    <a:pt x="57" y="64"/>
                  </a:lnTo>
                  <a:lnTo>
                    <a:pt x="44" y="74"/>
                  </a:lnTo>
                  <a:lnTo>
                    <a:pt x="35" y="88"/>
                  </a:lnTo>
                  <a:lnTo>
                    <a:pt x="25" y="106"/>
                  </a:lnTo>
                  <a:lnTo>
                    <a:pt x="15" y="123"/>
                  </a:lnTo>
                  <a:lnTo>
                    <a:pt x="10" y="137"/>
                  </a:lnTo>
                  <a:lnTo>
                    <a:pt x="8" y="142"/>
                  </a:lnTo>
                  <a:lnTo>
                    <a:pt x="5" y="157"/>
                  </a:lnTo>
                  <a:lnTo>
                    <a:pt x="3" y="172"/>
                  </a:lnTo>
                  <a:lnTo>
                    <a:pt x="0" y="182"/>
                  </a:lnTo>
                  <a:lnTo>
                    <a:pt x="0" y="191"/>
                  </a:lnTo>
                  <a:lnTo>
                    <a:pt x="3" y="211"/>
                  </a:lnTo>
                  <a:lnTo>
                    <a:pt x="5" y="223"/>
                  </a:lnTo>
                  <a:lnTo>
                    <a:pt x="10" y="231"/>
                  </a:lnTo>
                  <a:lnTo>
                    <a:pt x="15" y="236"/>
                  </a:lnTo>
                  <a:lnTo>
                    <a:pt x="20" y="240"/>
                  </a:lnTo>
                  <a:lnTo>
                    <a:pt x="27" y="245"/>
                  </a:lnTo>
                  <a:lnTo>
                    <a:pt x="37" y="248"/>
                  </a:lnTo>
                  <a:lnTo>
                    <a:pt x="44" y="248"/>
                  </a:lnTo>
                  <a:lnTo>
                    <a:pt x="59" y="250"/>
                  </a:lnTo>
                  <a:lnTo>
                    <a:pt x="74" y="248"/>
                  </a:lnTo>
                  <a:lnTo>
                    <a:pt x="84" y="248"/>
                  </a:lnTo>
                  <a:lnTo>
                    <a:pt x="98" y="245"/>
                  </a:lnTo>
                  <a:lnTo>
                    <a:pt x="108" y="243"/>
                  </a:lnTo>
                  <a:lnTo>
                    <a:pt x="123" y="238"/>
                  </a:lnTo>
                  <a:lnTo>
                    <a:pt x="135" y="231"/>
                  </a:lnTo>
                  <a:lnTo>
                    <a:pt x="145" y="226"/>
                  </a:lnTo>
                  <a:lnTo>
                    <a:pt x="160" y="218"/>
                  </a:lnTo>
                  <a:lnTo>
                    <a:pt x="172" y="209"/>
                  </a:lnTo>
                  <a:lnTo>
                    <a:pt x="184" y="199"/>
                  </a:lnTo>
                  <a:lnTo>
                    <a:pt x="196" y="187"/>
                  </a:lnTo>
                  <a:lnTo>
                    <a:pt x="206" y="177"/>
                  </a:lnTo>
                  <a:lnTo>
                    <a:pt x="211" y="167"/>
                  </a:lnTo>
                  <a:lnTo>
                    <a:pt x="221" y="155"/>
                  </a:lnTo>
                  <a:lnTo>
                    <a:pt x="228" y="140"/>
                  </a:lnTo>
                  <a:lnTo>
                    <a:pt x="236" y="128"/>
                  </a:lnTo>
                  <a:lnTo>
                    <a:pt x="240" y="113"/>
                  </a:lnTo>
                  <a:lnTo>
                    <a:pt x="243" y="103"/>
                  </a:lnTo>
                  <a:lnTo>
                    <a:pt x="248" y="88"/>
                  </a:lnTo>
                  <a:lnTo>
                    <a:pt x="248" y="74"/>
                  </a:lnTo>
                  <a:lnTo>
                    <a:pt x="250" y="59"/>
                  </a:lnTo>
                  <a:close/>
                  <a:moveTo>
                    <a:pt x="76" y="236"/>
                  </a:moveTo>
                  <a:lnTo>
                    <a:pt x="59" y="238"/>
                  </a:lnTo>
                  <a:lnTo>
                    <a:pt x="47" y="236"/>
                  </a:lnTo>
                  <a:lnTo>
                    <a:pt x="32" y="233"/>
                  </a:lnTo>
                  <a:lnTo>
                    <a:pt x="27" y="231"/>
                  </a:lnTo>
                  <a:lnTo>
                    <a:pt x="22" y="228"/>
                  </a:lnTo>
                  <a:lnTo>
                    <a:pt x="20" y="223"/>
                  </a:lnTo>
                  <a:lnTo>
                    <a:pt x="17" y="216"/>
                  </a:lnTo>
                  <a:lnTo>
                    <a:pt x="15" y="209"/>
                  </a:lnTo>
                  <a:lnTo>
                    <a:pt x="12" y="196"/>
                  </a:lnTo>
                  <a:lnTo>
                    <a:pt x="12" y="189"/>
                  </a:lnTo>
                  <a:lnTo>
                    <a:pt x="15" y="179"/>
                  </a:lnTo>
                  <a:lnTo>
                    <a:pt x="17" y="160"/>
                  </a:lnTo>
                  <a:lnTo>
                    <a:pt x="91" y="233"/>
                  </a:lnTo>
                  <a:lnTo>
                    <a:pt x="76" y="236"/>
                  </a:lnTo>
                  <a:close/>
                  <a:moveTo>
                    <a:pt x="223" y="123"/>
                  </a:moveTo>
                  <a:lnTo>
                    <a:pt x="218" y="135"/>
                  </a:lnTo>
                  <a:lnTo>
                    <a:pt x="211" y="147"/>
                  </a:lnTo>
                  <a:lnTo>
                    <a:pt x="199" y="164"/>
                  </a:lnTo>
                  <a:lnTo>
                    <a:pt x="189" y="174"/>
                  </a:lnTo>
                  <a:lnTo>
                    <a:pt x="179" y="187"/>
                  </a:lnTo>
                  <a:lnTo>
                    <a:pt x="164" y="199"/>
                  </a:lnTo>
                  <a:lnTo>
                    <a:pt x="152" y="209"/>
                  </a:lnTo>
                  <a:lnTo>
                    <a:pt x="140" y="216"/>
                  </a:lnTo>
                  <a:lnTo>
                    <a:pt x="125" y="221"/>
                  </a:lnTo>
                  <a:lnTo>
                    <a:pt x="108" y="228"/>
                  </a:lnTo>
                  <a:lnTo>
                    <a:pt x="106" y="231"/>
                  </a:lnTo>
                  <a:lnTo>
                    <a:pt x="20" y="145"/>
                  </a:lnTo>
                  <a:lnTo>
                    <a:pt x="25" y="133"/>
                  </a:lnTo>
                  <a:lnTo>
                    <a:pt x="30" y="120"/>
                  </a:lnTo>
                  <a:lnTo>
                    <a:pt x="37" y="106"/>
                  </a:lnTo>
                  <a:lnTo>
                    <a:pt x="47" y="93"/>
                  </a:lnTo>
                  <a:lnTo>
                    <a:pt x="57" y="79"/>
                  </a:lnTo>
                  <a:lnTo>
                    <a:pt x="69" y="69"/>
                  </a:lnTo>
                  <a:lnTo>
                    <a:pt x="79" y="59"/>
                  </a:lnTo>
                  <a:lnTo>
                    <a:pt x="91" y="49"/>
                  </a:lnTo>
                  <a:lnTo>
                    <a:pt x="103" y="39"/>
                  </a:lnTo>
                  <a:lnTo>
                    <a:pt x="115" y="32"/>
                  </a:lnTo>
                  <a:lnTo>
                    <a:pt x="125" y="30"/>
                  </a:lnTo>
                  <a:lnTo>
                    <a:pt x="140" y="22"/>
                  </a:lnTo>
                  <a:lnTo>
                    <a:pt x="145" y="20"/>
                  </a:lnTo>
                  <a:lnTo>
                    <a:pt x="231" y="106"/>
                  </a:lnTo>
                  <a:lnTo>
                    <a:pt x="223" y="123"/>
                  </a:lnTo>
                  <a:close/>
                  <a:moveTo>
                    <a:pt x="236" y="76"/>
                  </a:moveTo>
                  <a:lnTo>
                    <a:pt x="233" y="91"/>
                  </a:lnTo>
                  <a:lnTo>
                    <a:pt x="160" y="17"/>
                  </a:lnTo>
                  <a:lnTo>
                    <a:pt x="174" y="15"/>
                  </a:lnTo>
                  <a:lnTo>
                    <a:pt x="191" y="12"/>
                  </a:lnTo>
                  <a:lnTo>
                    <a:pt x="206" y="15"/>
                  </a:lnTo>
                  <a:lnTo>
                    <a:pt x="216" y="17"/>
                  </a:lnTo>
                  <a:lnTo>
                    <a:pt x="223" y="20"/>
                  </a:lnTo>
                  <a:lnTo>
                    <a:pt x="228" y="22"/>
                  </a:lnTo>
                  <a:lnTo>
                    <a:pt x="231" y="27"/>
                  </a:lnTo>
                  <a:lnTo>
                    <a:pt x="233" y="35"/>
                  </a:lnTo>
                  <a:lnTo>
                    <a:pt x="236" y="39"/>
                  </a:lnTo>
                  <a:lnTo>
                    <a:pt x="238" y="54"/>
                  </a:lnTo>
                  <a:lnTo>
                    <a:pt x="238" y="64"/>
                  </a:lnTo>
                  <a:lnTo>
                    <a:pt x="236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225">
              <a:extLst>
                <a:ext uri="{FF2B5EF4-FFF2-40B4-BE49-F238E27FC236}">
                  <a16:creationId xmlns:a16="http://schemas.microsoft.com/office/drawing/2014/main" id="{CB1EDF47-8E3C-40B3-98E1-2A8668E72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7" y="3675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26">
              <a:extLst>
                <a:ext uri="{FF2B5EF4-FFF2-40B4-BE49-F238E27FC236}">
                  <a16:creationId xmlns:a16="http://schemas.microsoft.com/office/drawing/2014/main" id="{3D7EC012-A31F-4805-867F-9A99E6B10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3742"/>
              <a:ext cx="88" cy="90"/>
            </a:xfrm>
            <a:custGeom>
              <a:avLst/>
              <a:gdLst>
                <a:gd name="T0" fmla="*/ 0 w 88"/>
                <a:gd name="T1" fmla="*/ 88 h 90"/>
                <a:gd name="T2" fmla="*/ 2 w 88"/>
                <a:gd name="T3" fmla="*/ 90 h 90"/>
                <a:gd name="T4" fmla="*/ 2 w 88"/>
                <a:gd name="T5" fmla="*/ 90 h 90"/>
                <a:gd name="T6" fmla="*/ 5 w 88"/>
                <a:gd name="T7" fmla="*/ 90 h 90"/>
                <a:gd name="T8" fmla="*/ 22 w 88"/>
                <a:gd name="T9" fmla="*/ 80 h 90"/>
                <a:gd name="T10" fmla="*/ 37 w 88"/>
                <a:gd name="T11" fmla="*/ 71 h 90"/>
                <a:gd name="T12" fmla="*/ 51 w 88"/>
                <a:gd name="T13" fmla="*/ 58 h 90"/>
                <a:gd name="T14" fmla="*/ 69 w 88"/>
                <a:gd name="T15" fmla="*/ 39 h 90"/>
                <a:gd name="T16" fmla="*/ 81 w 88"/>
                <a:gd name="T17" fmla="*/ 19 h 90"/>
                <a:gd name="T18" fmla="*/ 88 w 88"/>
                <a:gd name="T19" fmla="*/ 4 h 90"/>
                <a:gd name="T20" fmla="*/ 88 w 88"/>
                <a:gd name="T21" fmla="*/ 4 h 90"/>
                <a:gd name="T22" fmla="*/ 88 w 88"/>
                <a:gd name="T23" fmla="*/ 2 h 90"/>
                <a:gd name="T24" fmla="*/ 86 w 88"/>
                <a:gd name="T25" fmla="*/ 2 h 90"/>
                <a:gd name="T26" fmla="*/ 86 w 88"/>
                <a:gd name="T27" fmla="*/ 2 h 90"/>
                <a:gd name="T28" fmla="*/ 86 w 88"/>
                <a:gd name="T29" fmla="*/ 2 h 90"/>
                <a:gd name="T30" fmla="*/ 83 w 88"/>
                <a:gd name="T31" fmla="*/ 0 h 90"/>
                <a:gd name="T32" fmla="*/ 86 w 88"/>
                <a:gd name="T33" fmla="*/ 2 h 90"/>
                <a:gd name="T34" fmla="*/ 83 w 88"/>
                <a:gd name="T35" fmla="*/ 2 h 90"/>
                <a:gd name="T36" fmla="*/ 81 w 88"/>
                <a:gd name="T37" fmla="*/ 4 h 90"/>
                <a:gd name="T38" fmla="*/ 71 w 88"/>
                <a:gd name="T39" fmla="*/ 19 h 90"/>
                <a:gd name="T40" fmla="*/ 61 w 88"/>
                <a:gd name="T41" fmla="*/ 34 h 90"/>
                <a:gd name="T42" fmla="*/ 49 w 88"/>
                <a:gd name="T43" fmla="*/ 46 h 90"/>
                <a:gd name="T44" fmla="*/ 32 w 88"/>
                <a:gd name="T45" fmla="*/ 63 h 90"/>
                <a:gd name="T46" fmla="*/ 15 w 88"/>
                <a:gd name="T47" fmla="*/ 76 h 90"/>
                <a:gd name="T48" fmla="*/ 0 w 88"/>
                <a:gd name="T49" fmla="*/ 85 h 90"/>
                <a:gd name="T50" fmla="*/ 0 w 88"/>
                <a:gd name="T51" fmla="*/ 85 h 90"/>
                <a:gd name="T52" fmla="*/ 0 w 88"/>
                <a:gd name="T53" fmla="*/ 85 h 90"/>
                <a:gd name="T54" fmla="*/ 0 w 88"/>
                <a:gd name="T55" fmla="*/ 88 h 90"/>
                <a:gd name="T56" fmla="*/ 0 w 88"/>
                <a:gd name="T57" fmla="*/ 8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8" h="90">
                  <a:moveTo>
                    <a:pt x="0" y="88"/>
                  </a:moveTo>
                  <a:lnTo>
                    <a:pt x="2" y="90"/>
                  </a:lnTo>
                  <a:lnTo>
                    <a:pt x="2" y="90"/>
                  </a:lnTo>
                  <a:lnTo>
                    <a:pt x="5" y="90"/>
                  </a:lnTo>
                  <a:lnTo>
                    <a:pt x="22" y="80"/>
                  </a:lnTo>
                  <a:lnTo>
                    <a:pt x="37" y="71"/>
                  </a:lnTo>
                  <a:lnTo>
                    <a:pt x="51" y="58"/>
                  </a:lnTo>
                  <a:lnTo>
                    <a:pt x="69" y="39"/>
                  </a:lnTo>
                  <a:lnTo>
                    <a:pt x="81" y="19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83" y="2"/>
                  </a:lnTo>
                  <a:lnTo>
                    <a:pt x="81" y="4"/>
                  </a:lnTo>
                  <a:lnTo>
                    <a:pt x="71" y="19"/>
                  </a:lnTo>
                  <a:lnTo>
                    <a:pt x="61" y="34"/>
                  </a:lnTo>
                  <a:lnTo>
                    <a:pt x="49" y="46"/>
                  </a:lnTo>
                  <a:lnTo>
                    <a:pt x="32" y="63"/>
                  </a:lnTo>
                  <a:lnTo>
                    <a:pt x="15" y="7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Rectangle 227">
              <a:extLst>
                <a:ext uri="{FF2B5EF4-FFF2-40B4-BE49-F238E27FC236}">
                  <a16:creationId xmlns:a16="http://schemas.microsoft.com/office/drawing/2014/main" id="{E2EF41AE-2DD5-4F09-9E63-47855D474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6" y="3759"/>
              <a:ext cx="1" cy="1"/>
            </a:xfrm>
            <a:prstGeom prst="rect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28">
              <a:extLst>
                <a:ext uri="{FF2B5EF4-FFF2-40B4-BE49-F238E27FC236}">
                  <a16:creationId xmlns:a16="http://schemas.microsoft.com/office/drawing/2014/main" id="{A90FE841-6C12-4350-8FEA-37038D80D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6" y="3675"/>
              <a:ext cx="113" cy="113"/>
            </a:xfrm>
            <a:custGeom>
              <a:avLst/>
              <a:gdLst>
                <a:gd name="T0" fmla="*/ 52 w 113"/>
                <a:gd name="T1" fmla="*/ 89 h 113"/>
                <a:gd name="T2" fmla="*/ 49 w 113"/>
                <a:gd name="T3" fmla="*/ 84 h 113"/>
                <a:gd name="T4" fmla="*/ 54 w 113"/>
                <a:gd name="T5" fmla="*/ 62 h 113"/>
                <a:gd name="T6" fmla="*/ 69 w 113"/>
                <a:gd name="T7" fmla="*/ 71 h 113"/>
                <a:gd name="T8" fmla="*/ 71 w 113"/>
                <a:gd name="T9" fmla="*/ 67 h 113"/>
                <a:gd name="T10" fmla="*/ 69 w 113"/>
                <a:gd name="T11" fmla="*/ 64 h 113"/>
                <a:gd name="T12" fmla="*/ 76 w 113"/>
                <a:gd name="T13" fmla="*/ 42 h 113"/>
                <a:gd name="T14" fmla="*/ 89 w 113"/>
                <a:gd name="T15" fmla="*/ 52 h 113"/>
                <a:gd name="T16" fmla="*/ 91 w 113"/>
                <a:gd name="T17" fmla="*/ 52 h 113"/>
                <a:gd name="T18" fmla="*/ 89 w 113"/>
                <a:gd name="T19" fmla="*/ 49 h 113"/>
                <a:gd name="T20" fmla="*/ 91 w 113"/>
                <a:gd name="T21" fmla="*/ 47 h 113"/>
                <a:gd name="T22" fmla="*/ 91 w 113"/>
                <a:gd name="T23" fmla="*/ 44 h 113"/>
                <a:gd name="T24" fmla="*/ 98 w 113"/>
                <a:gd name="T25" fmla="*/ 22 h 113"/>
                <a:gd name="T26" fmla="*/ 111 w 113"/>
                <a:gd name="T27" fmla="*/ 32 h 113"/>
                <a:gd name="T28" fmla="*/ 113 w 113"/>
                <a:gd name="T29" fmla="*/ 27 h 113"/>
                <a:gd name="T30" fmla="*/ 113 w 113"/>
                <a:gd name="T31" fmla="*/ 25 h 113"/>
                <a:gd name="T32" fmla="*/ 89 w 113"/>
                <a:gd name="T33" fmla="*/ 0 h 113"/>
                <a:gd name="T34" fmla="*/ 86 w 113"/>
                <a:gd name="T35" fmla="*/ 0 h 113"/>
                <a:gd name="T36" fmla="*/ 81 w 113"/>
                <a:gd name="T37" fmla="*/ 0 h 113"/>
                <a:gd name="T38" fmla="*/ 84 w 113"/>
                <a:gd name="T39" fmla="*/ 3 h 113"/>
                <a:gd name="T40" fmla="*/ 84 w 113"/>
                <a:gd name="T41" fmla="*/ 8 h 113"/>
                <a:gd name="T42" fmla="*/ 91 w 113"/>
                <a:gd name="T43" fmla="*/ 17 h 113"/>
                <a:gd name="T44" fmla="*/ 67 w 113"/>
                <a:gd name="T45" fmla="*/ 20 h 113"/>
                <a:gd name="T46" fmla="*/ 64 w 113"/>
                <a:gd name="T47" fmla="*/ 20 h 113"/>
                <a:gd name="T48" fmla="*/ 62 w 113"/>
                <a:gd name="T49" fmla="*/ 17 h 113"/>
                <a:gd name="T50" fmla="*/ 62 w 113"/>
                <a:gd name="T51" fmla="*/ 20 h 113"/>
                <a:gd name="T52" fmla="*/ 59 w 113"/>
                <a:gd name="T53" fmla="*/ 25 h 113"/>
                <a:gd name="T54" fmla="*/ 69 w 113"/>
                <a:gd name="T55" fmla="*/ 35 h 113"/>
                <a:gd name="T56" fmla="*/ 44 w 113"/>
                <a:gd name="T57" fmla="*/ 40 h 113"/>
                <a:gd name="T58" fmla="*/ 42 w 113"/>
                <a:gd name="T59" fmla="*/ 40 h 113"/>
                <a:gd name="T60" fmla="*/ 37 w 113"/>
                <a:gd name="T61" fmla="*/ 42 h 113"/>
                <a:gd name="T62" fmla="*/ 40 w 113"/>
                <a:gd name="T63" fmla="*/ 42 h 113"/>
                <a:gd name="T64" fmla="*/ 40 w 113"/>
                <a:gd name="T65" fmla="*/ 47 h 113"/>
                <a:gd name="T66" fmla="*/ 35 w 113"/>
                <a:gd name="T67" fmla="*/ 69 h 113"/>
                <a:gd name="T68" fmla="*/ 25 w 113"/>
                <a:gd name="T69" fmla="*/ 59 h 113"/>
                <a:gd name="T70" fmla="*/ 20 w 113"/>
                <a:gd name="T71" fmla="*/ 59 h 113"/>
                <a:gd name="T72" fmla="*/ 22 w 113"/>
                <a:gd name="T73" fmla="*/ 62 h 113"/>
                <a:gd name="T74" fmla="*/ 20 w 113"/>
                <a:gd name="T75" fmla="*/ 64 h 113"/>
                <a:gd name="T76" fmla="*/ 20 w 113"/>
                <a:gd name="T77" fmla="*/ 67 h 113"/>
                <a:gd name="T78" fmla="*/ 15 w 113"/>
                <a:gd name="T79" fmla="*/ 91 h 113"/>
                <a:gd name="T80" fmla="*/ 5 w 113"/>
                <a:gd name="T81" fmla="*/ 81 h 113"/>
                <a:gd name="T82" fmla="*/ 0 w 113"/>
                <a:gd name="T83" fmla="*/ 84 h 113"/>
                <a:gd name="T84" fmla="*/ 3 w 113"/>
                <a:gd name="T85" fmla="*/ 89 h 113"/>
                <a:gd name="T86" fmla="*/ 30 w 113"/>
                <a:gd name="T87" fmla="*/ 113 h 113"/>
                <a:gd name="T88" fmla="*/ 32 w 113"/>
                <a:gd name="T89" fmla="*/ 111 h 113"/>
                <a:gd name="T90" fmla="*/ 32 w 113"/>
                <a:gd name="T91" fmla="*/ 111 h 113"/>
                <a:gd name="T92" fmla="*/ 30 w 113"/>
                <a:gd name="T93" fmla="*/ 106 h 113"/>
                <a:gd name="T94" fmla="*/ 35 w 113"/>
                <a:gd name="T95" fmla="*/ 81 h 113"/>
                <a:gd name="T96" fmla="*/ 47 w 113"/>
                <a:gd name="T97" fmla="*/ 91 h 113"/>
                <a:gd name="T98" fmla="*/ 49 w 113"/>
                <a:gd name="T99" fmla="*/ 93 h 113"/>
                <a:gd name="T100" fmla="*/ 49 w 113"/>
                <a:gd name="T101" fmla="*/ 91 h 113"/>
                <a:gd name="T102" fmla="*/ 52 w 113"/>
                <a:gd name="T103" fmla="*/ 91 h 113"/>
                <a:gd name="T104" fmla="*/ 52 w 113"/>
                <a:gd name="T105" fmla="*/ 89 h 113"/>
                <a:gd name="T106" fmla="*/ 52 w 113"/>
                <a:gd name="T107" fmla="*/ 8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" h="113">
                  <a:moveTo>
                    <a:pt x="52" y="89"/>
                  </a:moveTo>
                  <a:lnTo>
                    <a:pt x="52" y="89"/>
                  </a:lnTo>
                  <a:lnTo>
                    <a:pt x="49" y="86"/>
                  </a:lnTo>
                  <a:lnTo>
                    <a:pt x="49" y="84"/>
                  </a:lnTo>
                  <a:lnTo>
                    <a:pt x="42" y="76"/>
                  </a:lnTo>
                  <a:lnTo>
                    <a:pt x="54" y="62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2" y="54"/>
                  </a:lnTo>
                  <a:lnTo>
                    <a:pt x="76" y="42"/>
                  </a:lnTo>
                  <a:lnTo>
                    <a:pt x="86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91" y="52"/>
                  </a:lnTo>
                  <a:lnTo>
                    <a:pt x="91" y="52"/>
                  </a:lnTo>
                  <a:lnTo>
                    <a:pt x="89" y="49"/>
                  </a:lnTo>
                  <a:lnTo>
                    <a:pt x="91" y="49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4"/>
                  </a:lnTo>
                  <a:lnTo>
                    <a:pt x="81" y="35"/>
                  </a:lnTo>
                  <a:lnTo>
                    <a:pt x="98" y="22"/>
                  </a:lnTo>
                  <a:lnTo>
                    <a:pt x="108" y="32"/>
                  </a:lnTo>
                  <a:lnTo>
                    <a:pt x="111" y="32"/>
                  </a:lnTo>
                  <a:lnTo>
                    <a:pt x="113" y="30"/>
                  </a:lnTo>
                  <a:lnTo>
                    <a:pt x="113" y="27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113" y="25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4" y="3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4" y="3"/>
                  </a:lnTo>
                  <a:lnTo>
                    <a:pt x="81" y="5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1" y="17"/>
                  </a:lnTo>
                  <a:lnTo>
                    <a:pt x="76" y="30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2" y="17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2" y="27"/>
                  </a:lnTo>
                  <a:lnTo>
                    <a:pt x="69" y="35"/>
                  </a:lnTo>
                  <a:lnTo>
                    <a:pt x="54" y="4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2" y="40"/>
                  </a:lnTo>
                  <a:lnTo>
                    <a:pt x="40" y="42"/>
                  </a:lnTo>
                  <a:lnTo>
                    <a:pt x="37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9" y="54"/>
                  </a:lnTo>
                  <a:lnTo>
                    <a:pt x="35" y="6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2" y="62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2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30" y="76"/>
                  </a:lnTo>
                  <a:lnTo>
                    <a:pt x="15" y="9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3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3" y="89"/>
                  </a:lnTo>
                  <a:lnTo>
                    <a:pt x="27" y="113"/>
                  </a:lnTo>
                  <a:lnTo>
                    <a:pt x="30" y="113"/>
                  </a:lnTo>
                  <a:lnTo>
                    <a:pt x="32" y="113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08"/>
                  </a:lnTo>
                  <a:lnTo>
                    <a:pt x="30" y="106"/>
                  </a:lnTo>
                  <a:lnTo>
                    <a:pt x="22" y="98"/>
                  </a:lnTo>
                  <a:lnTo>
                    <a:pt x="35" y="81"/>
                  </a:lnTo>
                  <a:lnTo>
                    <a:pt x="44" y="91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2" y="91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29">
              <a:extLst>
                <a:ext uri="{FF2B5EF4-FFF2-40B4-BE49-F238E27FC236}">
                  <a16:creationId xmlns:a16="http://schemas.microsoft.com/office/drawing/2014/main" id="{671E1CF8-82D6-406A-9B94-99A9FAAFED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2" y="3631"/>
              <a:ext cx="250" cy="250"/>
            </a:xfrm>
            <a:custGeom>
              <a:avLst/>
              <a:gdLst>
                <a:gd name="T0" fmla="*/ 250 w 250"/>
                <a:gd name="T1" fmla="*/ 49 h 250"/>
                <a:gd name="T2" fmla="*/ 245 w 250"/>
                <a:gd name="T3" fmla="*/ 27 h 250"/>
                <a:gd name="T4" fmla="*/ 238 w 250"/>
                <a:gd name="T5" fmla="*/ 15 h 250"/>
                <a:gd name="T6" fmla="*/ 231 w 250"/>
                <a:gd name="T7" fmla="*/ 10 h 250"/>
                <a:gd name="T8" fmla="*/ 209 w 250"/>
                <a:gd name="T9" fmla="*/ 3 h 250"/>
                <a:gd name="T10" fmla="*/ 191 w 250"/>
                <a:gd name="T11" fmla="*/ 0 h 250"/>
                <a:gd name="T12" fmla="*/ 167 w 250"/>
                <a:gd name="T13" fmla="*/ 3 h 250"/>
                <a:gd name="T14" fmla="*/ 142 w 250"/>
                <a:gd name="T15" fmla="*/ 8 h 250"/>
                <a:gd name="T16" fmla="*/ 115 w 250"/>
                <a:gd name="T17" fmla="*/ 20 h 250"/>
                <a:gd name="T18" fmla="*/ 91 w 250"/>
                <a:gd name="T19" fmla="*/ 32 h 250"/>
                <a:gd name="T20" fmla="*/ 64 w 250"/>
                <a:gd name="T21" fmla="*/ 57 h 250"/>
                <a:gd name="T22" fmla="*/ 44 w 250"/>
                <a:gd name="T23" fmla="*/ 74 h 250"/>
                <a:gd name="T24" fmla="*/ 25 w 250"/>
                <a:gd name="T25" fmla="*/ 106 h 250"/>
                <a:gd name="T26" fmla="*/ 10 w 250"/>
                <a:gd name="T27" fmla="*/ 137 h 250"/>
                <a:gd name="T28" fmla="*/ 5 w 250"/>
                <a:gd name="T29" fmla="*/ 157 h 250"/>
                <a:gd name="T30" fmla="*/ 0 w 250"/>
                <a:gd name="T31" fmla="*/ 182 h 250"/>
                <a:gd name="T32" fmla="*/ 3 w 250"/>
                <a:gd name="T33" fmla="*/ 211 h 250"/>
                <a:gd name="T34" fmla="*/ 10 w 250"/>
                <a:gd name="T35" fmla="*/ 231 h 250"/>
                <a:gd name="T36" fmla="*/ 20 w 250"/>
                <a:gd name="T37" fmla="*/ 240 h 250"/>
                <a:gd name="T38" fmla="*/ 37 w 250"/>
                <a:gd name="T39" fmla="*/ 248 h 250"/>
                <a:gd name="T40" fmla="*/ 59 w 250"/>
                <a:gd name="T41" fmla="*/ 250 h 250"/>
                <a:gd name="T42" fmla="*/ 84 w 250"/>
                <a:gd name="T43" fmla="*/ 248 h 250"/>
                <a:gd name="T44" fmla="*/ 108 w 250"/>
                <a:gd name="T45" fmla="*/ 243 h 250"/>
                <a:gd name="T46" fmla="*/ 135 w 250"/>
                <a:gd name="T47" fmla="*/ 231 h 250"/>
                <a:gd name="T48" fmla="*/ 160 w 250"/>
                <a:gd name="T49" fmla="*/ 218 h 250"/>
                <a:gd name="T50" fmla="*/ 184 w 250"/>
                <a:gd name="T51" fmla="*/ 199 h 250"/>
                <a:gd name="T52" fmla="*/ 206 w 250"/>
                <a:gd name="T53" fmla="*/ 177 h 250"/>
                <a:gd name="T54" fmla="*/ 221 w 250"/>
                <a:gd name="T55" fmla="*/ 155 h 250"/>
                <a:gd name="T56" fmla="*/ 236 w 250"/>
                <a:gd name="T57" fmla="*/ 128 h 250"/>
                <a:gd name="T58" fmla="*/ 243 w 250"/>
                <a:gd name="T59" fmla="*/ 103 h 250"/>
                <a:gd name="T60" fmla="*/ 248 w 250"/>
                <a:gd name="T61" fmla="*/ 74 h 250"/>
                <a:gd name="T62" fmla="*/ 76 w 250"/>
                <a:gd name="T63" fmla="*/ 236 h 250"/>
                <a:gd name="T64" fmla="*/ 47 w 250"/>
                <a:gd name="T65" fmla="*/ 236 h 250"/>
                <a:gd name="T66" fmla="*/ 27 w 250"/>
                <a:gd name="T67" fmla="*/ 231 h 250"/>
                <a:gd name="T68" fmla="*/ 20 w 250"/>
                <a:gd name="T69" fmla="*/ 223 h 250"/>
                <a:gd name="T70" fmla="*/ 15 w 250"/>
                <a:gd name="T71" fmla="*/ 209 h 250"/>
                <a:gd name="T72" fmla="*/ 12 w 250"/>
                <a:gd name="T73" fmla="*/ 189 h 250"/>
                <a:gd name="T74" fmla="*/ 17 w 250"/>
                <a:gd name="T75" fmla="*/ 160 h 250"/>
                <a:gd name="T76" fmla="*/ 76 w 250"/>
                <a:gd name="T77" fmla="*/ 236 h 250"/>
                <a:gd name="T78" fmla="*/ 218 w 250"/>
                <a:gd name="T79" fmla="*/ 135 h 250"/>
                <a:gd name="T80" fmla="*/ 199 w 250"/>
                <a:gd name="T81" fmla="*/ 164 h 250"/>
                <a:gd name="T82" fmla="*/ 179 w 250"/>
                <a:gd name="T83" fmla="*/ 187 h 250"/>
                <a:gd name="T84" fmla="*/ 152 w 250"/>
                <a:gd name="T85" fmla="*/ 209 h 250"/>
                <a:gd name="T86" fmla="*/ 125 w 250"/>
                <a:gd name="T87" fmla="*/ 221 h 250"/>
                <a:gd name="T88" fmla="*/ 106 w 250"/>
                <a:gd name="T89" fmla="*/ 231 h 250"/>
                <a:gd name="T90" fmla="*/ 25 w 250"/>
                <a:gd name="T91" fmla="*/ 133 h 250"/>
                <a:gd name="T92" fmla="*/ 37 w 250"/>
                <a:gd name="T93" fmla="*/ 106 h 250"/>
                <a:gd name="T94" fmla="*/ 57 w 250"/>
                <a:gd name="T95" fmla="*/ 79 h 250"/>
                <a:gd name="T96" fmla="*/ 79 w 250"/>
                <a:gd name="T97" fmla="*/ 59 h 250"/>
                <a:gd name="T98" fmla="*/ 103 w 250"/>
                <a:gd name="T99" fmla="*/ 39 h 250"/>
                <a:gd name="T100" fmla="*/ 125 w 250"/>
                <a:gd name="T101" fmla="*/ 30 h 250"/>
                <a:gd name="T102" fmla="*/ 145 w 250"/>
                <a:gd name="T103" fmla="*/ 20 h 250"/>
                <a:gd name="T104" fmla="*/ 223 w 250"/>
                <a:gd name="T105" fmla="*/ 123 h 250"/>
                <a:gd name="T106" fmla="*/ 233 w 250"/>
                <a:gd name="T107" fmla="*/ 91 h 250"/>
                <a:gd name="T108" fmla="*/ 174 w 250"/>
                <a:gd name="T109" fmla="*/ 15 h 250"/>
                <a:gd name="T110" fmla="*/ 206 w 250"/>
                <a:gd name="T111" fmla="*/ 15 h 250"/>
                <a:gd name="T112" fmla="*/ 223 w 250"/>
                <a:gd name="T113" fmla="*/ 20 h 250"/>
                <a:gd name="T114" fmla="*/ 231 w 250"/>
                <a:gd name="T115" fmla="*/ 27 h 250"/>
                <a:gd name="T116" fmla="*/ 236 w 250"/>
                <a:gd name="T117" fmla="*/ 39 h 250"/>
                <a:gd name="T118" fmla="*/ 238 w 250"/>
                <a:gd name="T119" fmla="*/ 64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0" h="250">
                  <a:moveTo>
                    <a:pt x="250" y="59"/>
                  </a:moveTo>
                  <a:lnTo>
                    <a:pt x="250" y="49"/>
                  </a:lnTo>
                  <a:lnTo>
                    <a:pt x="248" y="35"/>
                  </a:lnTo>
                  <a:lnTo>
                    <a:pt x="245" y="27"/>
                  </a:lnTo>
                  <a:lnTo>
                    <a:pt x="240" y="20"/>
                  </a:lnTo>
                  <a:lnTo>
                    <a:pt x="238" y="15"/>
                  </a:lnTo>
                  <a:lnTo>
                    <a:pt x="236" y="12"/>
                  </a:lnTo>
                  <a:lnTo>
                    <a:pt x="231" y="10"/>
                  </a:lnTo>
                  <a:lnTo>
                    <a:pt x="221" y="5"/>
                  </a:lnTo>
                  <a:lnTo>
                    <a:pt x="209" y="3"/>
                  </a:lnTo>
                  <a:lnTo>
                    <a:pt x="201" y="3"/>
                  </a:lnTo>
                  <a:lnTo>
                    <a:pt x="191" y="0"/>
                  </a:lnTo>
                  <a:lnTo>
                    <a:pt x="182" y="0"/>
                  </a:lnTo>
                  <a:lnTo>
                    <a:pt x="167" y="3"/>
                  </a:lnTo>
                  <a:lnTo>
                    <a:pt x="152" y="5"/>
                  </a:lnTo>
                  <a:lnTo>
                    <a:pt x="142" y="8"/>
                  </a:lnTo>
                  <a:lnTo>
                    <a:pt x="128" y="12"/>
                  </a:lnTo>
                  <a:lnTo>
                    <a:pt x="115" y="20"/>
                  </a:lnTo>
                  <a:lnTo>
                    <a:pt x="106" y="25"/>
                  </a:lnTo>
                  <a:lnTo>
                    <a:pt x="91" y="32"/>
                  </a:lnTo>
                  <a:lnTo>
                    <a:pt x="74" y="44"/>
                  </a:lnTo>
                  <a:lnTo>
                    <a:pt x="64" y="57"/>
                  </a:lnTo>
                  <a:lnTo>
                    <a:pt x="57" y="64"/>
                  </a:lnTo>
                  <a:lnTo>
                    <a:pt x="44" y="74"/>
                  </a:lnTo>
                  <a:lnTo>
                    <a:pt x="35" y="88"/>
                  </a:lnTo>
                  <a:lnTo>
                    <a:pt x="25" y="106"/>
                  </a:lnTo>
                  <a:lnTo>
                    <a:pt x="15" y="123"/>
                  </a:lnTo>
                  <a:lnTo>
                    <a:pt x="10" y="137"/>
                  </a:lnTo>
                  <a:lnTo>
                    <a:pt x="8" y="142"/>
                  </a:lnTo>
                  <a:lnTo>
                    <a:pt x="5" y="157"/>
                  </a:lnTo>
                  <a:lnTo>
                    <a:pt x="3" y="172"/>
                  </a:lnTo>
                  <a:lnTo>
                    <a:pt x="0" y="182"/>
                  </a:lnTo>
                  <a:lnTo>
                    <a:pt x="0" y="191"/>
                  </a:lnTo>
                  <a:lnTo>
                    <a:pt x="3" y="211"/>
                  </a:lnTo>
                  <a:lnTo>
                    <a:pt x="5" y="223"/>
                  </a:lnTo>
                  <a:lnTo>
                    <a:pt x="10" y="231"/>
                  </a:lnTo>
                  <a:lnTo>
                    <a:pt x="15" y="236"/>
                  </a:lnTo>
                  <a:lnTo>
                    <a:pt x="20" y="240"/>
                  </a:lnTo>
                  <a:lnTo>
                    <a:pt x="27" y="245"/>
                  </a:lnTo>
                  <a:lnTo>
                    <a:pt x="37" y="248"/>
                  </a:lnTo>
                  <a:lnTo>
                    <a:pt x="44" y="248"/>
                  </a:lnTo>
                  <a:lnTo>
                    <a:pt x="59" y="250"/>
                  </a:lnTo>
                  <a:lnTo>
                    <a:pt x="74" y="248"/>
                  </a:lnTo>
                  <a:lnTo>
                    <a:pt x="84" y="248"/>
                  </a:lnTo>
                  <a:lnTo>
                    <a:pt x="98" y="245"/>
                  </a:lnTo>
                  <a:lnTo>
                    <a:pt x="108" y="243"/>
                  </a:lnTo>
                  <a:lnTo>
                    <a:pt x="123" y="238"/>
                  </a:lnTo>
                  <a:lnTo>
                    <a:pt x="135" y="231"/>
                  </a:lnTo>
                  <a:lnTo>
                    <a:pt x="145" y="226"/>
                  </a:lnTo>
                  <a:lnTo>
                    <a:pt x="160" y="218"/>
                  </a:lnTo>
                  <a:lnTo>
                    <a:pt x="172" y="209"/>
                  </a:lnTo>
                  <a:lnTo>
                    <a:pt x="184" y="199"/>
                  </a:lnTo>
                  <a:lnTo>
                    <a:pt x="196" y="187"/>
                  </a:lnTo>
                  <a:lnTo>
                    <a:pt x="206" y="177"/>
                  </a:lnTo>
                  <a:lnTo>
                    <a:pt x="211" y="167"/>
                  </a:lnTo>
                  <a:lnTo>
                    <a:pt x="221" y="155"/>
                  </a:lnTo>
                  <a:lnTo>
                    <a:pt x="228" y="140"/>
                  </a:lnTo>
                  <a:lnTo>
                    <a:pt x="236" y="128"/>
                  </a:lnTo>
                  <a:lnTo>
                    <a:pt x="240" y="113"/>
                  </a:lnTo>
                  <a:lnTo>
                    <a:pt x="243" y="103"/>
                  </a:lnTo>
                  <a:lnTo>
                    <a:pt x="248" y="88"/>
                  </a:lnTo>
                  <a:lnTo>
                    <a:pt x="248" y="74"/>
                  </a:lnTo>
                  <a:lnTo>
                    <a:pt x="250" y="59"/>
                  </a:lnTo>
                  <a:close/>
                  <a:moveTo>
                    <a:pt x="76" y="236"/>
                  </a:moveTo>
                  <a:lnTo>
                    <a:pt x="59" y="238"/>
                  </a:lnTo>
                  <a:lnTo>
                    <a:pt x="47" y="236"/>
                  </a:lnTo>
                  <a:lnTo>
                    <a:pt x="32" y="233"/>
                  </a:lnTo>
                  <a:lnTo>
                    <a:pt x="27" y="231"/>
                  </a:lnTo>
                  <a:lnTo>
                    <a:pt x="22" y="228"/>
                  </a:lnTo>
                  <a:lnTo>
                    <a:pt x="20" y="223"/>
                  </a:lnTo>
                  <a:lnTo>
                    <a:pt x="17" y="216"/>
                  </a:lnTo>
                  <a:lnTo>
                    <a:pt x="15" y="209"/>
                  </a:lnTo>
                  <a:lnTo>
                    <a:pt x="12" y="196"/>
                  </a:lnTo>
                  <a:lnTo>
                    <a:pt x="12" y="189"/>
                  </a:lnTo>
                  <a:lnTo>
                    <a:pt x="15" y="179"/>
                  </a:lnTo>
                  <a:lnTo>
                    <a:pt x="17" y="160"/>
                  </a:lnTo>
                  <a:lnTo>
                    <a:pt x="91" y="233"/>
                  </a:lnTo>
                  <a:lnTo>
                    <a:pt x="76" y="236"/>
                  </a:lnTo>
                  <a:close/>
                  <a:moveTo>
                    <a:pt x="223" y="123"/>
                  </a:moveTo>
                  <a:lnTo>
                    <a:pt x="218" y="135"/>
                  </a:lnTo>
                  <a:lnTo>
                    <a:pt x="211" y="147"/>
                  </a:lnTo>
                  <a:lnTo>
                    <a:pt x="199" y="164"/>
                  </a:lnTo>
                  <a:lnTo>
                    <a:pt x="189" y="174"/>
                  </a:lnTo>
                  <a:lnTo>
                    <a:pt x="179" y="187"/>
                  </a:lnTo>
                  <a:lnTo>
                    <a:pt x="164" y="199"/>
                  </a:lnTo>
                  <a:lnTo>
                    <a:pt x="152" y="209"/>
                  </a:lnTo>
                  <a:lnTo>
                    <a:pt x="140" y="216"/>
                  </a:lnTo>
                  <a:lnTo>
                    <a:pt x="125" y="221"/>
                  </a:lnTo>
                  <a:lnTo>
                    <a:pt x="108" y="228"/>
                  </a:lnTo>
                  <a:lnTo>
                    <a:pt x="106" y="231"/>
                  </a:lnTo>
                  <a:lnTo>
                    <a:pt x="20" y="145"/>
                  </a:lnTo>
                  <a:lnTo>
                    <a:pt x="25" y="133"/>
                  </a:lnTo>
                  <a:lnTo>
                    <a:pt x="30" y="120"/>
                  </a:lnTo>
                  <a:lnTo>
                    <a:pt x="37" y="106"/>
                  </a:lnTo>
                  <a:lnTo>
                    <a:pt x="47" y="93"/>
                  </a:lnTo>
                  <a:lnTo>
                    <a:pt x="57" y="79"/>
                  </a:lnTo>
                  <a:lnTo>
                    <a:pt x="69" y="69"/>
                  </a:lnTo>
                  <a:lnTo>
                    <a:pt x="79" y="59"/>
                  </a:lnTo>
                  <a:lnTo>
                    <a:pt x="91" y="49"/>
                  </a:lnTo>
                  <a:lnTo>
                    <a:pt x="103" y="39"/>
                  </a:lnTo>
                  <a:lnTo>
                    <a:pt x="115" y="32"/>
                  </a:lnTo>
                  <a:lnTo>
                    <a:pt x="125" y="30"/>
                  </a:lnTo>
                  <a:lnTo>
                    <a:pt x="140" y="22"/>
                  </a:lnTo>
                  <a:lnTo>
                    <a:pt x="145" y="20"/>
                  </a:lnTo>
                  <a:lnTo>
                    <a:pt x="231" y="106"/>
                  </a:lnTo>
                  <a:lnTo>
                    <a:pt x="223" y="123"/>
                  </a:lnTo>
                  <a:close/>
                  <a:moveTo>
                    <a:pt x="236" y="76"/>
                  </a:moveTo>
                  <a:lnTo>
                    <a:pt x="233" y="91"/>
                  </a:lnTo>
                  <a:lnTo>
                    <a:pt x="160" y="17"/>
                  </a:lnTo>
                  <a:lnTo>
                    <a:pt x="174" y="15"/>
                  </a:lnTo>
                  <a:lnTo>
                    <a:pt x="191" y="12"/>
                  </a:lnTo>
                  <a:lnTo>
                    <a:pt x="206" y="15"/>
                  </a:lnTo>
                  <a:lnTo>
                    <a:pt x="216" y="17"/>
                  </a:lnTo>
                  <a:lnTo>
                    <a:pt x="223" y="20"/>
                  </a:lnTo>
                  <a:lnTo>
                    <a:pt x="228" y="22"/>
                  </a:lnTo>
                  <a:lnTo>
                    <a:pt x="231" y="27"/>
                  </a:lnTo>
                  <a:lnTo>
                    <a:pt x="233" y="35"/>
                  </a:lnTo>
                  <a:lnTo>
                    <a:pt x="236" y="39"/>
                  </a:lnTo>
                  <a:lnTo>
                    <a:pt x="238" y="54"/>
                  </a:lnTo>
                  <a:lnTo>
                    <a:pt x="238" y="64"/>
                  </a:lnTo>
                  <a:lnTo>
                    <a:pt x="236" y="76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9" name="Group 232">
            <a:extLst>
              <a:ext uri="{FF2B5EF4-FFF2-40B4-BE49-F238E27FC236}">
                <a16:creationId xmlns:a16="http://schemas.microsoft.com/office/drawing/2014/main" id="{4854F124-15D9-4C90-AB69-0BE65014BAB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4181" y="5421186"/>
            <a:ext cx="842962" cy="839788"/>
            <a:chOff x="1623" y="3516"/>
            <a:chExt cx="531" cy="529"/>
          </a:xfrm>
        </p:grpSpPr>
        <p:sp>
          <p:nvSpPr>
            <p:cNvPr id="270" name="AutoShape 231">
              <a:extLst>
                <a:ext uri="{FF2B5EF4-FFF2-40B4-BE49-F238E27FC236}">
                  <a16:creationId xmlns:a16="http://schemas.microsoft.com/office/drawing/2014/main" id="{D7B5D473-B1B0-46B3-8F31-CCE785928F7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3" y="3516"/>
              <a:ext cx="531" cy="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233">
              <a:extLst>
                <a:ext uri="{FF2B5EF4-FFF2-40B4-BE49-F238E27FC236}">
                  <a16:creationId xmlns:a16="http://schemas.microsoft.com/office/drawing/2014/main" id="{CCDB69BB-D93B-43FA-9BA1-39E6894BC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3" y="3516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34">
              <a:extLst>
                <a:ext uri="{FF2B5EF4-FFF2-40B4-BE49-F238E27FC236}">
                  <a16:creationId xmlns:a16="http://schemas.microsoft.com/office/drawing/2014/main" id="{CD8F20D9-D692-4483-A2CE-BE98662796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1" y="3534"/>
              <a:ext cx="498" cy="49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235">
              <a:extLst>
                <a:ext uri="{FF2B5EF4-FFF2-40B4-BE49-F238E27FC236}">
                  <a16:creationId xmlns:a16="http://schemas.microsoft.com/office/drawing/2014/main" id="{857F8A16-2351-41A2-AD19-3FA001053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0" y="3697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36">
              <a:extLst>
                <a:ext uri="{FF2B5EF4-FFF2-40B4-BE49-F238E27FC236}">
                  <a16:creationId xmlns:a16="http://schemas.microsoft.com/office/drawing/2014/main" id="{552F5C41-9234-4D50-8B83-CE4E569B1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7" y="3766"/>
              <a:ext cx="92" cy="95"/>
            </a:xfrm>
            <a:custGeom>
              <a:avLst/>
              <a:gdLst>
                <a:gd name="T0" fmla="*/ 0 w 92"/>
                <a:gd name="T1" fmla="*/ 92 h 95"/>
                <a:gd name="T2" fmla="*/ 2 w 92"/>
                <a:gd name="T3" fmla="*/ 95 h 95"/>
                <a:gd name="T4" fmla="*/ 2 w 92"/>
                <a:gd name="T5" fmla="*/ 95 h 95"/>
                <a:gd name="T6" fmla="*/ 5 w 92"/>
                <a:gd name="T7" fmla="*/ 95 h 95"/>
                <a:gd name="T8" fmla="*/ 23 w 92"/>
                <a:gd name="T9" fmla="*/ 85 h 95"/>
                <a:gd name="T10" fmla="*/ 38 w 92"/>
                <a:gd name="T11" fmla="*/ 74 h 95"/>
                <a:gd name="T12" fmla="*/ 54 w 92"/>
                <a:gd name="T13" fmla="*/ 62 h 95"/>
                <a:gd name="T14" fmla="*/ 72 w 92"/>
                <a:gd name="T15" fmla="*/ 41 h 95"/>
                <a:gd name="T16" fmla="*/ 85 w 92"/>
                <a:gd name="T17" fmla="*/ 21 h 95"/>
                <a:gd name="T18" fmla="*/ 92 w 92"/>
                <a:gd name="T19" fmla="*/ 5 h 95"/>
                <a:gd name="T20" fmla="*/ 92 w 92"/>
                <a:gd name="T21" fmla="*/ 5 h 95"/>
                <a:gd name="T22" fmla="*/ 92 w 92"/>
                <a:gd name="T23" fmla="*/ 3 h 95"/>
                <a:gd name="T24" fmla="*/ 90 w 92"/>
                <a:gd name="T25" fmla="*/ 3 h 95"/>
                <a:gd name="T26" fmla="*/ 90 w 92"/>
                <a:gd name="T27" fmla="*/ 3 h 95"/>
                <a:gd name="T28" fmla="*/ 90 w 92"/>
                <a:gd name="T29" fmla="*/ 3 h 95"/>
                <a:gd name="T30" fmla="*/ 87 w 92"/>
                <a:gd name="T31" fmla="*/ 0 h 95"/>
                <a:gd name="T32" fmla="*/ 90 w 92"/>
                <a:gd name="T33" fmla="*/ 3 h 95"/>
                <a:gd name="T34" fmla="*/ 87 w 92"/>
                <a:gd name="T35" fmla="*/ 3 h 95"/>
                <a:gd name="T36" fmla="*/ 85 w 92"/>
                <a:gd name="T37" fmla="*/ 5 h 95"/>
                <a:gd name="T38" fmla="*/ 74 w 92"/>
                <a:gd name="T39" fmla="*/ 21 h 95"/>
                <a:gd name="T40" fmla="*/ 64 w 92"/>
                <a:gd name="T41" fmla="*/ 36 h 95"/>
                <a:gd name="T42" fmla="*/ 51 w 92"/>
                <a:gd name="T43" fmla="*/ 49 h 95"/>
                <a:gd name="T44" fmla="*/ 33 w 92"/>
                <a:gd name="T45" fmla="*/ 67 h 95"/>
                <a:gd name="T46" fmla="*/ 15 w 92"/>
                <a:gd name="T47" fmla="*/ 80 h 95"/>
                <a:gd name="T48" fmla="*/ 0 w 92"/>
                <a:gd name="T49" fmla="*/ 90 h 95"/>
                <a:gd name="T50" fmla="*/ 0 w 92"/>
                <a:gd name="T51" fmla="*/ 90 h 95"/>
                <a:gd name="T52" fmla="*/ 0 w 92"/>
                <a:gd name="T53" fmla="*/ 90 h 95"/>
                <a:gd name="T54" fmla="*/ 0 w 92"/>
                <a:gd name="T55" fmla="*/ 92 h 95"/>
                <a:gd name="T56" fmla="*/ 0 w 92"/>
                <a:gd name="T57" fmla="*/ 9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2" h="95">
                  <a:moveTo>
                    <a:pt x="0" y="92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5" y="95"/>
                  </a:lnTo>
                  <a:lnTo>
                    <a:pt x="23" y="85"/>
                  </a:lnTo>
                  <a:lnTo>
                    <a:pt x="38" y="74"/>
                  </a:lnTo>
                  <a:lnTo>
                    <a:pt x="54" y="62"/>
                  </a:lnTo>
                  <a:lnTo>
                    <a:pt x="72" y="41"/>
                  </a:lnTo>
                  <a:lnTo>
                    <a:pt x="85" y="21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87" y="0"/>
                  </a:lnTo>
                  <a:lnTo>
                    <a:pt x="90" y="3"/>
                  </a:lnTo>
                  <a:lnTo>
                    <a:pt x="87" y="3"/>
                  </a:lnTo>
                  <a:lnTo>
                    <a:pt x="85" y="5"/>
                  </a:lnTo>
                  <a:lnTo>
                    <a:pt x="74" y="21"/>
                  </a:lnTo>
                  <a:lnTo>
                    <a:pt x="64" y="36"/>
                  </a:lnTo>
                  <a:lnTo>
                    <a:pt x="51" y="49"/>
                  </a:lnTo>
                  <a:lnTo>
                    <a:pt x="33" y="67"/>
                  </a:lnTo>
                  <a:lnTo>
                    <a:pt x="15" y="8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Rectangle 237">
              <a:extLst>
                <a:ext uri="{FF2B5EF4-FFF2-40B4-BE49-F238E27FC236}">
                  <a16:creationId xmlns:a16="http://schemas.microsoft.com/office/drawing/2014/main" id="{F7872691-24EA-4E0F-99F4-1D42BB33A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5" y="3784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38">
              <a:extLst>
                <a:ext uri="{FF2B5EF4-FFF2-40B4-BE49-F238E27FC236}">
                  <a16:creationId xmlns:a16="http://schemas.microsoft.com/office/drawing/2014/main" id="{841A68C9-FF78-467C-BA6D-FEFF30709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" y="3697"/>
              <a:ext cx="118" cy="118"/>
            </a:xfrm>
            <a:custGeom>
              <a:avLst/>
              <a:gdLst>
                <a:gd name="T0" fmla="*/ 54 w 118"/>
                <a:gd name="T1" fmla="*/ 92 h 118"/>
                <a:gd name="T2" fmla="*/ 51 w 118"/>
                <a:gd name="T3" fmla="*/ 87 h 118"/>
                <a:gd name="T4" fmla="*/ 56 w 118"/>
                <a:gd name="T5" fmla="*/ 64 h 118"/>
                <a:gd name="T6" fmla="*/ 72 w 118"/>
                <a:gd name="T7" fmla="*/ 74 h 118"/>
                <a:gd name="T8" fmla="*/ 74 w 118"/>
                <a:gd name="T9" fmla="*/ 69 h 118"/>
                <a:gd name="T10" fmla="*/ 72 w 118"/>
                <a:gd name="T11" fmla="*/ 67 h 118"/>
                <a:gd name="T12" fmla="*/ 80 w 118"/>
                <a:gd name="T13" fmla="*/ 44 h 118"/>
                <a:gd name="T14" fmla="*/ 92 w 118"/>
                <a:gd name="T15" fmla="*/ 54 h 118"/>
                <a:gd name="T16" fmla="*/ 95 w 118"/>
                <a:gd name="T17" fmla="*/ 54 h 118"/>
                <a:gd name="T18" fmla="*/ 92 w 118"/>
                <a:gd name="T19" fmla="*/ 51 h 118"/>
                <a:gd name="T20" fmla="*/ 95 w 118"/>
                <a:gd name="T21" fmla="*/ 49 h 118"/>
                <a:gd name="T22" fmla="*/ 95 w 118"/>
                <a:gd name="T23" fmla="*/ 46 h 118"/>
                <a:gd name="T24" fmla="*/ 103 w 118"/>
                <a:gd name="T25" fmla="*/ 23 h 118"/>
                <a:gd name="T26" fmla="*/ 115 w 118"/>
                <a:gd name="T27" fmla="*/ 34 h 118"/>
                <a:gd name="T28" fmla="*/ 118 w 118"/>
                <a:gd name="T29" fmla="*/ 28 h 118"/>
                <a:gd name="T30" fmla="*/ 118 w 118"/>
                <a:gd name="T31" fmla="*/ 26 h 118"/>
                <a:gd name="T32" fmla="*/ 92 w 118"/>
                <a:gd name="T33" fmla="*/ 0 h 118"/>
                <a:gd name="T34" fmla="*/ 90 w 118"/>
                <a:gd name="T35" fmla="*/ 0 h 118"/>
                <a:gd name="T36" fmla="*/ 85 w 118"/>
                <a:gd name="T37" fmla="*/ 0 h 118"/>
                <a:gd name="T38" fmla="*/ 87 w 118"/>
                <a:gd name="T39" fmla="*/ 3 h 118"/>
                <a:gd name="T40" fmla="*/ 87 w 118"/>
                <a:gd name="T41" fmla="*/ 8 h 118"/>
                <a:gd name="T42" fmla="*/ 95 w 118"/>
                <a:gd name="T43" fmla="*/ 18 h 118"/>
                <a:gd name="T44" fmla="*/ 69 w 118"/>
                <a:gd name="T45" fmla="*/ 21 h 118"/>
                <a:gd name="T46" fmla="*/ 67 w 118"/>
                <a:gd name="T47" fmla="*/ 21 h 118"/>
                <a:gd name="T48" fmla="*/ 64 w 118"/>
                <a:gd name="T49" fmla="*/ 18 h 118"/>
                <a:gd name="T50" fmla="*/ 64 w 118"/>
                <a:gd name="T51" fmla="*/ 21 h 118"/>
                <a:gd name="T52" fmla="*/ 62 w 118"/>
                <a:gd name="T53" fmla="*/ 26 h 118"/>
                <a:gd name="T54" fmla="*/ 72 w 118"/>
                <a:gd name="T55" fmla="*/ 36 h 118"/>
                <a:gd name="T56" fmla="*/ 46 w 118"/>
                <a:gd name="T57" fmla="*/ 41 h 118"/>
                <a:gd name="T58" fmla="*/ 44 w 118"/>
                <a:gd name="T59" fmla="*/ 41 h 118"/>
                <a:gd name="T60" fmla="*/ 39 w 118"/>
                <a:gd name="T61" fmla="*/ 44 h 118"/>
                <a:gd name="T62" fmla="*/ 41 w 118"/>
                <a:gd name="T63" fmla="*/ 44 h 118"/>
                <a:gd name="T64" fmla="*/ 41 w 118"/>
                <a:gd name="T65" fmla="*/ 49 h 118"/>
                <a:gd name="T66" fmla="*/ 36 w 118"/>
                <a:gd name="T67" fmla="*/ 72 h 118"/>
                <a:gd name="T68" fmla="*/ 26 w 118"/>
                <a:gd name="T69" fmla="*/ 62 h 118"/>
                <a:gd name="T70" fmla="*/ 21 w 118"/>
                <a:gd name="T71" fmla="*/ 62 h 118"/>
                <a:gd name="T72" fmla="*/ 23 w 118"/>
                <a:gd name="T73" fmla="*/ 64 h 118"/>
                <a:gd name="T74" fmla="*/ 21 w 118"/>
                <a:gd name="T75" fmla="*/ 67 h 118"/>
                <a:gd name="T76" fmla="*/ 21 w 118"/>
                <a:gd name="T77" fmla="*/ 69 h 118"/>
                <a:gd name="T78" fmla="*/ 15 w 118"/>
                <a:gd name="T79" fmla="*/ 95 h 118"/>
                <a:gd name="T80" fmla="*/ 5 w 118"/>
                <a:gd name="T81" fmla="*/ 85 h 118"/>
                <a:gd name="T82" fmla="*/ 0 w 118"/>
                <a:gd name="T83" fmla="*/ 87 h 118"/>
                <a:gd name="T84" fmla="*/ 3 w 118"/>
                <a:gd name="T85" fmla="*/ 92 h 118"/>
                <a:gd name="T86" fmla="*/ 31 w 118"/>
                <a:gd name="T87" fmla="*/ 118 h 118"/>
                <a:gd name="T88" fmla="*/ 33 w 118"/>
                <a:gd name="T89" fmla="*/ 115 h 118"/>
                <a:gd name="T90" fmla="*/ 33 w 118"/>
                <a:gd name="T91" fmla="*/ 115 h 118"/>
                <a:gd name="T92" fmla="*/ 31 w 118"/>
                <a:gd name="T93" fmla="*/ 110 h 118"/>
                <a:gd name="T94" fmla="*/ 36 w 118"/>
                <a:gd name="T95" fmla="*/ 85 h 118"/>
                <a:gd name="T96" fmla="*/ 49 w 118"/>
                <a:gd name="T97" fmla="*/ 95 h 118"/>
                <a:gd name="T98" fmla="*/ 51 w 118"/>
                <a:gd name="T99" fmla="*/ 97 h 118"/>
                <a:gd name="T100" fmla="*/ 51 w 118"/>
                <a:gd name="T101" fmla="*/ 95 h 118"/>
                <a:gd name="T102" fmla="*/ 54 w 118"/>
                <a:gd name="T103" fmla="*/ 95 h 118"/>
                <a:gd name="T104" fmla="*/ 54 w 118"/>
                <a:gd name="T105" fmla="*/ 92 h 118"/>
                <a:gd name="T106" fmla="*/ 54 w 118"/>
                <a:gd name="T107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18">
                  <a:moveTo>
                    <a:pt x="54" y="92"/>
                  </a:moveTo>
                  <a:lnTo>
                    <a:pt x="54" y="92"/>
                  </a:lnTo>
                  <a:lnTo>
                    <a:pt x="51" y="90"/>
                  </a:lnTo>
                  <a:lnTo>
                    <a:pt x="51" y="87"/>
                  </a:lnTo>
                  <a:lnTo>
                    <a:pt x="44" y="80"/>
                  </a:lnTo>
                  <a:lnTo>
                    <a:pt x="56" y="64"/>
                  </a:lnTo>
                  <a:lnTo>
                    <a:pt x="69" y="74"/>
                  </a:lnTo>
                  <a:lnTo>
                    <a:pt x="72" y="74"/>
                  </a:lnTo>
                  <a:lnTo>
                    <a:pt x="74" y="72"/>
                  </a:lnTo>
                  <a:lnTo>
                    <a:pt x="74" y="69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64" y="57"/>
                  </a:lnTo>
                  <a:lnTo>
                    <a:pt x="80" y="44"/>
                  </a:lnTo>
                  <a:lnTo>
                    <a:pt x="90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2" y="51"/>
                  </a:lnTo>
                  <a:lnTo>
                    <a:pt x="95" y="51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6"/>
                  </a:lnTo>
                  <a:lnTo>
                    <a:pt x="85" y="36"/>
                  </a:lnTo>
                  <a:lnTo>
                    <a:pt x="103" y="23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8" y="31"/>
                  </a:lnTo>
                  <a:lnTo>
                    <a:pt x="118" y="28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92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7" y="3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7" y="3"/>
                  </a:lnTo>
                  <a:lnTo>
                    <a:pt x="85" y="5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5" y="18"/>
                  </a:lnTo>
                  <a:lnTo>
                    <a:pt x="80" y="31"/>
                  </a:lnTo>
                  <a:lnTo>
                    <a:pt x="69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4" y="18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72" y="36"/>
                  </a:lnTo>
                  <a:lnTo>
                    <a:pt x="56" y="5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4" y="41"/>
                  </a:lnTo>
                  <a:lnTo>
                    <a:pt x="41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51" y="57"/>
                  </a:lnTo>
                  <a:lnTo>
                    <a:pt x="36" y="7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3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3" y="64"/>
                  </a:lnTo>
                  <a:lnTo>
                    <a:pt x="21" y="64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31" y="80"/>
                  </a:lnTo>
                  <a:lnTo>
                    <a:pt x="15" y="9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3" y="87"/>
                  </a:lnTo>
                  <a:lnTo>
                    <a:pt x="0" y="87"/>
                  </a:lnTo>
                  <a:lnTo>
                    <a:pt x="0" y="90"/>
                  </a:lnTo>
                  <a:lnTo>
                    <a:pt x="3" y="92"/>
                  </a:lnTo>
                  <a:lnTo>
                    <a:pt x="28" y="118"/>
                  </a:lnTo>
                  <a:lnTo>
                    <a:pt x="31" y="118"/>
                  </a:lnTo>
                  <a:lnTo>
                    <a:pt x="33" y="118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1" y="110"/>
                  </a:lnTo>
                  <a:lnTo>
                    <a:pt x="23" y="103"/>
                  </a:lnTo>
                  <a:lnTo>
                    <a:pt x="36" y="85"/>
                  </a:lnTo>
                  <a:lnTo>
                    <a:pt x="46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4" y="95"/>
                  </a:lnTo>
                  <a:lnTo>
                    <a:pt x="51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39">
              <a:extLst>
                <a:ext uri="{FF2B5EF4-FFF2-40B4-BE49-F238E27FC236}">
                  <a16:creationId xmlns:a16="http://schemas.microsoft.com/office/drawing/2014/main" id="{9044ABB1-68A1-46A8-A086-FCA97CF00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9" y="3651"/>
              <a:ext cx="262" cy="261"/>
            </a:xfrm>
            <a:custGeom>
              <a:avLst/>
              <a:gdLst>
                <a:gd name="T0" fmla="*/ 262 w 262"/>
                <a:gd name="T1" fmla="*/ 51 h 261"/>
                <a:gd name="T2" fmla="*/ 256 w 262"/>
                <a:gd name="T3" fmla="*/ 28 h 261"/>
                <a:gd name="T4" fmla="*/ 249 w 262"/>
                <a:gd name="T5" fmla="*/ 16 h 261"/>
                <a:gd name="T6" fmla="*/ 241 w 262"/>
                <a:gd name="T7" fmla="*/ 11 h 261"/>
                <a:gd name="T8" fmla="*/ 218 w 262"/>
                <a:gd name="T9" fmla="*/ 3 h 261"/>
                <a:gd name="T10" fmla="*/ 200 w 262"/>
                <a:gd name="T11" fmla="*/ 0 h 261"/>
                <a:gd name="T12" fmla="*/ 174 w 262"/>
                <a:gd name="T13" fmla="*/ 3 h 261"/>
                <a:gd name="T14" fmla="*/ 149 w 262"/>
                <a:gd name="T15" fmla="*/ 8 h 261"/>
                <a:gd name="T16" fmla="*/ 120 w 262"/>
                <a:gd name="T17" fmla="*/ 21 h 261"/>
                <a:gd name="T18" fmla="*/ 95 w 262"/>
                <a:gd name="T19" fmla="*/ 34 h 261"/>
                <a:gd name="T20" fmla="*/ 67 w 262"/>
                <a:gd name="T21" fmla="*/ 59 h 261"/>
                <a:gd name="T22" fmla="*/ 46 w 262"/>
                <a:gd name="T23" fmla="*/ 77 h 261"/>
                <a:gd name="T24" fmla="*/ 26 w 262"/>
                <a:gd name="T25" fmla="*/ 110 h 261"/>
                <a:gd name="T26" fmla="*/ 10 w 262"/>
                <a:gd name="T27" fmla="*/ 143 h 261"/>
                <a:gd name="T28" fmla="*/ 5 w 262"/>
                <a:gd name="T29" fmla="*/ 164 h 261"/>
                <a:gd name="T30" fmla="*/ 0 w 262"/>
                <a:gd name="T31" fmla="*/ 189 h 261"/>
                <a:gd name="T32" fmla="*/ 2 w 262"/>
                <a:gd name="T33" fmla="*/ 220 h 261"/>
                <a:gd name="T34" fmla="*/ 10 w 262"/>
                <a:gd name="T35" fmla="*/ 241 h 261"/>
                <a:gd name="T36" fmla="*/ 20 w 262"/>
                <a:gd name="T37" fmla="*/ 251 h 261"/>
                <a:gd name="T38" fmla="*/ 38 w 262"/>
                <a:gd name="T39" fmla="*/ 258 h 261"/>
                <a:gd name="T40" fmla="*/ 61 w 262"/>
                <a:gd name="T41" fmla="*/ 261 h 261"/>
                <a:gd name="T42" fmla="*/ 87 w 262"/>
                <a:gd name="T43" fmla="*/ 258 h 261"/>
                <a:gd name="T44" fmla="*/ 113 w 262"/>
                <a:gd name="T45" fmla="*/ 253 h 261"/>
                <a:gd name="T46" fmla="*/ 141 w 262"/>
                <a:gd name="T47" fmla="*/ 241 h 261"/>
                <a:gd name="T48" fmla="*/ 167 w 262"/>
                <a:gd name="T49" fmla="*/ 228 h 261"/>
                <a:gd name="T50" fmla="*/ 192 w 262"/>
                <a:gd name="T51" fmla="*/ 207 h 261"/>
                <a:gd name="T52" fmla="*/ 215 w 262"/>
                <a:gd name="T53" fmla="*/ 184 h 261"/>
                <a:gd name="T54" fmla="*/ 231 w 262"/>
                <a:gd name="T55" fmla="*/ 161 h 261"/>
                <a:gd name="T56" fmla="*/ 246 w 262"/>
                <a:gd name="T57" fmla="*/ 133 h 261"/>
                <a:gd name="T58" fmla="*/ 254 w 262"/>
                <a:gd name="T59" fmla="*/ 108 h 261"/>
                <a:gd name="T60" fmla="*/ 259 w 262"/>
                <a:gd name="T61" fmla="*/ 77 h 261"/>
                <a:gd name="T62" fmla="*/ 79 w 262"/>
                <a:gd name="T63" fmla="*/ 246 h 261"/>
                <a:gd name="T64" fmla="*/ 49 w 262"/>
                <a:gd name="T65" fmla="*/ 246 h 261"/>
                <a:gd name="T66" fmla="*/ 28 w 262"/>
                <a:gd name="T67" fmla="*/ 241 h 261"/>
                <a:gd name="T68" fmla="*/ 20 w 262"/>
                <a:gd name="T69" fmla="*/ 233 h 261"/>
                <a:gd name="T70" fmla="*/ 15 w 262"/>
                <a:gd name="T71" fmla="*/ 218 h 261"/>
                <a:gd name="T72" fmla="*/ 13 w 262"/>
                <a:gd name="T73" fmla="*/ 197 h 261"/>
                <a:gd name="T74" fmla="*/ 18 w 262"/>
                <a:gd name="T75" fmla="*/ 166 h 261"/>
                <a:gd name="T76" fmla="*/ 79 w 262"/>
                <a:gd name="T77" fmla="*/ 246 h 261"/>
                <a:gd name="T78" fmla="*/ 228 w 262"/>
                <a:gd name="T79" fmla="*/ 141 h 261"/>
                <a:gd name="T80" fmla="*/ 208 w 262"/>
                <a:gd name="T81" fmla="*/ 172 h 261"/>
                <a:gd name="T82" fmla="*/ 187 w 262"/>
                <a:gd name="T83" fmla="*/ 195 h 261"/>
                <a:gd name="T84" fmla="*/ 159 w 262"/>
                <a:gd name="T85" fmla="*/ 218 h 261"/>
                <a:gd name="T86" fmla="*/ 131 w 262"/>
                <a:gd name="T87" fmla="*/ 230 h 261"/>
                <a:gd name="T88" fmla="*/ 110 w 262"/>
                <a:gd name="T89" fmla="*/ 241 h 261"/>
                <a:gd name="T90" fmla="*/ 26 w 262"/>
                <a:gd name="T91" fmla="*/ 138 h 261"/>
                <a:gd name="T92" fmla="*/ 38 w 262"/>
                <a:gd name="T93" fmla="*/ 110 h 261"/>
                <a:gd name="T94" fmla="*/ 59 w 262"/>
                <a:gd name="T95" fmla="*/ 82 h 261"/>
                <a:gd name="T96" fmla="*/ 82 w 262"/>
                <a:gd name="T97" fmla="*/ 62 h 261"/>
                <a:gd name="T98" fmla="*/ 108 w 262"/>
                <a:gd name="T99" fmla="*/ 41 h 261"/>
                <a:gd name="T100" fmla="*/ 131 w 262"/>
                <a:gd name="T101" fmla="*/ 31 h 261"/>
                <a:gd name="T102" fmla="*/ 151 w 262"/>
                <a:gd name="T103" fmla="*/ 21 h 261"/>
                <a:gd name="T104" fmla="*/ 233 w 262"/>
                <a:gd name="T105" fmla="*/ 128 h 261"/>
                <a:gd name="T106" fmla="*/ 244 w 262"/>
                <a:gd name="T107" fmla="*/ 95 h 261"/>
                <a:gd name="T108" fmla="*/ 182 w 262"/>
                <a:gd name="T109" fmla="*/ 16 h 261"/>
                <a:gd name="T110" fmla="*/ 215 w 262"/>
                <a:gd name="T111" fmla="*/ 16 h 261"/>
                <a:gd name="T112" fmla="*/ 233 w 262"/>
                <a:gd name="T113" fmla="*/ 21 h 261"/>
                <a:gd name="T114" fmla="*/ 241 w 262"/>
                <a:gd name="T115" fmla="*/ 28 h 261"/>
                <a:gd name="T116" fmla="*/ 246 w 262"/>
                <a:gd name="T117" fmla="*/ 41 h 261"/>
                <a:gd name="T118" fmla="*/ 249 w 262"/>
                <a:gd name="T119" fmla="*/ 67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2" h="261">
                  <a:moveTo>
                    <a:pt x="262" y="62"/>
                  </a:moveTo>
                  <a:lnTo>
                    <a:pt x="262" y="51"/>
                  </a:lnTo>
                  <a:lnTo>
                    <a:pt x="259" y="36"/>
                  </a:lnTo>
                  <a:lnTo>
                    <a:pt x="256" y="28"/>
                  </a:lnTo>
                  <a:lnTo>
                    <a:pt x="251" y="21"/>
                  </a:lnTo>
                  <a:lnTo>
                    <a:pt x="249" y="16"/>
                  </a:lnTo>
                  <a:lnTo>
                    <a:pt x="246" y="13"/>
                  </a:lnTo>
                  <a:lnTo>
                    <a:pt x="241" y="11"/>
                  </a:lnTo>
                  <a:lnTo>
                    <a:pt x="231" y="5"/>
                  </a:lnTo>
                  <a:lnTo>
                    <a:pt x="218" y="3"/>
                  </a:lnTo>
                  <a:lnTo>
                    <a:pt x="210" y="3"/>
                  </a:lnTo>
                  <a:lnTo>
                    <a:pt x="200" y="0"/>
                  </a:lnTo>
                  <a:lnTo>
                    <a:pt x="190" y="0"/>
                  </a:lnTo>
                  <a:lnTo>
                    <a:pt x="174" y="3"/>
                  </a:lnTo>
                  <a:lnTo>
                    <a:pt x="159" y="5"/>
                  </a:lnTo>
                  <a:lnTo>
                    <a:pt x="149" y="8"/>
                  </a:lnTo>
                  <a:lnTo>
                    <a:pt x="133" y="13"/>
                  </a:lnTo>
                  <a:lnTo>
                    <a:pt x="120" y="21"/>
                  </a:lnTo>
                  <a:lnTo>
                    <a:pt x="110" y="26"/>
                  </a:lnTo>
                  <a:lnTo>
                    <a:pt x="95" y="34"/>
                  </a:lnTo>
                  <a:lnTo>
                    <a:pt x="77" y="46"/>
                  </a:lnTo>
                  <a:lnTo>
                    <a:pt x="67" y="59"/>
                  </a:lnTo>
                  <a:lnTo>
                    <a:pt x="59" y="67"/>
                  </a:lnTo>
                  <a:lnTo>
                    <a:pt x="46" y="77"/>
                  </a:lnTo>
                  <a:lnTo>
                    <a:pt x="36" y="92"/>
                  </a:lnTo>
                  <a:lnTo>
                    <a:pt x="26" y="110"/>
                  </a:lnTo>
                  <a:lnTo>
                    <a:pt x="15" y="128"/>
                  </a:lnTo>
                  <a:lnTo>
                    <a:pt x="10" y="143"/>
                  </a:lnTo>
                  <a:lnTo>
                    <a:pt x="8" y="149"/>
                  </a:lnTo>
                  <a:lnTo>
                    <a:pt x="5" y="164"/>
                  </a:lnTo>
                  <a:lnTo>
                    <a:pt x="2" y="179"/>
                  </a:lnTo>
                  <a:lnTo>
                    <a:pt x="0" y="189"/>
                  </a:lnTo>
                  <a:lnTo>
                    <a:pt x="0" y="200"/>
                  </a:lnTo>
                  <a:lnTo>
                    <a:pt x="2" y="220"/>
                  </a:lnTo>
                  <a:lnTo>
                    <a:pt x="5" y="233"/>
                  </a:lnTo>
                  <a:lnTo>
                    <a:pt x="10" y="241"/>
                  </a:lnTo>
                  <a:lnTo>
                    <a:pt x="15" y="246"/>
                  </a:lnTo>
                  <a:lnTo>
                    <a:pt x="20" y="251"/>
                  </a:lnTo>
                  <a:lnTo>
                    <a:pt x="28" y="256"/>
                  </a:lnTo>
                  <a:lnTo>
                    <a:pt x="38" y="258"/>
                  </a:lnTo>
                  <a:lnTo>
                    <a:pt x="46" y="258"/>
                  </a:lnTo>
                  <a:lnTo>
                    <a:pt x="61" y="261"/>
                  </a:lnTo>
                  <a:lnTo>
                    <a:pt x="77" y="258"/>
                  </a:lnTo>
                  <a:lnTo>
                    <a:pt x="87" y="258"/>
                  </a:lnTo>
                  <a:lnTo>
                    <a:pt x="102" y="256"/>
                  </a:lnTo>
                  <a:lnTo>
                    <a:pt x="113" y="253"/>
                  </a:lnTo>
                  <a:lnTo>
                    <a:pt x="128" y="248"/>
                  </a:lnTo>
                  <a:lnTo>
                    <a:pt x="141" y="241"/>
                  </a:lnTo>
                  <a:lnTo>
                    <a:pt x="151" y="235"/>
                  </a:lnTo>
                  <a:lnTo>
                    <a:pt x="167" y="228"/>
                  </a:lnTo>
                  <a:lnTo>
                    <a:pt x="179" y="218"/>
                  </a:lnTo>
                  <a:lnTo>
                    <a:pt x="192" y="207"/>
                  </a:lnTo>
                  <a:lnTo>
                    <a:pt x="205" y="195"/>
                  </a:lnTo>
                  <a:lnTo>
                    <a:pt x="215" y="184"/>
                  </a:lnTo>
                  <a:lnTo>
                    <a:pt x="220" y="174"/>
                  </a:lnTo>
                  <a:lnTo>
                    <a:pt x="231" y="161"/>
                  </a:lnTo>
                  <a:lnTo>
                    <a:pt x="238" y="146"/>
                  </a:lnTo>
                  <a:lnTo>
                    <a:pt x="246" y="133"/>
                  </a:lnTo>
                  <a:lnTo>
                    <a:pt x="251" y="118"/>
                  </a:lnTo>
                  <a:lnTo>
                    <a:pt x="254" y="108"/>
                  </a:lnTo>
                  <a:lnTo>
                    <a:pt x="259" y="92"/>
                  </a:lnTo>
                  <a:lnTo>
                    <a:pt x="259" y="77"/>
                  </a:lnTo>
                  <a:lnTo>
                    <a:pt x="262" y="62"/>
                  </a:lnTo>
                  <a:close/>
                  <a:moveTo>
                    <a:pt x="79" y="246"/>
                  </a:moveTo>
                  <a:lnTo>
                    <a:pt x="61" y="248"/>
                  </a:lnTo>
                  <a:lnTo>
                    <a:pt x="49" y="246"/>
                  </a:lnTo>
                  <a:lnTo>
                    <a:pt x="33" y="243"/>
                  </a:lnTo>
                  <a:lnTo>
                    <a:pt x="28" y="241"/>
                  </a:lnTo>
                  <a:lnTo>
                    <a:pt x="23" y="238"/>
                  </a:lnTo>
                  <a:lnTo>
                    <a:pt x="20" y="233"/>
                  </a:lnTo>
                  <a:lnTo>
                    <a:pt x="18" y="225"/>
                  </a:lnTo>
                  <a:lnTo>
                    <a:pt x="15" y="218"/>
                  </a:lnTo>
                  <a:lnTo>
                    <a:pt x="13" y="205"/>
                  </a:lnTo>
                  <a:lnTo>
                    <a:pt x="13" y="197"/>
                  </a:lnTo>
                  <a:lnTo>
                    <a:pt x="15" y="187"/>
                  </a:lnTo>
                  <a:lnTo>
                    <a:pt x="18" y="166"/>
                  </a:lnTo>
                  <a:lnTo>
                    <a:pt x="95" y="243"/>
                  </a:lnTo>
                  <a:lnTo>
                    <a:pt x="79" y="246"/>
                  </a:lnTo>
                  <a:close/>
                  <a:moveTo>
                    <a:pt x="233" y="128"/>
                  </a:moveTo>
                  <a:lnTo>
                    <a:pt x="228" y="141"/>
                  </a:lnTo>
                  <a:lnTo>
                    <a:pt x="220" y="154"/>
                  </a:lnTo>
                  <a:lnTo>
                    <a:pt x="208" y="172"/>
                  </a:lnTo>
                  <a:lnTo>
                    <a:pt x="197" y="182"/>
                  </a:lnTo>
                  <a:lnTo>
                    <a:pt x="187" y="195"/>
                  </a:lnTo>
                  <a:lnTo>
                    <a:pt x="172" y="207"/>
                  </a:lnTo>
                  <a:lnTo>
                    <a:pt x="159" y="218"/>
                  </a:lnTo>
                  <a:lnTo>
                    <a:pt x="146" y="225"/>
                  </a:lnTo>
                  <a:lnTo>
                    <a:pt x="131" y="230"/>
                  </a:lnTo>
                  <a:lnTo>
                    <a:pt x="113" y="238"/>
                  </a:lnTo>
                  <a:lnTo>
                    <a:pt x="110" y="241"/>
                  </a:lnTo>
                  <a:lnTo>
                    <a:pt x="20" y="151"/>
                  </a:lnTo>
                  <a:lnTo>
                    <a:pt x="26" y="138"/>
                  </a:lnTo>
                  <a:lnTo>
                    <a:pt x="31" y="126"/>
                  </a:lnTo>
                  <a:lnTo>
                    <a:pt x="38" y="110"/>
                  </a:lnTo>
                  <a:lnTo>
                    <a:pt x="49" y="97"/>
                  </a:lnTo>
                  <a:lnTo>
                    <a:pt x="59" y="82"/>
                  </a:lnTo>
                  <a:lnTo>
                    <a:pt x="72" y="72"/>
                  </a:lnTo>
                  <a:lnTo>
                    <a:pt x="82" y="62"/>
                  </a:lnTo>
                  <a:lnTo>
                    <a:pt x="95" y="51"/>
                  </a:lnTo>
                  <a:lnTo>
                    <a:pt x="108" y="41"/>
                  </a:lnTo>
                  <a:lnTo>
                    <a:pt x="120" y="34"/>
                  </a:lnTo>
                  <a:lnTo>
                    <a:pt x="131" y="31"/>
                  </a:lnTo>
                  <a:lnTo>
                    <a:pt x="146" y="23"/>
                  </a:lnTo>
                  <a:lnTo>
                    <a:pt x="151" y="21"/>
                  </a:lnTo>
                  <a:lnTo>
                    <a:pt x="241" y="110"/>
                  </a:lnTo>
                  <a:lnTo>
                    <a:pt x="233" y="128"/>
                  </a:lnTo>
                  <a:close/>
                  <a:moveTo>
                    <a:pt x="246" y="80"/>
                  </a:moveTo>
                  <a:lnTo>
                    <a:pt x="244" y="95"/>
                  </a:lnTo>
                  <a:lnTo>
                    <a:pt x="167" y="18"/>
                  </a:lnTo>
                  <a:lnTo>
                    <a:pt x="182" y="16"/>
                  </a:lnTo>
                  <a:lnTo>
                    <a:pt x="200" y="13"/>
                  </a:lnTo>
                  <a:lnTo>
                    <a:pt x="215" y="16"/>
                  </a:lnTo>
                  <a:lnTo>
                    <a:pt x="226" y="18"/>
                  </a:lnTo>
                  <a:lnTo>
                    <a:pt x="233" y="21"/>
                  </a:lnTo>
                  <a:lnTo>
                    <a:pt x="238" y="23"/>
                  </a:lnTo>
                  <a:lnTo>
                    <a:pt x="241" y="28"/>
                  </a:lnTo>
                  <a:lnTo>
                    <a:pt x="244" y="36"/>
                  </a:lnTo>
                  <a:lnTo>
                    <a:pt x="246" y="41"/>
                  </a:lnTo>
                  <a:lnTo>
                    <a:pt x="249" y="57"/>
                  </a:lnTo>
                  <a:lnTo>
                    <a:pt x="249" y="67"/>
                  </a:lnTo>
                  <a:lnTo>
                    <a:pt x="24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2" name="Group 242">
            <a:extLst>
              <a:ext uri="{FF2B5EF4-FFF2-40B4-BE49-F238E27FC236}">
                <a16:creationId xmlns:a16="http://schemas.microsoft.com/office/drawing/2014/main" id="{5A4DD2AE-3FBE-4454-BCEE-C36B847263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1616" y="5461668"/>
            <a:ext cx="760413" cy="758825"/>
            <a:chOff x="3744" y="3421"/>
            <a:chExt cx="479" cy="478"/>
          </a:xfrm>
        </p:grpSpPr>
        <p:sp>
          <p:nvSpPr>
            <p:cNvPr id="283" name="AutoShape 241">
              <a:extLst>
                <a:ext uri="{FF2B5EF4-FFF2-40B4-BE49-F238E27FC236}">
                  <a16:creationId xmlns:a16="http://schemas.microsoft.com/office/drawing/2014/main" id="{8322040F-01FA-4623-9C49-7B1928C0D7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744" y="342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43">
              <a:extLst>
                <a:ext uri="{FF2B5EF4-FFF2-40B4-BE49-F238E27FC236}">
                  <a16:creationId xmlns:a16="http://schemas.microsoft.com/office/drawing/2014/main" id="{5FD259E1-5E3A-40B0-88EC-E0D3ED48F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" y="342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44">
              <a:extLst>
                <a:ext uri="{FF2B5EF4-FFF2-40B4-BE49-F238E27FC236}">
                  <a16:creationId xmlns:a16="http://schemas.microsoft.com/office/drawing/2014/main" id="{B9B81A7F-5BAC-417E-B658-8F9077FBBD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7" y="3521"/>
              <a:ext cx="236" cy="280"/>
            </a:xfrm>
            <a:custGeom>
              <a:avLst/>
              <a:gdLst>
                <a:gd name="T0" fmla="*/ 81 w 236"/>
                <a:gd name="T1" fmla="*/ 248 h 280"/>
                <a:gd name="T2" fmla="*/ 81 w 236"/>
                <a:gd name="T3" fmla="*/ 255 h 280"/>
                <a:gd name="T4" fmla="*/ 155 w 236"/>
                <a:gd name="T5" fmla="*/ 255 h 280"/>
                <a:gd name="T6" fmla="*/ 155 w 236"/>
                <a:gd name="T7" fmla="*/ 248 h 280"/>
                <a:gd name="T8" fmla="*/ 169 w 236"/>
                <a:gd name="T9" fmla="*/ 273 h 280"/>
                <a:gd name="T10" fmla="*/ 101 w 236"/>
                <a:gd name="T11" fmla="*/ 209 h 280"/>
                <a:gd name="T12" fmla="*/ 142 w 236"/>
                <a:gd name="T13" fmla="*/ 214 h 280"/>
                <a:gd name="T14" fmla="*/ 110 w 236"/>
                <a:gd name="T15" fmla="*/ 187 h 280"/>
                <a:gd name="T16" fmla="*/ 101 w 236"/>
                <a:gd name="T17" fmla="*/ 172 h 280"/>
                <a:gd name="T18" fmla="*/ 103 w 236"/>
                <a:gd name="T19" fmla="*/ 165 h 280"/>
                <a:gd name="T20" fmla="*/ 132 w 236"/>
                <a:gd name="T21" fmla="*/ 165 h 280"/>
                <a:gd name="T22" fmla="*/ 135 w 236"/>
                <a:gd name="T23" fmla="*/ 172 h 280"/>
                <a:gd name="T24" fmla="*/ 128 w 236"/>
                <a:gd name="T25" fmla="*/ 177 h 280"/>
                <a:gd name="T26" fmla="*/ 98 w 236"/>
                <a:gd name="T27" fmla="*/ 130 h 280"/>
                <a:gd name="T28" fmla="*/ 74 w 236"/>
                <a:gd name="T29" fmla="*/ 99 h 280"/>
                <a:gd name="T30" fmla="*/ 56 w 236"/>
                <a:gd name="T31" fmla="*/ 59 h 280"/>
                <a:gd name="T32" fmla="*/ 179 w 236"/>
                <a:gd name="T33" fmla="*/ 59 h 280"/>
                <a:gd name="T34" fmla="*/ 162 w 236"/>
                <a:gd name="T35" fmla="*/ 99 h 280"/>
                <a:gd name="T36" fmla="*/ 137 w 236"/>
                <a:gd name="T37" fmla="*/ 130 h 280"/>
                <a:gd name="T38" fmla="*/ 184 w 236"/>
                <a:gd name="T39" fmla="*/ 27 h 280"/>
                <a:gd name="T40" fmla="*/ 42 w 236"/>
                <a:gd name="T41" fmla="*/ 94 h 280"/>
                <a:gd name="T42" fmla="*/ 22 w 236"/>
                <a:gd name="T43" fmla="*/ 64 h 280"/>
                <a:gd name="T44" fmla="*/ 10 w 236"/>
                <a:gd name="T45" fmla="*/ 13 h 280"/>
                <a:gd name="T46" fmla="*/ 34 w 236"/>
                <a:gd name="T47" fmla="*/ 25 h 280"/>
                <a:gd name="T48" fmla="*/ 49 w 236"/>
                <a:gd name="T49" fmla="*/ 64 h 280"/>
                <a:gd name="T50" fmla="*/ 66 w 236"/>
                <a:gd name="T51" fmla="*/ 106 h 280"/>
                <a:gd name="T52" fmla="*/ 179 w 236"/>
                <a:gd name="T53" fmla="*/ 89 h 280"/>
                <a:gd name="T54" fmla="*/ 191 w 236"/>
                <a:gd name="T55" fmla="*/ 37 h 280"/>
                <a:gd name="T56" fmla="*/ 211 w 236"/>
                <a:gd name="T57" fmla="*/ 18 h 280"/>
                <a:gd name="T58" fmla="*/ 221 w 236"/>
                <a:gd name="T59" fmla="*/ 42 h 280"/>
                <a:gd name="T60" fmla="*/ 209 w 236"/>
                <a:gd name="T61" fmla="*/ 76 h 280"/>
                <a:gd name="T62" fmla="*/ 179 w 236"/>
                <a:gd name="T63" fmla="*/ 106 h 280"/>
                <a:gd name="T64" fmla="*/ 206 w 236"/>
                <a:gd name="T65" fmla="*/ 0 h 280"/>
                <a:gd name="T66" fmla="*/ 201 w 236"/>
                <a:gd name="T67" fmla="*/ 15 h 280"/>
                <a:gd name="T68" fmla="*/ 37 w 236"/>
                <a:gd name="T69" fmla="*/ 15 h 280"/>
                <a:gd name="T70" fmla="*/ 29 w 236"/>
                <a:gd name="T71" fmla="*/ 3 h 280"/>
                <a:gd name="T72" fmla="*/ 5 w 236"/>
                <a:gd name="T73" fmla="*/ 0 h 280"/>
                <a:gd name="T74" fmla="*/ 2 w 236"/>
                <a:gd name="T75" fmla="*/ 15 h 280"/>
                <a:gd name="T76" fmla="*/ 10 w 236"/>
                <a:gd name="T77" fmla="*/ 54 h 280"/>
                <a:gd name="T78" fmla="*/ 22 w 236"/>
                <a:gd name="T79" fmla="*/ 86 h 280"/>
                <a:gd name="T80" fmla="*/ 42 w 236"/>
                <a:gd name="T81" fmla="*/ 108 h 280"/>
                <a:gd name="T82" fmla="*/ 66 w 236"/>
                <a:gd name="T83" fmla="*/ 123 h 280"/>
                <a:gd name="T84" fmla="*/ 98 w 236"/>
                <a:gd name="T85" fmla="*/ 143 h 280"/>
                <a:gd name="T86" fmla="*/ 93 w 236"/>
                <a:gd name="T87" fmla="*/ 165 h 280"/>
                <a:gd name="T88" fmla="*/ 93 w 236"/>
                <a:gd name="T89" fmla="*/ 179 h 280"/>
                <a:gd name="T90" fmla="*/ 93 w 236"/>
                <a:gd name="T91" fmla="*/ 202 h 280"/>
                <a:gd name="T92" fmla="*/ 81 w 236"/>
                <a:gd name="T93" fmla="*/ 214 h 280"/>
                <a:gd name="T94" fmla="*/ 61 w 236"/>
                <a:gd name="T95" fmla="*/ 224 h 280"/>
                <a:gd name="T96" fmla="*/ 179 w 236"/>
                <a:gd name="T97" fmla="*/ 228 h 280"/>
                <a:gd name="T98" fmla="*/ 172 w 236"/>
                <a:gd name="T99" fmla="*/ 221 h 280"/>
                <a:gd name="T100" fmla="*/ 150 w 236"/>
                <a:gd name="T101" fmla="*/ 209 h 280"/>
                <a:gd name="T102" fmla="*/ 137 w 236"/>
                <a:gd name="T103" fmla="*/ 184 h 280"/>
                <a:gd name="T104" fmla="*/ 145 w 236"/>
                <a:gd name="T105" fmla="*/ 172 h 280"/>
                <a:gd name="T106" fmla="*/ 137 w 236"/>
                <a:gd name="T107" fmla="*/ 160 h 280"/>
                <a:gd name="T108" fmla="*/ 155 w 236"/>
                <a:gd name="T109" fmla="*/ 128 h 280"/>
                <a:gd name="T110" fmla="*/ 182 w 236"/>
                <a:gd name="T111" fmla="*/ 116 h 280"/>
                <a:gd name="T112" fmla="*/ 204 w 236"/>
                <a:gd name="T113" fmla="*/ 96 h 280"/>
                <a:gd name="T114" fmla="*/ 221 w 236"/>
                <a:gd name="T115" fmla="*/ 69 h 280"/>
                <a:gd name="T116" fmla="*/ 231 w 236"/>
                <a:gd name="T117" fmla="*/ 37 h 280"/>
                <a:gd name="T118" fmla="*/ 233 w 236"/>
                <a:gd name="T119" fmla="*/ 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6" h="280">
                  <a:moveTo>
                    <a:pt x="150" y="246"/>
                  </a:moveTo>
                  <a:lnTo>
                    <a:pt x="86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6" y="255"/>
                  </a:lnTo>
                  <a:lnTo>
                    <a:pt x="150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5" y="255"/>
                  </a:lnTo>
                  <a:lnTo>
                    <a:pt x="155" y="255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0" y="246"/>
                  </a:lnTo>
                  <a:close/>
                  <a:moveTo>
                    <a:pt x="66" y="231"/>
                  </a:moveTo>
                  <a:lnTo>
                    <a:pt x="169" y="231"/>
                  </a:lnTo>
                  <a:lnTo>
                    <a:pt x="169" y="273"/>
                  </a:lnTo>
                  <a:lnTo>
                    <a:pt x="66" y="273"/>
                  </a:lnTo>
                  <a:lnTo>
                    <a:pt x="66" y="231"/>
                  </a:lnTo>
                  <a:close/>
                  <a:moveTo>
                    <a:pt x="91" y="219"/>
                  </a:moveTo>
                  <a:lnTo>
                    <a:pt x="91" y="219"/>
                  </a:lnTo>
                  <a:lnTo>
                    <a:pt x="91" y="216"/>
                  </a:lnTo>
                  <a:lnTo>
                    <a:pt x="93" y="216"/>
                  </a:lnTo>
                  <a:lnTo>
                    <a:pt x="93" y="214"/>
                  </a:lnTo>
                  <a:lnTo>
                    <a:pt x="93" y="214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8" y="211"/>
                  </a:lnTo>
                  <a:lnTo>
                    <a:pt x="98" y="209"/>
                  </a:lnTo>
                  <a:lnTo>
                    <a:pt x="101" y="209"/>
                  </a:lnTo>
                  <a:lnTo>
                    <a:pt x="101" y="209"/>
                  </a:lnTo>
                  <a:lnTo>
                    <a:pt x="103" y="206"/>
                  </a:lnTo>
                  <a:lnTo>
                    <a:pt x="108" y="206"/>
                  </a:lnTo>
                  <a:lnTo>
                    <a:pt x="128" y="206"/>
                  </a:lnTo>
                  <a:lnTo>
                    <a:pt x="132" y="206"/>
                  </a:lnTo>
                  <a:lnTo>
                    <a:pt x="132" y="206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7" y="209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216"/>
                  </a:lnTo>
                  <a:lnTo>
                    <a:pt x="145" y="216"/>
                  </a:lnTo>
                  <a:lnTo>
                    <a:pt x="145" y="219"/>
                  </a:lnTo>
                  <a:lnTo>
                    <a:pt x="145" y="219"/>
                  </a:lnTo>
                  <a:lnTo>
                    <a:pt x="145" y="221"/>
                  </a:lnTo>
                  <a:lnTo>
                    <a:pt x="91" y="221"/>
                  </a:lnTo>
                  <a:lnTo>
                    <a:pt x="91" y="219"/>
                  </a:lnTo>
                  <a:close/>
                  <a:moveTo>
                    <a:pt x="110" y="187"/>
                  </a:moveTo>
                  <a:lnTo>
                    <a:pt x="125" y="187"/>
                  </a:lnTo>
                  <a:lnTo>
                    <a:pt x="125" y="197"/>
                  </a:lnTo>
                  <a:lnTo>
                    <a:pt x="110" y="197"/>
                  </a:lnTo>
                  <a:lnTo>
                    <a:pt x="110" y="187"/>
                  </a:lnTo>
                  <a:close/>
                  <a:moveTo>
                    <a:pt x="105" y="177"/>
                  </a:move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5"/>
                  </a:lnTo>
                  <a:lnTo>
                    <a:pt x="103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8" y="165"/>
                  </a:lnTo>
                  <a:lnTo>
                    <a:pt x="128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2" y="165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28" y="177"/>
                  </a:lnTo>
                  <a:lnTo>
                    <a:pt x="108" y="177"/>
                  </a:lnTo>
                  <a:lnTo>
                    <a:pt x="105" y="177"/>
                  </a:lnTo>
                  <a:close/>
                  <a:moveTo>
                    <a:pt x="110" y="145"/>
                  </a:moveTo>
                  <a:lnTo>
                    <a:pt x="125" y="145"/>
                  </a:lnTo>
                  <a:lnTo>
                    <a:pt x="125" y="155"/>
                  </a:lnTo>
                  <a:lnTo>
                    <a:pt x="110" y="155"/>
                  </a:lnTo>
                  <a:lnTo>
                    <a:pt x="110" y="145"/>
                  </a:lnTo>
                  <a:close/>
                  <a:moveTo>
                    <a:pt x="105" y="135"/>
                  </a:moveTo>
                  <a:lnTo>
                    <a:pt x="103" y="135"/>
                  </a:lnTo>
                  <a:lnTo>
                    <a:pt x="103" y="133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3" y="126"/>
                  </a:lnTo>
                  <a:lnTo>
                    <a:pt x="91" y="126"/>
                  </a:lnTo>
                  <a:lnTo>
                    <a:pt x="91" y="123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3" y="116"/>
                  </a:lnTo>
                  <a:lnTo>
                    <a:pt x="81" y="113"/>
                  </a:lnTo>
                  <a:lnTo>
                    <a:pt x="78" y="108"/>
                  </a:lnTo>
                  <a:lnTo>
                    <a:pt x="76" y="106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1" y="96"/>
                  </a:lnTo>
                  <a:lnTo>
                    <a:pt x="69" y="91"/>
                  </a:lnTo>
                  <a:lnTo>
                    <a:pt x="66" y="89"/>
                  </a:lnTo>
                  <a:lnTo>
                    <a:pt x="66" y="86"/>
                  </a:lnTo>
                  <a:lnTo>
                    <a:pt x="66" y="84"/>
                  </a:lnTo>
                  <a:lnTo>
                    <a:pt x="64" y="81"/>
                  </a:lnTo>
                  <a:lnTo>
                    <a:pt x="64" y="76"/>
                  </a:lnTo>
                  <a:lnTo>
                    <a:pt x="61" y="74"/>
                  </a:lnTo>
                  <a:lnTo>
                    <a:pt x="61" y="72"/>
                  </a:lnTo>
                  <a:lnTo>
                    <a:pt x="59" y="69"/>
                  </a:lnTo>
                  <a:lnTo>
                    <a:pt x="59" y="64"/>
                  </a:lnTo>
                  <a:lnTo>
                    <a:pt x="59" y="62"/>
                  </a:lnTo>
                  <a:lnTo>
                    <a:pt x="56" y="59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4" y="40"/>
                  </a:lnTo>
                  <a:lnTo>
                    <a:pt x="54" y="37"/>
                  </a:lnTo>
                  <a:lnTo>
                    <a:pt x="182" y="37"/>
                  </a:lnTo>
                  <a:lnTo>
                    <a:pt x="182" y="40"/>
                  </a:lnTo>
                  <a:lnTo>
                    <a:pt x="182" y="45"/>
                  </a:lnTo>
                  <a:lnTo>
                    <a:pt x="182" y="47"/>
                  </a:lnTo>
                  <a:lnTo>
                    <a:pt x="179" y="52"/>
                  </a:lnTo>
                  <a:lnTo>
                    <a:pt x="179" y="54"/>
                  </a:lnTo>
                  <a:lnTo>
                    <a:pt x="179" y="59"/>
                  </a:lnTo>
                  <a:lnTo>
                    <a:pt x="177" y="62"/>
                  </a:lnTo>
                  <a:lnTo>
                    <a:pt x="177" y="64"/>
                  </a:lnTo>
                  <a:lnTo>
                    <a:pt x="177" y="69"/>
                  </a:lnTo>
                  <a:lnTo>
                    <a:pt x="174" y="72"/>
                  </a:lnTo>
                  <a:lnTo>
                    <a:pt x="174" y="74"/>
                  </a:lnTo>
                  <a:lnTo>
                    <a:pt x="172" y="76"/>
                  </a:lnTo>
                  <a:lnTo>
                    <a:pt x="172" y="81"/>
                  </a:lnTo>
                  <a:lnTo>
                    <a:pt x="169" y="84"/>
                  </a:lnTo>
                  <a:lnTo>
                    <a:pt x="169" y="86"/>
                  </a:lnTo>
                  <a:lnTo>
                    <a:pt x="167" y="89"/>
                  </a:lnTo>
                  <a:lnTo>
                    <a:pt x="167" y="91"/>
                  </a:lnTo>
                  <a:lnTo>
                    <a:pt x="164" y="96"/>
                  </a:lnTo>
                  <a:lnTo>
                    <a:pt x="162" y="99"/>
                  </a:lnTo>
                  <a:lnTo>
                    <a:pt x="162" y="101"/>
                  </a:lnTo>
                  <a:lnTo>
                    <a:pt x="160" y="106"/>
                  </a:lnTo>
                  <a:lnTo>
                    <a:pt x="157" y="108"/>
                  </a:lnTo>
                  <a:lnTo>
                    <a:pt x="155" y="113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47" y="123"/>
                  </a:lnTo>
                  <a:lnTo>
                    <a:pt x="145" y="123"/>
                  </a:lnTo>
                  <a:lnTo>
                    <a:pt x="145" y="126"/>
                  </a:lnTo>
                  <a:lnTo>
                    <a:pt x="142" y="12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5" y="133"/>
                  </a:lnTo>
                  <a:lnTo>
                    <a:pt x="132" y="133"/>
                  </a:lnTo>
                  <a:lnTo>
                    <a:pt x="132" y="135"/>
                  </a:lnTo>
                  <a:lnTo>
                    <a:pt x="130" y="135"/>
                  </a:lnTo>
                  <a:lnTo>
                    <a:pt x="128" y="138"/>
                  </a:lnTo>
                  <a:lnTo>
                    <a:pt x="108" y="138"/>
                  </a:lnTo>
                  <a:lnTo>
                    <a:pt x="105" y="135"/>
                  </a:lnTo>
                  <a:close/>
                  <a:moveTo>
                    <a:pt x="51" y="23"/>
                  </a:moveTo>
                  <a:lnTo>
                    <a:pt x="51" y="18"/>
                  </a:lnTo>
                  <a:lnTo>
                    <a:pt x="184" y="18"/>
                  </a:lnTo>
                  <a:lnTo>
                    <a:pt x="184" y="23"/>
                  </a:lnTo>
                  <a:lnTo>
                    <a:pt x="184" y="27"/>
                  </a:lnTo>
                  <a:lnTo>
                    <a:pt x="51" y="27"/>
                  </a:lnTo>
                  <a:lnTo>
                    <a:pt x="51" y="23"/>
                  </a:lnTo>
                  <a:close/>
                  <a:moveTo>
                    <a:pt x="69" y="113"/>
                  </a:moveTo>
                  <a:lnTo>
                    <a:pt x="64" y="111"/>
                  </a:lnTo>
                  <a:lnTo>
                    <a:pt x="61" y="111"/>
                  </a:lnTo>
                  <a:lnTo>
                    <a:pt x="59" y="108"/>
                  </a:lnTo>
                  <a:lnTo>
                    <a:pt x="56" y="106"/>
                  </a:lnTo>
                  <a:lnTo>
                    <a:pt x="54" y="103"/>
                  </a:lnTo>
                  <a:lnTo>
                    <a:pt x="51" y="103"/>
                  </a:lnTo>
                  <a:lnTo>
                    <a:pt x="49" y="101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2" y="94"/>
                  </a:lnTo>
                  <a:lnTo>
                    <a:pt x="39" y="91"/>
                  </a:lnTo>
                  <a:lnTo>
                    <a:pt x="37" y="89"/>
                  </a:lnTo>
                  <a:lnTo>
                    <a:pt x="34" y="86"/>
                  </a:lnTo>
                  <a:lnTo>
                    <a:pt x="32" y="84"/>
                  </a:lnTo>
                  <a:lnTo>
                    <a:pt x="29" y="81"/>
                  </a:lnTo>
                  <a:lnTo>
                    <a:pt x="29" y="79"/>
                  </a:lnTo>
                  <a:lnTo>
                    <a:pt x="27" y="76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4" y="72"/>
                  </a:lnTo>
                  <a:lnTo>
                    <a:pt x="24" y="69"/>
                  </a:lnTo>
                  <a:lnTo>
                    <a:pt x="22" y="67"/>
                  </a:lnTo>
                  <a:lnTo>
                    <a:pt x="22" y="64"/>
                  </a:lnTo>
                  <a:lnTo>
                    <a:pt x="22" y="62"/>
                  </a:lnTo>
                  <a:lnTo>
                    <a:pt x="19" y="62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2"/>
                  </a:lnTo>
                  <a:lnTo>
                    <a:pt x="15" y="47"/>
                  </a:lnTo>
                  <a:lnTo>
                    <a:pt x="15" y="42"/>
                  </a:lnTo>
                  <a:lnTo>
                    <a:pt x="15" y="37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5"/>
                  </a:lnTo>
                  <a:lnTo>
                    <a:pt x="12" y="18"/>
                  </a:lnTo>
                  <a:lnTo>
                    <a:pt x="10" y="13"/>
                  </a:lnTo>
                  <a:lnTo>
                    <a:pt x="10" y="8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2" y="15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2" y="27"/>
                  </a:lnTo>
                  <a:lnTo>
                    <a:pt x="44" y="27"/>
                  </a:lnTo>
                  <a:lnTo>
                    <a:pt x="44" y="32"/>
                  </a:lnTo>
                  <a:lnTo>
                    <a:pt x="44" y="37"/>
                  </a:lnTo>
                  <a:lnTo>
                    <a:pt x="44" y="42"/>
                  </a:lnTo>
                  <a:lnTo>
                    <a:pt x="44" y="47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9" y="59"/>
                  </a:lnTo>
                  <a:lnTo>
                    <a:pt x="49" y="64"/>
                  </a:lnTo>
                  <a:lnTo>
                    <a:pt x="49" y="67"/>
                  </a:lnTo>
                  <a:lnTo>
                    <a:pt x="51" y="72"/>
                  </a:lnTo>
                  <a:lnTo>
                    <a:pt x="51" y="74"/>
                  </a:lnTo>
                  <a:lnTo>
                    <a:pt x="54" y="79"/>
                  </a:lnTo>
                  <a:lnTo>
                    <a:pt x="54" y="81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9" y="94"/>
                  </a:lnTo>
                  <a:lnTo>
                    <a:pt x="61" y="96"/>
                  </a:lnTo>
                  <a:lnTo>
                    <a:pt x="61" y="99"/>
                  </a:lnTo>
                  <a:lnTo>
                    <a:pt x="64" y="101"/>
                  </a:lnTo>
                  <a:lnTo>
                    <a:pt x="64" y="103"/>
                  </a:lnTo>
                  <a:lnTo>
                    <a:pt x="66" y="106"/>
                  </a:lnTo>
                  <a:lnTo>
                    <a:pt x="69" y="108"/>
                  </a:lnTo>
                  <a:lnTo>
                    <a:pt x="69" y="111"/>
                  </a:lnTo>
                  <a:lnTo>
                    <a:pt x="71" y="113"/>
                  </a:lnTo>
                  <a:lnTo>
                    <a:pt x="69" y="113"/>
                  </a:lnTo>
                  <a:close/>
                  <a:moveTo>
                    <a:pt x="167" y="111"/>
                  </a:moveTo>
                  <a:lnTo>
                    <a:pt x="167" y="108"/>
                  </a:lnTo>
                  <a:lnTo>
                    <a:pt x="169" y="106"/>
                  </a:lnTo>
                  <a:lnTo>
                    <a:pt x="172" y="103"/>
                  </a:lnTo>
                  <a:lnTo>
                    <a:pt x="172" y="101"/>
                  </a:lnTo>
                  <a:lnTo>
                    <a:pt x="174" y="99"/>
                  </a:lnTo>
                  <a:lnTo>
                    <a:pt x="174" y="96"/>
                  </a:lnTo>
                  <a:lnTo>
                    <a:pt x="177" y="94"/>
                  </a:lnTo>
                  <a:lnTo>
                    <a:pt x="179" y="89"/>
                  </a:lnTo>
                  <a:lnTo>
                    <a:pt x="179" y="86"/>
                  </a:lnTo>
                  <a:lnTo>
                    <a:pt x="182" y="81"/>
                  </a:lnTo>
                  <a:lnTo>
                    <a:pt x="182" y="79"/>
                  </a:lnTo>
                  <a:lnTo>
                    <a:pt x="184" y="74"/>
                  </a:lnTo>
                  <a:lnTo>
                    <a:pt x="184" y="72"/>
                  </a:lnTo>
                  <a:lnTo>
                    <a:pt x="187" y="67"/>
                  </a:lnTo>
                  <a:lnTo>
                    <a:pt x="187" y="64"/>
                  </a:lnTo>
                  <a:lnTo>
                    <a:pt x="187" y="59"/>
                  </a:lnTo>
                  <a:lnTo>
                    <a:pt x="189" y="54"/>
                  </a:lnTo>
                  <a:lnTo>
                    <a:pt x="189" y="50"/>
                  </a:lnTo>
                  <a:lnTo>
                    <a:pt x="191" y="47"/>
                  </a:lnTo>
                  <a:lnTo>
                    <a:pt x="191" y="42"/>
                  </a:lnTo>
                  <a:lnTo>
                    <a:pt x="191" y="37"/>
                  </a:lnTo>
                  <a:lnTo>
                    <a:pt x="191" y="32"/>
                  </a:lnTo>
                  <a:lnTo>
                    <a:pt x="191" y="27"/>
                  </a:lnTo>
                  <a:lnTo>
                    <a:pt x="194" y="27"/>
                  </a:lnTo>
                  <a:lnTo>
                    <a:pt x="196" y="27"/>
                  </a:lnTo>
                  <a:lnTo>
                    <a:pt x="199" y="27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4" y="25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4" y="15"/>
                  </a:lnTo>
                  <a:lnTo>
                    <a:pt x="214" y="13"/>
                  </a:lnTo>
                  <a:lnTo>
                    <a:pt x="214" y="10"/>
                  </a:lnTo>
                  <a:lnTo>
                    <a:pt x="214" y="8"/>
                  </a:lnTo>
                  <a:lnTo>
                    <a:pt x="226" y="8"/>
                  </a:lnTo>
                  <a:lnTo>
                    <a:pt x="226" y="13"/>
                  </a:lnTo>
                  <a:lnTo>
                    <a:pt x="223" y="18"/>
                  </a:lnTo>
                  <a:lnTo>
                    <a:pt x="223" y="25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1" y="37"/>
                  </a:lnTo>
                  <a:lnTo>
                    <a:pt x="221" y="42"/>
                  </a:lnTo>
                  <a:lnTo>
                    <a:pt x="221" y="47"/>
                  </a:lnTo>
                  <a:lnTo>
                    <a:pt x="218" y="52"/>
                  </a:lnTo>
                  <a:lnTo>
                    <a:pt x="216" y="57"/>
                  </a:lnTo>
                  <a:lnTo>
                    <a:pt x="216" y="59"/>
                  </a:lnTo>
                  <a:lnTo>
                    <a:pt x="216" y="62"/>
                  </a:lnTo>
                  <a:lnTo>
                    <a:pt x="214" y="62"/>
                  </a:lnTo>
                  <a:lnTo>
                    <a:pt x="214" y="64"/>
                  </a:lnTo>
                  <a:lnTo>
                    <a:pt x="214" y="67"/>
                  </a:lnTo>
                  <a:lnTo>
                    <a:pt x="211" y="69"/>
                  </a:lnTo>
                  <a:lnTo>
                    <a:pt x="211" y="72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209" y="76"/>
                  </a:lnTo>
                  <a:lnTo>
                    <a:pt x="206" y="79"/>
                  </a:lnTo>
                  <a:lnTo>
                    <a:pt x="206" y="81"/>
                  </a:lnTo>
                  <a:lnTo>
                    <a:pt x="204" y="84"/>
                  </a:lnTo>
                  <a:lnTo>
                    <a:pt x="201" y="86"/>
                  </a:lnTo>
                  <a:lnTo>
                    <a:pt x="199" y="89"/>
                  </a:lnTo>
                  <a:lnTo>
                    <a:pt x="196" y="91"/>
                  </a:lnTo>
                  <a:lnTo>
                    <a:pt x="194" y="94"/>
                  </a:lnTo>
                  <a:lnTo>
                    <a:pt x="191" y="96"/>
                  </a:lnTo>
                  <a:lnTo>
                    <a:pt x="191" y="99"/>
                  </a:lnTo>
                  <a:lnTo>
                    <a:pt x="187" y="101"/>
                  </a:lnTo>
                  <a:lnTo>
                    <a:pt x="184" y="103"/>
                  </a:lnTo>
                  <a:lnTo>
                    <a:pt x="182" y="103"/>
                  </a:lnTo>
                  <a:lnTo>
                    <a:pt x="179" y="106"/>
                  </a:lnTo>
                  <a:lnTo>
                    <a:pt x="177" y="108"/>
                  </a:lnTo>
                  <a:lnTo>
                    <a:pt x="174" y="111"/>
                  </a:lnTo>
                  <a:lnTo>
                    <a:pt x="172" y="111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7" y="111"/>
                  </a:lnTo>
                  <a:close/>
                  <a:moveTo>
                    <a:pt x="211" y="0"/>
                  </a:moveTo>
                  <a:lnTo>
                    <a:pt x="211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6" y="0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6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1" y="13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199" y="15"/>
                  </a:lnTo>
                  <a:lnTo>
                    <a:pt x="199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8"/>
                  </a:lnTo>
                  <a:lnTo>
                    <a:pt x="44" y="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29" y="8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5"/>
                  </a:lnTo>
                  <a:lnTo>
                    <a:pt x="2" y="20"/>
                  </a:lnTo>
                  <a:lnTo>
                    <a:pt x="2" y="27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7" y="47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10" y="54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7"/>
                  </a:lnTo>
                  <a:lnTo>
                    <a:pt x="15" y="69"/>
                  </a:lnTo>
                  <a:lnTo>
                    <a:pt x="15" y="72"/>
                  </a:lnTo>
                  <a:lnTo>
                    <a:pt x="17" y="74"/>
                  </a:lnTo>
                  <a:lnTo>
                    <a:pt x="17" y="76"/>
                  </a:lnTo>
                  <a:lnTo>
                    <a:pt x="19" y="79"/>
                  </a:lnTo>
                  <a:lnTo>
                    <a:pt x="19" y="81"/>
                  </a:lnTo>
                  <a:lnTo>
                    <a:pt x="22" y="84"/>
                  </a:lnTo>
                  <a:lnTo>
                    <a:pt x="22" y="86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7" y="91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2" y="96"/>
                  </a:lnTo>
                  <a:lnTo>
                    <a:pt x="32" y="99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7" y="103"/>
                  </a:lnTo>
                  <a:lnTo>
                    <a:pt x="39" y="103"/>
                  </a:lnTo>
                  <a:lnTo>
                    <a:pt x="39" y="106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9" y="113"/>
                  </a:lnTo>
                  <a:lnTo>
                    <a:pt x="51" y="113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6" y="118"/>
                  </a:lnTo>
                  <a:lnTo>
                    <a:pt x="59" y="118"/>
                  </a:lnTo>
                  <a:lnTo>
                    <a:pt x="61" y="121"/>
                  </a:lnTo>
                  <a:lnTo>
                    <a:pt x="64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69" y="123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6" y="126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3" y="130"/>
                  </a:lnTo>
                  <a:lnTo>
                    <a:pt x="86" y="133"/>
                  </a:lnTo>
                  <a:lnTo>
                    <a:pt x="88" y="135"/>
                  </a:lnTo>
                  <a:lnTo>
                    <a:pt x="91" y="138"/>
                  </a:lnTo>
                  <a:lnTo>
                    <a:pt x="93" y="140"/>
                  </a:lnTo>
                  <a:lnTo>
                    <a:pt x="96" y="140"/>
                  </a:lnTo>
                  <a:lnTo>
                    <a:pt x="98" y="143"/>
                  </a:lnTo>
                  <a:lnTo>
                    <a:pt x="101" y="145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98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3" y="165"/>
                  </a:lnTo>
                  <a:lnTo>
                    <a:pt x="93" y="165"/>
                  </a:lnTo>
                  <a:lnTo>
                    <a:pt x="93" y="167"/>
                  </a:lnTo>
                  <a:lnTo>
                    <a:pt x="91" y="167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3" y="179"/>
                  </a:lnTo>
                  <a:lnTo>
                    <a:pt x="93" y="179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101" y="184"/>
                  </a:lnTo>
                  <a:lnTo>
                    <a:pt x="101" y="187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8" y="199"/>
                  </a:lnTo>
                  <a:lnTo>
                    <a:pt x="96" y="199"/>
                  </a:lnTo>
                  <a:lnTo>
                    <a:pt x="93" y="202"/>
                  </a:lnTo>
                  <a:lnTo>
                    <a:pt x="93" y="202"/>
                  </a:lnTo>
                  <a:lnTo>
                    <a:pt x="91" y="204"/>
                  </a:lnTo>
                  <a:lnTo>
                    <a:pt x="91" y="204"/>
                  </a:lnTo>
                  <a:lnTo>
                    <a:pt x="88" y="206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6" y="209"/>
                  </a:lnTo>
                  <a:lnTo>
                    <a:pt x="86" y="209"/>
                  </a:lnTo>
                  <a:lnTo>
                    <a:pt x="83" y="209"/>
                  </a:lnTo>
                  <a:lnTo>
                    <a:pt x="83" y="211"/>
                  </a:lnTo>
                  <a:lnTo>
                    <a:pt x="83" y="211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4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81" y="219"/>
                  </a:lnTo>
                  <a:lnTo>
                    <a:pt x="81" y="219"/>
                  </a:lnTo>
                  <a:lnTo>
                    <a:pt x="81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4" y="221"/>
                  </a:lnTo>
                  <a:lnTo>
                    <a:pt x="64" y="221"/>
                  </a:lnTo>
                  <a:lnTo>
                    <a:pt x="61" y="221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6"/>
                  </a:lnTo>
                  <a:lnTo>
                    <a:pt x="59" y="226"/>
                  </a:lnTo>
                  <a:lnTo>
                    <a:pt x="59" y="226"/>
                  </a:lnTo>
                  <a:lnTo>
                    <a:pt x="59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80"/>
                  </a:lnTo>
                  <a:lnTo>
                    <a:pt x="179" y="280"/>
                  </a:lnTo>
                  <a:lnTo>
                    <a:pt x="179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77" y="224"/>
                  </a:lnTo>
                  <a:lnTo>
                    <a:pt x="177" y="224"/>
                  </a:lnTo>
                  <a:lnTo>
                    <a:pt x="177" y="224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74" y="221"/>
                  </a:lnTo>
                  <a:lnTo>
                    <a:pt x="172" y="221"/>
                  </a:lnTo>
                  <a:lnTo>
                    <a:pt x="172" y="221"/>
                  </a:lnTo>
                  <a:lnTo>
                    <a:pt x="172" y="221"/>
                  </a:lnTo>
                  <a:lnTo>
                    <a:pt x="169" y="221"/>
                  </a:lnTo>
                  <a:lnTo>
                    <a:pt x="169" y="221"/>
                  </a:lnTo>
                  <a:lnTo>
                    <a:pt x="155" y="221"/>
                  </a:lnTo>
                  <a:lnTo>
                    <a:pt x="155" y="219"/>
                  </a:lnTo>
                  <a:lnTo>
                    <a:pt x="155" y="219"/>
                  </a:lnTo>
                  <a:lnTo>
                    <a:pt x="155" y="219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5" y="204"/>
                  </a:lnTo>
                  <a:lnTo>
                    <a:pt x="142" y="204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5" y="199"/>
                  </a:lnTo>
                  <a:lnTo>
                    <a:pt x="135" y="187"/>
                  </a:lnTo>
                  <a:lnTo>
                    <a:pt x="135" y="184"/>
                  </a:lnTo>
                  <a:lnTo>
                    <a:pt x="137" y="184"/>
                  </a:lnTo>
                  <a:lnTo>
                    <a:pt x="137" y="184"/>
                  </a:lnTo>
                  <a:lnTo>
                    <a:pt x="137" y="184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2"/>
                  </a:lnTo>
                  <a:lnTo>
                    <a:pt x="145" y="172"/>
                  </a:lnTo>
                  <a:lnTo>
                    <a:pt x="145" y="170"/>
                  </a:lnTo>
                  <a:lnTo>
                    <a:pt x="145" y="170"/>
                  </a:lnTo>
                  <a:lnTo>
                    <a:pt x="145" y="167"/>
                  </a:lnTo>
                  <a:lnTo>
                    <a:pt x="142" y="167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42" y="162"/>
                  </a:lnTo>
                  <a:lnTo>
                    <a:pt x="142" y="162"/>
                  </a:lnTo>
                  <a:lnTo>
                    <a:pt x="140" y="162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7" y="160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45"/>
                  </a:lnTo>
                  <a:lnTo>
                    <a:pt x="137" y="143"/>
                  </a:lnTo>
                  <a:lnTo>
                    <a:pt x="140" y="140"/>
                  </a:lnTo>
                  <a:lnTo>
                    <a:pt x="142" y="140"/>
                  </a:lnTo>
                  <a:lnTo>
                    <a:pt x="145" y="138"/>
                  </a:lnTo>
                  <a:lnTo>
                    <a:pt x="147" y="135"/>
                  </a:lnTo>
                  <a:lnTo>
                    <a:pt x="150" y="133"/>
                  </a:lnTo>
                  <a:lnTo>
                    <a:pt x="152" y="130"/>
                  </a:lnTo>
                  <a:lnTo>
                    <a:pt x="155" y="128"/>
                  </a:lnTo>
                  <a:lnTo>
                    <a:pt x="157" y="126"/>
                  </a:lnTo>
                  <a:lnTo>
                    <a:pt x="160" y="126"/>
                  </a:lnTo>
                  <a:lnTo>
                    <a:pt x="162" y="126"/>
                  </a:lnTo>
                  <a:lnTo>
                    <a:pt x="164" y="126"/>
                  </a:lnTo>
                  <a:lnTo>
                    <a:pt x="167" y="123"/>
                  </a:lnTo>
                  <a:lnTo>
                    <a:pt x="169" y="123"/>
                  </a:lnTo>
                  <a:lnTo>
                    <a:pt x="169" y="121"/>
                  </a:lnTo>
                  <a:lnTo>
                    <a:pt x="172" y="121"/>
                  </a:lnTo>
                  <a:lnTo>
                    <a:pt x="174" y="121"/>
                  </a:lnTo>
                  <a:lnTo>
                    <a:pt x="177" y="118"/>
                  </a:lnTo>
                  <a:lnTo>
                    <a:pt x="179" y="118"/>
                  </a:lnTo>
                  <a:lnTo>
                    <a:pt x="182" y="116"/>
                  </a:lnTo>
                  <a:lnTo>
                    <a:pt x="182" y="116"/>
                  </a:lnTo>
                  <a:lnTo>
                    <a:pt x="184" y="113"/>
                  </a:lnTo>
                  <a:lnTo>
                    <a:pt x="187" y="113"/>
                  </a:lnTo>
                  <a:lnTo>
                    <a:pt x="189" y="111"/>
                  </a:lnTo>
                  <a:lnTo>
                    <a:pt x="191" y="111"/>
                  </a:lnTo>
                  <a:lnTo>
                    <a:pt x="191" y="108"/>
                  </a:lnTo>
                  <a:lnTo>
                    <a:pt x="194" y="108"/>
                  </a:lnTo>
                  <a:lnTo>
                    <a:pt x="196" y="106"/>
                  </a:lnTo>
                  <a:lnTo>
                    <a:pt x="196" y="103"/>
                  </a:lnTo>
                  <a:lnTo>
                    <a:pt x="199" y="103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4" y="99"/>
                  </a:lnTo>
                  <a:lnTo>
                    <a:pt x="204" y="96"/>
                  </a:lnTo>
                  <a:lnTo>
                    <a:pt x="206" y="94"/>
                  </a:lnTo>
                  <a:lnTo>
                    <a:pt x="209" y="94"/>
                  </a:lnTo>
                  <a:lnTo>
                    <a:pt x="209" y="91"/>
                  </a:lnTo>
                  <a:lnTo>
                    <a:pt x="211" y="89"/>
                  </a:lnTo>
                  <a:lnTo>
                    <a:pt x="211" y="89"/>
                  </a:lnTo>
                  <a:lnTo>
                    <a:pt x="214" y="86"/>
                  </a:lnTo>
                  <a:lnTo>
                    <a:pt x="214" y="84"/>
                  </a:lnTo>
                  <a:lnTo>
                    <a:pt x="216" y="81"/>
                  </a:lnTo>
                  <a:lnTo>
                    <a:pt x="216" y="79"/>
                  </a:lnTo>
                  <a:lnTo>
                    <a:pt x="218" y="76"/>
                  </a:lnTo>
                  <a:lnTo>
                    <a:pt x="218" y="74"/>
                  </a:lnTo>
                  <a:lnTo>
                    <a:pt x="221" y="72"/>
                  </a:lnTo>
                  <a:lnTo>
                    <a:pt x="221" y="69"/>
                  </a:lnTo>
                  <a:lnTo>
                    <a:pt x="223" y="67"/>
                  </a:lnTo>
                  <a:lnTo>
                    <a:pt x="223" y="64"/>
                  </a:lnTo>
                  <a:lnTo>
                    <a:pt x="223" y="64"/>
                  </a:lnTo>
                  <a:lnTo>
                    <a:pt x="226" y="59"/>
                  </a:lnTo>
                  <a:lnTo>
                    <a:pt x="226" y="57"/>
                  </a:lnTo>
                  <a:lnTo>
                    <a:pt x="226" y="54"/>
                  </a:lnTo>
                  <a:lnTo>
                    <a:pt x="228" y="52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31" y="45"/>
                  </a:lnTo>
                  <a:lnTo>
                    <a:pt x="231" y="42"/>
                  </a:lnTo>
                  <a:lnTo>
                    <a:pt x="231" y="40"/>
                  </a:lnTo>
                  <a:lnTo>
                    <a:pt x="231" y="37"/>
                  </a:lnTo>
                  <a:lnTo>
                    <a:pt x="233" y="35"/>
                  </a:lnTo>
                  <a:lnTo>
                    <a:pt x="233" y="32"/>
                  </a:lnTo>
                  <a:lnTo>
                    <a:pt x="233" y="30"/>
                  </a:lnTo>
                  <a:lnTo>
                    <a:pt x="233" y="27"/>
                  </a:lnTo>
                  <a:lnTo>
                    <a:pt x="233" y="20"/>
                  </a:lnTo>
                  <a:lnTo>
                    <a:pt x="233" y="15"/>
                  </a:lnTo>
                  <a:lnTo>
                    <a:pt x="233" y="10"/>
                  </a:lnTo>
                  <a:lnTo>
                    <a:pt x="236" y="5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45">
              <a:extLst>
                <a:ext uri="{FF2B5EF4-FFF2-40B4-BE49-F238E27FC236}">
                  <a16:creationId xmlns:a16="http://schemas.microsoft.com/office/drawing/2014/main" id="{28529E87-3C5A-4379-B2B6-4ED85CED81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7" y="3521"/>
              <a:ext cx="236" cy="280"/>
            </a:xfrm>
            <a:custGeom>
              <a:avLst/>
              <a:gdLst>
                <a:gd name="T0" fmla="*/ 81 w 236"/>
                <a:gd name="T1" fmla="*/ 248 h 280"/>
                <a:gd name="T2" fmla="*/ 81 w 236"/>
                <a:gd name="T3" fmla="*/ 255 h 280"/>
                <a:gd name="T4" fmla="*/ 155 w 236"/>
                <a:gd name="T5" fmla="*/ 255 h 280"/>
                <a:gd name="T6" fmla="*/ 155 w 236"/>
                <a:gd name="T7" fmla="*/ 248 h 280"/>
                <a:gd name="T8" fmla="*/ 169 w 236"/>
                <a:gd name="T9" fmla="*/ 273 h 280"/>
                <a:gd name="T10" fmla="*/ 101 w 236"/>
                <a:gd name="T11" fmla="*/ 209 h 280"/>
                <a:gd name="T12" fmla="*/ 142 w 236"/>
                <a:gd name="T13" fmla="*/ 214 h 280"/>
                <a:gd name="T14" fmla="*/ 110 w 236"/>
                <a:gd name="T15" fmla="*/ 187 h 280"/>
                <a:gd name="T16" fmla="*/ 101 w 236"/>
                <a:gd name="T17" fmla="*/ 172 h 280"/>
                <a:gd name="T18" fmla="*/ 103 w 236"/>
                <a:gd name="T19" fmla="*/ 165 h 280"/>
                <a:gd name="T20" fmla="*/ 132 w 236"/>
                <a:gd name="T21" fmla="*/ 165 h 280"/>
                <a:gd name="T22" fmla="*/ 135 w 236"/>
                <a:gd name="T23" fmla="*/ 172 h 280"/>
                <a:gd name="T24" fmla="*/ 128 w 236"/>
                <a:gd name="T25" fmla="*/ 177 h 280"/>
                <a:gd name="T26" fmla="*/ 98 w 236"/>
                <a:gd name="T27" fmla="*/ 130 h 280"/>
                <a:gd name="T28" fmla="*/ 74 w 236"/>
                <a:gd name="T29" fmla="*/ 99 h 280"/>
                <a:gd name="T30" fmla="*/ 56 w 236"/>
                <a:gd name="T31" fmla="*/ 59 h 280"/>
                <a:gd name="T32" fmla="*/ 179 w 236"/>
                <a:gd name="T33" fmla="*/ 59 h 280"/>
                <a:gd name="T34" fmla="*/ 162 w 236"/>
                <a:gd name="T35" fmla="*/ 99 h 280"/>
                <a:gd name="T36" fmla="*/ 137 w 236"/>
                <a:gd name="T37" fmla="*/ 130 h 280"/>
                <a:gd name="T38" fmla="*/ 184 w 236"/>
                <a:gd name="T39" fmla="*/ 27 h 280"/>
                <a:gd name="T40" fmla="*/ 42 w 236"/>
                <a:gd name="T41" fmla="*/ 94 h 280"/>
                <a:gd name="T42" fmla="*/ 22 w 236"/>
                <a:gd name="T43" fmla="*/ 64 h 280"/>
                <a:gd name="T44" fmla="*/ 10 w 236"/>
                <a:gd name="T45" fmla="*/ 13 h 280"/>
                <a:gd name="T46" fmla="*/ 34 w 236"/>
                <a:gd name="T47" fmla="*/ 25 h 280"/>
                <a:gd name="T48" fmla="*/ 49 w 236"/>
                <a:gd name="T49" fmla="*/ 64 h 280"/>
                <a:gd name="T50" fmla="*/ 66 w 236"/>
                <a:gd name="T51" fmla="*/ 106 h 280"/>
                <a:gd name="T52" fmla="*/ 179 w 236"/>
                <a:gd name="T53" fmla="*/ 89 h 280"/>
                <a:gd name="T54" fmla="*/ 191 w 236"/>
                <a:gd name="T55" fmla="*/ 37 h 280"/>
                <a:gd name="T56" fmla="*/ 211 w 236"/>
                <a:gd name="T57" fmla="*/ 18 h 280"/>
                <a:gd name="T58" fmla="*/ 221 w 236"/>
                <a:gd name="T59" fmla="*/ 42 h 280"/>
                <a:gd name="T60" fmla="*/ 209 w 236"/>
                <a:gd name="T61" fmla="*/ 76 h 280"/>
                <a:gd name="T62" fmla="*/ 179 w 236"/>
                <a:gd name="T63" fmla="*/ 106 h 280"/>
                <a:gd name="T64" fmla="*/ 206 w 236"/>
                <a:gd name="T65" fmla="*/ 0 h 280"/>
                <a:gd name="T66" fmla="*/ 201 w 236"/>
                <a:gd name="T67" fmla="*/ 15 h 280"/>
                <a:gd name="T68" fmla="*/ 37 w 236"/>
                <a:gd name="T69" fmla="*/ 15 h 280"/>
                <a:gd name="T70" fmla="*/ 29 w 236"/>
                <a:gd name="T71" fmla="*/ 3 h 280"/>
                <a:gd name="T72" fmla="*/ 5 w 236"/>
                <a:gd name="T73" fmla="*/ 0 h 280"/>
                <a:gd name="T74" fmla="*/ 2 w 236"/>
                <a:gd name="T75" fmla="*/ 15 h 280"/>
                <a:gd name="T76" fmla="*/ 10 w 236"/>
                <a:gd name="T77" fmla="*/ 54 h 280"/>
                <a:gd name="T78" fmla="*/ 22 w 236"/>
                <a:gd name="T79" fmla="*/ 86 h 280"/>
                <a:gd name="T80" fmla="*/ 42 w 236"/>
                <a:gd name="T81" fmla="*/ 108 h 280"/>
                <a:gd name="T82" fmla="*/ 66 w 236"/>
                <a:gd name="T83" fmla="*/ 123 h 280"/>
                <a:gd name="T84" fmla="*/ 98 w 236"/>
                <a:gd name="T85" fmla="*/ 143 h 280"/>
                <a:gd name="T86" fmla="*/ 93 w 236"/>
                <a:gd name="T87" fmla="*/ 165 h 280"/>
                <a:gd name="T88" fmla="*/ 93 w 236"/>
                <a:gd name="T89" fmla="*/ 179 h 280"/>
                <a:gd name="T90" fmla="*/ 93 w 236"/>
                <a:gd name="T91" fmla="*/ 202 h 280"/>
                <a:gd name="T92" fmla="*/ 81 w 236"/>
                <a:gd name="T93" fmla="*/ 214 h 280"/>
                <a:gd name="T94" fmla="*/ 61 w 236"/>
                <a:gd name="T95" fmla="*/ 224 h 280"/>
                <a:gd name="T96" fmla="*/ 179 w 236"/>
                <a:gd name="T97" fmla="*/ 228 h 280"/>
                <a:gd name="T98" fmla="*/ 172 w 236"/>
                <a:gd name="T99" fmla="*/ 221 h 280"/>
                <a:gd name="T100" fmla="*/ 150 w 236"/>
                <a:gd name="T101" fmla="*/ 209 h 280"/>
                <a:gd name="T102" fmla="*/ 137 w 236"/>
                <a:gd name="T103" fmla="*/ 184 h 280"/>
                <a:gd name="T104" fmla="*/ 145 w 236"/>
                <a:gd name="T105" fmla="*/ 172 h 280"/>
                <a:gd name="T106" fmla="*/ 137 w 236"/>
                <a:gd name="T107" fmla="*/ 160 h 280"/>
                <a:gd name="T108" fmla="*/ 155 w 236"/>
                <a:gd name="T109" fmla="*/ 128 h 280"/>
                <a:gd name="T110" fmla="*/ 182 w 236"/>
                <a:gd name="T111" fmla="*/ 116 h 280"/>
                <a:gd name="T112" fmla="*/ 204 w 236"/>
                <a:gd name="T113" fmla="*/ 96 h 280"/>
                <a:gd name="T114" fmla="*/ 221 w 236"/>
                <a:gd name="T115" fmla="*/ 69 h 280"/>
                <a:gd name="T116" fmla="*/ 231 w 236"/>
                <a:gd name="T117" fmla="*/ 37 h 280"/>
                <a:gd name="T118" fmla="*/ 233 w 236"/>
                <a:gd name="T119" fmla="*/ 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6" h="280">
                  <a:moveTo>
                    <a:pt x="150" y="246"/>
                  </a:moveTo>
                  <a:lnTo>
                    <a:pt x="86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48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1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3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3" y="255"/>
                  </a:lnTo>
                  <a:lnTo>
                    <a:pt x="86" y="255"/>
                  </a:lnTo>
                  <a:lnTo>
                    <a:pt x="150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55" y="255"/>
                  </a:lnTo>
                  <a:lnTo>
                    <a:pt x="155" y="255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3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2" y="246"/>
                  </a:lnTo>
                  <a:lnTo>
                    <a:pt x="150" y="246"/>
                  </a:lnTo>
                  <a:close/>
                  <a:moveTo>
                    <a:pt x="66" y="231"/>
                  </a:moveTo>
                  <a:lnTo>
                    <a:pt x="169" y="231"/>
                  </a:lnTo>
                  <a:lnTo>
                    <a:pt x="169" y="273"/>
                  </a:lnTo>
                  <a:lnTo>
                    <a:pt x="66" y="273"/>
                  </a:lnTo>
                  <a:lnTo>
                    <a:pt x="66" y="231"/>
                  </a:lnTo>
                  <a:close/>
                  <a:moveTo>
                    <a:pt x="91" y="219"/>
                  </a:moveTo>
                  <a:lnTo>
                    <a:pt x="91" y="219"/>
                  </a:lnTo>
                  <a:lnTo>
                    <a:pt x="91" y="216"/>
                  </a:lnTo>
                  <a:lnTo>
                    <a:pt x="93" y="216"/>
                  </a:lnTo>
                  <a:lnTo>
                    <a:pt x="93" y="214"/>
                  </a:lnTo>
                  <a:lnTo>
                    <a:pt x="93" y="214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8" y="211"/>
                  </a:lnTo>
                  <a:lnTo>
                    <a:pt x="98" y="209"/>
                  </a:lnTo>
                  <a:lnTo>
                    <a:pt x="101" y="209"/>
                  </a:lnTo>
                  <a:lnTo>
                    <a:pt x="101" y="209"/>
                  </a:lnTo>
                  <a:lnTo>
                    <a:pt x="103" y="206"/>
                  </a:lnTo>
                  <a:lnTo>
                    <a:pt x="108" y="206"/>
                  </a:lnTo>
                  <a:lnTo>
                    <a:pt x="128" y="206"/>
                  </a:lnTo>
                  <a:lnTo>
                    <a:pt x="132" y="206"/>
                  </a:lnTo>
                  <a:lnTo>
                    <a:pt x="132" y="206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7" y="209"/>
                  </a:lnTo>
                  <a:lnTo>
                    <a:pt x="137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216"/>
                  </a:lnTo>
                  <a:lnTo>
                    <a:pt x="145" y="216"/>
                  </a:lnTo>
                  <a:lnTo>
                    <a:pt x="145" y="219"/>
                  </a:lnTo>
                  <a:lnTo>
                    <a:pt x="145" y="219"/>
                  </a:lnTo>
                  <a:lnTo>
                    <a:pt x="145" y="221"/>
                  </a:lnTo>
                  <a:lnTo>
                    <a:pt x="91" y="221"/>
                  </a:lnTo>
                  <a:lnTo>
                    <a:pt x="91" y="219"/>
                  </a:lnTo>
                  <a:close/>
                  <a:moveTo>
                    <a:pt x="110" y="187"/>
                  </a:moveTo>
                  <a:lnTo>
                    <a:pt x="125" y="187"/>
                  </a:lnTo>
                  <a:lnTo>
                    <a:pt x="125" y="197"/>
                  </a:lnTo>
                  <a:lnTo>
                    <a:pt x="110" y="197"/>
                  </a:lnTo>
                  <a:lnTo>
                    <a:pt x="110" y="187"/>
                  </a:lnTo>
                  <a:close/>
                  <a:moveTo>
                    <a:pt x="105" y="177"/>
                  </a:move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7"/>
                  </a:lnTo>
                  <a:lnTo>
                    <a:pt x="103" y="165"/>
                  </a:lnTo>
                  <a:lnTo>
                    <a:pt x="103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8" y="165"/>
                  </a:lnTo>
                  <a:lnTo>
                    <a:pt x="128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2" y="165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28" y="177"/>
                  </a:lnTo>
                  <a:lnTo>
                    <a:pt x="108" y="177"/>
                  </a:lnTo>
                  <a:lnTo>
                    <a:pt x="105" y="177"/>
                  </a:lnTo>
                  <a:close/>
                  <a:moveTo>
                    <a:pt x="110" y="145"/>
                  </a:moveTo>
                  <a:lnTo>
                    <a:pt x="125" y="145"/>
                  </a:lnTo>
                  <a:lnTo>
                    <a:pt x="125" y="155"/>
                  </a:lnTo>
                  <a:lnTo>
                    <a:pt x="110" y="155"/>
                  </a:lnTo>
                  <a:lnTo>
                    <a:pt x="110" y="145"/>
                  </a:lnTo>
                  <a:close/>
                  <a:moveTo>
                    <a:pt x="105" y="135"/>
                  </a:moveTo>
                  <a:lnTo>
                    <a:pt x="103" y="135"/>
                  </a:lnTo>
                  <a:lnTo>
                    <a:pt x="103" y="133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3" y="126"/>
                  </a:lnTo>
                  <a:lnTo>
                    <a:pt x="91" y="126"/>
                  </a:lnTo>
                  <a:lnTo>
                    <a:pt x="91" y="123"/>
                  </a:lnTo>
                  <a:lnTo>
                    <a:pt x="88" y="123"/>
                  </a:lnTo>
                  <a:lnTo>
                    <a:pt x="86" y="118"/>
                  </a:lnTo>
                  <a:lnTo>
                    <a:pt x="83" y="116"/>
                  </a:lnTo>
                  <a:lnTo>
                    <a:pt x="81" y="113"/>
                  </a:lnTo>
                  <a:lnTo>
                    <a:pt x="78" y="108"/>
                  </a:lnTo>
                  <a:lnTo>
                    <a:pt x="76" y="106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1" y="96"/>
                  </a:lnTo>
                  <a:lnTo>
                    <a:pt x="69" y="91"/>
                  </a:lnTo>
                  <a:lnTo>
                    <a:pt x="66" y="89"/>
                  </a:lnTo>
                  <a:lnTo>
                    <a:pt x="66" y="86"/>
                  </a:lnTo>
                  <a:lnTo>
                    <a:pt x="66" y="84"/>
                  </a:lnTo>
                  <a:lnTo>
                    <a:pt x="64" y="81"/>
                  </a:lnTo>
                  <a:lnTo>
                    <a:pt x="64" y="76"/>
                  </a:lnTo>
                  <a:lnTo>
                    <a:pt x="61" y="74"/>
                  </a:lnTo>
                  <a:lnTo>
                    <a:pt x="61" y="72"/>
                  </a:lnTo>
                  <a:lnTo>
                    <a:pt x="59" y="69"/>
                  </a:lnTo>
                  <a:lnTo>
                    <a:pt x="59" y="64"/>
                  </a:lnTo>
                  <a:lnTo>
                    <a:pt x="59" y="62"/>
                  </a:lnTo>
                  <a:lnTo>
                    <a:pt x="56" y="59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4" y="40"/>
                  </a:lnTo>
                  <a:lnTo>
                    <a:pt x="54" y="37"/>
                  </a:lnTo>
                  <a:lnTo>
                    <a:pt x="182" y="37"/>
                  </a:lnTo>
                  <a:lnTo>
                    <a:pt x="182" y="40"/>
                  </a:lnTo>
                  <a:lnTo>
                    <a:pt x="182" y="45"/>
                  </a:lnTo>
                  <a:lnTo>
                    <a:pt x="182" y="47"/>
                  </a:lnTo>
                  <a:lnTo>
                    <a:pt x="179" y="52"/>
                  </a:lnTo>
                  <a:lnTo>
                    <a:pt x="179" y="54"/>
                  </a:lnTo>
                  <a:lnTo>
                    <a:pt x="179" y="59"/>
                  </a:lnTo>
                  <a:lnTo>
                    <a:pt x="177" y="62"/>
                  </a:lnTo>
                  <a:lnTo>
                    <a:pt x="177" y="64"/>
                  </a:lnTo>
                  <a:lnTo>
                    <a:pt x="177" y="69"/>
                  </a:lnTo>
                  <a:lnTo>
                    <a:pt x="174" y="72"/>
                  </a:lnTo>
                  <a:lnTo>
                    <a:pt x="174" y="74"/>
                  </a:lnTo>
                  <a:lnTo>
                    <a:pt x="172" y="76"/>
                  </a:lnTo>
                  <a:lnTo>
                    <a:pt x="172" y="81"/>
                  </a:lnTo>
                  <a:lnTo>
                    <a:pt x="169" y="84"/>
                  </a:lnTo>
                  <a:lnTo>
                    <a:pt x="169" y="86"/>
                  </a:lnTo>
                  <a:lnTo>
                    <a:pt x="167" y="89"/>
                  </a:lnTo>
                  <a:lnTo>
                    <a:pt x="167" y="91"/>
                  </a:lnTo>
                  <a:lnTo>
                    <a:pt x="164" y="96"/>
                  </a:lnTo>
                  <a:lnTo>
                    <a:pt x="162" y="99"/>
                  </a:lnTo>
                  <a:lnTo>
                    <a:pt x="162" y="101"/>
                  </a:lnTo>
                  <a:lnTo>
                    <a:pt x="160" y="106"/>
                  </a:lnTo>
                  <a:lnTo>
                    <a:pt x="157" y="108"/>
                  </a:lnTo>
                  <a:lnTo>
                    <a:pt x="155" y="113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47" y="123"/>
                  </a:lnTo>
                  <a:lnTo>
                    <a:pt x="145" y="123"/>
                  </a:lnTo>
                  <a:lnTo>
                    <a:pt x="145" y="126"/>
                  </a:lnTo>
                  <a:lnTo>
                    <a:pt x="142" y="12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5" y="133"/>
                  </a:lnTo>
                  <a:lnTo>
                    <a:pt x="132" y="133"/>
                  </a:lnTo>
                  <a:lnTo>
                    <a:pt x="132" y="135"/>
                  </a:lnTo>
                  <a:lnTo>
                    <a:pt x="130" y="135"/>
                  </a:lnTo>
                  <a:lnTo>
                    <a:pt x="128" y="138"/>
                  </a:lnTo>
                  <a:lnTo>
                    <a:pt x="108" y="138"/>
                  </a:lnTo>
                  <a:lnTo>
                    <a:pt x="105" y="135"/>
                  </a:lnTo>
                  <a:close/>
                  <a:moveTo>
                    <a:pt x="51" y="23"/>
                  </a:moveTo>
                  <a:lnTo>
                    <a:pt x="51" y="18"/>
                  </a:lnTo>
                  <a:lnTo>
                    <a:pt x="184" y="18"/>
                  </a:lnTo>
                  <a:lnTo>
                    <a:pt x="184" y="23"/>
                  </a:lnTo>
                  <a:lnTo>
                    <a:pt x="184" y="27"/>
                  </a:lnTo>
                  <a:lnTo>
                    <a:pt x="51" y="27"/>
                  </a:lnTo>
                  <a:lnTo>
                    <a:pt x="51" y="23"/>
                  </a:lnTo>
                  <a:close/>
                  <a:moveTo>
                    <a:pt x="69" y="113"/>
                  </a:moveTo>
                  <a:lnTo>
                    <a:pt x="64" y="111"/>
                  </a:lnTo>
                  <a:lnTo>
                    <a:pt x="61" y="111"/>
                  </a:lnTo>
                  <a:lnTo>
                    <a:pt x="59" y="108"/>
                  </a:lnTo>
                  <a:lnTo>
                    <a:pt x="56" y="106"/>
                  </a:lnTo>
                  <a:lnTo>
                    <a:pt x="54" y="103"/>
                  </a:lnTo>
                  <a:lnTo>
                    <a:pt x="51" y="103"/>
                  </a:lnTo>
                  <a:lnTo>
                    <a:pt x="49" y="101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2" y="94"/>
                  </a:lnTo>
                  <a:lnTo>
                    <a:pt x="39" y="91"/>
                  </a:lnTo>
                  <a:lnTo>
                    <a:pt x="37" y="89"/>
                  </a:lnTo>
                  <a:lnTo>
                    <a:pt x="34" y="86"/>
                  </a:lnTo>
                  <a:lnTo>
                    <a:pt x="32" y="84"/>
                  </a:lnTo>
                  <a:lnTo>
                    <a:pt x="29" y="81"/>
                  </a:lnTo>
                  <a:lnTo>
                    <a:pt x="29" y="79"/>
                  </a:lnTo>
                  <a:lnTo>
                    <a:pt x="27" y="76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4" y="72"/>
                  </a:lnTo>
                  <a:lnTo>
                    <a:pt x="24" y="69"/>
                  </a:lnTo>
                  <a:lnTo>
                    <a:pt x="22" y="67"/>
                  </a:lnTo>
                  <a:lnTo>
                    <a:pt x="22" y="64"/>
                  </a:lnTo>
                  <a:lnTo>
                    <a:pt x="22" y="62"/>
                  </a:lnTo>
                  <a:lnTo>
                    <a:pt x="19" y="62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2"/>
                  </a:lnTo>
                  <a:lnTo>
                    <a:pt x="15" y="47"/>
                  </a:lnTo>
                  <a:lnTo>
                    <a:pt x="15" y="42"/>
                  </a:lnTo>
                  <a:lnTo>
                    <a:pt x="15" y="37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5"/>
                  </a:lnTo>
                  <a:lnTo>
                    <a:pt x="12" y="18"/>
                  </a:lnTo>
                  <a:lnTo>
                    <a:pt x="10" y="13"/>
                  </a:lnTo>
                  <a:lnTo>
                    <a:pt x="10" y="8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2" y="15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2" y="27"/>
                  </a:lnTo>
                  <a:lnTo>
                    <a:pt x="44" y="27"/>
                  </a:lnTo>
                  <a:lnTo>
                    <a:pt x="44" y="32"/>
                  </a:lnTo>
                  <a:lnTo>
                    <a:pt x="44" y="37"/>
                  </a:lnTo>
                  <a:lnTo>
                    <a:pt x="44" y="42"/>
                  </a:lnTo>
                  <a:lnTo>
                    <a:pt x="44" y="47"/>
                  </a:lnTo>
                  <a:lnTo>
                    <a:pt x="46" y="50"/>
                  </a:lnTo>
                  <a:lnTo>
                    <a:pt x="46" y="54"/>
                  </a:lnTo>
                  <a:lnTo>
                    <a:pt x="49" y="59"/>
                  </a:lnTo>
                  <a:lnTo>
                    <a:pt x="49" y="64"/>
                  </a:lnTo>
                  <a:lnTo>
                    <a:pt x="49" y="67"/>
                  </a:lnTo>
                  <a:lnTo>
                    <a:pt x="51" y="72"/>
                  </a:lnTo>
                  <a:lnTo>
                    <a:pt x="51" y="74"/>
                  </a:lnTo>
                  <a:lnTo>
                    <a:pt x="54" y="79"/>
                  </a:lnTo>
                  <a:lnTo>
                    <a:pt x="54" y="81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9" y="94"/>
                  </a:lnTo>
                  <a:lnTo>
                    <a:pt x="61" y="96"/>
                  </a:lnTo>
                  <a:lnTo>
                    <a:pt x="61" y="99"/>
                  </a:lnTo>
                  <a:lnTo>
                    <a:pt x="64" y="101"/>
                  </a:lnTo>
                  <a:lnTo>
                    <a:pt x="64" y="103"/>
                  </a:lnTo>
                  <a:lnTo>
                    <a:pt x="66" y="106"/>
                  </a:lnTo>
                  <a:lnTo>
                    <a:pt x="69" y="108"/>
                  </a:lnTo>
                  <a:lnTo>
                    <a:pt x="69" y="111"/>
                  </a:lnTo>
                  <a:lnTo>
                    <a:pt x="71" y="113"/>
                  </a:lnTo>
                  <a:lnTo>
                    <a:pt x="69" y="113"/>
                  </a:lnTo>
                  <a:close/>
                  <a:moveTo>
                    <a:pt x="167" y="111"/>
                  </a:moveTo>
                  <a:lnTo>
                    <a:pt x="167" y="108"/>
                  </a:lnTo>
                  <a:lnTo>
                    <a:pt x="169" y="106"/>
                  </a:lnTo>
                  <a:lnTo>
                    <a:pt x="172" y="103"/>
                  </a:lnTo>
                  <a:lnTo>
                    <a:pt x="172" y="101"/>
                  </a:lnTo>
                  <a:lnTo>
                    <a:pt x="174" y="99"/>
                  </a:lnTo>
                  <a:lnTo>
                    <a:pt x="174" y="96"/>
                  </a:lnTo>
                  <a:lnTo>
                    <a:pt x="177" y="94"/>
                  </a:lnTo>
                  <a:lnTo>
                    <a:pt x="179" y="89"/>
                  </a:lnTo>
                  <a:lnTo>
                    <a:pt x="179" y="86"/>
                  </a:lnTo>
                  <a:lnTo>
                    <a:pt x="182" y="81"/>
                  </a:lnTo>
                  <a:lnTo>
                    <a:pt x="182" y="79"/>
                  </a:lnTo>
                  <a:lnTo>
                    <a:pt x="184" y="74"/>
                  </a:lnTo>
                  <a:lnTo>
                    <a:pt x="184" y="72"/>
                  </a:lnTo>
                  <a:lnTo>
                    <a:pt x="187" y="67"/>
                  </a:lnTo>
                  <a:lnTo>
                    <a:pt x="187" y="64"/>
                  </a:lnTo>
                  <a:lnTo>
                    <a:pt x="187" y="59"/>
                  </a:lnTo>
                  <a:lnTo>
                    <a:pt x="189" y="54"/>
                  </a:lnTo>
                  <a:lnTo>
                    <a:pt x="189" y="50"/>
                  </a:lnTo>
                  <a:lnTo>
                    <a:pt x="191" y="47"/>
                  </a:lnTo>
                  <a:lnTo>
                    <a:pt x="191" y="42"/>
                  </a:lnTo>
                  <a:lnTo>
                    <a:pt x="191" y="37"/>
                  </a:lnTo>
                  <a:lnTo>
                    <a:pt x="191" y="32"/>
                  </a:lnTo>
                  <a:lnTo>
                    <a:pt x="191" y="27"/>
                  </a:lnTo>
                  <a:lnTo>
                    <a:pt x="194" y="27"/>
                  </a:lnTo>
                  <a:lnTo>
                    <a:pt x="196" y="27"/>
                  </a:lnTo>
                  <a:lnTo>
                    <a:pt x="199" y="27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4" y="25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4" y="15"/>
                  </a:lnTo>
                  <a:lnTo>
                    <a:pt x="214" y="13"/>
                  </a:lnTo>
                  <a:lnTo>
                    <a:pt x="214" y="10"/>
                  </a:lnTo>
                  <a:lnTo>
                    <a:pt x="214" y="8"/>
                  </a:lnTo>
                  <a:lnTo>
                    <a:pt x="226" y="8"/>
                  </a:lnTo>
                  <a:lnTo>
                    <a:pt x="226" y="13"/>
                  </a:lnTo>
                  <a:lnTo>
                    <a:pt x="223" y="18"/>
                  </a:lnTo>
                  <a:lnTo>
                    <a:pt x="223" y="25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1" y="37"/>
                  </a:lnTo>
                  <a:lnTo>
                    <a:pt x="221" y="42"/>
                  </a:lnTo>
                  <a:lnTo>
                    <a:pt x="221" y="47"/>
                  </a:lnTo>
                  <a:lnTo>
                    <a:pt x="218" y="52"/>
                  </a:lnTo>
                  <a:lnTo>
                    <a:pt x="216" y="57"/>
                  </a:lnTo>
                  <a:lnTo>
                    <a:pt x="216" y="59"/>
                  </a:lnTo>
                  <a:lnTo>
                    <a:pt x="216" y="62"/>
                  </a:lnTo>
                  <a:lnTo>
                    <a:pt x="214" y="62"/>
                  </a:lnTo>
                  <a:lnTo>
                    <a:pt x="214" y="64"/>
                  </a:lnTo>
                  <a:lnTo>
                    <a:pt x="214" y="67"/>
                  </a:lnTo>
                  <a:lnTo>
                    <a:pt x="211" y="69"/>
                  </a:lnTo>
                  <a:lnTo>
                    <a:pt x="211" y="72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209" y="76"/>
                  </a:lnTo>
                  <a:lnTo>
                    <a:pt x="206" y="79"/>
                  </a:lnTo>
                  <a:lnTo>
                    <a:pt x="206" y="81"/>
                  </a:lnTo>
                  <a:lnTo>
                    <a:pt x="204" y="84"/>
                  </a:lnTo>
                  <a:lnTo>
                    <a:pt x="201" y="86"/>
                  </a:lnTo>
                  <a:lnTo>
                    <a:pt x="199" y="89"/>
                  </a:lnTo>
                  <a:lnTo>
                    <a:pt x="196" y="91"/>
                  </a:lnTo>
                  <a:lnTo>
                    <a:pt x="194" y="94"/>
                  </a:lnTo>
                  <a:lnTo>
                    <a:pt x="191" y="96"/>
                  </a:lnTo>
                  <a:lnTo>
                    <a:pt x="191" y="99"/>
                  </a:lnTo>
                  <a:lnTo>
                    <a:pt x="187" y="101"/>
                  </a:lnTo>
                  <a:lnTo>
                    <a:pt x="184" y="103"/>
                  </a:lnTo>
                  <a:lnTo>
                    <a:pt x="182" y="103"/>
                  </a:lnTo>
                  <a:lnTo>
                    <a:pt x="179" y="106"/>
                  </a:lnTo>
                  <a:lnTo>
                    <a:pt x="177" y="108"/>
                  </a:lnTo>
                  <a:lnTo>
                    <a:pt x="174" y="111"/>
                  </a:lnTo>
                  <a:lnTo>
                    <a:pt x="172" y="111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7" y="111"/>
                  </a:lnTo>
                  <a:close/>
                  <a:moveTo>
                    <a:pt x="211" y="0"/>
                  </a:moveTo>
                  <a:lnTo>
                    <a:pt x="211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6" y="0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6" y="3"/>
                  </a:lnTo>
                  <a:lnTo>
                    <a:pt x="206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1" y="13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199" y="15"/>
                  </a:lnTo>
                  <a:lnTo>
                    <a:pt x="199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8"/>
                  </a:lnTo>
                  <a:lnTo>
                    <a:pt x="44" y="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29" y="8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5"/>
                  </a:lnTo>
                  <a:lnTo>
                    <a:pt x="2" y="20"/>
                  </a:lnTo>
                  <a:lnTo>
                    <a:pt x="2" y="27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7" y="47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10" y="54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7"/>
                  </a:lnTo>
                  <a:lnTo>
                    <a:pt x="15" y="69"/>
                  </a:lnTo>
                  <a:lnTo>
                    <a:pt x="15" y="72"/>
                  </a:lnTo>
                  <a:lnTo>
                    <a:pt x="17" y="74"/>
                  </a:lnTo>
                  <a:lnTo>
                    <a:pt x="17" y="76"/>
                  </a:lnTo>
                  <a:lnTo>
                    <a:pt x="19" y="79"/>
                  </a:lnTo>
                  <a:lnTo>
                    <a:pt x="19" y="81"/>
                  </a:lnTo>
                  <a:lnTo>
                    <a:pt x="22" y="84"/>
                  </a:lnTo>
                  <a:lnTo>
                    <a:pt x="22" y="86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7" y="91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2" y="96"/>
                  </a:lnTo>
                  <a:lnTo>
                    <a:pt x="32" y="99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7" y="103"/>
                  </a:lnTo>
                  <a:lnTo>
                    <a:pt x="39" y="103"/>
                  </a:lnTo>
                  <a:lnTo>
                    <a:pt x="39" y="106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9" y="113"/>
                  </a:lnTo>
                  <a:lnTo>
                    <a:pt x="51" y="113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6" y="118"/>
                  </a:lnTo>
                  <a:lnTo>
                    <a:pt x="59" y="118"/>
                  </a:lnTo>
                  <a:lnTo>
                    <a:pt x="61" y="121"/>
                  </a:lnTo>
                  <a:lnTo>
                    <a:pt x="64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69" y="123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6" y="126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3" y="130"/>
                  </a:lnTo>
                  <a:lnTo>
                    <a:pt x="86" y="133"/>
                  </a:lnTo>
                  <a:lnTo>
                    <a:pt x="88" y="135"/>
                  </a:lnTo>
                  <a:lnTo>
                    <a:pt x="91" y="138"/>
                  </a:lnTo>
                  <a:lnTo>
                    <a:pt x="93" y="140"/>
                  </a:lnTo>
                  <a:lnTo>
                    <a:pt x="96" y="140"/>
                  </a:lnTo>
                  <a:lnTo>
                    <a:pt x="98" y="143"/>
                  </a:lnTo>
                  <a:lnTo>
                    <a:pt x="101" y="145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98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3" y="162"/>
                  </a:lnTo>
                  <a:lnTo>
                    <a:pt x="93" y="165"/>
                  </a:lnTo>
                  <a:lnTo>
                    <a:pt x="93" y="165"/>
                  </a:lnTo>
                  <a:lnTo>
                    <a:pt x="93" y="167"/>
                  </a:lnTo>
                  <a:lnTo>
                    <a:pt x="91" y="167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3" y="179"/>
                  </a:lnTo>
                  <a:lnTo>
                    <a:pt x="93" y="179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101" y="184"/>
                  </a:lnTo>
                  <a:lnTo>
                    <a:pt x="101" y="187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8" y="199"/>
                  </a:lnTo>
                  <a:lnTo>
                    <a:pt x="96" y="199"/>
                  </a:lnTo>
                  <a:lnTo>
                    <a:pt x="93" y="202"/>
                  </a:lnTo>
                  <a:lnTo>
                    <a:pt x="93" y="202"/>
                  </a:lnTo>
                  <a:lnTo>
                    <a:pt x="91" y="204"/>
                  </a:lnTo>
                  <a:lnTo>
                    <a:pt x="91" y="204"/>
                  </a:lnTo>
                  <a:lnTo>
                    <a:pt x="88" y="206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6" y="209"/>
                  </a:lnTo>
                  <a:lnTo>
                    <a:pt x="86" y="209"/>
                  </a:lnTo>
                  <a:lnTo>
                    <a:pt x="83" y="209"/>
                  </a:lnTo>
                  <a:lnTo>
                    <a:pt x="83" y="211"/>
                  </a:lnTo>
                  <a:lnTo>
                    <a:pt x="83" y="211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4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81" y="219"/>
                  </a:lnTo>
                  <a:lnTo>
                    <a:pt x="81" y="219"/>
                  </a:lnTo>
                  <a:lnTo>
                    <a:pt x="81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4" y="221"/>
                  </a:lnTo>
                  <a:lnTo>
                    <a:pt x="64" y="221"/>
                  </a:lnTo>
                  <a:lnTo>
                    <a:pt x="61" y="221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6"/>
                  </a:lnTo>
                  <a:lnTo>
                    <a:pt x="59" y="226"/>
                  </a:lnTo>
                  <a:lnTo>
                    <a:pt x="59" y="226"/>
                  </a:lnTo>
                  <a:lnTo>
                    <a:pt x="59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80"/>
                  </a:lnTo>
                  <a:lnTo>
                    <a:pt x="179" y="280"/>
                  </a:lnTo>
                  <a:lnTo>
                    <a:pt x="179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77" y="226"/>
                  </a:lnTo>
                  <a:lnTo>
                    <a:pt x="177" y="224"/>
                  </a:lnTo>
                  <a:lnTo>
                    <a:pt x="177" y="224"/>
                  </a:lnTo>
                  <a:lnTo>
                    <a:pt x="177" y="224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74" y="221"/>
                  </a:lnTo>
                  <a:lnTo>
                    <a:pt x="172" y="221"/>
                  </a:lnTo>
                  <a:lnTo>
                    <a:pt x="172" y="221"/>
                  </a:lnTo>
                  <a:lnTo>
                    <a:pt x="172" y="221"/>
                  </a:lnTo>
                  <a:lnTo>
                    <a:pt x="169" y="221"/>
                  </a:lnTo>
                  <a:lnTo>
                    <a:pt x="169" y="221"/>
                  </a:lnTo>
                  <a:lnTo>
                    <a:pt x="155" y="221"/>
                  </a:lnTo>
                  <a:lnTo>
                    <a:pt x="155" y="219"/>
                  </a:lnTo>
                  <a:lnTo>
                    <a:pt x="155" y="219"/>
                  </a:lnTo>
                  <a:lnTo>
                    <a:pt x="155" y="219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5" y="204"/>
                  </a:lnTo>
                  <a:lnTo>
                    <a:pt x="142" y="204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5" y="199"/>
                  </a:lnTo>
                  <a:lnTo>
                    <a:pt x="135" y="187"/>
                  </a:lnTo>
                  <a:lnTo>
                    <a:pt x="135" y="184"/>
                  </a:lnTo>
                  <a:lnTo>
                    <a:pt x="137" y="184"/>
                  </a:lnTo>
                  <a:lnTo>
                    <a:pt x="137" y="184"/>
                  </a:lnTo>
                  <a:lnTo>
                    <a:pt x="137" y="184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2"/>
                  </a:lnTo>
                  <a:lnTo>
                    <a:pt x="145" y="172"/>
                  </a:lnTo>
                  <a:lnTo>
                    <a:pt x="145" y="170"/>
                  </a:lnTo>
                  <a:lnTo>
                    <a:pt x="145" y="170"/>
                  </a:lnTo>
                  <a:lnTo>
                    <a:pt x="145" y="167"/>
                  </a:lnTo>
                  <a:lnTo>
                    <a:pt x="142" y="167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42" y="162"/>
                  </a:lnTo>
                  <a:lnTo>
                    <a:pt x="142" y="162"/>
                  </a:lnTo>
                  <a:lnTo>
                    <a:pt x="140" y="162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7" y="160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45"/>
                  </a:lnTo>
                  <a:lnTo>
                    <a:pt x="137" y="143"/>
                  </a:lnTo>
                  <a:lnTo>
                    <a:pt x="140" y="140"/>
                  </a:lnTo>
                  <a:lnTo>
                    <a:pt x="142" y="140"/>
                  </a:lnTo>
                  <a:lnTo>
                    <a:pt x="145" y="138"/>
                  </a:lnTo>
                  <a:lnTo>
                    <a:pt x="147" y="135"/>
                  </a:lnTo>
                  <a:lnTo>
                    <a:pt x="150" y="133"/>
                  </a:lnTo>
                  <a:lnTo>
                    <a:pt x="152" y="130"/>
                  </a:lnTo>
                  <a:lnTo>
                    <a:pt x="155" y="128"/>
                  </a:lnTo>
                  <a:lnTo>
                    <a:pt x="157" y="126"/>
                  </a:lnTo>
                  <a:lnTo>
                    <a:pt x="160" y="126"/>
                  </a:lnTo>
                  <a:lnTo>
                    <a:pt x="162" y="126"/>
                  </a:lnTo>
                  <a:lnTo>
                    <a:pt x="164" y="126"/>
                  </a:lnTo>
                  <a:lnTo>
                    <a:pt x="167" y="123"/>
                  </a:lnTo>
                  <a:lnTo>
                    <a:pt x="169" y="123"/>
                  </a:lnTo>
                  <a:lnTo>
                    <a:pt x="169" y="121"/>
                  </a:lnTo>
                  <a:lnTo>
                    <a:pt x="172" y="121"/>
                  </a:lnTo>
                  <a:lnTo>
                    <a:pt x="174" y="121"/>
                  </a:lnTo>
                  <a:lnTo>
                    <a:pt x="177" y="118"/>
                  </a:lnTo>
                  <a:lnTo>
                    <a:pt x="179" y="118"/>
                  </a:lnTo>
                  <a:lnTo>
                    <a:pt x="182" y="116"/>
                  </a:lnTo>
                  <a:lnTo>
                    <a:pt x="182" y="116"/>
                  </a:lnTo>
                  <a:lnTo>
                    <a:pt x="184" y="113"/>
                  </a:lnTo>
                  <a:lnTo>
                    <a:pt x="187" y="113"/>
                  </a:lnTo>
                  <a:lnTo>
                    <a:pt x="189" y="111"/>
                  </a:lnTo>
                  <a:lnTo>
                    <a:pt x="191" y="111"/>
                  </a:lnTo>
                  <a:lnTo>
                    <a:pt x="191" y="108"/>
                  </a:lnTo>
                  <a:lnTo>
                    <a:pt x="194" y="108"/>
                  </a:lnTo>
                  <a:lnTo>
                    <a:pt x="196" y="106"/>
                  </a:lnTo>
                  <a:lnTo>
                    <a:pt x="196" y="103"/>
                  </a:lnTo>
                  <a:lnTo>
                    <a:pt x="199" y="103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4" y="99"/>
                  </a:lnTo>
                  <a:lnTo>
                    <a:pt x="204" y="96"/>
                  </a:lnTo>
                  <a:lnTo>
                    <a:pt x="206" y="94"/>
                  </a:lnTo>
                  <a:lnTo>
                    <a:pt x="209" y="94"/>
                  </a:lnTo>
                  <a:lnTo>
                    <a:pt x="209" y="91"/>
                  </a:lnTo>
                  <a:lnTo>
                    <a:pt x="211" y="89"/>
                  </a:lnTo>
                  <a:lnTo>
                    <a:pt x="211" y="89"/>
                  </a:lnTo>
                  <a:lnTo>
                    <a:pt x="214" y="86"/>
                  </a:lnTo>
                  <a:lnTo>
                    <a:pt x="214" y="84"/>
                  </a:lnTo>
                  <a:lnTo>
                    <a:pt x="216" y="81"/>
                  </a:lnTo>
                  <a:lnTo>
                    <a:pt x="216" y="79"/>
                  </a:lnTo>
                  <a:lnTo>
                    <a:pt x="218" y="76"/>
                  </a:lnTo>
                  <a:lnTo>
                    <a:pt x="218" y="74"/>
                  </a:lnTo>
                  <a:lnTo>
                    <a:pt x="221" y="72"/>
                  </a:lnTo>
                  <a:lnTo>
                    <a:pt x="221" y="69"/>
                  </a:lnTo>
                  <a:lnTo>
                    <a:pt x="223" y="67"/>
                  </a:lnTo>
                  <a:lnTo>
                    <a:pt x="223" y="64"/>
                  </a:lnTo>
                  <a:lnTo>
                    <a:pt x="223" y="64"/>
                  </a:lnTo>
                  <a:lnTo>
                    <a:pt x="226" y="59"/>
                  </a:lnTo>
                  <a:lnTo>
                    <a:pt x="226" y="57"/>
                  </a:lnTo>
                  <a:lnTo>
                    <a:pt x="226" y="54"/>
                  </a:lnTo>
                  <a:lnTo>
                    <a:pt x="228" y="52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31" y="45"/>
                  </a:lnTo>
                  <a:lnTo>
                    <a:pt x="231" y="42"/>
                  </a:lnTo>
                  <a:lnTo>
                    <a:pt x="231" y="40"/>
                  </a:lnTo>
                  <a:lnTo>
                    <a:pt x="231" y="37"/>
                  </a:lnTo>
                  <a:lnTo>
                    <a:pt x="233" y="35"/>
                  </a:lnTo>
                  <a:lnTo>
                    <a:pt x="233" y="32"/>
                  </a:lnTo>
                  <a:lnTo>
                    <a:pt x="233" y="30"/>
                  </a:lnTo>
                  <a:lnTo>
                    <a:pt x="233" y="27"/>
                  </a:lnTo>
                  <a:lnTo>
                    <a:pt x="233" y="20"/>
                  </a:lnTo>
                  <a:lnTo>
                    <a:pt x="233" y="15"/>
                  </a:lnTo>
                  <a:lnTo>
                    <a:pt x="233" y="10"/>
                  </a:lnTo>
                  <a:lnTo>
                    <a:pt x="236" y="5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7" name="Group 248">
            <a:extLst>
              <a:ext uri="{FF2B5EF4-FFF2-40B4-BE49-F238E27FC236}">
                <a16:creationId xmlns:a16="http://schemas.microsoft.com/office/drawing/2014/main" id="{F2541433-1F6D-4AFF-B922-A0B98CFBCA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05323" y="5420393"/>
            <a:ext cx="842962" cy="841375"/>
            <a:chOff x="3117" y="3426"/>
            <a:chExt cx="531" cy="530"/>
          </a:xfrm>
        </p:grpSpPr>
        <p:sp>
          <p:nvSpPr>
            <p:cNvPr id="288" name="AutoShape 247">
              <a:extLst>
                <a:ext uri="{FF2B5EF4-FFF2-40B4-BE49-F238E27FC236}">
                  <a16:creationId xmlns:a16="http://schemas.microsoft.com/office/drawing/2014/main" id="{E39DDC43-C92F-4259-8635-6BC5BE9F5B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17" y="3426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249">
              <a:extLst>
                <a:ext uri="{FF2B5EF4-FFF2-40B4-BE49-F238E27FC236}">
                  <a16:creationId xmlns:a16="http://schemas.microsoft.com/office/drawing/2014/main" id="{CC49A8C4-F69C-41FA-84B6-1E55ED3725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7" y="3426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50">
              <a:extLst>
                <a:ext uri="{FF2B5EF4-FFF2-40B4-BE49-F238E27FC236}">
                  <a16:creationId xmlns:a16="http://schemas.microsoft.com/office/drawing/2014/main" id="{1024B029-BAF0-4D6C-AAA8-29672220C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" y="3444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1">
              <a:extLst>
                <a:ext uri="{FF2B5EF4-FFF2-40B4-BE49-F238E27FC236}">
                  <a16:creationId xmlns:a16="http://schemas.microsoft.com/office/drawing/2014/main" id="{87FEB7E5-0D17-49AB-8E80-F283F139E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1" y="3546"/>
              <a:ext cx="246" cy="292"/>
            </a:xfrm>
            <a:custGeom>
              <a:avLst/>
              <a:gdLst>
                <a:gd name="T0" fmla="*/ 84 w 246"/>
                <a:gd name="T1" fmla="*/ 259 h 292"/>
                <a:gd name="T2" fmla="*/ 84 w 246"/>
                <a:gd name="T3" fmla="*/ 267 h 292"/>
                <a:gd name="T4" fmla="*/ 161 w 246"/>
                <a:gd name="T5" fmla="*/ 267 h 292"/>
                <a:gd name="T6" fmla="*/ 161 w 246"/>
                <a:gd name="T7" fmla="*/ 259 h 292"/>
                <a:gd name="T8" fmla="*/ 177 w 246"/>
                <a:gd name="T9" fmla="*/ 284 h 292"/>
                <a:gd name="T10" fmla="*/ 105 w 246"/>
                <a:gd name="T11" fmla="*/ 218 h 292"/>
                <a:gd name="T12" fmla="*/ 148 w 246"/>
                <a:gd name="T13" fmla="*/ 223 h 292"/>
                <a:gd name="T14" fmla="*/ 115 w 246"/>
                <a:gd name="T15" fmla="*/ 195 h 292"/>
                <a:gd name="T16" fmla="*/ 105 w 246"/>
                <a:gd name="T17" fmla="*/ 179 h 292"/>
                <a:gd name="T18" fmla="*/ 107 w 246"/>
                <a:gd name="T19" fmla="*/ 172 h 292"/>
                <a:gd name="T20" fmla="*/ 138 w 246"/>
                <a:gd name="T21" fmla="*/ 172 h 292"/>
                <a:gd name="T22" fmla="*/ 141 w 246"/>
                <a:gd name="T23" fmla="*/ 179 h 292"/>
                <a:gd name="T24" fmla="*/ 133 w 246"/>
                <a:gd name="T25" fmla="*/ 185 h 292"/>
                <a:gd name="T26" fmla="*/ 102 w 246"/>
                <a:gd name="T27" fmla="*/ 136 h 292"/>
                <a:gd name="T28" fmla="*/ 77 w 246"/>
                <a:gd name="T29" fmla="*/ 103 h 292"/>
                <a:gd name="T30" fmla="*/ 59 w 246"/>
                <a:gd name="T31" fmla="*/ 62 h 292"/>
                <a:gd name="T32" fmla="*/ 187 w 246"/>
                <a:gd name="T33" fmla="*/ 62 h 292"/>
                <a:gd name="T34" fmla="*/ 169 w 246"/>
                <a:gd name="T35" fmla="*/ 103 h 292"/>
                <a:gd name="T36" fmla="*/ 143 w 246"/>
                <a:gd name="T37" fmla="*/ 136 h 292"/>
                <a:gd name="T38" fmla="*/ 192 w 246"/>
                <a:gd name="T39" fmla="*/ 28 h 292"/>
                <a:gd name="T40" fmla="*/ 43 w 246"/>
                <a:gd name="T41" fmla="*/ 98 h 292"/>
                <a:gd name="T42" fmla="*/ 23 w 246"/>
                <a:gd name="T43" fmla="*/ 67 h 292"/>
                <a:gd name="T44" fmla="*/ 10 w 246"/>
                <a:gd name="T45" fmla="*/ 13 h 292"/>
                <a:gd name="T46" fmla="*/ 35 w 246"/>
                <a:gd name="T47" fmla="*/ 26 h 292"/>
                <a:gd name="T48" fmla="*/ 51 w 246"/>
                <a:gd name="T49" fmla="*/ 67 h 292"/>
                <a:gd name="T50" fmla="*/ 69 w 246"/>
                <a:gd name="T51" fmla="*/ 110 h 292"/>
                <a:gd name="T52" fmla="*/ 187 w 246"/>
                <a:gd name="T53" fmla="*/ 92 h 292"/>
                <a:gd name="T54" fmla="*/ 200 w 246"/>
                <a:gd name="T55" fmla="*/ 39 h 292"/>
                <a:gd name="T56" fmla="*/ 220 w 246"/>
                <a:gd name="T57" fmla="*/ 18 h 292"/>
                <a:gd name="T58" fmla="*/ 230 w 246"/>
                <a:gd name="T59" fmla="*/ 44 h 292"/>
                <a:gd name="T60" fmla="*/ 218 w 246"/>
                <a:gd name="T61" fmla="*/ 80 h 292"/>
                <a:gd name="T62" fmla="*/ 187 w 246"/>
                <a:gd name="T63" fmla="*/ 110 h 292"/>
                <a:gd name="T64" fmla="*/ 215 w 246"/>
                <a:gd name="T65" fmla="*/ 0 h 292"/>
                <a:gd name="T66" fmla="*/ 210 w 246"/>
                <a:gd name="T67" fmla="*/ 16 h 292"/>
                <a:gd name="T68" fmla="*/ 38 w 246"/>
                <a:gd name="T69" fmla="*/ 16 h 292"/>
                <a:gd name="T70" fmla="*/ 30 w 246"/>
                <a:gd name="T71" fmla="*/ 3 h 292"/>
                <a:gd name="T72" fmla="*/ 5 w 246"/>
                <a:gd name="T73" fmla="*/ 0 h 292"/>
                <a:gd name="T74" fmla="*/ 2 w 246"/>
                <a:gd name="T75" fmla="*/ 16 h 292"/>
                <a:gd name="T76" fmla="*/ 10 w 246"/>
                <a:gd name="T77" fmla="*/ 57 h 292"/>
                <a:gd name="T78" fmla="*/ 23 w 246"/>
                <a:gd name="T79" fmla="*/ 90 h 292"/>
                <a:gd name="T80" fmla="*/ 43 w 246"/>
                <a:gd name="T81" fmla="*/ 113 h 292"/>
                <a:gd name="T82" fmla="*/ 69 w 246"/>
                <a:gd name="T83" fmla="*/ 128 h 292"/>
                <a:gd name="T84" fmla="*/ 102 w 246"/>
                <a:gd name="T85" fmla="*/ 149 h 292"/>
                <a:gd name="T86" fmla="*/ 97 w 246"/>
                <a:gd name="T87" fmla="*/ 172 h 292"/>
                <a:gd name="T88" fmla="*/ 97 w 246"/>
                <a:gd name="T89" fmla="*/ 187 h 292"/>
                <a:gd name="T90" fmla="*/ 97 w 246"/>
                <a:gd name="T91" fmla="*/ 210 h 292"/>
                <a:gd name="T92" fmla="*/ 84 w 246"/>
                <a:gd name="T93" fmla="*/ 223 h 292"/>
                <a:gd name="T94" fmla="*/ 64 w 246"/>
                <a:gd name="T95" fmla="*/ 233 h 292"/>
                <a:gd name="T96" fmla="*/ 187 w 246"/>
                <a:gd name="T97" fmla="*/ 238 h 292"/>
                <a:gd name="T98" fmla="*/ 179 w 246"/>
                <a:gd name="T99" fmla="*/ 231 h 292"/>
                <a:gd name="T100" fmla="*/ 156 w 246"/>
                <a:gd name="T101" fmla="*/ 218 h 292"/>
                <a:gd name="T102" fmla="*/ 143 w 246"/>
                <a:gd name="T103" fmla="*/ 192 h 292"/>
                <a:gd name="T104" fmla="*/ 151 w 246"/>
                <a:gd name="T105" fmla="*/ 179 h 292"/>
                <a:gd name="T106" fmla="*/ 143 w 246"/>
                <a:gd name="T107" fmla="*/ 167 h 292"/>
                <a:gd name="T108" fmla="*/ 161 w 246"/>
                <a:gd name="T109" fmla="*/ 133 h 292"/>
                <a:gd name="T110" fmla="*/ 189 w 246"/>
                <a:gd name="T111" fmla="*/ 121 h 292"/>
                <a:gd name="T112" fmla="*/ 212 w 246"/>
                <a:gd name="T113" fmla="*/ 100 h 292"/>
                <a:gd name="T114" fmla="*/ 230 w 246"/>
                <a:gd name="T115" fmla="*/ 72 h 292"/>
                <a:gd name="T116" fmla="*/ 241 w 246"/>
                <a:gd name="T117" fmla="*/ 39 h 292"/>
                <a:gd name="T118" fmla="*/ 243 w 246"/>
                <a:gd name="T119" fmla="*/ 3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6" h="292">
                  <a:moveTo>
                    <a:pt x="156" y="256"/>
                  </a:moveTo>
                  <a:lnTo>
                    <a:pt x="89" y="256"/>
                  </a:lnTo>
                  <a:lnTo>
                    <a:pt x="87" y="256"/>
                  </a:lnTo>
                  <a:lnTo>
                    <a:pt x="87" y="256"/>
                  </a:lnTo>
                  <a:lnTo>
                    <a:pt x="87" y="256"/>
                  </a:lnTo>
                  <a:lnTo>
                    <a:pt x="87" y="256"/>
                  </a:lnTo>
                  <a:lnTo>
                    <a:pt x="87" y="256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4"/>
                  </a:lnTo>
                  <a:lnTo>
                    <a:pt x="84" y="264"/>
                  </a:lnTo>
                  <a:lnTo>
                    <a:pt x="84" y="264"/>
                  </a:lnTo>
                  <a:lnTo>
                    <a:pt x="84" y="264"/>
                  </a:lnTo>
                  <a:lnTo>
                    <a:pt x="84" y="264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89" y="267"/>
                  </a:lnTo>
                  <a:lnTo>
                    <a:pt x="156" y="267"/>
                  </a:lnTo>
                  <a:lnTo>
                    <a:pt x="159" y="267"/>
                  </a:lnTo>
                  <a:lnTo>
                    <a:pt x="159" y="267"/>
                  </a:lnTo>
                  <a:lnTo>
                    <a:pt x="159" y="267"/>
                  </a:lnTo>
                  <a:lnTo>
                    <a:pt x="159" y="267"/>
                  </a:lnTo>
                  <a:lnTo>
                    <a:pt x="159" y="267"/>
                  </a:lnTo>
                  <a:lnTo>
                    <a:pt x="161" y="267"/>
                  </a:lnTo>
                  <a:lnTo>
                    <a:pt x="161" y="267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4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59" y="256"/>
                  </a:lnTo>
                  <a:lnTo>
                    <a:pt x="159" y="256"/>
                  </a:lnTo>
                  <a:lnTo>
                    <a:pt x="159" y="256"/>
                  </a:lnTo>
                  <a:lnTo>
                    <a:pt x="159" y="256"/>
                  </a:lnTo>
                  <a:lnTo>
                    <a:pt x="159" y="256"/>
                  </a:lnTo>
                  <a:lnTo>
                    <a:pt x="156" y="256"/>
                  </a:lnTo>
                  <a:close/>
                  <a:moveTo>
                    <a:pt x="69" y="241"/>
                  </a:moveTo>
                  <a:lnTo>
                    <a:pt x="177" y="241"/>
                  </a:lnTo>
                  <a:lnTo>
                    <a:pt x="177" y="284"/>
                  </a:lnTo>
                  <a:lnTo>
                    <a:pt x="69" y="284"/>
                  </a:lnTo>
                  <a:lnTo>
                    <a:pt x="69" y="241"/>
                  </a:lnTo>
                  <a:close/>
                  <a:moveTo>
                    <a:pt x="94" y="228"/>
                  </a:moveTo>
                  <a:lnTo>
                    <a:pt x="94" y="228"/>
                  </a:lnTo>
                  <a:lnTo>
                    <a:pt x="94" y="226"/>
                  </a:lnTo>
                  <a:lnTo>
                    <a:pt x="97" y="226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100" y="220"/>
                  </a:lnTo>
                  <a:lnTo>
                    <a:pt x="100" y="220"/>
                  </a:lnTo>
                  <a:lnTo>
                    <a:pt x="102" y="220"/>
                  </a:lnTo>
                  <a:lnTo>
                    <a:pt x="102" y="218"/>
                  </a:lnTo>
                  <a:lnTo>
                    <a:pt x="105" y="218"/>
                  </a:lnTo>
                  <a:lnTo>
                    <a:pt x="105" y="218"/>
                  </a:lnTo>
                  <a:lnTo>
                    <a:pt x="107" y="215"/>
                  </a:lnTo>
                  <a:lnTo>
                    <a:pt x="112" y="215"/>
                  </a:lnTo>
                  <a:lnTo>
                    <a:pt x="133" y="215"/>
                  </a:lnTo>
                  <a:lnTo>
                    <a:pt x="138" y="215"/>
                  </a:lnTo>
                  <a:lnTo>
                    <a:pt x="138" y="215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43" y="218"/>
                  </a:lnTo>
                  <a:lnTo>
                    <a:pt x="143" y="220"/>
                  </a:lnTo>
                  <a:lnTo>
                    <a:pt x="146" y="220"/>
                  </a:lnTo>
                  <a:lnTo>
                    <a:pt x="146" y="220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8" y="226"/>
                  </a:lnTo>
                  <a:lnTo>
                    <a:pt x="151" y="226"/>
                  </a:lnTo>
                  <a:lnTo>
                    <a:pt x="151" y="228"/>
                  </a:lnTo>
                  <a:lnTo>
                    <a:pt x="151" y="228"/>
                  </a:lnTo>
                  <a:lnTo>
                    <a:pt x="151" y="231"/>
                  </a:lnTo>
                  <a:lnTo>
                    <a:pt x="94" y="231"/>
                  </a:lnTo>
                  <a:lnTo>
                    <a:pt x="94" y="228"/>
                  </a:lnTo>
                  <a:close/>
                  <a:moveTo>
                    <a:pt x="115" y="195"/>
                  </a:moveTo>
                  <a:lnTo>
                    <a:pt x="130" y="195"/>
                  </a:lnTo>
                  <a:lnTo>
                    <a:pt x="130" y="205"/>
                  </a:lnTo>
                  <a:lnTo>
                    <a:pt x="115" y="205"/>
                  </a:lnTo>
                  <a:lnTo>
                    <a:pt x="115" y="195"/>
                  </a:lnTo>
                  <a:close/>
                  <a:moveTo>
                    <a:pt x="110" y="185"/>
                  </a:moveTo>
                  <a:lnTo>
                    <a:pt x="110" y="185"/>
                  </a:lnTo>
                  <a:lnTo>
                    <a:pt x="110" y="185"/>
                  </a:lnTo>
                  <a:lnTo>
                    <a:pt x="110" y="185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5" y="182"/>
                  </a:lnTo>
                  <a:lnTo>
                    <a:pt x="105" y="182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4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2"/>
                  </a:lnTo>
                  <a:lnTo>
                    <a:pt x="107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2" y="172"/>
                  </a:lnTo>
                  <a:lnTo>
                    <a:pt x="133" y="172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41" y="174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79"/>
                  </a:lnTo>
                  <a:lnTo>
                    <a:pt x="141" y="179"/>
                  </a:lnTo>
                  <a:lnTo>
                    <a:pt x="141" y="179"/>
                  </a:lnTo>
                  <a:lnTo>
                    <a:pt x="141" y="179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36" y="185"/>
                  </a:lnTo>
                  <a:lnTo>
                    <a:pt x="136" y="185"/>
                  </a:lnTo>
                  <a:lnTo>
                    <a:pt x="136" y="185"/>
                  </a:lnTo>
                  <a:lnTo>
                    <a:pt x="136" y="185"/>
                  </a:lnTo>
                  <a:lnTo>
                    <a:pt x="133" y="185"/>
                  </a:lnTo>
                  <a:lnTo>
                    <a:pt x="112" y="185"/>
                  </a:lnTo>
                  <a:lnTo>
                    <a:pt x="110" y="185"/>
                  </a:lnTo>
                  <a:close/>
                  <a:moveTo>
                    <a:pt x="115" y="151"/>
                  </a:moveTo>
                  <a:lnTo>
                    <a:pt x="130" y="151"/>
                  </a:lnTo>
                  <a:lnTo>
                    <a:pt x="130" y="162"/>
                  </a:lnTo>
                  <a:lnTo>
                    <a:pt x="115" y="162"/>
                  </a:lnTo>
                  <a:lnTo>
                    <a:pt x="115" y="151"/>
                  </a:lnTo>
                  <a:close/>
                  <a:moveTo>
                    <a:pt x="110" y="141"/>
                  </a:moveTo>
                  <a:lnTo>
                    <a:pt x="107" y="141"/>
                  </a:lnTo>
                  <a:lnTo>
                    <a:pt x="107" y="138"/>
                  </a:lnTo>
                  <a:lnTo>
                    <a:pt x="105" y="138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97" y="131"/>
                  </a:lnTo>
                  <a:lnTo>
                    <a:pt x="94" y="131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89" y="123"/>
                  </a:lnTo>
                  <a:lnTo>
                    <a:pt x="87" y="121"/>
                  </a:lnTo>
                  <a:lnTo>
                    <a:pt x="84" y="118"/>
                  </a:lnTo>
                  <a:lnTo>
                    <a:pt x="82" y="113"/>
                  </a:lnTo>
                  <a:lnTo>
                    <a:pt x="79" y="110"/>
                  </a:lnTo>
                  <a:lnTo>
                    <a:pt x="77" y="105"/>
                  </a:lnTo>
                  <a:lnTo>
                    <a:pt x="77" y="103"/>
                  </a:lnTo>
                  <a:lnTo>
                    <a:pt x="74" y="100"/>
                  </a:lnTo>
                  <a:lnTo>
                    <a:pt x="71" y="95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87"/>
                  </a:lnTo>
                  <a:lnTo>
                    <a:pt x="66" y="85"/>
                  </a:lnTo>
                  <a:lnTo>
                    <a:pt x="66" y="80"/>
                  </a:lnTo>
                  <a:lnTo>
                    <a:pt x="64" y="77"/>
                  </a:lnTo>
                  <a:lnTo>
                    <a:pt x="64" y="74"/>
                  </a:lnTo>
                  <a:lnTo>
                    <a:pt x="61" y="72"/>
                  </a:lnTo>
                  <a:lnTo>
                    <a:pt x="61" y="67"/>
                  </a:lnTo>
                  <a:lnTo>
                    <a:pt x="61" y="64"/>
                  </a:lnTo>
                  <a:lnTo>
                    <a:pt x="59" y="62"/>
                  </a:lnTo>
                  <a:lnTo>
                    <a:pt x="59" y="57"/>
                  </a:lnTo>
                  <a:lnTo>
                    <a:pt x="59" y="54"/>
                  </a:lnTo>
                  <a:lnTo>
                    <a:pt x="56" y="49"/>
                  </a:lnTo>
                  <a:lnTo>
                    <a:pt x="56" y="46"/>
                  </a:lnTo>
                  <a:lnTo>
                    <a:pt x="56" y="41"/>
                  </a:lnTo>
                  <a:lnTo>
                    <a:pt x="56" y="39"/>
                  </a:lnTo>
                  <a:lnTo>
                    <a:pt x="189" y="39"/>
                  </a:lnTo>
                  <a:lnTo>
                    <a:pt x="189" y="41"/>
                  </a:lnTo>
                  <a:lnTo>
                    <a:pt x="189" y="46"/>
                  </a:lnTo>
                  <a:lnTo>
                    <a:pt x="189" y="49"/>
                  </a:lnTo>
                  <a:lnTo>
                    <a:pt x="187" y="54"/>
                  </a:lnTo>
                  <a:lnTo>
                    <a:pt x="187" y="57"/>
                  </a:lnTo>
                  <a:lnTo>
                    <a:pt x="187" y="62"/>
                  </a:lnTo>
                  <a:lnTo>
                    <a:pt x="184" y="64"/>
                  </a:lnTo>
                  <a:lnTo>
                    <a:pt x="184" y="67"/>
                  </a:lnTo>
                  <a:lnTo>
                    <a:pt x="184" y="72"/>
                  </a:lnTo>
                  <a:lnTo>
                    <a:pt x="182" y="74"/>
                  </a:lnTo>
                  <a:lnTo>
                    <a:pt x="182" y="77"/>
                  </a:lnTo>
                  <a:lnTo>
                    <a:pt x="179" y="80"/>
                  </a:lnTo>
                  <a:lnTo>
                    <a:pt x="179" y="85"/>
                  </a:lnTo>
                  <a:lnTo>
                    <a:pt x="177" y="87"/>
                  </a:lnTo>
                  <a:lnTo>
                    <a:pt x="177" y="90"/>
                  </a:lnTo>
                  <a:lnTo>
                    <a:pt x="174" y="92"/>
                  </a:lnTo>
                  <a:lnTo>
                    <a:pt x="174" y="95"/>
                  </a:lnTo>
                  <a:lnTo>
                    <a:pt x="171" y="100"/>
                  </a:lnTo>
                  <a:lnTo>
                    <a:pt x="169" y="103"/>
                  </a:lnTo>
                  <a:lnTo>
                    <a:pt x="169" y="105"/>
                  </a:lnTo>
                  <a:lnTo>
                    <a:pt x="166" y="110"/>
                  </a:lnTo>
                  <a:lnTo>
                    <a:pt x="164" y="113"/>
                  </a:lnTo>
                  <a:lnTo>
                    <a:pt x="161" y="118"/>
                  </a:lnTo>
                  <a:lnTo>
                    <a:pt x="159" y="121"/>
                  </a:lnTo>
                  <a:lnTo>
                    <a:pt x="156" y="123"/>
                  </a:lnTo>
                  <a:lnTo>
                    <a:pt x="153" y="128"/>
                  </a:lnTo>
                  <a:lnTo>
                    <a:pt x="151" y="128"/>
                  </a:lnTo>
                  <a:lnTo>
                    <a:pt x="151" y="131"/>
                  </a:lnTo>
                  <a:lnTo>
                    <a:pt x="148" y="131"/>
                  </a:lnTo>
                  <a:lnTo>
                    <a:pt x="146" y="133"/>
                  </a:lnTo>
                  <a:lnTo>
                    <a:pt x="146" y="133"/>
                  </a:lnTo>
                  <a:lnTo>
                    <a:pt x="143" y="136"/>
                  </a:lnTo>
                  <a:lnTo>
                    <a:pt x="143" y="136"/>
                  </a:lnTo>
                  <a:lnTo>
                    <a:pt x="141" y="138"/>
                  </a:lnTo>
                  <a:lnTo>
                    <a:pt x="138" y="138"/>
                  </a:lnTo>
                  <a:lnTo>
                    <a:pt x="138" y="141"/>
                  </a:lnTo>
                  <a:lnTo>
                    <a:pt x="136" y="141"/>
                  </a:lnTo>
                  <a:lnTo>
                    <a:pt x="133" y="144"/>
                  </a:lnTo>
                  <a:lnTo>
                    <a:pt x="112" y="144"/>
                  </a:lnTo>
                  <a:lnTo>
                    <a:pt x="110" y="141"/>
                  </a:lnTo>
                  <a:close/>
                  <a:moveTo>
                    <a:pt x="53" y="23"/>
                  </a:moveTo>
                  <a:lnTo>
                    <a:pt x="53" y="18"/>
                  </a:lnTo>
                  <a:lnTo>
                    <a:pt x="192" y="18"/>
                  </a:lnTo>
                  <a:lnTo>
                    <a:pt x="192" y="23"/>
                  </a:lnTo>
                  <a:lnTo>
                    <a:pt x="192" y="28"/>
                  </a:lnTo>
                  <a:lnTo>
                    <a:pt x="53" y="28"/>
                  </a:lnTo>
                  <a:lnTo>
                    <a:pt x="53" y="23"/>
                  </a:lnTo>
                  <a:close/>
                  <a:moveTo>
                    <a:pt x="71" y="118"/>
                  </a:moveTo>
                  <a:lnTo>
                    <a:pt x="66" y="115"/>
                  </a:lnTo>
                  <a:lnTo>
                    <a:pt x="64" y="115"/>
                  </a:lnTo>
                  <a:lnTo>
                    <a:pt x="61" y="113"/>
                  </a:lnTo>
                  <a:lnTo>
                    <a:pt x="59" y="110"/>
                  </a:lnTo>
                  <a:lnTo>
                    <a:pt x="56" y="108"/>
                  </a:lnTo>
                  <a:lnTo>
                    <a:pt x="53" y="108"/>
                  </a:lnTo>
                  <a:lnTo>
                    <a:pt x="51" y="105"/>
                  </a:lnTo>
                  <a:lnTo>
                    <a:pt x="46" y="103"/>
                  </a:lnTo>
                  <a:lnTo>
                    <a:pt x="46" y="100"/>
                  </a:lnTo>
                  <a:lnTo>
                    <a:pt x="43" y="98"/>
                  </a:lnTo>
                  <a:lnTo>
                    <a:pt x="41" y="95"/>
                  </a:lnTo>
                  <a:lnTo>
                    <a:pt x="38" y="92"/>
                  </a:lnTo>
                  <a:lnTo>
                    <a:pt x="35" y="90"/>
                  </a:lnTo>
                  <a:lnTo>
                    <a:pt x="33" y="87"/>
                  </a:lnTo>
                  <a:lnTo>
                    <a:pt x="30" y="85"/>
                  </a:lnTo>
                  <a:lnTo>
                    <a:pt x="30" y="82"/>
                  </a:lnTo>
                  <a:lnTo>
                    <a:pt x="28" y="80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5" y="74"/>
                  </a:lnTo>
                  <a:lnTo>
                    <a:pt x="25" y="72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3" y="64"/>
                  </a:lnTo>
                  <a:lnTo>
                    <a:pt x="20" y="64"/>
                  </a:lnTo>
                  <a:lnTo>
                    <a:pt x="20" y="62"/>
                  </a:lnTo>
                  <a:lnTo>
                    <a:pt x="20" y="59"/>
                  </a:lnTo>
                  <a:lnTo>
                    <a:pt x="18" y="54"/>
                  </a:lnTo>
                  <a:lnTo>
                    <a:pt x="15" y="49"/>
                  </a:lnTo>
                  <a:lnTo>
                    <a:pt x="15" y="44"/>
                  </a:lnTo>
                  <a:lnTo>
                    <a:pt x="15" y="39"/>
                  </a:lnTo>
                  <a:lnTo>
                    <a:pt x="12" y="34"/>
                  </a:lnTo>
                  <a:lnTo>
                    <a:pt x="12" y="31"/>
                  </a:lnTo>
                  <a:lnTo>
                    <a:pt x="12" y="26"/>
                  </a:lnTo>
                  <a:lnTo>
                    <a:pt x="12" y="18"/>
                  </a:lnTo>
                  <a:lnTo>
                    <a:pt x="10" y="13"/>
                  </a:lnTo>
                  <a:lnTo>
                    <a:pt x="10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3"/>
                  </a:lnTo>
                  <a:lnTo>
                    <a:pt x="23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3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8" y="28"/>
                  </a:lnTo>
                  <a:lnTo>
                    <a:pt x="41" y="28"/>
                  </a:lnTo>
                  <a:lnTo>
                    <a:pt x="43" y="28"/>
                  </a:lnTo>
                  <a:lnTo>
                    <a:pt x="46" y="28"/>
                  </a:lnTo>
                  <a:lnTo>
                    <a:pt x="46" y="34"/>
                  </a:lnTo>
                  <a:lnTo>
                    <a:pt x="46" y="39"/>
                  </a:lnTo>
                  <a:lnTo>
                    <a:pt x="46" y="44"/>
                  </a:lnTo>
                  <a:lnTo>
                    <a:pt x="46" y="49"/>
                  </a:lnTo>
                  <a:lnTo>
                    <a:pt x="48" y="51"/>
                  </a:lnTo>
                  <a:lnTo>
                    <a:pt x="48" y="57"/>
                  </a:lnTo>
                  <a:lnTo>
                    <a:pt x="51" y="62"/>
                  </a:lnTo>
                  <a:lnTo>
                    <a:pt x="51" y="67"/>
                  </a:lnTo>
                  <a:lnTo>
                    <a:pt x="51" y="69"/>
                  </a:lnTo>
                  <a:lnTo>
                    <a:pt x="53" y="74"/>
                  </a:lnTo>
                  <a:lnTo>
                    <a:pt x="53" y="77"/>
                  </a:lnTo>
                  <a:lnTo>
                    <a:pt x="56" y="82"/>
                  </a:lnTo>
                  <a:lnTo>
                    <a:pt x="56" y="85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61" y="98"/>
                  </a:lnTo>
                  <a:lnTo>
                    <a:pt x="64" y="100"/>
                  </a:lnTo>
                  <a:lnTo>
                    <a:pt x="64" y="103"/>
                  </a:lnTo>
                  <a:lnTo>
                    <a:pt x="66" y="105"/>
                  </a:lnTo>
                  <a:lnTo>
                    <a:pt x="66" y="108"/>
                  </a:lnTo>
                  <a:lnTo>
                    <a:pt x="69" y="110"/>
                  </a:lnTo>
                  <a:lnTo>
                    <a:pt x="71" y="113"/>
                  </a:lnTo>
                  <a:lnTo>
                    <a:pt x="71" y="115"/>
                  </a:lnTo>
                  <a:lnTo>
                    <a:pt x="74" y="118"/>
                  </a:lnTo>
                  <a:lnTo>
                    <a:pt x="71" y="118"/>
                  </a:lnTo>
                  <a:close/>
                  <a:moveTo>
                    <a:pt x="174" y="115"/>
                  </a:moveTo>
                  <a:lnTo>
                    <a:pt x="174" y="113"/>
                  </a:lnTo>
                  <a:lnTo>
                    <a:pt x="177" y="110"/>
                  </a:lnTo>
                  <a:lnTo>
                    <a:pt x="179" y="108"/>
                  </a:lnTo>
                  <a:lnTo>
                    <a:pt x="179" y="105"/>
                  </a:lnTo>
                  <a:lnTo>
                    <a:pt x="182" y="103"/>
                  </a:lnTo>
                  <a:lnTo>
                    <a:pt x="182" y="100"/>
                  </a:lnTo>
                  <a:lnTo>
                    <a:pt x="184" y="98"/>
                  </a:lnTo>
                  <a:lnTo>
                    <a:pt x="187" y="92"/>
                  </a:lnTo>
                  <a:lnTo>
                    <a:pt x="187" y="90"/>
                  </a:lnTo>
                  <a:lnTo>
                    <a:pt x="189" y="85"/>
                  </a:lnTo>
                  <a:lnTo>
                    <a:pt x="189" y="82"/>
                  </a:lnTo>
                  <a:lnTo>
                    <a:pt x="192" y="77"/>
                  </a:lnTo>
                  <a:lnTo>
                    <a:pt x="192" y="74"/>
                  </a:lnTo>
                  <a:lnTo>
                    <a:pt x="195" y="69"/>
                  </a:lnTo>
                  <a:lnTo>
                    <a:pt x="195" y="67"/>
                  </a:lnTo>
                  <a:lnTo>
                    <a:pt x="195" y="62"/>
                  </a:lnTo>
                  <a:lnTo>
                    <a:pt x="197" y="57"/>
                  </a:lnTo>
                  <a:lnTo>
                    <a:pt x="197" y="51"/>
                  </a:lnTo>
                  <a:lnTo>
                    <a:pt x="200" y="49"/>
                  </a:lnTo>
                  <a:lnTo>
                    <a:pt x="200" y="44"/>
                  </a:lnTo>
                  <a:lnTo>
                    <a:pt x="200" y="39"/>
                  </a:lnTo>
                  <a:lnTo>
                    <a:pt x="200" y="34"/>
                  </a:lnTo>
                  <a:lnTo>
                    <a:pt x="200" y="28"/>
                  </a:lnTo>
                  <a:lnTo>
                    <a:pt x="202" y="28"/>
                  </a:lnTo>
                  <a:lnTo>
                    <a:pt x="205" y="28"/>
                  </a:lnTo>
                  <a:lnTo>
                    <a:pt x="207" y="28"/>
                  </a:lnTo>
                  <a:lnTo>
                    <a:pt x="210" y="26"/>
                  </a:lnTo>
                  <a:lnTo>
                    <a:pt x="210" y="26"/>
                  </a:lnTo>
                  <a:lnTo>
                    <a:pt x="212" y="26"/>
                  </a:lnTo>
                  <a:lnTo>
                    <a:pt x="215" y="23"/>
                  </a:lnTo>
                  <a:lnTo>
                    <a:pt x="215" y="23"/>
                  </a:lnTo>
                  <a:lnTo>
                    <a:pt x="218" y="21"/>
                  </a:lnTo>
                  <a:lnTo>
                    <a:pt x="218" y="21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3" y="16"/>
                  </a:lnTo>
                  <a:lnTo>
                    <a:pt x="223" y="13"/>
                  </a:lnTo>
                  <a:lnTo>
                    <a:pt x="223" y="10"/>
                  </a:lnTo>
                  <a:lnTo>
                    <a:pt x="223" y="8"/>
                  </a:lnTo>
                  <a:lnTo>
                    <a:pt x="236" y="8"/>
                  </a:lnTo>
                  <a:lnTo>
                    <a:pt x="236" y="13"/>
                  </a:lnTo>
                  <a:lnTo>
                    <a:pt x="233" y="18"/>
                  </a:lnTo>
                  <a:lnTo>
                    <a:pt x="233" y="26"/>
                  </a:lnTo>
                  <a:lnTo>
                    <a:pt x="233" y="31"/>
                  </a:lnTo>
                  <a:lnTo>
                    <a:pt x="233" y="34"/>
                  </a:lnTo>
                  <a:lnTo>
                    <a:pt x="230" y="39"/>
                  </a:lnTo>
                  <a:lnTo>
                    <a:pt x="230" y="44"/>
                  </a:lnTo>
                  <a:lnTo>
                    <a:pt x="230" y="49"/>
                  </a:lnTo>
                  <a:lnTo>
                    <a:pt x="228" y="54"/>
                  </a:lnTo>
                  <a:lnTo>
                    <a:pt x="225" y="59"/>
                  </a:lnTo>
                  <a:lnTo>
                    <a:pt x="225" y="62"/>
                  </a:lnTo>
                  <a:lnTo>
                    <a:pt x="225" y="64"/>
                  </a:lnTo>
                  <a:lnTo>
                    <a:pt x="223" y="64"/>
                  </a:lnTo>
                  <a:lnTo>
                    <a:pt x="223" y="67"/>
                  </a:lnTo>
                  <a:lnTo>
                    <a:pt x="223" y="69"/>
                  </a:lnTo>
                  <a:lnTo>
                    <a:pt x="220" y="72"/>
                  </a:lnTo>
                  <a:lnTo>
                    <a:pt x="220" y="74"/>
                  </a:lnTo>
                  <a:lnTo>
                    <a:pt x="218" y="77"/>
                  </a:lnTo>
                  <a:lnTo>
                    <a:pt x="218" y="77"/>
                  </a:lnTo>
                  <a:lnTo>
                    <a:pt x="218" y="80"/>
                  </a:lnTo>
                  <a:lnTo>
                    <a:pt x="215" y="82"/>
                  </a:lnTo>
                  <a:lnTo>
                    <a:pt x="215" y="85"/>
                  </a:lnTo>
                  <a:lnTo>
                    <a:pt x="212" y="87"/>
                  </a:lnTo>
                  <a:lnTo>
                    <a:pt x="210" y="90"/>
                  </a:lnTo>
                  <a:lnTo>
                    <a:pt x="207" y="92"/>
                  </a:lnTo>
                  <a:lnTo>
                    <a:pt x="205" y="95"/>
                  </a:lnTo>
                  <a:lnTo>
                    <a:pt x="202" y="98"/>
                  </a:lnTo>
                  <a:lnTo>
                    <a:pt x="200" y="100"/>
                  </a:lnTo>
                  <a:lnTo>
                    <a:pt x="200" y="103"/>
                  </a:lnTo>
                  <a:lnTo>
                    <a:pt x="195" y="105"/>
                  </a:lnTo>
                  <a:lnTo>
                    <a:pt x="192" y="108"/>
                  </a:lnTo>
                  <a:lnTo>
                    <a:pt x="189" y="108"/>
                  </a:lnTo>
                  <a:lnTo>
                    <a:pt x="187" y="110"/>
                  </a:lnTo>
                  <a:lnTo>
                    <a:pt x="184" y="113"/>
                  </a:lnTo>
                  <a:lnTo>
                    <a:pt x="182" y="115"/>
                  </a:lnTo>
                  <a:lnTo>
                    <a:pt x="179" y="115"/>
                  </a:lnTo>
                  <a:lnTo>
                    <a:pt x="174" y="118"/>
                  </a:lnTo>
                  <a:lnTo>
                    <a:pt x="171" y="118"/>
                  </a:lnTo>
                  <a:lnTo>
                    <a:pt x="174" y="115"/>
                  </a:lnTo>
                  <a:close/>
                  <a:moveTo>
                    <a:pt x="220" y="0"/>
                  </a:moveTo>
                  <a:lnTo>
                    <a:pt x="220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5" y="0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5"/>
                  </a:lnTo>
                  <a:lnTo>
                    <a:pt x="215" y="8"/>
                  </a:lnTo>
                  <a:lnTo>
                    <a:pt x="215" y="8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0" y="13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7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2" y="18"/>
                  </a:lnTo>
                  <a:lnTo>
                    <a:pt x="200" y="18"/>
                  </a:lnTo>
                  <a:lnTo>
                    <a:pt x="200" y="8"/>
                  </a:lnTo>
                  <a:lnTo>
                    <a:pt x="46" y="8"/>
                  </a:lnTo>
                  <a:lnTo>
                    <a:pt x="46" y="18"/>
                  </a:lnTo>
                  <a:lnTo>
                    <a:pt x="43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0" y="8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2" y="21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5" y="44"/>
                  </a:lnTo>
                  <a:lnTo>
                    <a:pt x="5" y="46"/>
                  </a:lnTo>
                  <a:lnTo>
                    <a:pt x="7" y="49"/>
                  </a:lnTo>
                  <a:lnTo>
                    <a:pt x="7" y="51"/>
                  </a:lnTo>
                  <a:lnTo>
                    <a:pt x="7" y="54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18" y="77"/>
                  </a:lnTo>
                  <a:lnTo>
                    <a:pt x="18" y="80"/>
                  </a:lnTo>
                  <a:lnTo>
                    <a:pt x="20" y="82"/>
                  </a:lnTo>
                  <a:lnTo>
                    <a:pt x="20" y="85"/>
                  </a:lnTo>
                  <a:lnTo>
                    <a:pt x="23" y="87"/>
                  </a:lnTo>
                  <a:lnTo>
                    <a:pt x="23" y="90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8" y="95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3" y="100"/>
                  </a:lnTo>
                  <a:lnTo>
                    <a:pt x="33" y="103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8" y="108"/>
                  </a:lnTo>
                  <a:lnTo>
                    <a:pt x="41" y="108"/>
                  </a:lnTo>
                  <a:lnTo>
                    <a:pt x="41" y="110"/>
                  </a:lnTo>
                  <a:lnTo>
                    <a:pt x="43" y="113"/>
                  </a:lnTo>
                  <a:lnTo>
                    <a:pt x="46" y="113"/>
                  </a:lnTo>
                  <a:lnTo>
                    <a:pt x="46" y="115"/>
                  </a:lnTo>
                  <a:lnTo>
                    <a:pt x="48" y="115"/>
                  </a:lnTo>
                  <a:lnTo>
                    <a:pt x="51" y="118"/>
                  </a:lnTo>
                  <a:lnTo>
                    <a:pt x="53" y="118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6"/>
                  </a:lnTo>
                  <a:lnTo>
                    <a:pt x="66" y="126"/>
                  </a:lnTo>
                  <a:lnTo>
                    <a:pt x="69" y="126"/>
                  </a:lnTo>
                  <a:lnTo>
                    <a:pt x="69" y="128"/>
                  </a:lnTo>
                  <a:lnTo>
                    <a:pt x="71" y="128"/>
                  </a:lnTo>
                  <a:lnTo>
                    <a:pt x="74" y="131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82" y="131"/>
                  </a:lnTo>
                  <a:lnTo>
                    <a:pt x="84" y="133"/>
                  </a:lnTo>
                  <a:lnTo>
                    <a:pt x="87" y="136"/>
                  </a:lnTo>
                  <a:lnTo>
                    <a:pt x="89" y="138"/>
                  </a:lnTo>
                  <a:lnTo>
                    <a:pt x="92" y="141"/>
                  </a:lnTo>
                  <a:lnTo>
                    <a:pt x="94" y="144"/>
                  </a:lnTo>
                  <a:lnTo>
                    <a:pt x="97" y="146"/>
                  </a:lnTo>
                  <a:lnTo>
                    <a:pt x="100" y="146"/>
                  </a:lnTo>
                  <a:lnTo>
                    <a:pt x="102" y="149"/>
                  </a:lnTo>
                  <a:lnTo>
                    <a:pt x="105" y="151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4"/>
                  </a:lnTo>
                  <a:lnTo>
                    <a:pt x="94" y="174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7" y="185"/>
                  </a:lnTo>
                  <a:lnTo>
                    <a:pt x="97" y="185"/>
                  </a:lnTo>
                  <a:lnTo>
                    <a:pt x="97" y="185"/>
                  </a:lnTo>
                  <a:lnTo>
                    <a:pt x="97" y="187"/>
                  </a:lnTo>
                  <a:lnTo>
                    <a:pt x="97" y="187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5" y="192"/>
                  </a:lnTo>
                  <a:lnTo>
                    <a:pt x="105" y="195"/>
                  </a:lnTo>
                  <a:lnTo>
                    <a:pt x="105" y="208"/>
                  </a:lnTo>
                  <a:lnTo>
                    <a:pt x="105" y="208"/>
                  </a:lnTo>
                  <a:lnTo>
                    <a:pt x="102" y="208"/>
                  </a:lnTo>
                  <a:lnTo>
                    <a:pt x="100" y="208"/>
                  </a:lnTo>
                  <a:lnTo>
                    <a:pt x="97" y="210"/>
                  </a:lnTo>
                  <a:lnTo>
                    <a:pt x="97" y="210"/>
                  </a:lnTo>
                  <a:lnTo>
                    <a:pt x="94" y="213"/>
                  </a:lnTo>
                  <a:lnTo>
                    <a:pt x="94" y="213"/>
                  </a:lnTo>
                  <a:lnTo>
                    <a:pt x="92" y="215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9" y="218"/>
                  </a:lnTo>
                  <a:lnTo>
                    <a:pt x="89" y="218"/>
                  </a:lnTo>
                  <a:lnTo>
                    <a:pt x="87" y="218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8"/>
                  </a:lnTo>
                  <a:lnTo>
                    <a:pt x="84" y="228"/>
                  </a:lnTo>
                  <a:lnTo>
                    <a:pt x="84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4" y="231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1" y="233"/>
                  </a:lnTo>
                  <a:lnTo>
                    <a:pt x="61" y="233"/>
                  </a:lnTo>
                  <a:lnTo>
                    <a:pt x="61" y="233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9" y="238"/>
                  </a:lnTo>
                  <a:lnTo>
                    <a:pt x="59" y="292"/>
                  </a:lnTo>
                  <a:lnTo>
                    <a:pt x="187" y="292"/>
                  </a:lnTo>
                  <a:lnTo>
                    <a:pt x="187" y="238"/>
                  </a:lnTo>
                  <a:lnTo>
                    <a:pt x="187" y="238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6"/>
                  </a:lnTo>
                  <a:lnTo>
                    <a:pt x="184" y="236"/>
                  </a:lnTo>
                  <a:lnTo>
                    <a:pt x="184" y="233"/>
                  </a:lnTo>
                  <a:lnTo>
                    <a:pt x="184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61" y="231"/>
                  </a:lnTo>
                  <a:lnTo>
                    <a:pt x="161" y="228"/>
                  </a:lnTo>
                  <a:lnTo>
                    <a:pt x="161" y="228"/>
                  </a:lnTo>
                  <a:lnTo>
                    <a:pt x="161" y="228"/>
                  </a:lnTo>
                  <a:lnTo>
                    <a:pt x="161" y="226"/>
                  </a:lnTo>
                  <a:lnTo>
                    <a:pt x="161" y="226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9" y="220"/>
                  </a:lnTo>
                  <a:lnTo>
                    <a:pt x="156" y="218"/>
                  </a:lnTo>
                  <a:lnTo>
                    <a:pt x="156" y="218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51" y="213"/>
                  </a:lnTo>
                  <a:lnTo>
                    <a:pt x="148" y="213"/>
                  </a:lnTo>
                  <a:lnTo>
                    <a:pt x="148" y="210"/>
                  </a:lnTo>
                  <a:lnTo>
                    <a:pt x="146" y="210"/>
                  </a:lnTo>
                  <a:lnTo>
                    <a:pt x="143" y="208"/>
                  </a:lnTo>
                  <a:lnTo>
                    <a:pt x="143" y="208"/>
                  </a:lnTo>
                  <a:lnTo>
                    <a:pt x="141" y="208"/>
                  </a:lnTo>
                  <a:lnTo>
                    <a:pt x="141" y="195"/>
                  </a:lnTo>
                  <a:lnTo>
                    <a:pt x="141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51" y="182"/>
                  </a:lnTo>
                  <a:lnTo>
                    <a:pt x="151" y="182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7"/>
                  </a:lnTo>
                  <a:lnTo>
                    <a:pt x="151" y="177"/>
                  </a:lnTo>
                  <a:lnTo>
                    <a:pt x="151" y="174"/>
                  </a:lnTo>
                  <a:lnTo>
                    <a:pt x="148" y="174"/>
                  </a:lnTo>
                  <a:lnTo>
                    <a:pt x="148" y="172"/>
                  </a:lnTo>
                  <a:lnTo>
                    <a:pt x="148" y="172"/>
                  </a:lnTo>
                  <a:lnTo>
                    <a:pt x="148" y="169"/>
                  </a:lnTo>
                  <a:lnTo>
                    <a:pt x="148" y="169"/>
                  </a:lnTo>
                  <a:lnTo>
                    <a:pt x="146" y="169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3" y="167"/>
                  </a:lnTo>
                  <a:lnTo>
                    <a:pt x="143" y="164"/>
                  </a:lnTo>
                  <a:lnTo>
                    <a:pt x="143" y="164"/>
                  </a:lnTo>
                  <a:lnTo>
                    <a:pt x="141" y="164"/>
                  </a:lnTo>
                  <a:lnTo>
                    <a:pt x="141" y="164"/>
                  </a:lnTo>
                  <a:lnTo>
                    <a:pt x="141" y="151"/>
                  </a:lnTo>
                  <a:lnTo>
                    <a:pt x="143" y="149"/>
                  </a:lnTo>
                  <a:lnTo>
                    <a:pt x="146" y="146"/>
                  </a:lnTo>
                  <a:lnTo>
                    <a:pt x="148" y="146"/>
                  </a:lnTo>
                  <a:lnTo>
                    <a:pt x="151" y="144"/>
                  </a:lnTo>
                  <a:lnTo>
                    <a:pt x="153" y="141"/>
                  </a:lnTo>
                  <a:lnTo>
                    <a:pt x="156" y="138"/>
                  </a:lnTo>
                  <a:lnTo>
                    <a:pt x="159" y="136"/>
                  </a:lnTo>
                  <a:lnTo>
                    <a:pt x="161" y="133"/>
                  </a:lnTo>
                  <a:lnTo>
                    <a:pt x="164" y="131"/>
                  </a:lnTo>
                  <a:lnTo>
                    <a:pt x="166" y="131"/>
                  </a:lnTo>
                  <a:lnTo>
                    <a:pt x="169" y="131"/>
                  </a:lnTo>
                  <a:lnTo>
                    <a:pt x="171" y="131"/>
                  </a:lnTo>
                  <a:lnTo>
                    <a:pt x="174" y="128"/>
                  </a:lnTo>
                  <a:lnTo>
                    <a:pt x="177" y="128"/>
                  </a:lnTo>
                  <a:lnTo>
                    <a:pt x="177" y="126"/>
                  </a:lnTo>
                  <a:lnTo>
                    <a:pt x="179" y="126"/>
                  </a:lnTo>
                  <a:lnTo>
                    <a:pt x="182" y="126"/>
                  </a:lnTo>
                  <a:lnTo>
                    <a:pt x="184" y="123"/>
                  </a:lnTo>
                  <a:lnTo>
                    <a:pt x="187" y="123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2" y="118"/>
                  </a:lnTo>
                  <a:lnTo>
                    <a:pt x="195" y="118"/>
                  </a:lnTo>
                  <a:lnTo>
                    <a:pt x="197" y="115"/>
                  </a:lnTo>
                  <a:lnTo>
                    <a:pt x="200" y="115"/>
                  </a:lnTo>
                  <a:lnTo>
                    <a:pt x="200" y="113"/>
                  </a:lnTo>
                  <a:lnTo>
                    <a:pt x="202" y="113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10" y="105"/>
                  </a:lnTo>
                  <a:lnTo>
                    <a:pt x="210" y="105"/>
                  </a:lnTo>
                  <a:lnTo>
                    <a:pt x="212" y="103"/>
                  </a:lnTo>
                  <a:lnTo>
                    <a:pt x="212" y="100"/>
                  </a:lnTo>
                  <a:lnTo>
                    <a:pt x="215" y="98"/>
                  </a:lnTo>
                  <a:lnTo>
                    <a:pt x="218" y="98"/>
                  </a:lnTo>
                  <a:lnTo>
                    <a:pt x="218" y="95"/>
                  </a:lnTo>
                  <a:lnTo>
                    <a:pt x="220" y="92"/>
                  </a:lnTo>
                  <a:lnTo>
                    <a:pt x="220" y="92"/>
                  </a:lnTo>
                  <a:lnTo>
                    <a:pt x="223" y="90"/>
                  </a:lnTo>
                  <a:lnTo>
                    <a:pt x="223" y="87"/>
                  </a:lnTo>
                  <a:lnTo>
                    <a:pt x="225" y="85"/>
                  </a:lnTo>
                  <a:lnTo>
                    <a:pt x="225" y="82"/>
                  </a:lnTo>
                  <a:lnTo>
                    <a:pt x="228" y="80"/>
                  </a:lnTo>
                  <a:lnTo>
                    <a:pt x="228" y="77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3" y="69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6" y="62"/>
                  </a:lnTo>
                  <a:lnTo>
                    <a:pt x="236" y="59"/>
                  </a:lnTo>
                  <a:lnTo>
                    <a:pt x="236" y="57"/>
                  </a:lnTo>
                  <a:lnTo>
                    <a:pt x="238" y="54"/>
                  </a:lnTo>
                  <a:lnTo>
                    <a:pt x="238" y="51"/>
                  </a:lnTo>
                  <a:lnTo>
                    <a:pt x="238" y="49"/>
                  </a:lnTo>
                  <a:lnTo>
                    <a:pt x="241" y="46"/>
                  </a:lnTo>
                  <a:lnTo>
                    <a:pt x="241" y="44"/>
                  </a:lnTo>
                  <a:lnTo>
                    <a:pt x="241" y="41"/>
                  </a:lnTo>
                  <a:lnTo>
                    <a:pt x="241" y="39"/>
                  </a:lnTo>
                  <a:lnTo>
                    <a:pt x="243" y="36"/>
                  </a:lnTo>
                  <a:lnTo>
                    <a:pt x="243" y="34"/>
                  </a:lnTo>
                  <a:lnTo>
                    <a:pt x="243" y="31"/>
                  </a:lnTo>
                  <a:lnTo>
                    <a:pt x="243" y="28"/>
                  </a:lnTo>
                  <a:lnTo>
                    <a:pt x="243" y="21"/>
                  </a:lnTo>
                  <a:lnTo>
                    <a:pt x="243" y="16"/>
                  </a:lnTo>
                  <a:lnTo>
                    <a:pt x="243" y="10"/>
                  </a:lnTo>
                  <a:lnTo>
                    <a:pt x="246" y="5"/>
                  </a:lnTo>
                  <a:lnTo>
                    <a:pt x="243" y="3"/>
                  </a:lnTo>
                  <a:lnTo>
                    <a:pt x="243" y="3"/>
                  </a:lnTo>
                  <a:lnTo>
                    <a:pt x="243" y="3"/>
                  </a:lnTo>
                  <a:lnTo>
                    <a:pt x="243" y="3"/>
                  </a:lnTo>
                  <a:lnTo>
                    <a:pt x="243" y="3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6" name="Group 254">
            <a:extLst>
              <a:ext uri="{FF2B5EF4-FFF2-40B4-BE49-F238E27FC236}">
                <a16:creationId xmlns:a16="http://schemas.microsoft.com/office/drawing/2014/main" id="{7C20F9AB-F76C-4A60-B293-5E5F74CB26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33195" y="5461668"/>
            <a:ext cx="760412" cy="758825"/>
            <a:chOff x="5049" y="3449"/>
            <a:chExt cx="479" cy="478"/>
          </a:xfrm>
        </p:grpSpPr>
        <p:sp>
          <p:nvSpPr>
            <p:cNvPr id="297" name="AutoShape 253">
              <a:extLst>
                <a:ext uri="{FF2B5EF4-FFF2-40B4-BE49-F238E27FC236}">
                  <a16:creationId xmlns:a16="http://schemas.microsoft.com/office/drawing/2014/main" id="{E83F3B1D-F3A7-443E-A331-437221FA14F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49" y="3449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55">
              <a:extLst>
                <a:ext uri="{FF2B5EF4-FFF2-40B4-BE49-F238E27FC236}">
                  <a16:creationId xmlns:a16="http://schemas.microsoft.com/office/drawing/2014/main" id="{CC912FBD-FEA4-4CC6-B66F-AF185C1074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1" y="3451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56">
              <a:extLst>
                <a:ext uri="{FF2B5EF4-FFF2-40B4-BE49-F238E27FC236}">
                  <a16:creationId xmlns:a16="http://schemas.microsoft.com/office/drawing/2014/main" id="{E9FC93BE-C739-47C0-AC46-DF1F134D9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4" y="3515"/>
              <a:ext cx="231" cy="348"/>
            </a:xfrm>
            <a:custGeom>
              <a:avLst/>
              <a:gdLst>
                <a:gd name="T0" fmla="*/ 96 w 231"/>
                <a:gd name="T1" fmla="*/ 253 h 348"/>
                <a:gd name="T2" fmla="*/ 94 w 231"/>
                <a:gd name="T3" fmla="*/ 258 h 348"/>
                <a:gd name="T4" fmla="*/ 96 w 231"/>
                <a:gd name="T5" fmla="*/ 262 h 348"/>
                <a:gd name="T6" fmla="*/ 101 w 231"/>
                <a:gd name="T7" fmla="*/ 262 h 348"/>
                <a:gd name="T8" fmla="*/ 96 w 231"/>
                <a:gd name="T9" fmla="*/ 299 h 348"/>
                <a:gd name="T10" fmla="*/ 94 w 231"/>
                <a:gd name="T11" fmla="*/ 302 h 348"/>
                <a:gd name="T12" fmla="*/ 94 w 231"/>
                <a:gd name="T13" fmla="*/ 307 h 348"/>
                <a:gd name="T14" fmla="*/ 99 w 231"/>
                <a:gd name="T15" fmla="*/ 309 h 348"/>
                <a:gd name="T16" fmla="*/ 140 w 231"/>
                <a:gd name="T17" fmla="*/ 309 h 348"/>
                <a:gd name="T18" fmla="*/ 143 w 231"/>
                <a:gd name="T19" fmla="*/ 304 h 348"/>
                <a:gd name="T20" fmla="*/ 143 w 231"/>
                <a:gd name="T21" fmla="*/ 299 h 348"/>
                <a:gd name="T22" fmla="*/ 123 w 231"/>
                <a:gd name="T23" fmla="*/ 299 h 348"/>
                <a:gd name="T24" fmla="*/ 121 w 231"/>
                <a:gd name="T25" fmla="*/ 240 h 348"/>
                <a:gd name="T26" fmla="*/ 106 w 231"/>
                <a:gd name="T27" fmla="*/ 336 h 348"/>
                <a:gd name="T28" fmla="*/ 86 w 231"/>
                <a:gd name="T29" fmla="*/ 329 h 348"/>
                <a:gd name="T30" fmla="*/ 69 w 231"/>
                <a:gd name="T31" fmla="*/ 314 h 348"/>
                <a:gd name="T32" fmla="*/ 59 w 231"/>
                <a:gd name="T33" fmla="*/ 294 h 348"/>
                <a:gd name="T34" fmla="*/ 59 w 231"/>
                <a:gd name="T35" fmla="*/ 270 h 348"/>
                <a:gd name="T36" fmla="*/ 67 w 231"/>
                <a:gd name="T37" fmla="*/ 248 h 348"/>
                <a:gd name="T38" fmla="*/ 81 w 231"/>
                <a:gd name="T39" fmla="*/ 233 h 348"/>
                <a:gd name="T40" fmla="*/ 101 w 231"/>
                <a:gd name="T41" fmla="*/ 223 h 348"/>
                <a:gd name="T42" fmla="*/ 126 w 231"/>
                <a:gd name="T43" fmla="*/ 221 h 348"/>
                <a:gd name="T44" fmla="*/ 145 w 231"/>
                <a:gd name="T45" fmla="*/ 231 h 348"/>
                <a:gd name="T46" fmla="*/ 162 w 231"/>
                <a:gd name="T47" fmla="*/ 245 h 348"/>
                <a:gd name="T48" fmla="*/ 172 w 231"/>
                <a:gd name="T49" fmla="*/ 265 h 348"/>
                <a:gd name="T50" fmla="*/ 172 w 231"/>
                <a:gd name="T51" fmla="*/ 287 h 348"/>
                <a:gd name="T52" fmla="*/ 165 w 231"/>
                <a:gd name="T53" fmla="*/ 309 h 348"/>
                <a:gd name="T54" fmla="*/ 150 w 231"/>
                <a:gd name="T55" fmla="*/ 326 h 348"/>
                <a:gd name="T56" fmla="*/ 130 w 231"/>
                <a:gd name="T57" fmla="*/ 336 h 348"/>
                <a:gd name="T58" fmla="*/ 155 w 231"/>
                <a:gd name="T59" fmla="*/ 194 h 348"/>
                <a:gd name="T60" fmla="*/ 140 w 231"/>
                <a:gd name="T61" fmla="*/ 213 h 348"/>
                <a:gd name="T62" fmla="*/ 118 w 231"/>
                <a:gd name="T63" fmla="*/ 209 h 348"/>
                <a:gd name="T64" fmla="*/ 96 w 231"/>
                <a:gd name="T65" fmla="*/ 211 h 348"/>
                <a:gd name="T66" fmla="*/ 79 w 231"/>
                <a:gd name="T67" fmla="*/ 221 h 348"/>
                <a:gd name="T68" fmla="*/ 138 w 231"/>
                <a:gd name="T69" fmla="*/ 167 h 348"/>
                <a:gd name="T70" fmla="*/ 79 w 231"/>
                <a:gd name="T71" fmla="*/ 66 h 348"/>
                <a:gd name="T72" fmla="*/ 214 w 231"/>
                <a:gd name="T73" fmla="*/ 54 h 348"/>
                <a:gd name="T74" fmla="*/ 49 w 231"/>
                <a:gd name="T75" fmla="*/ 12 h 348"/>
                <a:gd name="T76" fmla="*/ 35 w 231"/>
                <a:gd name="T77" fmla="*/ 0 h 348"/>
                <a:gd name="T78" fmla="*/ 0 w 231"/>
                <a:gd name="T79" fmla="*/ 59 h 348"/>
                <a:gd name="T80" fmla="*/ 69 w 231"/>
                <a:gd name="T81" fmla="*/ 184 h 348"/>
                <a:gd name="T82" fmla="*/ 67 w 231"/>
                <a:gd name="T83" fmla="*/ 186 h 348"/>
                <a:gd name="T84" fmla="*/ 62 w 231"/>
                <a:gd name="T85" fmla="*/ 236 h 348"/>
                <a:gd name="T86" fmla="*/ 49 w 231"/>
                <a:gd name="T87" fmla="*/ 258 h 348"/>
                <a:gd name="T88" fmla="*/ 47 w 231"/>
                <a:gd name="T89" fmla="*/ 282 h 348"/>
                <a:gd name="T90" fmla="*/ 54 w 231"/>
                <a:gd name="T91" fmla="*/ 309 h 348"/>
                <a:gd name="T92" fmla="*/ 69 w 231"/>
                <a:gd name="T93" fmla="*/ 331 h 348"/>
                <a:gd name="T94" fmla="*/ 91 w 231"/>
                <a:gd name="T95" fmla="*/ 343 h 348"/>
                <a:gd name="T96" fmla="*/ 118 w 231"/>
                <a:gd name="T97" fmla="*/ 348 h 348"/>
                <a:gd name="T98" fmla="*/ 145 w 231"/>
                <a:gd name="T99" fmla="*/ 341 h 348"/>
                <a:gd name="T100" fmla="*/ 167 w 231"/>
                <a:gd name="T101" fmla="*/ 326 h 348"/>
                <a:gd name="T102" fmla="*/ 180 w 231"/>
                <a:gd name="T103" fmla="*/ 304 h 348"/>
                <a:gd name="T104" fmla="*/ 185 w 231"/>
                <a:gd name="T105" fmla="*/ 275 h 348"/>
                <a:gd name="T106" fmla="*/ 180 w 231"/>
                <a:gd name="T107" fmla="*/ 250 h 348"/>
                <a:gd name="T108" fmla="*/ 167 w 231"/>
                <a:gd name="T109" fmla="*/ 191 h 348"/>
                <a:gd name="T110" fmla="*/ 165 w 231"/>
                <a:gd name="T111" fmla="*/ 186 h 348"/>
                <a:gd name="T112" fmla="*/ 160 w 231"/>
                <a:gd name="T113" fmla="*/ 184 h 348"/>
                <a:gd name="T114" fmla="*/ 229 w 231"/>
                <a:gd name="T115" fmla="*/ 57 h 348"/>
                <a:gd name="T116" fmla="*/ 194 w 231"/>
                <a:gd name="T117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348">
                  <a:moveTo>
                    <a:pt x="118" y="240"/>
                  </a:moveTo>
                  <a:lnTo>
                    <a:pt x="118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6" y="253"/>
                  </a:lnTo>
                  <a:lnTo>
                    <a:pt x="96" y="253"/>
                  </a:lnTo>
                  <a:lnTo>
                    <a:pt x="96" y="253"/>
                  </a:lnTo>
                  <a:lnTo>
                    <a:pt x="94" y="253"/>
                  </a:lnTo>
                  <a:lnTo>
                    <a:pt x="94" y="253"/>
                  </a:lnTo>
                  <a:lnTo>
                    <a:pt x="94" y="255"/>
                  </a:lnTo>
                  <a:lnTo>
                    <a:pt x="94" y="255"/>
                  </a:lnTo>
                  <a:lnTo>
                    <a:pt x="94" y="255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13" y="255"/>
                  </a:lnTo>
                  <a:lnTo>
                    <a:pt x="113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4" y="299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3" y="309"/>
                  </a:lnTo>
                  <a:lnTo>
                    <a:pt x="143" y="309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38" y="299"/>
                  </a:lnTo>
                  <a:lnTo>
                    <a:pt x="138" y="299"/>
                  </a:lnTo>
                  <a:lnTo>
                    <a:pt x="138" y="299"/>
                  </a:lnTo>
                  <a:lnTo>
                    <a:pt x="123" y="299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18" y="240"/>
                  </a:lnTo>
                  <a:lnTo>
                    <a:pt x="118" y="240"/>
                  </a:lnTo>
                  <a:close/>
                  <a:moveTo>
                    <a:pt x="113" y="336"/>
                  </a:moveTo>
                  <a:lnTo>
                    <a:pt x="111" y="336"/>
                  </a:lnTo>
                  <a:lnTo>
                    <a:pt x="106" y="336"/>
                  </a:lnTo>
                  <a:lnTo>
                    <a:pt x="103" y="336"/>
                  </a:lnTo>
                  <a:lnTo>
                    <a:pt x="101" y="336"/>
                  </a:lnTo>
                  <a:lnTo>
                    <a:pt x="99" y="334"/>
                  </a:lnTo>
                  <a:lnTo>
                    <a:pt x="96" y="334"/>
                  </a:lnTo>
                  <a:lnTo>
                    <a:pt x="94" y="334"/>
                  </a:lnTo>
                  <a:lnTo>
                    <a:pt x="91" y="331"/>
                  </a:lnTo>
                  <a:lnTo>
                    <a:pt x="89" y="331"/>
                  </a:lnTo>
                  <a:lnTo>
                    <a:pt x="86" y="329"/>
                  </a:lnTo>
                  <a:lnTo>
                    <a:pt x="84" y="326"/>
                  </a:lnTo>
                  <a:lnTo>
                    <a:pt x="81" y="326"/>
                  </a:lnTo>
                  <a:lnTo>
                    <a:pt x="79" y="324"/>
                  </a:lnTo>
                  <a:lnTo>
                    <a:pt x="76" y="321"/>
                  </a:lnTo>
                  <a:lnTo>
                    <a:pt x="74" y="321"/>
                  </a:lnTo>
                  <a:lnTo>
                    <a:pt x="74" y="319"/>
                  </a:lnTo>
                  <a:lnTo>
                    <a:pt x="72" y="316"/>
                  </a:lnTo>
                  <a:lnTo>
                    <a:pt x="69" y="314"/>
                  </a:lnTo>
                  <a:lnTo>
                    <a:pt x="69" y="312"/>
                  </a:lnTo>
                  <a:lnTo>
                    <a:pt x="67" y="309"/>
                  </a:lnTo>
                  <a:lnTo>
                    <a:pt x="64" y="307"/>
                  </a:lnTo>
                  <a:lnTo>
                    <a:pt x="64" y="304"/>
                  </a:lnTo>
                  <a:lnTo>
                    <a:pt x="62" y="302"/>
                  </a:lnTo>
                  <a:lnTo>
                    <a:pt x="62" y="299"/>
                  </a:lnTo>
                  <a:lnTo>
                    <a:pt x="62" y="297"/>
                  </a:lnTo>
                  <a:lnTo>
                    <a:pt x="59" y="294"/>
                  </a:lnTo>
                  <a:lnTo>
                    <a:pt x="59" y="292"/>
                  </a:lnTo>
                  <a:lnTo>
                    <a:pt x="59" y="287"/>
                  </a:lnTo>
                  <a:lnTo>
                    <a:pt x="59" y="285"/>
                  </a:lnTo>
                  <a:lnTo>
                    <a:pt x="59" y="282"/>
                  </a:lnTo>
                  <a:lnTo>
                    <a:pt x="59" y="280"/>
                  </a:lnTo>
                  <a:lnTo>
                    <a:pt x="59" y="277"/>
                  </a:lnTo>
                  <a:lnTo>
                    <a:pt x="59" y="272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2" y="262"/>
                  </a:lnTo>
                  <a:lnTo>
                    <a:pt x="62" y="260"/>
                  </a:lnTo>
                  <a:lnTo>
                    <a:pt x="62" y="258"/>
                  </a:lnTo>
                  <a:lnTo>
                    <a:pt x="64" y="255"/>
                  </a:lnTo>
                  <a:lnTo>
                    <a:pt x="64" y="250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5"/>
                  </a:lnTo>
                  <a:lnTo>
                    <a:pt x="72" y="243"/>
                  </a:lnTo>
                  <a:lnTo>
                    <a:pt x="74" y="240"/>
                  </a:lnTo>
                  <a:lnTo>
                    <a:pt x="74" y="238"/>
                  </a:lnTo>
                  <a:lnTo>
                    <a:pt x="76" y="236"/>
                  </a:lnTo>
                  <a:lnTo>
                    <a:pt x="79" y="236"/>
                  </a:lnTo>
                  <a:lnTo>
                    <a:pt x="81" y="233"/>
                  </a:lnTo>
                  <a:lnTo>
                    <a:pt x="84" y="231"/>
                  </a:lnTo>
                  <a:lnTo>
                    <a:pt x="86" y="231"/>
                  </a:lnTo>
                  <a:lnTo>
                    <a:pt x="89" y="228"/>
                  </a:lnTo>
                  <a:lnTo>
                    <a:pt x="91" y="226"/>
                  </a:lnTo>
                  <a:lnTo>
                    <a:pt x="94" y="226"/>
                  </a:lnTo>
                  <a:lnTo>
                    <a:pt x="96" y="226"/>
                  </a:lnTo>
                  <a:lnTo>
                    <a:pt x="99" y="223"/>
                  </a:lnTo>
                  <a:lnTo>
                    <a:pt x="101" y="223"/>
                  </a:lnTo>
                  <a:lnTo>
                    <a:pt x="103" y="223"/>
                  </a:lnTo>
                  <a:lnTo>
                    <a:pt x="106" y="221"/>
                  </a:lnTo>
                  <a:lnTo>
                    <a:pt x="111" y="221"/>
                  </a:lnTo>
                  <a:lnTo>
                    <a:pt x="113" y="221"/>
                  </a:lnTo>
                  <a:lnTo>
                    <a:pt x="116" y="221"/>
                  </a:lnTo>
                  <a:lnTo>
                    <a:pt x="118" y="221"/>
                  </a:lnTo>
                  <a:lnTo>
                    <a:pt x="121" y="221"/>
                  </a:lnTo>
                  <a:lnTo>
                    <a:pt x="126" y="221"/>
                  </a:lnTo>
                  <a:lnTo>
                    <a:pt x="128" y="223"/>
                  </a:lnTo>
                  <a:lnTo>
                    <a:pt x="130" y="223"/>
                  </a:lnTo>
                  <a:lnTo>
                    <a:pt x="133" y="223"/>
                  </a:lnTo>
                  <a:lnTo>
                    <a:pt x="135" y="226"/>
                  </a:lnTo>
                  <a:lnTo>
                    <a:pt x="138" y="226"/>
                  </a:lnTo>
                  <a:lnTo>
                    <a:pt x="140" y="226"/>
                  </a:lnTo>
                  <a:lnTo>
                    <a:pt x="143" y="228"/>
                  </a:lnTo>
                  <a:lnTo>
                    <a:pt x="145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3" y="236"/>
                  </a:lnTo>
                  <a:lnTo>
                    <a:pt x="155" y="236"/>
                  </a:lnTo>
                  <a:lnTo>
                    <a:pt x="158" y="238"/>
                  </a:lnTo>
                  <a:lnTo>
                    <a:pt x="158" y="240"/>
                  </a:lnTo>
                  <a:lnTo>
                    <a:pt x="160" y="243"/>
                  </a:lnTo>
                  <a:lnTo>
                    <a:pt x="162" y="245"/>
                  </a:lnTo>
                  <a:lnTo>
                    <a:pt x="162" y="248"/>
                  </a:lnTo>
                  <a:lnTo>
                    <a:pt x="165" y="248"/>
                  </a:lnTo>
                  <a:lnTo>
                    <a:pt x="167" y="250"/>
                  </a:lnTo>
                  <a:lnTo>
                    <a:pt x="167" y="255"/>
                  </a:lnTo>
                  <a:lnTo>
                    <a:pt x="170" y="258"/>
                  </a:lnTo>
                  <a:lnTo>
                    <a:pt x="170" y="260"/>
                  </a:lnTo>
                  <a:lnTo>
                    <a:pt x="170" y="262"/>
                  </a:lnTo>
                  <a:lnTo>
                    <a:pt x="172" y="265"/>
                  </a:lnTo>
                  <a:lnTo>
                    <a:pt x="172" y="267"/>
                  </a:lnTo>
                  <a:lnTo>
                    <a:pt x="172" y="270"/>
                  </a:lnTo>
                  <a:lnTo>
                    <a:pt x="172" y="272"/>
                  </a:lnTo>
                  <a:lnTo>
                    <a:pt x="172" y="277"/>
                  </a:lnTo>
                  <a:lnTo>
                    <a:pt x="172" y="280"/>
                  </a:lnTo>
                  <a:lnTo>
                    <a:pt x="172" y="282"/>
                  </a:lnTo>
                  <a:lnTo>
                    <a:pt x="172" y="285"/>
                  </a:lnTo>
                  <a:lnTo>
                    <a:pt x="172" y="287"/>
                  </a:lnTo>
                  <a:lnTo>
                    <a:pt x="172" y="292"/>
                  </a:lnTo>
                  <a:lnTo>
                    <a:pt x="172" y="294"/>
                  </a:lnTo>
                  <a:lnTo>
                    <a:pt x="170" y="297"/>
                  </a:lnTo>
                  <a:lnTo>
                    <a:pt x="170" y="299"/>
                  </a:lnTo>
                  <a:lnTo>
                    <a:pt x="170" y="302"/>
                  </a:lnTo>
                  <a:lnTo>
                    <a:pt x="167" y="304"/>
                  </a:lnTo>
                  <a:lnTo>
                    <a:pt x="167" y="307"/>
                  </a:lnTo>
                  <a:lnTo>
                    <a:pt x="165" y="309"/>
                  </a:lnTo>
                  <a:lnTo>
                    <a:pt x="162" y="312"/>
                  </a:lnTo>
                  <a:lnTo>
                    <a:pt x="162" y="314"/>
                  </a:lnTo>
                  <a:lnTo>
                    <a:pt x="160" y="316"/>
                  </a:lnTo>
                  <a:lnTo>
                    <a:pt x="158" y="319"/>
                  </a:lnTo>
                  <a:lnTo>
                    <a:pt x="158" y="321"/>
                  </a:lnTo>
                  <a:lnTo>
                    <a:pt x="155" y="321"/>
                  </a:lnTo>
                  <a:lnTo>
                    <a:pt x="153" y="324"/>
                  </a:lnTo>
                  <a:lnTo>
                    <a:pt x="150" y="326"/>
                  </a:lnTo>
                  <a:lnTo>
                    <a:pt x="148" y="326"/>
                  </a:lnTo>
                  <a:lnTo>
                    <a:pt x="145" y="329"/>
                  </a:lnTo>
                  <a:lnTo>
                    <a:pt x="143" y="331"/>
                  </a:lnTo>
                  <a:lnTo>
                    <a:pt x="140" y="331"/>
                  </a:lnTo>
                  <a:lnTo>
                    <a:pt x="138" y="334"/>
                  </a:lnTo>
                  <a:lnTo>
                    <a:pt x="135" y="334"/>
                  </a:lnTo>
                  <a:lnTo>
                    <a:pt x="133" y="334"/>
                  </a:lnTo>
                  <a:lnTo>
                    <a:pt x="130" y="336"/>
                  </a:lnTo>
                  <a:lnTo>
                    <a:pt x="128" y="336"/>
                  </a:lnTo>
                  <a:lnTo>
                    <a:pt x="126" y="336"/>
                  </a:lnTo>
                  <a:lnTo>
                    <a:pt x="121" y="336"/>
                  </a:lnTo>
                  <a:lnTo>
                    <a:pt x="118" y="336"/>
                  </a:lnTo>
                  <a:lnTo>
                    <a:pt x="116" y="336"/>
                  </a:lnTo>
                  <a:lnTo>
                    <a:pt x="113" y="336"/>
                  </a:lnTo>
                  <a:close/>
                  <a:moveTo>
                    <a:pt x="76" y="194"/>
                  </a:moveTo>
                  <a:lnTo>
                    <a:pt x="155" y="194"/>
                  </a:lnTo>
                  <a:lnTo>
                    <a:pt x="155" y="221"/>
                  </a:lnTo>
                  <a:lnTo>
                    <a:pt x="153" y="221"/>
                  </a:lnTo>
                  <a:lnTo>
                    <a:pt x="150" y="218"/>
                  </a:lnTo>
                  <a:lnTo>
                    <a:pt x="148" y="218"/>
                  </a:lnTo>
                  <a:lnTo>
                    <a:pt x="148" y="216"/>
                  </a:lnTo>
                  <a:lnTo>
                    <a:pt x="145" y="216"/>
                  </a:lnTo>
                  <a:lnTo>
                    <a:pt x="143" y="213"/>
                  </a:lnTo>
                  <a:lnTo>
                    <a:pt x="140" y="213"/>
                  </a:lnTo>
                  <a:lnTo>
                    <a:pt x="138" y="213"/>
                  </a:lnTo>
                  <a:lnTo>
                    <a:pt x="135" y="211"/>
                  </a:lnTo>
                  <a:lnTo>
                    <a:pt x="133" y="211"/>
                  </a:lnTo>
                  <a:lnTo>
                    <a:pt x="128" y="211"/>
                  </a:lnTo>
                  <a:lnTo>
                    <a:pt x="126" y="211"/>
                  </a:lnTo>
                  <a:lnTo>
                    <a:pt x="123" y="211"/>
                  </a:lnTo>
                  <a:lnTo>
                    <a:pt x="121" y="209"/>
                  </a:lnTo>
                  <a:lnTo>
                    <a:pt x="118" y="209"/>
                  </a:lnTo>
                  <a:lnTo>
                    <a:pt x="116" y="209"/>
                  </a:lnTo>
                  <a:lnTo>
                    <a:pt x="113" y="209"/>
                  </a:lnTo>
                  <a:lnTo>
                    <a:pt x="111" y="209"/>
                  </a:lnTo>
                  <a:lnTo>
                    <a:pt x="108" y="211"/>
                  </a:lnTo>
                  <a:lnTo>
                    <a:pt x="106" y="211"/>
                  </a:lnTo>
                  <a:lnTo>
                    <a:pt x="103" y="211"/>
                  </a:lnTo>
                  <a:lnTo>
                    <a:pt x="99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1" y="213"/>
                  </a:lnTo>
                  <a:lnTo>
                    <a:pt x="89" y="213"/>
                  </a:lnTo>
                  <a:lnTo>
                    <a:pt x="86" y="216"/>
                  </a:lnTo>
                  <a:lnTo>
                    <a:pt x="86" y="216"/>
                  </a:lnTo>
                  <a:lnTo>
                    <a:pt x="84" y="218"/>
                  </a:lnTo>
                  <a:lnTo>
                    <a:pt x="81" y="218"/>
                  </a:lnTo>
                  <a:lnTo>
                    <a:pt x="79" y="221"/>
                  </a:lnTo>
                  <a:lnTo>
                    <a:pt x="76" y="221"/>
                  </a:lnTo>
                  <a:lnTo>
                    <a:pt x="76" y="194"/>
                  </a:lnTo>
                  <a:close/>
                  <a:moveTo>
                    <a:pt x="123" y="140"/>
                  </a:moveTo>
                  <a:lnTo>
                    <a:pt x="165" y="66"/>
                  </a:lnTo>
                  <a:lnTo>
                    <a:pt x="182" y="66"/>
                  </a:lnTo>
                  <a:lnTo>
                    <a:pt x="130" y="157"/>
                  </a:lnTo>
                  <a:lnTo>
                    <a:pt x="123" y="140"/>
                  </a:lnTo>
                  <a:close/>
                  <a:moveTo>
                    <a:pt x="138" y="167"/>
                  </a:moveTo>
                  <a:lnTo>
                    <a:pt x="197" y="66"/>
                  </a:lnTo>
                  <a:lnTo>
                    <a:pt x="214" y="66"/>
                  </a:lnTo>
                  <a:lnTo>
                    <a:pt x="148" y="184"/>
                  </a:lnTo>
                  <a:lnTo>
                    <a:pt x="138" y="167"/>
                  </a:lnTo>
                  <a:close/>
                  <a:moveTo>
                    <a:pt x="79" y="66"/>
                  </a:moveTo>
                  <a:lnTo>
                    <a:pt x="153" y="66"/>
                  </a:lnTo>
                  <a:lnTo>
                    <a:pt x="116" y="128"/>
                  </a:lnTo>
                  <a:lnTo>
                    <a:pt x="79" y="66"/>
                  </a:lnTo>
                  <a:close/>
                  <a:moveTo>
                    <a:pt x="13" y="61"/>
                  </a:moveTo>
                  <a:lnTo>
                    <a:pt x="22" y="44"/>
                  </a:lnTo>
                  <a:lnTo>
                    <a:pt x="103" y="184"/>
                  </a:lnTo>
                  <a:lnTo>
                    <a:pt x="84" y="184"/>
                  </a:lnTo>
                  <a:lnTo>
                    <a:pt x="13" y="61"/>
                  </a:lnTo>
                  <a:close/>
                  <a:moveTo>
                    <a:pt x="64" y="39"/>
                  </a:moveTo>
                  <a:lnTo>
                    <a:pt x="204" y="39"/>
                  </a:lnTo>
                  <a:lnTo>
                    <a:pt x="214" y="54"/>
                  </a:lnTo>
                  <a:lnTo>
                    <a:pt x="74" y="54"/>
                  </a:lnTo>
                  <a:lnTo>
                    <a:pt x="64" y="39"/>
                  </a:lnTo>
                  <a:close/>
                  <a:moveTo>
                    <a:pt x="30" y="32"/>
                  </a:moveTo>
                  <a:lnTo>
                    <a:pt x="40" y="17"/>
                  </a:lnTo>
                  <a:lnTo>
                    <a:pt x="133" y="184"/>
                  </a:lnTo>
                  <a:lnTo>
                    <a:pt x="116" y="184"/>
                  </a:lnTo>
                  <a:lnTo>
                    <a:pt x="30" y="32"/>
                  </a:lnTo>
                  <a:close/>
                  <a:moveTo>
                    <a:pt x="49" y="12"/>
                  </a:moveTo>
                  <a:lnTo>
                    <a:pt x="189" y="12"/>
                  </a:lnTo>
                  <a:lnTo>
                    <a:pt x="199" y="27"/>
                  </a:lnTo>
                  <a:lnTo>
                    <a:pt x="57" y="27"/>
                  </a:lnTo>
                  <a:lnTo>
                    <a:pt x="49" y="12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" y="57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4" y="186"/>
                  </a:lnTo>
                  <a:lnTo>
                    <a:pt x="64" y="186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191"/>
                  </a:lnTo>
                  <a:lnTo>
                    <a:pt x="64" y="233"/>
                  </a:lnTo>
                  <a:lnTo>
                    <a:pt x="62" y="236"/>
                  </a:lnTo>
                  <a:lnTo>
                    <a:pt x="62" y="238"/>
                  </a:lnTo>
                  <a:lnTo>
                    <a:pt x="59" y="240"/>
                  </a:lnTo>
                  <a:lnTo>
                    <a:pt x="57" y="243"/>
                  </a:lnTo>
                  <a:lnTo>
                    <a:pt x="54" y="245"/>
                  </a:lnTo>
                  <a:lnTo>
                    <a:pt x="54" y="248"/>
                  </a:lnTo>
                  <a:lnTo>
                    <a:pt x="52" y="250"/>
                  </a:lnTo>
                  <a:lnTo>
                    <a:pt x="52" y="253"/>
                  </a:lnTo>
                  <a:lnTo>
                    <a:pt x="49" y="258"/>
                  </a:lnTo>
                  <a:lnTo>
                    <a:pt x="49" y="260"/>
                  </a:lnTo>
                  <a:lnTo>
                    <a:pt x="49" y="262"/>
                  </a:lnTo>
                  <a:lnTo>
                    <a:pt x="47" y="265"/>
                  </a:lnTo>
                  <a:lnTo>
                    <a:pt x="47" y="270"/>
                  </a:lnTo>
                  <a:lnTo>
                    <a:pt x="47" y="272"/>
                  </a:lnTo>
                  <a:lnTo>
                    <a:pt x="47" y="275"/>
                  </a:lnTo>
                  <a:lnTo>
                    <a:pt x="47" y="280"/>
                  </a:lnTo>
                  <a:lnTo>
                    <a:pt x="47" y="282"/>
                  </a:lnTo>
                  <a:lnTo>
                    <a:pt x="47" y="287"/>
                  </a:lnTo>
                  <a:lnTo>
                    <a:pt x="47" y="289"/>
                  </a:lnTo>
                  <a:lnTo>
                    <a:pt x="47" y="292"/>
                  </a:lnTo>
                  <a:lnTo>
                    <a:pt x="49" y="297"/>
                  </a:lnTo>
                  <a:lnTo>
                    <a:pt x="49" y="299"/>
                  </a:lnTo>
                  <a:lnTo>
                    <a:pt x="52" y="304"/>
                  </a:lnTo>
                  <a:lnTo>
                    <a:pt x="52" y="307"/>
                  </a:lnTo>
                  <a:lnTo>
                    <a:pt x="54" y="309"/>
                  </a:lnTo>
                  <a:lnTo>
                    <a:pt x="54" y="312"/>
                  </a:lnTo>
                  <a:lnTo>
                    <a:pt x="57" y="316"/>
                  </a:lnTo>
                  <a:lnTo>
                    <a:pt x="59" y="319"/>
                  </a:lnTo>
                  <a:lnTo>
                    <a:pt x="59" y="321"/>
                  </a:lnTo>
                  <a:lnTo>
                    <a:pt x="62" y="324"/>
                  </a:lnTo>
                  <a:lnTo>
                    <a:pt x="64" y="326"/>
                  </a:lnTo>
                  <a:lnTo>
                    <a:pt x="67" y="329"/>
                  </a:lnTo>
                  <a:lnTo>
                    <a:pt x="69" y="331"/>
                  </a:lnTo>
                  <a:lnTo>
                    <a:pt x="72" y="334"/>
                  </a:lnTo>
                  <a:lnTo>
                    <a:pt x="74" y="336"/>
                  </a:lnTo>
                  <a:lnTo>
                    <a:pt x="76" y="336"/>
                  </a:lnTo>
                  <a:lnTo>
                    <a:pt x="79" y="338"/>
                  </a:lnTo>
                  <a:lnTo>
                    <a:pt x="84" y="341"/>
                  </a:lnTo>
                  <a:lnTo>
                    <a:pt x="86" y="341"/>
                  </a:lnTo>
                  <a:lnTo>
                    <a:pt x="89" y="343"/>
                  </a:lnTo>
                  <a:lnTo>
                    <a:pt x="91" y="343"/>
                  </a:lnTo>
                  <a:lnTo>
                    <a:pt x="96" y="346"/>
                  </a:lnTo>
                  <a:lnTo>
                    <a:pt x="99" y="346"/>
                  </a:lnTo>
                  <a:lnTo>
                    <a:pt x="101" y="348"/>
                  </a:lnTo>
                  <a:lnTo>
                    <a:pt x="106" y="348"/>
                  </a:lnTo>
                  <a:lnTo>
                    <a:pt x="108" y="348"/>
                  </a:lnTo>
                  <a:lnTo>
                    <a:pt x="113" y="348"/>
                  </a:lnTo>
                  <a:lnTo>
                    <a:pt x="116" y="348"/>
                  </a:lnTo>
                  <a:lnTo>
                    <a:pt x="118" y="348"/>
                  </a:lnTo>
                  <a:lnTo>
                    <a:pt x="123" y="348"/>
                  </a:lnTo>
                  <a:lnTo>
                    <a:pt x="126" y="348"/>
                  </a:lnTo>
                  <a:lnTo>
                    <a:pt x="130" y="348"/>
                  </a:lnTo>
                  <a:lnTo>
                    <a:pt x="133" y="346"/>
                  </a:lnTo>
                  <a:lnTo>
                    <a:pt x="135" y="346"/>
                  </a:lnTo>
                  <a:lnTo>
                    <a:pt x="140" y="343"/>
                  </a:lnTo>
                  <a:lnTo>
                    <a:pt x="143" y="343"/>
                  </a:lnTo>
                  <a:lnTo>
                    <a:pt x="145" y="341"/>
                  </a:lnTo>
                  <a:lnTo>
                    <a:pt x="148" y="341"/>
                  </a:lnTo>
                  <a:lnTo>
                    <a:pt x="153" y="338"/>
                  </a:lnTo>
                  <a:lnTo>
                    <a:pt x="155" y="336"/>
                  </a:lnTo>
                  <a:lnTo>
                    <a:pt x="158" y="336"/>
                  </a:lnTo>
                  <a:lnTo>
                    <a:pt x="160" y="334"/>
                  </a:lnTo>
                  <a:lnTo>
                    <a:pt x="162" y="331"/>
                  </a:lnTo>
                  <a:lnTo>
                    <a:pt x="165" y="329"/>
                  </a:lnTo>
                  <a:lnTo>
                    <a:pt x="167" y="326"/>
                  </a:lnTo>
                  <a:lnTo>
                    <a:pt x="170" y="324"/>
                  </a:lnTo>
                  <a:lnTo>
                    <a:pt x="172" y="321"/>
                  </a:lnTo>
                  <a:lnTo>
                    <a:pt x="172" y="319"/>
                  </a:lnTo>
                  <a:lnTo>
                    <a:pt x="175" y="316"/>
                  </a:lnTo>
                  <a:lnTo>
                    <a:pt x="177" y="312"/>
                  </a:lnTo>
                  <a:lnTo>
                    <a:pt x="177" y="309"/>
                  </a:lnTo>
                  <a:lnTo>
                    <a:pt x="180" y="307"/>
                  </a:lnTo>
                  <a:lnTo>
                    <a:pt x="180" y="304"/>
                  </a:lnTo>
                  <a:lnTo>
                    <a:pt x="182" y="299"/>
                  </a:lnTo>
                  <a:lnTo>
                    <a:pt x="182" y="297"/>
                  </a:lnTo>
                  <a:lnTo>
                    <a:pt x="185" y="292"/>
                  </a:lnTo>
                  <a:lnTo>
                    <a:pt x="185" y="289"/>
                  </a:lnTo>
                  <a:lnTo>
                    <a:pt x="185" y="287"/>
                  </a:lnTo>
                  <a:lnTo>
                    <a:pt x="185" y="282"/>
                  </a:lnTo>
                  <a:lnTo>
                    <a:pt x="185" y="280"/>
                  </a:lnTo>
                  <a:lnTo>
                    <a:pt x="185" y="275"/>
                  </a:lnTo>
                  <a:lnTo>
                    <a:pt x="185" y="272"/>
                  </a:lnTo>
                  <a:lnTo>
                    <a:pt x="185" y="270"/>
                  </a:lnTo>
                  <a:lnTo>
                    <a:pt x="185" y="265"/>
                  </a:lnTo>
                  <a:lnTo>
                    <a:pt x="182" y="262"/>
                  </a:lnTo>
                  <a:lnTo>
                    <a:pt x="182" y="260"/>
                  </a:lnTo>
                  <a:lnTo>
                    <a:pt x="182" y="258"/>
                  </a:lnTo>
                  <a:lnTo>
                    <a:pt x="180" y="253"/>
                  </a:lnTo>
                  <a:lnTo>
                    <a:pt x="180" y="250"/>
                  </a:lnTo>
                  <a:lnTo>
                    <a:pt x="177" y="248"/>
                  </a:lnTo>
                  <a:lnTo>
                    <a:pt x="177" y="245"/>
                  </a:lnTo>
                  <a:lnTo>
                    <a:pt x="175" y="243"/>
                  </a:lnTo>
                  <a:lnTo>
                    <a:pt x="172" y="240"/>
                  </a:lnTo>
                  <a:lnTo>
                    <a:pt x="170" y="238"/>
                  </a:lnTo>
                  <a:lnTo>
                    <a:pt x="170" y="236"/>
                  </a:lnTo>
                  <a:lnTo>
                    <a:pt x="167" y="233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4"/>
                  </a:lnTo>
                  <a:lnTo>
                    <a:pt x="165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0" y="184"/>
                  </a:lnTo>
                  <a:lnTo>
                    <a:pt x="160" y="184"/>
                  </a:lnTo>
                  <a:lnTo>
                    <a:pt x="229" y="64"/>
                  </a:lnTo>
                  <a:lnTo>
                    <a:pt x="229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29" y="59"/>
                  </a:lnTo>
                  <a:lnTo>
                    <a:pt x="229" y="57"/>
                  </a:lnTo>
                  <a:lnTo>
                    <a:pt x="199" y="3"/>
                  </a:lnTo>
                  <a:lnTo>
                    <a:pt x="197" y="3"/>
                  </a:lnTo>
                  <a:lnTo>
                    <a:pt x="197" y="3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57">
              <a:extLst>
                <a:ext uri="{FF2B5EF4-FFF2-40B4-BE49-F238E27FC236}">
                  <a16:creationId xmlns:a16="http://schemas.microsoft.com/office/drawing/2014/main" id="{AACFC0E0-2AAF-40AA-B6DB-FF6F748545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4" y="3515"/>
              <a:ext cx="231" cy="348"/>
            </a:xfrm>
            <a:custGeom>
              <a:avLst/>
              <a:gdLst>
                <a:gd name="T0" fmla="*/ 96 w 231"/>
                <a:gd name="T1" fmla="*/ 253 h 348"/>
                <a:gd name="T2" fmla="*/ 94 w 231"/>
                <a:gd name="T3" fmla="*/ 258 h 348"/>
                <a:gd name="T4" fmla="*/ 96 w 231"/>
                <a:gd name="T5" fmla="*/ 262 h 348"/>
                <a:gd name="T6" fmla="*/ 101 w 231"/>
                <a:gd name="T7" fmla="*/ 262 h 348"/>
                <a:gd name="T8" fmla="*/ 96 w 231"/>
                <a:gd name="T9" fmla="*/ 299 h 348"/>
                <a:gd name="T10" fmla="*/ 94 w 231"/>
                <a:gd name="T11" fmla="*/ 302 h 348"/>
                <a:gd name="T12" fmla="*/ 94 w 231"/>
                <a:gd name="T13" fmla="*/ 307 h 348"/>
                <a:gd name="T14" fmla="*/ 99 w 231"/>
                <a:gd name="T15" fmla="*/ 309 h 348"/>
                <a:gd name="T16" fmla="*/ 140 w 231"/>
                <a:gd name="T17" fmla="*/ 309 h 348"/>
                <a:gd name="T18" fmla="*/ 143 w 231"/>
                <a:gd name="T19" fmla="*/ 304 h 348"/>
                <a:gd name="T20" fmla="*/ 143 w 231"/>
                <a:gd name="T21" fmla="*/ 299 h 348"/>
                <a:gd name="T22" fmla="*/ 123 w 231"/>
                <a:gd name="T23" fmla="*/ 299 h 348"/>
                <a:gd name="T24" fmla="*/ 121 w 231"/>
                <a:gd name="T25" fmla="*/ 240 h 348"/>
                <a:gd name="T26" fmla="*/ 106 w 231"/>
                <a:gd name="T27" fmla="*/ 336 h 348"/>
                <a:gd name="T28" fmla="*/ 86 w 231"/>
                <a:gd name="T29" fmla="*/ 329 h 348"/>
                <a:gd name="T30" fmla="*/ 69 w 231"/>
                <a:gd name="T31" fmla="*/ 314 h 348"/>
                <a:gd name="T32" fmla="*/ 59 w 231"/>
                <a:gd name="T33" fmla="*/ 294 h 348"/>
                <a:gd name="T34" fmla="*/ 59 w 231"/>
                <a:gd name="T35" fmla="*/ 270 h 348"/>
                <a:gd name="T36" fmla="*/ 67 w 231"/>
                <a:gd name="T37" fmla="*/ 248 h 348"/>
                <a:gd name="T38" fmla="*/ 81 w 231"/>
                <a:gd name="T39" fmla="*/ 233 h 348"/>
                <a:gd name="T40" fmla="*/ 101 w 231"/>
                <a:gd name="T41" fmla="*/ 223 h 348"/>
                <a:gd name="T42" fmla="*/ 126 w 231"/>
                <a:gd name="T43" fmla="*/ 221 h 348"/>
                <a:gd name="T44" fmla="*/ 145 w 231"/>
                <a:gd name="T45" fmla="*/ 231 h 348"/>
                <a:gd name="T46" fmla="*/ 162 w 231"/>
                <a:gd name="T47" fmla="*/ 245 h 348"/>
                <a:gd name="T48" fmla="*/ 172 w 231"/>
                <a:gd name="T49" fmla="*/ 265 h 348"/>
                <a:gd name="T50" fmla="*/ 172 w 231"/>
                <a:gd name="T51" fmla="*/ 287 h 348"/>
                <a:gd name="T52" fmla="*/ 165 w 231"/>
                <a:gd name="T53" fmla="*/ 309 h 348"/>
                <a:gd name="T54" fmla="*/ 150 w 231"/>
                <a:gd name="T55" fmla="*/ 326 h 348"/>
                <a:gd name="T56" fmla="*/ 130 w 231"/>
                <a:gd name="T57" fmla="*/ 336 h 348"/>
                <a:gd name="T58" fmla="*/ 155 w 231"/>
                <a:gd name="T59" fmla="*/ 194 h 348"/>
                <a:gd name="T60" fmla="*/ 140 w 231"/>
                <a:gd name="T61" fmla="*/ 213 h 348"/>
                <a:gd name="T62" fmla="*/ 118 w 231"/>
                <a:gd name="T63" fmla="*/ 209 h 348"/>
                <a:gd name="T64" fmla="*/ 96 w 231"/>
                <a:gd name="T65" fmla="*/ 211 h 348"/>
                <a:gd name="T66" fmla="*/ 79 w 231"/>
                <a:gd name="T67" fmla="*/ 221 h 348"/>
                <a:gd name="T68" fmla="*/ 138 w 231"/>
                <a:gd name="T69" fmla="*/ 167 h 348"/>
                <a:gd name="T70" fmla="*/ 79 w 231"/>
                <a:gd name="T71" fmla="*/ 66 h 348"/>
                <a:gd name="T72" fmla="*/ 214 w 231"/>
                <a:gd name="T73" fmla="*/ 54 h 348"/>
                <a:gd name="T74" fmla="*/ 49 w 231"/>
                <a:gd name="T75" fmla="*/ 12 h 348"/>
                <a:gd name="T76" fmla="*/ 35 w 231"/>
                <a:gd name="T77" fmla="*/ 0 h 348"/>
                <a:gd name="T78" fmla="*/ 0 w 231"/>
                <a:gd name="T79" fmla="*/ 59 h 348"/>
                <a:gd name="T80" fmla="*/ 69 w 231"/>
                <a:gd name="T81" fmla="*/ 184 h 348"/>
                <a:gd name="T82" fmla="*/ 67 w 231"/>
                <a:gd name="T83" fmla="*/ 186 h 348"/>
                <a:gd name="T84" fmla="*/ 62 w 231"/>
                <a:gd name="T85" fmla="*/ 236 h 348"/>
                <a:gd name="T86" fmla="*/ 49 w 231"/>
                <a:gd name="T87" fmla="*/ 258 h 348"/>
                <a:gd name="T88" fmla="*/ 47 w 231"/>
                <a:gd name="T89" fmla="*/ 282 h 348"/>
                <a:gd name="T90" fmla="*/ 54 w 231"/>
                <a:gd name="T91" fmla="*/ 309 h 348"/>
                <a:gd name="T92" fmla="*/ 69 w 231"/>
                <a:gd name="T93" fmla="*/ 331 h 348"/>
                <a:gd name="T94" fmla="*/ 91 w 231"/>
                <a:gd name="T95" fmla="*/ 343 h 348"/>
                <a:gd name="T96" fmla="*/ 118 w 231"/>
                <a:gd name="T97" fmla="*/ 348 h 348"/>
                <a:gd name="T98" fmla="*/ 145 w 231"/>
                <a:gd name="T99" fmla="*/ 341 h 348"/>
                <a:gd name="T100" fmla="*/ 167 w 231"/>
                <a:gd name="T101" fmla="*/ 326 h 348"/>
                <a:gd name="T102" fmla="*/ 180 w 231"/>
                <a:gd name="T103" fmla="*/ 304 h 348"/>
                <a:gd name="T104" fmla="*/ 185 w 231"/>
                <a:gd name="T105" fmla="*/ 275 h 348"/>
                <a:gd name="T106" fmla="*/ 180 w 231"/>
                <a:gd name="T107" fmla="*/ 250 h 348"/>
                <a:gd name="T108" fmla="*/ 167 w 231"/>
                <a:gd name="T109" fmla="*/ 191 h 348"/>
                <a:gd name="T110" fmla="*/ 165 w 231"/>
                <a:gd name="T111" fmla="*/ 186 h 348"/>
                <a:gd name="T112" fmla="*/ 160 w 231"/>
                <a:gd name="T113" fmla="*/ 184 h 348"/>
                <a:gd name="T114" fmla="*/ 229 w 231"/>
                <a:gd name="T115" fmla="*/ 57 h 348"/>
                <a:gd name="T116" fmla="*/ 194 w 231"/>
                <a:gd name="T117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348">
                  <a:moveTo>
                    <a:pt x="118" y="240"/>
                  </a:moveTo>
                  <a:lnTo>
                    <a:pt x="118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6" y="253"/>
                  </a:lnTo>
                  <a:lnTo>
                    <a:pt x="96" y="253"/>
                  </a:lnTo>
                  <a:lnTo>
                    <a:pt x="96" y="253"/>
                  </a:lnTo>
                  <a:lnTo>
                    <a:pt x="94" y="253"/>
                  </a:lnTo>
                  <a:lnTo>
                    <a:pt x="94" y="253"/>
                  </a:lnTo>
                  <a:lnTo>
                    <a:pt x="94" y="255"/>
                  </a:lnTo>
                  <a:lnTo>
                    <a:pt x="94" y="255"/>
                  </a:lnTo>
                  <a:lnTo>
                    <a:pt x="94" y="255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58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0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13" y="255"/>
                  </a:lnTo>
                  <a:lnTo>
                    <a:pt x="113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6" y="299"/>
                  </a:lnTo>
                  <a:lnTo>
                    <a:pt x="94" y="299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6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3" y="309"/>
                  </a:lnTo>
                  <a:lnTo>
                    <a:pt x="143" y="309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7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4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302"/>
                  </a:lnTo>
                  <a:lnTo>
                    <a:pt x="143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38" y="299"/>
                  </a:lnTo>
                  <a:lnTo>
                    <a:pt x="138" y="299"/>
                  </a:lnTo>
                  <a:lnTo>
                    <a:pt x="138" y="299"/>
                  </a:lnTo>
                  <a:lnTo>
                    <a:pt x="123" y="299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21" y="240"/>
                  </a:lnTo>
                  <a:lnTo>
                    <a:pt x="118" y="240"/>
                  </a:lnTo>
                  <a:lnTo>
                    <a:pt x="118" y="240"/>
                  </a:lnTo>
                  <a:close/>
                  <a:moveTo>
                    <a:pt x="113" y="336"/>
                  </a:moveTo>
                  <a:lnTo>
                    <a:pt x="111" y="336"/>
                  </a:lnTo>
                  <a:lnTo>
                    <a:pt x="106" y="336"/>
                  </a:lnTo>
                  <a:lnTo>
                    <a:pt x="103" y="336"/>
                  </a:lnTo>
                  <a:lnTo>
                    <a:pt x="101" y="336"/>
                  </a:lnTo>
                  <a:lnTo>
                    <a:pt x="99" y="334"/>
                  </a:lnTo>
                  <a:lnTo>
                    <a:pt x="96" y="334"/>
                  </a:lnTo>
                  <a:lnTo>
                    <a:pt x="94" y="334"/>
                  </a:lnTo>
                  <a:lnTo>
                    <a:pt x="91" y="331"/>
                  </a:lnTo>
                  <a:lnTo>
                    <a:pt x="89" y="331"/>
                  </a:lnTo>
                  <a:lnTo>
                    <a:pt x="86" y="329"/>
                  </a:lnTo>
                  <a:lnTo>
                    <a:pt x="84" y="326"/>
                  </a:lnTo>
                  <a:lnTo>
                    <a:pt x="81" y="326"/>
                  </a:lnTo>
                  <a:lnTo>
                    <a:pt x="79" y="324"/>
                  </a:lnTo>
                  <a:lnTo>
                    <a:pt x="76" y="321"/>
                  </a:lnTo>
                  <a:lnTo>
                    <a:pt x="74" y="321"/>
                  </a:lnTo>
                  <a:lnTo>
                    <a:pt x="74" y="319"/>
                  </a:lnTo>
                  <a:lnTo>
                    <a:pt x="72" y="316"/>
                  </a:lnTo>
                  <a:lnTo>
                    <a:pt x="69" y="314"/>
                  </a:lnTo>
                  <a:lnTo>
                    <a:pt x="69" y="312"/>
                  </a:lnTo>
                  <a:lnTo>
                    <a:pt x="67" y="309"/>
                  </a:lnTo>
                  <a:lnTo>
                    <a:pt x="64" y="307"/>
                  </a:lnTo>
                  <a:lnTo>
                    <a:pt x="64" y="304"/>
                  </a:lnTo>
                  <a:lnTo>
                    <a:pt x="62" y="302"/>
                  </a:lnTo>
                  <a:lnTo>
                    <a:pt x="62" y="299"/>
                  </a:lnTo>
                  <a:lnTo>
                    <a:pt x="62" y="297"/>
                  </a:lnTo>
                  <a:lnTo>
                    <a:pt x="59" y="294"/>
                  </a:lnTo>
                  <a:lnTo>
                    <a:pt x="59" y="292"/>
                  </a:lnTo>
                  <a:lnTo>
                    <a:pt x="59" y="287"/>
                  </a:lnTo>
                  <a:lnTo>
                    <a:pt x="59" y="285"/>
                  </a:lnTo>
                  <a:lnTo>
                    <a:pt x="59" y="282"/>
                  </a:lnTo>
                  <a:lnTo>
                    <a:pt x="59" y="280"/>
                  </a:lnTo>
                  <a:lnTo>
                    <a:pt x="59" y="277"/>
                  </a:lnTo>
                  <a:lnTo>
                    <a:pt x="59" y="272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62" y="262"/>
                  </a:lnTo>
                  <a:lnTo>
                    <a:pt x="62" y="260"/>
                  </a:lnTo>
                  <a:lnTo>
                    <a:pt x="62" y="258"/>
                  </a:lnTo>
                  <a:lnTo>
                    <a:pt x="64" y="255"/>
                  </a:lnTo>
                  <a:lnTo>
                    <a:pt x="64" y="250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5"/>
                  </a:lnTo>
                  <a:lnTo>
                    <a:pt x="72" y="243"/>
                  </a:lnTo>
                  <a:lnTo>
                    <a:pt x="74" y="240"/>
                  </a:lnTo>
                  <a:lnTo>
                    <a:pt x="74" y="238"/>
                  </a:lnTo>
                  <a:lnTo>
                    <a:pt x="76" y="236"/>
                  </a:lnTo>
                  <a:lnTo>
                    <a:pt x="79" y="236"/>
                  </a:lnTo>
                  <a:lnTo>
                    <a:pt x="81" y="233"/>
                  </a:lnTo>
                  <a:lnTo>
                    <a:pt x="84" y="231"/>
                  </a:lnTo>
                  <a:lnTo>
                    <a:pt x="86" y="231"/>
                  </a:lnTo>
                  <a:lnTo>
                    <a:pt x="89" y="228"/>
                  </a:lnTo>
                  <a:lnTo>
                    <a:pt x="91" y="226"/>
                  </a:lnTo>
                  <a:lnTo>
                    <a:pt x="94" y="226"/>
                  </a:lnTo>
                  <a:lnTo>
                    <a:pt x="96" y="226"/>
                  </a:lnTo>
                  <a:lnTo>
                    <a:pt x="99" y="223"/>
                  </a:lnTo>
                  <a:lnTo>
                    <a:pt x="101" y="223"/>
                  </a:lnTo>
                  <a:lnTo>
                    <a:pt x="103" y="223"/>
                  </a:lnTo>
                  <a:lnTo>
                    <a:pt x="106" y="221"/>
                  </a:lnTo>
                  <a:lnTo>
                    <a:pt x="111" y="221"/>
                  </a:lnTo>
                  <a:lnTo>
                    <a:pt x="113" y="221"/>
                  </a:lnTo>
                  <a:lnTo>
                    <a:pt x="116" y="221"/>
                  </a:lnTo>
                  <a:lnTo>
                    <a:pt x="118" y="221"/>
                  </a:lnTo>
                  <a:lnTo>
                    <a:pt x="121" y="221"/>
                  </a:lnTo>
                  <a:lnTo>
                    <a:pt x="126" y="221"/>
                  </a:lnTo>
                  <a:lnTo>
                    <a:pt x="128" y="223"/>
                  </a:lnTo>
                  <a:lnTo>
                    <a:pt x="130" y="223"/>
                  </a:lnTo>
                  <a:lnTo>
                    <a:pt x="133" y="223"/>
                  </a:lnTo>
                  <a:lnTo>
                    <a:pt x="135" y="226"/>
                  </a:lnTo>
                  <a:lnTo>
                    <a:pt x="138" y="226"/>
                  </a:lnTo>
                  <a:lnTo>
                    <a:pt x="140" y="226"/>
                  </a:lnTo>
                  <a:lnTo>
                    <a:pt x="143" y="228"/>
                  </a:lnTo>
                  <a:lnTo>
                    <a:pt x="145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3" y="236"/>
                  </a:lnTo>
                  <a:lnTo>
                    <a:pt x="155" y="236"/>
                  </a:lnTo>
                  <a:lnTo>
                    <a:pt x="158" y="238"/>
                  </a:lnTo>
                  <a:lnTo>
                    <a:pt x="158" y="240"/>
                  </a:lnTo>
                  <a:lnTo>
                    <a:pt x="160" y="243"/>
                  </a:lnTo>
                  <a:lnTo>
                    <a:pt x="162" y="245"/>
                  </a:lnTo>
                  <a:lnTo>
                    <a:pt x="162" y="248"/>
                  </a:lnTo>
                  <a:lnTo>
                    <a:pt x="165" y="248"/>
                  </a:lnTo>
                  <a:lnTo>
                    <a:pt x="167" y="250"/>
                  </a:lnTo>
                  <a:lnTo>
                    <a:pt x="167" y="255"/>
                  </a:lnTo>
                  <a:lnTo>
                    <a:pt x="170" y="258"/>
                  </a:lnTo>
                  <a:lnTo>
                    <a:pt x="170" y="260"/>
                  </a:lnTo>
                  <a:lnTo>
                    <a:pt x="170" y="262"/>
                  </a:lnTo>
                  <a:lnTo>
                    <a:pt x="172" y="265"/>
                  </a:lnTo>
                  <a:lnTo>
                    <a:pt x="172" y="267"/>
                  </a:lnTo>
                  <a:lnTo>
                    <a:pt x="172" y="270"/>
                  </a:lnTo>
                  <a:lnTo>
                    <a:pt x="172" y="272"/>
                  </a:lnTo>
                  <a:lnTo>
                    <a:pt x="172" y="277"/>
                  </a:lnTo>
                  <a:lnTo>
                    <a:pt x="172" y="280"/>
                  </a:lnTo>
                  <a:lnTo>
                    <a:pt x="172" y="282"/>
                  </a:lnTo>
                  <a:lnTo>
                    <a:pt x="172" y="285"/>
                  </a:lnTo>
                  <a:lnTo>
                    <a:pt x="172" y="287"/>
                  </a:lnTo>
                  <a:lnTo>
                    <a:pt x="172" y="292"/>
                  </a:lnTo>
                  <a:lnTo>
                    <a:pt x="172" y="294"/>
                  </a:lnTo>
                  <a:lnTo>
                    <a:pt x="170" y="297"/>
                  </a:lnTo>
                  <a:lnTo>
                    <a:pt x="170" y="299"/>
                  </a:lnTo>
                  <a:lnTo>
                    <a:pt x="170" y="302"/>
                  </a:lnTo>
                  <a:lnTo>
                    <a:pt x="167" y="304"/>
                  </a:lnTo>
                  <a:lnTo>
                    <a:pt x="167" y="307"/>
                  </a:lnTo>
                  <a:lnTo>
                    <a:pt x="165" y="309"/>
                  </a:lnTo>
                  <a:lnTo>
                    <a:pt x="162" y="312"/>
                  </a:lnTo>
                  <a:lnTo>
                    <a:pt x="162" y="314"/>
                  </a:lnTo>
                  <a:lnTo>
                    <a:pt x="160" y="316"/>
                  </a:lnTo>
                  <a:lnTo>
                    <a:pt x="158" y="319"/>
                  </a:lnTo>
                  <a:lnTo>
                    <a:pt x="158" y="321"/>
                  </a:lnTo>
                  <a:lnTo>
                    <a:pt x="155" y="321"/>
                  </a:lnTo>
                  <a:lnTo>
                    <a:pt x="153" y="324"/>
                  </a:lnTo>
                  <a:lnTo>
                    <a:pt x="150" y="326"/>
                  </a:lnTo>
                  <a:lnTo>
                    <a:pt x="148" y="326"/>
                  </a:lnTo>
                  <a:lnTo>
                    <a:pt x="145" y="329"/>
                  </a:lnTo>
                  <a:lnTo>
                    <a:pt x="143" y="331"/>
                  </a:lnTo>
                  <a:lnTo>
                    <a:pt x="140" y="331"/>
                  </a:lnTo>
                  <a:lnTo>
                    <a:pt x="138" y="334"/>
                  </a:lnTo>
                  <a:lnTo>
                    <a:pt x="135" y="334"/>
                  </a:lnTo>
                  <a:lnTo>
                    <a:pt x="133" y="334"/>
                  </a:lnTo>
                  <a:lnTo>
                    <a:pt x="130" y="336"/>
                  </a:lnTo>
                  <a:lnTo>
                    <a:pt x="128" y="336"/>
                  </a:lnTo>
                  <a:lnTo>
                    <a:pt x="126" y="336"/>
                  </a:lnTo>
                  <a:lnTo>
                    <a:pt x="121" y="336"/>
                  </a:lnTo>
                  <a:lnTo>
                    <a:pt x="118" y="336"/>
                  </a:lnTo>
                  <a:lnTo>
                    <a:pt x="116" y="336"/>
                  </a:lnTo>
                  <a:lnTo>
                    <a:pt x="113" y="336"/>
                  </a:lnTo>
                  <a:close/>
                  <a:moveTo>
                    <a:pt x="76" y="194"/>
                  </a:moveTo>
                  <a:lnTo>
                    <a:pt x="155" y="194"/>
                  </a:lnTo>
                  <a:lnTo>
                    <a:pt x="155" y="221"/>
                  </a:lnTo>
                  <a:lnTo>
                    <a:pt x="153" y="221"/>
                  </a:lnTo>
                  <a:lnTo>
                    <a:pt x="150" y="218"/>
                  </a:lnTo>
                  <a:lnTo>
                    <a:pt x="148" y="218"/>
                  </a:lnTo>
                  <a:lnTo>
                    <a:pt x="148" y="216"/>
                  </a:lnTo>
                  <a:lnTo>
                    <a:pt x="145" y="216"/>
                  </a:lnTo>
                  <a:lnTo>
                    <a:pt x="143" y="213"/>
                  </a:lnTo>
                  <a:lnTo>
                    <a:pt x="140" y="213"/>
                  </a:lnTo>
                  <a:lnTo>
                    <a:pt x="138" y="213"/>
                  </a:lnTo>
                  <a:lnTo>
                    <a:pt x="135" y="211"/>
                  </a:lnTo>
                  <a:lnTo>
                    <a:pt x="133" y="211"/>
                  </a:lnTo>
                  <a:lnTo>
                    <a:pt x="128" y="211"/>
                  </a:lnTo>
                  <a:lnTo>
                    <a:pt x="126" y="211"/>
                  </a:lnTo>
                  <a:lnTo>
                    <a:pt x="123" y="211"/>
                  </a:lnTo>
                  <a:lnTo>
                    <a:pt x="121" y="209"/>
                  </a:lnTo>
                  <a:lnTo>
                    <a:pt x="118" y="209"/>
                  </a:lnTo>
                  <a:lnTo>
                    <a:pt x="116" y="209"/>
                  </a:lnTo>
                  <a:lnTo>
                    <a:pt x="113" y="209"/>
                  </a:lnTo>
                  <a:lnTo>
                    <a:pt x="111" y="209"/>
                  </a:lnTo>
                  <a:lnTo>
                    <a:pt x="108" y="211"/>
                  </a:lnTo>
                  <a:lnTo>
                    <a:pt x="106" y="211"/>
                  </a:lnTo>
                  <a:lnTo>
                    <a:pt x="103" y="211"/>
                  </a:lnTo>
                  <a:lnTo>
                    <a:pt x="99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1" y="213"/>
                  </a:lnTo>
                  <a:lnTo>
                    <a:pt x="89" y="213"/>
                  </a:lnTo>
                  <a:lnTo>
                    <a:pt x="86" y="216"/>
                  </a:lnTo>
                  <a:lnTo>
                    <a:pt x="86" y="216"/>
                  </a:lnTo>
                  <a:lnTo>
                    <a:pt x="84" y="218"/>
                  </a:lnTo>
                  <a:lnTo>
                    <a:pt x="81" y="218"/>
                  </a:lnTo>
                  <a:lnTo>
                    <a:pt x="79" y="221"/>
                  </a:lnTo>
                  <a:lnTo>
                    <a:pt x="76" y="221"/>
                  </a:lnTo>
                  <a:lnTo>
                    <a:pt x="76" y="194"/>
                  </a:lnTo>
                  <a:close/>
                  <a:moveTo>
                    <a:pt x="123" y="140"/>
                  </a:moveTo>
                  <a:lnTo>
                    <a:pt x="165" y="66"/>
                  </a:lnTo>
                  <a:lnTo>
                    <a:pt x="182" y="66"/>
                  </a:lnTo>
                  <a:lnTo>
                    <a:pt x="130" y="157"/>
                  </a:lnTo>
                  <a:lnTo>
                    <a:pt x="123" y="140"/>
                  </a:lnTo>
                  <a:close/>
                  <a:moveTo>
                    <a:pt x="138" y="167"/>
                  </a:moveTo>
                  <a:lnTo>
                    <a:pt x="197" y="66"/>
                  </a:lnTo>
                  <a:lnTo>
                    <a:pt x="214" y="66"/>
                  </a:lnTo>
                  <a:lnTo>
                    <a:pt x="148" y="184"/>
                  </a:lnTo>
                  <a:lnTo>
                    <a:pt x="138" y="167"/>
                  </a:lnTo>
                  <a:close/>
                  <a:moveTo>
                    <a:pt x="79" y="66"/>
                  </a:moveTo>
                  <a:lnTo>
                    <a:pt x="153" y="66"/>
                  </a:lnTo>
                  <a:lnTo>
                    <a:pt x="116" y="128"/>
                  </a:lnTo>
                  <a:lnTo>
                    <a:pt x="79" y="66"/>
                  </a:lnTo>
                  <a:close/>
                  <a:moveTo>
                    <a:pt x="13" y="61"/>
                  </a:moveTo>
                  <a:lnTo>
                    <a:pt x="22" y="44"/>
                  </a:lnTo>
                  <a:lnTo>
                    <a:pt x="103" y="184"/>
                  </a:lnTo>
                  <a:lnTo>
                    <a:pt x="84" y="184"/>
                  </a:lnTo>
                  <a:lnTo>
                    <a:pt x="13" y="61"/>
                  </a:lnTo>
                  <a:close/>
                  <a:moveTo>
                    <a:pt x="64" y="39"/>
                  </a:moveTo>
                  <a:lnTo>
                    <a:pt x="204" y="39"/>
                  </a:lnTo>
                  <a:lnTo>
                    <a:pt x="214" y="54"/>
                  </a:lnTo>
                  <a:lnTo>
                    <a:pt x="74" y="54"/>
                  </a:lnTo>
                  <a:lnTo>
                    <a:pt x="64" y="39"/>
                  </a:lnTo>
                  <a:close/>
                  <a:moveTo>
                    <a:pt x="30" y="32"/>
                  </a:moveTo>
                  <a:lnTo>
                    <a:pt x="40" y="17"/>
                  </a:lnTo>
                  <a:lnTo>
                    <a:pt x="133" y="184"/>
                  </a:lnTo>
                  <a:lnTo>
                    <a:pt x="116" y="184"/>
                  </a:lnTo>
                  <a:lnTo>
                    <a:pt x="30" y="32"/>
                  </a:lnTo>
                  <a:close/>
                  <a:moveTo>
                    <a:pt x="49" y="12"/>
                  </a:moveTo>
                  <a:lnTo>
                    <a:pt x="189" y="12"/>
                  </a:lnTo>
                  <a:lnTo>
                    <a:pt x="199" y="27"/>
                  </a:lnTo>
                  <a:lnTo>
                    <a:pt x="57" y="27"/>
                  </a:lnTo>
                  <a:lnTo>
                    <a:pt x="49" y="12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" y="57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4" y="186"/>
                  </a:lnTo>
                  <a:lnTo>
                    <a:pt x="64" y="186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191"/>
                  </a:lnTo>
                  <a:lnTo>
                    <a:pt x="64" y="233"/>
                  </a:lnTo>
                  <a:lnTo>
                    <a:pt x="62" y="236"/>
                  </a:lnTo>
                  <a:lnTo>
                    <a:pt x="62" y="238"/>
                  </a:lnTo>
                  <a:lnTo>
                    <a:pt x="59" y="240"/>
                  </a:lnTo>
                  <a:lnTo>
                    <a:pt x="57" y="243"/>
                  </a:lnTo>
                  <a:lnTo>
                    <a:pt x="54" y="245"/>
                  </a:lnTo>
                  <a:lnTo>
                    <a:pt x="54" y="248"/>
                  </a:lnTo>
                  <a:lnTo>
                    <a:pt x="52" y="250"/>
                  </a:lnTo>
                  <a:lnTo>
                    <a:pt x="52" y="253"/>
                  </a:lnTo>
                  <a:lnTo>
                    <a:pt x="49" y="258"/>
                  </a:lnTo>
                  <a:lnTo>
                    <a:pt x="49" y="260"/>
                  </a:lnTo>
                  <a:lnTo>
                    <a:pt x="49" y="262"/>
                  </a:lnTo>
                  <a:lnTo>
                    <a:pt x="47" y="265"/>
                  </a:lnTo>
                  <a:lnTo>
                    <a:pt x="47" y="270"/>
                  </a:lnTo>
                  <a:lnTo>
                    <a:pt x="47" y="272"/>
                  </a:lnTo>
                  <a:lnTo>
                    <a:pt x="47" y="275"/>
                  </a:lnTo>
                  <a:lnTo>
                    <a:pt x="47" y="280"/>
                  </a:lnTo>
                  <a:lnTo>
                    <a:pt x="47" y="282"/>
                  </a:lnTo>
                  <a:lnTo>
                    <a:pt x="47" y="287"/>
                  </a:lnTo>
                  <a:lnTo>
                    <a:pt x="47" y="289"/>
                  </a:lnTo>
                  <a:lnTo>
                    <a:pt x="47" y="292"/>
                  </a:lnTo>
                  <a:lnTo>
                    <a:pt x="49" y="297"/>
                  </a:lnTo>
                  <a:lnTo>
                    <a:pt x="49" y="299"/>
                  </a:lnTo>
                  <a:lnTo>
                    <a:pt x="52" y="304"/>
                  </a:lnTo>
                  <a:lnTo>
                    <a:pt x="52" y="307"/>
                  </a:lnTo>
                  <a:lnTo>
                    <a:pt x="54" y="309"/>
                  </a:lnTo>
                  <a:lnTo>
                    <a:pt x="54" y="312"/>
                  </a:lnTo>
                  <a:lnTo>
                    <a:pt x="57" y="316"/>
                  </a:lnTo>
                  <a:lnTo>
                    <a:pt x="59" y="319"/>
                  </a:lnTo>
                  <a:lnTo>
                    <a:pt x="59" y="321"/>
                  </a:lnTo>
                  <a:lnTo>
                    <a:pt x="62" y="324"/>
                  </a:lnTo>
                  <a:lnTo>
                    <a:pt x="64" y="326"/>
                  </a:lnTo>
                  <a:lnTo>
                    <a:pt x="67" y="329"/>
                  </a:lnTo>
                  <a:lnTo>
                    <a:pt x="69" y="331"/>
                  </a:lnTo>
                  <a:lnTo>
                    <a:pt x="72" y="334"/>
                  </a:lnTo>
                  <a:lnTo>
                    <a:pt x="74" y="336"/>
                  </a:lnTo>
                  <a:lnTo>
                    <a:pt x="76" y="336"/>
                  </a:lnTo>
                  <a:lnTo>
                    <a:pt x="79" y="338"/>
                  </a:lnTo>
                  <a:lnTo>
                    <a:pt x="84" y="341"/>
                  </a:lnTo>
                  <a:lnTo>
                    <a:pt x="86" y="341"/>
                  </a:lnTo>
                  <a:lnTo>
                    <a:pt x="89" y="343"/>
                  </a:lnTo>
                  <a:lnTo>
                    <a:pt x="91" y="343"/>
                  </a:lnTo>
                  <a:lnTo>
                    <a:pt x="96" y="346"/>
                  </a:lnTo>
                  <a:lnTo>
                    <a:pt x="99" y="346"/>
                  </a:lnTo>
                  <a:lnTo>
                    <a:pt x="101" y="348"/>
                  </a:lnTo>
                  <a:lnTo>
                    <a:pt x="106" y="348"/>
                  </a:lnTo>
                  <a:lnTo>
                    <a:pt x="108" y="348"/>
                  </a:lnTo>
                  <a:lnTo>
                    <a:pt x="113" y="348"/>
                  </a:lnTo>
                  <a:lnTo>
                    <a:pt x="116" y="348"/>
                  </a:lnTo>
                  <a:lnTo>
                    <a:pt x="118" y="348"/>
                  </a:lnTo>
                  <a:lnTo>
                    <a:pt x="123" y="348"/>
                  </a:lnTo>
                  <a:lnTo>
                    <a:pt x="126" y="348"/>
                  </a:lnTo>
                  <a:lnTo>
                    <a:pt x="130" y="348"/>
                  </a:lnTo>
                  <a:lnTo>
                    <a:pt x="133" y="346"/>
                  </a:lnTo>
                  <a:lnTo>
                    <a:pt x="135" y="346"/>
                  </a:lnTo>
                  <a:lnTo>
                    <a:pt x="140" y="343"/>
                  </a:lnTo>
                  <a:lnTo>
                    <a:pt x="143" y="343"/>
                  </a:lnTo>
                  <a:lnTo>
                    <a:pt x="145" y="341"/>
                  </a:lnTo>
                  <a:lnTo>
                    <a:pt x="148" y="341"/>
                  </a:lnTo>
                  <a:lnTo>
                    <a:pt x="153" y="338"/>
                  </a:lnTo>
                  <a:lnTo>
                    <a:pt x="155" y="336"/>
                  </a:lnTo>
                  <a:lnTo>
                    <a:pt x="158" y="336"/>
                  </a:lnTo>
                  <a:lnTo>
                    <a:pt x="160" y="334"/>
                  </a:lnTo>
                  <a:lnTo>
                    <a:pt x="162" y="331"/>
                  </a:lnTo>
                  <a:lnTo>
                    <a:pt x="165" y="329"/>
                  </a:lnTo>
                  <a:lnTo>
                    <a:pt x="167" y="326"/>
                  </a:lnTo>
                  <a:lnTo>
                    <a:pt x="170" y="324"/>
                  </a:lnTo>
                  <a:lnTo>
                    <a:pt x="172" y="321"/>
                  </a:lnTo>
                  <a:lnTo>
                    <a:pt x="172" y="319"/>
                  </a:lnTo>
                  <a:lnTo>
                    <a:pt x="175" y="316"/>
                  </a:lnTo>
                  <a:lnTo>
                    <a:pt x="177" y="312"/>
                  </a:lnTo>
                  <a:lnTo>
                    <a:pt x="177" y="309"/>
                  </a:lnTo>
                  <a:lnTo>
                    <a:pt x="180" y="307"/>
                  </a:lnTo>
                  <a:lnTo>
                    <a:pt x="180" y="304"/>
                  </a:lnTo>
                  <a:lnTo>
                    <a:pt x="182" y="299"/>
                  </a:lnTo>
                  <a:lnTo>
                    <a:pt x="182" y="297"/>
                  </a:lnTo>
                  <a:lnTo>
                    <a:pt x="185" y="292"/>
                  </a:lnTo>
                  <a:lnTo>
                    <a:pt x="185" y="289"/>
                  </a:lnTo>
                  <a:lnTo>
                    <a:pt x="185" y="287"/>
                  </a:lnTo>
                  <a:lnTo>
                    <a:pt x="185" y="282"/>
                  </a:lnTo>
                  <a:lnTo>
                    <a:pt x="185" y="280"/>
                  </a:lnTo>
                  <a:lnTo>
                    <a:pt x="185" y="275"/>
                  </a:lnTo>
                  <a:lnTo>
                    <a:pt x="185" y="272"/>
                  </a:lnTo>
                  <a:lnTo>
                    <a:pt x="185" y="270"/>
                  </a:lnTo>
                  <a:lnTo>
                    <a:pt x="185" y="265"/>
                  </a:lnTo>
                  <a:lnTo>
                    <a:pt x="182" y="262"/>
                  </a:lnTo>
                  <a:lnTo>
                    <a:pt x="182" y="260"/>
                  </a:lnTo>
                  <a:lnTo>
                    <a:pt x="182" y="258"/>
                  </a:lnTo>
                  <a:lnTo>
                    <a:pt x="180" y="253"/>
                  </a:lnTo>
                  <a:lnTo>
                    <a:pt x="180" y="250"/>
                  </a:lnTo>
                  <a:lnTo>
                    <a:pt x="177" y="248"/>
                  </a:lnTo>
                  <a:lnTo>
                    <a:pt x="177" y="245"/>
                  </a:lnTo>
                  <a:lnTo>
                    <a:pt x="175" y="243"/>
                  </a:lnTo>
                  <a:lnTo>
                    <a:pt x="172" y="240"/>
                  </a:lnTo>
                  <a:lnTo>
                    <a:pt x="170" y="238"/>
                  </a:lnTo>
                  <a:lnTo>
                    <a:pt x="170" y="236"/>
                  </a:lnTo>
                  <a:lnTo>
                    <a:pt x="167" y="233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67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6"/>
                  </a:lnTo>
                  <a:lnTo>
                    <a:pt x="165" y="184"/>
                  </a:lnTo>
                  <a:lnTo>
                    <a:pt x="165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0" y="184"/>
                  </a:lnTo>
                  <a:lnTo>
                    <a:pt x="160" y="184"/>
                  </a:lnTo>
                  <a:lnTo>
                    <a:pt x="229" y="64"/>
                  </a:lnTo>
                  <a:lnTo>
                    <a:pt x="229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29" y="59"/>
                  </a:lnTo>
                  <a:lnTo>
                    <a:pt x="229" y="57"/>
                  </a:lnTo>
                  <a:lnTo>
                    <a:pt x="199" y="3"/>
                  </a:lnTo>
                  <a:lnTo>
                    <a:pt x="197" y="3"/>
                  </a:lnTo>
                  <a:lnTo>
                    <a:pt x="197" y="3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1" name="Group 260">
            <a:extLst>
              <a:ext uri="{FF2B5EF4-FFF2-40B4-BE49-F238E27FC236}">
                <a16:creationId xmlns:a16="http://schemas.microsoft.com/office/drawing/2014/main" id="{1254EF0B-3360-4DF1-B46F-A46EC287B0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3358" y="5420393"/>
            <a:ext cx="841375" cy="841375"/>
            <a:chOff x="4405" y="3449"/>
            <a:chExt cx="530" cy="530"/>
          </a:xfrm>
        </p:grpSpPr>
        <p:sp>
          <p:nvSpPr>
            <p:cNvPr id="302" name="AutoShape 259">
              <a:extLst>
                <a:ext uri="{FF2B5EF4-FFF2-40B4-BE49-F238E27FC236}">
                  <a16:creationId xmlns:a16="http://schemas.microsoft.com/office/drawing/2014/main" id="{51B5AF51-DA71-4A67-A3F0-093D1325BB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05" y="3449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261">
              <a:extLst>
                <a:ext uri="{FF2B5EF4-FFF2-40B4-BE49-F238E27FC236}">
                  <a16:creationId xmlns:a16="http://schemas.microsoft.com/office/drawing/2014/main" id="{9F1F3F17-8EC4-49B5-BA92-05EF08165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5" y="3449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2">
              <a:extLst>
                <a:ext uri="{FF2B5EF4-FFF2-40B4-BE49-F238E27FC236}">
                  <a16:creationId xmlns:a16="http://schemas.microsoft.com/office/drawing/2014/main" id="{6E3848E8-3BA4-4ED4-8954-BBC020DAF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3" y="3467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3">
              <a:extLst>
                <a:ext uri="{FF2B5EF4-FFF2-40B4-BE49-F238E27FC236}">
                  <a16:creationId xmlns:a16="http://schemas.microsoft.com/office/drawing/2014/main" id="{F8C853F0-D7CF-4FF4-BB5A-7F30DEA6DA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1" y="3533"/>
              <a:ext cx="241" cy="364"/>
            </a:xfrm>
            <a:custGeom>
              <a:avLst/>
              <a:gdLst>
                <a:gd name="T0" fmla="*/ 100 w 241"/>
                <a:gd name="T1" fmla="*/ 264 h 364"/>
                <a:gd name="T2" fmla="*/ 97 w 241"/>
                <a:gd name="T3" fmla="*/ 269 h 364"/>
                <a:gd name="T4" fmla="*/ 100 w 241"/>
                <a:gd name="T5" fmla="*/ 274 h 364"/>
                <a:gd name="T6" fmla="*/ 105 w 241"/>
                <a:gd name="T7" fmla="*/ 274 h 364"/>
                <a:gd name="T8" fmla="*/ 100 w 241"/>
                <a:gd name="T9" fmla="*/ 313 h 364"/>
                <a:gd name="T10" fmla="*/ 97 w 241"/>
                <a:gd name="T11" fmla="*/ 315 h 364"/>
                <a:gd name="T12" fmla="*/ 97 w 241"/>
                <a:gd name="T13" fmla="*/ 320 h 364"/>
                <a:gd name="T14" fmla="*/ 102 w 241"/>
                <a:gd name="T15" fmla="*/ 323 h 364"/>
                <a:gd name="T16" fmla="*/ 146 w 241"/>
                <a:gd name="T17" fmla="*/ 323 h 364"/>
                <a:gd name="T18" fmla="*/ 148 w 241"/>
                <a:gd name="T19" fmla="*/ 318 h 364"/>
                <a:gd name="T20" fmla="*/ 148 w 241"/>
                <a:gd name="T21" fmla="*/ 313 h 364"/>
                <a:gd name="T22" fmla="*/ 128 w 241"/>
                <a:gd name="T23" fmla="*/ 313 h 364"/>
                <a:gd name="T24" fmla="*/ 125 w 241"/>
                <a:gd name="T25" fmla="*/ 251 h 364"/>
                <a:gd name="T26" fmla="*/ 110 w 241"/>
                <a:gd name="T27" fmla="*/ 351 h 364"/>
                <a:gd name="T28" fmla="*/ 89 w 241"/>
                <a:gd name="T29" fmla="*/ 343 h 364"/>
                <a:gd name="T30" fmla="*/ 72 w 241"/>
                <a:gd name="T31" fmla="*/ 328 h 364"/>
                <a:gd name="T32" fmla="*/ 61 w 241"/>
                <a:gd name="T33" fmla="*/ 308 h 364"/>
                <a:gd name="T34" fmla="*/ 61 w 241"/>
                <a:gd name="T35" fmla="*/ 282 h 364"/>
                <a:gd name="T36" fmla="*/ 69 w 241"/>
                <a:gd name="T37" fmla="*/ 259 h 364"/>
                <a:gd name="T38" fmla="*/ 84 w 241"/>
                <a:gd name="T39" fmla="*/ 244 h 364"/>
                <a:gd name="T40" fmla="*/ 105 w 241"/>
                <a:gd name="T41" fmla="*/ 233 h 364"/>
                <a:gd name="T42" fmla="*/ 130 w 241"/>
                <a:gd name="T43" fmla="*/ 231 h 364"/>
                <a:gd name="T44" fmla="*/ 151 w 241"/>
                <a:gd name="T45" fmla="*/ 241 h 364"/>
                <a:gd name="T46" fmla="*/ 169 w 241"/>
                <a:gd name="T47" fmla="*/ 256 h 364"/>
                <a:gd name="T48" fmla="*/ 179 w 241"/>
                <a:gd name="T49" fmla="*/ 277 h 364"/>
                <a:gd name="T50" fmla="*/ 179 w 241"/>
                <a:gd name="T51" fmla="*/ 300 h 364"/>
                <a:gd name="T52" fmla="*/ 171 w 241"/>
                <a:gd name="T53" fmla="*/ 323 h 364"/>
                <a:gd name="T54" fmla="*/ 156 w 241"/>
                <a:gd name="T55" fmla="*/ 341 h 364"/>
                <a:gd name="T56" fmla="*/ 136 w 241"/>
                <a:gd name="T57" fmla="*/ 351 h 364"/>
                <a:gd name="T58" fmla="*/ 161 w 241"/>
                <a:gd name="T59" fmla="*/ 203 h 364"/>
                <a:gd name="T60" fmla="*/ 146 w 241"/>
                <a:gd name="T61" fmla="*/ 223 h 364"/>
                <a:gd name="T62" fmla="*/ 123 w 241"/>
                <a:gd name="T63" fmla="*/ 218 h 364"/>
                <a:gd name="T64" fmla="*/ 100 w 241"/>
                <a:gd name="T65" fmla="*/ 221 h 364"/>
                <a:gd name="T66" fmla="*/ 82 w 241"/>
                <a:gd name="T67" fmla="*/ 231 h 364"/>
                <a:gd name="T68" fmla="*/ 143 w 241"/>
                <a:gd name="T69" fmla="*/ 174 h 364"/>
                <a:gd name="T70" fmla="*/ 82 w 241"/>
                <a:gd name="T71" fmla="*/ 70 h 364"/>
                <a:gd name="T72" fmla="*/ 223 w 241"/>
                <a:gd name="T73" fmla="*/ 57 h 364"/>
                <a:gd name="T74" fmla="*/ 51 w 241"/>
                <a:gd name="T75" fmla="*/ 13 h 364"/>
                <a:gd name="T76" fmla="*/ 36 w 241"/>
                <a:gd name="T77" fmla="*/ 0 h 364"/>
                <a:gd name="T78" fmla="*/ 0 w 241"/>
                <a:gd name="T79" fmla="*/ 62 h 364"/>
                <a:gd name="T80" fmla="*/ 72 w 241"/>
                <a:gd name="T81" fmla="*/ 192 h 364"/>
                <a:gd name="T82" fmla="*/ 69 w 241"/>
                <a:gd name="T83" fmla="*/ 195 h 364"/>
                <a:gd name="T84" fmla="*/ 64 w 241"/>
                <a:gd name="T85" fmla="*/ 246 h 364"/>
                <a:gd name="T86" fmla="*/ 51 w 241"/>
                <a:gd name="T87" fmla="*/ 269 h 364"/>
                <a:gd name="T88" fmla="*/ 48 w 241"/>
                <a:gd name="T89" fmla="*/ 295 h 364"/>
                <a:gd name="T90" fmla="*/ 56 w 241"/>
                <a:gd name="T91" fmla="*/ 323 h 364"/>
                <a:gd name="T92" fmla="*/ 72 w 241"/>
                <a:gd name="T93" fmla="*/ 346 h 364"/>
                <a:gd name="T94" fmla="*/ 95 w 241"/>
                <a:gd name="T95" fmla="*/ 359 h 364"/>
                <a:gd name="T96" fmla="*/ 123 w 241"/>
                <a:gd name="T97" fmla="*/ 364 h 364"/>
                <a:gd name="T98" fmla="*/ 151 w 241"/>
                <a:gd name="T99" fmla="*/ 356 h 364"/>
                <a:gd name="T100" fmla="*/ 174 w 241"/>
                <a:gd name="T101" fmla="*/ 341 h 364"/>
                <a:gd name="T102" fmla="*/ 187 w 241"/>
                <a:gd name="T103" fmla="*/ 318 h 364"/>
                <a:gd name="T104" fmla="*/ 192 w 241"/>
                <a:gd name="T105" fmla="*/ 287 h 364"/>
                <a:gd name="T106" fmla="*/ 187 w 241"/>
                <a:gd name="T107" fmla="*/ 262 h 364"/>
                <a:gd name="T108" fmla="*/ 174 w 241"/>
                <a:gd name="T109" fmla="*/ 200 h 364"/>
                <a:gd name="T110" fmla="*/ 171 w 241"/>
                <a:gd name="T111" fmla="*/ 195 h 364"/>
                <a:gd name="T112" fmla="*/ 166 w 241"/>
                <a:gd name="T113" fmla="*/ 192 h 364"/>
                <a:gd name="T114" fmla="*/ 238 w 241"/>
                <a:gd name="T115" fmla="*/ 59 h 364"/>
                <a:gd name="T116" fmla="*/ 202 w 241"/>
                <a:gd name="T117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1" h="364">
                  <a:moveTo>
                    <a:pt x="123" y="251"/>
                  </a:moveTo>
                  <a:lnTo>
                    <a:pt x="123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00" y="264"/>
                  </a:lnTo>
                  <a:lnTo>
                    <a:pt x="100" y="264"/>
                  </a:lnTo>
                  <a:lnTo>
                    <a:pt x="100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7"/>
                  </a:lnTo>
                  <a:lnTo>
                    <a:pt x="97" y="267"/>
                  </a:lnTo>
                  <a:lnTo>
                    <a:pt x="97" y="267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4"/>
                  </a:lnTo>
                  <a:lnTo>
                    <a:pt x="100" y="274"/>
                  </a:lnTo>
                  <a:lnTo>
                    <a:pt x="100" y="274"/>
                  </a:lnTo>
                  <a:lnTo>
                    <a:pt x="100" y="274"/>
                  </a:lnTo>
                  <a:lnTo>
                    <a:pt x="100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5" y="274"/>
                  </a:lnTo>
                  <a:lnTo>
                    <a:pt x="105" y="274"/>
                  </a:lnTo>
                  <a:lnTo>
                    <a:pt x="105" y="274"/>
                  </a:lnTo>
                  <a:lnTo>
                    <a:pt x="105" y="274"/>
                  </a:lnTo>
                  <a:lnTo>
                    <a:pt x="118" y="267"/>
                  </a:lnTo>
                  <a:lnTo>
                    <a:pt x="118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2" y="313"/>
                  </a:lnTo>
                  <a:lnTo>
                    <a:pt x="100" y="313"/>
                  </a:lnTo>
                  <a:lnTo>
                    <a:pt x="100" y="313"/>
                  </a:lnTo>
                  <a:lnTo>
                    <a:pt x="100" y="313"/>
                  </a:lnTo>
                  <a:lnTo>
                    <a:pt x="100" y="313"/>
                  </a:lnTo>
                  <a:lnTo>
                    <a:pt x="97" y="313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8"/>
                  </a:lnTo>
                  <a:lnTo>
                    <a:pt x="97" y="318"/>
                  </a:lnTo>
                  <a:lnTo>
                    <a:pt x="97" y="318"/>
                  </a:lnTo>
                  <a:lnTo>
                    <a:pt x="97" y="318"/>
                  </a:lnTo>
                  <a:lnTo>
                    <a:pt x="97" y="318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3"/>
                  </a:lnTo>
                  <a:lnTo>
                    <a:pt x="100" y="323"/>
                  </a:lnTo>
                  <a:lnTo>
                    <a:pt x="100" y="323"/>
                  </a:lnTo>
                  <a:lnTo>
                    <a:pt x="100" y="323"/>
                  </a:lnTo>
                  <a:lnTo>
                    <a:pt x="100" y="323"/>
                  </a:lnTo>
                  <a:lnTo>
                    <a:pt x="102" y="323"/>
                  </a:lnTo>
                  <a:lnTo>
                    <a:pt x="102" y="323"/>
                  </a:lnTo>
                  <a:lnTo>
                    <a:pt x="102" y="323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6" y="323"/>
                  </a:lnTo>
                  <a:lnTo>
                    <a:pt x="146" y="323"/>
                  </a:lnTo>
                  <a:lnTo>
                    <a:pt x="146" y="323"/>
                  </a:lnTo>
                  <a:lnTo>
                    <a:pt x="146" y="323"/>
                  </a:lnTo>
                  <a:lnTo>
                    <a:pt x="148" y="323"/>
                  </a:lnTo>
                  <a:lnTo>
                    <a:pt x="148" y="323"/>
                  </a:lnTo>
                  <a:lnTo>
                    <a:pt x="148" y="320"/>
                  </a:lnTo>
                  <a:lnTo>
                    <a:pt x="148" y="320"/>
                  </a:lnTo>
                  <a:lnTo>
                    <a:pt x="148" y="320"/>
                  </a:lnTo>
                  <a:lnTo>
                    <a:pt x="148" y="320"/>
                  </a:lnTo>
                  <a:lnTo>
                    <a:pt x="148" y="318"/>
                  </a:lnTo>
                  <a:lnTo>
                    <a:pt x="148" y="318"/>
                  </a:lnTo>
                  <a:lnTo>
                    <a:pt x="148" y="318"/>
                  </a:lnTo>
                  <a:lnTo>
                    <a:pt x="148" y="318"/>
                  </a:lnTo>
                  <a:lnTo>
                    <a:pt x="148" y="318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8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3" y="313"/>
                  </a:lnTo>
                  <a:lnTo>
                    <a:pt x="143" y="313"/>
                  </a:lnTo>
                  <a:lnTo>
                    <a:pt x="143" y="313"/>
                  </a:lnTo>
                  <a:lnTo>
                    <a:pt x="128" y="313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3" y="251"/>
                  </a:lnTo>
                  <a:lnTo>
                    <a:pt x="123" y="251"/>
                  </a:lnTo>
                  <a:close/>
                  <a:moveTo>
                    <a:pt x="118" y="351"/>
                  </a:moveTo>
                  <a:lnTo>
                    <a:pt x="115" y="351"/>
                  </a:lnTo>
                  <a:lnTo>
                    <a:pt x="110" y="351"/>
                  </a:lnTo>
                  <a:lnTo>
                    <a:pt x="107" y="351"/>
                  </a:lnTo>
                  <a:lnTo>
                    <a:pt x="105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97" y="349"/>
                  </a:lnTo>
                  <a:lnTo>
                    <a:pt x="95" y="346"/>
                  </a:lnTo>
                  <a:lnTo>
                    <a:pt x="92" y="346"/>
                  </a:lnTo>
                  <a:lnTo>
                    <a:pt x="89" y="343"/>
                  </a:lnTo>
                  <a:lnTo>
                    <a:pt x="87" y="341"/>
                  </a:lnTo>
                  <a:lnTo>
                    <a:pt x="84" y="341"/>
                  </a:lnTo>
                  <a:lnTo>
                    <a:pt x="82" y="338"/>
                  </a:lnTo>
                  <a:lnTo>
                    <a:pt x="79" y="336"/>
                  </a:lnTo>
                  <a:lnTo>
                    <a:pt x="77" y="336"/>
                  </a:lnTo>
                  <a:lnTo>
                    <a:pt x="77" y="333"/>
                  </a:lnTo>
                  <a:lnTo>
                    <a:pt x="74" y="331"/>
                  </a:lnTo>
                  <a:lnTo>
                    <a:pt x="72" y="328"/>
                  </a:lnTo>
                  <a:lnTo>
                    <a:pt x="72" y="326"/>
                  </a:lnTo>
                  <a:lnTo>
                    <a:pt x="69" y="323"/>
                  </a:lnTo>
                  <a:lnTo>
                    <a:pt x="66" y="320"/>
                  </a:lnTo>
                  <a:lnTo>
                    <a:pt x="66" y="318"/>
                  </a:lnTo>
                  <a:lnTo>
                    <a:pt x="64" y="315"/>
                  </a:lnTo>
                  <a:lnTo>
                    <a:pt x="64" y="313"/>
                  </a:lnTo>
                  <a:lnTo>
                    <a:pt x="64" y="310"/>
                  </a:lnTo>
                  <a:lnTo>
                    <a:pt x="61" y="308"/>
                  </a:lnTo>
                  <a:lnTo>
                    <a:pt x="61" y="305"/>
                  </a:lnTo>
                  <a:lnTo>
                    <a:pt x="61" y="300"/>
                  </a:lnTo>
                  <a:lnTo>
                    <a:pt x="61" y="297"/>
                  </a:lnTo>
                  <a:lnTo>
                    <a:pt x="61" y="295"/>
                  </a:lnTo>
                  <a:lnTo>
                    <a:pt x="61" y="292"/>
                  </a:lnTo>
                  <a:lnTo>
                    <a:pt x="61" y="290"/>
                  </a:lnTo>
                  <a:lnTo>
                    <a:pt x="61" y="285"/>
                  </a:lnTo>
                  <a:lnTo>
                    <a:pt x="61" y="282"/>
                  </a:lnTo>
                  <a:lnTo>
                    <a:pt x="61" y="279"/>
                  </a:lnTo>
                  <a:lnTo>
                    <a:pt x="61" y="277"/>
                  </a:lnTo>
                  <a:lnTo>
                    <a:pt x="64" y="274"/>
                  </a:lnTo>
                  <a:lnTo>
                    <a:pt x="64" y="272"/>
                  </a:lnTo>
                  <a:lnTo>
                    <a:pt x="64" y="269"/>
                  </a:lnTo>
                  <a:lnTo>
                    <a:pt x="66" y="267"/>
                  </a:lnTo>
                  <a:lnTo>
                    <a:pt x="66" y="262"/>
                  </a:lnTo>
                  <a:lnTo>
                    <a:pt x="69" y="259"/>
                  </a:lnTo>
                  <a:lnTo>
                    <a:pt x="72" y="259"/>
                  </a:lnTo>
                  <a:lnTo>
                    <a:pt x="72" y="256"/>
                  </a:lnTo>
                  <a:lnTo>
                    <a:pt x="74" y="254"/>
                  </a:lnTo>
                  <a:lnTo>
                    <a:pt x="77" y="251"/>
                  </a:lnTo>
                  <a:lnTo>
                    <a:pt x="77" y="249"/>
                  </a:lnTo>
                  <a:lnTo>
                    <a:pt x="79" y="246"/>
                  </a:lnTo>
                  <a:lnTo>
                    <a:pt x="82" y="246"/>
                  </a:lnTo>
                  <a:lnTo>
                    <a:pt x="84" y="244"/>
                  </a:lnTo>
                  <a:lnTo>
                    <a:pt x="87" y="241"/>
                  </a:lnTo>
                  <a:lnTo>
                    <a:pt x="89" y="241"/>
                  </a:lnTo>
                  <a:lnTo>
                    <a:pt x="92" y="239"/>
                  </a:lnTo>
                  <a:lnTo>
                    <a:pt x="95" y="236"/>
                  </a:lnTo>
                  <a:lnTo>
                    <a:pt x="97" y="236"/>
                  </a:lnTo>
                  <a:lnTo>
                    <a:pt x="100" y="236"/>
                  </a:lnTo>
                  <a:lnTo>
                    <a:pt x="102" y="233"/>
                  </a:lnTo>
                  <a:lnTo>
                    <a:pt x="105" y="233"/>
                  </a:lnTo>
                  <a:lnTo>
                    <a:pt x="107" y="233"/>
                  </a:lnTo>
                  <a:lnTo>
                    <a:pt x="110" y="231"/>
                  </a:lnTo>
                  <a:lnTo>
                    <a:pt x="115" y="231"/>
                  </a:lnTo>
                  <a:lnTo>
                    <a:pt x="118" y="231"/>
                  </a:lnTo>
                  <a:lnTo>
                    <a:pt x="120" y="231"/>
                  </a:lnTo>
                  <a:lnTo>
                    <a:pt x="123" y="231"/>
                  </a:lnTo>
                  <a:lnTo>
                    <a:pt x="125" y="231"/>
                  </a:lnTo>
                  <a:lnTo>
                    <a:pt x="130" y="231"/>
                  </a:lnTo>
                  <a:lnTo>
                    <a:pt x="133" y="233"/>
                  </a:lnTo>
                  <a:lnTo>
                    <a:pt x="136" y="233"/>
                  </a:lnTo>
                  <a:lnTo>
                    <a:pt x="138" y="233"/>
                  </a:lnTo>
                  <a:lnTo>
                    <a:pt x="141" y="236"/>
                  </a:lnTo>
                  <a:lnTo>
                    <a:pt x="143" y="236"/>
                  </a:lnTo>
                  <a:lnTo>
                    <a:pt x="146" y="236"/>
                  </a:lnTo>
                  <a:lnTo>
                    <a:pt x="148" y="239"/>
                  </a:lnTo>
                  <a:lnTo>
                    <a:pt x="151" y="241"/>
                  </a:lnTo>
                  <a:lnTo>
                    <a:pt x="153" y="241"/>
                  </a:lnTo>
                  <a:lnTo>
                    <a:pt x="156" y="244"/>
                  </a:lnTo>
                  <a:lnTo>
                    <a:pt x="159" y="246"/>
                  </a:lnTo>
                  <a:lnTo>
                    <a:pt x="161" y="246"/>
                  </a:lnTo>
                  <a:lnTo>
                    <a:pt x="164" y="249"/>
                  </a:lnTo>
                  <a:lnTo>
                    <a:pt x="164" y="251"/>
                  </a:lnTo>
                  <a:lnTo>
                    <a:pt x="166" y="254"/>
                  </a:lnTo>
                  <a:lnTo>
                    <a:pt x="169" y="256"/>
                  </a:lnTo>
                  <a:lnTo>
                    <a:pt x="169" y="259"/>
                  </a:lnTo>
                  <a:lnTo>
                    <a:pt x="171" y="259"/>
                  </a:lnTo>
                  <a:lnTo>
                    <a:pt x="174" y="262"/>
                  </a:lnTo>
                  <a:lnTo>
                    <a:pt x="174" y="267"/>
                  </a:lnTo>
                  <a:lnTo>
                    <a:pt x="177" y="269"/>
                  </a:lnTo>
                  <a:lnTo>
                    <a:pt x="177" y="272"/>
                  </a:lnTo>
                  <a:lnTo>
                    <a:pt x="177" y="274"/>
                  </a:lnTo>
                  <a:lnTo>
                    <a:pt x="179" y="277"/>
                  </a:lnTo>
                  <a:lnTo>
                    <a:pt x="179" y="279"/>
                  </a:lnTo>
                  <a:lnTo>
                    <a:pt x="179" y="282"/>
                  </a:lnTo>
                  <a:lnTo>
                    <a:pt x="179" y="285"/>
                  </a:lnTo>
                  <a:lnTo>
                    <a:pt x="179" y="290"/>
                  </a:lnTo>
                  <a:lnTo>
                    <a:pt x="179" y="292"/>
                  </a:lnTo>
                  <a:lnTo>
                    <a:pt x="179" y="295"/>
                  </a:lnTo>
                  <a:lnTo>
                    <a:pt x="179" y="297"/>
                  </a:lnTo>
                  <a:lnTo>
                    <a:pt x="179" y="300"/>
                  </a:lnTo>
                  <a:lnTo>
                    <a:pt x="179" y="305"/>
                  </a:lnTo>
                  <a:lnTo>
                    <a:pt x="179" y="308"/>
                  </a:lnTo>
                  <a:lnTo>
                    <a:pt x="177" y="310"/>
                  </a:lnTo>
                  <a:lnTo>
                    <a:pt x="177" y="313"/>
                  </a:lnTo>
                  <a:lnTo>
                    <a:pt x="177" y="315"/>
                  </a:lnTo>
                  <a:lnTo>
                    <a:pt x="174" y="318"/>
                  </a:lnTo>
                  <a:lnTo>
                    <a:pt x="174" y="320"/>
                  </a:lnTo>
                  <a:lnTo>
                    <a:pt x="171" y="323"/>
                  </a:lnTo>
                  <a:lnTo>
                    <a:pt x="169" y="326"/>
                  </a:lnTo>
                  <a:lnTo>
                    <a:pt x="169" y="328"/>
                  </a:lnTo>
                  <a:lnTo>
                    <a:pt x="166" y="331"/>
                  </a:lnTo>
                  <a:lnTo>
                    <a:pt x="164" y="333"/>
                  </a:lnTo>
                  <a:lnTo>
                    <a:pt x="164" y="336"/>
                  </a:lnTo>
                  <a:lnTo>
                    <a:pt x="161" y="336"/>
                  </a:lnTo>
                  <a:lnTo>
                    <a:pt x="159" y="338"/>
                  </a:lnTo>
                  <a:lnTo>
                    <a:pt x="156" y="341"/>
                  </a:lnTo>
                  <a:lnTo>
                    <a:pt x="153" y="341"/>
                  </a:lnTo>
                  <a:lnTo>
                    <a:pt x="151" y="343"/>
                  </a:lnTo>
                  <a:lnTo>
                    <a:pt x="148" y="346"/>
                  </a:lnTo>
                  <a:lnTo>
                    <a:pt x="146" y="346"/>
                  </a:lnTo>
                  <a:lnTo>
                    <a:pt x="143" y="349"/>
                  </a:lnTo>
                  <a:lnTo>
                    <a:pt x="141" y="349"/>
                  </a:lnTo>
                  <a:lnTo>
                    <a:pt x="138" y="349"/>
                  </a:lnTo>
                  <a:lnTo>
                    <a:pt x="136" y="351"/>
                  </a:lnTo>
                  <a:lnTo>
                    <a:pt x="133" y="351"/>
                  </a:lnTo>
                  <a:lnTo>
                    <a:pt x="130" y="351"/>
                  </a:lnTo>
                  <a:lnTo>
                    <a:pt x="125" y="351"/>
                  </a:lnTo>
                  <a:lnTo>
                    <a:pt x="123" y="351"/>
                  </a:lnTo>
                  <a:lnTo>
                    <a:pt x="120" y="351"/>
                  </a:lnTo>
                  <a:lnTo>
                    <a:pt x="118" y="351"/>
                  </a:lnTo>
                  <a:close/>
                  <a:moveTo>
                    <a:pt x="79" y="203"/>
                  </a:moveTo>
                  <a:lnTo>
                    <a:pt x="161" y="203"/>
                  </a:lnTo>
                  <a:lnTo>
                    <a:pt x="161" y="231"/>
                  </a:lnTo>
                  <a:lnTo>
                    <a:pt x="159" y="231"/>
                  </a:lnTo>
                  <a:lnTo>
                    <a:pt x="156" y="228"/>
                  </a:lnTo>
                  <a:lnTo>
                    <a:pt x="153" y="228"/>
                  </a:lnTo>
                  <a:lnTo>
                    <a:pt x="153" y="226"/>
                  </a:lnTo>
                  <a:lnTo>
                    <a:pt x="151" y="226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3" y="223"/>
                  </a:lnTo>
                  <a:lnTo>
                    <a:pt x="141" y="221"/>
                  </a:lnTo>
                  <a:lnTo>
                    <a:pt x="138" y="221"/>
                  </a:lnTo>
                  <a:lnTo>
                    <a:pt x="133" y="221"/>
                  </a:lnTo>
                  <a:lnTo>
                    <a:pt x="130" y="221"/>
                  </a:lnTo>
                  <a:lnTo>
                    <a:pt x="128" y="221"/>
                  </a:lnTo>
                  <a:lnTo>
                    <a:pt x="125" y="218"/>
                  </a:lnTo>
                  <a:lnTo>
                    <a:pt x="123" y="218"/>
                  </a:lnTo>
                  <a:lnTo>
                    <a:pt x="120" y="218"/>
                  </a:lnTo>
                  <a:lnTo>
                    <a:pt x="118" y="218"/>
                  </a:lnTo>
                  <a:lnTo>
                    <a:pt x="115" y="218"/>
                  </a:lnTo>
                  <a:lnTo>
                    <a:pt x="112" y="221"/>
                  </a:lnTo>
                  <a:lnTo>
                    <a:pt x="110" y="221"/>
                  </a:lnTo>
                  <a:lnTo>
                    <a:pt x="107" y="221"/>
                  </a:lnTo>
                  <a:lnTo>
                    <a:pt x="102" y="221"/>
                  </a:lnTo>
                  <a:lnTo>
                    <a:pt x="100" y="221"/>
                  </a:lnTo>
                  <a:lnTo>
                    <a:pt x="97" y="223"/>
                  </a:lnTo>
                  <a:lnTo>
                    <a:pt x="95" y="223"/>
                  </a:lnTo>
                  <a:lnTo>
                    <a:pt x="92" y="223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7" y="228"/>
                  </a:lnTo>
                  <a:lnTo>
                    <a:pt x="84" y="228"/>
                  </a:lnTo>
                  <a:lnTo>
                    <a:pt x="82" y="231"/>
                  </a:lnTo>
                  <a:lnTo>
                    <a:pt x="79" y="231"/>
                  </a:lnTo>
                  <a:lnTo>
                    <a:pt x="79" y="203"/>
                  </a:lnTo>
                  <a:close/>
                  <a:moveTo>
                    <a:pt x="128" y="146"/>
                  </a:moveTo>
                  <a:lnTo>
                    <a:pt x="171" y="70"/>
                  </a:lnTo>
                  <a:lnTo>
                    <a:pt x="189" y="70"/>
                  </a:lnTo>
                  <a:lnTo>
                    <a:pt x="136" y="164"/>
                  </a:lnTo>
                  <a:lnTo>
                    <a:pt x="128" y="146"/>
                  </a:lnTo>
                  <a:close/>
                  <a:moveTo>
                    <a:pt x="143" y="174"/>
                  </a:moveTo>
                  <a:lnTo>
                    <a:pt x="205" y="70"/>
                  </a:lnTo>
                  <a:lnTo>
                    <a:pt x="223" y="70"/>
                  </a:lnTo>
                  <a:lnTo>
                    <a:pt x="153" y="192"/>
                  </a:lnTo>
                  <a:lnTo>
                    <a:pt x="143" y="174"/>
                  </a:lnTo>
                  <a:close/>
                  <a:moveTo>
                    <a:pt x="82" y="70"/>
                  </a:moveTo>
                  <a:lnTo>
                    <a:pt x="159" y="70"/>
                  </a:lnTo>
                  <a:lnTo>
                    <a:pt x="120" y="134"/>
                  </a:lnTo>
                  <a:lnTo>
                    <a:pt x="82" y="70"/>
                  </a:lnTo>
                  <a:close/>
                  <a:moveTo>
                    <a:pt x="13" y="64"/>
                  </a:moveTo>
                  <a:lnTo>
                    <a:pt x="23" y="46"/>
                  </a:lnTo>
                  <a:lnTo>
                    <a:pt x="107" y="192"/>
                  </a:lnTo>
                  <a:lnTo>
                    <a:pt x="87" y="192"/>
                  </a:lnTo>
                  <a:lnTo>
                    <a:pt x="13" y="64"/>
                  </a:lnTo>
                  <a:close/>
                  <a:moveTo>
                    <a:pt x="66" y="41"/>
                  </a:moveTo>
                  <a:lnTo>
                    <a:pt x="212" y="41"/>
                  </a:lnTo>
                  <a:lnTo>
                    <a:pt x="223" y="57"/>
                  </a:lnTo>
                  <a:lnTo>
                    <a:pt x="77" y="57"/>
                  </a:lnTo>
                  <a:lnTo>
                    <a:pt x="66" y="41"/>
                  </a:lnTo>
                  <a:close/>
                  <a:moveTo>
                    <a:pt x="31" y="34"/>
                  </a:moveTo>
                  <a:lnTo>
                    <a:pt x="41" y="18"/>
                  </a:lnTo>
                  <a:lnTo>
                    <a:pt x="138" y="192"/>
                  </a:lnTo>
                  <a:lnTo>
                    <a:pt x="120" y="192"/>
                  </a:lnTo>
                  <a:lnTo>
                    <a:pt x="31" y="34"/>
                  </a:lnTo>
                  <a:close/>
                  <a:moveTo>
                    <a:pt x="51" y="13"/>
                  </a:moveTo>
                  <a:lnTo>
                    <a:pt x="197" y="13"/>
                  </a:lnTo>
                  <a:lnTo>
                    <a:pt x="207" y="29"/>
                  </a:lnTo>
                  <a:lnTo>
                    <a:pt x="59" y="29"/>
                  </a:lnTo>
                  <a:lnTo>
                    <a:pt x="51" y="13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7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69" y="192"/>
                  </a:lnTo>
                  <a:lnTo>
                    <a:pt x="69" y="192"/>
                  </a:lnTo>
                  <a:lnTo>
                    <a:pt x="69" y="195"/>
                  </a:lnTo>
                  <a:lnTo>
                    <a:pt x="69" y="195"/>
                  </a:lnTo>
                  <a:lnTo>
                    <a:pt x="69" y="195"/>
                  </a:lnTo>
                  <a:lnTo>
                    <a:pt x="66" y="195"/>
                  </a:lnTo>
                  <a:lnTo>
                    <a:pt x="66" y="195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6" y="200"/>
                  </a:lnTo>
                  <a:lnTo>
                    <a:pt x="66" y="244"/>
                  </a:lnTo>
                  <a:lnTo>
                    <a:pt x="64" y="246"/>
                  </a:lnTo>
                  <a:lnTo>
                    <a:pt x="64" y="249"/>
                  </a:lnTo>
                  <a:lnTo>
                    <a:pt x="61" y="251"/>
                  </a:lnTo>
                  <a:lnTo>
                    <a:pt x="59" y="254"/>
                  </a:lnTo>
                  <a:lnTo>
                    <a:pt x="56" y="256"/>
                  </a:lnTo>
                  <a:lnTo>
                    <a:pt x="56" y="259"/>
                  </a:lnTo>
                  <a:lnTo>
                    <a:pt x="54" y="262"/>
                  </a:lnTo>
                  <a:lnTo>
                    <a:pt x="54" y="264"/>
                  </a:lnTo>
                  <a:lnTo>
                    <a:pt x="51" y="269"/>
                  </a:lnTo>
                  <a:lnTo>
                    <a:pt x="51" y="272"/>
                  </a:lnTo>
                  <a:lnTo>
                    <a:pt x="51" y="274"/>
                  </a:lnTo>
                  <a:lnTo>
                    <a:pt x="48" y="277"/>
                  </a:lnTo>
                  <a:lnTo>
                    <a:pt x="48" y="282"/>
                  </a:lnTo>
                  <a:lnTo>
                    <a:pt x="48" y="285"/>
                  </a:lnTo>
                  <a:lnTo>
                    <a:pt x="48" y="287"/>
                  </a:lnTo>
                  <a:lnTo>
                    <a:pt x="48" y="292"/>
                  </a:lnTo>
                  <a:lnTo>
                    <a:pt x="48" y="295"/>
                  </a:lnTo>
                  <a:lnTo>
                    <a:pt x="48" y="300"/>
                  </a:lnTo>
                  <a:lnTo>
                    <a:pt x="48" y="303"/>
                  </a:lnTo>
                  <a:lnTo>
                    <a:pt x="48" y="305"/>
                  </a:lnTo>
                  <a:lnTo>
                    <a:pt x="51" y="310"/>
                  </a:lnTo>
                  <a:lnTo>
                    <a:pt x="51" y="313"/>
                  </a:lnTo>
                  <a:lnTo>
                    <a:pt x="54" y="318"/>
                  </a:lnTo>
                  <a:lnTo>
                    <a:pt x="54" y="320"/>
                  </a:lnTo>
                  <a:lnTo>
                    <a:pt x="56" y="323"/>
                  </a:lnTo>
                  <a:lnTo>
                    <a:pt x="56" y="326"/>
                  </a:lnTo>
                  <a:lnTo>
                    <a:pt x="59" y="331"/>
                  </a:lnTo>
                  <a:lnTo>
                    <a:pt x="61" y="333"/>
                  </a:lnTo>
                  <a:lnTo>
                    <a:pt x="61" y="336"/>
                  </a:lnTo>
                  <a:lnTo>
                    <a:pt x="64" y="338"/>
                  </a:lnTo>
                  <a:lnTo>
                    <a:pt x="66" y="341"/>
                  </a:lnTo>
                  <a:lnTo>
                    <a:pt x="69" y="343"/>
                  </a:lnTo>
                  <a:lnTo>
                    <a:pt x="72" y="346"/>
                  </a:lnTo>
                  <a:lnTo>
                    <a:pt x="74" y="349"/>
                  </a:lnTo>
                  <a:lnTo>
                    <a:pt x="77" y="351"/>
                  </a:lnTo>
                  <a:lnTo>
                    <a:pt x="79" y="351"/>
                  </a:lnTo>
                  <a:lnTo>
                    <a:pt x="82" y="354"/>
                  </a:lnTo>
                  <a:lnTo>
                    <a:pt x="87" y="356"/>
                  </a:lnTo>
                  <a:lnTo>
                    <a:pt x="89" y="356"/>
                  </a:lnTo>
                  <a:lnTo>
                    <a:pt x="92" y="359"/>
                  </a:lnTo>
                  <a:lnTo>
                    <a:pt x="95" y="359"/>
                  </a:lnTo>
                  <a:lnTo>
                    <a:pt x="100" y="361"/>
                  </a:lnTo>
                  <a:lnTo>
                    <a:pt x="102" y="361"/>
                  </a:lnTo>
                  <a:lnTo>
                    <a:pt x="105" y="364"/>
                  </a:lnTo>
                  <a:lnTo>
                    <a:pt x="110" y="364"/>
                  </a:lnTo>
                  <a:lnTo>
                    <a:pt x="112" y="364"/>
                  </a:lnTo>
                  <a:lnTo>
                    <a:pt x="118" y="364"/>
                  </a:lnTo>
                  <a:lnTo>
                    <a:pt x="120" y="364"/>
                  </a:lnTo>
                  <a:lnTo>
                    <a:pt x="123" y="364"/>
                  </a:lnTo>
                  <a:lnTo>
                    <a:pt x="128" y="364"/>
                  </a:lnTo>
                  <a:lnTo>
                    <a:pt x="130" y="364"/>
                  </a:lnTo>
                  <a:lnTo>
                    <a:pt x="136" y="364"/>
                  </a:lnTo>
                  <a:lnTo>
                    <a:pt x="138" y="361"/>
                  </a:lnTo>
                  <a:lnTo>
                    <a:pt x="141" y="361"/>
                  </a:lnTo>
                  <a:lnTo>
                    <a:pt x="146" y="359"/>
                  </a:lnTo>
                  <a:lnTo>
                    <a:pt x="148" y="359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9" y="354"/>
                  </a:lnTo>
                  <a:lnTo>
                    <a:pt x="161" y="351"/>
                  </a:lnTo>
                  <a:lnTo>
                    <a:pt x="164" y="351"/>
                  </a:lnTo>
                  <a:lnTo>
                    <a:pt x="166" y="349"/>
                  </a:lnTo>
                  <a:lnTo>
                    <a:pt x="169" y="346"/>
                  </a:lnTo>
                  <a:lnTo>
                    <a:pt x="171" y="343"/>
                  </a:lnTo>
                  <a:lnTo>
                    <a:pt x="174" y="341"/>
                  </a:lnTo>
                  <a:lnTo>
                    <a:pt x="177" y="338"/>
                  </a:lnTo>
                  <a:lnTo>
                    <a:pt x="179" y="336"/>
                  </a:lnTo>
                  <a:lnTo>
                    <a:pt x="179" y="333"/>
                  </a:lnTo>
                  <a:lnTo>
                    <a:pt x="182" y="331"/>
                  </a:lnTo>
                  <a:lnTo>
                    <a:pt x="184" y="326"/>
                  </a:lnTo>
                  <a:lnTo>
                    <a:pt x="184" y="323"/>
                  </a:lnTo>
                  <a:lnTo>
                    <a:pt x="187" y="320"/>
                  </a:lnTo>
                  <a:lnTo>
                    <a:pt x="187" y="318"/>
                  </a:lnTo>
                  <a:lnTo>
                    <a:pt x="189" y="313"/>
                  </a:lnTo>
                  <a:lnTo>
                    <a:pt x="189" y="310"/>
                  </a:lnTo>
                  <a:lnTo>
                    <a:pt x="192" y="305"/>
                  </a:lnTo>
                  <a:lnTo>
                    <a:pt x="192" y="303"/>
                  </a:lnTo>
                  <a:lnTo>
                    <a:pt x="192" y="300"/>
                  </a:lnTo>
                  <a:lnTo>
                    <a:pt x="192" y="295"/>
                  </a:lnTo>
                  <a:lnTo>
                    <a:pt x="192" y="292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2"/>
                  </a:lnTo>
                  <a:lnTo>
                    <a:pt x="192" y="277"/>
                  </a:lnTo>
                  <a:lnTo>
                    <a:pt x="189" y="274"/>
                  </a:lnTo>
                  <a:lnTo>
                    <a:pt x="189" y="272"/>
                  </a:lnTo>
                  <a:lnTo>
                    <a:pt x="189" y="269"/>
                  </a:lnTo>
                  <a:lnTo>
                    <a:pt x="187" y="264"/>
                  </a:lnTo>
                  <a:lnTo>
                    <a:pt x="187" y="262"/>
                  </a:lnTo>
                  <a:lnTo>
                    <a:pt x="184" y="259"/>
                  </a:lnTo>
                  <a:lnTo>
                    <a:pt x="184" y="256"/>
                  </a:lnTo>
                  <a:lnTo>
                    <a:pt x="182" y="254"/>
                  </a:lnTo>
                  <a:lnTo>
                    <a:pt x="179" y="251"/>
                  </a:lnTo>
                  <a:lnTo>
                    <a:pt x="177" y="249"/>
                  </a:lnTo>
                  <a:lnTo>
                    <a:pt x="177" y="246"/>
                  </a:lnTo>
                  <a:lnTo>
                    <a:pt x="174" y="244"/>
                  </a:lnTo>
                  <a:lnTo>
                    <a:pt x="174" y="200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198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1" y="195"/>
                  </a:lnTo>
                  <a:lnTo>
                    <a:pt x="171" y="195"/>
                  </a:lnTo>
                  <a:lnTo>
                    <a:pt x="171" y="195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69" y="192"/>
                  </a:lnTo>
                  <a:lnTo>
                    <a:pt x="169" y="192"/>
                  </a:lnTo>
                  <a:lnTo>
                    <a:pt x="169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238" y="67"/>
                  </a:lnTo>
                  <a:lnTo>
                    <a:pt x="238" y="64"/>
                  </a:lnTo>
                  <a:lnTo>
                    <a:pt x="241" y="64"/>
                  </a:lnTo>
                  <a:lnTo>
                    <a:pt x="241" y="64"/>
                  </a:lnTo>
                  <a:lnTo>
                    <a:pt x="241" y="62"/>
                  </a:lnTo>
                  <a:lnTo>
                    <a:pt x="241" y="62"/>
                  </a:lnTo>
                  <a:lnTo>
                    <a:pt x="238" y="62"/>
                  </a:lnTo>
                  <a:lnTo>
                    <a:pt x="238" y="59"/>
                  </a:lnTo>
                  <a:lnTo>
                    <a:pt x="207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119529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35ED5D-B63F-414F-B8CB-96959E8FC4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855265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d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per Pla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7" name="Group 4">
            <a:extLst>
              <a:ext uri="{FF2B5EF4-FFF2-40B4-BE49-F238E27FC236}">
                <a16:creationId xmlns:a16="http://schemas.microsoft.com/office/drawing/2014/main" id="{97643D42-4DF0-4515-ABAC-53CA853FD3B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62075" y="344488"/>
            <a:ext cx="760413" cy="758825"/>
            <a:chOff x="858" y="201"/>
            <a:chExt cx="479" cy="478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6898907F-E104-41AE-B462-C689E64AC5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58" y="201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D21066-29A3-4940-8C64-13CB814F05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" y="203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0BEDEC4-6422-4D52-B483-F5E6858C10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" y="292"/>
              <a:ext cx="314" cy="299"/>
            </a:xfrm>
            <a:custGeom>
              <a:avLst/>
              <a:gdLst>
                <a:gd name="T0" fmla="*/ 45 w 128"/>
                <a:gd name="T1" fmla="*/ 84 h 122"/>
                <a:gd name="T2" fmla="*/ 83 w 128"/>
                <a:gd name="T3" fmla="*/ 84 h 122"/>
                <a:gd name="T4" fmla="*/ 64 w 128"/>
                <a:gd name="T5" fmla="*/ 61 h 122"/>
                <a:gd name="T6" fmla="*/ 64 w 128"/>
                <a:gd name="T7" fmla="*/ 108 h 122"/>
                <a:gd name="T8" fmla="*/ 64 w 128"/>
                <a:gd name="T9" fmla="*/ 61 h 122"/>
                <a:gd name="T10" fmla="*/ 112 w 128"/>
                <a:gd name="T11" fmla="*/ 99 h 122"/>
                <a:gd name="T12" fmla="*/ 111 w 128"/>
                <a:gd name="T13" fmla="*/ 103 h 122"/>
                <a:gd name="T14" fmla="*/ 119 w 128"/>
                <a:gd name="T15" fmla="*/ 106 h 122"/>
                <a:gd name="T16" fmla="*/ 120 w 128"/>
                <a:gd name="T17" fmla="*/ 101 h 122"/>
                <a:gd name="T18" fmla="*/ 112 w 128"/>
                <a:gd name="T19" fmla="*/ 70 h 122"/>
                <a:gd name="T20" fmla="*/ 121 w 128"/>
                <a:gd name="T21" fmla="*/ 65 h 122"/>
                <a:gd name="T22" fmla="*/ 111 w 128"/>
                <a:gd name="T23" fmla="*/ 66 h 122"/>
                <a:gd name="T24" fmla="*/ 112 w 128"/>
                <a:gd name="T25" fmla="*/ 70 h 122"/>
                <a:gd name="T26" fmla="*/ 112 w 128"/>
                <a:gd name="T27" fmla="*/ 82 h 122"/>
                <a:gd name="T28" fmla="*/ 112 w 128"/>
                <a:gd name="T29" fmla="*/ 87 h 122"/>
                <a:gd name="T30" fmla="*/ 128 w 128"/>
                <a:gd name="T31" fmla="*/ 84 h 122"/>
                <a:gd name="T32" fmla="*/ 16 w 128"/>
                <a:gd name="T33" fmla="*/ 99 h 122"/>
                <a:gd name="T34" fmla="*/ 7 w 128"/>
                <a:gd name="T35" fmla="*/ 104 h 122"/>
                <a:gd name="T36" fmla="*/ 10 w 128"/>
                <a:gd name="T37" fmla="*/ 105 h 122"/>
                <a:gd name="T38" fmla="*/ 19 w 128"/>
                <a:gd name="T39" fmla="*/ 100 h 122"/>
                <a:gd name="T40" fmla="*/ 16 w 128"/>
                <a:gd name="T41" fmla="*/ 82 h 122"/>
                <a:gd name="T42" fmla="*/ 0 w 128"/>
                <a:gd name="T43" fmla="*/ 84 h 122"/>
                <a:gd name="T44" fmla="*/ 16 w 128"/>
                <a:gd name="T45" fmla="*/ 87 h 122"/>
                <a:gd name="T46" fmla="*/ 16 w 128"/>
                <a:gd name="T47" fmla="*/ 82 h 122"/>
                <a:gd name="T48" fmla="*/ 16 w 128"/>
                <a:gd name="T49" fmla="*/ 70 h 122"/>
                <a:gd name="T50" fmla="*/ 19 w 128"/>
                <a:gd name="T51" fmla="*/ 69 h 122"/>
                <a:gd name="T52" fmla="*/ 10 w 128"/>
                <a:gd name="T53" fmla="*/ 63 h 122"/>
                <a:gd name="T54" fmla="*/ 8 w 128"/>
                <a:gd name="T55" fmla="*/ 68 h 122"/>
                <a:gd name="T56" fmla="*/ 31 w 128"/>
                <a:gd name="T57" fmla="*/ 84 h 122"/>
                <a:gd name="T58" fmla="*/ 97 w 128"/>
                <a:gd name="T59" fmla="*/ 84 h 122"/>
                <a:gd name="T60" fmla="*/ 50 w 128"/>
                <a:gd name="T61" fmla="*/ 45 h 122"/>
                <a:gd name="T62" fmla="*/ 78 w 128"/>
                <a:gd name="T63" fmla="*/ 50 h 122"/>
                <a:gd name="T64" fmla="*/ 50 w 128"/>
                <a:gd name="T65" fmla="*/ 50 h 122"/>
                <a:gd name="T66" fmla="*/ 83 w 128"/>
                <a:gd name="T67" fmla="*/ 52 h 122"/>
                <a:gd name="T68" fmla="*/ 82 w 128"/>
                <a:gd name="T69" fmla="*/ 41 h 122"/>
                <a:gd name="T70" fmla="*/ 102 w 128"/>
                <a:gd name="T71" fmla="*/ 4 h 122"/>
                <a:gd name="T72" fmla="*/ 98 w 128"/>
                <a:gd name="T73" fmla="*/ 1 h 122"/>
                <a:gd name="T74" fmla="*/ 54 w 128"/>
                <a:gd name="T75" fmla="*/ 40 h 122"/>
                <a:gd name="T76" fmla="*/ 72 w 128"/>
                <a:gd name="T77" fmla="*/ 0 h 122"/>
                <a:gd name="T78" fmla="*/ 64 w 128"/>
                <a:gd name="T79" fmla="*/ 11 h 122"/>
                <a:gd name="T80" fmla="*/ 56 w 128"/>
                <a:gd name="T81" fmla="*/ 0 h 122"/>
                <a:gd name="T82" fmla="*/ 61 w 128"/>
                <a:gd name="T83" fmla="*/ 16 h 122"/>
                <a:gd name="T84" fmla="*/ 30 w 128"/>
                <a:gd name="T85" fmla="*/ 1 h 122"/>
                <a:gd name="T86" fmla="*/ 26 w 128"/>
                <a:gd name="T87" fmla="*/ 4 h 122"/>
                <a:gd name="T88" fmla="*/ 46 w 128"/>
                <a:gd name="T89" fmla="*/ 41 h 122"/>
                <a:gd name="T90" fmla="*/ 45 w 128"/>
                <a:gd name="T91" fmla="*/ 52 h 122"/>
                <a:gd name="T92" fmla="*/ 64 w 128"/>
                <a:gd name="T93" fmla="*/ 122 h 122"/>
                <a:gd name="T94" fmla="*/ 83 w 128"/>
                <a:gd name="T95" fmla="*/ 5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" h="122">
                  <a:moveTo>
                    <a:pt x="64" y="103"/>
                  </a:moveTo>
                  <a:cubicBezTo>
                    <a:pt x="53" y="103"/>
                    <a:pt x="45" y="95"/>
                    <a:pt x="45" y="84"/>
                  </a:cubicBezTo>
                  <a:cubicBezTo>
                    <a:pt x="45" y="74"/>
                    <a:pt x="53" y="66"/>
                    <a:pt x="64" y="66"/>
                  </a:cubicBezTo>
                  <a:cubicBezTo>
                    <a:pt x="75" y="66"/>
                    <a:pt x="83" y="74"/>
                    <a:pt x="83" y="84"/>
                  </a:cubicBezTo>
                  <a:cubicBezTo>
                    <a:pt x="83" y="95"/>
                    <a:pt x="75" y="103"/>
                    <a:pt x="64" y="103"/>
                  </a:cubicBezTo>
                  <a:moveTo>
                    <a:pt x="64" y="61"/>
                  </a:moveTo>
                  <a:cubicBezTo>
                    <a:pt x="51" y="61"/>
                    <a:pt x="40" y="72"/>
                    <a:pt x="40" y="84"/>
                  </a:cubicBezTo>
                  <a:cubicBezTo>
                    <a:pt x="40" y="97"/>
                    <a:pt x="51" y="108"/>
                    <a:pt x="64" y="108"/>
                  </a:cubicBezTo>
                  <a:cubicBezTo>
                    <a:pt x="77" y="108"/>
                    <a:pt x="88" y="97"/>
                    <a:pt x="88" y="84"/>
                  </a:cubicBezTo>
                  <a:cubicBezTo>
                    <a:pt x="88" y="72"/>
                    <a:pt x="77" y="61"/>
                    <a:pt x="64" y="61"/>
                  </a:cubicBezTo>
                  <a:moveTo>
                    <a:pt x="120" y="101"/>
                  </a:moveTo>
                  <a:cubicBezTo>
                    <a:pt x="112" y="99"/>
                    <a:pt x="112" y="99"/>
                    <a:pt x="112" y="99"/>
                  </a:cubicBezTo>
                  <a:cubicBezTo>
                    <a:pt x="111" y="98"/>
                    <a:pt x="110" y="99"/>
                    <a:pt x="109" y="100"/>
                  </a:cubicBezTo>
                  <a:cubicBezTo>
                    <a:pt x="109" y="101"/>
                    <a:pt x="110" y="103"/>
                    <a:pt x="111" y="103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8" y="105"/>
                    <a:pt x="119" y="106"/>
                    <a:pt x="119" y="106"/>
                  </a:cubicBezTo>
                  <a:cubicBezTo>
                    <a:pt x="120" y="106"/>
                    <a:pt x="121" y="105"/>
                    <a:pt x="121" y="104"/>
                  </a:cubicBezTo>
                  <a:cubicBezTo>
                    <a:pt x="121" y="103"/>
                    <a:pt x="121" y="101"/>
                    <a:pt x="120" y="101"/>
                  </a:cubicBezTo>
                  <a:moveTo>
                    <a:pt x="112" y="70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1" y="68"/>
                    <a:pt x="121" y="66"/>
                    <a:pt x="121" y="65"/>
                  </a:cubicBezTo>
                  <a:cubicBezTo>
                    <a:pt x="121" y="64"/>
                    <a:pt x="119" y="63"/>
                    <a:pt x="118" y="63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10" y="66"/>
                    <a:pt x="109" y="68"/>
                    <a:pt x="109" y="69"/>
                  </a:cubicBezTo>
                  <a:cubicBezTo>
                    <a:pt x="110" y="70"/>
                    <a:pt x="111" y="70"/>
                    <a:pt x="112" y="70"/>
                  </a:cubicBezTo>
                  <a:moveTo>
                    <a:pt x="126" y="82"/>
                  </a:moveTo>
                  <a:cubicBezTo>
                    <a:pt x="112" y="82"/>
                    <a:pt x="112" y="82"/>
                    <a:pt x="112" y="82"/>
                  </a:cubicBezTo>
                  <a:cubicBezTo>
                    <a:pt x="110" y="82"/>
                    <a:pt x="109" y="83"/>
                    <a:pt x="109" y="84"/>
                  </a:cubicBezTo>
                  <a:cubicBezTo>
                    <a:pt x="109" y="86"/>
                    <a:pt x="110" y="87"/>
                    <a:pt x="112" y="87"/>
                  </a:cubicBezTo>
                  <a:cubicBezTo>
                    <a:pt x="126" y="87"/>
                    <a:pt x="126" y="87"/>
                    <a:pt x="126" y="87"/>
                  </a:cubicBezTo>
                  <a:cubicBezTo>
                    <a:pt x="127" y="87"/>
                    <a:pt x="128" y="86"/>
                    <a:pt x="128" y="84"/>
                  </a:cubicBezTo>
                  <a:cubicBezTo>
                    <a:pt x="128" y="83"/>
                    <a:pt x="127" y="82"/>
                    <a:pt x="126" y="82"/>
                  </a:cubicBezTo>
                  <a:moveTo>
                    <a:pt x="16" y="99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7" y="101"/>
                    <a:pt x="6" y="103"/>
                    <a:pt x="7" y="104"/>
                  </a:cubicBezTo>
                  <a:cubicBezTo>
                    <a:pt x="7" y="105"/>
                    <a:pt x="8" y="106"/>
                    <a:pt x="9" y="106"/>
                  </a:cubicBezTo>
                  <a:cubicBezTo>
                    <a:pt x="9" y="106"/>
                    <a:pt x="10" y="105"/>
                    <a:pt x="10" y="105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8" y="103"/>
                    <a:pt x="19" y="101"/>
                    <a:pt x="19" y="100"/>
                  </a:cubicBezTo>
                  <a:cubicBezTo>
                    <a:pt x="18" y="99"/>
                    <a:pt x="17" y="98"/>
                    <a:pt x="16" y="99"/>
                  </a:cubicBezTo>
                  <a:moveTo>
                    <a:pt x="16" y="82"/>
                  </a:moveTo>
                  <a:cubicBezTo>
                    <a:pt x="2" y="82"/>
                    <a:pt x="2" y="82"/>
                    <a:pt x="2" y="82"/>
                  </a:cubicBezTo>
                  <a:cubicBezTo>
                    <a:pt x="1" y="82"/>
                    <a:pt x="0" y="83"/>
                    <a:pt x="0" y="84"/>
                  </a:cubicBezTo>
                  <a:cubicBezTo>
                    <a:pt x="0" y="86"/>
                    <a:pt x="1" y="87"/>
                    <a:pt x="2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8" y="87"/>
                    <a:pt x="19" y="86"/>
                    <a:pt x="19" y="84"/>
                  </a:cubicBezTo>
                  <a:cubicBezTo>
                    <a:pt x="19" y="83"/>
                    <a:pt x="18" y="82"/>
                    <a:pt x="16" y="82"/>
                  </a:cubicBezTo>
                  <a:moveTo>
                    <a:pt x="8" y="68"/>
                  </a:move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7" y="70"/>
                    <a:pt x="18" y="70"/>
                    <a:pt x="19" y="69"/>
                  </a:cubicBezTo>
                  <a:cubicBezTo>
                    <a:pt x="19" y="68"/>
                    <a:pt x="18" y="66"/>
                    <a:pt x="17" y="66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9" y="63"/>
                    <a:pt x="7" y="64"/>
                    <a:pt x="7" y="65"/>
                  </a:cubicBezTo>
                  <a:cubicBezTo>
                    <a:pt x="6" y="66"/>
                    <a:pt x="7" y="68"/>
                    <a:pt x="8" y="68"/>
                  </a:cubicBezTo>
                  <a:moveTo>
                    <a:pt x="64" y="117"/>
                  </a:moveTo>
                  <a:cubicBezTo>
                    <a:pt x="46" y="117"/>
                    <a:pt x="31" y="103"/>
                    <a:pt x="31" y="84"/>
                  </a:cubicBezTo>
                  <a:cubicBezTo>
                    <a:pt x="31" y="66"/>
                    <a:pt x="46" y="52"/>
                    <a:pt x="64" y="52"/>
                  </a:cubicBezTo>
                  <a:cubicBezTo>
                    <a:pt x="82" y="52"/>
                    <a:pt x="97" y="66"/>
                    <a:pt x="97" y="84"/>
                  </a:cubicBezTo>
                  <a:cubicBezTo>
                    <a:pt x="97" y="103"/>
                    <a:pt x="82" y="117"/>
                    <a:pt x="64" y="117"/>
                  </a:cubicBezTo>
                  <a:moveTo>
                    <a:pt x="50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4" y="48"/>
                    <a:pt x="69" y="47"/>
                    <a:pt x="64" y="47"/>
                  </a:cubicBezTo>
                  <a:cubicBezTo>
                    <a:pt x="59" y="47"/>
                    <a:pt x="54" y="48"/>
                    <a:pt x="50" y="50"/>
                  </a:cubicBezTo>
                  <a:lnTo>
                    <a:pt x="50" y="45"/>
                  </a:lnTo>
                  <a:close/>
                  <a:moveTo>
                    <a:pt x="83" y="52"/>
                  </a:moveTo>
                  <a:cubicBezTo>
                    <a:pt x="83" y="45"/>
                    <a:pt x="83" y="45"/>
                    <a:pt x="83" y="45"/>
                  </a:cubicBezTo>
                  <a:cubicBezTo>
                    <a:pt x="83" y="43"/>
                    <a:pt x="83" y="42"/>
                    <a:pt x="82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2"/>
                    <a:pt x="102" y="1"/>
                    <a:pt x="101" y="0"/>
                  </a:cubicBezTo>
                  <a:cubicBezTo>
                    <a:pt x="100" y="0"/>
                    <a:pt x="98" y="0"/>
                    <a:pt x="98" y="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2"/>
                    <a:pt x="73" y="1"/>
                    <a:pt x="72" y="0"/>
                  </a:cubicBezTo>
                  <a:cubicBezTo>
                    <a:pt x="71" y="0"/>
                    <a:pt x="70" y="0"/>
                    <a:pt x="69" y="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7" y="0"/>
                    <a:pt x="56" y="0"/>
                  </a:cubicBezTo>
                  <a:cubicBezTo>
                    <a:pt x="55" y="1"/>
                    <a:pt x="54" y="2"/>
                    <a:pt x="55" y="4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26" y="1"/>
                    <a:pt x="26" y="2"/>
                    <a:pt x="26" y="4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2"/>
                    <a:pt x="45" y="43"/>
                    <a:pt x="45" y="45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4" y="59"/>
                    <a:pt x="26" y="71"/>
                    <a:pt x="26" y="84"/>
                  </a:cubicBezTo>
                  <a:cubicBezTo>
                    <a:pt x="26" y="105"/>
                    <a:pt x="43" y="122"/>
                    <a:pt x="64" y="122"/>
                  </a:cubicBezTo>
                  <a:cubicBezTo>
                    <a:pt x="85" y="122"/>
                    <a:pt x="102" y="105"/>
                    <a:pt x="102" y="84"/>
                  </a:cubicBezTo>
                  <a:cubicBezTo>
                    <a:pt x="102" y="71"/>
                    <a:pt x="94" y="59"/>
                    <a:pt x="83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09367722-4FD8-4A51-B4DD-A922AFA73B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" y="292"/>
              <a:ext cx="314" cy="299"/>
            </a:xfrm>
            <a:custGeom>
              <a:avLst/>
              <a:gdLst>
                <a:gd name="T0" fmla="*/ 45 w 128"/>
                <a:gd name="T1" fmla="*/ 84 h 122"/>
                <a:gd name="T2" fmla="*/ 83 w 128"/>
                <a:gd name="T3" fmla="*/ 84 h 122"/>
                <a:gd name="T4" fmla="*/ 64 w 128"/>
                <a:gd name="T5" fmla="*/ 61 h 122"/>
                <a:gd name="T6" fmla="*/ 64 w 128"/>
                <a:gd name="T7" fmla="*/ 108 h 122"/>
                <a:gd name="T8" fmla="*/ 64 w 128"/>
                <a:gd name="T9" fmla="*/ 61 h 122"/>
                <a:gd name="T10" fmla="*/ 112 w 128"/>
                <a:gd name="T11" fmla="*/ 99 h 122"/>
                <a:gd name="T12" fmla="*/ 111 w 128"/>
                <a:gd name="T13" fmla="*/ 103 h 122"/>
                <a:gd name="T14" fmla="*/ 119 w 128"/>
                <a:gd name="T15" fmla="*/ 106 h 122"/>
                <a:gd name="T16" fmla="*/ 120 w 128"/>
                <a:gd name="T17" fmla="*/ 101 h 122"/>
                <a:gd name="T18" fmla="*/ 112 w 128"/>
                <a:gd name="T19" fmla="*/ 70 h 122"/>
                <a:gd name="T20" fmla="*/ 121 w 128"/>
                <a:gd name="T21" fmla="*/ 65 h 122"/>
                <a:gd name="T22" fmla="*/ 111 w 128"/>
                <a:gd name="T23" fmla="*/ 66 h 122"/>
                <a:gd name="T24" fmla="*/ 112 w 128"/>
                <a:gd name="T25" fmla="*/ 70 h 122"/>
                <a:gd name="T26" fmla="*/ 112 w 128"/>
                <a:gd name="T27" fmla="*/ 82 h 122"/>
                <a:gd name="T28" fmla="*/ 112 w 128"/>
                <a:gd name="T29" fmla="*/ 87 h 122"/>
                <a:gd name="T30" fmla="*/ 128 w 128"/>
                <a:gd name="T31" fmla="*/ 84 h 122"/>
                <a:gd name="T32" fmla="*/ 16 w 128"/>
                <a:gd name="T33" fmla="*/ 99 h 122"/>
                <a:gd name="T34" fmla="*/ 7 w 128"/>
                <a:gd name="T35" fmla="*/ 104 h 122"/>
                <a:gd name="T36" fmla="*/ 10 w 128"/>
                <a:gd name="T37" fmla="*/ 105 h 122"/>
                <a:gd name="T38" fmla="*/ 19 w 128"/>
                <a:gd name="T39" fmla="*/ 100 h 122"/>
                <a:gd name="T40" fmla="*/ 16 w 128"/>
                <a:gd name="T41" fmla="*/ 82 h 122"/>
                <a:gd name="T42" fmla="*/ 0 w 128"/>
                <a:gd name="T43" fmla="*/ 84 h 122"/>
                <a:gd name="T44" fmla="*/ 16 w 128"/>
                <a:gd name="T45" fmla="*/ 87 h 122"/>
                <a:gd name="T46" fmla="*/ 16 w 128"/>
                <a:gd name="T47" fmla="*/ 82 h 122"/>
                <a:gd name="T48" fmla="*/ 16 w 128"/>
                <a:gd name="T49" fmla="*/ 70 h 122"/>
                <a:gd name="T50" fmla="*/ 19 w 128"/>
                <a:gd name="T51" fmla="*/ 69 h 122"/>
                <a:gd name="T52" fmla="*/ 10 w 128"/>
                <a:gd name="T53" fmla="*/ 63 h 122"/>
                <a:gd name="T54" fmla="*/ 8 w 128"/>
                <a:gd name="T55" fmla="*/ 68 h 122"/>
                <a:gd name="T56" fmla="*/ 31 w 128"/>
                <a:gd name="T57" fmla="*/ 84 h 122"/>
                <a:gd name="T58" fmla="*/ 97 w 128"/>
                <a:gd name="T59" fmla="*/ 84 h 122"/>
                <a:gd name="T60" fmla="*/ 50 w 128"/>
                <a:gd name="T61" fmla="*/ 45 h 122"/>
                <a:gd name="T62" fmla="*/ 78 w 128"/>
                <a:gd name="T63" fmla="*/ 50 h 122"/>
                <a:gd name="T64" fmla="*/ 50 w 128"/>
                <a:gd name="T65" fmla="*/ 50 h 122"/>
                <a:gd name="T66" fmla="*/ 83 w 128"/>
                <a:gd name="T67" fmla="*/ 52 h 122"/>
                <a:gd name="T68" fmla="*/ 82 w 128"/>
                <a:gd name="T69" fmla="*/ 41 h 122"/>
                <a:gd name="T70" fmla="*/ 102 w 128"/>
                <a:gd name="T71" fmla="*/ 4 h 122"/>
                <a:gd name="T72" fmla="*/ 98 w 128"/>
                <a:gd name="T73" fmla="*/ 1 h 122"/>
                <a:gd name="T74" fmla="*/ 54 w 128"/>
                <a:gd name="T75" fmla="*/ 40 h 122"/>
                <a:gd name="T76" fmla="*/ 72 w 128"/>
                <a:gd name="T77" fmla="*/ 0 h 122"/>
                <a:gd name="T78" fmla="*/ 64 w 128"/>
                <a:gd name="T79" fmla="*/ 11 h 122"/>
                <a:gd name="T80" fmla="*/ 56 w 128"/>
                <a:gd name="T81" fmla="*/ 0 h 122"/>
                <a:gd name="T82" fmla="*/ 61 w 128"/>
                <a:gd name="T83" fmla="*/ 16 h 122"/>
                <a:gd name="T84" fmla="*/ 30 w 128"/>
                <a:gd name="T85" fmla="*/ 1 h 122"/>
                <a:gd name="T86" fmla="*/ 26 w 128"/>
                <a:gd name="T87" fmla="*/ 4 h 122"/>
                <a:gd name="T88" fmla="*/ 46 w 128"/>
                <a:gd name="T89" fmla="*/ 41 h 122"/>
                <a:gd name="T90" fmla="*/ 45 w 128"/>
                <a:gd name="T91" fmla="*/ 52 h 122"/>
                <a:gd name="T92" fmla="*/ 64 w 128"/>
                <a:gd name="T93" fmla="*/ 122 h 122"/>
                <a:gd name="T94" fmla="*/ 83 w 128"/>
                <a:gd name="T95" fmla="*/ 5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" h="122">
                  <a:moveTo>
                    <a:pt x="64" y="103"/>
                  </a:moveTo>
                  <a:cubicBezTo>
                    <a:pt x="53" y="103"/>
                    <a:pt x="45" y="95"/>
                    <a:pt x="45" y="84"/>
                  </a:cubicBezTo>
                  <a:cubicBezTo>
                    <a:pt x="45" y="74"/>
                    <a:pt x="53" y="66"/>
                    <a:pt x="64" y="66"/>
                  </a:cubicBezTo>
                  <a:cubicBezTo>
                    <a:pt x="75" y="66"/>
                    <a:pt x="83" y="74"/>
                    <a:pt x="83" y="84"/>
                  </a:cubicBezTo>
                  <a:cubicBezTo>
                    <a:pt x="83" y="95"/>
                    <a:pt x="75" y="103"/>
                    <a:pt x="64" y="103"/>
                  </a:cubicBezTo>
                  <a:moveTo>
                    <a:pt x="64" y="61"/>
                  </a:moveTo>
                  <a:cubicBezTo>
                    <a:pt x="51" y="61"/>
                    <a:pt x="40" y="72"/>
                    <a:pt x="40" y="84"/>
                  </a:cubicBezTo>
                  <a:cubicBezTo>
                    <a:pt x="40" y="97"/>
                    <a:pt x="51" y="108"/>
                    <a:pt x="64" y="108"/>
                  </a:cubicBezTo>
                  <a:cubicBezTo>
                    <a:pt x="77" y="108"/>
                    <a:pt x="88" y="97"/>
                    <a:pt x="88" y="84"/>
                  </a:cubicBezTo>
                  <a:cubicBezTo>
                    <a:pt x="88" y="72"/>
                    <a:pt x="77" y="61"/>
                    <a:pt x="64" y="61"/>
                  </a:cubicBezTo>
                  <a:moveTo>
                    <a:pt x="120" y="101"/>
                  </a:moveTo>
                  <a:cubicBezTo>
                    <a:pt x="112" y="99"/>
                    <a:pt x="112" y="99"/>
                    <a:pt x="112" y="99"/>
                  </a:cubicBezTo>
                  <a:cubicBezTo>
                    <a:pt x="111" y="98"/>
                    <a:pt x="110" y="99"/>
                    <a:pt x="109" y="100"/>
                  </a:cubicBezTo>
                  <a:cubicBezTo>
                    <a:pt x="109" y="101"/>
                    <a:pt x="110" y="103"/>
                    <a:pt x="111" y="103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8" y="105"/>
                    <a:pt x="119" y="106"/>
                    <a:pt x="119" y="106"/>
                  </a:cubicBezTo>
                  <a:cubicBezTo>
                    <a:pt x="120" y="106"/>
                    <a:pt x="121" y="105"/>
                    <a:pt x="121" y="104"/>
                  </a:cubicBezTo>
                  <a:cubicBezTo>
                    <a:pt x="121" y="103"/>
                    <a:pt x="121" y="101"/>
                    <a:pt x="120" y="101"/>
                  </a:cubicBezTo>
                  <a:moveTo>
                    <a:pt x="112" y="70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1" y="68"/>
                    <a:pt x="121" y="66"/>
                    <a:pt x="121" y="65"/>
                  </a:cubicBezTo>
                  <a:cubicBezTo>
                    <a:pt x="121" y="64"/>
                    <a:pt x="119" y="63"/>
                    <a:pt x="118" y="63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10" y="66"/>
                    <a:pt x="109" y="68"/>
                    <a:pt x="109" y="69"/>
                  </a:cubicBezTo>
                  <a:cubicBezTo>
                    <a:pt x="110" y="70"/>
                    <a:pt x="111" y="70"/>
                    <a:pt x="112" y="70"/>
                  </a:cubicBezTo>
                  <a:moveTo>
                    <a:pt x="126" y="82"/>
                  </a:moveTo>
                  <a:cubicBezTo>
                    <a:pt x="112" y="82"/>
                    <a:pt x="112" y="82"/>
                    <a:pt x="112" y="82"/>
                  </a:cubicBezTo>
                  <a:cubicBezTo>
                    <a:pt x="110" y="82"/>
                    <a:pt x="109" y="83"/>
                    <a:pt x="109" y="84"/>
                  </a:cubicBezTo>
                  <a:cubicBezTo>
                    <a:pt x="109" y="86"/>
                    <a:pt x="110" y="87"/>
                    <a:pt x="112" y="87"/>
                  </a:cubicBezTo>
                  <a:cubicBezTo>
                    <a:pt x="126" y="87"/>
                    <a:pt x="126" y="87"/>
                    <a:pt x="126" y="87"/>
                  </a:cubicBezTo>
                  <a:cubicBezTo>
                    <a:pt x="127" y="87"/>
                    <a:pt x="128" y="86"/>
                    <a:pt x="128" y="84"/>
                  </a:cubicBezTo>
                  <a:cubicBezTo>
                    <a:pt x="128" y="83"/>
                    <a:pt x="127" y="82"/>
                    <a:pt x="126" y="82"/>
                  </a:cubicBezTo>
                  <a:moveTo>
                    <a:pt x="16" y="99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7" y="101"/>
                    <a:pt x="6" y="103"/>
                    <a:pt x="7" y="104"/>
                  </a:cubicBezTo>
                  <a:cubicBezTo>
                    <a:pt x="7" y="105"/>
                    <a:pt x="8" y="106"/>
                    <a:pt x="9" y="106"/>
                  </a:cubicBezTo>
                  <a:cubicBezTo>
                    <a:pt x="9" y="106"/>
                    <a:pt x="10" y="105"/>
                    <a:pt x="10" y="105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8" y="103"/>
                    <a:pt x="19" y="101"/>
                    <a:pt x="19" y="100"/>
                  </a:cubicBezTo>
                  <a:cubicBezTo>
                    <a:pt x="18" y="99"/>
                    <a:pt x="17" y="98"/>
                    <a:pt x="16" y="99"/>
                  </a:cubicBezTo>
                  <a:moveTo>
                    <a:pt x="16" y="82"/>
                  </a:moveTo>
                  <a:cubicBezTo>
                    <a:pt x="2" y="82"/>
                    <a:pt x="2" y="82"/>
                    <a:pt x="2" y="82"/>
                  </a:cubicBezTo>
                  <a:cubicBezTo>
                    <a:pt x="1" y="82"/>
                    <a:pt x="0" y="83"/>
                    <a:pt x="0" y="84"/>
                  </a:cubicBezTo>
                  <a:cubicBezTo>
                    <a:pt x="0" y="86"/>
                    <a:pt x="1" y="87"/>
                    <a:pt x="2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8" y="87"/>
                    <a:pt x="19" y="86"/>
                    <a:pt x="19" y="84"/>
                  </a:cubicBezTo>
                  <a:cubicBezTo>
                    <a:pt x="19" y="83"/>
                    <a:pt x="18" y="82"/>
                    <a:pt x="16" y="82"/>
                  </a:cubicBezTo>
                  <a:moveTo>
                    <a:pt x="8" y="68"/>
                  </a:move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7" y="70"/>
                    <a:pt x="18" y="70"/>
                    <a:pt x="19" y="69"/>
                  </a:cubicBezTo>
                  <a:cubicBezTo>
                    <a:pt x="19" y="68"/>
                    <a:pt x="18" y="66"/>
                    <a:pt x="17" y="66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9" y="63"/>
                    <a:pt x="7" y="64"/>
                    <a:pt x="7" y="65"/>
                  </a:cubicBezTo>
                  <a:cubicBezTo>
                    <a:pt x="6" y="66"/>
                    <a:pt x="7" y="68"/>
                    <a:pt x="8" y="68"/>
                  </a:cubicBezTo>
                  <a:moveTo>
                    <a:pt x="64" y="117"/>
                  </a:moveTo>
                  <a:cubicBezTo>
                    <a:pt x="46" y="117"/>
                    <a:pt x="31" y="103"/>
                    <a:pt x="31" y="84"/>
                  </a:cubicBezTo>
                  <a:cubicBezTo>
                    <a:pt x="31" y="66"/>
                    <a:pt x="46" y="52"/>
                    <a:pt x="64" y="52"/>
                  </a:cubicBezTo>
                  <a:cubicBezTo>
                    <a:pt x="82" y="52"/>
                    <a:pt x="97" y="66"/>
                    <a:pt x="97" y="84"/>
                  </a:cubicBezTo>
                  <a:cubicBezTo>
                    <a:pt x="97" y="103"/>
                    <a:pt x="82" y="117"/>
                    <a:pt x="64" y="117"/>
                  </a:cubicBezTo>
                  <a:moveTo>
                    <a:pt x="50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4" y="48"/>
                    <a:pt x="69" y="47"/>
                    <a:pt x="64" y="47"/>
                  </a:cubicBezTo>
                  <a:cubicBezTo>
                    <a:pt x="59" y="47"/>
                    <a:pt x="54" y="48"/>
                    <a:pt x="50" y="50"/>
                  </a:cubicBezTo>
                  <a:lnTo>
                    <a:pt x="50" y="45"/>
                  </a:lnTo>
                  <a:close/>
                  <a:moveTo>
                    <a:pt x="83" y="52"/>
                  </a:moveTo>
                  <a:cubicBezTo>
                    <a:pt x="83" y="45"/>
                    <a:pt x="83" y="45"/>
                    <a:pt x="83" y="45"/>
                  </a:cubicBezTo>
                  <a:cubicBezTo>
                    <a:pt x="83" y="43"/>
                    <a:pt x="83" y="42"/>
                    <a:pt x="82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2"/>
                    <a:pt x="102" y="1"/>
                    <a:pt x="101" y="0"/>
                  </a:cubicBezTo>
                  <a:cubicBezTo>
                    <a:pt x="100" y="0"/>
                    <a:pt x="98" y="0"/>
                    <a:pt x="98" y="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2"/>
                    <a:pt x="73" y="1"/>
                    <a:pt x="72" y="0"/>
                  </a:cubicBezTo>
                  <a:cubicBezTo>
                    <a:pt x="71" y="0"/>
                    <a:pt x="70" y="0"/>
                    <a:pt x="69" y="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7" y="0"/>
                    <a:pt x="56" y="0"/>
                  </a:cubicBezTo>
                  <a:cubicBezTo>
                    <a:pt x="55" y="1"/>
                    <a:pt x="54" y="2"/>
                    <a:pt x="55" y="4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26" y="1"/>
                    <a:pt x="26" y="2"/>
                    <a:pt x="26" y="4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2"/>
                    <a:pt x="45" y="43"/>
                    <a:pt x="45" y="45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4" y="59"/>
                    <a:pt x="26" y="71"/>
                    <a:pt x="26" y="84"/>
                  </a:cubicBezTo>
                  <a:cubicBezTo>
                    <a:pt x="26" y="105"/>
                    <a:pt x="43" y="122"/>
                    <a:pt x="64" y="122"/>
                  </a:cubicBezTo>
                  <a:cubicBezTo>
                    <a:pt x="85" y="122"/>
                    <a:pt x="102" y="105"/>
                    <a:pt x="102" y="84"/>
                  </a:cubicBezTo>
                  <a:cubicBezTo>
                    <a:pt x="102" y="71"/>
                    <a:pt x="94" y="59"/>
                    <a:pt x="83" y="52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0">
            <a:extLst>
              <a:ext uri="{FF2B5EF4-FFF2-40B4-BE49-F238E27FC236}">
                <a16:creationId xmlns:a16="http://schemas.microsoft.com/office/drawing/2014/main" id="{7C80438D-39F4-4E91-A9AB-E4BE1BA98C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50" y="303213"/>
            <a:ext cx="841375" cy="841375"/>
            <a:chOff x="226" y="177"/>
            <a:chExt cx="530" cy="530"/>
          </a:xfrm>
        </p:grpSpPr>
        <p:sp>
          <p:nvSpPr>
            <p:cNvPr id="13" name="AutoShape 9">
              <a:extLst>
                <a:ext uri="{FF2B5EF4-FFF2-40B4-BE49-F238E27FC236}">
                  <a16:creationId xmlns:a16="http://schemas.microsoft.com/office/drawing/2014/main" id="{D2C37A8C-A48E-4F0E-82D2-2E2DF7F35C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6" y="177"/>
              <a:ext cx="530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AB986029-2BCD-4262-AC53-21050AC3D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" y="177"/>
              <a:ext cx="532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37CE08D3-1088-441B-BDD8-3CED874FF7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" y="195"/>
              <a:ext cx="497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C760622-76BA-4676-98C7-FF383AA22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" y="287"/>
              <a:ext cx="328" cy="312"/>
            </a:xfrm>
            <a:custGeom>
              <a:avLst/>
              <a:gdLst>
                <a:gd name="T0" fmla="*/ 45 w 128"/>
                <a:gd name="T1" fmla="*/ 84 h 122"/>
                <a:gd name="T2" fmla="*/ 83 w 128"/>
                <a:gd name="T3" fmla="*/ 84 h 122"/>
                <a:gd name="T4" fmla="*/ 64 w 128"/>
                <a:gd name="T5" fmla="*/ 61 h 122"/>
                <a:gd name="T6" fmla="*/ 64 w 128"/>
                <a:gd name="T7" fmla="*/ 108 h 122"/>
                <a:gd name="T8" fmla="*/ 64 w 128"/>
                <a:gd name="T9" fmla="*/ 61 h 122"/>
                <a:gd name="T10" fmla="*/ 112 w 128"/>
                <a:gd name="T11" fmla="*/ 99 h 122"/>
                <a:gd name="T12" fmla="*/ 111 w 128"/>
                <a:gd name="T13" fmla="*/ 103 h 122"/>
                <a:gd name="T14" fmla="*/ 119 w 128"/>
                <a:gd name="T15" fmla="*/ 106 h 122"/>
                <a:gd name="T16" fmla="*/ 120 w 128"/>
                <a:gd name="T17" fmla="*/ 101 h 122"/>
                <a:gd name="T18" fmla="*/ 112 w 128"/>
                <a:gd name="T19" fmla="*/ 70 h 122"/>
                <a:gd name="T20" fmla="*/ 121 w 128"/>
                <a:gd name="T21" fmla="*/ 65 h 122"/>
                <a:gd name="T22" fmla="*/ 111 w 128"/>
                <a:gd name="T23" fmla="*/ 66 h 122"/>
                <a:gd name="T24" fmla="*/ 112 w 128"/>
                <a:gd name="T25" fmla="*/ 70 h 122"/>
                <a:gd name="T26" fmla="*/ 112 w 128"/>
                <a:gd name="T27" fmla="*/ 82 h 122"/>
                <a:gd name="T28" fmla="*/ 112 w 128"/>
                <a:gd name="T29" fmla="*/ 87 h 122"/>
                <a:gd name="T30" fmla="*/ 128 w 128"/>
                <a:gd name="T31" fmla="*/ 84 h 122"/>
                <a:gd name="T32" fmla="*/ 16 w 128"/>
                <a:gd name="T33" fmla="*/ 99 h 122"/>
                <a:gd name="T34" fmla="*/ 7 w 128"/>
                <a:gd name="T35" fmla="*/ 104 h 122"/>
                <a:gd name="T36" fmla="*/ 10 w 128"/>
                <a:gd name="T37" fmla="*/ 105 h 122"/>
                <a:gd name="T38" fmla="*/ 19 w 128"/>
                <a:gd name="T39" fmla="*/ 100 h 122"/>
                <a:gd name="T40" fmla="*/ 16 w 128"/>
                <a:gd name="T41" fmla="*/ 82 h 122"/>
                <a:gd name="T42" fmla="*/ 0 w 128"/>
                <a:gd name="T43" fmla="*/ 84 h 122"/>
                <a:gd name="T44" fmla="*/ 16 w 128"/>
                <a:gd name="T45" fmla="*/ 87 h 122"/>
                <a:gd name="T46" fmla="*/ 16 w 128"/>
                <a:gd name="T47" fmla="*/ 82 h 122"/>
                <a:gd name="T48" fmla="*/ 16 w 128"/>
                <a:gd name="T49" fmla="*/ 70 h 122"/>
                <a:gd name="T50" fmla="*/ 19 w 128"/>
                <a:gd name="T51" fmla="*/ 69 h 122"/>
                <a:gd name="T52" fmla="*/ 10 w 128"/>
                <a:gd name="T53" fmla="*/ 63 h 122"/>
                <a:gd name="T54" fmla="*/ 8 w 128"/>
                <a:gd name="T55" fmla="*/ 68 h 122"/>
                <a:gd name="T56" fmla="*/ 31 w 128"/>
                <a:gd name="T57" fmla="*/ 84 h 122"/>
                <a:gd name="T58" fmla="*/ 97 w 128"/>
                <a:gd name="T59" fmla="*/ 84 h 122"/>
                <a:gd name="T60" fmla="*/ 50 w 128"/>
                <a:gd name="T61" fmla="*/ 45 h 122"/>
                <a:gd name="T62" fmla="*/ 78 w 128"/>
                <a:gd name="T63" fmla="*/ 50 h 122"/>
                <a:gd name="T64" fmla="*/ 50 w 128"/>
                <a:gd name="T65" fmla="*/ 50 h 122"/>
                <a:gd name="T66" fmla="*/ 83 w 128"/>
                <a:gd name="T67" fmla="*/ 52 h 122"/>
                <a:gd name="T68" fmla="*/ 82 w 128"/>
                <a:gd name="T69" fmla="*/ 41 h 122"/>
                <a:gd name="T70" fmla="*/ 102 w 128"/>
                <a:gd name="T71" fmla="*/ 4 h 122"/>
                <a:gd name="T72" fmla="*/ 98 w 128"/>
                <a:gd name="T73" fmla="*/ 1 h 122"/>
                <a:gd name="T74" fmla="*/ 54 w 128"/>
                <a:gd name="T75" fmla="*/ 40 h 122"/>
                <a:gd name="T76" fmla="*/ 72 w 128"/>
                <a:gd name="T77" fmla="*/ 0 h 122"/>
                <a:gd name="T78" fmla="*/ 64 w 128"/>
                <a:gd name="T79" fmla="*/ 11 h 122"/>
                <a:gd name="T80" fmla="*/ 56 w 128"/>
                <a:gd name="T81" fmla="*/ 0 h 122"/>
                <a:gd name="T82" fmla="*/ 61 w 128"/>
                <a:gd name="T83" fmla="*/ 16 h 122"/>
                <a:gd name="T84" fmla="*/ 30 w 128"/>
                <a:gd name="T85" fmla="*/ 1 h 122"/>
                <a:gd name="T86" fmla="*/ 26 w 128"/>
                <a:gd name="T87" fmla="*/ 4 h 122"/>
                <a:gd name="T88" fmla="*/ 46 w 128"/>
                <a:gd name="T89" fmla="*/ 41 h 122"/>
                <a:gd name="T90" fmla="*/ 45 w 128"/>
                <a:gd name="T91" fmla="*/ 52 h 122"/>
                <a:gd name="T92" fmla="*/ 64 w 128"/>
                <a:gd name="T93" fmla="*/ 122 h 122"/>
                <a:gd name="T94" fmla="*/ 83 w 128"/>
                <a:gd name="T95" fmla="*/ 5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" h="122">
                  <a:moveTo>
                    <a:pt x="64" y="103"/>
                  </a:moveTo>
                  <a:cubicBezTo>
                    <a:pt x="53" y="103"/>
                    <a:pt x="45" y="95"/>
                    <a:pt x="45" y="84"/>
                  </a:cubicBezTo>
                  <a:cubicBezTo>
                    <a:pt x="45" y="74"/>
                    <a:pt x="53" y="66"/>
                    <a:pt x="64" y="66"/>
                  </a:cubicBezTo>
                  <a:cubicBezTo>
                    <a:pt x="75" y="66"/>
                    <a:pt x="83" y="74"/>
                    <a:pt x="83" y="84"/>
                  </a:cubicBezTo>
                  <a:cubicBezTo>
                    <a:pt x="83" y="95"/>
                    <a:pt x="75" y="103"/>
                    <a:pt x="64" y="103"/>
                  </a:cubicBezTo>
                  <a:moveTo>
                    <a:pt x="64" y="61"/>
                  </a:moveTo>
                  <a:cubicBezTo>
                    <a:pt x="51" y="61"/>
                    <a:pt x="40" y="72"/>
                    <a:pt x="40" y="84"/>
                  </a:cubicBezTo>
                  <a:cubicBezTo>
                    <a:pt x="40" y="97"/>
                    <a:pt x="51" y="108"/>
                    <a:pt x="64" y="108"/>
                  </a:cubicBezTo>
                  <a:cubicBezTo>
                    <a:pt x="77" y="108"/>
                    <a:pt x="88" y="97"/>
                    <a:pt x="88" y="84"/>
                  </a:cubicBezTo>
                  <a:cubicBezTo>
                    <a:pt x="88" y="72"/>
                    <a:pt x="77" y="61"/>
                    <a:pt x="64" y="61"/>
                  </a:cubicBezTo>
                  <a:moveTo>
                    <a:pt x="120" y="101"/>
                  </a:moveTo>
                  <a:cubicBezTo>
                    <a:pt x="112" y="99"/>
                    <a:pt x="112" y="99"/>
                    <a:pt x="112" y="99"/>
                  </a:cubicBezTo>
                  <a:cubicBezTo>
                    <a:pt x="111" y="98"/>
                    <a:pt x="110" y="99"/>
                    <a:pt x="109" y="100"/>
                  </a:cubicBezTo>
                  <a:cubicBezTo>
                    <a:pt x="109" y="101"/>
                    <a:pt x="110" y="103"/>
                    <a:pt x="111" y="103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8" y="105"/>
                    <a:pt x="119" y="106"/>
                    <a:pt x="119" y="106"/>
                  </a:cubicBezTo>
                  <a:cubicBezTo>
                    <a:pt x="120" y="106"/>
                    <a:pt x="121" y="105"/>
                    <a:pt x="121" y="104"/>
                  </a:cubicBezTo>
                  <a:cubicBezTo>
                    <a:pt x="121" y="103"/>
                    <a:pt x="121" y="101"/>
                    <a:pt x="120" y="101"/>
                  </a:cubicBezTo>
                  <a:moveTo>
                    <a:pt x="112" y="70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1" y="68"/>
                    <a:pt x="121" y="66"/>
                    <a:pt x="121" y="65"/>
                  </a:cubicBezTo>
                  <a:cubicBezTo>
                    <a:pt x="121" y="64"/>
                    <a:pt x="119" y="63"/>
                    <a:pt x="118" y="63"/>
                  </a:cubicBezTo>
                  <a:cubicBezTo>
                    <a:pt x="111" y="66"/>
                    <a:pt x="111" y="66"/>
                    <a:pt x="111" y="66"/>
                  </a:cubicBezTo>
                  <a:cubicBezTo>
                    <a:pt x="110" y="66"/>
                    <a:pt x="109" y="68"/>
                    <a:pt x="109" y="69"/>
                  </a:cubicBezTo>
                  <a:cubicBezTo>
                    <a:pt x="110" y="70"/>
                    <a:pt x="111" y="70"/>
                    <a:pt x="112" y="70"/>
                  </a:cubicBezTo>
                  <a:moveTo>
                    <a:pt x="126" y="82"/>
                  </a:moveTo>
                  <a:cubicBezTo>
                    <a:pt x="112" y="82"/>
                    <a:pt x="112" y="82"/>
                    <a:pt x="112" y="82"/>
                  </a:cubicBezTo>
                  <a:cubicBezTo>
                    <a:pt x="110" y="82"/>
                    <a:pt x="109" y="83"/>
                    <a:pt x="109" y="84"/>
                  </a:cubicBezTo>
                  <a:cubicBezTo>
                    <a:pt x="109" y="86"/>
                    <a:pt x="110" y="87"/>
                    <a:pt x="112" y="87"/>
                  </a:cubicBezTo>
                  <a:cubicBezTo>
                    <a:pt x="126" y="87"/>
                    <a:pt x="126" y="87"/>
                    <a:pt x="126" y="87"/>
                  </a:cubicBezTo>
                  <a:cubicBezTo>
                    <a:pt x="127" y="87"/>
                    <a:pt x="128" y="86"/>
                    <a:pt x="128" y="84"/>
                  </a:cubicBezTo>
                  <a:cubicBezTo>
                    <a:pt x="128" y="83"/>
                    <a:pt x="127" y="82"/>
                    <a:pt x="126" y="82"/>
                  </a:cubicBezTo>
                  <a:moveTo>
                    <a:pt x="16" y="99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7" y="101"/>
                    <a:pt x="6" y="103"/>
                    <a:pt x="7" y="104"/>
                  </a:cubicBezTo>
                  <a:cubicBezTo>
                    <a:pt x="7" y="105"/>
                    <a:pt x="8" y="106"/>
                    <a:pt x="9" y="106"/>
                  </a:cubicBezTo>
                  <a:cubicBezTo>
                    <a:pt x="9" y="106"/>
                    <a:pt x="10" y="105"/>
                    <a:pt x="10" y="105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8" y="103"/>
                    <a:pt x="19" y="101"/>
                    <a:pt x="19" y="100"/>
                  </a:cubicBezTo>
                  <a:cubicBezTo>
                    <a:pt x="18" y="99"/>
                    <a:pt x="17" y="98"/>
                    <a:pt x="16" y="99"/>
                  </a:cubicBezTo>
                  <a:moveTo>
                    <a:pt x="16" y="82"/>
                  </a:moveTo>
                  <a:cubicBezTo>
                    <a:pt x="2" y="82"/>
                    <a:pt x="2" y="82"/>
                    <a:pt x="2" y="82"/>
                  </a:cubicBezTo>
                  <a:cubicBezTo>
                    <a:pt x="1" y="82"/>
                    <a:pt x="0" y="83"/>
                    <a:pt x="0" y="84"/>
                  </a:cubicBezTo>
                  <a:cubicBezTo>
                    <a:pt x="0" y="86"/>
                    <a:pt x="1" y="87"/>
                    <a:pt x="2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8" y="87"/>
                    <a:pt x="19" y="86"/>
                    <a:pt x="19" y="84"/>
                  </a:cubicBezTo>
                  <a:cubicBezTo>
                    <a:pt x="19" y="83"/>
                    <a:pt x="18" y="82"/>
                    <a:pt x="16" y="82"/>
                  </a:cubicBezTo>
                  <a:moveTo>
                    <a:pt x="8" y="68"/>
                  </a:move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7" y="70"/>
                    <a:pt x="18" y="70"/>
                    <a:pt x="19" y="69"/>
                  </a:cubicBezTo>
                  <a:cubicBezTo>
                    <a:pt x="19" y="68"/>
                    <a:pt x="18" y="66"/>
                    <a:pt x="17" y="66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9" y="63"/>
                    <a:pt x="7" y="64"/>
                    <a:pt x="7" y="65"/>
                  </a:cubicBezTo>
                  <a:cubicBezTo>
                    <a:pt x="6" y="66"/>
                    <a:pt x="7" y="68"/>
                    <a:pt x="8" y="68"/>
                  </a:cubicBezTo>
                  <a:moveTo>
                    <a:pt x="64" y="117"/>
                  </a:moveTo>
                  <a:cubicBezTo>
                    <a:pt x="46" y="117"/>
                    <a:pt x="31" y="103"/>
                    <a:pt x="31" y="84"/>
                  </a:cubicBezTo>
                  <a:cubicBezTo>
                    <a:pt x="31" y="66"/>
                    <a:pt x="46" y="52"/>
                    <a:pt x="64" y="52"/>
                  </a:cubicBezTo>
                  <a:cubicBezTo>
                    <a:pt x="82" y="52"/>
                    <a:pt x="97" y="66"/>
                    <a:pt x="97" y="84"/>
                  </a:cubicBezTo>
                  <a:cubicBezTo>
                    <a:pt x="97" y="103"/>
                    <a:pt x="82" y="117"/>
                    <a:pt x="64" y="117"/>
                  </a:cubicBezTo>
                  <a:moveTo>
                    <a:pt x="50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4" y="48"/>
                    <a:pt x="69" y="47"/>
                    <a:pt x="64" y="47"/>
                  </a:cubicBezTo>
                  <a:cubicBezTo>
                    <a:pt x="59" y="47"/>
                    <a:pt x="54" y="48"/>
                    <a:pt x="50" y="50"/>
                  </a:cubicBezTo>
                  <a:lnTo>
                    <a:pt x="50" y="45"/>
                  </a:lnTo>
                  <a:close/>
                  <a:moveTo>
                    <a:pt x="83" y="52"/>
                  </a:moveTo>
                  <a:cubicBezTo>
                    <a:pt x="83" y="45"/>
                    <a:pt x="83" y="45"/>
                    <a:pt x="83" y="45"/>
                  </a:cubicBezTo>
                  <a:cubicBezTo>
                    <a:pt x="83" y="43"/>
                    <a:pt x="83" y="42"/>
                    <a:pt x="82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2"/>
                    <a:pt x="102" y="1"/>
                    <a:pt x="101" y="0"/>
                  </a:cubicBezTo>
                  <a:cubicBezTo>
                    <a:pt x="100" y="0"/>
                    <a:pt x="98" y="0"/>
                    <a:pt x="98" y="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2"/>
                    <a:pt x="73" y="1"/>
                    <a:pt x="72" y="0"/>
                  </a:cubicBezTo>
                  <a:cubicBezTo>
                    <a:pt x="71" y="0"/>
                    <a:pt x="70" y="0"/>
                    <a:pt x="69" y="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7" y="0"/>
                    <a:pt x="56" y="0"/>
                  </a:cubicBezTo>
                  <a:cubicBezTo>
                    <a:pt x="55" y="1"/>
                    <a:pt x="54" y="2"/>
                    <a:pt x="55" y="4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26" y="1"/>
                    <a:pt x="26" y="2"/>
                    <a:pt x="26" y="4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2"/>
                    <a:pt x="45" y="43"/>
                    <a:pt x="45" y="45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4" y="59"/>
                    <a:pt x="26" y="71"/>
                    <a:pt x="26" y="84"/>
                  </a:cubicBezTo>
                  <a:cubicBezTo>
                    <a:pt x="26" y="105"/>
                    <a:pt x="43" y="122"/>
                    <a:pt x="64" y="122"/>
                  </a:cubicBezTo>
                  <a:cubicBezTo>
                    <a:pt x="85" y="122"/>
                    <a:pt x="102" y="105"/>
                    <a:pt x="102" y="84"/>
                  </a:cubicBezTo>
                  <a:cubicBezTo>
                    <a:pt x="102" y="71"/>
                    <a:pt x="94" y="59"/>
                    <a:pt x="83" y="5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966E3E0A-5A56-409C-9E57-8813CBE313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98863" y="344488"/>
            <a:ext cx="760412" cy="758825"/>
            <a:chOff x="2293" y="213"/>
            <a:chExt cx="479" cy="478"/>
          </a:xfrm>
        </p:grpSpPr>
        <p:sp>
          <p:nvSpPr>
            <p:cNvPr id="22" name="AutoShape 15">
              <a:extLst>
                <a:ext uri="{FF2B5EF4-FFF2-40B4-BE49-F238E27FC236}">
                  <a16:creationId xmlns:a16="http://schemas.microsoft.com/office/drawing/2014/main" id="{EABBF20D-9BA0-4BD1-A586-EA020D65E5A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293" y="213"/>
              <a:ext cx="479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DD83206C-5EDE-4D30-B8D4-EF83F61EE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215"/>
              <a:ext cx="477" cy="476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92551961-33D0-4F91-A997-FD5A4A2CF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1" y="318"/>
              <a:ext cx="285" cy="270"/>
            </a:xfrm>
            <a:custGeom>
              <a:avLst/>
              <a:gdLst>
                <a:gd name="T0" fmla="*/ 31 w 116"/>
                <a:gd name="T1" fmla="*/ 93 h 110"/>
                <a:gd name="T2" fmla="*/ 27 w 116"/>
                <a:gd name="T3" fmla="*/ 98 h 110"/>
                <a:gd name="T4" fmla="*/ 27 w 116"/>
                <a:gd name="T5" fmla="*/ 101 h 110"/>
                <a:gd name="T6" fmla="*/ 28 w 116"/>
                <a:gd name="T7" fmla="*/ 101 h 110"/>
                <a:gd name="T8" fmla="*/ 30 w 116"/>
                <a:gd name="T9" fmla="*/ 101 h 110"/>
                <a:gd name="T10" fmla="*/ 34 w 116"/>
                <a:gd name="T11" fmla="*/ 96 h 110"/>
                <a:gd name="T12" fmla="*/ 34 w 116"/>
                <a:gd name="T13" fmla="*/ 93 h 110"/>
                <a:gd name="T14" fmla="*/ 31 w 116"/>
                <a:gd name="T15" fmla="*/ 93 h 110"/>
                <a:gd name="T16" fmla="*/ 31 w 116"/>
                <a:gd name="T17" fmla="*/ 80 h 110"/>
                <a:gd name="T18" fmla="*/ 28 w 116"/>
                <a:gd name="T19" fmla="*/ 80 h 110"/>
                <a:gd name="T20" fmla="*/ 15 w 116"/>
                <a:gd name="T21" fmla="*/ 93 h 110"/>
                <a:gd name="T22" fmla="*/ 15 w 116"/>
                <a:gd name="T23" fmla="*/ 96 h 110"/>
                <a:gd name="T24" fmla="*/ 17 w 116"/>
                <a:gd name="T25" fmla="*/ 97 h 110"/>
                <a:gd name="T26" fmla="*/ 18 w 116"/>
                <a:gd name="T27" fmla="*/ 96 h 110"/>
                <a:gd name="T28" fmla="*/ 31 w 116"/>
                <a:gd name="T29" fmla="*/ 83 h 110"/>
                <a:gd name="T30" fmla="*/ 31 w 116"/>
                <a:gd name="T31" fmla="*/ 80 h 110"/>
                <a:gd name="T32" fmla="*/ 91 w 116"/>
                <a:gd name="T33" fmla="*/ 92 h 110"/>
                <a:gd name="T34" fmla="*/ 49 w 116"/>
                <a:gd name="T35" fmla="*/ 71 h 110"/>
                <a:gd name="T36" fmla="*/ 110 w 116"/>
                <a:gd name="T37" fmla="*/ 9 h 110"/>
                <a:gd name="T38" fmla="*/ 91 w 116"/>
                <a:gd name="T39" fmla="*/ 92 h 110"/>
                <a:gd name="T40" fmla="*/ 49 w 116"/>
                <a:gd name="T41" fmla="*/ 100 h 110"/>
                <a:gd name="T42" fmla="*/ 48 w 116"/>
                <a:gd name="T43" fmla="*/ 75 h 110"/>
                <a:gd name="T44" fmla="*/ 60 w 116"/>
                <a:gd name="T45" fmla="*/ 81 h 110"/>
                <a:gd name="T46" fmla="*/ 49 w 116"/>
                <a:gd name="T47" fmla="*/ 100 h 110"/>
                <a:gd name="T48" fmla="*/ 45 w 116"/>
                <a:gd name="T49" fmla="*/ 69 h 110"/>
                <a:gd name="T50" fmla="*/ 8 w 116"/>
                <a:gd name="T51" fmla="*/ 50 h 110"/>
                <a:gd name="T52" fmla="*/ 104 w 116"/>
                <a:gd name="T53" fmla="*/ 9 h 110"/>
                <a:gd name="T54" fmla="*/ 45 w 116"/>
                <a:gd name="T55" fmla="*/ 69 h 110"/>
                <a:gd name="T56" fmla="*/ 115 w 116"/>
                <a:gd name="T57" fmla="*/ 1 h 110"/>
                <a:gd name="T58" fmla="*/ 113 w 116"/>
                <a:gd name="T59" fmla="*/ 0 h 110"/>
                <a:gd name="T60" fmla="*/ 2 w 116"/>
                <a:gd name="T61" fmla="*/ 48 h 110"/>
                <a:gd name="T62" fmla="*/ 0 w 116"/>
                <a:gd name="T63" fmla="*/ 50 h 110"/>
                <a:gd name="T64" fmla="*/ 2 w 116"/>
                <a:gd name="T65" fmla="*/ 52 h 110"/>
                <a:gd name="T66" fmla="*/ 43 w 116"/>
                <a:gd name="T67" fmla="*/ 73 h 110"/>
                <a:gd name="T68" fmla="*/ 45 w 116"/>
                <a:gd name="T69" fmla="*/ 108 h 110"/>
                <a:gd name="T70" fmla="*/ 47 w 116"/>
                <a:gd name="T71" fmla="*/ 110 h 110"/>
                <a:gd name="T72" fmla="*/ 47 w 116"/>
                <a:gd name="T73" fmla="*/ 110 h 110"/>
                <a:gd name="T74" fmla="*/ 49 w 116"/>
                <a:gd name="T75" fmla="*/ 109 h 110"/>
                <a:gd name="T76" fmla="*/ 64 w 116"/>
                <a:gd name="T77" fmla="*/ 83 h 110"/>
                <a:gd name="T78" fmla="*/ 91 w 116"/>
                <a:gd name="T79" fmla="*/ 97 h 110"/>
                <a:gd name="T80" fmla="*/ 92 w 116"/>
                <a:gd name="T81" fmla="*/ 97 h 110"/>
                <a:gd name="T82" fmla="*/ 93 w 116"/>
                <a:gd name="T83" fmla="*/ 97 h 110"/>
                <a:gd name="T84" fmla="*/ 94 w 116"/>
                <a:gd name="T85" fmla="*/ 95 h 110"/>
                <a:gd name="T86" fmla="*/ 116 w 116"/>
                <a:gd name="T87" fmla="*/ 3 h 110"/>
                <a:gd name="T88" fmla="*/ 115 w 116"/>
                <a:gd name="T89" fmla="*/ 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110">
                  <a:moveTo>
                    <a:pt x="31" y="93"/>
                  </a:moveTo>
                  <a:cubicBezTo>
                    <a:pt x="27" y="98"/>
                    <a:pt x="27" y="98"/>
                    <a:pt x="27" y="98"/>
                  </a:cubicBezTo>
                  <a:cubicBezTo>
                    <a:pt x="26" y="98"/>
                    <a:pt x="26" y="100"/>
                    <a:pt x="27" y="101"/>
                  </a:cubicBezTo>
                  <a:cubicBezTo>
                    <a:pt x="27" y="101"/>
                    <a:pt x="28" y="101"/>
                    <a:pt x="28" y="101"/>
                  </a:cubicBezTo>
                  <a:cubicBezTo>
                    <a:pt x="29" y="101"/>
                    <a:pt x="29" y="101"/>
                    <a:pt x="30" y="101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5"/>
                    <a:pt x="35" y="94"/>
                    <a:pt x="34" y="93"/>
                  </a:cubicBezTo>
                  <a:cubicBezTo>
                    <a:pt x="33" y="92"/>
                    <a:pt x="32" y="92"/>
                    <a:pt x="31" y="93"/>
                  </a:cubicBezTo>
                  <a:moveTo>
                    <a:pt x="31" y="80"/>
                  </a:moveTo>
                  <a:cubicBezTo>
                    <a:pt x="30" y="79"/>
                    <a:pt x="29" y="79"/>
                    <a:pt x="28" y="80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4" y="94"/>
                    <a:pt x="14" y="95"/>
                    <a:pt x="15" y="96"/>
                  </a:cubicBezTo>
                  <a:cubicBezTo>
                    <a:pt x="16" y="96"/>
                    <a:pt x="16" y="97"/>
                    <a:pt x="17" y="97"/>
                  </a:cubicBezTo>
                  <a:cubicBezTo>
                    <a:pt x="17" y="97"/>
                    <a:pt x="18" y="96"/>
                    <a:pt x="18" y="96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2" y="82"/>
                    <a:pt x="32" y="81"/>
                    <a:pt x="31" y="80"/>
                  </a:cubicBezTo>
                  <a:moveTo>
                    <a:pt x="91" y="92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110" y="9"/>
                    <a:pt x="110" y="9"/>
                    <a:pt x="110" y="9"/>
                  </a:cubicBezTo>
                  <a:lnTo>
                    <a:pt x="91" y="92"/>
                  </a:lnTo>
                  <a:close/>
                  <a:moveTo>
                    <a:pt x="49" y="100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60" y="81"/>
                    <a:pt x="60" y="81"/>
                    <a:pt x="60" y="81"/>
                  </a:cubicBezTo>
                  <a:lnTo>
                    <a:pt x="49" y="100"/>
                  </a:lnTo>
                  <a:close/>
                  <a:moveTo>
                    <a:pt x="45" y="69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104" y="9"/>
                    <a:pt x="104" y="9"/>
                    <a:pt x="104" y="9"/>
                  </a:cubicBezTo>
                  <a:lnTo>
                    <a:pt x="45" y="69"/>
                  </a:lnTo>
                  <a:close/>
                  <a:moveTo>
                    <a:pt x="115" y="1"/>
                  </a:moveTo>
                  <a:cubicBezTo>
                    <a:pt x="114" y="0"/>
                    <a:pt x="113" y="0"/>
                    <a:pt x="113" y="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0" y="49"/>
                    <a:pt x="0" y="50"/>
                  </a:cubicBezTo>
                  <a:cubicBezTo>
                    <a:pt x="0" y="50"/>
                    <a:pt x="1" y="51"/>
                    <a:pt x="2" y="5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9"/>
                    <a:pt x="46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8" y="110"/>
                    <a:pt x="49" y="109"/>
                    <a:pt x="49" y="109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7"/>
                    <a:pt x="92" y="97"/>
                    <a:pt x="92" y="97"/>
                  </a:cubicBezTo>
                  <a:cubicBezTo>
                    <a:pt x="92" y="97"/>
                    <a:pt x="93" y="97"/>
                    <a:pt x="93" y="97"/>
                  </a:cubicBezTo>
                  <a:cubicBezTo>
                    <a:pt x="94" y="96"/>
                    <a:pt x="94" y="96"/>
                    <a:pt x="94" y="9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2"/>
                    <a:pt x="115" y="1"/>
                    <a:pt x="115" y="1"/>
                  </a:cubicBezTo>
                </a:path>
              </a:pathLst>
            </a:cu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1">
            <a:extLst>
              <a:ext uri="{FF2B5EF4-FFF2-40B4-BE49-F238E27FC236}">
                <a16:creationId xmlns:a16="http://schemas.microsoft.com/office/drawing/2014/main" id="{28C0A37C-5149-4328-B501-2F2A279DBC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13025" y="303213"/>
            <a:ext cx="842963" cy="841375"/>
            <a:chOff x="1752" y="168"/>
            <a:chExt cx="531" cy="530"/>
          </a:xfrm>
        </p:grpSpPr>
        <p:sp>
          <p:nvSpPr>
            <p:cNvPr id="26" name="AutoShape 20">
              <a:extLst>
                <a:ext uri="{FF2B5EF4-FFF2-40B4-BE49-F238E27FC236}">
                  <a16:creationId xmlns:a16="http://schemas.microsoft.com/office/drawing/2014/main" id="{52996841-DFB5-4E4C-8D54-A6B025D334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52" y="168"/>
              <a:ext cx="531" cy="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6791531C-B06D-4036-9388-0E73EEE14B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2" y="168"/>
              <a:ext cx="534" cy="532"/>
            </a:xfrm>
            <a:prstGeom prst="ellipse">
              <a:avLst/>
            </a:prstGeom>
            <a:solidFill>
              <a:srgbClr val="00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A4A60101-E389-46BB-BCB3-87E8708C98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0" y="186"/>
              <a:ext cx="498" cy="497"/>
            </a:xfrm>
            <a:custGeom>
              <a:avLst/>
              <a:gdLst>
                <a:gd name="T0" fmla="*/ 97 w 194"/>
                <a:gd name="T1" fmla="*/ 5 h 194"/>
                <a:gd name="T2" fmla="*/ 189 w 194"/>
                <a:gd name="T3" fmla="*/ 97 h 194"/>
                <a:gd name="T4" fmla="*/ 97 w 194"/>
                <a:gd name="T5" fmla="*/ 189 h 194"/>
                <a:gd name="T6" fmla="*/ 5 w 194"/>
                <a:gd name="T7" fmla="*/ 97 h 194"/>
                <a:gd name="T8" fmla="*/ 97 w 194"/>
                <a:gd name="T9" fmla="*/ 5 h 194"/>
                <a:gd name="T10" fmla="*/ 97 w 194"/>
                <a:gd name="T11" fmla="*/ 0 h 194"/>
                <a:gd name="T12" fmla="*/ 0 w 194"/>
                <a:gd name="T13" fmla="*/ 97 h 194"/>
                <a:gd name="T14" fmla="*/ 97 w 194"/>
                <a:gd name="T15" fmla="*/ 194 h 194"/>
                <a:gd name="T16" fmla="*/ 194 w 194"/>
                <a:gd name="T17" fmla="*/ 97 h 194"/>
                <a:gd name="T18" fmla="*/ 97 w 194"/>
                <a:gd name="T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194">
                  <a:moveTo>
                    <a:pt x="97" y="5"/>
                  </a:moveTo>
                  <a:cubicBezTo>
                    <a:pt x="148" y="5"/>
                    <a:pt x="189" y="46"/>
                    <a:pt x="189" y="97"/>
                  </a:cubicBezTo>
                  <a:cubicBezTo>
                    <a:pt x="189" y="148"/>
                    <a:pt x="148" y="189"/>
                    <a:pt x="97" y="189"/>
                  </a:cubicBezTo>
                  <a:cubicBezTo>
                    <a:pt x="46" y="189"/>
                    <a:pt x="5" y="148"/>
                    <a:pt x="5" y="97"/>
                  </a:cubicBezTo>
                  <a:cubicBezTo>
                    <a:pt x="5" y="46"/>
                    <a:pt x="46" y="5"/>
                    <a:pt x="97" y="5"/>
                  </a:cubicBezTo>
                  <a:moveTo>
                    <a:pt x="97" y="0"/>
                  </a:moveTo>
                  <a:cubicBezTo>
                    <a:pt x="44" y="0"/>
                    <a:pt x="0" y="44"/>
                    <a:pt x="0" y="97"/>
                  </a:cubicBezTo>
                  <a:cubicBezTo>
                    <a:pt x="0" y="150"/>
                    <a:pt x="44" y="194"/>
                    <a:pt x="97" y="194"/>
                  </a:cubicBezTo>
                  <a:cubicBezTo>
                    <a:pt x="150" y="194"/>
                    <a:pt x="194" y="150"/>
                    <a:pt x="194" y="97"/>
                  </a:cubicBezTo>
                  <a:cubicBezTo>
                    <a:pt x="194" y="44"/>
                    <a:pt x="150" y="0"/>
                    <a:pt x="9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20349128-7497-48C1-BB74-36A74C176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0" y="293"/>
              <a:ext cx="297" cy="282"/>
            </a:xfrm>
            <a:custGeom>
              <a:avLst/>
              <a:gdLst>
                <a:gd name="T0" fmla="*/ 31 w 116"/>
                <a:gd name="T1" fmla="*/ 93 h 110"/>
                <a:gd name="T2" fmla="*/ 27 w 116"/>
                <a:gd name="T3" fmla="*/ 98 h 110"/>
                <a:gd name="T4" fmla="*/ 27 w 116"/>
                <a:gd name="T5" fmla="*/ 101 h 110"/>
                <a:gd name="T6" fmla="*/ 28 w 116"/>
                <a:gd name="T7" fmla="*/ 101 h 110"/>
                <a:gd name="T8" fmla="*/ 30 w 116"/>
                <a:gd name="T9" fmla="*/ 101 h 110"/>
                <a:gd name="T10" fmla="*/ 34 w 116"/>
                <a:gd name="T11" fmla="*/ 96 h 110"/>
                <a:gd name="T12" fmla="*/ 34 w 116"/>
                <a:gd name="T13" fmla="*/ 93 h 110"/>
                <a:gd name="T14" fmla="*/ 31 w 116"/>
                <a:gd name="T15" fmla="*/ 93 h 110"/>
                <a:gd name="T16" fmla="*/ 31 w 116"/>
                <a:gd name="T17" fmla="*/ 80 h 110"/>
                <a:gd name="T18" fmla="*/ 28 w 116"/>
                <a:gd name="T19" fmla="*/ 80 h 110"/>
                <a:gd name="T20" fmla="*/ 15 w 116"/>
                <a:gd name="T21" fmla="*/ 93 h 110"/>
                <a:gd name="T22" fmla="*/ 15 w 116"/>
                <a:gd name="T23" fmla="*/ 96 h 110"/>
                <a:gd name="T24" fmla="*/ 17 w 116"/>
                <a:gd name="T25" fmla="*/ 97 h 110"/>
                <a:gd name="T26" fmla="*/ 18 w 116"/>
                <a:gd name="T27" fmla="*/ 96 h 110"/>
                <a:gd name="T28" fmla="*/ 31 w 116"/>
                <a:gd name="T29" fmla="*/ 83 h 110"/>
                <a:gd name="T30" fmla="*/ 31 w 116"/>
                <a:gd name="T31" fmla="*/ 80 h 110"/>
                <a:gd name="T32" fmla="*/ 91 w 116"/>
                <a:gd name="T33" fmla="*/ 92 h 110"/>
                <a:gd name="T34" fmla="*/ 49 w 116"/>
                <a:gd name="T35" fmla="*/ 71 h 110"/>
                <a:gd name="T36" fmla="*/ 110 w 116"/>
                <a:gd name="T37" fmla="*/ 9 h 110"/>
                <a:gd name="T38" fmla="*/ 91 w 116"/>
                <a:gd name="T39" fmla="*/ 92 h 110"/>
                <a:gd name="T40" fmla="*/ 49 w 116"/>
                <a:gd name="T41" fmla="*/ 100 h 110"/>
                <a:gd name="T42" fmla="*/ 48 w 116"/>
                <a:gd name="T43" fmla="*/ 75 h 110"/>
                <a:gd name="T44" fmla="*/ 60 w 116"/>
                <a:gd name="T45" fmla="*/ 81 h 110"/>
                <a:gd name="T46" fmla="*/ 49 w 116"/>
                <a:gd name="T47" fmla="*/ 100 h 110"/>
                <a:gd name="T48" fmla="*/ 45 w 116"/>
                <a:gd name="T49" fmla="*/ 69 h 110"/>
                <a:gd name="T50" fmla="*/ 8 w 116"/>
                <a:gd name="T51" fmla="*/ 50 h 110"/>
                <a:gd name="T52" fmla="*/ 104 w 116"/>
                <a:gd name="T53" fmla="*/ 9 h 110"/>
                <a:gd name="T54" fmla="*/ 45 w 116"/>
                <a:gd name="T55" fmla="*/ 69 h 110"/>
                <a:gd name="T56" fmla="*/ 115 w 116"/>
                <a:gd name="T57" fmla="*/ 1 h 110"/>
                <a:gd name="T58" fmla="*/ 113 w 116"/>
                <a:gd name="T59" fmla="*/ 0 h 110"/>
                <a:gd name="T60" fmla="*/ 2 w 116"/>
                <a:gd name="T61" fmla="*/ 48 h 110"/>
                <a:gd name="T62" fmla="*/ 0 w 116"/>
                <a:gd name="T63" fmla="*/ 50 h 110"/>
                <a:gd name="T64" fmla="*/ 2 w 116"/>
                <a:gd name="T65" fmla="*/ 52 h 110"/>
                <a:gd name="T66" fmla="*/ 43 w 116"/>
                <a:gd name="T67" fmla="*/ 73 h 110"/>
                <a:gd name="T68" fmla="*/ 45 w 116"/>
                <a:gd name="T69" fmla="*/ 108 h 110"/>
                <a:gd name="T70" fmla="*/ 47 w 116"/>
                <a:gd name="T71" fmla="*/ 110 h 110"/>
                <a:gd name="T72" fmla="*/ 47 w 116"/>
                <a:gd name="T73" fmla="*/ 110 h 110"/>
                <a:gd name="T74" fmla="*/ 49 w 116"/>
                <a:gd name="T75" fmla="*/ 109 h 110"/>
                <a:gd name="T76" fmla="*/ 64 w 116"/>
                <a:gd name="T77" fmla="*/ 83 h 110"/>
                <a:gd name="T78" fmla="*/ 91 w 116"/>
                <a:gd name="T79" fmla="*/ 97 h 110"/>
                <a:gd name="T80" fmla="*/ 92 w 116"/>
                <a:gd name="T81" fmla="*/ 97 h 110"/>
                <a:gd name="T82" fmla="*/ 93 w 116"/>
                <a:gd name="T83" fmla="*/ 97 h 110"/>
                <a:gd name="T84" fmla="*/ 94 w 116"/>
                <a:gd name="T85" fmla="*/ 95 h 110"/>
                <a:gd name="T86" fmla="*/ 116 w 116"/>
                <a:gd name="T87" fmla="*/ 3 h 110"/>
                <a:gd name="T88" fmla="*/ 115 w 116"/>
                <a:gd name="T89" fmla="*/ 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" h="110">
                  <a:moveTo>
                    <a:pt x="31" y="93"/>
                  </a:moveTo>
                  <a:cubicBezTo>
                    <a:pt x="27" y="98"/>
                    <a:pt x="27" y="98"/>
                    <a:pt x="27" y="98"/>
                  </a:cubicBezTo>
                  <a:cubicBezTo>
                    <a:pt x="26" y="98"/>
                    <a:pt x="26" y="100"/>
                    <a:pt x="27" y="101"/>
                  </a:cubicBezTo>
                  <a:cubicBezTo>
                    <a:pt x="27" y="101"/>
                    <a:pt x="28" y="101"/>
                    <a:pt x="28" y="101"/>
                  </a:cubicBezTo>
                  <a:cubicBezTo>
                    <a:pt x="29" y="101"/>
                    <a:pt x="29" y="101"/>
                    <a:pt x="30" y="101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5" y="95"/>
                    <a:pt x="35" y="94"/>
                    <a:pt x="34" y="93"/>
                  </a:cubicBezTo>
                  <a:cubicBezTo>
                    <a:pt x="33" y="92"/>
                    <a:pt x="32" y="92"/>
                    <a:pt x="31" y="93"/>
                  </a:cubicBezTo>
                  <a:moveTo>
                    <a:pt x="31" y="80"/>
                  </a:moveTo>
                  <a:cubicBezTo>
                    <a:pt x="30" y="79"/>
                    <a:pt x="29" y="79"/>
                    <a:pt x="28" y="80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4" y="94"/>
                    <a:pt x="14" y="95"/>
                    <a:pt x="15" y="96"/>
                  </a:cubicBezTo>
                  <a:cubicBezTo>
                    <a:pt x="16" y="96"/>
                    <a:pt x="16" y="97"/>
                    <a:pt x="17" y="97"/>
                  </a:cubicBezTo>
                  <a:cubicBezTo>
                    <a:pt x="17" y="97"/>
                    <a:pt x="18" y="96"/>
                    <a:pt x="18" y="96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2" y="82"/>
                    <a:pt x="32" y="81"/>
                    <a:pt x="31" y="80"/>
                  </a:cubicBezTo>
                  <a:moveTo>
                    <a:pt x="91" y="92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110" y="9"/>
                    <a:pt x="110" y="9"/>
                    <a:pt x="110" y="9"/>
                  </a:cubicBezTo>
                  <a:lnTo>
                    <a:pt x="91" y="92"/>
                  </a:lnTo>
                  <a:close/>
                  <a:moveTo>
                    <a:pt x="49" y="100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60" y="81"/>
                    <a:pt x="60" y="81"/>
                    <a:pt x="60" y="81"/>
                  </a:cubicBezTo>
                  <a:lnTo>
                    <a:pt x="49" y="100"/>
                  </a:lnTo>
                  <a:close/>
                  <a:moveTo>
                    <a:pt x="45" y="69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104" y="9"/>
                    <a:pt x="104" y="9"/>
                    <a:pt x="104" y="9"/>
                  </a:cubicBezTo>
                  <a:lnTo>
                    <a:pt x="45" y="69"/>
                  </a:lnTo>
                  <a:close/>
                  <a:moveTo>
                    <a:pt x="115" y="1"/>
                  </a:moveTo>
                  <a:cubicBezTo>
                    <a:pt x="114" y="0"/>
                    <a:pt x="113" y="0"/>
                    <a:pt x="113" y="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0" y="49"/>
                    <a:pt x="0" y="50"/>
                  </a:cubicBezTo>
                  <a:cubicBezTo>
                    <a:pt x="0" y="50"/>
                    <a:pt x="1" y="51"/>
                    <a:pt x="2" y="5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9"/>
                    <a:pt x="46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8" y="110"/>
                    <a:pt x="49" y="109"/>
                    <a:pt x="49" y="109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7"/>
                    <a:pt x="92" y="97"/>
                    <a:pt x="92" y="97"/>
                  </a:cubicBezTo>
                  <a:cubicBezTo>
                    <a:pt x="92" y="97"/>
                    <a:pt x="93" y="97"/>
                    <a:pt x="93" y="97"/>
                  </a:cubicBezTo>
                  <a:cubicBezTo>
                    <a:pt x="94" y="96"/>
                    <a:pt x="94" y="96"/>
                    <a:pt x="94" y="9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2"/>
                    <a:pt x="115" y="1"/>
                    <a:pt x="115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02808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968D35F-2643-422D-9C91-69B9F00EDA57}"/>
              </a:ext>
            </a:extLst>
          </p:cNvPr>
          <p:cNvGraphicFramePr>
            <a:graphicFrameLocks noGrp="1"/>
          </p:cNvGraphicFramePr>
          <p:nvPr/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1794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Table 212">
            <a:extLst>
              <a:ext uri="{FF2B5EF4-FFF2-40B4-BE49-F238E27FC236}">
                <a16:creationId xmlns:a16="http://schemas.microsoft.com/office/drawing/2014/main" id="{37EB14CF-3598-473A-966D-6374B523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410507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wnloa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ue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Diligence 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commer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conomic New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duc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jec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ai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ployee Director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pty Worksta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&amp;S</a:t>
                      </a:r>
                      <a:r>
                        <a:rPr lang="en-US" sz="12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Services</a:t>
                      </a:r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ebook (1)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cility Man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ar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l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le Searc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4585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Repor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re Alarm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r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rst Aid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1204" name="Group 4"/>
          <p:cNvGrpSpPr>
            <a:grpSpLocks noChangeAspect="1"/>
          </p:cNvGrpSpPr>
          <p:nvPr/>
        </p:nvGrpSpPr>
        <p:grpSpPr bwMode="auto">
          <a:xfrm>
            <a:off x="334963" y="254000"/>
            <a:ext cx="827087" cy="827088"/>
            <a:chOff x="211" y="160"/>
            <a:chExt cx="521" cy="521"/>
          </a:xfrm>
        </p:grpSpPr>
        <p:sp>
          <p:nvSpPr>
            <p:cNvPr id="51205" name="Oval 5"/>
            <p:cNvSpPr>
              <a:spLocks noChangeArrowheads="1"/>
            </p:cNvSpPr>
            <p:nvPr/>
          </p:nvSpPr>
          <p:spPr bwMode="auto">
            <a:xfrm>
              <a:off x="211" y="160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06" name="Freeform 6"/>
            <p:cNvSpPr>
              <a:spLocks noEditPoints="1"/>
            </p:cNvSpPr>
            <p:nvPr/>
          </p:nvSpPr>
          <p:spPr bwMode="auto">
            <a:xfrm>
              <a:off x="349" y="284"/>
              <a:ext cx="235" cy="27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2" y="0"/>
                </a:cxn>
                <a:cxn ang="0">
                  <a:pos x="32" y="7"/>
                </a:cxn>
                <a:cxn ang="0">
                  <a:pos x="32" y="29"/>
                </a:cxn>
                <a:cxn ang="0">
                  <a:pos x="10" y="29"/>
                </a:cxn>
                <a:cxn ang="0">
                  <a:pos x="0" y="29"/>
                </a:cxn>
                <a:cxn ang="0">
                  <a:pos x="0" y="38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194" y="278"/>
                </a:cxn>
                <a:cxn ang="0">
                  <a:pos x="204" y="278"/>
                </a:cxn>
                <a:cxn ang="0">
                  <a:pos x="204" y="268"/>
                </a:cxn>
                <a:cxn ang="0">
                  <a:pos x="204" y="249"/>
                </a:cxn>
                <a:cxn ang="0">
                  <a:pos x="225" y="249"/>
                </a:cxn>
                <a:cxn ang="0">
                  <a:pos x="235" y="249"/>
                </a:cxn>
                <a:cxn ang="0">
                  <a:pos x="235" y="239"/>
                </a:cxn>
                <a:cxn ang="0">
                  <a:pos x="235" y="7"/>
                </a:cxn>
                <a:cxn ang="0">
                  <a:pos x="235" y="0"/>
                </a:cxn>
                <a:cxn ang="0">
                  <a:pos x="225" y="0"/>
                </a:cxn>
                <a:cxn ang="0">
                  <a:pos x="41" y="0"/>
                </a:cxn>
                <a:cxn ang="0">
                  <a:pos x="194" y="268"/>
                </a:cxn>
                <a:cxn ang="0">
                  <a:pos x="10" y="268"/>
                </a:cxn>
                <a:cxn ang="0">
                  <a:pos x="10" y="38"/>
                </a:cxn>
                <a:cxn ang="0">
                  <a:pos x="32" y="38"/>
                </a:cxn>
                <a:cxn ang="0">
                  <a:pos x="32" y="239"/>
                </a:cxn>
                <a:cxn ang="0">
                  <a:pos x="32" y="249"/>
                </a:cxn>
                <a:cxn ang="0">
                  <a:pos x="41" y="249"/>
                </a:cxn>
                <a:cxn ang="0">
                  <a:pos x="194" y="249"/>
                </a:cxn>
                <a:cxn ang="0">
                  <a:pos x="194" y="268"/>
                </a:cxn>
                <a:cxn ang="0">
                  <a:pos x="225" y="239"/>
                </a:cxn>
                <a:cxn ang="0">
                  <a:pos x="204" y="239"/>
                </a:cxn>
                <a:cxn ang="0">
                  <a:pos x="194" y="239"/>
                </a:cxn>
                <a:cxn ang="0">
                  <a:pos x="41" y="239"/>
                </a:cxn>
                <a:cxn ang="0">
                  <a:pos x="41" y="38"/>
                </a:cxn>
                <a:cxn ang="0">
                  <a:pos x="41" y="29"/>
                </a:cxn>
                <a:cxn ang="0">
                  <a:pos x="41" y="7"/>
                </a:cxn>
                <a:cxn ang="0">
                  <a:pos x="225" y="7"/>
                </a:cxn>
                <a:cxn ang="0">
                  <a:pos x="225" y="239"/>
                </a:cxn>
              </a:cxnLst>
              <a:rect l="0" t="0" r="r" b="b"/>
              <a:pathLst>
                <a:path w="235" h="278">
                  <a:moveTo>
                    <a:pt x="41" y="0"/>
                  </a:moveTo>
                  <a:lnTo>
                    <a:pt x="32" y="0"/>
                  </a:lnTo>
                  <a:lnTo>
                    <a:pt x="32" y="7"/>
                  </a:lnTo>
                  <a:lnTo>
                    <a:pt x="32" y="2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194" y="278"/>
                  </a:lnTo>
                  <a:lnTo>
                    <a:pt x="204" y="278"/>
                  </a:lnTo>
                  <a:lnTo>
                    <a:pt x="204" y="268"/>
                  </a:lnTo>
                  <a:lnTo>
                    <a:pt x="204" y="249"/>
                  </a:lnTo>
                  <a:lnTo>
                    <a:pt x="225" y="249"/>
                  </a:lnTo>
                  <a:lnTo>
                    <a:pt x="235" y="249"/>
                  </a:lnTo>
                  <a:lnTo>
                    <a:pt x="235" y="239"/>
                  </a:lnTo>
                  <a:lnTo>
                    <a:pt x="235" y="7"/>
                  </a:lnTo>
                  <a:lnTo>
                    <a:pt x="235" y="0"/>
                  </a:lnTo>
                  <a:lnTo>
                    <a:pt x="225" y="0"/>
                  </a:lnTo>
                  <a:lnTo>
                    <a:pt x="41" y="0"/>
                  </a:lnTo>
                  <a:close/>
                  <a:moveTo>
                    <a:pt x="194" y="268"/>
                  </a:moveTo>
                  <a:lnTo>
                    <a:pt x="10" y="268"/>
                  </a:lnTo>
                  <a:lnTo>
                    <a:pt x="10" y="38"/>
                  </a:lnTo>
                  <a:lnTo>
                    <a:pt x="32" y="38"/>
                  </a:lnTo>
                  <a:lnTo>
                    <a:pt x="32" y="239"/>
                  </a:lnTo>
                  <a:lnTo>
                    <a:pt x="32" y="249"/>
                  </a:lnTo>
                  <a:lnTo>
                    <a:pt x="41" y="249"/>
                  </a:lnTo>
                  <a:lnTo>
                    <a:pt x="194" y="249"/>
                  </a:lnTo>
                  <a:lnTo>
                    <a:pt x="194" y="268"/>
                  </a:lnTo>
                  <a:close/>
                  <a:moveTo>
                    <a:pt x="225" y="239"/>
                  </a:moveTo>
                  <a:lnTo>
                    <a:pt x="204" y="239"/>
                  </a:lnTo>
                  <a:lnTo>
                    <a:pt x="194" y="239"/>
                  </a:lnTo>
                  <a:lnTo>
                    <a:pt x="41" y="239"/>
                  </a:lnTo>
                  <a:lnTo>
                    <a:pt x="41" y="38"/>
                  </a:lnTo>
                  <a:lnTo>
                    <a:pt x="41" y="29"/>
                  </a:lnTo>
                  <a:lnTo>
                    <a:pt x="41" y="7"/>
                  </a:lnTo>
                  <a:lnTo>
                    <a:pt x="225" y="7"/>
                  </a:lnTo>
                  <a:lnTo>
                    <a:pt x="225" y="2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07" name="Freeform 7"/>
            <p:cNvSpPr>
              <a:spLocks noEditPoints="1"/>
            </p:cNvSpPr>
            <p:nvPr/>
          </p:nvSpPr>
          <p:spPr bwMode="auto">
            <a:xfrm>
              <a:off x="428" y="320"/>
              <a:ext cx="111" cy="180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55" y="180"/>
                </a:cxn>
                <a:cxn ang="0">
                  <a:pos x="111" y="134"/>
                </a:cxn>
                <a:cxn ang="0">
                  <a:pos x="82" y="134"/>
                </a:cxn>
                <a:cxn ang="0">
                  <a:pos x="82" y="112"/>
                </a:cxn>
                <a:cxn ang="0">
                  <a:pos x="111" y="89"/>
                </a:cxn>
                <a:cxn ang="0">
                  <a:pos x="82" y="89"/>
                </a:cxn>
                <a:cxn ang="0">
                  <a:pos x="82" y="89"/>
                </a:cxn>
                <a:cxn ang="0">
                  <a:pos x="82" y="67"/>
                </a:cxn>
                <a:cxn ang="0">
                  <a:pos x="111" y="45"/>
                </a:cxn>
                <a:cxn ang="0">
                  <a:pos x="82" y="45"/>
                </a:cxn>
                <a:cxn ang="0">
                  <a:pos x="82" y="45"/>
                </a:cxn>
                <a:cxn ang="0">
                  <a:pos x="82" y="45"/>
                </a:cxn>
                <a:cxn ang="0">
                  <a:pos x="82" y="0"/>
                </a:cxn>
                <a:cxn ang="0">
                  <a:pos x="29" y="0"/>
                </a:cxn>
                <a:cxn ang="0">
                  <a:pos x="29" y="45"/>
                </a:cxn>
                <a:cxn ang="0">
                  <a:pos x="0" y="45"/>
                </a:cxn>
                <a:cxn ang="0">
                  <a:pos x="29" y="67"/>
                </a:cxn>
                <a:cxn ang="0">
                  <a:pos x="29" y="89"/>
                </a:cxn>
                <a:cxn ang="0">
                  <a:pos x="0" y="89"/>
                </a:cxn>
                <a:cxn ang="0">
                  <a:pos x="29" y="112"/>
                </a:cxn>
                <a:cxn ang="0">
                  <a:pos x="29" y="134"/>
                </a:cxn>
                <a:cxn ang="0">
                  <a:pos x="0" y="134"/>
                </a:cxn>
                <a:cxn ang="0">
                  <a:pos x="24" y="53"/>
                </a:cxn>
                <a:cxn ang="0">
                  <a:pos x="29" y="53"/>
                </a:cxn>
                <a:cxn ang="0">
                  <a:pos x="36" y="53"/>
                </a:cxn>
                <a:cxn ang="0">
                  <a:pos x="36" y="45"/>
                </a:cxn>
                <a:cxn ang="0">
                  <a:pos x="36" y="7"/>
                </a:cxn>
                <a:cxn ang="0">
                  <a:pos x="75" y="7"/>
                </a:cxn>
                <a:cxn ang="0">
                  <a:pos x="75" y="45"/>
                </a:cxn>
                <a:cxn ang="0">
                  <a:pos x="75" y="53"/>
                </a:cxn>
                <a:cxn ang="0">
                  <a:pos x="82" y="53"/>
                </a:cxn>
                <a:cxn ang="0">
                  <a:pos x="87" y="53"/>
                </a:cxn>
                <a:cxn ang="0">
                  <a:pos x="55" y="79"/>
                </a:cxn>
                <a:cxn ang="0">
                  <a:pos x="24" y="53"/>
                </a:cxn>
                <a:cxn ang="0">
                  <a:pos x="24" y="98"/>
                </a:cxn>
                <a:cxn ang="0">
                  <a:pos x="29" y="98"/>
                </a:cxn>
                <a:cxn ang="0">
                  <a:pos x="36" y="98"/>
                </a:cxn>
                <a:cxn ang="0">
                  <a:pos x="36" y="89"/>
                </a:cxn>
                <a:cxn ang="0">
                  <a:pos x="36" y="74"/>
                </a:cxn>
                <a:cxn ang="0">
                  <a:pos x="55" y="89"/>
                </a:cxn>
                <a:cxn ang="0">
                  <a:pos x="75" y="74"/>
                </a:cxn>
                <a:cxn ang="0">
                  <a:pos x="75" y="89"/>
                </a:cxn>
                <a:cxn ang="0">
                  <a:pos x="75" y="98"/>
                </a:cxn>
                <a:cxn ang="0">
                  <a:pos x="82" y="98"/>
                </a:cxn>
                <a:cxn ang="0">
                  <a:pos x="87" y="98"/>
                </a:cxn>
                <a:cxn ang="0">
                  <a:pos x="55" y="122"/>
                </a:cxn>
                <a:cxn ang="0">
                  <a:pos x="24" y="98"/>
                </a:cxn>
                <a:cxn ang="0">
                  <a:pos x="36" y="144"/>
                </a:cxn>
                <a:cxn ang="0">
                  <a:pos x="36" y="134"/>
                </a:cxn>
                <a:cxn ang="0">
                  <a:pos x="36" y="120"/>
                </a:cxn>
                <a:cxn ang="0">
                  <a:pos x="55" y="134"/>
                </a:cxn>
                <a:cxn ang="0">
                  <a:pos x="75" y="120"/>
                </a:cxn>
                <a:cxn ang="0">
                  <a:pos x="75" y="134"/>
                </a:cxn>
                <a:cxn ang="0">
                  <a:pos x="75" y="144"/>
                </a:cxn>
                <a:cxn ang="0">
                  <a:pos x="82" y="144"/>
                </a:cxn>
                <a:cxn ang="0">
                  <a:pos x="87" y="144"/>
                </a:cxn>
                <a:cxn ang="0">
                  <a:pos x="55" y="168"/>
                </a:cxn>
                <a:cxn ang="0">
                  <a:pos x="24" y="144"/>
                </a:cxn>
                <a:cxn ang="0">
                  <a:pos x="29" y="144"/>
                </a:cxn>
                <a:cxn ang="0">
                  <a:pos x="36" y="144"/>
                </a:cxn>
              </a:cxnLst>
              <a:rect l="0" t="0" r="r" b="b"/>
              <a:pathLst>
                <a:path w="111" h="180">
                  <a:moveTo>
                    <a:pt x="0" y="134"/>
                  </a:moveTo>
                  <a:lnTo>
                    <a:pt x="55" y="180"/>
                  </a:lnTo>
                  <a:lnTo>
                    <a:pt x="111" y="134"/>
                  </a:lnTo>
                  <a:lnTo>
                    <a:pt x="82" y="134"/>
                  </a:lnTo>
                  <a:lnTo>
                    <a:pt x="82" y="112"/>
                  </a:lnTo>
                  <a:lnTo>
                    <a:pt x="111" y="89"/>
                  </a:lnTo>
                  <a:lnTo>
                    <a:pt x="82" y="89"/>
                  </a:lnTo>
                  <a:lnTo>
                    <a:pt x="82" y="89"/>
                  </a:lnTo>
                  <a:lnTo>
                    <a:pt x="82" y="67"/>
                  </a:lnTo>
                  <a:lnTo>
                    <a:pt x="111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0"/>
                  </a:lnTo>
                  <a:lnTo>
                    <a:pt x="29" y="0"/>
                  </a:lnTo>
                  <a:lnTo>
                    <a:pt x="29" y="45"/>
                  </a:lnTo>
                  <a:lnTo>
                    <a:pt x="0" y="45"/>
                  </a:lnTo>
                  <a:lnTo>
                    <a:pt x="29" y="67"/>
                  </a:lnTo>
                  <a:lnTo>
                    <a:pt x="29" y="89"/>
                  </a:lnTo>
                  <a:lnTo>
                    <a:pt x="0" y="89"/>
                  </a:lnTo>
                  <a:lnTo>
                    <a:pt x="29" y="112"/>
                  </a:lnTo>
                  <a:lnTo>
                    <a:pt x="29" y="134"/>
                  </a:lnTo>
                  <a:lnTo>
                    <a:pt x="0" y="134"/>
                  </a:lnTo>
                  <a:close/>
                  <a:moveTo>
                    <a:pt x="24" y="53"/>
                  </a:moveTo>
                  <a:lnTo>
                    <a:pt x="29" y="53"/>
                  </a:lnTo>
                  <a:lnTo>
                    <a:pt x="36" y="53"/>
                  </a:lnTo>
                  <a:lnTo>
                    <a:pt x="36" y="45"/>
                  </a:lnTo>
                  <a:lnTo>
                    <a:pt x="36" y="7"/>
                  </a:lnTo>
                  <a:lnTo>
                    <a:pt x="75" y="7"/>
                  </a:lnTo>
                  <a:lnTo>
                    <a:pt x="75" y="45"/>
                  </a:lnTo>
                  <a:lnTo>
                    <a:pt x="75" y="53"/>
                  </a:lnTo>
                  <a:lnTo>
                    <a:pt x="82" y="53"/>
                  </a:lnTo>
                  <a:lnTo>
                    <a:pt x="87" y="53"/>
                  </a:lnTo>
                  <a:lnTo>
                    <a:pt x="55" y="79"/>
                  </a:lnTo>
                  <a:lnTo>
                    <a:pt x="24" y="53"/>
                  </a:lnTo>
                  <a:close/>
                  <a:moveTo>
                    <a:pt x="24" y="98"/>
                  </a:moveTo>
                  <a:lnTo>
                    <a:pt x="29" y="98"/>
                  </a:lnTo>
                  <a:lnTo>
                    <a:pt x="36" y="98"/>
                  </a:lnTo>
                  <a:lnTo>
                    <a:pt x="36" y="89"/>
                  </a:lnTo>
                  <a:lnTo>
                    <a:pt x="36" y="74"/>
                  </a:lnTo>
                  <a:lnTo>
                    <a:pt x="55" y="89"/>
                  </a:lnTo>
                  <a:lnTo>
                    <a:pt x="75" y="74"/>
                  </a:lnTo>
                  <a:lnTo>
                    <a:pt x="75" y="89"/>
                  </a:lnTo>
                  <a:lnTo>
                    <a:pt x="75" y="98"/>
                  </a:lnTo>
                  <a:lnTo>
                    <a:pt x="82" y="98"/>
                  </a:lnTo>
                  <a:lnTo>
                    <a:pt x="87" y="98"/>
                  </a:lnTo>
                  <a:lnTo>
                    <a:pt x="55" y="122"/>
                  </a:lnTo>
                  <a:lnTo>
                    <a:pt x="24" y="98"/>
                  </a:lnTo>
                  <a:close/>
                  <a:moveTo>
                    <a:pt x="36" y="144"/>
                  </a:moveTo>
                  <a:lnTo>
                    <a:pt x="36" y="134"/>
                  </a:lnTo>
                  <a:lnTo>
                    <a:pt x="36" y="120"/>
                  </a:lnTo>
                  <a:lnTo>
                    <a:pt x="55" y="134"/>
                  </a:lnTo>
                  <a:lnTo>
                    <a:pt x="75" y="120"/>
                  </a:lnTo>
                  <a:lnTo>
                    <a:pt x="75" y="134"/>
                  </a:lnTo>
                  <a:lnTo>
                    <a:pt x="75" y="144"/>
                  </a:lnTo>
                  <a:lnTo>
                    <a:pt x="82" y="144"/>
                  </a:lnTo>
                  <a:lnTo>
                    <a:pt x="87" y="144"/>
                  </a:lnTo>
                  <a:lnTo>
                    <a:pt x="55" y="168"/>
                  </a:lnTo>
                  <a:lnTo>
                    <a:pt x="24" y="144"/>
                  </a:lnTo>
                  <a:lnTo>
                    <a:pt x="29" y="144"/>
                  </a:lnTo>
                  <a:lnTo>
                    <a:pt x="36" y="1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08" name="Freeform 8"/>
            <p:cNvSpPr>
              <a:spLocks noEditPoints="1"/>
            </p:cNvSpPr>
            <p:nvPr/>
          </p:nvSpPr>
          <p:spPr bwMode="auto">
            <a:xfrm>
              <a:off x="230" y="17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11" name="Group 11"/>
          <p:cNvGrpSpPr>
            <a:grpSpLocks noChangeAspect="1"/>
          </p:cNvGrpSpPr>
          <p:nvPr/>
        </p:nvGrpSpPr>
        <p:grpSpPr bwMode="auto">
          <a:xfrm>
            <a:off x="1459708" y="282575"/>
            <a:ext cx="768350" cy="768350"/>
            <a:chOff x="913" y="178"/>
            <a:chExt cx="484" cy="484"/>
          </a:xfrm>
        </p:grpSpPr>
        <p:sp>
          <p:nvSpPr>
            <p:cNvPr id="51212" name="Freeform 12"/>
            <p:cNvSpPr>
              <a:spLocks noEditPoints="1"/>
            </p:cNvSpPr>
            <p:nvPr/>
          </p:nvSpPr>
          <p:spPr bwMode="auto">
            <a:xfrm>
              <a:off x="1033" y="284"/>
              <a:ext cx="235" cy="27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1" y="0"/>
                </a:cxn>
                <a:cxn ang="0">
                  <a:pos x="31" y="7"/>
                </a:cxn>
                <a:cxn ang="0">
                  <a:pos x="31" y="29"/>
                </a:cxn>
                <a:cxn ang="0">
                  <a:pos x="10" y="29"/>
                </a:cxn>
                <a:cxn ang="0">
                  <a:pos x="0" y="29"/>
                </a:cxn>
                <a:cxn ang="0">
                  <a:pos x="0" y="38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194" y="278"/>
                </a:cxn>
                <a:cxn ang="0">
                  <a:pos x="204" y="278"/>
                </a:cxn>
                <a:cxn ang="0">
                  <a:pos x="204" y="268"/>
                </a:cxn>
                <a:cxn ang="0">
                  <a:pos x="204" y="249"/>
                </a:cxn>
                <a:cxn ang="0">
                  <a:pos x="225" y="249"/>
                </a:cxn>
                <a:cxn ang="0">
                  <a:pos x="235" y="249"/>
                </a:cxn>
                <a:cxn ang="0">
                  <a:pos x="235" y="239"/>
                </a:cxn>
                <a:cxn ang="0">
                  <a:pos x="235" y="7"/>
                </a:cxn>
                <a:cxn ang="0">
                  <a:pos x="235" y="0"/>
                </a:cxn>
                <a:cxn ang="0">
                  <a:pos x="225" y="0"/>
                </a:cxn>
                <a:cxn ang="0">
                  <a:pos x="41" y="0"/>
                </a:cxn>
                <a:cxn ang="0">
                  <a:pos x="194" y="268"/>
                </a:cxn>
                <a:cxn ang="0">
                  <a:pos x="10" y="268"/>
                </a:cxn>
                <a:cxn ang="0">
                  <a:pos x="10" y="38"/>
                </a:cxn>
                <a:cxn ang="0">
                  <a:pos x="31" y="38"/>
                </a:cxn>
                <a:cxn ang="0">
                  <a:pos x="31" y="239"/>
                </a:cxn>
                <a:cxn ang="0">
                  <a:pos x="31" y="249"/>
                </a:cxn>
                <a:cxn ang="0">
                  <a:pos x="41" y="249"/>
                </a:cxn>
                <a:cxn ang="0">
                  <a:pos x="194" y="249"/>
                </a:cxn>
                <a:cxn ang="0">
                  <a:pos x="194" y="268"/>
                </a:cxn>
                <a:cxn ang="0">
                  <a:pos x="225" y="239"/>
                </a:cxn>
                <a:cxn ang="0">
                  <a:pos x="204" y="239"/>
                </a:cxn>
                <a:cxn ang="0">
                  <a:pos x="194" y="239"/>
                </a:cxn>
                <a:cxn ang="0">
                  <a:pos x="41" y="239"/>
                </a:cxn>
                <a:cxn ang="0">
                  <a:pos x="41" y="38"/>
                </a:cxn>
                <a:cxn ang="0">
                  <a:pos x="41" y="29"/>
                </a:cxn>
                <a:cxn ang="0">
                  <a:pos x="41" y="7"/>
                </a:cxn>
                <a:cxn ang="0">
                  <a:pos x="225" y="7"/>
                </a:cxn>
                <a:cxn ang="0">
                  <a:pos x="225" y="239"/>
                </a:cxn>
              </a:cxnLst>
              <a:rect l="0" t="0" r="r" b="b"/>
              <a:pathLst>
                <a:path w="235" h="278">
                  <a:moveTo>
                    <a:pt x="41" y="0"/>
                  </a:moveTo>
                  <a:lnTo>
                    <a:pt x="31" y="0"/>
                  </a:lnTo>
                  <a:lnTo>
                    <a:pt x="31" y="7"/>
                  </a:lnTo>
                  <a:lnTo>
                    <a:pt x="31" y="2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194" y="278"/>
                  </a:lnTo>
                  <a:lnTo>
                    <a:pt x="204" y="278"/>
                  </a:lnTo>
                  <a:lnTo>
                    <a:pt x="204" y="268"/>
                  </a:lnTo>
                  <a:lnTo>
                    <a:pt x="204" y="249"/>
                  </a:lnTo>
                  <a:lnTo>
                    <a:pt x="225" y="249"/>
                  </a:lnTo>
                  <a:lnTo>
                    <a:pt x="235" y="249"/>
                  </a:lnTo>
                  <a:lnTo>
                    <a:pt x="235" y="239"/>
                  </a:lnTo>
                  <a:lnTo>
                    <a:pt x="235" y="7"/>
                  </a:lnTo>
                  <a:lnTo>
                    <a:pt x="235" y="0"/>
                  </a:lnTo>
                  <a:lnTo>
                    <a:pt x="225" y="0"/>
                  </a:lnTo>
                  <a:lnTo>
                    <a:pt x="41" y="0"/>
                  </a:lnTo>
                  <a:close/>
                  <a:moveTo>
                    <a:pt x="194" y="268"/>
                  </a:moveTo>
                  <a:lnTo>
                    <a:pt x="10" y="268"/>
                  </a:lnTo>
                  <a:lnTo>
                    <a:pt x="10" y="38"/>
                  </a:lnTo>
                  <a:lnTo>
                    <a:pt x="31" y="38"/>
                  </a:lnTo>
                  <a:lnTo>
                    <a:pt x="31" y="239"/>
                  </a:lnTo>
                  <a:lnTo>
                    <a:pt x="31" y="249"/>
                  </a:lnTo>
                  <a:lnTo>
                    <a:pt x="41" y="249"/>
                  </a:lnTo>
                  <a:lnTo>
                    <a:pt x="194" y="249"/>
                  </a:lnTo>
                  <a:lnTo>
                    <a:pt x="194" y="268"/>
                  </a:lnTo>
                  <a:close/>
                  <a:moveTo>
                    <a:pt x="225" y="239"/>
                  </a:moveTo>
                  <a:lnTo>
                    <a:pt x="204" y="239"/>
                  </a:lnTo>
                  <a:lnTo>
                    <a:pt x="194" y="239"/>
                  </a:lnTo>
                  <a:lnTo>
                    <a:pt x="41" y="239"/>
                  </a:lnTo>
                  <a:lnTo>
                    <a:pt x="41" y="38"/>
                  </a:lnTo>
                  <a:lnTo>
                    <a:pt x="41" y="29"/>
                  </a:lnTo>
                  <a:lnTo>
                    <a:pt x="41" y="7"/>
                  </a:lnTo>
                  <a:lnTo>
                    <a:pt x="225" y="7"/>
                  </a:lnTo>
                  <a:lnTo>
                    <a:pt x="225" y="2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13" name="Freeform 13"/>
            <p:cNvSpPr>
              <a:spLocks noEditPoints="1"/>
            </p:cNvSpPr>
            <p:nvPr/>
          </p:nvSpPr>
          <p:spPr bwMode="auto">
            <a:xfrm>
              <a:off x="1112" y="320"/>
              <a:ext cx="111" cy="179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55" y="179"/>
                </a:cxn>
                <a:cxn ang="0">
                  <a:pos x="111" y="134"/>
                </a:cxn>
                <a:cxn ang="0">
                  <a:pos x="82" y="134"/>
                </a:cxn>
                <a:cxn ang="0">
                  <a:pos x="82" y="112"/>
                </a:cxn>
                <a:cxn ang="0">
                  <a:pos x="111" y="88"/>
                </a:cxn>
                <a:cxn ang="0">
                  <a:pos x="82" y="88"/>
                </a:cxn>
                <a:cxn ang="0">
                  <a:pos x="82" y="88"/>
                </a:cxn>
                <a:cxn ang="0">
                  <a:pos x="82" y="67"/>
                </a:cxn>
                <a:cxn ang="0">
                  <a:pos x="111" y="45"/>
                </a:cxn>
                <a:cxn ang="0">
                  <a:pos x="82" y="45"/>
                </a:cxn>
                <a:cxn ang="0">
                  <a:pos x="82" y="45"/>
                </a:cxn>
                <a:cxn ang="0">
                  <a:pos x="82" y="45"/>
                </a:cxn>
                <a:cxn ang="0">
                  <a:pos x="82" y="0"/>
                </a:cxn>
                <a:cxn ang="0">
                  <a:pos x="29" y="0"/>
                </a:cxn>
                <a:cxn ang="0">
                  <a:pos x="29" y="45"/>
                </a:cxn>
                <a:cxn ang="0">
                  <a:pos x="0" y="45"/>
                </a:cxn>
                <a:cxn ang="0">
                  <a:pos x="29" y="67"/>
                </a:cxn>
                <a:cxn ang="0">
                  <a:pos x="29" y="88"/>
                </a:cxn>
                <a:cxn ang="0">
                  <a:pos x="0" y="88"/>
                </a:cxn>
                <a:cxn ang="0">
                  <a:pos x="29" y="112"/>
                </a:cxn>
                <a:cxn ang="0">
                  <a:pos x="29" y="134"/>
                </a:cxn>
                <a:cxn ang="0">
                  <a:pos x="0" y="134"/>
                </a:cxn>
                <a:cxn ang="0">
                  <a:pos x="24" y="52"/>
                </a:cxn>
                <a:cxn ang="0">
                  <a:pos x="29" y="52"/>
                </a:cxn>
                <a:cxn ang="0">
                  <a:pos x="36" y="52"/>
                </a:cxn>
                <a:cxn ang="0">
                  <a:pos x="36" y="45"/>
                </a:cxn>
                <a:cxn ang="0">
                  <a:pos x="36" y="7"/>
                </a:cxn>
                <a:cxn ang="0">
                  <a:pos x="75" y="7"/>
                </a:cxn>
                <a:cxn ang="0">
                  <a:pos x="75" y="45"/>
                </a:cxn>
                <a:cxn ang="0">
                  <a:pos x="75" y="52"/>
                </a:cxn>
                <a:cxn ang="0">
                  <a:pos x="82" y="52"/>
                </a:cxn>
                <a:cxn ang="0">
                  <a:pos x="87" y="52"/>
                </a:cxn>
                <a:cxn ang="0">
                  <a:pos x="55" y="79"/>
                </a:cxn>
                <a:cxn ang="0">
                  <a:pos x="24" y="52"/>
                </a:cxn>
                <a:cxn ang="0">
                  <a:pos x="24" y="98"/>
                </a:cxn>
                <a:cxn ang="0">
                  <a:pos x="29" y="98"/>
                </a:cxn>
                <a:cxn ang="0">
                  <a:pos x="36" y="98"/>
                </a:cxn>
                <a:cxn ang="0">
                  <a:pos x="36" y="88"/>
                </a:cxn>
                <a:cxn ang="0">
                  <a:pos x="36" y="74"/>
                </a:cxn>
                <a:cxn ang="0">
                  <a:pos x="55" y="88"/>
                </a:cxn>
                <a:cxn ang="0">
                  <a:pos x="75" y="74"/>
                </a:cxn>
                <a:cxn ang="0">
                  <a:pos x="75" y="88"/>
                </a:cxn>
                <a:cxn ang="0">
                  <a:pos x="75" y="98"/>
                </a:cxn>
                <a:cxn ang="0">
                  <a:pos x="82" y="98"/>
                </a:cxn>
                <a:cxn ang="0">
                  <a:pos x="87" y="98"/>
                </a:cxn>
                <a:cxn ang="0">
                  <a:pos x="55" y="122"/>
                </a:cxn>
                <a:cxn ang="0">
                  <a:pos x="24" y="98"/>
                </a:cxn>
                <a:cxn ang="0">
                  <a:pos x="36" y="144"/>
                </a:cxn>
                <a:cxn ang="0">
                  <a:pos x="36" y="134"/>
                </a:cxn>
                <a:cxn ang="0">
                  <a:pos x="36" y="120"/>
                </a:cxn>
                <a:cxn ang="0">
                  <a:pos x="55" y="134"/>
                </a:cxn>
                <a:cxn ang="0">
                  <a:pos x="75" y="120"/>
                </a:cxn>
                <a:cxn ang="0">
                  <a:pos x="75" y="134"/>
                </a:cxn>
                <a:cxn ang="0">
                  <a:pos x="75" y="144"/>
                </a:cxn>
                <a:cxn ang="0">
                  <a:pos x="82" y="144"/>
                </a:cxn>
                <a:cxn ang="0">
                  <a:pos x="87" y="144"/>
                </a:cxn>
                <a:cxn ang="0">
                  <a:pos x="55" y="168"/>
                </a:cxn>
                <a:cxn ang="0">
                  <a:pos x="24" y="144"/>
                </a:cxn>
                <a:cxn ang="0">
                  <a:pos x="29" y="144"/>
                </a:cxn>
                <a:cxn ang="0">
                  <a:pos x="36" y="144"/>
                </a:cxn>
              </a:cxnLst>
              <a:rect l="0" t="0" r="r" b="b"/>
              <a:pathLst>
                <a:path w="111" h="179">
                  <a:moveTo>
                    <a:pt x="0" y="134"/>
                  </a:moveTo>
                  <a:lnTo>
                    <a:pt x="55" y="179"/>
                  </a:lnTo>
                  <a:lnTo>
                    <a:pt x="111" y="134"/>
                  </a:lnTo>
                  <a:lnTo>
                    <a:pt x="82" y="134"/>
                  </a:lnTo>
                  <a:lnTo>
                    <a:pt x="82" y="112"/>
                  </a:lnTo>
                  <a:lnTo>
                    <a:pt x="111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67"/>
                  </a:lnTo>
                  <a:lnTo>
                    <a:pt x="111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0"/>
                  </a:lnTo>
                  <a:lnTo>
                    <a:pt x="29" y="0"/>
                  </a:lnTo>
                  <a:lnTo>
                    <a:pt x="29" y="45"/>
                  </a:lnTo>
                  <a:lnTo>
                    <a:pt x="0" y="45"/>
                  </a:lnTo>
                  <a:lnTo>
                    <a:pt x="29" y="67"/>
                  </a:lnTo>
                  <a:lnTo>
                    <a:pt x="29" y="88"/>
                  </a:lnTo>
                  <a:lnTo>
                    <a:pt x="0" y="88"/>
                  </a:lnTo>
                  <a:lnTo>
                    <a:pt x="29" y="112"/>
                  </a:lnTo>
                  <a:lnTo>
                    <a:pt x="29" y="134"/>
                  </a:lnTo>
                  <a:lnTo>
                    <a:pt x="0" y="134"/>
                  </a:lnTo>
                  <a:close/>
                  <a:moveTo>
                    <a:pt x="24" y="52"/>
                  </a:moveTo>
                  <a:lnTo>
                    <a:pt x="29" y="52"/>
                  </a:lnTo>
                  <a:lnTo>
                    <a:pt x="36" y="52"/>
                  </a:lnTo>
                  <a:lnTo>
                    <a:pt x="36" y="45"/>
                  </a:lnTo>
                  <a:lnTo>
                    <a:pt x="36" y="7"/>
                  </a:lnTo>
                  <a:lnTo>
                    <a:pt x="75" y="7"/>
                  </a:lnTo>
                  <a:lnTo>
                    <a:pt x="75" y="45"/>
                  </a:lnTo>
                  <a:lnTo>
                    <a:pt x="75" y="52"/>
                  </a:lnTo>
                  <a:lnTo>
                    <a:pt x="82" y="52"/>
                  </a:lnTo>
                  <a:lnTo>
                    <a:pt x="87" y="52"/>
                  </a:lnTo>
                  <a:lnTo>
                    <a:pt x="55" y="79"/>
                  </a:lnTo>
                  <a:lnTo>
                    <a:pt x="24" y="52"/>
                  </a:lnTo>
                  <a:close/>
                  <a:moveTo>
                    <a:pt x="24" y="98"/>
                  </a:moveTo>
                  <a:lnTo>
                    <a:pt x="29" y="98"/>
                  </a:lnTo>
                  <a:lnTo>
                    <a:pt x="36" y="98"/>
                  </a:lnTo>
                  <a:lnTo>
                    <a:pt x="36" y="88"/>
                  </a:lnTo>
                  <a:lnTo>
                    <a:pt x="36" y="74"/>
                  </a:lnTo>
                  <a:lnTo>
                    <a:pt x="55" y="88"/>
                  </a:lnTo>
                  <a:lnTo>
                    <a:pt x="75" y="74"/>
                  </a:lnTo>
                  <a:lnTo>
                    <a:pt x="75" y="88"/>
                  </a:lnTo>
                  <a:lnTo>
                    <a:pt x="75" y="98"/>
                  </a:lnTo>
                  <a:lnTo>
                    <a:pt x="82" y="98"/>
                  </a:lnTo>
                  <a:lnTo>
                    <a:pt x="87" y="98"/>
                  </a:lnTo>
                  <a:lnTo>
                    <a:pt x="55" y="122"/>
                  </a:lnTo>
                  <a:lnTo>
                    <a:pt x="24" y="98"/>
                  </a:lnTo>
                  <a:close/>
                  <a:moveTo>
                    <a:pt x="36" y="144"/>
                  </a:moveTo>
                  <a:lnTo>
                    <a:pt x="36" y="134"/>
                  </a:lnTo>
                  <a:lnTo>
                    <a:pt x="36" y="120"/>
                  </a:lnTo>
                  <a:lnTo>
                    <a:pt x="55" y="134"/>
                  </a:lnTo>
                  <a:lnTo>
                    <a:pt x="75" y="120"/>
                  </a:lnTo>
                  <a:lnTo>
                    <a:pt x="75" y="134"/>
                  </a:lnTo>
                  <a:lnTo>
                    <a:pt x="75" y="144"/>
                  </a:lnTo>
                  <a:lnTo>
                    <a:pt x="82" y="144"/>
                  </a:lnTo>
                  <a:lnTo>
                    <a:pt x="87" y="144"/>
                  </a:lnTo>
                  <a:lnTo>
                    <a:pt x="55" y="168"/>
                  </a:lnTo>
                  <a:lnTo>
                    <a:pt x="24" y="144"/>
                  </a:lnTo>
                  <a:lnTo>
                    <a:pt x="29" y="144"/>
                  </a:lnTo>
                  <a:lnTo>
                    <a:pt x="36" y="1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14" name="Freeform 14"/>
            <p:cNvSpPr>
              <a:spLocks noEditPoints="1"/>
            </p:cNvSpPr>
            <p:nvPr/>
          </p:nvSpPr>
          <p:spPr bwMode="auto">
            <a:xfrm>
              <a:off x="913" y="17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17" name="Group 17"/>
          <p:cNvGrpSpPr>
            <a:grpSpLocks noChangeAspect="1"/>
          </p:cNvGrpSpPr>
          <p:nvPr/>
        </p:nvGrpSpPr>
        <p:grpSpPr bwMode="auto">
          <a:xfrm>
            <a:off x="2520156" y="241300"/>
            <a:ext cx="850900" cy="850900"/>
            <a:chOff x="1578" y="152"/>
            <a:chExt cx="536" cy="536"/>
          </a:xfrm>
        </p:grpSpPr>
        <p:sp>
          <p:nvSpPr>
            <p:cNvPr id="51218" name="Oval 18"/>
            <p:cNvSpPr>
              <a:spLocks noChangeArrowheads="1"/>
            </p:cNvSpPr>
            <p:nvPr/>
          </p:nvSpPr>
          <p:spPr bwMode="auto">
            <a:xfrm>
              <a:off x="1578" y="152"/>
              <a:ext cx="536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19" name="Freeform 19"/>
            <p:cNvSpPr>
              <a:spLocks noEditPoints="1"/>
            </p:cNvSpPr>
            <p:nvPr/>
          </p:nvSpPr>
          <p:spPr bwMode="auto">
            <a:xfrm>
              <a:off x="1599" y="173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20" name="Freeform 20"/>
            <p:cNvSpPr>
              <a:spLocks noEditPoints="1"/>
            </p:cNvSpPr>
            <p:nvPr/>
          </p:nvSpPr>
          <p:spPr bwMode="auto">
            <a:xfrm>
              <a:off x="1717" y="291"/>
              <a:ext cx="258" cy="25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9" y="108"/>
                </a:cxn>
                <a:cxn ang="0">
                  <a:pos x="99" y="0"/>
                </a:cxn>
                <a:cxn ang="0">
                  <a:pos x="4" y="84"/>
                </a:cxn>
                <a:cxn ang="0">
                  <a:pos x="4" y="101"/>
                </a:cxn>
                <a:cxn ang="0">
                  <a:pos x="83" y="30"/>
                </a:cxn>
                <a:cxn ang="0">
                  <a:pos x="54" y="96"/>
                </a:cxn>
                <a:cxn ang="0">
                  <a:pos x="58" y="91"/>
                </a:cxn>
                <a:cxn ang="0">
                  <a:pos x="42" y="84"/>
                </a:cxn>
                <a:cxn ang="0">
                  <a:pos x="29" y="57"/>
                </a:cxn>
                <a:cxn ang="0">
                  <a:pos x="35" y="80"/>
                </a:cxn>
                <a:cxn ang="0">
                  <a:pos x="55" y="80"/>
                </a:cxn>
                <a:cxn ang="0">
                  <a:pos x="57" y="80"/>
                </a:cxn>
                <a:cxn ang="0">
                  <a:pos x="55" y="30"/>
                </a:cxn>
                <a:cxn ang="0">
                  <a:pos x="55" y="53"/>
                </a:cxn>
                <a:cxn ang="0">
                  <a:pos x="71" y="53"/>
                </a:cxn>
                <a:cxn ang="0">
                  <a:pos x="77" y="14"/>
                </a:cxn>
                <a:cxn ang="0">
                  <a:pos x="81" y="19"/>
                </a:cxn>
                <a:cxn ang="0">
                  <a:pos x="78" y="22"/>
                </a:cxn>
                <a:cxn ang="0">
                  <a:pos x="55" y="4"/>
                </a:cxn>
                <a:cxn ang="0">
                  <a:pos x="52" y="26"/>
                </a:cxn>
                <a:cxn ang="0">
                  <a:pos x="52" y="4"/>
                </a:cxn>
                <a:cxn ang="0">
                  <a:pos x="52" y="53"/>
                </a:cxn>
                <a:cxn ang="0">
                  <a:pos x="52" y="30"/>
                </a:cxn>
                <a:cxn ang="0">
                  <a:pos x="4" y="30"/>
                </a:cxn>
                <a:cxn ang="0">
                  <a:pos x="25" y="57"/>
                </a:cxn>
                <a:cxn ang="0">
                  <a:pos x="4" y="80"/>
                </a:cxn>
                <a:cxn ang="0">
                  <a:pos x="22" y="82"/>
                </a:cxn>
                <a:cxn ang="0">
                  <a:pos x="27" y="87"/>
                </a:cxn>
                <a:cxn ang="0">
                  <a:pos x="34" y="85"/>
                </a:cxn>
                <a:cxn ang="0">
                  <a:pos x="52" y="99"/>
                </a:cxn>
                <a:cxn ang="0">
                  <a:pos x="29" y="90"/>
                </a:cxn>
                <a:cxn ang="0">
                  <a:pos x="59" y="86"/>
                </a:cxn>
                <a:cxn ang="0">
                  <a:pos x="79" y="104"/>
                </a:cxn>
                <a:cxn ang="0">
                  <a:pos x="61" y="80"/>
                </a:cxn>
                <a:cxn ang="0">
                  <a:pos x="79" y="80"/>
                </a:cxn>
                <a:cxn ang="0">
                  <a:pos x="104" y="57"/>
                </a:cxn>
                <a:cxn ang="0">
                  <a:pos x="83" y="57"/>
                </a:cxn>
                <a:cxn ang="0">
                  <a:pos x="89" y="15"/>
                </a:cxn>
                <a:cxn ang="0">
                  <a:pos x="104" y="26"/>
                </a:cxn>
                <a:cxn ang="0">
                  <a:pos x="88" y="12"/>
                </a:cxn>
                <a:cxn ang="0">
                  <a:pos x="99" y="4"/>
                </a:cxn>
                <a:cxn ang="0">
                  <a:pos x="25" y="4"/>
                </a:cxn>
                <a:cxn ang="0">
                  <a:pos x="4" y="9"/>
                </a:cxn>
                <a:cxn ang="0">
                  <a:pos x="23" y="89"/>
                </a:cxn>
                <a:cxn ang="0">
                  <a:pos x="9" y="104"/>
                </a:cxn>
                <a:cxn ang="0">
                  <a:pos x="83" y="104"/>
                </a:cxn>
                <a:cxn ang="0">
                  <a:pos x="104" y="100"/>
                </a:cxn>
              </a:cxnLst>
              <a:rect l="0" t="0" r="r" b="b"/>
              <a:pathLst>
                <a:path w="108" h="108">
                  <a:moveTo>
                    <a:pt x="9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104" y="108"/>
                    <a:pt x="108" y="104"/>
                    <a:pt x="108" y="100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08" y="4"/>
                    <a:pt x="104" y="0"/>
                    <a:pt x="99" y="0"/>
                  </a:cubicBezTo>
                  <a:close/>
                  <a:moveTo>
                    <a:pt x="4" y="101"/>
                  </a:moveTo>
                  <a:cubicBezTo>
                    <a:pt x="4" y="101"/>
                    <a:pt x="4" y="100"/>
                    <a:pt x="4" y="100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20" y="86"/>
                    <a:pt x="20" y="87"/>
                  </a:cubicBezTo>
                  <a:lnTo>
                    <a:pt x="4" y="101"/>
                  </a:lnTo>
                  <a:close/>
                  <a:moveTo>
                    <a:pt x="104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104" y="30"/>
                    <a:pt x="104" y="30"/>
                    <a:pt x="104" y="30"/>
                  </a:cubicBezTo>
                  <a:lnTo>
                    <a:pt x="104" y="53"/>
                  </a:lnTo>
                  <a:close/>
                  <a:moveTo>
                    <a:pt x="54" y="96"/>
                  </a:moveTo>
                  <a:cubicBezTo>
                    <a:pt x="51" y="96"/>
                    <a:pt x="49" y="94"/>
                    <a:pt x="49" y="91"/>
                  </a:cubicBezTo>
                  <a:cubicBezTo>
                    <a:pt x="49" y="89"/>
                    <a:pt x="51" y="87"/>
                    <a:pt x="54" y="87"/>
                  </a:cubicBezTo>
                  <a:cubicBezTo>
                    <a:pt x="56" y="87"/>
                    <a:pt x="58" y="89"/>
                    <a:pt x="58" y="91"/>
                  </a:cubicBezTo>
                  <a:cubicBezTo>
                    <a:pt x="58" y="94"/>
                    <a:pt x="56" y="96"/>
                    <a:pt x="54" y="96"/>
                  </a:cubicBezTo>
                  <a:close/>
                  <a:moveTo>
                    <a:pt x="47" y="86"/>
                  </a:moveTo>
                  <a:cubicBezTo>
                    <a:pt x="42" y="84"/>
                    <a:pt x="42" y="84"/>
                    <a:pt x="42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49" y="85"/>
                    <a:pt x="48" y="85"/>
                    <a:pt x="47" y="86"/>
                  </a:cubicBezTo>
                  <a:close/>
                  <a:moveTo>
                    <a:pt x="29" y="57"/>
                  </a:moveTo>
                  <a:cubicBezTo>
                    <a:pt x="52" y="57"/>
                    <a:pt x="52" y="57"/>
                    <a:pt x="52" y="57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77"/>
                    <a:pt x="32" y="75"/>
                    <a:pt x="29" y="74"/>
                  </a:cubicBezTo>
                  <a:lnTo>
                    <a:pt x="29" y="57"/>
                  </a:lnTo>
                  <a:close/>
                  <a:moveTo>
                    <a:pt x="55" y="80"/>
                  </a:moveTo>
                  <a:cubicBezTo>
                    <a:pt x="55" y="57"/>
                    <a:pt x="55" y="57"/>
                    <a:pt x="55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57" y="80"/>
                    <a:pt x="57" y="80"/>
                    <a:pt x="57" y="80"/>
                  </a:cubicBezTo>
                  <a:lnTo>
                    <a:pt x="55" y="80"/>
                  </a:lnTo>
                  <a:close/>
                  <a:moveTo>
                    <a:pt x="55" y="53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53"/>
                    <a:pt x="67" y="53"/>
                    <a:pt x="67" y="53"/>
                  </a:cubicBezTo>
                  <a:lnTo>
                    <a:pt x="55" y="53"/>
                  </a:lnTo>
                  <a:close/>
                  <a:moveTo>
                    <a:pt x="79" y="31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1" y="53"/>
                    <a:pt x="71" y="53"/>
                    <a:pt x="71" y="53"/>
                  </a:cubicBezTo>
                  <a:lnTo>
                    <a:pt x="79" y="31"/>
                  </a:lnTo>
                  <a:close/>
                  <a:moveTo>
                    <a:pt x="81" y="19"/>
                  </a:moveTo>
                  <a:cubicBezTo>
                    <a:pt x="78" y="19"/>
                    <a:pt x="77" y="17"/>
                    <a:pt x="77" y="14"/>
                  </a:cubicBezTo>
                  <a:cubicBezTo>
                    <a:pt x="77" y="12"/>
                    <a:pt x="78" y="10"/>
                    <a:pt x="81" y="10"/>
                  </a:cubicBezTo>
                  <a:cubicBezTo>
                    <a:pt x="83" y="10"/>
                    <a:pt x="85" y="12"/>
                    <a:pt x="85" y="14"/>
                  </a:cubicBezTo>
                  <a:cubicBezTo>
                    <a:pt x="85" y="17"/>
                    <a:pt x="83" y="19"/>
                    <a:pt x="81" y="19"/>
                  </a:cubicBezTo>
                  <a:close/>
                  <a:moveTo>
                    <a:pt x="79" y="7"/>
                  </a:moveTo>
                  <a:cubicBezTo>
                    <a:pt x="76" y="7"/>
                    <a:pt x="73" y="11"/>
                    <a:pt x="73" y="14"/>
                  </a:cubicBezTo>
                  <a:cubicBezTo>
                    <a:pt x="73" y="18"/>
                    <a:pt x="75" y="21"/>
                    <a:pt x="78" y="22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79" y="4"/>
                    <a:pt x="79" y="4"/>
                    <a:pt x="79" y="4"/>
                  </a:cubicBezTo>
                  <a:lnTo>
                    <a:pt x="79" y="7"/>
                  </a:lnTo>
                  <a:close/>
                  <a:moveTo>
                    <a:pt x="52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52" y="26"/>
                  </a:lnTo>
                  <a:close/>
                  <a:moveTo>
                    <a:pt x="52" y="30"/>
                  </a:moveTo>
                  <a:cubicBezTo>
                    <a:pt x="52" y="53"/>
                    <a:pt x="52" y="53"/>
                    <a:pt x="52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30"/>
                    <a:pt x="29" y="30"/>
                    <a:pt x="29" y="30"/>
                  </a:cubicBezTo>
                  <a:lnTo>
                    <a:pt x="52" y="30"/>
                  </a:lnTo>
                  <a:close/>
                  <a:moveTo>
                    <a:pt x="25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5" y="30"/>
                    <a:pt x="25" y="30"/>
                    <a:pt x="25" y="30"/>
                  </a:cubicBezTo>
                  <a:lnTo>
                    <a:pt x="25" y="53"/>
                  </a:lnTo>
                  <a:close/>
                  <a:moveTo>
                    <a:pt x="25" y="57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2" y="75"/>
                    <a:pt x="20" y="77"/>
                    <a:pt x="19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57"/>
                    <a:pt x="4" y="57"/>
                    <a:pt x="4" y="57"/>
                  </a:cubicBezTo>
                  <a:lnTo>
                    <a:pt x="25" y="57"/>
                  </a:lnTo>
                  <a:close/>
                  <a:moveTo>
                    <a:pt x="22" y="82"/>
                  </a:moveTo>
                  <a:cubicBezTo>
                    <a:pt x="22" y="80"/>
                    <a:pt x="24" y="78"/>
                    <a:pt x="27" y="78"/>
                  </a:cubicBezTo>
                  <a:cubicBezTo>
                    <a:pt x="29" y="78"/>
                    <a:pt x="31" y="80"/>
                    <a:pt x="31" y="82"/>
                  </a:cubicBezTo>
                  <a:cubicBezTo>
                    <a:pt x="31" y="85"/>
                    <a:pt x="29" y="87"/>
                    <a:pt x="27" y="87"/>
                  </a:cubicBezTo>
                  <a:cubicBezTo>
                    <a:pt x="24" y="87"/>
                    <a:pt x="22" y="85"/>
                    <a:pt x="22" y="82"/>
                  </a:cubicBezTo>
                  <a:close/>
                  <a:moveTo>
                    <a:pt x="29" y="90"/>
                  </a:moveTo>
                  <a:cubicBezTo>
                    <a:pt x="31" y="89"/>
                    <a:pt x="34" y="87"/>
                    <a:pt x="34" y="8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5"/>
                    <a:pt x="48" y="98"/>
                    <a:pt x="52" y="99"/>
                  </a:cubicBezTo>
                  <a:cubicBezTo>
                    <a:pt x="52" y="104"/>
                    <a:pt x="52" y="104"/>
                    <a:pt x="52" y="104"/>
                  </a:cubicBezTo>
                  <a:cubicBezTo>
                    <a:pt x="29" y="104"/>
                    <a:pt x="29" y="104"/>
                    <a:pt x="29" y="104"/>
                  </a:cubicBezTo>
                  <a:lnTo>
                    <a:pt x="29" y="90"/>
                  </a:lnTo>
                  <a:close/>
                  <a:moveTo>
                    <a:pt x="55" y="99"/>
                  </a:moveTo>
                  <a:cubicBezTo>
                    <a:pt x="59" y="98"/>
                    <a:pt x="62" y="95"/>
                    <a:pt x="62" y="91"/>
                  </a:cubicBezTo>
                  <a:cubicBezTo>
                    <a:pt x="62" y="89"/>
                    <a:pt x="61" y="87"/>
                    <a:pt x="59" y="86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55" y="104"/>
                    <a:pt x="55" y="104"/>
                    <a:pt x="55" y="104"/>
                  </a:cubicBezTo>
                  <a:lnTo>
                    <a:pt x="55" y="99"/>
                  </a:lnTo>
                  <a:close/>
                  <a:moveTo>
                    <a:pt x="61" y="80"/>
                  </a:moveTo>
                  <a:cubicBezTo>
                    <a:pt x="70" y="57"/>
                    <a:pt x="70" y="57"/>
                    <a:pt x="70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80"/>
                    <a:pt x="79" y="80"/>
                    <a:pt x="79" y="80"/>
                  </a:cubicBezTo>
                  <a:lnTo>
                    <a:pt x="61" y="80"/>
                  </a:lnTo>
                  <a:close/>
                  <a:moveTo>
                    <a:pt x="83" y="57"/>
                  </a:moveTo>
                  <a:cubicBezTo>
                    <a:pt x="104" y="57"/>
                    <a:pt x="104" y="57"/>
                    <a:pt x="104" y="57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83" y="80"/>
                    <a:pt x="83" y="80"/>
                    <a:pt x="83" y="80"/>
                  </a:cubicBezTo>
                  <a:lnTo>
                    <a:pt x="83" y="57"/>
                  </a:lnTo>
                  <a:close/>
                  <a:moveTo>
                    <a:pt x="83" y="26"/>
                  </a:moveTo>
                  <a:cubicBezTo>
                    <a:pt x="83" y="22"/>
                    <a:pt x="83" y="22"/>
                    <a:pt x="83" y="22"/>
                  </a:cubicBezTo>
                  <a:cubicBezTo>
                    <a:pt x="86" y="21"/>
                    <a:pt x="88" y="19"/>
                    <a:pt x="89" y="15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8"/>
                    <a:pt x="104" y="8"/>
                    <a:pt x="104" y="9"/>
                  </a:cubicBezTo>
                  <a:cubicBezTo>
                    <a:pt x="104" y="26"/>
                    <a:pt x="104" y="26"/>
                    <a:pt x="104" y="26"/>
                  </a:cubicBezTo>
                  <a:lnTo>
                    <a:pt x="83" y="26"/>
                  </a:lnTo>
                  <a:close/>
                  <a:moveTo>
                    <a:pt x="101" y="4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7" y="9"/>
                    <a:pt x="85" y="7"/>
                    <a:pt x="83" y="7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0" y="4"/>
                    <a:pt x="101" y="4"/>
                    <a:pt x="101" y="4"/>
                  </a:cubicBezTo>
                  <a:close/>
                  <a:moveTo>
                    <a:pt x="9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lose/>
                  <a:moveTo>
                    <a:pt x="7" y="104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90"/>
                    <a:pt x="24" y="90"/>
                    <a:pt x="25" y="90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8" y="104"/>
                    <a:pt x="7" y="104"/>
                    <a:pt x="7" y="104"/>
                  </a:cubicBezTo>
                  <a:close/>
                  <a:moveTo>
                    <a:pt x="99" y="104"/>
                  </a:moveTo>
                  <a:cubicBezTo>
                    <a:pt x="83" y="104"/>
                    <a:pt x="83" y="104"/>
                    <a:pt x="83" y="104"/>
                  </a:cubicBezTo>
                  <a:cubicBezTo>
                    <a:pt x="83" y="84"/>
                    <a:pt x="83" y="84"/>
                    <a:pt x="83" y="84"/>
                  </a:cubicBezTo>
                  <a:cubicBezTo>
                    <a:pt x="104" y="84"/>
                    <a:pt x="104" y="84"/>
                    <a:pt x="104" y="84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04" y="102"/>
                    <a:pt x="102" y="104"/>
                    <a:pt x="99" y="10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23" name="Group 23"/>
          <p:cNvGrpSpPr>
            <a:grpSpLocks noChangeAspect="1"/>
          </p:cNvGrpSpPr>
          <p:nvPr/>
        </p:nvGrpSpPr>
        <p:grpSpPr bwMode="auto">
          <a:xfrm>
            <a:off x="3649665" y="274638"/>
            <a:ext cx="784226" cy="784226"/>
            <a:chOff x="2289" y="173"/>
            <a:chExt cx="494" cy="494"/>
          </a:xfrm>
        </p:grpSpPr>
        <p:sp>
          <p:nvSpPr>
            <p:cNvPr id="51224" name="Freeform 24"/>
            <p:cNvSpPr>
              <a:spLocks noEditPoints="1"/>
            </p:cNvSpPr>
            <p:nvPr/>
          </p:nvSpPr>
          <p:spPr bwMode="auto">
            <a:xfrm>
              <a:off x="2289" y="173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25" name="Freeform 25"/>
            <p:cNvSpPr>
              <a:spLocks noEditPoints="1"/>
            </p:cNvSpPr>
            <p:nvPr/>
          </p:nvSpPr>
          <p:spPr bwMode="auto">
            <a:xfrm>
              <a:off x="2407" y="291"/>
              <a:ext cx="259" cy="259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9" y="108"/>
                </a:cxn>
                <a:cxn ang="0">
                  <a:pos x="99" y="0"/>
                </a:cxn>
                <a:cxn ang="0">
                  <a:pos x="4" y="84"/>
                </a:cxn>
                <a:cxn ang="0">
                  <a:pos x="4" y="101"/>
                </a:cxn>
                <a:cxn ang="0">
                  <a:pos x="83" y="30"/>
                </a:cxn>
                <a:cxn ang="0">
                  <a:pos x="54" y="96"/>
                </a:cxn>
                <a:cxn ang="0">
                  <a:pos x="58" y="91"/>
                </a:cxn>
                <a:cxn ang="0">
                  <a:pos x="42" y="84"/>
                </a:cxn>
                <a:cxn ang="0">
                  <a:pos x="29" y="57"/>
                </a:cxn>
                <a:cxn ang="0">
                  <a:pos x="35" y="80"/>
                </a:cxn>
                <a:cxn ang="0">
                  <a:pos x="55" y="80"/>
                </a:cxn>
                <a:cxn ang="0">
                  <a:pos x="57" y="80"/>
                </a:cxn>
                <a:cxn ang="0">
                  <a:pos x="55" y="30"/>
                </a:cxn>
                <a:cxn ang="0">
                  <a:pos x="55" y="53"/>
                </a:cxn>
                <a:cxn ang="0">
                  <a:pos x="71" y="53"/>
                </a:cxn>
                <a:cxn ang="0">
                  <a:pos x="77" y="14"/>
                </a:cxn>
                <a:cxn ang="0">
                  <a:pos x="81" y="19"/>
                </a:cxn>
                <a:cxn ang="0">
                  <a:pos x="78" y="22"/>
                </a:cxn>
                <a:cxn ang="0">
                  <a:pos x="55" y="4"/>
                </a:cxn>
                <a:cxn ang="0">
                  <a:pos x="52" y="26"/>
                </a:cxn>
                <a:cxn ang="0">
                  <a:pos x="52" y="4"/>
                </a:cxn>
                <a:cxn ang="0">
                  <a:pos x="52" y="53"/>
                </a:cxn>
                <a:cxn ang="0">
                  <a:pos x="52" y="30"/>
                </a:cxn>
                <a:cxn ang="0">
                  <a:pos x="4" y="30"/>
                </a:cxn>
                <a:cxn ang="0">
                  <a:pos x="25" y="57"/>
                </a:cxn>
                <a:cxn ang="0">
                  <a:pos x="4" y="80"/>
                </a:cxn>
                <a:cxn ang="0">
                  <a:pos x="22" y="82"/>
                </a:cxn>
                <a:cxn ang="0">
                  <a:pos x="27" y="87"/>
                </a:cxn>
                <a:cxn ang="0">
                  <a:pos x="34" y="85"/>
                </a:cxn>
                <a:cxn ang="0">
                  <a:pos x="52" y="99"/>
                </a:cxn>
                <a:cxn ang="0">
                  <a:pos x="29" y="90"/>
                </a:cxn>
                <a:cxn ang="0">
                  <a:pos x="59" y="86"/>
                </a:cxn>
                <a:cxn ang="0">
                  <a:pos x="79" y="104"/>
                </a:cxn>
                <a:cxn ang="0">
                  <a:pos x="61" y="80"/>
                </a:cxn>
                <a:cxn ang="0">
                  <a:pos x="79" y="80"/>
                </a:cxn>
                <a:cxn ang="0">
                  <a:pos x="104" y="57"/>
                </a:cxn>
                <a:cxn ang="0">
                  <a:pos x="83" y="57"/>
                </a:cxn>
                <a:cxn ang="0">
                  <a:pos x="89" y="15"/>
                </a:cxn>
                <a:cxn ang="0">
                  <a:pos x="104" y="26"/>
                </a:cxn>
                <a:cxn ang="0">
                  <a:pos x="88" y="12"/>
                </a:cxn>
                <a:cxn ang="0">
                  <a:pos x="99" y="4"/>
                </a:cxn>
                <a:cxn ang="0">
                  <a:pos x="25" y="4"/>
                </a:cxn>
                <a:cxn ang="0">
                  <a:pos x="4" y="9"/>
                </a:cxn>
                <a:cxn ang="0">
                  <a:pos x="23" y="89"/>
                </a:cxn>
                <a:cxn ang="0">
                  <a:pos x="9" y="104"/>
                </a:cxn>
                <a:cxn ang="0">
                  <a:pos x="83" y="104"/>
                </a:cxn>
                <a:cxn ang="0">
                  <a:pos x="104" y="100"/>
                </a:cxn>
              </a:cxnLst>
              <a:rect l="0" t="0" r="r" b="b"/>
              <a:pathLst>
                <a:path w="108" h="108">
                  <a:moveTo>
                    <a:pt x="9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4"/>
                    <a:pt x="4" y="108"/>
                    <a:pt x="9" y="108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104" y="108"/>
                    <a:pt x="108" y="104"/>
                    <a:pt x="108" y="100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08" y="4"/>
                    <a:pt x="104" y="0"/>
                    <a:pt x="99" y="0"/>
                  </a:cubicBezTo>
                  <a:close/>
                  <a:moveTo>
                    <a:pt x="4" y="101"/>
                  </a:moveTo>
                  <a:cubicBezTo>
                    <a:pt x="4" y="101"/>
                    <a:pt x="4" y="100"/>
                    <a:pt x="4" y="100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20" y="86"/>
                    <a:pt x="20" y="87"/>
                  </a:cubicBezTo>
                  <a:lnTo>
                    <a:pt x="4" y="101"/>
                  </a:lnTo>
                  <a:close/>
                  <a:moveTo>
                    <a:pt x="104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104" y="30"/>
                    <a:pt x="104" y="30"/>
                    <a:pt x="104" y="30"/>
                  </a:cubicBezTo>
                  <a:lnTo>
                    <a:pt x="104" y="53"/>
                  </a:lnTo>
                  <a:close/>
                  <a:moveTo>
                    <a:pt x="54" y="96"/>
                  </a:moveTo>
                  <a:cubicBezTo>
                    <a:pt x="51" y="96"/>
                    <a:pt x="49" y="94"/>
                    <a:pt x="49" y="91"/>
                  </a:cubicBezTo>
                  <a:cubicBezTo>
                    <a:pt x="49" y="89"/>
                    <a:pt x="51" y="87"/>
                    <a:pt x="54" y="87"/>
                  </a:cubicBezTo>
                  <a:cubicBezTo>
                    <a:pt x="56" y="87"/>
                    <a:pt x="58" y="89"/>
                    <a:pt x="58" y="91"/>
                  </a:cubicBezTo>
                  <a:cubicBezTo>
                    <a:pt x="58" y="94"/>
                    <a:pt x="56" y="96"/>
                    <a:pt x="54" y="96"/>
                  </a:cubicBezTo>
                  <a:close/>
                  <a:moveTo>
                    <a:pt x="47" y="86"/>
                  </a:moveTo>
                  <a:cubicBezTo>
                    <a:pt x="42" y="84"/>
                    <a:pt x="42" y="84"/>
                    <a:pt x="42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49" y="85"/>
                    <a:pt x="48" y="85"/>
                    <a:pt x="47" y="86"/>
                  </a:cubicBezTo>
                  <a:close/>
                  <a:moveTo>
                    <a:pt x="29" y="57"/>
                  </a:moveTo>
                  <a:cubicBezTo>
                    <a:pt x="52" y="57"/>
                    <a:pt x="52" y="57"/>
                    <a:pt x="52" y="57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4" y="77"/>
                    <a:pt x="32" y="75"/>
                    <a:pt x="29" y="74"/>
                  </a:cubicBezTo>
                  <a:lnTo>
                    <a:pt x="29" y="57"/>
                  </a:lnTo>
                  <a:close/>
                  <a:moveTo>
                    <a:pt x="55" y="80"/>
                  </a:moveTo>
                  <a:cubicBezTo>
                    <a:pt x="55" y="57"/>
                    <a:pt x="55" y="57"/>
                    <a:pt x="55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57" y="80"/>
                    <a:pt x="57" y="80"/>
                    <a:pt x="57" y="80"/>
                  </a:cubicBezTo>
                  <a:lnTo>
                    <a:pt x="55" y="80"/>
                  </a:lnTo>
                  <a:close/>
                  <a:moveTo>
                    <a:pt x="55" y="53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53"/>
                    <a:pt x="67" y="53"/>
                    <a:pt x="67" y="53"/>
                  </a:cubicBezTo>
                  <a:lnTo>
                    <a:pt x="55" y="53"/>
                  </a:lnTo>
                  <a:close/>
                  <a:moveTo>
                    <a:pt x="79" y="31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1" y="53"/>
                    <a:pt x="71" y="53"/>
                    <a:pt x="71" y="53"/>
                  </a:cubicBezTo>
                  <a:lnTo>
                    <a:pt x="79" y="31"/>
                  </a:lnTo>
                  <a:close/>
                  <a:moveTo>
                    <a:pt x="81" y="19"/>
                  </a:moveTo>
                  <a:cubicBezTo>
                    <a:pt x="78" y="19"/>
                    <a:pt x="77" y="17"/>
                    <a:pt x="77" y="14"/>
                  </a:cubicBezTo>
                  <a:cubicBezTo>
                    <a:pt x="77" y="12"/>
                    <a:pt x="78" y="10"/>
                    <a:pt x="81" y="10"/>
                  </a:cubicBezTo>
                  <a:cubicBezTo>
                    <a:pt x="83" y="10"/>
                    <a:pt x="85" y="12"/>
                    <a:pt x="85" y="14"/>
                  </a:cubicBezTo>
                  <a:cubicBezTo>
                    <a:pt x="85" y="17"/>
                    <a:pt x="83" y="19"/>
                    <a:pt x="81" y="19"/>
                  </a:cubicBezTo>
                  <a:close/>
                  <a:moveTo>
                    <a:pt x="79" y="7"/>
                  </a:moveTo>
                  <a:cubicBezTo>
                    <a:pt x="76" y="7"/>
                    <a:pt x="73" y="11"/>
                    <a:pt x="73" y="14"/>
                  </a:cubicBezTo>
                  <a:cubicBezTo>
                    <a:pt x="73" y="18"/>
                    <a:pt x="75" y="21"/>
                    <a:pt x="78" y="22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79" y="4"/>
                    <a:pt x="79" y="4"/>
                    <a:pt x="79" y="4"/>
                  </a:cubicBezTo>
                  <a:lnTo>
                    <a:pt x="79" y="7"/>
                  </a:lnTo>
                  <a:close/>
                  <a:moveTo>
                    <a:pt x="52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52" y="26"/>
                  </a:lnTo>
                  <a:close/>
                  <a:moveTo>
                    <a:pt x="52" y="30"/>
                  </a:moveTo>
                  <a:cubicBezTo>
                    <a:pt x="52" y="53"/>
                    <a:pt x="52" y="53"/>
                    <a:pt x="52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30"/>
                    <a:pt x="29" y="30"/>
                    <a:pt x="29" y="30"/>
                  </a:cubicBezTo>
                  <a:lnTo>
                    <a:pt x="52" y="30"/>
                  </a:lnTo>
                  <a:close/>
                  <a:moveTo>
                    <a:pt x="25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25" y="30"/>
                    <a:pt x="25" y="30"/>
                    <a:pt x="25" y="30"/>
                  </a:cubicBezTo>
                  <a:lnTo>
                    <a:pt x="25" y="53"/>
                  </a:lnTo>
                  <a:close/>
                  <a:moveTo>
                    <a:pt x="25" y="57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2" y="75"/>
                    <a:pt x="20" y="77"/>
                    <a:pt x="19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57"/>
                    <a:pt x="4" y="57"/>
                    <a:pt x="4" y="57"/>
                  </a:cubicBezTo>
                  <a:lnTo>
                    <a:pt x="25" y="57"/>
                  </a:lnTo>
                  <a:close/>
                  <a:moveTo>
                    <a:pt x="22" y="82"/>
                  </a:moveTo>
                  <a:cubicBezTo>
                    <a:pt x="22" y="80"/>
                    <a:pt x="24" y="78"/>
                    <a:pt x="27" y="78"/>
                  </a:cubicBezTo>
                  <a:cubicBezTo>
                    <a:pt x="29" y="78"/>
                    <a:pt x="31" y="80"/>
                    <a:pt x="31" y="82"/>
                  </a:cubicBezTo>
                  <a:cubicBezTo>
                    <a:pt x="31" y="85"/>
                    <a:pt x="29" y="87"/>
                    <a:pt x="27" y="87"/>
                  </a:cubicBezTo>
                  <a:cubicBezTo>
                    <a:pt x="24" y="87"/>
                    <a:pt x="22" y="85"/>
                    <a:pt x="22" y="82"/>
                  </a:cubicBezTo>
                  <a:close/>
                  <a:moveTo>
                    <a:pt x="29" y="90"/>
                  </a:moveTo>
                  <a:cubicBezTo>
                    <a:pt x="31" y="89"/>
                    <a:pt x="34" y="87"/>
                    <a:pt x="34" y="8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5"/>
                    <a:pt x="48" y="98"/>
                    <a:pt x="52" y="99"/>
                  </a:cubicBezTo>
                  <a:cubicBezTo>
                    <a:pt x="52" y="104"/>
                    <a:pt x="52" y="104"/>
                    <a:pt x="52" y="104"/>
                  </a:cubicBezTo>
                  <a:cubicBezTo>
                    <a:pt x="29" y="104"/>
                    <a:pt x="29" y="104"/>
                    <a:pt x="29" y="104"/>
                  </a:cubicBezTo>
                  <a:lnTo>
                    <a:pt x="29" y="90"/>
                  </a:lnTo>
                  <a:close/>
                  <a:moveTo>
                    <a:pt x="55" y="99"/>
                  </a:moveTo>
                  <a:cubicBezTo>
                    <a:pt x="59" y="98"/>
                    <a:pt x="62" y="95"/>
                    <a:pt x="62" y="91"/>
                  </a:cubicBezTo>
                  <a:cubicBezTo>
                    <a:pt x="62" y="89"/>
                    <a:pt x="61" y="87"/>
                    <a:pt x="59" y="86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55" y="104"/>
                    <a:pt x="55" y="104"/>
                    <a:pt x="55" y="104"/>
                  </a:cubicBezTo>
                  <a:lnTo>
                    <a:pt x="55" y="99"/>
                  </a:lnTo>
                  <a:close/>
                  <a:moveTo>
                    <a:pt x="61" y="80"/>
                  </a:moveTo>
                  <a:cubicBezTo>
                    <a:pt x="70" y="57"/>
                    <a:pt x="70" y="57"/>
                    <a:pt x="70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80"/>
                    <a:pt x="79" y="80"/>
                    <a:pt x="79" y="80"/>
                  </a:cubicBezTo>
                  <a:lnTo>
                    <a:pt x="61" y="80"/>
                  </a:lnTo>
                  <a:close/>
                  <a:moveTo>
                    <a:pt x="83" y="57"/>
                  </a:moveTo>
                  <a:cubicBezTo>
                    <a:pt x="104" y="57"/>
                    <a:pt x="104" y="57"/>
                    <a:pt x="104" y="57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83" y="80"/>
                    <a:pt x="83" y="80"/>
                    <a:pt x="83" y="80"/>
                  </a:cubicBezTo>
                  <a:lnTo>
                    <a:pt x="83" y="57"/>
                  </a:lnTo>
                  <a:close/>
                  <a:moveTo>
                    <a:pt x="83" y="26"/>
                  </a:moveTo>
                  <a:cubicBezTo>
                    <a:pt x="83" y="22"/>
                    <a:pt x="83" y="22"/>
                    <a:pt x="83" y="22"/>
                  </a:cubicBezTo>
                  <a:cubicBezTo>
                    <a:pt x="86" y="21"/>
                    <a:pt x="88" y="19"/>
                    <a:pt x="89" y="15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8"/>
                    <a:pt x="104" y="8"/>
                    <a:pt x="104" y="9"/>
                  </a:cubicBezTo>
                  <a:cubicBezTo>
                    <a:pt x="104" y="26"/>
                    <a:pt x="104" y="26"/>
                    <a:pt x="104" y="26"/>
                  </a:cubicBezTo>
                  <a:lnTo>
                    <a:pt x="83" y="26"/>
                  </a:lnTo>
                  <a:close/>
                  <a:moveTo>
                    <a:pt x="101" y="4"/>
                  </a:moveTo>
                  <a:cubicBezTo>
                    <a:pt x="88" y="12"/>
                    <a:pt x="88" y="12"/>
                    <a:pt x="88" y="12"/>
                  </a:cubicBezTo>
                  <a:cubicBezTo>
                    <a:pt x="87" y="9"/>
                    <a:pt x="85" y="7"/>
                    <a:pt x="83" y="7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0" y="4"/>
                    <a:pt x="101" y="4"/>
                    <a:pt x="101" y="4"/>
                  </a:cubicBezTo>
                  <a:close/>
                  <a:moveTo>
                    <a:pt x="9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lose/>
                  <a:moveTo>
                    <a:pt x="7" y="104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90"/>
                    <a:pt x="24" y="90"/>
                    <a:pt x="25" y="90"/>
                  </a:cubicBezTo>
                  <a:cubicBezTo>
                    <a:pt x="25" y="104"/>
                    <a:pt x="25" y="104"/>
                    <a:pt x="25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8" y="104"/>
                    <a:pt x="7" y="104"/>
                    <a:pt x="7" y="104"/>
                  </a:cubicBezTo>
                  <a:close/>
                  <a:moveTo>
                    <a:pt x="99" y="104"/>
                  </a:moveTo>
                  <a:cubicBezTo>
                    <a:pt x="83" y="104"/>
                    <a:pt x="83" y="104"/>
                    <a:pt x="83" y="104"/>
                  </a:cubicBezTo>
                  <a:cubicBezTo>
                    <a:pt x="83" y="84"/>
                    <a:pt x="83" y="84"/>
                    <a:pt x="83" y="84"/>
                  </a:cubicBezTo>
                  <a:cubicBezTo>
                    <a:pt x="104" y="84"/>
                    <a:pt x="104" y="84"/>
                    <a:pt x="104" y="84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04" y="102"/>
                    <a:pt x="102" y="104"/>
                    <a:pt x="99" y="10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228" name="Group 28"/>
          <p:cNvGrpSpPr>
            <a:grpSpLocks noChangeAspect="1"/>
          </p:cNvGrpSpPr>
          <p:nvPr/>
        </p:nvGrpSpPr>
        <p:grpSpPr bwMode="auto">
          <a:xfrm>
            <a:off x="4706938" y="244475"/>
            <a:ext cx="852487" cy="847725"/>
            <a:chOff x="2961" y="154"/>
            <a:chExt cx="537" cy="534"/>
          </a:xfrm>
        </p:grpSpPr>
        <p:sp>
          <p:nvSpPr>
            <p:cNvPr id="51229" name="Oval 29"/>
            <p:cNvSpPr>
              <a:spLocks noChangeArrowheads="1"/>
            </p:cNvSpPr>
            <p:nvPr/>
          </p:nvSpPr>
          <p:spPr bwMode="auto">
            <a:xfrm>
              <a:off x="2961" y="154"/>
              <a:ext cx="537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30" name="Freeform 30"/>
            <p:cNvSpPr>
              <a:spLocks noEditPoints="1"/>
            </p:cNvSpPr>
            <p:nvPr/>
          </p:nvSpPr>
          <p:spPr bwMode="auto">
            <a:xfrm>
              <a:off x="2983" y="173"/>
              <a:ext cx="495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7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2" y="103"/>
                </a:cxn>
                <a:cxn ang="0">
                  <a:pos x="103" y="201"/>
                </a:cxn>
              </a:cxnLst>
              <a:rect l="0" t="0" r="r" b="b"/>
              <a:pathLst>
                <a:path w="207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2" y="49"/>
                    <a:pt x="202" y="103"/>
                  </a:cubicBezTo>
                  <a:cubicBezTo>
                    <a:pt x="202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31" name="Freeform 31"/>
            <p:cNvSpPr>
              <a:spLocks noEditPoints="1"/>
            </p:cNvSpPr>
            <p:nvPr/>
          </p:nvSpPr>
          <p:spPr bwMode="auto">
            <a:xfrm>
              <a:off x="3093" y="322"/>
              <a:ext cx="278" cy="225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70"/>
                </a:cxn>
                <a:cxn ang="0">
                  <a:pos x="8" y="79"/>
                </a:cxn>
                <a:cxn ang="0">
                  <a:pos x="51" y="79"/>
                </a:cxn>
                <a:cxn ang="0">
                  <a:pos x="44" y="90"/>
                </a:cxn>
                <a:cxn ang="0">
                  <a:pos x="43" y="92"/>
                </a:cxn>
                <a:cxn ang="0">
                  <a:pos x="44" y="94"/>
                </a:cxn>
                <a:cxn ang="0">
                  <a:pos x="70" y="94"/>
                </a:cxn>
                <a:cxn ang="0">
                  <a:pos x="71" y="92"/>
                </a:cxn>
                <a:cxn ang="0">
                  <a:pos x="70" y="90"/>
                </a:cxn>
                <a:cxn ang="0">
                  <a:pos x="63" y="79"/>
                </a:cxn>
                <a:cxn ang="0">
                  <a:pos x="107" y="79"/>
                </a:cxn>
                <a:cxn ang="0">
                  <a:pos x="116" y="70"/>
                </a:cxn>
                <a:cxn ang="0">
                  <a:pos x="116" y="8"/>
                </a:cxn>
                <a:cxn ang="0">
                  <a:pos x="107" y="0"/>
                </a:cxn>
                <a:cxn ang="0">
                  <a:pos x="64" y="90"/>
                </a:cxn>
                <a:cxn ang="0">
                  <a:pos x="50" y="90"/>
                </a:cxn>
                <a:cxn ang="0">
                  <a:pos x="54" y="79"/>
                </a:cxn>
                <a:cxn ang="0">
                  <a:pos x="60" y="79"/>
                </a:cxn>
                <a:cxn ang="0">
                  <a:pos x="64" y="90"/>
                </a:cxn>
                <a:cxn ang="0">
                  <a:pos x="112" y="70"/>
                </a:cxn>
                <a:cxn ang="0">
                  <a:pos x="107" y="75"/>
                </a:cxn>
                <a:cxn ang="0">
                  <a:pos x="8" y="75"/>
                </a:cxn>
                <a:cxn ang="0">
                  <a:pos x="3" y="70"/>
                </a:cxn>
                <a:cxn ang="0">
                  <a:pos x="3" y="8"/>
                </a:cxn>
                <a:cxn ang="0">
                  <a:pos x="8" y="3"/>
                </a:cxn>
                <a:cxn ang="0">
                  <a:pos x="107" y="3"/>
                </a:cxn>
                <a:cxn ang="0">
                  <a:pos x="112" y="8"/>
                </a:cxn>
                <a:cxn ang="0">
                  <a:pos x="112" y="70"/>
                </a:cxn>
              </a:cxnLst>
              <a:rect l="0" t="0" r="r" b="b"/>
              <a:pathLst>
                <a:path w="116" h="94">
                  <a:moveTo>
                    <a:pt x="10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5"/>
                    <a:pt x="3" y="79"/>
                    <a:pt x="8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0" y="81"/>
                    <a:pt x="49" y="89"/>
                    <a:pt x="44" y="90"/>
                  </a:cubicBezTo>
                  <a:cubicBezTo>
                    <a:pt x="43" y="91"/>
                    <a:pt x="42" y="91"/>
                    <a:pt x="43" y="92"/>
                  </a:cubicBezTo>
                  <a:cubicBezTo>
                    <a:pt x="43" y="93"/>
                    <a:pt x="43" y="94"/>
                    <a:pt x="44" y="94"/>
                  </a:cubicBezTo>
                  <a:cubicBezTo>
                    <a:pt x="70" y="94"/>
                    <a:pt x="70" y="94"/>
                    <a:pt x="70" y="94"/>
                  </a:cubicBezTo>
                  <a:cubicBezTo>
                    <a:pt x="71" y="94"/>
                    <a:pt x="71" y="93"/>
                    <a:pt x="71" y="92"/>
                  </a:cubicBezTo>
                  <a:cubicBezTo>
                    <a:pt x="72" y="91"/>
                    <a:pt x="71" y="91"/>
                    <a:pt x="70" y="90"/>
                  </a:cubicBezTo>
                  <a:cubicBezTo>
                    <a:pt x="65" y="89"/>
                    <a:pt x="64" y="81"/>
                    <a:pt x="63" y="79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112" y="79"/>
                    <a:pt x="116" y="75"/>
                    <a:pt x="116" y="70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3"/>
                    <a:pt x="112" y="0"/>
                    <a:pt x="107" y="0"/>
                  </a:cubicBezTo>
                  <a:close/>
                  <a:moveTo>
                    <a:pt x="64" y="90"/>
                  </a:moveTo>
                  <a:cubicBezTo>
                    <a:pt x="50" y="90"/>
                    <a:pt x="50" y="90"/>
                    <a:pt x="50" y="90"/>
                  </a:cubicBezTo>
                  <a:cubicBezTo>
                    <a:pt x="54" y="86"/>
                    <a:pt x="54" y="81"/>
                    <a:pt x="54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81"/>
                    <a:pt x="60" y="86"/>
                    <a:pt x="64" y="90"/>
                  </a:cubicBezTo>
                  <a:close/>
                  <a:moveTo>
                    <a:pt x="112" y="70"/>
                  </a:moveTo>
                  <a:cubicBezTo>
                    <a:pt x="112" y="73"/>
                    <a:pt x="110" y="75"/>
                    <a:pt x="107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5" y="75"/>
                    <a:pt x="3" y="73"/>
                    <a:pt x="3" y="7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5"/>
                    <a:pt x="5" y="3"/>
                    <a:pt x="8" y="3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10" y="3"/>
                    <a:pt x="112" y="5"/>
                    <a:pt x="112" y="8"/>
                  </a:cubicBezTo>
                  <a:lnTo>
                    <a:pt x="112" y="7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32" name="Freeform 32"/>
            <p:cNvSpPr>
              <a:spLocks noEditPoints="1"/>
            </p:cNvSpPr>
            <p:nvPr/>
          </p:nvSpPr>
          <p:spPr bwMode="auto">
            <a:xfrm>
              <a:off x="3179" y="372"/>
              <a:ext cx="110" cy="9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32" y="26"/>
                </a:cxn>
                <a:cxn ang="0">
                  <a:pos x="31" y="37"/>
                </a:cxn>
                <a:cxn ang="0">
                  <a:pos x="9" y="35"/>
                </a:cxn>
                <a:cxn ang="0">
                  <a:pos x="9" y="41"/>
                </a:cxn>
                <a:cxn ang="0">
                  <a:pos x="31" y="39"/>
                </a:cxn>
                <a:cxn ang="0">
                  <a:pos x="37" y="38"/>
                </a:cxn>
                <a:cxn ang="0">
                  <a:pos x="34" y="26"/>
                </a:cxn>
                <a:cxn ang="0">
                  <a:pos x="41" y="7"/>
                </a:cxn>
                <a:cxn ang="0">
                  <a:pos x="45" y="0"/>
                </a:cxn>
                <a:cxn ang="0">
                  <a:pos x="9" y="39"/>
                </a:cxn>
                <a:cxn ang="0">
                  <a:pos x="9" y="36"/>
                </a:cxn>
                <a:cxn ang="0">
                  <a:pos x="9" y="39"/>
                </a:cxn>
                <a:cxn ang="0">
                  <a:pos x="32" y="7"/>
                </a:cxn>
                <a:cxn ang="0">
                  <a:pos x="28" y="12"/>
                </a:cxn>
                <a:cxn ang="0">
                  <a:pos x="28" y="13"/>
                </a:cxn>
                <a:cxn ang="0">
                  <a:pos x="32" y="18"/>
                </a:cxn>
                <a:cxn ang="0">
                  <a:pos x="28" y="13"/>
                </a:cxn>
                <a:cxn ang="0">
                  <a:pos x="7" y="20"/>
                </a:cxn>
                <a:cxn ang="0">
                  <a:pos x="7" y="21"/>
                </a:cxn>
                <a:cxn ang="0">
                  <a:pos x="6" y="18"/>
                </a:cxn>
                <a:cxn ang="0">
                  <a:pos x="7" y="13"/>
                </a:cxn>
                <a:cxn ang="0">
                  <a:pos x="7" y="12"/>
                </a:cxn>
                <a:cxn ang="0">
                  <a:pos x="2" y="7"/>
                </a:cxn>
                <a:cxn ang="0">
                  <a:pos x="7" y="12"/>
                </a:cxn>
                <a:cxn ang="0">
                  <a:pos x="9" y="24"/>
                </a:cxn>
                <a:cxn ang="0">
                  <a:pos x="14" y="20"/>
                </a:cxn>
                <a:cxn ang="0">
                  <a:pos x="14" y="18"/>
                </a:cxn>
                <a:cxn ang="0">
                  <a:pos x="9" y="13"/>
                </a:cxn>
                <a:cxn ang="0">
                  <a:pos x="14" y="18"/>
                </a:cxn>
                <a:cxn ang="0">
                  <a:pos x="9" y="12"/>
                </a:cxn>
                <a:cxn ang="0">
                  <a:pos x="14" y="7"/>
                </a:cxn>
                <a:cxn ang="0">
                  <a:pos x="20" y="24"/>
                </a:cxn>
                <a:cxn ang="0">
                  <a:pos x="15" y="20"/>
                </a:cxn>
                <a:cxn ang="0">
                  <a:pos x="20" y="24"/>
                </a:cxn>
                <a:cxn ang="0">
                  <a:pos x="15" y="18"/>
                </a:cxn>
                <a:cxn ang="0">
                  <a:pos x="20" y="13"/>
                </a:cxn>
                <a:cxn ang="0">
                  <a:pos x="20" y="12"/>
                </a:cxn>
                <a:cxn ang="0">
                  <a:pos x="15" y="7"/>
                </a:cxn>
                <a:cxn ang="0">
                  <a:pos x="20" y="12"/>
                </a:cxn>
                <a:cxn ang="0">
                  <a:pos x="22" y="24"/>
                </a:cxn>
                <a:cxn ang="0">
                  <a:pos x="26" y="20"/>
                </a:cxn>
                <a:cxn ang="0">
                  <a:pos x="26" y="18"/>
                </a:cxn>
                <a:cxn ang="0">
                  <a:pos x="22" y="13"/>
                </a:cxn>
                <a:cxn ang="0">
                  <a:pos x="26" y="18"/>
                </a:cxn>
                <a:cxn ang="0">
                  <a:pos x="22" y="12"/>
                </a:cxn>
                <a:cxn ang="0">
                  <a:pos x="26" y="7"/>
                </a:cxn>
                <a:cxn ang="0">
                  <a:pos x="28" y="24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34" y="39"/>
                </a:cxn>
                <a:cxn ang="0">
                  <a:pos x="34" y="36"/>
                </a:cxn>
                <a:cxn ang="0">
                  <a:pos x="34" y="21"/>
                </a:cxn>
                <a:cxn ang="0">
                  <a:pos x="34" y="20"/>
                </a:cxn>
                <a:cxn ang="0">
                  <a:pos x="35" y="18"/>
                </a:cxn>
                <a:cxn ang="0">
                  <a:pos x="34" y="13"/>
                </a:cxn>
                <a:cxn ang="0">
                  <a:pos x="35" y="18"/>
                </a:cxn>
                <a:cxn ang="0">
                  <a:pos x="34" y="12"/>
                </a:cxn>
                <a:cxn ang="0">
                  <a:pos x="39" y="7"/>
                </a:cxn>
              </a:cxnLst>
              <a:rect l="0" t="0" r="r" b="b"/>
              <a:pathLst>
                <a:path w="46" h="41">
                  <a:moveTo>
                    <a:pt x="4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2" y="35"/>
                    <a:pt x="31" y="36"/>
                    <a:pt x="31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6"/>
                    <a:pt x="11" y="35"/>
                    <a:pt x="9" y="35"/>
                  </a:cubicBezTo>
                  <a:cubicBezTo>
                    <a:pt x="8" y="35"/>
                    <a:pt x="6" y="36"/>
                    <a:pt x="6" y="38"/>
                  </a:cubicBezTo>
                  <a:cubicBezTo>
                    <a:pt x="6" y="39"/>
                    <a:pt x="8" y="41"/>
                    <a:pt x="9" y="41"/>
                  </a:cubicBezTo>
                  <a:cubicBezTo>
                    <a:pt x="11" y="41"/>
                    <a:pt x="12" y="40"/>
                    <a:pt x="12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40"/>
                    <a:pt x="32" y="41"/>
                    <a:pt x="34" y="41"/>
                  </a:cubicBezTo>
                  <a:cubicBezTo>
                    <a:pt x="35" y="41"/>
                    <a:pt x="37" y="39"/>
                    <a:pt x="37" y="38"/>
                  </a:cubicBezTo>
                  <a:cubicBezTo>
                    <a:pt x="37" y="36"/>
                    <a:pt x="35" y="35"/>
                    <a:pt x="34" y="35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40" y="5"/>
                  </a:lnTo>
                  <a:close/>
                  <a:moveTo>
                    <a:pt x="9" y="39"/>
                  </a:moveTo>
                  <a:cubicBezTo>
                    <a:pt x="8" y="39"/>
                    <a:pt x="8" y="39"/>
                    <a:pt x="8" y="38"/>
                  </a:cubicBezTo>
                  <a:cubicBezTo>
                    <a:pt x="8" y="37"/>
                    <a:pt x="8" y="36"/>
                    <a:pt x="9" y="36"/>
                  </a:cubicBezTo>
                  <a:cubicBezTo>
                    <a:pt x="10" y="36"/>
                    <a:pt x="11" y="37"/>
                    <a:pt x="11" y="38"/>
                  </a:cubicBezTo>
                  <a:cubicBezTo>
                    <a:pt x="11" y="39"/>
                    <a:pt x="10" y="39"/>
                    <a:pt x="9" y="39"/>
                  </a:cubicBezTo>
                  <a:close/>
                  <a:moveTo>
                    <a:pt x="28" y="7"/>
                  </a:moveTo>
                  <a:cubicBezTo>
                    <a:pt x="32" y="7"/>
                    <a:pt x="32" y="7"/>
                    <a:pt x="32" y="7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28" y="12"/>
                    <a:pt x="28" y="12"/>
                    <a:pt x="28" y="12"/>
                  </a:cubicBezTo>
                  <a:lnTo>
                    <a:pt x="28" y="7"/>
                  </a:lnTo>
                  <a:close/>
                  <a:moveTo>
                    <a:pt x="28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28" y="18"/>
                    <a:pt x="28" y="18"/>
                    <a:pt x="28" y="18"/>
                  </a:cubicBezTo>
                  <a:lnTo>
                    <a:pt x="28" y="13"/>
                  </a:lnTo>
                  <a:close/>
                  <a:moveTo>
                    <a:pt x="7" y="21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7" y="21"/>
                  </a:lnTo>
                  <a:close/>
                  <a:moveTo>
                    <a:pt x="7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8"/>
                  </a:lnTo>
                  <a:close/>
                  <a:moveTo>
                    <a:pt x="7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7" y="12"/>
                  </a:lnTo>
                  <a:close/>
                  <a:moveTo>
                    <a:pt x="14" y="24"/>
                  </a:moveTo>
                  <a:cubicBezTo>
                    <a:pt x="9" y="24"/>
                    <a:pt x="9" y="24"/>
                    <a:pt x="9" y="24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4" y="20"/>
                    <a:pt x="14" y="20"/>
                    <a:pt x="14" y="20"/>
                  </a:cubicBezTo>
                  <a:lnTo>
                    <a:pt x="14" y="24"/>
                  </a:lnTo>
                  <a:close/>
                  <a:moveTo>
                    <a:pt x="14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4" y="18"/>
                  </a:lnTo>
                  <a:close/>
                  <a:moveTo>
                    <a:pt x="14" y="12"/>
                  </a:moveTo>
                  <a:cubicBezTo>
                    <a:pt x="9" y="12"/>
                    <a:pt x="9" y="12"/>
                    <a:pt x="9" y="12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4" y="7"/>
                    <a:pt x="14" y="7"/>
                    <a:pt x="14" y="7"/>
                  </a:cubicBezTo>
                  <a:lnTo>
                    <a:pt x="14" y="12"/>
                  </a:lnTo>
                  <a:close/>
                  <a:moveTo>
                    <a:pt x="20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20" y="20"/>
                    <a:pt x="20" y="20"/>
                    <a:pt x="20" y="20"/>
                  </a:cubicBezTo>
                  <a:lnTo>
                    <a:pt x="20" y="24"/>
                  </a:lnTo>
                  <a:close/>
                  <a:moveTo>
                    <a:pt x="20" y="18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20" y="13"/>
                    <a:pt x="20" y="13"/>
                    <a:pt x="20" y="13"/>
                  </a:cubicBezTo>
                  <a:lnTo>
                    <a:pt x="20" y="18"/>
                  </a:lnTo>
                  <a:close/>
                  <a:moveTo>
                    <a:pt x="20" y="12"/>
                  </a:move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0" y="7"/>
                    <a:pt x="20" y="7"/>
                    <a:pt x="20" y="7"/>
                  </a:cubicBezTo>
                  <a:lnTo>
                    <a:pt x="20" y="12"/>
                  </a:lnTo>
                  <a:close/>
                  <a:moveTo>
                    <a:pt x="26" y="24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24"/>
                  </a:lnTo>
                  <a:close/>
                  <a:moveTo>
                    <a:pt x="26" y="18"/>
                  </a:moveTo>
                  <a:cubicBezTo>
                    <a:pt x="22" y="18"/>
                    <a:pt x="22" y="18"/>
                    <a:pt x="22" y="18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6" y="13"/>
                    <a:pt x="26" y="13"/>
                    <a:pt x="26" y="13"/>
                  </a:cubicBezTo>
                  <a:lnTo>
                    <a:pt x="26" y="18"/>
                  </a:lnTo>
                  <a:close/>
                  <a:moveTo>
                    <a:pt x="26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6" y="7"/>
                    <a:pt x="26" y="7"/>
                    <a:pt x="26" y="7"/>
                  </a:cubicBezTo>
                  <a:lnTo>
                    <a:pt x="26" y="12"/>
                  </a:lnTo>
                  <a:close/>
                  <a:moveTo>
                    <a:pt x="28" y="24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4"/>
                    <a:pt x="32" y="24"/>
                    <a:pt x="32" y="24"/>
                  </a:cubicBezTo>
                  <a:lnTo>
                    <a:pt x="28" y="24"/>
                  </a:lnTo>
                  <a:close/>
                  <a:moveTo>
                    <a:pt x="35" y="38"/>
                  </a:moveTo>
                  <a:cubicBezTo>
                    <a:pt x="35" y="39"/>
                    <a:pt x="34" y="39"/>
                    <a:pt x="34" y="39"/>
                  </a:cubicBezTo>
                  <a:cubicBezTo>
                    <a:pt x="33" y="39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ubicBezTo>
                    <a:pt x="34" y="36"/>
                    <a:pt x="35" y="37"/>
                    <a:pt x="35" y="38"/>
                  </a:cubicBezTo>
                  <a:close/>
                  <a:moveTo>
                    <a:pt x="34" y="21"/>
                  </a:move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lnTo>
                    <a:pt x="34" y="21"/>
                  </a:lnTo>
                  <a:close/>
                  <a:moveTo>
                    <a:pt x="35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7" y="13"/>
                    <a:pt x="37" y="13"/>
                    <a:pt x="37" y="13"/>
                  </a:cubicBezTo>
                  <a:lnTo>
                    <a:pt x="35" y="18"/>
                  </a:lnTo>
                  <a:close/>
                  <a:moveTo>
                    <a:pt x="37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9" y="7"/>
                    <a:pt x="39" y="7"/>
                    <a:pt x="39" y="7"/>
                  </a:cubicBezTo>
                  <a:lnTo>
                    <a:pt x="37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42" name="Group 42"/>
          <p:cNvGrpSpPr>
            <a:grpSpLocks noChangeAspect="1"/>
          </p:cNvGrpSpPr>
          <p:nvPr/>
        </p:nvGrpSpPr>
        <p:grpSpPr bwMode="auto">
          <a:xfrm>
            <a:off x="6907213" y="239713"/>
            <a:ext cx="857250" cy="857250"/>
            <a:chOff x="4350" y="151"/>
            <a:chExt cx="540" cy="540"/>
          </a:xfrm>
        </p:grpSpPr>
        <p:sp>
          <p:nvSpPr>
            <p:cNvPr id="51243" name="Oval 43"/>
            <p:cNvSpPr>
              <a:spLocks noChangeArrowheads="1"/>
            </p:cNvSpPr>
            <p:nvPr/>
          </p:nvSpPr>
          <p:spPr bwMode="auto">
            <a:xfrm>
              <a:off x="4350" y="151"/>
              <a:ext cx="540" cy="54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44" name="Freeform 44"/>
            <p:cNvSpPr>
              <a:spLocks noEditPoints="1"/>
            </p:cNvSpPr>
            <p:nvPr/>
          </p:nvSpPr>
          <p:spPr bwMode="auto">
            <a:xfrm>
              <a:off x="4372" y="170"/>
              <a:ext cx="497" cy="500"/>
            </a:xfrm>
            <a:custGeom>
              <a:avLst/>
              <a:gdLst/>
              <a:ahLst/>
              <a:cxnLst>
                <a:cxn ang="0">
                  <a:pos x="104" y="209"/>
                </a:cxn>
                <a:cxn ang="0">
                  <a:pos x="0" y="105"/>
                </a:cxn>
                <a:cxn ang="0">
                  <a:pos x="104" y="0"/>
                </a:cxn>
                <a:cxn ang="0">
                  <a:pos x="208" y="105"/>
                </a:cxn>
                <a:cxn ang="0">
                  <a:pos x="104" y="209"/>
                </a:cxn>
                <a:cxn ang="0">
                  <a:pos x="104" y="5"/>
                </a:cxn>
                <a:cxn ang="0">
                  <a:pos x="5" y="105"/>
                </a:cxn>
                <a:cxn ang="0">
                  <a:pos x="104" y="204"/>
                </a:cxn>
                <a:cxn ang="0">
                  <a:pos x="203" y="105"/>
                </a:cxn>
                <a:cxn ang="0">
                  <a:pos x="104" y="5"/>
                </a:cxn>
              </a:cxnLst>
              <a:rect l="0" t="0" r="r" b="b"/>
              <a:pathLst>
                <a:path w="208" h="209">
                  <a:moveTo>
                    <a:pt x="104" y="209"/>
                  </a:moveTo>
                  <a:cubicBezTo>
                    <a:pt x="46" y="209"/>
                    <a:pt x="0" y="162"/>
                    <a:pt x="0" y="105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2" y="0"/>
                    <a:pt x="208" y="47"/>
                    <a:pt x="208" y="105"/>
                  </a:cubicBezTo>
                  <a:cubicBezTo>
                    <a:pt x="208" y="162"/>
                    <a:pt x="162" y="209"/>
                    <a:pt x="104" y="209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5"/>
                  </a:cubicBezTo>
                  <a:cubicBezTo>
                    <a:pt x="5" y="159"/>
                    <a:pt x="49" y="204"/>
                    <a:pt x="104" y="204"/>
                  </a:cubicBezTo>
                  <a:cubicBezTo>
                    <a:pt x="159" y="204"/>
                    <a:pt x="203" y="159"/>
                    <a:pt x="203" y="105"/>
                  </a:cubicBezTo>
                  <a:cubicBezTo>
                    <a:pt x="203" y="50"/>
                    <a:pt x="159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45" name="Freeform 45"/>
            <p:cNvSpPr>
              <a:spLocks noEditPoints="1"/>
            </p:cNvSpPr>
            <p:nvPr/>
          </p:nvSpPr>
          <p:spPr bwMode="auto">
            <a:xfrm>
              <a:off x="4510" y="311"/>
              <a:ext cx="263" cy="213"/>
            </a:xfrm>
            <a:custGeom>
              <a:avLst/>
              <a:gdLst/>
              <a:ahLst/>
              <a:cxnLst>
                <a:cxn ang="0">
                  <a:pos x="263" y="213"/>
                </a:cxn>
                <a:cxn ang="0">
                  <a:pos x="0" y="213"/>
                </a:cxn>
                <a:cxn ang="0">
                  <a:pos x="0" y="0"/>
                </a:cxn>
                <a:cxn ang="0">
                  <a:pos x="263" y="0"/>
                </a:cxn>
                <a:cxn ang="0">
                  <a:pos x="263" y="213"/>
                </a:cxn>
                <a:cxn ang="0">
                  <a:pos x="12" y="201"/>
                </a:cxn>
                <a:cxn ang="0">
                  <a:pos x="251" y="201"/>
                </a:cxn>
                <a:cxn ang="0">
                  <a:pos x="251" y="12"/>
                </a:cxn>
                <a:cxn ang="0">
                  <a:pos x="12" y="12"/>
                </a:cxn>
                <a:cxn ang="0">
                  <a:pos x="12" y="201"/>
                </a:cxn>
              </a:cxnLst>
              <a:rect l="0" t="0" r="r" b="b"/>
              <a:pathLst>
                <a:path w="263" h="213">
                  <a:moveTo>
                    <a:pt x="263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263" y="0"/>
                  </a:lnTo>
                  <a:lnTo>
                    <a:pt x="263" y="213"/>
                  </a:lnTo>
                  <a:close/>
                  <a:moveTo>
                    <a:pt x="12" y="201"/>
                  </a:moveTo>
                  <a:lnTo>
                    <a:pt x="251" y="201"/>
                  </a:lnTo>
                  <a:lnTo>
                    <a:pt x="251" y="12"/>
                  </a:lnTo>
                  <a:lnTo>
                    <a:pt x="12" y="12"/>
                  </a:lnTo>
                  <a:lnTo>
                    <a:pt x="12" y="20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46" name="Freeform 46"/>
            <p:cNvSpPr>
              <a:spLocks/>
            </p:cNvSpPr>
            <p:nvPr/>
          </p:nvSpPr>
          <p:spPr bwMode="auto">
            <a:xfrm>
              <a:off x="4465" y="364"/>
              <a:ext cx="45" cy="160"/>
            </a:xfrm>
            <a:custGeom>
              <a:avLst/>
              <a:gdLst/>
              <a:ahLst/>
              <a:cxnLst>
                <a:cxn ang="0">
                  <a:pos x="18" y="67"/>
                </a:cxn>
                <a:cxn ang="0">
                  <a:pos x="6" y="63"/>
                </a:cxn>
                <a:cxn ang="0">
                  <a:pos x="0" y="48"/>
                </a:cxn>
                <a:cxn ang="0">
                  <a:pos x="0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5" y="5"/>
                </a:cxn>
                <a:cxn ang="0">
                  <a:pos x="5" y="48"/>
                </a:cxn>
                <a:cxn ang="0">
                  <a:pos x="9" y="59"/>
                </a:cxn>
                <a:cxn ang="0">
                  <a:pos x="19" y="62"/>
                </a:cxn>
                <a:cxn ang="0">
                  <a:pos x="19" y="67"/>
                </a:cxn>
                <a:cxn ang="0">
                  <a:pos x="18" y="67"/>
                </a:cxn>
              </a:cxnLst>
              <a:rect l="0" t="0" r="r" b="b"/>
              <a:pathLst>
                <a:path w="19" h="67">
                  <a:moveTo>
                    <a:pt x="18" y="67"/>
                  </a:moveTo>
                  <a:cubicBezTo>
                    <a:pt x="13" y="67"/>
                    <a:pt x="9" y="66"/>
                    <a:pt x="6" y="63"/>
                  </a:cubicBezTo>
                  <a:cubicBezTo>
                    <a:pt x="0" y="57"/>
                    <a:pt x="0" y="49"/>
                    <a:pt x="0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55"/>
                    <a:pt x="9" y="59"/>
                  </a:cubicBezTo>
                  <a:cubicBezTo>
                    <a:pt x="12" y="61"/>
                    <a:pt x="15" y="62"/>
                    <a:pt x="19" y="62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47" name="Freeform 47"/>
            <p:cNvSpPr>
              <a:spLocks noEditPoints="1"/>
            </p:cNvSpPr>
            <p:nvPr/>
          </p:nvSpPr>
          <p:spPr bwMode="auto">
            <a:xfrm>
              <a:off x="4539" y="342"/>
              <a:ext cx="215" cy="139"/>
            </a:xfrm>
            <a:custGeom>
              <a:avLst/>
              <a:gdLst/>
              <a:ahLst/>
              <a:cxnLst>
                <a:cxn ang="0">
                  <a:pos x="75" y="29"/>
                </a:cxn>
                <a:cxn ang="0">
                  <a:pos x="73" y="27"/>
                </a:cxn>
                <a:cxn ang="0">
                  <a:pos x="57" y="0"/>
                </a:cxn>
                <a:cxn ang="0">
                  <a:pos x="2" y="8"/>
                </a:cxn>
                <a:cxn ang="0">
                  <a:pos x="0" y="56"/>
                </a:cxn>
                <a:cxn ang="0">
                  <a:pos x="66" y="58"/>
                </a:cxn>
                <a:cxn ang="0">
                  <a:pos x="69" y="33"/>
                </a:cxn>
                <a:cxn ang="0">
                  <a:pos x="71" y="36"/>
                </a:cxn>
                <a:cxn ang="0">
                  <a:pos x="87" y="49"/>
                </a:cxn>
                <a:cxn ang="0">
                  <a:pos x="89" y="44"/>
                </a:cxn>
                <a:cxn ang="0">
                  <a:pos x="69" y="7"/>
                </a:cxn>
                <a:cxn ang="0">
                  <a:pos x="68" y="29"/>
                </a:cxn>
                <a:cxn ang="0">
                  <a:pos x="67" y="30"/>
                </a:cxn>
                <a:cxn ang="0">
                  <a:pos x="64" y="32"/>
                </a:cxn>
                <a:cxn ang="0">
                  <a:pos x="59" y="33"/>
                </a:cxn>
                <a:cxn ang="0">
                  <a:pos x="57" y="33"/>
                </a:cxn>
                <a:cxn ang="0">
                  <a:pos x="52" y="32"/>
                </a:cxn>
                <a:cxn ang="0">
                  <a:pos x="50" y="31"/>
                </a:cxn>
                <a:cxn ang="0">
                  <a:pos x="46" y="28"/>
                </a:cxn>
                <a:cxn ang="0">
                  <a:pos x="42" y="18"/>
                </a:cxn>
                <a:cxn ang="0">
                  <a:pos x="42" y="17"/>
                </a:cxn>
                <a:cxn ang="0">
                  <a:pos x="44" y="10"/>
                </a:cxn>
                <a:cxn ang="0">
                  <a:pos x="47" y="6"/>
                </a:cxn>
                <a:cxn ang="0">
                  <a:pos x="42" y="26"/>
                </a:cxn>
                <a:cxn ang="0">
                  <a:pos x="44" y="32"/>
                </a:cxn>
                <a:cxn ang="0">
                  <a:pos x="45" y="34"/>
                </a:cxn>
                <a:cxn ang="0">
                  <a:pos x="41" y="10"/>
                </a:cxn>
                <a:cxn ang="0">
                  <a:pos x="2" y="10"/>
                </a:cxn>
                <a:cxn ang="0">
                  <a:pos x="41" y="24"/>
                </a:cxn>
                <a:cxn ang="0">
                  <a:pos x="2" y="26"/>
                </a:cxn>
                <a:cxn ang="0">
                  <a:pos x="2" y="32"/>
                </a:cxn>
                <a:cxn ang="0">
                  <a:pos x="24" y="39"/>
                </a:cxn>
                <a:cxn ang="0">
                  <a:pos x="29" y="34"/>
                </a:cxn>
                <a:cxn ang="0">
                  <a:pos x="8" y="39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22" y="43"/>
                </a:cxn>
                <a:cxn ang="0">
                  <a:pos x="45" y="38"/>
                </a:cxn>
                <a:cxn ang="0">
                  <a:pos x="54" y="35"/>
                </a:cxn>
                <a:cxn ang="0">
                  <a:pos x="37" y="33"/>
                </a:cxn>
                <a:cxn ang="0">
                  <a:pos x="14" y="41"/>
                </a:cxn>
                <a:cxn ang="0">
                  <a:pos x="42" y="42"/>
                </a:cxn>
                <a:cxn ang="0">
                  <a:pos x="32" y="42"/>
                </a:cxn>
                <a:cxn ang="0">
                  <a:pos x="37" y="35"/>
                </a:cxn>
                <a:cxn ang="0">
                  <a:pos x="18" y="47"/>
                </a:cxn>
                <a:cxn ang="0">
                  <a:pos x="18" y="47"/>
                </a:cxn>
                <a:cxn ang="0">
                  <a:pos x="19" y="49"/>
                </a:cxn>
                <a:cxn ang="0">
                  <a:pos x="25" y="49"/>
                </a:cxn>
                <a:cxn ang="0">
                  <a:pos x="48" y="47"/>
                </a:cxn>
                <a:cxn ang="0">
                  <a:pos x="66" y="39"/>
                </a:cxn>
                <a:cxn ang="0">
                  <a:pos x="57" y="35"/>
                </a:cxn>
                <a:cxn ang="0">
                  <a:pos x="66" y="33"/>
                </a:cxn>
                <a:cxn ang="0">
                  <a:pos x="3" y="56"/>
                </a:cxn>
                <a:cxn ang="0">
                  <a:pos x="70" y="30"/>
                </a:cxn>
                <a:cxn ang="0">
                  <a:pos x="71" y="29"/>
                </a:cxn>
                <a:cxn ang="0">
                  <a:pos x="85" y="48"/>
                </a:cxn>
                <a:cxn ang="0">
                  <a:pos x="75" y="33"/>
                </a:cxn>
              </a:cxnLst>
              <a:rect l="0" t="0" r="r" b="b"/>
              <a:pathLst>
                <a:path w="90" h="58">
                  <a:moveTo>
                    <a:pt x="89" y="44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7" y="20"/>
                    <a:pt x="76" y="11"/>
                    <a:pt x="70" y="5"/>
                  </a:cubicBezTo>
                  <a:cubicBezTo>
                    <a:pt x="67" y="2"/>
                    <a:pt x="62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3" y="0"/>
                    <a:pt x="48" y="1"/>
                    <a:pt x="45" y="4"/>
                  </a:cubicBezTo>
                  <a:cubicBezTo>
                    <a:pt x="44" y="6"/>
                    <a:pt x="43" y="7"/>
                    <a:pt x="4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6"/>
                    <a:pt x="90" y="46"/>
                    <a:pt x="90" y="46"/>
                  </a:cubicBezTo>
                  <a:lnTo>
                    <a:pt x="89" y="44"/>
                  </a:lnTo>
                  <a:close/>
                  <a:moveTo>
                    <a:pt x="47" y="6"/>
                  </a:moveTo>
                  <a:cubicBezTo>
                    <a:pt x="50" y="3"/>
                    <a:pt x="54" y="2"/>
                    <a:pt x="57" y="2"/>
                  </a:cubicBezTo>
                  <a:cubicBezTo>
                    <a:pt x="62" y="2"/>
                    <a:pt x="66" y="3"/>
                    <a:pt x="69" y="7"/>
                  </a:cubicBezTo>
                  <a:cubicBezTo>
                    <a:pt x="75" y="13"/>
                    <a:pt x="75" y="23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7" y="29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6" y="30"/>
                    <a:pt x="66" y="30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2" y="32"/>
                    <a:pt x="61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5" y="33"/>
                  </a:cubicBezTo>
                  <a:cubicBezTo>
                    <a:pt x="54" y="33"/>
                    <a:pt x="53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8" y="30"/>
                    <a:pt x="47" y="29"/>
                    <a:pt x="46" y="28"/>
                  </a:cubicBezTo>
                  <a:cubicBezTo>
                    <a:pt x="45" y="28"/>
                    <a:pt x="45" y="27"/>
                    <a:pt x="44" y="26"/>
                  </a:cubicBezTo>
                  <a:cubicBezTo>
                    <a:pt x="44" y="25"/>
                    <a:pt x="44" y="25"/>
                    <a:pt x="43" y="24"/>
                  </a:cubicBezTo>
                  <a:cubicBezTo>
                    <a:pt x="42" y="22"/>
                    <a:pt x="42" y="20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4"/>
                    <a:pt x="43" y="12"/>
                    <a:pt x="44" y="10"/>
                  </a:cubicBezTo>
                  <a:cubicBezTo>
                    <a:pt x="44" y="9"/>
                    <a:pt x="44" y="9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6" y="7"/>
                    <a:pt x="47" y="6"/>
                  </a:cubicBezTo>
                  <a:close/>
                  <a:moveTo>
                    <a:pt x="44" y="32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7"/>
                    <a:pt x="43" y="29"/>
                    <a:pt x="44" y="30"/>
                  </a:cubicBezTo>
                  <a:cubicBezTo>
                    <a:pt x="45" y="30"/>
                    <a:pt x="46" y="31"/>
                    <a:pt x="47" y="32"/>
                  </a:cubicBezTo>
                  <a:lnTo>
                    <a:pt x="44" y="32"/>
                  </a:lnTo>
                  <a:close/>
                  <a:moveTo>
                    <a:pt x="48" y="34"/>
                  </a:moveTo>
                  <a:cubicBezTo>
                    <a:pt x="46" y="35"/>
                    <a:pt x="46" y="35"/>
                    <a:pt x="46" y="35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8" y="34"/>
                  </a:lnTo>
                  <a:close/>
                  <a:moveTo>
                    <a:pt x="2" y="10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40" y="12"/>
                    <a:pt x="40" y="14"/>
                    <a:pt x="40" y="16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2" y="10"/>
                  </a:lnTo>
                  <a:close/>
                  <a:moveTo>
                    <a:pt x="2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20"/>
                    <a:pt x="40" y="22"/>
                    <a:pt x="41" y="24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2" y="18"/>
                  </a:lnTo>
                  <a:close/>
                  <a:moveTo>
                    <a:pt x="2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2" y="26"/>
                  </a:lnTo>
                  <a:close/>
                  <a:moveTo>
                    <a:pt x="29" y="34"/>
                  </a:moveTo>
                  <a:cubicBezTo>
                    <a:pt x="24" y="39"/>
                    <a:pt x="24" y="39"/>
                    <a:pt x="24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29" y="34"/>
                  </a:lnTo>
                  <a:close/>
                  <a:moveTo>
                    <a:pt x="2" y="34"/>
                  </a:moveTo>
                  <a:cubicBezTo>
                    <a:pt x="13" y="34"/>
                    <a:pt x="13" y="34"/>
                    <a:pt x="13" y="3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2" y="39"/>
                    <a:pt x="2" y="39"/>
                    <a:pt x="2" y="39"/>
                  </a:cubicBezTo>
                  <a:lnTo>
                    <a:pt x="2" y="34"/>
                  </a:lnTo>
                  <a:close/>
                  <a:moveTo>
                    <a:pt x="2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2" y="46"/>
                    <a:pt x="2" y="46"/>
                    <a:pt x="2" y="46"/>
                  </a:cubicBezTo>
                  <a:lnTo>
                    <a:pt x="2" y="42"/>
                  </a:lnTo>
                  <a:close/>
                  <a:moveTo>
                    <a:pt x="2" y="49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2" y="34"/>
                    <a:pt x="53" y="35"/>
                    <a:pt x="54" y="3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2" y="54"/>
                    <a:pt x="2" y="54"/>
                    <a:pt x="2" y="54"/>
                  </a:cubicBezTo>
                  <a:lnTo>
                    <a:pt x="2" y="49"/>
                  </a:lnTo>
                  <a:close/>
                  <a:moveTo>
                    <a:pt x="42" y="42"/>
                  </a:moveTo>
                  <a:cubicBezTo>
                    <a:pt x="45" y="47"/>
                    <a:pt x="45" y="47"/>
                    <a:pt x="45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42" y="42"/>
                  </a:lnTo>
                  <a:close/>
                  <a:moveTo>
                    <a:pt x="34" y="39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40" y="39"/>
                    <a:pt x="40" y="39"/>
                    <a:pt x="40" y="39"/>
                  </a:cubicBezTo>
                  <a:lnTo>
                    <a:pt x="34" y="39"/>
                  </a:lnTo>
                  <a:close/>
                  <a:moveTo>
                    <a:pt x="18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5" y="43"/>
                    <a:pt x="15" y="43"/>
                    <a:pt x="15" y="43"/>
                  </a:cubicBezTo>
                  <a:lnTo>
                    <a:pt x="18" y="47"/>
                  </a:lnTo>
                  <a:close/>
                  <a:moveTo>
                    <a:pt x="3" y="56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60" y="35"/>
                    <a:pt x="62" y="35"/>
                    <a:pt x="64" y="34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56"/>
                    <a:pt x="66" y="56"/>
                    <a:pt x="66" y="56"/>
                  </a:cubicBezTo>
                  <a:lnTo>
                    <a:pt x="3" y="56"/>
                  </a:lnTo>
                  <a:close/>
                  <a:moveTo>
                    <a:pt x="71" y="33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1" y="33"/>
                    <a:pt x="71" y="33"/>
                    <a:pt x="71" y="33"/>
                  </a:cubicBezTo>
                  <a:close/>
                  <a:moveTo>
                    <a:pt x="85" y="48"/>
                  </a:moveTo>
                  <a:cubicBezTo>
                    <a:pt x="73" y="35"/>
                    <a:pt x="73" y="35"/>
                    <a:pt x="73" y="35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87" y="46"/>
                    <a:pt x="87" y="46"/>
                    <a:pt x="87" y="46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48" name="Freeform 48"/>
            <p:cNvSpPr>
              <a:spLocks noEditPoints="1"/>
            </p:cNvSpPr>
            <p:nvPr/>
          </p:nvSpPr>
          <p:spPr bwMode="auto">
            <a:xfrm>
              <a:off x="4658" y="354"/>
              <a:ext cx="36" cy="58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4" y="21"/>
                </a:cxn>
                <a:cxn ang="0">
                  <a:pos x="4" y="21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9" y="24"/>
                </a:cxn>
                <a:cxn ang="0">
                  <a:pos x="12" y="24"/>
                </a:cxn>
                <a:cxn ang="0">
                  <a:pos x="12" y="21"/>
                </a:cxn>
                <a:cxn ang="0">
                  <a:pos x="12" y="21"/>
                </a:cxn>
                <a:cxn ang="0">
                  <a:pos x="15" y="15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5" y="6"/>
                </a:cxn>
                <a:cxn ang="0">
                  <a:pos x="15" y="4"/>
                </a:cxn>
                <a:cxn ang="0">
                  <a:pos x="14" y="4"/>
                </a:cxn>
                <a:cxn ang="0">
                  <a:pos x="13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9"/>
                </a:cxn>
                <a:cxn ang="0">
                  <a:pos x="1" y="13"/>
                </a:cxn>
                <a:cxn ang="0">
                  <a:pos x="1" y="14"/>
                </a:cxn>
                <a:cxn ang="0">
                  <a:pos x="0" y="18"/>
                </a:cxn>
                <a:cxn ang="0">
                  <a:pos x="0" y="19"/>
                </a:cxn>
                <a:cxn ang="0">
                  <a:pos x="1" y="20"/>
                </a:cxn>
                <a:cxn ang="0">
                  <a:pos x="2" y="20"/>
                </a:cxn>
                <a:cxn ang="0">
                  <a:pos x="7" y="14"/>
                </a:cxn>
                <a:cxn ang="0">
                  <a:pos x="3" y="9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9" y="5"/>
                </a:cxn>
                <a:cxn ang="0">
                  <a:pos x="12" y="5"/>
                </a:cxn>
                <a:cxn ang="0">
                  <a:pos x="13" y="6"/>
                </a:cxn>
                <a:cxn ang="0">
                  <a:pos x="12" y="8"/>
                </a:cxn>
                <a:cxn ang="0">
                  <a:pos x="12" y="9"/>
                </a:cxn>
                <a:cxn ang="0">
                  <a:pos x="11" y="9"/>
                </a:cxn>
                <a:cxn ang="0">
                  <a:pos x="8" y="8"/>
                </a:cxn>
                <a:cxn ang="0">
                  <a:pos x="7" y="9"/>
                </a:cxn>
                <a:cxn ang="0">
                  <a:pos x="9" y="10"/>
                </a:cxn>
                <a:cxn ang="0">
                  <a:pos x="13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6" y="21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2" y="18"/>
                </a:cxn>
                <a:cxn ang="0">
                  <a:pos x="3" y="15"/>
                </a:cxn>
                <a:cxn ang="0">
                  <a:pos x="4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7" y="14"/>
                </a:cxn>
              </a:cxnLst>
              <a:rect l="0" t="0" r="r" b="b"/>
              <a:pathLst>
                <a:path w="15" h="24">
                  <a:moveTo>
                    <a:pt x="2" y="20"/>
                  </a:moveTo>
                  <a:cubicBezTo>
                    <a:pt x="2" y="21"/>
                    <a:pt x="3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19"/>
                    <a:pt x="15" y="17"/>
                    <a:pt x="15" y="15"/>
                  </a:cubicBezTo>
                  <a:cubicBezTo>
                    <a:pt x="15" y="13"/>
                    <a:pt x="15" y="11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2" y="20"/>
                  </a:lnTo>
                  <a:close/>
                  <a:moveTo>
                    <a:pt x="7" y="14"/>
                  </a:moveTo>
                  <a:cubicBezTo>
                    <a:pt x="5" y="13"/>
                    <a:pt x="3" y="12"/>
                    <a:pt x="3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0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12" y="11"/>
                    <a:pt x="13" y="12"/>
                    <a:pt x="13" y="15"/>
                  </a:cubicBezTo>
                  <a:cubicBezTo>
                    <a:pt x="13" y="17"/>
                    <a:pt x="12" y="18"/>
                    <a:pt x="9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4" y="19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5"/>
                    <a:pt x="9" y="15"/>
                  </a:cubicBezTo>
                  <a:cubicBezTo>
                    <a:pt x="9" y="15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51" name="Group 51"/>
          <p:cNvGrpSpPr>
            <a:grpSpLocks noChangeAspect="1"/>
          </p:cNvGrpSpPr>
          <p:nvPr/>
        </p:nvGrpSpPr>
        <p:grpSpPr bwMode="auto">
          <a:xfrm>
            <a:off x="8047038" y="269875"/>
            <a:ext cx="790575" cy="793750"/>
            <a:chOff x="5069" y="170"/>
            <a:chExt cx="498" cy="500"/>
          </a:xfrm>
        </p:grpSpPr>
        <p:sp>
          <p:nvSpPr>
            <p:cNvPr id="51252" name="Freeform 52"/>
            <p:cNvSpPr>
              <a:spLocks noEditPoints="1"/>
            </p:cNvSpPr>
            <p:nvPr/>
          </p:nvSpPr>
          <p:spPr bwMode="auto">
            <a:xfrm>
              <a:off x="5069" y="170"/>
              <a:ext cx="498" cy="500"/>
            </a:xfrm>
            <a:custGeom>
              <a:avLst/>
              <a:gdLst/>
              <a:ahLst/>
              <a:cxnLst>
                <a:cxn ang="0">
                  <a:pos x="104" y="209"/>
                </a:cxn>
                <a:cxn ang="0">
                  <a:pos x="0" y="105"/>
                </a:cxn>
                <a:cxn ang="0">
                  <a:pos x="104" y="0"/>
                </a:cxn>
                <a:cxn ang="0">
                  <a:pos x="208" y="105"/>
                </a:cxn>
                <a:cxn ang="0">
                  <a:pos x="104" y="209"/>
                </a:cxn>
                <a:cxn ang="0">
                  <a:pos x="104" y="5"/>
                </a:cxn>
                <a:cxn ang="0">
                  <a:pos x="5" y="105"/>
                </a:cxn>
                <a:cxn ang="0">
                  <a:pos x="104" y="204"/>
                </a:cxn>
                <a:cxn ang="0">
                  <a:pos x="203" y="105"/>
                </a:cxn>
                <a:cxn ang="0">
                  <a:pos x="104" y="5"/>
                </a:cxn>
              </a:cxnLst>
              <a:rect l="0" t="0" r="r" b="b"/>
              <a:pathLst>
                <a:path w="208" h="209">
                  <a:moveTo>
                    <a:pt x="104" y="209"/>
                  </a:moveTo>
                  <a:cubicBezTo>
                    <a:pt x="46" y="209"/>
                    <a:pt x="0" y="162"/>
                    <a:pt x="0" y="105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2" y="0"/>
                    <a:pt x="208" y="47"/>
                    <a:pt x="208" y="105"/>
                  </a:cubicBezTo>
                  <a:cubicBezTo>
                    <a:pt x="208" y="162"/>
                    <a:pt x="162" y="209"/>
                    <a:pt x="104" y="209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5"/>
                  </a:cubicBezTo>
                  <a:cubicBezTo>
                    <a:pt x="5" y="159"/>
                    <a:pt x="49" y="204"/>
                    <a:pt x="104" y="204"/>
                  </a:cubicBezTo>
                  <a:cubicBezTo>
                    <a:pt x="159" y="204"/>
                    <a:pt x="203" y="159"/>
                    <a:pt x="203" y="105"/>
                  </a:cubicBezTo>
                  <a:cubicBezTo>
                    <a:pt x="203" y="50"/>
                    <a:pt x="159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53" name="Freeform 53"/>
            <p:cNvSpPr>
              <a:spLocks noEditPoints="1"/>
            </p:cNvSpPr>
            <p:nvPr/>
          </p:nvSpPr>
          <p:spPr bwMode="auto">
            <a:xfrm>
              <a:off x="5208" y="311"/>
              <a:ext cx="264" cy="213"/>
            </a:xfrm>
            <a:custGeom>
              <a:avLst/>
              <a:gdLst/>
              <a:ahLst/>
              <a:cxnLst>
                <a:cxn ang="0">
                  <a:pos x="264" y="213"/>
                </a:cxn>
                <a:cxn ang="0">
                  <a:pos x="0" y="213"/>
                </a:cxn>
                <a:cxn ang="0">
                  <a:pos x="0" y="0"/>
                </a:cxn>
                <a:cxn ang="0">
                  <a:pos x="264" y="0"/>
                </a:cxn>
                <a:cxn ang="0">
                  <a:pos x="264" y="213"/>
                </a:cxn>
                <a:cxn ang="0">
                  <a:pos x="12" y="201"/>
                </a:cxn>
                <a:cxn ang="0">
                  <a:pos x="252" y="201"/>
                </a:cxn>
                <a:cxn ang="0">
                  <a:pos x="252" y="12"/>
                </a:cxn>
                <a:cxn ang="0">
                  <a:pos x="12" y="12"/>
                </a:cxn>
                <a:cxn ang="0">
                  <a:pos x="12" y="201"/>
                </a:cxn>
              </a:cxnLst>
              <a:rect l="0" t="0" r="r" b="b"/>
              <a:pathLst>
                <a:path w="264" h="213">
                  <a:moveTo>
                    <a:pt x="264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264" y="0"/>
                  </a:lnTo>
                  <a:lnTo>
                    <a:pt x="264" y="213"/>
                  </a:lnTo>
                  <a:close/>
                  <a:moveTo>
                    <a:pt x="12" y="201"/>
                  </a:moveTo>
                  <a:lnTo>
                    <a:pt x="252" y="201"/>
                  </a:lnTo>
                  <a:lnTo>
                    <a:pt x="252" y="12"/>
                  </a:lnTo>
                  <a:lnTo>
                    <a:pt x="12" y="12"/>
                  </a:lnTo>
                  <a:lnTo>
                    <a:pt x="12" y="20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54" name="Freeform 54"/>
            <p:cNvSpPr>
              <a:spLocks/>
            </p:cNvSpPr>
            <p:nvPr/>
          </p:nvSpPr>
          <p:spPr bwMode="auto">
            <a:xfrm>
              <a:off x="5162" y="364"/>
              <a:ext cx="46" cy="160"/>
            </a:xfrm>
            <a:custGeom>
              <a:avLst/>
              <a:gdLst/>
              <a:ahLst/>
              <a:cxnLst>
                <a:cxn ang="0">
                  <a:pos x="18" y="67"/>
                </a:cxn>
                <a:cxn ang="0">
                  <a:pos x="6" y="63"/>
                </a:cxn>
                <a:cxn ang="0">
                  <a:pos x="0" y="48"/>
                </a:cxn>
                <a:cxn ang="0">
                  <a:pos x="0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5" y="5"/>
                </a:cxn>
                <a:cxn ang="0">
                  <a:pos x="5" y="48"/>
                </a:cxn>
                <a:cxn ang="0">
                  <a:pos x="9" y="59"/>
                </a:cxn>
                <a:cxn ang="0">
                  <a:pos x="19" y="62"/>
                </a:cxn>
                <a:cxn ang="0">
                  <a:pos x="19" y="67"/>
                </a:cxn>
                <a:cxn ang="0">
                  <a:pos x="18" y="67"/>
                </a:cxn>
              </a:cxnLst>
              <a:rect l="0" t="0" r="r" b="b"/>
              <a:pathLst>
                <a:path w="19" h="67">
                  <a:moveTo>
                    <a:pt x="18" y="67"/>
                  </a:moveTo>
                  <a:cubicBezTo>
                    <a:pt x="13" y="67"/>
                    <a:pt x="9" y="66"/>
                    <a:pt x="6" y="63"/>
                  </a:cubicBezTo>
                  <a:cubicBezTo>
                    <a:pt x="0" y="57"/>
                    <a:pt x="0" y="49"/>
                    <a:pt x="0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55"/>
                    <a:pt x="9" y="59"/>
                  </a:cubicBezTo>
                  <a:cubicBezTo>
                    <a:pt x="12" y="61"/>
                    <a:pt x="15" y="62"/>
                    <a:pt x="19" y="62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55" name="Freeform 55"/>
            <p:cNvSpPr>
              <a:spLocks noEditPoints="1"/>
            </p:cNvSpPr>
            <p:nvPr/>
          </p:nvSpPr>
          <p:spPr bwMode="auto">
            <a:xfrm>
              <a:off x="5237" y="342"/>
              <a:ext cx="215" cy="139"/>
            </a:xfrm>
            <a:custGeom>
              <a:avLst/>
              <a:gdLst/>
              <a:ahLst/>
              <a:cxnLst>
                <a:cxn ang="0">
                  <a:pos x="75" y="29"/>
                </a:cxn>
                <a:cxn ang="0">
                  <a:pos x="73" y="27"/>
                </a:cxn>
                <a:cxn ang="0">
                  <a:pos x="57" y="0"/>
                </a:cxn>
                <a:cxn ang="0">
                  <a:pos x="2" y="8"/>
                </a:cxn>
                <a:cxn ang="0">
                  <a:pos x="0" y="56"/>
                </a:cxn>
                <a:cxn ang="0">
                  <a:pos x="66" y="58"/>
                </a:cxn>
                <a:cxn ang="0">
                  <a:pos x="69" y="33"/>
                </a:cxn>
                <a:cxn ang="0">
                  <a:pos x="71" y="36"/>
                </a:cxn>
                <a:cxn ang="0">
                  <a:pos x="87" y="49"/>
                </a:cxn>
                <a:cxn ang="0">
                  <a:pos x="89" y="44"/>
                </a:cxn>
                <a:cxn ang="0">
                  <a:pos x="69" y="7"/>
                </a:cxn>
                <a:cxn ang="0">
                  <a:pos x="68" y="29"/>
                </a:cxn>
                <a:cxn ang="0">
                  <a:pos x="67" y="30"/>
                </a:cxn>
                <a:cxn ang="0">
                  <a:pos x="64" y="32"/>
                </a:cxn>
                <a:cxn ang="0">
                  <a:pos x="59" y="33"/>
                </a:cxn>
                <a:cxn ang="0">
                  <a:pos x="57" y="33"/>
                </a:cxn>
                <a:cxn ang="0">
                  <a:pos x="52" y="32"/>
                </a:cxn>
                <a:cxn ang="0">
                  <a:pos x="50" y="31"/>
                </a:cxn>
                <a:cxn ang="0">
                  <a:pos x="46" y="28"/>
                </a:cxn>
                <a:cxn ang="0">
                  <a:pos x="42" y="18"/>
                </a:cxn>
                <a:cxn ang="0">
                  <a:pos x="42" y="17"/>
                </a:cxn>
                <a:cxn ang="0">
                  <a:pos x="44" y="10"/>
                </a:cxn>
                <a:cxn ang="0">
                  <a:pos x="47" y="6"/>
                </a:cxn>
                <a:cxn ang="0">
                  <a:pos x="42" y="26"/>
                </a:cxn>
                <a:cxn ang="0">
                  <a:pos x="44" y="32"/>
                </a:cxn>
                <a:cxn ang="0">
                  <a:pos x="45" y="34"/>
                </a:cxn>
                <a:cxn ang="0">
                  <a:pos x="41" y="10"/>
                </a:cxn>
                <a:cxn ang="0">
                  <a:pos x="2" y="10"/>
                </a:cxn>
                <a:cxn ang="0">
                  <a:pos x="41" y="24"/>
                </a:cxn>
                <a:cxn ang="0">
                  <a:pos x="2" y="26"/>
                </a:cxn>
                <a:cxn ang="0">
                  <a:pos x="2" y="32"/>
                </a:cxn>
                <a:cxn ang="0">
                  <a:pos x="24" y="39"/>
                </a:cxn>
                <a:cxn ang="0">
                  <a:pos x="29" y="34"/>
                </a:cxn>
                <a:cxn ang="0">
                  <a:pos x="8" y="39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22" y="43"/>
                </a:cxn>
                <a:cxn ang="0">
                  <a:pos x="45" y="38"/>
                </a:cxn>
                <a:cxn ang="0">
                  <a:pos x="54" y="35"/>
                </a:cxn>
                <a:cxn ang="0">
                  <a:pos x="37" y="33"/>
                </a:cxn>
                <a:cxn ang="0">
                  <a:pos x="14" y="41"/>
                </a:cxn>
                <a:cxn ang="0">
                  <a:pos x="42" y="42"/>
                </a:cxn>
                <a:cxn ang="0">
                  <a:pos x="32" y="42"/>
                </a:cxn>
                <a:cxn ang="0">
                  <a:pos x="37" y="35"/>
                </a:cxn>
                <a:cxn ang="0">
                  <a:pos x="18" y="47"/>
                </a:cxn>
                <a:cxn ang="0">
                  <a:pos x="18" y="47"/>
                </a:cxn>
                <a:cxn ang="0">
                  <a:pos x="19" y="49"/>
                </a:cxn>
                <a:cxn ang="0">
                  <a:pos x="25" y="49"/>
                </a:cxn>
                <a:cxn ang="0">
                  <a:pos x="48" y="47"/>
                </a:cxn>
                <a:cxn ang="0">
                  <a:pos x="66" y="39"/>
                </a:cxn>
                <a:cxn ang="0">
                  <a:pos x="57" y="35"/>
                </a:cxn>
                <a:cxn ang="0">
                  <a:pos x="66" y="33"/>
                </a:cxn>
                <a:cxn ang="0">
                  <a:pos x="3" y="56"/>
                </a:cxn>
                <a:cxn ang="0">
                  <a:pos x="70" y="30"/>
                </a:cxn>
                <a:cxn ang="0">
                  <a:pos x="71" y="29"/>
                </a:cxn>
                <a:cxn ang="0">
                  <a:pos x="85" y="48"/>
                </a:cxn>
                <a:cxn ang="0">
                  <a:pos x="75" y="33"/>
                </a:cxn>
              </a:cxnLst>
              <a:rect l="0" t="0" r="r" b="b"/>
              <a:pathLst>
                <a:path w="90" h="58">
                  <a:moveTo>
                    <a:pt x="89" y="44"/>
                  </a:moveTo>
                  <a:cubicBezTo>
                    <a:pt x="77" y="31"/>
                    <a:pt x="77" y="31"/>
                    <a:pt x="77" y="31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7" y="20"/>
                    <a:pt x="76" y="11"/>
                    <a:pt x="70" y="5"/>
                  </a:cubicBezTo>
                  <a:cubicBezTo>
                    <a:pt x="67" y="2"/>
                    <a:pt x="62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3" y="0"/>
                    <a:pt x="48" y="1"/>
                    <a:pt x="45" y="4"/>
                  </a:cubicBezTo>
                  <a:cubicBezTo>
                    <a:pt x="44" y="6"/>
                    <a:pt x="43" y="7"/>
                    <a:pt x="4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6"/>
                    <a:pt x="90" y="46"/>
                    <a:pt x="90" y="46"/>
                  </a:cubicBezTo>
                  <a:lnTo>
                    <a:pt x="89" y="44"/>
                  </a:lnTo>
                  <a:close/>
                  <a:moveTo>
                    <a:pt x="47" y="6"/>
                  </a:moveTo>
                  <a:cubicBezTo>
                    <a:pt x="50" y="3"/>
                    <a:pt x="54" y="2"/>
                    <a:pt x="57" y="2"/>
                  </a:cubicBezTo>
                  <a:cubicBezTo>
                    <a:pt x="62" y="2"/>
                    <a:pt x="66" y="3"/>
                    <a:pt x="69" y="7"/>
                  </a:cubicBezTo>
                  <a:cubicBezTo>
                    <a:pt x="75" y="13"/>
                    <a:pt x="75" y="23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9"/>
                    <a:pt x="68" y="29"/>
                    <a:pt x="67" y="29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6" y="30"/>
                    <a:pt x="66" y="30"/>
                  </a:cubicBezTo>
                  <a:cubicBezTo>
                    <a:pt x="66" y="31"/>
                    <a:pt x="65" y="31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2" y="32"/>
                    <a:pt x="61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5" y="33"/>
                  </a:cubicBezTo>
                  <a:cubicBezTo>
                    <a:pt x="54" y="33"/>
                    <a:pt x="53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48" y="30"/>
                    <a:pt x="47" y="29"/>
                    <a:pt x="46" y="28"/>
                  </a:cubicBezTo>
                  <a:cubicBezTo>
                    <a:pt x="45" y="28"/>
                    <a:pt x="45" y="27"/>
                    <a:pt x="44" y="26"/>
                  </a:cubicBezTo>
                  <a:cubicBezTo>
                    <a:pt x="44" y="25"/>
                    <a:pt x="44" y="25"/>
                    <a:pt x="43" y="24"/>
                  </a:cubicBezTo>
                  <a:cubicBezTo>
                    <a:pt x="42" y="22"/>
                    <a:pt x="42" y="20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4"/>
                    <a:pt x="43" y="12"/>
                    <a:pt x="44" y="10"/>
                  </a:cubicBezTo>
                  <a:cubicBezTo>
                    <a:pt x="44" y="9"/>
                    <a:pt x="44" y="9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6" y="7"/>
                    <a:pt x="47" y="6"/>
                  </a:cubicBezTo>
                  <a:close/>
                  <a:moveTo>
                    <a:pt x="44" y="32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7"/>
                    <a:pt x="43" y="29"/>
                    <a:pt x="44" y="30"/>
                  </a:cubicBezTo>
                  <a:cubicBezTo>
                    <a:pt x="45" y="30"/>
                    <a:pt x="46" y="31"/>
                    <a:pt x="47" y="32"/>
                  </a:cubicBezTo>
                  <a:lnTo>
                    <a:pt x="44" y="32"/>
                  </a:lnTo>
                  <a:close/>
                  <a:moveTo>
                    <a:pt x="48" y="34"/>
                  </a:moveTo>
                  <a:cubicBezTo>
                    <a:pt x="46" y="35"/>
                    <a:pt x="46" y="35"/>
                    <a:pt x="46" y="35"/>
                  </a:cubicBezTo>
                  <a:cubicBezTo>
                    <a:pt x="45" y="34"/>
                    <a:pt x="45" y="34"/>
                    <a:pt x="45" y="34"/>
                  </a:cubicBezTo>
                  <a:lnTo>
                    <a:pt x="48" y="34"/>
                  </a:lnTo>
                  <a:close/>
                  <a:moveTo>
                    <a:pt x="2" y="10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40" y="12"/>
                    <a:pt x="40" y="14"/>
                    <a:pt x="40" y="16"/>
                  </a:cubicBezTo>
                  <a:cubicBezTo>
                    <a:pt x="2" y="16"/>
                    <a:pt x="2" y="16"/>
                    <a:pt x="2" y="16"/>
                  </a:cubicBezTo>
                  <a:lnTo>
                    <a:pt x="2" y="10"/>
                  </a:lnTo>
                  <a:close/>
                  <a:moveTo>
                    <a:pt x="2" y="18"/>
                  </a:moveTo>
                  <a:cubicBezTo>
                    <a:pt x="40" y="18"/>
                    <a:pt x="40" y="18"/>
                    <a:pt x="40" y="18"/>
                  </a:cubicBezTo>
                  <a:cubicBezTo>
                    <a:pt x="40" y="20"/>
                    <a:pt x="40" y="22"/>
                    <a:pt x="41" y="24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2" y="18"/>
                  </a:lnTo>
                  <a:close/>
                  <a:moveTo>
                    <a:pt x="2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2" y="26"/>
                  </a:lnTo>
                  <a:close/>
                  <a:moveTo>
                    <a:pt x="29" y="34"/>
                  </a:moveTo>
                  <a:cubicBezTo>
                    <a:pt x="24" y="39"/>
                    <a:pt x="24" y="39"/>
                    <a:pt x="24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29" y="34"/>
                  </a:lnTo>
                  <a:close/>
                  <a:moveTo>
                    <a:pt x="2" y="34"/>
                  </a:moveTo>
                  <a:cubicBezTo>
                    <a:pt x="13" y="34"/>
                    <a:pt x="13" y="34"/>
                    <a:pt x="13" y="34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2" y="39"/>
                    <a:pt x="2" y="39"/>
                    <a:pt x="2" y="39"/>
                  </a:cubicBezTo>
                  <a:lnTo>
                    <a:pt x="2" y="34"/>
                  </a:lnTo>
                  <a:close/>
                  <a:moveTo>
                    <a:pt x="2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2" y="46"/>
                    <a:pt x="2" y="46"/>
                    <a:pt x="2" y="46"/>
                  </a:cubicBezTo>
                  <a:lnTo>
                    <a:pt x="2" y="42"/>
                  </a:lnTo>
                  <a:close/>
                  <a:moveTo>
                    <a:pt x="2" y="49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2" y="34"/>
                    <a:pt x="53" y="35"/>
                    <a:pt x="54" y="3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2" y="54"/>
                    <a:pt x="2" y="54"/>
                    <a:pt x="2" y="54"/>
                  </a:cubicBezTo>
                  <a:lnTo>
                    <a:pt x="2" y="49"/>
                  </a:lnTo>
                  <a:close/>
                  <a:moveTo>
                    <a:pt x="42" y="42"/>
                  </a:moveTo>
                  <a:cubicBezTo>
                    <a:pt x="45" y="47"/>
                    <a:pt x="45" y="47"/>
                    <a:pt x="45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32" y="42"/>
                    <a:pt x="32" y="42"/>
                    <a:pt x="32" y="42"/>
                  </a:cubicBezTo>
                  <a:lnTo>
                    <a:pt x="42" y="42"/>
                  </a:lnTo>
                  <a:close/>
                  <a:moveTo>
                    <a:pt x="34" y="39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40" y="39"/>
                    <a:pt x="40" y="39"/>
                    <a:pt x="40" y="39"/>
                  </a:cubicBezTo>
                  <a:lnTo>
                    <a:pt x="34" y="39"/>
                  </a:lnTo>
                  <a:close/>
                  <a:moveTo>
                    <a:pt x="18" y="47"/>
                  </a:moveTo>
                  <a:cubicBezTo>
                    <a:pt x="11" y="47"/>
                    <a:pt x="11" y="47"/>
                    <a:pt x="11" y="47"/>
                  </a:cubicBezTo>
                  <a:cubicBezTo>
                    <a:pt x="15" y="43"/>
                    <a:pt x="15" y="43"/>
                    <a:pt x="15" y="43"/>
                  </a:cubicBezTo>
                  <a:lnTo>
                    <a:pt x="18" y="47"/>
                  </a:lnTo>
                  <a:close/>
                  <a:moveTo>
                    <a:pt x="3" y="56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60" y="35"/>
                    <a:pt x="62" y="35"/>
                    <a:pt x="64" y="34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56"/>
                    <a:pt x="66" y="56"/>
                    <a:pt x="66" y="56"/>
                  </a:cubicBezTo>
                  <a:lnTo>
                    <a:pt x="3" y="56"/>
                  </a:lnTo>
                  <a:close/>
                  <a:moveTo>
                    <a:pt x="71" y="33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1" y="33"/>
                    <a:pt x="71" y="33"/>
                    <a:pt x="71" y="33"/>
                  </a:cubicBezTo>
                  <a:close/>
                  <a:moveTo>
                    <a:pt x="85" y="48"/>
                  </a:moveTo>
                  <a:cubicBezTo>
                    <a:pt x="73" y="35"/>
                    <a:pt x="73" y="35"/>
                    <a:pt x="73" y="35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87" y="46"/>
                    <a:pt x="87" y="46"/>
                    <a:pt x="87" y="46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56" name="Freeform 56"/>
            <p:cNvSpPr>
              <a:spLocks noEditPoints="1"/>
            </p:cNvSpPr>
            <p:nvPr/>
          </p:nvSpPr>
          <p:spPr bwMode="auto">
            <a:xfrm>
              <a:off x="5357" y="354"/>
              <a:ext cx="35" cy="58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4" y="21"/>
                </a:cxn>
                <a:cxn ang="0">
                  <a:pos x="4" y="21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9" y="24"/>
                </a:cxn>
                <a:cxn ang="0">
                  <a:pos x="12" y="24"/>
                </a:cxn>
                <a:cxn ang="0">
                  <a:pos x="12" y="21"/>
                </a:cxn>
                <a:cxn ang="0">
                  <a:pos x="12" y="21"/>
                </a:cxn>
                <a:cxn ang="0">
                  <a:pos x="15" y="15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5" y="6"/>
                </a:cxn>
                <a:cxn ang="0">
                  <a:pos x="15" y="4"/>
                </a:cxn>
                <a:cxn ang="0">
                  <a:pos x="14" y="4"/>
                </a:cxn>
                <a:cxn ang="0">
                  <a:pos x="13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9"/>
                </a:cxn>
                <a:cxn ang="0">
                  <a:pos x="1" y="13"/>
                </a:cxn>
                <a:cxn ang="0">
                  <a:pos x="1" y="14"/>
                </a:cxn>
                <a:cxn ang="0">
                  <a:pos x="0" y="18"/>
                </a:cxn>
                <a:cxn ang="0">
                  <a:pos x="0" y="19"/>
                </a:cxn>
                <a:cxn ang="0">
                  <a:pos x="1" y="20"/>
                </a:cxn>
                <a:cxn ang="0">
                  <a:pos x="2" y="20"/>
                </a:cxn>
                <a:cxn ang="0">
                  <a:pos x="7" y="14"/>
                </a:cxn>
                <a:cxn ang="0">
                  <a:pos x="3" y="9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9" y="5"/>
                </a:cxn>
                <a:cxn ang="0">
                  <a:pos x="12" y="5"/>
                </a:cxn>
                <a:cxn ang="0">
                  <a:pos x="13" y="6"/>
                </a:cxn>
                <a:cxn ang="0">
                  <a:pos x="12" y="8"/>
                </a:cxn>
                <a:cxn ang="0">
                  <a:pos x="12" y="9"/>
                </a:cxn>
                <a:cxn ang="0">
                  <a:pos x="11" y="9"/>
                </a:cxn>
                <a:cxn ang="0">
                  <a:pos x="8" y="8"/>
                </a:cxn>
                <a:cxn ang="0">
                  <a:pos x="7" y="9"/>
                </a:cxn>
                <a:cxn ang="0">
                  <a:pos x="9" y="10"/>
                </a:cxn>
                <a:cxn ang="0">
                  <a:pos x="13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6" y="21"/>
                </a:cxn>
                <a:cxn ang="0">
                  <a:pos x="6" y="19"/>
                </a:cxn>
                <a:cxn ang="0">
                  <a:pos x="3" y="18"/>
                </a:cxn>
                <a:cxn ang="0">
                  <a:pos x="2" y="18"/>
                </a:cxn>
                <a:cxn ang="0">
                  <a:pos x="3" y="15"/>
                </a:cxn>
                <a:cxn ang="0">
                  <a:pos x="4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7" y="14"/>
                </a:cxn>
              </a:cxnLst>
              <a:rect l="0" t="0" r="r" b="b"/>
              <a:pathLst>
                <a:path w="15" h="24">
                  <a:moveTo>
                    <a:pt x="2" y="20"/>
                  </a:moveTo>
                  <a:cubicBezTo>
                    <a:pt x="2" y="21"/>
                    <a:pt x="3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4" y="19"/>
                    <a:pt x="15" y="17"/>
                    <a:pt x="15" y="15"/>
                  </a:cubicBezTo>
                  <a:cubicBezTo>
                    <a:pt x="15" y="13"/>
                    <a:pt x="15" y="11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2" y="20"/>
                  </a:lnTo>
                  <a:close/>
                  <a:moveTo>
                    <a:pt x="7" y="14"/>
                  </a:moveTo>
                  <a:cubicBezTo>
                    <a:pt x="5" y="13"/>
                    <a:pt x="3" y="12"/>
                    <a:pt x="3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0" y="8"/>
                    <a:pt x="8" y="8"/>
                  </a:cubicBezTo>
                  <a:cubicBezTo>
                    <a:pt x="8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12" y="11"/>
                    <a:pt x="13" y="12"/>
                    <a:pt x="13" y="15"/>
                  </a:cubicBezTo>
                  <a:cubicBezTo>
                    <a:pt x="13" y="17"/>
                    <a:pt x="12" y="18"/>
                    <a:pt x="9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4" y="19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5"/>
                    <a:pt x="9" y="15"/>
                  </a:cubicBezTo>
                  <a:cubicBezTo>
                    <a:pt x="9" y="15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59" name="Group 59"/>
          <p:cNvGrpSpPr>
            <a:grpSpLocks noChangeAspect="1"/>
          </p:cNvGrpSpPr>
          <p:nvPr/>
        </p:nvGrpSpPr>
        <p:grpSpPr bwMode="auto">
          <a:xfrm>
            <a:off x="341313" y="1520825"/>
            <a:ext cx="838200" cy="836613"/>
            <a:chOff x="215" y="958"/>
            <a:chExt cx="528" cy="527"/>
          </a:xfrm>
        </p:grpSpPr>
        <p:sp>
          <p:nvSpPr>
            <p:cNvPr id="51260" name="Oval 60"/>
            <p:cNvSpPr>
              <a:spLocks noChangeArrowheads="1"/>
            </p:cNvSpPr>
            <p:nvPr/>
          </p:nvSpPr>
          <p:spPr bwMode="auto">
            <a:xfrm>
              <a:off x="215" y="958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61" name="Freeform 61"/>
            <p:cNvSpPr>
              <a:spLocks noEditPoints="1"/>
            </p:cNvSpPr>
            <p:nvPr/>
          </p:nvSpPr>
          <p:spPr bwMode="auto">
            <a:xfrm>
              <a:off x="237" y="980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62" name="Freeform 62"/>
            <p:cNvSpPr>
              <a:spLocks noEditPoints="1"/>
            </p:cNvSpPr>
            <p:nvPr/>
          </p:nvSpPr>
          <p:spPr bwMode="auto">
            <a:xfrm>
              <a:off x="304" y="1126"/>
              <a:ext cx="345" cy="172"/>
            </a:xfrm>
            <a:custGeom>
              <a:avLst/>
              <a:gdLst/>
              <a:ahLst/>
              <a:cxnLst>
                <a:cxn ang="0">
                  <a:pos x="133" y="20"/>
                </a:cxn>
                <a:cxn ang="0">
                  <a:pos x="73" y="0"/>
                </a:cxn>
                <a:cxn ang="0">
                  <a:pos x="72" y="0"/>
                </a:cxn>
                <a:cxn ang="0">
                  <a:pos x="71" y="0"/>
                </a:cxn>
                <a:cxn ang="0">
                  <a:pos x="11" y="19"/>
                </a:cxn>
                <a:cxn ang="0">
                  <a:pos x="0" y="23"/>
                </a:cxn>
                <a:cxn ang="0">
                  <a:pos x="11" y="26"/>
                </a:cxn>
                <a:cxn ang="0">
                  <a:pos x="20" y="29"/>
                </a:cxn>
                <a:cxn ang="0">
                  <a:pos x="18" y="34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20" y="40"/>
                </a:cxn>
                <a:cxn ang="0">
                  <a:pos x="17" y="40"/>
                </a:cxn>
                <a:cxn ang="0">
                  <a:pos x="17" y="43"/>
                </a:cxn>
                <a:cxn ang="0">
                  <a:pos x="23" y="43"/>
                </a:cxn>
                <a:cxn ang="0">
                  <a:pos x="23" y="40"/>
                </a:cxn>
                <a:cxn ang="0">
                  <a:pos x="23" y="40"/>
                </a:cxn>
                <a:cxn ang="0">
                  <a:pos x="22" y="36"/>
                </a:cxn>
                <a:cxn ang="0">
                  <a:pos x="22" y="34"/>
                </a:cxn>
                <a:cxn ang="0">
                  <a:pos x="24" y="30"/>
                </a:cxn>
                <a:cxn ang="0">
                  <a:pos x="42" y="36"/>
                </a:cxn>
                <a:cxn ang="0">
                  <a:pos x="34" y="54"/>
                </a:cxn>
                <a:cxn ang="0">
                  <a:pos x="72" y="72"/>
                </a:cxn>
                <a:cxn ang="0">
                  <a:pos x="111" y="54"/>
                </a:cxn>
                <a:cxn ang="0">
                  <a:pos x="104" y="36"/>
                </a:cxn>
                <a:cxn ang="0">
                  <a:pos x="133" y="27"/>
                </a:cxn>
                <a:cxn ang="0">
                  <a:pos x="144" y="24"/>
                </a:cxn>
                <a:cxn ang="0">
                  <a:pos x="133" y="20"/>
                </a:cxn>
                <a:cxn ang="0">
                  <a:pos x="106" y="52"/>
                </a:cxn>
                <a:cxn ang="0">
                  <a:pos x="72" y="68"/>
                </a:cxn>
                <a:cxn ang="0">
                  <a:pos x="38" y="53"/>
                </a:cxn>
                <a:cxn ang="0">
                  <a:pos x="45" y="37"/>
                </a:cxn>
                <a:cxn ang="0">
                  <a:pos x="71" y="45"/>
                </a:cxn>
                <a:cxn ang="0">
                  <a:pos x="72" y="45"/>
                </a:cxn>
                <a:cxn ang="0">
                  <a:pos x="73" y="45"/>
                </a:cxn>
                <a:cxn ang="0">
                  <a:pos x="100" y="37"/>
                </a:cxn>
                <a:cxn ang="0">
                  <a:pos x="106" y="52"/>
                </a:cxn>
                <a:cxn ang="0">
                  <a:pos x="72" y="41"/>
                </a:cxn>
                <a:cxn ang="0">
                  <a:pos x="12" y="23"/>
                </a:cxn>
                <a:cxn ang="0">
                  <a:pos x="72" y="4"/>
                </a:cxn>
                <a:cxn ang="0">
                  <a:pos x="132" y="23"/>
                </a:cxn>
                <a:cxn ang="0">
                  <a:pos x="72" y="41"/>
                </a:cxn>
              </a:cxnLst>
              <a:rect l="0" t="0" r="r" b="b"/>
              <a:pathLst>
                <a:path w="144" h="72">
                  <a:moveTo>
                    <a:pt x="133" y="2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30"/>
                    <a:pt x="18" y="32"/>
                    <a:pt x="18" y="34"/>
                  </a:cubicBezTo>
                  <a:cubicBezTo>
                    <a:pt x="18" y="36"/>
                    <a:pt x="18" y="37"/>
                    <a:pt x="19" y="37"/>
                  </a:cubicBezTo>
                  <a:cubicBezTo>
                    <a:pt x="19" y="38"/>
                    <a:pt x="19" y="39"/>
                    <a:pt x="19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2" y="37"/>
                    <a:pt x="22" y="36"/>
                  </a:cubicBezTo>
                  <a:cubicBezTo>
                    <a:pt x="22" y="36"/>
                    <a:pt x="22" y="35"/>
                    <a:pt x="22" y="34"/>
                  </a:cubicBezTo>
                  <a:cubicBezTo>
                    <a:pt x="22" y="33"/>
                    <a:pt x="22" y="31"/>
                    <a:pt x="24" y="30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44" y="24"/>
                    <a:pt x="144" y="24"/>
                    <a:pt x="144" y="24"/>
                  </a:cubicBezTo>
                  <a:lnTo>
                    <a:pt x="133" y="20"/>
                  </a:lnTo>
                  <a:close/>
                  <a:moveTo>
                    <a:pt x="106" y="52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100" y="37"/>
                    <a:pt x="100" y="37"/>
                    <a:pt x="100" y="37"/>
                  </a:cubicBezTo>
                  <a:lnTo>
                    <a:pt x="106" y="52"/>
                  </a:lnTo>
                  <a:close/>
                  <a:moveTo>
                    <a:pt x="72" y="41"/>
                  </a:moveTo>
                  <a:cubicBezTo>
                    <a:pt x="12" y="23"/>
                    <a:pt x="12" y="23"/>
                    <a:pt x="12" y="2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132" y="23"/>
                    <a:pt x="132" y="23"/>
                    <a:pt x="132" y="23"/>
                  </a:cubicBezTo>
                  <a:lnTo>
                    <a:pt x="72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63" name="Freeform 63"/>
            <p:cNvSpPr>
              <a:spLocks/>
            </p:cNvSpPr>
            <p:nvPr/>
          </p:nvSpPr>
          <p:spPr bwMode="auto">
            <a:xfrm>
              <a:off x="330" y="1236"/>
              <a:ext cx="36" cy="67"/>
            </a:xfrm>
            <a:custGeom>
              <a:avLst/>
              <a:gdLst/>
              <a:ahLst/>
              <a:cxnLst>
                <a:cxn ang="0">
                  <a:pos x="29" y="9"/>
                </a:cxn>
                <a:cxn ang="0">
                  <a:pos x="29" y="0"/>
                </a:cxn>
                <a:cxn ang="0">
                  <a:pos x="17" y="0"/>
                </a:cxn>
                <a:cxn ang="0">
                  <a:pos x="17" y="9"/>
                </a:cxn>
                <a:cxn ang="0">
                  <a:pos x="20" y="9"/>
                </a:cxn>
                <a:cxn ang="0">
                  <a:pos x="0" y="60"/>
                </a:cxn>
                <a:cxn ang="0">
                  <a:pos x="10" y="64"/>
                </a:cxn>
                <a:cxn ang="0">
                  <a:pos x="17" y="40"/>
                </a:cxn>
                <a:cxn ang="0">
                  <a:pos x="15" y="67"/>
                </a:cxn>
                <a:cxn ang="0">
                  <a:pos x="24" y="67"/>
                </a:cxn>
                <a:cxn ang="0">
                  <a:pos x="24" y="45"/>
                </a:cxn>
                <a:cxn ang="0">
                  <a:pos x="29" y="64"/>
                </a:cxn>
                <a:cxn ang="0">
                  <a:pos x="36" y="64"/>
                </a:cxn>
                <a:cxn ang="0">
                  <a:pos x="29" y="9"/>
                </a:cxn>
                <a:cxn ang="0">
                  <a:pos x="29" y="9"/>
                </a:cxn>
              </a:cxnLst>
              <a:rect l="0" t="0" r="r" b="b"/>
              <a:pathLst>
                <a:path w="36" h="67">
                  <a:moveTo>
                    <a:pt x="29" y="9"/>
                  </a:moveTo>
                  <a:lnTo>
                    <a:pt x="29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20" y="9"/>
                  </a:lnTo>
                  <a:lnTo>
                    <a:pt x="0" y="60"/>
                  </a:lnTo>
                  <a:lnTo>
                    <a:pt x="10" y="64"/>
                  </a:lnTo>
                  <a:lnTo>
                    <a:pt x="17" y="40"/>
                  </a:lnTo>
                  <a:lnTo>
                    <a:pt x="15" y="67"/>
                  </a:lnTo>
                  <a:lnTo>
                    <a:pt x="24" y="67"/>
                  </a:lnTo>
                  <a:lnTo>
                    <a:pt x="24" y="45"/>
                  </a:lnTo>
                  <a:lnTo>
                    <a:pt x="29" y="64"/>
                  </a:lnTo>
                  <a:lnTo>
                    <a:pt x="36" y="64"/>
                  </a:lnTo>
                  <a:lnTo>
                    <a:pt x="29" y="9"/>
                  </a:lnTo>
                  <a:lnTo>
                    <a:pt x="2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66" name="Group 66"/>
          <p:cNvGrpSpPr>
            <a:grpSpLocks noChangeAspect="1"/>
          </p:cNvGrpSpPr>
          <p:nvPr/>
        </p:nvGrpSpPr>
        <p:grpSpPr bwMode="auto">
          <a:xfrm>
            <a:off x="1459706" y="1554166"/>
            <a:ext cx="768350" cy="768351"/>
            <a:chOff x="926" y="979"/>
            <a:chExt cx="484" cy="484"/>
          </a:xfrm>
        </p:grpSpPr>
        <p:sp>
          <p:nvSpPr>
            <p:cNvPr id="51267" name="Freeform 67"/>
            <p:cNvSpPr>
              <a:spLocks noEditPoints="1"/>
            </p:cNvSpPr>
            <p:nvPr/>
          </p:nvSpPr>
          <p:spPr bwMode="auto">
            <a:xfrm>
              <a:off x="926" y="97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68" name="Freeform 68"/>
            <p:cNvSpPr>
              <a:spLocks noEditPoints="1"/>
            </p:cNvSpPr>
            <p:nvPr/>
          </p:nvSpPr>
          <p:spPr bwMode="auto">
            <a:xfrm>
              <a:off x="993" y="1126"/>
              <a:ext cx="346" cy="172"/>
            </a:xfrm>
            <a:custGeom>
              <a:avLst/>
              <a:gdLst/>
              <a:ahLst/>
              <a:cxnLst>
                <a:cxn ang="0">
                  <a:pos x="133" y="20"/>
                </a:cxn>
                <a:cxn ang="0">
                  <a:pos x="73" y="0"/>
                </a:cxn>
                <a:cxn ang="0">
                  <a:pos x="72" y="0"/>
                </a:cxn>
                <a:cxn ang="0">
                  <a:pos x="71" y="0"/>
                </a:cxn>
                <a:cxn ang="0">
                  <a:pos x="11" y="19"/>
                </a:cxn>
                <a:cxn ang="0">
                  <a:pos x="0" y="23"/>
                </a:cxn>
                <a:cxn ang="0">
                  <a:pos x="11" y="26"/>
                </a:cxn>
                <a:cxn ang="0">
                  <a:pos x="20" y="29"/>
                </a:cxn>
                <a:cxn ang="0">
                  <a:pos x="18" y="34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20" y="40"/>
                </a:cxn>
                <a:cxn ang="0">
                  <a:pos x="17" y="40"/>
                </a:cxn>
                <a:cxn ang="0">
                  <a:pos x="17" y="43"/>
                </a:cxn>
                <a:cxn ang="0">
                  <a:pos x="23" y="43"/>
                </a:cxn>
                <a:cxn ang="0">
                  <a:pos x="23" y="40"/>
                </a:cxn>
                <a:cxn ang="0">
                  <a:pos x="23" y="40"/>
                </a:cxn>
                <a:cxn ang="0">
                  <a:pos x="22" y="36"/>
                </a:cxn>
                <a:cxn ang="0">
                  <a:pos x="22" y="34"/>
                </a:cxn>
                <a:cxn ang="0">
                  <a:pos x="24" y="30"/>
                </a:cxn>
                <a:cxn ang="0">
                  <a:pos x="42" y="36"/>
                </a:cxn>
                <a:cxn ang="0">
                  <a:pos x="34" y="54"/>
                </a:cxn>
                <a:cxn ang="0">
                  <a:pos x="72" y="72"/>
                </a:cxn>
                <a:cxn ang="0">
                  <a:pos x="111" y="54"/>
                </a:cxn>
                <a:cxn ang="0">
                  <a:pos x="104" y="36"/>
                </a:cxn>
                <a:cxn ang="0">
                  <a:pos x="133" y="27"/>
                </a:cxn>
                <a:cxn ang="0">
                  <a:pos x="144" y="24"/>
                </a:cxn>
                <a:cxn ang="0">
                  <a:pos x="133" y="20"/>
                </a:cxn>
                <a:cxn ang="0">
                  <a:pos x="106" y="52"/>
                </a:cxn>
                <a:cxn ang="0">
                  <a:pos x="72" y="68"/>
                </a:cxn>
                <a:cxn ang="0">
                  <a:pos x="38" y="53"/>
                </a:cxn>
                <a:cxn ang="0">
                  <a:pos x="45" y="37"/>
                </a:cxn>
                <a:cxn ang="0">
                  <a:pos x="71" y="45"/>
                </a:cxn>
                <a:cxn ang="0">
                  <a:pos x="72" y="45"/>
                </a:cxn>
                <a:cxn ang="0">
                  <a:pos x="73" y="45"/>
                </a:cxn>
                <a:cxn ang="0">
                  <a:pos x="100" y="37"/>
                </a:cxn>
                <a:cxn ang="0">
                  <a:pos x="106" y="52"/>
                </a:cxn>
                <a:cxn ang="0">
                  <a:pos x="72" y="41"/>
                </a:cxn>
                <a:cxn ang="0">
                  <a:pos x="12" y="23"/>
                </a:cxn>
                <a:cxn ang="0">
                  <a:pos x="72" y="4"/>
                </a:cxn>
                <a:cxn ang="0">
                  <a:pos x="132" y="23"/>
                </a:cxn>
                <a:cxn ang="0">
                  <a:pos x="72" y="41"/>
                </a:cxn>
              </a:cxnLst>
              <a:rect l="0" t="0" r="r" b="b"/>
              <a:pathLst>
                <a:path w="144" h="72">
                  <a:moveTo>
                    <a:pt x="133" y="2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30"/>
                    <a:pt x="18" y="32"/>
                    <a:pt x="18" y="34"/>
                  </a:cubicBezTo>
                  <a:cubicBezTo>
                    <a:pt x="18" y="36"/>
                    <a:pt x="18" y="37"/>
                    <a:pt x="19" y="37"/>
                  </a:cubicBezTo>
                  <a:cubicBezTo>
                    <a:pt x="19" y="38"/>
                    <a:pt x="19" y="39"/>
                    <a:pt x="19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38"/>
                    <a:pt x="22" y="37"/>
                    <a:pt x="22" y="36"/>
                  </a:cubicBezTo>
                  <a:cubicBezTo>
                    <a:pt x="22" y="36"/>
                    <a:pt x="22" y="35"/>
                    <a:pt x="22" y="34"/>
                  </a:cubicBezTo>
                  <a:cubicBezTo>
                    <a:pt x="22" y="33"/>
                    <a:pt x="22" y="31"/>
                    <a:pt x="24" y="30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44" y="24"/>
                    <a:pt x="144" y="24"/>
                    <a:pt x="144" y="24"/>
                  </a:cubicBezTo>
                  <a:lnTo>
                    <a:pt x="133" y="20"/>
                  </a:lnTo>
                  <a:close/>
                  <a:moveTo>
                    <a:pt x="106" y="52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100" y="37"/>
                    <a:pt x="100" y="37"/>
                    <a:pt x="100" y="37"/>
                  </a:cubicBezTo>
                  <a:lnTo>
                    <a:pt x="106" y="52"/>
                  </a:lnTo>
                  <a:close/>
                  <a:moveTo>
                    <a:pt x="72" y="41"/>
                  </a:moveTo>
                  <a:cubicBezTo>
                    <a:pt x="12" y="23"/>
                    <a:pt x="12" y="23"/>
                    <a:pt x="12" y="2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132" y="23"/>
                    <a:pt x="132" y="23"/>
                    <a:pt x="132" y="23"/>
                  </a:cubicBezTo>
                  <a:lnTo>
                    <a:pt x="72" y="4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69" name="Freeform 69"/>
            <p:cNvSpPr>
              <a:spLocks/>
            </p:cNvSpPr>
            <p:nvPr/>
          </p:nvSpPr>
          <p:spPr bwMode="auto">
            <a:xfrm>
              <a:off x="1020" y="1236"/>
              <a:ext cx="36" cy="67"/>
            </a:xfrm>
            <a:custGeom>
              <a:avLst/>
              <a:gdLst/>
              <a:ahLst/>
              <a:cxnLst>
                <a:cxn ang="0">
                  <a:pos x="29" y="9"/>
                </a:cxn>
                <a:cxn ang="0">
                  <a:pos x="29" y="0"/>
                </a:cxn>
                <a:cxn ang="0">
                  <a:pos x="17" y="0"/>
                </a:cxn>
                <a:cxn ang="0">
                  <a:pos x="17" y="9"/>
                </a:cxn>
                <a:cxn ang="0">
                  <a:pos x="19" y="9"/>
                </a:cxn>
                <a:cxn ang="0">
                  <a:pos x="0" y="60"/>
                </a:cxn>
                <a:cxn ang="0">
                  <a:pos x="9" y="64"/>
                </a:cxn>
                <a:cxn ang="0">
                  <a:pos x="17" y="41"/>
                </a:cxn>
                <a:cxn ang="0">
                  <a:pos x="14" y="67"/>
                </a:cxn>
                <a:cxn ang="0">
                  <a:pos x="24" y="67"/>
                </a:cxn>
                <a:cxn ang="0">
                  <a:pos x="24" y="45"/>
                </a:cxn>
                <a:cxn ang="0">
                  <a:pos x="29" y="64"/>
                </a:cxn>
                <a:cxn ang="0">
                  <a:pos x="36" y="64"/>
                </a:cxn>
                <a:cxn ang="0">
                  <a:pos x="29" y="9"/>
                </a:cxn>
                <a:cxn ang="0">
                  <a:pos x="29" y="9"/>
                </a:cxn>
              </a:cxnLst>
              <a:rect l="0" t="0" r="r" b="b"/>
              <a:pathLst>
                <a:path w="36" h="67">
                  <a:moveTo>
                    <a:pt x="29" y="9"/>
                  </a:moveTo>
                  <a:lnTo>
                    <a:pt x="29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0" y="60"/>
                  </a:lnTo>
                  <a:lnTo>
                    <a:pt x="9" y="64"/>
                  </a:lnTo>
                  <a:lnTo>
                    <a:pt x="17" y="41"/>
                  </a:lnTo>
                  <a:lnTo>
                    <a:pt x="14" y="67"/>
                  </a:lnTo>
                  <a:lnTo>
                    <a:pt x="24" y="67"/>
                  </a:lnTo>
                  <a:lnTo>
                    <a:pt x="24" y="45"/>
                  </a:lnTo>
                  <a:lnTo>
                    <a:pt x="29" y="64"/>
                  </a:lnTo>
                  <a:lnTo>
                    <a:pt x="36" y="64"/>
                  </a:lnTo>
                  <a:lnTo>
                    <a:pt x="29" y="9"/>
                  </a:lnTo>
                  <a:lnTo>
                    <a:pt x="29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72" name="Group 72"/>
          <p:cNvGrpSpPr>
            <a:grpSpLocks noChangeAspect="1"/>
          </p:cNvGrpSpPr>
          <p:nvPr/>
        </p:nvGrpSpPr>
        <p:grpSpPr bwMode="auto">
          <a:xfrm>
            <a:off x="2520950" y="1511302"/>
            <a:ext cx="852488" cy="850900"/>
            <a:chOff x="1594" y="952"/>
            <a:chExt cx="537" cy="536"/>
          </a:xfrm>
        </p:grpSpPr>
        <p:sp>
          <p:nvSpPr>
            <p:cNvPr id="51273" name="Oval 73"/>
            <p:cNvSpPr>
              <a:spLocks noChangeArrowheads="1"/>
            </p:cNvSpPr>
            <p:nvPr/>
          </p:nvSpPr>
          <p:spPr bwMode="auto">
            <a:xfrm>
              <a:off x="1594" y="952"/>
              <a:ext cx="537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74" name="Freeform 74"/>
            <p:cNvSpPr>
              <a:spLocks noEditPoints="1"/>
            </p:cNvSpPr>
            <p:nvPr/>
          </p:nvSpPr>
          <p:spPr bwMode="auto">
            <a:xfrm>
              <a:off x="1755" y="1093"/>
              <a:ext cx="223" cy="125"/>
            </a:xfrm>
            <a:custGeom>
              <a:avLst/>
              <a:gdLst/>
              <a:ahLst/>
              <a:cxnLst>
                <a:cxn ang="0">
                  <a:pos x="91" y="52"/>
                </a:cxn>
                <a:cxn ang="0">
                  <a:pos x="91" y="52"/>
                </a:cxn>
                <a:cxn ang="0">
                  <a:pos x="2" y="52"/>
                </a:cxn>
                <a:cxn ang="0">
                  <a:pos x="0" y="51"/>
                </a:cxn>
                <a:cxn ang="0">
                  <a:pos x="0" y="49"/>
                </a:cxn>
                <a:cxn ang="0">
                  <a:pos x="44" y="0"/>
                </a:cxn>
                <a:cxn ang="0">
                  <a:pos x="46" y="0"/>
                </a:cxn>
                <a:cxn ang="0">
                  <a:pos x="47" y="0"/>
                </a:cxn>
                <a:cxn ang="0">
                  <a:pos x="93" y="49"/>
                </a:cxn>
                <a:cxn ang="0">
                  <a:pos x="93" y="50"/>
                </a:cxn>
                <a:cxn ang="0">
                  <a:pos x="91" y="52"/>
                </a:cxn>
                <a:cxn ang="0">
                  <a:pos x="6" y="48"/>
                </a:cxn>
                <a:cxn ang="0">
                  <a:pos x="87" y="48"/>
                </a:cxn>
                <a:cxn ang="0">
                  <a:pos x="46" y="4"/>
                </a:cxn>
                <a:cxn ang="0">
                  <a:pos x="6" y="48"/>
                </a:cxn>
              </a:cxnLst>
              <a:rect l="0" t="0" r="r" b="b"/>
              <a:pathLst>
                <a:path w="93" h="52">
                  <a:moveTo>
                    <a:pt x="91" y="52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1"/>
                    <a:pt x="0" y="51"/>
                  </a:cubicBezTo>
                  <a:cubicBezTo>
                    <a:pt x="0" y="50"/>
                    <a:pt x="0" y="49"/>
                    <a:pt x="0" y="4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5" y="0"/>
                    <a:pt x="45" y="0"/>
                    <a:pt x="46" y="0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3" y="50"/>
                  </a:cubicBezTo>
                  <a:cubicBezTo>
                    <a:pt x="93" y="51"/>
                    <a:pt x="92" y="52"/>
                    <a:pt x="91" y="52"/>
                  </a:cubicBezTo>
                  <a:close/>
                  <a:moveTo>
                    <a:pt x="6" y="48"/>
                  </a:moveTo>
                  <a:cubicBezTo>
                    <a:pt x="87" y="48"/>
                    <a:pt x="87" y="48"/>
                    <a:pt x="87" y="48"/>
                  </a:cubicBezTo>
                  <a:cubicBezTo>
                    <a:pt x="46" y="4"/>
                    <a:pt x="46" y="4"/>
                    <a:pt x="46" y="4"/>
                  </a:cubicBezTo>
                  <a:lnTo>
                    <a:pt x="6" y="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75" name="Freeform 75"/>
            <p:cNvSpPr>
              <a:spLocks noEditPoints="1"/>
            </p:cNvSpPr>
            <p:nvPr/>
          </p:nvSpPr>
          <p:spPr bwMode="auto">
            <a:xfrm>
              <a:off x="1755" y="1261"/>
              <a:ext cx="223" cy="77"/>
            </a:xfrm>
            <a:custGeom>
              <a:avLst/>
              <a:gdLst/>
              <a:ahLst/>
              <a:cxnLst>
                <a:cxn ang="0">
                  <a:pos x="88" y="32"/>
                </a:cxn>
                <a:cxn ang="0">
                  <a:pos x="6" y="32"/>
                </a:cxn>
                <a:cxn ang="0">
                  <a:pos x="0" y="27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88" y="0"/>
                </a:cxn>
                <a:cxn ang="0">
                  <a:pos x="93" y="5"/>
                </a:cxn>
                <a:cxn ang="0">
                  <a:pos x="93" y="27"/>
                </a:cxn>
                <a:cxn ang="0">
                  <a:pos x="88" y="32"/>
                </a:cxn>
                <a:cxn ang="0">
                  <a:pos x="6" y="3"/>
                </a:cxn>
                <a:cxn ang="0">
                  <a:pos x="3" y="5"/>
                </a:cxn>
                <a:cxn ang="0">
                  <a:pos x="3" y="27"/>
                </a:cxn>
                <a:cxn ang="0">
                  <a:pos x="6" y="29"/>
                </a:cxn>
                <a:cxn ang="0">
                  <a:pos x="88" y="29"/>
                </a:cxn>
                <a:cxn ang="0">
                  <a:pos x="90" y="27"/>
                </a:cxn>
                <a:cxn ang="0">
                  <a:pos x="90" y="5"/>
                </a:cxn>
                <a:cxn ang="0">
                  <a:pos x="88" y="3"/>
                </a:cxn>
                <a:cxn ang="0">
                  <a:pos x="6" y="3"/>
                </a:cxn>
              </a:cxnLst>
              <a:rect l="0" t="0" r="r" b="b"/>
              <a:pathLst>
                <a:path w="93" h="32">
                  <a:moveTo>
                    <a:pt x="88" y="32"/>
                  </a:moveTo>
                  <a:cubicBezTo>
                    <a:pt x="6" y="32"/>
                    <a:pt x="6" y="32"/>
                    <a:pt x="6" y="32"/>
                  </a:cubicBezTo>
                  <a:cubicBezTo>
                    <a:pt x="2" y="32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30"/>
                    <a:pt x="91" y="32"/>
                    <a:pt x="88" y="32"/>
                  </a:cubicBezTo>
                  <a:close/>
                  <a:moveTo>
                    <a:pt x="6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4" y="29"/>
                    <a:pt x="6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9" y="29"/>
                    <a:pt x="90" y="28"/>
                    <a:pt x="90" y="27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4"/>
                    <a:pt x="89" y="3"/>
                    <a:pt x="88" y="3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76" name="Freeform 76"/>
            <p:cNvSpPr>
              <a:spLocks noEditPoints="1"/>
            </p:cNvSpPr>
            <p:nvPr/>
          </p:nvSpPr>
          <p:spPr bwMode="auto">
            <a:xfrm>
              <a:off x="1616" y="971"/>
              <a:ext cx="496" cy="496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4"/>
                </a:cxn>
                <a:cxn ang="0">
                  <a:pos x="103" y="0"/>
                </a:cxn>
                <a:cxn ang="0">
                  <a:pos x="207" y="104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4"/>
                </a:cxn>
                <a:cxn ang="0">
                  <a:pos x="103" y="202"/>
                </a:cxn>
                <a:cxn ang="0">
                  <a:pos x="202" y="104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1"/>
                    <a:pt x="0" y="104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7" y="47"/>
                    <a:pt x="207" y="104"/>
                  </a:cubicBezTo>
                  <a:cubicBezTo>
                    <a:pt x="207" y="161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79" name="Group 79"/>
          <p:cNvGrpSpPr>
            <a:grpSpLocks noChangeAspect="1"/>
          </p:cNvGrpSpPr>
          <p:nvPr/>
        </p:nvGrpSpPr>
        <p:grpSpPr bwMode="auto">
          <a:xfrm>
            <a:off x="3652044" y="1541463"/>
            <a:ext cx="787400" cy="788988"/>
            <a:chOff x="2312" y="971"/>
            <a:chExt cx="496" cy="497"/>
          </a:xfrm>
        </p:grpSpPr>
        <p:sp>
          <p:nvSpPr>
            <p:cNvPr id="51280" name="Freeform 80"/>
            <p:cNvSpPr>
              <a:spLocks noEditPoints="1"/>
            </p:cNvSpPr>
            <p:nvPr/>
          </p:nvSpPr>
          <p:spPr bwMode="auto">
            <a:xfrm>
              <a:off x="2451" y="1094"/>
              <a:ext cx="223" cy="124"/>
            </a:xfrm>
            <a:custGeom>
              <a:avLst/>
              <a:gdLst/>
              <a:ahLst/>
              <a:cxnLst>
                <a:cxn ang="0">
                  <a:pos x="91" y="52"/>
                </a:cxn>
                <a:cxn ang="0">
                  <a:pos x="91" y="52"/>
                </a:cxn>
                <a:cxn ang="0">
                  <a:pos x="2" y="52"/>
                </a:cxn>
                <a:cxn ang="0">
                  <a:pos x="0" y="51"/>
                </a:cxn>
                <a:cxn ang="0">
                  <a:pos x="0" y="49"/>
                </a:cxn>
                <a:cxn ang="0">
                  <a:pos x="44" y="0"/>
                </a:cxn>
                <a:cxn ang="0">
                  <a:pos x="46" y="0"/>
                </a:cxn>
                <a:cxn ang="0">
                  <a:pos x="47" y="0"/>
                </a:cxn>
                <a:cxn ang="0">
                  <a:pos x="93" y="49"/>
                </a:cxn>
                <a:cxn ang="0">
                  <a:pos x="93" y="50"/>
                </a:cxn>
                <a:cxn ang="0">
                  <a:pos x="91" y="52"/>
                </a:cxn>
                <a:cxn ang="0">
                  <a:pos x="6" y="48"/>
                </a:cxn>
                <a:cxn ang="0">
                  <a:pos x="87" y="48"/>
                </a:cxn>
                <a:cxn ang="0">
                  <a:pos x="46" y="4"/>
                </a:cxn>
                <a:cxn ang="0">
                  <a:pos x="6" y="48"/>
                </a:cxn>
              </a:cxnLst>
              <a:rect l="0" t="0" r="r" b="b"/>
              <a:pathLst>
                <a:path w="93" h="52">
                  <a:moveTo>
                    <a:pt x="91" y="52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1"/>
                    <a:pt x="0" y="51"/>
                  </a:cubicBezTo>
                  <a:cubicBezTo>
                    <a:pt x="0" y="50"/>
                    <a:pt x="0" y="49"/>
                    <a:pt x="0" y="4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5" y="0"/>
                    <a:pt x="45" y="0"/>
                    <a:pt x="46" y="0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3" y="50"/>
                  </a:cubicBezTo>
                  <a:cubicBezTo>
                    <a:pt x="93" y="51"/>
                    <a:pt x="92" y="52"/>
                    <a:pt x="91" y="52"/>
                  </a:cubicBezTo>
                  <a:close/>
                  <a:moveTo>
                    <a:pt x="6" y="48"/>
                  </a:moveTo>
                  <a:cubicBezTo>
                    <a:pt x="87" y="48"/>
                    <a:pt x="87" y="48"/>
                    <a:pt x="87" y="48"/>
                  </a:cubicBezTo>
                  <a:cubicBezTo>
                    <a:pt x="46" y="4"/>
                    <a:pt x="46" y="4"/>
                    <a:pt x="46" y="4"/>
                  </a:cubicBezTo>
                  <a:lnTo>
                    <a:pt x="6" y="4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81" name="Freeform 81"/>
            <p:cNvSpPr>
              <a:spLocks noEditPoints="1"/>
            </p:cNvSpPr>
            <p:nvPr/>
          </p:nvSpPr>
          <p:spPr bwMode="auto">
            <a:xfrm>
              <a:off x="2451" y="1261"/>
              <a:ext cx="223" cy="77"/>
            </a:xfrm>
            <a:custGeom>
              <a:avLst/>
              <a:gdLst/>
              <a:ahLst/>
              <a:cxnLst>
                <a:cxn ang="0">
                  <a:pos x="88" y="32"/>
                </a:cxn>
                <a:cxn ang="0">
                  <a:pos x="6" y="32"/>
                </a:cxn>
                <a:cxn ang="0">
                  <a:pos x="0" y="27"/>
                </a:cxn>
                <a:cxn ang="0">
                  <a:pos x="0" y="5"/>
                </a:cxn>
                <a:cxn ang="0">
                  <a:pos x="6" y="0"/>
                </a:cxn>
                <a:cxn ang="0">
                  <a:pos x="88" y="0"/>
                </a:cxn>
                <a:cxn ang="0">
                  <a:pos x="93" y="5"/>
                </a:cxn>
                <a:cxn ang="0">
                  <a:pos x="93" y="27"/>
                </a:cxn>
                <a:cxn ang="0">
                  <a:pos x="88" y="32"/>
                </a:cxn>
                <a:cxn ang="0">
                  <a:pos x="6" y="3"/>
                </a:cxn>
                <a:cxn ang="0">
                  <a:pos x="3" y="5"/>
                </a:cxn>
                <a:cxn ang="0">
                  <a:pos x="3" y="27"/>
                </a:cxn>
                <a:cxn ang="0">
                  <a:pos x="6" y="29"/>
                </a:cxn>
                <a:cxn ang="0">
                  <a:pos x="88" y="29"/>
                </a:cxn>
                <a:cxn ang="0">
                  <a:pos x="90" y="27"/>
                </a:cxn>
                <a:cxn ang="0">
                  <a:pos x="90" y="5"/>
                </a:cxn>
                <a:cxn ang="0">
                  <a:pos x="88" y="3"/>
                </a:cxn>
                <a:cxn ang="0">
                  <a:pos x="6" y="3"/>
                </a:cxn>
              </a:cxnLst>
              <a:rect l="0" t="0" r="r" b="b"/>
              <a:pathLst>
                <a:path w="93" h="32">
                  <a:moveTo>
                    <a:pt x="88" y="32"/>
                  </a:moveTo>
                  <a:cubicBezTo>
                    <a:pt x="6" y="32"/>
                    <a:pt x="6" y="32"/>
                    <a:pt x="6" y="32"/>
                  </a:cubicBezTo>
                  <a:cubicBezTo>
                    <a:pt x="2" y="32"/>
                    <a:pt x="0" y="30"/>
                    <a:pt x="0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1" y="0"/>
                    <a:pt x="93" y="2"/>
                    <a:pt x="93" y="5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30"/>
                    <a:pt x="91" y="32"/>
                    <a:pt x="88" y="32"/>
                  </a:cubicBezTo>
                  <a:close/>
                  <a:moveTo>
                    <a:pt x="6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4" y="29"/>
                    <a:pt x="6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9" y="29"/>
                    <a:pt x="90" y="28"/>
                    <a:pt x="90" y="27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4"/>
                    <a:pt x="89" y="3"/>
                    <a:pt x="88" y="3"/>
                  </a:cubicBezTo>
                  <a:lnTo>
                    <a:pt x="6" y="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82" name="Freeform 82"/>
            <p:cNvSpPr>
              <a:spLocks noEditPoints="1"/>
            </p:cNvSpPr>
            <p:nvPr/>
          </p:nvSpPr>
          <p:spPr bwMode="auto">
            <a:xfrm>
              <a:off x="2312" y="971"/>
              <a:ext cx="496" cy="497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4"/>
                </a:cxn>
                <a:cxn ang="0">
                  <a:pos x="103" y="0"/>
                </a:cxn>
                <a:cxn ang="0">
                  <a:pos x="207" y="104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4"/>
                </a:cxn>
                <a:cxn ang="0">
                  <a:pos x="103" y="202"/>
                </a:cxn>
                <a:cxn ang="0">
                  <a:pos x="202" y="104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1"/>
                    <a:pt x="0" y="104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7" y="47"/>
                    <a:pt x="207" y="104"/>
                  </a:cubicBezTo>
                  <a:cubicBezTo>
                    <a:pt x="207" y="161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85" name="Group 85"/>
          <p:cNvGrpSpPr>
            <a:grpSpLocks noChangeAspect="1"/>
          </p:cNvGrpSpPr>
          <p:nvPr/>
        </p:nvGrpSpPr>
        <p:grpSpPr bwMode="auto">
          <a:xfrm>
            <a:off x="4718844" y="1525588"/>
            <a:ext cx="828675" cy="827087"/>
            <a:chOff x="2986" y="961"/>
            <a:chExt cx="522" cy="521"/>
          </a:xfrm>
        </p:grpSpPr>
        <p:sp>
          <p:nvSpPr>
            <p:cNvPr id="51286" name="Oval 86"/>
            <p:cNvSpPr>
              <a:spLocks noChangeArrowheads="1"/>
            </p:cNvSpPr>
            <p:nvPr/>
          </p:nvSpPr>
          <p:spPr bwMode="auto">
            <a:xfrm>
              <a:off x="2986" y="961"/>
              <a:ext cx="522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87" name="Freeform 87"/>
            <p:cNvSpPr>
              <a:spLocks noEditPoints="1"/>
            </p:cNvSpPr>
            <p:nvPr/>
          </p:nvSpPr>
          <p:spPr bwMode="auto">
            <a:xfrm>
              <a:off x="3005" y="980"/>
              <a:ext cx="483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8"/>
                </a:cxn>
                <a:cxn ang="0">
                  <a:pos x="33" y="169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69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69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88" name="Freeform 88"/>
            <p:cNvSpPr>
              <a:spLocks noEditPoints="1"/>
            </p:cNvSpPr>
            <p:nvPr/>
          </p:nvSpPr>
          <p:spPr bwMode="auto">
            <a:xfrm>
              <a:off x="3101" y="1126"/>
              <a:ext cx="287" cy="191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287" y="191"/>
                </a:cxn>
                <a:cxn ang="0">
                  <a:pos x="287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143" y="148"/>
                </a:cxn>
                <a:cxn ang="0">
                  <a:pos x="206" y="86"/>
                </a:cxn>
                <a:cxn ang="0">
                  <a:pos x="273" y="184"/>
                </a:cxn>
                <a:cxn ang="0">
                  <a:pos x="17" y="184"/>
                </a:cxn>
                <a:cxn ang="0">
                  <a:pos x="84" y="86"/>
                </a:cxn>
                <a:cxn ang="0">
                  <a:pos x="143" y="148"/>
                </a:cxn>
                <a:cxn ang="0">
                  <a:pos x="213" y="81"/>
                </a:cxn>
                <a:cxn ang="0">
                  <a:pos x="210" y="81"/>
                </a:cxn>
                <a:cxn ang="0">
                  <a:pos x="277" y="14"/>
                </a:cxn>
                <a:cxn ang="0">
                  <a:pos x="277" y="177"/>
                </a:cxn>
                <a:cxn ang="0">
                  <a:pos x="213" y="81"/>
                </a:cxn>
                <a:cxn ang="0">
                  <a:pos x="143" y="136"/>
                </a:cxn>
                <a:cxn ang="0">
                  <a:pos x="17" y="9"/>
                </a:cxn>
                <a:cxn ang="0">
                  <a:pos x="270" y="9"/>
                </a:cxn>
                <a:cxn ang="0">
                  <a:pos x="143" y="136"/>
                </a:cxn>
                <a:cxn ang="0">
                  <a:pos x="76" y="81"/>
                </a:cxn>
                <a:cxn ang="0">
                  <a:pos x="9" y="177"/>
                </a:cxn>
                <a:cxn ang="0">
                  <a:pos x="9" y="14"/>
                </a:cxn>
                <a:cxn ang="0">
                  <a:pos x="76" y="81"/>
                </a:cxn>
              </a:cxnLst>
              <a:rect l="0" t="0" r="r" b="b"/>
              <a:pathLst>
                <a:path w="287" h="191">
                  <a:moveTo>
                    <a:pt x="0" y="191"/>
                  </a:moveTo>
                  <a:lnTo>
                    <a:pt x="287" y="191"/>
                  </a:lnTo>
                  <a:lnTo>
                    <a:pt x="287" y="0"/>
                  </a:lnTo>
                  <a:lnTo>
                    <a:pt x="0" y="0"/>
                  </a:lnTo>
                  <a:lnTo>
                    <a:pt x="0" y="191"/>
                  </a:lnTo>
                  <a:close/>
                  <a:moveTo>
                    <a:pt x="143" y="148"/>
                  </a:moveTo>
                  <a:lnTo>
                    <a:pt x="206" y="86"/>
                  </a:lnTo>
                  <a:lnTo>
                    <a:pt x="273" y="184"/>
                  </a:lnTo>
                  <a:lnTo>
                    <a:pt x="17" y="184"/>
                  </a:lnTo>
                  <a:lnTo>
                    <a:pt x="84" y="86"/>
                  </a:lnTo>
                  <a:lnTo>
                    <a:pt x="143" y="148"/>
                  </a:lnTo>
                  <a:close/>
                  <a:moveTo>
                    <a:pt x="213" y="81"/>
                  </a:moveTo>
                  <a:lnTo>
                    <a:pt x="210" y="81"/>
                  </a:lnTo>
                  <a:lnTo>
                    <a:pt x="277" y="14"/>
                  </a:lnTo>
                  <a:lnTo>
                    <a:pt x="277" y="177"/>
                  </a:lnTo>
                  <a:lnTo>
                    <a:pt x="213" y="81"/>
                  </a:lnTo>
                  <a:close/>
                  <a:moveTo>
                    <a:pt x="143" y="136"/>
                  </a:moveTo>
                  <a:lnTo>
                    <a:pt x="17" y="9"/>
                  </a:lnTo>
                  <a:lnTo>
                    <a:pt x="270" y="9"/>
                  </a:lnTo>
                  <a:lnTo>
                    <a:pt x="143" y="136"/>
                  </a:lnTo>
                  <a:close/>
                  <a:moveTo>
                    <a:pt x="76" y="81"/>
                  </a:moveTo>
                  <a:lnTo>
                    <a:pt x="9" y="177"/>
                  </a:lnTo>
                  <a:lnTo>
                    <a:pt x="9" y="14"/>
                  </a:lnTo>
                  <a:lnTo>
                    <a:pt x="76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91" name="Group 91"/>
          <p:cNvGrpSpPr>
            <a:grpSpLocks noChangeAspect="1"/>
          </p:cNvGrpSpPr>
          <p:nvPr/>
        </p:nvGrpSpPr>
        <p:grpSpPr bwMode="auto">
          <a:xfrm>
            <a:off x="5848346" y="1554164"/>
            <a:ext cx="768350" cy="768350"/>
            <a:chOff x="3692" y="979"/>
            <a:chExt cx="484" cy="484"/>
          </a:xfrm>
        </p:grpSpPr>
        <p:sp>
          <p:nvSpPr>
            <p:cNvPr id="51292" name="Freeform 92"/>
            <p:cNvSpPr>
              <a:spLocks noEditPoints="1"/>
            </p:cNvSpPr>
            <p:nvPr/>
          </p:nvSpPr>
          <p:spPr bwMode="auto">
            <a:xfrm>
              <a:off x="3692" y="97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93" name="Freeform 93"/>
            <p:cNvSpPr>
              <a:spLocks noEditPoints="1"/>
            </p:cNvSpPr>
            <p:nvPr/>
          </p:nvSpPr>
          <p:spPr bwMode="auto">
            <a:xfrm>
              <a:off x="3788" y="1123"/>
              <a:ext cx="288" cy="194"/>
            </a:xfrm>
            <a:custGeom>
              <a:avLst/>
              <a:gdLst/>
              <a:ahLst/>
              <a:cxnLst>
                <a:cxn ang="0">
                  <a:pos x="0" y="194"/>
                </a:cxn>
                <a:cxn ang="0">
                  <a:pos x="288" y="194"/>
                </a:cxn>
                <a:cxn ang="0">
                  <a:pos x="288" y="0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144" y="149"/>
                </a:cxn>
                <a:cxn ang="0">
                  <a:pos x="206" y="89"/>
                </a:cxn>
                <a:cxn ang="0">
                  <a:pos x="273" y="185"/>
                </a:cxn>
                <a:cxn ang="0">
                  <a:pos x="17" y="185"/>
                </a:cxn>
                <a:cxn ang="0">
                  <a:pos x="84" y="89"/>
                </a:cxn>
                <a:cxn ang="0">
                  <a:pos x="144" y="149"/>
                </a:cxn>
                <a:cxn ang="0">
                  <a:pos x="214" y="82"/>
                </a:cxn>
                <a:cxn ang="0">
                  <a:pos x="211" y="84"/>
                </a:cxn>
                <a:cxn ang="0">
                  <a:pos x="278" y="14"/>
                </a:cxn>
                <a:cxn ang="0">
                  <a:pos x="278" y="180"/>
                </a:cxn>
                <a:cxn ang="0">
                  <a:pos x="214" y="82"/>
                </a:cxn>
                <a:cxn ang="0">
                  <a:pos x="144" y="137"/>
                </a:cxn>
                <a:cxn ang="0">
                  <a:pos x="17" y="10"/>
                </a:cxn>
                <a:cxn ang="0">
                  <a:pos x="271" y="10"/>
                </a:cxn>
                <a:cxn ang="0">
                  <a:pos x="144" y="137"/>
                </a:cxn>
                <a:cxn ang="0">
                  <a:pos x="77" y="82"/>
                </a:cxn>
                <a:cxn ang="0">
                  <a:pos x="10" y="180"/>
                </a:cxn>
                <a:cxn ang="0">
                  <a:pos x="10" y="14"/>
                </a:cxn>
                <a:cxn ang="0">
                  <a:pos x="77" y="82"/>
                </a:cxn>
              </a:cxnLst>
              <a:rect l="0" t="0" r="r" b="b"/>
              <a:pathLst>
                <a:path w="288" h="194">
                  <a:moveTo>
                    <a:pt x="0" y="194"/>
                  </a:moveTo>
                  <a:lnTo>
                    <a:pt x="288" y="194"/>
                  </a:lnTo>
                  <a:lnTo>
                    <a:pt x="288" y="0"/>
                  </a:lnTo>
                  <a:lnTo>
                    <a:pt x="0" y="0"/>
                  </a:lnTo>
                  <a:lnTo>
                    <a:pt x="0" y="194"/>
                  </a:lnTo>
                  <a:close/>
                  <a:moveTo>
                    <a:pt x="144" y="149"/>
                  </a:moveTo>
                  <a:lnTo>
                    <a:pt x="206" y="89"/>
                  </a:lnTo>
                  <a:lnTo>
                    <a:pt x="273" y="185"/>
                  </a:lnTo>
                  <a:lnTo>
                    <a:pt x="17" y="185"/>
                  </a:lnTo>
                  <a:lnTo>
                    <a:pt x="84" y="89"/>
                  </a:lnTo>
                  <a:lnTo>
                    <a:pt x="144" y="149"/>
                  </a:lnTo>
                  <a:close/>
                  <a:moveTo>
                    <a:pt x="214" y="82"/>
                  </a:moveTo>
                  <a:lnTo>
                    <a:pt x="211" y="84"/>
                  </a:lnTo>
                  <a:lnTo>
                    <a:pt x="278" y="14"/>
                  </a:lnTo>
                  <a:lnTo>
                    <a:pt x="278" y="180"/>
                  </a:lnTo>
                  <a:lnTo>
                    <a:pt x="214" y="82"/>
                  </a:lnTo>
                  <a:close/>
                  <a:moveTo>
                    <a:pt x="144" y="137"/>
                  </a:moveTo>
                  <a:lnTo>
                    <a:pt x="17" y="10"/>
                  </a:lnTo>
                  <a:lnTo>
                    <a:pt x="271" y="10"/>
                  </a:lnTo>
                  <a:lnTo>
                    <a:pt x="144" y="137"/>
                  </a:lnTo>
                  <a:close/>
                  <a:moveTo>
                    <a:pt x="77" y="82"/>
                  </a:moveTo>
                  <a:lnTo>
                    <a:pt x="10" y="180"/>
                  </a:lnTo>
                  <a:lnTo>
                    <a:pt x="10" y="14"/>
                  </a:lnTo>
                  <a:lnTo>
                    <a:pt x="77" y="8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296" name="Group 96"/>
          <p:cNvGrpSpPr>
            <a:grpSpLocks noChangeAspect="1"/>
          </p:cNvGrpSpPr>
          <p:nvPr/>
        </p:nvGrpSpPr>
        <p:grpSpPr bwMode="auto">
          <a:xfrm>
            <a:off x="6915944" y="1512888"/>
            <a:ext cx="842963" cy="847726"/>
            <a:chOff x="4360" y="953"/>
            <a:chExt cx="531" cy="534"/>
          </a:xfrm>
        </p:grpSpPr>
        <p:sp>
          <p:nvSpPr>
            <p:cNvPr id="51297" name="Oval 97"/>
            <p:cNvSpPr>
              <a:spLocks noChangeArrowheads="1"/>
            </p:cNvSpPr>
            <p:nvPr/>
          </p:nvSpPr>
          <p:spPr bwMode="auto">
            <a:xfrm>
              <a:off x="4360" y="953"/>
              <a:ext cx="531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98" name="Freeform 98"/>
            <p:cNvSpPr>
              <a:spLocks noEditPoints="1"/>
            </p:cNvSpPr>
            <p:nvPr/>
          </p:nvSpPr>
          <p:spPr bwMode="auto">
            <a:xfrm>
              <a:off x="4379" y="975"/>
              <a:ext cx="493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99" name="Freeform 99"/>
            <p:cNvSpPr>
              <a:spLocks noEditPoints="1"/>
            </p:cNvSpPr>
            <p:nvPr/>
          </p:nvSpPr>
          <p:spPr bwMode="auto">
            <a:xfrm>
              <a:off x="4518" y="1095"/>
              <a:ext cx="216" cy="258"/>
            </a:xfrm>
            <a:custGeom>
              <a:avLst/>
              <a:gdLst/>
              <a:ahLst/>
              <a:cxnLst>
                <a:cxn ang="0">
                  <a:pos x="82" y="6"/>
                </a:cxn>
                <a:cxn ang="0">
                  <a:pos x="15" y="0"/>
                </a:cxn>
                <a:cxn ang="0">
                  <a:pos x="7" y="19"/>
                </a:cxn>
                <a:cxn ang="0">
                  <a:pos x="0" y="21"/>
                </a:cxn>
                <a:cxn ang="0">
                  <a:pos x="7" y="23"/>
                </a:cxn>
                <a:cxn ang="0">
                  <a:pos x="2" y="53"/>
                </a:cxn>
                <a:cxn ang="0">
                  <a:pos x="2" y="57"/>
                </a:cxn>
                <a:cxn ang="0">
                  <a:pos x="7" y="87"/>
                </a:cxn>
                <a:cxn ang="0">
                  <a:pos x="0" y="88"/>
                </a:cxn>
                <a:cxn ang="0">
                  <a:pos x="7" y="90"/>
                </a:cxn>
                <a:cxn ang="0">
                  <a:pos x="15" y="108"/>
                </a:cxn>
                <a:cxn ang="0">
                  <a:pos x="81" y="103"/>
                </a:cxn>
                <a:cxn ang="0">
                  <a:pos x="90" y="98"/>
                </a:cxn>
                <a:cxn ang="0">
                  <a:pos x="85" y="74"/>
                </a:cxn>
                <a:cxn ang="0">
                  <a:pos x="82" y="69"/>
                </a:cxn>
                <a:cxn ang="0">
                  <a:pos x="90" y="64"/>
                </a:cxn>
                <a:cxn ang="0">
                  <a:pos x="85" y="40"/>
                </a:cxn>
                <a:cxn ang="0">
                  <a:pos x="82" y="35"/>
                </a:cxn>
                <a:cxn ang="0">
                  <a:pos x="90" y="30"/>
                </a:cxn>
                <a:cxn ang="0">
                  <a:pos x="85" y="6"/>
                </a:cxn>
                <a:cxn ang="0">
                  <a:pos x="74" y="104"/>
                </a:cxn>
                <a:cxn ang="0">
                  <a:pos x="10" y="99"/>
                </a:cxn>
                <a:cxn ang="0">
                  <a:pos x="15" y="90"/>
                </a:cxn>
                <a:cxn ang="0">
                  <a:pos x="15" y="87"/>
                </a:cxn>
                <a:cxn ang="0">
                  <a:pos x="10" y="57"/>
                </a:cxn>
                <a:cxn ang="0">
                  <a:pos x="17" y="55"/>
                </a:cxn>
                <a:cxn ang="0">
                  <a:pos x="10" y="53"/>
                </a:cxn>
                <a:cxn ang="0">
                  <a:pos x="15" y="23"/>
                </a:cxn>
                <a:cxn ang="0">
                  <a:pos x="15" y="19"/>
                </a:cxn>
                <a:cxn ang="0">
                  <a:pos x="10" y="8"/>
                </a:cxn>
                <a:cxn ang="0">
                  <a:pos x="74" y="4"/>
                </a:cxn>
                <a:cxn ang="0">
                  <a:pos x="79" y="99"/>
                </a:cxn>
                <a:cxn ang="0">
                  <a:pos x="87" y="79"/>
                </a:cxn>
                <a:cxn ang="0">
                  <a:pos x="85" y="99"/>
                </a:cxn>
                <a:cxn ang="0">
                  <a:pos x="82" y="99"/>
                </a:cxn>
                <a:cxn ang="0">
                  <a:pos x="85" y="78"/>
                </a:cxn>
                <a:cxn ang="0">
                  <a:pos x="87" y="45"/>
                </a:cxn>
                <a:cxn ang="0">
                  <a:pos x="85" y="66"/>
                </a:cxn>
                <a:cxn ang="0">
                  <a:pos x="82" y="44"/>
                </a:cxn>
                <a:cxn ang="0">
                  <a:pos x="87" y="30"/>
                </a:cxn>
                <a:cxn ang="0">
                  <a:pos x="82" y="32"/>
                </a:cxn>
                <a:cxn ang="0">
                  <a:pos x="85" y="10"/>
                </a:cxn>
                <a:cxn ang="0">
                  <a:pos x="87" y="30"/>
                </a:cxn>
              </a:cxnLst>
              <a:rect l="0" t="0" r="r" b="b"/>
              <a:pathLst>
                <a:path w="90" h="108">
                  <a:moveTo>
                    <a:pt x="85" y="6"/>
                  </a:moveTo>
                  <a:cubicBezTo>
                    <a:pt x="82" y="6"/>
                    <a:pt x="82" y="6"/>
                    <a:pt x="82" y="6"/>
                  </a:cubicBezTo>
                  <a:cubicBezTo>
                    <a:pt x="81" y="3"/>
                    <a:pt x="78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7" y="4"/>
                    <a:pt x="7" y="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2"/>
                    <a:pt x="1" y="23"/>
                    <a:pt x="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4"/>
                    <a:pt x="0" y="55"/>
                  </a:cubicBezTo>
                  <a:cubicBezTo>
                    <a:pt x="0" y="56"/>
                    <a:pt x="1" y="57"/>
                    <a:pt x="2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1" y="87"/>
                    <a:pt x="0" y="87"/>
                    <a:pt x="0" y="88"/>
                  </a:cubicBezTo>
                  <a:cubicBezTo>
                    <a:pt x="0" y="90"/>
                    <a:pt x="1" y="90"/>
                    <a:pt x="2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4"/>
                    <a:pt x="10" y="108"/>
                    <a:pt x="15" y="108"/>
                  </a:cubicBezTo>
                  <a:cubicBezTo>
                    <a:pt x="74" y="108"/>
                    <a:pt x="74" y="108"/>
                    <a:pt x="74" y="108"/>
                  </a:cubicBezTo>
                  <a:cubicBezTo>
                    <a:pt x="77" y="108"/>
                    <a:pt x="80" y="106"/>
                    <a:pt x="81" y="103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8" y="103"/>
                    <a:pt x="90" y="101"/>
                    <a:pt x="90" y="9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6"/>
                    <a:pt x="88" y="74"/>
                    <a:pt x="85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8" y="69"/>
                    <a:pt x="90" y="67"/>
                    <a:pt x="90" y="64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2"/>
                    <a:pt x="88" y="40"/>
                    <a:pt x="85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8" y="35"/>
                    <a:pt x="90" y="33"/>
                    <a:pt x="90" y="3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9"/>
                    <a:pt x="88" y="6"/>
                    <a:pt x="85" y="6"/>
                  </a:cubicBezTo>
                  <a:close/>
                  <a:moveTo>
                    <a:pt x="79" y="99"/>
                  </a:moveTo>
                  <a:cubicBezTo>
                    <a:pt x="79" y="102"/>
                    <a:pt x="76" y="104"/>
                    <a:pt x="74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2" y="104"/>
                    <a:pt x="10" y="102"/>
                    <a:pt x="10" y="99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7" y="90"/>
                    <a:pt x="17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6" y="57"/>
                    <a:pt x="17" y="56"/>
                    <a:pt x="17" y="55"/>
                  </a:cubicBezTo>
                  <a:cubicBezTo>
                    <a:pt x="17" y="54"/>
                    <a:pt x="16" y="53"/>
                    <a:pt x="15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6" y="23"/>
                    <a:pt x="17" y="22"/>
                    <a:pt x="17" y="21"/>
                  </a:cubicBezTo>
                  <a:cubicBezTo>
                    <a:pt x="17" y="20"/>
                    <a:pt x="16" y="19"/>
                    <a:pt x="15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6"/>
                    <a:pt x="12" y="4"/>
                    <a:pt x="15" y="4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6" y="4"/>
                    <a:pt x="79" y="6"/>
                    <a:pt x="79" y="8"/>
                  </a:cubicBezTo>
                  <a:lnTo>
                    <a:pt x="79" y="99"/>
                  </a:lnTo>
                  <a:close/>
                  <a:moveTo>
                    <a:pt x="85" y="78"/>
                  </a:moveTo>
                  <a:cubicBezTo>
                    <a:pt x="86" y="78"/>
                    <a:pt x="87" y="78"/>
                    <a:pt x="87" y="79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9"/>
                    <a:pt x="86" y="99"/>
                    <a:pt x="85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78"/>
                    <a:pt x="82" y="78"/>
                    <a:pt x="82" y="78"/>
                  </a:cubicBezTo>
                  <a:lnTo>
                    <a:pt x="85" y="78"/>
                  </a:lnTo>
                  <a:close/>
                  <a:moveTo>
                    <a:pt x="85" y="44"/>
                  </a:moveTo>
                  <a:cubicBezTo>
                    <a:pt x="86" y="44"/>
                    <a:pt x="87" y="45"/>
                    <a:pt x="87" y="4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5"/>
                    <a:pt x="86" y="66"/>
                    <a:pt x="85" y="66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82" y="44"/>
                    <a:pt x="82" y="44"/>
                    <a:pt x="82" y="44"/>
                  </a:cubicBezTo>
                  <a:lnTo>
                    <a:pt x="85" y="44"/>
                  </a:lnTo>
                  <a:close/>
                  <a:moveTo>
                    <a:pt x="87" y="30"/>
                  </a:moveTo>
                  <a:cubicBezTo>
                    <a:pt x="87" y="31"/>
                    <a:pt x="86" y="32"/>
                    <a:pt x="85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6" y="10"/>
                    <a:pt x="87" y="11"/>
                    <a:pt x="87" y="11"/>
                  </a:cubicBezTo>
                  <a:lnTo>
                    <a:pt x="87" y="3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00" name="Freeform 100"/>
            <p:cNvSpPr>
              <a:spLocks noEditPoints="1"/>
            </p:cNvSpPr>
            <p:nvPr/>
          </p:nvSpPr>
          <p:spPr bwMode="auto">
            <a:xfrm>
              <a:off x="4580" y="1166"/>
              <a:ext cx="94" cy="106"/>
            </a:xfrm>
            <a:custGeom>
              <a:avLst/>
              <a:gdLst/>
              <a:ahLst/>
              <a:cxnLst>
                <a:cxn ang="0">
                  <a:pos x="27" y="24"/>
                </a:cxn>
                <a:cxn ang="0">
                  <a:pos x="32" y="13"/>
                </a:cxn>
                <a:cxn ang="0">
                  <a:pos x="20" y="0"/>
                </a:cxn>
                <a:cxn ang="0">
                  <a:pos x="7" y="13"/>
                </a:cxn>
                <a:cxn ang="0">
                  <a:pos x="12" y="24"/>
                </a:cxn>
                <a:cxn ang="0">
                  <a:pos x="0" y="42"/>
                </a:cxn>
                <a:cxn ang="0">
                  <a:pos x="0" y="44"/>
                </a:cxn>
                <a:cxn ang="0">
                  <a:pos x="39" y="44"/>
                </a:cxn>
                <a:cxn ang="0">
                  <a:pos x="39" y="42"/>
                </a:cxn>
                <a:cxn ang="0">
                  <a:pos x="27" y="24"/>
                </a:cxn>
                <a:cxn ang="0">
                  <a:pos x="11" y="13"/>
                </a:cxn>
                <a:cxn ang="0">
                  <a:pos x="20" y="4"/>
                </a:cxn>
                <a:cxn ang="0">
                  <a:pos x="29" y="13"/>
                </a:cxn>
                <a:cxn ang="0">
                  <a:pos x="20" y="22"/>
                </a:cxn>
                <a:cxn ang="0">
                  <a:pos x="11" y="13"/>
                </a:cxn>
                <a:cxn ang="0">
                  <a:pos x="4" y="40"/>
                </a:cxn>
                <a:cxn ang="0">
                  <a:pos x="20" y="26"/>
                </a:cxn>
                <a:cxn ang="0">
                  <a:pos x="36" y="40"/>
                </a:cxn>
                <a:cxn ang="0">
                  <a:pos x="4" y="40"/>
                </a:cxn>
              </a:cxnLst>
              <a:rect l="0" t="0" r="r" b="b"/>
              <a:pathLst>
                <a:path w="39" h="44">
                  <a:moveTo>
                    <a:pt x="27" y="24"/>
                  </a:moveTo>
                  <a:cubicBezTo>
                    <a:pt x="30" y="21"/>
                    <a:pt x="32" y="17"/>
                    <a:pt x="32" y="13"/>
                  </a:cubicBezTo>
                  <a:cubicBezTo>
                    <a:pt x="32" y="6"/>
                    <a:pt x="27" y="0"/>
                    <a:pt x="20" y="0"/>
                  </a:cubicBezTo>
                  <a:cubicBezTo>
                    <a:pt x="13" y="0"/>
                    <a:pt x="7" y="6"/>
                    <a:pt x="7" y="13"/>
                  </a:cubicBezTo>
                  <a:cubicBezTo>
                    <a:pt x="7" y="17"/>
                    <a:pt x="9" y="21"/>
                    <a:pt x="12" y="24"/>
                  </a:cubicBezTo>
                  <a:cubicBezTo>
                    <a:pt x="5" y="26"/>
                    <a:pt x="0" y="34"/>
                    <a:pt x="0" y="4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34"/>
                    <a:pt x="34" y="26"/>
                    <a:pt x="27" y="24"/>
                  </a:cubicBezTo>
                  <a:close/>
                  <a:moveTo>
                    <a:pt x="11" y="13"/>
                  </a:moveTo>
                  <a:cubicBezTo>
                    <a:pt x="11" y="8"/>
                    <a:pt x="15" y="4"/>
                    <a:pt x="20" y="4"/>
                  </a:cubicBezTo>
                  <a:cubicBezTo>
                    <a:pt x="25" y="4"/>
                    <a:pt x="29" y="8"/>
                    <a:pt x="29" y="13"/>
                  </a:cubicBezTo>
                  <a:cubicBezTo>
                    <a:pt x="29" y="18"/>
                    <a:pt x="25" y="22"/>
                    <a:pt x="20" y="22"/>
                  </a:cubicBezTo>
                  <a:cubicBezTo>
                    <a:pt x="15" y="22"/>
                    <a:pt x="11" y="18"/>
                    <a:pt x="11" y="13"/>
                  </a:cubicBezTo>
                  <a:close/>
                  <a:moveTo>
                    <a:pt x="4" y="40"/>
                  </a:moveTo>
                  <a:cubicBezTo>
                    <a:pt x="4" y="32"/>
                    <a:pt x="11" y="26"/>
                    <a:pt x="20" y="26"/>
                  </a:cubicBezTo>
                  <a:cubicBezTo>
                    <a:pt x="28" y="26"/>
                    <a:pt x="35" y="32"/>
                    <a:pt x="36" y="40"/>
                  </a:cubicBezTo>
                  <a:lnTo>
                    <a:pt x="4" y="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03" name="Group 103"/>
          <p:cNvGrpSpPr>
            <a:grpSpLocks noChangeAspect="1"/>
          </p:cNvGrpSpPr>
          <p:nvPr/>
        </p:nvGrpSpPr>
        <p:grpSpPr bwMode="auto">
          <a:xfrm>
            <a:off x="8047038" y="1546225"/>
            <a:ext cx="784225" cy="784224"/>
            <a:chOff x="5069" y="974"/>
            <a:chExt cx="494" cy="494"/>
          </a:xfrm>
        </p:grpSpPr>
        <p:sp>
          <p:nvSpPr>
            <p:cNvPr id="51304" name="Freeform 104"/>
            <p:cNvSpPr>
              <a:spLocks noEditPoints="1"/>
            </p:cNvSpPr>
            <p:nvPr/>
          </p:nvSpPr>
          <p:spPr bwMode="auto">
            <a:xfrm>
              <a:off x="5069" y="974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05" name="Freeform 105"/>
            <p:cNvSpPr>
              <a:spLocks noEditPoints="1"/>
            </p:cNvSpPr>
            <p:nvPr/>
          </p:nvSpPr>
          <p:spPr bwMode="auto">
            <a:xfrm>
              <a:off x="5208" y="1097"/>
              <a:ext cx="216" cy="256"/>
            </a:xfrm>
            <a:custGeom>
              <a:avLst/>
              <a:gdLst/>
              <a:ahLst/>
              <a:cxnLst>
                <a:cxn ang="0">
                  <a:pos x="82" y="6"/>
                </a:cxn>
                <a:cxn ang="0">
                  <a:pos x="15" y="0"/>
                </a:cxn>
                <a:cxn ang="0">
                  <a:pos x="7" y="19"/>
                </a:cxn>
                <a:cxn ang="0">
                  <a:pos x="0" y="20"/>
                </a:cxn>
                <a:cxn ang="0">
                  <a:pos x="7" y="22"/>
                </a:cxn>
                <a:cxn ang="0">
                  <a:pos x="2" y="53"/>
                </a:cxn>
                <a:cxn ang="0">
                  <a:pos x="2" y="56"/>
                </a:cxn>
                <a:cxn ang="0">
                  <a:pos x="7" y="86"/>
                </a:cxn>
                <a:cxn ang="0">
                  <a:pos x="0" y="88"/>
                </a:cxn>
                <a:cxn ang="0">
                  <a:pos x="7" y="90"/>
                </a:cxn>
                <a:cxn ang="0">
                  <a:pos x="15" y="107"/>
                </a:cxn>
                <a:cxn ang="0">
                  <a:pos x="81" y="103"/>
                </a:cxn>
                <a:cxn ang="0">
                  <a:pos x="90" y="98"/>
                </a:cxn>
                <a:cxn ang="0">
                  <a:pos x="85" y="74"/>
                </a:cxn>
                <a:cxn ang="0">
                  <a:pos x="82" y="69"/>
                </a:cxn>
                <a:cxn ang="0">
                  <a:pos x="90" y="64"/>
                </a:cxn>
                <a:cxn ang="0">
                  <a:pos x="85" y="40"/>
                </a:cxn>
                <a:cxn ang="0">
                  <a:pos x="82" y="35"/>
                </a:cxn>
                <a:cxn ang="0">
                  <a:pos x="90" y="30"/>
                </a:cxn>
                <a:cxn ang="0">
                  <a:pos x="85" y="6"/>
                </a:cxn>
                <a:cxn ang="0">
                  <a:pos x="74" y="104"/>
                </a:cxn>
                <a:cxn ang="0">
                  <a:pos x="10" y="99"/>
                </a:cxn>
                <a:cxn ang="0">
                  <a:pos x="15" y="90"/>
                </a:cxn>
                <a:cxn ang="0">
                  <a:pos x="15" y="86"/>
                </a:cxn>
                <a:cxn ang="0">
                  <a:pos x="10" y="56"/>
                </a:cxn>
                <a:cxn ang="0">
                  <a:pos x="17" y="54"/>
                </a:cxn>
                <a:cxn ang="0">
                  <a:pos x="10" y="53"/>
                </a:cxn>
                <a:cxn ang="0">
                  <a:pos x="15" y="22"/>
                </a:cxn>
                <a:cxn ang="0">
                  <a:pos x="15" y="19"/>
                </a:cxn>
                <a:cxn ang="0">
                  <a:pos x="10" y="8"/>
                </a:cxn>
                <a:cxn ang="0">
                  <a:pos x="74" y="3"/>
                </a:cxn>
                <a:cxn ang="0">
                  <a:pos x="79" y="99"/>
                </a:cxn>
                <a:cxn ang="0">
                  <a:pos x="87" y="79"/>
                </a:cxn>
                <a:cxn ang="0">
                  <a:pos x="85" y="99"/>
                </a:cxn>
                <a:cxn ang="0">
                  <a:pos x="82" y="99"/>
                </a:cxn>
                <a:cxn ang="0">
                  <a:pos x="85" y="77"/>
                </a:cxn>
                <a:cxn ang="0">
                  <a:pos x="87" y="45"/>
                </a:cxn>
                <a:cxn ang="0">
                  <a:pos x="85" y="65"/>
                </a:cxn>
                <a:cxn ang="0">
                  <a:pos x="82" y="43"/>
                </a:cxn>
                <a:cxn ang="0">
                  <a:pos x="87" y="30"/>
                </a:cxn>
                <a:cxn ang="0">
                  <a:pos x="82" y="31"/>
                </a:cxn>
                <a:cxn ang="0">
                  <a:pos x="85" y="10"/>
                </a:cxn>
                <a:cxn ang="0">
                  <a:pos x="87" y="30"/>
                </a:cxn>
              </a:cxnLst>
              <a:rect l="0" t="0" r="r" b="b"/>
              <a:pathLst>
                <a:path w="90" h="107">
                  <a:moveTo>
                    <a:pt x="85" y="6"/>
                  </a:moveTo>
                  <a:cubicBezTo>
                    <a:pt x="82" y="6"/>
                    <a:pt x="82" y="6"/>
                    <a:pt x="82" y="6"/>
                  </a:cubicBezTo>
                  <a:cubicBezTo>
                    <a:pt x="81" y="2"/>
                    <a:pt x="78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7" y="3"/>
                    <a:pt x="7" y="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0" y="20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3"/>
                    <a:pt x="0" y="54"/>
                  </a:cubicBezTo>
                  <a:cubicBezTo>
                    <a:pt x="0" y="55"/>
                    <a:pt x="1" y="56"/>
                    <a:pt x="2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0" y="87"/>
                    <a:pt x="0" y="88"/>
                  </a:cubicBezTo>
                  <a:cubicBezTo>
                    <a:pt x="0" y="89"/>
                    <a:pt x="1" y="90"/>
                    <a:pt x="2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3"/>
                    <a:pt x="10" y="107"/>
                    <a:pt x="15" y="107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77" y="107"/>
                    <a:pt x="80" y="105"/>
                    <a:pt x="81" y="103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8" y="103"/>
                    <a:pt x="90" y="100"/>
                    <a:pt x="90" y="9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6"/>
                    <a:pt x="88" y="74"/>
                    <a:pt x="85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8" y="69"/>
                    <a:pt x="90" y="67"/>
                    <a:pt x="90" y="64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2"/>
                    <a:pt x="88" y="40"/>
                    <a:pt x="85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8" y="35"/>
                    <a:pt x="90" y="33"/>
                    <a:pt x="90" y="3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8"/>
                    <a:pt x="88" y="6"/>
                    <a:pt x="85" y="6"/>
                  </a:cubicBezTo>
                  <a:close/>
                  <a:moveTo>
                    <a:pt x="79" y="99"/>
                  </a:moveTo>
                  <a:cubicBezTo>
                    <a:pt x="79" y="101"/>
                    <a:pt x="76" y="104"/>
                    <a:pt x="74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2" y="104"/>
                    <a:pt x="10" y="101"/>
                    <a:pt x="10" y="99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7" y="89"/>
                    <a:pt x="17" y="88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7" y="55"/>
                    <a:pt x="17" y="54"/>
                  </a:cubicBezTo>
                  <a:cubicBezTo>
                    <a:pt x="17" y="53"/>
                    <a:pt x="16" y="53"/>
                    <a:pt x="15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7" y="21"/>
                    <a:pt x="17" y="20"/>
                  </a:cubicBezTo>
                  <a:cubicBezTo>
                    <a:pt x="17" y="19"/>
                    <a:pt x="16" y="19"/>
                    <a:pt x="15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5"/>
                    <a:pt x="12" y="3"/>
                    <a:pt x="15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6" y="3"/>
                    <a:pt x="79" y="5"/>
                    <a:pt x="79" y="8"/>
                  </a:cubicBezTo>
                  <a:lnTo>
                    <a:pt x="79" y="99"/>
                  </a:lnTo>
                  <a:close/>
                  <a:moveTo>
                    <a:pt x="85" y="77"/>
                  </a:moveTo>
                  <a:cubicBezTo>
                    <a:pt x="86" y="77"/>
                    <a:pt x="87" y="78"/>
                    <a:pt x="87" y="79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6" y="99"/>
                    <a:pt x="85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2" y="77"/>
                    <a:pt x="82" y="77"/>
                    <a:pt x="82" y="77"/>
                  </a:cubicBezTo>
                  <a:lnTo>
                    <a:pt x="85" y="77"/>
                  </a:lnTo>
                  <a:close/>
                  <a:moveTo>
                    <a:pt x="85" y="43"/>
                  </a:moveTo>
                  <a:cubicBezTo>
                    <a:pt x="86" y="43"/>
                    <a:pt x="87" y="44"/>
                    <a:pt x="87" y="45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7" y="65"/>
                    <a:pt x="86" y="65"/>
                    <a:pt x="85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43"/>
                    <a:pt x="82" y="43"/>
                    <a:pt x="82" y="43"/>
                  </a:cubicBezTo>
                  <a:lnTo>
                    <a:pt x="85" y="43"/>
                  </a:lnTo>
                  <a:close/>
                  <a:moveTo>
                    <a:pt x="87" y="30"/>
                  </a:moveTo>
                  <a:cubicBezTo>
                    <a:pt x="87" y="31"/>
                    <a:pt x="86" y="31"/>
                    <a:pt x="85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6" y="10"/>
                    <a:pt x="87" y="10"/>
                    <a:pt x="87" y="11"/>
                  </a:cubicBezTo>
                  <a:lnTo>
                    <a:pt x="87" y="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06" name="Freeform 106"/>
            <p:cNvSpPr>
              <a:spLocks noEditPoints="1"/>
            </p:cNvSpPr>
            <p:nvPr/>
          </p:nvSpPr>
          <p:spPr bwMode="auto">
            <a:xfrm>
              <a:off x="5270" y="1169"/>
              <a:ext cx="94" cy="103"/>
            </a:xfrm>
            <a:custGeom>
              <a:avLst/>
              <a:gdLst/>
              <a:ahLst/>
              <a:cxnLst>
                <a:cxn ang="0">
                  <a:pos x="27" y="23"/>
                </a:cxn>
                <a:cxn ang="0">
                  <a:pos x="32" y="13"/>
                </a:cxn>
                <a:cxn ang="0">
                  <a:pos x="20" y="0"/>
                </a:cxn>
                <a:cxn ang="0">
                  <a:pos x="7" y="13"/>
                </a:cxn>
                <a:cxn ang="0">
                  <a:pos x="12" y="23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39" y="43"/>
                </a:cxn>
                <a:cxn ang="0">
                  <a:pos x="39" y="41"/>
                </a:cxn>
                <a:cxn ang="0">
                  <a:pos x="27" y="23"/>
                </a:cxn>
                <a:cxn ang="0">
                  <a:pos x="11" y="13"/>
                </a:cxn>
                <a:cxn ang="0">
                  <a:pos x="20" y="4"/>
                </a:cxn>
                <a:cxn ang="0">
                  <a:pos x="29" y="13"/>
                </a:cxn>
                <a:cxn ang="0">
                  <a:pos x="20" y="22"/>
                </a:cxn>
                <a:cxn ang="0">
                  <a:pos x="11" y="13"/>
                </a:cxn>
                <a:cxn ang="0">
                  <a:pos x="4" y="40"/>
                </a:cxn>
                <a:cxn ang="0">
                  <a:pos x="20" y="25"/>
                </a:cxn>
                <a:cxn ang="0">
                  <a:pos x="36" y="40"/>
                </a:cxn>
                <a:cxn ang="0">
                  <a:pos x="4" y="40"/>
                </a:cxn>
              </a:cxnLst>
              <a:rect l="0" t="0" r="r" b="b"/>
              <a:pathLst>
                <a:path w="39" h="43">
                  <a:moveTo>
                    <a:pt x="27" y="23"/>
                  </a:moveTo>
                  <a:cubicBezTo>
                    <a:pt x="30" y="21"/>
                    <a:pt x="32" y="17"/>
                    <a:pt x="32" y="13"/>
                  </a:cubicBezTo>
                  <a:cubicBezTo>
                    <a:pt x="32" y="6"/>
                    <a:pt x="27" y="0"/>
                    <a:pt x="20" y="0"/>
                  </a:cubicBezTo>
                  <a:cubicBezTo>
                    <a:pt x="13" y="0"/>
                    <a:pt x="7" y="6"/>
                    <a:pt x="7" y="13"/>
                  </a:cubicBezTo>
                  <a:cubicBezTo>
                    <a:pt x="7" y="17"/>
                    <a:pt x="9" y="21"/>
                    <a:pt x="12" y="23"/>
                  </a:cubicBezTo>
                  <a:cubicBezTo>
                    <a:pt x="5" y="26"/>
                    <a:pt x="0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33"/>
                    <a:pt x="34" y="26"/>
                    <a:pt x="27" y="23"/>
                  </a:cubicBezTo>
                  <a:close/>
                  <a:moveTo>
                    <a:pt x="11" y="13"/>
                  </a:moveTo>
                  <a:cubicBezTo>
                    <a:pt x="11" y="8"/>
                    <a:pt x="15" y="4"/>
                    <a:pt x="20" y="4"/>
                  </a:cubicBezTo>
                  <a:cubicBezTo>
                    <a:pt x="25" y="4"/>
                    <a:pt x="29" y="8"/>
                    <a:pt x="29" y="13"/>
                  </a:cubicBezTo>
                  <a:cubicBezTo>
                    <a:pt x="29" y="18"/>
                    <a:pt x="25" y="22"/>
                    <a:pt x="20" y="22"/>
                  </a:cubicBezTo>
                  <a:cubicBezTo>
                    <a:pt x="15" y="22"/>
                    <a:pt x="11" y="18"/>
                    <a:pt x="11" y="13"/>
                  </a:cubicBezTo>
                  <a:close/>
                  <a:moveTo>
                    <a:pt x="4" y="40"/>
                  </a:moveTo>
                  <a:cubicBezTo>
                    <a:pt x="4" y="32"/>
                    <a:pt x="11" y="25"/>
                    <a:pt x="20" y="25"/>
                  </a:cubicBezTo>
                  <a:cubicBezTo>
                    <a:pt x="28" y="25"/>
                    <a:pt x="35" y="32"/>
                    <a:pt x="36" y="40"/>
                  </a:cubicBezTo>
                  <a:lnTo>
                    <a:pt x="4" y="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309" name="Group 109"/>
          <p:cNvGrpSpPr>
            <a:grpSpLocks noChangeAspect="1"/>
          </p:cNvGrpSpPr>
          <p:nvPr/>
        </p:nvGrpSpPr>
        <p:grpSpPr bwMode="auto">
          <a:xfrm>
            <a:off x="334963" y="2784475"/>
            <a:ext cx="827087" cy="827088"/>
            <a:chOff x="211" y="1754"/>
            <a:chExt cx="521" cy="521"/>
          </a:xfrm>
        </p:grpSpPr>
        <p:sp>
          <p:nvSpPr>
            <p:cNvPr id="51310" name="Oval 110"/>
            <p:cNvSpPr>
              <a:spLocks noChangeArrowheads="1"/>
            </p:cNvSpPr>
            <p:nvPr/>
          </p:nvSpPr>
          <p:spPr bwMode="auto">
            <a:xfrm>
              <a:off x="211" y="1754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11" name="Freeform 111"/>
            <p:cNvSpPr>
              <a:spLocks noEditPoints="1"/>
            </p:cNvSpPr>
            <p:nvPr/>
          </p:nvSpPr>
          <p:spPr bwMode="auto">
            <a:xfrm>
              <a:off x="230" y="1773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12" name="Freeform 112"/>
            <p:cNvSpPr>
              <a:spLocks/>
            </p:cNvSpPr>
            <p:nvPr/>
          </p:nvSpPr>
          <p:spPr bwMode="auto">
            <a:xfrm>
              <a:off x="345" y="1993"/>
              <a:ext cx="160" cy="153"/>
            </a:xfrm>
            <a:custGeom>
              <a:avLst/>
              <a:gdLst/>
              <a:ahLst/>
              <a:cxnLst>
                <a:cxn ang="0">
                  <a:pos x="160" y="7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19" y="7"/>
                </a:cxn>
                <a:cxn ang="0">
                  <a:pos x="19" y="153"/>
                </a:cxn>
                <a:cxn ang="0">
                  <a:pos x="28" y="153"/>
                </a:cxn>
                <a:cxn ang="0">
                  <a:pos x="28" y="7"/>
                </a:cxn>
                <a:cxn ang="0">
                  <a:pos x="160" y="7"/>
                </a:cxn>
              </a:cxnLst>
              <a:rect l="0" t="0" r="r" b="b"/>
              <a:pathLst>
                <a:path w="160" h="153">
                  <a:moveTo>
                    <a:pt x="160" y="7"/>
                  </a:moveTo>
                  <a:lnTo>
                    <a:pt x="160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19" y="7"/>
                  </a:lnTo>
                  <a:lnTo>
                    <a:pt x="19" y="153"/>
                  </a:lnTo>
                  <a:lnTo>
                    <a:pt x="28" y="153"/>
                  </a:lnTo>
                  <a:lnTo>
                    <a:pt x="28" y="7"/>
                  </a:ln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13" name="Freeform 113"/>
            <p:cNvSpPr>
              <a:spLocks/>
            </p:cNvSpPr>
            <p:nvPr/>
          </p:nvSpPr>
          <p:spPr bwMode="auto">
            <a:xfrm>
              <a:off x="445" y="1878"/>
              <a:ext cx="139" cy="268"/>
            </a:xfrm>
            <a:custGeom>
              <a:avLst/>
              <a:gdLst/>
              <a:ahLst/>
              <a:cxnLst>
                <a:cxn ang="0">
                  <a:pos x="49" y="55"/>
                </a:cxn>
                <a:cxn ang="0">
                  <a:pos x="32" y="69"/>
                </a:cxn>
                <a:cxn ang="0">
                  <a:pos x="0" y="69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108"/>
                </a:cxn>
                <a:cxn ang="0">
                  <a:pos x="10" y="108"/>
                </a:cxn>
                <a:cxn ang="0">
                  <a:pos x="10" y="112"/>
                </a:cxn>
                <a:cxn ang="0">
                  <a:pos x="35" y="112"/>
                </a:cxn>
                <a:cxn ang="0">
                  <a:pos x="35" y="108"/>
                </a:cxn>
                <a:cxn ang="0">
                  <a:pos x="24" y="108"/>
                </a:cxn>
                <a:cxn ang="0">
                  <a:pos x="24" y="73"/>
                </a:cxn>
                <a:cxn ang="0">
                  <a:pos x="32" y="73"/>
                </a:cxn>
                <a:cxn ang="0">
                  <a:pos x="53" y="56"/>
                </a:cxn>
                <a:cxn ang="0">
                  <a:pos x="53" y="56"/>
                </a:cxn>
                <a:cxn ang="0">
                  <a:pos x="58" y="0"/>
                </a:cxn>
                <a:cxn ang="0">
                  <a:pos x="54" y="0"/>
                </a:cxn>
                <a:cxn ang="0">
                  <a:pos x="49" y="55"/>
                </a:cxn>
              </a:cxnLst>
              <a:rect l="0" t="0" r="r" b="b"/>
              <a:pathLst>
                <a:path w="58" h="112">
                  <a:moveTo>
                    <a:pt x="49" y="55"/>
                  </a:moveTo>
                  <a:cubicBezTo>
                    <a:pt x="48" y="62"/>
                    <a:pt x="40" y="69"/>
                    <a:pt x="32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41" y="73"/>
                    <a:pt x="51" y="6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49" y="5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16" name="Group 116"/>
          <p:cNvGrpSpPr>
            <a:grpSpLocks noChangeAspect="1"/>
          </p:cNvGrpSpPr>
          <p:nvPr/>
        </p:nvGrpSpPr>
        <p:grpSpPr bwMode="auto">
          <a:xfrm>
            <a:off x="1459705" y="2813048"/>
            <a:ext cx="768350" cy="768350"/>
            <a:chOff x="916" y="1772"/>
            <a:chExt cx="484" cy="484"/>
          </a:xfrm>
        </p:grpSpPr>
        <p:sp>
          <p:nvSpPr>
            <p:cNvPr id="51317" name="Freeform 117"/>
            <p:cNvSpPr>
              <a:spLocks noEditPoints="1"/>
            </p:cNvSpPr>
            <p:nvPr/>
          </p:nvSpPr>
          <p:spPr bwMode="auto">
            <a:xfrm>
              <a:off x="916" y="177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18" name="Freeform 118"/>
            <p:cNvSpPr>
              <a:spLocks/>
            </p:cNvSpPr>
            <p:nvPr/>
          </p:nvSpPr>
          <p:spPr bwMode="auto">
            <a:xfrm>
              <a:off x="1031" y="1993"/>
              <a:ext cx="161" cy="153"/>
            </a:xfrm>
            <a:custGeom>
              <a:avLst/>
              <a:gdLst/>
              <a:ahLst/>
              <a:cxnLst>
                <a:cxn ang="0">
                  <a:pos x="161" y="7"/>
                </a:cxn>
                <a:cxn ang="0">
                  <a:pos x="161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20" y="7"/>
                </a:cxn>
                <a:cxn ang="0">
                  <a:pos x="20" y="153"/>
                </a:cxn>
                <a:cxn ang="0">
                  <a:pos x="29" y="153"/>
                </a:cxn>
                <a:cxn ang="0">
                  <a:pos x="29" y="7"/>
                </a:cxn>
                <a:cxn ang="0">
                  <a:pos x="161" y="7"/>
                </a:cxn>
              </a:cxnLst>
              <a:rect l="0" t="0" r="r" b="b"/>
              <a:pathLst>
                <a:path w="161" h="153">
                  <a:moveTo>
                    <a:pt x="161" y="7"/>
                  </a:moveTo>
                  <a:lnTo>
                    <a:pt x="161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20" y="7"/>
                  </a:lnTo>
                  <a:lnTo>
                    <a:pt x="20" y="153"/>
                  </a:lnTo>
                  <a:lnTo>
                    <a:pt x="29" y="153"/>
                  </a:lnTo>
                  <a:lnTo>
                    <a:pt x="29" y="7"/>
                  </a:lnTo>
                  <a:lnTo>
                    <a:pt x="161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19" name="Freeform 119"/>
            <p:cNvSpPr>
              <a:spLocks/>
            </p:cNvSpPr>
            <p:nvPr/>
          </p:nvSpPr>
          <p:spPr bwMode="auto">
            <a:xfrm>
              <a:off x="1132" y="1878"/>
              <a:ext cx="139" cy="268"/>
            </a:xfrm>
            <a:custGeom>
              <a:avLst/>
              <a:gdLst/>
              <a:ahLst/>
              <a:cxnLst>
                <a:cxn ang="0">
                  <a:pos x="49" y="55"/>
                </a:cxn>
                <a:cxn ang="0">
                  <a:pos x="32" y="69"/>
                </a:cxn>
                <a:cxn ang="0">
                  <a:pos x="0" y="69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108"/>
                </a:cxn>
                <a:cxn ang="0">
                  <a:pos x="10" y="108"/>
                </a:cxn>
                <a:cxn ang="0">
                  <a:pos x="10" y="112"/>
                </a:cxn>
                <a:cxn ang="0">
                  <a:pos x="35" y="112"/>
                </a:cxn>
                <a:cxn ang="0">
                  <a:pos x="35" y="108"/>
                </a:cxn>
                <a:cxn ang="0">
                  <a:pos x="24" y="108"/>
                </a:cxn>
                <a:cxn ang="0">
                  <a:pos x="24" y="73"/>
                </a:cxn>
                <a:cxn ang="0">
                  <a:pos x="32" y="73"/>
                </a:cxn>
                <a:cxn ang="0">
                  <a:pos x="53" y="56"/>
                </a:cxn>
                <a:cxn ang="0">
                  <a:pos x="53" y="56"/>
                </a:cxn>
                <a:cxn ang="0">
                  <a:pos x="58" y="0"/>
                </a:cxn>
                <a:cxn ang="0">
                  <a:pos x="54" y="0"/>
                </a:cxn>
                <a:cxn ang="0">
                  <a:pos x="49" y="55"/>
                </a:cxn>
              </a:cxnLst>
              <a:rect l="0" t="0" r="r" b="b"/>
              <a:pathLst>
                <a:path w="58" h="112">
                  <a:moveTo>
                    <a:pt x="49" y="55"/>
                  </a:moveTo>
                  <a:cubicBezTo>
                    <a:pt x="48" y="62"/>
                    <a:pt x="40" y="69"/>
                    <a:pt x="32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41" y="73"/>
                    <a:pt x="51" y="6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49" y="5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322" name="Group 122"/>
          <p:cNvGrpSpPr>
            <a:grpSpLocks noChangeAspect="1"/>
          </p:cNvGrpSpPr>
          <p:nvPr/>
        </p:nvGrpSpPr>
        <p:grpSpPr bwMode="auto">
          <a:xfrm>
            <a:off x="2531269" y="2779713"/>
            <a:ext cx="828675" cy="831850"/>
            <a:chOff x="1584" y="1751"/>
            <a:chExt cx="522" cy="524"/>
          </a:xfrm>
        </p:grpSpPr>
        <p:sp>
          <p:nvSpPr>
            <p:cNvPr id="51323" name="Oval 123"/>
            <p:cNvSpPr>
              <a:spLocks noChangeArrowheads="1"/>
            </p:cNvSpPr>
            <p:nvPr/>
          </p:nvSpPr>
          <p:spPr bwMode="auto">
            <a:xfrm>
              <a:off x="1584" y="1751"/>
              <a:ext cx="522" cy="52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24" name="Freeform 124"/>
            <p:cNvSpPr>
              <a:spLocks noEditPoints="1"/>
            </p:cNvSpPr>
            <p:nvPr/>
          </p:nvSpPr>
          <p:spPr bwMode="auto">
            <a:xfrm>
              <a:off x="1603" y="1770"/>
              <a:ext cx="484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8"/>
                </a:cxn>
                <a:cxn ang="0">
                  <a:pos x="33" y="169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69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69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25" name="Freeform 125"/>
            <p:cNvSpPr>
              <a:spLocks noEditPoints="1"/>
            </p:cNvSpPr>
            <p:nvPr/>
          </p:nvSpPr>
          <p:spPr bwMode="auto">
            <a:xfrm>
              <a:off x="1718" y="1889"/>
              <a:ext cx="249" cy="249"/>
            </a:xfrm>
            <a:custGeom>
              <a:avLst/>
              <a:gdLst/>
              <a:ahLst/>
              <a:cxnLst>
                <a:cxn ang="0">
                  <a:pos x="0" y="249"/>
                </a:cxn>
                <a:cxn ang="0">
                  <a:pos x="249" y="249"/>
                </a:cxn>
                <a:cxn ang="0">
                  <a:pos x="249" y="0"/>
                </a:cxn>
                <a:cxn ang="0">
                  <a:pos x="0" y="0"/>
                </a:cxn>
                <a:cxn ang="0">
                  <a:pos x="0" y="249"/>
                </a:cxn>
                <a:cxn ang="0">
                  <a:pos x="7" y="8"/>
                </a:cxn>
                <a:cxn ang="0">
                  <a:pos x="240" y="8"/>
                </a:cxn>
                <a:cxn ang="0">
                  <a:pos x="240" y="240"/>
                </a:cxn>
                <a:cxn ang="0">
                  <a:pos x="7" y="240"/>
                </a:cxn>
                <a:cxn ang="0">
                  <a:pos x="7" y="8"/>
                </a:cxn>
              </a:cxnLst>
              <a:rect l="0" t="0" r="r" b="b"/>
              <a:pathLst>
                <a:path w="249" h="249">
                  <a:moveTo>
                    <a:pt x="0" y="249"/>
                  </a:moveTo>
                  <a:lnTo>
                    <a:pt x="249" y="249"/>
                  </a:lnTo>
                  <a:lnTo>
                    <a:pt x="249" y="0"/>
                  </a:lnTo>
                  <a:lnTo>
                    <a:pt x="0" y="0"/>
                  </a:lnTo>
                  <a:lnTo>
                    <a:pt x="0" y="249"/>
                  </a:lnTo>
                  <a:close/>
                  <a:moveTo>
                    <a:pt x="7" y="8"/>
                  </a:moveTo>
                  <a:lnTo>
                    <a:pt x="240" y="8"/>
                  </a:lnTo>
                  <a:lnTo>
                    <a:pt x="240" y="240"/>
                  </a:lnTo>
                  <a:lnTo>
                    <a:pt x="7" y="240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26" name="Freeform 126"/>
            <p:cNvSpPr>
              <a:spLocks noEditPoints="1"/>
            </p:cNvSpPr>
            <p:nvPr/>
          </p:nvSpPr>
          <p:spPr bwMode="auto">
            <a:xfrm>
              <a:off x="1766" y="1932"/>
              <a:ext cx="45" cy="161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19" y="0"/>
                </a:cxn>
                <a:cxn ang="0">
                  <a:pos x="19" y="75"/>
                </a:cxn>
                <a:cxn ang="0">
                  <a:pos x="0" y="75"/>
                </a:cxn>
                <a:cxn ang="0">
                  <a:pos x="0" y="101"/>
                </a:cxn>
                <a:cxn ang="0">
                  <a:pos x="19" y="101"/>
                </a:cxn>
                <a:cxn ang="0">
                  <a:pos x="19" y="161"/>
                </a:cxn>
                <a:cxn ang="0">
                  <a:pos x="29" y="161"/>
                </a:cxn>
                <a:cxn ang="0">
                  <a:pos x="29" y="101"/>
                </a:cxn>
                <a:cxn ang="0">
                  <a:pos x="45" y="101"/>
                </a:cxn>
                <a:cxn ang="0">
                  <a:pos x="45" y="75"/>
                </a:cxn>
                <a:cxn ang="0">
                  <a:pos x="29" y="75"/>
                </a:cxn>
                <a:cxn ang="0">
                  <a:pos x="29" y="0"/>
                </a:cxn>
                <a:cxn ang="0">
                  <a:pos x="38" y="82"/>
                </a:cxn>
                <a:cxn ang="0">
                  <a:pos x="38" y="94"/>
                </a:cxn>
                <a:cxn ang="0">
                  <a:pos x="9" y="94"/>
                </a:cxn>
                <a:cxn ang="0">
                  <a:pos x="9" y="82"/>
                </a:cxn>
                <a:cxn ang="0">
                  <a:pos x="38" y="82"/>
                </a:cxn>
              </a:cxnLst>
              <a:rect l="0" t="0" r="r" b="b"/>
              <a:pathLst>
                <a:path w="45" h="161">
                  <a:moveTo>
                    <a:pt x="29" y="0"/>
                  </a:moveTo>
                  <a:lnTo>
                    <a:pt x="19" y="0"/>
                  </a:lnTo>
                  <a:lnTo>
                    <a:pt x="19" y="75"/>
                  </a:lnTo>
                  <a:lnTo>
                    <a:pt x="0" y="75"/>
                  </a:lnTo>
                  <a:lnTo>
                    <a:pt x="0" y="101"/>
                  </a:lnTo>
                  <a:lnTo>
                    <a:pt x="19" y="101"/>
                  </a:lnTo>
                  <a:lnTo>
                    <a:pt x="19" y="161"/>
                  </a:lnTo>
                  <a:lnTo>
                    <a:pt x="29" y="161"/>
                  </a:lnTo>
                  <a:lnTo>
                    <a:pt x="29" y="101"/>
                  </a:lnTo>
                  <a:lnTo>
                    <a:pt x="45" y="101"/>
                  </a:lnTo>
                  <a:lnTo>
                    <a:pt x="45" y="75"/>
                  </a:lnTo>
                  <a:lnTo>
                    <a:pt x="29" y="75"/>
                  </a:lnTo>
                  <a:lnTo>
                    <a:pt x="29" y="0"/>
                  </a:lnTo>
                  <a:close/>
                  <a:moveTo>
                    <a:pt x="38" y="82"/>
                  </a:moveTo>
                  <a:lnTo>
                    <a:pt x="38" y="94"/>
                  </a:lnTo>
                  <a:lnTo>
                    <a:pt x="9" y="94"/>
                  </a:lnTo>
                  <a:lnTo>
                    <a:pt x="9" y="82"/>
                  </a:lnTo>
                  <a:lnTo>
                    <a:pt x="38" y="8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27" name="Freeform 127"/>
            <p:cNvSpPr>
              <a:spLocks noEditPoints="1"/>
            </p:cNvSpPr>
            <p:nvPr/>
          </p:nvSpPr>
          <p:spPr bwMode="auto">
            <a:xfrm>
              <a:off x="1819" y="1932"/>
              <a:ext cx="45" cy="161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19" y="0"/>
                </a:cxn>
                <a:cxn ang="0">
                  <a:pos x="19" y="24"/>
                </a:cxn>
                <a:cxn ang="0">
                  <a:pos x="0" y="24"/>
                </a:cxn>
                <a:cxn ang="0">
                  <a:pos x="0" y="51"/>
                </a:cxn>
                <a:cxn ang="0">
                  <a:pos x="19" y="51"/>
                </a:cxn>
                <a:cxn ang="0">
                  <a:pos x="19" y="161"/>
                </a:cxn>
                <a:cxn ang="0">
                  <a:pos x="26" y="161"/>
                </a:cxn>
                <a:cxn ang="0">
                  <a:pos x="26" y="51"/>
                </a:cxn>
                <a:cxn ang="0">
                  <a:pos x="45" y="51"/>
                </a:cxn>
                <a:cxn ang="0">
                  <a:pos x="45" y="24"/>
                </a:cxn>
                <a:cxn ang="0">
                  <a:pos x="26" y="24"/>
                </a:cxn>
                <a:cxn ang="0">
                  <a:pos x="26" y="0"/>
                </a:cxn>
                <a:cxn ang="0">
                  <a:pos x="36" y="32"/>
                </a:cxn>
                <a:cxn ang="0">
                  <a:pos x="36" y="41"/>
                </a:cxn>
                <a:cxn ang="0">
                  <a:pos x="9" y="41"/>
                </a:cxn>
                <a:cxn ang="0">
                  <a:pos x="9" y="32"/>
                </a:cxn>
                <a:cxn ang="0">
                  <a:pos x="36" y="32"/>
                </a:cxn>
              </a:cxnLst>
              <a:rect l="0" t="0" r="r" b="b"/>
              <a:pathLst>
                <a:path w="45" h="161">
                  <a:moveTo>
                    <a:pt x="26" y="0"/>
                  </a:moveTo>
                  <a:lnTo>
                    <a:pt x="19" y="0"/>
                  </a:lnTo>
                  <a:lnTo>
                    <a:pt x="19" y="24"/>
                  </a:lnTo>
                  <a:lnTo>
                    <a:pt x="0" y="24"/>
                  </a:lnTo>
                  <a:lnTo>
                    <a:pt x="0" y="51"/>
                  </a:lnTo>
                  <a:lnTo>
                    <a:pt x="19" y="51"/>
                  </a:lnTo>
                  <a:lnTo>
                    <a:pt x="19" y="161"/>
                  </a:lnTo>
                  <a:lnTo>
                    <a:pt x="26" y="161"/>
                  </a:lnTo>
                  <a:lnTo>
                    <a:pt x="26" y="51"/>
                  </a:lnTo>
                  <a:lnTo>
                    <a:pt x="45" y="51"/>
                  </a:lnTo>
                  <a:lnTo>
                    <a:pt x="45" y="24"/>
                  </a:lnTo>
                  <a:lnTo>
                    <a:pt x="26" y="24"/>
                  </a:lnTo>
                  <a:lnTo>
                    <a:pt x="26" y="0"/>
                  </a:lnTo>
                  <a:close/>
                  <a:moveTo>
                    <a:pt x="36" y="32"/>
                  </a:moveTo>
                  <a:lnTo>
                    <a:pt x="36" y="41"/>
                  </a:lnTo>
                  <a:lnTo>
                    <a:pt x="9" y="41"/>
                  </a:lnTo>
                  <a:lnTo>
                    <a:pt x="9" y="32"/>
                  </a:lnTo>
                  <a:lnTo>
                    <a:pt x="36" y="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28" name="Rectangle 128"/>
            <p:cNvSpPr>
              <a:spLocks noChangeArrowheads="1"/>
            </p:cNvSpPr>
            <p:nvPr/>
          </p:nvSpPr>
          <p:spPr bwMode="auto">
            <a:xfrm>
              <a:off x="1888" y="1932"/>
              <a:ext cx="10" cy="1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29" name="Freeform 129"/>
            <p:cNvSpPr>
              <a:spLocks noEditPoints="1"/>
            </p:cNvSpPr>
            <p:nvPr/>
          </p:nvSpPr>
          <p:spPr bwMode="auto">
            <a:xfrm>
              <a:off x="1869" y="2045"/>
              <a:ext cx="46" cy="48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9" y="26"/>
                </a:cxn>
                <a:cxn ang="0">
                  <a:pos x="19" y="48"/>
                </a:cxn>
                <a:cxn ang="0">
                  <a:pos x="29" y="48"/>
                </a:cxn>
                <a:cxn ang="0">
                  <a:pos x="29" y="26"/>
                </a:cxn>
                <a:cxn ang="0">
                  <a:pos x="46" y="26"/>
                </a:cxn>
                <a:cxn ang="0">
                  <a:pos x="46" y="0"/>
                </a:cxn>
                <a:cxn ang="0">
                  <a:pos x="0" y="0"/>
                </a:cxn>
                <a:cxn ang="0">
                  <a:pos x="0" y="26"/>
                </a:cxn>
                <a:cxn ang="0">
                  <a:pos x="10" y="7"/>
                </a:cxn>
                <a:cxn ang="0">
                  <a:pos x="38" y="7"/>
                </a:cxn>
                <a:cxn ang="0">
                  <a:pos x="38" y="17"/>
                </a:cxn>
                <a:cxn ang="0">
                  <a:pos x="10" y="17"/>
                </a:cxn>
                <a:cxn ang="0">
                  <a:pos x="10" y="7"/>
                </a:cxn>
              </a:cxnLst>
              <a:rect l="0" t="0" r="r" b="b"/>
              <a:pathLst>
                <a:path w="46" h="48">
                  <a:moveTo>
                    <a:pt x="0" y="26"/>
                  </a:moveTo>
                  <a:lnTo>
                    <a:pt x="19" y="26"/>
                  </a:lnTo>
                  <a:lnTo>
                    <a:pt x="19" y="48"/>
                  </a:lnTo>
                  <a:lnTo>
                    <a:pt x="29" y="48"/>
                  </a:lnTo>
                  <a:lnTo>
                    <a:pt x="29" y="26"/>
                  </a:lnTo>
                  <a:lnTo>
                    <a:pt x="46" y="26"/>
                  </a:lnTo>
                  <a:lnTo>
                    <a:pt x="46" y="0"/>
                  </a:lnTo>
                  <a:lnTo>
                    <a:pt x="0" y="0"/>
                  </a:lnTo>
                  <a:lnTo>
                    <a:pt x="0" y="26"/>
                  </a:lnTo>
                  <a:close/>
                  <a:moveTo>
                    <a:pt x="10" y="7"/>
                  </a:moveTo>
                  <a:lnTo>
                    <a:pt x="38" y="7"/>
                  </a:lnTo>
                  <a:lnTo>
                    <a:pt x="38" y="17"/>
                  </a:lnTo>
                  <a:lnTo>
                    <a:pt x="10" y="17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32" name="Group 132"/>
          <p:cNvGrpSpPr>
            <a:grpSpLocks noChangeAspect="1"/>
          </p:cNvGrpSpPr>
          <p:nvPr/>
        </p:nvGrpSpPr>
        <p:grpSpPr bwMode="auto">
          <a:xfrm>
            <a:off x="3657603" y="2813048"/>
            <a:ext cx="768350" cy="768350"/>
            <a:chOff x="2289" y="1772"/>
            <a:chExt cx="484" cy="484"/>
          </a:xfrm>
        </p:grpSpPr>
        <p:sp>
          <p:nvSpPr>
            <p:cNvPr id="51333" name="Freeform 133"/>
            <p:cNvSpPr>
              <a:spLocks noEditPoints="1"/>
            </p:cNvSpPr>
            <p:nvPr/>
          </p:nvSpPr>
          <p:spPr bwMode="auto">
            <a:xfrm>
              <a:off x="2289" y="177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34" name="Freeform 134"/>
            <p:cNvSpPr>
              <a:spLocks noEditPoints="1"/>
            </p:cNvSpPr>
            <p:nvPr/>
          </p:nvSpPr>
          <p:spPr bwMode="auto">
            <a:xfrm>
              <a:off x="2404" y="1890"/>
              <a:ext cx="250" cy="249"/>
            </a:xfrm>
            <a:custGeom>
              <a:avLst/>
              <a:gdLst/>
              <a:ahLst/>
              <a:cxnLst>
                <a:cxn ang="0">
                  <a:pos x="0" y="249"/>
                </a:cxn>
                <a:cxn ang="0">
                  <a:pos x="250" y="249"/>
                </a:cxn>
                <a:cxn ang="0">
                  <a:pos x="250" y="0"/>
                </a:cxn>
                <a:cxn ang="0">
                  <a:pos x="0" y="0"/>
                </a:cxn>
                <a:cxn ang="0">
                  <a:pos x="0" y="249"/>
                </a:cxn>
                <a:cxn ang="0">
                  <a:pos x="8" y="9"/>
                </a:cxn>
                <a:cxn ang="0">
                  <a:pos x="240" y="9"/>
                </a:cxn>
                <a:cxn ang="0">
                  <a:pos x="240" y="239"/>
                </a:cxn>
                <a:cxn ang="0">
                  <a:pos x="8" y="239"/>
                </a:cxn>
                <a:cxn ang="0">
                  <a:pos x="8" y="9"/>
                </a:cxn>
              </a:cxnLst>
              <a:rect l="0" t="0" r="r" b="b"/>
              <a:pathLst>
                <a:path w="250" h="249">
                  <a:moveTo>
                    <a:pt x="0" y="249"/>
                  </a:moveTo>
                  <a:lnTo>
                    <a:pt x="250" y="249"/>
                  </a:lnTo>
                  <a:lnTo>
                    <a:pt x="250" y="0"/>
                  </a:lnTo>
                  <a:lnTo>
                    <a:pt x="0" y="0"/>
                  </a:lnTo>
                  <a:lnTo>
                    <a:pt x="0" y="249"/>
                  </a:lnTo>
                  <a:close/>
                  <a:moveTo>
                    <a:pt x="8" y="9"/>
                  </a:moveTo>
                  <a:lnTo>
                    <a:pt x="240" y="9"/>
                  </a:lnTo>
                  <a:lnTo>
                    <a:pt x="240" y="239"/>
                  </a:lnTo>
                  <a:lnTo>
                    <a:pt x="8" y="239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35" name="Freeform 135"/>
            <p:cNvSpPr>
              <a:spLocks noEditPoints="1"/>
            </p:cNvSpPr>
            <p:nvPr/>
          </p:nvSpPr>
          <p:spPr bwMode="auto">
            <a:xfrm>
              <a:off x="2452" y="1935"/>
              <a:ext cx="46" cy="15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19" y="0"/>
                </a:cxn>
                <a:cxn ang="0">
                  <a:pos x="19" y="72"/>
                </a:cxn>
                <a:cxn ang="0">
                  <a:pos x="0" y="72"/>
                </a:cxn>
                <a:cxn ang="0">
                  <a:pos x="0" y="101"/>
                </a:cxn>
                <a:cxn ang="0">
                  <a:pos x="19" y="101"/>
                </a:cxn>
                <a:cxn ang="0">
                  <a:pos x="19" y="158"/>
                </a:cxn>
                <a:cxn ang="0">
                  <a:pos x="29" y="158"/>
                </a:cxn>
                <a:cxn ang="0">
                  <a:pos x="29" y="101"/>
                </a:cxn>
                <a:cxn ang="0">
                  <a:pos x="46" y="101"/>
                </a:cxn>
                <a:cxn ang="0">
                  <a:pos x="46" y="72"/>
                </a:cxn>
                <a:cxn ang="0">
                  <a:pos x="29" y="72"/>
                </a:cxn>
                <a:cxn ang="0">
                  <a:pos x="29" y="0"/>
                </a:cxn>
                <a:cxn ang="0">
                  <a:pos x="39" y="82"/>
                </a:cxn>
                <a:cxn ang="0">
                  <a:pos x="39" y="91"/>
                </a:cxn>
                <a:cxn ang="0">
                  <a:pos x="10" y="91"/>
                </a:cxn>
                <a:cxn ang="0">
                  <a:pos x="10" y="82"/>
                </a:cxn>
                <a:cxn ang="0">
                  <a:pos x="39" y="82"/>
                </a:cxn>
              </a:cxnLst>
              <a:rect l="0" t="0" r="r" b="b"/>
              <a:pathLst>
                <a:path w="46" h="158">
                  <a:moveTo>
                    <a:pt x="29" y="0"/>
                  </a:moveTo>
                  <a:lnTo>
                    <a:pt x="19" y="0"/>
                  </a:lnTo>
                  <a:lnTo>
                    <a:pt x="19" y="72"/>
                  </a:lnTo>
                  <a:lnTo>
                    <a:pt x="0" y="72"/>
                  </a:lnTo>
                  <a:lnTo>
                    <a:pt x="0" y="101"/>
                  </a:lnTo>
                  <a:lnTo>
                    <a:pt x="19" y="101"/>
                  </a:lnTo>
                  <a:lnTo>
                    <a:pt x="19" y="158"/>
                  </a:lnTo>
                  <a:lnTo>
                    <a:pt x="29" y="158"/>
                  </a:lnTo>
                  <a:lnTo>
                    <a:pt x="29" y="101"/>
                  </a:lnTo>
                  <a:lnTo>
                    <a:pt x="46" y="101"/>
                  </a:lnTo>
                  <a:lnTo>
                    <a:pt x="46" y="72"/>
                  </a:lnTo>
                  <a:lnTo>
                    <a:pt x="29" y="72"/>
                  </a:lnTo>
                  <a:lnTo>
                    <a:pt x="29" y="0"/>
                  </a:lnTo>
                  <a:close/>
                  <a:moveTo>
                    <a:pt x="39" y="82"/>
                  </a:moveTo>
                  <a:lnTo>
                    <a:pt x="39" y="91"/>
                  </a:lnTo>
                  <a:lnTo>
                    <a:pt x="10" y="91"/>
                  </a:lnTo>
                  <a:lnTo>
                    <a:pt x="10" y="82"/>
                  </a:lnTo>
                  <a:lnTo>
                    <a:pt x="39" y="8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36" name="Freeform 136"/>
            <p:cNvSpPr>
              <a:spLocks noEditPoints="1"/>
            </p:cNvSpPr>
            <p:nvPr/>
          </p:nvSpPr>
          <p:spPr bwMode="auto">
            <a:xfrm>
              <a:off x="2505" y="1935"/>
              <a:ext cx="46" cy="158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19" y="0"/>
                </a:cxn>
                <a:cxn ang="0">
                  <a:pos x="19" y="22"/>
                </a:cxn>
                <a:cxn ang="0">
                  <a:pos x="0" y="22"/>
                </a:cxn>
                <a:cxn ang="0">
                  <a:pos x="0" y="48"/>
                </a:cxn>
                <a:cxn ang="0">
                  <a:pos x="19" y="48"/>
                </a:cxn>
                <a:cxn ang="0">
                  <a:pos x="19" y="158"/>
                </a:cxn>
                <a:cxn ang="0">
                  <a:pos x="26" y="158"/>
                </a:cxn>
                <a:cxn ang="0">
                  <a:pos x="26" y="48"/>
                </a:cxn>
                <a:cxn ang="0">
                  <a:pos x="46" y="48"/>
                </a:cxn>
                <a:cxn ang="0">
                  <a:pos x="46" y="22"/>
                </a:cxn>
                <a:cxn ang="0">
                  <a:pos x="26" y="22"/>
                </a:cxn>
                <a:cxn ang="0">
                  <a:pos x="26" y="0"/>
                </a:cxn>
                <a:cxn ang="0">
                  <a:pos x="36" y="31"/>
                </a:cxn>
                <a:cxn ang="0">
                  <a:pos x="36" y="41"/>
                </a:cxn>
                <a:cxn ang="0">
                  <a:pos x="10" y="41"/>
                </a:cxn>
                <a:cxn ang="0">
                  <a:pos x="10" y="31"/>
                </a:cxn>
                <a:cxn ang="0">
                  <a:pos x="36" y="31"/>
                </a:cxn>
              </a:cxnLst>
              <a:rect l="0" t="0" r="r" b="b"/>
              <a:pathLst>
                <a:path w="46" h="158">
                  <a:moveTo>
                    <a:pt x="26" y="0"/>
                  </a:moveTo>
                  <a:lnTo>
                    <a:pt x="19" y="0"/>
                  </a:lnTo>
                  <a:lnTo>
                    <a:pt x="19" y="22"/>
                  </a:lnTo>
                  <a:lnTo>
                    <a:pt x="0" y="22"/>
                  </a:lnTo>
                  <a:lnTo>
                    <a:pt x="0" y="48"/>
                  </a:lnTo>
                  <a:lnTo>
                    <a:pt x="19" y="48"/>
                  </a:lnTo>
                  <a:lnTo>
                    <a:pt x="19" y="158"/>
                  </a:lnTo>
                  <a:lnTo>
                    <a:pt x="26" y="158"/>
                  </a:lnTo>
                  <a:lnTo>
                    <a:pt x="26" y="48"/>
                  </a:lnTo>
                  <a:lnTo>
                    <a:pt x="46" y="48"/>
                  </a:lnTo>
                  <a:lnTo>
                    <a:pt x="46" y="22"/>
                  </a:lnTo>
                  <a:lnTo>
                    <a:pt x="26" y="22"/>
                  </a:lnTo>
                  <a:lnTo>
                    <a:pt x="26" y="0"/>
                  </a:lnTo>
                  <a:close/>
                  <a:moveTo>
                    <a:pt x="36" y="31"/>
                  </a:moveTo>
                  <a:lnTo>
                    <a:pt x="36" y="41"/>
                  </a:lnTo>
                  <a:lnTo>
                    <a:pt x="10" y="41"/>
                  </a:lnTo>
                  <a:lnTo>
                    <a:pt x="10" y="31"/>
                  </a:lnTo>
                  <a:lnTo>
                    <a:pt x="36" y="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37" name="Rectangle 137"/>
            <p:cNvSpPr>
              <a:spLocks noChangeArrowheads="1"/>
            </p:cNvSpPr>
            <p:nvPr/>
          </p:nvSpPr>
          <p:spPr bwMode="auto">
            <a:xfrm>
              <a:off x="2575" y="1935"/>
              <a:ext cx="9" cy="11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38" name="Freeform 138"/>
            <p:cNvSpPr>
              <a:spLocks noEditPoints="1"/>
            </p:cNvSpPr>
            <p:nvPr/>
          </p:nvSpPr>
          <p:spPr bwMode="auto">
            <a:xfrm>
              <a:off x="2555" y="2046"/>
              <a:ext cx="46" cy="47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0" y="28"/>
                </a:cxn>
                <a:cxn ang="0">
                  <a:pos x="20" y="47"/>
                </a:cxn>
                <a:cxn ang="0">
                  <a:pos x="29" y="47"/>
                </a:cxn>
                <a:cxn ang="0">
                  <a:pos x="29" y="28"/>
                </a:cxn>
                <a:cxn ang="0">
                  <a:pos x="46" y="28"/>
                </a:cxn>
                <a:cxn ang="0">
                  <a:pos x="46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10" y="9"/>
                </a:cxn>
                <a:cxn ang="0">
                  <a:pos x="39" y="9"/>
                </a:cxn>
                <a:cxn ang="0">
                  <a:pos x="39" y="19"/>
                </a:cxn>
                <a:cxn ang="0">
                  <a:pos x="10" y="19"/>
                </a:cxn>
                <a:cxn ang="0">
                  <a:pos x="10" y="9"/>
                </a:cxn>
              </a:cxnLst>
              <a:rect l="0" t="0" r="r" b="b"/>
              <a:pathLst>
                <a:path w="46" h="47">
                  <a:moveTo>
                    <a:pt x="0" y="28"/>
                  </a:moveTo>
                  <a:lnTo>
                    <a:pt x="20" y="28"/>
                  </a:lnTo>
                  <a:lnTo>
                    <a:pt x="20" y="47"/>
                  </a:lnTo>
                  <a:lnTo>
                    <a:pt x="29" y="47"/>
                  </a:lnTo>
                  <a:lnTo>
                    <a:pt x="29" y="28"/>
                  </a:lnTo>
                  <a:lnTo>
                    <a:pt x="46" y="28"/>
                  </a:lnTo>
                  <a:lnTo>
                    <a:pt x="46" y="0"/>
                  </a:lnTo>
                  <a:lnTo>
                    <a:pt x="0" y="0"/>
                  </a:lnTo>
                  <a:lnTo>
                    <a:pt x="0" y="28"/>
                  </a:lnTo>
                  <a:close/>
                  <a:moveTo>
                    <a:pt x="10" y="9"/>
                  </a:moveTo>
                  <a:lnTo>
                    <a:pt x="39" y="9"/>
                  </a:lnTo>
                  <a:lnTo>
                    <a:pt x="39" y="19"/>
                  </a:lnTo>
                  <a:lnTo>
                    <a:pt x="10" y="19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41" name="Group 141"/>
          <p:cNvGrpSpPr>
            <a:grpSpLocks noChangeAspect="1"/>
          </p:cNvGrpSpPr>
          <p:nvPr/>
        </p:nvGrpSpPr>
        <p:grpSpPr bwMode="auto">
          <a:xfrm>
            <a:off x="4709319" y="2773363"/>
            <a:ext cx="850900" cy="852487"/>
            <a:chOff x="2957" y="1747"/>
            <a:chExt cx="536" cy="537"/>
          </a:xfrm>
        </p:grpSpPr>
        <p:sp>
          <p:nvSpPr>
            <p:cNvPr id="51342" name="Oval 142"/>
            <p:cNvSpPr>
              <a:spLocks noChangeArrowheads="1"/>
            </p:cNvSpPr>
            <p:nvPr/>
          </p:nvSpPr>
          <p:spPr bwMode="auto">
            <a:xfrm>
              <a:off x="2957" y="1747"/>
              <a:ext cx="536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43" name="Freeform 143"/>
            <p:cNvSpPr>
              <a:spLocks noEditPoints="1"/>
            </p:cNvSpPr>
            <p:nvPr/>
          </p:nvSpPr>
          <p:spPr bwMode="auto">
            <a:xfrm>
              <a:off x="3129" y="1841"/>
              <a:ext cx="185" cy="335"/>
            </a:xfrm>
            <a:custGeom>
              <a:avLst/>
              <a:gdLst/>
              <a:ahLst/>
              <a:cxnLst>
                <a:cxn ang="0">
                  <a:pos x="74" y="14"/>
                </a:cxn>
                <a:cxn ang="0">
                  <a:pos x="66" y="11"/>
                </a:cxn>
                <a:cxn ang="0">
                  <a:pos x="56" y="14"/>
                </a:cxn>
                <a:cxn ang="0">
                  <a:pos x="24" y="0"/>
                </a:cxn>
                <a:cxn ang="0">
                  <a:pos x="14" y="14"/>
                </a:cxn>
                <a:cxn ang="0">
                  <a:pos x="9" y="13"/>
                </a:cxn>
                <a:cxn ang="0">
                  <a:pos x="3" y="14"/>
                </a:cxn>
                <a:cxn ang="0">
                  <a:pos x="0" y="17"/>
                </a:cxn>
                <a:cxn ang="0">
                  <a:pos x="21" y="27"/>
                </a:cxn>
                <a:cxn ang="0">
                  <a:pos x="5" y="120"/>
                </a:cxn>
                <a:cxn ang="0">
                  <a:pos x="70" y="140"/>
                </a:cxn>
                <a:cxn ang="0">
                  <a:pos x="70" y="118"/>
                </a:cxn>
                <a:cxn ang="0">
                  <a:pos x="71" y="27"/>
                </a:cxn>
                <a:cxn ang="0">
                  <a:pos x="77" y="15"/>
                </a:cxn>
                <a:cxn ang="0">
                  <a:pos x="21" y="18"/>
                </a:cxn>
                <a:cxn ang="0">
                  <a:pos x="5" y="18"/>
                </a:cxn>
                <a:cxn ang="0">
                  <a:pos x="55" y="62"/>
                </a:cxn>
                <a:cxn ang="0">
                  <a:pos x="35" y="102"/>
                </a:cxn>
                <a:cxn ang="0">
                  <a:pos x="22" y="62"/>
                </a:cxn>
                <a:cxn ang="0">
                  <a:pos x="22" y="62"/>
                </a:cxn>
                <a:cxn ang="0">
                  <a:pos x="52" y="14"/>
                </a:cxn>
                <a:cxn ang="0">
                  <a:pos x="39" y="24"/>
                </a:cxn>
                <a:cxn ang="0">
                  <a:pos x="50" y="17"/>
                </a:cxn>
                <a:cxn ang="0">
                  <a:pos x="45" y="4"/>
                </a:cxn>
                <a:cxn ang="0">
                  <a:pos x="25" y="14"/>
                </a:cxn>
                <a:cxn ang="0">
                  <a:pos x="25" y="20"/>
                </a:cxn>
                <a:cxn ang="0">
                  <a:pos x="25" y="20"/>
                </a:cxn>
                <a:cxn ang="0">
                  <a:pos x="38" y="45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38" y="69"/>
                </a:cxn>
                <a:cxn ang="0">
                  <a:pos x="38" y="74"/>
                </a:cxn>
                <a:cxn ang="0">
                  <a:pos x="22" y="86"/>
                </a:cxn>
                <a:cxn ang="0">
                  <a:pos x="55" y="118"/>
                </a:cxn>
                <a:cxn ang="0">
                  <a:pos x="58" y="116"/>
                </a:cxn>
                <a:cxn ang="0">
                  <a:pos x="58" y="116"/>
                </a:cxn>
                <a:cxn ang="0">
                  <a:pos x="54" y="56"/>
                </a:cxn>
                <a:cxn ang="0">
                  <a:pos x="52" y="20"/>
                </a:cxn>
                <a:cxn ang="0">
                  <a:pos x="68" y="137"/>
                </a:cxn>
                <a:cxn ang="0">
                  <a:pos x="16" y="122"/>
                </a:cxn>
                <a:cxn ang="0">
                  <a:pos x="68" y="137"/>
                </a:cxn>
                <a:cxn ang="0">
                  <a:pos x="56" y="18"/>
                </a:cxn>
              </a:cxnLst>
              <a:rect l="0" t="0" r="r" b="b"/>
              <a:pathLst>
                <a:path w="77" h="140">
                  <a:moveTo>
                    <a:pt x="75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2"/>
                    <a:pt x="73" y="11"/>
                    <a:pt x="71" y="11"/>
                  </a:cubicBezTo>
                  <a:cubicBezTo>
                    <a:pt x="70" y="11"/>
                    <a:pt x="69" y="12"/>
                    <a:pt x="69" y="13"/>
                  </a:cubicBezTo>
                  <a:cubicBezTo>
                    <a:pt x="68" y="12"/>
                    <a:pt x="67" y="11"/>
                    <a:pt x="66" y="11"/>
                  </a:cubicBezTo>
                  <a:cubicBezTo>
                    <a:pt x="64" y="11"/>
                    <a:pt x="63" y="12"/>
                    <a:pt x="63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"/>
                    <a:pt x="54" y="0"/>
                    <a:pt x="5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1"/>
                    <a:pt x="23" y="2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2"/>
                    <a:pt x="13" y="11"/>
                    <a:pt x="12" y="11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2"/>
                    <a:pt x="8" y="11"/>
                    <a:pt x="6" y="11"/>
                  </a:cubicBezTo>
                  <a:cubicBezTo>
                    <a:pt x="5" y="11"/>
                    <a:pt x="3" y="12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1" y="14"/>
                    <a:pt x="1" y="15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7"/>
                    <a:pt x="6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6" y="118"/>
                    <a:pt x="5" y="119"/>
                    <a:pt x="5" y="120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5" y="139"/>
                    <a:pt x="6" y="140"/>
                    <a:pt x="7" y="140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1" y="140"/>
                    <a:pt x="72" y="139"/>
                    <a:pt x="72" y="138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2" y="119"/>
                    <a:pt x="71" y="118"/>
                    <a:pt x="70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2" y="27"/>
                    <a:pt x="73" y="26"/>
                    <a:pt x="73" y="26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6"/>
                    <a:pt x="77" y="15"/>
                    <a:pt x="77" y="15"/>
                  </a:cubicBezTo>
                  <a:cubicBezTo>
                    <a:pt x="77" y="14"/>
                    <a:pt x="76" y="14"/>
                    <a:pt x="75" y="14"/>
                  </a:cubicBezTo>
                  <a:close/>
                  <a:moveTo>
                    <a:pt x="5" y="18"/>
                  </a:moveTo>
                  <a:cubicBezTo>
                    <a:pt x="21" y="18"/>
                    <a:pt x="21" y="18"/>
                    <a:pt x="21" y="1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7" y="23"/>
                    <a:pt x="7" y="23"/>
                    <a:pt x="7" y="23"/>
                  </a:cubicBezTo>
                  <a:lnTo>
                    <a:pt x="5" y="18"/>
                  </a:lnTo>
                  <a:close/>
                  <a:moveTo>
                    <a:pt x="56" y="82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55" y="62"/>
                    <a:pt x="55" y="62"/>
                    <a:pt x="55" y="62"/>
                  </a:cubicBezTo>
                  <a:lnTo>
                    <a:pt x="56" y="82"/>
                  </a:lnTo>
                  <a:close/>
                  <a:moveTo>
                    <a:pt x="20" y="89"/>
                  </a:moveTo>
                  <a:cubicBezTo>
                    <a:pt x="35" y="102"/>
                    <a:pt x="35" y="102"/>
                    <a:pt x="35" y="102"/>
                  </a:cubicBezTo>
                  <a:cubicBezTo>
                    <a:pt x="19" y="116"/>
                    <a:pt x="19" y="116"/>
                    <a:pt x="19" y="116"/>
                  </a:cubicBezTo>
                  <a:lnTo>
                    <a:pt x="20" y="89"/>
                  </a:lnTo>
                  <a:close/>
                  <a:moveTo>
                    <a:pt x="22" y="62"/>
                  </a:moveTo>
                  <a:cubicBezTo>
                    <a:pt x="35" y="72"/>
                    <a:pt x="35" y="72"/>
                    <a:pt x="35" y="72"/>
                  </a:cubicBezTo>
                  <a:cubicBezTo>
                    <a:pt x="21" y="82"/>
                    <a:pt x="21" y="82"/>
                    <a:pt x="21" y="82"/>
                  </a:cubicBezTo>
                  <a:lnTo>
                    <a:pt x="22" y="62"/>
                  </a:lnTo>
                  <a:close/>
                  <a:moveTo>
                    <a:pt x="43" y="9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2" y="14"/>
                    <a:pt x="52" y="14"/>
                    <a:pt x="52" y="14"/>
                  </a:cubicBezTo>
                  <a:lnTo>
                    <a:pt x="43" y="9"/>
                  </a:lnTo>
                  <a:close/>
                  <a:moveTo>
                    <a:pt x="50" y="17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9" y="11"/>
                    <a:pt x="39" y="11"/>
                    <a:pt x="39" y="11"/>
                  </a:cubicBezTo>
                  <a:lnTo>
                    <a:pt x="50" y="17"/>
                  </a:lnTo>
                  <a:close/>
                  <a:moveTo>
                    <a:pt x="39" y="7"/>
                  </a:moveTo>
                  <a:cubicBezTo>
                    <a:pt x="32" y="4"/>
                    <a:pt x="32" y="4"/>
                    <a:pt x="32" y="4"/>
                  </a:cubicBezTo>
                  <a:cubicBezTo>
                    <a:pt x="45" y="4"/>
                    <a:pt x="45" y="4"/>
                    <a:pt x="45" y="4"/>
                  </a:cubicBezTo>
                  <a:lnTo>
                    <a:pt x="39" y="7"/>
                  </a:lnTo>
                  <a:close/>
                  <a:moveTo>
                    <a:pt x="35" y="9"/>
                  </a:moveTo>
                  <a:cubicBezTo>
                    <a:pt x="25" y="14"/>
                    <a:pt x="25" y="14"/>
                    <a:pt x="25" y="14"/>
                  </a:cubicBezTo>
                  <a:cubicBezTo>
                    <a:pt x="26" y="5"/>
                    <a:pt x="26" y="5"/>
                    <a:pt x="26" y="5"/>
                  </a:cubicBezTo>
                  <a:lnTo>
                    <a:pt x="35" y="9"/>
                  </a:lnTo>
                  <a:close/>
                  <a:moveTo>
                    <a:pt x="25" y="20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24" y="33"/>
                    <a:pt x="24" y="33"/>
                    <a:pt x="24" y="33"/>
                  </a:cubicBezTo>
                  <a:lnTo>
                    <a:pt x="25" y="20"/>
                  </a:lnTo>
                  <a:close/>
                  <a:moveTo>
                    <a:pt x="39" y="28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26" y="37"/>
                    <a:pt x="26" y="37"/>
                    <a:pt x="26" y="37"/>
                  </a:cubicBezTo>
                  <a:lnTo>
                    <a:pt x="39" y="28"/>
                  </a:lnTo>
                  <a:close/>
                  <a:moveTo>
                    <a:pt x="24" y="40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4" y="40"/>
                  </a:lnTo>
                  <a:close/>
                  <a:moveTo>
                    <a:pt x="38" y="49"/>
                  </a:moveTo>
                  <a:cubicBezTo>
                    <a:pt x="53" y="59"/>
                    <a:pt x="53" y="59"/>
                    <a:pt x="53" y="5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59"/>
                    <a:pt x="24" y="59"/>
                    <a:pt x="24" y="59"/>
                  </a:cubicBezTo>
                  <a:lnTo>
                    <a:pt x="38" y="49"/>
                  </a:lnTo>
                  <a:close/>
                  <a:moveTo>
                    <a:pt x="38" y="74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22" y="86"/>
                    <a:pt x="22" y="86"/>
                    <a:pt x="22" y="86"/>
                  </a:cubicBezTo>
                  <a:lnTo>
                    <a:pt x="38" y="74"/>
                  </a:lnTo>
                  <a:close/>
                  <a:moveTo>
                    <a:pt x="38" y="104"/>
                  </a:moveTo>
                  <a:cubicBezTo>
                    <a:pt x="55" y="118"/>
                    <a:pt x="55" y="118"/>
                    <a:pt x="55" y="118"/>
                  </a:cubicBezTo>
                  <a:cubicBezTo>
                    <a:pt x="21" y="118"/>
                    <a:pt x="21" y="118"/>
                    <a:pt x="21" y="118"/>
                  </a:cubicBezTo>
                  <a:lnTo>
                    <a:pt x="38" y="104"/>
                  </a:lnTo>
                  <a:close/>
                  <a:moveTo>
                    <a:pt x="58" y="116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56" y="89"/>
                    <a:pt x="56" y="89"/>
                    <a:pt x="56" y="89"/>
                  </a:cubicBezTo>
                  <a:lnTo>
                    <a:pt x="58" y="116"/>
                  </a:lnTo>
                  <a:close/>
                  <a:moveTo>
                    <a:pt x="42" y="47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4" y="56"/>
                    <a:pt x="54" y="56"/>
                    <a:pt x="54" y="56"/>
                  </a:cubicBezTo>
                  <a:lnTo>
                    <a:pt x="42" y="47"/>
                  </a:lnTo>
                  <a:close/>
                  <a:moveTo>
                    <a:pt x="42" y="26"/>
                  </a:moveTo>
                  <a:cubicBezTo>
                    <a:pt x="52" y="20"/>
                    <a:pt x="52" y="20"/>
                    <a:pt x="52" y="20"/>
                  </a:cubicBezTo>
                  <a:cubicBezTo>
                    <a:pt x="53" y="33"/>
                    <a:pt x="53" y="33"/>
                    <a:pt x="53" y="33"/>
                  </a:cubicBezTo>
                  <a:lnTo>
                    <a:pt x="42" y="26"/>
                  </a:lnTo>
                  <a:close/>
                  <a:moveTo>
                    <a:pt x="68" y="137"/>
                  </a:moveTo>
                  <a:cubicBezTo>
                    <a:pt x="9" y="137"/>
                    <a:pt x="9" y="137"/>
                    <a:pt x="9" y="137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8" y="122"/>
                    <a:pt x="68" y="122"/>
                    <a:pt x="68" y="122"/>
                  </a:cubicBezTo>
                  <a:lnTo>
                    <a:pt x="68" y="137"/>
                  </a:lnTo>
                  <a:close/>
                  <a:moveTo>
                    <a:pt x="70" y="23"/>
                  </a:moveTo>
                  <a:cubicBezTo>
                    <a:pt x="56" y="23"/>
                    <a:pt x="56" y="23"/>
                    <a:pt x="56" y="2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73" y="18"/>
                    <a:pt x="73" y="18"/>
                    <a:pt x="73" y="18"/>
                  </a:cubicBezTo>
                  <a:lnTo>
                    <a:pt x="70" y="2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44" name="Freeform 144"/>
            <p:cNvSpPr>
              <a:spLocks noEditPoints="1"/>
            </p:cNvSpPr>
            <p:nvPr/>
          </p:nvSpPr>
          <p:spPr bwMode="auto">
            <a:xfrm>
              <a:off x="2976" y="1767"/>
              <a:ext cx="498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2"/>
                </a:cxn>
              </a:cxnLst>
              <a:rect l="0" t="0" r="r" b="b"/>
              <a:pathLst>
                <a:path w="208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8"/>
                    <a:pt x="5" y="104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3" y="49"/>
                    <a:pt x="203" y="104"/>
                  </a:cubicBezTo>
                  <a:cubicBezTo>
                    <a:pt x="203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47" name="Group 147"/>
          <p:cNvGrpSpPr>
            <a:grpSpLocks noChangeAspect="1"/>
          </p:cNvGrpSpPr>
          <p:nvPr/>
        </p:nvGrpSpPr>
        <p:grpSpPr bwMode="auto">
          <a:xfrm>
            <a:off x="5836444" y="2805113"/>
            <a:ext cx="793750" cy="787400"/>
            <a:chOff x="3676" y="1767"/>
            <a:chExt cx="500" cy="496"/>
          </a:xfrm>
        </p:grpSpPr>
        <p:sp>
          <p:nvSpPr>
            <p:cNvPr id="51348" name="Freeform 148"/>
            <p:cNvSpPr>
              <a:spLocks noEditPoints="1"/>
            </p:cNvSpPr>
            <p:nvPr/>
          </p:nvSpPr>
          <p:spPr bwMode="auto">
            <a:xfrm>
              <a:off x="3842" y="2124"/>
              <a:ext cx="161" cy="53"/>
            </a:xfrm>
            <a:custGeom>
              <a:avLst/>
              <a:gdLst/>
              <a:ahLst/>
              <a:cxnLst>
                <a:cxn ang="0">
                  <a:pos x="65" y="22"/>
                </a:cxn>
                <a:cxn ang="0">
                  <a:pos x="2" y="22"/>
                </a:cxn>
                <a:cxn ang="0">
                  <a:pos x="0" y="2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5" y="0"/>
                </a:cxn>
                <a:cxn ang="0">
                  <a:pos x="67" y="2"/>
                </a:cxn>
                <a:cxn ang="0">
                  <a:pos x="67" y="20"/>
                </a:cxn>
                <a:cxn ang="0">
                  <a:pos x="65" y="22"/>
                </a:cxn>
                <a:cxn ang="0">
                  <a:pos x="4" y="19"/>
                </a:cxn>
                <a:cxn ang="0">
                  <a:pos x="63" y="19"/>
                </a:cxn>
                <a:cxn ang="0">
                  <a:pos x="63" y="4"/>
                </a:cxn>
                <a:cxn ang="0">
                  <a:pos x="4" y="4"/>
                </a:cxn>
                <a:cxn ang="0">
                  <a:pos x="4" y="19"/>
                </a:cxn>
              </a:cxnLst>
              <a:rect l="0" t="0" r="r" b="b"/>
              <a:pathLst>
                <a:path w="67" h="22">
                  <a:moveTo>
                    <a:pt x="65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1"/>
                    <a:pt x="67" y="2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1"/>
                    <a:pt x="66" y="22"/>
                    <a:pt x="65" y="22"/>
                  </a:cubicBezTo>
                  <a:close/>
                  <a:moveTo>
                    <a:pt x="4" y="19"/>
                  </a:moveTo>
                  <a:cubicBezTo>
                    <a:pt x="63" y="19"/>
                    <a:pt x="63" y="19"/>
                    <a:pt x="63" y="19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49" name="Freeform 149"/>
            <p:cNvSpPr>
              <a:spLocks noEditPoints="1"/>
            </p:cNvSpPr>
            <p:nvPr/>
          </p:nvSpPr>
          <p:spPr bwMode="auto">
            <a:xfrm>
              <a:off x="3830" y="1841"/>
              <a:ext cx="185" cy="293"/>
            </a:xfrm>
            <a:custGeom>
              <a:avLst/>
              <a:gdLst/>
              <a:ahLst/>
              <a:cxnLst>
                <a:cxn ang="0">
                  <a:pos x="74" y="14"/>
                </a:cxn>
                <a:cxn ang="0">
                  <a:pos x="71" y="11"/>
                </a:cxn>
                <a:cxn ang="0">
                  <a:pos x="66" y="11"/>
                </a:cxn>
                <a:cxn ang="0">
                  <a:pos x="63" y="14"/>
                </a:cxn>
                <a:cxn ang="0">
                  <a:pos x="55" y="2"/>
                </a:cxn>
                <a:cxn ang="0">
                  <a:pos x="24" y="0"/>
                </a:cxn>
                <a:cxn ang="0">
                  <a:pos x="22" y="14"/>
                </a:cxn>
                <a:cxn ang="0">
                  <a:pos x="14" y="14"/>
                </a:cxn>
                <a:cxn ang="0">
                  <a:pos x="9" y="13"/>
                </a:cxn>
                <a:cxn ang="0">
                  <a:pos x="3" y="14"/>
                </a:cxn>
                <a:cxn ang="0">
                  <a:pos x="2" y="14"/>
                </a:cxn>
                <a:cxn ang="0">
                  <a:pos x="0" y="17"/>
                </a:cxn>
                <a:cxn ang="0">
                  <a:pos x="6" y="27"/>
                </a:cxn>
                <a:cxn ang="0">
                  <a:pos x="15" y="120"/>
                </a:cxn>
                <a:cxn ang="0">
                  <a:pos x="16" y="122"/>
                </a:cxn>
                <a:cxn ang="0">
                  <a:pos x="61" y="121"/>
                </a:cxn>
                <a:cxn ang="0">
                  <a:pos x="56" y="27"/>
                </a:cxn>
                <a:cxn ang="0">
                  <a:pos x="73" y="26"/>
                </a:cxn>
                <a:cxn ang="0">
                  <a:pos x="77" y="15"/>
                </a:cxn>
                <a:cxn ang="0">
                  <a:pos x="35" y="26"/>
                </a:cxn>
                <a:cxn ang="0">
                  <a:pos x="25" y="20"/>
                </a:cxn>
                <a:cxn ang="0">
                  <a:pos x="27" y="17"/>
                </a:cxn>
                <a:cxn ang="0">
                  <a:pos x="50" y="17"/>
                </a:cxn>
                <a:cxn ang="0">
                  <a:pos x="27" y="17"/>
                </a:cxn>
                <a:cxn ang="0">
                  <a:pos x="52" y="36"/>
                </a:cxn>
                <a:cxn ang="0">
                  <a:pos x="26" y="37"/>
                </a:cxn>
                <a:cxn ang="0">
                  <a:pos x="42" y="26"/>
                </a:cxn>
                <a:cxn ang="0">
                  <a:pos x="53" y="33"/>
                </a:cxn>
                <a:cxn ang="0">
                  <a:pos x="43" y="9"/>
                </a:cxn>
                <a:cxn ang="0">
                  <a:pos x="52" y="14"/>
                </a:cxn>
                <a:cxn ang="0">
                  <a:pos x="39" y="7"/>
                </a:cxn>
                <a:cxn ang="0">
                  <a:pos x="45" y="4"/>
                </a:cxn>
                <a:cxn ang="0">
                  <a:pos x="35" y="9"/>
                </a:cxn>
                <a:cxn ang="0">
                  <a:pos x="26" y="5"/>
                </a:cxn>
                <a:cxn ang="0">
                  <a:pos x="24" y="40"/>
                </a:cxn>
                <a:cxn ang="0">
                  <a:pos x="23" y="56"/>
                </a:cxn>
                <a:cxn ang="0">
                  <a:pos x="38" y="49"/>
                </a:cxn>
                <a:cxn ang="0">
                  <a:pos x="38" y="69"/>
                </a:cxn>
                <a:cxn ang="0">
                  <a:pos x="38" y="49"/>
                </a:cxn>
                <a:cxn ang="0">
                  <a:pos x="55" y="86"/>
                </a:cxn>
                <a:cxn ang="0">
                  <a:pos x="22" y="86"/>
                </a:cxn>
                <a:cxn ang="0">
                  <a:pos x="41" y="72"/>
                </a:cxn>
                <a:cxn ang="0">
                  <a:pos x="56" y="82"/>
                </a:cxn>
                <a:cxn ang="0">
                  <a:pos x="42" y="47"/>
                </a:cxn>
                <a:cxn ang="0">
                  <a:pos x="54" y="56"/>
                </a:cxn>
                <a:cxn ang="0">
                  <a:pos x="7" y="23"/>
                </a:cxn>
                <a:cxn ang="0">
                  <a:pos x="21" y="18"/>
                </a:cxn>
                <a:cxn ang="0">
                  <a:pos x="7" y="23"/>
                </a:cxn>
                <a:cxn ang="0">
                  <a:pos x="35" y="72"/>
                </a:cxn>
                <a:cxn ang="0">
                  <a:pos x="22" y="62"/>
                </a:cxn>
                <a:cxn ang="0">
                  <a:pos x="35" y="102"/>
                </a:cxn>
                <a:cxn ang="0">
                  <a:pos x="20" y="89"/>
                </a:cxn>
                <a:cxn ang="0">
                  <a:pos x="38" y="104"/>
                </a:cxn>
                <a:cxn ang="0">
                  <a:pos x="21" y="118"/>
                </a:cxn>
                <a:cxn ang="0">
                  <a:pos x="41" y="102"/>
                </a:cxn>
                <a:cxn ang="0">
                  <a:pos x="58" y="116"/>
                </a:cxn>
                <a:cxn ang="0">
                  <a:pos x="56" y="23"/>
                </a:cxn>
                <a:cxn ang="0">
                  <a:pos x="73" y="18"/>
                </a:cxn>
              </a:cxnLst>
              <a:rect l="0" t="0" r="r" b="b"/>
              <a:pathLst>
                <a:path w="77" h="122">
                  <a:moveTo>
                    <a:pt x="75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2"/>
                    <a:pt x="73" y="11"/>
                    <a:pt x="71" y="11"/>
                  </a:cubicBezTo>
                  <a:cubicBezTo>
                    <a:pt x="70" y="11"/>
                    <a:pt x="69" y="12"/>
                    <a:pt x="69" y="13"/>
                  </a:cubicBezTo>
                  <a:cubicBezTo>
                    <a:pt x="68" y="12"/>
                    <a:pt x="67" y="11"/>
                    <a:pt x="66" y="11"/>
                  </a:cubicBezTo>
                  <a:cubicBezTo>
                    <a:pt x="64" y="11"/>
                    <a:pt x="63" y="12"/>
                    <a:pt x="63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"/>
                    <a:pt x="54" y="0"/>
                    <a:pt x="5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1"/>
                    <a:pt x="23" y="2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2"/>
                    <a:pt x="13" y="11"/>
                    <a:pt x="12" y="11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2"/>
                    <a:pt x="8" y="11"/>
                    <a:pt x="6" y="11"/>
                  </a:cubicBezTo>
                  <a:cubicBezTo>
                    <a:pt x="5" y="11"/>
                    <a:pt x="3" y="12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1" y="14"/>
                    <a:pt x="1" y="15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7"/>
                    <a:pt x="6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2"/>
                    <a:pt x="16" y="122"/>
                    <a:pt x="16" y="122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1" y="122"/>
                    <a:pt x="61" y="122"/>
                    <a:pt x="61" y="121"/>
                  </a:cubicBezTo>
                  <a:cubicBezTo>
                    <a:pt x="62" y="121"/>
                    <a:pt x="62" y="120"/>
                    <a:pt x="62" y="120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2" y="27"/>
                    <a:pt x="73" y="26"/>
                    <a:pt x="73" y="26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6"/>
                    <a:pt x="77" y="15"/>
                    <a:pt x="77" y="15"/>
                  </a:cubicBezTo>
                  <a:cubicBezTo>
                    <a:pt x="77" y="14"/>
                    <a:pt x="76" y="14"/>
                    <a:pt x="75" y="14"/>
                  </a:cubicBezTo>
                  <a:close/>
                  <a:moveTo>
                    <a:pt x="35" y="26"/>
                  </a:moveTo>
                  <a:cubicBezTo>
                    <a:pt x="24" y="33"/>
                    <a:pt x="24" y="33"/>
                    <a:pt x="24" y="33"/>
                  </a:cubicBezTo>
                  <a:cubicBezTo>
                    <a:pt x="25" y="20"/>
                    <a:pt x="25" y="20"/>
                    <a:pt x="25" y="20"/>
                  </a:cubicBezTo>
                  <a:lnTo>
                    <a:pt x="35" y="26"/>
                  </a:lnTo>
                  <a:close/>
                  <a:moveTo>
                    <a:pt x="27" y="17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39" y="24"/>
                    <a:pt x="39" y="24"/>
                    <a:pt x="39" y="24"/>
                  </a:cubicBezTo>
                  <a:lnTo>
                    <a:pt x="27" y="17"/>
                  </a:lnTo>
                  <a:close/>
                  <a:moveTo>
                    <a:pt x="39" y="28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26" y="37"/>
                    <a:pt x="26" y="37"/>
                    <a:pt x="26" y="37"/>
                  </a:cubicBezTo>
                  <a:lnTo>
                    <a:pt x="39" y="28"/>
                  </a:lnTo>
                  <a:close/>
                  <a:moveTo>
                    <a:pt x="42" y="26"/>
                  </a:moveTo>
                  <a:cubicBezTo>
                    <a:pt x="52" y="20"/>
                    <a:pt x="52" y="20"/>
                    <a:pt x="52" y="20"/>
                  </a:cubicBezTo>
                  <a:cubicBezTo>
                    <a:pt x="53" y="33"/>
                    <a:pt x="53" y="33"/>
                    <a:pt x="53" y="33"/>
                  </a:cubicBezTo>
                  <a:lnTo>
                    <a:pt x="42" y="26"/>
                  </a:lnTo>
                  <a:close/>
                  <a:moveTo>
                    <a:pt x="43" y="9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2" y="14"/>
                    <a:pt x="52" y="14"/>
                    <a:pt x="52" y="14"/>
                  </a:cubicBezTo>
                  <a:lnTo>
                    <a:pt x="43" y="9"/>
                  </a:lnTo>
                  <a:close/>
                  <a:moveTo>
                    <a:pt x="39" y="7"/>
                  </a:moveTo>
                  <a:cubicBezTo>
                    <a:pt x="32" y="4"/>
                    <a:pt x="32" y="4"/>
                    <a:pt x="32" y="4"/>
                  </a:cubicBezTo>
                  <a:cubicBezTo>
                    <a:pt x="45" y="4"/>
                    <a:pt x="45" y="4"/>
                    <a:pt x="45" y="4"/>
                  </a:cubicBezTo>
                  <a:lnTo>
                    <a:pt x="39" y="7"/>
                  </a:lnTo>
                  <a:close/>
                  <a:moveTo>
                    <a:pt x="35" y="9"/>
                  </a:moveTo>
                  <a:cubicBezTo>
                    <a:pt x="25" y="14"/>
                    <a:pt x="25" y="14"/>
                    <a:pt x="25" y="14"/>
                  </a:cubicBezTo>
                  <a:cubicBezTo>
                    <a:pt x="26" y="5"/>
                    <a:pt x="26" y="5"/>
                    <a:pt x="26" y="5"/>
                  </a:cubicBezTo>
                  <a:lnTo>
                    <a:pt x="35" y="9"/>
                  </a:lnTo>
                  <a:close/>
                  <a:moveTo>
                    <a:pt x="24" y="40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4" y="40"/>
                  </a:lnTo>
                  <a:close/>
                  <a:moveTo>
                    <a:pt x="38" y="49"/>
                  </a:moveTo>
                  <a:cubicBezTo>
                    <a:pt x="53" y="59"/>
                    <a:pt x="53" y="59"/>
                    <a:pt x="53" y="5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24" y="59"/>
                    <a:pt x="24" y="59"/>
                    <a:pt x="24" y="59"/>
                  </a:cubicBezTo>
                  <a:lnTo>
                    <a:pt x="38" y="49"/>
                  </a:lnTo>
                  <a:close/>
                  <a:moveTo>
                    <a:pt x="38" y="74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22" y="86"/>
                    <a:pt x="22" y="86"/>
                    <a:pt x="22" y="86"/>
                  </a:cubicBezTo>
                  <a:lnTo>
                    <a:pt x="38" y="74"/>
                  </a:lnTo>
                  <a:close/>
                  <a:moveTo>
                    <a:pt x="41" y="72"/>
                  </a:moveTo>
                  <a:cubicBezTo>
                    <a:pt x="55" y="62"/>
                    <a:pt x="55" y="62"/>
                    <a:pt x="55" y="62"/>
                  </a:cubicBezTo>
                  <a:cubicBezTo>
                    <a:pt x="56" y="82"/>
                    <a:pt x="56" y="82"/>
                    <a:pt x="56" y="82"/>
                  </a:cubicBezTo>
                  <a:lnTo>
                    <a:pt x="41" y="72"/>
                  </a:lnTo>
                  <a:close/>
                  <a:moveTo>
                    <a:pt x="42" y="47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4" y="56"/>
                    <a:pt x="54" y="56"/>
                    <a:pt x="54" y="56"/>
                  </a:cubicBezTo>
                  <a:lnTo>
                    <a:pt x="42" y="47"/>
                  </a:lnTo>
                  <a:close/>
                  <a:moveTo>
                    <a:pt x="7" y="23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23"/>
                    <a:pt x="21" y="23"/>
                    <a:pt x="21" y="23"/>
                  </a:cubicBezTo>
                  <a:lnTo>
                    <a:pt x="7" y="23"/>
                  </a:lnTo>
                  <a:close/>
                  <a:moveTo>
                    <a:pt x="22" y="62"/>
                  </a:moveTo>
                  <a:cubicBezTo>
                    <a:pt x="35" y="72"/>
                    <a:pt x="35" y="72"/>
                    <a:pt x="35" y="72"/>
                  </a:cubicBezTo>
                  <a:cubicBezTo>
                    <a:pt x="21" y="82"/>
                    <a:pt x="21" y="82"/>
                    <a:pt x="21" y="82"/>
                  </a:cubicBezTo>
                  <a:lnTo>
                    <a:pt x="22" y="62"/>
                  </a:lnTo>
                  <a:close/>
                  <a:moveTo>
                    <a:pt x="20" y="89"/>
                  </a:moveTo>
                  <a:cubicBezTo>
                    <a:pt x="35" y="102"/>
                    <a:pt x="35" y="102"/>
                    <a:pt x="35" y="102"/>
                  </a:cubicBezTo>
                  <a:cubicBezTo>
                    <a:pt x="19" y="116"/>
                    <a:pt x="19" y="116"/>
                    <a:pt x="19" y="116"/>
                  </a:cubicBezTo>
                  <a:lnTo>
                    <a:pt x="20" y="89"/>
                  </a:lnTo>
                  <a:close/>
                  <a:moveTo>
                    <a:pt x="21" y="118"/>
                  </a:moveTo>
                  <a:cubicBezTo>
                    <a:pt x="38" y="104"/>
                    <a:pt x="38" y="104"/>
                    <a:pt x="38" y="104"/>
                  </a:cubicBezTo>
                  <a:cubicBezTo>
                    <a:pt x="55" y="118"/>
                    <a:pt x="55" y="118"/>
                    <a:pt x="55" y="118"/>
                  </a:cubicBezTo>
                  <a:lnTo>
                    <a:pt x="21" y="118"/>
                  </a:lnTo>
                  <a:close/>
                  <a:moveTo>
                    <a:pt x="58" y="116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56" y="89"/>
                    <a:pt x="56" y="89"/>
                    <a:pt x="56" y="89"/>
                  </a:cubicBezTo>
                  <a:lnTo>
                    <a:pt x="58" y="116"/>
                  </a:lnTo>
                  <a:close/>
                  <a:moveTo>
                    <a:pt x="70" y="23"/>
                  </a:moveTo>
                  <a:cubicBezTo>
                    <a:pt x="56" y="23"/>
                    <a:pt x="56" y="23"/>
                    <a:pt x="56" y="2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73" y="18"/>
                    <a:pt x="73" y="18"/>
                    <a:pt x="73" y="18"/>
                  </a:cubicBezTo>
                  <a:lnTo>
                    <a:pt x="70" y="2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50" name="Freeform 150"/>
            <p:cNvSpPr>
              <a:spLocks noEditPoints="1"/>
            </p:cNvSpPr>
            <p:nvPr/>
          </p:nvSpPr>
          <p:spPr bwMode="auto">
            <a:xfrm>
              <a:off x="3676" y="1767"/>
              <a:ext cx="500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2"/>
                </a:cxn>
              </a:cxnLst>
              <a:rect l="0" t="0" r="r" b="b"/>
              <a:pathLst>
                <a:path w="208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8"/>
                    <a:pt x="5" y="104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3" y="49"/>
                    <a:pt x="203" y="104"/>
                  </a:cubicBezTo>
                  <a:cubicBezTo>
                    <a:pt x="203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53" name="Group 153"/>
          <p:cNvGrpSpPr>
            <a:grpSpLocks noChangeAspect="1"/>
          </p:cNvGrpSpPr>
          <p:nvPr/>
        </p:nvGrpSpPr>
        <p:grpSpPr bwMode="auto">
          <a:xfrm>
            <a:off x="6921500" y="2784475"/>
            <a:ext cx="828675" cy="827088"/>
            <a:chOff x="4363" y="1754"/>
            <a:chExt cx="522" cy="521"/>
          </a:xfrm>
        </p:grpSpPr>
        <p:sp>
          <p:nvSpPr>
            <p:cNvPr id="51354" name="Oval 154"/>
            <p:cNvSpPr>
              <a:spLocks noChangeArrowheads="1"/>
            </p:cNvSpPr>
            <p:nvPr/>
          </p:nvSpPr>
          <p:spPr bwMode="auto">
            <a:xfrm>
              <a:off x="4363" y="1754"/>
              <a:ext cx="522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55" name="Freeform 155"/>
            <p:cNvSpPr>
              <a:spLocks noEditPoints="1"/>
            </p:cNvSpPr>
            <p:nvPr/>
          </p:nvSpPr>
          <p:spPr bwMode="auto">
            <a:xfrm>
              <a:off x="4382" y="1773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56" name="Freeform 156"/>
            <p:cNvSpPr>
              <a:spLocks noEditPoints="1"/>
            </p:cNvSpPr>
            <p:nvPr/>
          </p:nvSpPr>
          <p:spPr bwMode="auto">
            <a:xfrm>
              <a:off x="4521" y="1857"/>
              <a:ext cx="184" cy="315"/>
            </a:xfrm>
            <a:custGeom>
              <a:avLst/>
              <a:gdLst/>
              <a:ahLst/>
              <a:cxnLst>
                <a:cxn ang="0">
                  <a:pos x="74" y="1"/>
                </a:cxn>
                <a:cxn ang="0">
                  <a:pos x="70" y="1"/>
                </a:cxn>
                <a:cxn ang="0">
                  <a:pos x="63" y="0"/>
                </a:cxn>
                <a:cxn ang="0">
                  <a:pos x="62" y="0"/>
                </a:cxn>
                <a:cxn ang="0">
                  <a:pos x="50" y="1"/>
                </a:cxn>
                <a:cxn ang="0">
                  <a:pos x="37" y="4"/>
                </a:cxn>
                <a:cxn ang="0">
                  <a:pos x="18" y="45"/>
                </a:cxn>
                <a:cxn ang="0">
                  <a:pos x="18" y="51"/>
                </a:cxn>
                <a:cxn ang="0">
                  <a:pos x="0" y="51"/>
                </a:cxn>
                <a:cxn ang="0">
                  <a:pos x="0" y="82"/>
                </a:cxn>
                <a:cxn ang="0">
                  <a:pos x="16" y="82"/>
                </a:cxn>
                <a:cxn ang="0">
                  <a:pos x="16" y="132"/>
                </a:cxn>
                <a:cxn ang="0">
                  <a:pos x="52" y="132"/>
                </a:cxn>
                <a:cxn ang="0">
                  <a:pos x="52" y="83"/>
                </a:cxn>
                <a:cxn ang="0">
                  <a:pos x="75" y="83"/>
                </a:cxn>
                <a:cxn ang="0">
                  <a:pos x="75" y="52"/>
                </a:cxn>
                <a:cxn ang="0">
                  <a:pos x="52" y="51"/>
                </a:cxn>
                <a:cxn ang="0">
                  <a:pos x="52" y="46"/>
                </a:cxn>
                <a:cxn ang="0">
                  <a:pos x="54" y="36"/>
                </a:cxn>
                <a:cxn ang="0">
                  <a:pos x="64" y="32"/>
                </a:cxn>
                <a:cxn ang="0">
                  <a:pos x="77" y="32"/>
                </a:cxn>
                <a:cxn ang="0">
                  <a:pos x="77" y="3"/>
                </a:cxn>
                <a:cxn ang="0">
                  <a:pos x="74" y="1"/>
                </a:cxn>
                <a:cxn ang="0">
                  <a:pos x="73" y="28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51" y="34"/>
                </a:cxn>
                <a:cxn ang="0">
                  <a:pos x="48" y="45"/>
                </a:cxn>
                <a:cxn ang="0">
                  <a:pos x="48" y="49"/>
                </a:cxn>
                <a:cxn ang="0">
                  <a:pos x="49" y="54"/>
                </a:cxn>
                <a:cxn ang="0">
                  <a:pos x="50" y="55"/>
                </a:cxn>
                <a:cxn ang="0">
                  <a:pos x="71" y="55"/>
                </a:cxn>
                <a:cxn ang="0">
                  <a:pos x="71" y="79"/>
                </a:cxn>
                <a:cxn ang="0">
                  <a:pos x="49" y="79"/>
                </a:cxn>
                <a:cxn ang="0">
                  <a:pos x="49" y="128"/>
                </a:cxn>
                <a:cxn ang="0">
                  <a:pos x="20" y="128"/>
                </a:cxn>
                <a:cxn ang="0">
                  <a:pos x="20" y="78"/>
                </a:cxn>
                <a:cxn ang="0">
                  <a:pos x="4" y="78"/>
                </a:cxn>
                <a:cxn ang="0">
                  <a:pos x="4" y="55"/>
                </a:cxn>
                <a:cxn ang="0">
                  <a:pos x="22" y="55"/>
                </a:cxn>
                <a:cxn ang="0">
                  <a:pos x="22" y="45"/>
                </a:cxn>
                <a:cxn ang="0">
                  <a:pos x="22" y="45"/>
                </a:cxn>
                <a:cxn ang="0">
                  <a:pos x="38" y="7"/>
                </a:cxn>
                <a:cxn ang="0">
                  <a:pos x="50" y="5"/>
                </a:cxn>
                <a:cxn ang="0">
                  <a:pos x="63" y="4"/>
                </a:cxn>
                <a:cxn ang="0">
                  <a:pos x="63" y="4"/>
                </a:cxn>
                <a:cxn ang="0">
                  <a:pos x="73" y="4"/>
                </a:cxn>
                <a:cxn ang="0">
                  <a:pos x="73" y="28"/>
                </a:cxn>
              </a:cxnLst>
              <a:rect l="0" t="0" r="r" b="b"/>
              <a:pathLst>
                <a:path w="77" h="132">
                  <a:moveTo>
                    <a:pt x="74" y="1"/>
                  </a:moveTo>
                  <a:cubicBezTo>
                    <a:pt x="73" y="1"/>
                    <a:pt x="71" y="1"/>
                    <a:pt x="70" y="1"/>
                  </a:cubicBezTo>
                  <a:cubicBezTo>
                    <a:pt x="67" y="0"/>
                    <a:pt x="64" y="0"/>
                    <a:pt x="63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58" y="1"/>
                    <a:pt x="54" y="1"/>
                    <a:pt x="50" y="1"/>
                  </a:cubicBezTo>
                  <a:cubicBezTo>
                    <a:pt x="45" y="2"/>
                    <a:pt x="41" y="2"/>
                    <a:pt x="37" y="4"/>
                  </a:cubicBezTo>
                  <a:cubicBezTo>
                    <a:pt x="18" y="10"/>
                    <a:pt x="18" y="29"/>
                    <a:pt x="18" y="45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0"/>
                    <a:pt x="52" y="46"/>
                    <a:pt x="52" y="46"/>
                  </a:cubicBezTo>
                  <a:cubicBezTo>
                    <a:pt x="52" y="41"/>
                    <a:pt x="53" y="38"/>
                    <a:pt x="54" y="36"/>
                  </a:cubicBezTo>
                  <a:cubicBezTo>
                    <a:pt x="56" y="33"/>
                    <a:pt x="59" y="32"/>
                    <a:pt x="64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1"/>
                    <a:pt x="75" y="1"/>
                    <a:pt x="74" y="1"/>
                  </a:cubicBezTo>
                  <a:close/>
                  <a:moveTo>
                    <a:pt x="73" y="28"/>
                  </a:move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1" y="28"/>
                    <a:pt x="54" y="28"/>
                    <a:pt x="51" y="34"/>
                  </a:cubicBezTo>
                  <a:cubicBezTo>
                    <a:pt x="49" y="37"/>
                    <a:pt x="48" y="40"/>
                    <a:pt x="48" y="45"/>
                  </a:cubicBezTo>
                  <a:cubicBezTo>
                    <a:pt x="48" y="46"/>
                    <a:pt x="48" y="48"/>
                    <a:pt x="48" y="49"/>
                  </a:cubicBezTo>
                  <a:cubicBezTo>
                    <a:pt x="48" y="53"/>
                    <a:pt x="48" y="54"/>
                    <a:pt x="49" y="5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128"/>
                    <a:pt x="49" y="128"/>
                    <a:pt x="49" y="128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30"/>
                    <a:pt x="22" y="12"/>
                    <a:pt x="38" y="7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4" y="4"/>
                    <a:pt x="58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5" y="4"/>
                    <a:pt x="71" y="4"/>
                    <a:pt x="73" y="4"/>
                  </a:cubicBezTo>
                  <a:lnTo>
                    <a:pt x="73" y="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59" name="Group 159"/>
          <p:cNvGrpSpPr>
            <a:grpSpLocks noChangeAspect="1"/>
          </p:cNvGrpSpPr>
          <p:nvPr/>
        </p:nvGrpSpPr>
        <p:grpSpPr bwMode="auto">
          <a:xfrm>
            <a:off x="8058151" y="2813048"/>
            <a:ext cx="768350" cy="768350"/>
            <a:chOff x="5069" y="1772"/>
            <a:chExt cx="484" cy="484"/>
          </a:xfrm>
        </p:grpSpPr>
        <p:sp>
          <p:nvSpPr>
            <p:cNvPr id="51360" name="Freeform 160"/>
            <p:cNvSpPr>
              <a:spLocks noEditPoints="1"/>
            </p:cNvSpPr>
            <p:nvPr/>
          </p:nvSpPr>
          <p:spPr bwMode="auto">
            <a:xfrm>
              <a:off x="5069" y="177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61" name="Freeform 161"/>
            <p:cNvSpPr>
              <a:spLocks noEditPoints="1"/>
            </p:cNvSpPr>
            <p:nvPr/>
          </p:nvSpPr>
          <p:spPr bwMode="auto">
            <a:xfrm>
              <a:off x="5208" y="1856"/>
              <a:ext cx="185" cy="317"/>
            </a:xfrm>
            <a:custGeom>
              <a:avLst/>
              <a:gdLst/>
              <a:ahLst/>
              <a:cxnLst>
                <a:cxn ang="0">
                  <a:pos x="74" y="1"/>
                </a:cxn>
                <a:cxn ang="0">
                  <a:pos x="70" y="1"/>
                </a:cxn>
                <a:cxn ang="0">
                  <a:pos x="63" y="0"/>
                </a:cxn>
                <a:cxn ang="0">
                  <a:pos x="62" y="0"/>
                </a:cxn>
                <a:cxn ang="0">
                  <a:pos x="50" y="1"/>
                </a:cxn>
                <a:cxn ang="0">
                  <a:pos x="37" y="4"/>
                </a:cxn>
                <a:cxn ang="0">
                  <a:pos x="18" y="45"/>
                </a:cxn>
                <a:cxn ang="0">
                  <a:pos x="18" y="51"/>
                </a:cxn>
                <a:cxn ang="0">
                  <a:pos x="0" y="51"/>
                </a:cxn>
                <a:cxn ang="0">
                  <a:pos x="0" y="82"/>
                </a:cxn>
                <a:cxn ang="0">
                  <a:pos x="16" y="82"/>
                </a:cxn>
                <a:cxn ang="0">
                  <a:pos x="16" y="132"/>
                </a:cxn>
                <a:cxn ang="0">
                  <a:pos x="52" y="132"/>
                </a:cxn>
                <a:cxn ang="0">
                  <a:pos x="52" y="83"/>
                </a:cxn>
                <a:cxn ang="0">
                  <a:pos x="75" y="83"/>
                </a:cxn>
                <a:cxn ang="0">
                  <a:pos x="75" y="52"/>
                </a:cxn>
                <a:cxn ang="0">
                  <a:pos x="52" y="51"/>
                </a:cxn>
                <a:cxn ang="0">
                  <a:pos x="52" y="46"/>
                </a:cxn>
                <a:cxn ang="0">
                  <a:pos x="54" y="36"/>
                </a:cxn>
                <a:cxn ang="0">
                  <a:pos x="64" y="32"/>
                </a:cxn>
                <a:cxn ang="0">
                  <a:pos x="77" y="32"/>
                </a:cxn>
                <a:cxn ang="0">
                  <a:pos x="77" y="3"/>
                </a:cxn>
                <a:cxn ang="0">
                  <a:pos x="74" y="1"/>
                </a:cxn>
                <a:cxn ang="0">
                  <a:pos x="73" y="28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51" y="34"/>
                </a:cxn>
                <a:cxn ang="0">
                  <a:pos x="48" y="45"/>
                </a:cxn>
                <a:cxn ang="0">
                  <a:pos x="48" y="49"/>
                </a:cxn>
                <a:cxn ang="0">
                  <a:pos x="49" y="54"/>
                </a:cxn>
                <a:cxn ang="0">
                  <a:pos x="50" y="55"/>
                </a:cxn>
                <a:cxn ang="0">
                  <a:pos x="71" y="55"/>
                </a:cxn>
                <a:cxn ang="0">
                  <a:pos x="71" y="79"/>
                </a:cxn>
                <a:cxn ang="0">
                  <a:pos x="49" y="79"/>
                </a:cxn>
                <a:cxn ang="0">
                  <a:pos x="49" y="128"/>
                </a:cxn>
                <a:cxn ang="0">
                  <a:pos x="20" y="128"/>
                </a:cxn>
                <a:cxn ang="0">
                  <a:pos x="20" y="78"/>
                </a:cxn>
                <a:cxn ang="0">
                  <a:pos x="4" y="78"/>
                </a:cxn>
                <a:cxn ang="0">
                  <a:pos x="4" y="55"/>
                </a:cxn>
                <a:cxn ang="0">
                  <a:pos x="22" y="55"/>
                </a:cxn>
                <a:cxn ang="0">
                  <a:pos x="22" y="45"/>
                </a:cxn>
                <a:cxn ang="0">
                  <a:pos x="22" y="45"/>
                </a:cxn>
                <a:cxn ang="0">
                  <a:pos x="38" y="7"/>
                </a:cxn>
                <a:cxn ang="0">
                  <a:pos x="50" y="5"/>
                </a:cxn>
                <a:cxn ang="0">
                  <a:pos x="63" y="4"/>
                </a:cxn>
                <a:cxn ang="0">
                  <a:pos x="63" y="4"/>
                </a:cxn>
                <a:cxn ang="0">
                  <a:pos x="73" y="4"/>
                </a:cxn>
                <a:cxn ang="0">
                  <a:pos x="73" y="28"/>
                </a:cxn>
              </a:cxnLst>
              <a:rect l="0" t="0" r="r" b="b"/>
              <a:pathLst>
                <a:path w="77" h="132">
                  <a:moveTo>
                    <a:pt x="74" y="1"/>
                  </a:moveTo>
                  <a:cubicBezTo>
                    <a:pt x="73" y="1"/>
                    <a:pt x="71" y="1"/>
                    <a:pt x="70" y="1"/>
                  </a:cubicBezTo>
                  <a:cubicBezTo>
                    <a:pt x="67" y="0"/>
                    <a:pt x="64" y="0"/>
                    <a:pt x="63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58" y="1"/>
                    <a:pt x="54" y="1"/>
                    <a:pt x="50" y="1"/>
                  </a:cubicBezTo>
                  <a:cubicBezTo>
                    <a:pt x="45" y="2"/>
                    <a:pt x="41" y="2"/>
                    <a:pt x="37" y="4"/>
                  </a:cubicBezTo>
                  <a:cubicBezTo>
                    <a:pt x="18" y="10"/>
                    <a:pt x="18" y="29"/>
                    <a:pt x="18" y="45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0"/>
                    <a:pt x="52" y="46"/>
                    <a:pt x="52" y="46"/>
                  </a:cubicBezTo>
                  <a:cubicBezTo>
                    <a:pt x="52" y="41"/>
                    <a:pt x="53" y="38"/>
                    <a:pt x="54" y="36"/>
                  </a:cubicBezTo>
                  <a:cubicBezTo>
                    <a:pt x="56" y="33"/>
                    <a:pt x="59" y="32"/>
                    <a:pt x="64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1"/>
                    <a:pt x="75" y="1"/>
                    <a:pt x="74" y="1"/>
                  </a:cubicBezTo>
                  <a:close/>
                  <a:moveTo>
                    <a:pt x="73" y="28"/>
                  </a:move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1" y="28"/>
                    <a:pt x="54" y="28"/>
                    <a:pt x="51" y="34"/>
                  </a:cubicBezTo>
                  <a:cubicBezTo>
                    <a:pt x="49" y="37"/>
                    <a:pt x="48" y="40"/>
                    <a:pt x="48" y="45"/>
                  </a:cubicBezTo>
                  <a:cubicBezTo>
                    <a:pt x="48" y="46"/>
                    <a:pt x="48" y="48"/>
                    <a:pt x="48" y="49"/>
                  </a:cubicBezTo>
                  <a:cubicBezTo>
                    <a:pt x="48" y="53"/>
                    <a:pt x="48" y="54"/>
                    <a:pt x="49" y="5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128"/>
                    <a:pt x="49" y="128"/>
                    <a:pt x="49" y="128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30"/>
                    <a:pt x="22" y="12"/>
                    <a:pt x="38" y="7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4" y="4"/>
                    <a:pt x="58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5" y="4"/>
                    <a:pt x="71" y="4"/>
                    <a:pt x="73" y="4"/>
                  </a:cubicBezTo>
                  <a:lnTo>
                    <a:pt x="73" y="2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364" name="Group 164"/>
          <p:cNvGrpSpPr>
            <a:grpSpLocks noChangeAspect="1"/>
          </p:cNvGrpSpPr>
          <p:nvPr/>
        </p:nvGrpSpPr>
        <p:grpSpPr bwMode="auto">
          <a:xfrm>
            <a:off x="334963" y="4070350"/>
            <a:ext cx="827087" cy="827088"/>
            <a:chOff x="211" y="2564"/>
            <a:chExt cx="521" cy="521"/>
          </a:xfrm>
        </p:grpSpPr>
        <p:sp>
          <p:nvSpPr>
            <p:cNvPr id="51365" name="Oval 165"/>
            <p:cNvSpPr>
              <a:spLocks noChangeArrowheads="1"/>
            </p:cNvSpPr>
            <p:nvPr/>
          </p:nvSpPr>
          <p:spPr bwMode="auto">
            <a:xfrm>
              <a:off x="211" y="2564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66" name="Freeform 166"/>
            <p:cNvSpPr>
              <a:spLocks noEditPoints="1"/>
            </p:cNvSpPr>
            <p:nvPr/>
          </p:nvSpPr>
          <p:spPr bwMode="auto">
            <a:xfrm>
              <a:off x="230" y="2583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67" name="Freeform 167"/>
            <p:cNvSpPr>
              <a:spLocks noEditPoints="1"/>
            </p:cNvSpPr>
            <p:nvPr/>
          </p:nvSpPr>
          <p:spPr bwMode="auto">
            <a:xfrm>
              <a:off x="282" y="2669"/>
              <a:ext cx="343" cy="306"/>
            </a:xfrm>
            <a:custGeom>
              <a:avLst/>
              <a:gdLst/>
              <a:ahLst/>
              <a:cxnLst>
                <a:cxn ang="0">
                  <a:pos x="134" y="46"/>
                </a:cxn>
                <a:cxn ang="0">
                  <a:pos x="141" y="20"/>
                </a:cxn>
                <a:cxn ang="0">
                  <a:pos x="112" y="32"/>
                </a:cxn>
                <a:cxn ang="0">
                  <a:pos x="126" y="3"/>
                </a:cxn>
                <a:cxn ang="0">
                  <a:pos x="117" y="2"/>
                </a:cxn>
                <a:cxn ang="0">
                  <a:pos x="92" y="31"/>
                </a:cxn>
                <a:cxn ang="0">
                  <a:pos x="52" y="27"/>
                </a:cxn>
                <a:cxn ang="0">
                  <a:pos x="60" y="15"/>
                </a:cxn>
                <a:cxn ang="0">
                  <a:pos x="71" y="20"/>
                </a:cxn>
                <a:cxn ang="0">
                  <a:pos x="78" y="12"/>
                </a:cxn>
                <a:cxn ang="0">
                  <a:pos x="77" y="6"/>
                </a:cxn>
                <a:cxn ang="0">
                  <a:pos x="30" y="13"/>
                </a:cxn>
                <a:cxn ang="0">
                  <a:pos x="30" y="13"/>
                </a:cxn>
                <a:cxn ang="0">
                  <a:pos x="16" y="29"/>
                </a:cxn>
                <a:cxn ang="0">
                  <a:pos x="23" y="35"/>
                </a:cxn>
                <a:cxn ang="0">
                  <a:pos x="20" y="38"/>
                </a:cxn>
                <a:cxn ang="0">
                  <a:pos x="14" y="32"/>
                </a:cxn>
                <a:cxn ang="0">
                  <a:pos x="2" y="46"/>
                </a:cxn>
                <a:cxn ang="0">
                  <a:pos x="3" y="51"/>
                </a:cxn>
                <a:cxn ang="0">
                  <a:pos x="25" y="70"/>
                </a:cxn>
                <a:cxn ang="0">
                  <a:pos x="37" y="56"/>
                </a:cxn>
                <a:cxn ang="0">
                  <a:pos x="36" y="51"/>
                </a:cxn>
                <a:cxn ang="0">
                  <a:pos x="36" y="48"/>
                </a:cxn>
                <a:cxn ang="0">
                  <a:pos x="58" y="65"/>
                </a:cxn>
                <a:cxn ang="0">
                  <a:pos x="33" y="128"/>
                </a:cxn>
                <a:cxn ang="0">
                  <a:pos x="86" y="90"/>
                </a:cxn>
                <a:cxn ang="0">
                  <a:pos x="127" y="125"/>
                </a:cxn>
                <a:cxn ang="0">
                  <a:pos x="140" y="109"/>
                </a:cxn>
                <a:cxn ang="0">
                  <a:pos x="140" y="104"/>
                </a:cxn>
                <a:cxn ang="0">
                  <a:pos x="96" y="67"/>
                </a:cxn>
                <a:cxn ang="0">
                  <a:pos x="117" y="53"/>
                </a:cxn>
                <a:cxn ang="0">
                  <a:pos x="37" y="43"/>
                </a:cxn>
                <a:cxn ang="0">
                  <a:pos x="32" y="52"/>
                </a:cxn>
                <a:cxn ang="0">
                  <a:pos x="25" y="65"/>
                </a:cxn>
                <a:cxn ang="0">
                  <a:pos x="14" y="37"/>
                </a:cxn>
                <a:cxn ang="0">
                  <a:pos x="20" y="41"/>
                </a:cxn>
                <a:cxn ang="0">
                  <a:pos x="26" y="32"/>
                </a:cxn>
                <a:cxn ang="0">
                  <a:pos x="32" y="15"/>
                </a:cxn>
                <a:cxn ang="0">
                  <a:pos x="75" y="9"/>
                </a:cxn>
                <a:cxn ang="0">
                  <a:pos x="60" y="11"/>
                </a:cxn>
                <a:cxn ang="0">
                  <a:pos x="56" y="35"/>
                </a:cxn>
                <a:cxn ang="0">
                  <a:pos x="44" y="48"/>
                </a:cxn>
                <a:cxn ang="0">
                  <a:pos x="33" y="123"/>
                </a:cxn>
                <a:cxn ang="0">
                  <a:pos x="61" y="67"/>
                </a:cxn>
                <a:cxn ang="0">
                  <a:pos x="33" y="123"/>
                </a:cxn>
                <a:cxn ang="0">
                  <a:pos x="137" y="107"/>
                </a:cxn>
                <a:cxn ang="0">
                  <a:pos x="88" y="87"/>
                </a:cxn>
                <a:cxn ang="0">
                  <a:pos x="82" y="81"/>
                </a:cxn>
                <a:cxn ang="0">
                  <a:pos x="79" y="78"/>
                </a:cxn>
                <a:cxn ang="0">
                  <a:pos x="63" y="64"/>
                </a:cxn>
                <a:cxn ang="0">
                  <a:pos x="47" y="50"/>
                </a:cxn>
                <a:cxn ang="0">
                  <a:pos x="75" y="53"/>
                </a:cxn>
                <a:cxn ang="0">
                  <a:pos x="92" y="68"/>
                </a:cxn>
                <a:cxn ang="0">
                  <a:pos x="94" y="69"/>
                </a:cxn>
                <a:cxn ang="0">
                  <a:pos x="99" y="74"/>
                </a:cxn>
                <a:cxn ang="0">
                  <a:pos x="94" y="64"/>
                </a:cxn>
                <a:cxn ang="0">
                  <a:pos x="96" y="33"/>
                </a:cxn>
                <a:cxn ang="0">
                  <a:pos x="103" y="11"/>
                </a:cxn>
                <a:cxn ang="0">
                  <a:pos x="119" y="5"/>
                </a:cxn>
                <a:cxn ang="0">
                  <a:pos x="109" y="35"/>
                </a:cxn>
                <a:cxn ang="0">
                  <a:pos x="139" y="28"/>
                </a:cxn>
                <a:cxn ang="0">
                  <a:pos x="117" y="50"/>
                </a:cxn>
                <a:cxn ang="0">
                  <a:pos x="110" y="48"/>
                </a:cxn>
              </a:cxnLst>
              <a:rect l="0" t="0" r="r" b="b"/>
              <a:pathLst>
                <a:path w="143" h="128">
                  <a:moveTo>
                    <a:pt x="117" y="53"/>
                  </a:moveTo>
                  <a:cubicBezTo>
                    <a:pt x="123" y="53"/>
                    <a:pt x="130" y="51"/>
                    <a:pt x="134" y="46"/>
                  </a:cubicBezTo>
                  <a:cubicBezTo>
                    <a:pt x="140" y="40"/>
                    <a:pt x="143" y="32"/>
                    <a:pt x="142" y="23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09" y="19"/>
                    <a:pt x="109" y="19"/>
                    <a:pt x="109" y="19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1" y="2"/>
                    <a:pt x="119" y="2"/>
                    <a:pt x="117" y="2"/>
                  </a:cubicBezTo>
                  <a:cubicBezTo>
                    <a:pt x="111" y="2"/>
                    <a:pt x="105" y="4"/>
                    <a:pt x="100" y="8"/>
                  </a:cubicBezTo>
                  <a:cubicBezTo>
                    <a:pt x="94" y="14"/>
                    <a:pt x="91" y="23"/>
                    <a:pt x="92" y="31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64" y="38"/>
                    <a:pt x="54" y="29"/>
                    <a:pt x="52" y="27"/>
                  </a:cubicBezTo>
                  <a:cubicBezTo>
                    <a:pt x="49" y="24"/>
                    <a:pt x="48" y="21"/>
                    <a:pt x="49" y="19"/>
                  </a:cubicBezTo>
                  <a:cubicBezTo>
                    <a:pt x="50" y="16"/>
                    <a:pt x="55" y="15"/>
                    <a:pt x="60" y="15"/>
                  </a:cubicBezTo>
                  <a:cubicBezTo>
                    <a:pt x="64" y="15"/>
                    <a:pt x="67" y="16"/>
                    <a:pt x="68" y="17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2" y="0"/>
                    <a:pt x="55" y="0"/>
                  </a:cubicBezTo>
                  <a:cubicBezTo>
                    <a:pt x="46" y="0"/>
                    <a:pt x="37" y="4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6"/>
                    <a:pt x="22" y="36"/>
                  </a:cubicBezTo>
                  <a:cubicBezTo>
                    <a:pt x="21" y="37"/>
                    <a:pt x="21" y="37"/>
                    <a:pt x="20" y="38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49"/>
                    <a:pt x="36" y="48"/>
                  </a:cubicBezTo>
                  <a:cubicBezTo>
                    <a:pt x="36" y="48"/>
                    <a:pt x="37" y="47"/>
                    <a:pt x="37" y="47"/>
                  </a:cubicBezTo>
                  <a:cubicBezTo>
                    <a:pt x="39" y="49"/>
                    <a:pt x="48" y="56"/>
                    <a:pt x="58" y="65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2" y="86"/>
                    <a:pt x="84" y="88"/>
                    <a:pt x="86" y="90"/>
                  </a:cubicBezTo>
                  <a:cubicBezTo>
                    <a:pt x="95" y="100"/>
                    <a:pt x="111" y="115"/>
                    <a:pt x="124" y="123"/>
                  </a:cubicBezTo>
                  <a:cubicBezTo>
                    <a:pt x="127" y="125"/>
                    <a:pt x="127" y="125"/>
                    <a:pt x="127" y="125"/>
                  </a:cubicBezTo>
                  <a:cubicBezTo>
                    <a:pt x="129" y="123"/>
                    <a:pt x="129" y="123"/>
                    <a:pt x="129" y="123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30" y="94"/>
                    <a:pt x="114" y="79"/>
                    <a:pt x="102" y="71"/>
                  </a:cubicBezTo>
                  <a:cubicBezTo>
                    <a:pt x="100" y="70"/>
                    <a:pt x="98" y="68"/>
                    <a:pt x="96" y="67"/>
                  </a:cubicBezTo>
                  <a:cubicBezTo>
                    <a:pt x="111" y="53"/>
                    <a:pt x="111" y="53"/>
                    <a:pt x="111" y="53"/>
                  </a:cubicBezTo>
                  <a:cubicBezTo>
                    <a:pt x="113" y="53"/>
                    <a:pt x="115" y="53"/>
                    <a:pt x="117" y="53"/>
                  </a:cubicBezTo>
                  <a:close/>
                  <a:moveTo>
                    <a:pt x="39" y="44"/>
                  </a:moveTo>
                  <a:cubicBezTo>
                    <a:pt x="39" y="44"/>
                    <a:pt x="38" y="43"/>
                    <a:pt x="37" y="43"/>
                  </a:cubicBezTo>
                  <a:cubicBezTo>
                    <a:pt x="36" y="43"/>
                    <a:pt x="34" y="44"/>
                    <a:pt x="33" y="46"/>
                  </a:cubicBezTo>
                  <a:cubicBezTo>
                    <a:pt x="31" y="48"/>
                    <a:pt x="31" y="51"/>
                    <a:pt x="32" y="52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20" y="41"/>
                    <a:pt x="20" y="41"/>
                  </a:cubicBezTo>
                  <a:cubicBezTo>
                    <a:pt x="22" y="41"/>
                    <a:pt x="24" y="40"/>
                    <a:pt x="25" y="39"/>
                  </a:cubicBezTo>
                  <a:cubicBezTo>
                    <a:pt x="27" y="37"/>
                    <a:pt x="27" y="33"/>
                    <a:pt x="26" y="32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0" y="7"/>
                    <a:pt x="47" y="3"/>
                    <a:pt x="55" y="3"/>
                  </a:cubicBezTo>
                  <a:cubicBezTo>
                    <a:pt x="62" y="3"/>
                    <a:pt x="68" y="6"/>
                    <a:pt x="75" y="9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9" y="12"/>
                    <a:pt x="64" y="11"/>
                    <a:pt x="60" y="11"/>
                  </a:cubicBezTo>
                  <a:cubicBezTo>
                    <a:pt x="50" y="11"/>
                    <a:pt x="39" y="17"/>
                    <a:pt x="49" y="30"/>
                  </a:cubicBezTo>
                  <a:cubicBezTo>
                    <a:pt x="49" y="30"/>
                    <a:pt x="52" y="32"/>
                    <a:pt x="56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1" y="46"/>
                    <a:pt x="39" y="44"/>
                    <a:pt x="39" y="44"/>
                  </a:cubicBezTo>
                  <a:close/>
                  <a:moveTo>
                    <a:pt x="33" y="123"/>
                  </a:moveTo>
                  <a:cubicBezTo>
                    <a:pt x="19" y="107"/>
                    <a:pt x="19" y="107"/>
                    <a:pt x="19" y="10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6" y="72"/>
                    <a:pt x="72" y="76"/>
                    <a:pt x="76" y="81"/>
                  </a:cubicBezTo>
                  <a:lnTo>
                    <a:pt x="33" y="123"/>
                  </a:lnTo>
                  <a:close/>
                  <a:moveTo>
                    <a:pt x="99" y="74"/>
                  </a:moveTo>
                  <a:cubicBezTo>
                    <a:pt x="111" y="82"/>
                    <a:pt x="127" y="96"/>
                    <a:pt x="137" y="107"/>
                  </a:cubicBezTo>
                  <a:cubicBezTo>
                    <a:pt x="126" y="120"/>
                    <a:pt x="126" y="120"/>
                    <a:pt x="126" y="120"/>
                  </a:cubicBezTo>
                  <a:cubicBezTo>
                    <a:pt x="114" y="113"/>
                    <a:pt x="98" y="98"/>
                    <a:pt x="88" y="87"/>
                  </a:cubicBezTo>
                  <a:cubicBezTo>
                    <a:pt x="87" y="85"/>
                    <a:pt x="84" y="83"/>
                    <a:pt x="82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0"/>
                    <a:pt x="80" y="79"/>
                    <a:pt x="79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4" y="74"/>
                    <a:pt x="69" y="69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57" y="59"/>
                    <a:pt x="51" y="54"/>
                    <a:pt x="47" y="5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62" y="42"/>
                    <a:pt x="69" y="47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81" y="58"/>
                    <a:pt x="87" y="64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3" y="69"/>
                    <a:pt x="93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6" y="71"/>
                    <a:pt x="98" y="73"/>
                    <a:pt x="99" y="74"/>
                  </a:cubicBezTo>
                  <a:close/>
                  <a:moveTo>
                    <a:pt x="110" y="48"/>
                  </a:moveTo>
                  <a:cubicBezTo>
                    <a:pt x="94" y="64"/>
                    <a:pt x="94" y="64"/>
                    <a:pt x="94" y="64"/>
                  </a:cubicBezTo>
                  <a:cubicBezTo>
                    <a:pt x="89" y="60"/>
                    <a:pt x="83" y="55"/>
                    <a:pt x="78" y="51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24"/>
                    <a:pt x="97" y="16"/>
                    <a:pt x="103" y="11"/>
                  </a:cubicBezTo>
                  <a:cubicBezTo>
                    <a:pt x="107" y="7"/>
                    <a:pt x="112" y="5"/>
                    <a:pt x="117" y="5"/>
                  </a:cubicBezTo>
                  <a:cubicBezTo>
                    <a:pt x="118" y="5"/>
                    <a:pt x="118" y="5"/>
                    <a:pt x="119" y="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34"/>
                    <a:pt x="136" y="40"/>
                    <a:pt x="132" y="44"/>
                  </a:cubicBezTo>
                  <a:cubicBezTo>
                    <a:pt x="128" y="48"/>
                    <a:pt x="123" y="50"/>
                    <a:pt x="117" y="50"/>
                  </a:cubicBezTo>
                  <a:cubicBezTo>
                    <a:pt x="115" y="50"/>
                    <a:pt x="113" y="49"/>
                    <a:pt x="111" y="49"/>
                  </a:cubicBezTo>
                  <a:lnTo>
                    <a:pt x="110" y="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370" name="Group 170"/>
          <p:cNvGrpSpPr>
            <a:grpSpLocks noChangeAspect="1"/>
          </p:cNvGrpSpPr>
          <p:nvPr/>
        </p:nvGrpSpPr>
        <p:grpSpPr bwMode="auto">
          <a:xfrm>
            <a:off x="1459705" y="4098922"/>
            <a:ext cx="768350" cy="768350"/>
            <a:chOff x="914" y="2582"/>
            <a:chExt cx="484" cy="484"/>
          </a:xfrm>
        </p:grpSpPr>
        <p:sp>
          <p:nvSpPr>
            <p:cNvPr id="51371" name="Freeform 171"/>
            <p:cNvSpPr>
              <a:spLocks noEditPoints="1"/>
            </p:cNvSpPr>
            <p:nvPr/>
          </p:nvSpPr>
          <p:spPr bwMode="auto">
            <a:xfrm>
              <a:off x="914" y="2582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72" name="Freeform 172"/>
            <p:cNvSpPr>
              <a:spLocks noEditPoints="1"/>
            </p:cNvSpPr>
            <p:nvPr/>
          </p:nvSpPr>
          <p:spPr bwMode="auto">
            <a:xfrm>
              <a:off x="967" y="2669"/>
              <a:ext cx="343" cy="306"/>
            </a:xfrm>
            <a:custGeom>
              <a:avLst/>
              <a:gdLst/>
              <a:ahLst/>
              <a:cxnLst>
                <a:cxn ang="0">
                  <a:pos x="134" y="46"/>
                </a:cxn>
                <a:cxn ang="0">
                  <a:pos x="141" y="20"/>
                </a:cxn>
                <a:cxn ang="0">
                  <a:pos x="112" y="32"/>
                </a:cxn>
                <a:cxn ang="0">
                  <a:pos x="126" y="3"/>
                </a:cxn>
                <a:cxn ang="0">
                  <a:pos x="117" y="2"/>
                </a:cxn>
                <a:cxn ang="0">
                  <a:pos x="92" y="31"/>
                </a:cxn>
                <a:cxn ang="0">
                  <a:pos x="52" y="27"/>
                </a:cxn>
                <a:cxn ang="0">
                  <a:pos x="60" y="15"/>
                </a:cxn>
                <a:cxn ang="0">
                  <a:pos x="71" y="20"/>
                </a:cxn>
                <a:cxn ang="0">
                  <a:pos x="78" y="12"/>
                </a:cxn>
                <a:cxn ang="0">
                  <a:pos x="77" y="6"/>
                </a:cxn>
                <a:cxn ang="0">
                  <a:pos x="30" y="13"/>
                </a:cxn>
                <a:cxn ang="0">
                  <a:pos x="30" y="13"/>
                </a:cxn>
                <a:cxn ang="0">
                  <a:pos x="16" y="29"/>
                </a:cxn>
                <a:cxn ang="0">
                  <a:pos x="23" y="35"/>
                </a:cxn>
                <a:cxn ang="0">
                  <a:pos x="20" y="38"/>
                </a:cxn>
                <a:cxn ang="0">
                  <a:pos x="14" y="32"/>
                </a:cxn>
                <a:cxn ang="0">
                  <a:pos x="2" y="46"/>
                </a:cxn>
                <a:cxn ang="0">
                  <a:pos x="3" y="51"/>
                </a:cxn>
                <a:cxn ang="0">
                  <a:pos x="25" y="70"/>
                </a:cxn>
                <a:cxn ang="0">
                  <a:pos x="37" y="56"/>
                </a:cxn>
                <a:cxn ang="0">
                  <a:pos x="36" y="51"/>
                </a:cxn>
                <a:cxn ang="0">
                  <a:pos x="36" y="48"/>
                </a:cxn>
                <a:cxn ang="0">
                  <a:pos x="58" y="65"/>
                </a:cxn>
                <a:cxn ang="0">
                  <a:pos x="33" y="128"/>
                </a:cxn>
                <a:cxn ang="0">
                  <a:pos x="86" y="90"/>
                </a:cxn>
                <a:cxn ang="0">
                  <a:pos x="127" y="125"/>
                </a:cxn>
                <a:cxn ang="0">
                  <a:pos x="140" y="109"/>
                </a:cxn>
                <a:cxn ang="0">
                  <a:pos x="140" y="104"/>
                </a:cxn>
                <a:cxn ang="0">
                  <a:pos x="96" y="67"/>
                </a:cxn>
                <a:cxn ang="0">
                  <a:pos x="117" y="53"/>
                </a:cxn>
                <a:cxn ang="0">
                  <a:pos x="37" y="43"/>
                </a:cxn>
                <a:cxn ang="0">
                  <a:pos x="32" y="52"/>
                </a:cxn>
                <a:cxn ang="0">
                  <a:pos x="25" y="65"/>
                </a:cxn>
                <a:cxn ang="0">
                  <a:pos x="14" y="37"/>
                </a:cxn>
                <a:cxn ang="0">
                  <a:pos x="20" y="41"/>
                </a:cxn>
                <a:cxn ang="0">
                  <a:pos x="26" y="32"/>
                </a:cxn>
                <a:cxn ang="0">
                  <a:pos x="32" y="15"/>
                </a:cxn>
                <a:cxn ang="0">
                  <a:pos x="75" y="9"/>
                </a:cxn>
                <a:cxn ang="0">
                  <a:pos x="60" y="11"/>
                </a:cxn>
                <a:cxn ang="0">
                  <a:pos x="56" y="35"/>
                </a:cxn>
                <a:cxn ang="0">
                  <a:pos x="44" y="48"/>
                </a:cxn>
                <a:cxn ang="0">
                  <a:pos x="33" y="123"/>
                </a:cxn>
                <a:cxn ang="0">
                  <a:pos x="61" y="67"/>
                </a:cxn>
                <a:cxn ang="0">
                  <a:pos x="33" y="123"/>
                </a:cxn>
                <a:cxn ang="0">
                  <a:pos x="137" y="107"/>
                </a:cxn>
                <a:cxn ang="0">
                  <a:pos x="88" y="87"/>
                </a:cxn>
                <a:cxn ang="0">
                  <a:pos x="82" y="81"/>
                </a:cxn>
                <a:cxn ang="0">
                  <a:pos x="79" y="78"/>
                </a:cxn>
                <a:cxn ang="0">
                  <a:pos x="63" y="64"/>
                </a:cxn>
                <a:cxn ang="0">
                  <a:pos x="47" y="50"/>
                </a:cxn>
                <a:cxn ang="0">
                  <a:pos x="75" y="53"/>
                </a:cxn>
                <a:cxn ang="0">
                  <a:pos x="92" y="68"/>
                </a:cxn>
                <a:cxn ang="0">
                  <a:pos x="94" y="69"/>
                </a:cxn>
                <a:cxn ang="0">
                  <a:pos x="99" y="74"/>
                </a:cxn>
                <a:cxn ang="0">
                  <a:pos x="94" y="64"/>
                </a:cxn>
                <a:cxn ang="0">
                  <a:pos x="96" y="33"/>
                </a:cxn>
                <a:cxn ang="0">
                  <a:pos x="103" y="11"/>
                </a:cxn>
                <a:cxn ang="0">
                  <a:pos x="119" y="5"/>
                </a:cxn>
                <a:cxn ang="0">
                  <a:pos x="109" y="35"/>
                </a:cxn>
                <a:cxn ang="0">
                  <a:pos x="139" y="28"/>
                </a:cxn>
                <a:cxn ang="0">
                  <a:pos x="117" y="50"/>
                </a:cxn>
                <a:cxn ang="0">
                  <a:pos x="110" y="48"/>
                </a:cxn>
              </a:cxnLst>
              <a:rect l="0" t="0" r="r" b="b"/>
              <a:pathLst>
                <a:path w="143" h="128">
                  <a:moveTo>
                    <a:pt x="117" y="53"/>
                  </a:moveTo>
                  <a:cubicBezTo>
                    <a:pt x="123" y="53"/>
                    <a:pt x="130" y="51"/>
                    <a:pt x="134" y="46"/>
                  </a:cubicBezTo>
                  <a:cubicBezTo>
                    <a:pt x="140" y="40"/>
                    <a:pt x="143" y="32"/>
                    <a:pt x="142" y="23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09" y="19"/>
                    <a:pt x="109" y="19"/>
                    <a:pt x="109" y="19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21" y="2"/>
                    <a:pt x="119" y="2"/>
                    <a:pt x="117" y="2"/>
                  </a:cubicBezTo>
                  <a:cubicBezTo>
                    <a:pt x="111" y="2"/>
                    <a:pt x="105" y="4"/>
                    <a:pt x="100" y="8"/>
                  </a:cubicBezTo>
                  <a:cubicBezTo>
                    <a:pt x="94" y="14"/>
                    <a:pt x="91" y="23"/>
                    <a:pt x="92" y="31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64" y="38"/>
                    <a:pt x="54" y="29"/>
                    <a:pt x="52" y="27"/>
                  </a:cubicBezTo>
                  <a:cubicBezTo>
                    <a:pt x="49" y="24"/>
                    <a:pt x="48" y="21"/>
                    <a:pt x="49" y="19"/>
                  </a:cubicBezTo>
                  <a:cubicBezTo>
                    <a:pt x="50" y="16"/>
                    <a:pt x="55" y="15"/>
                    <a:pt x="60" y="15"/>
                  </a:cubicBezTo>
                  <a:cubicBezTo>
                    <a:pt x="64" y="15"/>
                    <a:pt x="67" y="16"/>
                    <a:pt x="68" y="17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9" y="2"/>
                    <a:pt x="62" y="0"/>
                    <a:pt x="55" y="0"/>
                  </a:cubicBezTo>
                  <a:cubicBezTo>
                    <a:pt x="46" y="0"/>
                    <a:pt x="37" y="4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6"/>
                    <a:pt x="22" y="36"/>
                  </a:cubicBezTo>
                  <a:cubicBezTo>
                    <a:pt x="21" y="37"/>
                    <a:pt x="21" y="37"/>
                    <a:pt x="20" y="38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49"/>
                    <a:pt x="36" y="48"/>
                  </a:cubicBezTo>
                  <a:cubicBezTo>
                    <a:pt x="36" y="48"/>
                    <a:pt x="37" y="47"/>
                    <a:pt x="37" y="47"/>
                  </a:cubicBezTo>
                  <a:cubicBezTo>
                    <a:pt x="39" y="49"/>
                    <a:pt x="48" y="56"/>
                    <a:pt x="58" y="65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2" y="86"/>
                    <a:pt x="84" y="88"/>
                    <a:pt x="86" y="90"/>
                  </a:cubicBezTo>
                  <a:cubicBezTo>
                    <a:pt x="95" y="100"/>
                    <a:pt x="111" y="115"/>
                    <a:pt x="124" y="123"/>
                  </a:cubicBezTo>
                  <a:cubicBezTo>
                    <a:pt x="127" y="125"/>
                    <a:pt x="127" y="125"/>
                    <a:pt x="127" y="125"/>
                  </a:cubicBezTo>
                  <a:cubicBezTo>
                    <a:pt x="129" y="123"/>
                    <a:pt x="129" y="123"/>
                    <a:pt x="129" y="123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30" y="94"/>
                    <a:pt x="114" y="79"/>
                    <a:pt x="102" y="71"/>
                  </a:cubicBezTo>
                  <a:cubicBezTo>
                    <a:pt x="100" y="70"/>
                    <a:pt x="98" y="68"/>
                    <a:pt x="96" y="67"/>
                  </a:cubicBezTo>
                  <a:cubicBezTo>
                    <a:pt x="111" y="53"/>
                    <a:pt x="111" y="53"/>
                    <a:pt x="111" y="53"/>
                  </a:cubicBezTo>
                  <a:cubicBezTo>
                    <a:pt x="113" y="53"/>
                    <a:pt x="115" y="53"/>
                    <a:pt x="117" y="53"/>
                  </a:cubicBezTo>
                  <a:close/>
                  <a:moveTo>
                    <a:pt x="39" y="44"/>
                  </a:moveTo>
                  <a:cubicBezTo>
                    <a:pt x="39" y="44"/>
                    <a:pt x="38" y="43"/>
                    <a:pt x="37" y="43"/>
                  </a:cubicBezTo>
                  <a:cubicBezTo>
                    <a:pt x="36" y="43"/>
                    <a:pt x="34" y="44"/>
                    <a:pt x="33" y="46"/>
                  </a:cubicBezTo>
                  <a:cubicBezTo>
                    <a:pt x="31" y="48"/>
                    <a:pt x="31" y="51"/>
                    <a:pt x="32" y="52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20" y="41"/>
                    <a:pt x="20" y="41"/>
                  </a:cubicBezTo>
                  <a:cubicBezTo>
                    <a:pt x="22" y="41"/>
                    <a:pt x="24" y="40"/>
                    <a:pt x="25" y="39"/>
                  </a:cubicBezTo>
                  <a:cubicBezTo>
                    <a:pt x="27" y="37"/>
                    <a:pt x="27" y="33"/>
                    <a:pt x="26" y="32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40" y="7"/>
                    <a:pt x="47" y="3"/>
                    <a:pt x="55" y="3"/>
                  </a:cubicBezTo>
                  <a:cubicBezTo>
                    <a:pt x="62" y="3"/>
                    <a:pt x="68" y="6"/>
                    <a:pt x="75" y="9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9" y="12"/>
                    <a:pt x="64" y="11"/>
                    <a:pt x="60" y="11"/>
                  </a:cubicBezTo>
                  <a:cubicBezTo>
                    <a:pt x="50" y="11"/>
                    <a:pt x="39" y="17"/>
                    <a:pt x="49" y="30"/>
                  </a:cubicBezTo>
                  <a:cubicBezTo>
                    <a:pt x="49" y="30"/>
                    <a:pt x="52" y="32"/>
                    <a:pt x="56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1" y="46"/>
                    <a:pt x="39" y="44"/>
                    <a:pt x="39" y="44"/>
                  </a:cubicBezTo>
                  <a:close/>
                  <a:moveTo>
                    <a:pt x="33" y="123"/>
                  </a:moveTo>
                  <a:cubicBezTo>
                    <a:pt x="19" y="107"/>
                    <a:pt x="19" y="107"/>
                    <a:pt x="19" y="10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6" y="72"/>
                    <a:pt x="72" y="76"/>
                    <a:pt x="76" y="81"/>
                  </a:cubicBezTo>
                  <a:lnTo>
                    <a:pt x="33" y="123"/>
                  </a:lnTo>
                  <a:close/>
                  <a:moveTo>
                    <a:pt x="99" y="74"/>
                  </a:moveTo>
                  <a:cubicBezTo>
                    <a:pt x="111" y="82"/>
                    <a:pt x="127" y="96"/>
                    <a:pt x="137" y="107"/>
                  </a:cubicBezTo>
                  <a:cubicBezTo>
                    <a:pt x="126" y="120"/>
                    <a:pt x="126" y="120"/>
                    <a:pt x="126" y="120"/>
                  </a:cubicBezTo>
                  <a:cubicBezTo>
                    <a:pt x="114" y="113"/>
                    <a:pt x="98" y="98"/>
                    <a:pt x="88" y="87"/>
                  </a:cubicBezTo>
                  <a:cubicBezTo>
                    <a:pt x="87" y="85"/>
                    <a:pt x="84" y="83"/>
                    <a:pt x="82" y="81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0"/>
                    <a:pt x="80" y="79"/>
                    <a:pt x="79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4" y="74"/>
                    <a:pt x="69" y="69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57" y="59"/>
                    <a:pt x="51" y="54"/>
                    <a:pt x="47" y="50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62" y="42"/>
                    <a:pt x="69" y="47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81" y="58"/>
                    <a:pt x="87" y="64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3" y="69"/>
                    <a:pt x="93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6" y="71"/>
                    <a:pt x="98" y="73"/>
                    <a:pt x="99" y="74"/>
                  </a:cubicBezTo>
                  <a:close/>
                  <a:moveTo>
                    <a:pt x="110" y="48"/>
                  </a:moveTo>
                  <a:cubicBezTo>
                    <a:pt x="94" y="64"/>
                    <a:pt x="94" y="64"/>
                    <a:pt x="94" y="64"/>
                  </a:cubicBezTo>
                  <a:cubicBezTo>
                    <a:pt x="89" y="60"/>
                    <a:pt x="83" y="55"/>
                    <a:pt x="78" y="51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24"/>
                    <a:pt x="97" y="16"/>
                    <a:pt x="103" y="11"/>
                  </a:cubicBezTo>
                  <a:cubicBezTo>
                    <a:pt x="107" y="7"/>
                    <a:pt x="112" y="5"/>
                    <a:pt x="117" y="5"/>
                  </a:cubicBezTo>
                  <a:cubicBezTo>
                    <a:pt x="118" y="5"/>
                    <a:pt x="118" y="5"/>
                    <a:pt x="119" y="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34"/>
                    <a:pt x="136" y="40"/>
                    <a:pt x="132" y="44"/>
                  </a:cubicBezTo>
                  <a:cubicBezTo>
                    <a:pt x="128" y="48"/>
                    <a:pt x="123" y="50"/>
                    <a:pt x="117" y="50"/>
                  </a:cubicBezTo>
                  <a:cubicBezTo>
                    <a:pt x="115" y="50"/>
                    <a:pt x="113" y="49"/>
                    <a:pt x="111" y="49"/>
                  </a:cubicBezTo>
                  <a:lnTo>
                    <a:pt x="110" y="4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375" name="Group 175"/>
          <p:cNvGrpSpPr>
            <a:grpSpLocks noChangeAspect="1"/>
          </p:cNvGrpSpPr>
          <p:nvPr/>
        </p:nvGrpSpPr>
        <p:grpSpPr bwMode="auto">
          <a:xfrm>
            <a:off x="2523331" y="4059238"/>
            <a:ext cx="847725" cy="849312"/>
            <a:chOff x="1582" y="2557"/>
            <a:chExt cx="534" cy="535"/>
          </a:xfrm>
        </p:grpSpPr>
        <p:sp>
          <p:nvSpPr>
            <p:cNvPr id="51376" name="Oval 176"/>
            <p:cNvSpPr>
              <a:spLocks noChangeArrowheads="1"/>
            </p:cNvSpPr>
            <p:nvPr/>
          </p:nvSpPr>
          <p:spPr bwMode="auto">
            <a:xfrm>
              <a:off x="1582" y="2557"/>
              <a:ext cx="534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77" name="Freeform 177"/>
            <p:cNvSpPr>
              <a:spLocks noEditPoints="1"/>
            </p:cNvSpPr>
            <p:nvPr/>
          </p:nvSpPr>
          <p:spPr bwMode="auto">
            <a:xfrm>
              <a:off x="1601" y="2579"/>
              <a:ext cx="496" cy="493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7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2" y="103"/>
                </a:cxn>
                <a:cxn ang="0">
                  <a:pos x="103" y="5"/>
                </a:cxn>
              </a:cxnLst>
              <a:rect l="0" t="0" r="r" b="b"/>
              <a:pathLst>
                <a:path w="207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8" y="201"/>
                    <a:pt x="202" y="157"/>
                    <a:pt x="202" y="103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78" name="Freeform 178"/>
            <p:cNvSpPr>
              <a:spLocks noEditPoints="1"/>
            </p:cNvSpPr>
            <p:nvPr/>
          </p:nvSpPr>
          <p:spPr bwMode="auto">
            <a:xfrm>
              <a:off x="1728" y="2675"/>
              <a:ext cx="247" cy="270"/>
            </a:xfrm>
            <a:custGeom>
              <a:avLst/>
              <a:gdLst/>
              <a:ahLst/>
              <a:cxnLst>
                <a:cxn ang="0">
                  <a:pos x="247" y="270"/>
                </a:cxn>
                <a:cxn ang="0">
                  <a:pos x="0" y="270"/>
                </a:cxn>
                <a:cxn ang="0">
                  <a:pos x="0" y="105"/>
                </a:cxn>
                <a:cxn ang="0">
                  <a:pos x="41" y="43"/>
                </a:cxn>
                <a:cxn ang="0">
                  <a:pos x="122" y="0"/>
                </a:cxn>
                <a:cxn ang="0">
                  <a:pos x="204" y="43"/>
                </a:cxn>
                <a:cxn ang="0">
                  <a:pos x="204" y="43"/>
                </a:cxn>
                <a:cxn ang="0">
                  <a:pos x="247" y="103"/>
                </a:cxn>
                <a:cxn ang="0">
                  <a:pos x="247" y="270"/>
                </a:cxn>
                <a:cxn ang="0">
                  <a:pos x="7" y="263"/>
                </a:cxn>
                <a:cxn ang="0">
                  <a:pos x="237" y="263"/>
                </a:cxn>
                <a:cxn ang="0">
                  <a:pos x="237" y="108"/>
                </a:cxn>
                <a:cxn ang="0">
                  <a:pos x="197" y="50"/>
                </a:cxn>
                <a:cxn ang="0">
                  <a:pos x="122" y="9"/>
                </a:cxn>
                <a:cxn ang="0">
                  <a:pos x="48" y="50"/>
                </a:cxn>
                <a:cxn ang="0">
                  <a:pos x="7" y="108"/>
                </a:cxn>
                <a:cxn ang="0">
                  <a:pos x="7" y="263"/>
                </a:cxn>
              </a:cxnLst>
              <a:rect l="0" t="0" r="r" b="b"/>
              <a:pathLst>
                <a:path w="247" h="270">
                  <a:moveTo>
                    <a:pt x="247" y="270"/>
                  </a:moveTo>
                  <a:lnTo>
                    <a:pt x="0" y="270"/>
                  </a:lnTo>
                  <a:lnTo>
                    <a:pt x="0" y="105"/>
                  </a:lnTo>
                  <a:lnTo>
                    <a:pt x="41" y="43"/>
                  </a:lnTo>
                  <a:lnTo>
                    <a:pt x="122" y="0"/>
                  </a:lnTo>
                  <a:lnTo>
                    <a:pt x="204" y="43"/>
                  </a:lnTo>
                  <a:lnTo>
                    <a:pt x="204" y="43"/>
                  </a:lnTo>
                  <a:lnTo>
                    <a:pt x="247" y="103"/>
                  </a:lnTo>
                  <a:lnTo>
                    <a:pt x="247" y="270"/>
                  </a:lnTo>
                  <a:close/>
                  <a:moveTo>
                    <a:pt x="7" y="263"/>
                  </a:moveTo>
                  <a:lnTo>
                    <a:pt x="237" y="263"/>
                  </a:lnTo>
                  <a:lnTo>
                    <a:pt x="237" y="108"/>
                  </a:lnTo>
                  <a:lnTo>
                    <a:pt x="197" y="50"/>
                  </a:lnTo>
                  <a:lnTo>
                    <a:pt x="122" y="9"/>
                  </a:lnTo>
                  <a:lnTo>
                    <a:pt x="48" y="50"/>
                  </a:lnTo>
                  <a:lnTo>
                    <a:pt x="7" y="108"/>
                  </a:lnTo>
                  <a:lnTo>
                    <a:pt x="7" y="26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79" name="Freeform 179"/>
            <p:cNvSpPr>
              <a:spLocks/>
            </p:cNvSpPr>
            <p:nvPr/>
          </p:nvSpPr>
          <p:spPr bwMode="auto">
            <a:xfrm>
              <a:off x="1704" y="2658"/>
              <a:ext cx="293" cy="129"/>
            </a:xfrm>
            <a:custGeom>
              <a:avLst/>
              <a:gdLst/>
              <a:ahLst/>
              <a:cxnLst>
                <a:cxn ang="0">
                  <a:pos x="285" y="129"/>
                </a:cxn>
                <a:cxn ang="0">
                  <a:pos x="235" y="57"/>
                </a:cxn>
                <a:cxn ang="0">
                  <a:pos x="146" y="9"/>
                </a:cxn>
                <a:cxn ang="0">
                  <a:pos x="58" y="57"/>
                </a:cxn>
                <a:cxn ang="0">
                  <a:pos x="7" y="129"/>
                </a:cxn>
                <a:cxn ang="0">
                  <a:pos x="0" y="125"/>
                </a:cxn>
                <a:cxn ang="0">
                  <a:pos x="50" y="50"/>
                </a:cxn>
                <a:cxn ang="0">
                  <a:pos x="146" y="0"/>
                </a:cxn>
                <a:cxn ang="0">
                  <a:pos x="240" y="50"/>
                </a:cxn>
                <a:cxn ang="0">
                  <a:pos x="293" y="125"/>
                </a:cxn>
                <a:cxn ang="0">
                  <a:pos x="285" y="129"/>
                </a:cxn>
              </a:cxnLst>
              <a:rect l="0" t="0" r="r" b="b"/>
              <a:pathLst>
                <a:path w="293" h="129">
                  <a:moveTo>
                    <a:pt x="285" y="129"/>
                  </a:moveTo>
                  <a:lnTo>
                    <a:pt x="235" y="57"/>
                  </a:lnTo>
                  <a:lnTo>
                    <a:pt x="146" y="9"/>
                  </a:lnTo>
                  <a:lnTo>
                    <a:pt x="58" y="57"/>
                  </a:lnTo>
                  <a:lnTo>
                    <a:pt x="7" y="129"/>
                  </a:lnTo>
                  <a:lnTo>
                    <a:pt x="0" y="125"/>
                  </a:lnTo>
                  <a:lnTo>
                    <a:pt x="50" y="50"/>
                  </a:lnTo>
                  <a:lnTo>
                    <a:pt x="146" y="0"/>
                  </a:lnTo>
                  <a:lnTo>
                    <a:pt x="240" y="50"/>
                  </a:lnTo>
                  <a:lnTo>
                    <a:pt x="293" y="125"/>
                  </a:lnTo>
                  <a:lnTo>
                    <a:pt x="285" y="1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80" name="Freeform 180"/>
            <p:cNvSpPr>
              <a:spLocks noEditPoints="1"/>
            </p:cNvSpPr>
            <p:nvPr/>
          </p:nvSpPr>
          <p:spPr bwMode="auto">
            <a:xfrm>
              <a:off x="1781" y="2756"/>
              <a:ext cx="141" cy="50"/>
            </a:xfrm>
            <a:custGeom>
              <a:avLst/>
              <a:gdLst/>
              <a:ahLst/>
              <a:cxnLst>
                <a:cxn ang="0">
                  <a:pos x="57" y="21"/>
                </a:cxn>
                <a:cxn ang="0">
                  <a:pos x="1" y="21"/>
                </a:cxn>
                <a:cxn ang="0">
                  <a:pos x="0" y="19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57" y="0"/>
                </a:cxn>
                <a:cxn ang="0">
                  <a:pos x="59" y="1"/>
                </a:cxn>
                <a:cxn ang="0">
                  <a:pos x="59" y="19"/>
                </a:cxn>
                <a:cxn ang="0">
                  <a:pos x="57" y="21"/>
                </a:cxn>
                <a:cxn ang="0">
                  <a:pos x="3" y="17"/>
                </a:cxn>
                <a:cxn ang="0">
                  <a:pos x="55" y="17"/>
                </a:cxn>
                <a:cxn ang="0">
                  <a:pos x="55" y="3"/>
                </a:cxn>
                <a:cxn ang="0">
                  <a:pos x="3" y="3"/>
                </a:cxn>
                <a:cxn ang="0">
                  <a:pos x="3" y="17"/>
                </a:cxn>
              </a:cxnLst>
              <a:rect l="0" t="0" r="r" b="b"/>
              <a:pathLst>
                <a:path w="59" h="21">
                  <a:moveTo>
                    <a:pt x="57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8" y="0"/>
                    <a:pt x="59" y="0"/>
                    <a:pt x="59" y="1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0"/>
                    <a:pt x="58" y="21"/>
                    <a:pt x="57" y="21"/>
                  </a:cubicBezTo>
                  <a:close/>
                  <a:moveTo>
                    <a:pt x="3" y="17"/>
                  </a:moveTo>
                  <a:cubicBezTo>
                    <a:pt x="55" y="17"/>
                    <a:pt x="55" y="17"/>
                    <a:pt x="55" y="17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81" name="Freeform 181"/>
            <p:cNvSpPr>
              <a:spLocks noEditPoints="1"/>
            </p:cNvSpPr>
            <p:nvPr/>
          </p:nvSpPr>
          <p:spPr bwMode="auto">
            <a:xfrm>
              <a:off x="1764" y="2859"/>
              <a:ext cx="173" cy="89"/>
            </a:xfrm>
            <a:custGeom>
              <a:avLst/>
              <a:gdLst/>
              <a:ahLst/>
              <a:cxnLst>
                <a:cxn ang="0">
                  <a:pos x="70" y="36"/>
                </a:cxn>
                <a:cxn ang="0">
                  <a:pos x="69" y="36"/>
                </a:cxn>
                <a:cxn ang="0">
                  <a:pos x="36" y="20"/>
                </a:cxn>
                <a:cxn ang="0">
                  <a:pos x="3" y="36"/>
                </a:cxn>
                <a:cxn ang="0">
                  <a:pos x="1" y="36"/>
                </a:cxn>
                <a:cxn ang="0">
                  <a:pos x="0" y="35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71" y="0"/>
                </a:cxn>
                <a:cxn ang="0">
                  <a:pos x="71" y="1"/>
                </a:cxn>
                <a:cxn ang="0">
                  <a:pos x="72" y="1"/>
                </a:cxn>
                <a:cxn ang="0">
                  <a:pos x="72" y="2"/>
                </a:cxn>
                <a:cxn ang="0">
                  <a:pos x="72" y="35"/>
                </a:cxn>
                <a:cxn ang="0">
                  <a:pos x="71" y="36"/>
                </a:cxn>
                <a:cxn ang="0">
                  <a:pos x="70" y="36"/>
                </a:cxn>
                <a:cxn ang="0">
                  <a:pos x="40" y="18"/>
                </a:cxn>
                <a:cxn ang="0">
                  <a:pos x="68" y="32"/>
                </a:cxn>
                <a:cxn ang="0">
                  <a:pos x="68" y="5"/>
                </a:cxn>
                <a:cxn ang="0">
                  <a:pos x="40" y="18"/>
                </a:cxn>
                <a:cxn ang="0">
                  <a:pos x="4" y="5"/>
                </a:cxn>
                <a:cxn ang="0">
                  <a:pos x="4" y="32"/>
                </a:cxn>
                <a:cxn ang="0">
                  <a:pos x="32" y="18"/>
                </a:cxn>
                <a:cxn ang="0">
                  <a:pos x="4" y="5"/>
                </a:cxn>
                <a:cxn ang="0">
                  <a:pos x="10" y="4"/>
                </a:cxn>
                <a:cxn ang="0">
                  <a:pos x="36" y="16"/>
                </a:cxn>
                <a:cxn ang="0">
                  <a:pos x="62" y="4"/>
                </a:cxn>
                <a:cxn ang="0">
                  <a:pos x="10" y="4"/>
                </a:cxn>
              </a:cxnLst>
              <a:rect l="0" t="0" r="r" b="b"/>
              <a:pathLst>
                <a:path w="72" h="37">
                  <a:moveTo>
                    <a:pt x="70" y="36"/>
                  </a:moveTo>
                  <a:cubicBezTo>
                    <a:pt x="70" y="36"/>
                    <a:pt x="69" y="36"/>
                    <a:pt x="69" y="36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7"/>
                    <a:pt x="2" y="36"/>
                    <a:pt x="1" y="36"/>
                  </a:cubicBezTo>
                  <a:cubicBezTo>
                    <a:pt x="1" y="36"/>
                    <a:pt x="0" y="35"/>
                    <a:pt x="0" y="3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1" y="0"/>
                    <a:pt x="71" y="0"/>
                  </a:cubicBezTo>
                  <a:cubicBezTo>
                    <a:pt x="71" y="0"/>
                    <a:pt x="71" y="0"/>
                    <a:pt x="71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2"/>
                    <a:pt x="72" y="2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1" y="36"/>
                    <a:pt x="71" y="36"/>
                  </a:cubicBezTo>
                  <a:cubicBezTo>
                    <a:pt x="71" y="36"/>
                    <a:pt x="70" y="36"/>
                    <a:pt x="70" y="36"/>
                  </a:cubicBezTo>
                  <a:close/>
                  <a:moveTo>
                    <a:pt x="40" y="18"/>
                  </a:moveTo>
                  <a:cubicBezTo>
                    <a:pt x="68" y="32"/>
                    <a:pt x="68" y="32"/>
                    <a:pt x="68" y="32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40" y="18"/>
                  </a:lnTo>
                  <a:close/>
                  <a:moveTo>
                    <a:pt x="4" y="5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32" y="18"/>
                    <a:pt x="32" y="18"/>
                    <a:pt x="32" y="18"/>
                  </a:cubicBezTo>
                  <a:lnTo>
                    <a:pt x="4" y="5"/>
                  </a:lnTo>
                  <a:close/>
                  <a:moveTo>
                    <a:pt x="10" y="4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62" y="4"/>
                    <a:pt x="62" y="4"/>
                    <a:pt x="62" y="4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84" name="Group 184"/>
          <p:cNvGrpSpPr>
            <a:grpSpLocks noChangeAspect="1"/>
          </p:cNvGrpSpPr>
          <p:nvPr/>
        </p:nvGrpSpPr>
        <p:grpSpPr bwMode="auto">
          <a:xfrm>
            <a:off x="3645696" y="4094163"/>
            <a:ext cx="785813" cy="784225"/>
            <a:chOff x="2293" y="2579"/>
            <a:chExt cx="495" cy="494"/>
          </a:xfrm>
        </p:grpSpPr>
        <p:sp>
          <p:nvSpPr>
            <p:cNvPr id="51385" name="Freeform 185"/>
            <p:cNvSpPr>
              <a:spLocks noEditPoints="1"/>
            </p:cNvSpPr>
            <p:nvPr/>
          </p:nvSpPr>
          <p:spPr bwMode="auto">
            <a:xfrm>
              <a:off x="2293" y="2579"/>
              <a:ext cx="495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7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2" y="103"/>
                </a:cxn>
                <a:cxn ang="0">
                  <a:pos x="103" y="5"/>
                </a:cxn>
              </a:cxnLst>
              <a:rect l="0" t="0" r="r" b="b"/>
              <a:pathLst>
                <a:path w="207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8" y="201"/>
                    <a:pt x="202" y="157"/>
                    <a:pt x="202" y="103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86" name="Freeform 186"/>
            <p:cNvSpPr>
              <a:spLocks noEditPoints="1"/>
            </p:cNvSpPr>
            <p:nvPr/>
          </p:nvSpPr>
          <p:spPr bwMode="auto">
            <a:xfrm>
              <a:off x="2420" y="2675"/>
              <a:ext cx="246" cy="271"/>
            </a:xfrm>
            <a:custGeom>
              <a:avLst/>
              <a:gdLst/>
              <a:ahLst/>
              <a:cxnLst>
                <a:cxn ang="0">
                  <a:pos x="246" y="271"/>
                </a:cxn>
                <a:cxn ang="0">
                  <a:pos x="0" y="271"/>
                </a:cxn>
                <a:cxn ang="0">
                  <a:pos x="0" y="106"/>
                </a:cxn>
                <a:cxn ang="0">
                  <a:pos x="40" y="43"/>
                </a:cxn>
                <a:cxn ang="0">
                  <a:pos x="122" y="0"/>
                </a:cxn>
                <a:cxn ang="0">
                  <a:pos x="203" y="43"/>
                </a:cxn>
                <a:cxn ang="0">
                  <a:pos x="203" y="43"/>
                </a:cxn>
                <a:cxn ang="0">
                  <a:pos x="246" y="103"/>
                </a:cxn>
                <a:cxn ang="0">
                  <a:pos x="246" y="271"/>
                </a:cxn>
                <a:cxn ang="0">
                  <a:pos x="7" y="264"/>
                </a:cxn>
                <a:cxn ang="0">
                  <a:pos x="237" y="264"/>
                </a:cxn>
                <a:cxn ang="0">
                  <a:pos x="237" y="108"/>
                </a:cxn>
                <a:cxn ang="0">
                  <a:pos x="196" y="51"/>
                </a:cxn>
                <a:cxn ang="0">
                  <a:pos x="122" y="10"/>
                </a:cxn>
                <a:cxn ang="0">
                  <a:pos x="48" y="51"/>
                </a:cxn>
                <a:cxn ang="0">
                  <a:pos x="7" y="108"/>
                </a:cxn>
                <a:cxn ang="0">
                  <a:pos x="7" y="264"/>
                </a:cxn>
              </a:cxnLst>
              <a:rect l="0" t="0" r="r" b="b"/>
              <a:pathLst>
                <a:path w="246" h="271">
                  <a:moveTo>
                    <a:pt x="246" y="271"/>
                  </a:moveTo>
                  <a:lnTo>
                    <a:pt x="0" y="271"/>
                  </a:lnTo>
                  <a:lnTo>
                    <a:pt x="0" y="106"/>
                  </a:lnTo>
                  <a:lnTo>
                    <a:pt x="40" y="43"/>
                  </a:lnTo>
                  <a:lnTo>
                    <a:pt x="122" y="0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46" y="103"/>
                  </a:lnTo>
                  <a:lnTo>
                    <a:pt x="246" y="271"/>
                  </a:lnTo>
                  <a:close/>
                  <a:moveTo>
                    <a:pt x="7" y="264"/>
                  </a:moveTo>
                  <a:lnTo>
                    <a:pt x="237" y="264"/>
                  </a:lnTo>
                  <a:lnTo>
                    <a:pt x="237" y="108"/>
                  </a:lnTo>
                  <a:lnTo>
                    <a:pt x="196" y="51"/>
                  </a:lnTo>
                  <a:lnTo>
                    <a:pt x="122" y="10"/>
                  </a:lnTo>
                  <a:lnTo>
                    <a:pt x="48" y="51"/>
                  </a:lnTo>
                  <a:lnTo>
                    <a:pt x="7" y="108"/>
                  </a:lnTo>
                  <a:lnTo>
                    <a:pt x="7" y="26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87" name="Freeform 187"/>
            <p:cNvSpPr>
              <a:spLocks/>
            </p:cNvSpPr>
            <p:nvPr/>
          </p:nvSpPr>
          <p:spPr bwMode="auto">
            <a:xfrm>
              <a:off x="2396" y="2658"/>
              <a:ext cx="292" cy="130"/>
            </a:xfrm>
            <a:custGeom>
              <a:avLst/>
              <a:gdLst/>
              <a:ahLst/>
              <a:cxnLst>
                <a:cxn ang="0">
                  <a:pos x="285" y="130"/>
                </a:cxn>
                <a:cxn ang="0">
                  <a:pos x="234" y="58"/>
                </a:cxn>
                <a:cxn ang="0">
                  <a:pos x="146" y="10"/>
                </a:cxn>
                <a:cxn ang="0">
                  <a:pos x="57" y="58"/>
                </a:cxn>
                <a:cxn ang="0">
                  <a:pos x="7" y="130"/>
                </a:cxn>
                <a:cxn ang="0">
                  <a:pos x="0" y="125"/>
                </a:cxn>
                <a:cxn ang="0">
                  <a:pos x="50" y="51"/>
                </a:cxn>
                <a:cxn ang="0">
                  <a:pos x="146" y="0"/>
                </a:cxn>
                <a:cxn ang="0">
                  <a:pos x="239" y="51"/>
                </a:cxn>
                <a:cxn ang="0">
                  <a:pos x="292" y="125"/>
                </a:cxn>
                <a:cxn ang="0">
                  <a:pos x="285" y="130"/>
                </a:cxn>
              </a:cxnLst>
              <a:rect l="0" t="0" r="r" b="b"/>
              <a:pathLst>
                <a:path w="292" h="130">
                  <a:moveTo>
                    <a:pt x="285" y="130"/>
                  </a:moveTo>
                  <a:lnTo>
                    <a:pt x="234" y="58"/>
                  </a:lnTo>
                  <a:lnTo>
                    <a:pt x="146" y="10"/>
                  </a:lnTo>
                  <a:lnTo>
                    <a:pt x="57" y="58"/>
                  </a:lnTo>
                  <a:lnTo>
                    <a:pt x="7" y="130"/>
                  </a:lnTo>
                  <a:lnTo>
                    <a:pt x="0" y="125"/>
                  </a:lnTo>
                  <a:lnTo>
                    <a:pt x="50" y="51"/>
                  </a:lnTo>
                  <a:lnTo>
                    <a:pt x="146" y="0"/>
                  </a:lnTo>
                  <a:lnTo>
                    <a:pt x="239" y="51"/>
                  </a:lnTo>
                  <a:lnTo>
                    <a:pt x="292" y="125"/>
                  </a:lnTo>
                  <a:lnTo>
                    <a:pt x="285" y="1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88" name="Freeform 188"/>
            <p:cNvSpPr>
              <a:spLocks noEditPoints="1"/>
            </p:cNvSpPr>
            <p:nvPr/>
          </p:nvSpPr>
          <p:spPr bwMode="auto">
            <a:xfrm>
              <a:off x="2472" y="2757"/>
              <a:ext cx="142" cy="50"/>
            </a:xfrm>
            <a:custGeom>
              <a:avLst/>
              <a:gdLst/>
              <a:ahLst/>
              <a:cxnLst>
                <a:cxn ang="0">
                  <a:pos x="57" y="21"/>
                </a:cxn>
                <a:cxn ang="0">
                  <a:pos x="1" y="21"/>
                </a:cxn>
                <a:cxn ang="0">
                  <a:pos x="0" y="19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57" y="0"/>
                </a:cxn>
                <a:cxn ang="0">
                  <a:pos x="59" y="1"/>
                </a:cxn>
                <a:cxn ang="0">
                  <a:pos x="59" y="19"/>
                </a:cxn>
                <a:cxn ang="0">
                  <a:pos x="57" y="21"/>
                </a:cxn>
                <a:cxn ang="0">
                  <a:pos x="3" y="17"/>
                </a:cxn>
                <a:cxn ang="0">
                  <a:pos x="55" y="17"/>
                </a:cxn>
                <a:cxn ang="0">
                  <a:pos x="55" y="3"/>
                </a:cxn>
                <a:cxn ang="0">
                  <a:pos x="3" y="3"/>
                </a:cxn>
                <a:cxn ang="0">
                  <a:pos x="3" y="17"/>
                </a:cxn>
              </a:cxnLst>
              <a:rect l="0" t="0" r="r" b="b"/>
              <a:pathLst>
                <a:path w="59" h="21">
                  <a:moveTo>
                    <a:pt x="57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8" y="0"/>
                    <a:pt x="59" y="0"/>
                    <a:pt x="59" y="1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0"/>
                    <a:pt x="58" y="21"/>
                    <a:pt x="57" y="21"/>
                  </a:cubicBezTo>
                  <a:close/>
                  <a:moveTo>
                    <a:pt x="3" y="17"/>
                  </a:moveTo>
                  <a:cubicBezTo>
                    <a:pt x="55" y="17"/>
                    <a:pt x="55" y="17"/>
                    <a:pt x="55" y="17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89" name="Freeform 189"/>
            <p:cNvSpPr>
              <a:spLocks noEditPoints="1"/>
            </p:cNvSpPr>
            <p:nvPr/>
          </p:nvSpPr>
          <p:spPr bwMode="auto">
            <a:xfrm>
              <a:off x="2456" y="2860"/>
              <a:ext cx="172" cy="88"/>
            </a:xfrm>
            <a:custGeom>
              <a:avLst/>
              <a:gdLst/>
              <a:ahLst/>
              <a:cxnLst>
                <a:cxn ang="0">
                  <a:pos x="70" y="36"/>
                </a:cxn>
                <a:cxn ang="0">
                  <a:pos x="69" y="36"/>
                </a:cxn>
                <a:cxn ang="0">
                  <a:pos x="36" y="20"/>
                </a:cxn>
                <a:cxn ang="0">
                  <a:pos x="3" y="36"/>
                </a:cxn>
                <a:cxn ang="0">
                  <a:pos x="1" y="36"/>
                </a:cxn>
                <a:cxn ang="0">
                  <a:pos x="0" y="35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71" y="0"/>
                </a:cxn>
                <a:cxn ang="0">
                  <a:pos x="71" y="1"/>
                </a:cxn>
                <a:cxn ang="0">
                  <a:pos x="72" y="1"/>
                </a:cxn>
                <a:cxn ang="0">
                  <a:pos x="72" y="2"/>
                </a:cxn>
                <a:cxn ang="0">
                  <a:pos x="72" y="35"/>
                </a:cxn>
                <a:cxn ang="0">
                  <a:pos x="71" y="36"/>
                </a:cxn>
                <a:cxn ang="0">
                  <a:pos x="70" y="36"/>
                </a:cxn>
                <a:cxn ang="0">
                  <a:pos x="40" y="18"/>
                </a:cxn>
                <a:cxn ang="0">
                  <a:pos x="68" y="32"/>
                </a:cxn>
                <a:cxn ang="0">
                  <a:pos x="68" y="5"/>
                </a:cxn>
                <a:cxn ang="0">
                  <a:pos x="40" y="18"/>
                </a:cxn>
                <a:cxn ang="0">
                  <a:pos x="4" y="5"/>
                </a:cxn>
                <a:cxn ang="0">
                  <a:pos x="4" y="32"/>
                </a:cxn>
                <a:cxn ang="0">
                  <a:pos x="32" y="18"/>
                </a:cxn>
                <a:cxn ang="0">
                  <a:pos x="4" y="5"/>
                </a:cxn>
                <a:cxn ang="0">
                  <a:pos x="10" y="4"/>
                </a:cxn>
                <a:cxn ang="0">
                  <a:pos x="36" y="16"/>
                </a:cxn>
                <a:cxn ang="0">
                  <a:pos x="62" y="4"/>
                </a:cxn>
                <a:cxn ang="0">
                  <a:pos x="10" y="4"/>
                </a:cxn>
              </a:cxnLst>
              <a:rect l="0" t="0" r="r" b="b"/>
              <a:pathLst>
                <a:path w="72" h="37">
                  <a:moveTo>
                    <a:pt x="70" y="36"/>
                  </a:moveTo>
                  <a:cubicBezTo>
                    <a:pt x="70" y="36"/>
                    <a:pt x="69" y="36"/>
                    <a:pt x="69" y="36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7"/>
                    <a:pt x="2" y="36"/>
                    <a:pt x="1" y="36"/>
                  </a:cubicBezTo>
                  <a:cubicBezTo>
                    <a:pt x="1" y="36"/>
                    <a:pt x="0" y="35"/>
                    <a:pt x="0" y="3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1" y="0"/>
                    <a:pt x="71" y="0"/>
                  </a:cubicBezTo>
                  <a:cubicBezTo>
                    <a:pt x="71" y="0"/>
                    <a:pt x="71" y="0"/>
                    <a:pt x="71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1"/>
                    <a:pt x="72" y="2"/>
                    <a:pt x="72" y="2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1" y="36"/>
                    <a:pt x="71" y="36"/>
                  </a:cubicBezTo>
                  <a:cubicBezTo>
                    <a:pt x="71" y="36"/>
                    <a:pt x="70" y="36"/>
                    <a:pt x="70" y="36"/>
                  </a:cubicBezTo>
                  <a:close/>
                  <a:moveTo>
                    <a:pt x="40" y="18"/>
                  </a:moveTo>
                  <a:cubicBezTo>
                    <a:pt x="68" y="32"/>
                    <a:pt x="68" y="32"/>
                    <a:pt x="68" y="32"/>
                  </a:cubicBezTo>
                  <a:cubicBezTo>
                    <a:pt x="68" y="5"/>
                    <a:pt x="68" y="5"/>
                    <a:pt x="68" y="5"/>
                  </a:cubicBezTo>
                  <a:lnTo>
                    <a:pt x="40" y="18"/>
                  </a:lnTo>
                  <a:close/>
                  <a:moveTo>
                    <a:pt x="4" y="5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32" y="18"/>
                    <a:pt x="32" y="18"/>
                    <a:pt x="32" y="18"/>
                  </a:cubicBezTo>
                  <a:lnTo>
                    <a:pt x="4" y="5"/>
                  </a:lnTo>
                  <a:close/>
                  <a:moveTo>
                    <a:pt x="10" y="4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62" y="4"/>
                    <a:pt x="62" y="4"/>
                    <a:pt x="62" y="4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392" name="Group 192"/>
          <p:cNvGrpSpPr>
            <a:grpSpLocks noChangeAspect="1"/>
          </p:cNvGrpSpPr>
          <p:nvPr/>
        </p:nvGrpSpPr>
        <p:grpSpPr bwMode="auto">
          <a:xfrm>
            <a:off x="4710113" y="4059238"/>
            <a:ext cx="849312" cy="849312"/>
            <a:chOff x="2971" y="2557"/>
            <a:chExt cx="535" cy="535"/>
          </a:xfrm>
        </p:grpSpPr>
        <p:sp>
          <p:nvSpPr>
            <p:cNvPr id="51393" name="Oval 193"/>
            <p:cNvSpPr>
              <a:spLocks noChangeArrowheads="1"/>
            </p:cNvSpPr>
            <p:nvPr/>
          </p:nvSpPr>
          <p:spPr bwMode="auto">
            <a:xfrm>
              <a:off x="2971" y="2557"/>
              <a:ext cx="535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94" name="Freeform 194"/>
            <p:cNvSpPr>
              <a:spLocks/>
            </p:cNvSpPr>
            <p:nvPr/>
          </p:nvSpPr>
          <p:spPr bwMode="auto">
            <a:xfrm>
              <a:off x="3116" y="2724"/>
              <a:ext cx="82" cy="24"/>
            </a:xfrm>
            <a:custGeom>
              <a:avLst/>
              <a:gdLst/>
              <a:ahLst/>
              <a:cxnLst>
                <a:cxn ang="0">
                  <a:pos x="33" y="10"/>
                </a:cxn>
                <a:cxn ang="0">
                  <a:pos x="31" y="8"/>
                </a:cxn>
                <a:cxn ang="0">
                  <a:pos x="31" y="4"/>
                </a:cxn>
                <a:cxn ang="0">
                  <a:pos x="30" y="4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5" y="0"/>
                </a:cxn>
                <a:cxn ang="0">
                  <a:pos x="30" y="0"/>
                </a:cxn>
                <a:cxn ang="0">
                  <a:pos x="34" y="4"/>
                </a:cxn>
                <a:cxn ang="0">
                  <a:pos x="34" y="8"/>
                </a:cxn>
                <a:cxn ang="0">
                  <a:pos x="33" y="10"/>
                </a:cxn>
              </a:cxnLst>
              <a:rect l="0" t="0" r="r" b="b"/>
              <a:pathLst>
                <a:path w="34" h="10">
                  <a:moveTo>
                    <a:pt x="33" y="10"/>
                  </a:moveTo>
                  <a:cubicBezTo>
                    <a:pt x="32" y="10"/>
                    <a:pt x="31" y="9"/>
                    <a:pt x="31" y="8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3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4" y="10"/>
                    <a:pt x="33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95" name="Freeform 195"/>
            <p:cNvSpPr>
              <a:spLocks/>
            </p:cNvSpPr>
            <p:nvPr/>
          </p:nvSpPr>
          <p:spPr bwMode="auto">
            <a:xfrm>
              <a:off x="3104" y="2738"/>
              <a:ext cx="17" cy="163"/>
            </a:xfrm>
            <a:custGeom>
              <a:avLst/>
              <a:gdLst/>
              <a:ahLst/>
              <a:cxnLst>
                <a:cxn ang="0">
                  <a:pos x="4" y="68"/>
                </a:cxn>
                <a:cxn ang="0">
                  <a:pos x="0" y="68"/>
                </a:cxn>
                <a:cxn ang="0">
                  <a:pos x="0" y="8"/>
                </a:cxn>
                <a:cxn ang="0">
                  <a:pos x="7" y="0"/>
                </a:cxn>
                <a:cxn ang="0">
                  <a:pos x="7" y="4"/>
                </a:cxn>
                <a:cxn ang="0">
                  <a:pos x="4" y="8"/>
                </a:cxn>
                <a:cxn ang="0">
                  <a:pos x="4" y="68"/>
                </a:cxn>
              </a:cxnLst>
              <a:rect l="0" t="0" r="r" b="b"/>
              <a:pathLst>
                <a:path w="7" h="68">
                  <a:moveTo>
                    <a:pt x="4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1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4"/>
                    <a:pt x="4" y="6"/>
                    <a:pt x="4" y="8"/>
                  </a:cubicBezTo>
                  <a:lnTo>
                    <a:pt x="4" y="6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96" name="Freeform 196"/>
            <p:cNvSpPr>
              <a:spLocks/>
            </p:cNvSpPr>
            <p:nvPr/>
          </p:nvSpPr>
          <p:spPr bwMode="auto">
            <a:xfrm>
              <a:off x="3195" y="2738"/>
              <a:ext cx="173" cy="19"/>
            </a:xfrm>
            <a:custGeom>
              <a:avLst/>
              <a:gdLst/>
              <a:ahLst/>
              <a:cxnLst>
                <a:cxn ang="0">
                  <a:pos x="72" y="8"/>
                </a:cxn>
                <a:cxn ang="0">
                  <a:pos x="69" y="8"/>
                </a:cxn>
                <a:cxn ang="0">
                  <a:pos x="65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65" y="0"/>
                </a:cxn>
                <a:cxn ang="0">
                  <a:pos x="72" y="8"/>
                </a:cxn>
              </a:cxnLst>
              <a:rect l="0" t="0" r="r" b="b"/>
              <a:pathLst>
                <a:path w="72" h="8">
                  <a:moveTo>
                    <a:pt x="72" y="8"/>
                  </a:moveTo>
                  <a:cubicBezTo>
                    <a:pt x="69" y="8"/>
                    <a:pt x="69" y="8"/>
                    <a:pt x="69" y="8"/>
                  </a:cubicBezTo>
                  <a:cubicBezTo>
                    <a:pt x="69" y="6"/>
                    <a:pt x="67" y="4"/>
                    <a:pt x="65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2" y="4"/>
                    <a:pt x="72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97" name="Freeform 197"/>
            <p:cNvSpPr>
              <a:spLocks noEditPoints="1"/>
            </p:cNvSpPr>
            <p:nvPr/>
          </p:nvSpPr>
          <p:spPr bwMode="auto">
            <a:xfrm>
              <a:off x="3104" y="2753"/>
              <a:ext cx="288" cy="165"/>
            </a:xfrm>
            <a:custGeom>
              <a:avLst/>
              <a:gdLst/>
              <a:ahLst/>
              <a:cxnLst>
                <a:cxn ang="0">
                  <a:pos x="96" y="69"/>
                </a:cxn>
                <a:cxn ang="0">
                  <a:pos x="7" y="69"/>
                </a:cxn>
                <a:cxn ang="0">
                  <a:pos x="1" y="60"/>
                </a:cxn>
                <a:cxn ang="0">
                  <a:pos x="14" y="9"/>
                </a:cxn>
                <a:cxn ang="0">
                  <a:pos x="24" y="0"/>
                </a:cxn>
                <a:cxn ang="0">
                  <a:pos x="113" y="0"/>
                </a:cxn>
                <a:cxn ang="0">
                  <a:pos x="119" y="9"/>
                </a:cxn>
                <a:cxn ang="0">
                  <a:pos x="107" y="60"/>
                </a:cxn>
                <a:cxn ang="0">
                  <a:pos x="96" y="69"/>
                </a:cxn>
                <a:cxn ang="0">
                  <a:pos x="24" y="4"/>
                </a:cxn>
                <a:cxn ang="0">
                  <a:pos x="17" y="9"/>
                </a:cxn>
                <a:cxn ang="0">
                  <a:pos x="4" y="60"/>
                </a:cxn>
                <a:cxn ang="0">
                  <a:pos x="8" y="65"/>
                </a:cxn>
                <a:cxn ang="0">
                  <a:pos x="97" y="65"/>
                </a:cxn>
                <a:cxn ang="0">
                  <a:pos x="103" y="60"/>
                </a:cxn>
                <a:cxn ang="0">
                  <a:pos x="115" y="9"/>
                </a:cxn>
                <a:cxn ang="0">
                  <a:pos x="112" y="4"/>
                </a:cxn>
                <a:cxn ang="0">
                  <a:pos x="24" y="4"/>
                </a:cxn>
              </a:cxnLst>
              <a:rect l="0" t="0" r="r" b="b"/>
              <a:pathLst>
                <a:path w="120" h="69">
                  <a:moveTo>
                    <a:pt x="96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2" y="69"/>
                    <a:pt x="0" y="65"/>
                    <a:pt x="1" y="6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4"/>
                    <a:pt x="20" y="0"/>
                    <a:pt x="2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7" y="0"/>
                    <a:pt x="120" y="4"/>
                    <a:pt x="119" y="9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6" y="65"/>
                    <a:pt x="101" y="69"/>
                    <a:pt x="96" y="69"/>
                  </a:cubicBezTo>
                  <a:close/>
                  <a:moveTo>
                    <a:pt x="24" y="4"/>
                  </a:moveTo>
                  <a:cubicBezTo>
                    <a:pt x="21" y="4"/>
                    <a:pt x="18" y="6"/>
                    <a:pt x="17" y="9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3"/>
                    <a:pt x="5" y="65"/>
                    <a:pt x="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100" y="65"/>
                    <a:pt x="103" y="63"/>
                    <a:pt x="103" y="60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6" y="6"/>
                    <a:pt x="114" y="4"/>
                    <a:pt x="112" y="4"/>
                  </a:cubicBezTo>
                  <a:lnTo>
                    <a:pt x="24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98" name="Freeform 198"/>
            <p:cNvSpPr>
              <a:spLocks noEditPoints="1"/>
            </p:cNvSpPr>
            <p:nvPr/>
          </p:nvSpPr>
          <p:spPr bwMode="auto">
            <a:xfrm>
              <a:off x="2992" y="2578"/>
              <a:ext cx="493" cy="493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01" name="Group 201"/>
          <p:cNvGrpSpPr>
            <a:grpSpLocks noChangeAspect="1"/>
          </p:cNvGrpSpPr>
          <p:nvPr/>
        </p:nvGrpSpPr>
        <p:grpSpPr bwMode="auto">
          <a:xfrm>
            <a:off x="5842794" y="4090990"/>
            <a:ext cx="781050" cy="784226"/>
            <a:chOff x="3684" y="2577"/>
            <a:chExt cx="492" cy="494"/>
          </a:xfrm>
        </p:grpSpPr>
        <p:sp>
          <p:nvSpPr>
            <p:cNvPr id="51402" name="Freeform 202"/>
            <p:cNvSpPr>
              <a:spLocks/>
            </p:cNvSpPr>
            <p:nvPr/>
          </p:nvSpPr>
          <p:spPr bwMode="auto">
            <a:xfrm>
              <a:off x="3808" y="2724"/>
              <a:ext cx="81" cy="24"/>
            </a:xfrm>
            <a:custGeom>
              <a:avLst/>
              <a:gdLst/>
              <a:ahLst/>
              <a:cxnLst>
                <a:cxn ang="0">
                  <a:pos x="33" y="10"/>
                </a:cxn>
                <a:cxn ang="0">
                  <a:pos x="31" y="8"/>
                </a:cxn>
                <a:cxn ang="0">
                  <a:pos x="31" y="4"/>
                </a:cxn>
                <a:cxn ang="0">
                  <a:pos x="30" y="4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5" y="0"/>
                </a:cxn>
                <a:cxn ang="0">
                  <a:pos x="30" y="0"/>
                </a:cxn>
                <a:cxn ang="0">
                  <a:pos x="34" y="4"/>
                </a:cxn>
                <a:cxn ang="0">
                  <a:pos x="34" y="8"/>
                </a:cxn>
                <a:cxn ang="0">
                  <a:pos x="33" y="10"/>
                </a:cxn>
              </a:cxnLst>
              <a:rect l="0" t="0" r="r" b="b"/>
              <a:pathLst>
                <a:path w="34" h="10">
                  <a:moveTo>
                    <a:pt x="33" y="10"/>
                  </a:moveTo>
                  <a:cubicBezTo>
                    <a:pt x="32" y="10"/>
                    <a:pt x="31" y="9"/>
                    <a:pt x="31" y="8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3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4" y="2"/>
                    <a:pt x="34" y="4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4" y="10"/>
                    <a:pt x="33" y="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03" name="Freeform 203"/>
            <p:cNvSpPr>
              <a:spLocks/>
            </p:cNvSpPr>
            <p:nvPr/>
          </p:nvSpPr>
          <p:spPr bwMode="auto">
            <a:xfrm>
              <a:off x="3796" y="2738"/>
              <a:ext cx="17" cy="163"/>
            </a:xfrm>
            <a:custGeom>
              <a:avLst/>
              <a:gdLst/>
              <a:ahLst/>
              <a:cxnLst>
                <a:cxn ang="0">
                  <a:pos x="4" y="68"/>
                </a:cxn>
                <a:cxn ang="0">
                  <a:pos x="0" y="68"/>
                </a:cxn>
                <a:cxn ang="0">
                  <a:pos x="0" y="8"/>
                </a:cxn>
                <a:cxn ang="0">
                  <a:pos x="7" y="0"/>
                </a:cxn>
                <a:cxn ang="0">
                  <a:pos x="7" y="4"/>
                </a:cxn>
                <a:cxn ang="0">
                  <a:pos x="4" y="8"/>
                </a:cxn>
                <a:cxn ang="0">
                  <a:pos x="4" y="68"/>
                </a:cxn>
              </a:cxnLst>
              <a:rect l="0" t="0" r="r" b="b"/>
              <a:pathLst>
                <a:path w="7" h="68">
                  <a:moveTo>
                    <a:pt x="4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1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4"/>
                    <a:pt x="4" y="6"/>
                    <a:pt x="4" y="8"/>
                  </a:cubicBezTo>
                  <a:lnTo>
                    <a:pt x="4" y="6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04" name="Freeform 204"/>
            <p:cNvSpPr>
              <a:spLocks/>
            </p:cNvSpPr>
            <p:nvPr/>
          </p:nvSpPr>
          <p:spPr bwMode="auto">
            <a:xfrm>
              <a:off x="3887" y="2738"/>
              <a:ext cx="172" cy="19"/>
            </a:xfrm>
            <a:custGeom>
              <a:avLst/>
              <a:gdLst/>
              <a:ahLst/>
              <a:cxnLst>
                <a:cxn ang="0">
                  <a:pos x="72" y="8"/>
                </a:cxn>
                <a:cxn ang="0">
                  <a:pos x="69" y="8"/>
                </a:cxn>
                <a:cxn ang="0">
                  <a:pos x="65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65" y="0"/>
                </a:cxn>
                <a:cxn ang="0">
                  <a:pos x="72" y="8"/>
                </a:cxn>
              </a:cxnLst>
              <a:rect l="0" t="0" r="r" b="b"/>
              <a:pathLst>
                <a:path w="72" h="8">
                  <a:moveTo>
                    <a:pt x="72" y="8"/>
                  </a:moveTo>
                  <a:cubicBezTo>
                    <a:pt x="69" y="8"/>
                    <a:pt x="69" y="8"/>
                    <a:pt x="69" y="8"/>
                  </a:cubicBezTo>
                  <a:cubicBezTo>
                    <a:pt x="69" y="6"/>
                    <a:pt x="67" y="4"/>
                    <a:pt x="65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2" y="4"/>
                    <a:pt x="72" y="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05" name="Freeform 205"/>
            <p:cNvSpPr>
              <a:spLocks noEditPoints="1"/>
            </p:cNvSpPr>
            <p:nvPr/>
          </p:nvSpPr>
          <p:spPr bwMode="auto">
            <a:xfrm>
              <a:off x="3796" y="2752"/>
              <a:ext cx="287" cy="166"/>
            </a:xfrm>
            <a:custGeom>
              <a:avLst/>
              <a:gdLst/>
              <a:ahLst/>
              <a:cxnLst>
                <a:cxn ang="0">
                  <a:pos x="96" y="69"/>
                </a:cxn>
                <a:cxn ang="0">
                  <a:pos x="7" y="69"/>
                </a:cxn>
                <a:cxn ang="0">
                  <a:pos x="1" y="60"/>
                </a:cxn>
                <a:cxn ang="0">
                  <a:pos x="14" y="9"/>
                </a:cxn>
                <a:cxn ang="0">
                  <a:pos x="24" y="0"/>
                </a:cxn>
                <a:cxn ang="0">
                  <a:pos x="113" y="0"/>
                </a:cxn>
                <a:cxn ang="0">
                  <a:pos x="119" y="9"/>
                </a:cxn>
                <a:cxn ang="0">
                  <a:pos x="107" y="60"/>
                </a:cxn>
                <a:cxn ang="0">
                  <a:pos x="96" y="69"/>
                </a:cxn>
                <a:cxn ang="0">
                  <a:pos x="24" y="4"/>
                </a:cxn>
                <a:cxn ang="0">
                  <a:pos x="17" y="9"/>
                </a:cxn>
                <a:cxn ang="0">
                  <a:pos x="4" y="60"/>
                </a:cxn>
                <a:cxn ang="0">
                  <a:pos x="8" y="65"/>
                </a:cxn>
                <a:cxn ang="0">
                  <a:pos x="97" y="65"/>
                </a:cxn>
                <a:cxn ang="0">
                  <a:pos x="103" y="60"/>
                </a:cxn>
                <a:cxn ang="0">
                  <a:pos x="115" y="9"/>
                </a:cxn>
                <a:cxn ang="0">
                  <a:pos x="112" y="4"/>
                </a:cxn>
                <a:cxn ang="0">
                  <a:pos x="24" y="4"/>
                </a:cxn>
              </a:cxnLst>
              <a:rect l="0" t="0" r="r" b="b"/>
              <a:pathLst>
                <a:path w="120" h="69">
                  <a:moveTo>
                    <a:pt x="96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2" y="69"/>
                    <a:pt x="0" y="65"/>
                    <a:pt x="1" y="6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4"/>
                    <a:pt x="20" y="0"/>
                    <a:pt x="2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7" y="0"/>
                    <a:pt x="120" y="4"/>
                    <a:pt x="119" y="9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6" y="65"/>
                    <a:pt x="101" y="69"/>
                    <a:pt x="96" y="69"/>
                  </a:cubicBezTo>
                  <a:close/>
                  <a:moveTo>
                    <a:pt x="24" y="4"/>
                  </a:moveTo>
                  <a:cubicBezTo>
                    <a:pt x="21" y="4"/>
                    <a:pt x="18" y="6"/>
                    <a:pt x="17" y="9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3"/>
                    <a:pt x="5" y="65"/>
                    <a:pt x="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100" y="65"/>
                    <a:pt x="103" y="63"/>
                    <a:pt x="103" y="60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16" y="6"/>
                    <a:pt x="114" y="4"/>
                    <a:pt x="112" y="4"/>
                  </a:cubicBezTo>
                  <a:lnTo>
                    <a:pt x="24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06" name="Freeform 206"/>
            <p:cNvSpPr>
              <a:spLocks noEditPoints="1"/>
            </p:cNvSpPr>
            <p:nvPr/>
          </p:nvSpPr>
          <p:spPr bwMode="auto">
            <a:xfrm>
              <a:off x="3684" y="2577"/>
              <a:ext cx="492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09" name="Group 209"/>
          <p:cNvGrpSpPr>
            <a:grpSpLocks noChangeAspect="1"/>
          </p:cNvGrpSpPr>
          <p:nvPr/>
        </p:nvGrpSpPr>
        <p:grpSpPr bwMode="auto">
          <a:xfrm>
            <a:off x="6912769" y="4062413"/>
            <a:ext cx="846138" cy="846137"/>
            <a:chOff x="4356" y="2559"/>
            <a:chExt cx="533" cy="533"/>
          </a:xfrm>
        </p:grpSpPr>
        <p:sp>
          <p:nvSpPr>
            <p:cNvPr id="51410" name="Oval 210"/>
            <p:cNvSpPr>
              <a:spLocks noChangeArrowheads="1"/>
            </p:cNvSpPr>
            <p:nvPr/>
          </p:nvSpPr>
          <p:spPr bwMode="auto">
            <a:xfrm>
              <a:off x="4356" y="2559"/>
              <a:ext cx="533" cy="533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11" name="Freeform 211"/>
            <p:cNvSpPr>
              <a:spLocks noEditPoints="1"/>
            </p:cNvSpPr>
            <p:nvPr/>
          </p:nvSpPr>
          <p:spPr bwMode="auto">
            <a:xfrm>
              <a:off x="4375" y="2578"/>
              <a:ext cx="495" cy="49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12" name="Freeform 212"/>
            <p:cNvSpPr>
              <a:spLocks noEditPoints="1"/>
            </p:cNvSpPr>
            <p:nvPr/>
          </p:nvSpPr>
          <p:spPr bwMode="auto">
            <a:xfrm>
              <a:off x="4464" y="2722"/>
              <a:ext cx="318" cy="201"/>
            </a:xfrm>
            <a:custGeom>
              <a:avLst/>
              <a:gdLst/>
              <a:ahLst/>
              <a:cxnLst>
                <a:cxn ang="0">
                  <a:pos x="123" y="13"/>
                </a:cxn>
                <a:cxn ang="0">
                  <a:pos x="52" y="7"/>
                </a:cxn>
                <a:cxn ang="0">
                  <a:pos x="48" y="0"/>
                </a:cxn>
                <a:cxn ang="0">
                  <a:pos x="18" y="5"/>
                </a:cxn>
                <a:cxn ang="0">
                  <a:pos x="13" y="14"/>
                </a:cxn>
                <a:cxn ang="0">
                  <a:pos x="0" y="45"/>
                </a:cxn>
                <a:cxn ang="0">
                  <a:pos x="19" y="68"/>
                </a:cxn>
                <a:cxn ang="0">
                  <a:pos x="25" y="81"/>
                </a:cxn>
                <a:cxn ang="0">
                  <a:pos x="51" y="81"/>
                </a:cxn>
                <a:cxn ang="0">
                  <a:pos x="57" y="81"/>
                </a:cxn>
                <a:cxn ang="0">
                  <a:pos x="120" y="73"/>
                </a:cxn>
                <a:cxn ang="0">
                  <a:pos x="125" y="13"/>
                </a:cxn>
                <a:cxn ang="0">
                  <a:pos x="20" y="11"/>
                </a:cxn>
                <a:cxn ang="0">
                  <a:pos x="22" y="9"/>
                </a:cxn>
                <a:cxn ang="0">
                  <a:pos x="22" y="4"/>
                </a:cxn>
                <a:cxn ang="0">
                  <a:pos x="49" y="5"/>
                </a:cxn>
                <a:cxn ang="0">
                  <a:pos x="50" y="11"/>
                </a:cxn>
                <a:cxn ang="0">
                  <a:pos x="116" y="11"/>
                </a:cxn>
                <a:cxn ang="0">
                  <a:pos x="37" y="13"/>
                </a:cxn>
                <a:cxn ang="0">
                  <a:pos x="27" y="20"/>
                </a:cxn>
                <a:cxn ang="0">
                  <a:pos x="20" y="26"/>
                </a:cxn>
                <a:cxn ang="0">
                  <a:pos x="16" y="14"/>
                </a:cxn>
                <a:cxn ang="0">
                  <a:pos x="20" y="29"/>
                </a:cxn>
                <a:cxn ang="0">
                  <a:pos x="20" y="61"/>
                </a:cxn>
                <a:cxn ang="0">
                  <a:pos x="33" y="60"/>
                </a:cxn>
                <a:cxn ang="0">
                  <a:pos x="36" y="60"/>
                </a:cxn>
                <a:cxn ang="0">
                  <a:pos x="33" y="60"/>
                </a:cxn>
                <a:cxn ang="0">
                  <a:pos x="23" y="76"/>
                </a:cxn>
                <a:cxn ang="0">
                  <a:pos x="23" y="65"/>
                </a:cxn>
                <a:cxn ang="0">
                  <a:pos x="47" y="78"/>
                </a:cxn>
                <a:cxn ang="0">
                  <a:pos x="54" y="79"/>
                </a:cxn>
                <a:cxn ang="0">
                  <a:pos x="39" y="63"/>
                </a:cxn>
                <a:cxn ang="0">
                  <a:pos x="54" y="79"/>
                </a:cxn>
                <a:cxn ang="0">
                  <a:pos x="116" y="73"/>
                </a:cxn>
                <a:cxn ang="0">
                  <a:pos x="60" y="78"/>
                </a:cxn>
                <a:cxn ang="0">
                  <a:pos x="39" y="45"/>
                </a:cxn>
                <a:cxn ang="0">
                  <a:pos x="30" y="21"/>
                </a:cxn>
                <a:cxn ang="0">
                  <a:pos x="36" y="16"/>
                </a:cxn>
                <a:cxn ang="0">
                  <a:pos x="128" y="21"/>
                </a:cxn>
              </a:cxnLst>
              <a:rect l="0" t="0" r="r" b="b"/>
              <a:pathLst>
                <a:path w="133" h="84">
                  <a:moveTo>
                    <a:pt x="125" y="13"/>
                  </a:moveTo>
                  <a:cubicBezTo>
                    <a:pt x="123" y="13"/>
                    <a:pt x="123" y="13"/>
                    <a:pt x="123" y="13"/>
                  </a:cubicBezTo>
                  <a:cubicBezTo>
                    <a:pt x="122" y="9"/>
                    <a:pt x="119" y="7"/>
                    <a:pt x="116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2"/>
                    <a:pt x="50" y="0"/>
                    <a:pt x="4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8" y="2"/>
                    <a:pt x="18" y="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5" y="8"/>
                    <a:pt x="13" y="11"/>
                    <a:pt x="13" y="14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5" y="30"/>
                    <a:pt x="0" y="37"/>
                    <a:pt x="0" y="45"/>
                  </a:cubicBezTo>
                  <a:cubicBezTo>
                    <a:pt x="0" y="56"/>
                    <a:pt x="9" y="65"/>
                    <a:pt x="19" y="65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8" y="73"/>
                    <a:pt x="18" y="76"/>
                    <a:pt x="20" y="79"/>
                  </a:cubicBezTo>
                  <a:cubicBezTo>
                    <a:pt x="21" y="81"/>
                    <a:pt x="24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4" y="81"/>
                    <a:pt x="119" y="77"/>
                    <a:pt x="120" y="73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3" y="16"/>
                    <a:pt x="130" y="13"/>
                    <a:pt x="125" y="13"/>
                  </a:cubicBezTo>
                  <a:close/>
                  <a:moveTo>
                    <a:pt x="16" y="14"/>
                  </a:moveTo>
                  <a:cubicBezTo>
                    <a:pt x="16" y="12"/>
                    <a:pt x="18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0"/>
                    <a:pt x="22" y="10"/>
                    <a:pt x="22" y="9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9" y="4"/>
                    <a:pt x="49" y="5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10"/>
                    <a:pt x="49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116" y="11"/>
                    <a:pt x="116" y="11"/>
                    <a:pt x="116" y="11"/>
                  </a:cubicBezTo>
                  <a:cubicBezTo>
                    <a:pt x="117" y="11"/>
                    <a:pt x="119" y="11"/>
                    <a:pt x="119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3" y="13"/>
                    <a:pt x="28" y="16"/>
                    <a:pt x="27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19" y="26"/>
                    <a:pt x="18" y="26"/>
                    <a:pt x="16" y="26"/>
                  </a:cubicBezTo>
                  <a:lnTo>
                    <a:pt x="16" y="14"/>
                  </a:lnTo>
                  <a:close/>
                  <a:moveTo>
                    <a:pt x="4" y="45"/>
                  </a:moveTo>
                  <a:cubicBezTo>
                    <a:pt x="4" y="37"/>
                    <a:pt x="11" y="29"/>
                    <a:pt x="20" y="29"/>
                  </a:cubicBezTo>
                  <a:cubicBezTo>
                    <a:pt x="28" y="29"/>
                    <a:pt x="36" y="37"/>
                    <a:pt x="36" y="45"/>
                  </a:cubicBezTo>
                  <a:cubicBezTo>
                    <a:pt x="36" y="54"/>
                    <a:pt x="28" y="61"/>
                    <a:pt x="20" y="61"/>
                  </a:cubicBezTo>
                  <a:cubicBezTo>
                    <a:pt x="11" y="61"/>
                    <a:pt x="4" y="54"/>
                    <a:pt x="4" y="45"/>
                  </a:cubicBezTo>
                  <a:close/>
                  <a:moveTo>
                    <a:pt x="33" y="60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1"/>
                    <a:pt x="35" y="61"/>
                    <a:pt x="35" y="61"/>
                  </a:cubicBezTo>
                  <a:lnTo>
                    <a:pt x="33" y="60"/>
                  </a:lnTo>
                  <a:close/>
                  <a:moveTo>
                    <a:pt x="25" y="78"/>
                  </a:moveTo>
                  <a:cubicBezTo>
                    <a:pt x="25" y="78"/>
                    <a:pt x="24" y="78"/>
                    <a:pt x="23" y="76"/>
                  </a:cubicBezTo>
                  <a:cubicBezTo>
                    <a:pt x="22" y="75"/>
                    <a:pt x="21" y="72"/>
                    <a:pt x="22" y="69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6" y="64"/>
                    <a:pt x="28" y="63"/>
                    <a:pt x="30" y="62"/>
                  </a:cubicBezTo>
                  <a:cubicBezTo>
                    <a:pt x="47" y="78"/>
                    <a:pt x="47" y="78"/>
                    <a:pt x="47" y="78"/>
                  </a:cubicBezTo>
                  <a:lnTo>
                    <a:pt x="25" y="78"/>
                  </a:lnTo>
                  <a:close/>
                  <a:moveTo>
                    <a:pt x="54" y="79"/>
                  </a:moveTo>
                  <a:cubicBezTo>
                    <a:pt x="38" y="64"/>
                    <a:pt x="38" y="64"/>
                    <a:pt x="38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55" y="78"/>
                    <a:pt x="55" y="78"/>
                    <a:pt x="55" y="78"/>
                  </a:cubicBezTo>
                  <a:lnTo>
                    <a:pt x="54" y="79"/>
                  </a:lnTo>
                  <a:close/>
                  <a:moveTo>
                    <a:pt x="128" y="21"/>
                  </a:moveTo>
                  <a:cubicBezTo>
                    <a:pt x="116" y="73"/>
                    <a:pt x="116" y="73"/>
                    <a:pt x="116" y="73"/>
                  </a:cubicBezTo>
                  <a:cubicBezTo>
                    <a:pt x="116" y="75"/>
                    <a:pt x="113" y="78"/>
                    <a:pt x="11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8" y="52"/>
                    <a:pt x="39" y="49"/>
                    <a:pt x="39" y="45"/>
                  </a:cubicBezTo>
                  <a:cubicBezTo>
                    <a:pt x="39" y="38"/>
                    <a:pt x="35" y="31"/>
                    <a:pt x="29" y="28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1" y="18"/>
                    <a:pt x="34" y="16"/>
                    <a:pt x="36" y="16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7" y="16"/>
                    <a:pt x="129" y="18"/>
                    <a:pt x="128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415" name="Group 215"/>
          <p:cNvGrpSpPr>
            <a:grpSpLocks noChangeAspect="1"/>
          </p:cNvGrpSpPr>
          <p:nvPr/>
        </p:nvGrpSpPr>
        <p:grpSpPr bwMode="auto">
          <a:xfrm>
            <a:off x="8043868" y="4090990"/>
            <a:ext cx="785813" cy="784226"/>
            <a:chOff x="5067" y="2577"/>
            <a:chExt cx="495" cy="494"/>
          </a:xfrm>
        </p:grpSpPr>
        <p:sp>
          <p:nvSpPr>
            <p:cNvPr id="51416" name="Freeform 216"/>
            <p:cNvSpPr>
              <a:spLocks noEditPoints="1"/>
            </p:cNvSpPr>
            <p:nvPr/>
          </p:nvSpPr>
          <p:spPr bwMode="auto">
            <a:xfrm>
              <a:off x="5067" y="2577"/>
              <a:ext cx="495" cy="494"/>
            </a:xfrm>
            <a:custGeom>
              <a:avLst/>
              <a:gdLst/>
              <a:ahLst/>
              <a:cxnLst>
                <a:cxn ang="0">
                  <a:pos x="104" y="206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6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1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6">
                  <a:moveTo>
                    <a:pt x="104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161" y="0"/>
                    <a:pt x="207" y="46"/>
                    <a:pt x="207" y="103"/>
                  </a:cubicBezTo>
                  <a:cubicBezTo>
                    <a:pt x="207" y="160"/>
                    <a:pt x="161" y="206"/>
                    <a:pt x="104" y="206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4" y="201"/>
                  </a:cubicBezTo>
                  <a:cubicBezTo>
                    <a:pt x="158" y="201"/>
                    <a:pt x="202" y="157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17" name="Freeform 217"/>
            <p:cNvSpPr>
              <a:spLocks/>
            </p:cNvSpPr>
            <p:nvPr/>
          </p:nvSpPr>
          <p:spPr bwMode="auto">
            <a:xfrm>
              <a:off x="5198" y="2721"/>
              <a:ext cx="82" cy="27"/>
            </a:xfrm>
            <a:custGeom>
              <a:avLst/>
              <a:gdLst/>
              <a:ahLst/>
              <a:cxnLst>
                <a:cxn ang="0">
                  <a:pos x="32" y="11"/>
                </a:cxn>
                <a:cxn ang="0">
                  <a:pos x="31" y="9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4" y="4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30" y="0"/>
                </a:cxn>
                <a:cxn ang="0">
                  <a:pos x="34" y="5"/>
                </a:cxn>
                <a:cxn ang="0">
                  <a:pos x="34" y="9"/>
                </a:cxn>
                <a:cxn ang="0">
                  <a:pos x="32" y="11"/>
                </a:cxn>
              </a:cxnLst>
              <a:rect l="0" t="0" r="r" b="b"/>
              <a:pathLst>
                <a:path w="34" h="11">
                  <a:moveTo>
                    <a:pt x="32" y="11"/>
                  </a:moveTo>
                  <a:cubicBezTo>
                    <a:pt x="31" y="11"/>
                    <a:pt x="31" y="10"/>
                    <a:pt x="31" y="9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3" y="11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4" y="2"/>
                    <a:pt x="34" y="5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10"/>
                    <a:pt x="33" y="11"/>
                    <a:pt x="32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18" name="Freeform 218"/>
            <p:cNvSpPr>
              <a:spLocks/>
            </p:cNvSpPr>
            <p:nvPr/>
          </p:nvSpPr>
          <p:spPr bwMode="auto">
            <a:xfrm>
              <a:off x="5186" y="2738"/>
              <a:ext cx="17" cy="53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0" y="22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7" y="4"/>
                </a:cxn>
                <a:cxn ang="0">
                  <a:pos x="3" y="7"/>
                </a:cxn>
                <a:cxn ang="0">
                  <a:pos x="3" y="22"/>
                </a:cxn>
              </a:cxnLst>
              <a:rect l="0" t="0" r="r" b="b"/>
              <a:pathLst>
                <a:path w="7" h="22">
                  <a:moveTo>
                    <a:pt x="3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4"/>
                    <a:pt x="3" y="5"/>
                    <a:pt x="3" y="7"/>
                  </a:cubicBezTo>
                  <a:lnTo>
                    <a:pt x="3" y="2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19" name="Freeform 219"/>
            <p:cNvSpPr>
              <a:spLocks/>
            </p:cNvSpPr>
            <p:nvPr/>
          </p:nvSpPr>
          <p:spPr bwMode="auto">
            <a:xfrm>
              <a:off x="5275" y="2738"/>
              <a:ext cx="175" cy="17"/>
            </a:xfrm>
            <a:custGeom>
              <a:avLst/>
              <a:gdLst/>
              <a:ahLst/>
              <a:cxnLst>
                <a:cxn ang="0">
                  <a:pos x="73" y="7"/>
                </a:cxn>
                <a:cxn ang="0">
                  <a:pos x="70" y="7"/>
                </a:cxn>
                <a:cxn ang="0">
                  <a:pos x="66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73" y="7"/>
                </a:cxn>
              </a:cxnLst>
              <a:rect l="0" t="0" r="r" b="b"/>
              <a:pathLst>
                <a:path w="73" h="7">
                  <a:moveTo>
                    <a:pt x="73" y="7"/>
                  </a:move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8" y="4"/>
                    <a:pt x="66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3" y="3"/>
                    <a:pt x="73" y="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20" name="Freeform 220"/>
            <p:cNvSpPr>
              <a:spLocks/>
            </p:cNvSpPr>
            <p:nvPr/>
          </p:nvSpPr>
          <p:spPr bwMode="auto">
            <a:xfrm>
              <a:off x="5220" y="2752"/>
              <a:ext cx="254" cy="163"/>
            </a:xfrm>
            <a:custGeom>
              <a:avLst/>
              <a:gdLst/>
              <a:ahLst/>
              <a:cxnLst>
                <a:cxn ang="0">
                  <a:pos x="82" y="68"/>
                </a:cxn>
                <a:cxn ang="0">
                  <a:pos x="28" y="68"/>
                </a:cxn>
                <a:cxn ang="0">
                  <a:pos x="29" y="65"/>
                </a:cxn>
                <a:cxn ang="0">
                  <a:pos x="83" y="65"/>
                </a:cxn>
                <a:cxn ang="0">
                  <a:pos x="89" y="60"/>
                </a:cxn>
                <a:cxn ang="0">
                  <a:pos x="101" y="8"/>
                </a:cxn>
                <a:cxn ang="0">
                  <a:pos x="98" y="3"/>
                </a:cxn>
                <a:cxn ang="0">
                  <a:pos x="9" y="3"/>
                </a:cxn>
                <a:cxn ang="0">
                  <a:pos x="3" y="8"/>
                </a:cxn>
                <a:cxn ang="0">
                  <a:pos x="0" y="8"/>
                </a:cxn>
                <a:cxn ang="0">
                  <a:pos x="10" y="0"/>
                </a:cxn>
                <a:cxn ang="0">
                  <a:pos x="98" y="0"/>
                </a:cxn>
                <a:cxn ang="0">
                  <a:pos x="105" y="8"/>
                </a:cxn>
                <a:cxn ang="0">
                  <a:pos x="93" y="60"/>
                </a:cxn>
                <a:cxn ang="0">
                  <a:pos x="82" y="68"/>
                </a:cxn>
              </a:cxnLst>
              <a:rect l="0" t="0" r="r" b="b"/>
              <a:pathLst>
                <a:path w="106" h="68">
                  <a:moveTo>
                    <a:pt x="82" y="68"/>
                  </a:moveTo>
                  <a:cubicBezTo>
                    <a:pt x="28" y="68"/>
                    <a:pt x="28" y="68"/>
                    <a:pt x="28" y="68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6" y="65"/>
                    <a:pt x="89" y="62"/>
                    <a:pt x="89" y="60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2" y="5"/>
                    <a:pt x="100" y="3"/>
                    <a:pt x="9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7" y="3"/>
                    <a:pt x="4" y="5"/>
                    <a:pt x="3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3"/>
                    <a:pt x="6" y="0"/>
                    <a:pt x="1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6" y="3"/>
                    <a:pt x="105" y="8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2" y="64"/>
                    <a:pt x="87" y="68"/>
                    <a:pt x="82" y="6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21" name="Freeform 221"/>
            <p:cNvSpPr>
              <a:spLocks noEditPoints="1"/>
            </p:cNvSpPr>
            <p:nvPr/>
          </p:nvSpPr>
          <p:spPr bwMode="auto">
            <a:xfrm>
              <a:off x="5155" y="2784"/>
              <a:ext cx="94" cy="93"/>
            </a:xfrm>
            <a:custGeom>
              <a:avLst/>
              <a:gdLst/>
              <a:ahLst/>
              <a:cxnLst>
                <a:cxn ang="0">
                  <a:pos x="20" y="39"/>
                </a:cxn>
                <a:cxn ang="0">
                  <a:pos x="0" y="19"/>
                </a:cxn>
                <a:cxn ang="0">
                  <a:pos x="20" y="0"/>
                </a:cxn>
                <a:cxn ang="0">
                  <a:pos x="39" y="19"/>
                </a:cxn>
                <a:cxn ang="0">
                  <a:pos x="20" y="39"/>
                </a:cxn>
                <a:cxn ang="0">
                  <a:pos x="20" y="3"/>
                </a:cxn>
                <a:cxn ang="0">
                  <a:pos x="4" y="19"/>
                </a:cxn>
                <a:cxn ang="0">
                  <a:pos x="20" y="35"/>
                </a:cxn>
                <a:cxn ang="0">
                  <a:pos x="36" y="19"/>
                </a:cxn>
                <a:cxn ang="0">
                  <a:pos x="20" y="3"/>
                </a:cxn>
              </a:cxnLst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39" y="9"/>
                    <a:pt x="39" y="19"/>
                  </a:cubicBezTo>
                  <a:cubicBezTo>
                    <a:pt x="39" y="30"/>
                    <a:pt x="31" y="39"/>
                    <a:pt x="20" y="39"/>
                  </a:cubicBezTo>
                  <a:close/>
                  <a:moveTo>
                    <a:pt x="20" y="3"/>
                  </a:moveTo>
                  <a:cubicBezTo>
                    <a:pt x="11" y="3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6" y="28"/>
                    <a:pt x="36" y="19"/>
                  </a:cubicBezTo>
                  <a:cubicBezTo>
                    <a:pt x="36" y="11"/>
                    <a:pt x="28" y="3"/>
                    <a:pt x="20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22" name="Freeform 222"/>
            <p:cNvSpPr>
              <a:spLocks noEditPoints="1"/>
            </p:cNvSpPr>
            <p:nvPr/>
          </p:nvSpPr>
          <p:spPr bwMode="auto">
            <a:xfrm>
              <a:off x="5222" y="2848"/>
              <a:ext cx="77" cy="75"/>
            </a:xfrm>
            <a:custGeom>
              <a:avLst/>
              <a:gdLst/>
              <a:ahLst/>
              <a:cxnLst>
                <a:cxn ang="0">
                  <a:pos x="63" y="75"/>
                </a:cxn>
                <a:cxn ang="0">
                  <a:pos x="0" y="17"/>
                </a:cxn>
                <a:cxn ang="0">
                  <a:pos x="15" y="0"/>
                </a:cxn>
                <a:cxn ang="0">
                  <a:pos x="77" y="60"/>
                </a:cxn>
                <a:cxn ang="0">
                  <a:pos x="63" y="75"/>
                </a:cxn>
                <a:cxn ang="0">
                  <a:pos x="12" y="17"/>
                </a:cxn>
                <a:cxn ang="0">
                  <a:pos x="63" y="63"/>
                </a:cxn>
                <a:cxn ang="0">
                  <a:pos x="65" y="60"/>
                </a:cxn>
                <a:cxn ang="0">
                  <a:pos x="15" y="12"/>
                </a:cxn>
                <a:cxn ang="0">
                  <a:pos x="12" y="17"/>
                </a:cxn>
              </a:cxnLst>
              <a:rect l="0" t="0" r="r" b="b"/>
              <a:pathLst>
                <a:path w="77" h="75">
                  <a:moveTo>
                    <a:pt x="63" y="75"/>
                  </a:moveTo>
                  <a:lnTo>
                    <a:pt x="0" y="17"/>
                  </a:lnTo>
                  <a:lnTo>
                    <a:pt x="15" y="0"/>
                  </a:lnTo>
                  <a:lnTo>
                    <a:pt x="77" y="60"/>
                  </a:lnTo>
                  <a:lnTo>
                    <a:pt x="63" y="75"/>
                  </a:lnTo>
                  <a:close/>
                  <a:moveTo>
                    <a:pt x="12" y="17"/>
                  </a:moveTo>
                  <a:lnTo>
                    <a:pt x="63" y="63"/>
                  </a:lnTo>
                  <a:lnTo>
                    <a:pt x="65" y="60"/>
                  </a:lnTo>
                  <a:lnTo>
                    <a:pt x="15" y="12"/>
                  </a:lnTo>
                  <a:lnTo>
                    <a:pt x="12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23" name="Freeform 223"/>
            <p:cNvSpPr>
              <a:spLocks/>
            </p:cNvSpPr>
            <p:nvPr/>
          </p:nvSpPr>
          <p:spPr bwMode="auto">
            <a:xfrm>
              <a:off x="5237" y="2863"/>
              <a:ext cx="14" cy="14"/>
            </a:xfrm>
            <a:custGeom>
              <a:avLst/>
              <a:gdLst/>
              <a:ahLst/>
              <a:cxnLst>
                <a:cxn ang="0">
                  <a:pos x="5" y="14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14" y="5"/>
                </a:cxn>
                <a:cxn ang="0">
                  <a:pos x="5" y="14"/>
                </a:cxn>
              </a:cxnLst>
              <a:rect l="0" t="0" r="r" b="b"/>
              <a:pathLst>
                <a:path w="14" h="14">
                  <a:moveTo>
                    <a:pt x="5" y="14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14" y="5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24" name="Freeform 224"/>
            <p:cNvSpPr>
              <a:spLocks/>
            </p:cNvSpPr>
            <p:nvPr/>
          </p:nvSpPr>
          <p:spPr bwMode="auto">
            <a:xfrm>
              <a:off x="5198" y="2872"/>
              <a:ext cx="79" cy="43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" y="16"/>
                </a:cxn>
                <a:cxn ang="0">
                  <a:pos x="1" y="5"/>
                </a:cxn>
                <a:cxn ang="0">
                  <a:pos x="2" y="0"/>
                </a:cxn>
                <a:cxn ang="0">
                  <a:pos x="5" y="0"/>
                </a:cxn>
                <a:cxn ang="0">
                  <a:pos x="4" y="6"/>
                </a:cxn>
                <a:cxn ang="0">
                  <a:pos x="5" y="13"/>
                </a:cxn>
                <a:cxn ang="0">
                  <a:pos x="7" y="15"/>
                </a:cxn>
                <a:cxn ang="0">
                  <a:pos x="33" y="15"/>
                </a:cxn>
                <a:cxn ang="0">
                  <a:pos x="33" y="18"/>
                </a:cxn>
                <a:cxn ang="0">
                  <a:pos x="7" y="18"/>
                </a:cxn>
                <a:cxn ang="0">
                  <a:pos x="7" y="18"/>
                </a:cxn>
              </a:cxnLst>
              <a:rect l="0" t="0" r="r" b="b"/>
              <a:pathLst>
                <a:path w="33" h="18">
                  <a:moveTo>
                    <a:pt x="7" y="18"/>
                  </a:moveTo>
                  <a:cubicBezTo>
                    <a:pt x="6" y="18"/>
                    <a:pt x="3" y="18"/>
                    <a:pt x="2" y="16"/>
                  </a:cubicBezTo>
                  <a:cubicBezTo>
                    <a:pt x="0" y="13"/>
                    <a:pt x="0" y="10"/>
                    <a:pt x="1" y="5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9"/>
                    <a:pt x="4" y="12"/>
                    <a:pt x="5" y="13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25" name="Freeform 225"/>
            <p:cNvSpPr>
              <a:spLocks/>
            </p:cNvSpPr>
            <p:nvPr/>
          </p:nvSpPr>
          <p:spPr bwMode="auto">
            <a:xfrm>
              <a:off x="5215" y="2769"/>
              <a:ext cx="12" cy="22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0" y="19"/>
                </a:cxn>
                <a:cxn ang="0">
                  <a:pos x="5" y="0"/>
                </a:cxn>
                <a:cxn ang="0">
                  <a:pos x="12" y="3"/>
                </a:cxn>
                <a:cxn ang="0">
                  <a:pos x="10" y="22"/>
                </a:cxn>
              </a:cxnLst>
              <a:rect l="0" t="0" r="r" b="b"/>
              <a:pathLst>
                <a:path w="12" h="22">
                  <a:moveTo>
                    <a:pt x="10" y="22"/>
                  </a:moveTo>
                  <a:lnTo>
                    <a:pt x="0" y="19"/>
                  </a:lnTo>
                  <a:lnTo>
                    <a:pt x="5" y="0"/>
                  </a:lnTo>
                  <a:lnTo>
                    <a:pt x="12" y="3"/>
                  </a:lnTo>
                  <a:lnTo>
                    <a:pt x="10" y="2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28" name="Group 228"/>
          <p:cNvGrpSpPr>
            <a:grpSpLocks noChangeAspect="1"/>
          </p:cNvGrpSpPr>
          <p:nvPr/>
        </p:nvGrpSpPr>
        <p:grpSpPr bwMode="auto">
          <a:xfrm>
            <a:off x="341313" y="5392738"/>
            <a:ext cx="838200" cy="836612"/>
            <a:chOff x="215" y="3397"/>
            <a:chExt cx="528" cy="527"/>
          </a:xfrm>
        </p:grpSpPr>
        <p:sp>
          <p:nvSpPr>
            <p:cNvPr id="51429" name="Oval 229"/>
            <p:cNvSpPr>
              <a:spLocks noChangeArrowheads="1"/>
            </p:cNvSpPr>
            <p:nvPr/>
          </p:nvSpPr>
          <p:spPr bwMode="auto">
            <a:xfrm>
              <a:off x="215" y="3397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30" name="Freeform 230"/>
            <p:cNvSpPr>
              <a:spLocks noEditPoints="1"/>
            </p:cNvSpPr>
            <p:nvPr/>
          </p:nvSpPr>
          <p:spPr bwMode="auto">
            <a:xfrm>
              <a:off x="237" y="3419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1" name="Freeform 231"/>
            <p:cNvSpPr>
              <a:spLocks noEditPoints="1"/>
            </p:cNvSpPr>
            <p:nvPr/>
          </p:nvSpPr>
          <p:spPr bwMode="auto">
            <a:xfrm>
              <a:off x="366" y="3526"/>
              <a:ext cx="235" cy="27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2" y="0"/>
                </a:cxn>
                <a:cxn ang="0">
                  <a:pos x="32" y="8"/>
                </a:cxn>
                <a:cxn ang="0">
                  <a:pos x="32" y="29"/>
                </a:cxn>
                <a:cxn ang="0">
                  <a:pos x="10" y="29"/>
                </a:cxn>
                <a:cxn ang="0">
                  <a:pos x="0" y="29"/>
                </a:cxn>
                <a:cxn ang="0">
                  <a:pos x="0" y="39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195" y="278"/>
                </a:cxn>
                <a:cxn ang="0">
                  <a:pos x="204" y="278"/>
                </a:cxn>
                <a:cxn ang="0">
                  <a:pos x="204" y="268"/>
                </a:cxn>
                <a:cxn ang="0">
                  <a:pos x="204" y="249"/>
                </a:cxn>
                <a:cxn ang="0">
                  <a:pos x="226" y="249"/>
                </a:cxn>
                <a:cxn ang="0">
                  <a:pos x="235" y="249"/>
                </a:cxn>
                <a:cxn ang="0">
                  <a:pos x="235" y="240"/>
                </a:cxn>
                <a:cxn ang="0">
                  <a:pos x="235" y="8"/>
                </a:cxn>
                <a:cxn ang="0">
                  <a:pos x="235" y="0"/>
                </a:cxn>
                <a:cxn ang="0">
                  <a:pos x="226" y="0"/>
                </a:cxn>
                <a:cxn ang="0">
                  <a:pos x="41" y="0"/>
                </a:cxn>
                <a:cxn ang="0">
                  <a:pos x="195" y="268"/>
                </a:cxn>
                <a:cxn ang="0">
                  <a:pos x="10" y="268"/>
                </a:cxn>
                <a:cxn ang="0">
                  <a:pos x="10" y="39"/>
                </a:cxn>
                <a:cxn ang="0">
                  <a:pos x="32" y="39"/>
                </a:cxn>
                <a:cxn ang="0">
                  <a:pos x="32" y="240"/>
                </a:cxn>
                <a:cxn ang="0">
                  <a:pos x="32" y="249"/>
                </a:cxn>
                <a:cxn ang="0">
                  <a:pos x="41" y="249"/>
                </a:cxn>
                <a:cxn ang="0">
                  <a:pos x="195" y="249"/>
                </a:cxn>
                <a:cxn ang="0">
                  <a:pos x="195" y="268"/>
                </a:cxn>
                <a:cxn ang="0">
                  <a:pos x="226" y="240"/>
                </a:cxn>
                <a:cxn ang="0">
                  <a:pos x="204" y="240"/>
                </a:cxn>
                <a:cxn ang="0">
                  <a:pos x="195" y="240"/>
                </a:cxn>
                <a:cxn ang="0">
                  <a:pos x="41" y="240"/>
                </a:cxn>
                <a:cxn ang="0">
                  <a:pos x="41" y="39"/>
                </a:cxn>
                <a:cxn ang="0">
                  <a:pos x="41" y="29"/>
                </a:cxn>
                <a:cxn ang="0">
                  <a:pos x="41" y="8"/>
                </a:cxn>
                <a:cxn ang="0">
                  <a:pos x="226" y="8"/>
                </a:cxn>
                <a:cxn ang="0">
                  <a:pos x="226" y="240"/>
                </a:cxn>
              </a:cxnLst>
              <a:rect l="0" t="0" r="r" b="b"/>
              <a:pathLst>
                <a:path w="235" h="278">
                  <a:moveTo>
                    <a:pt x="41" y="0"/>
                  </a:moveTo>
                  <a:lnTo>
                    <a:pt x="32" y="0"/>
                  </a:lnTo>
                  <a:lnTo>
                    <a:pt x="32" y="8"/>
                  </a:lnTo>
                  <a:lnTo>
                    <a:pt x="32" y="2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0" y="39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195" y="278"/>
                  </a:lnTo>
                  <a:lnTo>
                    <a:pt x="204" y="278"/>
                  </a:lnTo>
                  <a:lnTo>
                    <a:pt x="204" y="268"/>
                  </a:lnTo>
                  <a:lnTo>
                    <a:pt x="204" y="249"/>
                  </a:lnTo>
                  <a:lnTo>
                    <a:pt x="226" y="249"/>
                  </a:lnTo>
                  <a:lnTo>
                    <a:pt x="235" y="249"/>
                  </a:lnTo>
                  <a:lnTo>
                    <a:pt x="235" y="240"/>
                  </a:lnTo>
                  <a:lnTo>
                    <a:pt x="235" y="8"/>
                  </a:lnTo>
                  <a:lnTo>
                    <a:pt x="235" y="0"/>
                  </a:lnTo>
                  <a:lnTo>
                    <a:pt x="226" y="0"/>
                  </a:lnTo>
                  <a:lnTo>
                    <a:pt x="41" y="0"/>
                  </a:lnTo>
                  <a:close/>
                  <a:moveTo>
                    <a:pt x="195" y="268"/>
                  </a:moveTo>
                  <a:lnTo>
                    <a:pt x="10" y="268"/>
                  </a:lnTo>
                  <a:lnTo>
                    <a:pt x="10" y="39"/>
                  </a:lnTo>
                  <a:lnTo>
                    <a:pt x="32" y="39"/>
                  </a:lnTo>
                  <a:lnTo>
                    <a:pt x="32" y="240"/>
                  </a:lnTo>
                  <a:lnTo>
                    <a:pt x="32" y="249"/>
                  </a:lnTo>
                  <a:lnTo>
                    <a:pt x="41" y="249"/>
                  </a:lnTo>
                  <a:lnTo>
                    <a:pt x="195" y="249"/>
                  </a:lnTo>
                  <a:lnTo>
                    <a:pt x="195" y="268"/>
                  </a:lnTo>
                  <a:close/>
                  <a:moveTo>
                    <a:pt x="226" y="240"/>
                  </a:moveTo>
                  <a:lnTo>
                    <a:pt x="204" y="240"/>
                  </a:lnTo>
                  <a:lnTo>
                    <a:pt x="195" y="240"/>
                  </a:lnTo>
                  <a:lnTo>
                    <a:pt x="41" y="240"/>
                  </a:lnTo>
                  <a:lnTo>
                    <a:pt x="41" y="39"/>
                  </a:lnTo>
                  <a:lnTo>
                    <a:pt x="41" y="29"/>
                  </a:lnTo>
                  <a:lnTo>
                    <a:pt x="41" y="8"/>
                  </a:lnTo>
                  <a:lnTo>
                    <a:pt x="226" y="8"/>
                  </a:lnTo>
                  <a:lnTo>
                    <a:pt x="226" y="2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2" name="Rectangle 232"/>
            <p:cNvSpPr>
              <a:spLocks noChangeArrowheads="1"/>
            </p:cNvSpPr>
            <p:nvPr/>
          </p:nvSpPr>
          <p:spPr bwMode="auto">
            <a:xfrm>
              <a:off x="424" y="3558"/>
              <a:ext cx="43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3" name="Rectangle 233"/>
            <p:cNvSpPr>
              <a:spLocks noChangeArrowheads="1"/>
            </p:cNvSpPr>
            <p:nvPr/>
          </p:nvSpPr>
          <p:spPr bwMode="auto">
            <a:xfrm>
              <a:off x="424" y="3586"/>
              <a:ext cx="6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4" name="Rectangle 234"/>
            <p:cNvSpPr>
              <a:spLocks noChangeArrowheads="1"/>
            </p:cNvSpPr>
            <p:nvPr/>
          </p:nvSpPr>
          <p:spPr bwMode="auto">
            <a:xfrm>
              <a:off x="424" y="3617"/>
              <a:ext cx="62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5" name="Rectangle 235"/>
            <p:cNvSpPr>
              <a:spLocks noChangeArrowheads="1"/>
            </p:cNvSpPr>
            <p:nvPr/>
          </p:nvSpPr>
          <p:spPr bwMode="auto">
            <a:xfrm>
              <a:off x="424" y="3646"/>
              <a:ext cx="6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6" name="Rectangle 236"/>
            <p:cNvSpPr>
              <a:spLocks noChangeArrowheads="1"/>
            </p:cNvSpPr>
            <p:nvPr/>
          </p:nvSpPr>
          <p:spPr bwMode="auto">
            <a:xfrm>
              <a:off x="424" y="3675"/>
              <a:ext cx="14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7" name="Rectangle 237"/>
            <p:cNvSpPr>
              <a:spLocks noChangeArrowheads="1"/>
            </p:cNvSpPr>
            <p:nvPr/>
          </p:nvSpPr>
          <p:spPr bwMode="auto">
            <a:xfrm>
              <a:off x="424" y="3704"/>
              <a:ext cx="14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8" name="Rectangle 238"/>
            <p:cNvSpPr>
              <a:spLocks noChangeArrowheads="1"/>
            </p:cNvSpPr>
            <p:nvPr/>
          </p:nvSpPr>
          <p:spPr bwMode="auto">
            <a:xfrm>
              <a:off x="424" y="3735"/>
              <a:ext cx="14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39" name="Freeform 239"/>
            <p:cNvSpPr>
              <a:spLocks noEditPoints="1"/>
            </p:cNvSpPr>
            <p:nvPr/>
          </p:nvSpPr>
          <p:spPr bwMode="auto">
            <a:xfrm>
              <a:off x="501" y="3543"/>
              <a:ext cx="72" cy="122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4" y="17"/>
                </a:cxn>
                <a:cxn ang="0">
                  <a:pos x="17" y="16"/>
                </a:cxn>
                <a:cxn ang="0">
                  <a:pos x="24" y="17"/>
                </a:cxn>
                <a:cxn ang="0">
                  <a:pos x="26" y="18"/>
                </a:cxn>
                <a:cxn ang="0">
                  <a:pos x="27" y="16"/>
                </a:cxn>
                <a:cxn ang="0">
                  <a:pos x="29" y="8"/>
                </a:cxn>
                <a:cxn ang="0">
                  <a:pos x="28" y="7"/>
                </a:cxn>
                <a:cxn ang="0">
                  <a:pos x="21" y="5"/>
                </a:cxn>
                <a:cxn ang="0">
                  <a:pos x="21" y="0"/>
                </a:cxn>
                <a:cxn ang="0">
                  <a:pos x="10" y="0"/>
                </a:cxn>
                <a:cxn ang="0">
                  <a:pos x="10" y="6"/>
                </a:cxn>
                <a:cxn ang="0">
                  <a:pos x="1" y="18"/>
                </a:cxn>
                <a:cxn ang="0">
                  <a:pos x="13" y="30"/>
                </a:cxn>
                <a:cxn ang="0">
                  <a:pos x="17" y="33"/>
                </a:cxn>
                <a:cxn ang="0">
                  <a:pos x="14" y="34"/>
                </a:cxn>
                <a:cxn ang="0">
                  <a:pos x="5" y="32"/>
                </a:cxn>
                <a:cxn ang="0">
                  <a:pos x="3" y="31"/>
                </a:cxn>
                <a:cxn ang="0">
                  <a:pos x="0" y="42"/>
                </a:cxn>
                <a:cxn ang="0">
                  <a:pos x="2" y="43"/>
                </a:cxn>
                <a:cxn ang="0">
                  <a:pos x="10" y="45"/>
                </a:cxn>
                <a:cxn ang="0">
                  <a:pos x="10" y="51"/>
                </a:cxn>
                <a:cxn ang="0">
                  <a:pos x="20" y="51"/>
                </a:cxn>
                <a:cxn ang="0">
                  <a:pos x="20" y="44"/>
                </a:cxn>
                <a:cxn ang="0">
                  <a:pos x="30" y="32"/>
                </a:cxn>
                <a:cxn ang="0">
                  <a:pos x="19" y="19"/>
                </a:cxn>
                <a:cxn ang="0">
                  <a:pos x="19" y="43"/>
                </a:cxn>
                <a:cxn ang="0">
                  <a:pos x="19" y="43"/>
                </a:cxn>
                <a:cxn ang="0">
                  <a:pos x="19" y="49"/>
                </a:cxn>
                <a:cxn ang="0">
                  <a:pos x="12" y="49"/>
                </a:cxn>
                <a:cxn ang="0">
                  <a:pos x="12" y="44"/>
                </a:cxn>
                <a:cxn ang="0">
                  <a:pos x="11" y="44"/>
                </a:cxn>
                <a:cxn ang="0">
                  <a:pos x="2" y="41"/>
                </a:cxn>
                <a:cxn ang="0">
                  <a:pos x="2" y="41"/>
                </a:cxn>
                <a:cxn ang="0">
                  <a:pos x="4" y="33"/>
                </a:cxn>
                <a:cxn ang="0">
                  <a:pos x="5" y="33"/>
                </a:cxn>
                <a:cxn ang="0">
                  <a:pos x="14" y="36"/>
                </a:cxn>
                <a:cxn ang="0">
                  <a:pos x="19" y="33"/>
                </a:cxn>
                <a:cxn ang="0">
                  <a:pos x="13" y="29"/>
                </a:cxn>
                <a:cxn ang="0">
                  <a:pos x="2" y="18"/>
                </a:cxn>
                <a:cxn ang="0">
                  <a:pos x="11" y="7"/>
                </a:cxn>
                <a:cxn ang="0">
                  <a:pos x="12" y="7"/>
                </a:cxn>
                <a:cxn ang="0">
                  <a:pos x="12" y="1"/>
                </a:cxn>
                <a:cxn ang="0">
                  <a:pos x="19" y="1"/>
                </a:cxn>
                <a:cxn ang="0">
                  <a:pos x="19" y="6"/>
                </a:cxn>
                <a:cxn ang="0">
                  <a:pos x="20" y="6"/>
                </a:cxn>
                <a:cxn ang="0">
                  <a:pos x="27" y="8"/>
                </a:cxn>
                <a:cxn ang="0">
                  <a:pos x="28" y="8"/>
                </a:cxn>
                <a:cxn ang="0">
                  <a:pos x="26" y="16"/>
                </a:cxn>
                <a:cxn ang="0">
                  <a:pos x="25" y="16"/>
                </a:cxn>
                <a:cxn ang="0">
                  <a:pos x="25" y="16"/>
                </a:cxn>
                <a:cxn ang="0">
                  <a:pos x="17" y="14"/>
                </a:cxn>
                <a:cxn ang="0">
                  <a:pos x="13" y="17"/>
                </a:cxn>
                <a:cxn ang="0">
                  <a:pos x="19" y="21"/>
                </a:cxn>
                <a:cxn ang="0">
                  <a:pos x="29" y="32"/>
                </a:cxn>
                <a:cxn ang="0">
                  <a:pos x="19" y="43"/>
                </a:cxn>
              </a:cxnLst>
              <a:rect l="0" t="0" r="r" b="b"/>
              <a:pathLst>
                <a:path w="30" h="51">
                  <a:moveTo>
                    <a:pt x="19" y="19"/>
                  </a:moveTo>
                  <a:cubicBezTo>
                    <a:pt x="15" y="18"/>
                    <a:pt x="14" y="17"/>
                    <a:pt x="14" y="17"/>
                  </a:cubicBezTo>
                  <a:cubicBezTo>
                    <a:pt x="14" y="16"/>
                    <a:pt x="16" y="16"/>
                    <a:pt x="17" y="16"/>
                  </a:cubicBezTo>
                  <a:cubicBezTo>
                    <a:pt x="20" y="16"/>
                    <a:pt x="23" y="17"/>
                    <a:pt x="24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6"/>
                    <a:pt x="23" y="5"/>
                    <a:pt x="21" y="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7"/>
                    <a:pt x="1" y="12"/>
                    <a:pt x="1" y="18"/>
                  </a:cubicBezTo>
                  <a:cubicBezTo>
                    <a:pt x="1" y="25"/>
                    <a:pt x="7" y="28"/>
                    <a:pt x="13" y="30"/>
                  </a:cubicBezTo>
                  <a:cubicBezTo>
                    <a:pt x="17" y="32"/>
                    <a:pt x="17" y="33"/>
                    <a:pt x="17" y="33"/>
                  </a:cubicBezTo>
                  <a:cubicBezTo>
                    <a:pt x="17" y="34"/>
                    <a:pt x="16" y="34"/>
                    <a:pt x="14" y="34"/>
                  </a:cubicBezTo>
                  <a:cubicBezTo>
                    <a:pt x="10" y="34"/>
                    <a:pt x="7" y="33"/>
                    <a:pt x="5" y="32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4" y="44"/>
                    <a:pt x="7" y="45"/>
                    <a:pt x="10" y="45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7" y="43"/>
                    <a:pt x="30" y="38"/>
                    <a:pt x="30" y="32"/>
                  </a:cubicBezTo>
                  <a:cubicBezTo>
                    <a:pt x="30" y="26"/>
                    <a:pt x="27" y="22"/>
                    <a:pt x="19" y="19"/>
                  </a:cubicBezTo>
                  <a:close/>
                  <a:moveTo>
                    <a:pt x="19" y="43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8" y="44"/>
                    <a:pt x="4" y="43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4"/>
                    <a:pt x="10" y="36"/>
                    <a:pt x="14" y="36"/>
                  </a:cubicBezTo>
                  <a:cubicBezTo>
                    <a:pt x="17" y="36"/>
                    <a:pt x="19" y="35"/>
                    <a:pt x="19" y="33"/>
                  </a:cubicBezTo>
                  <a:cubicBezTo>
                    <a:pt x="19" y="31"/>
                    <a:pt x="17" y="30"/>
                    <a:pt x="13" y="29"/>
                  </a:cubicBezTo>
                  <a:cubicBezTo>
                    <a:pt x="8" y="27"/>
                    <a:pt x="2" y="24"/>
                    <a:pt x="2" y="18"/>
                  </a:cubicBezTo>
                  <a:cubicBezTo>
                    <a:pt x="2" y="12"/>
                    <a:pt x="6" y="8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7"/>
                    <a:pt x="25" y="7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3" y="15"/>
                    <a:pt x="21" y="14"/>
                    <a:pt x="17" y="14"/>
                  </a:cubicBezTo>
                  <a:cubicBezTo>
                    <a:pt x="13" y="14"/>
                    <a:pt x="13" y="16"/>
                    <a:pt x="13" y="17"/>
                  </a:cubicBezTo>
                  <a:cubicBezTo>
                    <a:pt x="13" y="18"/>
                    <a:pt x="14" y="19"/>
                    <a:pt x="19" y="21"/>
                  </a:cubicBezTo>
                  <a:cubicBezTo>
                    <a:pt x="26" y="23"/>
                    <a:pt x="29" y="27"/>
                    <a:pt x="29" y="32"/>
                  </a:cubicBezTo>
                  <a:cubicBezTo>
                    <a:pt x="29" y="38"/>
                    <a:pt x="25" y="42"/>
                    <a:pt x="19" y="4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42" name="Group 242"/>
          <p:cNvGrpSpPr>
            <a:grpSpLocks noChangeAspect="1"/>
          </p:cNvGrpSpPr>
          <p:nvPr/>
        </p:nvGrpSpPr>
        <p:grpSpPr bwMode="auto">
          <a:xfrm>
            <a:off x="1459708" y="5426072"/>
            <a:ext cx="768350" cy="768350"/>
            <a:chOff x="925" y="3418"/>
            <a:chExt cx="484" cy="484"/>
          </a:xfrm>
        </p:grpSpPr>
        <p:sp>
          <p:nvSpPr>
            <p:cNvPr id="51443" name="Freeform 243"/>
            <p:cNvSpPr>
              <a:spLocks noEditPoints="1"/>
            </p:cNvSpPr>
            <p:nvPr/>
          </p:nvSpPr>
          <p:spPr bwMode="auto">
            <a:xfrm>
              <a:off x="925" y="341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4" name="Freeform 244"/>
            <p:cNvSpPr>
              <a:spLocks noEditPoints="1"/>
            </p:cNvSpPr>
            <p:nvPr/>
          </p:nvSpPr>
          <p:spPr bwMode="auto">
            <a:xfrm>
              <a:off x="1055" y="3526"/>
              <a:ext cx="235" cy="27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1" y="0"/>
                </a:cxn>
                <a:cxn ang="0">
                  <a:pos x="31" y="7"/>
                </a:cxn>
                <a:cxn ang="0">
                  <a:pos x="31" y="29"/>
                </a:cxn>
                <a:cxn ang="0">
                  <a:pos x="9" y="29"/>
                </a:cxn>
                <a:cxn ang="0">
                  <a:pos x="0" y="29"/>
                </a:cxn>
                <a:cxn ang="0">
                  <a:pos x="0" y="39"/>
                </a:cxn>
                <a:cxn ang="0">
                  <a:pos x="0" y="269"/>
                </a:cxn>
                <a:cxn ang="0">
                  <a:pos x="0" y="278"/>
                </a:cxn>
                <a:cxn ang="0">
                  <a:pos x="9" y="278"/>
                </a:cxn>
                <a:cxn ang="0">
                  <a:pos x="194" y="278"/>
                </a:cxn>
                <a:cxn ang="0">
                  <a:pos x="203" y="278"/>
                </a:cxn>
                <a:cxn ang="0">
                  <a:pos x="203" y="269"/>
                </a:cxn>
                <a:cxn ang="0">
                  <a:pos x="203" y="249"/>
                </a:cxn>
                <a:cxn ang="0">
                  <a:pos x="225" y="249"/>
                </a:cxn>
                <a:cxn ang="0">
                  <a:pos x="235" y="249"/>
                </a:cxn>
                <a:cxn ang="0">
                  <a:pos x="235" y="240"/>
                </a:cxn>
                <a:cxn ang="0">
                  <a:pos x="235" y="7"/>
                </a:cxn>
                <a:cxn ang="0">
                  <a:pos x="235" y="0"/>
                </a:cxn>
                <a:cxn ang="0">
                  <a:pos x="225" y="0"/>
                </a:cxn>
                <a:cxn ang="0">
                  <a:pos x="40" y="0"/>
                </a:cxn>
                <a:cxn ang="0">
                  <a:pos x="194" y="269"/>
                </a:cxn>
                <a:cxn ang="0">
                  <a:pos x="9" y="269"/>
                </a:cxn>
                <a:cxn ang="0">
                  <a:pos x="9" y="39"/>
                </a:cxn>
                <a:cxn ang="0">
                  <a:pos x="31" y="39"/>
                </a:cxn>
                <a:cxn ang="0">
                  <a:pos x="31" y="240"/>
                </a:cxn>
                <a:cxn ang="0">
                  <a:pos x="31" y="249"/>
                </a:cxn>
                <a:cxn ang="0">
                  <a:pos x="40" y="249"/>
                </a:cxn>
                <a:cxn ang="0">
                  <a:pos x="194" y="249"/>
                </a:cxn>
                <a:cxn ang="0">
                  <a:pos x="194" y="269"/>
                </a:cxn>
                <a:cxn ang="0">
                  <a:pos x="225" y="240"/>
                </a:cxn>
                <a:cxn ang="0">
                  <a:pos x="203" y="240"/>
                </a:cxn>
                <a:cxn ang="0">
                  <a:pos x="194" y="240"/>
                </a:cxn>
                <a:cxn ang="0">
                  <a:pos x="40" y="240"/>
                </a:cxn>
                <a:cxn ang="0">
                  <a:pos x="40" y="39"/>
                </a:cxn>
                <a:cxn ang="0">
                  <a:pos x="40" y="29"/>
                </a:cxn>
                <a:cxn ang="0">
                  <a:pos x="40" y="7"/>
                </a:cxn>
                <a:cxn ang="0">
                  <a:pos x="225" y="7"/>
                </a:cxn>
                <a:cxn ang="0">
                  <a:pos x="225" y="240"/>
                </a:cxn>
              </a:cxnLst>
              <a:rect l="0" t="0" r="r" b="b"/>
              <a:pathLst>
                <a:path w="235" h="278">
                  <a:moveTo>
                    <a:pt x="40" y="0"/>
                  </a:moveTo>
                  <a:lnTo>
                    <a:pt x="31" y="0"/>
                  </a:lnTo>
                  <a:lnTo>
                    <a:pt x="31" y="7"/>
                  </a:lnTo>
                  <a:lnTo>
                    <a:pt x="31" y="29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39"/>
                  </a:lnTo>
                  <a:lnTo>
                    <a:pt x="0" y="269"/>
                  </a:lnTo>
                  <a:lnTo>
                    <a:pt x="0" y="278"/>
                  </a:lnTo>
                  <a:lnTo>
                    <a:pt x="9" y="278"/>
                  </a:lnTo>
                  <a:lnTo>
                    <a:pt x="194" y="278"/>
                  </a:lnTo>
                  <a:lnTo>
                    <a:pt x="203" y="278"/>
                  </a:lnTo>
                  <a:lnTo>
                    <a:pt x="203" y="269"/>
                  </a:lnTo>
                  <a:lnTo>
                    <a:pt x="203" y="249"/>
                  </a:lnTo>
                  <a:lnTo>
                    <a:pt x="225" y="249"/>
                  </a:lnTo>
                  <a:lnTo>
                    <a:pt x="235" y="249"/>
                  </a:lnTo>
                  <a:lnTo>
                    <a:pt x="235" y="240"/>
                  </a:lnTo>
                  <a:lnTo>
                    <a:pt x="235" y="7"/>
                  </a:lnTo>
                  <a:lnTo>
                    <a:pt x="235" y="0"/>
                  </a:lnTo>
                  <a:lnTo>
                    <a:pt x="225" y="0"/>
                  </a:lnTo>
                  <a:lnTo>
                    <a:pt x="40" y="0"/>
                  </a:lnTo>
                  <a:close/>
                  <a:moveTo>
                    <a:pt x="194" y="269"/>
                  </a:moveTo>
                  <a:lnTo>
                    <a:pt x="9" y="269"/>
                  </a:lnTo>
                  <a:lnTo>
                    <a:pt x="9" y="39"/>
                  </a:lnTo>
                  <a:lnTo>
                    <a:pt x="31" y="39"/>
                  </a:lnTo>
                  <a:lnTo>
                    <a:pt x="31" y="240"/>
                  </a:lnTo>
                  <a:lnTo>
                    <a:pt x="31" y="249"/>
                  </a:lnTo>
                  <a:lnTo>
                    <a:pt x="40" y="249"/>
                  </a:lnTo>
                  <a:lnTo>
                    <a:pt x="194" y="249"/>
                  </a:lnTo>
                  <a:lnTo>
                    <a:pt x="194" y="269"/>
                  </a:lnTo>
                  <a:close/>
                  <a:moveTo>
                    <a:pt x="225" y="240"/>
                  </a:moveTo>
                  <a:lnTo>
                    <a:pt x="203" y="240"/>
                  </a:lnTo>
                  <a:lnTo>
                    <a:pt x="194" y="240"/>
                  </a:lnTo>
                  <a:lnTo>
                    <a:pt x="40" y="240"/>
                  </a:lnTo>
                  <a:lnTo>
                    <a:pt x="40" y="39"/>
                  </a:lnTo>
                  <a:lnTo>
                    <a:pt x="40" y="29"/>
                  </a:lnTo>
                  <a:lnTo>
                    <a:pt x="40" y="7"/>
                  </a:lnTo>
                  <a:lnTo>
                    <a:pt x="225" y="7"/>
                  </a:lnTo>
                  <a:lnTo>
                    <a:pt x="225" y="2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5" name="Rectangle 245"/>
            <p:cNvSpPr>
              <a:spLocks noChangeArrowheads="1"/>
            </p:cNvSpPr>
            <p:nvPr/>
          </p:nvSpPr>
          <p:spPr bwMode="auto">
            <a:xfrm>
              <a:off x="1112" y="3557"/>
              <a:ext cx="43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6" name="Rectangle 246"/>
            <p:cNvSpPr>
              <a:spLocks noChangeArrowheads="1"/>
            </p:cNvSpPr>
            <p:nvPr/>
          </p:nvSpPr>
          <p:spPr bwMode="auto">
            <a:xfrm>
              <a:off x="1112" y="3586"/>
              <a:ext cx="63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7" name="Rectangle 247"/>
            <p:cNvSpPr>
              <a:spLocks noChangeArrowheads="1"/>
            </p:cNvSpPr>
            <p:nvPr/>
          </p:nvSpPr>
          <p:spPr bwMode="auto">
            <a:xfrm>
              <a:off x="1112" y="3617"/>
              <a:ext cx="63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8" name="Rectangle 248"/>
            <p:cNvSpPr>
              <a:spLocks noChangeArrowheads="1"/>
            </p:cNvSpPr>
            <p:nvPr/>
          </p:nvSpPr>
          <p:spPr bwMode="auto">
            <a:xfrm>
              <a:off x="1112" y="3646"/>
              <a:ext cx="63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49" name="Rectangle 249"/>
            <p:cNvSpPr>
              <a:spLocks noChangeArrowheads="1"/>
            </p:cNvSpPr>
            <p:nvPr/>
          </p:nvSpPr>
          <p:spPr bwMode="auto">
            <a:xfrm>
              <a:off x="1112" y="3675"/>
              <a:ext cx="14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50" name="Rectangle 250"/>
            <p:cNvSpPr>
              <a:spLocks noChangeArrowheads="1"/>
            </p:cNvSpPr>
            <p:nvPr/>
          </p:nvSpPr>
          <p:spPr bwMode="auto">
            <a:xfrm>
              <a:off x="1112" y="3704"/>
              <a:ext cx="14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51" name="Rectangle 251"/>
            <p:cNvSpPr>
              <a:spLocks noChangeArrowheads="1"/>
            </p:cNvSpPr>
            <p:nvPr/>
          </p:nvSpPr>
          <p:spPr bwMode="auto">
            <a:xfrm>
              <a:off x="1112" y="3735"/>
              <a:ext cx="14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52" name="Freeform 252"/>
            <p:cNvSpPr>
              <a:spLocks noEditPoints="1"/>
            </p:cNvSpPr>
            <p:nvPr/>
          </p:nvSpPr>
          <p:spPr bwMode="auto">
            <a:xfrm>
              <a:off x="1189" y="3543"/>
              <a:ext cx="72" cy="122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4" y="17"/>
                </a:cxn>
                <a:cxn ang="0">
                  <a:pos x="17" y="16"/>
                </a:cxn>
                <a:cxn ang="0">
                  <a:pos x="24" y="17"/>
                </a:cxn>
                <a:cxn ang="0">
                  <a:pos x="26" y="18"/>
                </a:cxn>
                <a:cxn ang="0">
                  <a:pos x="27" y="16"/>
                </a:cxn>
                <a:cxn ang="0">
                  <a:pos x="29" y="8"/>
                </a:cxn>
                <a:cxn ang="0">
                  <a:pos x="28" y="7"/>
                </a:cxn>
                <a:cxn ang="0">
                  <a:pos x="21" y="5"/>
                </a:cxn>
                <a:cxn ang="0">
                  <a:pos x="21" y="0"/>
                </a:cxn>
                <a:cxn ang="0">
                  <a:pos x="10" y="0"/>
                </a:cxn>
                <a:cxn ang="0">
                  <a:pos x="10" y="6"/>
                </a:cxn>
                <a:cxn ang="0">
                  <a:pos x="1" y="18"/>
                </a:cxn>
                <a:cxn ang="0">
                  <a:pos x="13" y="30"/>
                </a:cxn>
                <a:cxn ang="0">
                  <a:pos x="17" y="33"/>
                </a:cxn>
                <a:cxn ang="0">
                  <a:pos x="14" y="34"/>
                </a:cxn>
                <a:cxn ang="0">
                  <a:pos x="5" y="32"/>
                </a:cxn>
                <a:cxn ang="0">
                  <a:pos x="3" y="31"/>
                </a:cxn>
                <a:cxn ang="0">
                  <a:pos x="0" y="42"/>
                </a:cxn>
                <a:cxn ang="0">
                  <a:pos x="2" y="43"/>
                </a:cxn>
                <a:cxn ang="0">
                  <a:pos x="10" y="45"/>
                </a:cxn>
                <a:cxn ang="0">
                  <a:pos x="10" y="51"/>
                </a:cxn>
                <a:cxn ang="0">
                  <a:pos x="20" y="51"/>
                </a:cxn>
                <a:cxn ang="0">
                  <a:pos x="20" y="44"/>
                </a:cxn>
                <a:cxn ang="0">
                  <a:pos x="30" y="32"/>
                </a:cxn>
                <a:cxn ang="0">
                  <a:pos x="19" y="19"/>
                </a:cxn>
                <a:cxn ang="0">
                  <a:pos x="19" y="43"/>
                </a:cxn>
                <a:cxn ang="0">
                  <a:pos x="19" y="43"/>
                </a:cxn>
                <a:cxn ang="0">
                  <a:pos x="19" y="49"/>
                </a:cxn>
                <a:cxn ang="0">
                  <a:pos x="12" y="49"/>
                </a:cxn>
                <a:cxn ang="0">
                  <a:pos x="12" y="44"/>
                </a:cxn>
                <a:cxn ang="0">
                  <a:pos x="11" y="44"/>
                </a:cxn>
                <a:cxn ang="0">
                  <a:pos x="2" y="41"/>
                </a:cxn>
                <a:cxn ang="0">
                  <a:pos x="2" y="41"/>
                </a:cxn>
                <a:cxn ang="0">
                  <a:pos x="4" y="33"/>
                </a:cxn>
                <a:cxn ang="0">
                  <a:pos x="5" y="33"/>
                </a:cxn>
                <a:cxn ang="0">
                  <a:pos x="14" y="36"/>
                </a:cxn>
                <a:cxn ang="0">
                  <a:pos x="19" y="33"/>
                </a:cxn>
                <a:cxn ang="0">
                  <a:pos x="13" y="29"/>
                </a:cxn>
                <a:cxn ang="0">
                  <a:pos x="2" y="18"/>
                </a:cxn>
                <a:cxn ang="0">
                  <a:pos x="11" y="7"/>
                </a:cxn>
                <a:cxn ang="0">
                  <a:pos x="12" y="7"/>
                </a:cxn>
                <a:cxn ang="0">
                  <a:pos x="12" y="1"/>
                </a:cxn>
                <a:cxn ang="0">
                  <a:pos x="19" y="1"/>
                </a:cxn>
                <a:cxn ang="0">
                  <a:pos x="19" y="6"/>
                </a:cxn>
                <a:cxn ang="0">
                  <a:pos x="20" y="6"/>
                </a:cxn>
                <a:cxn ang="0">
                  <a:pos x="27" y="8"/>
                </a:cxn>
                <a:cxn ang="0">
                  <a:pos x="28" y="8"/>
                </a:cxn>
                <a:cxn ang="0">
                  <a:pos x="26" y="16"/>
                </a:cxn>
                <a:cxn ang="0">
                  <a:pos x="25" y="16"/>
                </a:cxn>
                <a:cxn ang="0">
                  <a:pos x="25" y="16"/>
                </a:cxn>
                <a:cxn ang="0">
                  <a:pos x="17" y="14"/>
                </a:cxn>
                <a:cxn ang="0">
                  <a:pos x="13" y="17"/>
                </a:cxn>
                <a:cxn ang="0">
                  <a:pos x="19" y="21"/>
                </a:cxn>
                <a:cxn ang="0">
                  <a:pos x="29" y="32"/>
                </a:cxn>
                <a:cxn ang="0">
                  <a:pos x="19" y="43"/>
                </a:cxn>
              </a:cxnLst>
              <a:rect l="0" t="0" r="r" b="b"/>
              <a:pathLst>
                <a:path w="30" h="51">
                  <a:moveTo>
                    <a:pt x="19" y="19"/>
                  </a:moveTo>
                  <a:cubicBezTo>
                    <a:pt x="15" y="18"/>
                    <a:pt x="14" y="17"/>
                    <a:pt x="14" y="17"/>
                  </a:cubicBezTo>
                  <a:cubicBezTo>
                    <a:pt x="14" y="16"/>
                    <a:pt x="16" y="16"/>
                    <a:pt x="17" y="16"/>
                  </a:cubicBezTo>
                  <a:cubicBezTo>
                    <a:pt x="20" y="16"/>
                    <a:pt x="23" y="17"/>
                    <a:pt x="24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6"/>
                    <a:pt x="23" y="5"/>
                    <a:pt x="21" y="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7"/>
                    <a:pt x="1" y="12"/>
                    <a:pt x="1" y="18"/>
                  </a:cubicBezTo>
                  <a:cubicBezTo>
                    <a:pt x="1" y="25"/>
                    <a:pt x="7" y="28"/>
                    <a:pt x="13" y="30"/>
                  </a:cubicBezTo>
                  <a:cubicBezTo>
                    <a:pt x="17" y="32"/>
                    <a:pt x="17" y="33"/>
                    <a:pt x="17" y="33"/>
                  </a:cubicBezTo>
                  <a:cubicBezTo>
                    <a:pt x="17" y="34"/>
                    <a:pt x="16" y="34"/>
                    <a:pt x="14" y="34"/>
                  </a:cubicBezTo>
                  <a:cubicBezTo>
                    <a:pt x="10" y="34"/>
                    <a:pt x="7" y="33"/>
                    <a:pt x="5" y="32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4" y="44"/>
                    <a:pt x="7" y="45"/>
                    <a:pt x="10" y="45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7" y="43"/>
                    <a:pt x="30" y="38"/>
                    <a:pt x="30" y="32"/>
                  </a:cubicBezTo>
                  <a:cubicBezTo>
                    <a:pt x="30" y="26"/>
                    <a:pt x="27" y="22"/>
                    <a:pt x="19" y="19"/>
                  </a:cubicBezTo>
                  <a:close/>
                  <a:moveTo>
                    <a:pt x="19" y="43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8" y="44"/>
                    <a:pt x="4" y="43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4"/>
                    <a:pt x="10" y="36"/>
                    <a:pt x="14" y="36"/>
                  </a:cubicBezTo>
                  <a:cubicBezTo>
                    <a:pt x="17" y="36"/>
                    <a:pt x="19" y="35"/>
                    <a:pt x="19" y="33"/>
                  </a:cubicBezTo>
                  <a:cubicBezTo>
                    <a:pt x="19" y="31"/>
                    <a:pt x="17" y="30"/>
                    <a:pt x="13" y="29"/>
                  </a:cubicBezTo>
                  <a:cubicBezTo>
                    <a:pt x="8" y="27"/>
                    <a:pt x="2" y="24"/>
                    <a:pt x="2" y="18"/>
                  </a:cubicBezTo>
                  <a:cubicBezTo>
                    <a:pt x="2" y="12"/>
                    <a:pt x="6" y="8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2" y="7"/>
                    <a:pt x="25" y="7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3" y="15"/>
                    <a:pt x="21" y="14"/>
                    <a:pt x="17" y="14"/>
                  </a:cubicBezTo>
                  <a:cubicBezTo>
                    <a:pt x="13" y="14"/>
                    <a:pt x="13" y="16"/>
                    <a:pt x="13" y="17"/>
                  </a:cubicBezTo>
                  <a:cubicBezTo>
                    <a:pt x="13" y="18"/>
                    <a:pt x="14" y="19"/>
                    <a:pt x="19" y="21"/>
                  </a:cubicBezTo>
                  <a:cubicBezTo>
                    <a:pt x="26" y="23"/>
                    <a:pt x="29" y="27"/>
                    <a:pt x="29" y="32"/>
                  </a:cubicBezTo>
                  <a:cubicBezTo>
                    <a:pt x="29" y="38"/>
                    <a:pt x="25" y="42"/>
                    <a:pt x="19" y="4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455" name="Group 255"/>
          <p:cNvGrpSpPr>
            <a:grpSpLocks noChangeAspect="1"/>
          </p:cNvGrpSpPr>
          <p:nvPr/>
        </p:nvGrpSpPr>
        <p:grpSpPr bwMode="auto">
          <a:xfrm>
            <a:off x="2520156" y="5392738"/>
            <a:ext cx="844550" cy="839787"/>
            <a:chOff x="1588" y="3397"/>
            <a:chExt cx="532" cy="529"/>
          </a:xfrm>
        </p:grpSpPr>
        <p:sp>
          <p:nvSpPr>
            <p:cNvPr id="51456" name="Oval 256"/>
            <p:cNvSpPr>
              <a:spLocks noChangeArrowheads="1"/>
            </p:cNvSpPr>
            <p:nvPr/>
          </p:nvSpPr>
          <p:spPr bwMode="auto">
            <a:xfrm>
              <a:off x="1588" y="3397"/>
              <a:ext cx="532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57" name="Freeform 257"/>
            <p:cNvSpPr>
              <a:spLocks noEditPoints="1"/>
            </p:cNvSpPr>
            <p:nvPr/>
          </p:nvSpPr>
          <p:spPr bwMode="auto">
            <a:xfrm>
              <a:off x="1607" y="3414"/>
              <a:ext cx="496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7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2" y="104"/>
                </a:cxn>
                <a:cxn ang="0">
                  <a:pos x="103" y="202"/>
                </a:cxn>
              </a:cxnLst>
              <a:rect l="0" t="0" r="r" b="b"/>
              <a:pathLst>
                <a:path w="207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7" y="161"/>
                    <a:pt x="207" y="104"/>
                  </a:cubicBezTo>
                  <a:cubicBezTo>
                    <a:pt x="207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2" y="49"/>
                    <a:pt x="202" y="104"/>
                  </a:cubicBezTo>
                  <a:cubicBezTo>
                    <a:pt x="202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58" name="Freeform 258"/>
            <p:cNvSpPr>
              <a:spLocks noEditPoints="1"/>
            </p:cNvSpPr>
            <p:nvPr/>
          </p:nvSpPr>
          <p:spPr bwMode="auto">
            <a:xfrm>
              <a:off x="1832" y="3584"/>
              <a:ext cx="46" cy="45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10" y="19"/>
                </a:cxn>
                <a:cxn ang="0">
                  <a:pos x="19" y="9"/>
                </a:cxn>
                <a:cxn ang="0">
                  <a:pos x="4" y="9"/>
                </a:cxn>
                <a:cxn ang="0">
                  <a:pos x="10" y="4"/>
                </a:cxn>
                <a:cxn ang="0">
                  <a:pos x="15" y="9"/>
                </a:cxn>
                <a:cxn ang="0">
                  <a:pos x="10" y="15"/>
                </a:cxn>
                <a:cxn ang="0">
                  <a:pos x="4" y="9"/>
                </a:cxn>
              </a:cxnLst>
              <a:rect l="0" t="0" r="r" b="b"/>
              <a:pathLst>
                <a:path w="19" h="19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4"/>
                    <a:pt x="5" y="19"/>
                    <a:pt x="10" y="19"/>
                  </a:cubicBezTo>
                  <a:cubicBezTo>
                    <a:pt x="15" y="19"/>
                    <a:pt x="19" y="14"/>
                    <a:pt x="19" y="9"/>
                  </a:cubicBezTo>
                  <a:close/>
                  <a:moveTo>
                    <a:pt x="4" y="9"/>
                  </a:moveTo>
                  <a:cubicBezTo>
                    <a:pt x="4" y="6"/>
                    <a:pt x="7" y="4"/>
                    <a:pt x="10" y="4"/>
                  </a:cubicBezTo>
                  <a:cubicBezTo>
                    <a:pt x="13" y="4"/>
                    <a:pt x="15" y="6"/>
                    <a:pt x="15" y="9"/>
                  </a:cubicBezTo>
                  <a:cubicBezTo>
                    <a:pt x="15" y="12"/>
                    <a:pt x="13" y="15"/>
                    <a:pt x="10" y="15"/>
                  </a:cubicBezTo>
                  <a:cubicBezTo>
                    <a:pt x="7" y="15"/>
                    <a:pt x="4" y="12"/>
                    <a:pt x="4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59" name="Freeform 259"/>
            <p:cNvSpPr>
              <a:spLocks noEditPoints="1"/>
            </p:cNvSpPr>
            <p:nvPr/>
          </p:nvSpPr>
          <p:spPr bwMode="auto">
            <a:xfrm>
              <a:off x="1741" y="3493"/>
              <a:ext cx="276" cy="309"/>
            </a:xfrm>
            <a:custGeom>
              <a:avLst/>
              <a:gdLst/>
              <a:ahLst/>
              <a:cxnLst>
                <a:cxn ang="0">
                  <a:pos x="108" y="60"/>
                </a:cxn>
                <a:cxn ang="0">
                  <a:pos x="107" y="60"/>
                </a:cxn>
                <a:cxn ang="0">
                  <a:pos x="99" y="66"/>
                </a:cxn>
                <a:cxn ang="0">
                  <a:pos x="100" y="72"/>
                </a:cxn>
                <a:cxn ang="0">
                  <a:pos x="106" y="76"/>
                </a:cxn>
                <a:cxn ang="0">
                  <a:pos x="107" y="76"/>
                </a:cxn>
                <a:cxn ang="0">
                  <a:pos x="110" y="75"/>
                </a:cxn>
                <a:cxn ang="0">
                  <a:pos x="106" y="96"/>
                </a:cxn>
                <a:cxn ang="0">
                  <a:pos x="84" y="108"/>
                </a:cxn>
                <a:cxn ang="0">
                  <a:pos x="84" y="91"/>
                </a:cxn>
                <a:cxn ang="0">
                  <a:pos x="65" y="91"/>
                </a:cxn>
                <a:cxn ang="0">
                  <a:pos x="94" y="47"/>
                </a:cxn>
                <a:cxn ang="0">
                  <a:pos x="47" y="0"/>
                </a:cxn>
                <a:cxn ang="0">
                  <a:pos x="0" y="47"/>
                </a:cxn>
                <a:cxn ang="0">
                  <a:pos x="29" y="91"/>
                </a:cxn>
                <a:cxn ang="0">
                  <a:pos x="10" y="91"/>
                </a:cxn>
                <a:cxn ang="0">
                  <a:pos x="10" y="129"/>
                </a:cxn>
                <a:cxn ang="0">
                  <a:pos x="84" y="129"/>
                </a:cxn>
                <a:cxn ang="0">
                  <a:pos x="84" y="112"/>
                </a:cxn>
                <a:cxn ang="0">
                  <a:pos x="109" y="98"/>
                </a:cxn>
                <a:cxn ang="0">
                  <a:pos x="113" y="73"/>
                </a:cxn>
                <a:cxn ang="0">
                  <a:pos x="115" y="69"/>
                </a:cxn>
                <a:cxn ang="0">
                  <a:pos x="113" y="63"/>
                </a:cxn>
                <a:cxn ang="0">
                  <a:pos x="108" y="60"/>
                </a:cxn>
                <a:cxn ang="0">
                  <a:pos x="3" y="47"/>
                </a:cxn>
                <a:cxn ang="0">
                  <a:pos x="47" y="4"/>
                </a:cxn>
                <a:cxn ang="0">
                  <a:pos x="91" y="47"/>
                </a:cxn>
                <a:cxn ang="0">
                  <a:pos x="47" y="91"/>
                </a:cxn>
                <a:cxn ang="0">
                  <a:pos x="3" y="47"/>
                </a:cxn>
                <a:cxn ang="0">
                  <a:pos x="81" y="126"/>
                </a:cxn>
                <a:cxn ang="0">
                  <a:pos x="13" y="126"/>
                </a:cxn>
                <a:cxn ang="0">
                  <a:pos x="13" y="95"/>
                </a:cxn>
                <a:cxn ang="0">
                  <a:pos x="81" y="95"/>
                </a:cxn>
                <a:cxn ang="0">
                  <a:pos x="81" y="126"/>
                </a:cxn>
                <a:cxn ang="0">
                  <a:pos x="106" y="72"/>
                </a:cxn>
                <a:cxn ang="0">
                  <a:pos x="103" y="70"/>
                </a:cxn>
                <a:cxn ang="0">
                  <a:pos x="103" y="67"/>
                </a:cxn>
                <a:cxn ang="0">
                  <a:pos x="107" y="63"/>
                </a:cxn>
                <a:cxn ang="0">
                  <a:pos x="108" y="63"/>
                </a:cxn>
                <a:cxn ang="0">
                  <a:pos x="111" y="65"/>
                </a:cxn>
                <a:cxn ang="0">
                  <a:pos x="111" y="68"/>
                </a:cxn>
                <a:cxn ang="0">
                  <a:pos x="107" y="72"/>
                </a:cxn>
                <a:cxn ang="0">
                  <a:pos x="106" y="72"/>
                </a:cxn>
              </a:cxnLst>
              <a:rect l="0" t="0" r="r" b="b"/>
              <a:pathLst>
                <a:path w="115" h="129">
                  <a:moveTo>
                    <a:pt x="108" y="60"/>
                  </a:moveTo>
                  <a:cubicBezTo>
                    <a:pt x="108" y="60"/>
                    <a:pt x="107" y="60"/>
                    <a:pt x="107" y="60"/>
                  </a:cubicBezTo>
                  <a:cubicBezTo>
                    <a:pt x="103" y="60"/>
                    <a:pt x="100" y="63"/>
                    <a:pt x="99" y="66"/>
                  </a:cubicBezTo>
                  <a:cubicBezTo>
                    <a:pt x="99" y="69"/>
                    <a:pt x="99" y="71"/>
                    <a:pt x="100" y="72"/>
                  </a:cubicBezTo>
                  <a:cubicBezTo>
                    <a:pt x="102" y="74"/>
                    <a:pt x="104" y="75"/>
                    <a:pt x="106" y="76"/>
                  </a:cubicBezTo>
                  <a:cubicBezTo>
                    <a:pt x="106" y="76"/>
                    <a:pt x="107" y="76"/>
                    <a:pt x="107" y="76"/>
                  </a:cubicBezTo>
                  <a:cubicBezTo>
                    <a:pt x="108" y="76"/>
                    <a:pt x="109" y="76"/>
                    <a:pt x="110" y="75"/>
                  </a:cubicBezTo>
                  <a:cubicBezTo>
                    <a:pt x="111" y="84"/>
                    <a:pt x="110" y="91"/>
                    <a:pt x="106" y="96"/>
                  </a:cubicBezTo>
                  <a:cubicBezTo>
                    <a:pt x="100" y="104"/>
                    <a:pt x="89" y="107"/>
                    <a:pt x="84" y="108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82" y="84"/>
                    <a:pt x="94" y="67"/>
                    <a:pt x="94" y="47"/>
                  </a:cubicBezTo>
                  <a:cubicBezTo>
                    <a:pt x="94" y="21"/>
                    <a:pt x="73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67"/>
                    <a:pt x="12" y="84"/>
                    <a:pt x="29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84" y="129"/>
                    <a:pt x="84" y="129"/>
                    <a:pt x="84" y="129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9" y="111"/>
                    <a:pt x="101" y="108"/>
                    <a:pt x="109" y="98"/>
                  </a:cubicBezTo>
                  <a:cubicBezTo>
                    <a:pt x="114" y="91"/>
                    <a:pt x="115" y="83"/>
                    <a:pt x="113" y="73"/>
                  </a:cubicBezTo>
                  <a:cubicBezTo>
                    <a:pt x="114" y="72"/>
                    <a:pt x="115" y="70"/>
                    <a:pt x="115" y="69"/>
                  </a:cubicBezTo>
                  <a:cubicBezTo>
                    <a:pt x="115" y="67"/>
                    <a:pt x="115" y="65"/>
                    <a:pt x="113" y="63"/>
                  </a:cubicBezTo>
                  <a:cubicBezTo>
                    <a:pt x="112" y="61"/>
                    <a:pt x="110" y="60"/>
                    <a:pt x="108" y="60"/>
                  </a:cubicBezTo>
                  <a:close/>
                  <a:moveTo>
                    <a:pt x="3" y="47"/>
                  </a:moveTo>
                  <a:cubicBezTo>
                    <a:pt x="3" y="23"/>
                    <a:pt x="23" y="4"/>
                    <a:pt x="47" y="4"/>
                  </a:cubicBezTo>
                  <a:cubicBezTo>
                    <a:pt x="71" y="4"/>
                    <a:pt x="91" y="23"/>
                    <a:pt x="91" y="47"/>
                  </a:cubicBezTo>
                  <a:cubicBezTo>
                    <a:pt x="91" y="72"/>
                    <a:pt x="71" y="91"/>
                    <a:pt x="47" y="91"/>
                  </a:cubicBezTo>
                  <a:cubicBezTo>
                    <a:pt x="23" y="91"/>
                    <a:pt x="3" y="72"/>
                    <a:pt x="3" y="47"/>
                  </a:cubicBezTo>
                  <a:close/>
                  <a:moveTo>
                    <a:pt x="81" y="126"/>
                  </a:moveTo>
                  <a:cubicBezTo>
                    <a:pt x="13" y="126"/>
                    <a:pt x="13" y="126"/>
                    <a:pt x="13" y="126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81" y="95"/>
                    <a:pt x="81" y="95"/>
                    <a:pt x="81" y="95"/>
                  </a:cubicBezTo>
                  <a:lnTo>
                    <a:pt x="81" y="126"/>
                  </a:lnTo>
                  <a:close/>
                  <a:moveTo>
                    <a:pt x="106" y="72"/>
                  </a:moveTo>
                  <a:cubicBezTo>
                    <a:pt x="105" y="72"/>
                    <a:pt x="104" y="71"/>
                    <a:pt x="103" y="70"/>
                  </a:cubicBezTo>
                  <a:cubicBezTo>
                    <a:pt x="103" y="69"/>
                    <a:pt x="103" y="68"/>
                    <a:pt x="103" y="67"/>
                  </a:cubicBezTo>
                  <a:cubicBezTo>
                    <a:pt x="103" y="65"/>
                    <a:pt x="105" y="63"/>
                    <a:pt x="107" y="63"/>
                  </a:cubicBezTo>
                  <a:cubicBezTo>
                    <a:pt x="107" y="63"/>
                    <a:pt x="107" y="63"/>
                    <a:pt x="108" y="63"/>
                  </a:cubicBezTo>
                  <a:cubicBezTo>
                    <a:pt x="109" y="64"/>
                    <a:pt x="110" y="64"/>
                    <a:pt x="111" y="65"/>
                  </a:cubicBezTo>
                  <a:cubicBezTo>
                    <a:pt x="111" y="66"/>
                    <a:pt x="111" y="67"/>
                    <a:pt x="111" y="68"/>
                  </a:cubicBezTo>
                  <a:cubicBezTo>
                    <a:pt x="111" y="71"/>
                    <a:pt x="109" y="72"/>
                    <a:pt x="107" y="72"/>
                  </a:cubicBezTo>
                  <a:cubicBezTo>
                    <a:pt x="107" y="72"/>
                    <a:pt x="106" y="72"/>
                    <a:pt x="106" y="7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62" name="Group 262"/>
          <p:cNvGrpSpPr>
            <a:grpSpLocks noChangeAspect="1"/>
          </p:cNvGrpSpPr>
          <p:nvPr/>
        </p:nvGrpSpPr>
        <p:grpSpPr bwMode="auto">
          <a:xfrm>
            <a:off x="3645696" y="5413375"/>
            <a:ext cx="785813" cy="788988"/>
            <a:chOff x="2298" y="3410"/>
            <a:chExt cx="495" cy="497"/>
          </a:xfrm>
        </p:grpSpPr>
        <p:sp>
          <p:nvSpPr>
            <p:cNvPr id="51463" name="Freeform 263"/>
            <p:cNvSpPr>
              <a:spLocks noEditPoints="1"/>
            </p:cNvSpPr>
            <p:nvPr/>
          </p:nvSpPr>
          <p:spPr bwMode="auto">
            <a:xfrm>
              <a:off x="2298" y="3410"/>
              <a:ext cx="495" cy="497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2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49" y="5"/>
                    <a:pt x="5" y="49"/>
                    <a:pt x="5" y="104"/>
                  </a:cubicBezTo>
                  <a:cubicBezTo>
                    <a:pt x="5" y="158"/>
                    <a:pt x="49" y="202"/>
                    <a:pt x="104" y="202"/>
                  </a:cubicBezTo>
                  <a:cubicBezTo>
                    <a:pt x="158" y="202"/>
                    <a:pt x="202" y="158"/>
                    <a:pt x="202" y="104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64" name="Freeform 264"/>
            <p:cNvSpPr>
              <a:spLocks noEditPoints="1"/>
            </p:cNvSpPr>
            <p:nvPr/>
          </p:nvSpPr>
          <p:spPr bwMode="auto">
            <a:xfrm>
              <a:off x="2432" y="3489"/>
              <a:ext cx="227" cy="228"/>
            </a:xfrm>
            <a:custGeom>
              <a:avLst/>
              <a:gdLst/>
              <a:ahLst/>
              <a:cxnLst>
                <a:cxn ang="0">
                  <a:pos x="47" y="95"/>
                </a:cxn>
                <a:cxn ang="0">
                  <a:pos x="0" y="47"/>
                </a:cxn>
                <a:cxn ang="0">
                  <a:pos x="47" y="0"/>
                </a:cxn>
                <a:cxn ang="0">
                  <a:pos x="95" y="47"/>
                </a:cxn>
                <a:cxn ang="0">
                  <a:pos x="47" y="95"/>
                </a:cxn>
                <a:cxn ang="0">
                  <a:pos x="47" y="4"/>
                </a:cxn>
                <a:cxn ang="0">
                  <a:pos x="4" y="47"/>
                </a:cxn>
                <a:cxn ang="0">
                  <a:pos x="47" y="91"/>
                </a:cxn>
                <a:cxn ang="0">
                  <a:pos x="91" y="47"/>
                </a:cxn>
                <a:cxn ang="0">
                  <a:pos x="47" y="4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21" y="95"/>
                    <a:pt x="0" y="74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4" y="0"/>
                    <a:pt x="95" y="21"/>
                    <a:pt x="95" y="47"/>
                  </a:cubicBezTo>
                  <a:cubicBezTo>
                    <a:pt x="95" y="74"/>
                    <a:pt x="74" y="95"/>
                    <a:pt x="47" y="95"/>
                  </a:cubicBezTo>
                  <a:close/>
                  <a:moveTo>
                    <a:pt x="47" y="4"/>
                  </a:moveTo>
                  <a:cubicBezTo>
                    <a:pt x="23" y="4"/>
                    <a:pt x="4" y="23"/>
                    <a:pt x="4" y="47"/>
                  </a:cubicBezTo>
                  <a:cubicBezTo>
                    <a:pt x="4" y="72"/>
                    <a:pt x="23" y="91"/>
                    <a:pt x="47" y="91"/>
                  </a:cubicBezTo>
                  <a:cubicBezTo>
                    <a:pt x="72" y="91"/>
                    <a:pt x="91" y="72"/>
                    <a:pt x="91" y="47"/>
                  </a:cubicBezTo>
                  <a:cubicBezTo>
                    <a:pt x="91" y="23"/>
                    <a:pt x="72" y="4"/>
                    <a:pt x="47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65" name="Freeform 265"/>
            <p:cNvSpPr>
              <a:spLocks noEditPoints="1"/>
            </p:cNvSpPr>
            <p:nvPr/>
          </p:nvSpPr>
          <p:spPr bwMode="auto">
            <a:xfrm>
              <a:off x="2525" y="3580"/>
              <a:ext cx="43" cy="46"/>
            </a:xfrm>
            <a:custGeom>
              <a:avLst/>
              <a:gdLst/>
              <a:ahLst/>
              <a:cxnLst>
                <a:cxn ang="0">
                  <a:pos x="9" y="19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8" y="9"/>
                </a:cxn>
                <a:cxn ang="0">
                  <a:pos x="9" y="19"/>
                </a:cxn>
                <a:cxn ang="0">
                  <a:pos x="9" y="4"/>
                </a:cxn>
                <a:cxn ang="0">
                  <a:pos x="3" y="9"/>
                </a:cxn>
                <a:cxn ang="0">
                  <a:pos x="9" y="15"/>
                </a:cxn>
                <a:cxn ang="0">
                  <a:pos x="14" y="9"/>
                </a:cxn>
                <a:cxn ang="0">
                  <a:pos x="9" y="4"/>
                </a:cxn>
              </a:cxnLst>
              <a:rect l="0" t="0" r="r" b="b"/>
              <a:pathLst>
                <a:path w="18" h="19">
                  <a:moveTo>
                    <a:pt x="9" y="19"/>
                  </a:moveTo>
                  <a:cubicBezTo>
                    <a:pt x="4" y="19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9"/>
                    <a:pt x="9" y="19"/>
                  </a:cubicBezTo>
                  <a:close/>
                  <a:moveTo>
                    <a:pt x="9" y="4"/>
                  </a:moveTo>
                  <a:cubicBezTo>
                    <a:pt x="6" y="4"/>
                    <a:pt x="3" y="6"/>
                    <a:pt x="3" y="9"/>
                  </a:cubicBezTo>
                  <a:cubicBezTo>
                    <a:pt x="3" y="12"/>
                    <a:pt x="6" y="15"/>
                    <a:pt x="9" y="15"/>
                  </a:cubicBezTo>
                  <a:cubicBezTo>
                    <a:pt x="12" y="15"/>
                    <a:pt x="14" y="12"/>
                    <a:pt x="14" y="9"/>
                  </a:cubicBezTo>
                  <a:cubicBezTo>
                    <a:pt x="14" y="6"/>
                    <a:pt x="12" y="4"/>
                    <a:pt x="9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66" name="Freeform 266"/>
            <p:cNvSpPr>
              <a:spLocks noEditPoints="1"/>
            </p:cNvSpPr>
            <p:nvPr/>
          </p:nvSpPr>
          <p:spPr bwMode="auto">
            <a:xfrm>
              <a:off x="2456" y="3707"/>
              <a:ext cx="179" cy="92"/>
            </a:xfrm>
            <a:custGeom>
              <a:avLst/>
              <a:gdLst/>
              <a:ahLst/>
              <a:cxnLst>
                <a:cxn ang="0">
                  <a:pos x="179" y="92"/>
                </a:cxn>
                <a:cxn ang="0">
                  <a:pos x="0" y="92"/>
                </a:cxn>
                <a:cxn ang="0">
                  <a:pos x="0" y="0"/>
                </a:cxn>
                <a:cxn ang="0">
                  <a:pos x="179" y="0"/>
                </a:cxn>
                <a:cxn ang="0">
                  <a:pos x="179" y="92"/>
                </a:cxn>
                <a:cxn ang="0">
                  <a:pos x="9" y="84"/>
                </a:cxn>
                <a:cxn ang="0">
                  <a:pos x="170" y="84"/>
                </a:cxn>
                <a:cxn ang="0">
                  <a:pos x="170" y="10"/>
                </a:cxn>
                <a:cxn ang="0">
                  <a:pos x="9" y="10"/>
                </a:cxn>
                <a:cxn ang="0">
                  <a:pos x="9" y="84"/>
                </a:cxn>
              </a:cxnLst>
              <a:rect l="0" t="0" r="r" b="b"/>
              <a:pathLst>
                <a:path w="179" h="92">
                  <a:moveTo>
                    <a:pt x="179" y="92"/>
                  </a:moveTo>
                  <a:lnTo>
                    <a:pt x="0" y="92"/>
                  </a:lnTo>
                  <a:lnTo>
                    <a:pt x="0" y="0"/>
                  </a:lnTo>
                  <a:lnTo>
                    <a:pt x="179" y="0"/>
                  </a:lnTo>
                  <a:lnTo>
                    <a:pt x="179" y="92"/>
                  </a:lnTo>
                  <a:close/>
                  <a:moveTo>
                    <a:pt x="9" y="84"/>
                  </a:moveTo>
                  <a:lnTo>
                    <a:pt x="170" y="84"/>
                  </a:lnTo>
                  <a:lnTo>
                    <a:pt x="170" y="10"/>
                  </a:lnTo>
                  <a:lnTo>
                    <a:pt x="9" y="10"/>
                  </a:lnTo>
                  <a:lnTo>
                    <a:pt x="9" y="8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67" name="Freeform 267"/>
            <p:cNvSpPr>
              <a:spLocks noEditPoints="1"/>
            </p:cNvSpPr>
            <p:nvPr/>
          </p:nvSpPr>
          <p:spPr bwMode="auto">
            <a:xfrm>
              <a:off x="2669" y="3633"/>
              <a:ext cx="41" cy="3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7" y="16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5" y="3"/>
                </a:cxn>
                <a:cxn ang="0">
                  <a:pos x="16" y="9"/>
                </a:cxn>
                <a:cxn ang="0">
                  <a:pos x="8" y="16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5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3" y="8"/>
                </a:cxn>
                <a:cxn ang="0">
                  <a:pos x="12" y="5"/>
                </a:cxn>
                <a:cxn ang="0">
                  <a:pos x="9" y="3"/>
                </a:cxn>
                <a:cxn ang="0">
                  <a:pos x="8" y="3"/>
                </a:cxn>
              </a:cxnLst>
              <a:rect l="0" t="0" r="r" b="b"/>
              <a:pathLst>
                <a:path w="17" h="16">
                  <a:moveTo>
                    <a:pt x="8" y="16"/>
                  </a:moveTo>
                  <a:cubicBezTo>
                    <a:pt x="8" y="16"/>
                    <a:pt x="7" y="16"/>
                    <a:pt x="7" y="16"/>
                  </a:cubicBezTo>
                  <a:cubicBezTo>
                    <a:pt x="5" y="15"/>
                    <a:pt x="3" y="14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1" y="3"/>
                    <a:pt x="4" y="0"/>
                    <a:pt x="8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6" y="5"/>
                    <a:pt x="17" y="7"/>
                    <a:pt x="16" y="9"/>
                  </a:cubicBezTo>
                  <a:cubicBezTo>
                    <a:pt x="16" y="13"/>
                    <a:pt x="12" y="16"/>
                    <a:pt x="8" y="16"/>
                  </a:cubicBezTo>
                  <a:close/>
                  <a:moveTo>
                    <a:pt x="8" y="3"/>
                  </a:moveTo>
                  <a:cubicBezTo>
                    <a:pt x="6" y="3"/>
                    <a:pt x="4" y="5"/>
                    <a:pt x="4" y="7"/>
                  </a:cubicBezTo>
                  <a:cubicBezTo>
                    <a:pt x="4" y="8"/>
                    <a:pt x="4" y="9"/>
                    <a:pt x="5" y="10"/>
                  </a:cubicBezTo>
                  <a:cubicBezTo>
                    <a:pt x="5" y="11"/>
                    <a:pt x="6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10" y="12"/>
                    <a:pt x="12" y="11"/>
                    <a:pt x="13" y="8"/>
                  </a:cubicBezTo>
                  <a:cubicBezTo>
                    <a:pt x="13" y="7"/>
                    <a:pt x="13" y="6"/>
                    <a:pt x="12" y="5"/>
                  </a:cubicBezTo>
                  <a:cubicBezTo>
                    <a:pt x="11" y="4"/>
                    <a:pt x="10" y="4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68" name="Freeform 268"/>
            <p:cNvSpPr>
              <a:spLocks/>
            </p:cNvSpPr>
            <p:nvPr/>
          </p:nvSpPr>
          <p:spPr bwMode="auto">
            <a:xfrm>
              <a:off x="2631" y="3662"/>
              <a:ext cx="79" cy="96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0" y="36"/>
                </a:cxn>
                <a:cxn ang="0">
                  <a:pos x="0" y="38"/>
                </a:cxn>
                <a:cxn ang="0">
                  <a:pos x="0" y="36"/>
                </a:cxn>
                <a:cxn ang="0">
                  <a:pos x="23" y="24"/>
                </a:cxn>
                <a:cxn ang="0">
                  <a:pos x="27" y="0"/>
                </a:cxn>
                <a:cxn ang="0">
                  <a:pos x="31" y="0"/>
                </a:cxn>
                <a:cxn ang="0">
                  <a:pos x="26" y="26"/>
                </a:cxn>
                <a:cxn ang="0">
                  <a:pos x="0" y="40"/>
                </a:cxn>
              </a:cxnLst>
              <a:rect l="0" t="0" r="r" b="b"/>
              <a:pathLst>
                <a:path w="33" h="40">
                  <a:moveTo>
                    <a:pt x="0" y="4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15" y="35"/>
                    <a:pt x="23" y="24"/>
                  </a:cubicBezTo>
                  <a:cubicBezTo>
                    <a:pt x="28" y="18"/>
                    <a:pt x="29" y="10"/>
                    <a:pt x="2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10"/>
                    <a:pt x="31" y="19"/>
                    <a:pt x="26" y="26"/>
                  </a:cubicBezTo>
                  <a:cubicBezTo>
                    <a:pt x="17" y="38"/>
                    <a:pt x="1" y="40"/>
                    <a:pt x="0" y="4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71" name="Group 271"/>
          <p:cNvGrpSpPr>
            <a:grpSpLocks noChangeAspect="1"/>
          </p:cNvGrpSpPr>
          <p:nvPr/>
        </p:nvGrpSpPr>
        <p:grpSpPr bwMode="auto">
          <a:xfrm>
            <a:off x="4716463" y="5392738"/>
            <a:ext cx="836612" cy="836612"/>
            <a:chOff x="2977" y="3397"/>
            <a:chExt cx="527" cy="527"/>
          </a:xfrm>
        </p:grpSpPr>
        <p:sp>
          <p:nvSpPr>
            <p:cNvPr id="51472" name="Oval 272"/>
            <p:cNvSpPr>
              <a:spLocks noChangeArrowheads="1"/>
            </p:cNvSpPr>
            <p:nvPr/>
          </p:nvSpPr>
          <p:spPr bwMode="auto">
            <a:xfrm>
              <a:off x="2977" y="3397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73" name="Freeform 273"/>
            <p:cNvSpPr>
              <a:spLocks noEditPoints="1"/>
            </p:cNvSpPr>
            <p:nvPr/>
          </p:nvSpPr>
          <p:spPr bwMode="auto">
            <a:xfrm>
              <a:off x="2999" y="341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74" name="Freeform 274"/>
            <p:cNvSpPr>
              <a:spLocks noEditPoints="1"/>
            </p:cNvSpPr>
            <p:nvPr/>
          </p:nvSpPr>
          <p:spPr bwMode="auto">
            <a:xfrm>
              <a:off x="3154" y="3491"/>
              <a:ext cx="141" cy="332"/>
            </a:xfrm>
            <a:custGeom>
              <a:avLst/>
              <a:gdLst/>
              <a:ahLst/>
              <a:cxnLst>
                <a:cxn ang="0">
                  <a:pos x="56" y="11"/>
                </a:cxn>
                <a:cxn ang="0">
                  <a:pos x="52" y="0"/>
                </a:cxn>
                <a:cxn ang="0">
                  <a:pos x="40" y="8"/>
                </a:cxn>
                <a:cxn ang="0">
                  <a:pos x="33" y="8"/>
                </a:cxn>
                <a:cxn ang="0">
                  <a:pos x="5" y="3"/>
                </a:cxn>
                <a:cxn ang="0">
                  <a:pos x="0" y="6"/>
                </a:cxn>
                <a:cxn ang="0">
                  <a:pos x="0" y="34"/>
                </a:cxn>
                <a:cxn ang="0">
                  <a:pos x="27" y="25"/>
                </a:cxn>
                <a:cxn ang="0">
                  <a:pos x="16" y="40"/>
                </a:cxn>
                <a:cxn ang="0">
                  <a:pos x="24" y="139"/>
                </a:cxn>
                <a:cxn ang="0">
                  <a:pos x="57" y="131"/>
                </a:cxn>
                <a:cxn ang="0">
                  <a:pos x="44" y="26"/>
                </a:cxn>
                <a:cxn ang="0">
                  <a:pos x="53" y="23"/>
                </a:cxn>
                <a:cxn ang="0">
                  <a:pos x="54" y="12"/>
                </a:cxn>
                <a:cxn ang="0">
                  <a:pos x="43" y="20"/>
                </a:cxn>
                <a:cxn ang="0">
                  <a:pos x="40" y="24"/>
                </a:cxn>
                <a:cxn ang="0">
                  <a:pos x="39" y="28"/>
                </a:cxn>
                <a:cxn ang="0">
                  <a:pos x="53" y="40"/>
                </a:cxn>
                <a:cxn ang="0">
                  <a:pos x="48" y="136"/>
                </a:cxn>
                <a:cxn ang="0">
                  <a:pos x="19" y="131"/>
                </a:cxn>
                <a:cxn ang="0">
                  <a:pos x="19" y="40"/>
                </a:cxn>
                <a:cxn ang="0">
                  <a:pos x="33" y="24"/>
                </a:cxn>
                <a:cxn ang="0">
                  <a:pos x="29" y="20"/>
                </a:cxn>
                <a:cxn ang="0">
                  <a:pos x="26" y="19"/>
                </a:cxn>
                <a:cxn ang="0">
                  <a:pos x="4" y="29"/>
                </a:cxn>
                <a:cxn ang="0">
                  <a:pos x="26" y="14"/>
                </a:cxn>
                <a:cxn ang="0">
                  <a:pos x="29" y="16"/>
                </a:cxn>
                <a:cxn ang="0">
                  <a:pos x="33" y="11"/>
                </a:cxn>
                <a:cxn ang="0">
                  <a:pos x="41" y="11"/>
                </a:cxn>
                <a:cxn ang="0">
                  <a:pos x="52" y="4"/>
                </a:cxn>
                <a:cxn ang="0">
                  <a:pos x="53" y="8"/>
                </a:cxn>
                <a:cxn ang="0">
                  <a:pos x="43" y="15"/>
                </a:cxn>
                <a:cxn ang="0">
                  <a:pos x="55" y="17"/>
                </a:cxn>
              </a:cxnLst>
              <a:rect l="0" t="0" r="r" b="b"/>
              <a:pathLst>
                <a:path w="59" h="139">
                  <a:moveTo>
                    <a:pt x="54" y="12"/>
                  </a:moveTo>
                  <a:cubicBezTo>
                    <a:pt x="56" y="11"/>
                    <a:pt x="56" y="11"/>
                    <a:pt x="56" y="11"/>
                  </a:cubicBezTo>
                  <a:cubicBezTo>
                    <a:pt x="58" y="9"/>
                    <a:pt x="59" y="5"/>
                    <a:pt x="57" y="3"/>
                  </a:cubicBezTo>
                  <a:cubicBezTo>
                    <a:pt x="56" y="1"/>
                    <a:pt x="54" y="0"/>
                    <a:pt x="52" y="0"/>
                  </a:cubicBezTo>
                  <a:cubicBezTo>
                    <a:pt x="51" y="0"/>
                    <a:pt x="50" y="1"/>
                    <a:pt x="49" y="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0" y="8"/>
                    <a:pt x="28" y="9"/>
                    <a:pt x="27" y="1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1" y="28"/>
                    <a:pt x="16" y="33"/>
                    <a:pt x="16" y="4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6"/>
                    <a:pt x="20" y="139"/>
                    <a:pt x="24" y="139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53" y="139"/>
                    <a:pt x="57" y="136"/>
                    <a:pt x="57" y="131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7" y="33"/>
                    <a:pt x="52" y="28"/>
                    <a:pt x="44" y="26"/>
                  </a:cubicBezTo>
                  <a:cubicBezTo>
                    <a:pt x="45" y="25"/>
                    <a:pt x="46" y="24"/>
                    <a:pt x="46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6" y="23"/>
                    <a:pt x="59" y="21"/>
                    <a:pt x="59" y="17"/>
                  </a:cubicBezTo>
                  <a:cubicBezTo>
                    <a:pt x="59" y="15"/>
                    <a:pt x="57" y="12"/>
                    <a:pt x="54" y="12"/>
                  </a:cubicBezTo>
                  <a:close/>
                  <a:moveTo>
                    <a:pt x="53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2"/>
                    <a:pt x="42" y="24"/>
                    <a:pt x="40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7" y="29"/>
                    <a:pt x="53" y="34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3" y="134"/>
                    <a:pt x="51" y="136"/>
                    <a:pt x="48" y="136"/>
                  </a:cubicBezTo>
                  <a:cubicBezTo>
                    <a:pt x="24" y="136"/>
                    <a:pt x="24" y="136"/>
                    <a:pt x="24" y="136"/>
                  </a:cubicBezTo>
                  <a:cubicBezTo>
                    <a:pt x="22" y="136"/>
                    <a:pt x="19" y="134"/>
                    <a:pt x="19" y="131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34"/>
                    <a:pt x="25" y="29"/>
                    <a:pt x="33" y="28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1" y="24"/>
                    <a:pt x="29" y="22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3"/>
                    <a:pt x="31" y="11"/>
                    <a:pt x="33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1" y="11"/>
                    <a:pt x="41" y="11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2" y="4"/>
                    <a:pt x="52" y="4"/>
                  </a:cubicBezTo>
                  <a:cubicBezTo>
                    <a:pt x="53" y="4"/>
                    <a:pt x="54" y="4"/>
                    <a:pt x="54" y="5"/>
                  </a:cubicBezTo>
                  <a:cubicBezTo>
                    <a:pt x="55" y="6"/>
                    <a:pt x="54" y="7"/>
                    <a:pt x="53" y="8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4" y="15"/>
                    <a:pt x="55" y="16"/>
                    <a:pt x="55" y="17"/>
                  </a:cubicBezTo>
                  <a:cubicBezTo>
                    <a:pt x="55" y="19"/>
                    <a:pt x="54" y="20"/>
                    <a:pt x="53" y="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477" name="Group 277"/>
          <p:cNvGrpSpPr>
            <a:grpSpLocks noChangeAspect="1"/>
          </p:cNvGrpSpPr>
          <p:nvPr/>
        </p:nvGrpSpPr>
        <p:grpSpPr bwMode="auto">
          <a:xfrm>
            <a:off x="5848346" y="5426072"/>
            <a:ext cx="768350" cy="768350"/>
            <a:chOff x="3686" y="3418"/>
            <a:chExt cx="484" cy="484"/>
          </a:xfrm>
        </p:grpSpPr>
        <p:sp>
          <p:nvSpPr>
            <p:cNvPr id="51478" name="Freeform 278"/>
            <p:cNvSpPr>
              <a:spLocks noEditPoints="1"/>
            </p:cNvSpPr>
            <p:nvPr/>
          </p:nvSpPr>
          <p:spPr bwMode="auto">
            <a:xfrm>
              <a:off x="3686" y="341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79" name="Freeform 279"/>
            <p:cNvSpPr>
              <a:spLocks noEditPoints="1"/>
            </p:cNvSpPr>
            <p:nvPr/>
          </p:nvSpPr>
          <p:spPr bwMode="auto">
            <a:xfrm>
              <a:off x="3842" y="3490"/>
              <a:ext cx="142" cy="333"/>
            </a:xfrm>
            <a:custGeom>
              <a:avLst/>
              <a:gdLst/>
              <a:ahLst/>
              <a:cxnLst>
                <a:cxn ang="0">
                  <a:pos x="56" y="11"/>
                </a:cxn>
                <a:cxn ang="0">
                  <a:pos x="52" y="0"/>
                </a:cxn>
                <a:cxn ang="0">
                  <a:pos x="40" y="8"/>
                </a:cxn>
                <a:cxn ang="0">
                  <a:pos x="33" y="8"/>
                </a:cxn>
                <a:cxn ang="0">
                  <a:pos x="5" y="3"/>
                </a:cxn>
                <a:cxn ang="0">
                  <a:pos x="0" y="6"/>
                </a:cxn>
                <a:cxn ang="0">
                  <a:pos x="0" y="34"/>
                </a:cxn>
                <a:cxn ang="0">
                  <a:pos x="27" y="25"/>
                </a:cxn>
                <a:cxn ang="0">
                  <a:pos x="16" y="40"/>
                </a:cxn>
                <a:cxn ang="0">
                  <a:pos x="24" y="139"/>
                </a:cxn>
                <a:cxn ang="0">
                  <a:pos x="57" y="131"/>
                </a:cxn>
                <a:cxn ang="0">
                  <a:pos x="44" y="26"/>
                </a:cxn>
                <a:cxn ang="0">
                  <a:pos x="53" y="23"/>
                </a:cxn>
                <a:cxn ang="0">
                  <a:pos x="54" y="12"/>
                </a:cxn>
                <a:cxn ang="0">
                  <a:pos x="43" y="20"/>
                </a:cxn>
                <a:cxn ang="0">
                  <a:pos x="40" y="24"/>
                </a:cxn>
                <a:cxn ang="0">
                  <a:pos x="39" y="28"/>
                </a:cxn>
                <a:cxn ang="0">
                  <a:pos x="53" y="40"/>
                </a:cxn>
                <a:cxn ang="0">
                  <a:pos x="48" y="136"/>
                </a:cxn>
                <a:cxn ang="0">
                  <a:pos x="19" y="131"/>
                </a:cxn>
                <a:cxn ang="0">
                  <a:pos x="19" y="40"/>
                </a:cxn>
                <a:cxn ang="0">
                  <a:pos x="33" y="24"/>
                </a:cxn>
                <a:cxn ang="0">
                  <a:pos x="29" y="20"/>
                </a:cxn>
                <a:cxn ang="0">
                  <a:pos x="26" y="19"/>
                </a:cxn>
                <a:cxn ang="0">
                  <a:pos x="4" y="29"/>
                </a:cxn>
                <a:cxn ang="0">
                  <a:pos x="26" y="14"/>
                </a:cxn>
                <a:cxn ang="0">
                  <a:pos x="29" y="16"/>
                </a:cxn>
                <a:cxn ang="0">
                  <a:pos x="33" y="11"/>
                </a:cxn>
                <a:cxn ang="0">
                  <a:pos x="41" y="11"/>
                </a:cxn>
                <a:cxn ang="0">
                  <a:pos x="52" y="4"/>
                </a:cxn>
                <a:cxn ang="0">
                  <a:pos x="53" y="8"/>
                </a:cxn>
                <a:cxn ang="0">
                  <a:pos x="43" y="15"/>
                </a:cxn>
                <a:cxn ang="0">
                  <a:pos x="55" y="17"/>
                </a:cxn>
              </a:cxnLst>
              <a:rect l="0" t="0" r="r" b="b"/>
              <a:pathLst>
                <a:path w="59" h="139">
                  <a:moveTo>
                    <a:pt x="54" y="12"/>
                  </a:moveTo>
                  <a:cubicBezTo>
                    <a:pt x="56" y="11"/>
                    <a:pt x="56" y="11"/>
                    <a:pt x="56" y="11"/>
                  </a:cubicBezTo>
                  <a:cubicBezTo>
                    <a:pt x="58" y="9"/>
                    <a:pt x="59" y="5"/>
                    <a:pt x="57" y="3"/>
                  </a:cubicBezTo>
                  <a:cubicBezTo>
                    <a:pt x="56" y="1"/>
                    <a:pt x="54" y="0"/>
                    <a:pt x="52" y="0"/>
                  </a:cubicBezTo>
                  <a:cubicBezTo>
                    <a:pt x="51" y="0"/>
                    <a:pt x="50" y="1"/>
                    <a:pt x="49" y="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0" y="8"/>
                    <a:pt x="28" y="9"/>
                    <a:pt x="27" y="1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1" y="28"/>
                    <a:pt x="16" y="33"/>
                    <a:pt x="16" y="4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6"/>
                    <a:pt x="20" y="139"/>
                    <a:pt x="24" y="139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53" y="139"/>
                    <a:pt x="57" y="136"/>
                    <a:pt x="57" y="131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7" y="33"/>
                    <a:pt x="52" y="28"/>
                    <a:pt x="44" y="26"/>
                  </a:cubicBezTo>
                  <a:cubicBezTo>
                    <a:pt x="45" y="25"/>
                    <a:pt x="46" y="24"/>
                    <a:pt x="46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6" y="23"/>
                    <a:pt x="59" y="21"/>
                    <a:pt x="59" y="17"/>
                  </a:cubicBezTo>
                  <a:cubicBezTo>
                    <a:pt x="59" y="15"/>
                    <a:pt x="57" y="12"/>
                    <a:pt x="54" y="12"/>
                  </a:cubicBezTo>
                  <a:close/>
                  <a:moveTo>
                    <a:pt x="53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2"/>
                    <a:pt x="42" y="24"/>
                    <a:pt x="40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7" y="29"/>
                    <a:pt x="53" y="34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3" y="134"/>
                    <a:pt x="51" y="136"/>
                    <a:pt x="48" y="136"/>
                  </a:cubicBezTo>
                  <a:cubicBezTo>
                    <a:pt x="24" y="136"/>
                    <a:pt x="24" y="136"/>
                    <a:pt x="24" y="136"/>
                  </a:cubicBezTo>
                  <a:cubicBezTo>
                    <a:pt x="22" y="136"/>
                    <a:pt x="19" y="134"/>
                    <a:pt x="19" y="131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34"/>
                    <a:pt x="25" y="29"/>
                    <a:pt x="33" y="28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1" y="24"/>
                    <a:pt x="29" y="22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3"/>
                    <a:pt x="31" y="11"/>
                    <a:pt x="33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1" y="11"/>
                    <a:pt x="41" y="11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2" y="4"/>
                    <a:pt x="52" y="4"/>
                  </a:cubicBezTo>
                  <a:cubicBezTo>
                    <a:pt x="53" y="4"/>
                    <a:pt x="54" y="4"/>
                    <a:pt x="54" y="5"/>
                  </a:cubicBezTo>
                  <a:cubicBezTo>
                    <a:pt x="55" y="6"/>
                    <a:pt x="54" y="7"/>
                    <a:pt x="53" y="8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4" y="15"/>
                    <a:pt x="55" y="16"/>
                    <a:pt x="55" y="17"/>
                  </a:cubicBezTo>
                  <a:cubicBezTo>
                    <a:pt x="55" y="19"/>
                    <a:pt x="54" y="20"/>
                    <a:pt x="53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482" name="Group 282"/>
          <p:cNvGrpSpPr>
            <a:grpSpLocks noChangeAspect="1"/>
          </p:cNvGrpSpPr>
          <p:nvPr/>
        </p:nvGrpSpPr>
        <p:grpSpPr bwMode="auto">
          <a:xfrm>
            <a:off x="6910388" y="5386391"/>
            <a:ext cx="847725" cy="847725"/>
            <a:chOff x="4354" y="3393"/>
            <a:chExt cx="534" cy="534"/>
          </a:xfrm>
        </p:grpSpPr>
        <p:sp>
          <p:nvSpPr>
            <p:cNvPr id="51483" name="Oval 283"/>
            <p:cNvSpPr>
              <a:spLocks noChangeArrowheads="1"/>
            </p:cNvSpPr>
            <p:nvPr/>
          </p:nvSpPr>
          <p:spPr bwMode="auto">
            <a:xfrm>
              <a:off x="4354" y="3393"/>
              <a:ext cx="534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84" name="Freeform 284"/>
            <p:cNvSpPr>
              <a:spLocks noEditPoints="1"/>
            </p:cNvSpPr>
            <p:nvPr/>
          </p:nvSpPr>
          <p:spPr bwMode="auto">
            <a:xfrm>
              <a:off x="4373" y="3412"/>
              <a:ext cx="493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85" name="Freeform 285"/>
            <p:cNvSpPr>
              <a:spLocks noEditPoints="1"/>
            </p:cNvSpPr>
            <p:nvPr/>
          </p:nvSpPr>
          <p:spPr bwMode="auto">
            <a:xfrm>
              <a:off x="4567" y="3611"/>
              <a:ext cx="105" cy="106"/>
            </a:xfrm>
            <a:custGeom>
              <a:avLst/>
              <a:gdLst/>
              <a:ahLst/>
              <a:cxnLst>
                <a:cxn ang="0">
                  <a:pos x="42" y="13"/>
                </a:cxn>
                <a:cxn ang="0">
                  <a:pos x="31" y="13"/>
                </a:cxn>
                <a:cxn ang="0">
                  <a:pos x="31" y="2"/>
                </a:cxn>
                <a:cxn ang="0">
                  <a:pos x="30" y="0"/>
                </a:cxn>
                <a:cxn ang="0">
                  <a:pos x="15" y="0"/>
                </a:cxn>
                <a:cxn ang="0">
                  <a:pos x="13" y="2"/>
                </a:cxn>
                <a:cxn ang="0">
                  <a:pos x="13" y="13"/>
                </a:cxn>
                <a:cxn ang="0">
                  <a:pos x="2" y="13"/>
                </a:cxn>
                <a:cxn ang="0">
                  <a:pos x="0" y="15"/>
                </a:cxn>
                <a:cxn ang="0">
                  <a:pos x="0" y="29"/>
                </a:cxn>
                <a:cxn ang="0">
                  <a:pos x="2" y="31"/>
                </a:cxn>
                <a:cxn ang="0">
                  <a:pos x="13" y="31"/>
                </a:cxn>
                <a:cxn ang="0">
                  <a:pos x="13" y="42"/>
                </a:cxn>
                <a:cxn ang="0">
                  <a:pos x="15" y="44"/>
                </a:cxn>
                <a:cxn ang="0">
                  <a:pos x="30" y="44"/>
                </a:cxn>
                <a:cxn ang="0">
                  <a:pos x="31" y="42"/>
                </a:cxn>
                <a:cxn ang="0">
                  <a:pos x="31" y="31"/>
                </a:cxn>
                <a:cxn ang="0">
                  <a:pos x="42" y="31"/>
                </a:cxn>
                <a:cxn ang="0">
                  <a:pos x="44" y="29"/>
                </a:cxn>
                <a:cxn ang="0">
                  <a:pos x="44" y="15"/>
                </a:cxn>
                <a:cxn ang="0">
                  <a:pos x="42" y="13"/>
                </a:cxn>
                <a:cxn ang="0">
                  <a:pos x="40" y="27"/>
                </a:cxn>
                <a:cxn ang="0">
                  <a:pos x="30" y="27"/>
                </a:cxn>
                <a:cxn ang="0">
                  <a:pos x="28" y="29"/>
                </a:cxn>
                <a:cxn ang="0">
                  <a:pos x="28" y="40"/>
                </a:cxn>
                <a:cxn ang="0">
                  <a:pos x="17" y="40"/>
                </a:cxn>
                <a:cxn ang="0">
                  <a:pos x="17" y="29"/>
                </a:cxn>
                <a:cxn ang="0">
                  <a:pos x="15" y="27"/>
                </a:cxn>
                <a:cxn ang="0">
                  <a:pos x="4" y="27"/>
                </a:cxn>
                <a:cxn ang="0">
                  <a:pos x="4" y="16"/>
                </a:cxn>
                <a:cxn ang="0">
                  <a:pos x="15" y="16"/>
                </a:cxn>
                <a:cxn ang="0">
                  <a:pos x="17" y="15"/>
                </a:cxn>
                <a:cxn ang="0">
                  <a:pos x="17" y="4"/>
                </a:cxn>
                <a:cxn ang="0">
                  <a:pos x="28" y="4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40" y="16"/>
                </a:cxn>
                <a:cxn ang="0">
                  <a:pos x="40" y="27"/>
                </a:cxn>
              </a:cxnLst>
              <a:rect l="0" t="0" r="r" b="b"/>
              <a:pathLst>
                <a:path w="44" h="44">
                  <a:moveTo>
                    <a:pt x="42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0"/>
                    <a:pt x="3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3" y="1"/>
                    <a:pt x="13" y="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1" y="31"/>
                    <a:pt x="2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3"/>
                    <a:pt x="14" y="44"/>
                    <a:pt x="15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1" y="44"/>
                    <a:pt x="31" y="43"/>
                    <a:pt x="31" y="4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1"/>
                    <a:pt x="44" y="30"/>
                    <a:pt x="44" y="29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4"/>
                    <a:pt x="43" y="13"/>
                    <a:pt x="42" y="13"/>
                  </a:cubicBezTo>
                  <a:close/>
                  <a:moveTo>
                    <a:pt x="4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8" y="27"/>
                    <a:pt x="28" y="28"/>
                    <a:pt x="28" y="29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6" y="27"/>
                    <a:pt x="15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6" y="16"/>
                    <a:pt x="17" y="16"/>
                    <a:pt x="17" y="1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6"/>
                    <a:pt x="30" y="16"/>
                  </a:cubicBezTo>
                  <a:cubicBezTo>
                    <a:pt x="40" y="16"/>
                    <a:pt x="40" y="16"/>
                    <a:pt x="40" y="16"/>
                  </a:cubicBezTo>
                  <a:lnTo>
                    <a:pt x="40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86" name="Freeform 286"/>
            <p:cNvSpPr>
              <a:spLocks noEditPoints="1"/>
            </p:cNvSpPr>
            <p:nvPr/>
          </p:nvSpPr>
          <p:spPr bwMode="auto">
            <a:xfrm>
              <a:off x="4491" y="3535"/>
              <a:ext cx="260" cy="220"/>
            </a:xfrm>
            <a:custGeom>
              <a:avLst/>
              <a:gdLst/>
              <a:ahLst/>
              <a:cxnLst>
                <a:cxn ang="0">
                  <a:pos x="100" y="18"/>
                </a:cxn>
                <a:cxn ang="0">
                  <a:pos x="78" y="18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35" y="0"/>
                </a:cxn>
                <a:cxn ang="0">
                  <a:pos x="30" y="5"/>
                </a:cxn>
                <a:cxn ang="0">
                  <a:pos x="30" y="18"/>
                </a:cxn>
                <a:cxn ang="0">
                  <a:pos x="8" y="18"/>
                </a:cxn>
                <a:cxn ang="0">
                  <a:pos x="0" y="27"/>
                </a:cxn>
                <a:cxn ang="0">
                  <a:pos x="0" y="83"/>
                </a:cxn>
                <a:cxn ang="0">
                  <a:pos x="8" y="92"/>
                </a:cxn>
                <a:cxn ang="0">
                  <a:pos x="100" y="92"/>
                </a:cxn>
                <a:cxn ang="0">
                  <a:pos x="109" y="83"/>
                </a:cxn>
                <a:cxn ang="0">
                  <a:pos x="109" y="27"/>
                </a:cxn>
                <a:cxn ang="0">
                  <a:pos x="100" y="18"/>
                </a:cxn>
                <a:cxn ang="0">
                  <a:pos x="34" y="5"/>
                </a:cxn>
                <a:cxn ang="0">
                  <a:pos x="35" y="4"/>
                </a:cxn>
                <a:cxn ang="0">
                  <a:pos x="73" y="4"/>
                </a:cxn>
                <a:cxn ang="0">
                  <a:pos x="75" y="5"/>
                </a:cxn>
                <a:cxn ang="0">
                  <a:pos x="75" y="18"/>
                </a:cxn>
                <a:cxn ang="0">
                  <a:pos x="34" y="18"/>
                </a:cxn>
                <a:cxn ang="0">
                  <a:pos x="34" y="5"/>
                </a:cxn>
                <a:cxn ang="0">
                  <a:pos x="105" y="83"/>
                </a:cxn>
                <a:cxn ang="0">
                  <a:pos x="100" y="88"/>
                </a:cxn>
                <a:cxn ang="0">
                  <a:pos x="8" y="88"/>
                </a:cxn>
                <a:cxn ang="0">
                  <a:pos x="3" y="83"/>
                </a:cxn>
                <a:cxn ang="0">
                  <a:pos x="3" y="27"/>
                </a:cxn>
                <a:cxn ang="0">
                  <a:pos x="8" y="22"/>
                </a:cxn>
                <a:cxn ang="0">
                  <a:pos x="100" y="22"/>
                </a:cxn>
                <a:cxn ang="0">
                  <a:pos x="105" y="27"/>
                </a:cxn>
                <a:cxn ang="0">
                  <a:pos x="105" y="83"/>
                </a:cxn>
              </a:cxnLst>
              <a:rect l="0" t="0" r="r" b="b"/>
              <a:pathLst>
                <a:path w="109" h="92">
                  <a:moveTo>
                    <a:pt x="100" y="18"/>
                  </a:moveTo>
                  <a:cubicBezTo>
                    <a:pt x="78" y="18"/>
                    <a:pt x="78" y="18"/>
                    <a:pt x="78" y="18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0"/>
                    <a:pt x="30" y="2"/>
                    <a:pt x="30" y="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3" y="18"/>
                    <a:pt x="0" y="22"/>
                    <a:pt x="0" y="27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8"/>
                    <a:pt x="3" y="92"/>
                    <a:pt x="8" y="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105" y="92"/>
                    <a:pt x="109" y="88"/>
                    <a:pt x="109" y="83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2"/>
                    <a:pt x="105" y="18"/>
                    <a:pt x="100" y="18"/>
                  </a:cubicBezTo>
                  <a:close/>
                  <a:moveTo>
                    <a:pt x="34" y="5"/>
                  </a:moveTo>
                  <a:cubicBezTo>
                    <a:pt x="34" y="4"/>
                    <a:pt x="34" y="4"/>
                    <a:pt x="35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4"/>
                    <a:pt x="75" y="4"/>
                    <a:pt x="75" y="5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34" y="18"/>
                    <a:pt x="34" y="18"/>
                    <a:pt x="34" y="18"/>
                  </a:cubicBezTo>
                  <a:lnTo>
                    <a:pt x="34" y="5"/>
                  </a:lnTo>
                  <a:close/>
                  <a:moveTo>
                    <a:pt x="105" y="83"/>
                  </a:moveTo>
                  <a:cubicBezTo>
                    <a:pt x="105" y="86"/>
                    <a:pt x="103" y="88"/>
                    <a:pt x="100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" y="88"/>
                    <a:pt x="3" y="86"/>
                    <a:pt x="3" y="8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4"/>
                    <a:pt x="6" y="22"/>
                    <a:pt x="8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3" y="22"/>
                    <a:pt x="105" y="24"/>
                    <a:pt x="105" y="27"/>
                  </a:cubicBezTo>
                  <a:lnTo>
                    <a:pt x="105" y="8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489" name="Group 289"/>
          <p:cNvGrpSpPr>
            <a:grpSpLocks noChangeAspect="1"/>
          </p:cNvGrpSpPr>
          <p:nvPr/>
        </p:nvGrpSpPr>
        <p:grpSpPr bwMode="auto">
          <a:xfrm>
            <a:off x="8047038" y="5416550"/>
            <a:ext cx="784225" cy="785813"/>
            <a:chOff x="5069" y="3412"/>
            <a:chExt cx="494" cy="495"/>
          </a:xfrm>
        </p:grpSpPr>
        <p:sp>
          <p:nvSpPr>
            <p:cNvPr id="51490" name="Freeform 290"/>
            <p:cNvSpPr>
              <a:spLocks noEditPoints="1"/>
            </p:cNvSpPr>
            <p:nvPr/>
          </p:nvSpPr>
          <p:spPr bwMode="auto">
            <a:xfrm>
              <a:off x="5069" y="3412"/>
              <a:ext cx="494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91" name="Freeform 291"/>
            <p:cNvSpPr>
              <a:spLocks noEditPoints="1"/>
            </p:cNvSpPr>
            <p:nvPr/>
          </p:nvSpPr>
          <p:spPr bwMode="auto">
            <a:xfrm>
              <a:off x="5263" y="3611"/>
              <a:ext cx="105" cy="106"/>
            </a:xfrm>
            <a:custGeom>
              <a:avLst/>
              <a:gdLst/>
              <a:ahLst/>
              <a:cxnLst>
                <a:cxn ang="0">
                  <a:pos x="42" y="13"/>
                </a:cxn>
                <a:cxn ang="0">
                  <a:pos x="31" y="13"/>
                </a:cxn>
                <a:cxn ang="0">
                  <a:pos x="31" y="2"/>
                </a:cxn>
                <a:cxn ang="0">
                  <a:pos x="30" y="0"/>
                </a:cxn>
                <a:cxn ang="0">
                  <a:pos x="15" y="0"/>
                </a:cxn>
                <a:cxn ang="0">
                  <a:pos x="13" y="2"/>
                </a:cxn>
                <a:cxn ang="0">
                  <a:pos x="13" y="13"/>
                </a:cxn>
                <a:cxn ang="0">
                  <a:pos x="2" y="13"/>
                </a:cxn>
                <a:cxn ang="0">
                  <a:pos x="0" y="15"/>
                </a:cxn>
                <a:cxn ang="0">
                  <a:pos x="0" y="29"/>
                </a:cxn>
                <a:cxn ang="0">
                  <a:pos x="2" y="31"/>
                </a:cxn>
                <a:cxn ang="0">
                  <a:pos x="13" y="31"/>
                </a:cxn>
                <a:cxn ang="0">
                  <a:pos x="13" y="42"/>
                </a:cxn>
                <a:cxn ang="0">
                  <a:pos x="15" y="44"/>
                </a:cxn>
                <a:cxn ang="0">
                  <a:pos x="30" y="44"/>
                </a:cxn>
                <a:cxn ang="0">
                  <a:pos x="31" y="42"/>
                </a:cxn>
                <a:cxn ang="0">
                  <a:pos x="31" y="31"/>
                </a:cxn>
                <a:cxn ang="0">
                  <a:pos x="42" y="31"/>
                </a:cxn>
                <a:cxn ang="0">
                  <a:pos x="44" y="29"/>
                </a:cxn>
                <a:cxn ang="0">
                  <a:pos x="44" y="15"/>
                </a:cxn>
                <a:cxn ang="0">
                  <a:pos x="42" y="13"/>
                </a:cxn>
                <a:cxn ang="0">
                  <a:pos x="40" y="27"/>
                </a:cxn>
                <a:cxn ang="0">
                  <a:pos x="30" y="27"/>
                </a:cxn>
                <a:cxn ang="0">
                  <a:pos x="28" y="29"/>
                </a:cxn>
                <a:cxn ang="0">
                  <a:pos x="28" y="40"/>
                </a:cxn>
                <a:cxn ang="0">
                  <a:pos x="17" y="40"/>
                </a:cxn>
                <a:cxn ang="0">
                  <a:pos x="17" y="29"/>
                </a:cxn>
                <a:cxn ang="0">
                  <a:pos x="15" y="27"/>
                </a:cxn>
                <a:cxn ang="0">
                  <a:pos x="4" y="27"/>
                </a:cxn>
                <a:cxn ang="0">
                  <a:pos x="4" y="16"/>
                </a:cxn>
                <a:cxn ang="0">
                  <a:pos x="15" y="16"/>
                </a:cxn>
                <a:cxn ang="0">
                  <a:pos x="17" y="15"/>
                </a:cxn>
                <a:cxn ang="0">
                  <a:pos x="17" y="4"/>
                </a:cxn>
                <a:cxn ang="0">
                  <a:pos x="28" y="4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40" y="16"/>
                </a:cxn>
                <a:cxn ang="0">
                  <a:pos x="40" y="27"/>
                </a:cxn>
              </a:cxnLst>
              <a:rect l="0" t="0" r="r" b="b"/>
              <a:pathLst>
                <a:path w="44" h="44">
                  <a:moveTo>
                    <a:pt x="42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0"/>
                    <a:pt x="3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3" y="1"/>
                    <a:pt x="13" y="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1" y="31"/>
                    <a:pt x="2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3"/>
                    <a:pt x="14" y="44"/>
                    <a:pt x="15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1" y="44"/>
                    <a:pt x="31" y="43"/>
                    <a:pt x="31" y="4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1"/>
                    <a:pt x="44" y="30"/>
                    <a:pt x="44" y="29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4"/>
                    <a:pt x="43" y="13"/>
                    <a:pt x="42" y="13"/>
                  </a:cubicBezTo>
                  <a:close/>
                  <a:moveTo>
                    <a:pt x="4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8" y="27"/>
                    <a:pt x="28" y="28"/>
                    <a:pt x="28" y="29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6" y="27"/>
                    <a:pt x="15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6" y="16"/>
                    <a:pt x="17" y="16"/>
                    <a:pt x="17" y="1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6"/>
                    <a:pt x="30" y="16"/>
                  </a:cubicBezTo>
                  <a:cubicBezTo>
                    <a:pt x="40" y="16"/>
                    <a:pt x="40" y="16"/>
                    <a:pt x="40" y="16"/>
                  </a:cubicBezTo>
                  <a:lnTo>
                    <a:pt x="40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92" name="Freeform 292"/>
            <p:cNvSpPr>
              <a:spLocks noEditPoints="1"/>
            </p:cNvSpPr>
            <p:nvPr/>
          </p:nvSpPr>
          <p:spPr bwMode="auto">
            <a:xfrm>
              <a:off x="5186" y="3534"/>
              <a:ext cx="261" cy="221"/>
            </a:xfrm>
            <a:custGeom>
              <a:avLst/>
              <a:gdLst/>
              <a:ahLst/>
              <a:cxnLst>
                <a:cxn ang="0">
                  <a:pos x="100" y="18"/>
                </a:cxn>
                <a:cxn ang="0">
                  <a:pos x="78" y="18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35" y="0"/>
                </a:cxn>
                <a:cxn ang="0">
                  <a:pos x="30" y="5"/>
                </a:cxn>
                <a:cxn ang="0">
                  <a:pos x="30" y="18"/>
                </a:cxn>
                <a:cxn ang="0">
                  <a:pos x="8" y="18"/>
                </a:cxn>
                <a:cxn ang="0">
                  <a:pos x="0" y="27"/>
                </a:cxn>
                <a:cxn ang="0">
                  <a:pos x="0" y="83"/>
                </a:cxn>
                <a:cxn ang="0">
                  <a:pos x="8" y="92"/>
                </a:cxn>
                <a:cxn ang="0">
                  <a:pos x="100" y="92"/>
                </a:cxn>
                <a:cxn ang="0">
                  <a:pos x="109" y="83"/>
                </a:cxn>
                <a:cxn ang="0">
                  <a:pos x="109" y="27"/>
                </a:cxn>
                <a:cxn ang="0">
                  <a:pos x="100" y="18"/>
                </a:cxn>
                <a:cxn ang="0">
                  <a:pos x="34" y="5"/>
                </a:cxn>
                <a:cxn ang="0">
                  <a:pos x="35" y="4"/>
                </a:cxn>
                <a:cxn ang="0">
                  <a:pos x="73" y="4"/>
                </a:cxn>
                <a:cxn ang="0">
                  <a:pos x="75" y="5"/>
                </a:cxn>
                <a:cxn ang="0">
                  <a:pos x="75" y="18"/>
                </a:cxn>
                <a:cxn ang="0">
                  <a:pos x="34" y="18"/>
                </a:cxn>
                <a:cxn ang="0">
                  <a:pos x="34" y="5"/>
                </a:cxn>
                <a:cxn ang="0">
                  <a:pos x="105" y="83"/>
                </a:cxn>
                <a:cxn ang="0">
                  <a:pos x="100" y="88"/>
                </a:cxn>
                <a:cxn ang="0">
                  <a:pos x="8" y="88"/>
                </a:cxn>
                <a:cxn ang="0">
                  <a:pos x="3" y="83"/>
                </a:cxn>
                <a:cxn ang="0">
                  <a:pos x="3" y="27"/>
                </a:cxn>
                <a:cxn ang="0">
                  <a:pos x="8" y="22"/>
                </a:cxn>
                <a:cxn ang="0">
                  <a:pos x="100" y="22"/>
                </a:cxn>
                <a:cxn ang="0">
                  <a:pos x="105" y="27"/>
                </a:cxn>
                <a:cxn ang="0">
                  <a:pos x="105" y="83"/>
                </a:cxn>
              </a:cxnLst>
              <a:rect l="0" t="0" r="r" b="b"/>
              <a:pathLst>
                <a:path w="109" h="92">
                  <a:moveTo>
                    <a:pt x="100" y="18"/>
                  </a:moveTo>
                  <a:cubicBezTo>
                    <a:pt x="78" y="18"/>
                    <a:pt x="78" y="18"/>
                    <a:pt x="78" y="18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0"/>
                    <a:pt x="30" y="2"/>
                    <a:pt x="30" y="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3" y="18"/>
                    <a:pt x="0" y="22"/>
                    <a:pt x="0" y="27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8"/>
                    <a:pt x="3" y="92"/>
                    <a:pt x="8" y="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105" y="92"/>
                    <a:pt x="109" y="88"/>
                    <a:pt x="109" y="83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2"/>
                    <a:pt x="105" y="18"/>
                    <a:pt x="100" y="18"/>
                  </a:cubicBezTo>
                  <a:close/>
                  <a:moveTo>
                    <a:pt x="34" y="5"/>
                  </a:moveTo>
                  <a:cubicBezTo>
                    <a:pt x="34" y="4"/>
                    <a:pt x="34" y="4"/>
                    <a:pt x="35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4"/>
                    <a:pt x="75" y="4"/>
                    <a:pt x="75" y="5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34" y="18"/>
                    <a:pt x="34" y="18"/>
                    <a:pt x="34" y="18"/>
                  </a:cubicBezTo>
                  <a:lnTo>
                    <a:pt x="34" y="5"/>
                  </a:lnTo>
                  <a:close/>
                  <a:moveTo>
                    <a:pt x="105" y="83"/>
                  </a:moveTo>
                  <a:cubicBezTo>
                    <a:pt x="105" y="86"/>
                    <a:pt x="103" y="88"/>
                    <a:pt x="100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6" y="88"/>
                    <a:pt x="3" y="86"/>
                    <a:pt x="3" y="8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4"/>
                    <a:pt x="6" y="22"/>
                    <a:pt x="8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3" y="22"/>
                    <a:pt x="105" y="24"/>
                    <a:pt x="105" y="27"/>
                  </a:cubicBezTo>
                  <a:lnTo>
                    <a:pt x="105" y="8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235" name="Group 35"/>
          <p:cNvGrpSpPr>
            <a:grpSpLocks noChangeAspect="1"/>
          </p:cNvGrpSpPr>
          <p:nvPr/>
        </p:nvGrpSpPr>
        <p:grpSpPr bwMode="auto">
          <a:xfrm>
            <a:off x="6011866" y="512763"/>
            <a:ext cx="446088" cy="357188"/>
            <a:chOff x="3785" y="323"/>
            <a:chExt cx="281" cy="225"/>
          </a:xfrm>
        </p:grpSpPr>
        <p:sp>
          <p:nvSpPr>
            <p:cNvPr id="51237" name="Freeform 37"/>
            <p:cNvSpPr>
              <a:spLocks noEditPoints="1"/>
            </p:cNvSpPr>
            <p:nvPr/>
          </p:nvSpPr>
          <p:spPr bwMode="auto">
            <a:xfrm>
              <a:off x="3785" y="323"/>
              <a:ext cx="281" cy="189"/>
            </a:xfrm>
            <a:custGeom>
              <a:avLst/>
              <a:gdLst/>
              <a:ahLst/>
              <a:cxnLst>
                <a:cxn ang="0">
                  <a:pos x="108" y="79"/>
                </a:cxn>
                <a:cxn ang="0">
                  <a:pos x="9" y="79"/>
                </a:cxn>
                <a:cxn ang="0">
                  <a:pos x="0" y="70"/>
                </a:cxn>
                <a:cxn ang="0">
                  <a:pos x="0" y="8"/>
                </a:cxn>
                <a:cxn ang="0">
                  <a:pos x="9" y="0"/>
                </a:cxn>
                <a:cxn ang="0">
                  <a:pos x="108" y="0"/>
                </a:cxn>
                <a:cxn ang="0">
                  <a:pos x="117" y="8"/>
                </a:cxn>
                <a:cxn ang="0">
                  <a:pos x="117" y="70"/>
                </a:cxn>
                <a:cxn ang="0">
                  <a:pos x="108" y="79"/>
                </a:cxn>
                <a:cxn ang="0">
                  <a:pos x="9" y="3"/>
                </a:cxn>
                <a:cxn ang="0">
                  <a:pos x="4" y="8"/>
                </a:cxn>
                <a:cxn ang="0">
                  <a:pos x="4" y="70"/>
                </a:cxn>
                <a:cxn ang="0">
                  <a:pos x="9" y="75"/>
                </a:cxn>
                <a:cxn ang="0">
                  <a:pos x="108" y="75"/>
                </a:cxn>
                <a:cxn ang="0">
                  <a:pos x="113" y="70"/>
                </a:cxn>
                <a:cxn ang="0">
                  <a:pos x="113" y="8"/>
                </a:cxn>
                <a:cxn ang="0">
                  <a:pos x="108" y="3"/>
                </a:cxn>
                <a:cxn ang="0">
                  <a:pos x="9" y="3"/>
                </a:cxn>
              </a:cxnLst>
              <a:rect l="0" t="0" r="r" b="b"/>
              <a:pathLst>
                <a:path w="117" h="79">
                  <a:moveTo>
                    <a:pt x="108" y="79"/>
                  </a:moveTo>
                  <a:cubicBezTo>
                    <a:pt x="9" y="79"/>
                    <a:pt x="9" y="79"/>
                    <a:pt x="9" y="79"/>
                  </a:cubicBezTo>
                  <a:cubicBezTo>
                    <a:pt x="4" y="79"/>
                    <a:pt x="0" y="75"/>
                    <a:pt x="0" y="7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3" y="0"/>
                    <a:pt x="117" y="4"/>
                    <a:pt x="117" y="8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75"/>
                    <a:pt x="113" y="79"/>
                    <a:pt x="108" y="79"/>
                  </a:cubicBezTo>
                  <a:close/>
                  <a:moveTo>
                    <a:pt x="9" y="3"/>
                  </a:moveTo>
                  <a:cubicBezTo>
                    <a:pt x="6" y="3"/>
                    <a:pt x="4" y="6"/>
                    <a:pt x="4" y="8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3"/>
                    <a:pt x="6" y="75"/>
                    <a:pt x="9" y="75"/>
                  </a:cubicBezTo>
                  <a:cubicBezTo>
                    <a:pt x="108" y="75"/>
                    <a:pt x="108" y="75"/>
                    <a:pt x="108" y="75"/>
                  </a:cubicBezTo>
                  <a:cubicBezTo>
                    <a:pt x="111" y="75"/>
                    <a:pt x="113" y="73"/>
                    <a:pt x="113" y="70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3" y="6"/>
                    <a:pt x="111" y="3"/>
                    <a:pt x="108" y="3"/>
                  </a:cubicBezTo>
                  <a:lnTo>
                    <a:pt x="9" y="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38" name="Freeform 38"/>
            <p:cNvSpPr>
              <a:spLocks/>
            </p:cNvSpPr>
            <p:nvPr/>
          </p:nvSpPr>
          <p:spPr bwMode="auto">
            <a:xfrm>
              <a:off x="3889" y="505"/>
              <a:ext cx="69" cy="43"/>
            </a:xfrm>
            <a:custGeom>
              <a:avLst/>
              <a:gdLst/>
              <a:ahLst/>
              <a:cxnLst>
                <a:cxn ang="0">
                  <a:pos x="27" y="18"/>
                </a:cxn>
                <a:cxn ang="0">
                  <a:pos x="2" y="18"/>
                </a:cxn>
                <a:cxn ang="0">
                  <a:pos x="0" y="17"/>
                </a:cxn>
                <a:cxn ang="0">
                  <a:pos x="1" y="15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8" y="15"/>
                </a:cxn>
                <a:cxn ang="0">
                  <a:pos x="21" y="15"/>
                </a:cxn>
                <a:cxn ang="0">
                  <a:pos x="17" y="2"/>
                </a:cxn>
                <a:cxn ang="0">
                  <a:pos x="19" y="0"/>
                </a:cxn>
                <a:cxn ang="0">
                  <a:pos x="21" y="2"/>
                </a:cxn>
                <a:cxn ang="0">
                  <a:pos x="28" y="15"/>
                </a:cxn>
                <a:cxn ang="0">
                  <a:pos x="29" y="17"/>
                </a:cxn>
                <a:cxn ang="0">
                  <a:pos x="27" y="18"/>
                </a:cxn>
              </a:cxnLst>
              <a:rect l="0" t="0" r="r" b="b"/>
              <a:pathLst>
                <a:path w="29" h="18">
                  <a:moveTo>
                    <a:pt x="27" y="18"/>
                  </a:moveTo>
                  <a:cubicBezTo>
                    <a:pt x="2" y="18"/>
                    <a:pt x="2" y="18"/>
                    <a:pt x="2" y="18"/>
                  </a:cubicBezTo>
                  <a:cubicBezTo>
                    <a:pt x="1" y="18"/>
                    <a:pt x="0" y="18"/>
                    <a:pt x="0" y="17"/>
                  </a:cubicBezTo>
                  <a:cubicBezTo>
                    <a:pt x="0" y="16"/>
                    <a:pt x="1" y="15"/>
                    <a:pt x="1" y="15"/>
                  </a:cubicBezTo>
                  <a:cubicBezTo>
                    <a:pt x="8" y="13"/>
                    <a:pt x="8" y="2"/>
                    <a:pt x="8" y="2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2" y="10"/>
                    <a:pt x="8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18" y="10"/>
                    <a:pt x="17" y="3"/>
                    <a:pt x="17" y="2"/>
                  </a:cubicBezTo>
                  <a:cubicBezTo>
                    <a:pt x="17" y="1"/>
                    <a:pt x="18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2"/>
                    <a:pt x="21" y="13"/>
                    <a:pt x="28" y="15"/>
                  </a:cubicBezTo>
                  <a:cubicBezTo>
                    <a:pt x="29" y="15"/>
                    <a:pt x="29" y="16"/>
                    <a:pt x="29" y="17"/>
                  </a:cubicBezTo>
                  <a:cubicBezTo>
                    <a:pt x="29" y="18"/>
                    <a:pt x="28" y="18"/>
                    <a:pt x="27" y="1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39" name="Freeform 39"/>
            <p:cNvSpPr>
              <a:spLocks noEditPoints="1"/>
            </p:cNvSpPr>
            <p:nvPr/>
          </p:nvSpPr>
          <p:spPr bwMode="auto">
            <a:xfrm>
              <a:off x="3874" y="373"/>
              <a:ext cx="110" cy="9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32" y="26"/>
                </a:cxn>
                <a:cxn ang="0">
                  <a:pos x="30" y="37"/>
                </a:cxn>
                <a:cxn ang="0">
                  <a:pos x="9" y="35"/>
                </a:cxn>
                <a:cxn ang="0">
                  <a:pos x="9" y="41"/>
                </a:cxn>
                <a:cxn ang="0">
                  <a:pos x="30" y="39"/>
                </a:cxn>
                <a:cxn ang="0">
                  <a:pos x="36" y="38"/>
                </a:cxn>
                <a:cxn ang="0">
                  <a:pos x="33" y="26"/>
                </a:cxn>
                <a:cxn ang="0">
                  <a:pos x="40" y="7"/>
                </a:cxn>
                <a:cxn ang="0">
                  <a:pos x="45" y="0"/>
                </a:cxn>
                <a:cxn ang="0">
                  <a:pos x="9" y="40"/>
                </a:cxn>
                <a:cxn ang="0">
                  <a:pos x="9" y="37"/>
                </a:cxn>
                <a:cxn ang="0">
                  <a:pos x="9" y="40"/>
                </a:cxn>
                <a:cxn ang="0">
                  <a:pos x="33" y="40"/>
                </a:cxn>
                <a:cxn ang="0">
                  <a:pos x="33" y="37"/>
                </a:cxn>
                <a:cxn ang="0">
                  <a:pos x="32" y="18"/>
                </a:cxn>
                <a:cxn ang="0">
                  <a:pos x="28" y="13"/>
                </a:cxn>
                <a:cxn ang="0">
                  <a:pos x="32" y="18"/>
                </a:cxn>
                <a:cxn ang="0">
                  <a:pos x="36" y="13"/>
                </a:cxn>
                <a:cxn ang="0">
                  <a:pos x="33" y="18"/>
                </a:cxn>
                <a:cxn ang="0">
                  <a:pos x="4" y="13"/>
                </a:cxn>
                <a:cxn ang="0">
                  <a:pos x="7" y="18"/>
                </a:cxn>
                <a:cxn ang="0">
                  <a:pos x="4" y="13"/>
                </a:cxn>
                <a:cxn ang="0">
                  <a:pos x="13" y="13"/>
                </a:cxn>
                <a:cxn ang="0">
                  <a:pos x="8" y="18"/>
                </a:cxn>
                <a:cxn ang="0">
                  <a:pos x="15" y="13"/>
                </a:cxn>
                <a:cxn ang="0">
                  <a:pos x="20" y="18"/>
                </a:cxn>
                <a:cxn ang="0">
                  <a:pos x="15" y="13"/>
                </a:cxn>
                <a:cxn ang="0">
                  <a:pos x="26" y="13"/>
                </a:cxn>
                <a:cxn ang="0">
                  <a:pos x="21" y="18"/>
                </a:cxn>
                <a:cxn ang="0">
                  <a:pos x="26" y="12"/>
                </a:cxn>
                <a:cxn ang="0">
                  <a:pos x="21" y="7"/>
                </a:cxn>
                <a:cxn ang="0">
                  <a:pos x="26" y="12"/>
                </a:cxn>
                <a:cxn ang="0">
                  <a:pos x="15" y="12"/>
                </a:cxn>
                <a:cxn ang="0">
                  <a:pos x="20" y="7"/>
                </a:cxn>
                <a:cxn ang="0">
                  <a:pos x="13" y="12"/>
                </a:cxn>
                <a:cxn ang="0">
                  <a:pos x="8" y="7"/>
                </a:cxn>
                <a:cxn ang="0">
                  <a:pos x="13" y="12"/>
                </a:cxn>
                <a:cxn ang="0">
                  <a:pos x="13" y="20"/>
                </a:cxn>
                <a:cxn ang="0">
                  <a:pos x="8" y="25"/>
                </a:cxn>
                <a:cxn ang="0">
                  <a:pos x="15" y="20"/>
                </a:cxn>
                <a:cxn ang="0">
                  <a:pos x="20" y="25"/>
                </a:cxn>
                <a:cxn ang="0">
                  <a:pos x="15" y="20"/>
                </a:cxn>
                <a:cxn ang="0">
                  <a:pos x="26" y="20"/>
                </a:cxn>
                <a:cxn ang="0">
                  <a:pos x="21" y="25"/>
                </a:cxn>
                <a:cxn ang="0">
                  <a:pos x="28" y="12"/>
                </a:cxn>
                <a:cxn ang="0">
                  <a:pos x="32" y="7"/>
                </a:cxn>
                <a:cxn ang="0">
                  <a:pos x="28" y="12"/>
                </a:cxn>
                <a:cxn ang="0">
                  <a:pos x="7" y="12"/>
                </a:cxn>
                <a:cxn ang="0">
                  <a:pos x="2" y="7"/>
                </a:cxn>
                <a:cxn ang="0">
                  <a:pos x="6" y="20"/>
                </a:cxn>
                <a:cxn ang="0">
                  <a:pos x="7" y="22"/>
                </a:cxn>
                <a:cxn ang="0">
                  <a:pos x="28" y="25"/>
                </a:cxn>
                <a:cxn ang="0">
                  <a:pos x="32" y="20"/>
                </a:cxn>
                <a:cxn ang="0">
                  <a:pos x="28" y="25"/>
                </a:cxn>
                <a:cxn ang="0">
                  <a:pos x="33" y="20"/>
                </a:cxn>
                <a:cxn ang="0">
                  <a:pos x="33" y="22"/>
                </a:cxn>
                <a:cxn ang="0">
                  <a:pos x="33" y="12"/>
                </a:cxn>
                <a:cxn ang="0">
                  <a:pos x="38" y="7"/>
                </a:cxn>
              </a:cxnLst>
              <a:rect l="0" t="0" r="r" b="b"/>
              <a:pathLst>
                <a:path w="46" h="41">
                  <a:moveTo>
                    <a:pt x="39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6"/>
                    <a:pt x="31" y="36"/>
                    <a:pt x="30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1" y="36"/>
                    <a:pt x="10" y="35"/>
                    <a:pt x="9" y="35"/>
                  </a:cubicBezTo>
                  <a:cubicBezTo>
                    <a:pt x="7" y="35"/>
                    <a:pt x="6" y="36"/>
                    <a:pt x="6" y="38"/>
                  </a:cubicBezTo>
                  <a:cubicBezTo>
                    <a:pt x="6" y="40"/>
                    <a:pt x="7" y="41"/>
                    <a:pt x="9" y="41"/>
                  </a:cubicBezTo>
                  <a:cubicBezTo>
                    <a:pt x="10" y="41"/>
                    <a:pt x="11" y="40"/>
                    <a:pt x="12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40"/>
                    <a:pt x="32" y="41"/>
                    <a:pt x="33" y="41"/>
                  </a:cubicBezTo>
                  <a:cubicBezTo>
                    <a:pt x="35" y="41"/>
                    <a:pt x="36" y="40"/>
                    <a:pt x="36" y="38"/>
                  </a:cubicBezTo>
                  <a:cubicBezTo>
                    <a:pt x="36" y="37"/>
                    <a:pt x="35" y="35"/>
                    <a:pt x="33" y="35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39" y="6"/>
                  </a:lnTo>
                  <a:close/>
                  <a:moveTo>
                    <a:pt x="9" y="40"/>
                  </a:moveTo>
                  <a:cubicBezTo>
                    <a:pt x="8" y="40"/>
                    <a:pt x="7" y="39"/>
                    <a:pt x="7" y="38"/>
                  </a:cubicBezTo>
                  <a:cubicBezTo>
                    <a:pt x="7" y="37"/>
                    <a:pt x="8" y="37"/>
                    <a:pt x="9" y="37"/>
                  </a:cubicBezTo>
                  <a:cubicBezTo>
                    <a:pt x="10" y="37"/>
                    <a:pt x="10" y="37"/>
                    <a:pt x="10" y="38"/>
                  </a:cubicBezTo>
                  <a:cubicBezTo>
                    <a:pt x="10" y="39"/>
                    <a:pt x="10" y="40"/>
                    <a:pt x="9" y="40"/>
                  </a:cubicBezTo>
                  <a:close/>
                  <a:moveTo>
                    <a:pt x="35" y="38"/>
                  </a:moveTo>
                  <a:cubicBezTo>
                    <a:pt x="35" y="39"/>
                    <a:pt x="34" y="40"/>
                    <a:pt x="33" y="40"/>
                  </a:cubicBezTo>
                  <a:cubicBezTo>
                    <a:pt x="32" y="40"/>
                    <a:pt x="32" y="39"/>
                    <a:pt x="32" y="38"/>
                  </a:cubicBezTo>
                  <a:cubicBezTo>
                    <a:pt x="32" y="37"/>
                    <a:pt x="32" y="37"/>
                    <a:pt x="33" y="37"/>
                  </a:cubicBezTo>
                  <a:cubicBezTo>
                    <a:pt x="34" y="37"/>
                    <a:pt x="35" y="37"/>
                    <a:pt x="35" y="38"/>
                  </a:cubicBezTo>
                  <a:close/>
                  <a:moveTo>
                    <a:pt x="32" y="18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2" y="13"/>
                    <a:pt x="32" y="13"/>
                    <a:pt x="32" y="13"/>
                  </a:cubicBezTo>
                  <a:lnTo>
                    <a:pt x="32" y="18"/>
                  </a:lnTo>
                  <a:close/>
                  <a:moveTo>
                    <a:pt x="33" y="13"/>
                  </a:moveTo>
                  <a:cubicBezTo>
                    <a:pt x="36" y="13"/>
                    <a:pt x="36" y="13"/>
                    <a:pt x="36" y="13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33" y="13"/>
                  </a:lnTo>
                  <a:close/>
                  <a:moveTo>
                    <a:pt x="4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lnTo>
                    <a:pt x="4" y="13"/>
                  </a:lnTo>
                  <a:close/>
                  <a:moveTo>
                    <a:pt x="8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8" y="18"/>
                    <a:pt x="8" y="18"/>
                    <a:pt x="8" y="18"/>
                  </a:cubicBezTo>
                  <a:lnTo>
                    <a:pt x="8" y="13"/>
                  </a:lnTo>
                  <a:close/>
                  <a:moveTo>
                    <a:pt x="15" y="13"/>
                  </a:moveTo>
                  <a:cubicBezTo>
                    <a:pt x="20" y="13"/>
                    <a:pt x="20" y="13"/>
                    <a:pt x="20" y="13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5" y="18"/>
                    <a:pt x="15" y="18"/>
                    <a:pt x="15" y="18"/>
                  </a:cubicBezTo>
                  <a:lnTo>
                    <a:pt x="15" y="13"/>
                  </a:lnTo>
                  <a:close/>
                  <a:moveTo>
                    <a:pt x="21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18"/>
                    <a:pt x="21" y="18"/>
                    <a:pt x="21" y="18"/>
                  </a:cubicBezTo>
                  <a:lnTo>
                    <a:pt x="21" y="13"/>
                  </a:lnTo>
                  <a:close/>
                  <a:moveTo>
                    <a:pt x="26" y="12"/>
                  </a:moveTo>
                  <a:cubicBezTo>
                    <a:pt x="21" y="12"/>
                    <a:pt x="21" y="12"/>
                    <a:pt x="21" y="1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6" y="7"/>
                    <a:pt x="26" y="7"/>
                    <a:pt x="26" y="7"/>
                  </a:cubicBezTo>
                  <a:lnTo>
                    <a:pt x="26" y="12"/>
                  </a:lnTo>
                  <a:close/>
                  <a:moveTo>
                    <a:pt x="20" y="12"/>
                  </a:move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0" y="7"/>
                    <a:pt x="20" y="7"/>
                    <a:pt x="20" y="7"/>
                  </a:cubicBezTo>
                  <a:lnTo>
                    <a:pt x="20" y="12"/>
                  </a:lnTo>
                  <a:close/>
                  <a:moveTo>
                    <a:pt x="13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3" y="7"/>
                    <a:pt x="13" y="7"/>
                    <a:pt x="13" y="7"/>
                  </a:cubicBezTo>
                  <a:lnTo>
                    <a:pt x="13" y="12"/>
                  </a:lnTo>
                  <a:close/>
                  <a:moveTo>
                    <a:pt x="8" y="2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8" y="25"/>
                    <a:pt x="8" y="25"/>
                    <a:pt x="8" y="25"/>
                  </a:cubicBezTo>
                  <a:lnTo>
                    <a:pt x="8" y="20"/>
                  </a:lnTo>
                  <a:close/>
                  <a:moveTo>
                    <a:pt x="15" y="2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5" y="25"/>
                    <a:pt x="15" y="25"/>
                    <a:pt x="15" y="25"/>
                  </a:cubicBezTo>
                  <a:lnTo>
                    <a:pt x="15" y="20"/>
                  </a:lnTo>
                  <a:close/>
                  <a:moveTo>
                    <a:pt x="21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1" y="25"/>
                    <a:pt x="21" y="25"/>
                    <a:pt x="21" y="25"/>
                  </a:cubicBezTo>
                  <a:lnTo>
                    <a:pt x="21" y="20"/>
                  </a:lnTo>
                  <a:close/>
                  <a:moveTo>
                    <a:pt x="28" y="12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12"/>
                    <a:pt x="32" y="12"/>
                    <a:pt x="32" y="12"/>
                  </a:cubicBezTo>
                  <a:lnTo>
                    <a:pt x="28" y="12"/>
                  </a:lnTo>
                  <a:close/>
                  <a:moveTo>
                    <a:pt x="7" y="7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7" y="7"/>
                  </a:lnTo>
                  <a:close/>
                  <a:moveTo>
                    <a:pt x="6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7" y="22"/>
                    <a:pt x="7" y="22"/>
                  </a:cubicBezTo>
                  <a:lnTo>
                    <a:pt x="6" y="20"/>
                  </a:lnTo>
                  <a:close/>
                  <a:moveTo>
                    <a:pt x="28" y="25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5"/>
                    <a:pt x="32" y="25"/>
                    <a:pt x="32" y="25"/>
                  </a:cubicBezTo>
                  <a:lnTo>
                    <a:pt x="28" y="25"/>
                  </a:lnTo>
                  <a:close/>
                  <a:moveTo>
                    <a:pt x="33" y="22"/>
                  </a:moveTo>
                  <a:cubicBezTo>
                    <a:pt x="33" y="20"/>
                    <a:pt x="33" y="20"/>
                    <a:pt x="33" y="20"/>
                  </a:cubicBezTo>
                  <a:cubicBezTo>
                    <a:pt x="34" y="20"/>
                    <a:pt x="34" y="20"/>
                    <a:pt x="34" y="20"/>
                  </a:cubicBezTo>
                  <a:lnTo>
                    <a:pt x="33" y="22"/>
                  </a:lnTo>
                  <a:close/>
                  <a:moveTo>
                    <a:pt x="37" y="12"/>
                  </a:moveTo>
                  <a:cubicBezTo>
                    <a:pt x="33" y="12"/>
                    <a:pt x="33" y="12"/>
                    <a:pt x="33" y="1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8" y="7"/>
                    <a:pt x="38" y="7"/>
                    <a:pt x="38" y="7"/>
                  </a:cubicBezTo>
                  <a:lnTo>
                    <a:pt x="37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2" name="Table 291">
            <a:extLst>
              <a:ext uri="{FF2B5EF4-FFF2-40B4-BE49-F238E27FC236}">
                <a16:creationId xmlns:a16="http://schemas.microsoft.com/office/drawing/2014/main" id="{6512B142-1789-4ECE-9FC0-2E31978111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829563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lvl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4585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otstep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orward Emai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ramed Pictu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urnitur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Futur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Gea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Gear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ass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S/GSC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loba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overnme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Green Energ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nd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andshak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lthca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ear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m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riz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ospital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2228" name="Group 4"/>
          <p:cNvGrpSpPr>
            <a:grpSpLocks noChangeAspect="1"/>
          </p:cNvGrpSpPr>
          <p:nvPr/>
        </p:nvGrpSpPr>
        <p:grpSpPr bwMode="auto">
          <a:xfrm>
            <a:off x="340519" y="250825"/>
            <a:ext cx="847725" cy="846138"/>
            <a:chOff x="211" y="158"/>
            <a:chExt cx="534" cy="533"/>
          </a:xfrm>
        </p:grpSpPr>
        <p:sp>
          <p:nvSpPr>
            <p:cNvPr id="52229" name="Oval 5"/>
            <p:cNvSpPr>
              <a:spLocks noChangeArrowheads="1"/>
            </p:cNvSpPr>
            <p:nvPr/>
          </p:nvSpPr>
          <p:spPr bwMode="auto">
            <a:xfrm>
              <a:off x="211" y="158"/>
              <a:ext cx="534" cy="533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30" name="Freeform 6"/>
            <p:cNvSpPr>
              <a:spLocks noEditPoints="1"/>
            </p:cNvSpPr>
            <p:nvPr/>
          </p:nvSpPr>
          <p:spPr bwMode="auto">
            <a:xfrm>
              <a:off x="352" y="277"/>
              <a:ext cx="108" cy="160"/>
            </a:xfrm>
            <a:custGeom>
              <a:avLst/>
              <a:gdLst/>
              <a:ahLst/>
              <a:cxnLst>
                <a:cxn ang="0">
                  <a:pos x="12" y="67"/>
                </a:cxn>
                <a:cxn ang="0">
                  <a:pos x="10" y="66"/>
                </a:cxn>
                <a:cxn ang="0">
                  <a:pos x="6" y="17"/>
                </a:cxn>
                <a:cxn ang="0">
                  <a:pos x="6" y="17"/>
                </a:cxn>
                <a:cxn ang="0">
                  <a:pos x="22" y="0"/>
                </a:cxn>
                <a:cxn ang="0">
                  <a:pos x="25" y="0"/>
                </a:cxn>
                <a:cxn ang="0">
                  <a:pos x="42" y="17"/>
                </a:cxn>
                <a:cxn ang="0">
                  <a:pos x="42" y="17"/>
                </a:cxn>
                <a:cxn ang="0">
                  <a:pos x="44" y="30"/>
                </a:cxn>
                <a:cxn ang="0">
                  <a:pos x="42" y="44"/>
                </a:cxn>
                <a:cxn ang="0">
                  <a:pos x="42" y="45"/>
                </a:cxn>
                <a:cxn ang="0">
                  <a:pos x="38" y="57"/>
                </a:cxn>
                <a:cxn ang="0">
                  <a:pos x="38" y="57"/>
                </a:cxn>
                <a:cxn ang="0">
                  <a:pos x="38" y="61"/>
                </a:cxn>
                <a:cxn ang="0">
                  <a:pos x="37" y="62"/>
                </a:cxn>
                <a:cxn ang="0">
                  <a:pos x="12" y="67"/>
                </a:cxn>
                <a:cxn ang="0">
                  <a:pos x="12" y="67"/>
                </a:cxn>
                <a:cxn ang="0">
                  <a:pos x="9" y="18"/>
                </a:cxn>
                <a:cxn ang="0">
                  <a:pos x="13" y="63"/>
                </a:cxn>
                <a:cxn ang="0">
                  <a:pos x="34" y="59"/>
                </a:cxn>
                <a:cxn ang="0">
                  <a:pos x="34" y="57"/>
                </a:cxn>
                <a:cxn ang="0">
                  <a:pos x="39" y="43"/>
                </a:cxn>
                <a:cxn ang="0">
                  <a:pos x="40" y="30"/>
                </a:cxn>
                <a:cxn ang="0">
                  <a:pos x="40" y="30"/>
                </a:cxn>
                <a:cxn ang="0">
                  <a:pos x="38" y="18"/>
                </a:cxn>
                <a:cxn ang="0">
                  <a:pos x="25" y="4"/>
                </a:cxn>
                <a:cxn ang="0">
                  <a:pos x="23" y="4"/>
                </a:cxn>
                <a:cxn ang="0">
                  <a:pos x="23" y="4"/>
                </a:cxn>
                <a:cxn ang="0">
                  <a:pos x="9" y="18"/>
                </a:cxn>
              </a:cxnLst>
              <a:rect l="0" t="0" r="r" b="b"/>
              <a:pathLst>
                <a:path w="45" h="67">
                  <a:moveTo>
                    <a:pt x="12" y="67"/>
                  </a:moveTo>
                  <a:cubicBezTo>
                    <a:pt x="11" y="67"/>
                    <a:pt x="11" y="67"/>
                    <a:pt x="10" y="66"/>
                  </a:cubicBezTo>
                  <a:cubicBezTo>
                    <a:pt x="10" y="65"/>
                    <a:pt x="0" y="3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11" y="1"/>
                    <a:pt x="22" y="0"/>
                  </a:cubicBezTo>
                  <a:cubicBezTo>
                    <a:pt x="23" y="0"/>
                    <a:pt x="23" y="0"/>
                    <a:pt x="25" y="0"/>
                  </a:cubicBezTo>
                  <a:cubicBezTo>
                    <a:pt x="28" y="0"/>
                    <a:pt x="38" y="2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7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ubicBezTo>
                    <a:pt x="41" y="47"/>
                    <a:pt x="38" y="53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2"/>
                    <a:pt x="38" y="62"/>
                    <a:pt x="37" y="62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lose/>
                  <a:moveTo>
                    <a:pt x="9" y="18"/>
                  </a:moveTo>
                  <a:cubicBezTo>
                    <a:pt x="5" y="34"/>
                    <a:pt x="12" y="57"/>
                    <a:pt x="13" y="63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2"/>
                    <a:pt x="38" y="44"/>
                    <a:pt x="39" y="43"/>
                  </a:cubicBezTo>
                  <a:cubicBezTo>
                    <a:pt x="41" y="37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5" y="5"/>
                    <a:pt x="28" y="4"/>
                    <a:pt x="25" y="4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14" y="5"/>
                    <a:pt x="10" y="18"/>
                    <a:pt x="9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31" name="Freeform 7"/>
            <p:cNvSpPr>
              <a:spLocks noEditPoints="1"/>
            </p:cNvSpPr>
            <p:nvPr/>
          </p:nvSpPr>
          <p:spPr bwMode="auto">
            <a:xfrm>
              <a:off x="386" y="437"/>
              <a:ext cx="76" cy="77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4" y="0"/>
                </a:cxn>
                <a:cxn ang="0">
                  <a:pos x="26" y="1"/>
                </a:cxn>
                <a:cxn ang="0">
                  <a:pos x="28" y="26"/>
                </a:cxn>
                <a:cxn ang="0">
                  <a:pos x="22" y="31"/>
                </a:cxn>
                <a:cxn ang="0">
                  <a:pos x="17" y="32"/>
                </a:cxn>
                <a:cxn ang="0">
                  <a:pos x="3" y="8"/>
                </a:cxn>
                <a:cxn ang="0">
                  <a:pos x="17" y="28"/>
                </a:cxn>
                <a:cxn ang="0">
                  <a:pos x="20" y="27"/>
                </a:cxn>
                <a:cxn ang="0">
                  <a:pos x="21" y="27"/>
                </a:cxn>
                <a:cxn ang="0">
                  <a:pos x="25" y="24"/>
                </a:cxn>
                <a:cxn ang="0">
                  <a:pos x="23" y="4"/>
                </a:cxn>
                <a:cxn ang="0">
                  <a:pos x="3" y="8"/>
                </a:cxn>
              </a:cxnLst>
              <a:rect l="0" t="0" r="r" b="b"/>
              <a:pathLst>
                <a:path w="32" h="32">
                  <a:moveTo>
                    <a:pt x="17" y="32"/>
                  </a:moveTo>
                  <a:cubicBezTo>
                    <a:pt x="11" y="32"/>
                    <a:pt x="1" y="28"/>
                    <a:pt x="0" y="6"/>
                  </a:cubicBezTo>
                  <a:cubicBezTo>
                    <a:pt x="0" y="6"/>
                    <a:pt x="0" y="5"/>
                    <a:pt x="1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26" y="2"/>
                    <a:pt x="32" y="18"/>
                    <a:pt x="28" y="26"/>
                  </a:cubicBezTo>
                  <a:cubicBezTo>
                    <a:pt x="27" y="28"/>
                    <a:pt x="24" y="30"/>
                    <a:pt x="22" y="31"/>
                  </a:cubicBezTo>
                  <a:cubicBezTo>
                    <a:pt x="21" y="31"/>
                    <a:pt x="19" y="32"/>
                    <a:pt x="17" y="32"/>
                  </a:cubicBezTo>
                  <a:close/>
                  <a:moveTo>
                    <a:pt x="3" y="8"/>
                  </a:moveTo>
                  <a:cubicBezTo>
                    <a:pt x="4" y="21"/>
                    <a:pt x="9" y="28"/>
                    <a:pt x="17" y="28"/>
                  </a:cubicBezTo>
                  <a:cubicBezTo>
                    <a:pt x="19" y="28"/>
                    <a:pt x="20" y="27"/>
                    <a:pt x="20" y="27"/>
                  </a:cubicBezTo>
                  <a:cubicBezTo>
                    <a:pt x="20" y="27"/>
                    <a:pt x="21" y="27"/>
                    <a:pt x="21" y="27"/>
                  </a:cubicBezTo>
                  <a:cubicBezTo>
                    <a:pt x="22" y="27"/>
                    <a:pt x="24" y="26"/>
                    <a:pt x="25" y="24"/>
                  </a:cubicBezTo>
                  <a:cubicBezTo>
                    <a:pt x="27" y="19"/>
                    <a:pt x="25" y="9"/>
                    <a:pt x="23" y="4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32" name="Freeform 8"/>
            <p:cNvSpPr>
              <a:spLocks noEditPoints="1"/>
            </p:cNvSpPr>
            <p:nvPr/>
          </p:nvSpPr>
          <p:spPr bwMode="auto">
            <a:xfrm>
              <a:off x="501" y="337"/>
              <a:ext cx="107" cy="163"/>
            </a:xfrm>
            <a:custGeom>
              <a:avLst/>
              <a:gdLst/>
              <a:ahLst/>
              <a:cxnLst>
                <a:cxn ang="0">
                  <a:pos x="33" y="68"/>
                </a:cxn>
                <a:cxn ang="0">
                  <a:pos x="33" y="68"/>
                </a:cxn>
                <a:cxn ang="0">
                  <a:pos x="8" y="63"/>
                </a:cxn>
                <a:cxn ang="0">
                  <a:pos x="7" y="61"/>
                </a:cxn>
                <a:cxn ang="0">
                  <a:pos x="7" y="58"/>
                </a:cxn>
                <a:cxn ang="0">
                  <a:pos x="7" y="58"/>
                </a:cxn>
                <a:cxn ang="0">
                  <a:pos x="3" y="45"/>
                </a:cxn>
                <a:cxn ang="0">
                  <a:pos x="3" y="45"/>
                </a:cxn>
                <a:cxn ang="0">
                  <a:pos x="1" y="30"/>
                </a:cxn>
                <a:cxn ang="0">
                  <a:pos x="3" y="18"/>
                </a:cxn>
                <a:cxn ang="0">
                  <a:pos x="4" y="18"/>
                </a:cxn>
                <a:cxn ang="0">
                  <a:pos x="21" y="0"/>
                </a:cxn>
                <a:cxn ang="0">
                  <a:pos x="23" y="1"/>
                </a:cxn>
                <a:cxn ang="0">
                  <a:pos x="39" y="18"/>
                </a:cxn>
                <a:cxn ang="0">
                  <a:pos x="39" y="18"/>
                </a:cxn>
                <a:cxn ang="0">
                  <a:pos x="35" y="66"/>
                </a:cxn>
                <a:cxn ang="0">
                  <a:pos x="33" y="68"/>
                </a:cxn>
                <a:cxn ang="0">
                  <a:pos x="11" y="60"/>
                </a:cxn>
                <a:cxn ang="0">
                  <a:pos x="32" y="64"/>
                </a:cxn>
                <a:cxn ang="0">
                  <a:pos x="36" y="19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21" y="4"/>
                </a:cxn>
                <a:cxn ang="0">
                  <a:pos x="7" y="18"/>
                </a:cxn>
                <a:cxn ang="0">
                  <a:pos x="5" y="31"/>
                </a:cxn>
                <a:cxn ang="0">
                  <a:pos x="5" y="31"/>
                </a:cxn>
                <a:cxn ang="0">
                  <a:pos x="6" y="43"/>
                </a:cxn>
                <a:cxn ang="0">
                  <a:pos x="11" y="58"/>
                </a:cxn>
                <a:cxn ang="0">
                  <a:pos x="11" y="60"/>
                </a:cxn>
              </a:cxnLst>
              <a:rect l="0" t="0" r="r" b="b"/>
              <a:pathLst>
                <a:path w="45" h="68">
                  <a:moveTo>
                    <a:pt x="33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3"/>
                    <a:pt x="7" y="62"/>
                    <a:pt x="7" y="61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54"/>
                    <a:pt x="4" y="47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0" y="38"/>
                    <a:pt x="1" y="31"/>
                    <a:pt x="1" y="3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4" y="18"/>
                  </a:cubicBezTo>
                  <a:cubicBezTo>
                    <a:pt x="7" y="2"/>
                    <a:pt x="17" y="0"/>
                    <a:pt x="21" y="0"/>
                  </a:cubicBezTo>
                  <a:cubicBezTo>
                    <a:pt x="22" y="0"/>
                    <a:pt x="22" y="1"/>
                    <a:pt x="23" y="1"/>
                  </a:cubicBezTo>
                  <a:cubicBezTo>
                    <a:pt x="34" y="2"/>
                    <a:pt x="39" y="17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45" y="37"/>
                    <a:pt x="35" y="65"/>
                    <a:pt x="35" y="66"/>
                  </a:cubicBezTo>
                  <a:cubicBezTo>
                    <a:pt x="34" y="67"/>
                    <a:pt x="34" y="68"/>
                    <a:pt x="33" y="68"/>
                  </a:cubicBezTo>
                  <a:close/>
                  <a:moveTo>
                    <a:pt x="11" y="60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4" y="58"/>
                    <a:pt x="40" y="34"/>
                    <a:pt x="36" y="19"/>
                  </a:cubicBezTo>
                  <a:cubicBezTo>
                    <a:pt x="35" y="18"/>
                    <a:pt x="31" y="5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17" y="4"/>
                    <a:pt x="10" y="6"/>
                    <a:pt x="7" y="18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4" y="37"/>
                    <a:pt x="6" y="43"/>
                  </a:cubicBezTo>
                  <a:cubicBezTo>
                    <a:pt x="7" y="44"/>
                    <a:pt x="11" y="52"/>
                    <a:pt x="11" y="58"/>
                  </a:cubicBezTo>
                  <a:lnTo>
                    <a:pt x="11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33" name="Freeform 9"/>
            <p:cNvSpPr>
              <a:spLocks noEditPoints="1"/>
            </p:cNvSpPr>
            <p:nvPr/>
          </p:nvSpPr>
          <p:spPr bwMode="auto">
            <a:xfrm>
              <a:off x="498" y="497"/>
              <a:ext cx="79" cy="77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16" y="32"/>
                </a:cxn>
                <a:cxn ang="0">
                  <a:pos x="11" y="31"/>
                </a:cxn>
                <a:cxn ang="0">
                  <a:pos x="4" y="26"/>
                </a:cxn>
                <a:cxn ang="0">
                  <a:pos x="6" y="2"/>
                </a:cxn>
                <a:cxn ang="0">
                  <a:pos x="8" y="1"/>
                </a:cxn>
                <a:cxn ang="0">
                  <a:pos x="31" y="5"/>
                </a:cxn>
                <a:cxn ang="0">
                  <a:pos x="33" y="7"/>
                </a:cxn>
                <a:cxn ang="0">
                  <a:pos x="16" y="32"/>
                </a:cxn>
                <a:cxn ang="0">
                  <a:pos x="9" y="5"/>
                </a:cxn>
                <a:cxn ang="0">
                  <a:pos x="7" y="25"/>
                </a:cxn>
                <a:cxn ang="0">
                  <a:pos x="11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9" y="8"/>
                </a:cxn>
                <a:cxn ang="0">
                  <a:pos x="9" y="5"/>
                </a:cxn>
              </a:cxnLst>
              <a:rect l="0" t="0" r="r" b="b"/>
              <a:pathLst>
                <a:path w="33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1" y="31"/>
                    <a:pt x="11" y="31"/>
                  </a:cubicBezTo>
                  <a:cubicBezTo>
                    <a:pt x="8" y="31"/>
                    <a:pt x="6" y="29"/>
                    <a:pt x="4" y="26"/>
                  </a:cubicBezTo>
                  <a:cubicBezTo>
                    <a:pt x="0" y="18"/>
                    <a:pt x="6" y="2"/>
                    <a:pt x="6" y="2"/>
                  </a:cubicBezTo>
                  <a:cubicBezTo>
                    <a:pt x="6" y="1"/>
                    <a:pt x="7" y="0"/>
                    <a:pt x="8" y="1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1" y="29"/>
                    <a:pt x="21" y="32"/>
                    <a:pt x="16" y="32"/>
                  </a:cubicBezTo>
                  <a:close/>
                  <a:moveTo>
                    <a:pt x="9" y="5"/>
                  </a:moveTo>
                  <a:cubicBezTo>
                    <a:pt x="7" y="9"/>
                    <a:pt x="5" y="20"/>
                    <a:pt x="7" y="25"/>
                  </a:cubicBezTo>
                  <a:cubicBezTo>
                    <a:pt x="8" y="26"/>
                    <a:pt x="10" y="27"/>
                    <a:pt x="11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3" y="28"/>
                    <a:pt x="16" y="28"/>
                  </a:cubicBezTo>
                  <a:cubicBezTo>
                    <a:pt x="23" y="28"/>
                    <a:pt x="28" y="22"/>
                    <a:pt x="29" y="8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34" name="Freeform 10"/>
            <p:cNvSpPr>
              <a:spLocks noEditPoints="1"/>
            </p:cNvSpPr>
            <p:nvPr/>
          </p:nvSpPr>
          <p:spPr bwMode="auto">
            <a:xfrm>
              <a:off x="230" y="177"/>
              <a:ext cx="494" cy="492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37" name="Group 13"/>
          <p:cNvGrpSpPr>
            <a:grpSpLocks noChangeAspect="1"/>
          </p:cNvGrpSpPr>
          <p:nvPr/>
        </p:nvGrpSpPr>
        <p:grpSpPr bwMode="auto">
          <a:xfrm>
            <a:off x="1471612" y="285750"/>
            <a:ext cx="784225" cy="784225"/>
            <a:chOff x="927" y="180"/>
            <a:chExt cx="494" cy="494"/>
          </a:xfrm>
        </p:grpSpPr>
        <p:sp>
          <p:nvSpPr>
            <p:cNvPr id="52238" name="Freeform 14"/>
            <p:cNvSpPr>
              <a:spLocks noEditPoints="1"/>
            </p:cNvSpPr>
            <p:nvPr/>
          </p:nvSpPr>
          <p:spPr bwMode="auto">
            <a:xfrm>
              <a:off x="1050" y="281"/>
              <a:ext cx="107" cy="161"/>
            </a:xfrm>
            <a:custGeom>
              <a:avLst/>
              <a:gdLst/>
              <a:ahLst/>
              <a:cxnLst>
                <a:cxn ang="0">
                  <a:pos x="12" y="67"/>
                </a:cxn>
                <a:cxn ang="0">
                  <a:pos x="10" y="66"/>
                </a:cxn>
                <a:cxn ang="0">
                  <a:pos x="6" y="17"/>
                </a:cxn>
                <a:cxn ang="0">
                  <a:pos x="6" y="17"/>
                </a:cxn>
                <a:cxn ang="0">
                  <a:pos x="22" y="0"/>
                </a:cxn>
                <a:cxn ang="0">
                  <a:pos x="25" y="0"/>
                </a:cxn>
                <a:cxn ang="0">
                  <a:pos x="42" y="17"/>
                </a:cxn>
                <a:cxn ang="0">
                  <a:pos x="42" y="17"/>
                </a:cxn>
                <a:cxn ang="0">
                  <a:pos x="44" y="30"/>
                </a:cxn>
                <a:cxn ang="0">
                  <a:pos x="42" y="44"/>
                </a:cxn>
                <a:cxn ang="0">
                  <a:pos x="42" y="45"/>
                </a:cxn>
                <a:cxn ang="0">
                  <a:pos x="38" y="57"/>
                </a:cxn>
                <a:cxn ang="0">
                  <a:pos x="38" y="57"/>
                </a:cxn>
                <a:cxn ang="0">
                  <a:pos x="38" y="61"/>
                </a:cxn>
                <a:cxn ang="0">
                  <a:pos x="37" y="62"/>
                </a:cxn>
                <a:cxn ang="0">
                  <a:pos x="12" y="67"/>
                </a:cxn>
                <a:cxn ang="0">
                  <a:pos x="12" y="67"/>
                </a:cxn>
                <a:cxn ang="0">
                  <a:pos x="9" y="18"/>
                </a:cxn>
                <a:cxn ang="0">
                  <a:pos x="13" y="63"/>
                </a:cxn>
                <a:cxn ang="0">
                  <a:pos x="34" y="59"/>
                </a:cxn>
                <a:cxn ang="0">
                  <a:pos x="34" y="57"/>
                </a:cxn>
                <a:cxn ang="0">
                  <a:pos x="39" y="43"/>
                </a:cxn>
                <a:cxn ang="0">
                  <a:pos x="40" y="30"/>
                </a:cxn>
                <a:cxn ang="0">
                  <a:pos x="40" y="30"/>
                </a:cxn>
                <a:cxn ang="0">
                  <a:pos x="38" y="18"/>
                </a:cxn>
                <a:cxn ang="0">
                  <a:pos x="25" y="4"/>
                </a:cxn>
                <a:cxn ang="0">
                  <a:pos x="23" y="4"/>
                </a:cxn>
                <a:cxn ang="0">
                  <a:pos x="23" y="4"/>
                </a:cxn>
                <a:cxn ang="0">
                  <a:pos x="9" y="18"/>
                </a:cxn>
              </a:cxnLst>
              <a:rect l="0" t="0" r="r" b="b"/>
              <a:pathLst>
                <a:path w="45" h="67">
                  <a:moveTo>
                    <a:pt x="12" y="67"/>
                  </a:moveTo>
                  <a:cubicBezTo>
                    <a:pt x="11" y="67"/>
                    <a:pt x="11" y="67"/>
                    <a:pt x="10" y="66"/>
                  </a:cubicBezTo>
                  <a:cubicBezTo>
                    <a:pt x="10" y="65"/>
                    <a:pt x="0" y="36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11" y="1"/>
                    <a:pt x="22" y="0"/>
                  </a:cubicBezTo>
                  <a:cubicBezTo>
                    <a:pt x="23" y="0"/>
                    <a:pt x="23" y="0"/>
                    <a:pt x="25" y="0"/>
                  </a:cubicBezTo>
                  <a:cubicBezTo>
                    <a:pt x="28" y="0"/>
                    <a:pt x="38" y="2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7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ubicBezTo>
                    <a:pt x="41" y="47"/>
                    <a:pt x="38" y="53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2"/>
                    <a:pt x="38" y="62"/>
                    <a:pt x="37" y="62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lose/>
                  <a:moveTo>
                    <a:pt x="9" y="18"/>
                  </a:moveTo>
                  <a:cubicBezTo>
                    <a:pt x="5" y="34"/>
                    <a:pt x="12" y="57"/>
                    <a:pt x="13" y="63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2"/>
                    <a:pt x="38" y="44"/>
                    <a:pt x="39" y="43"/>
                  </a:cubicBezTo>
                  <a:cubicBezTo>
                    <a:pt x="41" y="37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5" y="5"/>
                    <a:pt x="28" y="4"/>
                    <a:pt x="25" y="4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14" y="5"/>
                    <a:pt x="10" y="18"/>
                    <a:pt x="9" y="1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39" name="Freeform 15"/>
            <p:cNvSpPr>
              <a:spLocks noEditPoints="1"/>
            </p:cNvSpPr>
            <p:nvPr/>
          </p:nvSpPr>
          <p:spPr bwMode="auto">
            <a:xfrm>
              <a:off x="1083" y="442"/>
              <a:ext cx="77" cy="76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4" y="0"/>
                </a:cxn>
                <a:cxn ang="0">
                  <a:pos x="26" y="1"/>
                </a:cxn>
                <a:cxn ang="0">
                  <a:pos x="28" y="26"/>
                </a:cxn>
                <a:cxn ang="0">
                  <a:pos x="22" y="31"/>
                </a:cxn>
                <a:cxn ang="0">
                  <a:pos x="17" y="32"/>
                </a:cxn>
                <a:cxn ang="0">
                  <a:pos x="3" y="8"/>
                </a:cxn>
                <a:cxn ang="0">
                  <a:pos x="17" y="28"/>
                </a:cxn>
                <a:cxn ang="0">
                  <a:pos x="20" y="27"/>
                </a:cxn>
                <a:cxn ang="0">
                  <a:pos x="21" y="27"/>
                </a:cxn>
                <a:cxn ang="0">
                  <a:pos x="25" y="24"/>
                </a:cxn>
                <a:cxn ang="0">
                  <a:pos x="23" y="4"/>
                </a:cxn>
                <a:cxn ang="0">
                  <a:pos x="3" y="8"/>
                </a:cxn>
              </a:cxnLst>
              <a:rect l="0" t="0" r="r" b="b"/>
              <a:pathLst>
                <a:path w="32" h="32">
                  <a:moveTo>
                    <a:pt x="17" y="32"/>
                  </a:moveTo>
                  <a:cubicBezTo>
                    <a:pt x="11" y="32"/>
                    <a:pt x="1" y="28"/>
                    <a:pt x="0" y="6"/>
                  </a:cubicBezTo>
                  <a:cubicBezTo>
                    <a:pt x="0" y="6"/>
                    <a:pt x="0" y="5"/>
                    <a:pt x="1" y="5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26" y="2"/>
                    <a:pt x="32" y="18"/>
                    <a:pt x="28" y="26"/>
                  </a:cubicBezTo>
                  <a:cubicBezTo>
                    <a:pt x="27" y="28"/>
                    <a:pt x="24" y="30"/>
                    <a:pt x="22" y="31"/>
                  </a:cubicBezTo>
                  <a:cubicBezTo>
                    <a:pt x="21" y="31"/>
                    <a:pt x="19" y="32"/>
                    <a:pt x="17" y="32"/>
                  </a:cubicBezTo>
                  <a:close/>
                  <a:moveTo>
                    <a:pt x="3" y="8"/>
                  </a:moveTo>
                  <a:cubicBezTo>
                    <a:pt x="4" y="21"/>
                    <a:pt x="9" y="28"/>
                    <a:pt x="17" y="28"/>
                  </a:cubicBezTo>
                  <a:cubicBezTo>
                    <a:pt x="19" y="28"/>
                    <a:pt x="20" y="27"/>
                    <a:pt x="20" y="27"/>
                  </a:cubicBezTo>
                  <a:cubicBezTo>
                    <a:pt x="20" y="27"/>
                    <a:pt x="21" y="27"/>
                    <a:pt x="21" y="27"/>
                  </a:cubicBezTo>
                  <a:cubicBezTo>
                    <a:pt x="22" y="27"/>
                    <a:pt x="24" y="26"/>
                    <a:pt x="25" y="24"/>
                  </a:cubicBezTo>
                  <a:cubicBezTo>
                    <a:pt x="27" y="19"/>
                    <a:pt x="25" y="9"/>
                    <a:pt x="23" y="4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40" name="Freeform 16"/>
            <p:cNvSpPr>
              <a:spLocks noEditPoints="1"/>
            </p:cNvSpPr>
            <p:nvPr/>
          </p:nvSpPr>
          <p:spPr bwMode="auto">
            <a:xfrm>
              <a:off x="1198" y="341"/>
              <a:ext cx="108" cy="163"/>
            </a:xfrm>
            <a:custGeom>
              <a:avLst/>
              <a:gdLst/>
              <a:ahLst/>
              <a:cxnLst>
                <a:cxn ang="0">
                  <a:pos x="33" y="68"/>
                </a:cxn>
                <a:cxn ang="0">
                  <a:pos x="33" y="68"/>
                </a:cxn>
                <a:cxn ang="0">
                  <a:pos x="8" y="63"/>
                </a:cxn>
                <a:cxn ang="0">
                  <a:pos x="7" y="61"/>
                </a:cxn>
                <a:cxn ang="0">
                  <a:pos x="7" y="58"/>
                </a:cxn>
                <a:cxn ang="0">
                  <a:pos x="7" y="58"/>
                </a:cxn>
                <a:cxn ang="0">
                  <a:pos x="3" y="45"/>
                </a:cxn>
                <a:cxn ang="0">
                  <a:pos x="3" y="45"/>
                </a:cxn>
                <a:cxn ang="0">
                  <a:pos x="1" y="30"/>
                </a:cxn>
                <a:cxn ang="0">
                  <a:pos x="3" y="18"/>
                </a:cxn>
                <a:cxn ang="0">
                  <a:pos x="4" y="18"/>
                </a:cxn>
                <a:cxn ang="0">
                  <a:pos x="21" y="0"/>
                </a:cxn>
                <a:cxn ang="0">
                  <a:pos x="23" y="1"/>
                </a:cxn>
                <a:cxn ang="0">
                  <a:pos x="39" y="18"/>
                </a:cxn>
                <a:cxn ang="0">
                  <a:pos x="39" y="18"/>
                </a:cxn>
                <a:cxn ang="0">
                  <a:pos x="35" y="66"/>
                </a:cxn>
                <a:cxn ang="0">
                  <a:pos x="33" y="68"/>
                </a:cxn>
                <a:cxn ang="0">
                  <a:pos x="11" y="60"/>
                </a:cxn>
                <a:cxn ang="0">
                  <a:pos x="32" y="64"/>
                </a:cxn>
                <a:cxn ang="0">
                  <a:pos x="36" y="19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21" y="4"/>
                </a:cxn>
                <a:cxn ang="0">
                  <a:pos x="7" y="18"/>
                </a:cxn>
                <a:cxn ang="0">
                  <a:pos x="5" y="31"/>
                </a:cxn>
                <a:cxn ang="0">
                  <a:pos x="5" y="31"/>
                </a:cxn>
                <a:cxn ang="0">
                  <a:pos x="6" y="43"/>
                </a:cxn>
                <a:cxn ang="0">
                  <a:pos x="11" y="58"/>
                </a:cxn>
                <a:cxn ang="0">
                  <a:pos x="11" y="60"/>
                </a:cxn>
              </a:cxnLst>
              <a:rect l="0" t="0" r="r" b="b"/>
              <a:pathLst>
                <a:path w="45" h="68">
                  <a:moveTo>
                    <a:pt x="33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3"/>
                    <a:pt x="7" y="62"/>
                    <a:pt x="7" y="61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54"/>
                    <a:pt x="4" y="47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0" y="38"/>
                    <a:pt x="1" y="31"/>
                    <a:pt x="1" y="3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4" y="18"/>
                  </a:cubicBezTo>
                  <a:cubicBezTo>
                    <a:pt x="7" y="2"/>
                    <a:pt x="17" y="0"/>
                    <a:pt x="21" y="0"/>
                  </a:cubicBezTo>
                  <a:cubicBezTo>
                    <a:pt x="22" y="0"/>
                    <a:pt x="22" y="1"/>
                    <a:pt x="23" y="1"/>
                  </a:cubicBezTo>
                  <a:cubicBezTo>
                    <a:pt x="34" y="2"/>
                    <a:pt x="39" y="17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45" y="37"/>
                    <a:pt x="35" y="65"/>
                    <a:pt x="35" y="66"/>
                  </a:cubicBezTo>
                  <a:cubicBezTo>
                    <a:pt x="34" y="67"/>
                    <a:pt x="34" y="68"/>
                    <a:pt x="33" y="68"/>
                  </a:cubicBezTo>
                  <a:close/>
                  <a:moveTo>
                    <a:pt x="11" y="60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4" y="58"/>
                    <a:pt x="40" y="34"/>
                    <a:pt x="36" y="19"/>
                  </a:cubicBezTo>
                  <a:cubicBezTo>
                    <a:pt x="35" y="18"/>
                    <a:pt x="31" y="5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17" y="4"/>
                    <a:pt x="10" y="6"/>
                    <a:pt x="7" y="18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4" y="37"/>
                    <a:pt x="6" y="43"/>
                  </a:cubicBezTo>
                  <a:cubicBezTo>
                    <a:pt x="7" y="44"/>
                    <a:pt x="11" y="52"/>
                    <a:pt x="11" y="58"/>
                  </a:cubicBezTo>
                  <a:lnTo>
                    <a:pt x="11" y="6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41" name="Freeform 17"/>
            <p:cNvSpPr>
              <a:spLocks noEditPoints="1"/>
            </p:cNvSpPr>
            <p:nvPr/>
          </p:nvSpPr>
          <p:spPr bwMode="auto">
            <a:xfrm>
              <a:off x="1196" y="501"/>
              <a:ext cx="79" cy="77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16" y="32"/>
                </a:cxn>
                <a:cxn ang="0">
                  <a:pos x="11" y="31"/>
                </a:cxn>
                <a:cxn ang="0">
                  <a:pos x="4" y="26"/>
                </a:cxn>
                <a:cxn ang="0">
                  <a:pos x="6" y="2"/>
                </a:cxn>
                <a:cxn ang="0">
                  <a:pos x="8" y="1"/>
                </a:cxn>
                <a:cxn ang="0">
                  <a:pos x="31" y="5"/>
                </a:cxn>
                <a:cxn ang="0">
                  <a:pos x="33" y="7"/>
                </a:cxn>
                <a:cxn ang="0">
                  <a:pos x="16" y="32"/>
                </a:cxn>
                <a:cxn ang="0">
                  <a:pos x="9" y="5"/>
                </a:cxn>
                <a:cxn ang="0">
                  <a:pos x="7" y="25"/>
                </a:cxn>
                <a:cxn ang="0">
                  <a:pos x="11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9" y="8"/>
                </a:cxn>
                <a:cxn ang="0">
                  <a:pos x="9" y="5"/>
                </a:cxn>
              </a:cxnLst>
              <a:rect l="0" t="0" r="r" b="b"/>
              <a:pathLst>
                <a:path w="33" h="32">
                  <a:moveTo>
                    <a:pt x="16" y="32"/>
                  </a:move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1" y="31"/>
                    <a:pt x="11" y="31"/>
                  </a:cubicBezTo>
                  <a:cubicBezTo>
                    <a:pt x="8" y="31"/>
                    <a:pt x="6" y="29"/>
                    <a:pt x="4" y="26"/>
                  </a:cubicBezTo>
                  <a:cubicBezTo>
                    <a:pt x="0" y="18"/>
                    <a:pt x="6" y="2"/>
                    <a:pt x="6" y="2"/>
                  </a:cubicBezTo>
                  <a:cubicBezTo>
                    <a:pt x="6" y="1"/>
                    <a:pt x="7" y="0"/>
                    <a:pt x="8" y="1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1" y="29"/>
                    <a:pt x="21" y="32"/>
                    <a:pt x="16" y="32"/>
                  </a:cubicBezTo>
                  <a:close/>
                  <a:moveTo>
                    <a:pt x="9" y="5"/>
                  </a:moveTo>
                  <a:cubicBezTo>
                    <a:pt x="7" y="9"/>
                    <a:pt x="5" y="20"/>
                    <a:pt x="7" y="25"/>
                  </a:cubicBezTo>
                  <a:cubicBezTo>
                    <a:pt x="8" y="26"/>
                    <a:pt x="10" y="27"/>
                    <a:pt x="11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3" y="28"/>
                    <a:pt x="16" y="28"/>
                  </a:cubicBezTo>
                  <a:cubicBezTo>
                    <a:pt x="23" y="28"/>
                    <a:pt x="28" y="22"/>
                    <a:pt x="29" y="8"/>
                  </a:cubicBezTo>
                  <a:lnTo>
                    <a:pt x="9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42" name="Freeform 18"/>
            <p:cNvSpPr>
              <a:spLocks noEditPoints="1"/>
            </p:cNvSpPr>
            <p:nvPr/>
          </p:nvSpPr>
          <p:spPr bwMode="auto">
            <a:xfrm>
              <a:off x="927" y="180"/>
              <a:ext cx="494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45" name="Group 21"/>
          <p:cNvGrpSpPr>
            <a:grpSpLocks noChangeAspect="1"/>
          </p:cNvGrpSpPr>
          <p:nvPr/>
        </p:nvGrpSpPr>
        <p:grpSpPr bwMode="auto">
          <a:xfrm>
            <a:off x="2533650" y="257175"/>
            <a:ext cx="838200" cy="836613"/>
            <a:chOff x="1603" y="162"/>
            <a:chExt cx="528" cy="527"/>
          </a:xfrm>
        </p:grpSpPr>
        <p:sp>
          <p:nvSpPr>
            <p:cNvPr id="52246" name="Oval 22"/>
            <p:cNvSpPr>
              <a:spLocks noChangeArrowheads="1"/>
            </p:cNvSpPr>
            <p:nvPr/>
          </p:nvSpPr>
          <p:spPr bwMode="auto">
            <a:xfrm>
              <a:off x="1603" y="162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47" name="Freeform 23"/>
            <p:cNvSpPr>
              <a:spLocks noEditPoints="1"/>
            </p:cNvSpPr>
            <p:nvPr/>
          </p:nvSpPr>
          <p:spPr bwMode="auto">
            <a:xfrm>
              <a:off x="1625" y="184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48" name="Freeform 24"/>
            <p:cNvSpPr>
              <a:spLocks noEditPoints="1"/>
            </p:cNvSpPr>
            <p:nvPr/>
          </p:nvSpPr>
          <p:spPr bwMode="auto">
            <a:xfrm>
              <a:off x="1733" y="330"/>
              <a:ext cx="271" cy="196"/>
            </a:xfrm>
            <a:custGeom>
              <a:avLst/>
              <a:gdLst/>
              <a:ahLst/>
              <a:cxnLst>
                <a:cxn ang="0">
                  <a:pos x="268" y="0"/>
                </a:cxn>
                <a:cxn ang="0">
                  <a:pos x="9" y="0"/>
                </a:cxn>
                <a:cxn ang="0">
                  <a:pos x="0" y="7"/>
                </a:cxn>
                <a:cxn ang="0">
                  <a:pos x="0" y="196"/>
                </a:cxn>
                <a:cxn ang="0">
                  <a:pos x="261" y="196"/>
                </a:cxn>
                <a:cxn ang="0">
                  <a:pos x="268" y="186"/>
                </a:cxn>
                <a:cxn ang="0">
                  <a:pos x="271" y="7"/>
                </a:cxn>
                <a:cxn ang="0">
                  <a:pos x="268" y="7"/>
                </a:cxn>
                <a:cxn ang="0">
                  <a:pos x="259" y="7"/>
                </a:cxn>
                <a:cxn ang="0">
                  <a:pos x="9" y="31"/>
                </a:cxn>
                <a:cxn ang="0">
                  <a:pos x="9" y="40"/>
                </a:cxn>
                <a:cxn ang="0">
                  <a:pos x="218" y="62"/>
                </a:cxn>
                <a:cxn ang="0">
                  <a:pos x="9" y="40"/>
                </a:cxn>
                <a:cxn ang="0">
                  <a:pos x="158" y="69"/>
                </a:cxn>
                <a:cxn ang="0">
                  <a:pos x="194" y="91"/>
                </a:cxn>
                <a:cxn ang="0">
                  <a:pos x="187" y="100"/>
                </a:cxn>
                <a:cxn ang="0">
                  <a:pos x="177" y="100"/>
                </a:cxn>
                <a:cxn ang="0">
                  <a:pos x="9" y="69"/>
                </a:cxn>
                <a:cxn ang="0">
                  <a:pos x="120" y="91"/>
                </a:cxn>
                <a:cxn ang="0">
                  <a:pos x="9" y="69"/>
                </a:cxn>
                <a:cxn ang="0">
                  <a:pos x="93" y="122"/>
                </a:cxn>
                <a:cxn ang="0">
                  <a:pos x="72" y="100"/>
                </a:cxn>
                <a:cxn ang="0">
                  <a:pos x="9" y="100"/>
                </a:cxn>
                <a:cxn ang="0">
                  <a:pos x="31" y="122"/>
                </a:cxn>
                <a:cxn ang="0">
                  <a:pos x="9" y="100"/>
                </a:cxn>
                <a:cxn ang="0">
                  <a:pos x="24" y="131"/>
                </a:cxn>
                <a:cxn ang="0">
                  <a:pos x="9" y="131"/>
                </a:cxn>
                <a:cxn ang="0">
                  <a:pos x="62" y="103"/>
                </a:cxn>
                <a:cxn ang="0">
                  <a:pos x="93" y="136"/>
                </a:cxn>
                <a:cxn ang="0">
                  <a:pos x="180" y="117"/>
                </a:cxn>
                <a:cxn ang="0">
                  <a:pos x="261" y="21"/>
                </a:cxn>
                <a:cxn ang="0">
                  <a:pos x="184" y="143"/>
                </a:cxn>
                <a:cxn ang="0">
                  <a:pos x="144" y="95"/>
                </a:cxn>
                <a:cxn ang="0">
                  <a:pos x="62" y="129"/>
                </a:cxn>
                <a:cxn ang="0">
                  <a:pos x="9" y="177"/>
                </a:cxn>
                <a:cxn ang="0">
                  <a:pos x="163" y="131"/>
                </a:cxn>
                <a:cxn ang="0">
                  <a:pos x="108" y="153"/>
                </a:cxn>
                <a:cxn ang="0">
                  <a:pos x="163" y="131"/>
                </a:cxn>
                <a:cxn ang="0">
                  <a:pos x="146" y="105"/>
                </a:cxn>
                <a:cxn ang="0">
                  <a:pos x="132" y="122"/>
                </a:cxn>
                <a:cxn ang="0">
                  <a:pos x="45" y="153"/>
                </a:cxn>
                <a:cxn ang="0">
                  <a:pos x="69" y="153"/>
                </a:cxn>
                <a:cxn ang="0">
                  <a:pos x="12" y="186"/>
                </a:cxn>
                <a:cxn ang="0">
                  <a:pos x="77" y="160"/>
                </a:cxn>
                <a:cxn ang="0">
                  <a:pos x="91" y="170"/>
                </a:cxn>
                <a:cxn ang="0">
                  <a:pos x="261" y="160"/>
                </a:cxn>
                <a:cxn ang="0">
                  <a:pos x="187" y="153"/>
                </a:cxn>
                <a:cxn ang="0">
                  <a:pos x="261" y="131"/>
                </a:cxn>
                <a:cxn ang="0">
                  <a:pos x="211" y="122"/>
                </a:cxn>
                <a:cxn ang="0">
                  <a:pos x="261" y="100"/>
                </a:cxn>
                <a:cxn ang="0">
                  <a:pos x="232" y="91"/>
                </a:cxn>
                <a:cxn ang="0">
                  <a:pos x="261" y="69"/>
                </a:cxn>
                <a:cxn ang="0">
                  <a:pos x="256" y="62"/>
                </a:cxn>
                <a:cxn ang="0">
                  <a:pos x="261" y="186"/>
                </a:cxn>
              </a:cxnLst>
              <a:rect l="0" t="0" r="r" b="b"/>
              <a:pathLst>
                <a:path w="271" h="196">
                  <a:moveTo>
                    <a:pt x="268" y="7"/>
                  </a:moveTo>
                  <a:lnTo>
                    <a:pt x="268" y="0"/>
                  </a:lnTo>
                  <a:lnTo>
                    <a:pt x="261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86"/>
                  </a:lnTo>
                  <a:lnTo>
                    <a:pt x="0" y="196"/>
                  </a:lnTo>
                  <a:lnTo>
                    <a:pt x="9" y="196"/>
                  </a:lnTo>
                  <a:lnTo>
                    <a:pt x="261" y="196"/>
                  </a:lnTo>
                  <a:lnTo>
                    <a:pt x="268" y="196"/>
                  </a:lnTo>
                  <a:lnTo>
                    <a:pt x="268" y="186"/>
                  </a:lnTo>
                  <a:lnTo>
                    <a:pt x="268" y="17"/>
                  </a:lnTo>
                  <a:lnTo>
                    <a:pt x="271" y="7"/>
                  </a:lnTo>
                  <a:lnTo>
                    <a:pt x="268" y="7"/>
                  </a:lnTo>
                  <a:lnTo>
                    <a:pt x="268" y="7"/>
                  </a:lnTo>
                  <a:close/>
                  <a:moveTo>
                    <a:pt x="9" y="7"/>
                  </a:moveTo>
                  <a:lnTo>
                    <a:pt x="259" y="7"/>
                  </a:lnTo>
                  <a:lnTo>
                    <a:pt x="242" y="31"/>
                  </a:lnTo>
                  <a:lnTo>
                    <a:pt x="9" y="31"/>
                  </a:lnTo>
                  <a:lnTo>
                    <a:pt x="9" y="7"/>
                  </a:lnTo>
                  <a:close/>
                  <a:moveTo>
                    <a:pt x="9" y="40"/>
                  </a:moveTo>
                  <a:lnTo>
                    <a:pt x="235" y="40"/>
                  </a:lnTo>
                  <a:lnTo>
                    <a:pt x="218" y="62"/>
                  </a:lnTo>
                  <a:lnTo>
                    <a:pt x="9" y="62"/>
                  </a:lnTo>
                  <a:lnTo>
                    <a:pt x="9" y="40"/>
                  </a:lnTo>
                  <a:close/>
                  <a:moveTo>
                    <a:pt x="172" y="91"/>
                  </a:moveTo>
                  <a:lnTo>
                    <a:pt x="158" y="69"/>
                  </a:lnTo>
                  <a:lnTo>
                    <a:pt x="211" y="69"/>
                  </a:lnTo>
                  <a:lnTo>
                    <a:pt x="194" y="91"/>
                  </a:lnTo>
                  <a:lnTo>
                    <a:pt x="172" y="91"/>
                  </a:lnTo>
                  <a:close/>
                  <a:moveTo>
                    <a:pt x="187" y="100"/>
                  </a:moveTo>
                  <a:lnTo>
                    <a:pt x="182" y="105"/>
                  </a:lnTo>
                  <a:lnTo>
                    <a:pt x="177" y="100"/>
                  </a:lnTo>
                  <a:lnTo>
                    <a:pt x="187" y="100"/>
                  </a:lnTo>
                  <a:close/>
                  <a:moveTo>
                    <a:pt x="9" y="69"/>
                  </a:moveTo>
                  <a:lnTo>
                    <a:pt x="139" y="69"/>
                  </a:lnTo>
                  <a:lnTo>
                    <a:pt x="120" y="91"/>
                  </a:lnTo>
                  <a:lnTo>
                    <a:pt x="9" y="91"/>
                  </a:lnTo>
                  <a:lnTo>
                    <a:pt x="9" y="69"/>
                  </a:lnTo>
                  <a:close/>
                  <a:moveTo>
                    <a:pt x="112" y="100"/>
                  </a:moveTo>
                  <a:lnTo>
                    <a:pt x="93" y="122"/>
                  </a:lnTo>
                  <a:lnTo>
                    <a:pt x="86" y="122"/>
                  </a:lnTo>
                  <a:lnTo>
                    <a:pt x="72" y="100"/>
                  </a:lnTo>
                  <a:lnTo>
                    <a:pt x="112" y="100"/>
                  </a:lnTo>
                  <a:close/>
                  <a:moveTo>
                    <a:pt x="9" y="100"/>
                  </a:moveTo>
                  <a:lnTo>
                    <a:pt x="53" y="100"/>
                  </a:lnTo>
                  <a:lnTo>
                    <a:pt x="31" y="122"/>
                  </a:lnTo>
                  <a:lnTo>
                    <a:pt x="9" y="122"/>
                  </a:lnTo>
                  <a:lnTo>
                    <a:pt x="9" y="100"/>
                  </a:lnTo>
                  <a:close/>
                  <a:moveTo>
                    <a:pt x="9" y="131"/>
                  </a:moveTo>
                  <a:lnTo>
                    <a:pt x="24" y="131"/>
                  </a:lnTo>
                  <a:lnTo>
                    <a:pt x="9" y="146"/>
                  </a:lnTo>
                  <a:lnTo>
                    <a:pt x="9" y="131"/>
                  </a:lnTo>
                  <a:close/>
                  <a:moveTo>
                    <a:pt x="9" y="160"/>
                  </a:moveTo>
                  <a:lnTo>
                    <a:pt x="62" y="103"/>
                  </a:lnTo>
                  <a:lnTo>
                    <a:pt x="86" y="136"/>
                  </a:lnTo>
                  <a:lnTo>
                    <a:pt x="93" y="136"/>
                  </a:lnTo>
                  <a:lnTo>
                    <a:pt x="148" y="72"/>
                  </a:lnTo>
                  <a:lnTo>
                    <a:pt x="180" y="117"/>
                  </a:lnTo>
                  <a:lnTo>
                    <a:pt x="184" y="117"/>
                  </a:lnTo>
                  <a:lnTo>
                    <a:pt x="261" y="21"/>
                  </a:lnTo>
                  <a:lnTo>
                    <a:pt x="261" y="40"/>
                  </a:lnTo>
                  <a:lnTo>
                    <a:pt x="184" y="143"/>
                  </a:lnTo>
                  <a:lnTo>
                    <a:pt x="151" y="95"/>
                  </a:lnTo>
                  <a:lnTo>
                    <a:pt x="144" y="95"/>
                  </a:lnTo>
                  <a:lnTo>
                    <a:pt x="88" y="160"/>
                  </a:lnTo>
                  <a:lnTo>
                    <a:pt x="62" y="129"/>
                  </a:lnTo>
                  <a:lnTo>
                    <a:pt x="55" y="129"/>
                  </a:lnTo>
                  <a:lnTo>
                    <a:pt x="9" y="177"/>
                  </a:lnTo>
                  <a:lnTo>
                    <a:pt x="9" y="160"/>
                  </a:lnTo>
                  <a:close/>
                  <a:moveTo>
                    <a:pt x="163" y="131"/>
                  </a:moveTo>
                  <a:lnTo>
                    <a:pt x="180" y="153"/>
                  </a:lnTo>
                  <a:lnTo>
                    <a:pt x="108" y="153"/>
                  </a:lnTo>
                  <a:lnTo>
                    <a:pt x="124" y="131"/>
                  </a:lnTo>
                  <a:lnTo>
                    <a:pt x="163" y="131"/>
                  </a:lnTo>
                  <a:close/>
                  <a:moveTo>
                    <a:pt x="132" y="122"/>
                  </a:moveTo>
                  <a:lnTo>
                    <a:pt x="146" y="105"/>
                  </a:lnTo>
                  <a:lnTo>
                    <a:pt x="158" y="122"/>
                  </a:lnTo>
                  <a:lnTo>
                    <a:pt x="132" y="122"/>
                  </a:lnTo>
                  <a:close/>
                  <a:moveTo>
                    <a:pt x="69" y="153"/>
                  </a:moveTo>
                  <a:lnTo>
                    <a:pt x="45" y="153"/>
                  </a:lnTo>
                  <a:lnTo>
                    <a:pt x="60" y="139"/>
                  </a:lnTo>
                  <a:lnTo>
                    <a:pt x="69" y="153"/>
                  </a:lnTo>
                  <a:close/>
                  <a:moveTo>
                    <a:pt x="261" y="186"/>
                  </a:moveTo>
                  <a:lnTo>
                    <a:pt x="12" y="186"/>
                  </a:lnTo>
                  <a:lnTo>
                    <a:pt x="38" y="160"/>
                  </a:lnTo>
                  <a:lnTo>
                    <a:pt x="77" y="160"/>
                  </a:lnTo>
                  <a:lnTo>
                    <a:pt x="84" y="170"/>
                  </a:lnTo>
                  <a:lnTo>
                    <a:pt x="91" y="170"/>
                  </a:lnTo>
                  <a:lnTo>
                    <a:pt x="100" y="160"/>
                  </a:lnTo>
                  <a:lnTo>
                    <a:pt x="261" y="160"/>
                  </a:lnTo>
                  <a:lnTo>
                    <a:pt x="261" y="153"/>
                  </a:lnTo>
                  <a:lnTo>
                    <a:pt x="187" y="153"/>
                  </a:lnTo>
                  <a:lnTo>
                    <a:pt x="204" y="131"/>
                  </a:lnTo>
                  <a:lnTo>
                    <a:pt x="261" y="131"/>
                  </a:lnTo>
                  <a:lnTo>
                    <a:pt x="261" y="122"/>
                  </a:lnTo>
                  <a:lnTo>
                    <a:pt x="211" y="122"/>
                  </a:lnTo>
                  <a:lnTo>
                    <a:pt x="225" y="100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32" y="91"/>
                  </a:lnTo>
                  <a:lnTo>
                    <a:pt x="249" y="69"/>
                  </a:lnTo>
                  <a:lnTo>
                    <a:pt x="261" y="69"/>
                  </a:lnTo>
                  <a:lnTo>
                    <a:pt x="261" y="62"/>
                  </a:lnTo>
                  <a:lnTo>
                    <a:pt x="256" y="62"/>
                  </a:lnTo>
                  <a:lnTo>
                    <a:pt x="261" y="55"/>
                  </a:lnTo>
                  <a:lnTo>
                    <a:pt x="261" y="1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51" name="Group 27"/>
          <p:cNvGrpSpPr>
            <a:grpSpLocks noChangeAspect="1"/>
          </p:cNvGrpSpPr>
          <p:nvPr/>
        </p:nvGrpSpPr>
        <p:grpSpPr bwMode="auto">
          <a:xfrm>
            <a:off x="3659190" y="290513"/>
            <a:ext cx="768350" cy="768350"/>
            <a:chOff x="2315" y="183"/>
            <a:chExt cx="484" cy="484"/>
          </a:xfrm>
        </p:grpSpPr>
        <p:sp>
          <p:nvSpPr>
            <p:cNvPr id="52252" name="Freeform 28"/>
            <p:cNvSpPr>
              <a:spLocks noEditPoints="1"/>
            </p:cNvSpPr>
            <p:nvPr/>
          </p:nvSpPr>
          <p:spPr bwMode="auto">
            <a:xfrm>
              <a:off x="2315" y="18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53" name="Freeform 29"/>
            <p:cNvSpPr>
              <a:spLocks noEditPoints="1"/>
            </p:cNvSpPr>
            <p:nvPr/>
          </p:nvSpPr>
          <p:spPr bwMode="auto">
            <a:xfrm>
              <a:off x="2423" y="330"/>
              <a:ext cx="271" cy="196"/>
            </a:xfrm>
            <a:custGeom>
              <a:avLst/>
              <a:gdLst/>
              <a:ahLst/>
              <a:cxnLst>
                <a:cxn ang="0">
                  <a:pos x="269" y="0"/>
                </a:cxn>
                <a:cxn ang="0">
                  <a:pos x="10" y="0"/>
                </a:cxn>
                <a:cxn ang="0">
                  <a:pos x="0" y="7"/>
                </a:cxn>
                <a:cxn ang="0">
                  <a:pos x="0" y="196"/>
                </a:cxn>
                <a:cxn ang="0">
                  <a:pos x="261" y="196"/>
                </a:cxn>
                <a:cxn ang="0">
                  <a:pos x="269" y="186"/>
                </a:cxn>
                <a:cxn ang="0">
                  <a:pos x="271" y="7"/>
                </a:cxn>
                <a:cxn ang="0">
                  <a:pos x="269" y="7"/>
                </a:cxn>
                <a:cxn ang="0">
                  <a:pos x="259" y="7"/>
                </a:cxn>
                <a:cxn ang="0">
                  <a:pos x="10" y="31"/>
                </a:cxn>
                <a:cxn ang="0">
                  <a:pos x="10" y="40"/>
                </a:cxn>
                <a:cxn ang="0">
                  <a:pos x="218" y="62"/>
                </a:cxn>
                <a:cxn ang="0">
                  <a:pos x="10" y="40"/>
                </a:cxn>
                <a:cxn ang="0">
                  <a:pos x="158" y="69"/>
                </a:cxn>
                <a:cxn ang="0">
                  <a:pos x="194" y="91"/>
                </a:cxn>
                <a:cxn ang="0">
                  <a:pos x="187" y="100"/>
                </a:cxn>
                <a:cxn ang="0">
                  <a:pos x="178" y="100"/>
                </a:cxn>
                <a:cxn ang="0">
                  <a:pos x="10" y="69"/>
                </a:cxn>
                <a:cxn ang="0">
                  <a:pos x="120" y="91"/>
                </a:cxn>
                <a:cxn ang="0">
                  <a:pos x="10" y="69"/>
                </a:cxn>
                <a:cxn ang="0">
                  <a:pos x="94" y="122"/>
                </a:cxn>
                <a:cxn ang="0">
                  <a:pos x="72" y="100"/>
                </a:cxn>
                <a:cxn ang="0">
                  <a:pos x="10" y="100"/>
                </a:cxn>
                <a:cxn ang="0">
                  <a:pos x="31" y="122"/>
                </a:cxn>
                <a:cxn ang="0">
                  <a:pos x="10" y="100"/>
                </a:cxn>
                <a:cxn ang="0">
                  <a:pos x="24" y="131"/>
                </a:cxn>
                <a:cxn ang="0">
                  <a:pos x="10" y="131"/>
                </a:cxn>
                <a:cxn ang="0">
                  <a:pos x="62" y="103"/>
                </a:cxn>
                <a:cxn ang="0">
                  <a:pos x="94" y="136"/>
                </a:cxn>
                <a:cxn ang="0">
                  <a:pos x="180" y="117"/>
                </a:cxn>
                <a:cxn ang="0">
                  <a:pos x="261" y="21"/>
                </a:cxn>
                <a:cxn ang="0">
                  <a:pos x="185" y="143"/>
                </a:cxn>
                <a:cxn ang="0">
                  <a:pos x="144" y="95"/>
                </a:cxn>
                <a:cxn ang="0">
                  <a:pos x="62" y="129"/>
                </a:cxn>
                <a:cxn ang="0">
                  <a:pos x="10" y="177"/>
                </a:cxn>
                <a:cxn ang="0">
                  <a:pos x="163" y="131"/>
                </a:cxn>
                <a:cxn ang="0">
                  <a:pos x="108" y="153"/>
                </a:cxn>
                <a:cxn ang="0">
                  <a:pos x="163" y="131"/>
                </a:cxn>
                <a:cxn ang="0">
                  <a:pos x="146" y="105"/>
                </a:cxn>
                <a:cxn ang="0">
                  <a:pos x="132" y="122"/>
                </a:cxn>
                <a:cxn ang="0">
                  <a:pos x="46" y="153"/>
                </a:cxn>
                <a:cxn ang="0">
                  <a:pos x="70" y="153"/>
                </a:cxn>
                <a:cxn ang="0">
                  <a:pos x="12" y="186"/>
                </a:cxn>
                <a:cxn ang="0">
                  <a:pos x="77" y="160"/>
                </a:cxn>
                <a:cxn ang="0">
                  <a:pos x="91" y="170"/>
                </a:cxn>
                <a:cxn ang="0">
                  <a:pos x="261" y="160"/>
                </a:cxn>
                <a:cxn ang="0">
                  <a:pos x="187" y="153"/>
                </a:cxn>
                <a:cxn ang="0">
                  <a:pos x="261" y="131"/>
                </a:cxn>
                <a:cxn ang="0">
                  <a:pos x="211" y="122"/>
                </a:cxn>
                <a:cxn ang="0">
                  <a:pos x="261" y="100"/>
                </a:cxn>
                <a:cxn ang="0">
                  <a:pos x="233" y="91"/>
                </a:cxn>
                <a:cxn ang="0">
                  <a:pos x="261" y="69"/>
                </a:cxn>
                <a:cxn ang="0">
                  <a:pos x="257" y="62"/>
                </a:cxn>
                <a:cxn ang="0">
                  <a:pos x="261" y="186"/>
                </a:cxn>
              </a:cxnLst>
              <a:rect l="0" t="0" r="r" b="b"/>
              <a:pathLst>
                <a:path w="271" h="196">
                  <a:moveTo>
                    <a:pt x="269" y="7"/>
                  </a:moveTo>
                  <a:lnTo>
                    <a:pt x="269" y="0"/>
                  </a:lnTo>
                  <a:lnTo>
                    <a:pt x="261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86"/>
                  </a:lnTo>
                  <a:lnTo>
                    <a:pt x="0" y="196"/>
                  </a:lnTo>
                  <a:lnTo>
                    <a:pt x="10" y="196"/>
                  </a:lnTo>
                  <a:lnTo>
                    <a:pt x="261" y="196"/>
                  </a:lnTo>
                  <a:lnTo>
                    <a:pt x="269" y="196"/>
                  </a:lnTo>
                  <a:lnTo>
                    <a:pt x="269" y="186"/>
                  </a:lnTo>
                  <a:lnTo>
                    <a:pt x="269" y="16"/>
                  </a:lnTo>
                  <a:lnTo>
                    <a:pt x="271" y="7"/>
                  </a:lnTo>
                  <a:lnTo>
                    <a:pt x="269" y="7"/>
                  </a:lnTo>
                  <a:lnTo>
                    <a:pt x="269" y="7"/>
                  </a:lnTo>
                  <a:close/>
                  <a:moveTo>
                    <a:pt x="10" y="7"/>
                  </a:moveTo>
                  <a:lnTo>
                    <a:pt x="259" y="7"/>
                  </a:lnTo>
                  <a:lnTo>
                    <a:pt x="242" y="31"/>
                  </a:lnTo>
                  <a:lnTo>
                    <a:pt x="10" y="31"/>
                  </a:lnTo>
                  <a:lnTo>
                    <a:pt x="10" y="7"/>
                  </a:lnTo>
                  <a:close/>
                  <a:moveTo>
                    <a:pt x="10" y="40"/>
                  </a:moveTo>
                  <a:lnTo>
                    <a:pt x="235" y="40"/>
                  </a:lnTo>
                  <a:lnTo>
                    <a:pt x="218" y="62"/>
                  </a:lnTo>
                  <a:lnTo>
                    <a:pt x="10" y="62"/>
                  </a:lnTo>
                  <a:lnTo>
                    <a:pt x="10" y="40"/>
                  </a:lnTo>
                  <a:close/>
                  <a:moveTo>
                    <a:pt x="173" y="91"/>
                  </a:moveTo>
                  <a:lnTo>
                    <a:pt x="158" y="69"/>
                  </a:lnTo>
                  <a:lnTo>
                    <a:pt x="211" y="69"/>
                  </a:lnTo>
                  <a:lnTo>
                    <a:pt x="194" y="91"/>
                  </a:lnTo>
                  <a:lnTo>
                    <a:pt x="173" y="91"/>
                  </a:lnTo>
                  <a:close/>
                  <a:moveTo>
                    <a:pt x="187" y="100"/>
                  </a:moveTo>
                  <a:lnTo>
                    <a:pt x="182" y="105"/>
                  </a:lnTo>
                  <a:lnTo>
                    <a:pt x="178" y="100"/>
                  </a:lnTo>
                  <a:lnTo>
                    <a:pt x="187" y="100"/>
                  </a:lnTo>
                  <a:close/>
                  <a:moveTo>
                    <a:pt x="10" y="69"/>
                  </a:moveTo>
                  <a:lnTo>
                    <a:pt x="139" y="69"/>
                  </a:lnTo>
                  <a:lnTo>
                    <a:pt x="120" y="91"/>
                  </a:lnTo>
                  <a:lnTo>
                    <a:pt x="10" y="91"/>
                  </a:lnTo>
                  <a:lnTo>
                    <a:pt x="10" y="69"/>
                  </a:lnTo>
                  <a:close/>
                  <a:moveTo>
                    <a:pt x="113" y="100"/>
                  </a:moveTo>
                  <a:lnTo>
                    <a:pt x="94" y="122"/>
                  </a:lnTo>
                  <a:lnTo>
                    <a:pt x="86" y="122"/>
                  </a:lnTo>
                  <a:lnTo>
                    <a:pt x="72" y="100"/>
                  </a:lnTo>
                  <a:lnTo>
                    <a:pt x="113" y="100"/>
                  </a:lnTo>
                  <a:close/>
                  <a:moveTo>
                    <a:pt x="10" y="100"/>
                  </a:moveTo>
                  <a:lnTo>
                    <a:pt x="53" y="100"/>
                  </a:lnTo>
                  <a:lnTo>
                    <a:pt x="31" y="122"/>
                  </a:lnTo>
                  <a:lnTo>
                    <a:pt x="10" y="122"/>
                  </a:lnTo>
                  <a:lnTo>
                    <a:pt x="10" y="100"/>
                  </a:lnTo>
                  <a:close/>
                  <a:moveTo>
                    <a:pt x="10" y="131"/>
                  </a:moveTo>
                  <a:lnTo>
                    <a:pt x="24" y="131"/>
                  </a:lnTo>
                  <a:lnTo>
                    <a:pt x="10" y="146"/>
                  </a:lnTo>
                  <a:lnTo>
                    <a:pt x="10" y="131"/>
                  </a:lnTo>
                  <a:close/>
                  <a:moveTo>
                    <a:pt x="10" y="160"/>
                  </a:moveTo>
                  <a:lnTo>
                    <a:pt x="62" y="103"/>
                  </a:lnTo>
                  <a:lnTo>
                    <a:pt x="86" y="136"/>
                  </a:lnTo>
                  <a:lnTo>
                    <a:pt x="94" y="136"/>
                  </a:lnTo>
                  <a:lnTo>
                    <a:pt x="149" y="71"/>
                  </a:lnTo>
                  <a:lnTo>
                    <a:pt x="180" y="117"/>
                  </a:lnTo>
                  <a:lnTo>
                    <a:pt x="185" y="117"/>
                  </a:lnTo>
                  <a:lnTo>
                    <a:pt x="261" y="21"/>
                  </a:lnTo>
                  <a:lnTo>
                    <a:pt x="261" y="40"/>
                  </a:lnTo>
                  <a:lnTo>
                    <a:pt x="185" y="143"/>
                  </a:lnTo>
                  <a:lnTo>
                    <a:pt x="151" y="95"/>
                  </a:lnTo>
                  <a:lnTo>
                    <a:pt x="144" y="95"/>
                  </a:lnTo>
                  <a:lnTo>
                    <a:pt x="89" y="160"/>
                  </a:lnTo>
                  <a:lnTo>
                    <a:pt x="62" y="129"/>
                  </a:lnTo>
                  <a:lnTo>
                    <a:pt x="55" y="129"/>
                  </a:lnTo>
                  <a:lnTo>
                    <a:pt x="10" y="177"/>
                  </a:lnTo>
                  <a:lnTo>
                    <a:pt x="10" y="160"/>
                  </a:lnTo>
                  <a:close/>
                  <a:moveTo>
                    <a:pt x="163" y="131"/>
                  </a:moveTo>
                  <a:lnTo>
                    <a:pt x="180" y="153"/>
                  </a:lnTo>
                  <a:lnTo>
                    <a:pt x="108" y="153"/>
                  </a:lnTo>
                  <a:lnTo>
                    <a:pt x="125" y="131"/>
                  </a:lnTo>
                  <a:lnTo>
                    <a:pt x="163" y="131"/>
                  </a:lnTo>
                  <a:close/>
                  <a:moveTo>
                    <a:pt x="132" y="122"/>
                  </a:moveTo>
                  <a:lnTo>
                    <a:pt x="146" y="105"/>
                  </a:lnTo>
                  <a:lnTo>
                    <a:pt x="158" y="122"/>
                  </a:lnTo>
                  <a:lnTo>
                    <a:pt x="132" y="122"/>
                  </a:lnTo>
                  <a:close/>
                  <a:moveTo>
                    <a:pt x="70" y="153"/>
                  </a:moveTo>
                  <a:lnTo>
                    <a:pt x="46" y="153"/>
                  </a:lnTo>
                  <a:lnTo>
                    <a:pt x="60" y="139"/>
                  </a:lnTo>
                  <a:lnTo>
                    <a:pt x="70" y="153"/>
                  </a:lnTo>
                  <a:close/>
                  <a:moveTo>
                    <a:pt x="261" y="186"/>
                  </a:moveTo>
                  <a:lnTo>
                    <a:pt x="12" y="186"/>
                  </a:lnTo>
                  <a:lnTo>
                    <a:pt x="39" y="160"/>
                  </a:lnTo>
                  <a:lnTo>
                    <a:pt x="77" y="160"/>
                  </a:lnTo>
                  <a:lnTo>
                    <a:pt x="84" y="170"/>
                  </a:lnTo>
                  <a:lnTo>
                    <a:pt x="91" y="170"/>
                  </a:lnTo>
                  <a:lnTo>
                    <a:pt x="101" y="160"/>
                  </a:lnTo>
                  <a:lnTo>
                    <a:pt x="261" y="160"/>
                  </a:lnTo>
                  <a:lnTo>
                    <a:pt x="261" y="153"/>
                  </a:lnTo>
                  <a:lnTo>
                    <a:pt x="187" y="153"/>
                  </a:lnTo>
                  <a:lnTo>
                    <a:pt x="204" y="131"/>
                  </a:lnTo>
                  <a:lnTo>
                    <a:pt x="261" y="131"/>
                  </a:lnTo>
                  <a:lnTo>
                    <a:pt x="261" y="122"/>
                  </a:lnTo>
                  <a:lnTo>
                    <a:pt x="211" y="122"/>
                  </a:lnTo>
                  <a:lnTo>
                    <a:pt x="225" y="100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33" y="91"/>
                  </a:lnTo>
                  <a:lnTo>
                    <a:pt x="249" y="69"/>
                  </a:lnTo>
                  <a:lnTo>
                    <a:pt x="261" y="69"/>
                  </a:lnTo>
                  <a:lnTo>
                    <a:pt x="261" y="62"/>
                  </a:lnTo>
                  <a:lnTo>
                    <a:pt x="257" y="62"/>
                  </a:lnTo>
                  <a:lnTo>
                    <a:pt x="261" y="55"/>
                  </a:lnTo>
                  <a:lnTo>
                    <a:pt x="261" y="18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256" name="Group 32"/>
          <p:cNvGrpSpPr>
            <a:grpSpLocks noChangeAspect="1"/>
          </p:cNvGrpSpPr>
          <p:nvPr/>
        </p:nvGrpSpPr>
        <p:grpSpPr bwMode="auto">
          <a:xfrm>
            <a:off x="4720432" y="261938"/>
            <a:ext cx="827087" cy="827087"/>
            <a:chOff x="2981" y="165"/>
            <a:chExt cx="521" cy="521"/>
          </a:xfrm>
        </p:grpSpPr>
        <p:sp>
          <p:nvSpPr>
            <p:cNvPr id="52257" name="Oval 33"/>
            <p:cNvSpPr>
              <a:spLocks noChangeArrowheads="1"/>
            </p:cNvSpPr>
            <p:nvPr/>
          </p:nvSpPr>
          <p:spPr bwMode="auto">
            <a:xfrm>
              <a:off x="2981" y="165"/>
              <a:ext cx="521" cy="52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58" name="Freeform 34"/>
            <p:cNvSpPr>
              <a:spLocks noEditPoints="1"/>
            </p:cNvSpPr>
            <p:nvPr/>
          </p:nvSpPr>
          <p:spPr bwMode="auto">
            <a:xfrm>
              <a:off x="3000" y="18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59" name="Freeform 35"/>
            <p:cNvSpPr>
              <a:spLocks noEditPoints="1"/>
            </p:cNvSpPr>
            <p:nvPr/>
          </p:nvSpPr>
          <p:spPr bwMode="auto">
            <a:xfrm>
              <a:off x="3112" y="265"/>
              <a:ext cx="302" cy="302"/>
            </a:xfrm>
            <a:custGeom>
              <a:avLst/>
              <a:gdLst/>
              <a:ahLst/>
              <a:cxnLst>
                <a:cxn ang="0">
                  <a:pos x="249" y="168"/>
                </a:cxn>
                <a:cxn ang="0">
                  <a:pos x="249" y="201"/>
                </a:cxn>
                <a:cxn ang="0">
                  <a:pos x="197" y="201"/>
                </a:cxn>
                <a:cxn ang="0">
                  <a:pos x="156" y="161"/>
                </a:cxn>
                <a:cxn ang="0">
                  <a:pos x="249" y="101"/>
                </a:cxn>
                <a:cxn ang="0">
                  <a:pos x="249" y="168"/>
                </a:cxn>
                <a:cxn ang="0">
                  <a:pos x="256" y="177"/>
                </a:cxn>
                <a:cxn ang="0">
                  <a:pos x="256" y="96"/>
                </a:cxn>
                <a:cxn ang="0">
                  <a:pos x="254" y="96"/>
                </a:cxn>
                <a:cxn ang="0">
                  <a:pos x="256" y="94"/>
                </a:cxn>
                <a:cxn ang="0">
                  <a:pos x="130" y="0"/>
                </a:cxn>
                <a:cxn ang="0">
                  <a:pos x="0" y="94"/>
                </a:cxn>
                <a:cxn ang="0">
                  <a:pos x="3" y="96"/>
                </a:cxn>
                <a:cxn ang="0">
                  <a:pos x="0" y="96"/>
                </a:cxn>
                <a:cxn ang="0">
                  <a:pos x="0" y="268"/>
                </a:cxn>
                <a:cxn ang="0">
                  <a:pos x="249" y="268"/>
                </a:cxn>
                <a:cxn ang="0">
                  <a:pos x="249" y="302"/>
                </a:cxn>
                <a:cxn ang="0">
                  <a:pos x="302" y="235"/>
                </a:cxn>
                <a:cxn ang="0">
                  <a:pos x="249" y="168"/>
                </a:cxn>
                <a:cxn ang="0">
                  <a:pos x="130" y="10"/>
                </a:cxn>
                <a:cxn ang="0">
                  <a:pos x="242" y="94"/>
                </a:cxn>
                <a:cxn ang="0">
                  <a:pos x="149" y="153"/>
                </a:cxn>
                <a:cxn ang="0">
                  <a:pos x="127" y="132"/>
                </a:cxn>
                <a:cxn ang="0">
                  <a:pos x="108" y="153"/>
                </a:cxn>
                <a:cxn ang="0">
                  <a:pos x="17" y="94"/>
                </a:cxn>
                <a:cxn ang="0">
                  <a:pos x="130" y="10"/>
                </a:cxn>
                <a:cxn ang="0">
                  <a:pos x="10" y="101"/>
                </a:cxn>
                <a:cxn ang="0">
                  <a:pos x="101" y="158"/>
                </a:cxn>
                <a:cxn ang="0">
                  <a:pos x="10" y="251"/>
                </a:cxn>
                <a:cxn ang="0">
                  <a:pos x="10" y="101"/>
                </a:cxn>
                <a:cxn ang="0">
                  <a:pos x="194" y="259"/>
                </a:cxn>
                <a:cxn ang="0">
                  <a:pos x="15" y="259"/>
                </a:cxn>
                <a:cxn ang="0">
                  <a:pos x="127" y="144"/>
                </a:cxn>
                <a:cxn ang="0">
                  <a:pos x="194" y="211"/>
                </a:cxn>
                <a:cxn ang="0">
                  <a:pos x="194" y="259"/>
                </a:cxn>
                <a:cxn ang="0">
                  <a:pos x="249" y="259"/>
                </a:cxn>
                <a:cxn ang="0">
                  <a:pos x="201" y="259"/>
                </a:cxn>
                <a:cxn ang="0">
                  <a:pos x="201" y="208"/>
                </a:cxn>
                <a:cxn ang="0">
                  <a:pos x="249" y="208"/>
                </a:cxn>
                <a:cxn ang="0">
                  <a:pos x="256" y="208"/>
                </a:cxn>
                <a:cxn ang="0">
                  <a:pos x="256" y="201"/>
                </a:cxn>
                <a:cxn ang="0">
                  <a:pos x="256" y="192"/>
                </a:cxn>
                <a:cxn ang="0">
                  <a:pos x="292" y="235"/>
                </a:cxn>
                <a:cxn ang="0">
                  <a:pos x="256" y="275"/>
                </a:cxn>
                <a:cxn ang="0">
                  <a:pos x="256" y="268"/>
                </a:cxn>
                <a:cxn ang="0">
                  <a:pos x="256" y="259"/>
                </a:cxn>
                <a:cxn ang="0">
                  <a:pos x="249" y="259"/>
                </a:cxn>
              </a:cxnLst>
              <a:rect l="0" t="0" r="r" b="b"/>
              <a:pathLst>
                <a:path w="302" h="302">
                  <a:moveTo>
                    <a:pt x="249" y="168"/>
                  </a:moveTo>
                  <a:lnTo>
                    <a:pt x="249" y="201"/>
                  </a:lnTo>
                  <a:lnTo>
                    <a:pt x="197" y="201"/>
                  </a:lnTo>
                  <a:lnTo>
                    <a:pt x="156" y="161"/>
                  </a:lnTo>
                  <a:lnTo>
                    <a:pt x="249" y="101"/>
                  </a:lnTo>
                  <a:lnTo>
                    <a:pt x="249" y="168"/>
                  </a:lnTo>
                  <a:lnTo>
                    <a:pt x="256" y="177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6" y="94"/>
                  </a:lnTo>
                  <a:lnTo>
                    <a:pt x="130" y="0"/>
                  </a:lnTo>
                  <a:lnTo>
                    <a:pt x="0" y="94"/>
                  </a:lnTo>
                  <a:lnTo>
                    <a:pt x="3" y="96"/>
                  </a:lnTo>
                  <a:lnTo>
                    <a:pt x="0" y="96"/>
                  </a:lnTo>
                  <a:lnTo>
                    <a:pt x="0" y="268"/>
                  </a:lnTo>
                  <a:lnTo>
                    <a:pt x="249" y="268"/>
                  </a:lnTo>
                  <a:lnTo>
                    <a:pt x="249" y="302"/>
                  </a:lnTo>
                  <a:lnTo>
                    <a:pt x="302" y="235"/>
                  </a:lnTo>
                  <a:lnTo>
                    <a:pt x="249" y="168"/>
                  </a:lnTo>
                  <a:close/>
                  <a:moveTo>
                    <a:pt x="130" y="10"/>
                  </a:moveTo>
                  <a:lnTo>
                    <a:pt x="242" y="94"/>
                  </a:lnTo>
                  <a:lnTo>
                    <a:pt x="149" y="153"/>
                  </a:lnTo>
                  <a:lnTo>
                    <a:pt x="127" y="132"/>
                  </a:lnTo>
                  <a:lnTo>
                    <a:pt x="108" y="153"/>
                  </a:lnTo>
                  <a:lnTo>
                    <a:pt x="17" y="94"/>
                  </a:lnTo>
                  <a:lnTo>
                    <a:pt x="130" y="10"/>
                  </a:lnTo>
                  <a:close/>
                  <a:moveTo>
                    <a:pt x="10" y="101"/>
                  </a:moveTo>
                  <a:lnTo>
                    <a:pt x="101" y="158"/>
                  </a:lnTo>
                  <a:lnTo>
                    <a:pt x="10" y="251"/>
                  </a:lnTo>
                  <a:lnTo>
                    <a:pt x="10" y="101"/>
                  </a:lnTo>
                  <a:close/>
                  <a:moveTo>
                    <a:pt x="194" y="259"/>
                  </a:moveTo>
                  <a:lnTo>
                    <a:pt x="15" y="259"/>
                  </a:lnTo>
                  <a:lnTo>
                    <a:pt x="127" y="144"/>
                  </a:lnTo>
                  <a:lnTo>
                    <a:pt x="194" y="211"/>
                  </a:lnTo>
                  <a:lnTo>
                    <a:pt x="194" y="259"/>
                  </a:lnTo>
                  <a:close/>
                  <a:moveTo>
                    <a:pt x="249" y="259"/>
                  </a:moveTo>
                  <a:lnTo>
                    <a:pt x="201" y="259"/>
                  </a:lnTo>
                  <a:lnTo>
                    <a:pt x="201" y="208"/>
                  </a:lnTo>
                  <a:lnTo>
                    <a:pt x="249" y="208"/>
                  </a:lnTo>
                  <a:lnTo>
                    <a:pt x="256" y="208"/>
                  </a:lnTo>
                  <a:lnTo>
                    <a:pt x="256" y="201"/>
                  </a:lnTo>
                  <a:lnTo>
                    <a:pt x="256" y="192"/>
                  </a:lnTo>
                  <a:lnTo>
                    <a:pt x="292" y="235"/>
                  </a:lnTo>
                  <a:lnTo>
                    <a:pt x="256" y="275"/>
                  </a:lnTo>
                  <a:lnTo>
                    <a:pt x="256" y="268"/>
                  </a:lnTo>
                  <a:lnTo>
                    <a:pt x="256" y="259"/>
                  </a:lnTo>
                  <a:lnTo>
                    <a:pt x="249" y="25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262" name="Group 38"/>
          <p:cNvGrpSpPr>
            <a:grpSpLocks noChangeAspect="1"/>
          </p:cNvGrpSpPr>
          <p:nvPr/>
        </p:nvGrpSpPr>
        <p:grpSpPr bwMode="auto">
          <a:xfrm>
            <a:off x="5854696" y="290513"/>
            <a:ext cx="768350" cy="768350"/>
            <a:chOff x="3682" y="183"/>
            <a:chExt cx="484" cy="484"/>
          </a:xfrm>
        </p:grpSpPr>
        <p:sp>
          <p:nvSpPr>
            <p:cNvPr id="52263" name="Freeform 39"/>
            <p:cNvSpPr>
              <a:spLocks noEditPoints="1"/>
            </p:cNvSpPr>
            <p:nvPr/>
          </p:nvSpPr>
          <p:spPr bwMode="auto">
            <a:xfrm>
              <a:off x="3682" y="18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64" name="Freeform 40"/>
            <p:cNvSpPr>
              <a:spLocks noEditPoints="1"/>
            </p:cNvSpPr>
            <p:nvPr/>
          </p:nvSpPr>
          <p:spPr bwMode="auto">
            <a:xfrm>
              <a:off x="3795" y="265"/>
              <a:ext cx="302" cy="302"/>
            </a:xfrm>
            <a:custGeom>
              <a:avLst/>
              <a:gdLst/>
              <a:ahLst/>
              <a:cxnLst>
                <a:cxn ang="0">
                  <a:pos x="249" y="168"/>
                </a:cxn>
                <a:cxn ang="0">
                  <a:pos x="249" y="201"/>
                </a:cxn>
                <a:cxn ang="0">
                  <a:pos x="197" y="201"/>
                </a:cxn>
                <a:cxn ang="0">
                  <a:pos x="156" y="160"/>
                </a:cxn>
                <a:cxn ang="0">
                  <a:pos x="249" y="100"/>
                </a:cxn>
                <a:cxn ang="0">
                  <a:pos x="249" y="168"/>
                </a:cxn>
                <a:cxn ang="0">
                  <a:pos x="256" y="177"/>
                </a:cxn>
                <a:cxn ang="0">
                  <a:pos x="256" y="96"/>
                </a:cxn>
                <a:cxn ang="0">
                  <a:pos x="254" y="96"/>
                </a:cxn>
                <a:cxn ang="0">
                  <a:pos x="256" y="93"/>
                </a:cxn>
                <a:cxn ang="0">
                  <a:pos x="129" y="0"/>
                </a:cxn>
                <a:cxn ang="0">
                  <a:pos x="0" y="93"/>
                </a:cxn>
                <a:cxn ang="0">
                  <a:pos x="2" y="96"/>
                </a:cxn>
                <a:cxn ang="0">
                  <a:pos x="0" y="96"/>
                </a:cxn>
                <a:cxn ang="0">
                  <a:pos x="0" y="268"/>
                </a:cxn>
                <a:cxn ang="0">
                  <a:pos x="249" y="268"/>
                </a:cxn>
                <a:cxn ang="0">
                  <a:pos x="249" y="302"/>
                </a:cxn>
                <a:cxn ang="0">
                  <a:pos x="302" y="235"/>
                </a:cxn>
                <a:cxn ang="0">
                  <a:pos x="249" y="168"/>
                </a:cxn>
                <a:cxn ang="0">
                  <a:pos x="129" y="9"/>
                </a:cxn>
                <a:cxn ang="0">
                  <a:pos x="242" y="93"/>
                </a:cxn>
                <a:cxn ang="0">
                  <a:pos x="149" y="153"/>
                </a:cxn>
                <a:cxn ang="0">
                  <a:pos x="127" y="132"/>
                </a:cxn>
                <a:cxn ang="0">
                  <a:pos x="108" y="153"/>
                </a:cxn>
                <a:cxn ang="0">
                  <a:pos x="17" y="93"/>
                </a:cxn>
                <a:cxn ang="0">
                  <a:pos x="129" y="9"/>
                </a:cxn>
                <a:cxn ang="0">
                  <a:pos x="10" y="100"/>
                </a:cxn>
                <a:cxn ang="0">
                  <a:pos x="101" y="158"/>
                </a:cxn>
                <a:cxn ang="0">
                  <a:pos x="10" y="251"/>
                </a:cxn>
                <a:cxn ang="0">
                  <a:pos x="10" y="100"/>
                </a:cxn>
                <a:cxn ang="0">
                  <a:pos x="194" y="259"/>
                </a:cxn>
                <a:cxn ang="0">
                  <a:pos x="14" y="259"/>
                </a:cxn>
                <a:cxn ang="0">
                  <a:pos x="127" y="144"/>
                </a:cxn>
                <a:cxn ang="0">
                  <a:pos x="194" y="211"/>
                </a:cxn>
                <a:cxn ang="0">
                  <a:pos x="194" y="259"/>
                </a:cxn>
                <a:cxn ang="0">
                  <a:pos x="249" y="259"/>
                </a:cxn>
                <a:cxn ang="0">
                  <a:pos x="201" y="259"/>
                </a:cxn>
                <a:cxn ang="0">
                  <a:pos x="201" y="208"/>
                </a:cxn>
                <a:cxn ang="0">
                  <a:pos x="249" y="208"/>
                </a:cxn>
                <a:cxn ang="0">
                  <a:pos x="256" y="208"/>
                </a:cxn>
                <a:cxn ang="0">
                  <a:pos x="256" y="201"/>
                </a:cxn>
                <a:cxn ang="0">
                  <a:pos x="256" y="192"/>
                </a:cxn>
                <a:cxn ang="0">
                  <a:pos x="292" y="235"/>
                </a:cxn>
                <a:cxn ang="0">
                  <a:pos x="256" y="275"/>
                </a:cxn>
                <a:cxn ang="0">
                  <a:pos x="256" y="268"/>
                </a:cxn>
                <a:cxn ang="0">
                  <a:pos x="256" y="259"/>
                </a:cxn>
                <a:cxn ang="0">
                  <a:pos x="249" y="259"/>
                </a:cxn>
              </a:cxnLst>
              <a:rect l="0" t="0" r="r" b="b"/>
              <a:pathLst>
                <a:path w="302" h="302">
                  <a:moveTo>
                    <a:pt x="249" y="168"/>
                  </a:moveTo>
                  <a:lnTo>
                    <a:pt x="249" y="201"/>
                  </a:lnTo>
                  <a:lnTo>
                    <a:pt x="197" y="201"/>
                  </a:lnTo>
                  <a:lnTo>
                    <a:pt x="156" y="160"/>
                  </a:lnTo>
                  <a:lnTo>
                    <a:pt x="249" y="100"/>
                  </a:lnTo>
                  <a:lnTo>
                    <a:pt x="249" y="168"/>
                  </a:lnTo>
                  <a:lnTo>
                    <a:pt x="256" y="177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6" y="93"/>
                  </a:lnTo>
                  <a:lnTo>
                    <a:pt x="129" y="0"/>
                  </a:lnTo>
                  <a:lnTo>
                    <a:pt x="0" y="93"/>
                  </a:lnTo>
                  <a:lnTo>
                    <a:pt x="2" y="96"/>
                  </a:lnTo>
                  <a:lnTo>
                    <a:pt x="0" y="96"/>
                  </a:lnTo>
                  <a:lnTo>
                    <a:pt x="0" y="268"/>
                  </a:lnTo>
                  <a:lnTo>
                    <a:pt x="249" y="268"/>
                  </a:lnTo>
                  <a:lnTo>
                    <a:pt x="249" y="302"/>
                  </a:lnTo>
                  <a:lnTo>
                    <a:pt x="302" y="235"/>
                  </a:lnTo>
                  <a:lnTo>
                    <a:pt x="249" y="168"/>
                  </a:lnTo>
                  <a:close/>
                  <a:moveTo>
                    <a:pt x="129" y="9"/>
                  </a:moveTo>
                  <a:lnTo>
                    <a:pt x="242" y="93"/>
                  </a:lnTo>
                  <a:lnTo>
                    <a:pt x="149" y="153"/>
                  </a:lnTo>
                  <a:lnTo>
                    <a:pt x="127" y="132"/>
                  </a:lnTo>
                  <a:lnTo>
                    <a:pt x="108" y="153"/>
                  </a:lnTo>
                  <a:lnTo>
                    <a:pt x="17" y="93"/>
                  </a:lnTo>
                  <a:lnTo>
                    <a:pt x="129" y="9"/>
                  </a:lnTo>
                  <a:close/>
                  <a:moveTo>
                    <a:pt x="10" y="100"/>
                  </a:moveTo>
                  <a:lnTo>
                    <a:pt x="101" y="158"/>
                  </a:lnTo>
                  <a:lnTo>
                    <a:pt x="10" y="251"/>
                  </a:lnTo>
                  <a:lnTo>
                    <a:pt x="10" y="100"/>
                  </a:lnTo>
                  <a:close/>
                  <a:moveTo>
                    <a:pt x="194" y="259"/>
                  </a:moveTo>
                  <a:lnTo>
                    <a:pt x="14" y="259"/>
                  </a:lnTo>
                  <a:lnTo>
                    <a:pt x="127" y="144"/>
                  </a:lnTo>
                  <a:lnTo>
                    <a:pt x="194" y="211"/>
                  </a:lnTo>
                  <a:lnTo>
                    <a:pt x="194" y="259"/>
                  </a:lnTo>
                  <a:close/>
                  <a:moveTo>
                    <a:pt x="249" y="259"/>
                  </a:moveTo>
                  <a:lnTo>
                    <a:pt x="201" y="259"/>
                  </a:lnTo>
                  <a:lnTo>
                    <a:pt x="201" y="208"/>
                  </a:lnTo>
                  <a:lnTo>
                    <a:pt x="249" y="208"/>
                  </a:lnTo>
                  <a:lnTo>
                    <a:pt x="256" y="208"/>
                  </a:lnTo>
                  <a:lnTo>
                    <a:pt x="256" y="201"/>
                  </a:lnTo>
                  <a:lnTo>
                    <a:pt x="256" y="192"/>
                  </a:lnTo>
                  <a:lnTo>
                    <a:pt x="292" y="235"/>
                  </a:lnTo>
                  <a:lnTo>
                    <a:pt x="256" y="275"/>
                  </a:lnTo>
                  <a:lnTo>
                    <a:pt x="256" y="268"/>
                  </a:lnTo>
                  <a:lnTo>
                    <a:pt x="256" y="259"/>
                  </a:lnTo>
                  <a:lnTo>
                    <a:pt x="249" y="25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267" name="Group 43"/>
          <p:cNvGrpSpPr>
            <a:grpSpLocks noChangeAspect="1"/>
          </p:cNvGrpSpPr>
          <p:nvPr/>
        </p:nvGrpSpPr>
        <p:grpSpPr bwMode="auto">
          <a:xfrm>
            <a:off x="6912769" y="250825"/>
            <a:ext cx="847725" cy="849313"/>
            <a:chOff x="4352" y="158"/>
            <a:chExt cx="534" cy="535"/>
          </a:xfrm>
        </p:grpSpPr>
        <p:sp>
          <p:nvSpPr>
            <p:cNvPr id="52268" name="Oval 44"/>
            <p:cNvSpPr>
              <a:spLocks noChangeArrowheads="1"/>
            </p:cNvSpPr>
            <p:nvPr/>
          </p:nvSpPr>
          <p:spPr bwMode="auto">
            <a:xfrm>
              <a:off x="4352" y="158"/>
              <a:ext cx="534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69" name="Freeform 45"/>
            <p:cNvSpPr>
              <a:spLocks noEditPoints="1"/>
            </p:cNvSpPr>
            <p:nvPr/>
          </p:nvSpPr>
          <p:spPr bwMode="auto">
            <a:xfrm>
              <a:off x="4527" y="463"/>
              <a:ext cx="31" cy="2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31" y="28"/>
                </a:cxn>
                <a:cxn ang="0">
                  <a:pos x="31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9" y="9"/>
                </a:cxn>
                <a:cxn ang="0">
                  <a:pos x="21" y="9"/>
                </a:cxn>
                <a:cxn ang="0">
                  <a:pos x="21" y="21"/>
                </a:cxn>
                <a:cxn ang="0">
                  <a:pos x="9" y="21"/>
                </a:cxn>
                <a:cxn ang="0">
                  <a:pos x="9" y="9"/>
                </a:cxn>
              </a:cxnLst>
              <a:rect l="0" t="0" r="r" b="b"/>
              <a:pathLst>
                <a:path w="31" h="28">
                  <a:moveTo>
                    <a:pt x="0" y="28"/>
                  </a:moveTo>
                  <a:lnTo>
                    <a:pt x="31" y="28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8"/>
                  </a:lnTo>
                  <a:close/>
                  <a:moveTo>
                    <a:pt x="9" y="9"/>
                  </a:moveTo>
                  <a:lnTo>
                    <a:pt x="21" y="9"/>
                  </a:lnTo>
                  <a:lnTo>
                    <a:pt x="21" y="21"/>
                  </a:lnTo>
                  <a:lnTo>
                    <a:pt x="9" y="21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70" name="Freeform 46"/>
            <p:cNvSpPr>
              <a:spLocks noEditPoints="1"/>
            </p:cNvSpPr>
            <p:nvPr/>
          </p:nvSpPr>
          <p:spPr bwMode="auto">
            <a:xfrm>
              <a:off x="4527" y="427"/>
              <a:ext cx="31" cy="2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31" y="28"/>
                </a:cxn>
                <a:cxn ang="0">
                  <a:pos x="31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9" y="7"/>
                </a:cxn>
                <a:cxn ang="0">
                  <a:pos x="21" y="7"/>
                </a:cxn>
                <a:cxn ang="0">
                  <a:pos x="21" y="19"/>
                </a:cxn>
                <a:cxn ang="0">
                  <a:pos x="9" y="19"/>
                </a:cxn>
                <a:cxn ang="0">
                  <a:pos x="9" y="7"/>
                </a:cxn>
              </a:cxnLst>
              <a:rect l="0" t="0" r="r" b="b"/>
              <a:pathLst>
                <a:path w="31" h="28">
                  <a:moveTo>
                    <a:pt x="0" y="28"/>
                  </a:moveTo>
                  <a:lnTo>
                    <a:pt x="31" y="28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8"/>
                  </a:lnTo>
                  <a:close/>
                  <a:moveTo>
                    <a:pt x="9" y="7"/>
                  </a:moveTo>
                  <a:lnTo>
                    <a:pt x="21" y="7"/>
                  </a:lnTo>
                  <a:lnTo>
                    <a:pt x="21" y="19"/>
                  </a:lnTo>
                  <a:lnTo>
                    <a:pt x="9" y="19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1" name="Freeform 47"/>
            <p:cNvSpPr>
              <a:spLocks noEditPoints="1"/>
            </p:cNvSpPr>
            <p:nvPr/>
          </p:nvSpPr>
          <p:spPr bwMode="auto">
            <a:xfrm>
              <a:off x="4527" y="499"/>
              <a:ext cx="31" cy="2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31" y="28"/>
                </a:cxn>
                <a:cxn ang="0">
                  <a:pos x="31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9" y="7"/>
                </a:cxn>
                <a:cxn ang="0">
                  <a:pos x="21" y="7"/>
                </a:cxn>
                <a:cxn ang="0">
                  <a:pos x="21" y="19"/>
                </a:cxn>
                <a:cxn ang="0">
                  <a:pos x="9" y="19"/>
                </a:cxn>
                <a:cxn ang="0">
                  <a:pos x="9" y="7"/>
                </a:cxn>
              </a:cxnLst>
              <a:rect l="0" t="0" r="r" b="b"/>
              <a:pathLst>
                <a:path w="31" h="28">
                  <a:moveTo>
                    <a:pt x="0" y="28"/>
                  </a:moveTo>
                  <a:lnTo>
                    <a:pt x="31" y="28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8"/>
                  </a:lnTo>
                  <a:close/>
                  <a:moveTo>
                    <a:pt x="9" y="7"/>
                  </a:moveTo>
                  <a:lnTo>
                    <a:pt x="21" y="7"/>
                  </a:lnTo>
                  <a:lnTo>
                    <a:pt x="21" y="19"/>
                  </a:lnTo>
                  <a:lnTo>
                    <a:pt x="9" y="19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2" name="Freeform 48"/>
            <p:cNvSpPr>
              <a:spLocks noEditPoints="1"/>
            </p:cNvSpPr>
            <p:nvPr/>
          </p:nvSpPr>
          <p:spPr bwMode="auto">
            <a:xfrm>
              <a:off x="4670" y="458"/>
              <a:ext cx="29" cy="29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29" y="29"/>
                </a:cxn>
                <a:cxn ang="0">
                  <a:pos x="29" y="0"/>
                </a:cxn>
                <a:cxn ang="0">
                  <a:pos x="22" y="21"/>
                </a:cxn>
                <a:cxn ang="0">
                  <a:pos x="10" y="21"/>
                </a:cxn>
                <a:cxn ang="0">
                  <a:pos x="10" y="9"/>
                </a:cxn>
                <a:cxn ang="0">
                  <a:pos x="22" y="9"/>
                </a:cxn>
                <a:cxn ang="0">
                  <a:pos x="22" y="21"/>
                </a:cxn>
              </a:cxnLst>
              <a:rect l="0" t="0" r="r" b="b"/>
              <a:pathLst>
                <a:path w="29" h="29"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  <a:close/>
                  <a:moveTo>
                    <a:pt x="22" y="21"/>
                  </a:moveTo>
                  <a:lnTo>
                    <a:pt x="10" y="21"/>
                  </a:lnTo>
                  <a:lnTo>
                    <a:pt x="10" y="9"/>
                  </a:lnTo>
                  <a:lnTo>
                    <a:pt x="22" y="9"/>
                  </a:lnTo>
                  <a:lnTo>
                    <a:pt x="22" y="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3" name="Freeform 49"/>
            <p:cNvSpPr>
              <a:spLocks noEditPoints="1"/>
            </p:cNvSpPr>
            <p:nvPr/>
          </p:nvSpPr>
          <p:spPr bwMode="auto">
            <a:xfrm>
              <a:off x="4670" y="422"/>
              <a:ext cx="29" cy="29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29" y="29"/>
                </a:cxn>
                <a:cxn ang="0">
                  <a:pos x="29" y="0"/>
                </a:cxn>
                <a:cxn ang="0">
                  <a:pos x="22" y="19"/>
                </a:cxn>
                <a:cxn ang="0">
                  <a:pos x="10" y="19"/>
                </a:cxn>
                <a:cxn ang="0">
                  <a:pos x="10" y="7"/>
                </a:cxn>
                <a:cxn ang="0">
                  <a:pos x="22" y="7"/>
                </a:cxn>
                <a:cxn ang="0">
                  <a:pos x="22" y="19"/>
                </a:cxn>
              </a:cxnLst>
              <a:rect l="0" t="0" r="r" b="b"/>
              <a:pathLst>
                <a:path w="29" h="29">
                  <a:moveTo>
                    <a:pt x="29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29" y="29"/>
                  </a:lnTo>
                  <a:lnTo>
                    <a:pt x="29" y="0"/>
                  </a:lnTo>
                  <a:close/>
                  <a:moveTo>
                    <a:pt x="22" y="19"/>
                  </a:moveTo>
                  <a:lnTo>
                    <a:pt x="10" y="19"/>
                  </a:lnTo>
                  <a:lnTo>
                    <a:pt x="10" y="7"/>
                  </a:lnTo>
                  <a:lnTo>
                    <a:pt x="22" y="7"/>
                  </a:lnTo>
                  <a:lnTo>
                    <a:pt x="22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4" name="Freeform 50"/>
            <p:cNvSpPr>
              <a:spLocks noEditPoints="1"/>
            </p:cNvSpPr>
            <p:nvPr/>
          </p:nvSpPr>
          <p:spPr bwMode="auto">
            <a:xfrm>
              <a:off x="4670" y="494"/>
              <a:ext cx="29" cy="2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29" y="28"/>
                </a:cxn>
                <a:cxn ang="0">
                  <a:pos x="29" y="0"/>
                </a:cxn>
                <a:cxn ang="0">
                  <a:pos x="22" y="19"/>
                </a:cxn>
                <a:cxn ang="0">
                  <a:pos x="10" y="19"/>
                </a:cxn>
                <a:cxn ang="0">
                  <a:pos x="10" y="7"/>
                </a:cxn>
                <a:cxn ang="0">
                  <a:pos x="22" y="7"/>
                </a:cxn>
                <a:cxn ang="0">
                  <a:pos x="22" y="19"/>
                </a:cxn>
              </a:cxnLst>
              <a:rect l="0" t="0" r="r" b="b"/>
              <a:pathLst>
                <a:path w="29" h="28">
                  <a:moveTo>
                    <a:pt x="29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29" y="28"/>
                  </a:lnTo>
                  <a:lnTo>
                    <a:pt x="29" y="0"/>
                  </a:lnTo>
                  <a:close/>
                  <a:moveTo>
                    <a:pt x="22" y="19"/>
                  </a:moveTo>
                  <a:lnTo>
                    <a:pt x="10" y="19"/>
                  </a:lnTo>
                  <a:lnTo>
                    <a:pt x="10" y="7"/>
                  </a:lnTo>
                  <a:lnTo>
                    <a:pt x="22" y="7"/>
                  </a:lnTo>
                  <a:lnTo>
                    <a:pt x="22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5" name="Freeform 51"/>
            <p:cNvSpPr>
              <a:spLocks noEditPoints="1"/>
            </p:cNvSpPr>
            <p:nvPr/>
          </p:nvSpPr>
          <p:spPr bwMode="auto">
            <a:xfrm>
              <a:off x="4467" y="273"/>
              <a:ext cx="301" cy="276"/>
            </a:xfrm>
            <a:custGeom>
              <a:avLst/>
              <a:gdLst/>
              <a:ahLst/>
              <a:cxnLst>
                <a:cxn ang="0">
                  <a:pos x="64" y="1"/>
                </a:cxn>
                <a:cxn ang="0">
                  <a:pos x="63" y="1"/>
                </a:cxn>
                <a:cxn ang="0">
                  <a:pos x="16" y="29"/>
                </a:cxn>
                <a:cxn ang="0">
                  <a:pos x="0" y="115"/>
                </a:cxn>
                <a:cxn ang="0">
                  <a:pos x="47" y="115"/>
                </a:cxn>
                <a:cxn ang="0">
                  <a:pos x="77" y="115"/>
                </a:cxn>
                <a:cxn ang="0">
                  <a:pos x="106" y="115"/>
                </a:cxn>
                <a:cxn ang="0">
                  <a:pos x="126" y="29"/>
                </a:cxn>
                <a:cxn ang="0">
                  <a:pos x="66" y="2"/>
                </a:cxn>
                <a:cxn ang="0">
                  <a:pos x="63" y="7"/>
                </a:cxn>
                <a:cxn ang="0">
                  <a:pos x="103" y="29"/>
                </a:cxn>
                <a:cxn ang="0">
                  <a:pos x="61" y="6"/>
                </a:cxn>
                <a:cxn ang="0">
                  <a:pos x="4" y="91"/>
                </a:cxn>
                <a:cxn ang="0">
                  <a:pos x="16" y="112"/>
                </a:cxn>
                <a:cxn ang="0">
                  <a:pos x="20" y="112"/>
                </a:cxn>
                <a:cxn ang="0">
                  <a:pos x="43" y="61"/>
                </a:cxn>
                <a:cxn ang="0">
                  <a:pos x="20" y="112"/>
                </a:cxn>
                <a:cxn ang="0">
                  <a:pos x="47" y="91"/>
                </a:cxn>
                <a:cxn ang="0">
                  <a:pos x="47" y="112"/>
                </a:cxn>
                <a:cxn ang="0">
                  <a:pos x="51" y="112"/>
                </a:cxn>
                <a:cxn ang="0">
                  <a:pos x="74" y="81"/>
                </a:cxn>
                <a:cxn ang="0">
                  <a:pos x="77" y="77"/>
                </a:cxn>
                <a:cxn ang="0">
                  <a:pos x="57" y="67"/>
                </a:cxn>
                <a:cxn ang="0">
                  <a:pos x="77" y="77"/>
                </a:cxn>
                <a:cxn ang="0">
                  <a:pos x="81" y="112"/>
                </a:cxn>
                <a:cxn ang="0">
                  <a:pos x="102" y="46"/>
                </a:cxn>
                <a:cxn ang="0">
                  <a:pos x="123" y="112"/>
                </a:cxn>
                <a:cxn ang="0">
                  <a:pos x="106" y="91"/>
                </a:cxn>
                <a:cxn ang="0">
                  <a:pos x="123" y="112"/>
                </a:cxn>
                <a:cxn ang="0">
                  <a:pos x="106" y="87"/>
                </a:cxn>
                <a:cxn ang="0">
                  <a:pos x="77" y="60"/>
                </a:cxn>
                <a:cxn ang="0">
                  <a:pos x="53" y="64"/>
                </a:cxn>
                <a:cxn ang="0">
                  <a:pos x="47" y="77"/>
                </a:cxn>
                <a:cxn ang="0">
                  <a:pos x="47" y="87"/>
                </a:cxn>
                <a:cxn ang="0">
                  <a:pos x="16" y="57"/>
                </a:cxn>
                <a:cxn ang="0">
                  <a:pos x="4" y="87"/>
                </a:cxn>
                <a:cxn ang="0">
                  <a:pos x="123" y="33"/>
                </a:cxn>
              </a:cxnLst>
              <a:rect l="0" t="0" r="r" b="b"/>
              <a:pathLst>
                <a:path w="126" h="115">
                  <a:moveTo>
                    <a:pt x="66" y="2"/>
                  </a:moveTo>
                  <a:cubicBezTo>
                    <a:pt x="65" y="1"/>
                    <a:pt x="65" y="1"/>
                    <a:pt x="64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2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10" y="29"/>
                    <a:pt x="110" y="29"/>
                    <a:pt x="110" y="29"/>
                  </a:cubicBezTo>
                  <a:lnTo>
                    <a:pt x="66" y="2"/>
                  </a:lnTo>
                  <a:close/>
                  <a:moveTo>
                    <a:pt x="61" y="6"/>
                  </a:moveTo>
                  <a:cubicBezTo>
                    <a:pt x="61" y="7"/>
                    <a:pt x="62" y="7"/>
                    <a:pt x="63" y="7"/>
                  </a:cubicBezTo>
                  <a:cubicBezTo>
                    <a:pt x="64" y="7"/>
                    <a:pt x="65" y="7"/>
                    <a:pt x="66" y="6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23" y="29"/>
                    <a:pt x="23" y="29"/>
                    <a:pt x="23" y="29"/>
                  </a:cubicBezTo>
                  <a:lnTo>
                    <a:pt x="61" y="6"/>
                  </a:lnTo>
                  <a:close/>
                  <a:moveTo>
                    <a:pt x="4" y="112"/>
                  </a:moveTo>
                  <a:cubicBezTo>
                    <a:pt x="4" y="91"/>
                    <a:pt x="4" y="91"/>
                    <a:pt x="4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112"/>
                    <a:pt x="16" y="112"/>
                    <a:pt x="16" y="112"/>
                  </a:cubicBezTo>
                  <a:lnTo>
                    <a:pt x="4" y="112"/>
                  </a:lnTo>
                  <a:close/>
                  <a:moveTo>
                    <a:pt x="20" y="112"/>
                  </a:moveTo>
                  <a:cubicBezTo>
                    <a:pt x="20" y="61"/>
                    <a:pt x="20" y="61"/>
                    <a:pt x="20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112"/>
                    <a:pt x="43" y="112"/>
                    <a:pt x="43" y="112"/>
                  </a:cubicBezTo>
                  <a:lnTo>
                    <a:pt x="20" y="112"/>
                  </a:lnTo>
                  <a:close/>
                  <a:moveTo>
                    <a:pt x="47" y="112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91"/>
                    <a:pt x="47" y="91"/>
                    <a:pt x="47" y="91"/>
                  </a:cubicBezTo>
                  <a:cubicBezTo>
                    <a:pt x="47" y="112"/>
                    <a:pt x="47" y="112"/>
                    <a:pt x="47" y="112"/>
                  </a:cubicBezTo>
                  <a:close/>
                  <a:moveTo>
                    <a:pt x="74" y="112"/>
                  </a:moveTo>
                  <a:cubicBezTo>
                    <a:pt x="51" y="112"/>
                    <a:pt x="51" y="112"/>
                    <a:pt x="51" y="112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74" y="81"/>
                    <a:pt x="74" y="81"/>
                    <a:pt x="74" y="81"/>
                  </a:cubicBezTo>
                  <a:lnTo>
                    <a:pt x="74" y="112"/>
                  </a:lnTo>
                  <a:close/>
                  <a:moveTo>
                    <a:pt x="7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77" y="67"/>
                    <a:pt x="77" y="67"/>
                    <a:pt x="77" y="67"/>
                  </a:cubicBezTo>
                  <a:lnTo>
                    <a:pt x="77" y="77"/>
                  </a:lnTo>
                  <a:close/>
                  <a:moveTo>
                    <a:pt x="102" y="112"/>
                  </a:moveTo>
                  <a:cubicBezTo>
                    <a:pt x="81" y="112"/>
                    <a:pt x="81" y="112"/>
                    <a:pt x="81" y="11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102" y="46"/>
                    <a:pt x="102" y="46"/>
                    <a:pt x="102" y="46"/>
                  </a:cubicBezTo>
                  <a:lnTo>
                    <a:pt x="102" y="112"/>
                  </a:lnTo>
                  <a:close/>
                  <a:moveTo>
                    <a:pt x="123" y="112"/>
                  </a:moveTo>
                  <a:cubicBezTo>
                    <a:pt x="106" y="112"/>
                    <a:pt x="106" y="112"/>
                    <a:pt x="106" y="112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23" y="91"/>
                    <a:pt x="123" y="91"/>
                    <a:pt x="123" y="91"/>
                  </a:cubicBezTo>
                  <a:lnTo>
                    <a:pt x="123" y="112"/>
                  </a:lnTo>
                  <a:close/>
                  <a:moveTo>
                    <a:pt x="123" y="87"/>
                  </a:moveTo>
                  <a:cubicBezTo>
                    <a:pt x="106" y="87"/>
                    <a:pt x="106" y="87"/>
                    <a:pt x="106" y="87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4"/>
                    <a:pt x="77" y="64"/>
                    <a:pt x="77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123" y="33"/>
                    <a:pt x="123" y="33"/>
                    <a:pt x="123" y="33"/>
                  </a:cubicBezTo>
                  <a:lnTo>
                    <a:pt x="123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76" name="Freeform 52"/>
            <p:cNvSpPr>
              <a:spLocks noEditPoints="1"/>
            </p:cNvSpPr>
            <p:nvPr/>
          </p:nvSpPr>
          <p:spPr bwMode="auto">
            <a:xfrm>
              <a:off x="4371" y="180"/>
              <a:ext cx="496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7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2" y="103"/>
                </a:cxn>
                <a:cxn ang="0">
                  <a:pos x="103" y="201"/>
                </a:cxn>
              </a:cxnLst>
              <a:rect l="0" t="0" r="r" b="b"/>
              <a:pathLst>
                <a:path w="207" h="207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79" name="Group 55"/>
          <p:cNvGrpSpPr>
            <a:grpSpLocks noChangeAspect="1"/>
          </p:cNvGrpSpPr>
          <p:nvPr/>
        </p:nvGrpSpPr>
        <p:grpSpPr bwMode="auto">
          <a:xfrm>
            <a:off x="8047038" y="282575"/>
            <a:ext cx="787400" cy="787400"/>
            <a:chOff x="5069" y="178"/>
            <a:chExt cx="496" cy="496"/>
          </a:xfrm>
        </p:grpSpPr>
        <p:sp>
          <p:nvSpPr>
            <p:cNvPr id="52280" name="Freeform 56"/>
            <p:cNvSpPr>
              <a:spLocks noEditPoints="1"/>
            </p:cNvSpPr>
            <p:nvPr/>
          </p:nvSpPr>
          <p:spPr bwMode="auto">
            <a:xfrm>
              <a:off x="5225" y="463"/>
              <a:ext cx="31" cy="29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31" y="29"/>
                </a:cxn>
                <a:cxn ang="0">
                  <a:pos x="31" y="0"/>
                </a:cxn>
                <a:cxn ang="0">
                  <a:pos x="21" y="19"/>
                </a:cxn>
                <a:cxn ang="0">
                  <a:pos x="9" y="19"/>
                </a:cxn>
                <a:cxn ang="0">
                  <a:pos x="9" y="7"/>
                </a:cxn>
                <a:cxn ang="0">
                  <a:pos x="21" y="7"/>
                </a:cxn>
                <a:cxn ang="0">
                  <a:pos x="21" y="19"/>
                </a:cxn>
              </a:cxnLst>
              <a:rect l="0" t="0" r="r" b="b"/>
              <a:pathLst>
                <a:path w="31" h="29">
                  <a:moveTo>
                    <a:pt x="31" y="0"/>
                  </a:moveTo>
                  <a:lnTo>
                    <a:pt x="0" y="0"/>
                  </a:lnTo>
                  <a:lnTo>
                    <a:pt x="0" y="29"/>
                  </a:lnTo>
                  <a:lnTo>
                    <a:pt x="31" y="29"/>
                  </a:lnTo>
                  <a:lnTo>
                    <a:pt x="31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9" y="7"/>
                  </a:lnTo>
                  <a:lnTo>
                    <a:pt x="21" y="7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1" name="Freeform 57"/>
            <p:cNvSpPr>
              <a:spLocks noEditPoints="1"/>
            </p:cNvSpPr>
            <p:nvPr/>
          </p:nvSpPr>
          <p:spPr bwMode="auto">
            <a:xfrm>
              <a:off x="5225" y="497"/>
              <a:ext cx="31" cy="2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31" y="28"/>
                </a:cxn>
                <a:cxn ang="0">
                  <a:pos x="31" y="0"/>
                </a:cxn>
                <a:cxn ang="0">
                  <a:pos x="21" y="21"/>
                </a:cxn>
                <a:cxn ang="0">
                  <a:pos x="9" y="21"/>
                </a:cxn>
                <a:cxn ang="0">
                  <a:pos x="9" y="9"/>
                </a:cxn>
                <a:cxn ang="0">
                  <a:pos x="21" y="9"/>
                </a:cxn>
                <a:cxn ang="0">
                  <a:pos x="21" y="21"/>
                </a:cxn>
              </a:cxnLst>
              <a:rect l="0" t="0" r="r" b="b"/>
              <a:pathLst>
                <a:path w="31" h="28">
                  <a:moveTo>
                    <a:pt x="31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1" y="28"/>
                  </a:lnTo>
                  <a:lnTo>
                    <a:pt x="31" y="0"/>
                  </a:lnTo>
                  <a:close/>
                  <a:moveTo>
                    <a:pt x="21" y="21"/>
                  </a:moveTo>
                  <a:lnTo>
                    <a:pt x="9" y="21"/>
                  </a:lnTo>
                  <a:lnTo>
                    <a:pt x="9" y="9"/>
                  </a:lnTo>
                  <a:lnTo>
                    <a:pt x="21" y="9"/>
                  </a:lnTo>
                  <a:lnTo>
                    <a:pt x="21" y="2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2" name="Freeform 58"/>
            <p:cNvSpPr>
              <a:spLocks noEditPoints="1"/>
            </p:cNvSpPr>
            <p:nvPr/>
          </p:nvSpPr>
          <p:spPr bwMode="auto">
            <a:xfrm>
              <a:off x="5368" y="456"/>
              <a:ext cx="29" cy="3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29" y="31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31"/>
                </a:cxn>
                <a:cxn ang="0">
                  <a:pos x="10" y="9"/>
                </a:cxn>
                <a:cxn ang="0">
                  <a:pos x="22" y="9"/>
                </a:cxn>
                <a:cxn ang="0">
                  <a:pos x="22" y="21"/>
                </a:cxn>
                <a:cxn ang="0">
                  <a:pos x="10" y="21"/>
                </a:cxn>
                <a:cxn ang="0">
                  <a:pos x="10" y="9"/>
                </a:cxn>
              </a:cxnLst>
              <a:rect l="0" t="0" r="r" b="b"/>
              <a:pathLst>
                <a:path w="29" h="31">
                  <a:moveTo>
                    <a:pt x="0" y="31"/>
                  </a:moveTo>
                  <a:lnTo>
                    <a:pt x="29" y="31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31"/>
                  </a:lnTo>
                  <a:close/>
                  <a:moveTo>
                    <a:pt x="10" y="9"/>
                  </a:moveTo>
                  <a:lnTo>
                    <a:pt x="22" y="9"/>
                  </a:lnTo>
                  <a:lnTo>
                    <a:pt x="22" y="21"/>
                  </a:lnTo>
                  <a:lnTo>
                    <a:pt x="10" y="21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3" name="Freeform 59"/>
            <p:cNvSpPr>
              <a:spLocks noEditPoints="1"/>
            </p:cNvSpPr>
            <p:nvPr/>
          </p:nvSpPr>
          <p:spPr bwMode="auto">
            <a:xfrm>
              <a:off x="5368" y="420"/>
              <a:ext cx="29" cy="29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29" y="29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10" y="9"/>
                </a:cxn>
                <a:cxn ang="0">
                  <a:pos x="22" y="9"/>
                </a:cxn>
                <a:cxn ang="0">
                  <a:pos x="22" y="19"/>
                </a:cxn>
                <a:cxn ang="0">
                  <a:pos x="10" y="19"/>
                </a:cxn>
                <a:cxn ang="0">
                  <a:pos x="10" y="9"/>
                </a:cxn>
              </a:cxnLst>
              <a:rect l="0" t="0" r="r" b="b"/>
              <a:pathLst>
                <a:path w="29" h="29">
                  <a:moveTo>
                    <a:pt x="0" y="29"/>
                  </a:moveTo>
                  <a:lnTo>
                    <a:pt x="29" y="29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29"/>
                  </a:lnTo>
                  <a:close/>
                  <a:moveTo>
                    <a:pt x="10" y="9"/>
                  </a:moveTo>
                  <a:lnTo>
                    <a:pt x="22" y="9"/>
                  </a:lnTo>
                  <a:lnTo>
                    <a:pt x="22" y="19"/>
                  </a:lnTo>
                  <a:lnTo>
                    <a:pt x="10" y="19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4" name="Freeform 60"/>
            <p:cNvSpPr>
              <a:spLocks noEditPoints="1"/>
            </p:cNvSpPr>
            <p:nvPr/>
          </p:nvSpPr>
          <p:spPr bwMode="auto">
            <a:xfrm>
              <a:off x="5368" y="492"/>
              <a:ext cx="29" cy="29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29" y="29"/>
                </a:cxn>
                <a:cxn ang="0">
                  <a:pos x="29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10" y="9"/>
                </a:cxn>
                <a:cxn ang="0">
                  <a:pos x="22" y="9"/>
                </a:cxn>
                <a:cxn ang="0">
                  <a:pos x="22" y="19"/>
                </a:cxn>
                <a:cxn ang="0">
                  <a:pos x="10" y="19"/>
                </a:cxn>
                <a:cxn ang="0">
                  <a:pos x="10" y="9"/>
                </a:cxn>
              </a:cxnLst>
              <a:rect l="0" t="0" r="r" b="b"/>
              <a:pathLst>
                <a:path w="29" h="29">
                  <a:moveTo>
                    <a:pt x="0" y="29"/>
                  </a:moveTo>
                  <a:lnTo>
                    <a:pt x="29" y="29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29"/>
                  </a:lnTo>
                  <a:close/>
                  <a:moveTo>
                    <a:pt x="10" y="9"/>
                  </a:moveTo>
                  <a:lnTo>
                    <a:pt x="22" y="9"/>
                  </a:lnTo>
                  <a:lnTo>
                    <a:pt x="22" y="19"/>
                  </a:lnTo>
                  <a:lnTo>
                    <a:pt x="10" y="19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5" name="Freeform 61"/>
            <p:cNvSpPr>
              <a:spLocks noEditPoints="1"/>
            </p:cNvSpPr>
            <p:nvPr/>
          </p:nvSpPr>
          <p:spPr bwMode="auto">
            <a:xfrm>
              <a:off x="5165" y="274"/>
              <a:ext cx="302" cy="275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63" y="0"/>
                </a:cxn>
                <a:cxn ang="0">
                  <a:pos x="16" y="28"/>
                </a:cxn>
                <a:cxn ang="0">
                  <a:pos x="0" y="115"/>
                </a:cxn>
                <a:cxn ang="0">
                  <a:pos x="47" y="115"/>
                </a:cxn>
                <a:cxn ang="0">
                  <a:pos x="77" y="115"/>
                </a:cxn>
                <a:cxn ang="0">
                  <a:pos x="106" y="115"/>
                </a:cxn>
                <a:cxn ang="0">
                  <a:pos x="126" y="28"/>
                </a:cxn>
                <a:cxn ang="0">
                  <a:pos x="66" y="1"/>
                </a:cxn>
                <a:cxn ang="0">
                  <a:pos x="63" y="7"/>
                </a:cxn>
                <a:cxn ang="0">
                  <a:pos x="103" y="28"/>
                </a:cxn>
                <a:cxn ang="0">
                  <a:pos x="61" y="5"/>
                </a:cxn>
                <a:cxn ang="0">
                  <a:pos x="4" y="90"/>
                </a:cxn>
                <a:cxn ang="0">
                  <a:pos x="16" y="111"/>
                </a:cxn>
                <a:cxn ang="0">
                  <a:pos x="43" y="111"/>
                </a:cxn>
                <a:cxn ang="0">
                  <a:pos x="20" y="60"/>
                </a:cxn>
                <a:cxn ang="0">
                  <a:pos x="43" y="111"/>
                </a:cxn>
                <a:cxn ang="0">
                  <a:pos x="47" y="90"/>
                </a:cxn>
                <a:cxn ang="0">
                  <a:pos x="47" y="111"/>
                </a:cxn>
                <a:cxn ang="0">
                  <a:pos x="51" y="80"/>
                </a:cxn>
                <a:cxn ang="0">
                  <a:pos x="74" y="111"/>
                </a:cxn>
                <a:cxn ang="0">
                  <a:pos x="77" y="77"/>
                </a:cxn>
                <a:cxn ang="0">
                  <a:pos x="57" y="67"/>
                </a:cxn>
                <a:cxn ang="0">
                  <a:pos x="77" y="77"/>
                </a:cxn>
                <a:cxn ang="0">
                  <a:pos x="81" y="61"/>
                </a:cxn>
                <a:cxn ang="0">
                  <a:pos x="102" y="111"/>
                </a:cxn>
                <a:cxn ang="0">
                  <a:pos x="106" y="111"/>
                </a:cxn>
                <a:cxn ang="0">
                  <a:pos x="123" y="90"/>
                </a:cxn>
                <a:cxn ang="0">
                  <a:pos x="106" y="111"/>
                </a:cxn>
                <a:cxn ang="0">
                  <a:pos x="106" y="86"/>
                </a:cxn>
                <a:cxn ang="0">
                  <a:pos x="77" y="59"/>
                </a:cxn>
                <a:cxn ang="0">
                  <a:pos x="53" y="63"/>
                </a:cxn>
                <a:cxn ang="0">
                  <a:pos x="47" y="77"/>
                </a:cxn>
                <a:cxn ang="0">
                  <a:pos x="47" y="86"/>
                </a:cxn>
                <a:cxn ang="0">
                  <a:pos x="16" y="56"/>
                </a:cxn>
                <a:cxn ang="0">
                  <a:pos x="4" y="86"/>
                </a:cxn>
                <a:cxn ang="0">
                  <a:pos x="123" y="32"/>
                </a:cxn>
              </a:cxnLst>
              <a:rect l="0" t="0" r="r" b="b"/>
              <a:pathLst>
                <a:path w="126" h="115">
                  <a:moveTo>
                    <a:pt x="66" y="1"/>
                  </a:moveTo>
                  <a:cubicBezTo>
                    <a:pt x="65" y="0"/>
                    <a:pt x="65" y="0"/>
                    <a:pt x="6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2" y="0"/>
                    <a:pt x="61" y="0"/>
                    <a:pt x="61" y="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28"/>
                    <a:pt x="126" y="28"/>
                    <a:pt x="126" y="28"/>
                  </a:cubicBezTo>
                  <a:cubicBezTo>
                    <a:pt x="110" y="28"/>
                    <a:pt x="110" y="28"/>
                    <a:pt x="110" y="28"/>
                  </a:cubicBezTo>
                  <a:lnTo>
                    <a:pt x="66" y="1"/>
                  </a:lnTo>
                  <a:close/>
                  <a:moveTo>
                    <a:pt x="61" y="5"/>
                  </a:moveTo>
                  <a:cubicBezTo>
                    <a:pt x="61" y="6"/>
                    <a:pt x="62" y="7"/>
                    <a:pt x="63" y="7"/>
                  </a:cubicBezTo>
                  <a:cubicBezTo>
                    <a:pt x="64" y="7"/>
                    <a:pt x="65" y="6"/>
                    <a:pt x="66" y="5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61" y="5"/>
                  </a:lnTo>
                  <a:close/>
                  <a:moveTo>
                    <a:pt x="4" y="111"/>
                  </a:moveTo>
                  <a:cubicBezTo>
                    <a:pt x="4" y="90"/>
                    <a:pt x="4" y="90"/>
                    <a:pt x="4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11"/>
                    <a:pt x="16" y="111"/>
                    <a:pt x="16" y="111"/>
                  </a:cubicBezTo>
                  <a:lnTo>
                    <a:pt x="4" y="111"/>
                  </a:lnTo>
                  <a:close/>
                  <a:moveTo>
                    <a:pt x="43" y="111"/>
                  </a:moveTo>
                  <a:cubicBezTo>
                    <a:pt x="20" y="111"/>
                    <a:pt x="20" y="111"/>
                    <a:pt x="20" y="111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43" y="60"/>
                    <a:pt x="43" y="60"/>
                    <a:pt x="43" y="60"/>
                  </a:cubicBezTo>
                  <a:lnTo>
                    <a:pt x="43" y="111"/>
                  </a:lnTo>
                  <a:close/>
                  <a:moveTo>
                    <a:pt x="47" y="111"/>
                  </a:move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111"/>
                    <a:pt x="47" y="111"/>
                    <a:pt x="47" y="111"/>
                  </a:cubicBezTo>
                  <a:close/>
                  <a:moveTo>
                    <a:pt x="51" y="111"/>
                  </a:moveTo>
                  <a:cubicBezTo>
                    <a:pt x="51" y="80"/>
                    <a:pt x="51" y="80"/>
                    <a:pt x="51" y="80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4" y="111"/>
                    <a:pt x="74" y="111"/>
                    <a:pt x="74" y="111"/>
                  </a:cubicBezTo>
                  <a:lnTo>
                    <a:pt x="51" y="111"/>
                  </a:lnTo>
                  <a:close/>
                  <a:moveTo>
                    <a:pt x="7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77" y="67"/>
                    <a:pt x="77" y="67"/>
                    <a:pt x="77" y="67"/>
                  </a:cubicBezTo>
                  <a:lnTo>
                    <a:pt x="77" y="77"/>
                  </a:lnTo>
                  <a:close/>
                  <a:moveTo>
                    <a:pt x="81" y="111"/>
                  </a:moveTo>
                  <a:cubicBezTo>
                    <a:pt x="81" y="61"/>
                    <a:pt x="81" y="61"/>
                    <a:pt x="81" y="61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111"/>
                    <a:pt x="102" y="111"/>
                    <a:pt x="102" y="111"/>
                  </a:cubicBezTo>
                  <a:lnTo>
                    <a:pt x="81" y="111"/>
                  </a:lnTo>
                  <a:close/>
                  <a:moveTo>
                    <a:pt x="106" y="111"/>
                  </a:moveTo>
                  <a:cubicBezTo>
                    <a:pt x="106" y="90"/>
                    <a:pt x="106" y="90"/>
                    <a:pt x="106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111"/>
                    <a:pt x="123" y="111"/>
                    <a:pt x="123" y="111"/>
                  </a:cubicBezTo>
                  <a:lnTo>
                    <a:pt x="106" y="111"/>
                  </a:lnTo>
                  <a:close/>
                  <a:moveTo>
                    <a:pt x="123" y="86"/>
                  </a:moveTo>
                  <a:cubicBezTo>
                    <a:pt x="106" y="86"/>
                    <a:pt x="106" y="86"/>
                    <a:pt x="106" y="86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23" y="32"/>
                    <a:pt x="123" y="32"/>
                    <a:pt x="123" y="32"/>
                  </a:cubicBezTo>
                  <a:lnTo>
                    <a:pt x="123" y="8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86" name="Freeform 62"/>
            <p:cNvSpPr>
              <a:spLocks noEditPoints="1"/>
            </p:cNvSpPr>
            <p:nvPr/>
          </p:nvSpPr>
          <p:spPr bwMode="auto">
            <a:xfrm>
              <a:off x="5225" y="425"/>
              <a:ext cx="31" cy="2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31" y="28"/>
                </a:cxn>
                <a:cxn ang="0">
                  <a:pos x="31" y="0"/>
                </a:cxn>
                <a:cxn ang="0">
                  <a:pos x="21" y="21"/>
                </a:cxn>
                <a:cxn ang="0">
                  <a:pos x="9" y="21"/>
                </a:cxn>
                <a:cxn ang="0">
                  <a:pos x="9" y="9"/>
                </a:cxn>
                <a:cxn ang="0">
                  <a:pos x="21" y="9"/>
                </a:cxn>
                <a:cxn ang="0">
                  <a:pos x="21" y="21"/>
                </a:cxn>
              </a:cxnLst>
              <a:rect l="0" t="0" r="r" b="b"/>
              <a:pathLst>
                <a:path w="31" h="28">
                  <a:moveTo>
                    <a:pt x="31" y="0"/>
                  </a:moveTo>
                  <a:lnTo>
                    <a:pt x="0" y="0"/>
                  </a:lnTo>
                  <a:lnTo>
                    <a:pt x="0" y="28"/>
                  </a:lnTo>
                  <a:lnTo>
                    <a:pt x="31" y="28"/>
                  </a:lnTo>
                  <a:lnTo>
                    <a:pt x="31" y="0"/>
                  </a:lnTo>
                  <a:close/>
                  <a:moveTo>
                    <a:pt x="21" y="21"/>
                  </a:moveTo>
                  <a:lnTo>
                    <a:pt x="9" y="21"/>
                  </a:lnTo>
                  <a:lnTo>
                    <a:pt x="9" y="9"/>
                  </a:lnTo>
                  <a:lnTo>
                    <a:pt x="21" y="9"/>
                  </a:lnTo>
                  <a:lnTo>
                    <a:pt x="21" y="2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87" name="Freeform 63"/>
            <p:cNvSpPr>
              <a:spLocks noEditPoints="1"/>
            </p:cNvSpPr>
            <p:nvPr/>
          </p:nvSpPr>
          <p:spPr bwMode="auto">
            <a:xfrm>
              <a:off x="5069" y="178"/>
              <a:ext cx="496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7" y="103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2" y="103"/>
                </a:cxn>
                <a:cxn ang="0">
                  <a:pos x="103" y="202"/>
                </a:cxn>
              </a:cxnLst>
              <a:rect l="0" t="0" r="r" b="b"/>
              <a:pathLst>
                <a:path w="207" h="207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8"/>
                    <a:pt x="158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90" name="Group 66"/>
          <p:cNvGrpSpPr>
            <a:grpSpLocks noChangeAspect="1"/>
          </p:cNvGrpSpPr>
          <p:nvPr/>
        </p:nvGrpSpPr>
        <p:grpSpPr bwMode="auto">
          <a:xfrm>
            <a:off x="346869" y="1497013"/>
            <a:ext cx="838200" cy="838200"/>
            <a:chOff x="215" y="943"/>
            <a:chExt cx="528" cy="528"/>
          </a:xfrm>
        </p:grpSpPr>
        <p:sp>
          <p:nvSpPr>
            <p:cNvPr id="52291" name="Oval 67"/>
            <p:cNvSpPr>
              <a:spLocks noChangeArrowheads="1"/>
            </p:cNvSpPr>
            <p:nvPr/>
          </p:nvSpPr>
          <p:spPr bwMode="auto">
            <a:xfrm>
              <a:off x="215" y="943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92" name="Freeform 68"/>
            <p:cNvSpPr>
              <a:spLocks noEditPoints="1"/>
            </p:cNvSpPr>
            <p:nvPr/>
          </p:nvSpPr>
          <p:spPr bwMode="auto">
            <a:xfrm>
              <a:off x="237" y="96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93" name="Rectangle 69"/>
            <p:cNvSpPr>
              <a:spLocks noChangeArrowheads="1"/>
            </p:cNvSpPr>
            <p:nvPr/>
          </p:nvSpPr>
          <p:spPr bwMode="auto">
            <a:xfrm>
              <a:off x="364" y="1231"/>
              <a:ext cx="41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94" name="Rectangle 70"/>
            <p:cNvSpPr>
              <a:spLocks noChangeArrowheads="1"/>
            </p:cNvSpPr>
            <p:nvPr/>
          </p:nvSpPr>
          <p:spPr bwMode="auto">
            <a:xfrm>
              <a:off x="364" y="1277"/>
              <a:ext cx="41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95" name="Rectangle 71"/>
            <p:cNvSpPr>
              <a:spLocks noChangeArrowheads="1"/>
            </p:cNvSpPr>
            <p:nvPr/>
          </p:nvSpPr>
          <p:spPr bwMode="auto">
            <a:xfrm>
              <a:off x="364" y="1183"/>
              <a:ext cx="4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96" name="Freeform 72"/>
            <p:cNvSpPr>
              <a:spLocks noEditPoints="1"/>
            </p:cNvSpPr>
            <p:nvPr/>
          </p:nvSpPr>
          <p:spPr bwMode="auto">
            <a:xfrm>
              <a:off x="321" y="1080"/>
              <a:ext cx="316" cy="237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72" y="0"/>
                </a:cxn>
                <a:cxn ang="0">
                  <a:pos x="68" y="3"/>
                </a:cxn>
                <a:cxn ang="0">
                  <a:pos x="0" y="23"/>
                </a:cxn>
                <a:cxn ang="0">
                  <a:pos x="0" y="35"/>
                </a:cxn>
                <a:cxn ang="0">
                  <a:pos x="54" y="97"/>
                </a:cxn>
                <a:cxn ang="0">
                  <a:pos x="68" y="35"/>
                </a:cxn>
                <a:cxn ang="0">
                  <a:pos x="66" y="47"/>
                </a:cxn>
                <a:cxn ang="0">
                  <a:pos x="64" y="50"/>
                </a:cxn>
                <a:cxn ang="0">
                  <a:pos x="62" y="99"/>
                </a:cxn>
                <a:cxn ang="0">
                  <a:pos x="71" y="99"/>
                </a:cxn>
                <a:cxn ang="0">
                  <a:pos x="74" y="96"/>
                </a:cxn>
                <a:cxn ang="0">
                  <a:pos x="96" y="59"/>
                </a:cxn>
                <a:cxn ang="0">
                  <a:pos x="99" y="99"/>
                </a:cxn>
                <a:cxn ang="0">
                  <a:pos x="108" y="99"/>
                </a:cxn>
                <a:cxn ang="0">
                  <a:pos x="111" y="95"/>
                </a:cxn>
                <a:cxn ang="0">
                  <a:pos x="109" y="48"/>
                </a:cxn>
                <a:cxn ang="0">
                  <a:pos x="105" y="46"/>
                </a:cxn>
                <a:cxn ang="0">
                  <a:pos x="128" y="35"/>
                </a:cxn>
                <a:cxn ang="0">
                  <a:pos x="132" y="97"/>
                </a:cxn>
                <a:cxn ang="0">
                  <a:pos x="132" y="30"/>
                </a:cxn>
                <a:cxn ang="0">
                  <a:pos x="105" y="23"/>
                </a:cxn>
                <a:cxn ang="0">
                  <a:pos x="51" y="93"/>
                </a:cxn>
                <a:cxn ang="0">
                  <a:pos x="3" y="76"/>
                </a:cxn>
                <a:cxn ang="0">
                  <a:pos x="51" y="93"/>
                </a:cxn>
                <a:cxn ang="0">
                  <a:pos x="3" y="72"/>
                </a:cxn>
                <a:cxn ang="0">
                  <a:pos x="51" y="58"/>
                </a:cxn>
                <a:cxn ang="0">
                  <a:pos x="51" y="54"/>
                </a:cxn>
                <a:cxn ang="0">
                  <a:pos x="3" y="35"/>
                </a:cxn>
                <a:cxn ang="0">
                  <a:pos x="51" y="54"/>
                </a:cxn>
                <a:cxn ang="0">
                  <a:pos x="3" y="26"/>
                </a:cxn>
                <a:cxn ang="0">
                  <a:pos x="68" y="31"/>
                </a:cxn>
                <a:cxn ang="0">
                  <a:pos x="105" y="50"/>
                </a:cxn>
                <a:cxn ang="0">
                  <a:pos x="103" y="95"/>
                </a:cxn>
                <a:cxn ang="0">
                  <a:pos x="74" y="55"/>
                </a:cxn>
                <a:cxn ang="0">
                  <a:pos x="66" y="95"/>
                </a:cxn>
                <a:cxn ang="0">
                  <a:pos x="72" y="47"/>
                </a:cxn>
                <a:cxn ang="0">
                  <a:pos x="72" y="31"/>
                </a:cxn>
                <a:cxn ang="0">
                  <a:pos x="72" y="23"/>
                </a:cxn>
                <a:cxn ang="0">
                  <a:pos x="102" y="3"/>
                </a:cxn>
                <a:cxn ang="0">
                  <a:pos x="102" y="26"/>
                </a:cxn>
                <a:cxn ang="0">
                  <a:pos x="102" y="35"/>
                </a:cxn>
                <a:cxn ang="0">
                  <a:pos x="105" y="50"/>
                </a:cxn>
                <a:cxn ang="0">
                  <a:pos x="128" y="30"/>
                </a:cxn>
                <a:cxn ang="0">
                  <a:pos x="105" y="31"/>
                </a:cxn>
                <a:cxn ang="0">
                  <a:pos x="128" y="26"/>
                </a:cxn>
              </a:cxnLst>
              <a:rect l="0" t="0" r="r" b="b"/>
              <a:pathLst>
                <a:path w="132" h="99">
                  <a:moveTo>
                    <a:pt x="105" y="3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7"/>
                    <a:pt x="66" y="47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9"/>
                    <a:pt x="62" y="99"/>
                    <a:pt x="62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5"/>
                    <a:pt x="111" y="95"/>
                    <a:pt x="111" y="95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6"/>
                    <a:pt x="105" y="46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2" y="97"/>
                    <a:pt x="132" y="97"/>
                    <a:pt x="132" y="97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05" y="23"/>
                    <a:pt x="105" y="23"/>
                    <a:pt x="105" y="23"/>
                  </a:cubicBezTo>
                  <a:lnTo>
                    <a:pt x="105" y="3"/>
                  </a:lnTo>
                  <a:close/>
                  <a:moveTo>
                    <a:pt x="51" y="93"/>
                  </a:moveTo>
                  <a:cubicBezTo>
                    <a:pt x="3" y="93"/>
                    <a:pt x="3" y="93"/>
                    <a:pt x="3" y="93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51" y="76"/>
                    <a:pt x="51" y="76"/>
                    <a:pt x="51" y="76"/>
                  </a:cubicBezTo>
                  <a:lnTo>
                    <a:pt x="51" y="93"/>
                  </a:lnTo>
                  <a:close/>
                  <a:moveTo>
                    <a:pt x="51" y="72"/>
                  </a:moveTo>
                  <a:cubicBezTo>
                    <a:pt x="3" y="72"/>
                    <a:pt x="3" y="72"/>
                    <a:pt x="3" y="7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51" y="58"/>
                    <a:pt x="51" y="58"/>
                    <a:pt x="51" y="58"/>
                  </a:cubicBezTo>
                  <a:lnTo>
                    <a:pt x="51" y="72"/>
                  </a:lnTo>
                  <a:close/>
                  <a:moveTo>
                    <a:pt x="51" y="54"/>
                  </a:moveTo>
                  <a:cubicBezTo>
                    <a:pt x="3" y="54"/>
                    <a:pt x="3" y="54"/>
                    <a:pt x="3" y="5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51" y="35"/>
                    <a:pt x="51" y="35"/>
                    <a:pt x="51" y="35"/>
                  </a:cubicBezTo>
                  <a:lnTo>
                    <a:pt x="51" y="54"/>
                  </a:lnTo>
                  <a:close/>
                  <a:moveTo>
                    <a:pt x="3" y="31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31"/>
                    <a:pt x="68" y="31"/>
                    <a:pt x="68" y="31"/>
                  </a:cubicBezTo>
                  <a:lnTo>
                    <a:pt x="3" y="31"/>
                  </a:lnTo>
                  <a:close/>
                  <a:moveTo>
                    <a:pt x="105" y="50"/>
                  </a:moveTo>
                  <a:cubicBezTo>
                    <a:pt x="108" y="95"/>
                    <a:pt x="108" y="95"/>
                    <a:pt x="108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1" y="95"/>
                    <a:pt x="71" y="95"/>
                    <a:pt x="71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72" y="48"/>
                    <a:pt x="72" y="47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8"/>
                    <a:pt x="105" y="50"/>
                    <a:pt x="105" y="50"/>
                  </a:cubicBezTo>
                  <a:close/>
                  <a:moveTo>
                    <a:pt x="128" y="26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26"/>
                    <a:pt x="105" y="26"/>
                    <a:pt x="105" y="26"/>
                  </a:cubicBezTo>
                  <a:lnTo>
                    <a:pt x="128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299" name="Group 75"/>
          <p:cNvGrpSpPr>
            <a:grpSpLocks noChangeAspect="1"/>
          </p:cNvGrpSpPr>
          <p:nvPr/>
        </p:nvGrpSpPr>
        <p:grpSpPr bwMode="auto">
          <a:xfrm>
            <a:off x="1477167" y="1530349"/>
            <a:ext cx="768350" cy="768350"/>
            <a:chOff x="930" y="964"/>
            <a:chExt cx="484" cy="484"/>
          </a:xfrm>
        </p:grpSpPr>
        <p:sp>
          <p:nvSpPr>
            <p:cNvPr id="52300" name="Freeform 76"/>
            <p:cNvSpPr>
              <a:spLocks noEditPoints="1"/>
            </p:cNvSpPr>
            <p:nvPr/>
          </p:nvSpPr>
          <p:spPr bwMode="auto">
            <a:xfrm>
              <a:off x="930" y="96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01" name="Rectangle 77"/>
            <p:cNvSpPr>
              <a:spLocks noChangeArrowheads="1"/>
            </p:cNvSpPr>
            <p:nvPr/>
          </p:nvSpPr>
          <p:spPr bwMode="auto">
            <a:xfrm>
              <a:off x="1057" y="1230"/>
              <a:ext cx="41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02" name="Rectangle 78"/>
            <p:cNvSpPr>
              <a:spLocks noChangeArrowheads="1"/>
            </p:cNvSpPr>
            <p:nvPr/>
          </p:nvSpPr>
          <p:spPr bwMode="auto">
            <a:xfrm>
              <a:off x="1057" y="1276"/>
              <a:ext cx="4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03" name="Rectangle 79"/>
            <p:cNvSpPr>
              <a:spLocks noChangeArrowheads="1"/>
            </p:cNvSpPr>
            <p:nvPr/>
          </p:nvSpPr>
          <p:spPr bwMode="auto">
            <a:xfrm>
              <a:off x="1057" y="1182"/>
              <a:ext cx="41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04" name="Freeform 80"/>
            <p:cNvSpPr>
              <a:spLocks noEditPoints="1"/>
            </p:cNvSpPr>
            <p:nvPr/>
          </p:nvSpPr>
          <p:spPr bwMode="auto">
            <a:xfrm>
              <a:off x="1014" y="1079"/>
              <a:ext cx="317" cy="238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72" y="0"/>
                </a:cxn>
                <a:cxn ang="0">
                  <a:pos x="68" y="3"/>
                </a:cxn>
                <a:cxn ang="0">
                  <a:pos x="0" y="23"/>
                </a:cxn>
                <a:cxn ang="0">
                  <a:pos x="0" y="35"/>
                </a:cxn>
                <a:cxn ang="0">
                  <a:pos x="54" y="97"/>
                </a:cxn>
                <a:cxn ang="0">
                  <a:pos x="68" y="35"/>
                </a:cxn>
                <a:cxn ang="0">
                  <a:pos x="66" y="47"/>
                </a:cxn>
                <a:cxn ang="0">
                  <a:pos x="64" y="50"/>
                </a:cxn>
                <a:cxn ang="0">
                  <a:pos x="62" y="99"/>
                </a:cxn>
                <a:cxn ang="0">
                  <a:pos x="71" y="99"/>
                </a:cxn>
                <a:cxn ang="0">
                  <a:pos x="74" y="96"/>
                </a:cxn>
                <a:cxn ang="0">
                  <a:pos x="96" y="59"/>
                </a:cxn>
                <a:cxn ang="0">
                  <a:pos x="99" y="99"/>
                </a:cxn>
                <a:cxn ang="0">
                  <a:pos x="108" y="99"/>
                </a:cxn>
                <a:cxn ang="0">
                  <a:pos x="111" y="95"/>
                </a:cxn>
                <a:cxn ang="0">
                  <a:pos x="109" y="48"/>
                </a:cxn>
                <a:cxn ang="0">
                  <a:pos x="105" y="46"/>
                </a:cxn>
                <a:cxn ang="0">
                  <a:pos x="128" y="35"/>
                </a:cxn>
                <a:cxn ang="0">
                  <a:pos x="132" y="97"/>
                </a:cxn>
                <a:cxn ang="0">
                  <a:pos x="132" y="30"/>
                </a:cxn>
                <a:cxn ang="0">
                  <a:pos x="105" y="23"/>
                </a:cxn>
                <a:cxn ang="0">
                  <a:pos x="51" y="93"/>
                </a:cxn>
                <a:cxn ang="0">
                  <a:pos x="3" y="76"/>
                </a:cxn>
                <a:cxn ang="0">
                  <a:pos x="51" y="93"/>
                </a:cxn>
                <a:cxn ang="0">
                  <a:pos x="3" y="72"/>
                </a:cxn>
                <a:cxn ang="0">
                  <a:pos x="51" y="58"/>
                </a:cxn>
                <a:cxn ang="0">
                  <a:pos x="51" y="54"/>
                </a:cxn>
                <a:cxn ang="0">
                  <a:pos x="3" y="35"/>
                </a:cxn>
                <a:cxn ang="0">
                  <a:pos x="51" y="54"/>
                </a:cxn>
                <a:cxn ang="0">
                  <a:pos x="3" y="26"/>
                </a:cxn>
                <a:cxn ang="0">
                  <a:pos x="68" y="31"/>
                </a:cxn>
                <a:cxn ang="0">
                  <a:pos x="105" y="50"/>
                </a:cxn>
                <a:cxn ang="0">
                  <a:pos x="103" y="95"/>
                </a:cxn>
                <a:cxn ang="0">
                  <a:pos x="74" y="55"/>
                </a:cxn>
                <a:cxn ang="0">
                  <a:pos x="66" y="95"/>
                </a:cxn>
                <a:cxn ang="0">
                  <a:pos x="72" y="47"/>
                </a:cxn>
                <a:cxn ang="0">
                  <a:pos x="72" y="31"/>
                </a:cxn>
                <a:cxn ang="0">
                  <a:pos x="72" y="23"/>
                </a:cxn>
                <a:cxn ang="0">
                  <a:pos x="102" y="3"/>
                </a:cxn>
                <a:cxn ang="0">
                  <a:pos x="102" y="26"/>
                </a:cxn>
                <a:cxn ang="0">
                  <a:pos x="102" y="35"/>
                </a:cxn>
                <a:cxn ang="0">
                  <a:pos x="105" y="50"/>
                </a:cxn>
                <a:cxn ang="0">
                  <a:pos x="128" y="30"/>
                </a:cxn>
                <a:cxn ang="0">
                  <a:pos x="105" y="31"/>
                </a:cxn>
                <a:cxn ang="0">
                  <a:pos x="128" y="26"/>
                </a:cxn>
              </a:cxnLst>
              <a:rect l="0" t="0" r="r" b="b"/>
              <a:pathLst>
                <a:path w="132" h="99">
                  <a:moveTo>
                    <a:pt x="105" y="3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7"/>
                    <a:pt x="66" y="47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9"/>
                    <a:pt x="62" y="99"/>
                    <a:pt x="62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5"/>
                    <a:pt x="111" y="95"/>
                    <a:pt x="111" y="95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6"/>
                    <a:pt x="105" y="46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2" y="97"/>
                    <a:pt x="132" y="97"/>
                    <a:pt x="132" y="97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05" y="23"/>
                    <a:pt x="105" y="23"/>
                    <a:pt x="105" y="23"/>
                  </a:cubicBezTo>
                  <a:lnTo>
                    <a:pt x="105" y="3"/>
                  </a:lnTo>
                  <a:close/>
                  <a:moveTo>
                    <a:pt x="51" y="93"/>
                  </a:moveTo>
                  <a:cubicBezTo>
                    <a:pt x="3" y="93"/>
                    <a:pt x="3" y="93"/>
                    <a:pt x="3" y="93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51" y="76"/>
                    <a:pt x="51" y="76"/>
                    <a:pt x="51" y="76"/>
                  </a:cubicBezTo>
                  <a:lnTo>
                    <a:pt x="51" y="93"/>
                  </a:lnTo>
                  <a:close/>
                  <a:moveTo>
                    <a:pt x="51" y="72"/>
                  </a:moveTo>
                  <a:cubicBezTo>
                    <a:pt x="3" y="72"/>
                    <a:pt x="3" y="72"/>
                    <a:pt x="3" y="7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51" y="58"/>
                    <a:pt x="51" y="58"/>
                    <a:pt x="51" y="58"/>
                  </a:cubicBezTo>
                  <a:lnTo>
                    <a:pt x="51" y="72"/>
                  </a:lnTo>
                  <a:close/>
                  <a:moveTo>
                    <a:pt x="51" y="54"/>
                  </a:moveTo>
                  <a:cubicBezTo>
                    <a:pt x="3" y="54"/>
                    <a:pt x="3" y="54"/>
                    <a:pt x="3" y="5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51" y="35"/>
                    <a:pt x="51" y="35"/>
                    <a:pt x="51" y="35"/>
                  </a:cubicBezTo>
                  <a:lnTo>
                    <a:pt x="51" y="54"/>
                  </a:lnTo>
                  <a:close/>
                  <a:moveTo>
                    <a:pt x="3" y="31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31"/>
                    <a:pt x="68" y="31"/>
                    <a:pt x="68" y="31"/>
                  </a:cubicBezTo>
                  <a:lnTo>
                    <a:pt x="3" y="31"/>
                  </a:lnTo>
                  <a:close/>
                  <a:moveTo>
                    <a:pt x="105" y="50"/>
                  </a:moveTo>
                  <a:cubicBezTo>
                    <a:pt x="108" y="95"/>
                    <a:pt x="108" y="95"/>
                    <a:pt x="108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1" y="95"/>
                    <a:pt x="71" y="95"/>
                    <a:pt x="71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72" y="48"/>
                    <a:pt x="72" y="47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8"/>
                    <a:pt x="105" y="50"/>
                    <a:pt x="105" y="50"/>
                  </a:cubicBezTo>
                  <a:close/>
                  <a:moveTo>
                    <a:pt x="128" y="26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26"/>
                    <a:pt x="105" y="26"/>
                    <a:pt x="105" y="26"/>
                  </a:cubicBezTo>
                  <a:lnTo>
                    <a:pt x="128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07" name="Group 83"/>
          <p:cNvGrpSpPr>
            <a:grpSpLocks noChangeAspect="1"/>
          </p:cNvGrpSpPr>
          <p:nvPr/>
        </p:nvGrpSpPr>
        <p:grpSpPr bwMode="auto">
          <a:xfrm>
            <a:off x="2533650" y="1497013"/>
            <a:ext cx="838200" cy="838200"/>
            <a:chOff x="1602" y="943"/>
            <a:chExt cx="528" cy="528"/>
          </a:xfrm>
        </p:grpSpPr>
        <p:sp>
          <p:nvSpPr>
            <p:cNvPr id="52308" name="Oval 84"/>
            <p:cNvSpPr>
              <a:spLocks noChangeArrowheads="1"/>
            </p:cNvSpPr>
            <p:nvPr/>
          </p:nvSpPr>
          <p:spPr bwMode="auto">
            <a:xfrm>
              <a:off x="1602" y="943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09" name="Freeform 85"/>
            <p:cNvSpPr>
              <a:spLocks noEditPoints="1"/>
            </p:cNvSpPr>
            <p:nvPr/>
          </p:nvSpPr>
          <p:spPr bwMode="auto">
            <a:xfrm>
              <a:off x="1624" y="96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6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6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0" name="Freeform 86"/>
            <p:cNvSpPr>
              <a:spLocks noEditPoints="1"/>
            </p:cNvSpPr>
            <p:nvPr/>
          </p:nvSpPr>
          <p:spPr bwMode="auto">
            <a:xfrm>
              <a:off x="1717" y="1058"/>
              <a:ext cx="295" cy="29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62"/>
                </a:cxn>
                <a:cxn ang="0">
                  <a:pos x="62" y="123"/>
                </a:cxn>
                <a:cxn ang="0">
                  <a:pos x="123" y="62"/>
                </a:cxn>
                <a:cxn ang="0">
                  <a:pos x="62" y="0"/>
                </a:cxn>
                <a:cxn ang="0">
                  <a:pos x="64" y="120"/>
                </a:cxn>
                <a:cxn ang="0">
                  <a:pos x="64" y="113"/>
                </a:cxn>
                <a:cxn ang="0">
                  <a:pos x="60" y="113"/>
                </a:cxn>
                <a:cxn ang="0">
                  <a:pos x="60" y="120"/>
                </a:cxn>
                <a:cxn ang="0">
                  <a:pos x="18" y="100"/>
                </a:cxn>
                <a:cxn ang="0">
                  <a:pos x="23" y="97"/>
                </a:cxn>
                <a:cxn ang="0">
                  <a:pos x="21" y="94"/>
                </a:cxn>
                <a:cxn ang="0">
                  <a:pos x="16" y="97"/>
                </a:cxn>
                <a:cxn ang="0">
                  <a:pos x="4" y="64"/>
                </a:cxn>
                <a:cxn ang="0">
                  <a:pos x="10" y="64"/>
                </a:cxn>
                <a:cxn ang="0">
                  <a:pos x="10" y="60"/>
                </a:cxn>
                <a:cxn ang="0">
                  <a:pos x="4" y="60"/>
                </a:cxn>
                <a:cxn ang="0">
                  <a:pos x="18" y="24"/>
                </a:cxn>
                <a:cxn ang="0">
                  <a:pos x="23" y="28"/>
                </a:cxn>
                <a:cxn ang="0">
                  <a:pos x="25" y="25"/>
                </a:cxn>
                <a:cxn ang="0">
                  <a:pos x="20" y="21"/>
                </a:cxn>
                <a:cxn ang="0">
                  <a:pos x="62" y="4"/>
                </a:cxn>
                <a:cxn ang="0">
                  <a:pos x="103" y="21"/>
                </a:cxn>
                <a:cxn ang="0">
                  <a:pos x="98" y="25"/>
                </a:cxn>
                <a:cxn ang="0">
                  <a:pos x="101" y="28"/>
                </a:cxn>
                <a:cxn ang="0">
                  <a:pos x="106" y="24"/>
                </a:cxn>
                <a:cxn ang="0">
                  <a:pos x="120" y="60"/>
                </a:cxn>
                <a:cxn ang="0">
                  <a:pos x="114" y="60"/>
                </a:cxn>
                <a:cxn ang="0">
                  <a:pos x="114" y="64"/>
                </a:cxn>
                <a:cxn ang="0">
                  <a:pos x="120" y="64"/>
                </a:cxn>
                <a:cxn ang="0">
                  <a:pos x="107" y="98"/>
                </a:cxn>
                <a:cxn ang="0">
                  <a:pos x="102" y="94"/>
                </a:cxn>
                <a:cxn ang="0">
                  <a:pos x="99" y="97"/>
                </a:cxn>
                <a:cxn ang="0">
                  <a:pos x="105" y="101"/>
                </a:cxn>
                <a:cxn ang="0">
                  <a:pos x="64" y="120"/>
                </a:cxn>
              </a:cxnLst>
              <a:rect l="0" t="0" r="r" b="b"/>
              <a:pathLst>
                <a:path w="123" h="123">
                  <a:moveTo>
                    <a:pt x="62" y="0"/>
                  </a:moveTo>
                  <a:cubicBezTo>
                    <a:pt x="28" y="0"/>
                    <a:pt x="0" y="28"/>
                    <a:pt x="0" y="62"/>
                  </a:cubicBezTo>
                  <a:cubicBezTo>
                    <a:pt x="0" y="96"/>
                    <a:pt x="28" y="123"/>
                    <a:pt x="62" y="123"/>
                  </a:cubicBezTo>
                  <a:cubicBezTo>
                    <a:pt x="96" y="123"/>
                    <a:pt x="123" y="96"/>
                    <a:pt x="123" y="62"/>
                  </a:cubicBezTo>
                  <a:cubicBezTo>
                    <a:pt x="123" y="28"/>
                    <a:pt x="96" y="0"/>
                    <a:pt x="62" y="0"/>
                  </a:cubicBezTo>
                  <a:close/>
                  <a:moveTo>
                    <a:pt x="64" y="120"/>
                  </a:moveTo>
                  <a:cubicBezTo>
                    <a:pt x="64" y="113"/>
                    <a:pt x="64" y="113"/>
                    <a:pt x="64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44" y="119"/>
                    <a:pt x="29" y="112"/>
                    <a:pt x="18" y="100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1" y="94"/>
                    <a:pt x="21" y="94"/>
                    <a:pt x="21" y="9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9" y="88"/>
                    <a:pt x="4" y="76"/>
                    <a:pt x="4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46"/>
                    <a:pt x="10" y="34"/>
                    <a:pt x="18" y="24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31" y="11"/>
                    <a:pt x="46" y="4"/>
                    <a:pt x="62" y="4"/>
                  </a:cubicBezTo>
                  <a:cubicBezTo>
                    <a:pt x="78" y="4"/>
                    <a:pt x="93" y="10"/>
                    <a:pt x="103" y="21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14" y="34"/>
                    <a:pt x="119" y="46"/>
                    <a:pt x="120" y="60"/>
                  </a:cubicBezTo>
                  <a:cubicBezTo>
                    <a:pt x="114" y="60"/>
                    <a:pt x="114" y="60"/>
                    <a:pt x="114" y="60"/>
                  </a:cubicBezTo>
                  <a:cubicBezTo>
                    <a:pt x="114" y="64"/>
                    <a:pt x="114" y="64"/>
                    <a:pt x="114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19" y="77"/>
                    <a:pt x="115" y="88"/>
                    <a:pt x="107" y="98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95" y="112"/>
                    <a:pt x="80" y="119"/>
                    <a:pt x="6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1" name="Freeform 87"/>
            <p:cNvSpPr>
              <a:spLocks noEditPoints="1"/>
            </p:cNvSpPr>
            <p:nvPr/>
          </p:nvSpPr>
          <p:spPr bwMode="auto">
            <a:xfrm>
              <a:off x="1693" y="1032"/>
              <a:ext cx="346" cy="348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0" y="73"/>
                </a:cxn>
                <a:cxn ang="0">
                  <a:pos x="72" y="145"/>
                </a:cxn>
                <a:cxn ang="0">
                  <a:pos x="144" y="73"/>
                </a:cxn>
                <a:cxn ang="0">
                  <a:pos x="72" y="0"/>
                </a:cxn>
                <a:cxn ang="0">
                  <a:pos x="72" y="142"/>
                </a:cxn>
                <a:cxn ang="0">
                  <a:pos x="3" y="73"/>
                </a:cxn>
                <a:cxn ang="0">
                  <a:pos x="72" y="4"/>
                </a:cxn>
                <a:cxn ang="0">
                  <a:pos x="141" y="73"/>
                </a:cxn>
                <a:cxn ang="0">
                  <a:pos x="72" y="142"/>
                </a:cxn>
              </a:cxnLst>
              <a:rect l="0" t="0" r="r" b="b"/>
              <a:pathLst>
                <a:path w="144" h="145">
                  <a:moveTo>
                    <a:pt x="72" y="0"/>
                  </a:moveTo>
                  <a:cubicBezTo>
                    <a:pt x="32" y="0"/>
                    <a:pt x="0" y="33"/>
                    <a:pt x="0" y="73"/>
                  </a:cubicBezTo>
                  <a:cubicBezTo>
                    <a:pt x="0" y="113"/>
                    <a:pt x="32" y="145"/>
                    <a:pt x="72" y="145"/>
                  </a:cubicBezTo>
                  <a:cubicBezTo>
                    <a:pt x="112" y="145"/>
                    <a:pt x="144" y="113"/>
                    <a:pt x="144" y="73"/>
                  </a:cubicBezTo>
                  <a:cubicBezTo>
                    <a:pt x="144" y="33"/>
                    <a:pt x="112" y="0"/>
                    <a:pt x="72" y="0"/>
                  </a:cubicBezTo>
                  <a:close/>
                  <a:moveTo>
                    <a:pt x="72" y="142"/>
                  </a:moveTo>
                  <a:cubicBezTo>
                    <a:pt x="34" y="142"/>
                    <a:pt x="3" y="111"/>
                    <a:pt x="3" y="73"/>
                  </a:cubicBezTo>
                  <a:cubicBezTo>
                    <a:pt x="3" y="35"/>
                    <a:pt x="34" y="4"/>
                    <a:pt x="72" y="4"/>
                  </a:cubicBezTo>
                  <a:cubicBezTo>
                    <a:pt x="110" y="4"/>
                    <a:pt x="141" y="35"/>
                    <a:pt x="141" y="73"/>
                  </a:cubicBezTo>
                  <a:cubicBezTo>
                    <a:pt x="141" y="111"/>
                    <a:pt x="110" y="142"/>
                    <a:pt x="72" y="14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2" name="Freeform 88"/>
            <p:cNvSpPr>
              <a:spLocks noEditPoints="1"/>
            </p:cNvSpPr>
            <p:nvPr/>
          </p:nvSpPr>
          <p:spPr bwMode="auto">
            <a:xfrm>
              <a:off x="1849" y="1087"/>
              <a:ext cx="75" cy="182"/>
            </a:xfrm>
            <a:custGeom>
              <a:avLst/>
              <a:gdLst/>
              <a:ahLst/>
              <a:cxnLst>
                <a:cxn ang="0">
                  <a:pos x="13" y="50"/>
                </a:cxn>
                <a:cxn ang="0">
                  <a:pos x="9" y="4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5" y="44"/>
                </a:cxn>
                <a:cxn ang="0">
                  <a:pos x="0" y="50"/>
                </a:cxn>
                <a:cxn ang="0">
                  <a:pos x="7" y="57"/>
                </a:cxn>
                <a:cxn ang="0">
                  <a:pos x="9" y="56"/>
                </a:cxn>
                <a:cxn ang="0">
                  <a:pos x="29" y="76"/>
                </a:cxn>
                <a:cxn ang="0">
                  <a:pos x="31" y="74"/>
                </a:cxn>
                <a:cxn ang="0">
                  <a:pos x="12" y="54"/>
                </a:cxn>
                <a:cxn ang="0">
                  <a:pos x="13" y="50"/>
                </a:cxn>
                <a:cxn ang="0">
                  <a:pos x="4" y="50"/>
                </a:cxn>
                <a:cxn ang="0">
                  <a:pos x="7" y="47"/>
                </a:cxn>
                <a:cxn ang="0">
                  <a:pos x="10" y="50"/>
                </a:cxn>
                <a:cxn ang="0">
                  <a:pos x="7" y="53"/>
                </a:cxn>
                <a:cxn ang="0">
                  <a:pos x="4" y="50"/>
                </a:cxn>
              </a:cxnLst>
              <a:rect l="0" t="0" r="r" b="b"/>
              <a:pathLst>
                <a:path w="31" h="76">
                  <a:moveTo>
                    <a:pt x="13" y="50"/>
                  </a:moveTo>
                  <a:cubicBezTo>
                    <a:pt x="13" y="47"/>
                    <a:pt x="11" y="45"/>
                    <a:pt x="9" y="4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2" y="45"/>
                    <a:pt x="0" y="47"/>
                    <a:pt x="0" y="50"/>
                  </a:cubicBezTo>
                  <a:cubicBezTo>
                    <a:pt x="0" y="54"/>
                    <a:pt x="3" y="57"/>
                    <a:pt x="7" y="57"/>
                  </a:cubicBezTo>
                  <a:cubicBezTo>
                    <a:pt x="8" y="57"/>
                    <a:pt x="8" y="57"/>
                    <a:pt x="9" y="5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3"/>
                    <a:pt x="13" y="52"/>
                    <a:pt x="13" y="50"/>
                  </a:cubicBezTo>
                  <a:close/>
                  <a:moveTo>
                    <a:pt x="4" y="50"/>
                  </a:moveTo>
                  <a:cubicBezTo>
                    <a:pt x="4" y="49"/>
                    <a:pt x="5" y="47"/>
                    <a:pt x="7" y="47"/>
                  </a:cubicBezTo>
                  <a:cubicBezTo>
                    <a:pt x="8" y="47"/>
                    <a:pt x="10" y="49"/>
                    <a:pt x="10" y="50"/>
                  </a:cubicBezTo>
                  <a:cubicBezTo>
                    <a:pt x="10" y="52"/>
                    <a:pt x="8" y="53"/>
                    <a:pt x="7" y="53"/>
                  </a:cubicBezTo>
                  <a:cubicBezTo>
                    <a:pt x="5" y="53"/>
                    <a:pt x="4" y="52"/>
                    <a:pt x="4" y="5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15" name="Group 91"/>
          <p:cNvGrpSpPr>
            <a:grpSpLocks noChangeAspect="1"/>
          </p:cNvGrpSpPr>
          <p:nvPr/>
        </p:nvGrpSpPr>
        <p:grpSpPr bwMode="auto">
          <a:xfrm>
            <a:off x="3659190" y="1530349"/>
            <a:ext cx="768350" cy="768350"/>
            <a:chOff x="2317" y="964"/>
            <a:chExt cx="484" cy="484"/>
          </a:xfrm>
        </p:grpSpPr>
        <p:sp>
          <p:nvSpPr>
            <p:cNvPr id="52316" name="Freeform 92"/>
            <p:cNvSpPr>
              <a:spLocks noEditPoints="1"/>
            </p:cNvSpPr>
            <p:nvPr/>
          </p:nvSpPr>
          <p:spPr bwMode="auto">
            <a:xfrm>
              <a:off x="2317" y="96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7" name="Freeform 93"/>
            <p:cNvSpPr>
              <a:spLocks noEditPoints="1"/>
            </p:cNvSpPr>
            <p:nvPr/>
          </p:nvSpPr>
          <p:spPr bwMode="auto">
            <a:xfrm>
              <a:off x="2411" y="1058"/>
              <a:ext cx="297" cy="297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62"/>
                </a:cxn>
                <a:cxn ang="0">
                  <a:pos x="62" y="124"/>
                </a:cxn>
                <a:cxn ang="0">
                  <a:pos x="124" y="62"/>
                </a:cxn>
                <a:cxn ang="0">
                  <a:pos x="62" y="0"/>
                </a:cxn>
                <a:cxn ang="0">
                  <a:pos x="64" y="120"/>
                </a:cxn>
                <a:cxn ang="0">
                  <a:pos x="64" y="114"/>
                </a:cxn>
                <a:cxn ang="0">
                  <a:pos x="60" y="114"/>
                </a:cxn>
                <a:cxn ang="0">
                  <a:pos x="60" y="120"/>
                </a:cxn>
                <a:cxn ang="0">
                  <a:pos x="19" y="100"/>
                </a:cxn>
                <a:cxn ang="0">
                  <a:pos x="23" y="97"/>
                </a:cxn>
                <a:cxn ang="0">
                  <a:pos x="21" y="94"/>
                </a:cxn>
                <a:cxn ang="0">
                  <a:pos x="16" y="98"/>
                </a:cxn>
                <a:cxn ang="0">
                  <a:pos x="4" y="64"/>
                </a:cxn>
                <a:cxn ang="0">
                  <a:pos x="10" y="64"/>
                </a:cxn>
                <a:cxn ang="0">
                  <a:pos x="10" y="60"/>
                </a:cxn>
                <a:cxn ang="0">
                  <a:pos x="4" y="60"/>
                </a:cxn>
                <a:cxn ang="0">
                  <a:pos x="18" y="24"/>
                </a:cxn>
                <a:cxn ang="0">
                  <a:pos x="23" y="28"/>
                </a:cxn>
                <a:cxn ang="0">
                  <a:pos x="25" y="25"/>
                </a:cxn>
                <a:cxn ang="0">
                  <a:pos x="20" y="22"/>
                </a:cxn>
                <a:cxn ang="0">
                  <a:pos x="62" y="4"/>
                </a:cxn>
                <a:cxn ang="0">
                  <a:pos x="103" y="21"/>
                </a:cxn>
                <a:cxn ang="0">
                  <a:pos x="98" y="25"/>
                </a:cxn>
                <a:cxn ang="0">
                  <a:pos x="101" y="28"/>
                </a:cxn>
                <a:cxn ang="0">
                  <a:pos x="106" y="24"/>
                </a:cxn>
                <a:cxn ang="0">
                  <a:pos x="120" y="60"/>
                </a:cxn>
                <a:cxn ang="0">
                  <a:pos x="114" y="60"/>
                </a:cxn>
                <a:cxn ang="0">
                  <a:pos x="114" y="64"/>
                </a:cxn>
                <a:cxn ang="0">
                  <a:pos x="120" y="64"/>
                </a:cxn>
                <a:cxn ang="0">
                  <a:pos x="107" y="98"/>
                </a:cxn>
                <a:cxn ang="0">
                  <a:pos x="102" y="94"/>
                </a:cxn>
                <a:cxn ang="0">
                  <a:pos x="100" y="97"/>
                </a:cxn>
                <a:cxn ang="0">
                  <a:pos x="105" y="101"/>
                </a:cxn>
                <a:cxn ang="0">
                  <a:pos x="64" y="120"/>
                </a:cxn>
              </a:cxnLst>
              <a:rect l="0" t="0" r="r" b="b"/>
              <a:pathLst>
                <a:path w="124" h="124">
                  <a:moveTo>
                    <a:pt x="62" y="0"/>
                  </a:moveTo>
                  <a:cubicBezTo>
                    <a:pt x="28" y="0"/>
                    <a:pt x="0" y="28"/>
                    <a:pt x="0" y="62"/>
                  </a:cubicBezTo>
                  <a:cubicBezTo>
                    <a:pt x="0" y="96"/>
                    <a:pt x="28" y="124"/>
                    <a:pt x="62" y="124"/>
                  </a:cubicBezTo>
                  <a:cubicBezTo>
                    <a:pt x="96" y="124"/>
                    <a:pt x="124" y="96"/>
                    <a:pt x="124" y="62"/>
                  </a:cubicBezTo>
                  <a:cubicBezTo>
                    <a:pt x="124" y="28"/>
                    <a:pt x="96" y="0"/>
                    <a:pt x="62" y="0"/>
                  </a:cubicBezTo>
                  <a:close/>
                  <a:moveTo>
                    <a:pt x="64" y="120"/>
                  </a:moveTo>
                  <a:cubicBezTo>
                    <a:pt x="64" y="114"/>
                    <a:pt x="64" y="114"/>
                    <a:pt x="64" y="114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44" y="119"/>
                    <a:pt x="29" y="112"/>
                    <a:pt x="19" y="100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1" y="94"/>
                    <a:pt x="21" y="94"/>
                    <a:pt x="21" y="94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9" y="88"/>
                    <a:pt x="4" y="76"/>
                    <a:pt x="4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46"/>
                    <a:pt x="10" y="34"/>
                    <a:pt x="18" y="24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31" y="11"/>
                    <a:pt x="46" y="4"/>
                    <a:pt x="62" y="4"/>
                  </a:cubicBezTo>
                  <a:cubicBezTo>
                    <a:pt x="78" y="4"/>
                    <a:pt x="93" y="11"/>
                    <a:pt x="103" y="21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14" y="34"/>
                    <a:pt x="119" y="46"/>
                    <a:pt x="120" y="60"/>
                  </a:cubicBezTo>
                  <a:cubicBezTo>
                    <a:pt x="114" y="60"/>
                    <a:pt x="114" y="60"/>
                    <a:pt x="114" y="60"/>
                  </a:cubicBezTo>
                  <a:cubicBezTo>
                    <a:pt x="114" y="64"/>
                    <a:pt x="114" y="64"/>
                    <a:pt x="114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77"/>
                    <a:pt x="115" y="89"/>
                    <a:pt x="107" y="98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95" y="112"/>
                    <a:pt x="80" y="119"/>
                    <a:pt x="64" y="1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8" name="Freeform 94"/>
            <p:cNvSpPr>
              <a:spLocks noEditPoints="1"/>
            </p:cNvSpPr>
            <p:nvPr/>
          </p:nvSpPr>
          <p:spPr bwMode="auto">
            <a:xfrm>
              <a:off x="2387" y="1034"/>
              <a:ext cx="345" cy="34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0" y="72"/>
                </a:cxn>
                <a:cxn ang="0">
                  <a:pos x="72" y="144"/>
                </a:cxn>
                <a:cxn ang="0">
                  <a:pos x="144" y="72"/>
                </a:cxn>
                <a:cxn ang="0">
                  <a:pos x="72" y="0"/>
                </a:cxn>
                <a:cxn ang="0">
                  <a:pos x="72" y="141"/>
                </a:cxn>
                <a:cxn ang="0">
                  <a:pos x="3" y="72"/>
                </a:cxn>
                <a:cxn ang="0">
                  <a:pos x="72" y="3"/>
                </a:cxn>
                <a:cxn ang="0">
                  <a:pos x="141" y="72"/>
                </a:cxn>
                <a:cxn ang="0">
                  <a:pos x="72" y="141"/>
                </a:cxn>
              </a:cxnLst>
              <a:rect l="0" t="0" r="r" b="b"/>
              <a:pathLst>
                <a:path w="144" h="144">
                  <a:moveTo>
                    <a:pt x="72" y="0"/>
                  </a:moveTo>
                  <a:cubicBezTo>
                    <a:pt x="32" y="0"/>
                    <a:pt x="0" y="32"/>
                    <a:pt x="0" y="72"/>
                  </a:cubicBezTo>
                  <a:cubicBezTo>
                    <a:pt x="0" y="112"/>
                    <a:pt x="32" y="144"/>
                    <a:pt x="72" y="144"/>
                  </a:cubicBezTo>
                  <a:cubicBezTo>
                    <a:pt x="112" y="144"/>
                    <a:pt x="144" y="112"/>
                    <a:pt x="144" y="72"/>
                  </a:cubicBezTo>
                  <a:cubicBezTo>
                    <a:pt x="144" y="32"/>
                    <a:pt x="112" y="0"/>
                    <a:pt x="72" y="0"/>
                  </a:cubicBezTo>
                  <a:close/>
                  <a:moveTo>
                    <a:pt x="72" y="141"/>
                  </a:moveTo>
                  <a:cubicBezTo>
                    <a:pt x="34" y="141"/>
                    <a:pt x="3" y="110"/>
                    <a:pt x="3" y="72"/>
                  </a:cubicBezTo>
                  <a:cubicBezTo>
                    <a:pt x="3" y="34"/>
                    <a:pt x="34" y="3"/>
                    <a:pt x="72" y="3"/>
                  </a:cubicBezTo>
                  <a:cubicBezTo>
                    <a:pt x="110" y="3"/>
                    <a:pt x="141" y="34"/>
                    <a:pt x="141" y="72"/>
                  </a:cubicBezTo>
                  <a:cubicBezTo>
                    <a:pt x="141" y="110"/>
                    <a:pt x="110" y="141"/>
                    <a:pt x="72" y="14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19" name="Freeform 95"/>
            <p:cNvSpPr>
              <a:spLocks noEditPoints="1"/>
            </p:cNvSpPr>
            <p:nvPr/>
          </p:nvSpPr>
          <p:spPr bwMode="auto">
            <a:xfrm>
              <a:off x="2543" y="1087"/>
              <a:ext cx="74" cy="182"/>
            </a:xfrm>
            <a:custGeom>
              <a:avLst/>
              <a:gdLst/>
              <a:ahLst/>
              <a:cxnLst>
                <a:cxn ang="0">
                  <a:pos x="14" y="51"/>
                </a:cxn>
                <a:cxn ang="0">
                  <a:pos x="9" y="4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5" y="44"/>
                </a:cxn>
                <a:cxn ang="0">
                  <a:pos x="0" y="51"/>
                </a:cxn>
                <a:cxn ang="0">
                  <a:pos x="7" y="57"/>
                </a:cxn>
                <a:cxn ang="0">
                  <a:pos x="9" y="57"/>
                </a:cxn>
                <a:cxn ang="0">
                  <a:pos x="29" y="76"/>
                </a:cxn>
                <a:cxn ang="0">
                  <a:pos x="31" y="74"/>
                </a:cxn>
                <a:cxn ang="0">
                  <a:pos x="12" y="55"/>
                </a:cxn>
                <a:cxn ang="0">
                  <a:pos x="14" y="51"/>
                </a:cxn>
                <a:cxn ang="0">
                  <a:pos x="4" y="51"/>
                </a:cxn>
                <a:cxn ang="0">
                  <a:pos x="7" y="48"/>
                </a:cxn>
                <a:cxn ang="0">
                  <a:pos x="10" y="51"/>
                </a:cxn>
                <a:cxn ang="0">
                  <a:pos x="7" y="53"/>
                </a:cxn>
                <a:cxn ang="0">
                  <a:pos x="4" y="51"/>
                </a:cxn>
              </a:cxnLst>
              <a:rect l="0" t="0" r="r" b="b"/>
              <a:pathLst>
                <a:path w="31" h="76">
                  <a:moveTo>
                    <a:pt x="14" y="51"/>
                  </a:moveTo>
                  <a:cubicBezTo>
                    <a:pt x="14" y="48"/>
                    <a:pt x="12" y="45"/>
                    <a:pt x="9" y="4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2" y="45"/>
                    <a:pt x="0" y="48"/>
                    <a:pt x="0" y="51"/>
                  </a:cubicBezTo>
                  <a:cubicBezTo>
                    <a:pt x="0" y="54"/>
                    <a:pt x="3" y="57"/>
                    <a:pt x="7" y="57"/>
                  </a:cubicBezTo>
                  <a:cubicBezTo>
                    <a:pt x="8" y="57"/>
                    <a:pt x="8" y="57"/>
                    <a:pt x="9" y="57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3" y="53"/>
                    <a:pt x="14" y="52"/>
                    <a:pt x="14" y="51"/>
                  </a:cubicBezTo>
                  <a:close/>
                  <a:moveTo>
                    <a:pt x="4" y="51"/>
                  </a:moveTo>
                  <a:cubicBezTo>
                    <a:pt x="4" y="49"/>
                    <a:pt x="5" y="48"/>
                    <a:pt x="7" y="48"/>
                  </a:cubicBezTo>
                  <a:cubicBezTo>
                    <a:pt x="9" y="48"/>
                    <a:pt x="10" y="49"/>
                    <a:pt x="10" y="51"/>
                  </a:cubicBezTo>
                  <a:cubicBezTo>
                    <a:pt x="10" y="52"/>
                    <a:pt x="9" y="53"/>
                    <a:pt x="7" y="53"/>
                  </a:cubicBezTo>
                  <a:cubicBezTo>
                    <a:pt x="5" y="53"/>
                    <a:pt x="4" y="52"/>
                    <a:pt x="4" y="5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22" name="Group 98"/>
          <p:cNvGrpSpPr>
            <a:grpSpLocks noChangeAspect="1"/>
          </p:cNvGrpSpPr>
          <p:nvPr/>
        </p:nvGrpSpPr>
        <p:grpSpPr bwMode="auto">
          <a:xfrm>
            <a:off x="4718050" y="1497013"/>
            <a:ext cx="835025" cy="838200"/>
            <a:chOff x="2988" y="943"/>
            <a:chExt cx="526" cy="528"/>
          </a:xfrm>
        </p:grpSpPr>
        <p:sp>
          <p:nvSpPr>
            <p:cNvPr id="52323" name="Oval 99"/>
            <p:cNvSpPr>
              <a:spLocks noChangeArrowheads="1"/>
            </p:cNvSpPr>
            <p:nvPr/>
          </p:nvSpPr>
          <p:spPr bwMode="auto">
            <a:xfrm>
              <a:off x="2988" y="943"/>
              <a:ext cx="526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24" name="Freeform 100"/>
            <p:cNvSpPr>
              <a:spLocks noEditPoints="1"/>
            </p:cNvSpPr>
            <p:nvPr/>
          </p:nvSpPr>
          <p:spPr bwMode="auto">
            <a:xfrm>
              <a:off x="3009" y="96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25" name="Freeform 101"/>
            <p:cNvSpPr>
              <a:spLocks noEditPoints="1"/>
            </p:cNvSpPr>
            <p:nvPr/>
          </p:nvSpPr>
          <p:spPr bwMode="auto">
            <a:xfrm>
              <a:off x="3088" y="1044"/>
              <a:ext cx="326" cy="328"/>
            </a:xfrm>
            <a:custGeom>
              <a:avLst/>
              <a:gdLst/>
              <a:ahLst/>
              <a:cxnLst>
                <a:cxn ang="0">
                  <a:pos x="117" y="45"/>
                </a:cxn>
                <a:cxn ang="0">
                  <a:pos x="104" y="8"/>
                </a:cxn>
                <a:cxn ang="0">
                  <a:pos x="86" y="17"/>
                </a:cxn>
                <a:cxn ang="0">
                  <a:pos x="51" y="0"/>
                </a:cxn>
                <a:cxn ang="0">
                  <a:pos x="44" y="20"/>
                </a:cxn>
                <a:cxn ang="0">
                  <a:pos x="8" y="33"/>
                </a:cxn>
                <a:cxn ang="0">
                  <a:pos x="17" y="51"/>
                </a:cxn>
                <a:cxn ang="0">
                  <a:pos x="0" y="86"/>
                </a:cxn>
                <a:cxn ang="0">
                  <a:pos x="19" y="92"/>
                </a:cxn>
                <a:cxn ang="0">
                  <a:pos x="33" y="129"/>
                </a:cxn>
                <a:cxn ang="0">
                  <a:pos x="51" y="120"/>
                </a:cxn>
                <a:cxn ang="0">
                  <a:pos x="86" y="137"/>
                </a:cxn>
                <a:cxn ang="0">
                  <a:pos x="92" y="117"/>
                </a:cxn>
                <a:cxn ang="0">
                  <a:pos x="129" y="104"/>
                </a:cxn>
                <a:cxn ang="0">
                  <a:pos x="120" y="86"/>
                </a:cxn>
                <a:cxn ang="0">
                  <a:pos x="136" y="51"/>
                </a:cxn>
                <a:cxn ang="0">
                  <a:pos x="133" y="82"/>
                </a:cxn>
                <a:cxn ang="0">
                  <a:pos x="117" y="84"/>
                </a:cxn>
                <a:cxn ang="0">
                  <a:pos x="113" y="93"/>
                </a:cxn>
                <a:cxn ang="0">
                  <a:pos x="104" y="124"/>
                </a:cxn>
                <a:cxn ang="0">
                  <a:pos x="92" y="113"/>
                </a:cxn>
                <a:cxn ang="0">
                  <a:pos x="82" y="117"/>
                </a:cxn>
                <a:cxn ang="0">
                  <a:pos x="54" y="133"/>
                </a:cxn>
                <a:cxn ang="0">
                  <a:pos x="53" y="117"/>
                </a:cxn>
                <a:cxn ang="0">
                  <a:pos x="44" y="113"/>
                </a:cxn>
                <a:cxn ang="0">
                  <a:pos x="13" y="104"/>
                </a:cxn>
                <a:cxn ang="0">
                  <a:pos x="23" y="92"/>
                </a:cxn>
                <a:cxn ang="0">
                  <a:pos x="19" y="82"/>
                </a:cxn>
                <a:cxn ang="0">
                  <a:pos x="4" y="55"/>
                </a:cxn>
                <a:cxn ang="0">
                  <a:pos x="20" y="53"/>
                </a:cxn>
                <a:cxn ang="0">
                  <a:pos x="24" y="44"/>
                </a:cxn>
                <a:cxn ang="0">
                  <a:pos x="33" y="13"/>
                </a:cxn>
                <a:cxn ang="0">
                  <a:pos x="45" y="23"/>
                </a:cxn>
                <a:cxn ang="0">
                  <a:pos x="54" y="20"/>
                </a:cxn>
                <a:cxn ang="0">
                  <a:pos x="82" y="4"/>
                </a:cxn>
                <a:cxn ang="0">
                  <a:pos x="83" y="20"/>
                </a:cxn>
                <a:cxn ang="0">
                  <a:pos x="93" y="24"/>
                </a:cxn>
                <a:cxn ang="0">
                  <a:pos x="124" y="33"/>
                </a:cxn>
                <a:cxn ang="0">
                  <a:pos x="113" y="45"/>
                </a:cxn>
                <a:cxn ang="0">
                  <a:pos x="117" y="55"/>
                </a:cxn>
                <a:cxn ang="0">
                  <a:pos x="133" y="82"/>
                </a:cxn>
              </a:cxnLst>
              <a:rect l="0" t="0" r="r" b="b"/>
              <a:pathLst>
                <a:path w="136" h="137">
                  <a:moveTo>
                    <a:pt x="120" y="51"/>
                  </a:moveTo>
                  <a:cubicBezTo>
                    <a:pt x="119" y="49"/>
                    <a:pt x="118" y="47"/>
                    <a:pt x="117" y="45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0" y="19"/>
                    <a:pt x="88" y="18"/>
                    <a:pt x="86" y="17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48" y="18"/>
                    <a:pt x="46" y="19"/>
                    <a:pt x="44" y="20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8" y="47"/>
                    <a:pt x="18" y="49"/>
                    <a:pt x="17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8" y="88"/>
                    <a:pt x="18" y="90"/>
                    <a:pt x="19" y="92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6" y="118"/>
                    <a:pt x="48" y="119"/>
                    <a:pt x="51" y="120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8" y="119"/>
                    <a:pt x="90" y="118"/>
                    <a:pt x="92" y="117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17" y="92"/>
                    <a:pt x="117" y="92"/>
                    <a:pt x="117" y="92"/>
                  </a:cubicBezTo>
                  <a:cubicBezTo>
                    <a:pt x="118" y="90"/>
                    <a:pt x="119" y="88"/>
                    <a:pt x="120" y="86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36" y="51"/>
                    <a:pt x="136" y="51"/>
                    <a:pt x="136" y="51"/>
                  </a:cubicBezTo>
                  <a:lnTo>
                    <a:pt x="120" y="51"/>
                  </a:lnTo>
                  <a:close/>
                  <a:moveTo>
                    <a:pt x="133" y="82"/>
                  </a:moveTo>
                  <a:cubicBezTo>
                    <a:pt x="117" y="82"/>
                    <a:pt x="117" y="82"/>
                    <a:pt x="117" y="82"/>
                  </a:cubicBezTo>
                  <a:cubicBezTo>
                    <a:pt x="117" y="84"/>
                    <a:pt x="117" y="84"/>
                    <a:pt x="117" y="84"/>
                  </a:cubicBezTo>
                  <a:cubicBezTo>
                    <a:pt x="116" y="86"/>
                    <a:pt x="115" y="89"/>
                    <a:pt x="113" y="92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92" y="113"/>
                    <a:pt x="92" y="113"/>
                    <a:pt x="92" y="113"/>
                  </a:cubicBezTo>
                  <a:cubicBezTo>
                    <a:pt x="89" y="115"/>
                    <a:pt x="86" y="116"/>
                    <a:pt x="83" y="117"/>
                  </a:cubicBezTo>
                  <a:cubicBezTo>
                    <a:pt x="82" y="117"/>
                    <a:pt x="82" y="117"/>
                    <a:pt x="82" y="117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4" y="117"/>
                    <a:pt x="54" y="117"/>
                    <a:pt x="54" y="117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0" y="116"/>
                    <a:pt x="47" y="115"/>
                    <a:pt x="45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24" y="93"/>
                    <a:pt x="24" y="93"/>
                    <a:pt x="24" y="93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2" y="89"/>
                    <a:pt x="21" y="86"/>
                    <a:pt x="20" y="84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1" y="50"/>
                    <a:pt x="22" y="48"/>
                    <a:pt x="23" y="45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7" y="22"/>
                    <a:pt x="50" y="21"/>
                    <a:pt x="53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6" y="21"/>
                    <a:pt x="89" y="22"/>
                    <a:pt x="92" y="23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24" y="33"/>
                    <a:pt x="124" y="33"/>
                    <a:pt x="124" y="33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5" y="48"/>
                    <a:pt x="116" y="50"/>
                    <a:pt x="117" y="53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33" y="55"/>
                    <a:pt x="133" y="55"/>
                    <a:pt x="133" y="55"/>
                  </a:cubicBezTo>
                  <a:lnTo>
                    <a:pt x="133" y="8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26" name="Freeform 102"/>
            <p:cNvSpPr>
              <a:spLocks noEditPoints="1"/>
            </p:cNvSpPr>
            <p:nvPr/>
          </p:nvSpPr>
          <p:spPr bwMode="auto">
            <a:xfrm>
              <a:off x="3213" y="1171"/>
              <a:ext cx="76" cy="74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74"/>
                </a:cxn>
                <a:cxn ang="0">
                  <a:pos x="76" y="0"/>
                </a:cxn>
                <a:cxn ang="0">
                  <a:pos x="0" y="0"/>
                </a:cxn>
                <a:cxn ang="0">
                  <a:pos x="0" y="74"/>
                </a:cxn>
                <a:cxn ang="0">
                  <a:pos x="9" y="7"/>
                </a:cxn>
                <a:cxn ang="0">
                  <a:pos x="67" y="7"/>
                </a:cxn>
                <a:cxn ang="0">
                  <a:pos x="67" y="67"/>
                </a:cxn>
                <a:cxn ang="0">
                  <a:pos x="9" y="67"/>
                </a:cxn>
                <a:cxn ang="0">
                  <a:pos x="9" y="7"/>
                </a:cxn>
              </a:cxnLst>
              <a:rect l="0" t="0" r="r" b="b"/>
              <a:pathLst>
                <a:path w="76" h="74">
                  <a:moveTo>
                    <a:pt x="0" y="74"/>
                  </a:moveTo>
                  <a:lnTo>
                    <a:pt x="76" y="74"/>
                  </a:lnTo>
                  <a:lnTo>
                    <a:pt x="76" y="0"/>
                  </a:lnTo>
                  <a:lnTo>
                    <a:pt x="0" y="0"/>
                  </a:lnTo>
                  <a:lnTo>
                    <a:pt x="0" y="74"/>
                  </a:lnTo>
                  <a:close/>
                  <a:moveTo>
                    <a:pt x="9" y="7"/>
                  </a:moveTo>
                  <a:lnTo>
                    <a:pt x="67" y="7"/>
                  </a:lnTo>
                  <a:lnTo>
                    <a:pt x="67" y="67"/>
                  </a:lnTo>
                  <a:lnTo>
                    <a:pt x="9" y="67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29" name="Group 105"/>
          <p:cNvGrpSpPr>
            <a:grpSpLocks noChangeAspect="1"/>
          </p:cNvGrpSpPr>
          <p:nvPr/>
        </p:nvGrpSpPr>
        <p:grpSpPr bwMode="auto">
          <a:xfrm>
            <a:off x="5857082" y="1530349"/>
            <a:ext cx="768350" cy="768350"/>
            <a:chOff x="3696" y="964"/>
            <a:chExt cx="484" cy="484"/>
          </a:xfrm>
        </p:grpSpPr>
        <p:sp>
          <p:nvSpPr>
            <p:cNvPr id="52330" name="Freeform 106"/>
            <p:cNvSpPr>
              <a:spLocks noEditPoints="1"/>
            </p:cNvSpPr>
            <p:nvPr/>
          </p:nvSpPr>
          <p:spPr bwMode="auto">
            <a:xfrm>
              <a:off x="3696" y="96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31" name="Freeform 107"/>
            <p:cNvSpPr>
              <a:spLocks noEditPoints="1"/>
            </p:cNvSpPr>
            <p:nvPr/>
          </p:nvSpPr>
          <p:spPr bwMode="auto">
            <a:xfrm>
              <a:off x="3775" y="1043"/>
              <a:ext cx="326" cy="329"/>
            </a:xfrm>
            <a:custGeom>
              <a:avLst/>
              <a:gdLst/>
              <a:ahLst/>
              <a:cxnLst>
                <a:cxn ang="0">
                  <a:pos x="117" y="45"/>
                </a:cxn>
                <a:cxn ang="0">
                  <a:pos x="104" y="8"/>
                </a:cxn>
                <a:cxn ang="0">
                  <a:pos x="86" y="17"/>
                </a:cxn>
                <a:cxn ang="0">
                  <a:pos x="51" y="0"/>
                </a:cxn>
                <a:cxn ang="0">
                  <a:pos x="44" y="20"/>
                </a:cxn>
                <a:cxn ang="0">
                  <a:pos x="8" y="33"/>
                </a:cxn>
                <a:cxn ang="0">
                  <a:pos x="17" y="51"/>
                </a:cxn>
                <a:cxn ang="0">
                  <a:pos x="0" y="86"/>
                </a:cxn>
                <a:cxn ang="0">
                  <a:pos x="19" y="92"/>
                </a:cxn>
                <a:cxn ang="0">
                  <a:pos x="33" y="129"/>
                </a:cxn>
                <a:cxn ang="0">
                  <a:pos x="51" y="120"/>
                </a:cxn>
                <a:cxn ang="0">
                  <a:pos x="86" y="137"/>
                </a:cxn>
                <a:cxn ang="0">
                  <a:pos x="92" y="117"/>
                </a:cxn>
                <a:cxn ang="0">
                  <a:pos x="129" y="104"/>
                </a:cxn>
                <a:cxn ang="0">
                  <a:pos x="120" y="86"/>
                </a:cxn>
                <a:cxn ang="0">
                  <a:pos x="136" y="51"/>
                </a:cxn>
                <a:cxn ang="0">
                  <a:pos x="133" y="82"/>
                </a:cxn>
                <a:cxn ang="0">
                  <a:pos x="117" y="84"/>
                </a:cxn>
                <a:cxn ang="0">
                  <a:pos x="113" y="93"/>
                </a:cxn>
                <a:cxn ang="0">
                  <a:pos x="104" y="124"/>
                </a:cxn>
                <a:cxn ang="0">
                  <a:pos x="92" y="113"/>
                </a:cxn>
                <a:cxn ang="0">
                  <a:pos x="82" y="117"/>
                </a:cxn>
                <a:cxn ang="0">
                  <a:pos x="54" y="133"/>
                </a:cxn>
                <a:cxn ang="0">
                  <a:pos x="53" y="117"/>
                </a:cxn>
                <a:cxn ang="0">
                  <a:pos x="44" y="113"/>
                </a:cxn>
                <a:cxn ang="0">
                  <a:pos x="13" y="104"/>
                </a:cxn>
                <a:cxn ang="0">
                  <a:pos x="23" y="92"/>
                </a:cxn>
                <a:cxn ang="0">
                  <a:pos x="19" y="82"/>
                </a:cxn>
                <a:cxn ang="0">
                  <a:pos x="4" y="55"/>
                </a:cxn>
                <a:cxn ang="0">
                  <a:pos x="20" y="53"/>
                </a:cxn>
                <a:cxn ang="0">
                  <a:pos x="24" y="44"/>
                </a:cxn>
                <a:cxn ang="0">
                  <a:pos x="33" y="13"/>
                </a:cxn>
                <a:cxn ang="0">
                  <a:pos x="45" y="23"/>
                </a:cxn>
                <a:cxn ang="0">
                  <a:pos x="54" y="20"/>
                </a:cxn>
                <a:cxn ang="0">
                  <a:pos x="82" y="4"/>
                </a:cxn>
                <a:cxn ang="0">
                  <a:pos x="83" y="20"/>
                </a:cxn>
                <a:cxn ang="0">
                  <a:pos x="93" y="24"/>
                </a:cxn>
                <a:cxn ang="0">
                  <a:pos x="124" y="33"/>
                </a:cxn>
                <a:cxn ang="0">
                  <a:pos x="113" y="45"/>
                </a:cxn>
                <a:cxn ang="0">
                  <a:pos x="117" y="55"/>
                </a:cxn>
                <a:cxn ang="0">
                  <a:pos x="133" y="82"/>
                </a:cxn>
              </a:cxnLst>
              <a:rect l="0" t="0" r="r" b="b"/>
              <a:pathLst>
                <a:path w="136" h="137">
                  <a:moveTo>
                    <a:pt x="120" y="51"/>
                  </a:moveTo>
                  <a:cubicBezTo>
                    <a:pt x="119" y="49"/>
                    <a:pt x="118" y="47"/>
                    <a:pt x="117" y="45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0" y="19"/>
                    <a:pt x="88" y="18"/>
                    <a:pt x="86" y="17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48" y="18"/>
                    <a:pt x="46" y="19"/>
                    <a:pt x="44" y="20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8" y="47"/>
                    <a:pt x="18" y="49"/>
                    <a:pt x="17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8" y="88"/>
                    <a:pt x="18" y="90"/>
                    <a:pt x="19" y="92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46" y="118"/>
                    <a:pt x="48" y="119"/>
                    <a:pt x="51" y="120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20"/>
                    <a:pt x="86" y="120"/>
                    <a:pt x="86" y="120"/>
                  </a:cubicBezTo>
                  <a:cubicBezTo>
                    <a:pt x="88" y="119"/>
                    <a:pt x="90" y="118"/>
                    <a:pt x="92" y="117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17" y="92"/>
                    <a:pt x="117" y="92"/>
                    <a:pt x="117" y="92"/>
                  </a:cubicBezTo>
                  <a:cubicBezTo>
                    <a:pt x="118" y="90"/>
                    <a:pt x="119" y="88"/>
                    <a:pt x="120" y="86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36" y="51"/>
                    <a:pt x="136" y="51"/>
                    <a:pt x="136" y="51"/>
                  </a:cubicBezTo>
                  <a:lnTo>
                    <a:pt x="120" y="51"/>
                  </a:lnTo>
                  <a:close/>
                  <a:moveTo>
                    <a:pt x="133" y="82"/>
                  </a:moveTo>
                  <a:cubicBezTo>
                    <a:pt x="117" y="82"/>
                    <a:pt x="117" y="82"/>
                    <a:pt x="117" y="82"/>
                  </a:cubicBezTo>
                  <a:cubicBezTo>
                    <a:pt x="117" y="84"/>
                    <a:pt x="117" y="84"/>
                    <a:pt x="117" y="84"/>
                  </a:cubicBezTo>
                  <a:cubicBezTo>
                    <a:pt x="116" y="86"/>
                    <a:pt x="115" y="89"/>
                    <a:pt x="113" y="92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24" y="104"/>
                    <a:pt x="124" y="104"/>
                    <a:pt x="124" y="104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92" y="113"/>
                    <a:pt x="92" y="113"/>
                    <a:pt x="92" y="113"/>
                  </a:cubicBezTo>
                  <a:cubicBezTo>
                    <a:pt x="89" y="115"/>
                    <a:pt x="86" y="116"/>
                    <a:pt x="83" y="117"/>
                  </a:cubicBezTo>
                  <a:cubicBezTo>
                    <a:pt x="82" y="117"/>
                    <a:pt x="82" y="117"/>
                    <a:pt x="82" y="117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4" y="117"/>
                    <a:pt x="54" y="117"/>
                    <a:pt x="54" y="117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0" y="116"/>
                    <a:pt x="47" y="115"/>
                    <a:pt x="45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24" y="93"/>
                    <a:pt x="24" y="93"/>
                    <a:pt x="24" y="93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2" y="89"/>
                    <a:pt x="21" y="86"/>
                    <a:pt x="20" y="84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1" y="50"/>
                    <a:pt x="22" y="48"/>
                    <a:pt x="23" y="45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7" y="22"/>
                    <a:pt x="50" y="21"/>
                    <a:pt x="53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6" y="21"/>
                    <a:pt x="89" y="22"/>
                    <a:pt x="92" y="23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24" y="33"/>
                    <a:pt x="124" y="33"/>
                    <a:pt x="124" y="33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5" y="48"/>
                    <a:pt x="116" y="50"/>
                    <a:pt x="117" y="53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33" y="55"/>
                    <a:pt x="133" y="55"/>
                    <a:pt x="133" y="55"/>
                  </a:cubicBezTo>
                  <a:lnTo>
                    <a:pt x="133" y="8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32" name="Freeform 108"/>
            <p:cNvSpPr>
              <a:spLocks noEditPoints="1"/>
            </p:cNvSpPr>
            <p:nvPr/>
          </p:nvSpPr>
          <p:spPr bwMode="auto">
            <a:xfrm>
              <a:off x="3900" y="1170"/>
              <a:ext cx="77" cy="75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77" y="75"/>
                </a:cxn>
                <a:cxn ang="0">
                  <a:pos x="77" y="0"/>
                </a:cxn>
                <a:cxn ang="0">
                  <a:pos x="0" y="0"/>
                </a:cxn>
                <a:cxn ang="0">
                  <a:pos x="0" y="75"/>
                </a:cxn>
                <a:cxn ang="0">
                  <a:pos x="9" y="8"/>
                </a:cxn>
                <a:cxn ang="0">
                  <a:pos x="67" y="8"/>
                </a:cxn>
                <a:cxn ang="0">
                  <a:pos x="67" y="68"/>
                </a:cxn>
                <a:cxn ang="0">
                  <a:pos x="9" y="68"/>
                </a:cxn>
                <a:cxn ang="0">
                  <a:pos x="9" y="8"/>
                </a:cxn>
              </a:cxnLst>
              <a:rect l="0" t="0" r="r" b="b"/>
              <a:pathLst>
                <a:path w="77" h="75">
                  <a:moveTo>
                    <a:pt x="0" y="75"/>
                  </a:moveTo>
                  <a:lnTo>
                    <a:pt x="77" y="75"/>
                  </a:lnTo>
                  <a:lnTo>
                    <a:pt x="77" y="0"/>
                  </a:lnTo>
                  <a:lnTo>
                    <a:pt x="0" y="0"/>
                  </a:lnTo>
                  <a:lnTo>
                    <a:pt x="0" y="75"/>
                  </a:lnTo>
                  <a:close/>
                  <a:moveTo>
                    <a:pt x="9" y="8"/>
                  </a:moveTo>
                  <a:lnTo>
                    <a:pt x="67" y="8"/>
                  </a:lnTo>
                  <a:lnTo>
                    <a:pt x="67" y="68"/>
                  </a:lnTo>
                  <a:lnTo>
                    <a:pt x="9" y="6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35" name="Group 111"/>
          <p:cNvGrpSpPr>
            <a:grpSpLocks noChangeAspect="1"/>
          </p:cNvGrpSpPr>
          <p:nvPr/>
        </p:nvGrpSpPr>
        <p:grpSpPr bwMode="auto">
          <a:xfrm>
            <a:off x="6920706" y="1497013"/>
            <a:ext cx="835025" cy="838200"/>
            <a:chOff x="4361" y="943"/>
            <a:chExt cx="526" cy="528"/>
          </a:xfrm>
        </p:grpSpPr>
        <p:sp>
          <p:nvSpPr>
            <p:cNvPr id="52336" name="Oval 112"/>
            <p:cNvSpPr>
              <a:spLocks noChangeArrowheads="1"/>
            </p:cNvSpPr>
            <p:nvPr/>
          </p:nvSpPr>
          <p:spPr bwMode="auto">
            <a:xfrm>
              <a:off x="4361" y="943"/>
              <a:ext cx="526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37" name="Freeform 113"/>
            <p:cNvSpPr>
              <a:spLocks noEditPoints="1"/>
            </p:cNvSpPr>
            <p:nvPr/>
          </p:nvSpPr>
          <p:spPr bwMode="auto">
            <a:xfrm>
              <a:off x="4382" y="96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38" name="Freeform 114"/>
            <p:cNvSpPr>
              <a:spLocks noEditPoints="1"/>
            </p:cNvSpPr>
            <p:nvPr/>
          </p:nvSpPr>
          <p:spPr bwMode="auto">
            <a:xfrm>
              <a:off x="4466" y="1054"/>
              <a:ext cx="180" cy="182"/>
            </a:xfrm>
            <a:custGeom>
              <a:avLst/>
              <a:gdLst/>
              <a:ahLst/>
              <a:cxnLst>
                <a:cxn ang="0">
                  <a:pos x="48" y="66"/>
                </a:cxn>
                <a:cxn ang="0">
                  <a:pos x="57" y="72"/>
                </a:cxn>
                <a:cxn ang="0">
                  <a:pos x="65" y="51"/>
                </a:cxn>
                <a:cxn ang="0">
                  <a:pos x="75" y="48"/>
                </a:cxn>
                <a:cxn ang="0">
                  <a:pos x="66" y="28"/>
                </a:cxn>
                <a:cxn ang="0">
                  <a:pos x="71" y="19"/>
                </a:cxn>
                <a:cxn ang="0">
                  <a:pos x="50" y="11"/>
                </a:cxn>
                <a:cxn ang="0">
                  <a:pos x="48" y="0"/>
                </a:cxn>
                <a:cxn ang="0">
                  <a:pos x="27" y="10"/>
                </a:cxn>
                <a:cxn ang="0">
                  <a:pos x="18" y="4"/>
                </a:cxn>
                <a:cxn ang="0">
                  <a:pos x="10" y="25"/>
                </a:cxn>
                <a:cxn ang="0">
                  <a:pos x="0" y="28"/>
                </a:cxn>
                <a:cxn ang="0">
                  <a:pos x="9" y="48"/>
                </a:cxn>
                <a:cxn ang="0">
                  <a:pos x="4" y="57"/>
                </a:cxn>
                <a:cxn ang="0">
                  <a:pos x="25" y="65"/>
                </a:cxn>
                <a:cxn ang="0">
                  <a:pos x="27" y="76"/>
                </a:cxn>
                <a:cxn ang="0">
                  <a:pos x="25" y="62"/>
                </a:cxn>
                <a:cxn ang="0">
                  <a:pos x="18" y="67"/>
                </a:cxn>
                <a:cxn ang="0">
                  <a:pos x="15" y="51"/>
                </a:cxn>
                <a:cxn ang="0">
                  <a:pos x="12" y="46"/>
                </a:cxn>
                <a:cxn ang="0">
                  <a:pos x="3" y="45"/>
                </a:cxn>
                <a:cxn ang="0">
                  <a:pos x="12" y="31"/>
                </a:cxn>
                <a:cxn ang="0">
                  <a:pos x="14" y="26"/>
                </a:cxn>
                <a:cxn ang="0">
                  <a:pos x="9" y="19"/>
                </a:cxn>
                <a:cxn ang="0">
                  <a:pos x="24" y="15"/>
                </a:cxn>
                <a:cxn ang="0">
                  <a:pos x="30" y="13"/>
                </a:cxn>
                <a:cxn ang="0">
                  <a:pos x="31" y="4"/>
                </a:cxn>
                <a:cxn ang="0">
                  <a:pos x="44" y="12"/>
                </a:cxn>
                <a:cxn ang="0">
                  <a:pos x="50" y="14"/>
                </a:cxn>
                <a:cxn ang="0">
                  <a:pos x="57" y="9"/>
                </a:cxn>
                <a:cxn ang="0">
                  <a:pos x="60" y="24"/>
                </a:cxn>
                <a:cxn ang="0">
                  <a:pos x="63" y="30"/>
                </a:cxn>
                <a:cxn ang="0">
                  <a:pos x="72" y="31"/>
                </a:cxn>
                <a:cxn ang="0">
                  <a:pos x="63" y="45"/>
                </a:cxn>
                <a:cxn ang="0">
                  <a:pos x="61" y="50"/>
                </a:cxn>
                <a:cxn ang="0">
                  <a:pos x="66" y="57"/>
                </a:cxn>
                <a:cxn ang="0">
                  <a:pos x="51" y="61"/>
                </a:cxn>
                <a:cxn ang="0">
                  <a:pos x="45" y="63"/>
                </a:cxn>
                <a:cxn ang="0">
                  <a:pos x="44" y="72"/>
                </a:cxn>
                <a:cxn ang="0">
                  <a:pos x="31" y="64"/>
                </a:cxn>
                <a:cxn ang="0">
                  <a:pos x="25" y="62"/>
                </a:cxn>
              </a:cxnLst>
              <a:rect l="0" t="0" r="r" b="b"/>
              <a:pathLst>
                <a:path w="75" h="76">
                  <a:moveTo>
                    <a:pt x="48" y="7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9" y="66"/>
                    <a:pt x="49" y="66"/>
                    <a:pt x="50" y="65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0"/>
                    <a:pt x="66" y="49"/>
                    <a:pt x="66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27"/>
                    <a:pt x="65" y="26"/>
                    <a:pt x="65" y="25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0"/>
                    <a:pt x="49" y="10"/>
                    <a:pt x="48" y="1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6" y="10"/>
                    <a:pt x="26" y="10"/>
                    <a:pt x="25" y="11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6"/>
                    <a:pt x="9" y="27"/>
                    <a:pt x="9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10" y="50"/>
                    <a:pt x="10" y="51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6" y="66"/>
                    <a:pt x="26" y="66"/>
                    <a:pt x="27" y="66"/>
                  </a:cubicBezTo>
                  <a:cubicBezTo>
                    <a:pt x="27" y="76"/>
                    <a:pt x="27" y="76"/>
                    <a:pt x="27" y="76"/>
                  </a:cubicBezTo>
                  <a:lnTo>
                    <a:pt x="48" y="76"/>
                  </a:lnTo>
                  <a:close/>
                  <a:moveTo>
                    <a:pt x="25" y="62"/>
                  </a:moveTo>
                  <a:cubicBezTo>
                    <a:pt x="24" y="61"/>
                    <a:pt x="24" y="61"/>
                    <a:pt x="24" y="61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49"/>
                    <a:pt x="13" y="47"/>
                    <a:pt x="12" y="4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29"/>
                    <a:pt x="13" y="27"/>
                    <a:pt x="14" y="26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7" y="14"/>
                    <a:pt x="28" y="13"/>
                    <a:pt x="30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7" y="13"/>
                    <a:pt x="48" y="14"/>
                    <a:pt x="50" y="14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2" y="27"/>
                    <a:pt x="62" y="29"/>
                    <a:pt x="63" y="30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2" y="47"/>
                    <a:pt x="62" y="49"/>
                    <a:pt x="61" y="50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8" y="62"/>
                    <a:pt x="47" y="63"/>
                    <a:pt x="45" y="63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28" y="63"/>
                    <a:pt x="27" y="62"/>
                    <a:pt x="25" y="6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39" name="Freeform 115"/>
            <p:cNvSpPr>
              <a:spLocks noEditPoints="1"/>
            </p:cNvSpPr>
            <p:nvPr/>
          </p:nvSpPr>
          <p:spPr bwMode="auto">
            <a:xfrm>
              <a:off x="4533" y="1123"/>
              <a:ext cx="46" cy="43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0"/>
                </a:cxn>
                <a:cxn ang="0">
                  <a:pos x="0" y="43"/>
                </a:cxn>
                <a:cxn ang="0">
                  <a:pos x="46" y="43"/>
                </a:cxn>
                <a:cxn ang="0">
                  <a:pos x="46" y="0"/>
                </a:cxn>
                <a:cxn ang="0">
                  <a:pos x="36" y="36"/>
                </a:cxn>
                <a:cxn ang="0">
                  <a:pos x="10" y="36"/>
                </a:cxn>
                <a:cxn ang="0">
                  <a:pos x="10" y="7"/>
                </a:cxn>
                <a:cxn ang="0">
                  <a:pos x="36" y="7"/>
                </a:cxn>
                <a:cxn ang="0">
                  <a:pos x="36" y="36"/>
                </a:cxn>
              </a:cxnLst>
              <a:rect l="0" t="0" r="r" b="b"/>
              <a:pathLst>
                <a:path w="46" h="43">
                  <a:moveTo>
                    <a:pt x="46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46" y="0"/>
                  </a:lnTo>
                  <a:close/>
                  <a:moveTo>
                    <a:pt x="36" y="36"/>
                  </a:moveTo>
                  <a:lnTo>
                    <a:pt x="10" y="36"/>
                  </a:lnTo>
                  <a:lnTo>
                    <a:pt x="10" y="7"/>
                  </a:lnTo>
                  <a:lnTo>
                    <a:pt x="36" y="7"/>
                  </a:lnTo>
                  <a:lnTo>
                    <a:pt x="36" y="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0" name="Freeform 116"/>
            <p:cNvSpPr>
              <a:spLocks noEditPoints="1"/>
            </p:cNvSpPr>
            <p:nvPr/>
          </p:nvSpPr>
          <p:spPr bwMode="auto">
            <a:xfrm>
              <a:off x="4662" y="1121"/>
              <a:ext cx="125" cy="127"/>
            </a:xfrm>
            <a:custGeom>
              <a:avLst/>
              <a:gdLst/>
              <a:ahLst/>
              <a:cxnLst>
                <a:cxn ang="0">
                  <a:pos x="45" y="18"/>
                </a:cxn>
                <a:cxn ang="0">
                  <a:pos x="39" y="3"/>
                </a:cxn>
                <a:cxn ang="0">
                  <a:pos x="33" y="7"/>
                </a:cxn>
                <a:cxn ang="0">
                  <a:pos x="18" y="0"/>
                </a:cxn>
                <a:cxn ang="0">
                  <a:pos x="17" y="7"/>
                </a:cxn>
                <a:cxn ang="0">
                  <a:pos x="2" y="14"/>
                </a:cxn>
                <a:cxn ang="0">
                  <a:pos x="6" y="19"/>
                </a:cxn>
                <a:cxn ang="0">
                  <a:pos x="0" y="34"/>
                </a:cxn>
                <a:cxn ang="0">
                  <a:pos x="6" y="35"/>
                </a:cxn>
                <a:cxn ang="0">
                  <a:pos x="13" y="51"/>
                </a:cxn>
                <a:cxn ang="0">
                  <a:pos x="18" y="46"/>
                </a:cxn>
                <a:cxn ang="0">
                  <a:pos x="33" y="53"/>
                </a:cxn>
                <a:cxn ang="0">
                  <a:pos x="34" y="46"/>
                </a:cxn>
                <a:cxn ang="0">
                  <a:pos x="50" y="40"/>
                </a:cxn>
                <a:cxn ang="0">
                  <a:pos x="46" y="34"/>
                </a:cxn>
                <a:cxn ang="0">
                  <a:pos x="52" y="19"/>
                </a:cxn>
                <a:cxn ang="0">
                  <a:pos x="48" y="31"/>
                </a:cxn>
                <a:cxn ang="0">
                  <a:pos x="43" y="32"/>
                </a:cxn>
                <a:cxn ang="0">
                  <a:pos x="41" y="36"/>
                </a:cxn>
                <a:cxn ang="0">
                  <a:pos x="39" y="46"/>
                </a:cxn>
                <a:cxn ang="0">
                  <a:pos x="34" y="42"/>
                </a:cxn>
                <a:cxn ang="0">
                  <a:pos x="30" y="44"/>
                </a:cxn>
                <a:cxn ang="0">
                  <a:pos x="22" y="49"/>
                </a:cxn>
                <a:cxn ang="0">
                  <a:pos x="21" y="43"/>
                </a:cxn>
                <a:cxn ang="0">
                  <a:pos x="16" y="42"/>
                </a:cxn>
                <a:cxn ang="0">
                  <a:pos x="7" y="40"/>
                </a:cxn>
                <a:cxn ang="0">
                  <a:pos x="10" y="35"/>
                </a:cxn>
                <a:cxn ang="0">
                  <a:pos x="9" y="31"/>
                </a:cxn>
                <a:cxn ang="0">
                  <a:pos x="3" y="23"/>
                </a:cxn>
                <a:cxn ang="0">
                  <a:pos x="9" y="21"/>
                </a:cxn>
                <a:cxn ang="0">
                  <a:pos x="11" y="17"/>
                </a:cxn>
                <a:cxn ang="0">
                  <a:pos x="13" y="8"/>
                </a:cxn>
                <a:cxn ang="0">
                  <a:pos x="18" y="11"/>
                </a:cxn>
                <a:cxn ang="0">
                  <a:pos x="22" y="10"/>
                </a:cxn>
                <a:cxn ang="0">
                  <a:pos x="30" y="4"/>
                </a:cxn>
                <a:cxn ang="0">
                  <a:pos x="31" y="10"/>
                </a:cxn>
                <a:cxn ang="0">
                  <a:pos x="35" y="12"/>
                </a:cxn>
                <a:cxn ang="0">
                  <a:pos x="45" y="14"/>
                </a:cxn>
                <a:cxn ang="0">
                  <a:pos x="41" y="19"/>
                </a:cxn>
                <a:cxn ang="0">
                  <a:pos x="43" y="23"/>
                </a:cxn>
                <a:cxn ang="0">
                  <a:pos x="48" y="31"/>
                </a:cxn>
              </a:cxnLst>
              <a:rect l="0" t="0" r="r" b="b"/>
              <a:pathLst>
                <a:path w="52" h="53">
                  <a:moveTo>
                    <a:pt x="46" y="19"/>
                  </a:moveTo>
                  <a:cubicBezTo>
                    <a:pt x="45" y="19"/>
                    <a:pt x="45" y="18"/>
                    <a:pt x="45" y="18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3" y="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6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19"/>
                    <a:pt x="52" y="19"/>
                    <a:pt x="52" y="19"/>
                  </a:cubicBezTo>
                  <a:lnTo>
                    <a:pt x="46" y="19"/>
                  </a:lnTo>
                  <a:close/>
                  <a:moveTo>
                    <a:pt x="48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3"/>
                    <a:pt x="42" y="34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3"/>
                    <a:pt x="32" y="43"/>
                    <a:pt x="31" y="43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3"/>
                    <a:pt x="19" y="43"/>
                    <a:pt x="18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4"/>
                    <a:pt x="9" y="33"/>
                    <a:pt x="9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10" y="20"/>
                    <a:pt x="10" y="19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1"/>
                    <a:pt x="20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3" y="11"/>
                    <a:pt x="34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2" y="20"/>
                    <a:pt x="42" y="20"/>
                    <a:pt x="43" y="21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8" y="23"/>
                    <a:pt x="48" y="23"/>
                    <a:pt x="48" y="23"/>
                  </a:cubicBezTo>
                  <a:lnTo>
                    <a:pt x="48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1" name="Freeform 117"/>
            <p:cNvSpPr>
              <a:spLocks noEditPoints="1"/>
            </p:cNvSpPr>
            <p:nvPr/>
          </p:nvSpPr>
          <p:spPr bwMode="auto">
            <a:xfrm>
              <a:off x="4708" y="1169"/>
              <a:ext cx="33" cy="33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33" y="33"/>
                </a:cxn>
                <a:cxn ang="0">
                  <a:pos x="33" y="0"/>
                </a:cxn>
                <a:cxn ang="0">
                  <a:pos x="0" y="0"/>
                </a:cxn>
                <a:cxn ang="0">
                  <a:pos x="0" y="33"/>
                </a:cxn>
                <a:cxn ang="0">
                  <a:pos x="7" y="7"/>
                </a:cxn>
                <a:cxn ang="0">
                  <a:pos x="24" y="7"/>
                </a:cxn>
                <a:cxn ang="0">
                  <a:pos x="24" y="24"/>
                </a:cxn>
                <a:cxn ang="0">
                  <a:pos x="7" y="24"/>
                </a:cxn>
                <a:cxn ang="0">
                  <a:pos x="7" y="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33"/>
                  </a:lnTo>
                  <a:close/>
                  <a:moveTo>
                    <a:pt x="7" y="7"/>
                  </a:moveTo>
                  <a:lnTo>
                    <a:pt x="24" y="7"/>
                  </a:lnTo>
                  <a:lnTo>
                    <a:pt x="24" y="24"/>
                  </a:lnTo>
                  <a:lnTo>
                    <a:pt x="7" y="24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2" name="Freeform 118"/>
            <p:cNvSpPr>
              <a:spLocks noEditPoints="1"/>
            </p:cNvSpPr>
            <p:nvPr/>
          </p:nvSpPr>
          <p:spPr bwMode="auto">
            <a:xfrm>
              <a:off x="4557" y="1236"/>
              <a:ext cx="148" cy="148"/>
            </a:xfrm>
            <a:custGeom>
              <a:avLst/>
              <a:gdLst/>
              <a:ahLst/>
              <a:cxnLst>
                <a:cxn ang="0">
                  <a:pos x="59" y="16"/>
                </a:cxn>
                <a:cxn ang="0">
                  <a:pos x="41" y="9"/>
                </a:cxn>
                <a:cxn ang="0">
                  <a:pos x="40" y="0"/>
                </a:cxn>
                <a:cxn ang="0">
                  <a:pos x="22" y="8"/>
                </a:cxn>
                <a:cxn ang="0">
                  <a:pos x="16" y="3"/>
                </a:cxn>
                <a:cxn ang="0">
                  <a:pos x="9" y="21"/>
                </a:cxn>
                <a:cxn ang="0">
                  <a:pos x="0" y="22"/>
                </a:cxn>
                <a:cxn ang="0">
                  <a:pos x="8" y="40"/>
                </a:cxn>
                <a:cxn ang="0">
                  <a:pos x="3" y="47"/>
                </a:cxn>
                <a:cxn ang="0">
                  <a:pos x="21" y="54"/>
                </a:cxn>
                <a:cxn ang="0">
                  <a:pos x="22" y="62"/>
                </a:cxn>
                <a:cxn ang="0">
                  <a:pos x="40" y="54"/>
                </a:cxn>
                <a:cxn ang="0">
                  <a:pos x="47" y="59"/>
                </a:cxn>
                <a:cxn ang="0">
                  <a:pos x="54" y="41"/>
                </a:cxn>
                <a:cxn ang="0">
                  <a:pos x="62" y="40"/>
                </a:cxn>
                <a:cxn ang="0">
                  <a:pos x="54" y="22"/>
                </a:cxn>
                <a:cxn ang="0">
                  <a:pos x="58" y="36"/>
                </a:cxn>
                <a:cxn ang="0">
                  <a:pos x="51" y="37"/>
                </a:cxn>
                <a:cxn ang="0">
                  <a:pos x="49" y="42"/>
                </a:cxn>
                <a:cxn ang="0">
                  <a:pos x="47" y="54"/>
                </a:cxn>
                <a:cxn ang="0">
                  <a:pos x="41" y="50"/>
                </a:cxn>
                <a:cxn ang="0">
                  <a:pos x="36" y="52"/>
                </a:cxn>
                <a:cxn ang="0">
                  <a:pos x="26" y="58"/>
                </a:cxn>
                <a:cxn ang="0">
                  <a:pos x="25" y="51"/>
                </a:cxn>
                <a:cxn ang="0">
                  <a:pos x="20" y="49"/>
                </a:cxn>
                <a:cxn ang="0">
                  <a:pos x="8" y="47"/>
                </a:cxn>
                <a:cxn ang="0">
                  <a:pos x="12" y="41"/>
                </a:cxn>
                <a:cxn ang="0">
                  <a:pos x="11" y="36"/>
                </a:cxn>
                <a:cxn ang="0">
                  <a:pos x="4" y="26"/>
                </a:cxn>
                <a:cxn ang="0">
                  <a:pos x="11" y="25"/>
                </a:cxn>
                <a:cxn ang="0">
                  <a:pos x="13" y="20"/>
                </a:cxn>
                <a:cxn ang="0">
                  <a:pos x="16" y="8"/>
                </a:cxn>
                <a:cxn ang="0">
                  <a:pos x="21" y="12"/>
                </a:cxn>
                <a:cxn ang="0">
                  <a:pos x="26" y="11"/>
                </a:cxn>
                <a:cxn ang="0">
                  <a:pos x="36" y="4"/>
                </a:cxn>
                <a:cxn ang="0">
                  <a:pos x="37" y="11"/>
                </a:cxn>
                <a:cxn ang="0">
                  <a:pos x="42" y="13"/>
                </a:cxn>
                <a:cxn ang="0">
                  <a:pos x="54" y="16"/>
                </a:cxn>
                <a:cxn ang="0">
                  <a:pos x="50" y="21"/>
                </a:cxn>
                <a:cxn ang="0">
                  <a:pos x="52" y="26"/>
                </a:cxn>
                <a:cxn ang="0">
                  <a:pos x="58" y="36"/>
                </a:cxn>
              </a:cxnLst>
              <a:rect l="0" t="0" r="r" b="b"/>
              <a:pathLst>
                <a:path w="62" h="62">
                  <a:moveTo>
                    <a:pt x="54" y="21"/>
                  </a:moveTo>
                  <a:cubicBezTo>
                    <a:pt x="59" y="16"/>
                    <a:pt x="59" y="16"/>
                    <a:pt x="59" y="16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8"/>
                    <a:pt x="21" y="9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1"/>
                    <a:pt x="9" y="4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4"/>
                    <a:pt x="22" y="54"/>
                    <a:pt x="22" y="54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4" y="21"/>
                    <a:pt x="54" y="21"/>
                  </a:cubicBezTo>
                  <a:close/>
                  <a:moveTo>
                    <a:pt x="58" y="36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9"/>
                    <a:pt x="50" y="40"/>
                    <a:pt x="50" y="41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0" y="50"/>
                    <a:pt x="39" y="51"/>
                    <a:pt x="37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4" y="51"/>
                    <a:pt x="22" y="50"/>
                    <a:pt x="21" y="50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0"/>
                    <a:pt x="11" y="39"/>
                    <a:pt x="11" y="3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4"/>
                    <a:pt x="12" y="23"/>
                    <a:pt x="12" y="2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4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9" y="11"/>
                    <a:pt x="40" y="12"/>
                    <a:pt x="41" y="12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51" y="24"/>
                    <a:pt x="51" y="25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8" y="26"/>
                    <a:pt x="58" y="26"/>
                    <a:pt x="58" y="26"/>
                  </a:cubicBezTo>
                  <a:lnTo>
                    <a:pt x="58" y="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3" name="Freeform 119"/>
            <p:cNvSpPr>
              <a:spLocks noEditPoints="1"/>
            </p:cNvSpPr>
            <p:nvPr/>
          </p:nvSpPr>
          <p:spPr bwMode="auto">
            <a:xfrm>
              <a:off x="4612" y="1291"/>
              <a:ext cx="38" cy="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38" y="38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10" y="10"/>
                </a:cxn>
                <a:cxn ang="0">
                  <a:pos x="29" y="10"/>
                </a:cxn>
                <a:cxn ang="0">
                  <a:pos x="29" y="29"/>
                </a:cxn>
                <a:cxn ang="0">
                  <a:pos x="10" y="29"/>
                </a:cxn>
                <a:cxn ang="0">
                  <a:pos x="10" y="10"/>
                </a:cxn>
              </a:cxnLst>
              <a:rect l="0" t="0" r="r" b="b"/>
              <a:pathLst>
                <a:path w="38" h="38">
                  <a:moveTo>
                    <a:pt x="0" y="38"/>
                  </a:moveTo>
                  <a:lnTo>
                    <a:pt x="38" y="38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10" y="10"/>
                  </a:moveTo>
                  <a:lnTo>
                    <a:pt x="29" y="10"/>
                  </a:lnTo>
                  <a:lnTo>
                    <a:pt x="29" y="29"/>
                  </a:lnTo>
                  <a:lnTo>
                    <a:pt x="10" y="29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46" name="Group 122"/>
          <p:cNvGrpSpPr>
            <a:grpSpLocks noChangeAspect="1"/>
          </p:cNvGrpSpPr>
          <p:nvPr/>
        </p:nvGrpSpPr>
        <p:grpSpPr bwMode="auto">
          <a:xfrm>
            <a:off x="8058151" y="1530349"/>
            <a:ext cx="768350" cy="768350"/>
            <a:chOff x="5069" y="964"/>
            <a:chExt cx="484" cy="484"/>
          </a:xfrm>
        </p:grpSpPr>
        <p:sp>
          <p:nvSpPr>
            <p:cNvPr id="52347" name="Freeform 123"/>
            <p:cNvSpPr>
              <a:spLocks noEditPoints="1"/>
            </p:cNvSpPr>
            <p:nvPr/>
          </p:nvSpPr>
          <p:spPr bwMode="auto">
            <a:xfrm>
              <a:off x="5069" y="96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8" name="Freeform 124"/>
            <p:cNvSpPr>
              <a:spLocks noEditPoints="1"/>
            </p:cNvSpPr>
            <p:nvPr/>
          </p:nvSpPr>
          <p:spPr bwMode="auto">
            <a:xfrm>
              <a:off x="5153" y="1053"/>
              <a:ext cx="180" cy="182"/>
            </a:xfrm>
            <a:custGeom>
              <a:avLst/>
              <a:gdLst/>
              <a:ahLst/>
              <a:cxnLst>
                <a:cxn ang="0">
                  <a:pos x="48" y="66"/>
                </a:cxn>
                <a:cxn ang="0">
                  <a:pos x="57" y="72"/>
                </a:cxn>
                <a:cxn ang="0">
                  <a:pos x="65" y="51"/>
                </a:cxn>
                <a:cxn ang="0">
                  <a:pos x="75" y="48"/>
                </a:cxn>
                <a:cxn ang="0">
                  <a:pos x="66" y="28"/>
                </a:cxn>
                <a:cxn ang="0">
                  <a:pos x="71" y="19"/>
                </a:cxn>
                <a:cxn ang="0">
                  <a:pos x="50" y="11"/>
                </a:cxn>
                <a:cxn ang="0">
                  <a:pos x="48" y="0"/>
                </a:cxn>
                <a:cxn ang="0">
                  <a:pos x="27" y="10"/>
                </a:cxn>
                <a:cxn ang="0">
                  <a:pos x="18" y="4"/>
                </a:cxn>
                <a:cxn ang="0">
                  <a:pos x="10" y="25"/>
                </a:cxn>
                <a:cxn ang="0">
                  <a:pos x="0" y="28"/>
                </a:cxn>
                <a:cxn ang="0">
                  <a:pos x="9" y="48"/>
                </a:cxn>
                <a:cxn ang="0">
                  <a:pos x="4" y="57"/>
                </a:cxn>
                <a:cxn ang="0">
                  <a:pos x="25" y="65"/>
                </a:cxn>
                <a:cxn ang="0">
                  <a:pos x="27" y="76"/>
                </a:cxn>
                <a:cxn ang="0">
                  <a:pos x="25" y="62"/>
                </a:cxn>
                <a:cxn ang="0">
                  <a:pos x="18" y="67"/>
                </a:cxn>
                <a:cxn ang="0">
                  <a:pos x="15" y="51"/>
                </a:cxn>
                <a:cxn ang="0">
                  <a:pos x="12" y="46"/>
                </a:cxn>
                <a:cxn ang="0">
                  <a:pos x="3" y="45"/>
                </a:cxn>
                <a:cxn ang="0">
                  <a:pos x="12" y="31"/>
                </a:cxn>
                <a:cxn ang="0">
                  <a:pos x="14" y="26"/>
                </a:cxn>
                <a:cxn ang="0">
                  <a:pos x="9" y="19"/>
                </a:cxn>
                <a:cxn ang="0">
                  <a:pos x="24" y="15"/>
                </a:cxn>
                <a:cxn ang="0">
                  <a:pos x="30" y="13"/>
                </a:cxn>
                <a:cxn ang="0">
                  <a:pos x="31" y="4"/>
                </a:cxn>
                <a:cxn ang="0">
                  <a:pos x="44" y="12"/>
                </a:cxn>
                <a:cxn ang="0">
                  <a:pos x="50" y="14"/>
                </a:cxn>
                <a:cxn ang="0">
                  <a:pos x="57" y="9"/>
                </a:cxn>
                <a:cxn ang="0">
                  <a:pos x="60" y="24"/>
                </a:cxn>
                <a:cxn ang="0">
                  <a:pos x="63" y="30"/>
                </a:cxn>
                <a:cxn ang="0">
                  <a:pos x="72" y="31"/>
                </a:cxn>
                <a:cxn ang="0">
                  <a:pos x="63" y="45"/>
                </a:cxn>
                <a:cxn ang="0">
                  <a:pos x="61" y="50"/>
                </a:cxn>
                <a:cxn ang="0">
                  <a:pos x="66" y="57"/>
                </a:cxn>
                <a:cxn ang="0">
                  <a:pos x="51" y="61"/>
                </a:cxn>
                <a:cxn ang="0">
                  <a:pos x="45" y="63"/>
                </a:cxn>
                <a:cxn ang="0">
                  <a:pos x="44" y="72"/>
                </a:cxn>
                <a:cxn ang="0">
                  <a:pos x="31" y="64"/>
                </a:cxn>
                <a:cxn ang="0">
                  <a:pos x="25" y="62"/>
                </a:cxn>
              </a:cxnLst>
              <a:rect l="0" t="0" r="r" b="b"/>
              <a:pathLst>
                <a:path w="75" h="76">
                  <a:moveTo>
                    <a:pt x="48" y="7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9" y="66"/>
                    <a:pt x="49" y="66"/>
                    <a:pt x="50" y="65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0"/>
                    <a:pt x="66" y="49"/>
                    <a:pt x="66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27"/>
                    <a:pt x="65" y="26"/>
                    <a:pt x="65" y="25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0"/>
                    <a:pt x="49" y="10"/>
                    <a:pt x="48" y="1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6" y="10"/>
                    <a:pt x="26" y="10"/>
                    <a:pt x="25" y="11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6"/>
                    <a:pt x="9" y="27"/>
                    <a:pt x="9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9"/>
                    <a:pt x="10" y="50"/>
                    <a:pt x="10" y="51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6" y="66"/>
                    <a:pt x="26" y="66"/>
                    <a:pt x="27" y="66"/>
                  </a:cubicBezTo>
                  <a:cubicBezTo>
                    <a:pt x="27" y="76"/>
                    <a:pt x="27" y="76"/>
                    <a:pt x="27" y="76"/>
                  </a:cubicBezTo>
                  <a:lnTo>
                    <a:pt x="48" y="76"/>
                  </a:lnTo>
                  <a:close/>
                  <a:moveTo>
                    <a:pt x="25" y="62"/>
                  </a:moveTo>
                  <a:cubicBezTo>
                    <a:pt x="24" y="61"/>
                    <a:pt x="24" y="61"/>
                    <a:pt x="24" y="61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49"/>
                    <a:pt x="13" y="47"/>
                    <a:pt x="12" y="4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29"/>
                    <a:pt x="13" y="27"/>
                    <a:pt x="14" y="26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7" y="14"/>
                    <a:pt x="28" y="13"/>
                    <a:pt x="30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7" y="13"/>
                    <a:pt x="48" y="14"/>
                    <a:pt x="50" y="14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2" y="27"/>
                    <a:pt x="62" y="29"/>
                    <a:pt x="63" y="30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2" y="47"/>
                    <a:pt x="62" y="49"/>
                    <a:pt x="61" y="50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8" y="62"/>
                    <a:pt x="47" y="63"/>
                    <a:pt x="45" y="63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28" y="63"/>
                    <a:pt x="27" y="62"/>
                    <a:pt x="25" y="6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49" name="Freeform 125"/>
            <p:cNvSpPr>
              <a:spLocks noEditPoints="1"/>
            </p:cNvSpPr>
            <p:nvPr/>
          </p:nvSpPr>
          <p:spPr bwMode="auto">
            <a:xfrm>
              <a:off x="5220" y="1122"/>
              <a:ext cx="46" cy="44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0"/>
                </a:cxn>
                <a:cxn ang="0">
                  <a:pos x="0" y="44"/>
                </a:cxn>
                <a:cxn ang="0">
                  <a:pos x="46" y="44"/>
                </a:cxn>
                <a:cxn ang="0">
                  <a:pos x="46" y="0"/>
                </a:cxn>
                <a:cxn ang="0">
                  <a:pos x="36" y="36"/>
                </a:cxn>
                <a:cxn ang="0">
                  <a:pos x="10" y="36"/>
                </a:cxn>
                <a:cxn ang="0">
                  <a:pos x="10" y="8"/>
                </a:cxn>
                <a:cxn ang="0">
                  <a:pos x="36" y="8"/>
                </a:cxn>
                <a:cxn ang="0">
                  <a:pos x="36" y="36"/>
                </a:cxn>
              </a:cxnLst>
              <a:rect l="0" t="0" r="r" b="b"/>
              <a:pathLst>
                <a:path w="46" h="44">
                  <a:moveTo>
                    <a:pt x="46" y="0"/>
                  </a:moveTo>
                  <a:lnTo>
                    <a:pt x="0" y="0"/>
                  </a:lnTo>
                  <a:lnTo>
                    <a:pt x="0" y="44"/>
                  </a:lnTo>
                  <a:lnTo>
                    <a:pt x="46" y="44"/>
                  </a:lnTo>
                  <a:lnTo>
                    <a:pt x="46" y="0"/>
                  </a:lnTo>
                  <a:close/>
                  <a:moveTo>
                    <a:pt x="36" y="36"/>
                  </a:moveTo>
                  <a:lnTo>
                    <a:pt x="10" y="36"/>
                  </a:lnTo>
                  <a:lnTo>
                    <a:pt x="10" y="8"/>
                  </a:lnTo>
                  <a:lnTo>
                    <a:pt x="36" y="8"/>
                  </a:lnTo>
                  <a:lnTo>
                    <a:pt x="36" y="3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50" name="Freeform 126"/>
            <p:cNvSpPr>
              <a:spLocks noEditPoints="1"/>
            </p:cNvSpPr>
            <p:nvPr/>
          </p:nvSpPr>
          <p:spPr bwMode="auto">
            <a:xfrm>
              <a:off x="5350" y="1120"/>
              <a:ext cx="124" cy="127"/>
            </a:xfrm>
            <a:custGeom>
              <a:avLst/>
              <a:gdLst/>
              <a:ahLst/>
              <a:cxnLst>
                <a:cxn ang="0">
                  <a:pos x="45" y="18"/>
                </a:cxn>
                <a:cxn ang="0">
                  <a:pos x="39" y="3"/>
                </a:cxn>
                <a:cxn ang="0">
                  <a:pos x="33" y="7"/>
                </a:cxn>
                <a:cxn ang="0">
                  <a:pos x="18" y="0"/>
                </a:cxn>
                <a:cxn ang="0">
                  <a:pos x="17" y="7"/>
                </a:cxn>
                <a:cxn ang="0">
                  <a:pos x="2" y="14"/>
                </a:cxn>
                <a:cxn ang="0">
                  <a:pos x="6" y="19"/>
                </a:cxn>
                <a:cxn ang="0">
                  <a:pos x="0" y="34"/>
                </a:cxn>
                <a:cxn ang="0">
                  <a:pos x="6" y="35"/>
                </a:cxn>
                <a:cxn ang="0">
                  <a:pos x="13" y="51"/>
                </a:cxn>
                <a:cxn ang="0">
                  <a:pos x="18" y="46"/>
                </a:cxn>
                <a:cxn ang="0">
                  <a:pos x="33" y="53"/>
                </a:cxn>
                <a:cxn ang="0">
                  <a:pos x="34" y="46"/>
                </a:cxn>
                <a:cxn ang="0">
                  <a:pos x="50" y="40"/>
                </a:cxn>
                <a:cxn ang="0">
                  <a:pos x="46" y="34"/>
                </a:cxn>
                <a:cxn ang="0">
                  <a:pos x="52" y="19"/>
                </a:cxn>
                <a:cxn ang="0">
                  <a:pos x="48" y="31"/>
                </a:cxn>
                <a:cxn ang="0">
                  <a:pos x="43" y="32"/>
                </a:cxn>
                <a:cxn ang="0">
                  <a:pos x="41" y="36"/>
                </a:cxn>
                <a:cxn ang="0">
                  <a:pos x="39" y="46"/>
                </a:cxn>
                <a:cxn ang="0">
                  <a:pos x="34" y="42"/>
                </a:cxn>
                <a:cxn ang="0">
                  <a:pos x="30" y="44"/>
                </a:cxn>
                <a:cxn ang="0">
                  <a:pos x="22" y="49"/>
                </a:cxn>
                <a:cxn ang="0">
                  <a:pos x="21" y="43"/>
                </a:cxn>
                <a:cxn ang="0">
                  <a:pos x="16" y="42"/>
                </a:cxn>
                <a:cxn ang="0">
                  <a:pos x="7" y="40"/>
                </a:cxn>
                <a:cxn ang="0">
                  <a:pos x="10" y="35"/>
                </a:cxn>
                <a:cxn ang="0">
                  <a:pos x="9" y="31"/>
                </a:cxn>
                <a:cxn ang="0">
                  <a:pos x="3" y="23"/>
                </a:cxn>
                <a:cxn ang="0">
                  <a:pos x="9" y="21"/>
                </a:cxn>
                <a:cxn ang="0">
                  <a:pos x="11" y="17"/>
                </a:cxn>
                <a:cxn ang="0">
                  <a:pos x="13" y="8"/>
                </a:cxn>
                <a:cxn ang="0">
                  <a:pos x="18" y="11"/>
                </a:cxn>
                <a:cxn ang="0">
                  <a:pos x="22" y="10"/>
                </a:cxn>
                <a:cxn ang="0">
                  <a:pos x="30" y="4"/>
                </a:cxn>
                <a:cxn ang="0">
                  <a:pos x="31" y="10"/>
                </a:cxn>
                <a:cxn ang="0">
                  <a:pos x="35" y="12"/>
                </a:cxn>
                <a:cxn ang="0">
                  <a:pos x="45" y="14"/>
                </a:cxn>
                <a:cxn ang="0">
                  <a:pos x="41" y="19"/>
                </a:cxn>
                <a:cxn ang="0">
                  <a:pos x="43" y="23"/>
                </a:cxn>
                <a:cxn ang="0">
                  <a:pos x="48" y="31"/>
                </a:cxn>
              </a:cxnLst>
              <a:rect l="0" t="0" r="r" b="b"/>
              <a:pathLst>
                <a:path w="52" h="53">
                  <a:moveTo>
                    <a:pt x="46" y="19"/>
                  </a:moveTo>
                  <a:cubicBezTo>
                    <a:pt x="45" y="19"/>
                    <a:pt x="45" y="18"/>
                    <a:pt x="45" y="18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3" y="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9"/>
                    <a:pt x="6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6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19"/>
                    <a:pt x="52" y="19"/>
                    <a:pt x="52" y="19"/>
                  </a:cubicBezTo>
                  <a:lnTo>
                    <a:pt x="46" y="19"/>
                  </a:lnTo>
                  <a:close/>
                  <a:moveTo>
                    <a:pt x="48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3"/>
                    <a:pt x="42" y="34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3"/>
                    <a:pt x="32" y="43"/>
                    <a:pt x="31" y="43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3"/>
                    <a:pt x="19" y="43"/>
                    <a:pt x="18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4"/>
                    <a:pt x="9" y="33"/>
                    <a:pt x="9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10" y="20"/>
                    <a:pt x="10" y="19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1"/>
                    <a:pt x="20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3" y="11"/>
                    <a:pt x="34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2" y="20"/>
                    <a:pt x="42" y="20"/>
                    <a:pt x="43" y="21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8" y="23"/>
                    <a:pt x="48" y="23"/>
                    <a:pt x="48" y="23"/>
                  </a:cubicBezTo>
                  <a:lnTo>
                    <a:pt x="48" y="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51" name="Freeform 127"/>
            <p:cNvSpPr>
              <a:spLocks noEditPoints="1"/>
            </p:cNvSpPr>
            <p:nvPr/>
          </p:nvSpPr>
          <p:spPr bwMode="auto">
            <a:xfrm>
              <a:off x="5395" y="1168"/>
              <a:ext cx="34" cy="34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34" y="34"/>
                </a:cxn>
                <a:cxn ang="0">
                  <a:pos x="34" y="0"/>
                </a:cxn>
                <a:cxn ang="0">
                  <a:pos x="0" y="0"/>
                </a:cxn>
                <a:cxn ang="0">
                  <a:pos x="0" y="34"/>
                </a:cxn>
                <a:cxn ang="0">
                  <a:pos x="7" y="7"/>
                </a:cxn>
                <a:cxn ang="0">
                  <a:pos x="24" y="7"/>
                </a:cxn>
                <a:cxn ang="0">
                  <a:pos x="24" y="24"/>
                </a:cxn>
                <a:cxn ang="0">
                  <a:pos x="7" y="24"/>
                </a:cxn>
                <a:cxn ang="0">
                  <a:pos x="7" y="7"/>
                </a:cxn>
              </a:cxnLst>
              <a:rect l="0" t="0" r="r" b="b"/>
              <a:pathLst>
                <a:path w="34" h="34">
                  <a:moveTo>
                    <a:pt x="0" y="34"/>
                  </a:moveTo>
                  <a:lnTo>
                    <a:pt x="34" y="34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34"/>
                  </a:lnTo>
                  <a:close/>
                  <a:moveTo>
                    <a:pt x="7" y="7"/>
                  </a:moveTo>
                  <a:lnTo>
                    <a:pt x="24" y="7"/>
                  </a:lnTo>
                  <a:lnTo>
                    <a:pt x="24" y="24"/>
                  </a:lnTo>
                  <a:lnTo>
                    <a:pt x="7" y="24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52" name="Freeform 128"/>
            <p:cNvSpPr>
              <a:spLocks noEditPoints="1"/>
            </p:cNvSpPr>
            <p:nvPr/>
          </p:nvSpPr>
          <p:spPr bwMode="auto">
            <a:xfrm>
              <a:off x="5244" y="1235"/>
              <a:ext cx="149" cy="149"/>
            </a:xfrm>
            <a:custGeom>
              <a:avLst/>
              <a:gdLst/>
              <a:ahLst/>
              <a:cxnLst>
                <a:cxn ang="0">
                  <a:pos x="59" y="16"/>
                </a:cxn>
                <a:cxn ang="0">
                  <a:pos x="41" y="9"/>
                </a:cxn>
                <a:cxn ang="0">
                  <a:pos x="40" y="0"/>
                </a:cxn>
                <a:cxn ang="0">
                  <a:pos x="22" y="8"/>
                </a:cxn>
                <a:cxn ang="0">
                  <a:pos x="16" y="3"/>
                </a:cxn>
                <a:cxn ang="0">
                  <a:pos x="9" y="21"/>
                </a:cxn>
                <a:cxn ang="0">
                  <a:pos x="0" y="22"/>
                </a:cxn>
                <a:cxn ang="0">
                  <a:pos x="8" y="40"/>
                </a:cxn>
                <a:cxn ang="0">
                  <a:pos x="3" y="47"/>
                </a:cxn>
                <a:cxn ang="0">
                  <a:pos x="21" y="54"/>
                </a:cxn>
                <a:cxn ang="0">
                  <a:pos x="22" y="62"/>
                </a:cxn>
                <a:cxn ang="0">
                  <a:pos x="40" y="54"/>
                </a:cxn>
                <a:cxn ang="0">
                  <a:pos x="47" y="59"/>
                </a:cxn>
                <a:cxn ang="0">
                  <a:pos x="54" y="41"/>
                </a:cxn>
                <a:cxn ang="0">
                  <a:pos x="62" y="40"/>
                </a:cxn>
                <a:cxn ang="0">
                  <a:pos x="54" y="22"/>
                </a:cxn>
                <a:cxn ang="0">
                  <a:pos x="58" y="36"/>
                </a:cxn>
                <a:cxn ang="0">
                  <a:pos x="51" y="37"/>
                </a:cxn>
                <a:cxn ang="0">
                  <a:pos x="49" y="42"/>
                </a:cxn>
                <a:cxn ang="0">
                  <a:pos x="47" y="54"/>
                </a:cxn>
                <a:cxn ang="0">
                  <a:pos x="41" y="50"/>
                </a:cxn>
                <a:cxn ang="0">
                  <a:pos x="36" y="52"/>
                </a:cxn>
                <a:cxn ang="0">
                  <a:pos x="26" y="58"/>
                </a:cxn>
                <a:cxn ang="0">
                  <a:pos x="25" y="51"/>
                </a:cxn>
                <a:cxn ang="0">
                  <a:pos x="20" y="49"/>
                </a:cxn>
                <a:cxn ang="0">
                  <a:pos x="8" y="47"/>
                </a:cxn>
                <a:cxn ang="0">
                  <a:pos x="12" y="41"/>
                </a:cxn>
                <a:cxn ang="0">
                  <a:pos x="11" y="36"/>
                </a:cxn>
                <a:cxn ang="0">
                  <a:pos x="4" y="26"/>
                </a:cxn>
                <a:cxn ang="0">
                  <a:pos x="11" y="25"/>
                </a:cxn>
                <a:cxn ang="0">
                  <a:pos x="13" y="20"/>
                </a:cxn>
                <a:cxn ang="0">
                  <a:pos x="16" y="8"/>
                </a:cxn>
                <a:cxn ang="0">
                  <a:pos x="21" y="12"/>
                </a:cxn>
                <a:cxn ang="0">
                  <a:pos x="26" y="11"/>
                </a:cxn>
                <a:cxn ang="0">
                  <a:pos x="36" y="4"/>
                </a:cxn>
                <a:cxn ang="0">
                  <a:pos x="37" y="11"/>
                </a:cxn>
                <a:cxn ang="0">
                  <a:pos x="42" y="13"/>
                </a:cxn>
                <a:cxn ang="0">
                  <a:pos x="54" y="16"/>
                </a:cxn>
                <a:cxn ang="0">
                  <a:pos x="50" y="21"/>
                </a:cxn>
                <a:cxn ang="0">
                  <a:pos x="52" y="26"/>
                </a:cxn>
                <a:cxn ang="0">
                  <a:pos x="58" y="36"/>
                </a:cxn>
              </a:cxnLst>
              <a:rect l="0" t="0" r="r" b="b"/>
              <a:pathLst>
                <a:path w="62" h="62">
                  <a:moveTo>
                    <a:pt x="54" y="21"/>
                  </a:moveTo>
                  <a:cubicBezTo>
                    <a:pt x="59" y="16"/>
                    <a:pt x="59" y="16"/>
                    <a:pt x="59" y="16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8"/>
                    <a:pt x="21" y="9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1"/>
                    <a:pt x="9" y="41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4"/>
                    <a:pt x="22" y="54"/>
                    <a:pt x="22" y="54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4" y="21"/>
                    <a:pt x="54" y="21"/>
                  </a:cubicBezTo>
                  <a:close/>
                  <a:moveTo>
                    <a:pt x="58" y="36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9"/>
                    <a:pt x="50" y="40"/>
                    <a:pt x="50" y="41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0" y="50"/>
                    <a:pt x="39" y="51"/>
                    <a:pt x="37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4" y="51"/>
                    <a:pt x="22" y="50"/>
                    <a:pt x="21" y="50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0"/>
                    <a:pt x="11" y="39"/>
                    <a:pt x="11" y="3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4"/>
                    <a:pt x="12" y="23"/>
                    <a:pt x="12" y="2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4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9" y="11"/>
                    <a:pt x="40" y="12"/>
                    <a:pt x="41" y="12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3"/>
                    <a:pt x="51" y="24"/>
                    <a:pt x="51" y="25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8" y="26"/>
                    <a:pt x="58" y="26"/>
                    <a:pt x="58" y="26"/>
                  </a:cubicBezTo>
                  <a:lnTo>
                    <a:pt x="58" y="3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53" name="Freeform 129"/>
            <p:cNvSpPr>
              <a:spLocks noEditPoints="1"/>
            </p:cNvSpPr>
            <p:nvPr/>
          </p:nvSpPr>
          <p:spPr bwMode="auto">
            <a:xfrm>
              <a:off x="5299" y="1290"/>
              <a:ext cx="39" cy="39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39" y="39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39"/>
                </a:cxn>
                <a:cxn ang="0">
                  <a:pos x="10" y="10"/>
                </a:cxn>
                <a:cxn ang="0">
                  <a:pos x="29" y="10"/>
                </a:cxn>
                <a:cxn ang="0">
                  <a:pos x="29" y="29"/>
                </a:cxn>
                <a:cxn ang="0">
                  <a:pos x="10" y="29"/>
                </a:cxn>
                <a:cxn ang="0">
                  <a:pos x="10" y="10"/>
                </a:cxn>
              </a:cxnLst>
              <a:rect l="0" t="0" r="r" b="b"/>
              <a:pathLst>
                <a:path w="39" h="39">
                  <a:moveTo>
                    <a:pt x="0" y="39"/>
                  </a:moveTo>
                  <a:lnTo>
                    <a:pt x="39" y="39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39"/>
                  </a:lnTo>
                  <a:close/>
                  <a:moveTo>
                    <a:pt x="10" y="10"/>
                  </a:moveTo>
                  <a:lnTo>
                    <a:pt x="29" y="10"/>
                  </a:lnTo>
                  <a:lnTo>
                    <a:pt x="29" y="29"/>
                  </a:lnTo>
                  <a:lnTo>
                    <a:pt x="10" y="29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56" name="Group 132"/>
          <p:cNvGrpSpPr>
            <a:grpSpLocks noChangeAspect="1"/>
          </p:cNvGrpSpPr>
          <p:nvPr/>
        </p:nvGrpSpPr>
        <p:grpSpPr bwMode="auto">
          <a:xfrm>
            <a:off x="341313" y="2755900"/>
            <a:ext cx="855662" cy="855663"/>
            <a:chOff x="215" y="1736"/>
            <a:chExt cx="539" cy="539"/>
          </a:xfrm>
        </p:grpSpPr>
        <p:sp>
          <p:nvSpPr>
            <p:cNvPr id="52357" name="Oval 133"/>
            <p:cNvSpPr>
              <a:spLocks noChangeArrowheads="1"/>
            </p:cNvSpPr>
            <p:nvPr/>
          </p:nvSpPr>
          <p:spPr bwMode="auto">
            <a:xfrm>
              <a:off x="215" y="1736"/>
              <a:ext cx="539" cy="53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58" name="Freeform 134"/>
            <p:cNvSpPr>
              <a:spLocks noEditPoints="1"/>
            </p:cNvSpPr>
            <p:nvPr/>
          </p:nvSpPr>
          <p:spPr bwMode="auto">
            <a:xfrm>
              <a:off x="237" y="1760"/>
              <a:ext cx="496" cy="49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50" y="201"/>
                    <a:pt x="5" y="157"/>
                    <a:pt x="5" y="103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59" name="Freeform 135"/>
            <p:cNvSpPr>
              <a:spLocks noEditPoints="1"/>
            </p:cNvSpPr>
            <p:nvPr/>
          </p:nvSpPr>
          <p:spPr bwMode="auto">
            <a:xfrm>
              <a:off x="316" y="1913"/>
              <a:ext cx="340" cy="149"/>
            </a:xfrm>
            <a:custGeom>
              <a:avLst/>
              <a:gdLst/>
              <a:ahLst/>
              <a:cxnLst>
                <a:cxn ang="0">
                  <a:pos x="114" y="4"/>
                </a:cxn>
                <a:cxn ang="0">
                  <a:pos x="106" y="0"/>
                </a:cxn>
                <a:cxn ang="0">
                  <a:pos x="97" y="8"/>
                </a:cxn>
                <a:cxn ang="0">
                  <a:pos x="106" y="4"/>
                </a:cxn>
                <a:cxn ang="0">
                  <a:pos x="112" y="6"/>
                </a:cxn>
                <a:cxn ang="0">
                  <a:pos x="134" y="36"/>
                </a:cxn>
                <a:cxn ang="0">
                  <a:pos x="81" y="33"/>
                </a:cxn>
                <a:cxn ang="0">
                  <a:pos x="65" y="34"/>
                </a:cxn>
                <a:cxn ang="0">
                  <a:pos x="13" y="33"/>
                </a:cxn>
                <a:cxn ang="0">
                  <a:pos x="6" y="36"/>
                </a:cxn>
                <a:cxn ang="0">
                  <a:pos x="36" y="4"/>
                </a:cxn>
                <a:cxn ang="0">
                  <a:pos x="42" y="7"/>
                </a:cxn>
                <a:cxn ang="0">
                  <a:pos x="45" y="5"/>
                </a:cxn>
                <a:cxn ang="0">
                  <a:pos x="36" y="0"/>
                </a:cxn>
                <a:cxn ang="0">
                  <a:pos x="1" y="36"/>
                </a:cxn>
                <a:cxn ang="0">
                  <a:pos x="2" y="39"/>
                </a:cxn>
                <a:cxn ang="0">
                  <a:pos x="9" y="57"/>
                </a:cxn>
                <a:cxn ang="0">
                  <a:pos x="17" y="62"/>
                </a:cxn>
                <a:cxn ang="0">
                  <a:pos x="65" y="57"/>
                </a:cxn>
                <a:cxn ang="0">
                  <a:pos x="67" y="39"/>
                </a:cxn>
                <a:cxn ang="0">
                  <a:pos x="75" y="38"/>
                </a:cxn>
                <a:cxn ang="0">
                  <a:pos x="77" y="57"/>
                </a:cxn>
                <a:cxn ang="0">
                  <a:pos x="86" y="62"/>
                </a:cxn>
                <a:cxn ang="0">
                  <a:pos x="133" y="57"/>
                </a:cxn>
                <a:cxn ang="0">
                  <a:pos x="135" y="39"/>
                </a:cxn>
                <a:cxn ang="0">
                  <a:pos x="142" y="38"/>
                </a:cxn>
                <a:cxn ang="0">
                  <a:pos x="61" y="57"/>
                </a:cxn>
                <a:cxn ang="0">
                  <a:pos x="17" y="59"/>
                </a:cxn>
                <a:cxn ang="0">
                  <a:pos x="10" y="39"/>
                </a:cxn>
                <a:cxn ang="0">
                  <a:pos x="61" y="36"/>
                </a:cxn>
                <a:cxn ang="0">
                  <a:pos x="61" y="57"/>
                </a:cxn>
                <a:cxn ang="0">
                  <a:pos x="125" y="59"/>
                </a:cxn>
                <a:cxn ang="0">
                  <a:pos x="81" y="57"/>
                </a:cxn>
                <a:cxn ang="0">
                  <a:pos x="81" y="36"/>
                </a:cxn>
                <a:cxn ang="0">
                  <a:pos x="132" y="39"/>
                </a:cxn>
              </a:cxnLst>
              <a:rect l="0" t="0" r="r" b="b"/>
              <a:pathLst>
                <a:path w="142" h="62">
                  <a:moveTo>
                    <a:pt x="142" y="36"/>
                  </a:move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1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3" y="0"/>
                    <a:pt x="100" y="2"/>
                    <a:pt x="97" y="5"/>
                  </a:cubicBezTo>
                  <a:cubicBezTo>
                    <a:pt x="97" y="6"/>
                    <a:pt x="97" y="7"/>
                    <a:pt x="97" y="8"/>
                  </a:cubicBezTo>
                  <a:cubicBezTo>
                    <a:pt x="98" y="8"/>
                    <a:pt x="99" y="8"/>
                    <a:pt x="100" y="7"/>
                  </a:cubicBezTo>
                  <a:cubicBezTo>
                    <a:pt x="102" y="5"/>
                    <a:pt x="104" y="4"/>
                    <a:pt x="106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9" y="4"/>
                    <a:pt x="112" y="6"/>
                    <a:pt x="112" y="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3" y="34"/>
                    <a:pt x="131" y="33"/>
                    <a:pt x="129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0" y="33"/>
                    <a:pt x="78" y="33"/>
                    <a:pt x="77" y="35"/>
                  </a:cubicBezTo>
                  <a:cubicBezTo>
                    <a:pt x="72" y="31"/>
                    <a:pt x="68" y="33"/>
                    <a:pt x="65" y="34"/>
                  </a:cubicBezTo>
                  <a:cubicBezTo>
                    <a:pt x="64" y="33"/>
                    <a:pt x="62" y="33"/>
                    <a:pt x="61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1" y="33"/>
                    <a:pt x="9" y="34"/>
                    <a:pt x="8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3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8" y="4"/>
                    <a:pt x="40" y="5"/>
                    <a:pt x="42" y="7"/>
                  </a:cubicBezTo>
                  <a:cubicBezTo>
                    <a:pt x="43" y="8"/>
                    <a:pt x="44" y="8"/>
                    <a:pt x="45" y="8"/>
                  </a:cubicBezTo>
                  <a:cubicBezTo>
                    <a:pt x="46" y="7"/>
                    <a:pt x="46" y="6"/>
                    <a:pt x="45" y="5"/>
                  </a:cubicBezTo>
                  <a:cubicBezTo>
                    <a:pt x="42" y="2"/>
                    <a:pt x="39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0"/>
                    <a:pt x="28" y="4"/>
                    <a:pt x="28" y="4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7"/>
                    <a:pt x="0" y="38"/>
                    <a:pt x="0" y="38"/>
                  </a:cubicBezTo>
                  <a:cubicBezTo>
                    <a:pt x="1" y="39"/>
                    <a:pt x="1" y="39"/>
                    <a:pt x="2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1" y="60"/>
                    <a:pt x="13" y="62"/>
                    <a:pt x="17" y="62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63" y="62"/>
                    <a:pt x="65" y="59"/>
                    <a:pt x="65" y="57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8"/>
                    <a:pt x="67" y="37"/>
                  </a:cubicBezTo>
                  <a:cubicBezTo>
                    <a:pt x="68" y="36"/>
                    <a:pt x="72" y="35"/>
                    <a:pt x="75" y="38"/>
                  </a:cubicBezTo>
                  <a:cubicBezTo>
                    <a:pt x="75" y="38"/>
                    <a:pt x="75" y="39"/>
                    <a:pt x="75" y="39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9"/>
                    <a:pt x="79" y="62"/>
                    <a:pt x="86" y="62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9" y="62"/>
                    <a:pt x="132" y="60"/>
                    <a:pt x="133" y="57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1" y="39"/>
                    <a:pt x="142" y="39"/>
                    <a:pt x="142" y="38"/>
                  </a:cubicBezTo>
                  <a:cubicBezTo>
                    <a:pt x="142" y="38"/>
                    <a:pt x="142" y="37"/>
                    <a:pt x="142" y="36"/>
                  </a:cubicBezTo>
                  <a:close/>
                  <a:moveTo>
                    <a:pt x="61" y="57"/>
                  </a:moveTo>
                  <a:cubicBezTo>
                    <a:pt x="61" y="58"/>
                    <a:pt x="58" y="59"/>
                    <a:pt x="56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4" y="59"/>
                    <a:pt x="13" y="57"/>
                    <a:pt x="13" y="56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8"/>
                    <a:pt x="12" y="36"/>
                    <a:pt x="13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3" y="38"/>
                    <a:pt x="63" y="39"/>
                  </a:cubicBezTo>
                  <a:lnTo>
                    <a:pt x="61" y="57"/>
                  </a:lnTo>
                  <a:close/>
                  <a:moveTo>
                    <a:pt x="129" y="56"/>
                  </a:moveTo>
                  <a:cubicBezTo>
                    <a:pt x="129" y="57"/>
                    <a:pt x="128" y="59"/>
                    <a:pt x="125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4" y="59"/>
                    <a:pt x="81" y="58"/>
                    <a:pt x="81" y="57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79" y="38"/>
                    <a:pt x="80" y="36"/>
                    <a:pt x="81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1" y="36"/>
                    <a:pt x="132" y="38"/>
                    <a:pt x="132" y="39"/>
                  </a:cubicBezTo>
                  <a:lnTo>
                    <a:pt x="129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62" name="Group 138"/>
          <p:cNvGrpSpPr>
            <a:grpSpLocks noChangeAspect="1"/>
          </p:cNvGrpSpPr>
          <p:nvPr/>
        </p:nvGrpSpPr>
        <p:grpSpPr bwMode="auto">
          <a:xfrm>
            <a:off x="1471612" y="2792413"/>
            <a:ext cx="787400" cy="787400"/>
            <a:chOff x="932" y="1759"/>
            <a:chExt cx="496" cy="496"/>
          </a:xfrm>
        </p:grpSpPr>
        <p:sp>
          <p:nvSpPr>
            <p:cNvPr id="52363" name="Freeform 139"/>
            <p:cNvSpPr>
              <a:spLocks noEditPoints="1"/>
            </p:cNvSpPr>
            <p:nvPr/>
          </p:nvSpPr>
          <p:spPr bwMode="auto">
            <a:xfrm>
              <a:off x="932" y="1759"/>
              <a:ext cx="496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7"/>
                    <a:pt x="5" y="103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64" name="Freeform 140"/>
            <p:cNvSpPr>
              <a:spLocks noEditPoints="1"/>
            </p:cNvSpPr>
            <p:nvPr/>
          </p:nvSpPr>
          <p:spPr bwMode="auto">
            <a:xfrm>
              <a:off x="1011" y="1913"/>
              <a:ext cx="341" cy="151"/>
            </a:xfrm>
            <a:custGeom>
              <a:avLst/>
              <a:gdLst/>
              <a:ahLst/>
              <a:cxnLst>
                <a:cxn ang="0">
                  <a:pos x="114" y="4"/>
                </a:cxn>
                <a:cxn ang="0">
                  <a:pos x="106" y="0"/>
                </a:cxn>
                <a:cxn ang="0">
                  <a:pos x="97" y="8"/>
                </a:cxn>
                <a:cxn ang="0">
                  <a:pos x="106" y="4"/>
                </a:cxn>
                <a:cxn ang="0">
                  <a:pos x="112" y="7"/>
                </a:cxn>
                <a:cxn ang="0">
                  <a:pos x="134" y="36"/>
                </a:cxn>
                <a:cxn ang="0">
                  <a:pos x="81" y="33"/>
                </a:cxn>
                <a:cxn ang="0">
                  <a:pos x="65" y="35"/>
                </a:cxn>
                <a:cxn ang="0">
                  <a:pos x="13" y="33"/>
                </a:cxn>
                <a:cxn ang="0">
                  <a:pos x="6" y="36"/>
                </a:cxn>
                <a:cxn ang="0">
                  <a:pos x="36" y="4"/>
                </a:cxn>
                <a:cxn ang="0">
                  <a:pos x="42" y="8"/>
                </a:cxn>
                <a:cxn ang="0">
                  <a:pos x="45" y="6"/>
                </a:cxn>
                <a:cxn ang="0">
                  <a:pos x="36" y="0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9" y="57"/>
                </a:cxn>
                <a:cxn ang="0">
                  <a:pos x="17" y="63"/>
                </a:cxn>
                <a:cxn ang="0">
                  <a:pos x="65" y="58"/>
                </a:cxn>
                <a:cxn ang="0">
                  <a:pos x="67" y="40"/>
                </a:cxn>
                <a:cxn ang="0">
                  <a:pos x="75" y="38"/>
                </a:cxn>
                <a:cxn ang="0">
                  <a:pos x="77" y="58"/>
                </a:cxn>
                <a:cxn ang="0">
                  <a:pos x="86" y="63"/>
                </a:cxn>
                <a:cxn ang="0">
                  <a:pos x="133" y="57"/>
                </a:cxn>
                <a:cxn ang="0">
                  <a:pos x="135" y="40"/>
                </a:cxn>
                <a:cxn ang="0">
                  <a:pos x="142" y="39"/>
                </a:cxn>
                <a:cxn ang="0">
                  <a:pos x="61" y="57"/>
                </a:cxn>
                <a:cxn ang="0">
                  <a:pos x="17" y="59"/>
                </a:cxn>
                <a:cxn ang="0">
                  <a:pos x="10" y="39"/>
                </a:cxn>
                <a:cxn ang="0">
                  <a:pos x="61" y="37"/>
                </a:cxn>
                <a:cxn ang="0">
                  <a:pos x="61" y="57"/>
                </a:cxn>
                <a:cxn ang="0">
                  <a:pos x="125" y="59"/>
                </a:cxn>
                <a:cxn ang="0">
                  <a:pos x="81" y="57"/>
                </a:cxn>
                <a:cxn ang="0">
                  <a:pos x="81" y="37"/>
                </a:cxn>
                <a:cxn ang="0">
                  <a:pos x="132" y="39"/>
                </a:cxn>
              </a:cxnLst>
              <a:rect l="0" t="0" r="r" b="b"/>
              <a:pathLst>
                <a:path w="142" h="63">
                  <a:moveTo>
                    <a:pt x="142" y="37"/>
                  </a:move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1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3" y="0"/>
                    <a:pt x="100" y="2"/>
                    <a:pt x="97" y="6"/>
                  </a:cubicBezTo>
                  <a:cubicBezTo>
                    <a:pt x="97" y="6"/>
                    <a:pt x="97" y="7"/>
                    <a:pt x="97" y="8"/>
                  </a:cubicBezTo>
                  <a:cubicBezTo>
                    <a:pt x="98" y="9"/>
                    <a:pt x="99" y="9"/>
                    <a:pt x="100" y="8"/>
                  </a:cubicBezTo>
                  <a:cubicBezTo>
                    <a:pt x="102" y="5"/>
                    <a:pt x="104" y="4"/>
                    <a:pt x="106" y="4"/>
                  </a:cubicBezTo>
                  <a:cubicBezTo>
                    <a:pt x="106" y="4"/>
                    <a:pt x="106" y="4"/>
                    <a:pt x="106" y="4"/>
                  </a:cubicBezTo>
                  <a:cubicBezTo>
                    <a:pt x="109" y="4"/>
                    <a:pt x="112" y="7"/>
                    <a:pt x="112" y="7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3" y="34"/>
                    <a:pt x="131" y="33"/>
                    <a:pt x="129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0" y="33"/>
                    <a:pt x="78" y="34"/>
                    <a:pt x="77" y="35"/>
                  </a:cubicBezTo>
                  <a:cubicBezTo>
                    <a:pt x="72" y="32"/>
                    <a:pt x="68" y="33"/>
                    <a:pt x="65" y="35"/>
                  </a:cubicBezTo>
                  <a:cubicBezTo>
                    <a:pt x="64" y="34"/>
                    <a:pt x="62" y="33"/>
                    <a:pt x="61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1" y="33"/>
                    <a:pt x="9" y="34"/>
                    <a:pt x="8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3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8" y="4"/>
                    <a:pt x="40" y="5"/>
                    <a:pt x="42" y="8"/>
                  </a:cubicBezTo>
                  <a:cubicBezTo>
                    <a:pt x="43" y="9"/>
                    <a:pt x="44" y="9"/>
                    <a:pt x="45" y="8"/>
                  </a:cubicBezTo>
                  <a:cubicBezTo>
                    <a:pt x="46" y="7"/>
                    <a:pt x="46" y="6"/>
                    <a:pt x="45" y="6"/>
                  </a:cubicBezTo>
                  <a:cubicBezTo>
                    <a:pt x="42" y="2"/>
                    <a:pt x="39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1" y="0"/>
                    <a:pt x="28" y="4"/>
                    <a:pt x="28" y="4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1" y="39"/>
                    <a:pt x="1" y="40"/>
                    <a:pt x="2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1" y="61"/>
                    <a:pt x="13" y="63"/>
                    <a:pt x="17" y="6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3" y="63"/>
                    <a:pt x="65" y="60"/>
                    <a:pt x="65" y="58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39"/>
                    <a:pt x="67" y="38"/>
                    <a:pt x="67" y="38"/>
                  </a:cubicBezTo>
                  <a:cubicBezTo>
                    <a:pt x="68" y="37"/>
                    <a:pt x="72" y="36"/>
                    <a:pt x="75" y="38"/>
                  </a:cubicBezTo>
                  <a:cubicBezTo>
                    <a:pt x="75" y="39"/>
                    <a:pt x="75" y="39"/>
                    <a:pt x="75" y="40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60"/>
                    <a:pt x="79" y="63"/>
                    <a:pt x="86" y="63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9" y="63"/>
                    <a:pt x="132" y="61"/>
                    <a:pt x="133" y="57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41" y="40"/>
                    <a:pt x="142" y="39"/>
                    <a:pt x="142" y="39"/>
                  </a:cubicBezTo>
                  <a:cubicBezTo>
                    <a:pt x="142" y="38"/>
                    <a:pt x="142" y="37"/>
                    <a:pt x="142" y="37"/>
                  </a:cubicBezTo>
                  <a:close/>
                  <a:moveTo>
                    <a:pt x="61" y="57"/>
                  </a:moveTo>
                  <a:cubicBezTo>
                    <a:pt x="61" y="59"/>
                    <a:pt x="58" y="59"/>
                    <a:pt x="56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4" y="59"/>
                    <a:pt x="13" y="58"/>
                    <a:pt x="13" y="56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8"/>
                    <a:pt x="12" y="37"/>
                    <a:pt x="13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2" y="37"/>
                    <a:pt x="63" y="38"/>
                    <a:pt x="63" y="40"/>
                  </a:cubicBezTo>
                  <a:lnTo>
                    <a:pt x="61" y="57"/>
                  </a:lnTo>
                  <a:close/>
                  <a:moveTo>
                    <a:pt x="129" y="56"/>
                  </a:moveTo>
                  <a:cubicBezTo>
                    <a:pt x="129" y="58"/>
                    <a:pt x="128" y="59"/>
                    <a:pt x="125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4" y="59"/>
                    <a:pt x="81" y="59"/>
                    <a:pt x="81" y="57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38"/>
                    <a:pt x="80" y="37"/>
                    <a:pt x="81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31" y="37"/>
                    <a:pt x="132" y="38"/>
                    <a:pt x="132" y="39"/>
                  </a:cubicBezTo>
                  <a:lnTo>
                    <a:pt x="129" y="5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67" name="Group 143"/>
          <p:cNvGrpSpPr>
            <a:grpSpLocks noChangeAspect="1"/>
          </p:cNvGrpSpPr>
          <p:nvPr/>
        </p:nvGrpSpPr>
        <p:grpSpPr bwMode="auto">
          <a:xfrm>
            <a:off x="2534444" y="2765425"/>
            <a:ext cx="836612" cy="836613"/>
            <a:chOff x="1607" y="1742"/>
            <a:chExt cx="527" cy="527"/>
          </a:xfrm>
        </p:grpSpPr>
        <p:sp>
          <p:nvSpPr>
            <p:cNvPr id="52368" name="Oval 144"/>
            <p:cNvSpPr>
              <a:spLocks noChangeArrowheads="1"/>
            </p:cNvSpPr>
            <p:nvPr/>
          </p:nvSpPr>
          <p:spPr bwMode="auto">
            <a:xfrm>
              <a:off x="1607" y="1742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69" name="Freeform 145"/>
            <p:cNvSpPr>
              <a:spLocks noEditPoints="1"/>
            </p:cNvSpPr>
            <p:nvPr/>
          </p:nvSpPr>
          <p:spPr bwMode="auto">
            <a:xfrm>
              <a:off x="1629" y="176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0" name="Freeform 146"/>
            <p:cNvSpPr>
              <a:spLocks noEditPoints="1"/>
            </p:cNvSpPr>
            <p:nvPr/>
          </p:nvSpPr>
          <p:spPr bwMode="auto">
            <a:xfrm>
              <a:off x="1768" y="1826"/>
              <a:ext cx="201" cy="201"/>
            </a:xfrm>
            <a:custGeom>
              <a:avLst/>
              <a:gdLst/>
              <a:ahLst/>
              <a:cxnLst>
                <a:cxn ang="0">
                  <a:pos x="84" y="42"/>
                </a:cxn>
                <a:cxn ang="0">
                  <a:pos x="0" y="42"/>
                </a:cxn>
                <a:cxn ang="0">
                  <a:pos x="50" y="80"/>
                </a:cxn>
                <a:cxn ang="0">
                  <a:pos x="67" y="71"/>
                </a:cxn>
                <a:cxn ang="0">
                  <a:pos x="70" y="68"/>
                </a:cxn>
                <a:cxn ang="0">
                  <a:pos x="68" y="44"/>
                </a:cxn>
                <a:cxn ang="0">
                  <a:pos x="70" y="68"/>
                </a:cxn>
                <a:cxn ang="0">
                  <a:pos x="68" y="40"/>
                </a:cxn>
                <a:cxn ang="0">
                  <a:pos x="70" y="16"/>
                </a:cxn>
                <a:cxn ang="0">
                  <a:pos x="67" y="13"/>
                </a:cxn>
                <a:cxn ang="0">
                  <a:pos x="49" y="4"/>
                </a:cxn>
                <a:cxn ang="0">
                  <a:pos x="44" y="5"/>
                </a:cxn>
                <a:cxn ang="0">
                  <a:pos x="44" y="23"/>
                </a:cxn>
                <a:cxn ang="0">
                  <a:pos x="44" y="26"/>
                </a:cxn>
                <a:cxn ang="0">
                  <a:pos x="64" y="40"/>
                </a:cxn>
                <a:cxn ang="0">
                  <a:pos x="44" y="26"/>
                </a:cxn>
                <a:cxn ang="0">
                  <a:pos x="64" y="44"/>
                </a:cxn>
                <a:cxn ang="0">
                  <a:pos x="44" y="57"/>
                </a:cxn>
                <a:cxn ang="0">
                  <a:pos x="44" y="61"/>
                </a:cxn>
                <a:cxn ang="0">
                  <a:pos x="44" y="79"/>
                </a:cxn>
                <a:cxn ang="0">
                  <a:pos x="17" y="71"/>
                </a:cxn>
                <a:cxn ang="0">
                  <a:pos x="34" y="80"/>
                </a:cxn>
                <a:cxn ang="0">
                  <a:pos x="40" y="79"/>
                </a:cxn>
                <a:cxn ang="0">
                  <a:pos x="40" y="61"/>
                </a:cxn>
                <a:cxn ang="0">
                  <a:pos x="40" y="57"/>
                </a:cxn>
                <a:cxn ang="0">
                  <a:pos x="20" y="44"/>
                </a:cxn>
                <a:cxn ang="0">
                  <a:pos x="40" y="57"/>
                </a:cxn>
                <a:cxn ang="0">
                  <a:pos x="20" y="40"/>
                </a:cxn>
                <a:cxn ang="0">
                  <a:pos x="40" y="26"/>
                </a:cxn>
                <a:cxn ang="0">
                  <a:pos x="40" y="23"/>
                </a:cxn>
                <a:cxn ang="0">
                  <a:pos x="40" y="5"/>
                </a:cxn>
                <a:cxn ang="0">
                  <a:pos x="35" y="4"/>
                </a:cxn>
                <a:cxn ang="0">
                  <a:pos x="17" y="13"/>
                </a:cxn>
                <a:cxn ang="0">
                  <a:pos x="14" y="16"/>
                </a:cxn>
                <a:cxn ang="0">
                  <a:pos x="16" y="40"/>
                </a:cxn>
                <a:cxn ang="0">
                  <a:pos x="14" y="16"/>
                </a:cxn>
                <a:cxn ang="0">
                  <a:pos x="21" y="63"/>
                </a:cxn>
                <a:cxn ang="0">
                  <a:pos x="4" y="44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lose/>
                  <a:moveTo>
                    <a:pt x="50" y="80"/>
                  </a:moveTo>
                  <a:cubicBezTo>
                    <a:pt x="54" y="76"/>
                    <a:pt x="58" y="71"/>
                    <a:pt x="61" y="66"/>
                  </a:cubicBezTo>
                  <a:cubicBezTo>
                    <a:pt x="63" y="68"/>
                    <a:pt x="66" y="69"/>
                    <a:pt x="67" y="71"/>
                  </a:cubicBezTo>
                  <a:cubicBezTo>
                    <a:pt x="62" y="75"/>
                    <a:pt x="56" y="78"/>
                    <a:pt x="50" y="80"/>
                  </a:cubicBezTo>
                  <a:close/>
                  <a:moveTo>
                    <a:pt x="70" y="68"/>
                  </a:moveTo>
                  <a:cubicBezTo>
                    <a:pt x="68" y="66"/>
                    <a:pt x="66" y="65"/>
                    <a:pt x="63" y="63"/>
                  </a:cubicBezTo>
                  <a:cubicBezTo>
                    <a:pt x="66" y="57"/>
                    <a:pt x="68" y="51"/>
                    <a:pt x="68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53"/>
                    <a:pt x="76" y="62"/>
                    <a:pt x="70" y="68"/>
                  </a:cubicBezTo>
                  <a:close/>
                  <a:moveTo>
                    <a:pt x="80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33"/>
                    <a:pt x="66" y="27"/>
                    <a:pt x="63" y="21"/>
                  </a:cubicBezTo>
                  <a:cubicBezTo>
                    <a:pt x="65" y="19"/>
                    <a:pt x="68" y="18"/>
                    <a:pt x="70" y="16"/>
                  </a:cubicBezTo>
                  <a:cubicBezTo>
                    <a:pt x="76" y="22"/>
                    <a:pt x="80" y="31"/>
                    <a:pt x="80" y="40"/>
                  </a:cubicBezTo>
                  <a:close/>
                  <a:moveTo>
                    <a:pt x="67" y="13"/>
                  </a:moveTo>
                  <a:cubicBezTo>
                    <a:pt x="65" y="15"/>
                    <a:pt x="63" y="16"/>
                    <a:pt x="61" y="18"/>
                  </a:cubicBezTo>
                  <a:cubicBezTo>
                    <a:pt x="58" y="13"/>
                    <a:pt x="54" y="8"/>
                    <a:pt x="49" y="4"/>
                  </a:cubicBezTo>
                  <a:cubicBezTo>
                    <a:pt x="56" y="6"/>
                    <a:pt x="62" y="9"/>
                    <a:pt x="67" y="13"/>
                  </a:cubicBezTo>
                  <a:close/>
                  <a:moveTo>
                    <a:pt x="44" y="5"/>
                  </a:moveTo>
                  <a:cubicBezTo>
                    <a:pt x="50" y="9"/>
                    <a:pt x="54" y="14"/>
                    <a:pt x="58" y="19"/>
                  </a:cubicBezTo>
                  <a:cubicBezTo>
                    <a:pt x="53" y="21"/>
                    <a:pt x="49" y="23"/>
                    <a:pt x="44" y="23"/>
                  </a:cubicBezTo>
                  <a:lnTo>
                    <a:pt x="44" y="5"/>
                  </a:lnTo>
                  <a:close/>
                  <a:moveTo>
                    <a:pt x="44" y="26"/>
                  </a:moveTo>
                  <a:cubicBezTo>
                    <a:pt x="49" y="26"/>
                    <a:pt x="55" y="25"/>
                    <a:pt x="59" y="23"/>
                  </a:cubicBezTo>
                  <a:cubicBezTo>
                    <a:pt x="62" y="28"/>
                    <a:pt x="64" y="34"/>
                    <a:pt x="64" y="40"/>
                  </a:cubicBezTo>
                  <a:cubicBezTo>
                    <a:pt x="44" y="40"/>
                    <a:pt x="44" y="40"/>
                    <a:pt x="44" y="40"/>
                  </a:cubicBezTo>
                  <a:lnTo>
                    <a:pt x="44" y="26"/>
                  </a:lnTo>
                  <a:close/>
                  <a:moveTo>
                    <a:pt x="44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50"/>
                    <a:pt x="62" y="56"/>
                    <a:pt x="60" y="61"/>
                  </a:cubicBezTo>
                  <a:cubicBezTo>
                    <a:pt x="55" y="59"/>
                    <a:pt x="49" y="58"/>
                    <a:pt x="44" y="57"/>
                  </a:cubicBezTo>
                  <a:lnTo>
                    <a:pt x="44" y="44"/>
                  </a:lnTo>
                  <a:close/>
                  <a:moveTo>
                    <a:pt x="44" y="61"/>
                  </a:moveTo>
                  <a:cubicBezTo>
                    <a:pt x="49" y="61"/>
                    <a:pt x="54" y="62"/>
                    <a:pt x="58" y="65"/>
                  </a:cubicBezTo>
                  <a:cubicBezTo>
                    <a:pt x="55" y="70"/>
                    <a:pt x="50" y="76"/>
                    <a:pt x="44" y="79"/>
                  </a:cubicBezTo>
                  <a:lnTo>
                    <a:pt x="44" y="61"/>
                  </a:lnTo>
                  <a:close/>
                  <a:moveTo>
                    <a:pt x="17" y="71"/>
                  </a:moveTo>
                  <a:cubicBezTo>
                    <a:pt x="19" y="69"/>
                    <a:pt x="21" y="68"/>
                    <a:pt x="23" y="66"/>
                  </a:cubicBezTo>
                  <a:cubicBezTo>
                    <a:pt x="26" y="71"/>
                    <a:pt x="30" y="76"/>
                    <a:pt x="34" y="80"/>
                  </a:cubicBezTo>
                  <a:cubicBezTo>
                    <a:pt x="28" y="78"/>
                    <a:pt x="22" y="75"/>
                    <a:pt x="17" y="71"/>
                  </a:cubicBezTo>
                  <a:close/>
                  <a:moveTo>
                    <a:pt x="40" y="79"/>
                  </a:moveTo>
                  <a:cubicBezTo>
                    <a:pt x="34" y="76"/>
                    <a:pt x="29" y="71"/>
                    <a:pt x="26" y="65"/>
                  </a:cubicBezTo>
                  <a:cubicBezTo>
                    <a:pt x="30" y="63"/>
                    <a:pt x="35" y="61"/>
                    <a:pt x="40" y="61"/>
                  </a:cubicBezTo>
                  <a:lnTo>
                    <a:pt x="40" y="79"/>
                  </a:lnTo>
                  <a:close/>
                  <a:moveTo>
                    <a:pt x="40" y="57"/>
                  </a:moveTo>
                  <a:cubicBezTo>
                    <a:pt x="35" y="58"/>
                    <a:pt x="29" y="59"/>
                    <a:pt x="24" y="61"/>
                  </a:cubicBezTo>
                  <a:cubicBezTo>
                    <a:pt x="22" y="56"/>
                    <a:pt x="20" y="50"/>
                    <a:pt x="20" y="44"/>
                  </a:cubicBezTo>
                  <a:cubicBezTo>
                    <a:pt x="40" y="44"/>
                    <a:pt x="40" y="44"/>
                    <a:pt x="40" y="44"/>
                  </a:cubicBezTo>
                  <a:lnTo>
                    <a:pt x="40" y="57"/>
                  </a:lnTo>
                  <a:close/>
                  <a:moveTo>
                    <a:pt x="4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34"/>
                    <a:pt x="22" y="28"/>
                    <a:pt x="25" y="23"/>
                  </a:cubicBezTo>
                  <a:cubicBezTo>
                    <a:pt x="29" y="25"/>
                    <a:pt x="35" y="26"/>
                    <a:pt x="40" y="26"/>
                  </a:cubicBezTo>
                  <a:lnTo>
                    <a:pt x="40" y="40"/>
                  </a:lnTo>
                  <a:close/>
                  <a:moveTo>
                    <a:pt x="40" y="23"/>
                  </a:moveTo>
                  <a:cubicBezTo>
                    <a:pt x="35" y="22"/>
                    <a:pt x="31" y="21"/>
                    <a:pt x="26" y="19"/>
                  </a:cubicBezTo>
                  <a:cubicBezTo>
                    <a:pt x="30" y="14"/>
                    <a:pt x="35" y="9"/>
                    <a:pt x="40" y="5"/>
                  </a:cubicBezTo>
                  <a:lnTo>
                    <a:pt x="40" y="23"/>
                  </a:lnTo>
                  <a:close/>
                  <a:moveTo>
                    <a:pt x="35" y="4"/>
                  </a:moveTo>
                  <a:cubicBezTo>
                    <a:pt x="30" y="8"/>
                    <a:pt x="26" y="13"/>
                    <a:pt x="23" y="18"/>
                  </a:cubicBezTo>
                  <a:cubicBezTo>
                    <a:pt x="21" y="16"/>
                    <a:pt x="19" y="15"/>
                    <a:pt x="17" y="13"/>
                  </a:cubicBezTo>
                  <a:cubicBezTo>
                    <a:pt x="22" y="9"/>
                    <a:pt x="28" y="6"/>
                    <a:pt x="35" y="4"/>
                  </a:cubicBezTo>
                  <a:close/>
                  <a:moveTo>
                    <a:pt x="14" y="16"/>
                  </a:moveTo>
                  <a:cubicBezTo>
                    <a:pt x="16" y="18"/>
                    <a:pt x="19" y="19"/>
                    <a:pt x="21" y="21"/>
                  </a:cubicBezTo>
                  <a:cubicBezTo>
                    <a:pt x="18" y="27"/>
                    <a:pt x="17" y="33"/>
                    <a:pt x="16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31"/>
                    <a:pt x="8" y="22"/>
                    <a:pt x="14" y="16"/>
                  </a:cubicBezTo>
                  <a:close/>
                  <a:moveTo>
                    <a:pt x="16" y="44"/>
                  </a:moveTo>
                  <a:cubicBezTo>
                    <a:pt x="16" y="51"/>
                    <a:pt x="18" y="57"/>
                    <a:pt x="21" y="63"/>
                  </a:cubicBezTo>
                  <a:cubicBezTo>
                    <a:pt x="19" y="65"/>
                    <a:pt x="16" y="66"/>
                    <a:pt x="14" y="68"/>
                  </a:cubicBezTo>
                  <a:cubicBezTo>
                    <a:pt x="8" y="62"/>
                    <a:pt x="4" y="53"/>
                    <a:pt x="4" y="44"/>
                  </a:cubicBezTo>
                  <a:lnTo>
                    <a:pt x="16" y="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1" name="Freeform 147"/>
            <p:cNvSpPr>
              <a:spLocks noEditPoints="1"/>
            </p:cNvSpPr>
            <p:nvPr/>
          </p:nvSpPr>
          <p:spPr bwMode="auto">
            <a:xfrm>
              <a:off x="1760" y="2049"/>
              <a:ext cx="223" cy="112"/>
            </a:xfrm>
            <a:custGeom>
              <a:avLst/>
              <a:gdLst/>
              <a:ahLst/>
              <a:cxnLst>
                <a:cxn ang="0">
                  <a:pos x="213" y="59"/>
                </a:cxn>
                <a:cxn ang="0">
                  <a:pos x="173" y="4"/>
                </a:cxn>
                <a:cxn ang="0">
                  <a:pos x="170" y="0"/>
                </a:cxn>
                <a:cxn ang="0">
                  <a:pos x="165" y="0"/>
                </a:cxn>
                <a:cxn ang="0">
                  <a:pos x="58" y="0"/>
                </a:cxn>
                <a:cxn ang="0">
                  <a:pos x="53" y="0"/>
                </a:cxn>
                <a:cxn ang="0">
                  <a:pos x="51" y="2"/>
                </a:cxn>
                <a:cxn ang="0">
                  <a:pos x="10" y="59"/>
                </a:cxn>
                <a:cxn ang="0">
                  <a:pos x="0" y="74"/>
                </a:cxn>
                <a:cxn ang="0">
                  <a:pos x="12" y="74"/>
                </a:cxn>
                <a:cxn ang="0">
                  <a:pos x="10" y="78"/>
                </a:cxn>
                <a:cxn ang="0">
                  <a:pos x="0" y="93"/>
                </a:cxn>
                <a:cxn ang="0">
                  <a:pos x="12" y="93"/>
                </a:cxn>
                <a:cxn ang="0">
                  <a:pos x="8" y="100"/>
                </a:cxn>
                <a:cxn ang="0">
                  <a:pos x="0" y="112"/>
                </a:cxn>
                <a:cxn ang="0">
                  <a:pos x="15" y="112"/>
                </a:cxn>
                <a:cxn ang="0">
                  <a:pos x="206" y="112"/>
                </a:cxn>
                <a:cxn ang="0">
                  <a:pos x="221" y="112"/>
                </a:cxn>
                <a:cxn ang="0">
                  <a:pos x="213" y="100"/>
                </a:cxn>
                <a:cxn ang="0">
                  <a:pos x="211" y="93"/>
                </a:cxn>
                <a:cxn ang="0">
                  <a:pos x="223" y="93"/>
                </a:cxn>
                <a:cxn ang="0">
                  <a:pos x="213" y="78"/>
                </a:cxn>
                <a:cxn ang="0">
                  <a:pos x="209" y="74"/>
                </a:cxn>
                <a:cxn ang="0">
                  <a:pos x="223" y="74"/>
                </a:cxn>
                <a:cxn ang="0">
                  <a:pos x="213" y="59"/>
                </a:cxn>
                <a:cxn ang="0">
                  <a:pos x="206" y="83"/>
                </a:cxn>
                <a:cxn ang="0">
                  <a:pos x="197" y="83"/>
                </a:cxn>
                <a:cxn ang="0">
                  <a:pos x="27" y="83"/>
                </a:cxn>
                <a:cxn ang="0">
                  <a:pos x="17" y="83"/>
                </a:cxn>
                <a:cxn ang="0">
                  <a:pos x="24" y="74"/>
                </a:cxn>
                <a:cxn ang="0">
                  <a:pos x="197" y="74"/>
                </a:cxn>
                <a:cxn ang="0">
                  <a:pos x="206" y="83"/>
                </a:cxn>
                <a:cxn ang="0">
                  <a:pos x="15" y="105"/>
                </a:cxn>
                <a:cxn ang="0">
                  <a:pos x="22" y="93"/>
                </a:cxn>
                <a:cxn ang="0">
                  <a:pos x="201" y="93"/>
                </a:cxn>
                <a:cxn ang="0">
                  <a:pos x="206" y="105"/>
                </a:cxn>
                <a:cxn ang="0">
                  <a:pos x="15" y="105"/>
                </a:cxn>
                <a:cxn ang="0">
                  <a:pos x="192" y="64"/>
                </a:cxn>
                <a:cxn ang="0">
                  <a:pos x="32" y="64"/>
                </a:cxn>
                <a:cxn ang="0">
                  <a:pos x="20" y="64"/>
                </a:cxn>
                <a:cxn ang="0">
                  <a:pos x="17" y="64"/>
                </a:cxn>
                <a:cxn ang="0">
                  <a:pos x="58" y="9"/>
                </a:cxn>
                <a:cxn ang="0">
                  <a:pos x="165" y="9"/>
                </a:cxn>
                <a:cxn ang="0">
                  <a:pos x="206" y="64"/>
                </a:cxn>
                <a:cxn ang="0">
                  <a:pos x="201" y="64"/>
                </a:cxn>
                <a:cxn ang="0">
                  <a:pos x="192" y="64"/>
                </a:cxn>
              </a:cxnLst>
              <a:rect l="0" t="0" r="r" b="b"/>
              <a:pathLst>
                <a:path w="223" h="112">
                  <a:moveTo>
                    <a:pt x="213" y="59"/>
                  </a:moveTo>
                  <a:lnTo>
                    <a:pt x="173" y="4"/>
                  </a:lnTo>
                  <a:lnTo>
                    <a:pt x="170" y="0"/>
                  </a:lnTo>
                  <a:lnTo>
                    <a:pt x="165" y="0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51" y="2"/>
                  </a:lnTo>
                  <a:lnTo>
                    <a:pt x="10" y="59"/>
                  </a:lnTo>
                  <a:lnTo>
                    <a:pt x="0" y="74"/>
                  </a:lnTo>
                  <a:lnTo>
                    <a:pt x="12" y="74"/>
                  </a:lnTo>
                  <a:lnTo>
                    <a:pt x="10" y="78"/>
                  </a:lnTo>
                  <a:lnTo>
                    <a:pt x="0" y="93"/>
                  </a:lnTo>
                  <a:lnTo>
                    <a:pt x="12" y="93"/>
                  </a:lnTo>
                  <a:lnTo>
                    <a:pt x="8" y="100"/>
                  </a:lnTo>
                  <a:lnTo>
                    <a:pt x="0" y="112"/>
                  </a:lnTo>
                  <a:lnTo>
                    <a:pt x="15" y="112"/>
                  </a:lnTo>
                  <a:lnTo>
                    <a:pt x="206" y="112"/>
                  </a:lnTo>
                  <a:lnTo>
                    <a:pt x="221" y="112"/>
                  </a:lnTo>
                  <a:lnTo>
                    <a:pt x="213" y="100"/>
                  </a:lnTo>
                  <a:lnTo>
                    <a:pt x="211" y="93"/>
                  </a:lnTo>
                  <a:lnTo>
                    <a:pt x="223" y="93"/>
                  </a:lnTo>
                  <a:lnTo>
                    <a:pt x="213" y="78"/>
                  </a:lnTo>
                  <a:lnTo>
                    <a:pt x="209" y="74"/>
                  </a:lnTo>
                  <a:lnTo>
                    <a:pt x="223" y="74"/>
                  </a:lnTo>
                  <a:lnTo>
                    <a:pt x="213" y="59"/>
                  </a:lnTo>
                  <a:close/>
                  <a:moveTo>
                    <a:pt x="206" y="83"/>
                  </a:moveTo>
                  <a:lnTo>
                    <a:pt x="197" y="83"/>
                  </a:lnTo>
                  <a:lnTo>
                    <a:pt x="27" y="83"/>
                  </a:lnTo>
                  <a:lnTo>
                    <a:pt x="17" y="83"/>
                  </a:lnTo>
                  <a:lnTo>
                    <a:pt x="24" y="74"/>
                  </a:lnTo>
                  <a:lnTo>
                    <a:pt x="197" y="74"/>
                  </a:lnTo>
                  <a:lnTo>
                    <a:pt x="206" y="83"/>
                  </a:lnTo>
                  <a:close/>
                  <a:moveTo>
                    <a:pt x="15" y="105"/>
                  </a:moveTo>
                  <a:lnTo>
                    <a:pt x="22" y="93"/>
                  </a:lnTo>
                  <a:lnTo>
                    <a:pt x="201" y="93"/>
                  </a:lnTo>
                  <a:lnTo>
                    <a:pt x="206" y="105"/>
                  </a:lnTo>
                  <a:lnTo>
                    <a:pt x="15" y="105"/>
                  </a:lnTo>
                  <a:close/>
                  <a:moveTo>
                    <a:pt x="192" y="64"/>
                  </a:moveTo>
                  <a:lnTo>
                    <a:pt x="32" y="64"/>
                  </a:lnTo>
                  <a:lnTo>
                    <a:pt x="20" y="64"/>
                  </a:lnTo>
                  <a:lnTo>
                    <a:pt x="17" y="64"/>
                  </a:lnTo>
                  <a:lnTo>
                    <a:pt x="58" y="9"/>
                  </a:lnTo>
                  <a:lnTo>
                    <a:pt x="165" y="9"/>
                  </a:lnTo>
                  <a:lnTo>
                    <a:pt x="206" y="64"/>
                  </a:lnTo>
                  <a:lnTo>
                    <a:pt x="201" y="64"/>
                  </a:lnTo>
                  <a:lnTo>
                    <a:pt x="192" y="6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2" name="Rectangle 148"/>
            <p:cNvSpPr>
              <a:spLocks noChangeArrowheads="1"/>
            </p:cNvSpPr>
            <p:nvPr/>
          </p:nvSpPr>
          <p:spPr bwMode="auto">
            <a:xfrm>
              <a:off x="1808" y="2094"/>
              <a:ext cx="1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3" name="Rectangle 149"/>
            <p:cNvSpPr>
              <a:spLocks noChangeArrowheads="1"/>
            </p:cNvSpPr>
            <p:nvPr/>
          </p:nvSpPr>
          <p:spPr bwMode="auto">
            <a:xfrm>
              <a:off x="1818" y="2077"/>
              <a:ext cx="10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4" name="Rectangle 150"/>
            <p:cNvSpPr>
              <a:spLocks noChangeArrowheads="1"/>
            </p:cNvSpPr>
            <p:nvPr/>
          </p:nvSpPr>
          <p:spPr bwMode="auto">
            <a:xfrm>
              <a:off x="1827" y="2063"/>
              <a:ext cx="8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77" name="Group 153"/>
          <p:cNvGrpSpPr>
            <a:grpSpLocks noChangeAspect="1"/>
          </p:cNvGrpSpPr>
          <p:nvPr/>
        </p:nvGrpSpPr>
        <p:grpSpPr bwMode="auto">
          <a:xfrm>
            <a:off x="3659185" y="2798765"/>
            <a:ext cx="768350" cy="768350"/>
            <a:chOff x="2316" y="1763"/>
            <a:chExt cx="484" cy="484"/>
          </a:xfrm>
        </p:grpSpPr>
        <p:sp>
          <p:nvSpPr>
            <p:cNvPr id="52378" name="Freeform 154"/>
            <p:cNvSpPr>
              <a:spLocks noEditPoints="1"/>
            </p:cNvSpPr>
            <p:nvPr/>
          </p:nvSpPr>
          <p:spPr bwMode="auto">
            <a:xfrm>
              <a:off x="2316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79" name="Freeform 155"/>
            <p:cNvSpPr>
              <a:spLocks noEditPoints="1"/>
            </p:cNvSpPr>
            <p:nvPr/>
          </p:nvSpPr>
          <p:spPr bwMode="auto">
            <a:xfrm>
              <a:off x="2455" y="1826"/>
              <a:ext cx="202" cy="201"/>
            </a:xfrm>
            <a:custGeom>
              <a:avLst/>
              <a:gdLst/>
              <a:ahLst/>
              <a:cxnLst>
                <a:cxn ang="0">
                  <a:pos x="84" y="42"/>
                </a:cxn>
                <a:cxn ang="0">
                  <a:pos x="0" y="42"/>
                </a:cxn>
                <a:cxn ang="0">
                  <a:pos x="50" y="80"/>
                </a:cxn>
                <a:cxn ang="0">
                  <a:pos x="67" y="71"/>
                </a:cxn>
                <a:cxn ang="0">
                  <a:pos x="70" y="68"/>
                </a:cxn>
                <a:cxn ang="0">
                  <a:pos x="68" y="44"/>
                </a:cxn>
                <a:cxn ang="0">
                  <a:pos x="70" y="68"/>
                </a:cxn>
                <a:cxn ang="0">
                  <a:pos x="68" y="40"/>
                </a:cxn>
                <a:cxn ang="0">
                  <a:pos x="70" y="16"/>
                </a:cxn>
                <a:cxn ang="0">
                  <a:pos x="67" y="13"/>
                </a:cxn>
                <a:cxn ang="0">
                  <a:pos x="49" y="4"/>
                </a:cxn>
                <a:cxn ang="0">
                  <a:pos x="44" y="5"/>
                </a:cxn>
                <a:cxn ang="0">
                  <a:pos x="44" y="23"/>
                </a:cxn>
                <a:cxn ang="0">
                  <a:pos x="44" y="26"/>
                </a:cxn>
                <a:cxn ang="0">
                  <a:pos x="64" y="40"/>
                </a:cxn>
                <a:cxn ang="0">
                  <a:pos x="44" y="26"/>
                </a:cxn>
                <a:cxn ang="0">
                  <a:pos x="64" y="44"/>
                </a:cxn>
                <a:cxn ang="0">
                  <a:pos x="44" y="57"/>
                </a:cxn>
                <a:cxn ang="0">
                  <a:pos x="44" y="61"/>
                </a:cxn>
                <a:cxn ang="0">
                  <a:pos x="44" y="79"/>
                </a:cxn>
                <a:cxn ang="0">
                  <a:pos x="17" y="71"/>
                </a:cxn>
                <a:cxn ang="0">
                  <a:pos x="34" y="80"/>
                </a:cxn>
                <a:cxn ang="0">
                  <a:pos x="40" y="79"/>
                </a:cxn>
                <a:cxn ang="0">
                  <a:pos x="40" y="61"/>
                </a:cxn>
                <a:cxn ang="0">
                  <a:pos x="40" y="57"/>
                </a:cxn>
                <a:cxn ang="0">
                  <a:pos x="20" y="44"/>
                </a:cxn>
                <a:cxn ang="0">
                  <a:pos x="40" y="57"/>
                </a:cxn>
                <a:cxn ang="0">
                  <a:pos x="20" y="40"/>
                </a:cxn>
                <a:cxn ang="0">
                  <a:pos x="40" y="26"/>
                </a:cxn>
                <a:cxn ang="0">
                  <a:pos x="40" y="23"/>
                </a:cxn>
                <a:cxn ang="0">
                  <a:pos x="40" y="5"/>
                </a:cxn>
                <a:cxn ang="0">
                  <a:pos x="35" y="4"/>
                </a:cxn>
                <a:cxn ang="0">
                  <a:pos x="17" y="13"/>
                </a:cxn>
                <a:cxn ang="0">
                  <a:pos x="14" y="16"/>
                </a:cxn>
                <a:cxn ang="0">
                  <a:pos x="16" y="40"/>
                </a:cxn>
                <a:cxn ang="0">
                  <a:pos x="14" y="16"/>
                </a:cxn>
                <a:cxn ang="0">
                  <a:pos x="21" y="63"/>
                </a:cxn>
                <a:cxn ang="0">
                  <a:pos x="4" y="44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lose/>
                  <a:moveTo>
                    <a:pt x="50" y="80"/>
                  </a:moveTo>
                  <a:cubicBezTo>
                    <a:pt x="54" y="76"/>
                    <a:pt x="58" y="71"/>
                    <a:pt x="61" y="66"/>
                  </a:cubicBezTo>
                  <a:cubicBezTo>
                    <a:pt x="63" y="68"/>
                    <a:pt x="66" y="69"/>
                    <a:pt x="67" y="71"/>
                  </a:cubicBezTo>
                  <a:cubicBezTo>
                    <a:pt x="62" y="75"/>
                    <a:pt x="56" y="78"/>
                    <a:pt x="50" y="80"/>
                  </a:cubicBezTo>
                  <a:close/>
                  <a:moveTo>
                    <a:pt x="70" y="68"/>
                  </a:moveTo>
                  <a:cubicBezTo>
                    <a:pt x="68" y="66"/>
                    <a:pt x="66" y="65"/>
                    <a:pt x="63" y="63"/>
                  </a:cubicBezTo>
                  <a:cubicBezTo>
                    <a:pt x="66" y="57"/>
                    <a:pt x="68" y="51"/>
                    <a:pt x="68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53"/>
                    <a:pt x="76" y="62"/>
                    <a:pt x="70" y="68"/>
                  </a:cubicBezTo>
                  <a:close/>
                  <a:moveTo>
                    <a:pt x="80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33"/>
                    <a:pt x="66" y="27"/>
                    <a:pt x="63" y="21"/>
                  </a:cubicBezTo>
                  <a:cubicBezTo>
                    <a:pt x="65" y="19"/>
                    <a:pt x="68" y="18"/>
                    <a:pt x="70" y="16"/>
                  </a:cubicBezTo>
                  <a:cubicBezTo>
                    <a:pt x="76" y="22"/>
                    <a:pt x="80" y="31"/>
                    <a:pt x="80" y="40"/>
                  </a:cubicBezTo>
                  <a:close/>
                  <a:moveTo>
                    <a:pt x="67" y="13"/>
                  </a:moveTo>
                  <a:cubicBezTo>
                    <a:pt x="65" y="15"/>
                    <a:pt x="63" y="16"/>
                    <a:pt x="61" y="18"/>
                  </a:cubicBezTo>
                  <a:cubicBezTo>
                    <a:pt x="58" y="13"/>
                    <a:pt x="54" y="8"/>
                    <a:pt x="49" y="4"/>
                  </a:cubicBezTo>
                  <a:cubicBezTo>
                    <a:pt x="56" y="6"/>
                    <a:pt x="62" y="9"/>
                    <a:pt x="67" y="13"/>
                  </a:cubicBezTo>
                  <a:close/>
                  <a:moveTo>
                    <a:pt x="44" y="5"/>
                  </a:moveTo>
                  <a:cubicBezTo>
                    <a:pt x="50" y="9"/>
                    <a:pt x="54" y="14"/>
                    <a:pt x="58" y="19"/>
                  </a:cubicBezTo>
                  <a:cubicBezTo>
                    <a:pt x="53" y="21"/>
                    <a:pt x="49" y="23"/>
                    <a:pt x="44" y="23"/>
                  </a:cubicBezTo>
                  <a:lnTo>
                    <a:pt x="44" y="5"/>
                  </a:lnTo>
                  <a:close/>
                  <a:moveTo>
                    <a:pt x="44" y="26"/>
                  </a:moveTo>
                  <a:cubicBezTo>
                    <a:pt x="49" y="26"/>
                    <a:pt x="55" y="25"/>
                    <a:pt x="59" y="23"/>
                  </a:cubicBezTo>
                  <a:cubicBezTo>
                    <a:pt x="62" y="28"/>
                    <a:pt x="64" y="34"/>
                    <a:pt x="64" y="40"/>
                  </a:cubicBezTo>
                  <a:cubicBezTo>
                    <a:pt x="44" y="40"/>
                    <a:pt x="44" y="40"/>
                    <a:pt x="44" y="40"/>
                  </a:cubicBezTo>
                  <a:lnTo>
                    <a:pt x="44" y="26"/>
                  </a:lnTo>
                  <a:close/>
                  <a:moveTo>
                    <a:pt x="44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50"/>
                    <a:pt x="62" y="56"/>
                    <a:pt x="60" y="61"/>
                  </a:cubicBezTo>
                  <a:cubicBezTo>
                    <a:pt x="55" y="59"/>
                    <a:pt x="49" y="58"/>
                    <a:pt x="44" y="57"/>
                  </a:cubicBezTo>
                  <a:lnTo>
                    <a:pt x="44" y="44"/>
                  </a:lnTo>
                  <a:close/>
                  <a:moveTo>
                    <a:pt x="44" y="61"/>
                  </a:moveTo>
                  <a:cubicBezTo>
                    <a:pt x="49" y="61"/>
                    <a:pt x="54" y="62"/>
                    <a:pt x="58" y="65"/>
                  </a:cubicBezTo>
                  <a:cubicBezTo>
                    <a:pt x="55" y="70"/>
                    <a:pt x="50" y="76"/>
                    <a:pt x="44" y="79"/>
                  </a:cubicBezTo>
                  <a:lnTo>
                    <a:pt x="44" y="61"/>
                  </a:lnTo>
                  <a:close/>
                  <a:moveTo>
                    <a:pt x="17" y="71"/>
                  </a:moveTo>
                  <a:cubicBezTo>
                    <a:pt x="19" y="69"/>
                    <a:pt x="21" y="68"/>
                    <a:pt x="23" y="66"/>
                  </a:cubicBezTo>
                  <a:cubicBezTo>
                    <a:pt x="26" y="71"/>
                    <a:pt x="30" y="76"/>
                    <a:pt x="34" y="80"/>
                  </a:cubicBezTo>
                  <a:cubicBezTo>
                    <a:pt x="28" y="78"/>
                    <a:pt x="22" y="75"/>
                    <a:pt x="17" y="71"/>
                  </a:cubicBezTo>
                  <a:close/>
                  <a:moveTo>
                    <a:pt x="40" y="79"/>
                  </a:moveTo>
                  <a:cubicBezTo>
                    <a:pt x="34" y="76"/>
                    <a:pt x="29" y="71"/>
                    <a:pt x="26" y="65"/>
                  </a:cubicBezTo>
                  <a:cubicBezTo>
                    <a:pt x="30" y="63"/>
                    <a:pt x="35" y="61"/>
                    <a:pt x="40" y="61"/>
                  </a:cubicBezTo>
                  <a:lnTo>
                    <a:pt x="40" y="79"/>
                  </a:lnTo>
                  <a:close/>
                  <a:moveTo>
                    <a:pt x="40" y="57"/>
                  </a:moveTo>
                  <a:cubicBezTo>
                    <a:pt x="35" y="58"/>
                    <a:pt x="29" y="59"/>
                    <a:pt x="24" y="61"/>
                  </a:cubicBezTo>
                  <a:cubicBezTo>
                    <a:pt x="22" y="56"/>
                    <a:pt x="20" y="50"/>
                    <a:pt x="20" y="44"/>
                  </a:cubicBezTo>
                  <a:cubicBezTo>
                    <a:pt x="40" y="44"/>
                    <a:pt x="40" y="44"/>
                    <a:pt x="40" y="44"/>
                  </a:cubicBezTo>
                  <a:lnTo>
                    <a:pt x="40" y="57"/>
                  </a:lnTo>
                  <a:close/>
                  <a:moveTo>
                    <a:pt x="4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34"/>
                    <a:pt x="22" y="28"/>
                    <a:pt x="25" y="23"/>
                  </a:cubicBezTo>
                  <a:cubicBezTo>
                    <a:pt x="29" y="25"/>
                    <a:pt x="35" y="26"/>
                    <a:pt x="40" y="26"/>
                  </a:cubicBezTo>
                  <a:lnTo>
                    <a:pt x="40" y="40"/>
                  </a:lnTo>
                  <a:close/>
                  <a:moveTo>
                    <a:pt x="40" y="23"/>
                  </a:moveTo>
                  <a:cubicBezTo>
                    <a:pt x="35" y="22"/>
                    <a:pt x="31" y="21"/>
                    <a:pt x="26" y="19"/>
                  </a:cubicBezTo>
                  <a:cubicBezTo>
                    <a:pt x="30" y="14"/>
                    <a:pt x="35" y="9"/>
                    <a:pt x="40" y="5"/>
                  </a:cubicBezTo>
                  <a:lnTo>
                    <a:pt x="40" y="23"/>
                  </a:lnTo>
                  <a:close/>
                  <a:moveTo>
                    <a:pt x="35" y="4"/>
                  </a:moveTo>
                  <a:cubicBezTo>
                    <a:pt x="30" y="8"/>
                    <a:pt x="26" y="13"/>
                    <a:pt x="23" y="18"/>
                  </a:cubicBezTo>
                  <a:cubicBezTo>
                    <a:pt x="21" y="16"/>
                    <a:pt x="19" y="15"/>
                    <a:pt x="17" y="13"/>
                  </a:cubicBezTo>
                  <a:cubicBezTo>
                    <a:pt x="22" y="9"/>
                    <a:pt x="28" y="6"/>
                    <a:pt x="35" y="4"/>
                  </a:cubicBezTo>
                  <a:close/>
                  <a:moveTo>
                    <a:pt x="14" y="16"/>
                  </a:moveTo>
                  <a:cubicBezTo>
                    <a:pt x="16" y="18"/>
                    <a:pt x="19" y="19"/>
                    <a:pt x="21" y="21"/>
                  </a:cubicBezTo>
                  <a:cubicBezTo>
                    <a:pt x="18" y="27"/>
                    <a:pt x="17" y="33"/>
                    <a:pt x="16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31"/>
                    <a:pt x="8" y="22"/>
                    <a:pt x="14" y="16"/>
                  </a:cubicBezTo>
                  <a:close/>
                  <a:moveTo>
                    <a:pt x="16" y="44"/>
                  </a:moveTo>
                  <a:cubicBezTo>
                    <a:pt x="16" y="51"/>
                    <a:pt x="18" y="57"/>
                    <a:pt x="21" y="63"/>
                  </a:cubicBezTo>
                  <a:cubicBezTo>
                    <a:pt x="19" y="65"/>
                    <a:pt x="16" y="66"/>
                    <a:pt x="14" y="68"/>
                  </a:cubicBezTo>
                  <a:cubicBezTo>
                    <a:pt x="8" y="62"/>
                    <a:pt x="4" y="53"/>
                    <a:pt x="4" y="44"/>
                  </a:cubicBezTo>
                  <a:lnTo>
                    <a:pt x="16" y="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80" name="Freeform 156"/>
            <p:cNvSpPr>
              <a:spLocks noEditPoints="1"/>
            </p:cNvSpPr>
            <p:nvPr/>
          </p:nvSpPr>
          <p:spPr bwMode="auto">
            <a:xfrm>
              <a:off x="2448" y="2049"/>
              <a:ext cx="223" cy="112"/>
            </a:xfrm>
            <a:custGeom>
              <a:avLst/>
              <a:gdLst/>
              <a:ahLst/>
              <a:cxnLst>
                <a:cxn ang="0">
                  <a:pos x="213" y="59"/>
                </a:cxn>
                <a:cxn ang="0">
                  <a:pos x="173" y="4"/>
                </a:cxn>
                <a:cxn ang="0">
                  <a:pos x="170" y="0"/>
                </a:cxn>
                <a:cxn ang="0">
                  <a:pos x="166" y="0"/>
                </a:cxn>
                <a:cxn ang="0">
                  <a:pos x="58" y="0"/>
                </a:cxn>
                <a:cxn ang="0">
                  <a:pos x="53" y="0"/>
                </a:cxn>
                <a:cxn ang="0">
                  <a:pos x="50" y="2"/>
                </a:cxn>
                <a:cxn ang="0">
                  <a:pos x="10" y="59"/>
                </a:cxn>
                <a:cxn ang="0">
                  <a:pos x="0" y="74"/>
                </a:cxn>
                <a:cxn ang="0">
                  <a:pos x="12" y="74"/>
                </a:cxn>
                <a:cxn ang="0">
                  <a:pos x="10" y="79"/>
                </a:cxn>
                <a:cxn ang="0">
                  <a:pos x="0" y="93"/>
                </a:cxn>
                <a:cxn ang="0">
                  <a:pos x="12" y="93"/>
                </a:cxn>
                <a:cxn ang="0">
                  <a:pos x="7" y="100"/>
                </a:cxn>
                <a:cxn ang="0">
                  <a:pos x="0" y="112"/>
                </a:cxn>
                <a:cxn ang="0">
                  <a:pos x="15" y="112"/>
                </a:cxn>
                <a:cxn ang="0">
                  <a:pos x="206" y="112"/>
                </a:cxn>
                <a:cxn ang="0">
                  <a:pos x="221" y="112"/>
                </a:cxn>
                <a:cxn ang="0">
                  <a:pos x="213" y="100"/>
                </a:cxn>
                <a:cxn ang="0">
                  <a:pos x="211" y="93"/>
                </a:cxn>
                <a:cxn ang="0">
                  <a:pos x="223" y="93"/>
                </a:cxn>
                <a:cxn ang="0">
                  <a:pos x="213" y="79"/>
                </a:cxn>
                <a:cxn ang="0">
                  <a:pos x="209" y="74"/>
                </a:cxn>
                <a:cxn ang="0">
                  <a:pos x="223" y="74"/>
                </a:cxn>
                <a:cxn ang="0">
                  <a:pos x="213" y="59"/>
                </a:cxn>
                <a:cxn ang="0">
                  <a:pos x="206" y="83"/>
                </a:cxn>
                <a:cxn ang="0">
                  <a:pos x="197" y="83"/>
                </a:cxn>
                <a:cxn ang="0">
                  <a:pos x="26" y="83"/>
                </a:cxn>
                <a:cxn ang="0">
                  <a:pos x="17" y="83"/>
                </a:cxn>
                <a:cxn ang="0">
                  <a:pos x="24" y="74"/>
                </a:cxn>
                <a:cxn ang="0">
                  <a:pos x="197" y="74"/>
                </a:cxn>
                <a:cxn ang="0">
                  <a:pos x="206" y="83"/>
                </a:cxn>
                <a:cxn ang="0">
                  <a:pos x="15" y="105"/>
                </a:cxn>
                <a:cxn ang="0">
                  <a:pos x="22" y="93"/>
                </a:cxn>
                <a:cxn ang="0">
                  <a:pos x="201" y="93"/>
                </a:cxn>
                <a:cxn ang="0">
                  <a:pos x="206" y="105"/>
                </a:cxn>
                <a:cxn ang="0">
                  <a:pos x="15" y="105"/>
                </a:cxn>
                <a:cxn ang="0">
                  <a:pos x="192" y="64"/>
                </a:cxn>
                <a:cxn ang="0">
                  <a:pos x="31" y="64"/>
                </a:cxn>
                <a:cxn ang="0">
                  <a:pos x="19" y="64"/>
                </a:cxn>
                <a:cxn ang="0">
                  <a:pos x="17" y="64"/>
                </a:cxn>
                <a:cxn ang="0">
                  <a:pos x="58" y="9"/>
                </a:cxn>
                <a:cxn ang="0">
                  <a:pos x="166" y="9"/>
                </a:cxn>
                <a:cxn ang="0">
                  <a:pos x="206" y="64"/>
                </a:cxn>
                <a:cxn ang="0">
                  <a:pos x="201" y="64"/>
                </a:cxn>
                <a:cxn ang="0">
                  <a:pos x="192" y="64"/>
                </a:cxn>
              </a:cxnLst>
              <a:rect l="0" t="0" r="r" b="b"/>
              <a:pathLst>
                <a:path w="223" h="112">
                  <a:moveTo>
                    <a:pt x="213" y="59"/>
                  </a:moveTo>
                  <a:lnTo>
                    <a:pt x="173" y="4"/>
                  </a:lnTo>
                  <a:lnTo>
                    <a:pt x="170" y="0"/>
                  </a:lnTo>
                  <a:lnTo>
                    <a:pt x="166" y="0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50" y="2"/>
                  </a:lnTo>
                  <a:lnTo>
                    <a:pt x="10" y="59"/>
                  </a:lnTo>
                  <a:lnTo>
                    <a:pt x="0" y="74"/>
                  </a:lnTo>
                  <a:lnTo>
                    <a:pt x="12" y="74"/>
                  </a:lnTo>
                  <a:lnTo>
                    <a:pt x="10" y="79"/>
                  </a:lnTo>
                  <a:lnTo>
                    <a:pt x="0" y="93"/>
                  </a:lnTo>
                  <a:lnTo>
                    <a:pt x="12" y="93"/>
                  </a:lnTo>
                  <a:lnTo>
                    <a:pt x="7" y="100"/>
                  </a:lnTo>
                  <a:lnTo>
                    <a:pt x="0" y="112"/>
                  </a:lnTo>
                  <a:lnTo>
                    <a:pt x="15" y="112"/>
                  </a:lnTo>
                  <a:lnTo>
                    <a:pt x="206" y="112"/>
                  </a:lnTo>
                  <a:lnTo>
                    <a:pt x="221" y="112"/>
                  </a:lnTo>
                  <a:lnTo>
                    <a:pt x="213" y="100"/>
                  </a:lnTo>
                  <a:lnTo>
                    <a:pt x="211" y="93"/>
                  </a:lnTo>
                  <a:lnTo>
                    <a:pt x="223" y="93"/>
                  </a:lnTo>
                  <a:lnTo>
                    <a:pt x="213" y="79"/>
                  </a:lnTo>
                  <a:lnTo>
                    <a:pt x="209" y="74"/>
                  </a:lnTo>
                  <a:lnTo>
                    <a:pt x="223" y="74"/>
                  </a:lnTo>
                  <a:lnTo>
                    <a:pt x="213" y="59"/>
                  </a:lnTo>
                  <a:close/>
                  <a:moveTo>
                    <a:pt x="206" y="83"/>
                  </a:moveTo>
                  <a:lnTo>
                    <a:pt x="197" y="83"/>
                  </a:lnTo>
                  <a:lnTo>
                    <a:pt x="26" y="83"/>
                  </a:lnTo>
                  <a:lnTo>
                    <a:pt x="17" y="83"/>
                  </a:lnTo>
                  <a:lnTo>
                    <a:pt x="24" y="74"/>
                  </a:lnTo>
                  <a:lnTo>
                    <a:pt x="197" y="74"/>
                  </a:lnTo>
                  <a:lnTo>
                    <a:pt x="206" y="83"/>
                  </a:lnTo>
                  <a:close/>
                  <a:moveTo>
                    <a:pt x="15" y="105"/>
                  </a:moveTo>
                  <a:lnTo>
                    <a:pt x="22" y="93"/>
                  </a:lnTo>
                  <a:lnTo>
                    <a:pt x="201" y="93"/>
                  </a:lnTo>
                  <a:lnTo>
                    <a:pt x="206" y="105"/>
                  </a:lnTo>
                  <a:lnTo>
                    <a:pt x="15" y="105"/>
                  </a:lnTo>
                  <a:close/>
                  <a:moveTo>
                    <a:pt x="192" y="64"/>
                  </a:moveTo>
                  <a:lnTo>
                    <a:pt x="31" y="64"/>
                  </a:lnTo>
                  <a:lnTo>
                    <a:pt x="19" y="64"/>
                  </a:lnTo>
                  <a:lnTo>
                    <a:pt x="17" y="64"/>
                  </a:lnTo>
                  <a:lnTo>
                    <a:pt x="58" y="9"/>
                  </a:lnTo>
                  <a:lnTo>
                    <a:pt x="166" y="9"/>
                  </a:lnTo>
                  <a:lnTo>
                    <a:pt x="206" y="64"/>
                  </a:lnTo>
                  <a:lnTo>
                    <a:pt x="201" y="64"/>
                  </a:lnTo>
                  <a:lnTo>
                    <a:pt x="192" y="6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81" name="Rectangle 157"/>
            <p:cNvSpPr>
              <a:spLocks noChangeArrowheads="1"/>
            </p:cNvSpPr>
            <p:nvPr/>
          </p:nvSpPr>
          <p:spPr bwMode="auto">
            <a:xfrm>
              <a:off x="2496" y="2094"/>
              <a:ext cx="12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82" name="Rectangle 158"/>
            <p:cNvSpPr>
              <a:spLocks noChangeArrowheads="1"/>
            </p:cNvSpPr>
            <p:nvPr/>
          </p:nvSpPr>
          <p:spPr bwMode="auto">
            <a:xfrm>
              <a:off x="2506" y="2077"/>
              <a:ext cx="105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83" name="Rectangle 159"/>
            <p:cNvSpPr>
              <a:spLocks noChangeArrowheads="1"/>
            </p:cNvSpPr>
            <p:nvPr/>
          </p:nvSpPr>
          <p:spPr bwMode="auto">
            <a:xfrm>
              <a:off x="2515" y="2063"/>
              <a:ext cx="8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86" name="Group 162"/>
          <p:cNvGrpSpPr>
            <a:grpSpLocks noChangeAspect="1"/>
          </p:cNvGrpSpPr>
          <p:nvPr/>
        </p:nvGrpSpPr>
        <p:grpSpPr bwMode="auto">
          <a:xfrm>
            <a:off x="4715669" y="2765425"/>
            <a:ext cx="836613" cy="836613"/>
            <a:chOff x="2984" y="1742"/>
            <a:chExt cx="527" cy="527"/>
          </a:xfrm>
        </p:grpSpPr>
        <p:sp>
          <p:nvSpPr>
            <p:cNvPr id="52387" name="Oval 163"/>
            <p:cNvSpPr>
              <a:spLocks noChangeArrowheads="1"/>
            </p:cNvSpPr>
            <p:nvPr/>
          </p:nvSpPr>
          <p:spPr bwMode="auto">
            <a:xfrm>
              <a:off x="2984" y="1742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88" name="Freeform 164"/>
            <p:cNvSpPr>
              <a:spLocks noEditPoints="1"/>
            </p:cNvSpPr>
            <p:nvPr/>
          </p:nvSpPr>
          <p:spPr bwMode="auto">
            <a:xfrm>
              <a:off x="3006" y="176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89" name="Freeform 165"/>
            <p:cNvSpPr>
              <a:spLocks noEditPoints="1"/>
            </p:cNvSpPr>
            <p:nvPr/>
          </p:nvSpPr>
          <p:spPr bwMode="auto">
            <a:xfrm>
              <a:off x="3104" y="1860"/>
              <a:ext cx="294" cy="291"/>
            </a:xfrm>
            <a:custGeom>
              <a:avLst/>
              <a:gdLst/>
              <a:ahLst/>
              <a:cxnLst>
                <a:cxn ang="0">
                  <a:pos x="0" y="61"/>
                </a:cxn>
                <a:cxn ang="0">
                  <a:pos x="123" y="61"/>
                </a:cxn>
                <a:cxn ang="0">
                  <a:pos x="55" y="4"/>
                </a:cxn>
                <a:cxn ang="0">
                  <a:pos x="23" y="18"/>
                </a:cxn>
                <a:cxn ang="0">
                  <a:pos x="20" y="21"/>
                </a:cxn>
                <a:cxn ang="0">
                  <a:pos x="24" y="59"/>
                </a:cxn>
                <a:cxn ang="0">
                  <a:pos x="20" y="21"/>
                </a:cxn>
                <a:cxn ang="0">
                  <a:pos x="24" y="63"/>
                </a:cxn>
                <a:cxn ang="0">
                  <a:pos x="20" y="101"/>
                </a:cxn>
                <a:cxn ang="0">
                  <a:pos x="23" y="104"/>
                </a:cxn>
                <a:cxn ang="0">
                  <a:pos x="54" y="118"/>
                </a:cxn>
                <a:cxn ang="0">
                  <a:pos x="60" y="118"/>
                </a:cxn>
                <a:cxn ang="0">
                  <a:pos x="60" y="88"/>
                </a:cxn>
                <a:cxn ang="0">
                  <a:pos x="60" y="85"/>
                </a:cxn>
                <a:cxn ang="0">
                  <a:pos x="28" y="63"/>
                </a:cxn>
                <a:cxn ang="0">
                  <a:pos x="60" y="85"/>
                </a:cxn>
                <a:cxn ang="0">
                  <a:pos x="28" y="59"/>
                </a:cxn>
                <a:cxn ang="0">
                  <a:pos x="60" y="37"/>
                </a:cxn>
                <a:cxn ang="0">
                  <a:pos x="60" y="33"/>
                </a:cxn>
                <a:cxn ang="0">
                  <a:pos x="60" y="5"/>
                </a:cxn>
                <a:cxn ang="0">
                  <a:pos x="100" y="18"/>
                </a:cxn>
                <a:cxn ang="0">
                  <a:pos x="68" y="4"/>
                </a:cxn>
                <a:cxn ang="0">
                  <a:pos x="63" y="5"/>
                </a:cxn>
                <a:cxn ang="0">
                  <a:pos x="63" y="33"/>
                </a:cxn>
                <a:cxn ang="0">
                  <a:pos x="63" y="37"/>
                </a:cxn>
                <a:cxn ang="0">
                  <a:pos x="95" y="59"/>
                </a:cxn>
                <a:cxn ang="0">
                  <a:pos x="63" y="37"/>
                </a:cxn>
                <a:cxn ang="0">
                  <a:pos x="95" y="63"/>
                </a:cxn>
                <a:cxn ang="0">
                  <a:pos x="63" y="85"/>
                </a:cxn>
                <a:cxn ang="0">
                  <a:pos x="63" y="88"/>
                </a:cxn>
                <a:cxn ang="0">
                  <a:pos x="63" y="118"/>
                </a:cxn>
                <a:cxn ang="0">
                  <a:pos x="69" y="118"/>
                </a:cxn>
                <a:cxn ang="0">
                  <a:pos x="100" y="103"/>
                </a:cxn>
                <a:cxn ang="0">
                  <a:pos x="103" y="101"/>
                </a:cxn>
                <a:cxn ang="0">
                  <a:pos x="99" y="63"/>
                </a:cxn>
                <a:cxn ang="0">
                  <a:pos x="103" y="101"/>
                </a:cxn>
                <a:cxn ang="0">
                  <a:pos x="91" y="29"/>
                </a:cxn>
                <a:cxn ang="0">
                  <a:pos x="119" y="59"/>
                </a:cxn>
              </a:cxnLst>
              <a:rect l="0" t="0" r="r" b="b"/>
              <a:pathLst>
                <a:path w="123" h="122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95"/>
                    <a:pt x="28" y="122"/>
                    <a:pt x="61" y="122"/>
                  </a:cubicBezTo>
                  <a:cubicBezTo>
                    <a:pt x="95" y="122"/>
                    <a:pt x="123" y="95"/>
                    <a:pt x="123" y="61"/>
                  </a:cubicBezTo>
                  <a:cubicBezTo>
                    <a:pt x="123" y="27"/>
                    <a:pt x="95" y="0"/>
                    <a:pt x="61" y="0"/>
                  </a:cubicBezTo>
                  <a:close/>
                  <a:moveTo>
                    <a:pt x="55" y="4"/>
                  </a:moveTo>
                  <a:cubicBezTo>
                    <a:pt x="46" y="10"/>
                    <a:pt x="39" y="17"/>
                    <a:pt x="34" y="26"/>
                  </a:cubicBezTo>
                  <a:cubicBezTo>
                    <a:pt x="30" y="24"/>
                    <a:pt x="26" y="21"/>
                    <a:pt x="23" y="18"/>
                  </a:cubicBezTo>
                  <a:cubicBezTo>
                    <a:pt x="32" y="10"/>
                    <a:pt x="43" y="5"/>
                    <a:pt x="55" y="4"/>
                  </a:cubicBezTo>
                  <a:close/>
                  <a:moveTo>
                    <a:pt x="20" y="21"/>
                  </a:moveTo>
                  <a:cubicBezTo>
                    <a:pt x="24" y="24"/>
                    <a:pt x="28" y="27"/>
                    <a:pt x="32" y="29"/>
                  </a:cubicBezTo>
                  <a:cubicBezTo>
                    <a:pt x="27" y="38"/>
                    <a:pt x="25" y="49"/>
                    <a:pt x="2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44"/>
                    <a:pt x="10" y="31"/>
                    <a:pt x="20" y="21"/>
                  </a:cubicBezTo>
                  <a:close/>
                  <a:moveTo>
                    <a:pt x="4" y="63"/>
                  </a:moveTo>
                  <a:cubicBezTo>
                    <a:pt x="24" y="63"/>
                    <a:pt x="24" y="63"/>
                    <a:pt x="24" y="63"/>
                  </a:cubicBezTo>
                  <a:cubicBezTo>
                    <a:pt x="24" y="73"/>
                    <a:pt x="27" y="83"/>
                    <a:pt x="32" y="92"/>
                  </a:cubicBezTo>
                  <a:cubicBezTo>
                    <a:pt x="27" y="95"/>
                    <a:pt x="24" y="98"/>
                    <a:pt x="20" y="101"/>
                  </a:cubicBezTo>
                  <a:cubicBezTo>
                    <a:pt x="10" y="91"/>
                    <a:pt x="4" y="78"/>
                    <a:pt x="4" y="63"/>
                  </a:cubicBezTo>
                  <a:close/>
                  <a:moveTo>
                    <a:pt x="23" y="104"/>
                  </a:moveTo>
                  <a:cubicBezTo>
                    <a:pt x="26" y="101"/>
                    <a:pt x="29" y="98"/>
                    <a:pt x="33" y="96"/>
                  </a:cubicBezTo>
                  <a:cubicBezTo>
                    <a:pt x="38" y="104"/>
                    <a:pt x="45" y="112"/>
                    <a:pt x="54" y="118"/>
                  </a:cubicBezTo>
                  <a:cubicBezTo>
                    <a:pt x="42" y="117"/>
                    <a:pt x="31" y="111"/>
                    <a:pt x="23" y="104"/>
                  </a:cubicBezTo>
                  <a:close/>
                  <a:moveTo>
                    <a:pt x="60" y="118"/>
                  </a:moveTo>
                  <a:cubicBezTo>
                    <a:pt x="50" y="112"/>
                    <a:pt x="42" y="104"/>
                    <a:pt x="36" y="94"/>
                  </a:cubicBezTo>
                  <a:cubicBezTo>
                    <a:pt x="44" y="90"/>
                    <a:pt x="51" y="88"/>
                    <a:pt x="60" y="88"/>
                  </a:cubicBezTo>
                  <a:lnTo>
                    <a:pt x="60" y="118"/>
                  </a:lnTo>
                  <a:close/>
                  <a:moveTo>
                    <a:pt x="60" y="85"/>
                  </a:moveTo>
                  <a:cubicBezTo>
                    <a:pt x="51" y="85"/>
                    <a:pt x="42" y="87"/>
                    <a:pt x="35" y="91"/>
                  </a:cubicBezTo>
                  <a:cubicBezTo>
                    <a:pt x="30" y="82"/>
                    <a:pt x="28" y="73"/>
                    <a:pt x="28" y="63"/>
                  </a:cubicBezTo>
                  <a:cubicBezTo>
                    <a:pt x="60" y="63"/>
                    <a:pt x="60" y="63"/>
                    <a:pt x="60" y="63"/>
                  </a:cubicBezTo>
                  <a:lnTo>
                    <a:pt x="60" y="85"/>
                  </a:lnTo>
                  <a:close/>
                  <a:moveTo>
                    <a:pt x="60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49"/>
                    <a:pt x="31" y="40"/>
                    <a:pt x="35" y="31"/>
                  </a:cubicBezTo>
                  <a:cubicBezTo>
                    <a:pt x="43" y="35"/>
                    <a:pt x="51" y="37"/>
                    <a:pt x="60" y="37"/>
                  </a:cubicBezTo>
                  <a:lnTo>
                    <a:pt x="60" y="59"/>
                  </a:lnTo>
                  <a:close/>
                  <a:moveTo>
                    <a:pt x="60" y="33"/>
                  </a:moveTo>
                  <a:cubicBezTo>
                    <a:pt x="52" y="33"/>
                    <a:pt x="44" y="31"/>
                    <a:pt x="37" y="28"/>
                  </a:cubicBezTo>
                  <a:cubicBezTo>
                    <a:pt x="43" y="19"/>
                    <a:pt x="50" y="11"/>
                    <a:pt x="60" y="5"/>
                  </a:cubicBezTo>
                  <a:lnTo>
                    <a:pt x="60" y="33"/>
                  </a:lnTo>
                  <a:close/>
                  <a:moveTo>
                    <a:pt x="100" y="18"/>
                  </a:moveTo>
                  <a:cubicBezTo>
                    <a:pt x="97" y="21"/>
                    <a:pt x="93" y="24"/>
                    <a:pt x="89" y="26"/>
                  </a:cubicBezTo>
                  <a:cubicBezTo>
                    <a:pt x="84" y="17"/>
                    <a:pt x="77" y="10"/>
                    <a:pt x="68" y="4"/>
                  </a:cubicBezTo>
                  <a:cubicBezTo>
                    <a:pt x="80" y="5"/>
                    <a:pt x="91" y="10"/>
                    <a:pt x="100" y="18"/>
                  </a:cubicBezTo>
                  <a:close/>
                  <a:moveTo>
                    <a:pt x="63" y="5"/>
                  </a:moveTo>
                  <a:cubicBezTo>
                    <a:pt x="73" y="11"/>
                    <a:pt x="80" y="19"/>
                    <a:pt x="86" y="28"/>
                  </a:cubicBezTo>
                  <a:cubicBezTo>
                    <a:pt x="79" y="31"/>
                    <a:pt x="71" y="33"/>
                    <a:pt x="63" y="33"/>
                  </a:cubicBezTo>
                  <a:lnTo>
                    <a:pt x="63" y="5"/>
                  </a:lnTo>
                  <a:close/>
                  <a:moveTo>
                    <a:pt x="63" y="37"/>
                  </a:moveTo>
                  <a:cubicBezTo>
                    <a:pt x="72" y="37"/>
                    <a:pt x="80" y="35"/>
                    <a:pt x="88" y="31"/>
                  </a:cubicBezTo>
                  <a:cubicBezTo>
                    <a:pt x="92" y="40"/>
                    <a:pt x="95" y="49"/>
                    <a:pt x="95" y="59"/>
                  </a:cubicBezTo>
                  <a:cubicBezTo>
                    <a:pt x="63" y="59"/>
                    <a:pt x="63" y="59"/>
                    <a:pt x="63" y="59"/>
                  </a:cubicBezTo>
                  <a:lnTo>
                    <a:pt x="63" y="37"/>
                  </a:lnTo>
                  <a:close/>
                  <a:moveTo>
                    <a:pt x="63" y="63"/>
                  </a:moveTo>
                  <a:cubicBezTo>
                    <a:pt x="95" y="63"/>
                    <a:pt x="95" y="63"/>
                    <a:pt x="95" y="63"/>
                  </a:cubicBezTo>
                  <a:cubicBezTo>
                    <a:pt x="95" y="73"/>
                    <a:pt x="92" y="82"/>
                    <a:pt x="88" y="91"/>
                  </a:cubicBezTo>
                  <a:cubicBezTo>
                    <a:pt x="81" y="87"/>
                    <a:pt x="72" y="85"/>
                    <a:pt x="63" y="85"/>
                  </a:cubicBezTo>
                  <a:lnTo>
                    <a:pt x="63" y="63"/>
                  </a:lnTo>
                  <a:close/>
                  <a:moveTo>
                    <a:pt x="63" y="88"/>
                  </a:moveTo>
                  <a:cubicBezTo>
                    <a:pt x="71" y="88"/>
                    <a:pt x="79" y="90"/>
                    <a:pt x="87" y="94"/>
                  </a:cubicBezTo>
                  <a:cubicBezTo>
                    <a:pt x="81" y="104"/>
                    <a:pt x="73" y="112"/>
                    <a:pt x="63" y="118"/>
                  </a:cubicBezTo>
                  <a:lnTo>
                    <a:pt x="63" y="88"/>
                  </a:lnTo>
                  <a:close/>
                  <a:moveTo>
                    <a:pt x="69" y="118"/>
                  </a:moveTo>
                  <a:cubicBezTo>
                    <a:pt x="78" y="112"/>
                    <a:pt x="85" y="104"/>
                    <a:pt x="90" y="96"/>
                  </a:cubicBezTo>
                  <a:cubicBezTo>
                    <a:pt x="94" y="98"/>
                    <a:pt x="97" y="100"/>
                    <a:pt x="100" y="103"/>
                  </a:cubicBezTo>
                  <a:cubicBezTo>
                    <a:pt x="92" y="111"/>
                    <a:pt x="81" y="116"/>
                    <a:pt x="69" y="118"/>
                  </a:cubicBezTo>
                  <a:close/>
                  <a:moveTo>
                    <a:pt x="103" y="101"/>
                  </a:moveTo>
                  <a:cubicBezTo>
                    <a:pt x="99" y="98"/>
                    <a:pt x="96" y="95"/>
                    <a:pt x="91" y="92"/>
                  </a:cubicBezTo>
                  <a:cubicBezTo>
                    <a:pt x="96" y="83"/>
                    <a:pt x="99" y="73"/>
                    <a:pt x="9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78"/>
                    <a:pt x="113" y="91"/>
                    <a:pt x="103" y="101"/>
                  </a:cubicBezTo>
                  <a:close/>
                  <a:moveTo>
                    <a:pt x="99" y="59"/>
                  </a:moveTo>
                  <a:cubicBezTo>
                    <a:pt x="98" y="49"/>
                    <a:pt x="96" y="38"/>
                    <a:pt x="91" y="29"/>
                  </a:cubicBezTo>
                  <a:cubicBezTo>
                    <a:pt x="95" y="27"/>
                    <a:pt x="99" y="24"/>
                    <a:pt x="103" y="21"/>
                  </a:cubicBezTo>
                  <a:cubicBezTo>
                    <a:pt x="112" y="31"/>
                    <a:pt x="119" y="44"/>
                    <a:pt x="119" y="59"/>
                  </a:cubicBezTo>
                  <a:lnTo>
                    <a:pt x="99" y="5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392" name="Group 168"/>
          <p:cNvGrpSpPr>
            <a:grpSpLocks noChangeAspect="1"/>
          </p:cNvGrpSpPr>
          <p:nvPr/>
        </p:nvGrpSpPr>
        <p:grpSpPr bwMode="auto">
          <a:xfrm>
            <a:off x="5854696" y="2798765"/>
            <a:ext cx="768350" cy="768350"/>
            <a:chOff x="3694" y="1763"/>
            <a:chExt cx="484" cy="484"/>
          </a:xfrm>
        </p:grpSpPr>
        <p:sp>
          <p:nvSpPr>
            <p:cNvPr id="52393" name="Freeform 169"/>
            <p:cNvSpPr>
              <a:spLocks noEditPoints="1"/>
            </p:cNvSpPr>
            <p:nvPr/>
          </p:nvSpPr>
          <p:spPr bwMode="auto">
            <a:xfrm>
              <a:off x="3694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94" name="Freeform 170"/>
            <p:cNvSpPr>
              <a:spLocks noEditPoints="1"/>
            </p:cNvSpPr>
            <p:nvPr/>
          </p:nvSpPr>
          <p:spPr bwMode="auto">
            <a:xfrm>
              <a:off x="3793" y="1859"/>
              <a:ext cx="294" cy="293"/>
            </a:xfrm>
            <a:custGeom>
              <a:avLst/>
              <a:gdLst/>
              <a:ahLst/>
              <a:cxnLst>
                <a:cxn ang="0">
                  <a:pos x="0" y="61"/>
                </a:cxn>
                <a:cxn ang="0">
                  <a:pos x="123" y="61"/>
                </a:cxn>
                <a:cxn ang="0">
                  <a:pos x="55" y="4"/>
                </a:cxn>
                <a:cxn ang="0">
                  <a:pos x="23" y="18"/>
                </a:cxn>
                <a:cxn ang="0">
                  <a:pos x="20" y="21"/>
                </a:cxn>
                <a:cxn ang="0">
                  <a:pos x="24" y="59"/>
                </a:cxn>
                <a:cxn ang="0">
                  <a:pos x="20" y="21"/>
                </a:cxn>
                <a:cxn ang="0">
                  <a:pos x="24" y="63"/>
                </a:cxn>
                <a:cxn ang="0">
                  <a:pos x="20" y="101"/>
                </a:cxn>
                <a:cxn ang="0">
                  <a:pos x="23" y="104"/>
                </a:cxn>
                <a:cxn ang="0">
                  <a:pos x="54" y="118"/>
                </a:cxn>
                <a:cxn ang="0">
                  <a:pos x="60" y="118"/>
                </a:cxn>
                <a:cxn ang="0">
                  <a:pos x="60" y="88"/>
                </a:cxn>
                <a:cxn ang="0">
                  <a:pos x="60" y="85"/>
                </a:cxn>
                <a:cxn ang="0">
                  <a:pos x="28" y="63"/>
                </a:cxn>
                <a:cxn ang="0">
                  <a:pos x="60" y="85"/>
                </a:cxn>
                <a:cxn ang="0">
                  <a:pos x="28" y="59"/>
                </a:cxn>
                <a:cxn ang="0">
                  <a:pos x="60" y="37"/>
                </a:cxn>
                <a:cxn ang="0">
                  <a:pos x="60" y="33"/>
                </a:cxn>
                <a:cxn ang="0">
                  <a:pos x="60" y="5"/>
                </a:cxn>
                <a:cxn ang="0">
                  <a:pos x="100" y="18"/>
                </a:cxn>
                <a:cxn ang="0">
                  <a:pos x="68" y="4"/>
                </a:cxn>
                <a:cxn ang="0">
                  <a:pos x="63" y="5"/>
                </a:cxn>
                <a:cxn ang="0">
                  <a:pos x="63" y="33"/>
                </a:cxn>
                <a:cxn ang="0">
                  <a:pos x="63" y="37"/>
                </a:cxn>
                <a:cxn ang="0">
                  <a:pos x="95" y="59"/>
                </a:cxn>
                <a:cxn ang="0">
                  <a:pos x="63" y="37"/>
                </a:cxn>
                <a:cxn ang="0">
                  <a:pos x="95" y="63"/>
                </a:cxn>
                <a:cxn ang="0">
                  <a:pos x="63" y="85"/>
                </a:cxn>
                <a:cxn ang="0">
                  <a:pos x="63" y="88"/>
                </a:cxn>
                <a:cxn ang="0">
                  <a:pos x="63" y="118"/>
                </a:cxn>
                <a:cxn ang="0">
                  <a:pos x="69" y="118"/>
                </a:cxn>
                <a:cxn ang="0">
                  <a:pos x="100" y="103"/>
                </a:cxn>
                <a:cxn ang="0">
                  <a:pos x="103" y="101"/>
                </a:cxn>
                <a:cxn ang="0">
                  <a:pos x="99" y="63"/>
                </a:cxn>
                <a:cxn ang="0">
                  <a:pos x="103" y="101"/>
                </a:cxn>
                <a:cxn ang="0">
                  <a:pos x="91" y="29"/>
                </a:cxn>
                <a:cxn ang="0">
                  <a:pos x="119" y="59"/>
                </a:cxn>
              </a:cxnLst>
              <a:rect l="0" t="0" r="r" b="b"/>
              <a:pathLst>
                <a:path w="123" h="122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95"/>
                    <a:pt x="28" y="122"/>
                    <a:pt x="61" y="122"/>
                  </a:cubicBezTo>
                  <a:cubicBezTo>
                    <a:pt x="95" y="122"/>
                    <a:pt x="123" y="95"/>
                    <a:pt x="123" y="61"/>
                  </a:cubicBezTo>
                  <a:cubicBezTo>
                    <a:pt x="123" y="27"/>
                    <a:pt x="95" y="0"/>
                    <a:pt x="61" y="0"/>
                  </a:cubicBezTo>
                  <a:close/>
                  <a:moveTo>
                    <a:pt x="55" y="4"/>
                  </a:moveTo>
                  <a:cubicBezTo>
                    <a:pt x="46" y="10"/>
                    <a:pt x="39" y="17"/>
                    <a:pt x="34" y="26"/>
                  </a:cubicBezTo>
                  <a:cubicBezTo>
                    <a:pt x="30" y="24"/>
                    <a:pt x="26" y="21"/>
                    <a:pt x="23" y="18"/>
                  </a:cubicBezTo>
                  <a:cubicBezTo>
                    <a:pt x="32" y="10"/>
                    <a:pt x="43" y="5"/>
                    <a:pt x="55" y="4"/>
                  </a:cubicBezTo>
                  <a:close/>
                  <a:moveTo>
                    <a:pt x="20" y="21"/>
                  </a:moveTo>
                  <a:cubicBezTo>
                    <a:pt x="24" y="24"/>
                    <a:pt x="28" y="27"/>
                    <a:pt x="32" y="29"/>
                  </a:cubicBezTo>
                  <a:cubicBezTo>
                    <a:pt x="27" y="38"/>
                    <a:pt x="25" y="49"/>
                    <a:pt x="2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44"/>
                    <a:pt x="10" y="31"/>
                    <a:pt x="20" y="21"/>
                  </a:cubicBezTo>
                  <a:close/>
                  <a:moveTo>
                    <a:pt x="4" y="63"/>
                  </a:moveTo>
                  <a:cubicBezTo>
                    <a:pt x="24" y="63"/>
                    <a:pt x="24" y="63"/>
                    <a:pt x="24" y="63"/>
                  </a:cubicBezTo>
                  <a:cubicBezTo>
                    <a:pt x="24" y="73"/>
                    <a:pt x="27" y="83"/>
                    <a:pt x="32" y="92"/>
                  </a:cubicBezTo>
                  <a:cubicBezTo>
                    <a:pt x="27" y="95"/>
                    <a:pt x="24" y="98"/>
                    <a:pt x="20" y="101"/>
                  </a:cubicBezTo>
                  <a:cubicBezTo>
                    <a:pt x="10" y="91"/>
                    <a:pt x="4" y="78"/>
                    <a:pt x="4" y="63"/>
                  </a:cubicBezTo>
                  <a:close/>
                  <a:moveTo>
                    <a:pt x="23" y="104"/>
                  </a:moveTo>
                  <a:cubicBezTo>
                    <a:pt x="26" y="101"/>
                    <a:pt x="29" y="98"/>
                    <a:pt x="33" y="96"/>
                  </a:cubicBezTo>
                  <a:cubicBezTo>
                    <a:pt x="38" y="104"/>
                    <a:pt x="45" y="112"/>
                    <a:pt x="54" y="118"/>
                  </a:cubicBezTo>
                  <a:cubicBezTo>
                    <a:pt x="42" y="117"/>
                    <a:pt x="31" y="111"/>
                    <a:pt x="23" y="104"/>
                  </a:cubicBezTo>
                  <a:close/>
                  <a:moveTo>
                    <a:pt x="60" y="118"/>
                  </a:moveTo>
                  <a:cubicBezTo>
                    <a:pt x="50" y="112"/>
                    <a:pt x="42" y="104"/>
                    <a:pt x="36" y="94"/>
                  </a:cubicBezTo>
                  <a:cubicBezTo>
                    <a:pt x="44" y="90"/>
                    <a:pt x="51" y="88"/>
                    <a:pt x="60" y="88"/>
                  </a:cubicBezTo>
                  <a:lnTo>
                    <a:pt x="60" y="118"/>
                  </a:lnTo>
                  <a:close/>
                  <a:moveTo>
                    <a:pt x="60" y="85"/>
                  </a:moveTo>
                  <a:cubicBezTo>
                    <a:pt x="51" y="85"/>
                    <a:pt x="42" y="87"/>
                    <a:pt x="35" y="91"/>
                  </a:cubicBezTo>
                  <a:cubicBezTo>
                    <a:pt x="30" y="82"/>
                    <a:pt x="28" y="73"/>
                    <a:pt x="28" y="63"/>
                  </a:cubicBezTo>
                  <a:cubicBezTo>
                    <a:pt x="60" y="63"/>
                    <a:pt x="60" y="63"/>
                    <a:pt x="60" y="63"/>
                  </a:cubicBezTo>
                  <a:lnTo>
                    <a:pt x="60" y="85"/>
                  </a:lnTo>
                  <a:close/>
                  <a:moveTo>
                    <a:pt x="60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49"/>
                    <a:pt x="31" y="40"/>
                    <a:pt x="35" y="31"/>
                  </a:cubicBezTo>
                  <a:cubicBezTo>
                    <a:pt x="43" y="35"/>
                    <a:pt x="51" y="37"/>
                    <a:pt x="60" y="37"/>
                  </a:cubicBezTo>
                  <a:lnTo>
                    <a:pt x="60" y="59"/>
                  </a:lnTo>
                  <a:close/>
                  <a:moveTo>
                    <a:pt x="60" y="33"/>
                  </a:moveTo>
                  <a:cubicBezTo>
                    <a:pt x="52" y="33"/>
                    <a:pt x="44" y="31"/>
                    <a:pt x="37" y="28"/>
                  </a:cubicBezTo>
                  <a:cubicBezTo>
                    <a:pt x="43" y="19"/>
                    <a:pt x="50" y="11"/>
                    <a:pt x="60" y="5"/>
                  </a:cubicBezTo>
                  <a:lnTo>
                    <a:pt x="60" y="33"/>
                  </a:lnTo>
                  <a:close/>
                  <a:moveTo>
                    <a:pt x="100" y="18"/>
                  </a:moveTo>
                  <a:cubicBezTo>
                    <a:pt x="97" y="21"/>
                    <a:pt x="93" y="24"/>
                    <a:pt x="89" y="26"/>
                  </a:cubicBezTo>
                  <a:cubicBezTo>
                    <a:pt x="84" y="17"/>
                    <a:pt x="77" y="10"/>
                    <a:pt x="68" y="4"/>
                  </a:cubicBezTo>
                  <a:cubicBezTo>
                    <a:pt x="80" y="5"/>
                    <a:pt x="91" y="10"/>
                    <a:pt x="100" y="18"/>
                  </a:cubicBezTo>
                  <a:close/>
                  <a:moveTo>
                    <a:pt x="63" y="5"/>
                  </a:moveTo>
                  <a:cubicBezTo>
                    <a:pt x="73" y="11"/>
                    <a:pt x="80" y="19"/>
                    <a:pt x="86" y="28"/>
                  </a:cubicBezTo>
                  <a:cubicBezTo>
                    <a:pt x="79" y="31"/>
                    <a:pt x="71" y="33"/>
                    <a:pt x="63" y="33"/>
                  </a:cubicBezTo>
                  <a:lnTo>
                    <a:pt x="63" y="5"/>
                  </a:lnTo>
                  <a:close/>
                  <a:moveTo>
                    <a:pt x="63" y="37"/>
                  </a:moveTo>
                  <a:cubicBezTo>
                    <a:pt x="72" y="37"/>
                    <a:pt x="80" y="35"/>
                    <a:pt x="88" y="31"/>
                  </a:cubicBezTo>
                  <a:cubicBezTo>
                    <a:pt x="92" y="40"/>
                    <a:pt x="95" y="49"/>
                    <a:pt x="95" y="59"/>
                  </a:cubicBezTo>
                  <a:cubicBezTo>
                    <a:pt x="63" y="59"/>
                    <a:pt x="63" y="59"/>
                    <a:pt x="63" y="59"/>
                  </a:cubicBezTo>
                  <a:lnTo>
                    <a:pt x="63" y="37"/>
                  </a:lnTo>
                  <a:close/>
                  <a:moveTo>
                    <a:pt x="63" y="63"/>
                  </a:moveTo>
                  <a:cubicBezTo>
                    <a:pt x="95" y="63"/>
                    <a:pt x="95" y="63"/>
                    <a:pt x="95" y="63"/>
                  </a:cubicBezTo>
                  <a:cubicBezTo>
                    <a:pt x="95" y="73"/>
                    <a:pt x="92" y="82"/>
                    <a:pt x="88" y="91"/>
                  </a:cubicBezTo>
                  <a:cubicBezTo>
                    <a:pt x="81" y="87"/>
                    <a:pt x="72" y="85"/>
                    <a:pt x="63" y="85"/>
                  </a:cubicBezTo>
                  <a:lnTo>
                    <a:pt x="63" y="63"/>
                  </a:lnTo>
                  <a:close/>
                  <a:moveTo>
                    <a:pt x="63" y="88"/>
                  </a:moveTo>
                  <a:cubicBezTo>
                    <a:pt x="71" y="88"/>
                    <a:pt x="79" y="90"/>
                    <a:pt x="87" y="94"/>
                  </a:cubicBezTo>
                  <a:cubicBezTo>
                    <a:pt x="81" y="104"/>
                    <a:pt x="73" y="112"/>
                    <a:pt x="63" y="118"/>
                  </a:cubicBezTo>
                  <a:lnTo>
                    <a:pt x="63" y="88"/>
                  </a:lnTo>
                  <a:close/>
                  <a:moveTo>
                    <a:pt x="69" y="118"/>
                  </a:moveTo>
                  <a:cubicBezTo>
                    <a:pt x="78" y="112"/>
                    <a:pt x="85" y="104"/>
                    <a:pt x="90" y="96"/>
                  </a:cubicBezTo>
                  <a:cubicBezTo>
                    <a:pt x="94" y="98"/>
                    <a:pt x="97" y="100"/>
                    <a:pt x="100" y="103"/>
                  </a:cubicBezTo>
                  <a:cubicBezTo>
                    <a:pt x="92" y="111"/>
                    <a:pt x="81" y="116"/>
                    <a:pt x="69" y="118"/>
                  </a:cubicBezTo>
                  <a:close/>
                  <a:moveTo>
                    <a:pt x="103" y="101"/>
                  </a:moveTo>
                  <a:cubicBezTo>
                    <a:pt x="99" y="98"/>
                    <a:pt x="96" y="95"/>
                    <a:pt x="91" y="92"/>
                  </a:cubicBezTo>
                  <a:cubicBezTo>
                    <a:pt x="96" y="83"/>
                    <a:pt x="99" y="73"/>
                    <a:pt x="9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78"/>
                    <a:pt x="113" y="91"/>
                    <a:pt x="103" y="101"/>
                  </a:cubicBezTo>
                  <a:close/>
                  <a:moveTo>
                    <a:pt x="99" y="59"/>
                  </a:moveTo>
                  <a:cubicBezTo>
                    <a:pt x="98" y="49"/>
                    <a:pt x="96" y="38"/>
                    <a:pt x="91" y="29"/>
                  </a:cubicBezTo>
                  <a:cubicBezTo>
                    <a:pt x="95" y="27"/>
                    <a:pt x="99" y="24"/>
                    <a:pt x="103" y="21"/>
                  </a:cubicBezTo>
                  <a:cubicBezTo>
                    <a:pt x="112" y="31"/>
                    <a:pt x="119" y="44"/>
                    <a:pt x="119" y="59"/>
                  </a:cubicBezTo>
                  <a:lnTo>
                    <a:pt x="99" y="5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397" name="Group 173"/>
          <p:cNvGrpSpPr>
            <a:grpSpLocks noChangeAspect="1"/>
          </p:cNvGrpSpPr>
          <p:nvPr/>
        </p:nvGrpSpPr>
        <p:grpSpPr bwMode="auto">
          <a:xfrm>
            <a:off x="6918325" y="2765425"/>
            <a:ext cx="836612" cy="836613"/>
            <a:chOff x="4361" y="1742"/>
            <a:chExt cx="527" cy="527"/>
          </a:xfrm>
        </p:grpSpPr>
        <p:sp>
          <p:nvSpPr>
            <p:cNvPr id="52398" name="Oval 174"/>
            <p:cNvSpPr>
              <a:spLocks noChangeArrowheads="1"/>
            </p:cNvSpPr>
            <p:nvPr/>
          </p:nvSpPr>
          <p:spPr bwMode="auto">
            <a:xfrm>
              <a:off x="4361" y="1742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99" name="Freeform 175"/>
            <p:cNvSpPr>
              <a:spLocks noEditPoints="1"/>
            </p:cNvSpPr>
            <p:nvPr/>
          </p:nvSpPr>
          <p:spPr bwMode="auto">
            <a:xfrm>
              <a:off x="4383" y="176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00" name="Freeform 176"/>
            <p:cNvSpPr>
              <a:spLocks noEditPoints="1"/>
            </p:cNvSpPr>
            <p:nvPr/>
          </p:nvSpPr>
          <p:spPr bwMode="auto">
            <a:xfrm>
              <a:off x="4481" y="1845"/>
              <a:ext cx="287" cy="297"/>
            </a:xfrm>
            <a:custGeom>
              <a:avLst/>
              <a:gdLst/>
              <a:ahLst/>
              <a:cxnLst>
                <a:cxn ang="0">
                  <a:pos x="251" y="242"/>
                </a:cxn>
                <a:cxn ang="0">
                  <a:pos x="258" y="113"/>
                </a:cxn>
                <a:cxn ang="0">
                  <a:pos x="285" y="89"/>
                </a:cxn>
                <a:cxn ang="0">
                  <a:pos x="143" y="0"/>
                </a:cxn>
                <a:cxn ang="0">
                  <a:pos x="5" y="89"/>
                </a:cxn>
                <a:cxn ang="0">
                  <a:pos x="29" y="113"/>
                </a:cxn>
                <a:cxn ang="0">
                  <a:pos x="36" y="242"/>
                </a:cxn>
                <a:cxn ang="0">
                  <a:pos x="17" y="263"/>
                </a:cxn>
                <a:cxn ang="0">
                  <a:pos x="0" y="297"/>
                </a:cxn>
                <a:cxn ang="0">
                  <a:pos x="287" y="263"/>
                </a:cxn>
                <a:cxn ang="0">
                  <a:pos x="270" y="242"/>
                </a:cxn>
                <a:cxn ang="0">
                  <a:pos x="220" y="242"/>
                </a:cxn>
                <a:cxn ang="0">
                  <a:pos x="239" y="113"/>
                </a:cxn>
                <a:cxn ang="0">
                  <a:pos x="76" y="242"/>
                </a:cxn>
                <a:cxn ang="0">
                  <a:pos x="98" y="113"/>
                </a:cxn>
                <a:cxn ang="0">
                  <a:pos x="76" y="242"/>
                </a:cxn>
                <a:cxn ang="0">
                  <a:pos x="122" y="113"/>
                </a:cxn>
                <a:cxn ang="0">
                  <a:pos x="103" y="242"/>
                </a:cxn>
                <a:cxn ang="0">
                  <a:pos x="136" y="242"/>
                </a:cxn>
                <a:cxn ang="0">
                  <a:pos x="155" y="113"/>
                </a:cxn>
                <a:cxn ang="0">
                  <a:pos x="136" y="242"/>
                </a:cxn>
                <a:cxn ang="0">
                  <a:pos x="179" y="113"/>
                </a:cxn>
                <a:cxn ang="0">
                  <a:pos x="160" y="242"/>
                </a:cxn>
                <a:cxn ang="0">
                  <a:pos x="194" y="242"/>
                </a:cxn>
                <a:cxn ang="0">
                  <a:pos x="215" y="113"/>
                </a:cxn>
                <a:cxn ang="0">
                  <a:pos x="194" y="242"/>
                </a:cxn>
                <a:cxn ang="0">
                  <a:pos x="143" y="10"/>
                </a:cxn>
                <a:cxn ang="0">
                  <a:pos x="275" y="79"/>
                </a:cxn>
                <a:cxn ang="0">
                  <a:pos x="12" y="62"/>
                </a:cxn>
                <a:cxn ang="0">
                  <a:pos x="249" y="89"/>
                </a:cxn>
                <a:cxn ang="0">
                  <a:pos x="38" y="103"/>
                </a:cxn>
                <a:cxn ang="0">
                  <a:pos x="50" y="113"/>
                </a:cxn>
                <a:cxn ang="0">
                  <a:pos x="69" y="242"/>
                </a:cxn>
                <a:cxn ang="0">
                  <a:pos x="50" y="113"/>
                </a:cxn>
                <a:cxn ang="0">
                  <a:pos x="263" y="251"/>
                </a:cxn>
                <a:cxn ang="0">
                  <a:pos x="26" y="263"/>
                </a:cxn>
                <a:cxn ang="0">
                  <a:pos x="277" y="287"/>
                </a:cxn>
                <a:cxn ang="0">
                  <a:pos x="9" y="271"/>
                </a:cxn>
                <a:cxn ang="0">
                  <a:pos x="277" y="287"/>
                </a:cxn>
              </a:cxnLst>
              <a:rect l="0" t="0" r="r" b="b"/>
              <a:pathLst>
                <a:path w="287" h="297">
                  <a:moveTo>
                    <a:pt x="270" y="242"/>
                  </a:moveTo>
                  <a:lnTo>
                    <a:pt x="251" y="242"/>
                  </a:lnTo>
                  <a:lnTo>
                    <a:pt x="246" y="113"/>
                  </a:lnTo>
                  <a:lnTo>
                    <a:pt x="258" y="113"/>
                  </a:lnTo>
                  <a:lnTo>
                    <a:pt x="258" y="89"/>
                  </a:lnTo>
                  <a:lnTo>
                    <a:pt x="285" y="89"/>
                  </a:lnTo>
                  <a:lnTo>
                    <a:pt x="285" y="58"/>
                  </a:lnTo>
                  <a:lnTo>
                    <a:pt x="143" y="0"/>
                  </a:lnTo>
                  <a:lnTo>
                    <a:pt x="5" y="58"/>
                  </a:lnTo>
                  <a:lnTo>
                    <a:pt x="5" y="89"/>
                  </a:lnTo>
                  <a:lnTo>
                    <a:pt x="29" y="89"/>
                  </a:lnTo>
                  <a:lnTo>
                    <a:pt x="29" y="113"/>
                  </a:lnTo>
                  <a:lnTo>
                    <a:pt x="41" y="113"/>
                  </a:lnTo>
                  <a:lnTo>
                    <a:pt x="36" y="242"/>
                  </a:lnTo>
                  <a:lnTo>
                    <a:pt x="17" y="242"/>
                  </a:lnTo>
                  <a:lnTo>
                    <a:pt x="17" y="263"/>
                  </a:lnTo>
                  <a:lnTo>
                    <a:pt x="0" y="263"/>
                  </a:lnTo>
                  <a:lnTo>
                    <a:pt x="0" y="297"/>
                  </a:lnTo>
                  <a:lnTo>
                    <a:pt x="287" y="297"/>
                  </a:lnTo>
                  <a:lnTo>
                    <a:pt x="287" y="263"/>
                  </a:lnTo>
                  <a:lnTo>
                    <a:pt x="270" y="263"/>
                  </a:lnTo>
                  <a:lnTo>
                    <a:pt x="270" y="242"/>
                  </a:lnTo>
                  <a:close/>
                  <a:moveTo>
                    <a:pt x="242" y="242"/>
                  </a:moveTo>
                  <a:lnTo>
                    <a:pt x="220" y="242"/>
                  </a:lnTo>
                  <a:lnTo>
                    <a:pt x="222" y="113"/>
                  </a:lnTo>
                  <a:lnTo>
                    <a:pt x="239" y="113"/>
                  </a:lnTo>
                  <a:lnTo>
                    <a:pt x="242" y="242"/>
                  </a:lnTo>
                  <a:close/>
                  <a:moveTo>
                    <a:pt x="76" y="242"/>
                  </a:moveTo>
                  <a:lnTo>
                    <a:pt x="74" y="113"/>
                  </a:lnTo>
                  <a:lnTo>
                    <a:pt x="98" y="113"/>
                  </a:lnTo>
                  <a:lnTo>
                    <a:pt x="96" y="242"/>
                  </a:lnTo>
                  <a:lnTo>
                    <a:pt x="76" y="242"/>
                  </a:lnTo>
                  <a:close/>
                  <a:moveTo>
                    <a:pt x="108" y="113"/>
                  </a:moveTo>
                  <a:lnTo>
                    <a:pt x="122" y="113"/>
                  </a:lnTo>
                  <a:lnTo>
                    <a:pt x="127" y="242"/>
                  </a:lnTo>
                  <a:lnTo>
                    <a:pt x="103" y="242"/>
                  </a:lnTo>
                  <a:lnTo>
                    <a:pt x="108" y="113"/>
                  </a:lnTo>
                  <a:close/>
                  <a:moveTo>
                    <a:pt x="136" y="242"/>
                  </a:moveTo>
                  <a:lnTo>
                    <a:pt x="132" y="113"/>
                  </a:lnTo>
                  <a:lnTo>
                    <a:pt x="155" y="113"/>
                  </a:lnTo>
                  <a:lnTo>
                    <a:pt x="153" y="242"/>
                  </a:lnTo>
                  <a:lnTo>
                    <a:pt x="136" y="242"/>
                  </a:lnTo>
                  <a:close/>
                  <a:moveTo>
                    <a:pt x="165" y="113"/>
                  </a:moveTo>
                  <a:lnTo>
                    <a:pt x="179" y="113"/>
                  </a:lnTo>
                  <a:lnTo>
                    <a:pt x="184" y="242"/>
                  </a:lnTo>
                  <a:lnTo>
                    <a:pt x="160" y="242"/>
                  </a:lnTo>
                  <a:lnTo>
                    <a:pt x="165" y="113"/>
                  </a:lnTo>
                  <a:close/>
                  <a:moveTo>
                    <a:pt x="194" y="242"/>
                  </a:moveTo>
                  <a:lnTo>
                    <a:pt x="189" y="113"/>
                  </a:lnTo>
                  <a:lnTo>
                    <a:pt x="215" y="113"/>
                  </a:lnTo>
                  <a:lnTo>
                    <a:pt x="210" y="242"/>
                  </a:lnTo>
                  <a:lnTo>
                    <a:pt x="194" y="242"/>
                  </a:lnTo>
                  <a:close/>
                  <a:moveTo>
                    <a:pt x="12" y="62"/>
                  </a:moveTo>
                  <a:lnTo>
                    <a:pt x="143" y="10"/>
                  </a:lnTo>
                  <a:lnTo>
                    <a:pt x="275" y="62"/>
                  </a:lnTo>
                  <a:lnTo>
                    <a:pt x="275" y="79"/>
                  </a:lnTo>
                  <a:lnTo>
                    <a:pt x="12" y="79"/>
                  </a:lnTo>
                  <a:lnTo>
                    <a:pt x="12" y="62"/>
                  </a:lnTo>
                  <a:close/>
                  <a:moveTo>
                    <a:pt x="38" y="89"/>
                  </a:moveTo>
                  <a:lnTo>
                    <a:pt x="249" y="89"/>
                  </a:lnTo>
                  <a:lnTo>
                    <a:pt x="249" y="103"/>
                  </a:lnTo>
                  <a:lnTo>
                    <a:pt x="38" y="103"/>
                  </a:lnTo>
                  <a:lnTo>
                    <a:pt x="38" y="89"/>
                  </a:lnTo>
                  <a:close/>
                  <a:moveTo>
                    <a:pt x="50" y="113"/>
                  </a:moveTo>
                  <a:lnTo>
                    <a:pt x="65" y="113"/>
                  </a:lnTo>
                  <a:lnTo>
                    <a:pt x="69" y="242"/>
                  </a:lnTo>
                  <a:lnTo>
                    <a:pt x="45" y="242"/>
                  </a:lnTo>
                  <a:lnTo>
                    <a:pt x="50" y="113"/>
                  </a:lnTo>
                  <a:close/>
                  <a:moveTo>
                    <a:pt x="26" y="251"/>
                  </a:moveTo>
                  <a:lnTo>
                    <a:pt x="263" y="251"/>
                  </a:lnTo>
                  <a:lnTo>
                    <a:pt x="263" y="263"/>
                  </a:lnTo>
                  <a:lnTo>
                    <a:pt x="26" y="263"/>
                  </a:lnTo>
                  <a:lnTo>
                    <a:pt x="26" y="251"/>
                  </a:lnTo>
                  <a:close/>
                  <a:moveTo>
                    <a:pt x="277" y="287"/>
                  </a:moveTo>
                  <a:lnTo>
                    <a:pt x="9" y="287"/>
                  </a:lnTo>
                  <a:lnTo>
                    <a:pt x="9" y="271"/>
                  </a:lnTo>
                  <a:lnTo>
                    <a:pt x="277" y="271"/>
                  </a:lnTo>
                  <a:lnTo>
                    <a:pt x="277" y="2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03" name="Group 179"/>
          <p:cNvGrpSpPr>
            <a:grpSpLocks noChangeAspect="1"/>
          </p:cNvGrpSpPr>
          <p:nvPr/>
        </p:nvGrpSpPr>
        <p:grpSpPr bwMode="auto">
          <a:xfrm>
            <a:off x="8055775" y="2798765"/>
            <a:ext cx="768350" cy="768350"/>
            <a:chOff x="5071" y="1763"/>
            <a:chExt cx="484" cy="484"/>
          </a:xfrm>
        </p:grpSpPr>
        <p:sp>
          <p:nvSpPr>
            <p:cNvPr id="52404" name="Freeform 180"/>
            <p:cNvSpPr>
              <a:spLocks noEditPoints="1"/>
            </p:cNvSpPr>
            <p:nvPr/>
          </p:nvSpPr>
          <p:spPr bwMode="auto">
            <a:xfrm>
              <a:off x="5071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05" name="Freeform 181"/>
            <p:cNvSpPr>
              <a:spLocks noEditPoints="1"/>
            </p:cNvSpPr>
            <p:nvPr/>
          </p:nvSpPr>
          <p:spPr bwMode="auto">
            <a:xfrm>
              <a:off x="5170" y="1845"/>
              <a:ext cx="287" cy="297"/>
            </a:xfrm>
            <a:custGeom>
              <a:avLst/>
              <a:gdLst/>
              <a:ahLst/>
              <a:cxnLst>
                <a:cxn ang="0">
                  <a:pos x="251" y="242"/>
                </a:cxn>
                <a:cxn ang="0">
                  <a:pos x="258" y="112"/>
                </a:cxn>
                <a:cxn ang="0">
                  <a:pos x="285" y="88"/>
                </a:cxn>
                <a:cxn ang="0">
                  <a:pos x="143" y="0"/>
                </a:cxn>
                <a:cxn ang="0">
                  <a:pos x="4" y="88"/>
                </a:cxn>
                <a:cxn ang="0">
                  <a:pos x="28" y="112"/>
                </a:cxn>
                <a:cxn ang="0">
                  <a:pos x="36" y="242"/>
                </a:cxn>
                <a:cxn ang="0">
                  <a:pos x="16" y="263"/>
                </a:cxn>
                <a:cxn ang="0">
                  <a:pos x="0" y="297"/>
                </a:cxn>
                <a:cxn ang="0">
                  <a:pos x="287" y="263"/>
                </a:cxn>
                <a:cxn ang="0">
                  <a:pos x="270" y="242"/>
                </a:cxn>
                <a:cxn ang="0">
                  <a:pos x="220" y="242"/>
                </a:cxn>
                <a:cxn ang="0">
                  <a:pos x="239" y="112"/>
                </a:cxn>
                <a:cxn ang="0">
                  <a:pos x="76" y="242"/>
                </a:cxn>
                <a:cxn ang="0">
                  <a:pos x="98" y="112"/>
                </a:cxn>
                <a:cxn ang="0">
                  <a:pos x="76" y="242"/>
                </a:cxn>
                <a:cxn ang="0">
                  <a:pos x="122" y="112"/>
                </a:cxn>
                <a:cxn ang="0">
                  <a:pos x="103" y="242"/>
                </a:cxn>
                <a:cxn ang="0">
                  <a:pos x="136" y="242"/>
                </a:cxn>
                <a:cxn ang="0">
                  <a:pos x="155" y="112"/>
                </a:cxn>
                <a:cxn ang="0">
                  <a:pos x="136" y="242"/>
                </a:cxn>
                <a:cxn ang="0">
                  <a:pos x="179" y="112"/>
                </a:cxn>
                <a:cxn ang="0">
                  <a:pos x="160" y="242"/>
                </a:cxn>
                <a:cxn ang="0">
                  <a:pos x="194" y="242"/>
                </a:cxn>
                <a:cxn ang="0">
                  <a:pos x="215" y="112"/>
                </a:cxn>
                <a:cxn ang="0">
                  <a:pos x="194" y="242"/>
                </a:cxn>
                <a:cxn ang="0">
                  <a:pos x="143" y="9"/>
                </a:cxn>
                <a:cxn ang="0">
                  <a:pos x="275" y="79"/>
                </a:cxn>
                <a:cxn ang="0">
                  <a:pos x="12" y="62"/>
                </a:cxn>
                <a:cxn ang="0">
                  <a:pos x="249" y="88"/>
                </a:cxn>
                <a:cxn ang="0">
                  <a:pos x="38" y="103"/>
                </a:cxn>
                <a:cxn ang="0">
                  <a:pos x="50" y="112"/>
                </a:cxn>
                <a:cxn ang="0">
                  <a:pos x="69" y="242"/>
                </a:cxn>
                <a:cxn ang="0">
                  <a:pos x="50" y="112"/>
                </a:cxn>
                <a:cxn ang="0">
                  <a:pos x="263" y="251"/>
                </a:cxn>
                <a:cxn ang="0">
                  <a:pos x="26" y="263"/>
                </a:cxn>
                <a:cxn ang="0">
                  <a:pos x="278" y="287"/>
                </a:cxn>
                <a:cxn ang="0">
                  <a:pos x="9" y="271"/>
                </a:cxn>
                <a:cxn ang="0">
                  <a:pos x="278" y="287"/>
                </a:cxn>
              </a:cxnLst>
              <a:rect l="0" t="0" r="r" b="b"/>
              <a:pathLst>
                <a:path w="287" h="297">
                  <a:moveTo>
                    <a:pt x="270" y="242"/>
                  </a:moveTo>
                  <a:lnTo>
                    <a:pt x="251" y="242"/>
                  </a:lnTo>
                  <a:lnTo>
                    <a:pt x="246" y="112"/>
                  </a:lnTo>
                  <a:lnTo>
                    <a:pt x="258" y="112"/>
                  </a:lnTo>
                  <a:lnTo>
                    <a:pt x="258" y="88"/>
                  </a:lnTo>
                  <a:lnTo>
                    <a:pt x="285" y="88"/>
                  </a:lnTo>
                  <a:lnTo>
                    <a:pt x="285" y="57"/>
                  </a:lnTo>
                  <a:lnTo>
                    <a:pt x="143" y="0"/>
                  </a:lnTo>
                  <a:lnTo>
                    <a:pt x="4" y="57"/>
                  </a:lnTo>
                  <a:lnTo>
                    <a:pt x="4" y="88"/>
                  </a:lnTo>
                  <a:lnTo>
                    <a:pt x="28" y="88"/>
                  </a:lnTo>
                  <a:lnTo>
                    <a:pt x="28" y="112"/>
                  </a:lnTo>
                  <a:lnTo>
                    <a:pt x="40" y="112"/>
                  </a:lnTo>
                  <a:lnTo>
                    <a:pt x="36" y="242"/>
                  </a:lnTo>
                  <a:lnTo>
                    <a:pt x="16" y="242"/>
                  </a:lnTo>
                  <a:lnTo>
                    <a:pt x="16" y="263"/>
                  </a:lnTo>
                  <a:lnTo>
                    <a:pt x="0" y="263"/>
                  </a:lnTo>
                  <a:lnTo>
                    <a:pt x="0" y="297"/>
                  </a:lnTo>
                  <a:lnTo>
                    <a:pt x="287" y="297"/>
                  </a:lnTo>
                  <a:lnTo>
                    <a:pt x="287" y="263"/>
                  </a:lnTo>
                  <a:lnTo>
                    <a:pt x="270" y="263"/>
                  </a:lnTo>
                  <a:lnTo>
                    <a:pt x="270" y="242"/>
                  </a:lnTo>
                  <a:close/>
                  <a:moveTo>
                    <a:pt x="242" y="242"/>
                  </a:moveTo>
                  <a:lnTo>
                    <a:pt x="220" y="242"/>
                  </a:lnTo>
                  <a:lnTo>
                    <a:pt x="222" y="112"/>
                  </a:lnTo>
                  <a:lnTo>
                    <a:pt x="239" y="112"/>
                  </a:lnTo>
                  <a:lnTo>
                    <a:pt x="242" y="242"/>
                  </a:lnTo>
                  <a:close/>
                  <a:moveTo>
                    <a:pt x="76" y="242"/>
                  </a:moveTo>
                  <a:lnTo>
                    <a:pt x="74" y="112"/>
                  </a:lnTo>
                  <a:lnTo>
                    <a:pt x="98" y="112"/>
                  </a:lnTo>
                  <a:lnTo>
                    <a:pt x="95" y="242"/>
                  </a:lnTo>
                  <a:lnTo>
                    <a:pt x="76" y="242"/>
                  </a:lnTo>
                  <a:close/>
                  <a:moveTo>
                    <a:pt x="107" y="112"/>
                  </a:moveTo>
                  <a:lnTo>
                    <a:pt x="122" y="112"/>
                  </a:lnTo>
                  <a:lnTo>
                    <a:pt x="127" y="242"/>
                  </a:lnTo>
                  <a:lnTo>
                    <a:pt x="103" y="242"/>
                  </a:lnTo>
                  <a:lnTo>
                    <a:pt x="107" y="112"/>
                  </a:lnTo>
                  <a:close/>
                  <a:moveTo>
                    <a:pt x="136" y="242"/>
                  </a:moveTo>
                  <a:lnTo>
                    <a:pt x="131" y="112"/>
                  </a:lnTo>
                  <a:lnTo>
                    <a:pt x="155" y="112"/>
                  </a:lnTo>
                  <a:lnTo>
                    <a:pt x="153" y="242"/>
                  </a:lnTo>
                  <a:lnTo>
                    <a:pt x="136" y="242"/>
                  </a:lnTo>
                  <a:close/>
                  <a:moveTo>
                    <a:pt x="165" y="112"/>
                  </a:moveTo>
                  <a:lnTo>
                    <a:pt x="179" y="112"/>
                  </a:lnTo>
                  <a:lnTo>
                    <a:pt x="184" y="242"/>
                  </a:lnTo>
                  <a:lnTo>
                    <a:pt x="160" y="242"/>
                  </a:lnTo>
                  <a:lnTo>
                    <a:pt x="165" y="112"/>
                  </a:lnTo>
                  <a:close/>
                  <a:moveTo>
                    <a:pt x="194" y="242"/>
                  </a:moveTo>
                  <a:lnTo>
                    <a:pt x="189" y="112"/>
                  </a:lnTo>
                  <a:lnTo>
                    <a:pt x="215" y="112"/>
                  </a:lnTo>
                  <a:lnTo>
                    <a:pt x="211" y="242"/>
                  </a:lnTo>
                  <a:lnTo>
                    <a:pt x="194" y="242"/>
                  </a:lnTo>
                  <a:close/>
                  <a:moveTo>
                    <a:pt x="12" y="62"/>
                  </a:moveTo>
                  <a:lnTo>
                    <a:pt x="143" y="9"/>
                  </a:lnTo>
                  <a:lnTo>
                    <a:pt x="275" y="62"/>
                  </a:lnTo>
                  <a:lnTo>
                    <a:pt x="275" y="79"/>
                  </a:lnTo>
                  <a:lnTo>
                    <a:pt x="12" y="79"/>
                  </a:lnTo>
                  <a:lnTo>
                    <a:pt x="12" y="62"/>
                  </a:lnTo>
                  <a:close/>
                  <a:moveTo>
                    <a:pt x="38" y="88"/>
                  </a:moveTo>
                  <a:lnTo>
                    <a:pt x="249" y="88"/>
                  </a:lnTo>
                  <a:lnTo>
                    <a:pt x="249" y="103"/>
                  </a:lnTo>
                  <a:lnTo>
                    <a:pt x="38" y="103"/>
                  </a:lnTo>
                  <a:lnTo>
                    <a:pt x="38" y="88"/>
                  </a:lnTo>
                  <a:close/>
                  <a:moveTo>
                    <a:pt x="50" y="112"/>
                  </a:moveTo>
                  <a:lnTo>
                    <a:pt x="64" y="112"/>
                  </a:lnTo>
                  <a:lnTo>
                    <a:pt x="69" y="242"/>
                  </a:lnTo>
                  <a:lnTo>
                    <a:pt x="45" y="242"/>
                  </a:lnTo>
                  <a:lnTo>
                    <a:pt x="50" y="112"/>
                  </a:lnTo>
                  <a:close/>
                  <a:moveTo>
                    <a:pt x="26" y="251"/>
                  </a:moveTo>
                  <a:lnTo>
                    <a:pt x="263" y="251"/>
                  </a:lnTo>
                  <a:lnTo>
                    <a:pt x="263" y="263"/>
                  </a:lnTo>
                  <a:lnTo>
                    <a:pt x="26" y="263"/>
                  </a:lnTo>
                  <a:lnTo>
                    <a:pt x="26" y="251"/>
                  </a:lnTo>
                  <a:close/>
                  <a:moveTo>
                    <a:pt x="278" y="287"/>
                  </a:moveTo>
                  <a:lnTo>
                    <a:pt x="9" y="287"/>
                  </a:lnTo>
                  <a:lnTo>
                    <a:pt x="9" y="271"/>
                  </a:lnTo>
                  <a:lnTo>
                    <a:pt x="278" y="271"/>
                  </a:lnTo>
                  <a:lnTo>
                    <a:pt x="278" y="28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08" name="Group 184"/>
          <p:cNvGrpSpPr>
            <a:grpSpLocks noChangeAspect="1"/>
          </p:cNvGrpSpPr>
          <p:nvPr/>
        </p:nvGrpSpPr>
        <p:grpSpPr bwMode="auto">
          <a:xfrm>
            <a:off x="346869" y="4071938"/>
            <a:ext cx="838200" cy="838200"/>
            <a:chOff x="215" y="2565"/>
            <a:chExt cx="528" cy="528"/>
          </a:xfrm>
        </p:grpSpPr>
        <p:sp>
          <p:nvSpPr>
            <p:cNvPr id="52409" name="Oval 185"/>
            <p:cNvSpPr>
              <a:spLocks noChangeArrowheads="1"/>
            </p:cNvSpPr>
            <p:nvPr/>
          </p:nvSpPr>
          <p:spPr bwMode="auto">
            <a:xfrm>
              <a:off x="215" y="2565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10" name="Freeform 186"/>
            <p:cNvSpPr>
              <a:spLocks noEditPoints="1"/>
            </p:cNvSpPr>
            <p:nvPr/>
          </p:nvSpPr>
          <p:spPr bwMode="auto">
            <a:xfrm>
              <a:off x="237" y="2586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11" name="Freeform 187"/>
            <p:cNvSpPr>
              <a:spLocks noEditPoints="1"/>
            </p:cNvSpPr>
            <p:nvPr/>
          </p:nvSpPr>
          <p:spPr bwMode="auto">
            <a:xfrm>
              <a:off x="414" y="2672"/>
              <a:ext cx="108" cy="65"/>
            </a:xfrm>
            <a:custGeom>
              <a:avLst/>
              <a:gdLst/>
              <a:ahLst/>
              <a:cxnLst>
                <a:cxn ang="0">
                  <a:pos x="103" y="36"/>
                </a:cxn>
                <a:cxn ang="0">
                  <a:pos x="106" y="31"/>
                </a:cxn>
                <a:cxn ang="0">
                  <a:pos x="108" y="5"/>
                </a:cxn>
                <a:cxn ang="0">
                  <a:pos x="101" y="0"/>
                </a:cxn>
                <a:cxn ang="0">
                  <a:pos x="5" y="31"/>
                </a:cxn>
                <a:cxn ang="0">
                  <a:pos x="0" y="34"/>
                </a:cxn>
                <a:cxn ang="0">
                  <a:pos x="0" y="60"/>
                </a:cxn>
                <a:cxn ang="0">
                  <a:pos x="5" y="65"/>
                </a:cxn>
                <a:cxn ang="0">
                  <a:pos x="103" y="36"/>
                </a:cxn>
                <a:cxn ang="0">
                  <a:pos x="10" y="39"/>
                </a:cxn>
                <a:cxn ang="0">
                  <a:pos x="99" y="12"/>
                </a:cxn>
                <a:cxn ang="0">
                  <a:pos x="99" y="29"/>
                </a:cxn>
                <a:cxn ang="0">
                  <a:pos x="8" y="55"/>
                </a:cxn>
                <a:cxn ang="0">
                  <a:pos x="10" y="39"/>
                </a:cxn>
              </a:cxnLst>
              <a:rect l="0" t="0" r="r" b="b"/>
              <a:pathLst>
                <a:path w="108" h="65">
                  <a:moveTo>
                    <a:pt x="103" y="36"/>
                  </a:moveTo>
                  <a:lnTo>
                    <a:pt x="106" y="31"/>
                  </a:lnTo>
                  <a:lnTo>
                    <a:pt x="108" y="5"/>
                  </a:lnTo>
                  <a:lnTo>
                    <a:pt x="101" y="0"/>
                  </a:lnTo>
                  <a:lnTo>
                    <a:pt x="5" y="31"/>
                  </a:lnTo>
                  <a:lnTo>
                    <a:pt x="0" y="34"/>
                  </a:lnTo>
                  <a:lnTo>
                    <a:pt x="0" y="60"/>
                  </a:lnTo>
                  <a:lnTo>
                    <a:pt x="5" y="65"/>
                  </a:lnTo>
                  <a:lnTo>
                    <a:pt x="103" y="36"/>
                  </a:lnTo>
                  <a:close/>
                  <a:moveTo>
                    <a:pt x="10" y="39"/>
                  </a:moveTo>
                  <a:lnTo>
                    <a:pt x="99" y="12"/>
                  </a:lnTo>
                  <a:lnTo>
                    <a:pt x="99" y="29"/>
                  </a:lnTo>
                  <a:lnTo>
                    <a:pt x="8" y="55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12" name="Freeform 188"/>
            <p:cNvSpPr>
              <a:spLocks noEditPoints="1"/>
            </p:cNvSpPr>
            <p:nvPr/>
          </p:nvSpPr>
          <p:spPr bwMode="auto">
            <a:xfrm>
              <a:off x="400" y="2715"/>
              <a:ext cx="141" cy="72"/>
            </a:xfrm>
            <a:custGeom>
              <a:avLst/>
              <a:gdLst/>
              <a:ahLst/>
              <a:cxnLst>
                <a:cxn ang="0">
                  <a:pos x="137" y="34"/>
                </a:cxn>
                <a:cxn ang="0">
                  <a:pos x="141" y="29"/>
                </a:cxn>
                <a:cxn ang="0">
                  <a:pos x="141" y="5"/>
                </a:cxn>
                <a:cxn ang="0">
                  <a:pos x="137" y="0"/>
                </a:cxn>
                <a:cxn ang="0">
                  <a:pos x="5" y="39"/>
                </a:cxn>
                <a:cxn ang="0">
                  <a:pos x="2" y="43"/>
                </a:cxn>
                <a:cxn ang="0">
                  <a:pos x="0" y="67"/>
                </a:cxn>
                <a:cxn ang="0">
                  <a:pos x="5" y="72"/>
                </a:cxn>
                <a:cxn ang="0">
                  <a:pos x="137" y="34"/>
                </a:cxn>
                <a:cxn ang="0">
                  <a:pos x="10" y="46"/>
                </a:cxn>
                <a:cxn ang="0">
                  <a:pos x="132" y="10"/>
                </a:cxn>
                <a:cxn ang="0">
                  <a:pos x="132" y="27"/>
                </a:cxn>
                <a:cxn ang="0">
                  <a:pos x="10" y="63"/>
                </a:cxn>
                <a:cxn ang="0">
                  <a:pos x="10" y="46"/>
                </a:cxn>
              </a:cxnLst>
              <a:rect l="0" t="0" r="r" b="b"/>
              <a:pathLst>
                <a:path w="141" h="72">
                  <a:moveTo>
                    <a:pt x="137" y="34"/>
                  </a:moveTo>
                  <a:lnTo>
                    <a:pt x="141" y="29"/>
                  </a:lnTo>
                  <a:lnTo>
                    <a:pt x="141" y="5"/>
                  </a:lnTo>
                  <a:lnTo>
                    <a:pt x="137" y="0"/>
                  </a:lnTo>
                  <a:lnTo>
                    <a:pt x="5" y="39"/>
                  </a:lnTo>
                  <a:lnTo>
                    <a:pt x="2" y="43"/>
                  </a:lnTo>
                  <a:lnTo>
                    <a:pt x="0" y="67"/>
                  </a:lnTo>
                  <a:lnTo>
                    <a:pt x="5" y="72"/>
                  </a:lnTo>
                  <a:lnTo>
                    <a:pt x="137" y="34"/>
                  </a:lnTo>
                  <a:close/>
                  <a:moveTo>
                    <a:pt x="10" y="46"/>
                  </a:moveTo>
                  <a:lnTo>
                    <a:pt x="132" y="10"/>
                  </a:lnTo>
                  <a:lnTo>
                    <a:pt x="132" y="27"/>
                  </a:lnTo>
                  <a:lnTo>
                    <a:pt x="10" y="63"/>
                  </a:lnTo>
                  <a:lnTo>
                    <a:pt x="10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13" name="Freeform 189"/>
            <p:cNvSpPr>
              <a:spLocks noEditPoints="1"/>
            </p:cNvSpPr>
            <p:nvPr/>
          </p:nvSpPr>
          <p:spPr bwMode="auto">
            <a:xfrm>
              <a:off x="400" y="2763"/>
              <a:ext cx="149" cy="189"/>
            </a:xfrm>
            <a:custGeom>
              <a:avLst/>
              <a:gdLst/>
              <a:ahLst/>
              <a:cxnLst>
                <a:cxn ang="0">
                  <a:pos x="34" y="40"/>
                </a:cxn>
                <a:cxn ang="0">
                  <a:pos x="30" y="41"/>
                </a:cxn>
                <a:cxn ang="0">
                  <a:pos x="58" y="15"/>
                </a:cxn>
                <a:cxn ang="0">
                  <a:pos x="60" y="2"/>
                </a:cxn>
                <a:cxn ang="0">
                  <a:pos x="10" y="14"/>
                </a:cxn>
                <a:cxn ang="0">
                  <a:pos x="2" y="28"/>
                </a:cxn>
                <a:cxn ang="0">
                  <a:pos x="16" y="41"/>
                </a:cxn>
                <a:cxn ang="0">
                  <a:pos x="7" y="43"/>
                </a:cxn>
                <a:cxn ang="0">
                  <a:pos x="8" y="64"/>
                </a:cxn>
                <a:cxn ang="0">
                  <a:pos x="17" y="77"/>
                </a:cxn>
                <a:cxn ang="0">
                  <a:pos x="47" y="79"/>
                </a:cxn>
                <a:cxn ang="0">
                  <a:pos x="49" y="74"/>
                </a:cxn>
                <a:cxn ang="0">
                  <a:pos x="58" y="62"/>
                </a:cxn>
                <a:cxn ang="0">
                  <a:pos x="57" y="41"/>
                </a:cxn>
                <a:cxn ang="0">
                  <a:pos x="48" y="41"/>
                </a:cxn>
                <a:cxn ang="0">
                  <a:pos x="50" y="35"/>
                </a:cxn>
                <a:cxn ang="0">
                  <a:pos x="60" y="32"/>
                </a:cxn>
                <a:cxn ang="0">
                  <a:pos x="62" y="22"/>
                </a:cxn>
                <a:cxn ang="0">
                  <a:pos x="42" y="24"/>
                </a:cxn>
                <a:cxn ang="0">
                  <a:pos x="5" y="26"/>
                </a:cxn>
                <a:cxn ang="0">
                  <a:pos x="11" y="17"/>
                </a:cxn>
                <a:cxn ang="0">
                  <a:pos x="56" y="11"/>
                </a:cxn>
                <a:cxn ang="0">
                  <a:pos x="16" y="26"/>
                </a:cxn>
                <a:cxn ang="0">
                  <a:pos x="19" y="41"/>
                </a:cxn>
                <a:cxn ang="0">
                  <a:pos x="55" y="62"/>
                </a:cxn>
                <a:cxn ang="0">
                  <a:pos x="45" y="73"/>
                </a:cxn>
                <a:cxn ang="0">
                  <a:pos x="20" y="75"/>
                </a:cxn>
                <a:cxn ang="0">
                  <a:pos x="20" y="72"/>
                </a:cxn>
                <a:cxn ang="0">
                  <a:pos x="11" y="44"/>
                </a:cxn>
                <a:cxn ang="0">
                  <a:pos x="55" y="62"/>
                </a:cxn>
                <a:cxn ang="0">
                  <a:pos x="48" y="32"/>
                </a:cxn>
                <a:cxn ang="0">
                  <a:pos x="45" y="40"/>
                </a:cxn>
                <a:cxn ang="0">
                  <a:pos x="38" y="41"/>
                </a:cxn>
                <a:cxn ang="0">
                  <a:pos x="44" y="27"/>
                </a:cxn>
                <a:cxn ang="0">
                  <a:pos x="57" y="30"/>
                </a:cxn>
              </a:cxnLst>
              <a:rect l="0" t="0" r="r" b="b"/>
              <a:pathLst>
                <a:path w="62" h="79">
                  <a:moveTo>
                    <a:pt x="42" y="24"/>
                  </a:moveTo>
                  <a:cubicBezTo>
                    <a:pt x="36" y="28"/>
                    <a:pt x="35" y="32"/>
                    <a:pt x="34" y="40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34"/>
                    <a:pt x="25" y="29"/>
                    <a:pt x="21" y="2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5"/>
                    <a:pt x="2" y="17"/>
                    <a:pt x="1" y="21"/>
                  </a:cubicBezTo>
                  <a:cubicBezTo>
                    <a:pt x="0" y="23"/>
                    <a:pt x="1" y="26"/>
                    <a:pt x="2" y="28"/>
                  </a:cubicBezTo>
                  <a:cubicBezTo>
                    <a:pt x="4" y="30"/>
                    <a:pt x="6" y="31"/>
                    <a:pt x="8" y="33"/>
                  </a:cubicBezTo>
                  <a:cubicBezTo>
                    <a:pt x="12" y="35"/>
                    <a:pt x="15" y="38"/>
                    <a:pt x="16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0"/>
                    <a:pt x="48" y="40"/>
                    <a:pt x="48" y="39"/>
                  </a:cubicBezTo>
                  <a:cubicBezTo>
                    <a:pt x="49" y="36"/>
                    <a:pt x="49" y="36"/>
                    <a:pt x="50" y="35"/>
                  </a:cubicBezTo>
                  <a:cubicBezTo>
                    <a:pt x="53" y="32"/>
                    <a:pt x="58" y="33"/>
                    <a:pt x="58" y="33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0"/>
                    <a:pt x="50" y="18"/>
                    <a:pt x="42" y="24"/>
                  </a:cubicBezTo>
                  <a:close/>
                  <a:moveTo>
                    <a:pt x="10" y="30"/>
                  </a:moveTo>
                  <a:cubicBezTo>
                    <a:pt x="8" y="28"/>
                    <a:pt x="6" y="27"/>
                    <a:pt x="5" y="26"/>
                  </a:cubicBezTo>
                  <a:cubicBezTo>
                    <a:pt x="4" y="25"/>
                    <a:pt x="4" y="23"/>
                    <a:pt x="4" y="22"/>
                  </a:cubicBezTo>
                  <a:cubicBezTo>
                    <a:pt x="5" y="20"/>
                    <a:pt x="7" y="18"/>
                    <a:pt x="11" y="1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0" y="29"/>
                    <a:pt x="25" y="34"/>
                    <a:pt x="26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8" y="36"/>
                    <a:pt x="15" y="33"/>
                    <a:pt x="10" y="30"/>
                  </a:cubicBezTo>
                  <a:close/>
                  <a:moveTo>
                    <a:pt x="55" y="62"/>
                  </a:moveTo>
                  <a:cubicBezTo>
                    <a:pt x="46" y="72"/>
                    <a:pt x="46" y="72"/>
                    <a:pt x="46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55" y="44"/>
                    <a:pt x="55" y="44"/>
                    <a:pt x="55" y="44"/>
                  </a:cubicBezTo>
                  <a:lnTo>
                    <a:pt x="55" y="62"/>
                  </a:lnTo>
                  <a:close/>
                  <a:moveTo>
                    <a:pt x="57" y="30"/>
                  </a:moveTo>
                  <a:cubicBezTo>
                    <a:pt x="55" y="29"/>
                    <a:pt x="51" y="30"/>
                    <a:pt x="48" y="32"/>
                  </a:cubicBezTo>
                  <a:cubicBezTo>
                    <a:pt x="45" y="34"/>
                    <a:pt x="45" y="36"/>
                    <a:pt x="45" y="39"/>
                  </a:cubicBezTo>
                  <a:cubicBezTo>
                    <a:pt x="45" y="39"/>
                    <a:pt x="45" y="40"/>
                    <a:pt x="45" y="40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9" y="32"/>
                    <a:pt x="40" y="30"/>
                    <a:pt x="44" y="27"/>
                  </a:cubicBezTo>
                  <a:cubicBezTo>
                    <a:pt x="49" y="23"/>
                    <a:pt x="55" y="23"/>
                    <a:pt x="58" y="23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14" name="Rectangle 190"/>
            <p:cNvSpPr>
              <a:spLocks noChangeArrowheads="1"/>
            </p:cNvSpPr>
            <p:nvPr/>
          </p:nvSpPr>
          <p:spPr bwMode="auto">
            <a:xfrm>
              <a:off x="453" y="2959"/>
              <a:ext cx="5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15" name="Rectangle 191"/>
            <p:cNvSpPr>
              <a:spLocks noChangeArrowheads="1"/>
            </p:cNvSpPr>
            <p:nvPr/>
          </p:nvSpPr>
          <p:spPr bwMode="auto">
            <a:xfrm>
              <a:off x="460" y="2974"/>
              <a:ext cx="36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18" name="Group 194"/>
          <p:cNvGrpSpPr>
            <a:grpSpLocks noChangeAspect="1"/>
          </p:cNvGrpSpPr>
          <p:nvPr/>
        </p:nvGrpSpPr>
        <p:grpSpPr bwMode="auto">
          <a:xfrm>
            <a:off x="1477167" y="4106866"/>
            <a:ext cx="768350" cy="768350"/>
            <a:chOff x="922" y="2587"/>
            <a:chExt cx="484" cy="484"/>
          </a:xfrm>
        </p:grpSpPr>
        <p:sp>
          <p:nvSpPr>
            <p:cNvPr id="52419" name="Freeform 195"/>
            <p:cNvSpPr>
              <a:spLocks noEditPoints="1"/>
            </p:cNvSpPr>
            <p:nvPr/>
          </p:nvSpPr>
          <p:spPr bwMode="auto">
            <a:xfrm>
              <a:off x="922" y="258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20" name="Freeform 196"/>
            <p:cNvSpPr>
              <a:spLocks noEditPoints="1"/>
            </p:cNvSpPr>
            <p:nvPr/>
          </p:nvSpPr>
          <p:spPr bwMode="auto">
            <a:xfrm>
              <a:off x="1100" y="2674"/>
              <a:ext cx="108" cy="64"/>
            </a:xfrm>
            <a:custGeom>
              <a:avLst/>
              <a:gdLst/>
              <a:ahLst/>
              <a:cxnLst>
                <a:cxn ang="0">
                  <a:pos x="103" y="33"/>
                </a:cxn>
                <a:cxn ang="0">
                  <a:pos x="105" y="31"/>
                </a:cxn>
                <a:cxn ang="0">
                  <a:pos x="108" y="4"/>
                </a:cxn>
                <a:cxn ang="0">
                  <a:pos x="100" y="0"/>
                </a:cxn>
                <a:cxn ang="0">
                  <a:pos x="4" y="31"/>
                </a:cxn>
                <a:cxn ang="0">
                  <a:pos x="0" y="33"/>
                </a:cxn>
                <a:cxn ang="0">
                  <a:pos x="0" y="60"/>
                </a:cxn>
                <a:cxn ang="0">
                  <a:pos x="4" y="64"/>
                </a:cxn>
                <a:cxn ang="0">
                  <a:pos x="103" y="33"/>
                </a:cxn>
                <a:cxn ang="0">
                  <a:pos x="9" y="38"/>
                </a:cxn>
                <a:cxn ang="0">
                  <a:pos x="98" y="9"/>
                </a:cxn>
                <a:cxn ang="0">
                  <a:pos x="98" y="26"/>
                </a:cxn>
                <a:cxn ang="0">
                  <a:pos x="7" y="55"/>
                </a:cxn>
                <a:cxn ang="0">
                  <a:pos x="9" y="38"/>
                </a:cxn>
              </a:cxnLst>
              <a:rect l="0" t="0" r="r" b="b"/>
              <a:pathLst>
                <a:path w="108" h="64">
                  <a:moveTo>
                    <a:pt x="103" y="33"/>
                  </a:moveTo>
                  <a:lnTo>
                    <a:pt x="105" y="31"/>
                  </a:lnTo>
                  <a:lnTo>
                    <a:pt x="108" y="4"/>
                  </a:lnTo>
                  <a:lnTo>
                    <a:pt x="100" y="0"/>
                  </a:lnTo>
                  <a:lnTo>
                    <a:pt x="4" y="31"/>
                  </a:lnTo>
                  <a:lnTo>
                    <a:pt x="0" y="33"/>
                  </a:lnTo>
                  <a:lnTo>
                    <a:pt x="0" y="60"/>
                  </a:lnTo>
                  <a:lnTo>
                    <a:pt x="4" y="64"/>
                  </a:lnTo>
                  <a:lnTo>
                    <a:pt x="103" y="33"/>
                  </a:lnTo>
                  <a:close/>
                  <a:moveTo>
                    <a:pt x="9" y="38"/>
                  </a:moveTo>
                  <a:lnTo>
                    <a:pt x="98" y="9"/>
                  </a:lnTo>
                  <a:lnTo>
                    <a:pt x="98" y="26"/>
                  </a:lnTo>
                  <a:lnTo>
                    <a:pt x="7" y="55"/>
                  </a:lnTo>
                  <a:lnTo>
                    <a:pt x="9" y="3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21" name="Freeform 197"/>
            <p:cNvSpPr>
              <a:spLocks noEditPoints="1"/>
            </p:cNvSpPr>
            <p:nvPr/>
          </p:nvSpPr>
          <p:spPr bwMode="auto">
            <a:xfrm>
              <a:off x="1085" y="2717"/>
              <a:ext cx="142" cy="72"/>
            </a:xfrm>
            <a:custGeom>
              <a:avLst/>
              <a:gdLst/>
              <a:ahLst/>
              <a:cxnLst>
                <a:cxn ang="0">
                  <a:pos x="137" y="33"/>
                </a:cxn>
                <a:cxn ang="0">
                  <a:pos x="142" y="28"/>
                </a:cxn>
                <a:cxn ang="0">
                  <a:pos x="142" y="2"/>
                </a:cxn>
                <a:cxn ang="0">
                  <a:pos x="137" y="0"/>
                </a:cxn>
                <a:cxn ang="0">
                  <a:pos x="5" y="38"/>
                </a:cxn>
                <a:cxn ang="0">
                  <a:pos x="3" y="43"/>
                </a:cxn>
                <a:cxn ang="0">
                  <a:pos x="0" y="67"/>
                </a:cxn>
                <a:cxn ang="0">
                  <a:pos x="5" y="72"/>
                </a:cxn>
                <a:cxn ang="0">
                  <a:pos x="137" y="33"/>
                </a:cxn>
                <a:cxn ang="0">
                  <a:pos x="10" y="45"/>
                </a:cxn>
                <a:cxn ang="0">
                  <a:pos x="132" y="9"/>
                </a:cxn>
                <a:cxn ang="0">
                  <a:pos x="132" y="26"/>
                </a:cxn>
                <a:cxn ang="0">
                  <a:pos x="10" y="62"/>
                </a:cxn>
                <a:cxn ang="0">
                  <a:pos x="10" y="45"/>
                </a:cxn>
              </a:cxnLst>
              <a:rect l="0" t="0" r="r" b="b"/>
              <a:pathLst>
                <a:path w="142" h="72">
                  <a:moveTo>
                    <a:pt x="137" y="33"/>
                  </a:moveTo>
                  <a:lnTo>
                    <a:pt x="142" y="28"/>
                  </a:lnTo>
                  <a:lnTo>
                    <a:pt x="142" y="2"/>
                  </a:lnTo>
                  <a:lnTo>
                    <a:pt x="137" y="0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0" y="67"/>
                  </a:lnTo>
                  <a:lnTo>
                    <a:pt x="5" y="72"/>
                  </a:lnTo>
                  <a:lnTo>
                    <a:pt x="137" y="33"/>
                  </a:lnTo>
                  <a:close/>
                  <a:moveTo>
                    <a:pt x="10" y="45"/>
                  </a:moveTo>
                  <a:lnTo>
                    <a:pt x="132" y="9"/>
                  </a:lnTo>
                  <a:lnTo>
                    <a:pt x="132" y="26"/>
                  </a:lnTo>
                  <a:lnTo>
                    <a:pt x="10" y="62"/>
                  </a:lnTo>
                  <a:lnTo>
                    <a:pt x="10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22" name="Freeform 198"/>
            <p:cNvSpPr>
              <a:spLocks noEditPoints="1"/>
            </p:cNvSpPr>
            <p:nvPr/>
          </p:nvSpPr>
          <p:spPr bwMode="auto">
            <a:xfrm>
              <a:off x="1085" y="2765"/>
              <a:ext cx="149" cy="189"/>
            </a:xfrm>
            <a:custGeom>
              <a:avLst/>
              <a:gdLst/>
              <a:ahLst/>
              <a:cxnLst>
                <a:cxn ang="0">
                  <a:pos x="34" y="40"/>
                </a:cxn>
                <a:cxn ang="0">
                  <a:pos x="30" y="41"/>
                </a:cxn>
                <a:cxn ang="0">
                  <a:pos x="58" y="14"/>
                </a:cxn>
                <a:cxn ang="0">
                  <a:pos x="60" y="2"/>
                </a:cxn>
                <a:cxn ang="0">
                  <a:pos x="10" y="14"/>
                </a:cxn>
                <a:cxn ang="0">
                  <a:pos x="2" y="28"/>
                </a:cxn>
                <a:cxn ang="0">
                  <a:pos x="16" y="41"/>
                </a:cxn>
                <a:cxn ang="0">
                  <a:pos x="7" y="42"/>
                </a:cxn>
                <a:cxn ang="0">
                  <a:pos x="8" y="64"/>
                </a:cxn>
                <a:cxn ang="0">
                  <a:pos x="17" y="77"/>
                </a:cxn>
                <a:cxn ang="0">
                  <a:pos x="47" y="79"/>
                </a:cxn>
                <a:cxn ang="0">
                  <a:pos x="49" y="74"/>
                </a:cxn>
                <a:cxn ang="0">
                  <a:pos x="58" y="62"/>
                </a:cxn>
                <a:cxn ang="0">
                  <a:pos x="57" y="41"/>
                </a:cxn>
                <a:cxn ang="0">
                  <a:pos x="48" y="40"/>
                </a:cxn>
                <a:cxn ang="0">
                  <a:pos x="50" y="35"/>
                </a:cxn>
                <a:cxn ang="0">
                  <a:pos x="60" y="32"/>
                </a:cxn>
                <a:cxn ang="0">
                  <a:pos x="62" y="22"/>
                </a:cxn>
                <a:cxn ang="0">
                  <a:pos x="42" y="24"/>
                </a:cxn>
                <a:cxn ang="0">
                  <a:pos x="5" y="25"/>
                </a:cxn>
                <a:cxn ang="0">
                  <a:pos x="11" y="17"/>
                </a:cxn>
                <a:cxn ang="0">
                  <a:pos x="56" y="11"/>
                </a:cxn>
                <a:cxn ang="0">
                  <a:pos x="16" y="26"/>
                </a:cxn>
                <a:cxn ang="0">
                  <a:pos x="19" y="41"/>
                </a:cxn>
                <a:cxn ang="0">
                  <a:pos x="55" y="62"/>
                </a:cxn>
                <a:cxn ang="0">
                  <a:pos x="45" y="73"/>
                </a:cxn>
                <a:cxn ang="0">
                  <a:pos x="20" y="75"/>
                </a:cxn>
                <a:cxn ang="0">
                  <a:pos x="20" y="72"/>
                </a:cxn>
                <a:cxn ang="0">
                  <a:pos x="11" y="44"/>
                </a:cxn>
                <a:cxn ang="0">
                  <a:pos x="55" y="62"/>
                </a:cxn>
                <a:cxn ang="0">
                  <a:pos x="48" y="32"/>
                </a:cxn>
                <a:cxn ang="0">
                  <a:pos x="45" y="40"/>
                </a:cxn>
                <a:cxn ang="0">
                  <a:pos x="38" y="41"/>
                </a:cxn>
                <a:cxn ang="0">
                  <a:pos x="44" y="26"/>
                </a:cxn>
                <a:cxn ang="0">
                  <a:pos x="57" y="29"/>
                </a:cxn>
              </a:cxnLst>
              <a:rect l="0" t="0" r="r" b="b"/>
              <a:pathLst>
                <a:path w="62" h="79">
                  <a:moveTo>
                    <a:pt x="42" y="24"/>
                  </a:moveTo>
                  <a:cubicBezTo>
                    <a:pt x="36" y="28"/>
                    <a:pt x="35" y="32"/>
                    <a:pt x="34" y="40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34"/>
                    <a:pt x="25" y="29"/>
                    <a:pt x="21" y="2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5"/>
                    <a:pt x="2" y="17"/>
                    <a:pt x="1" y="21"/>
                  </a:cubicBezTo>
                  <a:cubicBezTo>
                    <a:pt x="0" y="23"/>
                    <a:pt x="1" y="26"/>
                    <a:pt x="2" y="28"/>
                  </a:cubicBezTo>
                  <a:cubicBezTo>
                    <a:pt x="4" y="30"/>
                    <a:pt x="6" y="31"/>
                    <a:pt x="8" y="32"/>
                  </a:cubicBezTo>
                  <a:cubicBezTo>
                    <a:pt x="12" y="35"/>
                    <a:pt x="15" y="38"/>
                    <a:pt x="16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0"/>
                  </a:cubicBezTo>
                  <a:cubicBezTo>
                    <a:pt x="48" y="40"/>
                    <a:pt x="48" y="40"/>
                    <a:pt x="48" y="39"/>
                  </a:cubicBezTo>
                  <a:cubicBezTo>
                    <a:pt x="49" y="36"/>
                    <a:pt x="49" y="36"/>
                    <a:pt x="50" y="35"/>
                  </a:cubicBezTo>
                  <a:cubicBezTo>
                    <a:pt x="53" y="32"/>
                    <a:pt x="58" y="33"/>
                    <a:pt x="58" y="33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19"/>
                    <a:pt x="50" y="17"/>
                    <a:pt x="42" y="24"/>
                  </a:cubicBezTo>
                  <a:close/>
                  <a:moveTo>
                    <a:pt x="10" y="29"/>
                  </a:moveTo>
                  <a:cubicBezTo>
                    <a:pt x="8" y="28"/>
                    <a:pt x="6" y="27"/>
                    <a:pt x="5" y="25"/>
                  </a:cubicBezTo>
                  <a:cubicBezTo>
                    <a:pt x="4" y="24"/>
                    <a:pt x="4" y="23"/>
                    <a:pt x="4" y="22"/>
                  </a:cubicBezTo>
                  <a:cubicBezTo>
                    <a:pt x="5" y="20"/>
                    <a:pt x="7" y="18"/>
                    <a:pt x="11" y="17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0" y="29"/>
                    <a:pt x="25" y="34"/>
                    <a:pt x="26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8" y="36"/>
                    <a:pt x="15" y="33"/>
                    <a:pt x="10" y="29"/>
                  </a:cubicBezTo>
                  <a:close/>
                  <a:moveTo>
                    <a:pt x="55" y="62"/>
                  </a:moveTo>
                  <a:cubicBezTo>
                    <a:pt x="46" y="72"/>
                    <a:pt x="46" y="72"/>
                    <a:pt x="46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55" y="44"/>
                    <a:pt x="55" y="44"/>
                    <a:pt x="55" y="44"/>
                  </a:cubicBezTo>
                  <a:lnTo>
                    <a:pt x="55" y="62"/>
                  </a:lnTo>
                  <a:close/>
                  <a:moveTo>
                    <a:pt x="57" y="29"/>
                  </a:moveTo>
                  <a:cubicBezTo>
                    <a:pt x="55" y="29"/>
                    <a:pt x="51" y="29"/>
                    <a:pt x="48" y="32"/>
                  </a:cubicBezTo>
                  <a:cubicBezTo>
                    <a:pt x="45" y="34"/>
                    <a:pt x="45" y="36"/>
                    <a:pt x="45" y="39"/>
                  </a:cubicBezTo>
                  <a:cubicBezTo>
                    <a:pt x="45" y="39"/>
                    <a:pt x="45" y="40"/>
                    <a:pt x="45" y="40"/>
                  </a:cubicBezTo>
                  <a:cubicBezTo>
                    <a:pt x="45" y="40"/>
                    <a:pt x="45" y="40"/>
                    <a:pt x="45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9" y="32"/>
                    <a:pt x="40" y="29"/>
                    <a:pt x="44" y="26"/>
                  </a:cubicBezTo>
                  <a:cubicBezTo>
                    <a:pt x="49" y="23"/>
                    <a:pt x="55" y="23"/>
                    <a:pt x="58" y="23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23" name="Rectangle 199"/>
            <p:cNvSpPr>
              <a:spLocks noChangeArrowheads="1"/>
            </p:cNvSpPr>
            <p:nvPr/>
          </p:nvSpPr>
          <p:spPr bwMode="auto">
            <a:xfrm>
              <a:off x="1138" y="2961"/>
              <a:ext cx="53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24" name="Rectangle 200"/>
            <p:cNvSpPr>
              <a:spLocks noChangeArrowheads="1"/>
            </p:cNvSpPr>
            <p:nvPr/>
          </p:nvSpPr>
          <p:spPr bwMode="auto">
            <a:xfrm>
              <a:off x="1145" y="2976"/>
              <a:ext cx="36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27" name="Group 203"/>
          <p:cNvGrpSpPr>
            <a:grpSpLocks noChangeAspect="1"/>
          </p:cNvGrpSpPr>
          <p:nvPr/>
        </p:nvGrpSpPr>
        <p:grpSpPr bwMode="auto">
          <a:xfrm>
            <a:off x="2533650" y="4071938"/>
            <a:ext cx="838200" cy="838200"/>
            <a:chOff x="1586" y="2565"/>
            <a:chExt cx="528" cy="528"/>
          </a:xfrm>
        </p:grpSpPr>
        <p:sp>
          <p:nvSpPr>
            <p:cNvPr id="52428" name="Oval 204"/>
            <p:cNvSpPr>
              <a:spLocks noChangeArrowheads="1"/>
            </p:cNvSpPr>
            <p:nvPr/>
          </p:nvSpPr>
          <p:spPr bwMode="auto">
            <a:xfrm>
              <a:off x="1586" y="2565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29" name="Freeform 205"/>
            <p:cNvSpPr>
              <a:spLocks noEditPoints="1"/>
            </p:cNvSpPr>
            <p:nvPr/>
          </p:nvSpPr>
          <p:spPr bwMode="auto">
            <a:xfrm>
              <a:off x="1608" y="258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30" name="Freeform 206"/>
            <p:cNvSpPr>
              <a:spLocks noEditPoints="1"/>
            </p:cNvSpPr>
            <p:nvPr/>
          </p:nvSpPr>
          <p:spPr bwMode="auto">
            <a:xfrm>
              <a:off x="1711" y="2712"/>
              <a:ext cx="283" cy="261"/>
            </a:xfrm>
            <a:custGeom>
              <a:avLst/>
              <a:gdLst/>
              <a:ahLst/>
              <a:cxnLst>
                <a:cxn ang="0">
                  <a:pos x="107" y="40"/>
                </a:cxn>
                <a:cxn ang="0">
                  <a:pos x="73" y="10"/>
                </a:cxn>
                <a:cxn ang="0">
                  <a:pos x="65" y="16"/>
                </a:cxn>
                <a:cxn ang="0">
                  <a:pos x="53" y="13"/>
                </a:cxn>
                <a:cxn ang="0">
                  <a:pos x="45" y="15"/>
                </a:cxn>
                <a:cxn ang="0">
                  <a:pos x="33" y="18"/>
                </a:cxn>
                <a:cxn ang="0">
                  <a:pos x="18" y="3"/>
                </a:cxn>
                <a:cxn ang="0">
                  <a:pos x="5" y="2"/>
                </a:cxn>
                <a:cxn ang="0">
                  <a:pos x="2" y="14"/>
                </a:cxn>
                <a:cxn ang="0">
                  <a:pos x="22" y="58"/>
                </a:cxn>
                <a:cxn ang="0">
                  <a:pos x="14" y="61"/>
                </a:cxn>
                <a:cxn ang="0">
                  <a:pos x="10" y="70"/>
                </a:cxn>
                <a:cxn ang="0">
                  <a:pos x="25" y="79"/>
                </a:cxn>
                <a:cxn ang="0">
                  <a:pos x="52" y="92"/>
                </a:cxn>
                <a:cxn ang="0">
                  <a:pos x="74" y="106"/>
                </a:cxn>
                <a:cxn ang="0">
                  <a:pos x="79" y="107"/>
                </a:cxn>
                <a:cxn ang="0">
                  <a:pos x="118" y="80"/>
                </a:cxn>
                <a:cxn ang="0">
                  <a:pos x="117" y="72"/>
                </a:cxn>
                <a:cxn ang="0">
                  <a:pos x="76" y="103"/>
                </a:cxn>
                <a:cxn ang="0">
                  <a:pos x="27" y="75"/>
                </a:cxn>
                <a:cxn ang="0">
                  <a:pos x="16" y="64"/>
                </a:cxn>
                <a:cxn ang="0">
                  <a:pos x="22" y="62"/>
                </a:cxn>
                <a:cxn ang="0">
                  <a:pos x="42" y="65"/>
                </a:cxn>
                <a:cxn ang="0">
                  <a:pos x="7" y="5"/>
                </a:cxn>
                <a:cxn ang="0">
                  <a:pos x="15" y="5"/>
                </a:cxn>
                <a:cxn ang="0">
                  <a:pos x="48" y="45"/>
                </a:cxn>
                <a:cxn ang="0">
                  <a:pos x="36" y="20"/>
                </a:cxn>
                <a:cxn ang="0">
                  <a:pos x="44" y="18"/>
                </a:cxn>
                <a:cxn ang="0">
                  <a:pos x="58" y="38"/>
                </a:cxn>
                <a:cxn ang="0">
                  <a:pos x="51" y="22"/>
                </a:cxn>
                <a:cxn ang="0">
                  <a:pos x="57" y="16"/>
                </a:cxn>
                <a:cxn ang="0">
                  <a:pos x="66" y="23"/>
                </a:cxn>
                <a:cxn ang="0">
                  <a:pos x="77" y="32"/>
                </a:cxn>
                <a:cxn ang="0">
                  <a:pos x="73" y="14"/>
                </a:cxn>
                <a:cxn ang="0">
                  <a:pos x="104" y="42"/>
                </a:cxn>
                <a:cxn ang="0">
                  <a:pos x="77" y="104"/>
                </a:cxn>
              </a:cxnLst>
              <a:rect l="0" t="0" r="r" b="b"/>
              <a:pathLst>
                <a:path w="118" h="109">
                  <a:moveTo>
                    <a:pt x="117" y="72"/>
                  </a:moveTo>
                  <a:cubicBezTo>
                    <a:pt x="114" y="63"/>
                    <a:pt x="111" y="49"/>
                    <a:pt x="107" y="40"/>
                  </a:cubicBezTo>
                  <a:cubicBezTo>
                    <a:pt x="104" y="34"/>
                    <a:pt x="98" y="26"/>
                    <a:pt x="91" y="20"/>
                  </a:cubicBezTo>
                  <a:cubicBezTo>
                    <a:pt x="88" y="17"/>
                    <a:pt x="80" y="10"/>
                    <a:pt x="73" y="10"/>
                  </a:cubicBezTo>
                  <a:cubicBezTo>
                    <a:pt x="73" y="10"/>
                    <a:pt x="72" y="10"/>
                    <a:pt x="72" y="10"/>
                  </a:cubicBezTo>
                  <a:cubicBezTo>
                    <a:pt x="68" y="11"/>
                    <a:pt x="66" y="14"/>
                    <a:pt x="65" y="16"/>
                  </a:cubicBezTo>
                  <a:cubicBezTo>
                    <a:pt x="63" y="14"/>
                    <a:pt x="61" y="12"/>
                    <a:pt x="57" y="12"/>
                  </a:cubicBezTo>
                  <a:cubicBezTo>
                    <a:pt x="56" y="12"/>
                    <a:pt x="54" y="13"/>
                    <a:pt x="53" y="13"/>
                  </a:cubicBezTo>
                  <a:cubicBezTo>
                    <a:pt x="51" y="15"/>
                    <a:pt x="49" y="16"/>
                    <a:pt x="48" y="18"/>
                  </a:cubicBezTo>
                  <a:cubicBezTo>
                    <a:pt x="47" y="17"/>
                    <a:pt x="46" y="16"/>
                    <a:pt x="45" y="15"/>
                  </a:cubicBezTo>
                  <a:cubicBezTo>
                    <a:pt x="45" y="15"/>
                    <a:pt x="43" y="14"/>
                    <a:pt x="42" y="14"/>
                  </a:cubicBezTo>
                  <a:cubicBezTo>
                    <a:pt x="39" y="14"/>
                    <a:pt x="35" y="16"/>
                    <a:pt x="33" y="18"/>
                  </a:cubicBezTo>
                  <a:cubicBezTo>
                    <a:pt x="32" y="19"/>
                    <a:pt x="31" y="20"/>
                    <a:pt x="31" y="21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0" y="0"/>
                    <a:pt x="7" y="1"/>
                    <a:pt x="5" y="2"/>
                  </a:cubicBezTo>
                  <a:cubicBezTo>
                    <a:pt x="4" y="3"/>
                    <a:pt x="3" y="4"/>
                    <a:pt x="1" y="6"/>
                  </a:cubicBezTo>
                  <a:cubicBezTo>
                    <a:pt x="0" y="9"/>
                    <a:pt x="0" y="12"/>
                    <a:pt x="2" y="1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3" y="61"/>
                    <a:pt x="27" y="58"/>
                    <a:pt x="22" y="58"/>
                  </a:cubicBezTo>
                  <a:cubicBezTo>
                    <a:pt x="20" y="58"/>
                    <a:pt x="19" y="59"/>
                    <a:pt x="17" y="59"/>
                  </a:cubicBezTo>
                  <a:cubicBezTo>
                    <a:pt x="16" y="60"/>
                    <a:pt x="15" y="60"/>
                    <a:pt x="14" y="61"/>
                  </a:cubicBezTo>
                  <a:cubicBezTo>
                    <a:pt x="10" y="64"/>
                    <a:pt x="9" y="67"/>
                    <a:pt x="10" y="70"/>
                  </a:cubicBezTo>
                  <a:cubicBezTo>
                    <a:pt x="10" y="70"/>
                    <a:pt x="10" y="70"/>
                    <a:pt x="10" y="70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2" y="73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6" y="79"/>
                    <a:pt x="37" y="84"/>
                    <a:pt x="52" y="92"/>
                  </a:cubicBezTo>
                  <a:cubicBezTo>
                    <a:pt x="66" y="99"/>
                    <a:pt x="71" y="103"/>
                    <a:pt x="73" y="105"/>
                  </a:cubicBezTo>
                  <a:cubicBezTo>
                    <a:pt x="74" y="106"/>
                    <a:pt x="74" y="106"/>
                    <a:pt x="74" y="106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18" y="80"/>
                    <a:pt x="118" y="80"/>
                    <a:pt x="118" y="80"/>
                  </a:cubicBezTo>
                  <a:cubicBezTo>
                    <a:pt x="118" y="77"/>
                    <a:pt x="118" y="77"/>
                    <a:pt x="118" y="77"/>
                  </a:cubicBezTo>
                  <a:cubicBezTo>
                    <a:pt x="118" y="76"/>
                    <a:pt x="117" y="74"/>
                    <a:pt x="117" y="72"/>
                  </a:cubicBezTo>
                  <a:close/>
                  <a:moveTo>
                    <a:pt x="77" y="104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3" y="100"/>
                    <a:pt x="68" y="96"/>
                    <a:pt x="54" y="89"/>
                  </a:cubicBezTo>
                  <a:cubicBezTo>
                    <a:pt x="38" y="80"/>
                    <a:pt x="27" y="75"/>
                    <a:pt x="27" y="75"/>
                  </a:cubicBezTo>
                  <a:cubicBezTo>
                    <a:pt x="26" y="75"/>
                    <a:pt x="14" y="70"/>
                    <a:pt x="13" y="69"/>
                  </a:cubicBezTo>
                  <a:cubicBezTo>
                    <a:pt x="12" y="67"/>
                    <a:pt x="15" y="65"/>
                    <a:pt x="16" y="64"/>
                  </a:cubicBezTo>
                  <a:cubicBezTo>
                    <a:pt x="16" y="64"/>
                    <a:pt x="17" y="63"/>
                    <a:pt x="19" y="63"/>
                  </a:cubicBezTo>
                  <a:cubicBezTo>
                    <a:pt x="20" y="62"/>
                    <a:pt x="21" y="62"/>
                    <a:pt x="22" y="62"/>
                  </a:cubicBezTo>
                  <a:cubicBezTo>
                    <a:pt x="29" y="62"/>
                    <a:pt x="37" y="68"/>
                    <a:pt x="37" y="68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9"/>
                    <a:pt x="6" y="6"/>
                    <a:pt x="7" y="5"/>
                  </a:cubicBezTo>
                  <a:cubicBezTo>
                    <a:pt x="8" y="5"/>
                    <a:pt x="10" y="4"/>
                    <a:pt x="12" y="4"/>
                  </a:cubicBezTo>
                  <a:cubicBezTo>
                    <a:pt x="13" y="4"/>
                    <a:pt x="14" y="4"/>
                    <a:pt x="15" y="5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4"/>
                    <a:pt x="33" y="23"/>
                    <a:pt x="36" y="20"/>
                  </a:cubicBezTo>
                  <a:cubicBezTo>
                    <a:pt x="37" y="19"/>
                    <a:pt x="40" y="18"/>
                    <a:pt x="42" y="18"/>
                  </a:cubicBezTo>
                  <a:cubicBezTo>
                    <a:pt x="43" y="18"/>
                    <a:pt x="43" y="18"/>
                    <a:pt x="44" y="18"/>
                  </a:cubicBezTo>
                  <a:cubicBezTo>
                    <a:pt x="46" y="20"/>
                    <a:pt x="49" y="24"/>
                    <a:pt x="50" y="26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1"/>
                    <a:pt x="52" y="18"/>
                    <a:pt x="55" y="16"/>
                  </a:cubicBezTo>
                  <a:cubicBezTo>
                    <a:pt x="55" y="16"/>
                    <a:pt x="56" y="16"/>
                    <a:pt x="57" y="16"/>
                  </a:cubicBezTo>
                  <a:cubicBezTo>
                    <a:pt x="61" y="16"/>
                    <a:pt x="64" y="20"/>
                    <a:pt x="64" y="20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70" y="14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81" y="13"/>
                    <a:pt x="98" y="28"/>
                    <a:pt x="104" y="42"/>
                  </a:cubicBezTo>
                  <a:cubicBezTo>
                    <a:pt x="108" y="52"/>
                    <a:pt x="113" y="72"/>
                    <a:pt x="114" y="78"/>
                  </a:cubicBezTo>
                  <a:lnTo>
                    <a:pt x="77" y="10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33" name="Group 209"/>
          <p:cNvGrpSpPr>
            <a:grpSpLocks noChangeAspect="1"/>
          </p:cNvGrpSpPr>
          <p:nvPr/>
        </p:nvGrpSpPr>
        <p:grpSpPr bwMode="auto">
          <a:xfrm>
            <a:off x="3659190" y="4106866"/>
            <a:ext cx="768350" cy="768350"/>
            <a:chOff x="2293" y="2587"/>
            <a:chExt cx="484" cy="484"/>
          </a:xfrm>
        </p:grpSpPr>
        <p:sp>
          <p:nvSpPr>
            <p:cNvPr id="52434" name="Freeform 210"/>
            <p:cNvSpPr>
              <a:spLocks noEditPoints="1"/>
            </p:cNvSpPr>
            <p:nvPr/>
          </p:nvSpPr>
          <p:spPr bwMode="auto">
            <a:xfrm>
              <a:off x="2293" y="2587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35" name="Freeform 211"/>
            <p:cNvSpPr>
              <a:spLocks noEditPoints="1"/>
            </p:cNvSpPr>
            <p:nvPr/>
          </p:nvSpPr>
          <p:spPr bwMode="auto">
            <a:xfrm>
              <a:off x="2396" y="2712"/>
              <a:ext cx="283" cy="261"/>
            </a:xfrm>
            <a:custGeom>
              <a:avLst/>
              <a:gdLst/>
              <a:ahLst/>
              <a:cxnLst>
                <a:cxn ang="0">
                  <a:pos x="107" y="40"/>
                </a:cxn>
                <a:cxn ang="0">
                  <a:pos x="73" y="10"/>
                </a:cxn>
                <a:cxn ang="0">
                  <a:pos x="65" y="16"/>
                </a:cxn>
                <a:cxn ang="0">
                  <a:pos x="53" y="13"/>
                </a:cxn>
                <a:cxn ang="0">
                  <a:pos x="45" y="15"/>
                </a:cxn>
                <a:cxn ang="0">
                  <a:pos x="33" y="18"/>
                </a:cxn>
                <a:cxn ang="0">
                  <a:pos x="18" y="3"/>
                </a:cxn>
                <a:cxn ang="0">
                  <a:pos x="5" y="2"/>
                </a:cxn>
                <a:cxn ang="0">
                  <a:pos x="2" y="14"/>
                </a:cxn>
                <a:cxn ang="0">
                  <a:pos x="22" y="58"/>
                </a:cxn>
                <a:cxn ang="0">
                  <a:pos x="14" y="61"/>
                </a:cxn>
                <a:cxn ang="0">
                  <a:pos x="10" y="70"/>
                </a:cxn>
                <a:cxn ang="0">
                  <a:pos x="25" y="79"/>
                </a:cxn>
                <a:cxn ang="0">
                  <a:pos x="52" y="92"/>
                </a:cxn>
                <a:cxn ang="0">
                  <a:pos x="74" y="106"/>
                </a:cxn>
                <a:cxn ang="0">
                  <a:pos x="79" y="107"/>
                </a:cxn>
                <a:cxn ang="0">
                  <a:pos x="118" y="80"/>
                </a:cxn>
                <a:cxn ang="0">
                  <a:pos x="117" y="72"/>
                </a:cxn>
                <a:cxn ang="0">
                  <a:pos x="76" y="103"/>
                </a:cxn>
                <a:cxn ang="0">
                  <a:pos x="27" y="75"/>
                </a:cxn>
                <a:cxn ang="0">
                  <a:pos x="16" y="64"/>
                </a:cxn>
                <a:cxn ang="0">
                  <a:pos x="22" y="62"/>
                </a:cxn>
                <a:cxn ang="0">
                  <a:pos x="42" y="65"/>
                </a:cxn>
                <a:cxn ang="0">
                  <a:pos x="7" y="5"/>
                </a:cxn>
                <a:cxn ang="0">
                  <a:pos x="15" y="5"/>
                </a:cxn>
                <a:cxn ang="0">
                  <a:pos x="48" y="45"/>
                </a:cxn>
                <a:cxn ang="0">
                  <a:pos x="36" y="20"/>
                </a:cxn>
                <a:cxn ang="0">
                  <a:pos x="44" y="18"/>
                </a:cxn>
                <a:cxn ang="0">
                  <a:pos x="58" y="38"/>
                </a:cxn>
                <a:cxn ang="0">
                  <a:pos x="51" y="22"/>
                </a:cxn>
                <a:cxn ang="0">
                  <a:pos x="57" y="16"/>
                </a:cxn>
                <a:cxn ang="0">
                  <a:pos x="66" y="23"/>
                </a:cxn>
                <a:cxn ang="0">
                  <a:pos x="77" y="32"/>
                </a:cxn>
                <a:cxn ang="0">
                  <a:pos x="73" y="14"/>
                </a:cxn>
                <a:cxn ang="0">
                  <a:pos x="104" y="42"/>
                </a:cxn>
                <a:cxn ang="0">
                  <a:pos x="77" y="104"/>
                </a:cxn>
              </a:cxnLst>
              <a:rect l="0" t="0" r="r" b="b"/>
              <a:pathLst>
                <a:path w="118" h="109">
                  <a:moveTo>
                    <a:pt x="117" y="72"/>
                  </a:moveTo>
                  <a:cubicBezTo>
                    <a:pt x="114" y="63"/>
                    <a:pt x="111" y="49"/>
                    <a:pt x="107" y="40"/>
                  </a:cubicBezTo>
                  <a:cubicBezTo>
                    <a:pt x="104" y="34"/>
                    <a:pt x="98" y="26"/>
                    <a:pt x="91" y="20"/>
                  </a:cubicBezTo>
                  <a:cubicBezTo>
                    <a:pt x="88" y="17"/>
                    <a:pt x="80" y="10"/>
                    <a:pt x="73" y="10"/>
                  </a:cubicBezTo>
                  <a:cubicBezTo>
                    <a:pt x="73" y="10"/>
                    <a:pt x="72" y="10"/>
                    <a:pt x="72" y="10"/>
                  </a:cubicBezTo>
                  <a:cubicBezTo>
                    <a:pt x="68" y="11"/>
                    <a:pt x="66" y="14"/>
                    <a:pt x="65" y="16"/>
                  </a:cubicBezTo>
                  <a:cubicBezTo>
                    <a:pt x="63" y="14"/>
                    <a:pt x="61" y="12"/>
                    <a:pt x="57" y="12"/>
                  </a:cubicBezTo>
                  <a:cubicBezTo>
                    <a:pt x="56" y="12"/>
                    <a:pt x="54" y="13"/>
                    <a:pt x="53" y="13"/>
                  </a:cubicBezTo>
                  <a:cubicBezTo>
                    <a:pt x="51" y="15"/>
                    <a:pt x="49" y="16"/>
                    <a:pt x="48" y="18"/>
                  </a:cubicBezTo>
                  <a:cubicBezTo>
                    <a:pt x="47" y="17"/>
                    <a:pt x="46" y="16"/>
                    <a:pt x="45" y="15"/>
                  </a:cubicBezTo>
                  <a:cubicBezTo>
                    <a:pt x="45" y="15"/>
                    <a:pt x="43" y="14"/>
                    <a:pt x="42" y="14"/>
                  </a:cubicBezTo>
                  <a:cubicBezTo>
                    <a:pt x="39" y="14"/>
                    <a:pt x="35" y="16"/>
                    <a:pt x="33" y="18"/>
                  </a:cubicBezTo>
                  <a:cubicBezTo>
                    <a:pt x="32" y="19"/>
                    <a:pt x="31" y="20"/>
                    <a:pt x="31" y="21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0" y="0"/>
                    <a:pt x="7" y="1"/>
                    <a:pt x="5" y="2"/>
                  </a:cubicBezTo>
                  <a:cubicBezTo>
                    <a:pt x="4" y="3"/>
                    <a:pt x="3" y="4"/>
                    <a:pt x="1" y="6"/>
                  </a:cubicBezTo>
                  <a:cubicBezTo>
                    <a:pt x="0" y="9"/>
                    <a:pt x="0" y="12"/>
                    <a:pt x="2" y="1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3" y="61"/>
                    <a:pt x="27" y="58"/>
                    <a:pt x="22" y="58"/>
                  </a:cubicBezTo>
                  <a:cubicBezTo>
                    <a:pt x="20" y="58"/>
                    <a:pt x="19" y="59"/>
                    <a:pt x="17" y="59"/>
                  </a:cubicBezTo>
                  <a:cubicBezTo>
                    <a:pt x="16" y="60"/>
                    <a:pt x="15" y="60"/>
                    <a:pt x="14" y="61"/>
                  </a:cubicBezTo>
                  <a:cubicBezTo>
                    <a:pt x="10" y="64"/>
                    <a:pt x="9" y="67"/>
                    <a:pt x="10" y="70"/>
                  </a:cubicBezTo>
                  <a:cubicBezTo>
                    <a:pt x="10" y="70"/>
                    <a:pt x="10" y="70"/>
                    <a:pt x="10" y="70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2" y="73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6" y="79"/>
                    <a:pt x="37" y="84"/>
                    <a:pt x="52" y="92"/>
                  </a:cubicBezTo>
                  <a:cubicBezTo>
                    <a:pt x="66" y="99"/>
                    <a:pt x="71" y="103"/>
                    <a:pt x="73" y="105"/>
                  </a:cubicBezTo>
                  <a:cubicBezTo>
                    <a:pt x="74" y="106"/>
                    <a:pt x="74" y="106"/>
                    <a:pt x="74" y="106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116" y="81"/>
                    <a:pt x="116" y="81"/>
                    <a:pt x="116" y="81"/>
                  </a:cubicBezTo>
                  <a:cubicBezTo>
                    <a:pt x="118" y="80"/>
                    <a:pt x="118" y="80"/>
                    <a:pt x="118" y="80"/>
                  </a:cubicBezTo>
                  <a:cubicBezTo>
                    <a:pt x="118" y="77"/>
                    <a:pt x="118" y="77"/>
                    <a:pt x="118" y="77"/>
                  </a:cubicBezTo>
                  <a:cubicBezTo>
                    <a:pt x="118" y="76"/>
                    <a:pt x="117" y="74"/>
                    <a:pt x="117" y="72"/>
                  </a:cubicBezTo>
                  <a:close/>
                  <a:moveTo>
                    <a:pt x="77" y="104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3" y="100"/>
                    <a:pt x="68" y="96"/>
                    <a:pt x="54" y="89"/>
                  </a:cubicBezTo>
                  <a:cubicBezTo>
                    <a:pt x="38" y="80"/>
                    <a:pt x="27" y="75"/>
                    <a:pt x="27" y="75"/>
                  </a:cubicBezTo>
                  <a:cubicBezTo>
                    <a:pt x="26" y="75"/>
                    <a:pt x="14" y="70"/>
                    <a:pt x="13" y="69"/>
                  </a:cubicBezTo>
                  <a:cubicBezTo>
                    <a:pt x="12" y="67"/>
                    <a:pt x="15" y="65"/>
                    <a:pt x="16" y="64"/>
                  </a:cubicBezTo>
                  <a:cubicBezTo>
                    <a:pt x="16" y="64"/>
                    <a:pt x="17" y="63"/>
                    <a:pt x="19" y="63"/>
                  </a:cubicBezTo>
                  <a:cubicBezTo>
                    <a:pt x="20" y="62"/>
                    <a:pt x="21" y="62"/>
                    <a:pt x="22" y="62"/>
                  </a:cubicBezTo>
                  <a:cubicBezTo>
                    <a:pt x="29" y="62"/>
                    <a:pt x="37" y="68"/>
                    <a:pt x="37" y="68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9"/>
                    <a:pt x="6" y="6"/>
                    <a:pt x="7" y="5"/>
                  </a:cubicBezTo>
                  <a:cubicBezTo>
                    <a:pt x="8" y="5"/>
                    <a:pt x="10" y="4"/>
                    <a:pt x="12" y="4"/>
                  </a:cubicBezTo>
                  <a:cubicBezTo>
                    <a:pt x="13" y="4"/>
                    <a:pt x="14" y="4"/>
                    <a:pt x="15" y="5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4"/>
                    <a:pt x="33" y="23"/>
                    <a:pt x="36" y="20"/>
                  </a:cubicBezTo>
                  <a:cubicBezTo>
                    <a:pt x="37" y="19"/>
                    <a:pt x="40" y="18"/>
                    <a:pt x="42" y="18"/>
                  </a:cubicBezTo>
                  <a:cubicBezTo>
                    <a:pt x="43" y="18"/>
                    <a:pt x="43" y="18"/>
                    <a:pt x="44" y="18"/>
                  </a:cubicBezTo>
                  <a:cubicBezTo>
                    <a:pt x="46" y="20"/>
                    <a:pt x="49" y="24"/>
                    <a:pt x="50" y="26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1"/>
                    <a:pt x="52" y="18"/>
                    <a:pt x="55" y="16"/>
                  </a:cubicBezTo>
                  <a:cubicBezTo>
                    <a:pt x="55" y="16"/>
                    <a:pt x="56" y="16"/>
                    <a:pt x="57" y="16"/>
                  </a:cubicBezTo>
                  <a:cubicBezTo>
                    <a:pt x="61" y="16"/>
                    <a:pt x="64" y="20"/>
                    <a:pt x="64" y="20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70" y="14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81" y="13"/>
                    <a:pt x="98" y="28"/>
                    <a:pt x="104" y="42"/>
                  </a:cubicBezTo>
                  <a:cubicBezTo>
                    <a:pt x="108" y="52"/>
                    <a:pt x="113" y="72"/>
                    <a:pt x="114" y="78"/>
                  </a:cubicBezTo>
                  <a:lnTo>
                    <a:pt x="77" y="10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38" name="Group 214"/>
          <p:cNvGrpSpPr>
            <a:grpSpLocks noChangeAspect="1"/>
          </p:cNvGrpSpPr>
          <p:nvPr/>
        </p:nvGrpSpPr>
        <p:grpSpPr bwMode="auto">
          <a:xfrm>
            <a:off x="4703763" y="4060825"/>
            <a:ext cx="860425" cy="860425"/>
            <a:chOff x="2957" y="2558"/>
            <a:chExt cx="542" cy="542"/>
          </a:xfrm>
        </p:grpSpPr>
        <p:sp>
          <p:nvSpPr>
            <p:cNvPr id="52439" name="Oval 215"/>
            <p:cNvSpPr>
              <a:spLocks noChangeArrowheads="1"/>
            </p:cNvSpPr>
            <p:nvPr/>
          </p:nvSpPr>
          <p:spPr bwMode="auto">
            <a:xfrm>
              <a:off x="2957" y="2558"/>
              <a:ext cx="542" cy="54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40" name="Freeform 216"/>
            <p:cNvSpPr>
              <a:spLocks noEditPoints="1"/>
            </p:cNvSpPr>
            <p:nvPr/>
          </p:nvSpPr>
          <p:spPr bwMode="auto">
            <a:xfrm>
              <a:off x="3046" y="2697"/>
              <a:ext cx="357" cy="297"/>
            </a:xfrm>
            <a:custGeom>
              <a:avLst/>
              <a:gdLst/>
              <a:ahLst/>
              <a:cxnLst>
                <a:cxn ang="0">
                  <a:pos x="113" y="1"/>
                </a:cxn>
                <a:cxn ang="0">
                  <a:pos x="76" y="29"/>
                </a:cxn>
                <a:cxn ang="0">
                  <a:pos x="50" y="17"/>
                </a:cxn>
                <a:cxn ang="0">
                  <a:pos x="31" y="4"/>
                </a:cxn>
                <a:cxn ang="0">
                  <a:pos x="14" y="50"/>
                </a:cxn>
                <a:cxn ang="0">
                  <a:pos x="31" y="91"/>
                </a:cxn>
                <a:cxn ang="0">
                  <a:pos x="41" y="93"/>
                </a:cxn>
                <a:cxn ang="0">
                  <a:pos x="53" y="102"/>
                </a:cxn>
                <a:cxn ang="0">
                  <a:pos x="65" y="112"/>
                </a:cxn>
                <a:cxn ang="0">
                  <a:pos x="85" y="116"/>
                </a:cxn>
                <a:cxn ang="0">
                  <a:pos x="104" y="109"/>
                </a:cxn>
                <a:cxn ang="0">
                  <a:pos x="117" y="94"/>
                </a:cxn>
                <a:cxn ang="0">
                  <a:pos x="128" y="78"/>
                </a:cxn>
                <a:cxn ang="0">
                  <a:pos x="148" y="32"/>
                </a:cxn>
                <a:cxn ang="0">
                  <a:pos x="5" y="36"/>
                </a:cxn>
                <a:cxn ang="0">
                  <a:pos x="24" y="30"/>
                </a:cxn>
                <a:cxn ang="0">
                  <a:pos x="33" y="89"/>
                </a:cxn>
                <a:cxn ang="0">
                  <a:pos x="49" y="69"/>
                </a:cxn>
                <a:cxn ang="0">
                  <a:pos x="35" y="89"/>
                </a:cxn>
                <a:cxn ang="0">
                  <a:pos x="44" y="94"/>
                </a:cxn>
                <a:cxn ang="0">
                  <a:pos x="61" y="80"/>
                </a:cxn>
                <a:cxn ang="0">
                  <a:pos x="47" y="100"/>
                </a:cxn>
                <a:cxn ang="0">
                  <a:pos x="60" y="96"/>
                </a:cxn>
                <a:cxn ang="0">
                  <a:pos x="74" y="95"/>
                </a:cxn>
                <a:cxn ang="0">
                  <a:pos x="57" y="109"/>
                </a:cxn>
                <a:cxn ang="0">
                  <a:pos x="71" y="121"/>
                </a:cxn>
                <a:cxn ang="0">
                  <a:pos x="83" y="100"/>
                </a:cxn>
                <a:cxn ang="0">
                  <a:pos x="124" y="85"/>
                </a:cxn>
                <a:cxn ang="0">
                  <a:pos x="111" y="80"/>
                </a:cxn>
                <a:cxn ang="0">
                  <a:pos x="87" y="63"/>
                </a:cxn>
                <a:cxn ang="0">
                  <a:pos x="114" y="94"/>
                </a:cxn>
                <a:cxn ang="0">
                  <a:pos x="100" y="91"/>
                </a:cxn>
                <a:cxn ang="0">
                  <a:pos x="79" y="72"/>
                </a:cxn>
                <a:cxn ang="0">
                  <a:pos x="97" y="94"/>
                </a:cxn>
                <a:cxn ang="0">
                  <a:pos x="90" y="104"/>
                </a:cxn>
                <a:cxn ang="0">
                  <a:pos x="77" y="98"/>
                </a:cxn>
                <a:cxn ang="0">
                  <a:pos x="71" y="86"/>
                </a:cxn>
                <a:cxn ang="0">
                  <a:pos x="63" y="77"/>
                </a:cxn>
                <a:cxn ang="0">
                  <a:pos x="53" y="75"/>
                </a:cxn>
                <a:cxn ang="0">
                  <a:pos x="33" y="73"/>
                </a:cxn>
                <a:cxn ang="0">
                  <a:pos x="26" y="33"/>
                </a:cxn>
                <a:cxn ang="0">
                  <a:pos x="50" y="21"/>
                </a:cxn>
                <a:cxn ang="0">
                  <a:pos x="73" y="32"/>
                </a:cxn>
                <a:cxn ang="0">
                  <a:pos x="57" y="62"/>
                </a:cxn>
                <a:cxn ang="0">
                  <a:pos x="122" y="75"/>
                </a:cxn>
                <a:cxn ang="0">
                  <a:pos x="122" y="69"/>
                </a:cxn>
                <a:cxn ang="0">
                  <a:pos x="88" y="40"/>
                </a:cxn>
                <a:cxn ang="0">
                  <a:pos x="59" y="59"/>
                </a:cxn>
                <a:cxn ang="0">
                  <a:pos x="59" y="52"/>
                </a:cxn>
                <a:cxn ang="0">
                  <a:pos x="103" y="19"/>
                </a:cxn>
                <a:cxn ang="0">
                  <a:pos x="131" y="41"/>
                </a:cxn>
                <a:cxn ang="0">
                  <a:pos x="134" y="40"/>
                </a:cxn>
                <a:cxn ang="0">
                  <a:pos x="114" y="5"/>
                </a:cxn>
              </a:cxnLst>
              <a:rect l="0" t="0" r="r" b="b"/>
              <a:pathLst>
                <a:path w="149" h="124">
                  <a:moveTo>
                    <a:pt x="148" y="29"/>
                  </a:moveTo>
                  <a:cubicBezTo>
                    <a:pt x="115" y="1"/>
                    <a:pt x="115" y="1"/>
                    <a:pt x="115" y="1"/>
                  </a:cubicBezTo>
                  <a:cubicBezTo>
                    <a:pt x="115" y="0"/>
                    <a:pt x="113" y="0"/>
                    <a:pt x="113" y="1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88" y="17"/>
                    <a:pt x="79" y="26"/>
                    <a:pt x="79" y="26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7"/>
                    <a:pt x="64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9" y="17"/>
                    <a:pt x="48" y="17"/>
                    <a:pt x="47" y="18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3" y="4"/>
                    <a:pt x="32" y="4"/>
                    <a:pt x="31" y="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6"/>
                    <a:pt x="1" y="37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63"/>
                    <a:pt x="19" y="72"/>
                    <a:pt x="29" y="82"/>
                  </a:cubicBezTo>
                  <a:cubicBezTo>
                    <a:pt x="28" y="86"/>
                    <a:pt x="28" y="89"/>
                    <a:pt x="31" y="91"/>
                  </a:cubicBezTo>
                  <a:cubicBezTo>
                    <a:pt x="32" y="92"/>
                    <a:pt x="33" y="93"/>
                    <a:pt x="35" y="93"/>
                  </a:cubicBezTo>
                  <a:cubicBezTo>
                    <a:pt x="37" y="93"/>
                    <a:pt x="39" y="92"/>
                    <a:pt x="41" y="91"/>
                  </a:cubicBezTo>
                  <a:cubicBezTo>
                    <a:pt x="41" y="92"/>
                    <a:pt x="41" y="93"/>
                    <a:pt x="41" y="93"/>
                  </a:cubicBezTo>
                  <a:cubicBezTo>
                    <a:pt x="40" y="97"/>
                    <a:pt x="41" y="100"/>
                    <a:pt x="43" y="102"/>
                  </a:cubicBezTo>
                  <a:cubicBezTo>
                    <a:pt x="44" y="103"/>
                    <a:pt x="46" y="103"/>
                    <a:pt x="47" y="103"/>
                  </a:cubicBezTo>
                  <a:cubicBezTo>
                    <a:pt x="49" y="103"/>
                    <a:pt x="51" y="103"/>
                    <a:pt x="53" y="102"/>
                  </a:cubicBezTo>
                  <a:cubicBezTo>
                    <a:pt x="52" y="106"/>
                    <a:pt x="52" y="110"/>
                    <a:pt x="55" y="112"/>
                  </a:cubicBezTo>
                  <a:cubicBezTo>
                    <a:pt x="56" y="113"/>
                    <a:pt x="58" y="114"/>
                    <a:pt x="59" y="114"/>
                  </a:cubicBezTo>
                  <a:cubicBezTo>
                    <a:pt x="61" y="114"/>
                    <a:pt x="63" y="113"/>
                    <a:pt x="65" y="112"/>
                  </a:cubicBezTo>
                  <a:cubicBezTo>
                    <a:pt x="64" y="116"/>
                    <a:pt x="64" y="120"/>
                    <a:pt x="67" y="123"/>
                  </a:cubicBezTo>
                  <a:cubicBezTo>
                    <a:pt x="68" y="124"/>
                    <a:pt x="70" y="124"/>
                    <a:pt x="71" y="124"/>
                  </a:cubicBezTo>
                  <a:cubicBezTo>
                    <a:pt x="76" y="124"/>
                    <a:pt x="81" y="121"/>
                    <a:pt x="85" y="116"/>
                  </a:cubicBezTo>
                  <a:cubicBezTo>
                    <a:pt x="87" y="114"/>
                    <a:pt x="88" y="111"/>
                    <a:pt x="89" y="108"/>
                  </a:cubicBezTo>
                  <a:cubicBezTo>
                    <a:pt x="92" y="111"/>
                    <a:pt x="95" y="112"/>
                    <a:pt x="98" y="112"/>
                  </a:cubicBezTo>
                  <a:cubicBezTo>
                    <a:pt x="101" y="112"/>
                    <a:pt x="103" y="111"/>
                    <a:pt x="104" y="109"/>
                  </a:cubicBezTo>
                  <a:cubicBezTo>
                    <a:pt x="107" y="107"/>
                    <a:pt x="107" y="103"/>
                    <a:pt x="105" y="99"/>
                  </a:cubicBezTo>
                  <a:cubicBezTo>
                    <a:pt x="108" y="101"/>
                    <a:pt x="112" y="101"/>
                    <a:pt x="115" y="98"/>
                  </a:cubicBezTo>
                  <a:cubicBezTo>
                    <a:pt x="116" y="97"/>
                    <a:pt x="117" y="96"/>
                    <a:pt x="117" y="94"/>
                  </a:cubicBezTo>
                  <a:cubicBezTo>
                    <a:pt x="117" y="92"/>
                    <a:pt x="117" y="90"/>
                    <a:pt x="116" y="88"/>
                  </a:cubicBezTo>
                  <a:cubicBezTo>
                    <a:pt x="120" y="90"/>
                    <a:pt x="124" y="89"/>
                    <a:pt x="126" y="87"/>
                  </a:cubicBezTo>
                  <a:cubicBezTo>
                    <a:pt x="128" y="85"/>
                    <a:pt x="129" y="82"/>
                    <a:pt x="128" y="78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36" y="64"/>
                    <a:pt x="137" y="54"/>
                    <a:pt x="136" y="46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1"/>
                    <a:pt x="149" y="31"/>
                    <a:pt x="148" y="30"/>
                  </a:cubicBezTo>
                  <a:cubicBezTo>
                    <a:pt x="148" y="30"/>
                    <a:pt x="148" y="29"/>
                    <a:pt x="148" y="29"/>
                  </a:cubicBezTo>
                  <a:close/>
                  <a:moveTo>
                    <a:pt x="5" y="36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6" y="20"/>
                    <a:pt x="30" y="24"/>
                    <a:pt x="24" y="30"/>
                  </a:cubicBezTo>
                  <a:cubicBezTo>
                    <a:pt x="23" y="30"/>
                    <a:pt x="17" y="36"/>
                    <a:pt x="15" y="46"/>
                  </a:cubicBezTo>
                  <a:lnTo>
                    <a:pt x="5" y="36"/>
                  </a:lnTo>
                  <a:close/>
                  <a:moveTo>
                    <a:pt x="33" y="89"/>
                  </a:moveTo>
                  <a:cubicBezTo>
                    <a:pt x="31" y="87"/>
                    <a:pt x="32" y="81"/>
                    <a:pt x="36" y="75"/>
                  </a:cubicBezTo>
                  <a:cubicBezTo>
                    <a:pt x="39" y="71"/>
                    <a:pt x="43" y="69"/>
                    <a:pt x="47" y="69"/>
                  </a:cubicBezTo>
                  <a:cubicBezTo>
                    <a:pt x="47" y="69"/>
                    <a:pt x="48" y="69"/>
                    <a:pt x="49" y="69"/>
                  </a:cubicBezTo>
                  <a:cubicBezTo>
                    <a:pt x="50" y="70"/>
                    <a:pt x="50" y="72"/>
                    <a:pt x="50" y="74"/>
                  </a:cubicBezTo>
                  <a:cubicBezTo>
                    <a:pt x="49" y="77"/>
                    <a:pt x="48" y="80"/>
                    <a:pt x="45" y="83"/>
                  </a:cubicBezTo>
                  <a:cubicBezTo>
                    <a:pt x="42" y="87"/>
                    <a:pt x="38" y="89"/>
                    <a:pt x="35" y="89"/>
                  </a:cubicBezTo>
                  <a:cubicBezTo>
                    <a:pt x="34" y="89"/>
                    <a:pt x="34" y="89"/>
                    <a:pt x="33" y="89"/>
                  </a:cubicBezTo>
                  <a:close/>
                  <a:moveTo>
                    <a:pt x="45" y="99"/>
                  </a:moveTo>
                  <a:cubicBezTo>
                    <a:pt x="44" y="98"/>
                    <a:pt x="44" y="96"/>
                    <a:pt x="44" y="94"/>
                  </a:cubicBezTo>
                  <a:cubicBezTo>
                    <a:pt x="45" y="91"/>
                    <a:pt x="46" y="88"/>
                    <a:pt x="48" y="86"/>
                  </a:cubicBezTo>
                  <a:cubicBezTo>
                    <a:pt x="51" y="82"/>
                    <a:pt x="56" y="79"/>
                    <a:pt x="59" y="79"/>
                  </a:cubicBezTo>
                  <a:cubicBezTo>
                    <a:pt x="59" y="79"/>
                    <a:pt x="60" y="79"/>
                    <a:pt x="61" y="80"/>
                  </a:cubicBezTo>
                  <a:cubicBezTo>
                    <a:pt x="62" y="81"/>
                    <a:pt x="62" y="83"/>
                    <a:pt x="62" y="85"/>
                  </a:cubicBezTo>
                  <a:cubicBezTo>
                    <a:pt x="61" y="88"/>
                    <a:pt x="60" y="91"/>
                    <a:pt x="58" y="93"/>
                  </a:cubicBezTo>
                  <a:cubicBezTo>
                    <a:pt x="54" y="97"/>
                    <a:pt x="50" y="100"/>
                    <a:pt x="47" y="100"/>
                  </a:cubicBezTo>
                  <a:cubicBezTo>
                    <a:pt x="46" y="100"/>
                    <a:pt x="46" y="99"/>
                    <a:pt x="45" y="99"/>
                  </a:cubicBezTo>
                  <a:close/>
                  <a:moveTo>
                    <a:pt x="57" y="109"/>
                  </a:moveTo>
                  <a:cubicBezTo>
                    <a:pt x="55" y="108"/>
                    <a:pt x="56" y="102"/>
                    <a:pt x="60" y="96"/>
                  </a:cubicBezTo>
                  <a:cubicBezTo>
                    <a:pt x="63" y="92"/>
                    <a:pt x="68" y="90"/>
                    <a:pt x="71" y="90"/>
                  </a:cubicBezTo>
                  <a:cubicBezTo>
                    <a:pt x="72" y="90"/>
                    <a:pt x="72" y="90"/>
                    <a:pt x="73" y="90"/>
                  </a:cubicBezTo>
                  <a:cubicBezTo>
                    <a:pt x="74" y="91"/>
                    <a:pt x="74" y="93"/>
                    <a:pt x="74" y="95"/>
                  </a:cubicBezTo>
                  <a:cubicBezTo>
                    <a:pt x="73" y="98"/>
                    <a:pt x="72" y="101"/>
                    <a:pt x="70" y="104"/>
                  </a:cubicBezTo>
                  <a:cubicBezTo>
                    <a:pt x="66" y="107"/>
                    <a:pt x="62" y="110"/>
                    <a:pt x="59" y="110"/>
                  </a:cubicBezTo>
                  <a:cubicBezTo>
                    <a:pt x="58" y="110"/>
                    <a:pt x="58" y="110"/>
                    <a:pt x="57" y="109"/>
                  </a:cubicBezTo>
                  <a:close/>
                  <a:moveTo>
                    <a:pt x="86" y="106"/>
                  </a:moveTo>
                  <a:cubicBezTo>
                    <a:pt x="85" y="108"/>
                    <a:pt x="84" y="111"/>
                    <a:pt x="82" y="114"/>
                  </a:cubicBezTo>
                  <a:cubicBezTo>
                    <a:pt x="79" y="118"/>
                    <a:pt x="75" y="121"/>
                    <a:pt x="71" y="121"/>
                  </a:cubicBezTo>
                  <a:cubicBezTo>
                    <a:pt x="71" y="121"/>
                    <a:pt x="70" y="120"/>
                    <a:pt x="69" y="120"/>
                  </a:cubicBezTo>
                  <a:cubicBezTo>
                    <a:pt x="67" y="118"/>
                    <a:pt x="68" y="112"/>
                    <a:pt x="73" y="107"/>
                  </a:cubicBezTo>
                  <a:cubicBezTo>
                    <a:pt x="76" y="103"/>
                    <a:pt x="80" y="100"/>
                    <a:pt x="83" y="100"/>
                  </a:cubicBezTo>
                  <a:cubicBezTo>
                    <a:pt x="84" y="100"/>
                    <a:pt x="84" y="100"/>
                    <a:pt x="85" y="101"/>
                  </a:cubicBezTo>
                  <a:cubicBezTo>
                    <a:pt x="86" y="102"/>
                    <a:pt x="86" y="103"/>
                    <a:pt x="86" y="106"/>
                  </a:cubicBezTo>
                  <a:close/>
                  <a:moveTo>
                    <a:pt x="124" y="85"/>
                  </a:moveTo>
                  <a:cubicBezTo>
                    <a:pt x="122" y="87"/>
                    <a:pt x="116" y="85"/>
                    <a:pt x="111" y="80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9" y="60"/>
                    <a:pt x="88" y="60"/>
                    <a:pt x="87" y="61"/>
                  </a:cubicBezTo>
                  <a:cubicBezTo>
                    <a:pt x="86" y="61"/>
                    <a:pt x="86" y="63"/>
                    <a:pt x="87" y="63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12" y="86"/>
                    <a:pt x="114" y="91"/>
                    <a:pt x="114" y="94"/>
                  </a:cubicBezTo>
                  <a:cubicBezTo>
                    <a:pt x="114" y="94"/>
                    <a:pt x="113" y="95"/>
                    <a:pt x="113" y="95"/>
                  </a:cubicBezTo>
                  <a:cubicBezTo>
                    <a:pt x="108" y="99"/>
                    <a:pt x="101" y="93"/>
                    <a:pt x="100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8" y="71"/>
                    <a:pt x="77" y="72"/>
                    <a:pt x="76" y="72"/>
                  </a:cubicBezTo>
                  <a:cubicBezTo>
                    <a:pt x="75" y="73"/>
                    <a:pt x="75" y="74"/>
                    <a:pt x="76" y="75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97" y="94"/>
                    <a:pt x="97" y="94"/>
                    <a:pt x="97" y="94"/>
                  </a:cubicBezTo>
                  <a:cubicBezTo>
                    <a:pt x="102" y="99"/>
                    <a:pt x="104" y="105"/>
                    <a:pt x="102" y="107"/>
                  </a:cubicBezTo>
                  <a:cubicBezTo>
                    <a:pt x="100" y="109"/>
                    <a:pt x="95" y="109"/>
                    <a:pt x="90" y="104"/>
                  </a:cubicBezTo>
                  <a:cubicBezTo>
                    <a:pt x="90" y="102"/>
                    <a:pt x="89" y="99"/>
                    <a:pt x="87" y="98"/>
                  </a:cubicBezTo>
                  <a:cubicBezTo>
                    <a:pt x="86" y="97"/>
                    <a:pt x="85" y="96"/>
                    <a:pt x="83" y="96"/>
                  </a:cubicBezTo>
                  <a:cubicBezTo>
                    <a:pt x="81" y="96"/>
                    <a:pt x="79" y="97"/>
                    <a:pt x="77" y="98"/>
                  </a:cubicBezTo>
                  <a:cubicBezTo>
                    <a:pt x="77" y="97"/>
                    <a:pt x="77" y="97"/>
                    <a:pt x="77" y="96"/>
                  </a:cubicBezTo>
                  <a:cubicBezTo>
                    <a:pt x="78" y="92"/>
                    <a:pt x="77" y="89"/>
                    <a:pt x="75" y="87"/>
                  </a:cubicBezTo>
                  <a:cubicBezTo>
                    <a:pt x="74" y="86"/>
                    <a:pt x="72" y="86"/>
                    <a:pt x="71" y="86"/>
                  </a:cubicBezTo>
                  <a:cubicBezTo>
                    <a:pt x="69" y="86"/>
                    <a:pt x="67" y="87"/>
                    <a:pt x="65" y="88"/>
                  </a:cubicBezTo>
                  <a:cubicBezTo>
                    <a:pt x="65" y="87"/>
                    <a:pt x="65" y="86"/>
                    <a:pt x="65" y="85"/>
                  </a:cubicBezTo>
                  <a:cubicBezTo>
                    <a:pt x="66" y="82"/>
                    <a:pt x="65" y="79"/>
                    <a:pt x="63" y="77"/>
                  </a:cubicBezTo>
                  <a:cubicBezTo>
                    <a:pt x="62" y="76"/>
                    <a:pt x="60" y="76"/>
                    <a:pt x="59" y="76"/>
                  </a:cubicBezTo>
                  <a:cubicBezTo>
                    <a:pt x="57" y="76"/>
                    <a:pt x="55" y="76"/>
                    <a:pt x="53" y="77"/>
                  </a:cubicBezTo>
                  <a:cubicBezTo>
                    <a:pt x="53" y="77"/>
                    <a:pt x="53" y="76"/>
                    <a:pt x="53" y="75"/>
                  </a:cubicBezTo>
                  <a:cubicBezTo>
                    <a:pt x="54" y="71"/>
                    <a:pt x="53" y="68"/>
                    <a:pt x="51" y="67"/>
                  </a:cubicBezTo>
                  <a:cubicBezTo>
                    <a:pt x="50" y="66"/>
                    <a:pt x="48" y="65"/>
                    <a:pt x="47" y="65"/>
                  </a:cubicBezTo>
                  <a:cubicBezTo>
                    <a:pt x="42" y="65"/>
                    <a:pt x="37" y="68"/>
                    <a:pt x="33" y="73"/>
                  </a:cubicBezTo>
                  <a:cubicBezTo>
                    <a:pt x="32" y="75"/>
                    <a:pt x="31" y="76"/>
                    <a:pt x="30" y="78"/>
                  </a:cubicBezTo>
                  <a:cubicBezTo>
                    <a:pt x="22" y="70"/>
                    <a:pt x="17" y="61"/>
                    <a:pt x="17" y="53"/>
                  </a:cubicBezTo>
                  <a:cubicBezTo>
                    <a:pt x="18" y="41"/>
                    <a:pt x="26" y="33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34" y="25"/>
                    <a:pt x="42" y="21"/>
                    <a:pt x="50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63" y="21"/>
                    <a:pt x="72" y="30"/>
                    <a:pt x="72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6" y="50"/>
                    <a:pt x="52" y="53"/>
                    <a:pt x="53" y="57"/>
                  </a:cubicBezTo>
                  <a:cubicBezTo>
                    <a:pt x="53" y="59"/>
                    <a:pt x="54" y="61"/>
                    <a:pt x="57" y="62"/>
                  </a:cubicBezTo>
                  <a:cubicBezTo>
                    <a:pt x="58" y="62"/>
                    <a:pt x="71" y="67"/>
                    <a:pt x="87" y="44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22" y="75"/>
                    <a:pt x="122" y="75"/>
                    <a:pt x="122" y="75"/>
                  </a:cubicBezTo>
                  <a:cubicBezTo>
                    <a:pt x="125" y="79"/>
                    <a:pt x="125" y="83"/>
                    <a:pt x="124" y="85"/>
                  </a:cubicBezTo>
                  <a:close/>
                  <a:moveTo>
                    <a:pt x="126" y="74"/>
                  </a:moveTo>
                  <a:cubicBezTo>
                    <a:pt x="125" y="72"/>
                    <a:pt x="123" y="71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39"/>
                    <a:pt x="87" y="39"/>
                    <a:pt x="87" y="39"/>
                  </a:cubicBezTo>
                  <a:cubicBezTo>
                    <a:pt x="86" y="39"/>
                    <a:pt x="86" y="40"/>
                    <a:pt x="85" y="40"/>
                  </a:cubicBezTo>
                  <a:cubicBezTo>
                    <a:pt x="70" y="63"/>
                    <a:pt x="59" y="59"/>
                    <a:pt x="59" y="59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7" y="58"/>
                    <a:pt x="57" y="57"/>
                    <a:pt x="56" y="57"/>
                  </a:cubicBezTo>
                  <a:cubicBezTo>
                    <a:pt x="56" y="55"/>
                    <a:pt x="58" y="53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91" y="19"/>
                    <a:pt x="103" y="19"/>
                  </a:cubicBezTo>
                  <a:cubicBezTo>
                    <a:pt x="110" y="19"/>
                    <a:pt x="117" y="23"/>
                    <a:pt x="12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3" y="29"/>
                    <a:pt x="128" y="33"/>
                    <a:pt x="131" y="41"/>
                  </a:cubicBezTo>
                  <a:cubicBezTo>
                    <a:pt x="134" y="51"/>
                    <a:pt x="133" y="62"/>
                    <a:pt x="126" y="74"/>
                  </a:cubicBezTo>
                  <a:close/>
                  <a:moveTo>
                    <a:pt x="135" y="41"/>
                  </a:moveTo>
                  <a:cubicBezTo>
                    <a:pt x="135" y="41"/>
                    <a:pt x="134" y="40"/>
                    <a:pt x="134" y="40"/>
                  </a:cubicBezTo>
                  <a:cubicBezTo>
                    <a:pt x="131" y="32"/>
                    <a:pt x="127" y="27"/>
                    <a:pt x="126" y="26"/>
                  </a:cubicBezTo>
                  <a:cubicBezTo>
                    <a:pt x="119" y="20"/>
                    <a:pt x="112" y="16"/>
                    <a:pt x="105" y="16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44" y="31"/>
                    <a:pt x="144" y="31"/>
                    <a:pt x="144" y="31"/>
                  </a:cubicBezTo>
                  <a:lnTo>
                    <a:pt x="13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41" name="Freeform 217"/>
            <p:cNvSpPr>
              <a:spLocks noEditPoints="1"/>
            </p:cNvSpPr>
            <p:nvPr/>
          </p:nvSpPr>
          <p:spPr bwMode="auto">
            <a:xfrm>
              <a:off x="2979" y="2580"/>
              <a:ext cx="498" cy="498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3"/>
                </a:cxn>
              </a:cxnLst>
              <a:rect l="0" t="0" r="r" b="b"/>
              <a:pathLst>
                <a:path w="208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50" y="203"/>
                    <a:pt x="5" y="158"/>
                    <a:pt x="5" y="104"/>
                  </a:cubicBezTo>
                  <a:cubicBezTo>
                    <a:pt x="5" y="50"/>
                    <a:pt x="50" y="5"/>
                    <a:pt x="104" y="5"/>
                  </a:cubicBezTo>
                  <a:cubicBezTo>
                    <a:pt x="158" y="5"/>
                    <a:pt x="203" y="50"/>
                    <a:pt x="203" y="104"/>
                  </a:cubicBezTo>
                  <a:cubicBezTo>
                    <a:pt x="203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8588C0B-D6EA-7148-BAD1-DE83094A3822}"/>
              </a:ext>
            </a:extLst>
          </p:cNvPr>
          <p:cNvGrpSpPr/>
          <p:nvPr/>
        </p:nvGrpSpPr>
        <p:grpSpPr>
          <a:xfrm>
            <a:off x="9944675" y="3724439"/>
            <a:ext cx="566738" cy="473075"/>
            <a:chOff x="9944675" y="3724439"/>
            <a:chExt cx="566738" cy="473075"/>
          </a:xfrm>
          <a:solidFill>
            <a:schemeClr val="accent6"/>
          </a:solidFill>
        </p:grpSpPr>
        <p:sp>
          <p:nvSpPr>
            <p:cNvPr id="52445" name="Freeform 221"/>
            <p:cNvSpPr>
              <a:spLocks/>
            </p:cNvSpPr>
            <p:nvPr/>
          </p:nvSpPr>
          <p:spPr bwMode="auto">
            <a:xfrm>
              <a:off x="9997063" y="3789527"/>
              <a:ext cx="244475" cy="250825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15" y="66"/>
                </a:cxn>
                <a:cxn ang="0">
                  <a:pos x="0" y="35"/>
                </a:cxn>
                <a:cxn ang="0">
                  <a:pos x="10" y="13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61" y="11"/>
                </a:cxn>
                <a:cxn ang="0">
                  <a:pos x="63" y="13"/>
                </a:cxn>
                <a:cxn ang="0">
                  <a:pos x="63" y="16"/>
                </a:cxn>
                <a:cxn ang="0">
                  <a:pos x="61" y="16"/>
                </a:cxn>
                <a:cxn ang="0">
                  <a:pos x="58" y="13"/>
                </a:cxn>
                <a:cxn ang="0">
                  <a:pos x="58" y="13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12" y="15"/>
                </a:cxn>
                <a:cxn ang="0">
                  <a:pos x="12" y="16"/>
                </a:cxn>
                <a:cxn ang="0">
                  <a:pos x="3" y="36"/>
                </a:cxn>
                <a:cxn ang="0">
                  <a:pos x="18" y="63"/>
                </a:cxn>
                <a:cxn ang="0">
                  <a:pos x="18" y="66"/>
                </a:cxn>
                <a:cxn ang="0">
                  <a:pos x="17" y="66"/>
                </a:cxn>
              </a:cxnLst>
              <a:rect l="0" t="0" r="r" b="b"/>
              <a:pathLst>
                <a:path w="64" h="66">
                  <a:moveTo>
                    <a:pt x="17" y="66"/>
                  </a:moveTo>
                  <a:cubicBezTo>
                    <a:pt x="16" y="66"/>
                    <a:pt x="16" y="66"/>
                    <a:pt x="15" y="66"/>
                  </a:cubicBezTo>
                  <a:cubicBezTo>
                    <a:pt x="5" y="56"/>
                    <a:pt x="0" y="46"/>
                    <a:pt x="0" y="35"/>
                  </a:cubicBezTo>
                  <a:cubicBezTo>
                    <a:pt x="0" y="22"/>
                    <a:pt x="9" y="14"/>
                    <a:pt x="10" y="13"/>
                  </a:cubicBezTo>
                  <a:cubicBezTo>
                    <a:pt x="18" y="5"/>
                    <a:pt x="27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0" y="0"/>
                    <a:pt x="60" y="10"/>
                    <a:pt x="61" y="11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4" y="14"/>
                    <a:pt x="64" y="15"/>
                    <a:pt x="63" y="16"/>
                  </a:cubicBezTo>
                  <a:cubicBezTo>
                    <a:pt x="63" y="17"/>
                    <a:pt x="62" y="17"/>
                    <a:pt x="61" y="16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49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28" y="4"/>
                    <a:pt x="20" y="8"/>
                    <a:pt x="12" y="15"/>
                  </a:cubicBezTo>
                  <a:cubicBezTo>
                    <a:pt x="12" y="15"/>
                    <a:pt x="12" y="16"/>
                    <a:pt x="12" y="16"/>
                  </a:cubicBezTo>
                  <a:cubicBezTo>
                    <a:pt x="12" y="16"/>
                    <a:pt x="4" y="24"/>
                    <a:pt x="3" y="36"/>
                  </a:cubicBezTo>
                  <a:cubicBezTo>
                    <a:pt x="3" y="45"/>
                    <a:pt x="8" y="54"/>
                    <a:pt x="18" y="63"/>
                  </a:cubicBezTo>
                  <a:cubicBezTo>
                    <a:pt x="19" y="64"/>
                    <a:pt x="19" y="65"/>
                    <a:pt x="18" y="66"/>
                  </a:cubicBezTo>
                  <a:cubicBezTo>
                    <a:pt x="18" y="66"/>
                    <a:pt x="17" y="66"/>
                    <a:pt x="17" y="6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46" name="Freeform 222"/>
            <p:cNvSpPr>
              <a:spLocks/>
            </p:cNvSpPr>
            <p:nvPr/>
          </p:nvSpPr>
          <p:spPr bwMode="auto">
            <a:xfrm>
              <a:off x="10141525" y="3784764"/>
              <a:ext cx="328613" cy="241300"/>
            </a:xfrm>
            <a:custGeom>
              <a:avLst/>
              <a:gdLst/>
              <a:ahLst/>
              <a:cxnLst>
                <a:cxn ang="0">
                  <a:pos x="74" y="63"/>
                </a:cxn>
                <a:cxn ang="0">
                  <a:pos x="73" y="63"/>
                </a:cxn>
                <a:cxn ang="0">
                  <a:pos x="72" y="61"/>
                </a:cxn>
                <a:cxn ang="0">
                  <a:pos x="73" y="59"/>
                </a:cxn>
                <a:cxn ang="0">
                  <a:pos x="79" y="25"/>
                </a:cxn>
                <a:cxn ang="0">
                  <a:pos x="71" y="13"/>
                </a:cxn>
                <a:cxn ang="0">
                  <a:pos x="71" y="13"/>
                </a:cxn>
                <a:cxn ang="0">
                  <a:pos x="51" y="3"/>
                </a:cxn>
                <a:cxn ang="0">
                  <a:pos x="29" y="13"/>
                </a:cxn>
                <a:cxn ang="0">
                  <a:pos x="7" y="36"/>
                </a:cxn>
                <a:cxn ang="0">
                  <a:pos x="7" y="36"/>
                </a:cxn>
                <a:cxn ang="0">
                  <a:pos x="4" y="41"/>
                </a:cxn>
                <a:cxn ang="0">
                  <a:pos x="7" y="42"/>
                </a:cxn>
                <a:cxn ang="0">
                  <a:pos x="7" y="43"/>
                </a:cxn>
                <a:cxn ang="0">
                  <a:pos x="33" y="24"/>
                </a:cxn>
                <a:cxn ang="0">
                  <a:pos x="35" y="23"/>
                </a:cxn>
                <a:cxn ang="0">
                  <a:pos x="36" y="24"/>
                </a:cxn>
                <a:cxn ang="0">
                  <a:pos x="70" y="53"/>
                </a:cxn>
                <a:cxn ang="0">
                  <a:pos x="70" y="53"/>
                </a:cxn>
                <a:cxn ang="0">
                  <a:pos x="73" y="57"/>
                </a:cxn>
                <a:cxn ang="0">
                  <a:pos x="73" y="60"/>
                </a:cxn>
                <a:cxn ang="0">
                  <a:pos x="70" y="59"/>
                </a:cxn>
                <a:cxn ang="0">
                  <a:pos x="67" y="56"/>
                </a:cxn>
                <a:cxn ang="0">
                  <a:pos x="35" y="28"/>
                </a:cxn>
                <a:cxn ang="0">
                  <a:pos x="5" y="46"/>
                </a:cxn>
                <a:cxn ang="0">
                  <a:pos x="1" y="41"/>
                </a:cxn>
                <a:cxn ang="0">
                  <a:pos x="4" y="33"/>
                </a:cxn>
                <a:cxn ang="0">
                  <a:pos x="27" y="10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74" y="10"/>
                </a:cxn>
                <a:cxn ang="0">
                  <a:pos x="82" y="24"/>
                </a:cxn>
                <a:cxn ang="0">
                  <a:pos x="76" y="61"/>
                </a:cxn>
                <a:cxn ang="0">
                  <a:pos x="75" y="63"/>
                </a:cxn>
                <a:cxn ang="0">
                  <a:pos x="74" y="63"/>
                </a:cxn>
              </a:cxnLst>
              <a:rect l="0" t="0" r="r" b="b"/>
              <a:pathLst>
                <a:path w="86" h="63">
                  <a:moveTo>
                    <a:pt x="74" y="63"/>
                  </a:moveTo>
                  <a:cubicBezTo>
                    <a:pt x="73" y="63"/>
                    <a:pt x="73" y="63"/>
                    <a:pt x="73" y="63"/>
                  </a:cubicBezTo>
                  <a:cubicBezTo>
                    <a:pt x="72" y="63"/>
                    <a:pt x="72" y="62"/>
                    <a:pt x="72" y="61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80" y="47"/>
                    <a:pt x="82" y="36"/>
                    <a:pt x="79" y="25"/>
                  </a:cubicBezTo>
                  <a:cubicBezTo>
                    <a:pt x="76" y="17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65" y="7"/>
                    <a:pt x="58" y="3"/>
                    <a:pt x="51" y="3"/>
                  </a:cubicBezTo>
                  <a:cubicBezTo>
                    <a:pt x="39" y="3"/>
                    <a:pt x="29" y="13"/>
                    <a:pt x="29" y="13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6" y="37"/>
                    <a:pt x="4" y="39"/>
                    <a:pt x="4" y="41"/>
                  </a:cubicBezTo>
                  <a:cubicBezTo>
                    <a:pt x="5" y="41"/>
                    <a:pt x="5" y="42"/>
                    <a:pt x="7" y="42"/>
                  </a:cubicBezTo>
                  <a:cubicBezTo>
                    <a:pt x="7" y="42"/>
                    <a:pt x="7" y="42"/>
                    <a:pt x="7" y="43"/>
                  </a:cubicBezTo>
                  <a:cubicBezTo>
                    <a:pt x="7" y="43"/>
                    <a:pt x="18" y="47"/>
                    <a:pt x="33" y="24"/>
                  </a:cubicBezTo>
                  <a:cubicBezTo>
                    <a:pt x="34" y="24"/>
                    <a:pt x="34" y="23"/>
                    <a:pt x="35" y="23"/>
                  </a:cubicBezTo>
                  <a:cubicBezTo>
                    <a:pt x="35" y="23"/>
                    <a:pt x="36" y="23"/>
                    <a:pt x="36" y="2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4" y="58"/>
                    <a:pt x="73" y="59"/>
                    <a:pt x="73" y="60"/>
                  </a:cubicBezTo>
                  <a:cubicBezTo>
                    <a:pt x="72" y="60"/>
                    <a:pt x="71" y="60"/>
                    <a:pt x="70" y="59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19" y="51"/>
                    <a:pt x="6" y="46"/>
                    <a:pt x="5" y="46"/>
                  </a:cubicBezTo>
                  <a:cubicBezTo>
                    <a:pt x="2" y="45"/>
                    <a:pt x="1" y="43"/>
                    <a:pt x="1" y="41"/>
                  </a:cubicBezTo>
                  <a:cubicBezTo>
                    <a:pt x="0" y="37"/>
                    <a:pt x="4" y="34"/>
                    <a:pt x="4" y="33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37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9" y="0"/>
                    <a:pt x="67" y="3"/>
                    <a:pt x="74" y="10"/>
                  </a:cubicBezTo>
                  <a:cubicBezTo>
                    <a:pt x="75" y="11"/>
                    <a:pt x="79" y="16"/>
                    <a:pt x="82" y="24"/>
                  </a:cubicBezTo>
                  <a:cubicBezTo>
                    <a:pt x="85" y="32"/>
                    <a:pt x="86" y="45"/>
                    <a:pt x="76" y="61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4" y="63"/>
                    <a:pt x="74" y="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47" name="Freeform 223"/>
            <p:cNvSpPr>
              <a:spLocks/>
            </p:cNvSpPr>
            <p:nvPr/>
          </p:nvSpPr>
          <p:spPr bwMode="auto">
            <a:xfrm>
              <a:off x="10271700" y="3983202"/>
              <a:ext cx="168275" cy="168275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" y="38"/>
                </a:cxn>
                <a:cxn ang="0">
                  <a:pos x="1" y="36"/>
                </a:cxn>
                <a:cxn ang="0">
                  <a:pos x="3" y="36"/>
                </a:cxn>
                <a:cxn ang="0">
                  <a:pos x="16" y="39"/>
                </a:cxn>
                <a:cxn ang="0">
                  <a:pos x="11" y="26"/>
                </a:cxn>
                <a:cxn ang="0">
                  <a:pos x="11" y="26"/>
                </a:cxn>
                <a:cxn ang="0">
                  <a:pos x="11" y="23"/>
                </a:cxn>
                <a:cxn ang="0">
                  <a:pos x="14" y="23"/>
                </a:cxn>
                <a:cxn ang="0">
                  <a:pos x="14" y="23"/>
                </a:cxn>
                <a:cxn ang="0">
                  <a:pos x="27" y="27"/>
                </a:cxn>
                <a:cxn ang="0">
                  <a:pos x="28" y="26"/>
                </a:cxn>
                <a:cxn ang="0">
                  <a:pos x="22" y="15"/>
                </a:cxn>
                <a:cxn ang="0">
                  <a:pos x="22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5" y="12"/>
                </a:cxn>
                <a:cxn ang="0">
                  <a:pos x="38" y="17"/>
                </a:cxn>
                <a:cxn ang="0">
                  <a:pos x="33" y="4"/>
                </a:cxn>
                <a:cxn ang="0">
                  <a:pos x="33" y="1"/>
                </a:cxn>
                <a:cxn ang="0">
                  <a:pos x="36" y="1"/>
                </a:cxn>
                <a:cxn ang="0">
                  <a:pos x="40" y="19"/>
                </a:cxn>
                <a:cxn ang="0">
                  <a:pos x="30" y="20"/>
                </a:cxn>
                <a:cxn ang="0">
                  <a:pos x="31" y="26"/>
                </a:cxn>
                <a:cxn ang="0">
                  <a:pos x="29" y="30"/>
                </a:cxn>
                <a:cxn ang="0">
                  <a:pos x="19" y="31"/>
                </a:cxn>
                <a:cxn ang="0">
                  <a:pos x="18" y="41"/>
                </a:cxn>
                <a:cxn ang="0">
                  <a:pos x="12" y="44"/>
                </a:cxn>
              </a:cxnLst>
              <a:rect l="0" t="0" r="r" b="b"/>
              <a:pathLst>
                <a:path w="44" h="44">
                  <a:moveTo>
                    <a:pt x="12" y="44"/>
                  </a:moveTo>
                  <a:cubicBezTo>
                    <a:pt x="9" y="44"/>
                    <a:pt x="5" y="42"/>
                    <a:pt x="1" y="38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1" y="35"/>
                    <a:pt x="3" y="35"/>
                    <a:pt x="3" y="36"/>
                  </a:cubicBezTo>
                  <a:cubicBezTo>
                    <a:pt x="8" y="40"/>
                    <a:pt x="14" y="41"/>
                    <a:pt x="16" y="39"/>
                  </a:cubicBezTo>
                  <a:cubicBezTo>
                    <a:pt x="18" y="37"/>
                    <a:pt x="16" y="31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5"/>
                    <a:pt x="10" y="24"/>
                    <a:pt x="11" y="23"/>
                  </a:cubicBezTo>
                  <a:cubicBezTo>
                    <a:pt x="12" y="22"/>
                    <a:pt x="13" y="22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5" y="25"/>
                    <a:pt x="22" y="31"/>
                    <a:pt x="27" y="27"/>
                  </a:cubicBezTo>
                  <a:cubicBezTo>
                    <a:pt x="27" y="27"/>
                    <a:pt x="28" y="26"/>
                    <a:pt x="28" y="26"/>
                  </a:cubicBezTo>
                  <a:cubicBezTo>
                    <a:pt x="28" y="23"/>
                    <a:pt x="26" y="18"/>
                    <a:pt x="22" y="15"/>
                  </a:cubicBezTo>
                  <a:cubicBezTo>
                    <a:pt x="21" y="14"/>
                    <a:pt x="21" y="13"/>
                    <a:pt x="22" y="12"/>
                  </a:cubicBezTo>
                  <a:cubicBezTo>
                    <a:pt x="22" y="12"/>
                    <a:pt x="23" y="11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30" y="17"/>
                    <a:pt x="36" y="19"/>
                    <a:pt x="38" y="17"/>
                  </a:cubicBezTo>
                  <a:cubicBezTo>
                    <a:pt x="40" y="15"/>
                    <a:pt x="38" y="9"/>
                    <a:pt x="33" y="4"/>
                  </a:cubicBezTo>
                  <a:cubicBezTo>
                    <a:pt x="32" y="3"/>
                    <a:pt x="32" y="2"/>
                    <a:pt x="33" y="1"/>
                  </a:cubicBezTo>
                  <a:cubicBezTo>
                    <a:pt x="34" y="0"/>
                    <a:pt x="35" y="0"/>
                    <a:pt x="36" y="1"/>
                  </a:cubicBezTo>
                  <a:cubicBezTo>
                    <a:pt x="42" y="7"/>
                    <a:pt x="44" y="15"/>
                    <a:pt x="40" y="19"/>
                  </a:cubicBezTo>
                  <a:cubicBezTo>
                    <a:pt x="38" y="21"/>
                    <a:pt x="34" y="22"/>
                    <a:pt x="30" y="20"/>
                  </a:cubicBezTo>
                  <a:cubicBezTo>
                    <a:pt x="31" y="22"/>
                    <a:pt x="31" y="24"/>
                    <a:pt x="31" y="26"/>
                  </a:cubicBezTo>
                  <a:cubicBezTo>
                    <a:pt x="31" y="28"/>
                    <a:pt x="30" y="29"/>
                    <a:pt x="29" y="30"/>
                  </a:cubicBezTo>
                  <a:cubicBezTo>
                    <a:pt x="26" y="33"/>
                    <a:pt x="22" y="33"/>
                    <a:pt x="19" y="31"/>
                  </a:cubicBezTo>
                  <a:cubicBezTo>
                    <a:pt x="21" y="35"/>
                    <a:pt x="21" y="39"/>
                    <a:pt x="18" y="41"/>
                  </a:cubicBezTo>
                  <a:cubicBezTo>
                    <a:pt x="17" y="43"/>
                    <a:pt x="15" y="44"/>
                    <a:pt x="12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48" name="Freeform 224"/>
            <p:cNvSpPr>
              <a:spLocks/>
            </p:cNvSpPr>
            <p:nvPr/>
          </p:nvSpPr>
          <p:spPr bwMode="auto">
            <a:xfrm>
              <a:off x="10271700" y="3953039"/>
              <a:ext cx="95250" cy="873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22" y="23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25" y="20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5" h="23">
                  <a:moveTo>
                    <a:pt x="23" y="23"/>
                  </a:moveTo>
                  <a:cubicBezTo>
                    <a:pt x="23" y="23"/>
                    <a:pt x="23" y="23"/>
                    <a:pt x="22" y="2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5" y="22"/>
                    <a:pt x="25" y="23"/>
                  </a:cubicBezTo>
                  <a:cubicBezTo>
                    <a:pt x="24" y="23"/>
                    <a:pt x="24" y="23"/>
                    <a:pt x="23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49" name="Freeform 225"/>
            <p:cNvSpPr>
              <a:spLocks/>
            </p:cNvSpPr>
            <p:nvPr/>
          </p:nvSpPr>
          <p:spPr bwMode="auto">
            <a:xfrm>
              <a:off x="10230425" y="3994314"/>
              <a:ext cx="95250" cy="88900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22" y="23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25" y="20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5" h="23">
                  <a:moveTo>
                    <a:pt x="23" y="23"/>
                  </a:moveTo>
                  <a:cubicBezTo>
                    <a:pt x="23" y="23"/>
                    <a:pt x="22" y="23"/>
                    <a:pt x="22" y="2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5" y="22"/>
                    <a:pt x="25" y="23"/>
                  </a:cubicBezTo>
                  <a:cubicBezTo>
                    <a:pt x="24" y="23"/>
                    <a:pt x="24" y="23"/>
                    <a:pt x="23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50" name="Freeform 226"/>
            <p:cNvSpPr>
              <a:spLocks noEditPoints="1"/>
            </p:cNvSpPr>
            <p:nvPr/>
          </p:nvSpPr>
          <p:spPr bwMode="auto">
            <a:xfrm>
              <a:off x="10046275" y="3972089"/>
              <a:ext cx="103188" cy="106363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4" y="26"/>
                </a:cxn>
                <a:cxn ang="0">
                  <a:pos x="6" y="8"/>
                </a:cxn>
                <a:cxn ang="0">
                  <a:pos x="20" y="0"/>
                </a:cxn>
                <a:cxn ang="0">
                  <a:pos x="24" y="2"/>
                </a:cxn>
                <a:cxn ang="0">
                  <a:pos x="26" y="10"/>
                </a:cxn>
                <a:cxn ang="0">
                  <a:pos x="21" y="20"/>
                </a:cxn>
                <a:cxn ang="0">
                  <a:pos x="8" y="28"/>
                </a:cxn>
                <a:cxn ang="0">
                  <a:pos x="20" y="4"/>
                </a:cxn>
                <a:cxn ang="0">
                  <a:pos x="9" y="10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18" y="18"/>
                </a:cxn>
                <a:cxn ang="0">
                  <a:pos x="23" y="9"/>
                </a:cxn>
                <a:cxn ang="0">
                  <a:pos x="22" y="4"/>
                </a:cxn>
                <a:cxn ang="0">
                  <a:pos x="20" y="4"/>
                </a:cxn>
              </a:cxnLst>
              <a:rect l="0" t="0" r="r" b="b"/>
              <a:pathLst>
                <a:path w="27" h="28">
                  <a:moveTo>
                    <a:pt x="8" y="28"/>
                  </a:moveTo>
                  <a:cubicBezTo>
                    <a:pt x="6" y="28"/>
                    <a:pt x="5" y="27"/>
                    <a:pt x="4" y="26"/>
                  </a:cubicBezTo>
                  <a:cubicBezTo>
                    <a:pt x="0" y="23"/>
                    <a:pt x="1" y="15"/>
                    <a:pt x="6" y="8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3" y="1"/>
                    <a:pt x="24" y="2"/>
                  </a:cubicBezTo>
                  <a:cubicBezTo>
                    <a:pt x="26" y="3"/>
                    <a:pt x="27" y="6"/>
                    <a:pt x="26" y="10"/>
                  </a:cubicBezTo>
                  <a:cubicBezTo>
                    <a:pt x="26" y="13"/>
                    <a:pt x="24" y="17"/>
                    <a:pt x="21" y="20"/>
                  </a:cubicBezTo>
                  <a:cubicBezTo>
                    <a:pt x="17" y="25"/>
                    <a:pt x="12" y="28"/>
                    <a:pt x="8" y="28"/>
                  </a:cubicBezTo>
                  <a:close/>
                  <a:moveTo>
                    <a:pt x="20" y="4"/>
                  </a:moveTo>
                  <a:cubicBezTo>
                    <a:pt x="16" y="4"/>
                    <a:pt x="12" y="6"/>
                    <a:pt x="9" y="10"/>
                  </a:cubicBezTo>
                  <a:cubicBezTo>
                    <a:pt x="5" y="16"/>
                    <a:pt x="4" y="22"/>
                    <a:pt x="6" y="24"/>
                  </a:cubicBezTo>
                  <a:cubicBezTo>
                    <a:pt x="7" y="24"/>
                    <a:pt x="7" y="24"/>
                    <a:pt x="8" y="24"/>
                  </a:cubicBezTo>
                  <a:cubicBezTo>
                    <a:pt x="11" y="24"/>
                    <a:pt x="15" y="22"/>
                    <a:pt x="18" y="18"/>
                  </a:cubicBezTo>
                  <a:cubicBezTo>
                    <a:pt x="21" y="15"/>
                    <a:pt x="22" y="12"/>
                    <a:pt x="23" y="9"/>
                  </a:cubicBezTo>
                  <a:cubicBezTo>
                    <a:pt x="23" y="7"/>
                    <a:pt x="23" y="5"/>
                    <a:pt x="22" y="4"/>
                  </a:cubicBezTo>
                  <a:cubicBezTo>
                    <a:pt x="21" y="4"/>
                    <a:pt x="20" y="4"/>
                    <a:pt x="2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51" name="Freeform 227"/>
            <p:cNvSpPr>
              <a:spLocks noEditPoints="1"/>
            </p:cNvSpPr>
            <p:nvPr/>
          </p:nvSpPr>
          <p:spPr bwMode="auto">
            <a:xfrm>
              <a:off x="10138350" y="4051464"/>
              <a:ext cx="103188" cy="107950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4" y="26"/>
                </a:cxn>
                <a:cxn ang="0">
                  <a:pos x="7" y="8"/>
                </a:cxn>
                <a:cxn ang="0">
                  <a:pos x="20" y="0"/>
                </a:cxn>
                <a:cxn ang="0">
                  <a:pos x="24" y="1"/>
                </a:cxn>
                <a:cxn ang="0">
                  <a:pos x="26" y="10"/>
                </a:cxn>
                <a:cxn ang="0">
                  <a:pos x="21" y="20"/>
                </a:cxn>
                <a:cxn ang="0">
                  <a:pos x="8" y="28"/>
                </a:cxn>
                <a:cxn ang="0">
                  <a:pos x="20" y="4"/>
                </a:cxn>
                <a:cxn ang="0">
                  <a:pos x="9" y="10"/>
                </a:cxn>
                <a:cxn ang="0">
                  <a:pos x="6" y="23"/>
                </a:cxn>
                <a:cxn ang="0">
                  <a:pos x="8" y="24"/>
                </a:cxn>
                <a:cxn ang="0">
                  <a:pos x="19" y="18"/>
                </a:cxn>
                <a:cxn ang="0">
                  <a:pos x="23" y="9"/>
                </a:cxn>
                <a:cxn ang="0">
                  <a:pos x="22" y="4"/>
                </a:cxn>
                <a:cxn ang="0">
                  <a:pos x="20" y="4"/>
                </a:cxn>
              </a:cxnLst>
              <a:rect l="0" t="0" r="r" b="b"/>
              <a:pathLst>
                <a:path w="27" h="28">
                  <a:moveTo>
                    <a:pt x="8" y="28"/>
                  </a:moveTo>
                  <a:cubicBezTo>
                    <a:pt x="7" y="28"/>
                    <a:pt x="5" y="27"/>
                    <a:pt x="4" y="26"/>
                  </a:cubicBezTo>
                  <a:cubicBezTo>
                    <a:pt x="0" y="23"/>
                    <a:pt x="1" y="15"/>
                    <a:pt x="7" y="8"/>
                  </a:cubicBezTo>
                  <a:cubicBezTo>
                    <a:pt x="10" y="3"/>
                    <a:pt x="15" y="0"/>
                    <a:pt x="20" y="0"/>
                  </a:cubicBezTo>
                  <a:cubicBezTo>
                    <a:pt x="21" y="0"/>
                    <a:pt x="23" y="0"/>
                    <a:pt x="24" y="1"/>
                  </a:cubicBezTo>
                  <a:cubicBezTo>
                    <a:pt x="26" y="3"/>
                    <a:pt x="27" y="6"/>
                    <a:pt x="26" y="10"/>
                  </a:cubicBezTo>
                  <a:cubicBezTo>
                    <a:pt x="26" y="13"/>
                    <a:pt x="24" y="17"/>
                    <a:pt x="21" y="20"/>
                  </a:cubicBezTo>
                  <a:cubicBezTo>
                    <a:pt x="18" y="25"/>
                    <a:pt x="12" y="28"/>
                    <a:pt x="8" y="28"/>
                  </a:cubicBezTo>
                  <a:close/>
                  <a:moveTo>
                    <a:pt x="20" y="4"/>
                  </a:moveTo>
                  <a:cubicBezTo>
                    <a:pt x="17" y="4"/>
                    <a:pt x="12" y="6"/>
                    <a:pt x="9" y="10"/>
                  </a:cubicBezTo>
                  <a:cubicBezTo>
                    <a:pt x="5" y="16"/>
                    <a:pt x="4" y="22"/>
                    <a:pt x="6" y="23"/>
                  </a:cubicBezTo>
                  <a:cubicBezTo>
                    <a:pt x="7" y="24"/>
                    <a:pt x="7" y="24"/>
                    <a:pt x="8" y="24"/>
                  </a:cubicBezTo>
                  <a:cubicBezTo>
                    <a:pt x="11" y="24"/>
                    <a:pt x="15" y="21"/>
                    <a:pt x="19" y="18"/>
                  </a:cubicBezTo>
                  <a:cubicBezTo>
                    <a:pt x="21" y="15"/>
                    <a:pt x="22" y="12"/>
                    <a:pt x="23" y="9"/>
                  </a:cubicBezTo>
                  <a:cubicBezTo>
                    <a:pt x="23" y="7"/>
                    <a:pt x="23" y="5"/>
                    <a:pt x="22" y="4"/>
                  </a:cubicBezTo>
                  <a:cubicBezTo>
                    <a:pt x="21" y="4"/>
                    <a:pt x="21" y="4"/>
                    <a:pt x="2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52" name="Freeform 228"/>
            <p:cNvSpPr>
              <a:spLocks noEditPoints="1"/>
            </p:cNvSpPr>
            <p:nvPr/>
          </p:nvSpPr>
          <p:spPr bwMode="auto">
            <a:xfrm>
              <a:off x="10097075" y="4013364"/>
              <a:ext cx="98425" cy="103188"/>
            </a:xfrm>
            <a:custGeom>
              <a:avLst/>
              <a:gdLst/>
              <a:ahLst/>
              <a:cxnLst>
                <a:cxn ang="0">
                  <a:pos x="7" y="27"/>
                </a:cxn>
                <a:cxn ang="0">
                  <a:pos x="3" y="26"/>
                </a:cxn>
                <a:cxn ang="0">
                  <a:pos x="1" y="17"/>
                </a:cxn>
                <a:cxn ang="0">
                  <a:pos x="5" y="7"/>
                </a:cxn>
                <a:cxn ang="0">
                  <a:pos x="19" y="0"/>
                </a:cxn>
                <a:cxn ang="0">
                  <a:pos x="23" y="1"/>
                </a:cxn>
                <a:cxn ang="0">
                  <a:pos x="25" y="9"/>
                </a:cxn>
                <a:cxn ang="0">
                  <a:pos x="20" y="20"/>
                </a:cxn>
                <a:cxn ang="0">
                  <a:pos x="7" y="27"/>
                </a:cxn>
                <a:cxn ang="0">
                  <a:pos x="19" y="3"/>
                </a:cxn>
                <a:cxn ang="0">
                  <a:pos x="8" y="10"/>
                </a:cxn>
                <a:cxn ang="0">
                  <a:pos x="4" y="18"/>
                </a:cxn>
                <a:cxn ang="0">
                  <a:pos x="5" y="23"/>
                </a:cxn>
                <a:cxn ang="0">
                  <a:pos x="7" y="24"/>
                </a:cxn>
                <a:cxn ang="0">
                  <a:pos x="18" y="17"/>
                </a:cxn>
                <a:cxn ang="0">
                  <a:pos x="22" y="9"/>
                </a:cxn>
                <a:cxn ang="0">
                  <a:pos x="21" y="4"/>
                </a:cxn>
                <a:cxn ang="0">
                  <a:pos x="19" y="3"/>
                </a:cxn>
              </a:cxnLst>
              <a:rect l="0" t="0" r="r" b="b"/>
              <a:pathLst>
                <a:path w="26" h="27">
                  <a:moveTo>
                    <a:pt x="7" y="27"/>
                  </a:moveTo>
                  <a:cubicBezTo>
                    <a:pt x="6" y="27"/>
                    <a:pt x="4" y="27"/>
                    <a:pt x="3" y="26"/>
                  </a:cubicBezTo>
                  <a:cubicBezTo>
                    <a:pt x="1" y="24"/>
                    <a:pt x="0" y="21"/>
                    <a:pt x="1" y="17"/>
                  </a:cubicBezTo>
                  <a:cubicBezTo>
                    <a:pt x="1" y="14"/>
                    <a:pt x="3" y="10"/>
                    <a:pt x="5" y="7"/>
                  </a:cubicBezTo>
                  <a:cubicBezTo>
                    <a:pt x="9" y="3"/>
                    <a:pt x="14" y="0"/>
                    <a:pt x="19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3"/>
                    <a:pt x="26" y="6"/>
                    <a:pt x="25" y="9"/>
                  </a:cubicBezTo>
                  <a:cubicBezTo>
                    <a:pt x="25" y="13"/>
                    <a:pt x="23" y="16"/>
                    <a:pt x="20" y="20"/>
                  </a:cubicBezTo>
                  <a:cubicBezTo>
                    <a:pt x="16" y="24"/>
                    <a:pt x="11" y="27"/>
                    <a:pt x="7" y="27"/>
                  </a:cubicBezTo>
                  <a:close/>
                  <a:moveTo>
                    <a:pt x="19" y="3"/>
                  </a:moveTo>
                  <a:cubicBezTo>
                    <a:pt x="16" y="3"/>
                    <a:pt x="11" y="6"/>
                    <a:pt x="8" y="10"/>
                  </a:cubicBezTo>
                  <a:cubicBezTo>
                    <a:pt x="6" y="12"/>
                    <a:pt x="5" y="15"/>
                    <a:pt x="4" y="18"/>
                  </a:cubicBezTo>
                  <a:cubicBezTo>
                    <a:pt x="4" y="20"/>
                    <a:pt x="4" y="22"/>
                    <a:pt x="5" y="23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10" y="24"/>
                    <a:pt x="14" y="21"/>
                    <a:pt x="18" y="17"/>
                  </a:cubicBezTo>
                  <a:cubicBezTo>
                    <a:pt x="20" y="15"/>
                    <a:pt x="21" y="12"/>
                    <a:pt x="22" y="9"/>
                  </a:cubicBezTo>
                  <a:cubicBezTo>
                    <a:pt x="22" y="7"/>
                    <a:pt x="22" y="5"/>
                    <a:pt x="21" y="4"/>
                  </a:cubicBezTo>
                  <a:cubicBezTo>
                    <a:pt x="20" y="3"/>
                    <a:pt x="19" y="3"/>
                    <a:pt x="19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53" name="Freeform 229"/>
            <p:cNvSpPr>
              <a:spLocks noEditPoints="1"/>
            </p:cNvSpPr>
            <p:nvPr/>
          </p:nvSpPr>
          <p:spPr bwMode="auto">
            <a:xfrm>
              <a:off x="10184388" y="4089564"/>
              <a:ext cx="103188" cy="107950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4" y="27"/>
                </a:cxn>
                <a:cxn ang="0">
                  <a:pos x="7" y="8"/>
                </a:cxn>
                <a:cxn ang="0">
                  <a:pos x="20" y="0"/>
                </a:cxn>
                <a:cxn ang="0">
                  <a:pos x="24" y="2"/>
                </a:cxn>
                <a:cxn ang="0">
                  <a:pos x="27" y="10"/>
                </a:cxn>
                <a:cxn ang="0">
                  <a:pos x="22" y="20"/>
                </a:cxn>
                <a:cxn ang="0">
                  <a:pos x="8" y="28"/>
                </a:cxn>
                <a:cxn ang="0">
                  <a:pos x="20" y="4"/>
                </a:cxn>
                <a:cxn ang="0">
                  <a:pos x="10" y="11"/>
                </a:cxn>
                <a:cxn ang="0">
                  <a:pos x="6" y="24"/>
                </a:cxn>
                <a:cxn ang="0">
                  <a:pos x="8" y="25"/>
                </a:cxn>
                <a:cxn ang="0">
                  <a:pos x="19" y="18"/>
                </a:cxn>
                <a:cxn ang="0">
                  <a:pos x="23" y="10"/>
                </a:cxn>
                <a:cxn ang="0">
                  <a:pos x="22" y="5"/>
                </a:cxn>
                <a:cxn ang="0">
                  <a:pos x="20" y="4"/>
                </a:cxn>
              </a:cxnLst>
              <a:rect l="0" t="0" r="r" b="b"/>
              <a:pathLst>
                <a:path w="27" h="28">
                  <a:moveTo>
                    <a:pt x="8" y="28"/>
                  </a:moveTo>
                  <a:cubicBezTo>
                    <a:pt x="7" y="28"/>
                    <a:pt x="5" y="28"/>
                    <a:pt x="4" y="27"/>
                  </a:cubicBezTo>
                  <a:cubicBezTo>
                    <a:pt x="0" y="23"/>
                    <a:pt x="1" y="15"/>
                    <a:pt x="7" y="8"/>
                  </a:cubicBezTo>
                  <a:cubicBezTo>
                    <a:pt x="11" y="3"/>
                    <a:pt x="16" y="0"/>
                    <a:pt x="20" y="0"/>
                  </a:cubicBezTo>
                  <a:cubicBezTo>
                    <a:pt x="22" y="0"/>
                    <a:pt x="23" y="1"/>
                    <a:pt x="24" y="2"/>
                  </a:cubicBezTo>
                  <a:cubicBezTo>
                    <a:pt x="26" y="4"/>
                    <a:pt x="27" y="7"/>
                    <a:pt x="27" y="10"/>
                  </a:cubicBezTo>
                  <a:cubicBezTo>
                    <a:pt x="26" y="14"/>
                    <a:pt x="24" y="17"/>
                    <a:pt x="22" y="20"/>
                  </a:cubicBezTo>
                  <a:cubicBezTo>
                    <a:pt x="18" y="25"/>
                    <a:pt x="13" y="28"/>
                    <a:pt x="8" y="28"/>
                  </a:cubicBezTo>
                  <a:close/>
                  <a:moveTo>
                    <a:pt x="20" y="4"/>
                  </a:moveTo>
                  <a:cubicBezTo>
                    <a:pt x="17" y="4"/>
                    <a:pt x="13" y="7"/>
                    <a:pt x="10" y="11"/>
                  </a:cubicBezTo>
                  <a:cubicBezTo>
                    <a:pt x="5" y="16"/>
                    <a:pt x="4" y="22"/>
                    <a:pt x="6" y="24"/>
                  </a:cubicBezTo>
                  <a:cubicBezTo>
                    <a:pt x="7" y="24"/>
                    <a:pt x="8" y="25"/>
                    <a:pt x="8" y="25"/>
                  </a:cubicBezTo>
                  <a:cubicBezTo>
                    <a:pt x="12" y="25"/>
                    <a:pt x="16" y="22"/>
                    <a:pt x="19" y="18"/>
                  </a:cubicBezTo>
                  <a:cubicBezTo>
                    <a:pt x="21" y="15"/>
                    <a:pt x="22" y="12"/>
                    <a:pt x="23" y="10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1" y="4"/>
                    <a:pt x="21" y="4"/>
                    <a:pt x="2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54" name="Freeform 230"/>
            <p:cNvSpPr>
              <a:spLocks/>
            </p:cNvSpPr>
            <p:nvPr/>
          </p:nvSpPr>
          <p:spPr bwMode="auto">
            <a:xfrm>
              <a:off x="10320913" y="3724439"/>
              <a:ext cx="190500" cy="179388"/>
            </a:xfrm>
            <a:custGeom>
              <a:avLst/>
              <a:gdLst/>
              <a:ahLst/>
              <a:cxnLst>
                <a:cxn ang="0">
                  <a:pos x="35" y="47"/>
                </a:cxn>
                <a:cxn ang="0">
                  <a:pos x="34" y="47"/>
                </a:cxn>
                <a:cxn ang="0">
                  <a:pos x="33" y="44"/>
                </a:cxn>
                <a:cxn ang="0">
                  <a:pos x="45" y="31"/>
                </a:cxn>
                <a:cxn ang="0">
                  <a:pos x="15" y="5"/>
                </a:cxn>
                <a:cxn ang="0">
                  <a:pos x="4" y="18"/>
                </a:cxn>
                <a:cxn ang="0">
                  <a:pos x="1" y="18"/>
                </a:cxn>
                <a:cxn ang="0">
                  <a:pos x="1" y="16"/>
                </a:cxn>
                <a:cxn ang="0">
                  <a:pos x="14" y="1"/>
                </a:cxn>
                <a:cxn ang="0">
                  <a:pos x="16" y="1"/>
                </a:cxn>
                <a:cxn ang="0">
                  <a:pos x="49" y="29"/>
                </a:cxn>
                <a:cxn ang="0">
                  <a:pos x="49" y="30"/>
                </a:cxn>
                <a:cxn ang="0">
                  <a:pos x="49" y="32"/>
                </a:cxn>
                <a:cxn ang="0">
                  <a:pos x="36" y="46"/>
                </a:cxn>
                <a:cxn ang="0">
                  <a:pos x="35" y="47"/>
                </a:cxn>
              </a:cxnLst>
              <a:rect l="0" t="0" r="r" b="b"/>
              <a:pathLst>
                <a:path w="50" h="47">
                  <a:moveTo>
                    <a:pt x="35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3" y="46"/>
                    <a:pt x="33" y="45"/>
                    <a:pt x="33" y="44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3" y="19"/>
                    <a:pt x="2" y="19"/>
                    <a:pt x="1" y="18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6" y="0"/>
                    <a:pt x="16" y="1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30"/>
                    <a:pt x="49" y="30"/>
                  </a:cubicBezTo>
                  <a:cubicBezTo>
                    <a:pt x="50" y="31"/>
                    <a:pt x="49" y="31"/>
                    <a:pt x="49" y="32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5" y="47"/>
                    <a:pt x="35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55" name="Freeform 231"/>
            <p:cNvSpPr>
              <a:spLocks/>
            </p:cNvSpPr>
            <p:nvPr/>
          </p:nvSpPr>
          <p:spPr bwMode="auto">
            <a:xfrm>
              <a:off x="9944675" y="3740314"/>
              <a:ext cx="182563" cy="177800"/>
            </a:xfrm>
            <a:custGeom>
              <a:avLst/>
              <a:gdLst/>
              <a:ahLst/>
              <a:cxnLst>
                <a:cxn ang="0">
                  <a:pos x="16" y="47"/>
                </a:cxn>
                <a:cxn ang="0">
                  <a:pos x="14" y="47"/>
                </a:cxn>
                <a:cxn ang="0">
                  <a:pos x="1" y="33"/>
                </a:cxn>
                <a:cxn ang="0">
                  <a:pos x="1" y="31"/>
                </a:cxn>
                <a:cxn ang="0">
                  <a:pos x="31" y="0"/>
                </a:cxn>
                <a:cxn ang="0">
                  <a:pos x="34" y="0"/>
                </a:cxn>
                <a:cxn ang="0">
                  <a:pos x="48" y="14"/>
                </a:cxn>
                <a:cxn ang="0">
                  <a:pos x="47" y="17"/>
                </a:cxn>
                <a:cxn ang="0">
                  <a:pos x="45" y="17"/>
                </a:cxn>
                <a:cxn ang="0">
                  <a:pos x="33" y="4"/>
                </a:cxn>
                <a:cxn ang="0">
                  <a:pos x="5" y="32"/>
                </a:cxn>
                <a:cxn ang="0">
                  <a:pos x="17" y="44"/>
                </a:cxn>
                <a:cxn ang="0">
                  <a:pos x="17" y="47"/>
                </a:cxn>
                <a:cxn ang="0">
                  <a:pos x="16" y="47"/>
                </a:cxn>
              </a:cxnLst>
              <a:rect l="0" t="0" r="r" b="b"/>
              <a:pathLst>
                <a:path w="48" h="47">
                  <a:moveTo>
                    <a:pt x="16" y="47"/>
                  </a:moveTo>
                  <a:cubicBezTo>
                    <a:pt x="15" y="47"/>
                    <a:pt x="15" y="47"/>
                    <a:pt x="14" y="47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2"/>
                    <a:pt x="0" y="31"/>
                    <a:pt x="1" y="3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3" y="0"/>
                    <a:pt x="34" y="0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7"/>
                    <a:pt x="46" y="17"/>
                    <a:pt x="45" y="17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5"/>
                    <a:pt x="18" y="46"/>
                    <a:pt x="17" y="47"/>
                  </a:cubicBezTo>
                  <a:cubicBezTo>
                    <a:pt x="17" y="47"/>
                    <a:pt x="16" y="47"/>
                    <a:pt x="16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59" name="Group 235"/>
          <p:cNvGrpSpPr>
            <a:grpSpLocks noChangeAspect="1"/>
          </p:cNvGrpSpPr>
          <p:nvPr/>
        </p:nvGrpSpPr>
        <p:grpSpPr bwMode="auto">
          <a:xfrm>
            <a:off x="6912769" y="4060825"/>
            <a:ext cx="854075" cy="854075"/>
            <a:chOff x="4357" y="2558"/>
            <a:chExt cx="538" cy="538"/>
          </a:xfrm>
        </p:grpSpPr>
        <p:sp>
          <p:nvSpPr>
            <p:cNvPr id="52460" name="Oval 236"/>
            <p:cNvSpPr>
              <a:spLocks noChangeArrowheads="1"/>
            </p:cNvSpPr>
            <p:nvPr/>
          </p:nvSpPr>
          <p:spPr bwMode="auto">
            <a:xfrm>
              <a:off x="4357" y="2558"/>
              <a:ext cx="538" cy="53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61" name="Freeform 237"/>
            <p:cNvSpPr>
              <a:spLocks noEditPoints="1"/>
            </p:cNvSpPr>
            <p:nvPr/>
          </p:nvSpPr>
          <p:spPr bwMode="auto">
            <a:xfrm>
              <a:off x="4379" y="2577"/>
              <a:ext cx="495" cy="497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62" name="Freeform 238"/>
            <p:cNvSpPr>
              <a:spLocks noEditPoints="1"/>
            </p:cNvSpPr>
            <p:nvPr/>
          </p:nvSpPr>
          <p:spPr bwMode="auto">
            <a:xfrm>
              <a:off x="4470" y="2665"/>
              <a:ext cx="315" cy="318"/>
            </a:xfrm>
            <a:custGeom>
              <a:avLst/>
              <a:gdLst/>
              <a:ahLst/>
              <a:cxnLst>
                <a:cxn ang="0">
                  <a:pos x="210" y="318"/>
                </a:cxn>
                <a:cxn ang="0">
                  <a:pos x="105" y="318"/>
                </a:cxn>
                <a:cxn ang="0">
                  <a:pos x="105" y="211"/>
                </a:cxn>
                <a:cxn ang="0">
                  <a:pos x="0" y="211"/>
                </a:cxn>
                <a:cxn ang="0">
                  <a:pos x="0" y="108"/>
                </a:cxn>
                <a:cxn ang="0">
                  <a:pos x="105" y="108"/>
                </a:cxn>
                <a:cxn ang="0">
                  <a:pos x="105" y="0"/>
                </a:cxn>
                <a:cxn ang="0">
                  <a:pos x="210" y="0"/>
                </a:cxn>
                <a:cxn ang="0">
                  <a:pos x="210" y="108"/>
                </a:cxn>
                <a:cxn ang="0">
                  <a:pos x="315" y="108"/>
                </a:cxn>
                <a:cxn ang="0">
                  <a:pos x="315" y="211"/>
                </a:cxn>
                <a:cxn ang="0">
                  <a:pos x="210" y="211"/>
                </a:cxn>
                <a:cxn ang="0">
                  <a:pos x="210" y="318"/>
                </a:cxn>
                <a:cxn ang="0">
                  <a:pos x="115" y="309"/>
                </a:cxn>
                <a:cxn ang="0">
                  <a:pos x="201" y="309"/>
                </a:cxn>
                <a:cxn ang="0">
                  <a:pos x="201" y="203"/>
                </a:cxn>
                <a:cxn ang="0">
                  <a:pos x="308" y="203"/>
                </a:cxn>
                <a:cxn ang="0">
                  <a:pos x="308" y="115"/>
                </a:cxn>
                <a:cxn ang="0">
                  <a:pos x="201" y="115"/>
                </a:cxn>
                <a:cxn ang="0">
                  <a:pos x="201" y="10"/>
                </a:cxn>
                <a:cxn ang="0">
                  <a:pos x="115" y="10"/>
                </a:cxn>
                <a:cxn ang="0">
                  <a:pos x="115" y="115"/>
                </a:cxn>
                <a:cxn ang="0">
                  <a:pos x="7" y="115"/>
                </a:cxn>
                <a:cxn ang="0">
                  <a:pos x="7" y="203"/>
                </a:cxn>
                <a:cxn ang="0">
                  <a:pos x="115" y="203"/>
                </a:cxn>
                <a:cxn ang="0">
                  <a:pos x="115" y="309"/>
                </a:cxn>
              </a:cxnLst>
              <a:rect l="0" t="0" r="r" b="b"/>
              <a:pathLst>
                <a:path w="315" h="318">
                  <a:moveTo>
                    <a:pt x="210" y="318"/>
                  </a:moveTo>
                  <a:lnTo>
                    <a:pt x="105" y="318"/>
                  </a:lnTo>
                  <a:lnTo>
                    <a:pt x="105" y="211"/>
                  </a:lnTo>
                  <a:lnTo>
                    <a:pt x="0" y="211"/>
                  </a:lnTo>
                  <a:lnTo>
                    <a:pt x="0" y="108"/>
                  </a:lnTo>
                  <a:lnTo>
                    <a:pt x="105" y="108"/>
                  </a:lnTo>
                  <a:lnTo>
                    <a:pt x="105" y="0"/>
                  </a:lnTo>
                  <a:lnTo>
                    <a:pt x="210" y="0"/>
                  </a:lnTo>
                  <a:lnTo>
                    <a:pt x="210" y="108"/>
                  </a:lnTo>
                  <a:lnTo>
                    <a:pt x="315" y="108"/>
                  </a:lnTo>
                  <a:lnTo>
                    <a:pt x="315" y="211"/>
                  </a:lnTo>
                  <a:lnTo>
                    <a:pt x="210" y="211"/>
                  </a:lnTo>
                  <a:lnTo>
                    <a:pt x="210" y="318"/>
                  </a:lnTo>
                  <a:close/>
                  <a:moveTo>
                    <a:pt x="115" y="309"/>
                  </a:moveTo>
                  <a:lnTo>
                    <a:pt x="201" y="309"/>
                  </a:lnTo>
                  <a:lnTo>
                    <a:pt x="201" y="203"/>
                  </a:lnTo>
                  <a:lnTo>
                    <a:pt x="308" y="203"/>
                  </a:lnTo>
                  <a:lnTo>
                    <a:pt x="308" y="115"/>
                  </a:lnTo>
                  <a:lnTo>
                    <a:pt x="201" y="115"/>
                  </a:lnTo>
                  <a:lnTo>
                    <a:pt x="201" y="10"/>
                  </a:lnTo>
                  <a:lnTo>
                    <a:pt x="115" y="10"/>
                  </a:lnTo>
                  <a:lnTo>
                    <a:pt x="115" y="115"/>
                  </a:lnTo>
                  <a:lnTo>
                    <a:pt x="7" y="115"/>
                  </a:lnTo>
                  <a:lnTo>
                    <a:pt x="7" y="203"/>
                  </a:lnTo>
                  <a:lnTo>
                    <a:pt x="115" y="203"/>
                  </a:lnTo>
                  <a:lnTo>
                    <a:pt x="115" y="30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65" name="Group 241"/>
          <p:cNvGrpSpPr>
            <a:grpSpLocks noChangeAspect="1"/>
          </p:cNvGrpSpPr>
          <p:nvPr/>
        </p:nvGrpSpPr>
        <p:grpSpPr bwMode="auto">
          <a:xfrm>
            <a:off x="8050213" y="4094163"/>
            <a:ext cx="787400" cy="793750"/>
            <a:chOff x="5071" y="2579"/>
            <a:chExt cx="496" cy="500"/>
          </a:xfrm>
        </p:grpSpPr>
        <p:sp>
          <p:nvSpPr>
            <p:cNvPr id="52466" name="Freeform 242"/>
            <p:cNvSpPr>
              <a:spLocks noEditPoints="1"/>
            </p:cNvSpPr>
            <p:nvPr/>
          </p:nvSpPr>
          <p:spPr bwMode="auto">
            <a:xfrm>
              <a:off x="5071" y="2579"/>
              <a:ext cx="496" cy="500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67" name="Freeform 243"/>
            <p:cNvSpPr>
              <a:spLocks noEditPoints="1"/>
            </p:cNvSpPr>
            <p:nvPr/>
          </p:nvSpPr>
          <p:spPr bwMode="auto">
            <a:xfrm>
              <a:off x="5162" y="2668"/>
              <a:ext cx="317" cy="319"/>
            </a:xfrm>
            <a:custGeom>
              <a:avLst/>
              <a:gdLst/>
              <a:ahLst/>
              <a:cxnLst>
                <a:cxn ang="0">
                  <a:pos x="211" y="319"/>
                </a:cxn>
                <a:cxn ang="0">
                  <a:pos x="106" y="319"/>
                </a:cxn>
                <a:cxn ang="0">
                  <a:pos x="106" y="211"/>
                </a:cxn>
                <a:cxn ang="0">
                  <a:pos x="0" y="211"/>
                </a:cxn>
                <a:cxn ang="0">
                  <a:pos x="0" y="108"/>
                </a:cxn>
                <a:cxn ang="0">
                  <a:pos x="106" y="108"/>
                </a:cxn>
                <a:cxn ang="0">
                  <a:pos x="106" y="0"/>
                </a:cxn>
                <a:cxn ang="0">
                  <a:pos x="211" y="0"/>
                </a:cxn>
                <a:cxn ang="0">
                  <a:pos x="211" y="108"/>
                </a:cxn>
                <a:cxn ang="0">
                  <a:pos x="317" y="108"/>
                </a:cxn>
                <a:cxn ang="0">
                  <a:pos x="317" y="211"/>
                </a:cxn>
                <a:cxn ang="0">
                  <a:pos x="211" y="211"/>
                </a:cxn>
                <a:cxn ang="0">
                  <a:pos x="211" y="319"/>
                </a:cxn>
                <a:cxn ang="0">
                  <a:pos x="115" y="310"/>
                </a:cxn>
                <a:cxn ang="0">
                  <a:pos x="202" y="310"/>
                </a:cxn>
                <a:cxn ang="0">
                  <a:pos x="202" y="204"/>
                </a:cxn>
                <a:cxn ang="0">
                  <a:pos x="310" y="204"/>
                </a:cxn>
                <a:cxn ang="0">
                  <a:pos x="310" y="115"/>
                </a:cxn>
                <a:cxn ang="0">
                  <a:pos x="202" y="115"/>
                </a:cxn>
                <a:cxn ang="0">
                  <a:pos x="202" y="10"/>
                </a:cxn>
                <a:cxn ang="0">
                  <a:pos x="115" y="10"/>
                </a:cxn>
                <a:cxn ang="0">
                  <a:pos x="115" y="115"/>
                </a:cxn>
                <a:cxn ang="0">
                  <a:pos x="8" y="115"/>
                </a:cxn>
                <a:cxn ang="0">
                  <a:pos x="8" y="204"/>
                </a:cxn>
                <a:cxn ang="0">
                  <a:pos x="115" y="204"/>
                </a:cxn>
                <a:cxn ang="0">
                  <a:pos x="115" y="310"/>
                </a:cxn>
              </a:cxnLst>
              <a:rect l="0" t="0" r="r" b="b"/>
              <a:pathLst>
                <a:path w="317" h="319">
                  <a:moveTo>
                    <a:pt x="211" y="319"/>
                  </a:moveTo>
                  <a:lnTo>
                    <a:pt x="106" y="319"/>
                  </a:lnTo>
                  <a:lnTo>
                    <a:pt x="106" y="211"/>
                  </a:lnTo>
                  <a:lnTo>
                    <a:pt x="0" y="211"/>
                  </a:lnTo>
                  <a:lnTo>
                    <a:pt x="0" y="108"/>
                  </a:lnTo>
                  <a:lnTo>
                    <a:pt x="106" y="108"/>
                  </a:lnTo>
                  <a:lnTo>
                    <a:pt x="106" y="0"/>
                  </a:lnTo>
                  <a:lnTo>
                    <a:pt x="211" y="0"/>
                  </a:lnTo>
                  <a:lnTo>
                    <a:pt x="211" y="108"/>
                  </a:lnTo>
                  <a:lnTo>
                    <a:pt x="317" y="108"/>
                  </a:lnTo>
                  <a:lnTo>
                    <a:pt x="317" y="211"/>
                  </a:lnTo>
                  <a:lnTo>
                    <a:pt x="211" y="211"/>
                  </a:lnTo>
                  <a:lnTo>
                    <a:pt x="211" y="319"/>
                  </a:lnTo>
                  <a:close/>
                  <a:moveTo>
                    <a:pt x="115" y="310"/>
                  </a:moveTo>
                  <a:lnTo>
                    <a:pt x="202" y="310"/>
                  </a:lnTo>
                  <a:lnTo>
                    <a:pt x="202" y="204"/>
                  </a:lnTo>
                  <a:lnTo>
                    <a:pt x="310" y="204"/>
                  </a:lnTo>
                  <a:lnTo>
                    <a:pt x="310" y="115"/>
                  </a:lnTo>
                  <a:lnTo>
                    <a:pt x="202" y="115"/>
                  </a:lnTo>
                  <a:lnTo>
                    <a:pt x="202" y="10"/>
                  </a:lnTo>
                  <a:lnTo>
                    <a:pt x="115" y="10"/>
                  </a:lnTo>
                  <a:lnTo>
                    <a:pt x="115" y="115"/>
                  </a:lnTo>
                  <a:lnTo>
                    <a:pt x="8" y="115"/>
                  </a:lnTo>
                  <a:lnTo>
                    <a:pt x="8" y="204"/>
                  </a:lnTo>
                  <a:lnTo>
                    <a:pt x="115" y="204"/>
                  </a:lnTo>
                  <a:lnTo>
                    <a:pt x="115" y="3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70" name="Group 246"/>
          <p:cNvGrpSpPr>
            <a:grpSpLocks noChangeAspect="1"/>
          </p:cNvGrpSpPr>
          <p:nvPr/>
        </p:nvGrpSpPr>
        <p:grpSpPr bwMode="auto">
          <a:xfrm>
            <a:off x="341313" y="5399088"/>
            <a:ext cx="849312" cy="850900"/>
            <a:chOff x="215" y="3401"/>
            <a:chExt cx="535" cy="536"/>
          </a:xfrm>
        </p:grpSpPr>
        <p:sp>
          <p:nvSpPr>
            <p:cNvPr id="52471" name="Oval 247"/>
            <p:cNvSpPr>
              <a:spLocks noChangeArrowheads="1"/>
            </p:cNvSpPr>
            <p:nvPr/>
          </p:nvSpPr>
          <p:spPr bwMode="auto">
            <a:xfrm>
              <a:off x="215" y="3401"/>
              <a:ext cx="535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72" name="Freeform 248"/>
            <p:cNvSpPr>
              <a:spLocks noEditPoints="1"/>
            </p:cNvSpPr>
            <p:nvPr/>
          </p:nvSpPr>
          <p:spPr bwMode="auto">
            <a:xfrm>
              <a:off x="340" y="3564"/>
              <a:ext cx="285" cy="220"/>
            </a:xfrm>
            <a:custGeom>
              <a:avLst/>
              <a:gdLst/>
              <a:ahLst/>
              <a:cxnLst>
                <a:cxn ang="0">
                  <a:pos x="60" y="92"/>
                </a:cxn>
                <a:cxn ang="0">
                  <a:pos x="59" y="92"/>
                </a:cxn>
                <a:cxn ang="0">
                  <a:pos x="2" y="26"/>
                </a:cxn>
                <a:cxn ang="0">
                  <a:pos x="19" y="3"/>
                </a:cxn>
                <a:cxn ang="0">
                  <a:pos x="19" y="3"/>
                </a:cxn>
                <a:cxn ang="0">
                  <a:pos x="31" y="0"/>
                </a:cxn>
                <a:cxn ang="0">
                  <a:pos x="60" y="20"/>
                </a:cxn>
                <a:cxn ang="0">
                  <a:pos x="88" y="0"/>
                </a:cxn>
                <a:cxn ang="0">
                  <a:pos x="100" y="3"/>
                </a:cxn>
                <a:cxn ang="0">
                  <a:pos x="100" y="3"/>
                </a:cxn>
                <a:cxn ang="0">
                  <a:pos x="118" y="26"/>
                </a:cxn>
                <a:cxn ang="0">
                  <a:pos x="61" y="92"/>
                </a:cxn>
                <a:cxn ang="0">
                  <a:pos x="60" y="92"/>
                </a:cxn>
                <a:cxn ang="0">
                  <a:pos x="21" y="6"/>
                </a:cxn>
                <a:cxn ang="0">
                  <a:pos x="5" y="26"/>
                </a:cxn>
                <a:cxn ang="0">
                  <a:pos x="60" y="88"/>
                </a:cxn>
                <a:cxn ang="0">
                  <a:pos x="114" y="26"/>
                </a:cxn>
                <a:cxn ang="0">
                  <a:pos x="99" y="6"/>
                </a:cxn>
                <a:cxn ang="0">
                  <a:pos x="88" y="4"/>
                </a:cxn>
                <a:cxn ang="0">
                  <a:pos x="61" y="25"/>
                </a:cxn>
                <a:cxn ang="0">
                  <a:pos x="60" y="26"/>
                </a:cxn>
                <a:cxn ang="0">
                  <a:pos x="58" y="25"/>
                </a:cxn>
                <a:cxn ang="0">
                  <a:pos x="31" y="4"/>
                </a:cxn>
                <a:cxn ang="0">
                  <a:pos x="21" y="6"/>
                </a:cxn>
              </a:cxnLst>
              <a:rect l="0" t="0" r="r" b="b"/>
              <a:pathLst>
                <a:path w="119" h="92">
                  <a:moveTo>
                    <a:pt x="60" y="92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19" y="67"/>
                    <a:pt x="0" y="45"/>
                    <a:pt x="2" y="26"/>
                  </a:cubicBezTo>
                  <a:cubicBezTo>
                    <a:pt x="3" y="10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47" y="0"/>
                    <a:pt x="56" y="13"/>
                    <a:pt x="60" y="20"/>
                  </a:cubicBezTo>
                  <a:cubicBezTo>
                    <a:pt x="63" y="13"/>
                    <a:pt x="72" y="0"/>
                    <a:pt x="88" y="0"/>
                  </a:cubicBezTo>
                  <a:cubicBezTo>
                    <a:pt x="92" y="0"/>
                    <a:pt x="96" y="1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1" y="3"/>
                    <a:pt x="117" y="10"/>
                    <a:pt x="118" y="26"/>
                  </a:cubicBezTo>
                  <a:cubicBezTo>
                    <a:pt x="119" y="45"/>
                    <a:pt x="100" y="67"/>
                    <a:pt x="61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21" y="6"/>
                  </a:moveTo>
                  <a:cubicBezTo>
                    <a:pt x="20" y="6"/>
                    <a:pt x="6" y="13"/>
                    <a:pt x="5" y="26"/>
                  </a:cubicBezTo>
                  <a:cubicBezTo>
                    <a:pt x="4" y="38"/>
                    <a:pt x="13" y="58"/>
                    <a:pt x="60" y="88"/>
                  </a:cubicBezTo>
                  <a:cubicBezTo>
                    <a:pt x="106" y="58"/>
                    <a:pt x="115" y="38"/>
                    <a:pt x="114" y="26"/>
                  </a:cubicBezTo>
                  <a:cubicBezTo>
                    <a:pt x="113" y="13"/>
                    <a:pt x="100" y="6"/>
                    <a:pt x="99" y="6"/>
                  </a:cubicBezTo>
                  <a:cubicBezTo>
                    <a:pt x="95" y="5"/>
                    <a:pt x="92" y="4"/>
                    <a:pt x="88" y="4"/>
                  </a:cubicBezTo>
                  <a:cubicBezTo>
                    <a:pt x="70" y="4"/>
                    <a:pt x="62" y="24"/>
                    <a:pt x="61" y="25"/>
                  </a:cubicBezTo>
                  <a:cubicBezTo>
                    <a:pt x="61" y="25"/>
                    <a:pt x="60" y="26"/>
                    <a:pt x="60" y="26"/>
                  </a:cubicBezTo>
                  <a:cubicBezTo>
                    <a:pt x="59" y="26"/>
                    <a:pt x="58" y="25"/>
                    <a:pt x="58" y="25"/>
                  </a:cubicBezTo>
                  <a:cubicBezTo>
                    <a:pt x="58" y="24"/>
                    <a:pt x="50" y="4"/>
                    <a:pt x="31" y="4"/>
                  </a:cubicBezTo>
                  <a:cubicBezTo>
                    <a:pt x="28" y="4"/>
                    <a:pt x="24" y="5"/>
                    <a:pt x="21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73" name="Freeform 249"/>
            <p:cNvSpPr>
              <a:spLocks noEditPoints="1"/>
            </p:cNvSpPr>
            <p:nvPr/>
          </p:nvSpPr>
          <p:spPr bwMode="auto">
            <a:xfrm>
              <a:off x="237" y="3422"/>
              <a:ext cx="493" cy="493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6" y="46"/>
                    <a:pt x="206" y="103"/>
                  </a:cubicBezTo>
                  <a:cubicBezTo>
                    <a:pt x="206" y="160"/>
                    <a:pt x="159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76" name="Group 252"/>
          <p:cNvGrpSpPr>
            <a:grpSpLocks noChangeAspect="1"/>
          </p:cNvGrpSpPr>
          <p:nvPr/>
        </p:nvGrpSpPr>
        <p:grpSpPr bwMode="auto">
          <a:xfrm>
            <a:off x="1471612" y="5432425"/>
            <a:ext cx="784225" cy="784225"/>
            <a:chOff x="930" y="3422"/>
            <a:chExt cx="494" cy="494"/>
          </a:xfrm>
        </p:grpSpPr>
        <p:sp>
          <p:nvSpPr>
            <p:cNvPr id="52477" name="Freeform 253"/>
            <p:cNvSpPr>
              <a:spLocks noEditPoints="1"/>
            </p:cNvSpPr>
            <p:nvPr/>
          </p:nvSpPr>
          <p:spPr bwMode="auto">
            <a:xfrm>
              <a:off x="1033" y="3563"/>
              <a:ext cx="285" cy="221"/>
            </a:xfrm>
            <a:custGeom>
              <a:avLst/>
              <a:gdLst/>
              <a:ahLst/>
              <a:cxnLst>
                <a:cxn ang="0">
                  <a:pos x="60" y="92"/>
                </a:cxn>
                <a:cxn ang="0">
                  <a:pos x="59" y="92"/>
                </a:cxn>
                <a:cxn ang="0">
                  <a:pos x="2" y="26"/>
                </a:cxn>
                <a:cxn ang="0">
                  <a:pos x="19" y="3"/>
                </a:cxn>
                <a:cxn ang="0">
                  <a:pos x="19" y="3"/>
                </a:cxn>
                <a:cxn ang="0">
                  <a:pos x="31" y="0"/>
                </a:cxn>
                <a:cxn ang="0">
                  <a:pos x="60" y="20"/>
                </a:cxn>
                <a:cxn ang="0">
                  <a:pos x="88" y="0"/>
                </a:cxn>
                <a:cxn ang="0">
                  <a:pos x="100" y="3"/>
                </a:cxn>
                <a:cxn ang="0">
                  <a:pos x="100" y="3"/>
                </a:cxn>
                <a:cxn ang="0">
                  <a:pos x="118" y="26"/>
                </a:cxn>
                <a:cxn ang="0">
                  <a:pos x="61" y="92"/>
                </a:cxn>
                <a:cxn ang="0">
                  <a:pos x="60" y="92"/>
                </a:cxn>
                <a:cxn ang="0">
                  <a:pos x="21" y="6"/>
                </a:cxn>
                <a:cxn ang="0">
                  <a:pos x="5" y="26"/>
                </a:cxn>
                <a:cxn ang="0">
                  <a:pos x="60" y="88"/>
                </a:cxn>
                <a:cxn ang="0">
                  <a:pos x="114" y="26"/>
                </a:cxn>
                <a:cxn ang="0">
                  <a:pos x="99" y="6"/>
                </a:cxn>
                <a:cxn ang="0">
                  <a:pos x="88" y="4"/>
                </a:cxn>
                <a:cxn ang="0">
                  <a:pos x="61" y="25"/>
                </a:cxn>
                <a:cxn ang="0">
                  <a:pos x="60" y="26"/>
                </a:cxn>
                <a:cxn ang="0">
                  <a:pos x="58" y="25"/>
                </a:cxn>
                <a:cxn ang="0">
                  <a:pos x="31" y="4"/>
                </a:cxn>
                <a:cxn ang="0">
                  <a:pos x="21" y="6"/>
                </a:cxn>
              </a:cxnLst>
              <a:rect l="0" t="0" r="r" b="b"/>
              <a:pathLst>
                <a:path w="119" h="92">
                  <a:moveTo>
                    <a:pt x="60" y="92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19" y="67"/>
                    <a:pt x="0" y="45"/>
                    <a:pt x="2" y="26"/>
                  </a:cubicBezTo>
                  <a:cubicBezTo>
                    <a:pt x="3" y="10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47" y="0"/>
                    <a:pt x="56" y="13"/>
                    <a:pt x="60" y="20"/>
                  </a:cubicBezTo>
                  <a:cubicBezTo>
                    <a:pt x="63" y="13"/>
                    <a:pt x="72" y="0"/>
                    <a:pt x="88" y="0"/>
                  </a:cubicBezTo>
                  <a:cubicBezTo>
                    <a:pt x="92" y="0"/>
                    <a:pt x="96" y="1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1" y="3"/>
                    <a:pt x="117" y="10"/>
                    <a:pt x="118" y="26"/>
                  </a:cubicBezTo>
                  <a:cubicBezTo>
                    <a:pt x="119" y="45"/>
                    <a:pt x="100" y="67"/>
                    <a:pt x="61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21" y="6"/>
                  </a:moveTo>
                  <a:cubicBezTo>
                    <a:pt x="20" y="6"/>
                    <a:pt x="6" y="13"/>
                    <a:pt x="5" y="26"/>
                  </a:cubicBezTo>
                  <a:cubicBezTo>
                    <a:pt x="4" y="38"/>
                    <a:pt x="13" y="58"/>
                    <a:pt x="60" y="88"/>
                  </a:cubicBezTo>
                  <a:cubicBezTo>
                    <a:pt x="106" y="58"/>
                    <a:pt x="115" y="38"/>
                    <a:pt x="114" y="26"/>
                  </a:cubicBezTo>
                  <a:cubicBezTo>
                    <a:pt x="113" y="13"/>
                    <a:pt x="100" y="6"/>
                    <a:pt x="99" y="6"/>
                  </a:cubicBezTo>
                  <a:cubicBezTo>
                    <a:pt x="95" y="5"/>
                    <a:pt x="92" y="4"/>
                    <a:pt x="88" y="4"/>
                  </a:cubicBezTo>
                  <a:cubicBezTo>
                    <a:pt x="70" y="4"/>
                    <a:pt x="62" y="24"/>
                    <a:pt x="61" y="25"/>
                  </a:cubicBezTo>
                  <a:cubicBezTo>
                    <a:pt x="61" y="25"/>
                    <a:pt x="60" y="26"/>
                    <a:pt x="60" y="26"/>
                  </a:cubicBezTo>
                  <a:cubicBezTo>
                    <a:pt x="59" y="26"/>
                    <a:pt x="58" y="25"/>
                    <a:pt x="58" y="25"/>
                  </a:cubicBezTo>
                  <a:cubicBezTo>
                    <a:pt x="58" y="24"/>
                    <a:pt x="50" y="4"/>
                    <a:pt x="31" y="4"/>
                  </a:cubicBezTo>
                  <a:cubicBezTo>
                    <a:pt x="28" y="4"/>
                    <a:pt x="24" y="5"/>
                    <a:pt x="21" y="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78" name="Freeform 254"/>
            <p:cNvSpPr>
              <a:spLocks noEditPoints="1"/>
            </p:cNvSpPr>
            <p:nvPr/>
          </p:nvSpPr>
          <p:spPr bwMode="auto">
            <a:xfrm>
              <a:off x="930" y="3422"/>
              <a:ext cx="494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59" y="0"/>
                    <a:pt x="206" y="46"/>
                    <a:pt x="206" y="103"/>
                  </a:cubicBezTo>
                  <a:cubicBezTo>
                    <a:pt x="206" y="160"/>
                    <a:pt x="159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81" name="Group 257"/>
          <p:cNvGrpSpPr>
            <a:grpSpLocks noChangeAspect="1"/>
          </p:cNvGrpSpPr>
          <p:nvPr/>
        </p:nvGrpSpPr>
        <p:grpSpPr bwMode="auto">
          <a:xfrm>
            <a:off x="2527300" y="5400675"/>
            <a:ext cx="847725" cy="847725"/>
            <a:chOff x="1598" y="3402"/>
            <a:chExt cx="534" cy="534"/>
          </a:xfrm>
        </p:grpSpPr>
        <p:sp>
          <p:nvSpPr>
            <p:cNvPr id="52482" name="Oval 258"/>
            <p:cNvSpPr>
              <a:spLocks noChangeArrowheads="1"/>
            </p:cNvSpPr>
            <p:nvPr/>
          </p:nvSpPr>
          <p:spPr bwMode="auto">
            <a:xfrm>
              <a:off x="1598" y="3402"/>
              <a:ext cx="534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83" name="Freeform 259"/>
            <p:cNvSpPr>
              <a:spLocks noEditPoints="1"/>
            </p:cNvSpPr>
            <p:nvPr/>
          </p:nvSpPr>
          <p:spPr bwMode="auto">
            <a:xfrm>
              <a:off x="1617" y="3421"/>
              <a:ext cx="496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7"/>
                    <a:pt x="5" y="103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84" name="Freeform 260"/>
            <p:cNvSpPr>
              <a:spLocks noEditPoints="1"/>
            </p:cNvSpPr>
            <p:nvPr/>
          </p:nvSpPr>
          <p:spPr bwMode="auto">
            <a:xfrm>
              <a:off x="1737" y="3519"/>
              <a:ext cx="256" cy="273"/>
            </a:xfrm>
            <a:custGeom>
              <a:avLst/>
              <a:gdLst/>
              <a:ahLst/>
              <a:cxnLst>
                <a:cxn ang="0">
                  <a:pos x="106" y="45"/>
                </a:cxn>
                <a:cxn ang="0">
                  <a:pos x="57" y="1"/>
                </a:cxn>
                <a:cxn ang="0">
                  <a:pos x="54" y="1"/>
                </a:cxn>
                <a:cxn ang="0">
                  <a:pos x="1" y="45"/>
                </a:cxn>
                <a:cxn ang="0">
                  <a:pos x="1" y="47"/>
                </a:cxn>
                <a:cxn ang="0">
                  <a:pos x="3" y="49"/>
                </a:cxn>
                <a:cxn ang="0">
                  <a:pos x="14" y="49"/>
                </a:cxn>
                <a:cxn ang="0">
                  <a:pos x="14" y="112"/>
                </a:cxn>
                <a:cxn ang="0">
                  <a:pos x="16" y="114"/>
                </a:cxn>
                <a:cxn ang="0">
                  <a:pos x="93" y="114"/>
                </a:cxn>
                <a:cxn ang="0">
                  <a:pos x="96" y="112"/>
                </a:cxn>
                <a:cxn ang="0">
                  <a:pos x="96" y="49"/>
                </a:cxn>
                <a:cxn ang="0">
                  <a:pos x="104" y="49"/>
                </a:cxn>
                <a:cxn ang="0">
                  <a:pos x="104" y="49"/>
                </a:cxn>
                <a:cxn ang="0">
                  <a:pos x="107" y="47"/>
                </a:cxn>
                <a:cxn ang="0">
                  <a:pos x="106" y="45"/>
                </a:cxn>
                <a:cxn ang="0">
                  <a:pos x="49" y="109"/>
                </a:cxn>
                <a:cxn ang="0">
                  <a:pos x="30" y="109"/>
                </a:cxn>
                <a:cxn ang="0">
                  <a:pos x="30" y="76"/>
                </a:cxn>
                <a:cxn ang="0">
                  <a:pos x="49" y="76"/>
                </a:cxn>
                <a:cxn ang="0">
                  <a:pos x="49" y="109"/>
                </a:cxn>
                <a:cxn ang="0">
                  <a:pos x="91" y="109"/>
                </a:cxn>
                <a:cxn ang="0">
                  <a:pos x="52" y="109"/>
                </a:cxn>
                <a:cxn ang="0">
                  <a:pos x="52" y="75"/>
                </a:cxn>
                <a:cxn ang="0">
                  <a:pos x="50" y="73"/>
                </a:cxn>
                <a:cxn ang="0">
                  <a:pos x="29" y="73"/>
                </a:cxn>
                <a:cxn ang="0">
                  <a:pos x="27" y="75"/>
                </a:cxn>
                <a:cxn ang="0">
                  <a:pos x="27" y="109"/>
                </a:cxn>
                <a:cxn ang="0">
                  <a:pos x="19" y="109"/>
                </a:cxn>
                <a:cxn ang="0">
                  <a:pos x="19" y="49"/>
                </a:cxn>
                <a:cxn ang="0">
                  <a:pos x="91" y="49"/>
                </a:cxn>
                <a:cxn ang="0">
                  <a:pos x="91" y="109"/>
                </a:cxn>
                <a:cxn ang="0">
                  <a:pos x="93" y="44"/>
                </a:cxn>
                <a:cxn ang="0">
                  <a:pos x="16" y="44"/>
                </a:cxn>
                <a:cxn ang="0">
                  <a:pos x="10" y="44"/>
                </a:cxn>
                <a:cxn ang="0">
                  <a:pos x="55" y="6"/>
                </a:cxn>
                <a:cxn ang="0">
                  <a:pos x="98" y="44"/>
                </a:cxn>
                <a:cxn ang="0">
                  <a:pos x="93" y="44"/>
                </a:cxn>
              </a:cxnLst>
              <a:rect l="0" t="0" r="r" b="b"/>
              <a:pathLst>
                <a:path w="107" h="114">
                  <a:moveTo>
                    <a:pt x="106" y="45"/>
                  </a:moveTo>
                  <a:cubicBezTo>
                    <a:pt x="57" y="1"/>
                    <a:pt x="57" y="1"/>
                    <a:pt x="57" y="1"/>
                  </a:cubicBezTo>
                  <a:cubicBezTo>
                    <a:pt x="56" y="0"/>
                    <a:pt x="55" y="0"/>
                    <a:pt x="54" y="1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0" y="45"/>
                    <a:pt x="0" y="46"/>
                    <a:pt x="1" y="47"/>
                  </a:cubicBezTo>
                  <a:cubicBezTo>
                    <a:pt x="1" y="48"/>
                    <a:pt x="2" y="49"/>
                    <a:pt x="3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3"/>
                    <a:pt x="15" y="114"/>
                    <a:pt x="16" y="114"/>
                  </a:cubicBezTo>
                  <a:cubicBezTo>
                    <a:pt x="93" y="114"/>
                    <a:pt x="93" y="114"/>
                    <a:pt x="93" y="114"/>
                  </a:cubicBezTo>
                  <a:cubicBezTo>
                    <a:pt x="95" y="114"/>
                    <a:pt x="96" y="113"/>
                    <a:pt x="96" y="112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6" y="49"/>
                    <a:pt x="107" y="48"/>
                    <a:pt x="107" y="47"/>
                  </a:cubicBezTo>
                  <a:cubicBezTo>
                    <a:pt x="107" y="46"/>
                    <a:pt x="107" y="45"/>
                    <a:pt x="106" y="45"/>
                  </a:cubicBezTo>
                  <a:close/>
                  <a:moveTo>
                    <a:pt x="49" y="109"/>
                  </a:moveTo>
                  <a:cubicBezTo>
                    <a:pt x="30" y="109"/>
                    <a:pt x="30" y="109"/>
                    <a:pt x="30" y="109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49" y="76"/>
                    <a:pt x="49" y="76"/>
                    <a:pt x="49" y="76"/>
                  </a:cubicBezTo>
                  <a:lnTo>
                    <a:pt x="49" y="109"/>
                  </a:lnTo>
                  <a:close/>
                  <a:moveTo>
                    <a:pt x="91" y="109"/>
                  </a:moveTo>
                  <a:cubicBezTo>
                    <a:pt x="52" y="109"/>
                    <a:pt x="52" y="109"/>
                    <a:pt x="52" y="109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4"/>
                    <a:pt x="51" y="73"/>
                    <a:pt x="50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8" y="73"/>
                    <a:pt x="27" y="74"/>
                    <a:pt x="27" y="75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91" y="49"/>
                    <a:pt x="91" y="49"/>
                    <a:pt x="91" y="49"/>
                  </a:cubicBezTo>
                  <a:lnTo>
                    <a:pt x="91" y="109"/>
                  </a:lnTo>
                  <a:close/>
                  <a:moveTo>
                    <a:pt x="93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98" y="44"/>
                    <a:pt x="98" y="44"/>
                    <a:pt x="98" y="44"/>
                  </a:cubicBezTo>
                  <a:lnTo>
                    <a:pt x="93" y="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85" name="Oval 261"/>
            <p:cNvSpPr>
              <a:spLocks noChangeArrowheads="1"/>
            </p:cNvSpPr>
            <p:nvPr/>
          </p:nvSpPr>
          <p:spPr bwMode="auto">
            <a:xfrm>
              <a:off x="1816" y="3737"/>
              <a:ext cx="7" cy="1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88" name="Group 264"/>
          <p:cNvGrpSpPr>
            <a:grpSpLocks noChangeAspect="1"/>
          </p:cNvGrpSpPr>
          <p:nvPr/>
        </p:nvGrpSpPr>
        <p:grpSpPr bwMode="auto">
          <a:xfrm>
            <a:off x="3653631" y="5435600"/>
            <a:ext cx="787400" cy="787400"/>
            <a:chOff x="2310" y="3424"/>
            <a:chExt cx="496" cy="496"/>
          </a:xfrm>
        </p:grpSpPr>
        <p:sp>
          <p:nvSpPr>
            <p:cNvPr id="52489" name="Freeform 265"/>
            <p:cNvSpPr>
              <a:spLocks noEditPoints="1"/>
            </p:cNvSpPr>
            <p:nvPr/>
          </p:nvSpPr>
          <p:spPr bwMode="auto">
            <a:xfrm>
              <a:off x="2310" y="3424"/>
              <a:ext cx="496" cy="496"/>
            </a:xfrm>
            <a:custGeom>
              <a:avLst/>
              <a:gdLst/>
              <a:ahLst/>
              <a:cxnLst>
                <a:cxn ang="0">
                  <a:pos x="104" y="207"/>
                </a:cxn>
                <a:cxn ang="0">
                  <a:pos x="0" y="103"/>
                </a:cxn>
                <a:cxn ang="0">
                  <a:pos x="104" y="0"/>
                </a:cxn>
                <a:cxn ang="0">
                  <a:pos x="207" y="103"/>
                </a:cxn>
                <a:cxn ang="0">
                  <a:pos x="104" y="207"/>
                </a:cxn>
                <a:cxn ang="0">
                  <a:pos x="104" y="5"/>
                </a:cxn>
                <a:cxn ang="0">
                  <a:pos x="5" y="103"/>
                </a:cxn>
                <a:cxn ang="0">
                  <a:pos x="104" y="202"/>
                </a:cxn>
                <a:cxn ang="0">
                  <a:pos x="202" y="103"/>
                </a:cxn>
                <a:cxn ang="0">
                  <a:pos x="104" y="5"/>
                </a:cxn>
              </a:cxnLst>
              <a:rect l="0" t="0" r="r" b="b"/>
              <a:pathLst>
                <a:path w="207" h="207">
                  <a:moveTo>
                    <a:pt x="104" y="207"/>
                  </a:moveTo>
                  <a:cubicBezTo>
                    <a:pt x="47" y="207"/>
                    <a:pt x="0" y="160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161" y="0"/>
                    <a:pt x="207" y="46"/>
                    <a:pt x="207" y="103"/>
                  </a:cubicBezTo>
                  <a:cubicBezTo>
                    <a:pt x="207" y="160"/>
                    <a:pt x="161" y="207"/>
                    <a:pt x="104" y="207"/>
                  </a:cubicBezTo>
                  <a:close/>
                  <a:moveTo>
                    <a:pt x="104" y="5"/>
                  </a:moveTo>
                  <a:cubicBezTo>
                    <a:pt x="50" y="5"/>
                    <a:pt x="5" y="49"/>
                    <a:pt x="5" y="103"/>
                  </a:cubicBezTo>
                  <a:cubicBezTo>
                    <a:pt x="5" y="157"/>
                    <a:pt x="50" y="202"/>
                    <a:pt x="104" y="202"/>
                  </a:cubicBezTo>
                  <a:cubicBezTo>
                    <a:pt x="158" y="202"/>
                    <a:pt x="202" y="157"/>
                    <a:pt x="202" y="103"/>
                  </a:cubicBezTo>
                  <a:cubicBezTo>
                    <a:pt x="202" y="49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90" name="Freeform 266"/>
            <p:cNvSpPr>
              <a:spLocks noEditPoints="1"/>
            </p:cNvSpPr>
            <p:nvPr/>
          </p:nvSpPr>
          <p:spPr bwMode="auto">
            <a:xfrm>
              <a:off x="2464" y="3628"/>
              <a:ext cx="196" cy="168"/>
            </a:xfrm>
            <a:custGeom>
              <a:avLst/>
              <a:gdLst/>
              <a:ahLst/>
              <a:cxnLst>
                <a:cxn ang="0">
                  <a:pos x="79" y="70"/>
                </a:cxn>
                <a:cxn ang="0">
                  <a:pos x="2" y="70"/>
                </a:cxn>
                <a:cxn ang="0">
                  <a:pos x="0" y="68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79" y="0"/>
                </a:cxn>
                <a:cxn ang="0">
                  <a:pos x="82" y="3"/>
                </a:cxn>
                <a:cxn ang="0">
                  <a:pos x="82" y="68"/>
                </a:cxn>
                <a:cxn ang="0">
                  <a:pos x="79" y="70"/>
                </a:cxn>
                <a:cxn ang="0">
                  <a:pos x="5" y="65"/>
                </a:cxn>
                <a:cxn ang="0">
                  <a:pos x="77" y="65"/>
                </a:cxn>
                <a:cxn ang="0">
                  <a:pos x="77" y="5"/>
                </a:cxn>
                <a:cxn ang="0">
                  <a:pos x="5" y="5"/>
                </a:cxn>
                <a:cxn ang="0">
                  <a:pos x="5" y="65"/>
                </a:cxn>
              </a:cxnLst>
              <a:rect l="0" t="0" r="r" b="b"/>
              <a:pathLst>
                <a:path w="82" h="70">
                  <a:moveTo>
                    <a:pt x="79" y="70"/>
                  </a:moveTo>
                  <a:cubicBezTo>
                    <a:pt x="2" y="70"/>
                    <a:pt x="2" y="70"/>
                    <a:pt x="2" y="70"/>
                  </a:cubicBezTo>
                  <a:cubicBezTo>
                    <a:pt x="1" y="70"/>
                    <a:pt x="0" y="69"/>
                    <a:pt x="0" y="6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2" y="1"/>
                    <a:pt x="82" y="3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82" y="69"/>
                    <a:pt x="81" y="70"/>
                    <a:pt x="79" y="70"/>
                  </a:cubicBezTo>
                  <a:close/>
                  <a:moveTo>
                    <a:pt x="5" y="65"/>
                  </a:moveTo>
                  <a:cubicBezTo>
                    <a:pt x="77" y="65"/>
                    <a:pt x="77" y="65"/>
                    <a:pt x="77" y="6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6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91" name="Freeform 267"/>
            <p:cNvSpPr>
              <a:spLocks noEditPoints="1"/>
            </p:cNvSpPr>
            <p:nvPr/>
          </p:nvSpPr>
          <p:spPr bwMode="auto">
            <a:xfrm>
              <a:off x="2430" y="3523"/>
              <a:ext cx="257" cy="117"/>
            </a:xfrm>
            <a:custGeom>
              <a:avLst/>
              <a:gdLst/>
              <a:ahLst/>
              <a:cxnLst>
                <a:cxn ang="0">
                  <a:pos x="104" y="49"/>
                </a:cxn>
                <a:cxn ang="0">
                  <a:pos x="104" y="49"/>
                </a:cxn>
                <a:cxn ang="0">
                  <a:pos x="3" y="49"/>
                </a:cxn>
                <a:cxn ang="0">
                  <a:pos x="1" y="47"/>
                </a:cxn>
                <a:cxn ang="0">
                  <a:pos x="1" y="45"/>
                </a:cxn>
                <a:cxn ang="0">
                  <a:pos x="54" y="1"/>
                </a:cxn>
                <a:cxn ang="0">
                  <a:pos x="57" y="1"/>
                </a:cxn>
                <a:cxn ang="0">
                  <a:pos x="106" y="45"/>
                </a:cxn>
                <a:cxn ang="0">
                  <a:pos x="107" y="47"/>
                </a:cxn>
                <a:cxn ang="0">
                  <a:pos x="104" y="49"/>
                </a:cxn>
                <a:cxn ang="0">
                  <a:pos x="10" y="44"/>
                </a:cxn>
                <a:cxn ang="0">
                  <a:pos x="98" y="44"/>
                </a:cxn>
                <a:cxn ang="0">
                  <a:pos x="55" y="6"/>
                </a:cxn>
                <a:cxn ang="0">
                  <a:pos x="10" y="44"/>
                </a:cxn>
              </a:cxnLst>
              <a:rect l="0" t="0" r="r" b="b"/>
              <a:pathLst>
                <a:path w="107" h="49">
                  <a:moveTo>
                    <a:pt x="104" y="49"/>
                  </a:moveTo>
                  <a:cubicBezTo>
                    <a:pt x="104" y="49"/>
                    <a:pt x="104" y="49"/>
                    <a:pt x="104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1" y="48"/>
                    <a:pt x="1" y="47"/>
                  </a:cubicBezTo>
                  <a:cubicBezTo>
                    <a:pt x="0" y="46"/>
                    <a:pt x="0" y="45"/>
                    <a:pt x="1" y="45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6" y="0"/>
                    <a:pt x="57" y="1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7" y="45"/>
                    <a:pt x="107" y="46"/>
                    <a:pt x="107" y="47"/>
                  </a:cubicBezTo>
                  <a:cubicBezTo>
                    <a:pt x="107" y="48"/>
                    <a:pt x="106" y="49"/>
                    <a:pt x="104" y="49"/>
                  </a:cubicBezTo>
                  <a:close/>
                  <a:moveTo>
                    <a:pt x="10" y="44"/>
                  </a:moveTo>
                  <a:cubicBezTo>
                    <a:pt x="98" y="44"/>
                    <a:pt x="98" y="44"/>
                    <a:pt x="98" y="44"/>
                  </a:cubicBezTo>
                  <a:cubicBezTo>
                    <a:pt x="55" y="6"/>
                    <a:pt x="55" y="6"/>
                    <a:pt x="55" y="6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92" name="Freeform 268"/>
            <p:cNvSpPr>
              <a:spLocks noEditPoints="1"/>
            </p:cNvSpPr>
            <p:nvPr/>
          </p:nvSpPr>
          <p:spPr bwMode="auto">
            <a:xfrm>
              <a:off x="2495" y="3698"/>
              <a:ext cx="60" cy="95"/>
            </a:xfrm>
            <a:custGeom>
              <a:avLst/>
              <a:gdLst/>
              <a:ahLst/>
              <a:cxnLst>
                <a:cxn ang="0">
                  <a:pos x="23" y="40"/>
                </a:cxn>
                <a:cxn ang="0">
                  <a:pos x="2" y="40"/>
                </a:cxn>
                <a:cxn ang="0">
                  <a:pos x="0" y="3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3" y="0"/>
                </a:cxn>
                <a:cxn ang="0">
                  <a:pos x="25" y="2"/>
                </a:cxn>
                <a:cxn ang="0">
                  <a:pos x="25" y="39"/>
                </a:cxn>
                <a:cxn ang="0">
                  <a:pos x="23" y="40"/>
                </a:cxn>
                <a:cxn ang="0">
                  <a:pos x="3" y="37"/>
                </a:cxn>
                <a:cxn ang="0">
                  <a:pos x="22" y="37"/>
                </a:cxn>
                <a:cxn ang="0">
                  <a:pos x="22" y="3"/>
                </a:cxn>
                <a:cxn ang="0">
                  <a:pos x="3" y="3"/>
                </a:cxn>
                <a:cxn ang="0">
                  <a:pos x="3" y="37"/>
                </a:cxn>
              </a:cxnLst>
              <a:rect l="0" t="0" r="r" b="b"/>
              <a:pathLst>
                <a:path w="25" h="40">
                  <a:moveTo>
                    <a:pt x="23" y="40"/>
                  </a:move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40"/>
                    <a:pt x="0" y="3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5" y="1"/>
                    <a:pt x="25" y="2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40"/>
                    <a:pt x="24" y="40"/>
                    <a:pt x="23" y="40"/>
                  </a:cubicBezTo>
                  <a:close/>
                  <a:moveTo>
                    <a:pt x="3" y="37"/>
                  </a:moveTo>
                  <a:cubicBezTo>
                    <a:pt x="22" y="37"/>
                    <a:pt x="22" y="37"/>
                    <a:pt x="22" y="37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3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93" name="Oval 269"/>
            <p:cNvSpPr>
              <a:spLocks noChangeArrowheads="1"/>
            </p:cNvSpPr>
            <p:nvPr/>
          </p:nvSpPr>
          <p:spPr bwMode="auto">
            <a:xfrm>
              <a:off x="2509" y="3741"/>
              <a:ext cx="7" cy="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496" name="Group 272"/>
          <p:cNvGrpSpPr>
            <a:grpSpLocks noChangeAspect="1"/>
          </p:cNvGrpSpPr>
          <p:nvPr/>
        </p:nvGrpSpPr>
        <p:grpSpPr bwMode="auto">
          <a:xfrm>
            <a:off x="4712494" y="5362575"/>
            <a:ext cx="846137" cy="847725"/>
            <a:chOff x="2981" y="3378"/>
            <a:chExt cx="533" cy="534"/>
          </a:xfrm>
        </p:grpSpPr>
        <p:sp>
          <p:nvSpPr>
            <p:cNvPr id="52497" name="Oval 273"/>
            <p:cNvSpPr>
              <a:spLocks noChangeArrowheads="1"/>
            </p:cNvSpPr>
            <p:nvPr/>
          </p:nvSpPr>
          <p:spPr bwMode="auto">
            <a:xfrm>
              <a:off x="2981" y="3378"/>
              <a:ext cx="533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98" name="Freeform 274"/>
            <p:cNvSpPr>
              <a:spLocks noEditPoints="1"/>
            </p:cNvSpPr>
            <p:nvPr/>
          </p:nvSpPr>
          <p:spPr bwMode="auto">
            <a:xfrm>
              <a:off x="3000" y="3397"/>
              <a:ext cx="495" cy="495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7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2" y="103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99" name="Freeform 275"/>
            <p:cNvSpPr>
              <a:spLocks/>
            </p:cNvSpPr>
            <p:nvPr/>
          </p:nvSpPr>
          <p:spPr bwMode="auto">
            <a:xfrm>
              <a:off x="3127" y="3684"/>
              <a:ext cx="244" cy="10"/>
            </a:xfrm>
            <a:custGeom>
              <a:avLst/>
              <a:gdLst/>
              <a:ahLst/>
              <a:cxnLst>
                <a:cxn ang="0">
                  <a:pos x="100" y="4"/>
                </a:cxn>
                <a:cxn ang="0">
                  <a:pos x="1" y="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00" y="0"/>
                </a:cxn>
                <a:cxn ang="0">
                  <a:pos x="102" y="2"/>
                </a:cxn>
                <a:cxn ang="0">
                  <a:pos x="100" y="4"/>
                </a:cxn>
              </a:cxnLst>
              <a:rect l="0" t="0" r="r" b="b"/>
              <a:pathLst>
                <a:path w="102" h="4">
                  <a:moveTo>
                    <a:pt x="100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2" y="2"/>
                  </a:cubicBezTo>
                  <a:cubicBezTo>
                    <a:pt x="102" y="3"/>
                    <a:pt x="101" y="4"/>
                    <a:pt x="100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0" name="Freeform 276"/>
            <p:cNvSpPr>
              <a:spLocks/>
            </p:cNvSpPr>
            <p:nvPr/>
          </p:nvSpPr>
          <p:spPr bwMode="auto">
            <a:xfrm>
              <a:off x="3158" y="3720"/>
              <a:ext cx="179" cy="10"/>
            </a:xfrm>
            <a:custGeom>
              <a:avLst/>
              <a:gdLst/>
              <a:ahLst/>
              <a:cxnLst>
                <a:cxn ang="0">
                  <a:pos x="7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73" y="0"/>
                </a:cxn>
                <a:cxn ang="0">
                  <a:pos x="75" y="2"/>
                </a:cxn>
                <a:cxn ang="0">
                  <a:pos x="73" y="4"/>
                </a:cxn>
              </a:cxnLst>
              <a:rect l="0" t="0" r="r" b="b"/>
              <a:pathLst>
                <a:path w="75" h="4">
                  <a:moveTo>
                    <a:pt x="73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4" y="0"/>
                    <a:pt x="75" y="1"/>
                    <a:pt x="75" y="2"/>
                  </a:cubicBezTo>
                  <a:cubicBezTo>
                    <a:pt x="75" y="3"/>
                    <a:pt x="74" y="4"/>
                    <a:pt x="73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1" name="Freeform 277"/>
            <p:cNvSpPr>
              <a:spLocks/>
            </p:cNvSpPr>
            <p:nvPr/>
          </p:nvSpPr>
          <p:spPr bwMode="auto">
            <a:xfrm>
              <a:off x="3172" y="3759"/>
              <a:ext cx="151" cy="9"/>
            </a:xfrm>
            <a:custGeom>
              <a:avLst/>
              <a:gdLst/>
              <a:ahLst/>
              <a:cxnLst>
                <a:cxn ang="0">
                  <a:pos x="62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2" y="0"/>
                </a:cxn>
                <a:cxn ang="0">
                  <a:pos x="63" y="2"/>
                </a:cxn>
                <a:cxn ang="0">
                  <a:pos x="62" y="4"/>
                </a:cxn>
              </a:cxnLst>
              <a:rect l="0" t="0" r="r" b="b"/>
              <a:pathLst>
                <a:path w="63" h="4">
                  <a:moveTo>
                    <a:pt x="6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3" y="0"/>
                    <a:pt x="63" y="1"/>
                    <a:pt x="63" y="2"/>
                  </a:cubicBezTo>
                  <a:cubicBezTo>
                    <a:pt x="63" y="3"/>
                    <a:pt x="63" y="4"/>
                    <a:pt x="62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2" name="Freeform 278"/>
            <p:cNvSpPr>
              <a:spLocks noEditPoints="1"/>
            </p:cNvSpPr>
            <p:nvPr/>
          </p:nvSpPr>
          <p:spPr bwMode="auto">
            <a:xfrm>
              <a:off x="3141" y="3548"/>
              <a:ext cx="215" cy="110"/>
            </a:xfrm>
            <a:custGeom>
              <a:avLst/>
              <a:gdLst/>
              <a:ahLst/>
              <a:cxnLst>
                <a:cxn ang="0">
                  <a:pos x="88" y="46"/>
                </a:cxn>
                <a:cxn ang="0">
                  <a:pos x="2" y="46"/>
                </a:cxn>
                <a:cxn ang="0">
                  <a:pos x="0" y="44"/>
                </a:cxn>
                <a:cxn ang="0">
                  <a:pos x="45" y="0"/>
                </a:cxn>
                <a:cxn ang="0">
                  <a:pos x="90" y="44"/>
                </a:cxn>
                <a:cxn ang="0">
                  <a:pos x="88" y="46"/>
                </a:cxn>
                <a:cxn ang="0">
                  <a:pos x="4" y="43"/>
                </a:cxn>
                <a:cxn ang="0">
                  <a:pos x="86" y="43"/>
                </a:cxn>
                <a:cxn ang="0">
                  <a:pos x="45" y="3"/>
                </a:cxn>
                <a:cxn ang="0">
                  <a:pos x="4" y="43"/>
                </a:cxn>
              </a:cxnLst>
              <a:rect l="0" t="0" r="r" b="b"/>
              <a:pathLst>
                <a:path w="90" h="46">
                  <a:moveTo>
                    <a:pt x="88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1" y="46"/>
                    <a:pt x="0" y="45"/>
                    <a:pt x="0" y="44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69" y="0"/>
                    <a:pt x="90" y="20"/>
                    <a:pt x="90" y="44"/>
                  </a:cubicBezTo>
                  <a:cubicBezTo>
                    <a:pt x="90" y="45"/>
                    <a:pt x="89" y="46"/>
                    <a:pt x="88" y="46"/>
                  </a:cubicBezTo>
                  <a:close/>
                  <a:moveTo>
                    <a:pt x="4" y="43"/>
                  </a:moveTo>
                  <a:cubicBezTo>
                    <a:pt x="86" y="43"/>
                    <a:pt x="86" y="43"/>
                    <a:pt x="86" y="43"/>
                  </a:cubicBezTo>
                  <a:cubicBezTo>
                    <a:pt x="85" y="21"/>
                    <a:pt x="67" y="3"/>
                    <a:pt x="45" y="3"/>
                  </a:cubicBezTo>
                  <a:cubicBezTo>
                    <a:pt x="23" y="3"/>
                    <a:pt x="5" y="21"/>
                    <a:pt x="4" y="4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3" name="Freeform 279"/>
            <p:cNvSpPr>
              <a:spLocks/>
            </p:cNvSpPr>
            <p:nvPr/>
          </p:nvSpPr>
          <p:spPr bwMode="auto">
            <a:xfrm>
              <a:off x="3244" y="3498"/>
              <a:ext cx="10" cy="38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14"/>
                </a:cxn>
                <a:cxn ang="0">
                  <a:pos x="2" y="16"/>
                </a:cxn>
              </a:cxnLst>
              <a:rect l="0" t="0" r="r" b="b"/>
              <a:pathLst>
                <a:path w="4" h="16">
                  <a:moveTo>
                    <a:pt x="2" y="16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3" y="16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4" name="Freeform 280"/>
            <p:cNvSpPr>
              <a:spLocks/>
            </p:cNvSpPr>
            <p:nvPr/>
          </p:nvSpPr>
          <p:spPr bwMode="auto">
            <a:xfrm>
              <a:off x="3333" y="3541"/>
              <a:ext cx="28" cy="29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9" y="1"/>
                </a:cxn>
                <a:cxn ang="0">
                  <a:pos x="12" y="1"/>
                </a:cxn>
                <a:cxn ang="0">
                  <a:pos x="12" y="3"/>
                </a:cxn>
                <a:cxn ang="0">
                  <a:pos x="3" y="12"/>
                </a:cxn>
                <a:cxn ang="0">
                  <a:pos x="2" y="12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1" y="12"/>
                    <a:pt x="0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2" y="12"/>
                    <a:pt x="2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5" name="Freeform 281"/>
            <p:cNvSpPr>
              <a:spLocks/>
            </p:cNvSpPr>
            <p:nvPr/>
          </p:nvSpPr>
          <p:spPr bwMode="auto">
            <a:xfrm>
              <a:off x="3141" y="3541"/>
              <a:ext cx="29" cy="29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9" y="12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12" y="9"/>
                </a:cxn>
                <a:cxn ang="0">
                  <a:pos x="12" y="12"/>
                </a:cxn>
                <a:cxn ang="0">
                  <a:pos x="10" y="12"/>
                </a:cxn>
              </a:cxnLst>
              <a:rect l="0" t="0" r="r" b="b"/>
              <a:pathLst>
                <a:path w="12" h="12">
                  <a:moveTo>
                    <a:pt x="10" y="12"/>
                  </a:moveTo>
                  <a:cubicBezTo>
                    <a:pt x="10" y="12"/>
                    <a:pt x="9" y="12"/>
                    <a:pt x="9" y="1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2" y="11"/>
                    <a:pt x="12" y="12"/>
                  </a:cubicBezTo>
                  <a:cubicBezTo>
                    <a:pt x="11" y="12"/>
                    <a:pt x="11" y="12"/>
                    <a:pt x="10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6" name="Freeform 282"/>
            <p:cNvSpPr>
              <a:spLocks/>
            </p:cNvSpPr>
            <p:nvPr/>
          </p:nvSpPr>
          <p:spPr bwMode="auto">
            <a:xfrm>
              <a:off x="3361" y="3634"/>
              <a:ext cx="39" cy="10"/>
            </a:xfrm>
            <a:custGeom>
              <a:avLst/>
              <a:gdLst/>
              <a:ahLst/>
              <a:cxnLst>
                <a:cxn ang="0">
                  <a:pos x="1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4" y="4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07" name="Freeform 283"/>
            <p:cNvSpPr>
              <a:spLocks/>
            </p:cNvSpPr>
            <p:nvPr/>
          </p:nvSpPr>
          <p:spPr bwMode="auto">
            <a:xfrm>
              <a:off x="3098" y="3634"/>
              <a:ext cx="36" cy="1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" y="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5" y="2"/>
                </a:cxn>
                <a:cxn ang="0">
                  <a:pos x="13" y="4"/>
                </a:cxn>
              </a:cxnLst>
              <a:rect l="0" t="0" r="r" b="b"/>
              <a:pathLst>
                <a:path w="15" h="4">
                  <a:moveTo>
                    <a:pt x="13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1"/>
                    <a:pt x="15" y="2"/>
                  </a:cubicBezTo>
                  <a:cubicBezTo>
                    <a:pt x="15" y="3"/>
                    <a:pt x="14" y="4"/>
                    <a:pt x="13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510" name="Group 286"/>
          <p:cNvGrpSpPr>
            <a:grpSpLocks noChangeAspect="1"/>
          </p:cNvGrpSpPr>
          <p:nvPr/>
        </p:nvGrpSpPr>
        <p:grpSpPr bwMode="auto">
          <a:xfrm>
            <a:off x="5842798" y="5432425"/>
            <a:ext cx="785813" cy="787400"/>
            <a:chOff x="3687" y="3422"/>
            <a:chExt cx="495" cy="496"/>
          </a:xfrm>
        </p:grpSpPr>
        <p:sp>
          <p:nvSpPr>
            <p:cNvPr id="52511" name="Freeform 287"/>
            <p:cNvSpPr>
              <a:spLocks noEditPoints="1"/>
            </p:cNvSpPr>
            <p:nvPr/>
          </p:nvSpPr>
          <p:spPr bwMode="auto">
            <a:xfrm>
              <a:off x="3687" y="3422"/>
              <a:ext cx="495" cy="496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7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2" y="103"/>
                </a:cxn>
                <a:cxn ang="0">
                  <a:pos x="103" y="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7" y="46"/>
                    <a:pt x="207" y="103"/>
                  </a:cubicBezTo>
                  <a:cubicBezTo>
                    <a:pt x="207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8" y="202"/>
                    <a:pt x="202" y="158"/>
                    <a:pt x="202" y="103"/>
                  </a:cubicBezTo>
                  <a:cubicBezTo>
                    <a:pt x="202" y="49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2" name="Freeform 288"/>
            <p:cNvSpPr>
              <a:spLocks/>
            </p:cNvSpPr>
            <p:nvPr/>
          </p:nvSpPr>
          <p:spPr bwMode="auto">
            <a:xfrm>
              <a:off x="3814" y="3709"/>
              <a:ext cx="244" cy="10"/>
            </a:xfrm>
            <a:custGeom>
              <a:avLst/>
              <a:gdLst/>
              <a:ahLst/>
              <a:cxnLst>
                <a:cxn ang="0">
                  <a:pos x="100" y="4"/>
                </a:cxn>
                <a:cxn ang="0">
                  <a:pos x="1" y="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00" y="0"/>
                </a:cxn>
                <a:cxn ang="0">
                  <a:pos x="102" y="2"/>
                </a:cxn>
                <a:cxn ang="0">
                  <a:pos x="100" y="4"/>
                </a:cxn>
              </a:cxnLst>
              <a:rect l="0" t="0" r="r" b="b"/>
              <a:pathLst>
                <a:path w="102" h="4">
                  <a:moveTo>
                    <a:pt x="100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1" y="0"/>
                    <a:pt x="102" y="1"/>
                    <a:pt x="102" y="2"/>
                  </a:cubicBezTo>
                  <a:cubicBezTo>
                    <a:pt x="102" y="3"/>
                    <a:pt x="101" y="4"/>
                    <a:pt x="100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3" name="Freeform 289"/>
            <p:cNvSpPr>
              <a:spLocks/>
            </p:cNvSpPr>
            <p:nvPr/>
          </p:nvSpPr>
          <p:spPr bwMode="auto">
            <a:xfrm>
              <a:off x="3845" y="3745"/>
              <a:ext cx="179" cy="10"/>
            </a:xfrm>
            <a:custGeom>
              <a:avLst/>
              <a:gdLst/>
              <a:ahLst/>
              <a:cxnLst>
                <a:cxn ang="0">
                  <a:pos x="7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73" y="0"/>
                </a:cxn>
                <a:cxn ang="0">
                  <a:pos x="75" y="2"/>
                </a:cxn>
                <a:cxn ang="0">
                  <a:pos x="73" y="4"/>
                </a:cxn>
              </a:cxnLst>
              <a:rect l="0" t="0" r="r" b="b"/>
              <a:pathLst>
                <a:path w="75" h="4">
                  <a:moveTo>
                    <a:pt x="73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4" y="0"/>
                    <a:pt x="75" y="1"/>
                    <a:pt x="75" y="2"/>
                  </a:cubicBezTo>
                  <a:cubicBezTo>
                    <a:pt x="75" y="3"/>
                    <a:pt x="74" y="4"/>
                    <a:pt x="73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4" name="Freeform 290"/>
            <p:cNvSpPr>
              <a:spLocks/>
            </p:cNvSpPr>
            <p:nvPr/>
          </p:nvSpPr>
          <p:spPr bwMode="auto">
            <a:xfrm>
              <a:off x="3859" y="3784"/>
              <a:ext cx="151" cy="9"/>
            </a:xfrm>
            <a:custGeom>
              <a:avLst/>
              <a:gdLst/>
              <a:ahLst/>
              <a:cxnLst>
                <a:cxn ang="0">
                  <a:pos x="62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2" y="0"/>
                </a:cxn>
                <a:cxn ang="0">
                  <a:pos x="63" y="2"/>
                </a:cxn>
                <a:cxn ang="0">
                  <a:pos x="62" y="4"/>
                </a:cxn>
              </a:cxnLst>
              <a:rect l="0" t="0" r="r" b="b"/>
              <a:pathLst>
                <a:path w="63" h="4">
                  <a:moveTo>
                    <a:pt x="6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3" y="0"/>
                    <a:pt x="63" y="1"/>
                    <a:pt x="63" y="2"/>
                  </a:cubicBezTo>
                  <a:cubicBezTo>
                    <a:pt x="63" y="3"/>
                    <a:pt x="63" y="4"/>
                    <a:pt x="62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5" name="Freeform 291"/>
            <p:cNvSpPr>
              <a:spLocks noEditPoints="1"/>
            </p:cNvSpPr>
            <p:nvPr/>
          </p:nvSpPr>
          <p:spPr bwMode="auto">
            <a:xfrm>
              <a:off x="3828" y="3573"/>
              <a:ext cx="216" cy="110"/>
            </a:xfrm>
            <a:custGeom>
              <a:avLst/>
              <a:gdLst/>
              <a:ahLst/>
              <a:cxnLst>
                <a:cxn ang="0">
                  <a:pos x="88" y="46"/>
                </a:cxn>
                <a:cxn ang="0">
                  <a:pos x="2" y="46"/>
                </a:cxn>
                <a:cxn ang="0">
                  <a:pos x="0" y="44"/>
                </a:cxn>
                <a:cxn ang="0">
                  <a:pos x="45" y="0"/>
                </a:cxn>
                <a:cxn ang="0">
                  <a:pos x="90" y="44"/>
                </a:cxn>
                <a:cxn ang="0">
                  <a:pos x="88" y="46"/>
                </a:cxn>
                <a:cxn ang="0">
                  <a:pos x="4" y="43"/>
                </a:cxn>
                <a:cxn ang="0">
                  <a:pos x="86" y="43"/>
                </a:cxn>
                <a:cxn ang="0">
                  <a:pos x="45" y="3"/>
                </a:cxn>
                <a:cxn ang="0">
                  <a:pos x="4" y="43"/>
                </a:cxn>
              </a:cxnLst>
              <a:rect l="0" t="0" r="r" b="b"/>
              <a:pathLst>
                <a:path w="90" h="46">
                  <a:moveTo>
                    <a:pt x="88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1" y="46"/>
                    <a:pt x="0" y="45"/>
                    <a:pt x="0" y="44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69" y="0"/>
                    <a:pt x="90" y="20"/>
                    <a:pt x="90" y="44"/>
                  </a:cubicBezTo>
                  <a:cubicBezTo>
                    <a:pt x="90" y="45"/>
                    <a:pt x="89" y="46"/>
                    <a:pt x="88" y="46"/>
                  </a:cubicBezTo>
                  <a:close/>
                  <a:moveTo>
                    <a:pt x="4" y="43"/>
                  </a:moveTo>
                  <a:cubicBezTo>
                    <a:pt x="86" y="43"/>
                    <a:pt x="86" y="43"/>
                    <a:pt x="86" y="43"/>
                  </a:cubicBezTo>
                  <a:cubicBezTo>
                    <a:pt x="85" y="21"/>
                    <a:pt x="67" y="3"/>
                    <a:pt x="45" y="3"/>
                  </a:cubicBezTo>
                  <a:cubicBezTo>
                    <a:pt x="23" y="3"/>
                    <a:pt x="5" y="21"/>
                    <a:pt x="4" y="4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516" name="Freeform 292"/>
            <p:cNvSpPr>
              <a:spLocks/>
            </p:cNvSpPr>
            <p:nvPr/>
          </p:nvSpPr>
          <p:spPr bwMode="auto">
            <a:xfrm>
              <a:off x="3931" y="3523"/>
              <a:ext cx="10" cy="38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14"/>
                </a:cxn>
                <a:cxn ang="0">
                  <a:pos x="2" y="16"/>
                </a:cxn>
              </a:cxnLst>
              <a:rect l="0" t="0" r="r" b="b"/>
              <a:pathLst>
                <a:path w="4" h="16">
                  <a:moveTo>
                    <a:pt x="2" y="16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3" y="16"/>
                    <a:pt x="2" y="1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7" name="Freeform 293"/>
            <p:cNvSpPr>
              <a:spLocks/>
            </p:cNvSpPr>
            <p:nvPr/>
          </p:nvSpPr>
          <p:spPr bwMode="auto">
            <a:xfrm>
              <a:off x="4020" y="3566"/>
              <a:ext cx="28" cy="28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9" y="1"/>
                </a:cxn>
                <a:cxn ang="0">
                  <a:pos x="12" y="1"/>
                </a:cxn>
                <a:cxn ang="0">
                  <a:pos x="12" y="3"/>
                </a:cxn>
                <a:cxn ang="0">
                  <a:pos x="3" y="12"/>
                </a:cxn>
                <a:cxn ang="0">
                  <a:pos x="2" y="12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1" y="12"/>
                    <a:pt x="0" y="12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2" y="12"/>
                    <a:pt x="2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8" name="Freeform 294"/>
            <p:cNvSpPr>
              <a:spLocks/>
            </p:cNvSpPr>
            <p:nvPr/>
          </p:nvSpPr>
          <p:spPr bwMode="auto">
            <a:xfrm>
              <a:off x="3828" y="3566"/>
              <a:ext cx="29" cy="28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9" y="12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12" y="9"/>
                </a:cxn>
                <a:cxn ang="0">
                  <a:pos x="12" y="12"/>
                </a:cxn>
                <a:cxn ang="0">
                  <a:pos x="10" y="12"/>
                </a:cxn>
              </a:cxnLst>
              <a:rect l="0" t="0" r="r" b="b"/>
              <a:pathLst>
                <a:path w="12" h="12">
                  <a:moveTo>
                    <a:pt x="10" y="12"/>
                  </a:moveTo>
                  <a:cubicBezTo>
                    <a:pt x="10" y="12"/>
                    <a:pt x="9" y="12"/>
                    <a:pt x="9" y="1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2" y="11"/>
                    <a:pt x="12" y="12"/>
                  </a:cubicBezTo>
                  <a:cubicBezTo>
                    <a:pt x="11" y="12"/>
                    <a:pt x="11" y="12"/>
                    <a:pt x="10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19" name="Freeform 295"/>
            <p:cNvSpPr>
              <a:spLocks/>
            </p:cNvSpPr>
            <p:nvPr/>
          </p:nvSpPr>
          <p:spPr bwMode="auto">
            <a:xfrm>
              <a:off x="4048" y="3659"/>
              <a:ext cx="39" cy="10"/>
            </a:xfrm>
            <a:custGeom>
              <a:avLst/>
              <a:gdLst/>
              <a:ahLst/>
              <a:cxnLst>
                <a:cxn ang="0">
                  <a:pos x="1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4" y="4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20" name="Freeform 296"/>
            <p:cNvSpPr>
              <a:spLocks/>
            </p:cNvSpPr>
            <p:nvPr/>
          </p:nvSpPr>
          <p:spPr bwMode="auto">
            <a:xfrm>
              <a:off x="3785" y="3659"/>
              <a:ext cx="36" cy="1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" y="4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3" y="0"/>
                </a:cxn>
                <a:cxn ang="0">
                  <a:pos x="15" y="2"/>
                </a:cxn>
                <a:cxn ang="0">
                  <a:pos x="13" y="4"/>
                </a:cxn>
              </a:cxnLst>
              <a:rect l="0" t="0" r="r" b="b"/>
              <a:pathLst>
                <a:path w="15" h="4">
                  <a:moveTo>
                    <a:pt x="13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1"/>
                    <a:pt x="15" y="2"/>
                  </a:cubicBezTo>
                  <a:cubicBezTo>
                    <a:pt x="15" y="3"/>
                    <a:pt x="14" y="4"/>
                    <a:pt x="13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523" name="Group 299"/>
          <p:cNvGrpSpPr>
            <a:grpSpLocks noChangeAspect="1"/>
          </p:cNvGrpSpPr>
          <p:nvPr/>
        </p:nvGrpSpPr>
        <p:grpSpPr bwMode="auto">
          <a:xfrm>
            <a:off x="6910383" y="5400675"/>
            <a:ext cx="847724" cy="847725"/>
            <a:chOff x="4358" y="3402"/>
            <a:chExt cx="534" cy="534"/>
          </a:xfrm>
        </p:grpSpPr>
        <p:sp>
          <p:nvSpPr>
            <p:cNvPr id="52524" name="Oval 300"/>
            <p:cNvSpPr>
              <a:spLocks noChangeArrowheads="1"/>
            </p:cNvSpPr>
            <p:nvPr/>
          </p:nvSpPr>
          <p:spPr bwMode="auto">
            <a:xfrm>
              <a:off x="4358" y="3402"/>
              <a:ext cx="534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525" name="Freeform 301"/>
            <p:cNvSpPr>
              <a:spLocks noEditPoints="1"/>
            </p:cNvSpPr>
            <p:nvPr/>
          </p:nvSpPr>
          <p:spPr bwMode="auto">
            <a:xfrm>
              <a:off x="4378" y="3421"/>
              <a:ext cx="495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26" name="Freeform 302"/>
            <p:cNvSpPr>
              <a:spLocks noEditPoints="1"/>
            </p:cNvSpPr>
            <p:nvPr/>
          </p:nvSpPr>
          <p:spPr bwMode="auto">
            <a:xfrm>
              <a:off x="4605" y="3656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5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5" y="9"/>
                </a:cxn>
                <a:cxn ang="0">
                  <a:pos x="9" y="15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5"/>
                  </a:moveTo>
                  <a:cubicBezTo>
                    <a:pt x="6" y="15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5" y="6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27" name="Freeform 303"/>
            <p:cNvSpPr>
              <a:spLocks/>
            </p:cNvSpPr>
            <p:nvPr/>
          </p:nvSpPr>
          <p:spPr bwMode="auto">
            <a:xfrm>
              <a:off x="4617" y="3668"/>
              <a:ext cx="19" cy="19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0" y="4"/>
                </a:cxn>
                <a:cxn ang="0">
                  <a:pos x="0" y="14"/>
                </a:cxn>
                <a:cxn ang="0">
                  <a:pos x="5" y="14"/>
                </a:cxn>
                <a:cxn ang="0">
                  <a:pos x="5" y="19"/>
                </a:cxn>
                <a:cxn ang="0">
                  <a:pos x="14" y="19"/>
                </a:cxn>
                <a:cxn ang="0">
                  <a:pos x="14" y="14"/>
                </a:cxn>
                <a:cxn ang="0">
                  <a:pos x="19" y="14"/>
                </a:cxn>
                <a:cxn ang="0">
                  <a:pos x="19" y="4"/>
                </a:cxn>
                <a:cxn ang="0">
                  <a:pos x="14" y="4"/>
                </a:cxn>
                <a:cxn ang="0">
                  <a:pos x="14" y="0"/>
                </a:cxn>
              </a:cxnLst>
              <a:rect l="0" t="0" r="r" b="b"/>
              <a:pathLst>
                <a:path w="19" h="19">
                  <a:moveTo>
                    <a:pt x="14" y="0"/>
                  </a:moveTo>
                  <a:lnTo>
                    <a:pt x="5" y="0"/>
                  </a:lnTo>
                  <a:lnTo>
                    <a:pt x="5" y="4"/>
                  </a:lnTo>
                  <a:lnTo>
                    <a:pt x="0" y="4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5" y="19"/>
                  </a:lnTo>
                  <a:lnTo>
                    <a:pt x="14" y="19"/>
                  </a:lnTo>
                  <a:lnTo>
                    <a:pt x="14" y="14"/>
                  </a:lnTo>
                  <a:lnTo>
                    <a:pt x="19" y="14"/>
                  </a:lnTo>
                  <a:lnTo>
                    <a:pt x="19" y="4"/>
                  </a:lnTo>
                  <a:lnTo>
                    <a:pt x="14" y="4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28" name="Freeform 304"/>
            <p:cNvSpPr>
              <a:spLocks noEditPoints="1"/>
            </p:cNvSpPr>
            <p:nvPr/>
          </p:nvSpPr>
          <p:spPr bwMode="auto">
            <a:xfrm>
              <a:off x="4483" y="3519"/>
              <a:ext cx="285" cy="259"/>
            </a:xfrm>
            <a:custGeom>
              <a:avLst/>
              <a:gdLst/>
              <a:ahLst/>
              <a:cxnLst>
                <a:cxn ang="0">
                  <a:pos x="107" y="37"/>
                </a:cxn>
                <a:cxn ang="0">
                  <a:pos x="87" y="37"/>
                </a:cxn>
                <a:cxn ang="0">
                  <a:pos x="87" y="8"/>
                </a:cxn>
                <a:cxn ang="0">
                  <a:pos x="78" y="0"/>
                </a:cxn>
                <a:cxn ang="0">
                  <a:pos x="41" y="0"/>
                </a:cxn>
                <a:cxn ang="0">
                  <a:pos x="33" y="8"/>
                </a:cxn>
                <a:cxn ang="0">
                  <a:pos x="33" y="37"/>
                </a:cxn>
                <a:cxn ang="0">
                  <a:pos x="13" y="37"/>
                </a:cxn>
                <a:cxn ang="0">
                  <a:pos x="0" y="45"/>
                </a:cxn>
                <a:cxn ang="0">
                  <a:pos x="0" y="100"/>
                </a:cxn>
                <a:cxn ang="0">
                  <a:pos x="13" y="108"/>
                </a:cxn>
                <a:cxn ang="0">
                  <a:pos x="41" y="108"/>
                </a:cxn>
                <a:cxn ang="0">
                  <a:pos x="41" y="108"/>
                </a:cxn>
                <a:cxn ang="0">
                  <a:pos x="41" y="108"/>
                </a:cxn>
                <a:cxn ang="0">
                  <a:pos x="46" y="108"/>
                </a:cxn>
                <a:cxn ang="0">
                  <a:pos x="74" y="108"/>
                </a:cxn>
                <a:cxn ang="0">
                  <a:pos x="78" y="108"/>
                </a:cxn>
                <a:cxn ang="0">
                  <a:pos x="79" y="108"/>
                </a:cxn>
                <a:cxn ang="0">
                  <a:pos x="79" y="108"/>
                </a:cxn>
                <a:cxn ang="0">
                  <a:pos x="107" y="108"/>
                </a:cxn>
                <a:cxn ang="0">
                  <a:pos x="119" y="100"/>
                </a:cxn>
                <a:cxn ang="0">
                  <a:pos x="119" y="45"/>
                </a:cxn>
                <a:cxn ang="0">
                  <a:pos x="107" y="37"/>
                </a:cxn>
                <a:cxn ang="0">
                  <a:pos x="4" y="100"/>
                </a:cxn>
                <a:cxn ang="0">
                  <a:pos x="4" y="45"/>
                </a:cxn>
                <a:cxn ang="0">
                  <a:pos x="13" y="41"/>
                </a:cxn>
                <a:cxn ang="0">
                  <a:pos x="33" y="41"/>
                </a:cxn>
                <a:cxn ang="0">
                  <a:pos x="33" y="99"/>
                </a:cxn>
                <a:cxn ang="0">
                  <a:pos x="34" y="104"/>
                </a:cxn>
                <a:cxn ang="0">
                  <a:pos x="13" y="104"/>
                </a:cxn>
                <a:cxn ang="0">
                  <a:pos x="4" y="100"/>
                </a:cxn>
                <a:cxn ang="0">
                  <a:pos x="50" y="104"/>
                </a:cxn>
                <a:cxn ang="0">
                  <a:pos x="50" y="84"/>
                </a:cxn>
                <a:cxn ang="0">
                  <a:pos x="58" y="84"/>
                </a:cxn>
                <a:cxn ang="0">
                  <a:pos x="58" y="104"/>
                </a:cxn>
                <a:cxn ang="0">
                  <a:pos x="50" y="104"/>
                </a:cxn>
                <a:cxn ang="0">
                  <a:pos x="62" y="104"/>
                </a:cxn>
                <a:cxn ang="0">
                  <a:pos x="62" y="84"/>
                </a:cxn>
                <a:cxn ang="0">
                  <a:pos x="71" y="84"/>
                </a:cxn>
                <a:cxn ang="0">
                  <a:pos x="71" y="104"/>
                </a:cxn>
                <a:cxn ang="0">
                  <a:pos x="62" y="104"/>
                </a:cxn>
                <a:cxn ang="0">
                  <a:pos x="74" y="104"/>
                </a:cxn>
                <a:cxn ang="0">
                  <a:pos x="74" y="80"/>
                </a:cxn>
                <a:cxn ang="0">
                  <a:pos x="46" y="80"/>
                </a:cxn>
                <a:cxn ang="0">
                  <a:pos x="46" y="104"/>
                </a:cxn>
                <a:cxn ang="0">
                  <a:pos x="41" y="104"/>
                </a:cxn>
                <a:cxn ang="0">
                  <a:pos x="36" y="99"/>
                </a:cxn>
                <a:cxn ang="0">
                  <a:pos x="36" y="8"/>
                </a:cxn>
                <a:cxn ang="0">
                  <a:pos x="41" y="4"/>
                </a:cxn>
                <a:cxn ang="0">
                  <a:pos x="78" y="4"/>
                </a:cxn>
                <a:cxn ang="0">
                  <a:pos x="83" y="8"/>
                </a:cxn>
                <a:cxn ang="0">
                  <a:pos x="83" y="99"/>
                </a:cxn>
                <a:cxn ang="0">
                  <a:pos x="78" y="104"/>
                </a:cxn>
                <a:cxn ang="0">
                  <a:pos x="74" y="104"/>
                </a:cxn>
                <a:cxn ang="0">
                  <a:pos x="116" y="100"/>
                </a:cxn>
                <a:cxn ang="0">
                  <a:pos x="107" y="104"/>
                </a:cxn>
                <a:cxn ang="0">
                  <a:pos x="85" y="104"/>
                </a:cxn>
                <a:cxn ang="0">
                  <a:pos x="87" y="99"/>
                </a:cxn>
                <a:cxn ang="0">
                  <a:pos x="87" y="41"/>
                </a:cxn>
                <a:cxn ang="0">
                  <a:pos x="107" y="41"/>
                </a:cxn>
                <a:cxn ang="0">
                  <a:pos x="116" y="45"/>
                </a:cxn>
                <a:cxn ang="0">
                  <a:pos x="116" y="100"/>
                </a:cxn>
              </a:cxnLst>
              <a:rect l="0" t="0" r="r" b="b"/>
              <a:pathLst>
                <a:path w="119" h="108">
                  <a:moveTo>
                    <a:pt x="107" y="37"/>
                  </a:moveTo>
                  <a:cubicBezTo>
                    <a:pt x="87" y="37"/>
                    <a:pt x="87" y="37"/>
                    <a:pt x="87" y="37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4"/>
                    <a:pt x="83" y="0"/>
                    <a:pt x="78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7" y="0"/>
                    <a:pt x="33" y="4"/>
                    <a:pt x="33" y="8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6" y="37"/>
                    <a:pt x="0" y="41"/>
                    <a:pt x="0" y="4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4"/>
                    <a:pt x="6" y="108"/>
                    <a:pt x="13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74" y="108"/>
                    <a:pt x="74" y="108"/>
                    <a:pt x="74" y="108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79" y="108"/>
                    <a:pt x="79" y="108"/>
                    <a:pt x="79" y="108"/>
                  </a:cubicBezTo>
                  <a:cubicBezTo>
                    <a:pt x="79" y="108"/>
                    <a:pt x="79" y="108"/>
                    <a:pt x="79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14" y="108"/>
                    <a:pt x="119" y="104"/>
                    <a:pt x="119" y="100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9" y="41"/>
                    <a:pt x="114" y="37"/>
                    <a:pt x="107" y="37"/>
                  </a:cubicBezTo>
                  <a:close/>
                  <a:moveTo>
                    <a:pt x="4" y="100"/>
                  </a:moveTo>
                  <a:cubicBezTo>
                    <a:pt x="4" y="45"/>
                    <a:pt x="4" y="45"/>
                    <a:pt x="4" y="45"/>
                  </a:cubicBezTo>
                  <a:cubicBezTo>
                    <a:pt x="4" y="43"/>
                    <a:pt x="8" y="41"/>
                    <a:pt x="1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101"/>
                    <a:pt x="33" y="103"/>
                    <a:pt x="3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8" y="104"/>
                    <a:pt x="4" y="102"/>
                    <a:pt x="4" y="100"/>
                  </a:cubicBezTo>
                  <a:close/>
                  <a:moveTo>
                    <a:pt x="50" y="10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104"/>
                    <a:pt x="58" y="104"/>
                    <a:pt x="58" y="104"/>
                  </a:cubicBezTo>
                  <a:lnTo>
                    <a:pt x="50" y="104"/>
                  </a:lnTo>
                  <a:close/>
                  <a:moveTo>
                    <a:pt x="62" y="104"/>
                  </a:moveTo>
                  <a:cubicBezTo>
                    <a:pt x="62" y="84"/>
                    <a:pt x="62" y="84"/>
                    <a:pt x="62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1" y="104"/>
                    <a:pt x="71" y="104"/>
                    <a:pt x="71" y="104"/>
                  </a:cubicBezTo>
                  <a:lnTo>
                    <a:pt x="62" y="104"/>
                  </a:lnTo>
                  <a:close/>
                  <a:moveTo>
                    <a:pt x="74" y="104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39" y="104"/>
                    <a:pt x="36" y="102"/>
                    <a:pt x="36" y="99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6"/>
                    <a:pt x="39" y="4"/>
                    <a:pt x="41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81" y="4"/>
                    <a:pt x="83" y="6"/>
                    <a:pt x="83" y="8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3" y="102"/>
                    <a:pt x="81" y="104"/>
                    <a:pt x="78" y="104"/>
                  </a:cubicBezTo>
                  <a:lnTo>
                    <a:pt x="74" y="104"/>
                  </a:lnTo>
                  <a:close/>
                  <a:moveTo>
                    <a:pt x="116" y="100"/>
                  </a:moveTo>
                  <a:cubicBezTo>
                    <a:pt x="116" y="102"/>
                    <a:pt x="112" y="104"/>
                    <a:pt x="107" y="104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6" y="103"/>
                    <a:pt x="87" y="101"/>
                    <a:pt x="87" y="99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12" y="41"/>
                    <a:pt x="116" y="43"/>
                    <a:pt x="116" y="45"/>
                  </a:cubicBezTo>
                  <a:lnTo>
                    <a:pt x="116" y="1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29" name="Rectangle 305"/>
            <p:cNvSpPr>
              <a:spLocks noChangeArrowheads="1"/>
            </p:cNvSpPr>
            <p:nvPr/>
          </p:nvSpPr>
          <p:spPr bwMode="auto">
            <a:xfrm>
              <a:off x="4705" y="3639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0" name="Rectangle 306"/>
            <p:cNvSpPr>
              <a:spLocks noChangeArrowheads="1"/>
            </p:cNvSpPr>
            <p:nvPr/>
          </p:nvSpPr>
          <p:spPr bwMode="auto">
            <a:xfrm>
              <a:off x="4722" y="3639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1" name="Rectangle 307"/>
            <p:cNvSpPr>
              <a:spLocks noChangeArrowheads="1"/>
            </p:cNvSpPr>
            <p:nvPr/>
          </p:nvSpPr>
          <p:spPr bwMode="auto">
            <a:xfrm>
              <a:off x="4739" y="3639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2" name="Rectangle 308"/>
            <p:cNvSpPr>
              <a:spLocks noChangeArrowheads="1"/>
            </p:cNvSpPr>
            <p:nvPr/>
          </p:nvSpPr>
          <p:spPr bwMode="auto">
            <a:xfrm>
              <a:off x="4705" y="3672"/>
              <a:ext cx="5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3" name="Rectangle 309"/>
            <p:cNvSpPr>
              <a:spLocks noChangeArrowheads="1"/>
            </p:cNvSpPr>
            <p:nvPr/>
          </p:nvSpPr>
          <p:spPr bwMode="auto">
            <a:xfrm>
              <a:off x="4722" y="3672"/>
              <a:ext cx="5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4" name="Rectangle 310"/>
            <p:cNvSpPr>
              <a:spLocks noChangeArrowheads="1"/>
            </p:cNvSpPr>
            <p:nvPr/>
          </p:nvSpPr>
          <p:spPr bwMode="auto">
            <a:xfrm>
              <a:off x="4739" y="3672"/>
              <a:ext cx="7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5" name="Rectangle 311"/>
            <p:cNvSpPr>
              <a:spLocks noChangeArrowheads="1"/>
            </p:cNvSpPr>
            <p:nvPr/>
          </p:nvSpPr>
          <p:spPr bwMode="auto">
            <a:xfrm>
              <a:off x="4705" y="3708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6" name="Rectangle 312"/>
            <p:cNvSpPr>
              <a:spLocks noChangeArrowheads="1"/>
            </p:cNvSpPr>
            <p:nvPr/>
          </p:nvSpPr>
          <p:spPr bwMode="auto">
            <a:xfrm>
              <a:off x="4722" y="3708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7" name="Rectangle 313"/>
            <p:cNvSpPr>
              <a:spLocks noChangeArrowheads="1"/>
            </p:cNvSpPr>
            <p:nvPr/>
          </p:nvSpPr>
          <p:spPr bwMode="auto">
            <a:xfrm>
              <a:off x="4739" y="3708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8" name="Rectangle 314"/>
            <p:cNvSpPr>
              <a:spLocks noChangeArrowheads="1"/>
            </p:cNvSpPr>
            <p:nvPr/>
          </p:nvSpPr>
          <p:spPr bwMode="auto">
            <a:xfrm>
              <a:off x="4507" y="3639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39" name="Rectangle 315"/>
            <p:cNvSpPr>
              <a:spLocks noChangeArrowheads="1"/>
            </p:cNvSpPr>
            <p:nvPr/>
          </p:nvSpPr>
          <p:spPr bwMode="auto">
            <a:xfrm>
              <a:off x="4524" y="3639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0" name="Rectangle 316"/>
            <p:cNvSpPr>
              <a:spLocks noChangeArrowheads="1"/>
            </p:cNvSpPr>
            <p:nvPr/>
          </p:nvSpPr>
          <p:spPr bwMode="auto">
            <a:xfrm>
              <a:off x="4540" y="3639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1" name="Rectangle 317"/>
            <p:cNvSpPr>
              <a:spLocks noChangeArrowheads="1"/>
            </p:cNvSpPr>
            <p:nvPr/>
          </p:nvSpPr>
          <p:spPr bwMode="auto">
            <a:xfrm>
              <a:off x="4507" y="3672"/>
              <a:ext cx="7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2" name="Rectangle 318"/>
            <p:cNvSpPr>
              <a:spLocks noChangeArrowheads="1"/>
            </p:cNvSpPr>
            <p:nvPr/>
          </p:nvSpPr>
          <p:spPr bwMode="auto">
            <a:xfrm>
              <a:off x="4524" y="3672"/>
              <a:ext cx="7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3" name="Rectangle 319"/>
            <p:cNvSpPr>
              <a:spLocks noChangeArrowheads="1"/>
            </p:cNvSpPr>
            <p:nvPr/>
          </p:nvSpPr>
          <p:spPr bwMode="auto">
            <a:xfrm>
              <a:off x="4540" y="3672"/>
              <a:ext cx="7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4" name="Rectangle 320"/>
            <p:cNvSpPr>
              <a:spLocks noChangeArrowheads="1"/>
            </p:cNvSpPr>
            <p:nvPr/>
          </p:nvSpPr>
          <p:spPr bwMode="auto">
            <a:xfrm>
              <a:off x="4507" y="3708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5" name="Rectangle 321"/>
            <p:cNvSpPr>
              <a:spLocks noChangeArrowheads="1"/>
            </p:cNvSpPr>
            <p:nvPr/>
          </p:nvSpPr>
          <p:spPr bwMode="auto">
            <a:xfrm>
              <a:off x="4524" y="3708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6" name="Rectangle 322"/>
            <p:cNvSpPr>
              <a:spLocks noChangeArrowheads="1"/>
            </p:cNvSpPr>
            <p:nvPr/>
          </p:nvSpPr>
          <p:spPr bwMode="auto">
            <a:xfrm>
              <a:off x="4540" y="3708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7" name="Rectangle 323"/>
            <p:cNvSpPr>
              <a:spLocks noChangeArrowheads="1"/>
            </p:cNvSpPr>
            <p:nvPr/>
          </p:nvSpPr>
          <p:spPr bwMode="auto">
            <a:xfrm>
              <a:off x="4598" y="3550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8" name="Rectangle 324"/>
            <p:cNvSpPr>
              <a:spLocks noChangeArrowheads="1"/>
            </p:cNvSpPr>
            <p:nvPr/>
          </p:nvSpPr>
          <p:spPr bwMode="auto">
            <a:xfrm>
              <a:off x="4614" y="3550"/>
              <a:ext cx="8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49" name="Rectangle 325"/>
            <p:cNvSpPr>
              <a:spLocks noChangeArrowheads="1"/>
            </p:cNvSpPr>
            <p:nvPr/>
          </p:nvSpPr>
          <p:spPr bwMode="auto">
            <a:xfrm>
              <a:off x="4634" y="3550"/>
              <a:ext cx="4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0" name="Rectangle 326"/>
            <p:cNvSpPr>
              <a:spLocks noChangeArrowheads="1"/>
            </p:cNvSpPr>
            <p:nvPr/>
          </p:nvSpPr>
          <p:spPr bwMode="auto">
            <a:xfrm>
              <a:off x="4650" y="3550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1" name="Rectangle 327"/>
            <p:cNvSpPr>
              <a:spLocks noChangeArrowheads="1"/>
            </p:cNvSpPr>
            <p:nvPr/>
          </p:nvSpPr>
          <p:spPr bwMode="auto">
            <a:xfrm>
              <a:off x="4598" y="3584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2" name="Rectangle 328"/>
            <p:cNvSpPr>
              <a:spLocks noChangeArrowheads="1"/>
            </p:cNvSpPr>
            <p:nvPr/>
          </p:nvSpPr>
          <p:spPr bwMode="auto">
            <a:xfrm>
              <a:off x="4614" y="3584"/>
              <a:ext cx="8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3" name="Rectangle 329"/>
            <p:cNvSpPr>
              <a:spLocks noChangeArrowheads="1"/>
            </p:cNvSpPr>
            <p:nvPr/>
          </p:nvSpPr>
          <p:spPr bwMode="auto">
            <a:xfrm>
              <a:off x="4634" y="3584"/>
              <a:ext cx="4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4" name="Rectangle 330"/>
            <p:cNvSpPr>
              <a:spLocks noChangeArrowheads="1"/>
            </p:cNvSpPr>
            <p:nvPr/>
          </p:nvSpPr>
          <p:spPr bwMode="auto">
            <a:xfrm>
              <a:off x="4650" y="3584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5" name="Rectangle 331"/>
            <p:cNvSpPr>
              <a:spLocks noChangeArrowheads="1"/>
            </p:cNvSpPr>
            <p:nvPr/>
          </p:nvSpPr>
          <p:spPr bwMode="auto">
            <a:xfrm>
              <a:off x="4598" y="3617"/>
              <a:ext cx="7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6" name="Rectangle 332"/>
            <p:cNvSpPr>
              <a:spLocks noChangeArrowheads="1"/>
            </p:cNvSpPr>
            <p:nvPr/>
          </p:nvSpPr>
          <p:spPr bwMode="auto">
            <a:xfrm>
              <a:off x="4614" y="3617"/>
              <a:ext cx="8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7" name="Rectangle 333"/>
            <p:cNvSpPr>
              <a:spLocks noChangeArrowheads="1"/>
            </p:cNvSpPr>
            <p:nvPr/>
          </p:nvSpPr>
          <p:spPr bwMode="auto">
            <a:xfrm>
              <a:off x="4634" y="3617"/>
              <a:ext cx="4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58" name="Rectangle 334"/>
            <p:cNvSpPr>
              <a:spLocks noChangeArrowheads="1"/>
            </p:cNvSpPr>
            <p:nvPr/>
          </p:nvSpPr>
          <p:spPr bwMode="auto">
            <a:xfrm>
              <a:off x="4650" y="3617"/>
              <a:ext cx="5" cy="1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561" name="Group 337"/>
          <p:cNvGrpSpPr>
            <a:grpSpLocks noChangeAspect="1"/>
          </p:cNvGrpSpPr>
          <p:nvPr/>
        </p:nvGrpSpPr>
        <p:grpSpPr bwMode="auto">
          <a:xfrm>
            <a:off x="8050213" y="5435600"/>
            <a:ext cx="787400" cy="787400"/>
            <a:chOff x="5071" y="3424"/>
            <a:chExt cx="496" cy="496"/>
          </a:xfrm>
        </p:grpSpPr>
        <p:sp>
          <p:nvSpPr>
            <p:cNvPr id="52562" name="Freeform 338"/>
            <p:cNvSpPr>
              <a:spLocks noEditPoints="1"/>
            </p:cNvSpPr>
            <p:nvPr/>
          </p:nvSpPr>
          <p:spPr bwMode="auto">
            <a:xfrm>
              <a:off x="5071" y="3424"/>
              <a:ext cx="496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3" name="Freeform 339"/>
            <p:cNvSpPr>
              <a:spLocks noEditPoints="1"/>
            </p:cNvSpPr>
            <p:nvPr/>
          </p:nvSpPr>
          <p:spPr bwMode="auto">
            <a:xfrm>
              <a:off x="5299" y="3659"/>
              <a:ext cx="43" cy="46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9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5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5" y="9"/>
                </a:cxn>
                <a:cxn ang="0">
                  <a:pos x="9" y="15"/>
                </a:cxn>
              </a:cxnLst>
              <a:rect l="0" t="0" r="r" b="b"/>
              <a:pathLst>
                <a:path w="18" h="19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9"/>
                    <a:pt x="9" y="19"/>
                  </a:cubicBezTo>
                  <a:cubicBezTo>
                    <a:pt x="14" y="19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5"/>
                  </a:moveTo>
                  <a:cubicBezTo>
                    <a:pt x="6" y="15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5" y="6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4" name="Freeform 340"/>
            <p:cNvSpPr>
              <a:spLocks/>
            </p:cNvSpPr>
            <p:nvPr/>
          </p:nvSpPr>
          <p:spPr bwMode="auto">
            <a:xfrm>
              <a:off x="5311" y="3671"/>
              <a:ext cx="19" cy="2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5" y="0"/>
                </a:cxn>
                <a:cxn ang="0">
                  <a:pos x="5" y="7"/>
                </a:cxn>
                <a:cxn ang="0">
                  <a:pos x="0" y="7"/>
                </a:cxn>
                <a:cxn ang="0">
                  <a:pos x="0" y="15"/>
                </a:cxn>
                <a:cxn ang="0">
                  <a:pos x="5" y="15"/>
                </a:cxn>
                <a:cxn ang="0">
                  <a:pos x="5" y="22"/>
                </a:cxn>
                <a:cxn ang="0">
                  <a:pos x="14" y="22"/>
                </a:cxn>
                <a:cxn ang="0">
                  <a:pos x="14" y="15"/>
                </a:cxn>
                <a:cxn ang="0">
                  <a:pos x="19" y="15"/>
                </a:cxn>
                <a:cxn ang="0">
                  <a:pos x="19" y="7"/>
                </a:cxn>
                <a:cxn ang="0">
                  <a:pos x="14" y="7"/>
                </a:cxn>
                <a:cxn ang="0">
                  <a:pos x="14" y="0"/>
                </a:cxn>
              </a:cxnLst>
              <a:rect l="0" t="0" r="r" b="b"/>
              <a:pathLst>
                <a:path w="19" h="22">
                  <a:moveTo>
                    <a:pt x="14" y="0"/>
                  </a:moveTo>
                  <a:lnTo>
                    <a:pt x="5" y="0"/>
                  </a:lnTo>
                  <a:lnTo>
                    <a:pt x="5" y="7"/>
                  </a:lnTo>
                  <a:lnTo>
                    <a:pt x="0" y="7"/>
                  </a:lnTo>
                  <a:lnTo>
                    <a:pt x="0" y="15"/>
                  </a:lnTo>
                  <a:lnTo>
                    <a:pt x="5" y="15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4" y="15"/>
                  </a:lnTo>
                  <a:lnTo>
                    <a:pt x="19" y="15"/>
                  </a:lnTo>
                  <a:lnTo>
                    <a:pt x="19" y="7"/>
                  </a:lnTo>
                  <a:lnTo>
                    <a:pt x="14" y="7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5" name="Freeform 341"/>
            <p:cNvSpPr>
              <a:spLocks noEditPoints="1"/>
            </p:cNvSpPr>
            <p:nvPr/>
          </p:nvSpPr>
          <p:spPr bwMode="auto">
            <a:xfrm>
              <a:off x="5177" y="3523"/>
              <a:ext cx="285" cy="258"/>
            </a:xfrm>
            <a:custGeom>
              <a:avLst/>
              <a:gdLst/>
              <a:ahLst/>
              <a:cxnLst>
                <a:cxn ang="0">
                  <a:pos x="107" y="37"/>
                </a:cxn>
                <a:cxn ang="0">
                  <a:pos x="87" y="37"/>
                </a:cxn>
                <a:cxn ang="0">
                  <a:pos x="87" y="9"/>
                </a:cxn>
                <a:cxn ang="0">
                  <a:pos x="78" y="0"/>
                </a:cxn>
                <a:cxn ang="0">
                  <a:pos x="41" y="0"/>
                </a:cxn>
                <a:cxn ang="0">
                  <a:pos x="33" y="9"/>
                </a:cxn>
                <a:cxn ang="0">
                  <a:pos x="33" y="37"/>
                </a:cxn>
                <a:cxn ang="0">
                  <a:pos x="13" y="37"/>
                </a:cxn>
                <a:cxn ang="0">
                  <a:pos x="0" y="46"/>
                </a:cxn>
                <a:cxn ang="0">
                  <a:pos x="0" y="100"/>
                </a:cxn>
                <a:cxn ang="0">
                  <a:pos x="13" y="108"/>
                </a:cxn>
                <a:cxn ang="0">
                  <a:pos x="41" y="108"/>
                </a:cxn>
                <a:cxn ang="0">
                  <a:pos x="41" y="108"/>
                </a:cxn>
                <a:cxn ang="0">
                  <a:pos x="41" y="108"/>
                </a:cxn>
                <a:cxn ang="0">
                  <a:pos x="46" y="108"/>
                </a:cxn>
                <a:cxn ang="0">
                  <a:pos x="74" y="108"/>
                </a:cxn>
                <a:cxn ang="0">
                  <a:pos x="78" y="108"/>
                </a:cxn>
                <a:cxn ang="0">
                  <a:pos x="79" y="108"/>
                </a:cxn>
                <a:cxn ang="0">
                  <a:pos x="79" y="108"/>
                </a:cxn>
                <a:cxn ang="0">
                  <a:pos x="107" y="108"/>
                </a:cxn>
                <a:cxn ang="0">
                  <a:pos x="119" y="100"/>
                </a:cxn>
                <a:cxn ang="0">
                  <a:pos x="119" y="45"/>
                </a:cxn>
                <a:cxn ang="0">
                  <a:pos x="107" y="37"/>
                </a:cxn>
                <a:cxn ang="0">
                  <a:pos x="4" y="100"/>
                </a:cxn>
                <a:cxn ang="0">
                  <a:pos x="4" y="46"/>
                </a:cxn>
                <a:cxn ang="0">
                  <a:pos x="13" y="41"/>
                </a:cxn>
                <a:cxn ang="0">
                  <a:pos x="33" y="41"/>
                </a:cxn>
                <a:cxn ang="0">
                  <a:pos x="33" y="99"/>
                </a:cxn>
                <a:cxn ang="0">
                  <a:pos x="34" y="104"/>
                </a:cxn>
                <a:cxn ang="0">
                  <a:pos x="13" y="104"/>
                </a:cxn>
                <a:cxn ang="0">
                  <a:pos x="4" y="100"/>
                </a:cxn>
                <a:cxn ang="0">
                  <a:pos x="50" y="104"/>
                </a:cxn>
                <a:cxn ang="0">
                  <a:pos x="50" y="84"/>
                </a:cxn>
                <a:cxn ang="0">
                  <a:pos x="58" y="84"/>
                </a:cxn>
                <a:cxn ang="0">
                  <a:pos x="58" y="104"/>
                </a:cxn>
                <a:cxn ang="0">
                  <a:pos x="50" y="104"/>
                </a:cxn>
                <a:cxn ang="0">
                  <a:pos x="62" y="104"/>
                </a:cxn>
                <a:cxn ang="0">
                  <a:pos x="62" y="84"/>
                </a:cxn>
                <a:cxn ang="0">
                  <a:pos x="71" y="84"/>
                </a:cxn>
                <a:cxn ang="0">
                  <a:pos x="71" y="104"/>
                </a:cxn>
                <a:cxn ang="0">
                  <a:pos x="62" y="104"/>
                </a:cxn>
                <a:cxn ang="0">
                  <a:pos x="74" y="104"/>
                </a:cxn>
                <a:cxn ang="0">
                  <a:pos x="74" y="80"/>
                </a:cxn>
                <a:cxn ang="0">
                  <a:pos x="46" y="80"/>
                </a:cxn>
                <a:cxn ang="0">
                  <a:pos x="46" y="104"/>
                </a:cxn>
                <a:cxn ang="0">
                  <a:pos x="41" y="104"/>
                </a:cxn>
                <a:cxn ang="0">
                  <a:pos x="36" y="99"/>
                </a:cxn>
                <a:cxn ang="0">
                  <a:pos x="36" y="9"/>
                </a:cxn>
                <a:cxn ang="0">
                  <a:pos x="41" y="4"/>
                </a:cxn>
                <a:cxn ang="0">
                  <a:pos x="78" y="4"/>
                </a:cxn>
                <a:cxn ang="0">
                  <a:pos x="83" y="9"/>
                </a:cxn>
                <a:cxn ang="0">
                  <a:pos x="83" y="99"/>
                </a:cxn>
                <a:cxn ang="0">
                  <a:pos x="78" y="104"/>
                </a:cxn>
                <a:cxn ang="0">
                  <a:pos x="74" y="104"/>
                </a:cxn>
                <a:cxn ang="0">
                  <a:pos x="116" y="100"/>
                </a:cxn>
                <a:cxn ang="0">
                  <a:pos x="107" y="104"/>
                </a:cxn>
                <a:cxn ang="0">
                  <a:pos x="85" y="104"/>
                </a:cxn>
                <a:cxn ang="0">
                  <a:pos x="87" y="99"/>
                </a:cxn>
                <a:cxn ang="0">
                  <a:pos x="87" y="41"/>
                </a:cxn>
                <a:cxn ang="0">
                  <a:pos x="107" y="41"/>
                </a:cxn>
                <a:cxn ang="0">
                  <a:pos x="116" y="45"/>
                </a:cxn>
                <a:cxn ang="0">
                  <a:pos x="116" y="100"/>
                </a:cxn>
              </a:cxnLst>
              <a:rect l="0" t="0" r="r" b="b"/>
              <a:pathLst>
                <a:path w="119" h="108">
                  <a:moveTo>
                    <a:pt x="107" y="37"/>
                  </a:moveTo>
                  <a:cubicBezTo>
                    <a:pt x="87" y="37"/>
                    <a:pt x="87" y="37"/>
                    <a:pt x="87" y="37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4"/>
                    <a:pt x="83" y="0"/>
                    <a:pt x="78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7" y="0"/>
                    <a:pt x="33" y="4"/>
                    <a:pt x="33" y="9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6" y="37"/>
                    <a:pt x="0" y="41"/>
                    <a:pt x="0" y="4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4"/>
                    <a:pt x="6" y="108"/>
                    <a:pt x="13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74" y="108"/>
                    <a:pt x="74" y="108"/>
                    <a:pt x="74" y="108"/>
                  </a:cubicBezTo>
                  <a:cubicBezTo>
                    <a:pt x="78" y="108"/>
                    <a:pt x="78" y="108"/>
                    <a:pt x="78" y="108"/>
                  </a:cubicBezTo>
                  <a:cubicBezTo>
                    <a:pt x="79" y="108"/>
                    <a:pt x="79" y="108"/>
                    <a:pt x="79" y="108"/>
                  </a:cubicBezTo>
                  <a:cubicBezTo>
                    <a:pt x="79" y="108"/>
                    <a:pt x="79" y="108"/>
                    <a:pt x="79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14" y="108"/>
                    <a:pt x="119" y="104"/>
                    <a:pt x="119" y="100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9" y="41"/>
                    <a:pt x="114" y="37"/>
                    <a:pt x="107" y="37"/>
                  </a:cubicBezTo>
                  <a:close/>
                  <a:moveTo>
                    <a:pt x="4" y="100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43"/>
                    <a:pt x="8" y="41"/>
                    <a:pt x="1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101"/>
                    <a:pt x="33" y="103"/>
                    <a:pt x="34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8" y="104"/>
                    <a:pt x="4" y="102"/>
                    <a:pt x="4" y="100"/>
                  </a:cubicBezTo>
                  <a:close/>
                  <a:moveTo>
                    <a:pt x="50" y="10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104"/>
                    <a:pt x="58" y="104"/>
                    <a:pt x="58" y="104"/>
                  </a:cubicBezTo>
                  <a:lnTo>
                    <a:pt x="50" y="104"/>
                  </a:lnTo>
                  <a:close/>
                  <a:moveTo>
                    <a:pt x="62" y="104"/>
                  </a:moveTo>
                  <a:cubicBezTo>
                    <a:pt x="62" y="84"/>
                    <a:pt x="62" y="84"/>
                    <a:pt x="62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1" y="104"/>
                    <a:pt x="71" y="104"/>
                    <a:pt x="71" y="104"/>
                  </a:cubicBezTo>
                  <a:lnTo>
                    <a:pt x="62" y="104"/>
                  </a:lnTo>
                  <a:close/>
                  <a:moveTo>
                    <a:pt x="74" y="104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39" y="104"/>
                    <a:pt x="36" y="102"/>
                    <a:pt x="36" y="9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6"/>
                    <a:pt x="39" y="4"/>
                    <a:pt x="41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81" y="4"/>
                    <a:pt x="83" y="6"/>
                    <a:pt x="83" y="9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3" y="102"/>
                    <a:pt x="81" y="104"/>
                    <a:pt x="78" y="104"/>
                  </a:cubicBezTo>
                  <a:lnTo>
                    <a:pt x="74" y="104"/>
                  </a:lnTo>
                  <a:close/>
                  <a:moveTo>
                    <a:pt x="116" y="100"/>
                  </a:moveTo>
                  <a:cubicBezTo>
                    <a:pt x="116" y="102"/>
                    <a:pt x="112" y="104"/>
                    <a:pt x="107" y="104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6" y="103"/>
                    <a:pt x="87" y="101"/>
                    <a:pt x="87" y="99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12" y="41"/>
                    <a:pt x="116" y="43"/>
                    <a:pt x="116" y="45"/>
                  </a:cubicBezTo>
                  <a:lnTo>
                    <a:pt x="116" y="10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6" name="Rectangle 342"/>
            <p:cNvSpPr>
              <a:spLocks noChangeArrowheads="1"/>
            </p:cNvSpPr>
            <p:nvPr/>
          </p:nvSpPr>
          <p:spPr bwMode="auto">
            <a:xfrm>
              <a:off x="5400" y="3642"/>
              <a:ext cx="4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7" name="Rectangle 343"/>
            <p:cNvSpPr>
              <a:spLocks noChangeArrowheads="1"/>
            </p:cNvSpPr>
            <p:nvPr/>
          </p:nvSpPr>
          <p:spPr bwMode="auto">
            <a:xfrm>
              <a:off x="5416" y="3642"/>
              <a:ext cx="5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8" name="Rectangle 344"/>
            <p:cNvSpPr>
              <a:spLocks noChangeArrowheads="1"/>
            </p:cNvSpPr>
            <p:nvPr/>
          </p:nvSpPr>
          <p:spPr bwMode="auto">
            <a:xfrm>
              <a:off x="5433" y="3642"/>
              <a:ext cx="5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69" name="Rectangle 345"/>
            <p:cNvSpPr>
              <a:spLocks noChangeArrowheads="1"/>
            </p:cNvSpPr>
            <p:nvPr/>
          </p:nvSpPr>
          <p:spPr bwMode="auto">
            <a:xfrm>
              <a:off x="5400" y="3676"/>
              <a:ext cx="4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0" name="Rectangle 346"/>
            <p:cNvSpPr>
              <a:spLocks noChangeArrowheads="1"/>
            </p:cNvSpPr>
            <p:nvPr/>
          </p:nvSpPr>
          <p:spPr bwMode="auto">
            <a:xfrm>
              <a:off x="5416" y="3676"/>
              <a:ext cx="5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1" name="Rectangle 347"/>
            <p:cNvSpPr>
              <a:spLocks noChangeArrowheads="1"/>
            </p:cNvSpPr>
            <p:nvPr/>
          </p:nvSpPr>
          <p:spPr bwMode="auto">
            <a:xfrm>
              <a:off x="5433" y="3676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2" name="Rectangle 348"/>
            <p:cNvSpPr>
              <a:spLocks noChangeArrowheads="1"/>
            </p:cNvSpPr>
            <p:nvPr/>
          </p:nvSpPr>
          <p:spPr bwMode="auto">
            <a:xfrm>
              <a:off x="5400" y="3712"/>
              <a:ext cx="4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3" name="Rectangle 349"/>
            <p:cNvSpPr>
              <a:spLocks noChangeArrowheads="1"/>
            </p:cNvSpPr>
            <p:nvPr/>
          </p:nvSpPr>
          <p:spPr bwMode="auto">
            <a:xfrm>
              <a:off x="5416" y="3712"/>
              <a:ext cx="5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4" name="Rectangle 350"/>
            <p:cNvSpPr>
              <a:spLocks noChangeArrowheads="1"/>
            </p:cNvSpPr>
            <p:nvPr/>
          </p:nvSpPr>
          <p:spPr bwMode="auto">
            <a:xfrm>
              <a:off x="5433" y="3712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5" name="Rectangle 351"/>
            <p:cNvSpPr>
              <a:spLocks noChangeArrowheads="1"/>
            </p:cNvSpPr>
            <p:nvPr/>
          </p:nvSpPr>
          <p:spPr bwMode="auto">
            <a:xfrm>
              <a:off x="5201" y="3642"/>
              <a:ext cx="7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6" name="Rectangle 352"/>
            <p:cNvSpPr>
              <a:spLocks noChangeArrowheads="1"/>
            </p:cNvSpPr>
            <p:nvPr/>
          </p:nvSpPr>
          <p:spPr bwMode="auto">
            <a:xfrm>
              <a:off x="5218" y="3642"/>
              <a:ext cx="7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7" name="Rectangle 353"/>
            <p:cNvSpPr>
              <a:spLocks noChangeArrowheads="1"/>
            </p:cNvSpPr>
            <p:nvPr/>
          </p:nvSpPr>
          <p:spPr bwMode="auto">
            <a:xfrm>
              <a:off x="5234" y="3642"/>
              <a:ext cx="8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8" name="Rectangle 354"/>
            <p:cNvSpPr>
              <a:spLocks noChangeArrowheads="1"/>
            </p:cNvSpPr>
            <p:nvPr/>
          </p:nvSpPr>
          <p:spPr bwMode="auto">
            <a:xfrm>
              <a:off x="5201" y="3676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79" name="Rectangle 355"/>
            <p:cNvSpPr>
              <a:spLocks noChangeArrowheads="1"/>
            </p:cNvSpPr>
            <p:nvPr/>
          </p:nvSpPr>
          <p:spPr bwMode="auto">
            <a:xfrm>
              <a:off x="5218" y="3676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0" name="Rectangle 356"/>
            <p:cNvSpPr>
              <a:spLocks noChangeArrowheads="1"/>
            </p:cNvSpPr>
            <p:nvPr/>
          </p:nvSpPr>
          <p:spPr bwMode="auto">
            <a:xfrm>
              <a:off x="5234" y="3676"/>
              <a:ext cx="8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1" name="Rectangle 357"/>
            <p:cNvSpPr>
              <a:spLocks noChangeArrowheads="1"/>
            </p:cNvSpPr>
            <p:nvPr/>
          </p:nvSpPr>
          <p:spPr bwMode="auto">
            <a:xfrm>
              <a:off x="5201" y="3712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2" name="Rectangle 358"/>
            <p:cNvSpPr>
              <a:spLocks noChangeArrowheads="1"/>
            </p:cNvSpPr>
            <p:nvPr/>
          </p:nvSpPr>
          <p:spPr bwMode="auto">
            <a:xfrm>
              <a:off x="5218" y="3712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3" name="Rectangle 359"/>
            <p:cNvSpPr>
              <a:spLocks noChangeArrowheads="1"/>
            </p:cNvSpPr>
            <p:nvPr/>
          </p:nvSpPr>
          <p:spPr bwMode="auto">
            <a:xfrm>
              <a:off x="5234" y="3712"/>
              <a:ext cx="8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4" name="Rectangle 360"/>
            <p:cNvSpPr>
              <a:spLocks noChangeArrowheads="1"/>
            </p:cNvSpPr>
            <p:nvPr/>
          </p:nvSpPr>
          <p:spPr bwMode="auto">
            <a:xfrm>
              <a:off x="5292" y="3554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5" name="Rectangle 361"/>
            <p:cNvSpPr>
              <a:spLocks noChangeArrowheads="1"/>
            </p:cNvSpPr>
            <p:nvPr/>
          </p:nvSpPr>
          <p:spPr bwMode="auto">
            <a:xfrm>
              <a:off x="5309" y="3554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6" name="Rectangle 362"/>
            <p:cNvSpPr>
              <a:spLocks noChangeArrowheads="1"/>
            </p:cNvSpPr>
            <p:nvPr/>
          </p:nvSpPr>
          <p:spPr bwMode="auto">
            <a:xfrm>
              <a:off x="5328" y="3554"/>
              <a:ext cx="5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7" name="Rectangle 363"/>
            <p:cNvSpPr>
              <a:spLocks noChangeArrowheads="1"/>
            </p:cNvSpPr>
            <p:nvPr/>
          </p:nvSpPr>
          <p:spPr bwMode="auto">
            <a:xfrm>
              <a:off x="5345" y="3554"/>
              <a:ext cx="4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8" name="Rectangle 364"/>
            <p:cNvSpPr>
              <a:spLocks noChangeArrowheads="1"/>
            </p:cNvSpPr>
            <p:nvPr/>
          </p:nvSpPr>
          <p:spPr bwMode="auto">
            <a:xfrm>
              <a:off x="5292" y="3587"/>
              <a:ext cx="7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89" name="Rectangle 365"/>
            <p:cNvSpPr>
              <a:spLocks noChangeArrowheads="1"/>
            </p:cNvSpPr>
            <p:nvPr/>
          </p:nvSpPr>
          <p:spPr bwMode="auto">
            <a:xfrm>
              <a:off x="5309" y="3587"/>
              <a:ext cx="7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0" name="Rectangle 366"/>
            <p:cNvSpPr>
              <a:spLocks noChangeArrowheads="1"/>
            </p:cNvSpPr>
            <p:nvPr/>
          </p:nvSpPr>
          <p:spPr bwMode="auto">
            <a:xfrm>
              <a:off x="5328" y="3587"/>
              <a:ext cx="5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1" name="Rectangle 367"/>
            <p:cNvSpPr>
              <a:spLocks noChangeArrowheads="1"/>
            </p:cNvSpPr>
            <p:nvPr/>
          </p:nvSpPr>
          <p:spPr bwMode="auto">
            <a:xfrm>
              <a:off x="5345" y="3587"/>
              <a:ext cx="4" cy="2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2" name="Rectangle 368"/>
            <p:cNvSpPr>
              <a:spLocks noChangeArrowheads="1"/>
            </p:cNvSpPr>
            <p:nvPr/>
          </p:nvSpPr>
          <p:spPr bwMode="auto">
            <a:xfrm>
              <a:off x="5292" y="3621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3" name="Rectangle 369"/>
            <p:cNvSpPr>
              <a:spLocks noChangeArrowheads="1"/>
            </p:cNvSpPr>
            <p:nvPr/>
          </p:nvSpPr>
          <p:spPr bwMode="auto">
            <a:xfrm>
              <a:off x="5309" y="3621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4" name="Rectangle 370"/>
            <p:cNvSpPr>
              <a:spLocks noChangeArrowheads="1"/>
            </p:cNvSpPr>
            <p:nvPr/>
          </p:nvSpPr>
          <p:spPr bwMode="auto">
            <a:xfrm>
              <a:off x="5328" y="3621"/>
              <a:ext cx="5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95" name="Rectangle 371"/>
            <p:cNvSpPr>
              <a:spLocks noChangeArrowheads="1"/>
            </p:cNvSpPr>
            <p:nvPr/>
          </p:nvSpPr>
          <p:spPr bwMode="auto">
            <a:xfrm>
              <a:off x="5345" y="3621"/>
              <a:ext cx="4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" name="Table 275">
            <a:extLst>
              <a:ext uri="{FF2B5EF4-FFF2-40B4-BE49-F238E27FC236}">
                <a16:creationId xmlns:a16="http://schemas.microsoft.com/office/drawing/2014/main" id="{D1703A2D-0F01-456C-B7DA-A9241B419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199075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dea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dea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plemen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Building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dustrial Building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Inform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Integrit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vestor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Investor Service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In Works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Join U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sso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w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asing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ft Quo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brar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fe Scie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inkedIn (1)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3252" name="Group 4"/>
          <p:cNvGrpSpPr>
            <a:grpSpLocks noChangeAspect="1"/>
          </p:cNvGrpSpPr>
          <p:nvPr/>
        </p:nvGrpSpPr>
        <p:grpSpPr bwMode="auto">
          <a:xfrm>
            <a:off x="340519" y="249238"/>
            <a:ext cx="850900" cy="846137"/>
            <a:chOff x="211" y="157"/>
            <a:chExt cx="536" cy="533"/>
          </a:xfrm>
        </p:grpSpPr>
        <p:sp>
          <p:nvSpPr>
            <p:cNvPr id="53253" name="Oval 5"/>
            <p:cNvSpPr>
              <a:spLocks noChangeArrowheads="1"/>
            </p:cNvSpPr>
            <p:nvPr/>
          </p:nvSpPr>
          <p:spPr bwMode="auto">
            <a:xfrm>
              <a:off x="211" y="157"/>
              <a:ext cx="536" cy="533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54" name="Freeform 6"/>
            <p:cNvSpPr>
              <a:spLocks noEditPoints="1"/>
            </p:cNvSpPr>
            <p:nvPr/>
          </p:nvSpPr>
          <p:spPr bwMode="auto">
            <a:xfrm>
              <a:off x="232" y="176"/>
              <a:ext cx="494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55" name="Freeform 7"/>
            <p:cNvSpPr>
              <a:spLocks noEditPoints="1"/>
            </p:cNvSpPr>
            <p:nvPr/>
          </p:nvSpPr>
          <p:spPr bwMode="auto">
            <a:xfrm>
              <a:off x="352" y="470"/>
              <a:ext cx="141" cy="72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7" y="0"/>
                </a:cxn>
                <a:cxn ang="0">
                  <a:pos x="29" y="2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0" y="28"/>
                </a:cxn>
                <a:cxn ang="0">
                  <a:pos x="2" y="30"/>
                </a:cxn>
                <a:cxn ang="0">
                  <a:pos x="57" y="30"/>
                </a:cxn>
                <a:cxn ang="0">
                  <a:pos x="59" y="28"/>
                </a:cxn>
                <a:cxn ang="0">
                  <a:pos x="38" y="0"/>
                </a:cxn>
                <a:cxn ang="0">
                  <a:pos x="4" y="26"/>
                </a:cxn>
                <a:cxn ang="0">
                  <a:pos x="21" y="4"/>
                </a:cxn>
                <a:cxn ang="0">
                  <a:pos x="29" y="6"/>
                </a:cxn>
                <a:cxn ang="0">
                  <a:pos x="38" y="4"/>
                </a:cxn>
                <a:cxn ang="0">
                  <a:pos x="55" y="26"/>
                </a:cxn>
                <a:cxn ang="0">
                  <a:pos x="4" y="26"/>
                </a:cxn>
              </a:cxnLst>
              <a:rect l="0" t="0" r="r" b="b"/>
              <a:pathLst>
                <a:path w="59" h="30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35" y="1"/>
                    <a:pt x="32" y="2"/>
                    <a:pt x="29" y="2"/>
                  </a:cubicBezTo>
                  <a:cubicBezTo>
                    <a:pt x="27" y="2"/>
                    <a:pt x="24" y="1"/>
                    <a:pt x="22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8" y="4"/>
                    <a:pt x="0" y="15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0"/>
                    <a:pt x="59" y="29"/>
                    <a:pt x="59" y="28"/>
                  </a:cubicBezTo>
                  <a:cubicBezTo>
                    <a:pt x="59" y="15"/>
                    <a:pt x="51" y="4"/>
                    <a:pt x="38" y="0"/>
                  </a:cubicBezTo>
                  <a:close/>
                  <a:moveTo>
                    <a:pt x="4" y="26"/>
                  </a:moveTo>
                  <a:cubicBezTo>
                    <a:pt x="4" y="16"/>
                    <a:pt x="11" y="7"/>
                    <a:pt x="21" y="4"/>
                  </a:cubicBezTo>
                  <a:cubicBezTo>
                    <a:pt x="23" y="5"/>
                    <a:pt x="26" y="6"/>
                    <a:pt x="29" y="6"/>
                  </a:cubicBezTo>
                  <a:cubicBezTo>
                    <a:pt x="32" y="6"/>
                    <a:pt x="35" y="5"/>
                    <a:pt x="38" y="4"/>
                  </a:cubicBezTo>
                  <a:cubicBezTo>
                    <a:pt x="48" y="7"/>
                    <a:pt x="54" y="16"/>
                    <a:pt x="55" y="26"/>
                  </a:cubicBezTo>
                  <a:lnTo>
                    <a:pt x="4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56" name="Freeform 8"/>
            <p:cNvSpPr>
              <a:spLocks noEditPoints="1"/>
            </p:cNvSpPr>
            <p:nvPr/>
          </p:nvSpPr>
          <p:spPr bwMode="auto">
            <a:xfrm>
              <a:off x="378" y="384"/>
              <a:ext cx="87" cy="86"/>
            </a:xfrm>
            <a:custGeom>
              <a:avLst/>
              <a:gdLst/>
              <a:ahLst/>
              <a:cxnLst>
                <a:cxn ang="0">
                  <a:pos x="18" y="36"/>
                </a:cxn>
                <a:cxn ang="0">
                  <a:pos x="36" y="18"/>
                </a:cxn>
                <a:cxn ang="0">
                  <a:pos x="18" y="0"/>
                </a:cxn>
                <a:cxn ang="0">
                  <a:pos x="0" y="18"/>
                </a:cxn>
                <a:cxn ang="0">
                  <a:pos x="18" y="36"/>
                </a:cxn>
                <a:cxn ang="0">
                  <a:pos x="18" y="4"/>
                </a:cxn>
                <a:cxn ang="0">
                  <a:pos x="33" y="18"/>
                </a:cxn>
                <a:cxn ang="0">
                  <a:pos x="18" y="32"/>
                </a:cxn>
                <a:cxn ang="0">
                  <a:pos x="4" y="18"/>
                </a:cxn>
                <a:cxn ang="0">
                  <a:pos x="18" y="4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28" y="36"/>
                    <a:pt x="36" y="28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18" y="4"/>
                  </a:moveTo>
                  <a:cubicBezTo>
                    <a:pt x="26" y="4"/>
                    <a:pt x="33" y="10"/>
                    <a:pt x="33" y="18"/>
                  </a:cubicBezTo>
                  <a:cubicBezTo>
                    <a:pt x="33" y="26"/>
                    <a:pt x="26" y="32"/>
                    <a:pt x="18" y="32"/>
                  </a:cubicBezTo>
                  <a:cubicBezTo>
                    <a:pt x="10" y="32"/>
                    <a:pt x="4" y="26"/>
                    <a:pt x="4" y="18"/>
                  </a:cubicBezTo>
                  <a:cubicBezTo>
                    <a:pt x="4" y="10"/>
                    <a:pt x="10" y="4"/>
                    <a:pt x="18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57" name="Freeform 9"/>
            <p:cNvSpPr>
              <a:spLocks noEditPoints="1"/>
            </p:cNvSpPr>
            <p:nvPr/>
          </p:nvSpPr>
          <p:spPr bwMode="auto">
            <a:xfrm>
              <a:off x="484" y="370"/>
              <a:ext cx="31" cy="3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7" y="13"/>
                </a:cxn>
                <a:cxn ang="0">
                  <a:pos x="13" y="7"/>
                </a:cxn>
                <a:cxn ang="0">
                  <a:pos x="7" y="0"/>
                </a:cxn>
                <a:cxn ang="0">
                  <a:pos x="7" y="9"/>
                </a:cxn>
                <a:cxn ang="0">
                  <a:pos x="4" y="7"/>
                </a:cxn>
                <a:cxn ang="0">
                  <a:pos x="7" y="4"/>
                </a:cxn>
                <a:cxn ang="0">
                  <a:pos x="9" y="7"/>
                </a:cxn>
                <a:cxn ang="0">
                  <a:pos x="7" y="9"/>
                </a:cxn>
              </a:cxnLst>
              <a:rect l="0" t="0" r="r" b="b"/>
              <a:pathLst>
                <a:path w="13" h="13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ubicBezTo>
                    <a:pt x="10" y="13"/>
                    <a:pt x="13" y="10"/>
                    <a:pt x="13" y="7"/>
                  </a:cubicBezTo>
                  <a:cubicBezTo>
                    <a:pt x="13" y="3"/>
                    <a:pt x="10" y="0"/>
                    <a:pt x="7" y="0"/>
                  </a:cubicBezTo>
                  <a:close/>
                  <a:moveTo>
                    <a:pt x="7" y="9"/>
                  </a:moveTo>
                  <a:cubicBezTo>
                    <a:pt x="5" y="9"/>
                    <a:pt x="4" y="8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" y="4"/>
                    <a:pt x="9" y="5"/>
                    <a:pt x="9" y="7"/>
                  </a:cubicBezTo>
                  <a:cubicBezTo>
                    <a:pt x="9" y="8"/>
                    <a:pt x="8" y="9"/>
                    <a:pt x="7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58" name="Freeform 10"/>
            <p:cNvSpPr>
              <a:spLocks noEditPoints="1"/>
            </p:cNvSpPr>
            <p:nvPr/>
          </p:nvSpPr>
          <p:spPr bwMode="auto">
            <a:xfrm>
              <a:off x="493" y="291"/>
              <a:ext cx="123" cy="93"/>
            </a:xfrm>
            <a:custGeom>
              <a:avLst/>
              <a:gdLst/>
              <a:ahLst/>
              <a:cxnLst>
                <a:cxn ang="0">
                  <a:pos x="45" y="5"/>
                </a:cxn>
                <a:cxn ang="0">
                  <a:pos x="37" y="2"/>
                </a:cxn>
                <a:cxn ang="0">
                  <a:pos x="31" y="4"/>
                </a:cxn>
                <a:cxn ang="0">
                  <a:pos x="23" y="0"/>
                </a:cxn>
                <a:cxn ang="0">
                  <a:pos x="14" y="4"/>
                </a:cxn>
                <a:cxn ang="0">
                  <a:pos x="6" y="7"/>
                </a:cxn>
                <a:cxn ang="0">
                  <a:pos x="3" y="17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4" y="38"/>
                </a:cxn>
                <a:cxn ang="0">
                  <a:pos x="20" y="36"/>
                </a:cxn>
                <a:cxn ang="0">
                  <a:pos x="27" y="39"/>
                </a:cxn>
                <a:cxn ang="0">
                  <a:pos x="33" y="37"/>
                </a:cxn>
                <a:cxn ang="0">
                  <a:pos x="37" y="37"/>
                </a:cxn>
                <a:cxn ang="0">
                  <a:pos x="37" y="37"/>
                </a:cxn>
                <a:cxn ang="0">
                  <a:pos x="46" y="30"/>
                </a:cxn>
                <a:cxn ang="0">
                  <a:pos x="50" y="25"/>
                </a:cxn>
                <a:cxn ang="0">
                  <a:pos x="48" y="18"/>
                </a:cxn>
                <a:cxn ang="0">
                  <a:pos x="45" y="5"/>
                </a:cxn>
                <a:cxn ang="0">
                  <a:pos x="46" y="24"/>
                </a:cxn>
                <a:cxn ang="0">
                  <a:pos x="44" y="27"/>
                </a:cxn>
                <a:cxn ang="0">
                  <a:pos x="43" y="28"/>
                </a:cxn>
                <a:cxn ang="0">
                  <a:pos x="37" y="34"/>
                </a:cxn>
                <a:cxn ang="0">
                  <a:pos x="37" y="34"/>
                </a:cxn>
                <a:cxn ang="0">
                  <a:pos x="33" y="33"/>
                </a:cxn>
                <a:cxn ang="0">
                  <a:pos x="32" y="33"/>
                </a:cxn>
                <a:cxn ang="0">
                  <a:pos x="27" y="36"/>
                </a:cxn>
                <a:cxn ang="0">
                  <a:pos x="22" y="33"/>
                </a:cxn>
                <a:cxn ang="0">
                  <a:pos x="21" y="32"/>
                </a:cxn>
                <a:cxn ang="0">
                  <a:pos x="20" y="32"/>
                </a:cxn>
                <a:cxn ang="0">
                  <a:pos x="19" y="32"/>
                </a:cxn>
                <a:cxn ang="0">
                  <a:pos x="14" y="34"/>
                </a:cxn>
                <a:cxn ang="0">
                  <a:pos x="8" y="28"/>
                </a:cxn>
                <a:cxn ang="0">
                  <a:pos x="7" y="27"/>
                </a:cxn>
                <a:cxn ang="0">
                  <a:pos x="4" y="24"/>
                </a:cxn>
                <a:cxn ang="0">
                  <a:pos x="7" y="19"/>
                </a:cxn>
                <a:cxn ang="0">
                  <a:pos x="7" y="17"/>
                </a:cxn>
                <a:cxn ang="0">
                  <a:pos x="8" y="9"/>
                </a:cxn>
                <a:cxn ang="0">
                  <a:pos x="13" y="8"/>
                </a:cxn>
                <a:cxn ang="0">
                  <a:pos x="15" y="8"/>
                </a:cxn>
                <a:cxn ang="0">
                  <a:pos x="17" y="7"/>
                </a:cxn>
                <a:cxn ang="0">
                  <a:pos x="23" y="3"/>
                </a:cxn>
                <a:cxn ang="0">
                  <a:pos x="29" y="7"/>
                </a:cxn>
                <a:cxn ang="0">
                  <a:pos x="31" y="8"/>
                </a:cxn>
                <a:cxn ang="0">
                  <a:pos x="32" y="7"/>
                </a:cxn>
                <a:cxn ang="0">
                  <a:pos x="37" y="5"/>
                </a:cxn>
                <a:cxn ang="0">
                  <a:pos x="43" y="8"/>
                </a:cxn>
                <a:cxn ang="0">
                  <a:pos x="45" y="17"/>
                </a:cxn>
                <a:cxn ang="0">
                  <a:pos x="45" y="19"/>
                </a:cxn>
                <a:cxn ang="0">
                  <a:pos x="46" y="24"/>
                </a:cxn>
              </a:cxnLst>
              <a:rect l="0" t="0" r="r" b="b"/>
              <a:pathLst>
                <a:path w="51" h="39">
                  <a:moveTo>
                    <a:pt x="45" y="5"/>
                  </a:moveTo>
                  <a:cubicBezTo>
                    <a:pt x="42" y="3"/>
                    <a:pt x="40" y="2"/>
                    <a:pt x="37" y="2"/>
                  </a:cubicBezTo>
                  <a:cubicBezTo>
                    <a:pt x="34" y="2"/>
                    <a:pt x="32" y="3"/>
                    <a:pt x="31" y="4"/>
                  </a:cubicBezTo>
                  <a:cubicBezTo>
                    <a:pt x="29" y="1"/>
                    <a:pt x="26" y="0"/>
                    <a:pt x="23" y="0"/>
                  </a:cubicBezTo>
                  <a:cubicBezTo>
                    <a:pt x="19" y="0"/>
                    <a:pt x="16" y="3"/>
                    <a:pt x="14" y="4"/>
                  </a:cubicBezTo>
                  <a:cubicBezTo>
                    <a:pt x="11" y="4"/>
                    <a:pt x="8" y="5"/>
                    <a:pt x="6" y="7"/>
                  </a:cubicBezTo>
                  <a:cubicBezTo>
                    <a:pt x="3" y="10"/>
                    <a:pt x="3" y="15"/>
                    <a:pt x="3" y="17"/>
                  </a:cubicBezTo>
                  <a:cubicBezTo>
                    <a:pt x="2" y="18"/>
                    <a:pt x="0" y="21"/>
                    <a:pt x="1" y="24"/>
                  </a:cubicBezTo>
                  <a:cubicBezTo>
                    <a:pt x="1" y="26"/>
                    <a:pt x="2" y="28"/>
                    <a:pt x="5" y="29"/>
                  </a:cubicBezTo>
                  <a:cubicBezTo>
                    <a:pt x="5" y="32"/>
                    <a:pt x="8" y="38"/>
                    <a:pt x="14" y="38"/>
                  </a:cubicBezTo>
                  <a:cubicBezTo>
                    <a:pt x="16" y="38"/>
                    <a:pt x="18" y="37"/>
                    <a:pt x="20" y="36"/>
                  </a:cubicBezTo>
                  <a:cubicBezTo>
                    <a:pt x="21" y="37"/>
                    <a:pt x="24" y="39"/>
                    <a:pt x="27" y="39"/>
                  </a:cubicBezTo>
                  <a:cubicBezTo>
                    <a:pt x="29" y="39"/>
                    <a:pt x="31" y="38"/>
                    <a:pt x="33" y="37"/>
                  </a:cubicBezTo>
                  <a:cubicBezTo>
                    <a:pt x="34" y="37"/>
                    <a:pt x="35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2" y="37"/>
                    <a:pt x="45" y="34"/>
                    <a:pt x="46" y="30"/>
                  </a:cubicBezTo>
                  <a:cubicBezTo>
                    <a:pt x="47" y="29"/>
                    <a:pt x="49" y="27"/>
                    <a:pt x="50" y="25"/>
                  </a:cubicBezTo>
                  <a:cubicBezTo>
                    <a:pt x="51" y="23"/>
                    <a:pt x="50" y="20"/>
                    <a:pt x="48" y="18"/>
                  </a:cubicBezTo>
                  <a:cubicBezTo>
                    <a:pt x="50" y="14"/>
                    <a:pt x="50" y="9"/>
                    <a:pt x="45" y="5"/>
                  </a:cubicBezTo>
                  <a:close/>
                  <a:moveTo>
                    <a:pt x="46" y="24"/>
                  </a:moveTo>
                  <a:cubicBezTo>
                    <a:pt x="46" y="26"/>
                    <a:pt x="44" y="27"/>
                    <a:pt x="44" y="27"/>
                  </a:cubicBezTo>
                  <a:cubicBezTo>
                    <a:pt x="43" y="27"/>
                    <a:pt x="43" y="28"/>
                    <a:pt x="43" y="28"/>
                  </a:cubicBezTo>
                  <a:cubicBezTo>
                    <a:pt x="42" y="32"/>
                    <a:pt x="40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5" y="34"/>
                    <a:pt x="33" y="33"/>
                    <a:pt x="33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0" y="35"/>
                    <a:pt x="28" y="36"/>
                    <a:pt x="27" y="36"/>
                  </a:cubicBezTo>
                  <a:cubicBezTo>
                    <a:pt x="24" y="36"/>
                    <a:pt x="22" y="33"/>
                    <a:pt x="22" y="33"/>
                  </a:cubicBezTo>
                  <a:cubicBezTo>
                    <a:pt x="22" y="32"/>
                    <a:pt x="21" y="32"/>
                    <a:pt x="21" y="32"/>
                  </a:cubicBezTo>
                  <a:cubicBezTo>
                    <a:pt x="21" y="32"/>
                    <a:pt x="21" y="32"/>
                    <a:pt x="20" y="32"/>
                  </a:cubicBezTo>
                  <a:cubicBezTo>
                    <a:pt x="20" y="32"/>
                    <a:pt x="20" y="32"/>
                    <a:pt x="19" y="32"/>
                  </a:cubicBezTo>
                  <a:cubicBezTo>
                    <a:pt x="17" y="33"/>
                    <a:pt x="16" y="34"/>
                    <a:pt x="14" y="34"/>
                  </a:cubicBezTo>
                  <a:cubicBezTo>
                    <a:pt x="10" y="34"/>
                    <a:pt x="8" y="28"/>
                    <a:pt x="8" y="28"/>
                  </a:cubicBezTo>
                  <a:cubicBezTo>
                    <a:pt x="8" y="27"/>
                    <a:pt x="7" y="27"/>
                    <a:pt x="7" y="27"/>
                  </a:cubicBezTo>
                  <a:cubicBezTo>
                    <a:pt x="5" y="26"/>
                    <a:pt x="5" y="25"/>
                    <a:pt x="4" y="24"/>
                  </a:cubicBezTo>
                  <a:cubicBezTo>
                    <a:pt x="4" y="22"/>
                    <a:pt x="6" y="19"/>
                    <a:pt x="7" y="19"/>
                  </a:cubicBezTo>
                  <a:cubicBezTo>
                    <a:pt x="7" y="18"/>
                    <a:pt x="7" y="18"/>
                    <a:pt x="7" y="17"/>
                  </a:cubicBezTo>
                  <a:cubicBezTo>
                    <a:pt x="7" y="17"/>
                    <a:pt x="6" y="12"/>
                    <a:pt x="8" y="9"/>
                  </a:cubicBezTo>
                  <a:cubicBezTo>
                    <a:pt x="9" y="8"/>
                    <a:pt x="11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7" y="7"/>
                    <a:pt x="20" y="3"/>
                    <a:pt x="23" y="3"/>
                  </a:cubicBezTo>
                  <a:cubicBezTo>
                    <a:pt x="25" y="3"/>
                    <a:pt x="27" y="5"/>
                    <a:pt x="29" y="7"/>
                  </a:cubicBezTo>
                  <a:cubicBezTo>
                    <a:pt x="30" y="8"/>
                    <a:pt x="30" y="8"/>
                    <a:pt x="31" y="8"/>
                  </a:cubicBezTo>
                  <a:cubicBezTo>
                    <a:pt x="31" y="8"/>
                    <a:pt x="32" y="8"/>
                    <a:pt x="32" y="7"/>
                  </a:cubicBezTo>
                  <a:cubicBezTo>
                    <a:pt x="32" y="7"/>
                    <a:pt x="34" y="5"/>
                    <a:pt x="37" y="5"/>
                  </a:cubicBezTo>
                  <a:cubicBezTo>
                    <a:pt x="39" y="5"/>
                    <a:pt x="41" y="6"/>
                    <a:pt x="43" y="8"/>
                  </a:cubicBezTo>
                  <a:cubicBezTo>
                    <a:pt x="47" y="11"/>
                    <a:pt x="45" y="17"/>
                    <a:pt x="45" y="17"/>
                  </a:cubicBezTo>
                  <a:cubicBezTo>
                    <a:pt x="44" y="18"/>
                    <a:pt x="44" y="19"/>
                    <a:pt x="45" y="19"/>
                  </a:cubicBezTo>
                  <a:cubicBezTo>
                    <a:pt x="46" y="21"/>
                    <a:pt x="47" y="23"/>
                    <a:pt x="46" y="2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59" name="Freeform 11"/>
            <p:cNvSpPr>
              <a:spLocks noEditPoints="1"/>
            </p:cNvSpPr>
            <p:nvPr/>
          </p:nvSpPr>
          <p:spPr bwMode="auto">
            <a:xfrm>
              <a:off x="462" y="389"/>
              <a:ext cx="24" cy="24"/>
            </a:xfrm>
            <a:custGeom>
              <a:avLst/>
              <a:gdLst/>
              <a:ahLst/>
              <a:cxnLst>
                <a:cxn ang="0">
                  <a:pos x="5" y="10"/>
                </a:cxn>
                <a:cxn ang="0">
                  <a:pos x="10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10"/>
                </a:cxn>
                <a:cxn ang="0">
                  <a:pos x="5" y="4"/>
                </a:cxn>
                <a:cxn ang="0">
                  <a:pos x="6" y="5"/>
                </a:cxn>
                <a:cxn ang="0">
                  <a:pos x="5" y="7"/>
                </a:cxn>
                <a:cxn ang="0">
                  <a:pos x="4" y="5"/>
                </a:cxn>
                <a:cxn ang="0">
                  <a:pos x="5" y="4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8" y="10"/>
                    <a:pt x="10" y="8"/>
                    <a:pt x="10" y="5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  <a:moveTo>
                    <a:pt x="5" y="4"/>
                  </a:move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5"/>
                    <a:pt x="4" y="4"/>
                    <a:pt x="5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262" name="Group 14"/>
          <p:cNvGrpSpPr>
            <a:grpSpLocks noChangeAspect="1"/>
          </p:cNvGrpSpPr>
          <p:nvPr/>
        </p:nvGrpSpPr>
        <p:grpSpPr bwMode="auto">
          <a:xfrm>
            <a:off x="1473200" y="277813"/>
            <a:ext cx="784226" cy="784226"/>
            <a:chOff x="923" y="175"/>
            <a:chExt cx="494" cy="494"/>
          </a:xfrm>
        </p:grpSpPr>
        <p:sp>
          <p:nvSpPr>
            <p:cNvPr id="53263" name="Freeform 15"/>
            <p:cNvSpPr>
              <a:spLocks noEditPoints="1"/>
            </p:cNvSpPr>
            <p:nvPr/>
          </p:nvSpPr>
          <p:spPr bwMode="auto">
            <a:xfrm>
              <a:off x="923" y="175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64" name="Freeform 16"/>
            <p:cNvSpPr>
              <a:spLocks noEditPoints="1"/>
            </p:cNvSpPr>
            <p:nvPr/>
          </p:nvSpPr>
          <p:spPr bwMode="auto">
            <a:xfrm>
              <a:off x="1043" y="470"/>
              <a:ext cx="142" cy="72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7" y="0"/>
                </a:cxn>
                <a:cxn ang="0">
                  <a:pos x="29" y="2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0" y="28"/>
                </a:cxn>
                <a:cxn ang="0">
                  <a:pos x="2" y="30"/>
                </a:cxn>
                <a:cxn ang="0">
                  <a:pos x="57" y="30"/>
                </a:cxn>
                <a:cxn ang="0">
                  <a:pos x="59" y="28"/>
                </a:cxn>
                <a:cxn ang="0">
                  <a:pos x="38" y="0"/>
                </a:cxn>
                <a:cxn ang="0">
                  <a:pos x="4" y="26"/>
                </a:cxn>
                <a:cxn ang="0">
                  <a:pos x="21" y="4"/>
                </a:cxn>
                <a:cxn ang="0">
                  <a:pos x="29" y="6"/>
                </a:cxn>
                <a:cxn ang="0">
                  <a:pos x="38" y="4"/>
                </a:cxn>
                <a:cxn ang="0">
                  <a:pos x="55" y="26"/>
                </a:cxn>
                <a:cxn ang="0">
                  <a:pos x="4" y="26"/>
                </a:cxn>
              </a:cxnLst>
              <a:rect l="0" t="0" r="r" b="b"/>
              <a:pathLst>
                <a:path w="59" h="30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35" y="1"/>
                    <a:pt x="32" y="2"/>
                    <a:pt x="29" y="2"/>
                  </a:cubicBezTo>
                  <a:cubicBezTo>
                    <a:pt x="27" y="2"/>
                    <a:pt x="24" y="1"/>
                    <a:pt x="22" y="0"/>
                  </a:cubicBezTo>
                  <a:cubicBezTo>
                    <a:pt x="22" y="0"/>
                    <a:pt x="21" y="0"/>
                    <a:pt x="21" y="0"/>
                  </a:cubicBezTo>
                  <a:cubicBezTo>
                    <a:pt x="8" y="4"/>
                    <a:pt x="0" y="15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0"/>
                    <a:pt x="59" y="29"/>
                    <a:pt x="59" y="28"/>
                  </a:cubicBezTo>
                  <a:cubicBezTo>
                    <a:pt x="59" y="15"/>
                    <a:pt x="51" y="4"/>
                    <a:pt x="38" y="0"/>
                  </a:cubicBezTo>
                  <a:close/>
                  <a:moveTo>
                    <a:pt x="4" y="26"/>
                  </a:moveTo>
                  <a:cubicBezTo>
                    <a:pt x="4" y="16"/>
                    <a:pt x="11" y="7"/>
                    <a:pt x="21" y="4"/>
                  </a:cubicBezTo>
                  <a:cubicBezTo>
                    <a:pt x="23" y="5"/>
                    <a:pt x="26" y="6"/>
                    <a:pt x="29" y="6"/>
                  </a:cubicBezTo>
                  <a:cubicBezTo>
                    <a:pt x="32" y="6"/>
                    <a:pt x="35" y="5"/>
                    <a:pt x="38" y="4"/>
                  </a:cubicBezTo>
                  <a:cubicBezTo>
                    <a:pt x="48" y="7"/>
                    <a:pt x="54" y="16"/>
                    <a:pt x="55" y="26"/>
                  </a:cubicBezTo>
                  <a:lnTo>
                    <a:pt x="4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65" name="Freeform 17"/>
            <p:cNvSpPr>
              <a:spLocks noEditPoints="1"/>
            </p:cNvSpPr>
            <p:nvPr/>
          </p:nvSpPr>
          <p:spPr bwMode="auto">
            <a:xfrm>
              <a:off x="1070" y="384"/>
              <a:ext cx="86" cy="86"/>
            </a:xfrm>
            <a:custGeom>
              <a:avLst/>
              <a:gdLst/>
              <a:ahLst/>
              <a:cxnLst>
                <a:cxn ang="0">
                  <a:pos x="18" y="36"/>
                </a:cxn>
                <a:cxn ang="0">
                  <a:pos x="36" y="18"/>
                </a:cxn>
                <a:cxn ang="0">
                  <a:pos x="18" y="0"/>
                </a:cxn>
                <a:cxn ang="0">
                  <a:pos x="0" y="18"/>
                </a:cxn>
                <a:cxn ang="0">
                  <a:pos x="18" y="36"/>
                </a:cxn>
                <a:cxn ang="0">
                  <a:pos x="18" y="4"/>
                </a:cxn>
                <a:cxn ang="0">
                  <a:pos x="33" y="18"/>
                </a:cxn>
                <a:cxn ang="0">
                  <a:pos x="18" y="32"/>
                </a:cxn>
                <a:cxn ang="0">
                  <a:pos x="4" y="18"/>
                </a:cxn>
                <a:cxn ang="0">
                  <a:pos x="18" y="4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28" y="36"/>
                    <a:pt x="36" y="28"/>
                    <a:pt x="36" y="18"/>
                  </a:cubicBezTo>
                  <a:cubicBezTo>
                    <a:pt x="36" y="8"/>
                    <a:pt x="2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  <a:moveTo>
                    <a:pt x="18" y="4"/>
                  </a:moveTo>
                  <a:cubicBezTo>
                    <a:pt x="26" y="4"/>
                    <a:pt x="33" y="10"/>
                    <a:pt x="33" y="18"/>
                  </a:cubicBezTo>
                  <a:cubicBezTo>
                    <a:pt x="33" y="26"/>
                    <a:pt x="26" y="32"/>
                    <a:pt x="18" y="32"/>
                  </a:cubicBezTo>
                  <a:cubicBezTo>
                    <a:pt x="10" y="32"/>
                    <a:pt x="4" y="26"/>
                    <a:pt x="4" y="18"/>
                  </a:cubicBezTo>
                  <a:cubicBezTo>
                    <a:pt x="4" y="10"/>
                    <a:pt x="10" y="4"/>
                    <a:pt x="18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66" name="Freeform 18"/>
            <p:cNvSpPr>
              <a:spLocks noEditPoints="1"/>
            </p:cNvSpPr>
            <p:nvPr/>
          </p:nvSpPr>
          <p:spPr bwMode="auto">
            <a:xfrm>
              <a:off x="1175" y="370"/>
              <a:ext cx="31" cy="3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7" y="13"/>
                </a:cxn>
                <a:cxn ang="0">
                  <a:pos x="13" y="7"/>
                </a:cxn>
                <a:cxn ang="0">
                  <a:pos x="7" y="0"/>
                </a:cxn>
                <a:cxn ang="0">
                  <a:pos x="7" y="9"/>
                </a:cxn>
                <a:cxn ang="0">
                  <a:pos x="4" y="7"/>
                </a:cxn>
                <a:cxn ang="0">
                  <a:pos x="7" y="4"/>
                </a:cxn>
                <a:cxn ang="0">
                  <a:pos x="9" y="7"/>
                </a:cxn>
                <a:cxn ang="0">
                  <a:pos x="7" y="9"/>
                </a:cxn>
              </a:cxnLst>
              <a:rect l="0" t="0" r="r" b="b"/>
              <a:pathLst>
                <a:path w="13" h="13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7" y="13"/>
                  </a:cubicBezTo>
                  <a:cubicBezTo>
                    <a:pt x="10" y="13"/>
                    <a:pt x="13" y="10"/>
                    <a:pt x="13" y="7"/>
                  </a:cubicBezTo>
                  <a:cubicBezTo>
                    <a:pt x="13" y="3"/>
                    <a:pt x="10" y="0"/>
                    <a:pt x="7" y="0"/>
                  </a:cubicBezTo>
                  <a:close/>
                  <a:moveTo>
                    <a:pt x="7" y="9"/>
                  </a:moveTo>
                  <a:cubicBezTo>
                    <a:pt x="5" y="9"/>
                    <a:pt x="4" y="8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" y="4"/>
                    <a:pt x="9" y="5"/>
                    <a:pt x="9" y="7"/>
                  </a:cubicBezTo>
                  <a:cubicBezTo>
                    <a:pt x="9" y="8"/>
                    <a:pt x="8" y="9"/>
                    <a:pt x="7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67" name="Freeform 19"/>
            <p:cNvSpPr>
              <a:spLocks noEditPoints="1"/>
            </p:cNvSpPr>
            <p:nvPr/>
          </p:nvSpPr>
          <p:spPr bwMode="auto">
            <a:xfrm>
              <a:off x="1185" y="291"/>
              <a:ext cx="122" cy="93"/>
            </a:xfrm>
            <a:custGeom>
              <a:avLst/>
              <a:gdLst/>
              <a:ahLst/>
              <a:cxnLst>
                <a:cxn ang="0">
                  <a:pos x="45" y="5"/>
                </a:cxn>
                <a:cxn ang="0">
                  <a:pos x="37" y="2"/>
                </a:cxn>
                <a:cxn ang="0">
                  <a:pos x="31" y="4"/>
                </a:cxn>
                <a:cxn ang="0">
                  <a:pos x="23" y="0"/>
                </a:cxn>
                <a:cxn ang="0">
                  <a:pos x="14" y="4"/>
                </a:cxn>
                <a:cxn ang="0">
                  <a:pos x="6" y="7"/>
                </a:cxn>
                <a:cxn ang="0">
                  <a:pos x="3" y="17"/>
                </a:cxn>
                <a:cxn ang="0">
                  <a:pos x="1" y="24"/>
                </a:cxn>
                <a:cxn ang="0">
                  <a:pos x="5" y="29"/>
                </a:cxn>
                <a:cxn ang="0">
                  <a:pos x="14" y="38"/>
                </a:cxn>
                <a:cxn ang="0">
                  <a:pos x="20" y="36"/>
                </a:cxn>
                <a:cxn ang="0">
                  <a:pos x="27" y="39"/>
                </a:cxn>
                <a:cxn ang="0">
                  <a:pos x="33" y="37"/>
                </a:cxn>
                <a:cxn ang="0">
                  <a:pos x="37" y="37"/>
                </a:cxn>
                <a:cxn ang="0">
                  <a:pos x="37" y="37"/>
                </a:cxn>
                <a:cxn ang="0">
                  <a:pos x="46" y="30"/>
                </a:cxn>
                <a:cxn ang="0">
                  <a:pos x="50" y="25"/>
                </a:cxn>
                <a:cxn ang="0">
                  <a:pos x="48" y="18"/>
                </a:cxn>
                <a:cxn ang="0">
                  <a:pos x="45" y="5"/>
                </a:cxn>
                <a:cxn ang="0">
                  <a:pos x="46" y="24"/>
                </a:cxn>
                <a:cxn ang="0">
                  <a:pos x="44" y="27"/>
                </a:cxn>
                <a:cxn ang="0">
                  <a:pos x="43" y="28"/>
                </a:cxn>
                <a:cxn ang="0">
                  <a:pos x="37" y="34"/>
                </a:cxn>
                <a:cxn ang="0">
                  <a:pos x="37" y="34"/>
                </a:cxn>
                <a:cxn ang="0">
                  <a:pos x="33" y="33"/>
                </a:cxn>
                <a:cxn ang="0">
                  <a:pos x="32" y="33"/>
                </a:cxn>
                <a:cxn ang="0">
                  <a:pos x="27" y="36"/>
                </a:cxn>
                <a:cxn ang="0">
                  <a:pos x="22" y="33"/>
                </a:cxn>
                <a:cxn ang="0">
                  <a:pos x="21" y="32"/>
                </a:cxn>
                <a:cxn ang="0">
                  <a:pos x="20" y="32"/>
                </a:cxn>
                <a:cxn ang="0">
                  <a:pos x="19" y="32"/>
                </a:cxn>
                <a:cxn ang="0">
                  <a:pos x="14" y="34"/>
                </a:cxn>
                <a:cxn ang="0">
                  <a:pos x="8" y="28"/>
                </a:cxn>
                <a:cxn ang="0">
                  <a:pos x="7" y="27"/>
                </a:cxn>
                <a:cxn ang="0">
                  <a:pos x="4" y="24"/>
                </a:cxn>
                <a:cxn ang="0">
                  <a:pos x="7" y="19"/>
                </a:cxn>
                <a:cxn ang="0">
                  <a:pos x="7" y="17"/>
                </a:cxn>
                <a:cxn ang="0">
                  <a:pos x="8" y="9"/>
                </a:cxn>
                <a:cxn ang="0">
                  <a:pos x="13" y="8"/>
                </a:cxn>
                <a:cxn ang="0">
                  <a:pos x="15" y="8"/>
                </a:cxn>
                <a:cxn ang="0">
                  <a:pos x="17" y="7"/>
                </a:cxn>
                <a:cxn ang="0">
                  <a:pos x="23" y="3"/>
                </a:cxn>
                <a:cxn ang="0">
                  <a:pos x="29" y="7"/>
                </a:cxn>
                <a:cxn ang="0">
                  <a:pos x="31" y="8"/>
                </a:cxn>
                <a:cxn ang="0">
                  <a:pos x="32" y="7"/>
                </a:cxn>
                <a:cxn ang="0">
                  <a:pos x="37" y="5"/>
                </a:cxn>
                <a:cxn ang="0">
                  <a:pos x="43" y="8"/>
                </a:cxn>
                <a:cxn ang="0">
                  <a:pos x="45" y="17"/>
                </a:cxn>
                <a:cxn ang="0">
                  <a:pos x="45" y="19"/>
                </a:cxn>
                <a:cxn ang="0">
                  <a:pos x="46" y="24"/>
                </a:cxn>
              </a:cxnLst>
              <a:rect l="0" t="0" r="r" b="b"/>
              <a:pathLst>
                <a:path w="51" h="39">
                  <a:moveTo>
                    <a:pt x="45" y="5"/>
                  </a:moveTo>
                  <a:cubicBezTo>
                    <a:pt x="42" y="3"/>
                    <a:pt x="40" y="2"/>
                    <a:pt x="37" y="2"/>
                  </a:cubicBezTo>
                  <a:cubicBezTo>
                    <a:pt x="34" y="2"/>
                    <a:pt x="32" y="3"/>
                    <a:pt x="31" y="4"/>
                  </a:cubicBezTo>
                  <a:cubicBezTo>
                    <a:pt x="29" y="1"/>
                    <a:pt x="26" y="0"/>
                    <a:pt x="23" y="0"/>
                  </a:cubicBezTo>
                  <a:cubicBezTo>
                    <a:pt x="19" y="0"/>
                    <a:pt x="16" y="3"/>
                    <a:pt x="14" y="4"/>
                  </a:cubicBezTo>
                  <a:cubicBezTo>
                    <a:pt x="11" y="4"/>
                    <a:pt x="8" y="5"/>
                    <a:pt x="6" y="7"/>
                  </a:cubicBezTo>
                  <a:cubicBezTo>
                    <a:pt x="3" y="10"/>
                    <a:pt x="3" y="15"/>
                    <a:pt x="3" y="17"/>
                  </a:cubicBezTo>
                  <a:cubicBezTo>
                    <a:pt x="2" y="18"/>
                    <a:pt x="0" y="21"/>
                    <a:pt x="1" y="24"/>
                  </a:cubicBezTo>
                  <a:cubicBezTo>
                    <a:pt x="1" y="26"/>
                    <a:pt x="2" y="28"/>
                    <a:pt x="5" y="29"/>
                  </a:cubicBezTo>
                  <a:cubicBezTo>
                    <a:pt x="5" y="32"/>
                    <a:pt x="8" y="38"/>
                    <a:pt x="14" y="38"/>
                  </a:cubicBezTo>
                  <a:cubicBezTo>
                    <a:pt x="16" y="38"/>
                    <a:pt x="18" y="37"/>
                    <a:pt x="20" y="36"/>
                  </a:cubicBezTo>
                  <a:cubicBezTo>
                    <a:pt x="21" y="37"/>
                    <a:pt x="24" y="39"/>
                    <a:pt x="27" y="39"/>
                  </a:cubicBezTo>
                  <a:cubicBezTo>
                    <a:pt x="29" y="39"/>
                    <a:pt x="31" y="38"/>
                    <a:pt x="33" y="37"/>
                  </a:cubicBezTo>
                  <a:cubicBezTo>
                    <a:pt x="34" y="37"/>
                    <a:pt x="35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2" y="37"/>
                    <a:pt x="45" y="34"/>
                    <a:pt x="46" y="30"/>
                  </a:cubicBezTo>
                  <a:cubicBezTo>
                    <a:pt x="47" y="29"/>
                    <a:pt x="49" y="27"/>
                    <a:pt x="50" y="25"/>
                  </a:cubicBezTo>
                  <a:cubicBezTo>
                    <a:pt x="51" y="23"/>
                    <a:pt x="50" y="20"/>
                    <a:pt x="48" y="18"/>
                  </a:cubicBezTo>
                  <a:cubicBezTo>
                    <a:pt x="50" y="14"/>
                    <a:pt x="50" y="9"/>
                    <a:pt x="45" y="5"/>
                  </a:cubicBezTo>
                  <a:close/>
                  <a:moveTo>
                    <a:pt x="46" y="24"/>
                  </a:moveTo>
                  <a:cubicBezTo>
                    <a:pt x="46" y="26"/>
                    <a:pt x="44" y="27"/>
                    <a:pt x="44" y="27"/>
                  </a:cubicBezTo>
                  <a:cubicBezTo>
                    <a:pt x="43" y="27"/>
                    <a:pt x="43" y="28"/>
                    <a:pt x="43" y="28"/>
                  </a:cubicBezTo>
                  <a:cubicBezTo>
                    <a:pt x="42" y="32"/>
                    <a:pt x="40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5" y="34"/>
                    <a:pt x="33" y="33"/>
                    <a:pt x="33" y="33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0" y="35"/>
                    <a:pt x="28" y="36"/>
                    <a:pt x="27" y="36"/>
                  </a:cubicBezTo>
                  <a:cubicBezTo>
                    <a:pt x="24" y="36"/>
                    <a:pt x="22" y="33"/>
                    <a:pt x="22" y="33"/>
                  </a:cubicBezTo>
                  <a:cubicBezTo>
                    <a:pt x="22" y="32"/>
                    <a:pt x="21" y="32"/>
                    <a:pt x="21" y="32"/>
                  </a:cubicBezTo>
                  <a:cubicBezTo>
                    <a:pt x="21" y="32"/>
                    <a:pt x="21" y="32"/>
                    <a:pt x="20" y="32"/>
                  </a:cubicBezTo>
                  <a:cubicBezTo>
                    <a:pt x="20" y="32"/>
                    <a:pt x="20" y="32"/>
                    <a:pt x="19" y="32"/>
                  </a:cubicBezTo>
                  <a:cubicBezTo>
                    <a:pt x="17" y="33"/>
                    <a:pt x="16" y="34"/>
                    <a:pt x="14" y="34"/>
                  </a:cubicBezTo>
                  <a:cubicBezTo>
                    <a:pt x="10" y="34"/>
                    <a:pt x="8" y="28"/>
                    <a:pt x="8" y="28"/>
                  </a:cubicBezTo>
                  <a:cubicBezTo>
                    <a:pt x="8" y="27"/>
                    <a:pt x="7" y="27"/>
                    <a:pt x="7" y="27"/>
                  </a:cubicBezTo>
                  <a:cubicBezTo>
                    <a:pt x="5" y="26"/>
                    <a:pt x="5" y="25"/>
                    <a:pt x="4" y="24"/>
                  </a:cubicBezTo>
                  <a:cubicBezTo>
                    <a:pt x="4" y="22"/>
                    <a:pt x="6" y="19"/>
                    <a:pt x="7" y="19"/>
                  </a:cubicBezTo>
                  <a:cubicBezTo>
                    <a:pt x="7" y="18"/>
                    <a:pt x="7" y="18"/>
                    <a:pt x="7" y="17"/>
                  </a:cubicBezTo>
                  <a:cubicBezTo>
                    <a:pt x="7" y="17"/>
                    <a:pt x="6" y="12"/>
                    <a:pt x="8" y="9"/>
                  </a:cubicBezTo>
                  <a:cubicBezTo>
                    <a:pt x="9" y="8"/>
                    <a:pt x="11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7" y="7"/>
                    <a:pt x="20" y="3"/>
                    <a:pt x="23" y="3"/>
                  </a:cubicBezTo>
                  <a:cubicBezTo>
                    <a:pt x="25" y="3"/>
                    <a:pt x="27" y="5"/>
                    <a:pt x="29" y="7"/>
                  </a:cubicBezTo>
                  <a:cubicBezTo>
                    <a:pt x="30" y="8"/>
                    <a:pt x="30" y="8"/>
                    <a:pt x="31" y="8"/>
                  </a:cubicBezTo>
                  <a:cubicBezTo>
                    <a:pt x="31" y="8"/>
                    <a:pt x="32" y="8"/>
                    <a:pt x="32" y="7"/>
                  </a:cubicBezTo>
                  <a:cubicBezTo>
                    <a:pt x="32" y="7"/>
                    <a:pt x="34" y="5"/>
                    <a:pt x="37" y="5"/>
                  </a:cubicBezTo>
                  <a:cubicBezTo>
                    <a:pt x="39" y="5"/>
                    <a:pt x="41" y="6"/>
                    <a:pt x="43" y="8"/>
                  </a:cubicBezTo>
                  <a:cubicBezTo>
                    <a:pt x="47" y="11"/>
                    <a:pt x="45" y="17"/>
                    <a:pt x="45" y="17"/>
                  </a:cubicBezTo>
                  <a:cubicBezTo>
                    <a:pt x="44" y="18"/>
                    <a:pt x="44" y="19"/>
                    <a:pt x="45" y="19"/>
                  </a:cubicBezTo>
                  <a:cubicBezTo>
                    <a:pt x="46" y="21"/>
                    <a:pt x="47" y="23"/>
                    <a:pt x="46" y="2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68" name="Freeform 20"/>
            <p:cNvSpPr>
              <a:spLocks noEditPoints="1"/>
            </p:cNvSpPr>
            <p:nvPr/>
          </p:nvSpPr>
          <p:spPr bwMode="auto">
            <a:xfrm>
              <a:off x="1154" y="389"/>
              <a:ext cx="24" cy="24"/>
            </a:xfrm>
            <a:custGeom>
              <a:avLst/>
              <a:gdLst/>
              <a:ahLst/>
              <a:cxnLst>
                <a:cxn ang="0">
                  <a:pos x="5" y="10"/>
                </a:cxn>
                <a:cxn ang="0">
                  <a:pos x="10" y="5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5" y="10"/>
                </a:cxn>
                <a:cxn ang="0">
                  <a:pos x="5" y="4"/>
                </a:cxn>
                <a:cxn ang="0">
                  <a:pos x="6" y="5"/>
                </a:cxn>
                <a:cxn ang="0">
                  <a:pos x="5" y="7"/>
                </a:cxn>
                <a:cxn ang="0">
                  <a:pos x="4" y="5"/>
                </a:cxn>
                <a:cxn ang="0">
                  <a:pos x="5" y="4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8" y="10"/>
                    <a:pt x="10" y="8"/>
                    <a:pt x="10" y="5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  <a:moveTo>
                    <a:pt x="5" y="4"/>
                  </a:move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5"/>
                    <a:pt x="4" y="4"/>
                    <a:pt x="5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271" name="Group 23"/>
          <p:cNvGrpSpPr>
            <a:grpSpLocks noChangeAspect="1"/>
          </p:cNvGrpSpPr>
          <p:nvPr/>
        </p:nvGrpSpPr>
        <p:grpSpPr bwMode="auto">
          <a:xfrm>
            <a:off x="2541587" y="252413"/>
            <a:ext cx="838200" cy="836612"/>
            <a:chOff x="1598" y="159"/>
            <a:chExt cx="528" cy="527"/>
          </a:xfrm>
        </p:grpSpPr>
        <p:sp>
          <p:nvSpPr>
            <p:cNvPr id="53272" name="Oval 24"/>
            <p:cNvSpPr>
              <a:spLocks noChangeArrowheads="1"/>
            </p:cNvSpPr>
            <p:nvPr/>
          </p:nvSpPr>
          <p:spPr bwMode="auto">
            <a:xfrm>
              <a:off x="1598" y="159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73" name="Freeform 25"/>
            <p:cNvSpPr>
              <a:spLocks noEditPoints="1"/>
            </p:cNvSpPr>
            <p:nvPr/>
          </p:nvSpPr>
          <p:spPr bwMode="auto">
            <a:xfrm>
              <a:off x="1620" y="181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4" name="Freeform 26"/>
            <p:cNvSpPr>
              <a:spLocks noEditPoints="1"/>
            </p:cNvSpPr>
            <p:nvPr/>
          </p:nvSpPr>
          <p:spPr bwMode="auto">
            <a:xfrm>
              <a:off x="1781" y="312"/>
              <a:ext cx="165" cy="264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34"/>
                </a:cxn>
                <a:cxn ang="0">
                  <a:pos x="8" y="57"/>
                </a:cxn>
                <a:cxn ang="0">
                  <a:pos x="11" y="63"/>
                </a:cxn>
                <a:cxn ang="0">
                  <a:pos x="21" y="84"/>
                </a:cxn>
                <a:cxn ang="0">
                  <a:pos x="24" y="102"/>
                </a:cxn>
                <a:cxn ang="0">
                  <a:pos x="31" y="110"/>
                </a:cxn>
                <a:cxn ang="0">
                  <a:pos x="37" y="110"/>
                </a:cxn>
                <a:cxn ang="0">
                  <a:pos x="45" y="102"/>
                </a:cxn>
                <a:cxn ang="0">
                  <a:pos x="48" y="85"/>
                </a:cxn>
                <a:cxn ang="0">
                  <a:pos x="48" y="85"/>
                </a:cxn>
                <a:cxn ang="0">
                  <a:pos x="58" y="63"/>
                </a:cxn>
                <a:cxn ang="0">
                  <a:pos x="61" y="57"/>
                </a:cxn>
                <a:cxn ang="0">
                  <a:pos x="69" y="34"/>
                </a:cxn>
                <a:cxn ang="0">
                  <a:pos x="34" y="0"/>
                </a:cxn>
                <a:cxn ang="0">
                  <a:pos x="41" y="102"/>
                </a:cxn>
                <a:cxn ang="0">
                  <a:pos x="41" y="102"/>
                </a:cxn>
                <a:cxn ang="0">
                  <a:pos x="37" y="106"/>
                </a:cxn>
                <a:cxn ang="0">
                  <a:pos x="31" y="106"/>
                </a:cxn>
                <a:cxn ang="0">
                  <a:pos x="27" y="102"/>
                </a:cxn>
                <a:cxn ang="0">
                  <a:pos x="27" y="102"/>
                </a:cxn>
                <a:cxn ang="0">
                  <a:pos x="25" y="87"/>
                </a:cxn>
                <a:cxn ang="0">
                  <a:pos x="34" y="88"/>
                </a:cxn>
                <a:cxn ang="0">
                  <a:pos x="44" y="87"/>
                </a:cxn>
                <a:cxn ang="0">
                  <a:pos x="41" y="102"/>
                </a:cxn>
                <a:cxn ang="0">
                  <a:pos x="58" y="56"/>
                </a:cxn>
                <a:cxn ang="0">
                  <a:pos x="55" y="61"/>
                </a:cxn>
                <a:cxn ang="0">
                  <a:pos x="45" y="83"/>
                </a:cxn>
                <a:cxn ang="0">
                  <a:pos x="34" y="84"/>
                </a:cxn>
                <a:cxn ang="0">
                  <a:pos x="24" y="83"/>
                </a:cxn>
                <a:cxn ang="0">
                  <a:pos x="14" y="61"/>
                </a:cxn>
                <a:cxn ang="0">
                  <a:pos x="11" y="56"/>
                </a:cxn>
                <a:cxn ang="0">
                  <a:pos x="3" y="34"/>
                </a:cxn>
                <a:cxn ang="0">
                  <a:pos x="34" y="3"/>
                </a:cxn>
                <a:cxn ang="0">
                  <a:pos x="65" y="34"/>
                </a:cxn>
                <a:cxn ang="0">
                  <a:pos x="58" y="56"/>
                </a:cxn>
              </a:cxnLst>
              <a:rect l="0" t="0" r="r" b="b"/>
              <a:pathLst>
                <a:path w="69" h="110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44"/>
                    <a:pt x="4" y="51"/>
                    <a:pt x="8" y="57"/>
                  </a:cubicBezTo>
                  <a:cubicBezTo>
                    <a:pt x="9" y="59"/>
                    <a:pt x="10" y="61"/>
                    <a:pt x="11" y="63"/>
                  </a:cubicBezTo>
                  <a:cubicBezTo>
                    <a:pt x="14" y="70"/>
                    <a:pt x="19" y="80"/>
                    <a:pt x="21" y="84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6"/>
                    <a:pt x="27" y="110"/>
                    <a:pt x="31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41" y="110"/>
                    <a:pt x="45" y="106"/>
                    <a:pt x="45" y="102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9" y="83"/>
                    <a:pt x="55" y="69"/>
                    <a:pt x="58" y="63"/>
                  </a:cubicBezTo>
                  <a:cubicBezTo>
                    <a:pt x="59" y="61"/>
                    <a:pt x="60" y="59"/>
                    <a:pt x="61" y="57"/>
                  </a:cubicBezTo>
                  <a:cubicBezTo>
                    <a:pt x="65" y="51"/>
                    <a:pt x="69" y="44"/>
                    <a:pt x="69" y="34"/>
                  </a:cubicBezTo>
                  <a:cubicBezTo>
                    <a:pt x="69" y="15"/>
                    <a:pt x="53" y="0"/>
                    <a:pt x="34" y="0"/>
                  </a:cubicBezTo>
                  <a:close/>
                  <a:moveTo>
                    <a:pt x="41" y="102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04"/>
                    <a:pt x="39" y="106"/>
                    <a:pt x="37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29" y="106"/>
                    <a:pt x="27" y="104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7" y="87"/>
                    <a:pt x="30" y="88"/>
                    <a:pt x="34" y="88"/>
                  </a:cubicBezTo>
                  <a:cubicBezTo>
                    <a:pt x="39" y="88"/>
                    <a:pt x="42" y="87"/>
                    <a:pt x="44" y="87"/>
                  </a:cubicBezTo>
                  <a:lnTo>
                    <a:pt x="41" y="102"/>
                  </a:lnTo>
                  <a:close/>
                  <a:moveTo>
                    <a:pt x="58" y="56"/>
                  </a:moveTo>
                  <a:cubicBezTo>
                    <a:pt x="57" y="57"/>
                    <a:pt x="56" y="59"/>
                    <a:pt x="55" y="61"/>
                  </a:cubicBezTo>
                  <a:cubicBezTo>
                    <a:pt x="51" y="67"/>
                    <a:pt x="46" y="80"/>
                    <a:pt x="45" y="83"/>
                  </a:cubicBezTo>
                  <a:cubicBezTo>
                    <a:pt x="44" y="83"/>
                    <a:pt x="42" y="84"/>
                    <a:pt x="34" y="84"/>
                  </a:cubicBezTo>
                  <a:cubicBezTo>
                    <a:pt x="27" y="84"/>
                    <a:pt x="25" y="83"/>
                    <a:pt x="24" y="83"/>
                  </a:cubicBezTo>
                  <a:cubicBezTo>
                    <a:pt x="23" y="81"/>
                    <a:pt x="18" y="69"/>
                    <a:pt x="14" y="61"/>
                  </a:cubicBezTo>
                  <a:cubicBezTo>
                    <a:pt x="13" y="59"/>
                    <a:pt x="12" y="57"/>
                    <a:pt x="11" y="56"/>
                  </a:cubicBezTo>
                  <a:cubicBezTo>
                    <a:pt x="7" y="49"/>
                    <a:pt x="3" y="43"/>
                    <a:pt x="3" y="34"/>
                  </a:cubicBezTo>
                  <a:cubicBezTo>
                    <a:pt x="3" y="17"/>
                    <a:pt x="17" y="3"/>
                    <a:pt x="34" y="3"/>
                  </a:cubicBezTo>
                  <a:cubicBezTo>
                    <a:pt x="51" y="3"/>
                    <a:pt x="65" y="17"/>
                    <a:pt x="65" y="34"/>
                  </a:cubicBezTo>
                  <a:cubicBezTo>
                    <a:pt x="65" y="43"/>
                    <a:pt x="62" y="49"/>
                    <a:pt x="58" y="5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5" name="Freeform 27"/>
            <p:cNvSpPr>
              <a:spLocks/>
            </p:cNvSpPr>
            <p:nvPr/>
          </p:nvSpPr>
          <p:spPr bwMode="auto">
            <a:xfrm>
              <a:off x="1764" y="296"/>
              <a:ext cx="33" cy="33"/>
            </a:xfrm>
            <a:custGeom>
              <a:avLst/>
              <a:gdLst/>
              <a:ahLst/>
              <a:cxnLst>
                <a:cxn ang="0">
                  <a:pos x="33" y="26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26" y="33"/>
                </a:cxn>
                <a:cxn ang="0">
                  <a:pos x="33" y="26"/>
                </a:cxn>
              </a:cxnLst>
              <a:rect l="0" t="0" r="r" b="b"/>
              <a:pathLst>
                <a:path w="33" h="33">
                  <a:moveTo>
                    <a:pt x="33" y="26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26" y="33"/>
                  </a:lnTo>
                  <a:lnTo>
                    <a:pt x="33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6" name="Rectangle 28"/>
            <p:cNvSpPr>
              <a:spLocks noChangeArrowheads="1"/>
            </p:cNvSpPr>
            <p:nvPr/>
          </p:nvSpPr>
          <p:spPr bwMode="auto">
            <a:xfrm>
              <a:off x="1857" y="260"/>
              <a:ext cx="10" cy="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7" name="Rectangle 29"/>
            <p:cNvSpPr>
              <a:spLocks noChangeArrowheads="1"/>
            </p:cNvSpPr>
            <p:nvPr/>
          </p:nvSpPr>
          <p:spPr bwMode="auto">
            <a:xfrm>
              <a:off x="1728" y="389"/>
              <a:ext cx="38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8" name="Freeform 30"/>
            <p:cNvSpPr>
              <a:spLocks/>
            </p:cNvSpPr>
            <p:nvPr/>
          </p:nvSpPr>
          <p:spPr bwMode="auto">
            <a:xfrm>
              <a:off x="1929" y="296"/>
              <a:ext cx="31" cy="33"/>
            </a:xfrm>
            <a:custGeom>
              <a:avLst/>
              <a:gdLst/>
              <a:ahLst/>
              <a:cxnLst>
                <a:cxn ang="0">
                  <a:pos x="31" y="7"/>
                </a:cxn>
                <a:cxn ang="0">
                  <a:pos x="27" y="0"/>
                </a:cxn>
                <a:cxn ang="0">
                  <a:pos x="0" y="26"/>
                </a:cxn>
                <a:cxn ang="0">
                  <a:pos x="5" y="33"/>
                </a:cxn>
                <a:cxn ang="0">
                  <a:pos x="31" y="7"/>
                </a:cxn>
              </a:cxnLst>
              <a:rect l="0" t="0" r="r" b="b"/>
              <a:pathLst>
                <a:path w="31" h="33">
                  <a:moveTo>
                    <a:pt x="31" y="7"/>
                  </a:moveTo>
                  <a:lnTo>
                    <a:pt x="27" y="0"/>
                  </a:lnTo>
                  <a:lnTo>
                    <a:pt x="0" y="26"/>
                  </a:lnTo>
                  <a:lnTo>
                    <a:pt x="5" y="33"/>
                  </a:lnTo>
                  <a:lnTo>
                    <a:pt x="31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79" name="Freeform 31"/>
            <p:cNvSpPr>
              <a:spLocks/>
            </p:cNvSpPr>
            <p:nvPr/>
          </p:nvSpPr>
          <p:spPr bwMode="auto">
            <a:xfrm>
              <a:off x="1929" y="461"/>
              <a:ext cx="31" cy="31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7" y="31"/>
                </a:cxn>
                <a:cxn ang="0">
                  <a:pos x="31" y="26"/>
                </a:cxn>
                <a:cxn ang="0">
                  <a:pos x="5" y="0"/>
                </a:cxn>
                <a:cxn ang="0">
                  <a:pos x="0" y="5"/>
                </a:cxn>
              </a:cxnLst>
              <a:rect l="0" t="0" r="r" b="b"/>
              <a:pathLst>
                <a:path w="31" h="31">
                  <a:moveTo>
                    <a:pt x="0" y="5"/>
                  </a:moveTo>
                  <a:lnTo>
                    <a:pt x="27" y="31"/>
                  </a:lnTo>
                  <a:lnTo>
                    <a:pt x="31" y="26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80" name="Rectangle 32"/>
            <p:cNvSpPr>
              <a:spLocks noChangeArrowheads="1"/>
            </p:cNvSpPr>
            <p:nvPr/>
          </p:nvSpPr>
          <p:spPr bwMode="auto">
            <a:xfrm>
              <a:off x="1960" y="389"/>
              <a:ext cx="3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81" name="Freeform 33"/>
            <p:cNvSpPr>
              <a:spLocks/>
            </p:cNvSpPr>
            <p:nvPr/>
          </p:nvSpPr>
          <p:spPr bwMode="auto">
            <a:xfrm>
              <a:off x="1764" y="461"/>
              <a:ext cx="33" cy="31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7" y="31"/>
                </a:cxn>
                <a:cxn ang="0">
                  <a:pos x="33" y="5"/>
                </a:cxn>
                <a:cxn ang="0">
                  <a:pos x="26" y="0"/>
                </a:cxn>
                <a:cxn ang="0">
                  <a:pos x="0" y="26"/>
                </a:cxn>
              </a:cxnLst>
              <a:rect l="0" t="0" r="r" b="b"/>
              <a:pathLst>
                <a:path w="33" h="31">
                  <a:moveTo>
                    <a:pt x="0" y="26"/>
                  </a:moveTo>
                  <a:lnTo>
                    <a:pt x="7" y="31"/>
                  </a:lnTo>
                  <a:lnTo>
                    <a:pt x="33" y="5"/>
                  </a:lnTo>
                  <a:lnTo>
                    <a:pt x="2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82" name="Rectangle 34"/>
            <p:cNvSpPr>
              <a:spLocks noChangeArrowheads="1"/>
            </p:cNvSpPr>
            <p:nvPr/>
          </p:nvSpPr>
          <p:spPr bwMode="auto">
            <a:xfrm>
              <a:off x="1852" y="583"/>
              <a:ext cx="22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285" name="Group 37"/>
          <p:cNvGrpSpPr>
            <a:grpSpLocks noChangeAspect="1"/>
          </p:cNvGrpSpPr>
          <p:nvPr/>
        </p:nvGrpSpPr>
        <p:grpSpPr bwMode="auto">
          <a:xfrm>
            <a:off x="3670303" y="285750"/>
            <a:ext cx="768350" cy="768350"/>
            <a:chOff x="2311" y="180"/>
            <a:chExt cx="484" cy="484"/>
          </a:xfrm>
        </p:grpSpPr>
        <p:sp>
          <p:nvSpPr>
            <p:cNvPr id="53286" name="Freeform 38"/>
            <p:cNvSpPr>
              <a:spLocks noEditPoints="1"/>
            </p:cNvSpPr>
            <p:nvPr/>
          </p:nvSpPr>
          <p:spPr bwMode="auto">
            <a:xfrm>
              <a:off x="2311" y="18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87" name="Freeform 39"/>
            <p:cNvSpPr>
              <a:spLocks noEditPoints="1"/>
            </p:cNvSpPr>
            <p:nvPr/>
          </p:nvSpPr>
          <p:spPr bwMode="auto">
            <a:xfrm>
              <a:off x="2472" y="312"/>
              <a:ext cx="165" cy="264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34"/>
                </a:cxn>
                <a:cxn ang="0">
                  <a:pos x="8" y="57"/>
                </a:cxn>
                <a:cxn ang="0">
                  <a:pos x="11" y="63"/>
                </a:cxn>
                <a:cxn ang="0">
                  <a:pos x="21" y="84"/>
                </a:cxn>
                <a:cxn ang="0">
                  <a:pos x="24" y="102"/>
                </a:cxn>
                <a:cxn ang="0">
                  <a:pos x="31" y="110"/>
                </a:cxn>
                <a:cxn ang="0">
                  <a:pos x="37" y="110"/>
                </a:cxn>
                <a:cxn ang="0">
                  <a:pos x="45" y="102"/>
                </a:cxn>
                <a:cxn ang="0">
                  <a:pos x="48" y="85"/>
                </a:cxn>
                <a:cxn ang="0">
                  <a:pos x="48" y="85"/>
                </a:cxn>
                <a:cxn ang="0">
                  <a:pos x="58" y="63"/>
                </a:cxn>
                <a:cxn ang="0">
                  <a:pos x="61" y="57"/>
                </a:cxn>
                <a:cxn ang="0">
                  <a:pos x="69" y="34"/>
                </a:cxn>
                <a:cxn ang="0">
                  <a:pos x="34" y="0"/>
                </a:cxn>
                <a:cxn ang="0">
                  <a:pos x="41" y="102"/>
                </a:cxn>
                <a:cxn ang="0">
                  <a:pos x="41" y="102"/>
                </a:cxn>
                <a:cxn ang="0">
                  <a:pos x="37" y="106"/>
                </a:cxn>
                <a:cxn ang="0">
                  <a:pos x="31" y="106"/>
                </a:cxn>
                <a:cxn ang="0">
                  <a:pos x="27" y="102"/>
                </a:cxn>
                <a:cxn ang="0">
                  <a:pos x="27" y="102"/>
                </a:cxn>
                <a:cxn ang="0">
                  <a:pos x="25" y="87"/>
                </a:cxn>
                <a:cxn ang="0">
                  <a:pos x="34" y="88"/>
                </a:cxn>
                <a:cxn ang="0">
                  <a:pos x="44" y="87"/>
                </a:cxn>
                <a:cxn ang="0">
                  <a:pos x="41" y="102"/>
                </a:cxn>
                <a:cxn ang="0">
                  <a:pos x="58" y="56"/>
                </a:cxn>
                <a:cxn ang="0">
                  <a:pos x="55" y="61"/>
                </a:cxn>
                <a:cxn ang="0">
                  <a:pos x="45" y="83"/>
                </a:cxn>
                <a:cxn ang="0">
                  <a:pos x="34" y="84"/>
                </a:cxn>
                <a:cxn ang="0">
                  <a:pos x="24" y="83"/>
                </a:cxn>
                <a:cxn ang="0">
                  <a:pos x="14" y="61"/>
                </a:cxn>
                <a:cxn ang="0">
                  <a:pos x="11" y="56"/>
                </a:cxn>
                <a:cxn ang="0">
                  <a:pos x="3" y="34"/>
                </a:cxn>
                <a:cxn ang="0">
                  <a:pos x="34" y="3"/>
                </a:cxn>
                <a:cxn ang="0">
                  <a:pos x="65" y="34"/>
                </a:cxn>
                <a:cxn ang="0">
                  <a:pos x="58" y="56"/>
                </a:cxn>
              </a:cxnLst>
              <a:rect l="0" t="0" r="r" b="b"/>
              <a:pathLst>
                <a:path w="69" h="110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44"/>
                    <a:pt x="4" y="51"/>
                    <a:pt x="8" y="57"/>
                  </a:cubicBezTo>
                  <a:cubicBezTo>
                    <a:pt x="9" y="59"/>
                    <a:pt x="10" y="61"/>
                    <a:pt x="11" y="63"/>
                  </a:cubicBezTo>
                  <a:cubicBezTo>
                    <a:pt x="14" y="70"/>
                    <a:pt x="19" y="80"/>
                    <a:pt x="21" y="84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6"/>
                    <a:pt x="27" y="110"/>
                    <a:pt x="31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41" y="110"/>
                    <a:pt x="45" y="106"/>
                    <a:pt x="45" y="102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9" y="83"/>
                    <a:pt x="55" y="69"/>
                    <a:pt x="58" y="63"/>
                  </a:cubicBezTo>
                  <a:cubicBezTo>
                    <a:pt x="59" y="61"/>
                    <a:pt x="60" y="59"/>
                    <a:pt x="61" y="57"/>
                  </a:cubicBezTo>
                  <a:cubicBezTo>
                    <a:pt x="65" y="51"/>
                    <a:pt x="69" y="44"/>
                    <a:pt x="69" y="34"/>
                  </a:cubicBezTo>
                  <a:cubicBezTo>
                    <a:pt x="69" y="15"/>
                    <a:pt x="53" y="0"/>
                    <a:pt x="34" y="0"/>
                  </a:cubicBezTo>
                  <a:close/>
                  <a:moveTo>
                    <a:pt x="41" y="102"/>
                  </a:moveTo>
                  <a:cubicBezTo>
                    <a:pt x="41" y="102"/>
                    <a:pt x="41" y="102"/>
                    <a:pt x="41" y="102"/>
                  </a:cubicBezTo>
                  <a:cubicBezTo>
                    <a:pt x="41" y="104"/>
                    <a:pt x="39" y="106"/>
                    <a:pt x="37" y="106"/>
                  </a:cubicBezTo>
                  <a:cubicBezTo>
                    <a:pt x="31" y="106"/>
                    <a:pt x="31" y="106"/>
                    <a:pt x="31" y="106"/>
                  </a:cubicBezTo>
                  <a:cubicBezTo>
                    <a:pt x="29" y="106"/>
                    <a:pt x="27" y="104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7" y="87"/>
                    <a:pt x="30" y="88"/>
                    <a:pt x="34" y="88"/>
                  </a:cubicBezTo>
                  <a:cubicBezTo>
                    <a:pt x="39" y="88"/>
                    <a:pt x="42" y="87"/>
                    <a:pt x="44" y="87"/>
                  </a:cubicBezTo>
                  <a:lnTo>
                    <a:pt x="41" y="102"/>
                  </a:lnTo>
                  <a:close/>
                  <a:moveTo>
                    <a:pt x="58" y="56"/>
                  </a:moveTo>
                  <a:cubicBezTo>
                    <a:pt x="57" y="57"/>
                    <a:pt x="56" y="59"/>
                    <a:pt x="55" y="61"/>
                  </a:cubicBezTo>
                  <a:cubicBezTo>
                    <a:pt x="51" y="67"/>
                    <a:pt x="46" y="80"/>
                    <a:pt x="45" y="83"/>
                  </a:cubicBezTo>
                  <a:cubicBezTo>
                    <a:pt x="44" y="83"/>
                    <a:pt x="42" y="84"/>
                    <a:pt x="34" y="84"/>
                  </a:cubicBezTo>
                  <a:cubicBezTo>
                    <a:pt x="27" y="84"/>
                    <a:pt x="25" y="83"/>
                    <a:pt x="24" y="83"/>
                  </a:cubicBezTo>
                  <a:cubicBezTo>
                    <a:pt x="23" y="81"/>
                    <a:pt x="18" y="69"/>
                    <a:pt x="14" y="61"/>
                  </a:cubicBezTo>
                  <a:cubicBezTo>
                    <a:pt x="13" y="59"/>
                    <a:pt x="12" y="57"/>
                    <a:pt x="11" y="56"/>
                  </a:cubicBezTo>
                  <a:cubicBezTo>
                    <a:pt x="7" y="49"/>
                    <a:pt x="3" y="43"/>
                    <a:pt x="3" y="34"/>
                  </a:cubicBezTo>
                  <a:cubicBezTo>
                    <a:pt x="3" y="17"/>
                    <a:pt x="17" y="3"/>
                    <a:pt x="34" y="3"/>
                  </a:cubicBezTo>
                  <a:cubicBezTo>
                    <a:pt x="51" y="3"/>
                    <a:pt x="65" y="17"/>
                    <a:pt x="65" y="34"/>
                  </a:cubicBezTo>
                  <a:cubicBezTo>
                    <a:pt x="65" y="43"/>
                    <a:pt x="62" y="49"/>
                    <a:pt x="58" y="5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88" name="Freeform 40"/>
            <p:cNvSpPr>
              <a:spLocks/>
            </p:cNvSpPr>
            <p:nvPr/>
          </p:nvSpPr>
          <p:spPr bwMode="auto">
            <a:xfrm>
              <a:off x="2455" y="295"/>
              <a:ext cx="34" cy="34"/>
            </a:xfrm>
            <a:custGeom>
              <a:avLst/>
              <a:gdLst/>
              <a:ahLst/>
              <a:cxnLst>
                <a:cxn ang="0">
                  <a:pos x="34" y="27"/>
                </a:cxn>
                <a:cxn ang="0">
                  <a:pos x="7" y="0"/>
                </a:cxn>
                <a:cxn ang="0">
                  <a:pos x="0" y="8"/>
                </a:cxn>
                <a:cxn ang="0">
                  <a:pos x="26" y="34"/>
                </a:cxn>
                <a:cxn ang="0">
                  <a:pos x="34" y="27"/>
                </a:cxn>
              </a:cxnLst>
              <a:rect l="0" t="0" r="r" b="b"/>
              <a:pathLst>
                <a:path w="34" h="34">
                  <a:moveTo>
                    <a:pt x="34" y="27"/>
                  </a:moveTo>
                  <a:lnTo>
                    <a:pt x="7" y="0"/>
                  </a:lnTo>
                  <a:lnTo>
                    <a:pt x="0" y="8"/>
                  </a:lnTo>
                  <a:lnTo>
                    <a:pt x="26" y="34"/>
                  </a:lnTo>
                  <a:lnTo>
                    <a:pt x="34" y="2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89" name="Rectangle 41"/>
            <p:cNvSpPr>
              <a:spLocks noChangeArrowheads="1"/>
            </p:cNvSpPr>
            <p:nvPr/>
          </p:nvSpPr>
          <p:spPr bwMode="auto">
            <a:xfrm>
              <a:off x="2549" y="259"/>
              <a:ext cx="9" cy="3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0" name="Rectangle 42"/>
            <p:cNvSpPr>
              <a:spLocks noChangeArrowheads="1"/>
            </p:cNvSpPr>
            <p:nvPr/>
          </p:nvSpPr>
          <p:spPr bwMode="auto">
            <a:xfrm>
              <a:off x="2419" y="389"/>
              <a:ext cx="3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1" name="Freeform 43"/>
            <p:cNvSpPr>
              <a:spLocks/>
            </p:cNvSpPr>
            <p:nvPr/>
          </p:nvSpPr>
          <p:spPr bwMode="auto">
            <a:xfrm>
              <a:off x="2621" y="295"/>
              <a:ext cx="31" cy="34"/>
            </a:xfrm>
            <a:custGeom>
              <a:avLst/>
              <a:gdLst/>
              <a:ahLst/>
              <a:cxnLst>
                <a:cxn ang="0">
                  <a:pos x="31" y="8"/>
                </a:cxn>
                <a:cxn ang="0">
                  <a:pos x="26" y="0"/>
                </a:cxn>
                <a:cxn ang="0">
                  <a:pos x="0" y="27"/>
                </a:cxn>
                <a:cxn ang="0">
                  <a:pos x="4" y="34"/>
                </a:cxn>
                <a:cxn ang="0">
                  <a:pos x="31" y="8"/>
                </a:cxn>
              </a:cxnLst>
              <a:rect l="0" t="0" r="r" b="b"/>
              <a:pathLst>
                <a:path w="31" h="34">
                  <a:moveTo>
                    <a:pt x="31" y="8"/>
                  </a:moveTo>
                  <a:lnTo>
                    <a:pt x="26" y="0"/>
                  </a:lnTo>
                  <a:lnTo>
                    <a:pt x="0" y="27"/>
                  </a:lnTo>
                  <a:lnTo>
                    <a:pt x="4" y="34"/>
                  </a:lnTo>
                  <a:lnTo>
                    <a:pt x="31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2" name="Freeform 44"/>
            <p:cNvSpPr>
              <a:spLocks/>
            </p:cNvSpPr>
            <p:nvPr/>
          </p:nvSpPr>
          <p:spPr bwMode="auto">
            <a:xfrm>
              <a:off x="2621" y="461"/>
              <a:ext cx="31" cy="31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6" y="31"/>
                </a:cxn>
                <a:cxn ang="0">
                  <a:pos x="31" y="26"/>
                </a:cxn>
                <a:cxn ang="0">
                  <a:pos x="4" y="0"/>
                </a:cxn>
                <a:cxn ang="0">
                  <a:pos x="0" y="5"/>
                </a:cxn>
              </a:cxnLst>
              <a:rect l="0" t="0" r="r" b="b"/>
              <a:pathLst>
                <a:path w="31" h="31">
                  <a:moveTo>
                    <a:pt x="0" y="5"/>
                  </a:moveTo>
                  <a:lnTo>
                    <a:pt x="26" y="31"/>
                  </a:lnTo>
                  <a:lnTo>
                    <a:pt x="31" y="26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3" name="Rectangle 45"/>
            <p:cNvSpPr>
              <a:spLocks noChangeArrowheads="1"/>
            </p:cNvSpPr>
            <p:nvPr/>
          </p:nvSpPr>
          <p:spPr bwMode="auto">
            <a:xfrm>
              <a:off x="2652" y="389"/>
              <a:ext cx="36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4" name="Freeform 46"/>
            <p:cNvSpPr>
              <a:spLocks/>
            </p:cNvSpPr>
            <p:nvPr/>
          </p:nvSpPr>
          <p:spPr bwMode="auto">
            <a:xfrm>
              <a:off x="2455" y="461"/>
              <a:ext cx="34" cy="31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7" y="31"/>
                </a:cxn>
                <a:cxn ang="0">
                  <a:pos x="34" y="5"/>
                </a:cxn>
                <a:cxn ang="0">
                  <a:pos x="26" y="0"/>
                </a:cxn>
                <a:cxn ang="0">
                  <a:pos x="0" y="26"/>
                </a:cxn>
              </a:cxnLst>
              <a:rect l="0" t="0" r="r" b="b"/>
              <a:pathLst>
                <a:path w="34" h="31">
                  <a:moveTo>
                    <a:pt x="0" y="26"/>
                  </a:moveTo>
                  <a:lnTo>
                    <a:pt x="7" y="31"/>
                  </a:lnTo>
                  <a:lnTo>
                    <a:pt x="34" y="5"/>
                  </a:lnTo>
                  <a:lnTo>
                    <a:pt x="2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95" name="Rectangle 47"/>
            <p:cNvSpPr>
              <a:spLocks noChangeArrowheads="1"/>
            </p:cNvSpPr>
            <p:nvPr/>
          </p:nvSpPr>
          <p:spPr bwMode="auto">
            <a:xfrm>
              <a:off x="2544" y="583"/>
              <a:ext cx="21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298" name="Group 50"/>
          <p:cNvGrpSpPr>
            <a:grpSpLocks noChangeAspect="1"/>
          </p:cNvGrpSpPr>
          <p:nvPr/>
        </p:nvGrpSpPr>
        <p:grpSpPr bwMode="auto">
          <a:xfrm>
            <a:off x="4731544" y="252413"/>
            <a:ext cx="835025" cy="836612"/>
            <a:chOff x="2978" y="159"/>
            <a:chExt cx="526" cy="527"/>
          </a:xfrm>
        </p:grpSpPr>
        <p:sp>
          <p:nvSpPr>
            <p:cNvPr id="53299" name="Oval 51"/>
            <p:cNvSpPr>
              <a:spLocks noChangeArrowheads="1"/>
            </p:cNvSpPr>
            <p:nvPr/>
          </p:nvSpPr>
          <p:spPr bwMode="auto">
            <a:xfrm>
              <a:off x="2978" y="159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00" name="Freeform 52"/>
            <p:cNvSpPr>
              <a:spLocks noEditPoints="1"/>
            </p:cNvSpPr>
            <p:nvPr/>
          </p:nvSpPr>
          <p:spPr bwMode="auto">
            <a:xfrm>
              <a:off x="2999" y="179"/>
              <a:ext cx="486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3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8" y="101"/>
                </a:cxn>
                <a:cxn ang="0">
                  <a:pos x="169" y="169"/>
                </a:cxn>
              </a:cxnLst>
              <a:rect l="0" t="0" r="r" b="b"/>
              <a:pathLst>
                <a:path w="203" h="202">
                  <a:moveTo>
                    <a:pt x="101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1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2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1"/>
                    <a:pt x="33" y="33"/>
                  </a:cubicBezTo>
                  <a:cubicBezTo>
                    <a:pt x="52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8" y="51"/>
                    <a:pt x="198" y="76"/>
                    <a:pt x="198" y="101"/>
                  </a:cubicBezTo>
                  <a:cubicBezTo>
                    <a:pt x="198" y="127"/>
                    <a:pt x="188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01" name="Freeform 53"/>
            <p:cNvSpPr>
              <a:spLocks noEditPoints="1"/>
            </p:cNvSpPr>
            <p:nvPr/>
          </p:nvSpPr>
          <p:spPr bwMode="auto">
            <a:xfrm>
              <a:off x="3100" y="269"/>
              <a:ext cx="284" cy="307"/>
            </a:xfrm>
            <a:custGeom>
              <a:avLst/>
              <a:gdLst/>
              <a:ahLst/>
              <a:cxnLst>
                <a:cxn ang="0">
                  <a:pos x="69" y="56"/>
                </a:cxn>
                <a:cxn ang="0">
                  <a:pos x="96" y="23"/>
                </a:cxn>
                <a:cxn ang="0">
                  <a:pos x="101" y="21"/>
                </a:cxn>
                <a:cxn ang="0">
                  <a:pos x="102" y="20"/>
                </a:cxn>
                <a:cxn ang="0">
                  <a:pos x="103" y="19"/>
                </a:cxn>
                <a:cxn ang="0">
                  <a:pos x="108" y="5"/>
                </a:cxn>
                <a:cxn ang="0">
                  <a:pos x="99" y="2"/>
                </a:cxn>
                <a:cxn ang="0">
                  <a:pos x="61" y="48"/>
                </a:cxn>
                <a:cxn ang="0">
                  <a:pos x="21" y="0"/>
                </a:cxn>
                <a:cxn ang="0">
                  <a:pos x="18" y="6"/>
                </a:cxn>
                <a:cxn ang="0">
                  <a:pos x="17" y="17"/>
                </a:cxn>
                <a:cxn ang="0">
                  <a:pos x="6" y="12"/>
                </a:cxn>
                <a:cxn ang="0">
                  <a:pos x="23" y="31"/>
                </a:cxn>
                <a:cxn ang="0">
                  <a:pos x="46" y="64"/>
                </a:cxn>
                <a:cxn ang="0">
                  <a:pos x="37" y="67"/>
                </a:cxn>
                <a:cxn ang="0">
                  <a:pos x="36" y="72"/>
                </a:cxn>
                <a:cxn ang="0">
                  <a:pos x="33" y="79"/>
                </a:cxn>
                <a:cxn ang="0">
                  <a:pos x="28" y="76"/>
                </a:cxn>
                <a:cxn ang="0">
                  <a:pos x="1" y="114"/>
                </a:cxn>
                <a:cxn ang="0">
                  <a:pos x="17" y="128"/>
                </a:cxn>
                <a:cxn ang="0">
                  <a:pos x="48" y="93"/>
                </a:cxn>
                <a:cxn ang="0">
                  <a:pos x="46" y="85"/>
                </a:cxn>
                <a:cxn ang="0">
                  <a:pos x="49" y="84"/>
                </a:cxn>
                <a:cxn ang="0">
                  <a:pos x="55" y="85"/>
                </a:cxn>
                <a:cxn ang="0">
                  <a:pos x="60" y="77"/>
                </a:cxn>
                <a:cxn ang="0">
                  <a:pos x="57" y="70"/>
                </a:cxn>
                <a:cxn ang="0">
                  <a:pos x="103" y="123"/>
                </a:cxn>
                <a:cxn ang="0">
                  <a:pos x="107" y="117"/>
                </a:cxn>
                <a:cxn ang="0">
                  <a:pos x="107" y="106"/>
                </a:cxn>
                <a:cxn ang="0">
                  <a:pos x="118" y="110"/>
                </a:cxn>
                <a:cxn ang="0">
                  <a:pos x="24" y="27"/>
                </a:cxn>
                <a:cxn ang="0">
                  <a:pos x="9" y="13"/>
                </a:cxn>
                <a:cxn ang="0">
                  <a:pos x="27" y="11"/>
                </a:cxn>
                <a:cxn ang="0">
                  <a:pos x="30" y="8"/>
                </a:cxn>
                <a:cxn ang="0">
                  <a:pos x="53" y="59"/>
                </a:cxn>
                <a:cxn ang="0">
                  <a:pos x="56" y="78"/>
                </a:cxn>
                <a:cxn ang="0">
                  <a:pos x="49" y="80"/>
                </a:cxn>
                <a:cxn ang="0">
                  <a:pos x="42" y="89"/>
                </a:cxn>
                <a:cxn ang="0">
                  <a:pos x="17" y="124"/>
                </a:cxn>
                <a:cxn ang="0">
                  <a:pos x="4" y="114"/>
                </a:cxn>
                <a:cxn ang="0">
                  <a:pos x="33" y="82"/>
                </a:cxn>
                <a:cxn ang="0">
                  <a:pos x="41" y="74"/>
                </a:cxn>
                <a:cxn ang="0">
                  <a:pos x="42" y="67"/>
                </a:cxn>
                <a:cxn ang="0">
                  <a:pos x="48" y="70"/>
                </a:cxn>
                <a:cxn ang="0">
                  <a:pos x="55" y="62"/>
                </a:cxn>
                <a:cxn ang="0">
                  <a:pos x="64" y="51"/>
                </a:cxn>
                <a:cxn ang="0">
                  <a:pos x="91" y="16"/>
                </a:cxn>
                <a:cxn ang="0">
                  <a:pos x="105" y="8"/>
                </a:cxn>
                <a:cxn ang="0">
                  <a:pos x="99" y="19"/>
                </a:cxn>
                <a:cxn ang="0">
                  <a:pos x="95" y="20"/>
                </a:cxn>
                <a:cxn ang="0">
                  <a:pos x="66" y="54"/>
                </a:cxn>
                <a:cxn ang="0">
                  <a:pos x="51" y="72"/>
                </a:cxn>
                <a:cxn ang="0">
                  <a:pos x="108" y="102"/>
                </a:cxn>
                <a:cxn ang="0">
                  <a:pos x="104" y="119"/>
                </a:cxn>
                <a:cxn ang="0">
                  <a:pos x="92" y="103"/>
                </a:cxn>
                <a:cxn ang="0">
                  <a:pos x="99" y="96"/>
                </a:cxn>
                <a:cxn ang="0">
                  <a:pos x="115" y="109"/>
                </a:cxn>
              </a:cxnLst>
              <a:rect l="0" t="0" r="r" b="b"/>
              <a:pathLst>
                <a:path w="119" h="128">
                  <a:moveTo>
                    <a:pt x="103" y="92"/>
                  </a:moveTo>
                  <a:cubicBezTo>
                    <a:pt x="102" y="92"/>
                    <a:pt x="101" y="92"/>
                    <a:pt x="100" y="92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8" y="23"/>
                    <a:pt x="100" y="22"/>
                    <a:pt x="101" y="21"/>
                  </a:cubicBezTo>
                  <a:cubicBezTo>
                    <a:pt x="101" y="21"/>
                    <a:pt x="101" y="21"/>
                    <a:pt x="101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3" y="20"/>
                    <a:pt x="103" y="19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89" y="11"/>
                    <a:pt x="88" y="13"/>
                    <a:pt x="88" y="16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8" y="15"/>
                    <a:pt x="37" y="10"/>
                    <a:pt x="33" y="5"/>
                  </a:cubicBezTo>
                  <a:cubicBezTo>
                    <a:pt x="30" y="2"/>
                    <a:pt x="26" y="0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7"/>
                    <a:pt x="6" y="22"/>
                    <a:pt x="9" y="26"/>
                  </a:cubicBezTo>
                  <a:cubicBezTo>
                    <a:pt x="12" y="30"/>
                    <a:pt x="16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5" y="63"/>
                    <a:pt x="44" y="62"/>
                    <a:pt x="43" y="62"/>
                  </a:cubicBezTo>
                  <a:cubicBezTo>
                    <a:pt x="42" y="62"/>
                    <a:pt x="40" y="63"/>
                    <a:pt x="39" y="64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6" y="68"/>
                    <a:pt x="35" y="69"/>
                    <a:pt x="35" y="70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7" y="73"/>
                    <a:pt x="37" y="74"/>
                    <a:pt x="37" y="74"/>
                  </a:cubicBezTo>
                  <a:cubicBezTo>
                    <a:pt x="37" y="76"/>
                    <a:pt x="36" y="78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2" y="79"/>
                    <a:pt x="31" y="78"/>
                    <a:pt x="31" y="78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10"/>
                    <a:pt x="0" y="112"/>
                    <a:pt x="1" y="114"/>
                  </a:cubicBezTo>
                  <a:cubicBezTo>
                    <a:pt x="1" y="116"/>
                    <a:pt x="2" y="118"/>
                    <a:pt x="3" y="119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3" y="127"/>
                    <a:pt x="15" y="128"/>
                    <a:pt x="17" y="128"/>
                  </a:cubicBezTo>
                  <a:cubicBezTo>
                    <a:pt x="19" y="128"/>
                    <a:pt x="21" y="127"/>
                    <a:pt x="23" y="12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89"/>
                    <a:pt x="45" y="88"/>
                  </a:cubicBezTo>
                  <a:cubicBezTo>
                    <a:pt x="45" y="87"/>
                    <a:pt x="46" y="86"/>
                    <a:pt x="46" y="85"/>
                  </a:cubicBezTo>
                  <a:cubicBezTo>
                    <a:pt x="47" y="85"/>
                    <a:pt x="48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0" y="84"/>
                    <a:pt x="51" y="84"/>
                    <a:pt x="51" y="85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6" y="84"/>
                    <a:pt x="56" y="84"/>
                    <a:pt x="57" y="83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60" y="80"/>
                    <a:pt x="60" y="78"/>
                    <a:pt x="60" y="77"/>
                  </a:cubicBezTo>
                  <a:cubicBezTo>
                    <a:pt x="60" y="76"/>
                    <a:pt x="59" y="75"/>
                    <a:pt x="58" y="74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86" y="109"/>
                    <a:pt x="88" y="114"/>
                    <a:pt x="91" y="118"/>
                  </a:cubicBezTo>
                  <a:cubicBezTo>
                    <a:pt x="94" y="121"/>
                    <a:pt x="99" y="123"/>
                    <a:pt x="103" y="123"/>
                  </a:cubicBezTo>
                  <a:cubicBezTo>
                    <a:pt x="103" y="123"/>
                    <a:pt x="104" y="123"/>
                    <a:pt x="105" y="123"/>
                  </a:cubicBezTo>
                  <a:cubicBezTo>
                    <a:pt x="112" y="122"/>
                    <a:pt x="112" y="122"/>
                    <a:pt x="112" y="122"/>
                  </a:cubicBezTo>
                  <a:cubicBezTo>
                    <a:pt x="107" y="117"/>
                    <a:pt x="107" y="117"/>
                    <a:pt x="107" y="117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07" y="106"/>
                    <a:pt x="107" y="106"/>
                    <a:pt x="107" y="106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8" y="110"/>
                    <a:pt x="118" y="110"/>
                    <a:pt x="118" y="110"/>
                  </a:cubicBezTo>
                  <a:cubicBezTo>
                    <a:pt x="119" y="105"/>
                    <a:pt x="118" y="100"/>
                    <a:pt x="114" y="97"/>
                  </a:cubicBezTo>
                  <a:cubicBezTo>
                    <a:pt x="111" y="93"/>
                    <a:pt x="107" y="92"/>
                    <a:pt x="103" y="92"/>
                  </a:cubicBezTo>
                  <a:close/>
                  <a:moveTo>
                    <a:pt x="24" y="27"/>
                  </a:moveTo>
                  <a:cubicBezTo>
                    <a:pt x="23" y="28"/>
                    <a:pt x="22" y="28"/>
                    <a:pt x="21" y="28"/>
                  </a:cubicBezTo>
                  <a:cubicBezTo>
                    <a:pt x="18" y="28"/>
                    <a:pt x="14" y="26"/>
                    <a:pt x="12" y="24"/>
                  </a:cubicBezTo>
                  <a:cubicBezTo>
                    <a:pt x="9" y="21"/>
                    <a:pt x="8" y="17"/>
                    <a:pt x="9" y="13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4" y="4"/>
                    <a:pt x="28" y="5"/>
                    <a:pt x="30" y="8"/>
                  </a:cubicBezTo>
                  <a:cubicBezTo>
                    <a:pt x="33" y="12"/>
                    <a:pt x="34" y="17"/>
                    <a:pt x="32" y="2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3" y="59"/>
                    <a:pt x="53" y="59"/>
                    <a:pt x="53" y="59"/>
                  </a:cubicBezTo>
                  <a:lnTo>
                    <a:pt x="24" y="27"/>
                  </a:lnTo>
                  <a:close/>
                  <a:moveTo>
                    <a:pt x="56" y="77"/>
                  </a:moveTo>
                  <a:cubicBezTo>
                    <a:pt x="56" y="77"/>
                    <a:pt x="56" y="78"/>
                    <a:pt x="56" y="78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3" y="81"/>
                    <a:pt x="53" y="81"/>
                  </a:cubicBezTo>
                  <a:cubicBezTo>
                    <a:pt x="52" y="81"/>
                    <a:pt x="51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4" y="81"/>
                    <a:pt x="41" y="85"/>
                    <a:pt x="42" y="89"/>
                  </a:cubicBezTo>
                  <a:cubicBezTo>
                    <a:pt x="42" y="90"/>
                    <a:pt x="43" y="92"/>
                    <a:pt x="44" y="93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9" y="124"/>
                    <a:pt x="18" y="124"/>
                    <a:pt x="17" y="124"/>
                  </a:cubicBezTo>
                  <a:cubicBezTo>
                    <a:pt x="16" y="124"/>
                    <a:pt x="15" y="124"/>
                    <a:pt x="14" y="123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5" y="116"/>
                    <a:pt x="4" y="115"/>
                    <a:pt x="4" y="114"/>
                  </a:cubicBezTo>
                  <a:cubicBezTo>
                    <a:pt x="4" y="113"/>
                    <a:pt x="4" y="112"/>
                    <a:pt x="5" y="11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82"/>
                    <a:pt x="31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8" y="82"/>
                    <a:pt x="41" y="78"/>
                    <a:pt x="41" y="74"/>
                  </a:cubicBezTo>
                  <a:cubicBezTo>
                    <a:pt x="40" y="73"/>
                    <a:pt x="40" y="71"/>
                    <a:pt x="39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6"/>
                    <a:pt x="42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5"/>
                    <a:pt x="92" y="13"/>
                    <a:pt x="94" y="11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8" y="19"/>
                    <a:pt x="97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5" y="20"/>
                    <a:pt x="9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51" y="72"/>
                    <a:pt x="51" y="72"/>
                    <a:pt x="51" y="72"/>
                  </a:cubicBezTo>
                  <a:lnTo>
                    <a:pt x="56" y="77"/>
                  </a:lnTo>
                  <a:close/>
                  <a:moveTo>
                    <a:pt x="115" y="109"/>
                  </a:moveTo>
                  <a:cubicBezTo>
                    <a:pt x="108" y="102"/>
                    <a:pt x="108" y="102"/>
                    <a:pt x="108" y="102"/>
                  </a:cubicBezTo>
                  <a:cubicBezTo>
                    <a:pt x="100" y="104"/>
                    <a:pt x="100" y="104"/>
                    <a:pt x="100" y="104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104" y="119"/>
                    <a:pt x="103" y="119"/>
                    <a:pt x="103" y="119"/>
                  </a:cubicBezTo>
                  <a:cubicBezTo>
                    <a:pt x="100" y="119"/>
                    <a:pt x="96" y="118"/>
                    <a:pt x="94" y="116"/>
                  </a:cubicBezTo>
                  <a:cubicBezTo>
                    <a:pt x="91" y="112"/>
                    <a:pt x="90" y="107"/>
                    <a:pt x="92" y="103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0" y="95"/>
                    <a:pt x="102" y="95"/>
                    <a:pt x="103" y="95"/>
                  </a:cubicBezTo>
                  <a:cubicBezTo>
                    <a:pt x="106" y="95"/>
                    <a:pt x="109" y="96"/>
                    <a:pt x="112" y="99"/>
                  </a:cubicBezTo>
                  <a:cubicBezTo>
                    <a:pt x="114" y="102"/>
                    <a:pt x="115" y="106"/>
                    <a:pt x="115" y="10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304" name="Group 56"/>
          <p:cNvGrpSpPr>
            <a:grpSpLocks noChangeAspect="1"/>
          </p:cNvGrpSpPr>
          <p:nvPr/>
        </p:nvGrpSpPr>
        <p:grpSpPr bwMode="auto">
          <a:xfrm>
            <a:off x="5860256" y="285750"/>
            <a:ext cx="768350" cy="768350"/>
            <a:chOff x="3688" y="180"/>
            <a:chExt cx="484" cy="484"/>
          </a:xfrm>
        </p:grpSpPr>
        <p:sp>
          <p:nvSpPr>
            <p:cNvPr id="53305" name="Freeform 57"/>
            <p:cNvSpPr>
              <a:spLocks noEditPoints="1"/>
            </p:cNvSpPr>
            <p:nvPr/>
          </p:nvSpPr>
          <p:spPr bwMode="auto">
            <a:xfrm>
              <a:off x="3688" y="18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06" name="Freeform 58"/>
            <p:cNvSpPr>
              <a:spLocks noEditPoints="1"/>
            </p:cNvSpPr>
            <p:nvPr/>
          </p:nvSpPr>
          <p:spPr bwMode="auto">
            <a:xfrm>
              <a:off x="3789" y="271"/>
              <a:ext cx="284" cy="305"/>
            </a:xfrm>
            <a:custGeom>
              <a:avLst/>
              <a:gdLst/>
              <a:ahLst/>
              <a:cxnLst>
                <a:cxn ang="0">
                  <a:pos x="68" y="56"/>
                </a:cxn>
                <a:cxn ang="0">
                  <a:pos x="96" y="23"/>
                </a:cxn>
                <a:cxn ang="0">
                  <a:pos x="101" y="21"/>
                </a:cxn>
                <a:cxn ang="0">
                  <a:pos x="102" y="20"/>
                </a:cxn>
                <a:cxn ang="0">
                  <a:pos x="102" y="19"/>
                </a:cxn>
                <a:cxn ang="0">
                  <a:pos x="107" y="5"/>
                </a:cxn>
                <a:cxn ang="0">
                  <a:pos x="99" y="2"/>
                </a:cxn>
                <a:cxn ang="0">
                  <a:pos x="61" y="48"/>
                </a:cxn>
                <a:cxn ang="0">
                  <a:pos x="21" y="0"/>
                </a:cxn>
                <a:cxn ang="0">
                  <a:pos x="17" y="6"/>
                </a:cxn>
                <a:cxn ang="0">
                  <a:pos x="16" y="16"/>
                </a:cxn>
                <a:cxn ang="0">
                  <a:pos x="5" y="12"/>
                </a:cxn>
                <a:cxn ang="0">
                  <a:pos x="23" y="31"/>
                </a:cxn>
                <a:cxn ang="0">
                  <a:pos x="45" y="63"/>
                </a:cxn>
                <a:cxn ang="0">
                  <a:pos x="36" y="67"/>
                </a:cxn>
                <a:cxn ang="0">
                  <a:pos x="36" y="72"/>
                </a:cxn>
                <a:cxn ang="0">
                  <a:pos x="33" y="78"/>
                </a:cxn>
                <a:cxn ang="0">
                  <a:pos x="28" y="76"/>
                </a:cxn>
                <a:cxn ang="0">
                  <a:pos x="0" y="114"/>
                </a:cxn>
                <a:cxn ang="0">
                  <a:pos x="16" y="127"/>
                </a:cxn>
                <a:cxn ang="0">
                  <a:pos x="48" y="92"/>
                </a:cxn>
                <a:cxn ang="0">
                  <a:pos x="46" y="85"/>
                </a:cxn>
                <a:cxn ang="0">
                  <a:pos x="49" y="84"/>
                </a:cxn>
                <a:cxn ang="0">
                  <a:pos x="54" y="84"/>
                </a:cxn>
                <a:cxn ang="0">
                  <a:pos x="59" y="77"/>
                </a:cxn>
                <a:cxn ang="0">
                  <a:pos x="57" y="70"/>
                </a:cxn>
                <a:cxn ang="0">
                  <a:pos x="102" y="123"/>
                </a:cxn>
                <a:cxn ang="0">
                  <a:pos x="106" y="117"/>
                </a:cxn>
                <a:cxn ang="0">
                  <a:pos x="106" y="106"/>
                </a:cxn>
                <a:cxn ang="0">
                  <a:pos x="118" y="110"/>
                </a:cxn>
                <a:cxn ang="0">
                  <a:pos x="24" y="27"/>
                </a:cxn>
                <a:cxn ang="0">
                  <a:pos x="9" y="13"/>
                </a:cxn>
                <a:cxn ang="0">
                  <a:pos x="26" y="11"/>
                </a:cxn>
                <a:cxn ang="0">
                  <a:pos x="30" y="8"/>
                </a:cxn>
                <a:cxn ang="0">
                  <a:pos x="52" y="59"/>
                </a:cxn>
                <a:cxn ang="0">
                  <a:pos x="56" y="78"/>
                </a:cxn>
                <a:cxn ang="0">
                  <a:pos x="49" y="80"/>
                </a:cxn>
                <a:cxn ang="0">
                  <a:pos x="41" y="88"/>
                </a:cxn>
                <a:cxn ang="0">
                  <a:pos x="16" y="124"/>
                </a:cxn>
                <a:cxn ang="0">
                  <a:pos x="4" y="113"/>
                </a:cxn>
                <a:cxn ang="0">
                  <a:pos x="33" y="82"/>
                </a:cxn>
                <a:cxn ang="0">
                  <a:pos x="40" y="74"/>
                </a:cxn>
                <a:cxn ang="0">
                  <a:pos x="41" y="66"/>
                </a:cxn>
                <a:cxn ang="0">
                  <a:pos x="48" y="70"/>
                </a:cxn>
                <a:cxn ang="0">
                  <a:pos x="55" y="61"/>
                </a:cxn>
                <a:cxn ang="0">
                  <a:pos x="63" y="51"/>
                </a:cxn>
                <a:cxn ang="0">
                  <a:pos x="91" y="16"/>
                </a:cxn>
                <a:cxn ang="0">
                  <a:pos x="105" y="8"/>
                </a:cxn>
                <a:cxn ang="0">
                  <a:pos x="98" y="18"/>
                </a:cxn>
                <a:cxn ang="0">
                  <a:pos x="95" y="20"/>
                </a:cxn>
                <a:cxn ang="0">
                  <a:pos x="66" y="53"/>
                </a:cxn>
                <a:cxn ang="0">
                  <a:pos x="50" y="72"/>
                </a:cxn>
                <a:cxn ang="0">
                  <a:pos x="107" y="102"/>
                </a:cxn>
                <a:cxn ang="0">
                  <a:pos x="104" y="119"/>
                </a:cxn>
                <a:cxn ang="0">
                  <a:pos x="91" y="102"/>
                </a:cxn>
                <a:cxn ang="0">
                  <a:pos x="99" y="95"/>
                </a:cxn>
                <a:cxn ang="0">
                  <a:pos x="114" y="109"/>
                </a:cxn>
              </a:cxnLst>
              <a:rect l="0" t="0" r="r" b="b"/>
              <a:pathLst>
                <a:path w="119" h="127">
                  <a:moveTo>
                    <a:pt x="102" y="91"/>
                  </a:moveTo>
                  <a:cubicBezTo>
                    <a:pt x="102" y="91"/>
                    <a:pt x="101" y="91"/>
                    <a:pt x="100" y="91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8" y="23"/>
                    <a:pt x="100" y="22"/>
                    <a:pt x="101" y="21"/>
                  </a:cubicBezTo>
                  <a:cubicBezTo>
                    <a:pt x="101" y="21"/>
                    <a:pt x="101" y="21"/>
                    <a:pt x="101" y="21"/>
                  </a:cubicBezTo>
                  <a:cubicBezTo>
                    <a:pt x="101" y="21"/>
                    <a:pt x="101" y="21"/>
                    <a:pt x="101" y="21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2" y="19"/>
                    <a:pt x="102" y="19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88" y="11"/>
                    <a:pt x="87" y="13"/>
                    <a:pt x="87" y="16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7" y="15"/>
                    <a:pt x="36" y="9"/>
                    <a:pt x="33" y="5"/>
                  </a:cubicBezTo>
                  <a:cubicBezTo>
                    <a:pt x="30" y="2"/>
                    <a:pt x="25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7"/>
                    <a:pt x="5" y="22"/>
                    <a:pt x="9" y="26"/>
                  </a:cubicBezTo>
                  <a:cubicBezTo>
                    <a:pt x="12" y="29"/>
                    <a:pt x="16" y="31"/>
                    <a:pt x="21" y="31"/>
                  </a:cubicBezTo>
                  <a:cubicBezTo>
                    <a:pt x="21" y="31"/>
                    <a:pt x="22" y="31"/>
                    <a:pt x="23" y="3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3" y="62"/>
                    <a:pt x="42" y="62"/>
                  </a:cubicBezTo>
                  <a:cubicBezTo>
                    <a:pt x="41" y="62"/>
                    <a:pt x="40" y="63"/>
                    <a:pt x="38" y="64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5" y="68"/>
                    <a:pt x="35" y="69"/>
                    <a:pt x="35" y="70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73"/>
                    <a:pt x="36" y="73"/>
                    <a:pt x="36" y="74"/>
                  </a:cubicBezTo>
                  <a:cubicBezTo>
                    <a:pt x="37" y="76"/>
                    <a:pt x="35" y="78"/>
                    <a:pt x="33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2" y="78"/>
                    <a:pt x="31" y="78"/>
                    <a:pt x="30" y="78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0" y="110"/>
                    <a:pt x="0" y="112"/>
                    <a:pt x="0" y="114"/>
                  </a:cubicBezTo>
                  <a:cubicBezTo>
                    <a:pt x="0" y="116"/>
                    <a:pt x="1" y="118"/>
                    <a:pt x="3" y="119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3" y="127"/>
                    <a:pt x="14" y="127"/>
                    <a:pt x="16" y="127"/>
                  </a:cubicBezTo>
                  <a:cubicBezTo>
                    <a:pt x="18" y="127"/>
                    <a:pt x="21" y="126"/>
                    <a:pt x="22" y="12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5" y="90"/>
                    <a:pt x="45" y="89"/>
                    <a:pt x="45" y="88"/>
                  </a:cubicBezTo>
                  <a:cubicBezTo>
                    <a:pt x="45" y="87"/>
                    <a:pt x="45" y="86"/>
                    <a:pt x="46" y="85"/>
                  </a:cubicBezTo>
                  <a:cubicBezTo>
                    <a:pt x="46" y="84"/>
                    <a:pt x="47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50" y="84"/>
                    <a:pt x="50" y="84"/>
                    <a:pt x="51" y="84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5" y="84"/>
                    <a:pt x="56" y="84"/>
                    <a:pt x="56" y="83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9" y="79"/>
                    <a:pt x="60" y="78"/>
                    <a:pt x="59" y="77"/>
                  </a:cubicBezTo>
                  <a:cubicBezTo>
                    <a:pt x="59" y="75"/>
                    <a:pt x="59" y="74"/>
                    <a:pt x="58" y="73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6" y="108"/>
                    <a:pt x="87" y="114"/>
                    <a:pt x="91" y="118"/>
                  </a:cubicBezTo>
                  <a:cubicBezTo>
                    <a:pt x="94" y="121"/>
                    <a:pt x="98" y="123"/>
                    <a:pt x="102" y="123"/>
                  </a:cubicBezTo>
                  <a:cubicBezTo>
                    <a:pt x="103" y="123"/>
                    <a:pt x="104" y="123"/>
                    <a:pt x="104" y="123"/>
                  </a:cubicBezTo>
                  <a:cubicBezTo>
                    <a:pt x="112" y="122"/>
                    <a:pt x="112" y="122"/>
                    <a:pt x="112" y="122"/>
                  </a:cubicBezTo>
                  <a:cubicBezTo>
                    <a:pt x="106" y="117"/>
                    <a:pt x="106" y="117"/>
                    <a:pt x="106" y="117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7" y="117"/>
                    <a:pt x="117" y="117"/>
                    <a:pt x="117" y="117"/>
                  </a:cubicBezTo>
                  <a:cubicBezTo>
                    <a:pt x="118" y="110"/>
                    <a:pt x="118" y="110"/>
                    <a:pt x="118" y="110"/>
                  </a:cubicBezTo>
                  <a:cubicBezTo>
                    <a:pt x="119" y="105"/>
                    <a:pt x="117" y="100"/>
                    <a:pt x="114" y="96"/>
                  </a:cubicBezTo>
                  <a:cubicBezTo>
                    <a:pt x="111" y="93"/>
                    <a:pt x="107" y="91"/>
                    <a:pt x="102" y="91"/>
                  </a:cubicBezTo>
                  <a:close/>
                  <a:moveTo>
                    <a:pt x="24" y="27"/>
                  </a:moveTo>
                  <a:cubicBezTo>
                    <a:pt x="23" y="27"/>
                    <a:pt x="22" y="28"/>
                    <a:pt x="21" y="28"/>
                  </a:cubicBezTo>
                  <a:cubicBezTo>
                    <a:pt x="17" y="28"/>
                    <a:pt x="14" y="26"/>
                    <a:pt x="11" y="23"/>
                  </a:cubicBezTo>
                  <a:cubicBezTo>
                    <a:pt x="9" y="20"/>
                    <a:pt x="8" y="16"/>
                    <a:pt x="9" y="13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ubicBezTo>
                    <a:pt x="24" y="3"/>
                    <a:pt x="27" y="5"/>
                    <a:pt x="30" y="8"/>
                  </a:cubicBezTo>
                  <a:cubicBezTo>
                    <a:pt x="33" y="11"/>
                    <a:pt x="34" y="16"/>
                    <a:pt x="32" y="2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2" y="59"/>
                    <a:pt x="52" y="59"/>
                    <a:pt x="52" y="59"/>
                  </a:cubicBezTo>
                  <a:lnTo>
                    <a:pt x="24" y="27"/>
                  </a:lnTo>
                  <a:close/>
                  <a:moveTo>
                    <a:pt x="55" y="76"/>
                  </a:moveTo>
                  <a:cubicBezTo>
                    <a:pt x="56" y="77"/>
                    <a:pt x="56" y="77"/>
                    <a:pt x="56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2" y="80"/>
                    <a:pt x="50" y="80"/>
                    <a:pt x="49" y="80"/>
                  </a:cubicBezTo>
                  <a:cubicBezTo>
                    <a:pt x="49" y="80"/>
                    <a:pt x="49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4" y="81"/>
                    <a:pt x="41" y="84"/>
                    <a:pt x="41" y="88"/>
                  </a:cubicBezTo>
                  <a:cubicBezTo>
                    <a:pt x="42" y="90"/>
                    <a:pt x="42" y="91"/>
                    <a:pt x="43" y="92"/>
                  </a:cubicBezTo>
                  <a:cubicBezTo>
                    <a:pt x="19" y="122"/>
                    <a:pt x="19" y="122"/>
                    <a:pt x="19" y="122"/>
                  </a:cubicBezTo>
                  <a:cubicBezTo>
                    <a:pt x="18" y="123"/>
                    <a:pt x="17" y="124"/>
                    <a:pt x="16" y="124"/>
                  </a:cubicBezTo>
                  <a:cubicBezTo>
                    <a:pt x="15" y="124"/>
                    <a:pt x="14" y="123"/>
                    <a:pt x="14" y="1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4" y="115"/>
                    <a:pt x="4" y="114"/>
                    <a:pt x="4" y="113"/>
                  </a:cubicBezTo>
                  <a:cubicBezTo>
                    <a:pt x="4" y="112"/>
                    <a:pt x="4" y="111"/>
                    <a:pt x="5" y="110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9" y="81"/>
                    <a:pt x="31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7" y="81"/>
                    <a:pt x="40" y="78"/>
                    <a:pt x="40" y="74"/>
                  </a:cubicBezTo>
                  <a:cubicBezTo>
                    <a:pt x="40" y="72"/>
                    <a:pt x="39" y="71"/>
                    <a:pt x="39" y="70"/>
                  </a:cubicBezTo>
                  <a:cubicBezTo>
                    <a:pt x="39" y="70"/>
                    <a:pt x="39" y="69"/>
                    <a:pt x="39" y="69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3" y="66"/>
                    <a:pt x="43" y="66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5"/>
                    <a:pt x="91" y="13"/>
                    <a:pt x="94" y="11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9" y="17"/>
                    <a:pt x="99" y="18"/>
                    <a:pt x="99" y="18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8" y="19"/>
                    <a:pt x="97" y="19"/>
                    <a:pt x="96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50" y="72"/>
                    <a:pt x="50" y="72"/>
                    <a:pt x="50" y="72"/>
                  </a:cubicBezTo>
                  <a:lnTo>
                    <a:pt x="55" y="76"/>
                  </a:lnTo>
                  <a:close/>
                  <a:moveTo>
                    <a:pt x="114" y="109"/>
                  </a:moveTo>
                  <a:cubicBezTo>
                    <a:pt x="107" y="102"/>
                    <a:pt x="107" y="102"/>
                    <a:pt x="107" y="102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103" y="119"/>
                    <a:pt x="103" y="119"/>
                    <a:pt x="102" y="119"/>
                  </a:cubicBezTo>
                  <a:cubicBezTo>
                    <a:pt x="99" y="119"/>
                    <a:pt x="96" y="118"/>
                    <a:pt x="94" y="115"/>
                  </a:cubicBezTo>
                  <a:cubicBezTo>
                    <a:pt x="90" y="112"/>
                    <a:pt x="89" y="107"/>
                    <a:pt x="91" y="102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100" y="95"/>
                    <a:pt x="101" y="95"/>
                    <a:pt x="102" y="95"/>
                  </a:cubicBezTo>
                  <a:cubicBezTo>
                    <a:pt x="106" y="95"/>
                    <a:pt x="109" y="96"/>
                    <a:pt x="111" y="99"/>
                  </a:cubicBezTo>
                  <a:cubicBezTo>
                    <a:pt x="114" y="102"/>
                    <a:pt x="115" y="105"/>
                    <a:pt x="114" y="10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309" name="Group 61"/>
          <p:cNvGrpSpPr>
            <a:grpSpLocks noChangeAspect="1"/>
          </p:cNvGrpSpPr>
          <p:nvPr/>
        </p:nvGrpSpPr>
        <p:grpSpPr bwMode="auto">
          <a:xfrm>
            <a:off x="6920706" y="252413"/>
            <a:ext cx="836613" cy="836612"/>
            <a:chOff x="4358" y="159"/>
            <a:chExt cx="527" cy="527"/>
          </a:xfrm>
        </p:grpSpPr>
        <p:sp>
          <p:nvSpPr>
            <p:cNvPr id="53310" name="Oval 62"/>
            <p:cNvSpPr>
              <a:spLocks noChangeArrowheads="1"/>
            </p:cNvSpPr>
            <p:nvPr/>
          </p:nvSpPr>
          <p:spPr bwMode="auto">
            <a:xfrm>
              <a:off x="4358" y="159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11" name="Freeform 63"/>
            <p:cNvSpPr>
              <a:spLocks noEditPoints="1"/>
            </p:cNvSpPr>
            <p:nvPr/>
          </p:nvSpPr>
          <p:spPr bwMode="auto">
            <a:xfrm>
              <a:off x="4380" y="181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12" name="Freeform 64"/>
            <p:cNvSpPr>
              <a:spLocks noEditPoints="1"/>
            </p:cNvSpPr>
            <p:nvPr/>
          </p:nvSpPr>
          <p:spPr bwMode="auto">
            <a:xfrm>
              <a:off x="4487" y="269"/>
              <a:ext cx="268" cy="292"/>
            </a:xfrm>
            <a:custGeom>
              <a:avLst/>
              <a:gdLst/>
              <a:ahLst/>
              <a:cxnLst>
                <a:cxn ang="0">
                  <a:pos x="94" y="118"/>
                </a:cxn>
                <a:cxn ang="0">
                  <a:pos x="94" y="8"/>
                </a:cxn>
                <a:cxn ang="0">
                  <a:pos x="94" y="0"/>
                </a:cxn>
                <a:cxn ang="0">
                  <a:pos x="84" y="0"/>
                </a:cxn>
                <a:cxn ang="0">
                  <a:pos x="63" y="0"/>
                </a:cxn>
                <a:cxn ang="0">
                  <a:pos x="53" y="0"/>
                </a:cxn>
                <a:cxn ang="0">
                  <a:pos x="53" y="8"/>
                </a:cxn>
                <a:cxn ang="0">
                  <a:pos x="53" y="118"/>
                </a:cxn>
                <a:cxn ang="0">
                  <a:pos x="39" y="118"/>
                </a:cxn>
                <a:cxn ang="0">
                  <a:pos x="39" y="24"/>
                </a:cxn>
                <a:cxn ang="0">
                  <a:pos x="39" y="17"/>
                </a:cxn>
                <a:cxn ang="0">
                  <a:pos x="32" y="17"/>
                </a:cxn>
                <a:cxn ang="0">
                  <a:pos x="10" y="17"/>
                </a:cxn>
                <a:cxn ang="0">
                  <a:pos x="0" y="17"/>
                </a:cxn>
                <a:cxn ang="0">
                  <a:pos x="0" y="24"/>
                </a:cxn>
                <a:cxn ang="0">
                  <a:pos x="0" y="127"/>
                </a:cxn>
                <a:cxn ang="0">
                  <a:pos x="0" y="165"/>
                </a:cxn>
                <a:cxn ang="0">
                  <a:pos x="0" y="285"/>
                </a:cxn>
                <a:cxn ang="0">
                  <a:pos x="0" y="292"/>
                </a:cxn>
                <a:cxn ang="0">
                  <a:pos x="10" y="292"/>
                </a:cxn>
                <a:cxn ang="0">
                  <a:pos x="259" y="292"/>
                </a:cxn>
                <a:cxn ang="0">
                  <a:pos x="268" y="292"/>
                </a:cxn>
                <a:cxn ang="0">
                  <a:pos x="268" y="285"/>
                </a:cxn>
                <a:cxn ang="0">
                  <a:pos x="268" y="127"/>
                </a:cxn>
                <a:cxn ang="0">
                  <a:pos x="268" y="118"/>
                </a:cxn>
                <a:cxn ang="0">
                  <a:pos x="259" y="118"/>
                </a:cxn>
                <a:cxn ang="0">
                  <a:pos x="94" y="118"/>
                </a:cxn>
                <a:cxn ang="0">
                  <a:pos x="259" y="285"/>
                </a:cxn>
                <a:cxn ang="0">
                  <a:pos x="10" y="285"/>
                </a:cxn>
                <a:cxn ang="0">
                  <a:pos x="10" y="165"/>
                </a:cxn>
                <a:cxn ang="0">
                  <a:pos x="10" y="127"/>
                </a:cxn>
                <a:cxn ang="0">
                  <a:pos x="10" y="24"/>
                </a:cxn>
                <a:cxn ang="0">
                  <a:pos x="32" y="24"/>
                </a:cxn>
                <a:cxn ang="0">
                  <a:pos x="32" y="127"/>
                </a:cxn>
                <a:cxn ang="0">
                  <a:pos x="63" y="127"/>
                </a:cxn>
                <a:cxn ang="0">
                  <a:pos x="63" y="8"/>
                </a:cxn>
                <a:cxn ang="0">
                  <a:pos x="84" y="8"/>
                </a:cxn>
                <a:cxn ang="0">
                  <a:pos x="84" y="127"/>
                </a:cxn>
                <a:cxn ang="0">
                  <a:pos x="259" y="127"/>
                </a:cxn>
                <a:cxn ang="0">
                  <a:pos x="259" y="285"/>
                </a:cxn>
              </a:cxnLst>
              <a:rect l="0" t="0" r="r" b="b"/>
              <a:pathLst>
                <a:path w="268" h="292">
                  <a:moveTo>
                    <a:pt x="94" y="118"/>
                  </a:moveTo>
                  <a:lnTo>
                    <a:pt x="94" y="8"/>
                  </a:lnTo>
                  <a:lnTo>
                    <a:pt x="94" y="0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53" y="0"/>
                  </a:lnTo>
                  <a:lnTo>
                    <a:pt x="53" y="8"/>
                  </a:lnTo>
                  <a:lnTo>
                    <a:pt x="53" y="118"/>
                  </a:lnTo>
                  <a:lnTo>
                    <a:pt x="39" y="118"/>
                  </a:lnTo>
                  <a:lnTo>
                    <a:pt x="39" y="24"/>
                  </a:lnTo>
                  <a:lnTo>
                    <a:pt x="39" y="17"/>
                  </a:lnTo>
                  <a:lnTo>
                    <a:pt x="32" y="17"/>
                  </a:lnTo>
                  <a:lnTo>
                    <a:pt x="10" y="17"/>
                  </a:lnTo>
                  <a:lnTo>
                    <a:pt x="0" y="17"/>
                  </a:lnTo>
                  <a:lnTo>
                    <a:pt x="0" y="24"/>
                  </a:lnTo>
                  <a:lnTo>
                    <a:pt x="0" y="127"/>
                  </a:lnTo>
                  <a:lnTo>
                    <a:pt x="0" y="165"/>
                  </a:lnTo>
                  <a:lnTo>
                    <a:pt x="0" y="285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259" y="292"/>
                  </a:lnTo>
                  <a:lnTo>
                    <a:pt x="268" y="292"/>
                  </a:lnTo>
                  <a:lnTo>
                    <a:pt x="268" y="285"/>
                  </a:lnTo>
                  <a:lnTo>
                    <a:pt x="268" y="127"/>
                  </a:lnTo>
                  <a:lnTo>
                    <a:pt x="268" y="118"/>
                  </a:lnTo>
                  <a:lnTo>
                    <a:pt x="259" y="118"/>
                  </a:lnTo>
                  <a:lnTo>
                    <a:pt x="94" y="118"/>
                  </a:lnTo>
                  <a:close/>
                  <a:moveTo>
                    <a:pt x="259" y="285"/>
                  </a:moveTo>
                  <a:lnTo>
                    <a:pt x="10" y="285"/>
                  </a:lnTo>
                  <a:lnTo>
                    <a:pt x="10" y="165"/>
                  </a:lnTo>
                  <a:lnTo>
                    <a:pt x="10" y="127"/>
                  </a:lnTo>
                  <a:lnTo>
                    <a:pt x="10" y="24"/>
                  </a:lnTo>
                  <a:lnTo>
                    <a:pt x="32" y="24"/>
                  </a:lnTo>
                  <a:lnTo>
                    <a:pt x="32" y="127"/>
                  </a:lnTo>
                  <a:lnTo>
                    <a:pt x="63" y="127"/>
                  </a:lnTo>
                  <a:lnTo>
                    <a:pt x="63" y="8"/>
                  </a:lnTo>
                  <a:lnTo>
                    <a:pt x="84" y="8"/>
                  </a:lnTo>
                  <a:lnTo>
                    <a:pt x="84" y="127"/>
                  </a:lnTo>
                  <a:lnTo>
                    <a:pt x="259" y="127"/>
                  </a:lnTo>
                  <a:lnTo>
                    <a:pt x="259" y="28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13" name="Freeform 65"/>
            <p:cNvSpPr>
              <a:spLocks noEditPoints="1"/>
            </p:cNvSpPr>
            <p:nvPr/>
          </p:nvSpPr>
          <p:spPr bwMode="auto">
            <a:xfrm>
              <a:off x="4607" y="413"/>
              <a:ext cx="53" cy="50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53" y="50"/>
                </a:cxn>
                <a:cxn ang="0">
                  <a:pos x="53" y="0"/>
                </a:cxn>
                <a:cxn ang="0">
                  <a:pos x="43" y="43"/>
                </a:cxn>
                <a:cxn ang="0">
                  <a:pos x="10" y="43"/>
                </a:cxn>
                <a:cxn ang="0">
                  <a:pos x="10" y="9"/>
                </a:cxn>
                <a:cxn ang="0">
                  <a:pos x="43" y="9"/>
                </a:cxn>
                <a:cxn ang="0">
                  <a:pos x="43" y="43"/>
                </a:cxn>
              </a:cxnLst>
              <a:rect l="0" t="0" r="r" b="b"/>
              <a:pathLst>
                <a:path w="53" h="50">
                  <a:moveTo>
                    <a:pt x="53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3" y="50"/>
                  </a:lnTo>
                  <a:lnTo>
                    <a:pt x="53" y="0"/>
                  </a:lnTo>
                  <a:close/>
                  <a:moveTo>
                    <a:pt x="43" y="43"/>
                  </a:moveTo>
                  <a:lnTo>
                    <a:pt x="10" y="43"/>
                  </a:lnTo>
                  <a:lnTo>
                    <a:pt x="10" y="9"/>
                  </a:lnTo>
                  <a:lnTo>
                    <a:pt x="43" y="9"/>
                  </a:lnTo>
                  <a:lnTo>
                    <a:pt x="43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14" name="Freeform 66"/>
            <p:cNvSpPr>
              <a:spLocks noEditPoints="1"/>
            </p:cNvSpPr>
            <p:nvPr/>
          </p:nvSpPr>
          <p:spPr bwMode="auto">
            <a:xfrm>
              <a:off x="4676" y="413"/>
              <a:ext cx="53" cy="50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53" y="50"/>
                </a:cxn>
                <a:cxn ang="0">
                  <a:pos x="53" y="0"/>
                </a:cxn>
                <a:cxn ang="0">
                  <a:pos x="44" y="43"/>
                </a:cxn>
                <a:cxn ang="0">
                  <a:pos x="10" y="43"/>
                </a:cxn>
                <a:cxn ang="0">
                  <a:pos x="10" y="9"/>
                </a:cxn>
                <a:cxn ang="0">
                  <a:pos x="44" y="9"/>
                </a:cxn>
                <a:cxn ang="0">
                  <a:pos x="44" y="43"/>
                </a:cxn>
              </a:cxnLst>
              <a:rect l="0" t="0" r="r" b="b"/>
              <a:pathLst>
                <a:path w="53" h="50">
                  <a:moveTo>
                    <a:pt x="53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3" y="50"/>
                  </a:lnTo>
                  <a:lnTo>
                    <a:pt x="53" y="0"/>
                  </a:lnTo>
                  <a:close/>
                  <a:moveTo>
                    <a:pt x="44" y="43"/>
                  </a:moveTo>
                  <a:lnTo>
                    <a:pt x="10" y="43"/>
                  </a:lnTo>
                  <a:lnTo>
                    <a:pt x="10" y="9"/>
                  </a:lnTo>
                  <a:lnTo>
                    <a:pt x="44" y="9"/>
                  </a:lnTo>
                  <a:lnTo>
                    <a:pt x="44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317" name="Group 69"/>
          <p:cNvGrpSpPr>
            <a:grpSpLocks noChangeAspect="1"/>
          </p:cNvGrpSpPr>
          <p:nvPr/>
        </p:nvGrpSpPr>
        <p:grpSpPr bwMode="auto">
          <a:xfrm>
            <a:off x="8050218" y="285750"/>
            <a:ext cx="768350" cy="768350"/>
            <a:chOff x="5071" y="180"/>
            <a:chExt cx="484" cy="484"/>
          </a:xfrm>
        </p:grpSpPr>
        <p:sp>
          <p:nvSpPr>
            <p:cNvPr id="53318" name="Freeform 70"/>
            <p:cNvSpPr>
              <a:spLocks noEditPoints="1"/>
            </p:cNvSpPr>
            <p:nvPr/>
          </p:nvSpPr>
          <p:spPr bwMode="auto">
            <a:xfrm>
              <a:off x="5071" y="18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19" name="Freeform 71"/>
            <p:cNvSpPr>
              <a:spLocks noEditPoints="1"/>
            </p:cNvSpPr>
            <p:nvPr/>
          </p:nvSpPr>
          <p:spPr bwMode="auto">
            <a:xfrm>
              <a:off x="5179" y="269"/>
              <a:ext cx="269" cy="292"/>
            </a:xfrm>
            <a:custGeom>
              <a:avLst/>
              <a:gdLst/>
              <a:ahLst/>
              <a:cxnLst>
                <a:cxn ang="0">
                  <a:pos x="94" y="117"/>
                </a:cxn>
                <a:cxn ang="0">
                  <a:pos x="94" y="7"/>
                </a:cxn>
                <a:cxn ang="0">
                  <a:pos x="94" y="0"/>
                </a:cxn>
                <a:cxn ang="0">
                  <a:pos x="84" y="0"/>
                </a:cxn>
                <a:cxn ang="0">
                  <a:pos x="62" y="0"/>
                </a:cxn>
                <a:cxn ang="0">
                  <a:pos x="53" y="0"/>
                </a:cxn>
                <a:cxn ang="0">
                  <a:pos x="53" y="7"/>
                </a:cxn>
                <a:cxn ang="0">
                  <a:pos x="53" y="117"/>
                </a:cxn>
                <a:cxn ang="0">
                  <a:pos x="39" y="117"/>
                </a:cxn>
                <a:cxn ang="0">
                  <a:pos x="39" y="24"/>
                </a:cxn>
                <a:cxn ang="0">
                  <a:pos x="39" y="17"/>
                </a:cxn>
                <a:cxn ang="0">
                  <a:pos x="31" y="17"/>
                </a:cxn>
                <a:cxn ang="0">
                  <a:pos x="10" y="17"/>
                </a:cxn>
                <a:cxn ang="0">
                  <a:pos x="0" y="17"/>
                </a:cxn>
                <a:cxn ang="0">
                  <a:pos x="0" y="24"/>
                </a:cxn>
                <a:cxn ang="0">
                  <a:pos x="0" y="127"/>
                </a:cxn>
                <a:cxn ang="0">
                  <a:pos x="0" y="165"/>
                </a:cxn>
                <a:cxn ang="0">
                  <a:pos x="0" y="285"/>
                </a:cxn>
                <a:cxn ang="0">
                  <a:pos x="0" y="292"/>
                </a:cxn>
                <a:cxn ang="0">
                  <a:pos x="10" y="292"/>
                </a:cxn>
                <a:cxn ang="0">
                  <a:pos x="259" y="292"/>
                </a:cxn>
                <a:cxn ang="0">
                  <a:pos x="269" y="292"/>
                </a:cxn>
                <a:cxn ang="0">
                  <a:pos x="269" y="285"/>
                </a:cxn>
                <a:cxn ang="0">
                  <a:pos x="269" y="127"/>
                </a:cxn>
                <a:cxn ang="0">
                  <a:pos x="269" y="117"/>
                </a:cxn>
                <a:cxn ang="0">
                  <a:pos x="259" y="117"/>
                </a:cxn>
                <a:cxn ang="0">
                  <a:pos x="94" y="117"/>
                </a:cxn>
                <a:cxn ang="0">
                  <a:pos x="259" y="285"/>
                </a:cxn>
                <a:cxn ang="0">
                  <a:pos x="10" y="285"/>
                </a:cxn>
                <a:cxn ang="0">
                  <a:pos x="10" y="165"/>
                </a:cxn>
                <a:cxn ang="0">
                  <a:pos x="10" y="127"/>
                </a:cxn>
                <a:cxn ang="0">
                  <a:pos x="10" y="24"/>
                </a:cxn>
                <a:cxn ang="0">
                  <a:pos x="31" y="24"/>
                </a:cxn>
                <a:cxn ang="0">
                  <a:pos x="31" y="127"/>
                </a:cxn>
                <a:cxn ang="0">
                  <a:pos x="62" y="127"/>
                </a:cxn>
                <a:cxn ang="0">
                  <a:pos x="62" y="7"/>
                </a:cxn>
                <a:cxn ang="0">
                  <a:pos x="84" y="7"/>
                </a:cxn>
                <a:cxn ang="0">
                  <a:pos x="84" y="127"/>
                </a:cxn>
                <a:cxn ang="0">
                  <a:pos x="259" y="127"/>
                </a:cxn>
                <a:cxn ang="0">
                  <a:pos x="259" y="285"/>
                </a:cxn>
              </a:cxnLst>
              <a:rect l="0" t="0" r="r" b="b"/>
              <a:pathLst>
                <a:path w="269" h="292">
                  <a:moveTo>
                    <a:pt x="94" y="117"/>
                  </a:moveTo>
                  <a:lnTo>
                    <a:pt x="94" y="7"/>
                  </a:lnTo>
                  <a:lnTo>
                    <a:pt x="94" y="0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53" y="0"/>
                  </a:lnTo>
                  <a:lnTo>
                    <a:pt x="53" y="7"/>
                  </a:lnTo>
                  <a:lnTo>
                    <a:pt x="53" y="117"/>
                  </a:lnTo>
                  <a:lnTo>
                    <a:pt x="39" y="117"/>
                  </a:lnTo>
                  <a:lnTo>
                    <a:pt x="39" y="24"/>
                  </a:lnTo>
                  <a:lnTo>
                    <a:pt x="39" y="17"/>
                  </a:lnTo>
                  <a:lnTo>
                    <a:pt x="31" y="17"/>
                  </a:lnTo>
                  <a:lnTo>
                    <a:pt x="10" y="17"/>
                  </a:lnTo>
                  <a:lnTo>
                    <a:pt x="0" y="17"/>
                  </a:lnTo>
                  <a:lnTo>
                    <a:pt x="0" y="24"/>
                  </a:lnTo>
                  <a:lnTo>
                    <a:pt x="0" y="127"/>
                  </a:lnTo>
                  <a:lnTo>
                    <a:pt x="0" y="165"/>
                  </a:lnTo>
                  <a:lnTo>
                    <a:pt x="0" y="285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259" y="292"/>
                  </a:lnTo>
                  <a:lnTo>
                    <a:pt x="269" y="292"/>
                  </a:lnTo>
                  <a:lnTo>
                    <a:pt x="269" y="285"/>
                  </a:lnTo>
                  <a:lnTo>
                    <a:pt x="269" y="127"/>
                  </a:lnTo>
                  <a:lnTo>
                    <a:pt x="269" y="117"/>
                  </a:lnTo>
                  <a:lnTo>
                    <a:pt x="259" y="117"/>
                  </a:lnTo>
                  <a:lnTo>
                    <a:pt x="94" y="117"/>
                  </a:lnTo>
                  <a:close/>
                  <a:moveTo>
                    <a:pt x="259" y="285"/>
                  </a:moveTo>
                  <a:lnTo>
                    <a:pt x="10" y="285"/>
                  </a:lnTo>
                  <a:lnTo>
                    <a:pt x="10" y="165"/>
                  </a:lnTo>
                  <a:lnTo>
                    <a:pt x="10" y="127"/>
                  </a:lnTo>
                  <a:lnTo>
                    <a:pt x="10" y="24"/>
                  </a:lnTo>
                  <a:lnTo>
                    <a:pt x="31" y="24"/>
                  </a:lnTo>
                  <a:lnTo>
                    <a:pt x="31" y="127"/>
                  </a:lnTo>
                  <a:lnTo>
                    <a:pt x="62" y="127"/>
                  </a:lnTo>
                  <a:lnTo>
                    <a:pt x="62" y="7"/>
                  </a:lnTo>
                  <a:lnTo>
                    <a:pt x="84" y="7"/>
                  </a:lnTo>
                  <a:lnTo>
                    <a:pt x="84" y="127"/>
                  </a:lnTo>
                  <a:lnTo>
                    <a:pt x="259" y="127"/>
                  </a:lnTo>
                  <a:lnTo>
                    <a:pt x="259" y="28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20" name="Freeform 72"/>
            <p:cNvSpPr>
              <a:spLocks noEditPoints="1"/>
            </p:cNvSpPr>
            <p:nvPr/>
          </p:nvSpPr>
          <p:spPr bwMode="auto">
            <a:xfrm>
              <a:off x="5299" y="413"/>
              <a:ext cx="53" cy="50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53" y="50"/>
                </a:cxn>
                <a:cxn ang="0">
                  <a:pos x="53" y="0"/>
                </a:cxn>
                <a:cxn ang="0">
                  <a:pos x="43" y="43"/>
                </a:cxn>
                <a:cxn ang="0">
                  <a:pos x="10" y="43"/>
                </a:cxn>
                <a:cxn ang="0">
                  <a:pos x="10" y="9"/>
                </a:cxn>
                <a:cxn ang="0">
                  <a:pos x="43" y="9"/>
                </a:cxn>
                <a:cxn ang="0">
                  <a:pos x="43" y="43"/>
                </a:cxn>
              </a:cxnLst>
              <a:rect l="0" t="0" r="r" b="b"/>
              <a:pathLst>
                <a:path w="53" h="50">
                  <a:moveTo>
                    <a:pt x="53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3" y="50"/>
                  </a:lnTo>
                  <a:lnTo>
                    <a:pt x="53" y="0"/>
                  </a:lnTo>
                  <a:close/>
                  <a:moveTo>
                    <a:pt x="43" y="43"/>
                  </a:moveTo>
                  <a:lnTo>
                    <a:pt x="10" y="43"/>
                  </a:lnTo>
                  <a:lnTo>
                    <a:pt x="10" y="9"/>
                  </a:lnTo>
                  <a:lnTo>
                    <a:pt x="43" y="9"/>
                  </a:lnTo>
                  <a:lnTo>
                    <a:pt x="43" y="4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21" name="Freeform 73"/>
            <p:cNvSpPr>
              <a:spLocks noEditPoints="1"/>
            </p:cNvSpPr>
            <p:nvPr/>
          </p:nvSpPr>
          <p:spPr bwMode="auto">
            <a:xfrm>
              <a:off x="5369" y="413"/>
              <a:ext cx="52" cy="50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0" y="0"/>
                </a:cxn>
                <a:cxn ang="0">
                  <a:pos x="0" y="50"/>
                </a:cxn>
                <a:cxn ang="0">
                  <a:pos x="52" y="50"/>
                </a:cxn>
                <a:cxn ang="0">
                  <a:pos x="52" y="0"/>
                </a:cxn>
                <a:cxn ang="0">
                  <a:pos x="43" y="43"/>
                </a:cxn>
                <a:cxn ang="0">
                  <a:pos x="9" y="43"/>
                </a:cxn>
                <a:cxn ang="0">
                  <a:pos x="9" y="9"/>
                </a:cxn>
                <a:cxn ang="0">
                  <a:pos x="43" y="9"/>
                </a:cxn>
                <a:cxn ang="0">
                  <a:pos x="43" y="43"/>
                </a:cxn>
              </a:cxnLst>
              <a:rect l="0" t="0" r="r" b="b"/>
              <a:pathLst>
                <a:path w="52" h="50">
                  <a:moveTo>
                    <a:pt x="52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52" y="50"/>
                  </a:lnTo>
                  <a:lnTo>
                    <a:pt x="52" y="0"/>
                  </a:lnTo>
                  <a:close/>
                  <a:moveTo>
                    <a:pt x="43" y="43"/>
                  </a:moveTo>
                  <a:lnTo>
                    <a:pt x="9" y="43"/>
                  </a:lnTo>
                  <a:lnTo>
                    <a:pt x="9" y="9"/>
                  </a:lnTo>
                  <a:lnTo>
                    <a:pt x="43" y="9"/>
                  </a:lnTo>
                  <a:lnTo>
                    <a:pt x="43" y="4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324" name="Group 76"/>
          <p:cNvGrpSpPr>
            <a:grpSpLocks noChangeAspect="1"/>
          </p:cNvGrpSpPr>
          <p:nvPr/>
        </p:nvGrpSpPr>
        <p:grpSpPr bwMode="auto">
          <a:xfrm>
            <a:off x="346869" y="1528128"/>
            <a:ext cx="838200" cy="836612"/>
            <a:chOff x="215" y="937"/>
            <a:chExt cx="528" cy="527"/>
          </a:xfrm>
        </p:grpSpPr>
        <p:sp>
          <p:nvSpPr>
            <p:cNvPr id="53325" name="Oval 77"/>
            <p:cNvSpPr>
              <a:spLocks noChangeArrowheads="1"/>
            </p:cNvSpPr>
            <p:nvPr/>
          </p:nvSpPr>
          <p:spPr bwMode="auto">
            <a:xfrm>
              <a:off x="215" y="937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26" name="Freeform 78"/>
            <p:cNvSpPr>
              <a:spLocks noEditPoints="1"/>
            </p:cNvSpPr>
            <p:nvPr/>
          </p:nvSpPr>
          <p:spPr bwMode="auto">
            <a:xfrm>
              <a:off x="237" y="959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27" name="Rectangle 79"/>
            <p:cNvSpPr>
              <a:spLocks noChangeArrowheads="1"/>
            </p:cNvSpPr>
            <p:nvPr/>
          </p:nvSpPr>
          <p:spPr bwMode="auto">
            <a:xfrm>
              <a:off x="549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28" name="Rectangle 80"/>
            <p:cNvSpPr>
              <a:spLocks noChangeArrowheads="1"/>
            </p:cNvSpPr>
            <p:nvPr/>
          </p:nvSpPr>
          <p:spPr bwMode="auto">
            <a:xfrm>
              <a:off x="534" y="1234"/>
              <a:ext cx="15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29" name="Rectangle 81"/>
            <p:cNvSpPr>
              <a:spLocks noChangeArrowheads="1"/>
            </p:cNvSpPr>
            <p:nvPr/>
          </p:nvSpPr>
          <p:spPr bwMode="auto">
            <a:xfrm>
              <a:off x="575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0" name="Rectangle 82"/>
            <p:cNvSpPr>
              <a:spLocks noChangeArrowheads="1"/>
            </p:cNvSpPr>
            <p:nvPr/>
          </p:nvSpPr>
          <p:spPr bwMode="auto">
            <a:xfrm>
              <a:off x="561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1" name="Rectangle 83"/>
            <p:cNvSpPr>
              <a:spLocks noChangeArrowheads="1"/>
            </p:cNvSpPr>
            <p:nvPr/>
          </p:nvSpPr>
          <p:spPr bwMode="auto">
            <a:xfrm>
              <a:off x="601" y="1255"/>
              <a:ext cx="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2" name="Rectangle 84"/>
            <p:cNvSpPr>
              <a:spLocks noChangeArrowheads="1"/>
            </p:cNvSpPr>
            <p:nvPr/>
          </p:nvSpPr>
          <p:spPr bwMode="auto">
            <a:xfrm>
              <a:off x="587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3" name="Rectangle 85"/>
            <p:cNvSpPr>
              <a:spLocks noChangeArrowheads="1"/>
            </p:cNvSpPr>
            <p:nvPr/>
          </p:nvSpPr>
          <p:spPr bwMode="auto">
            <a:xfrm>
              <a:off x="628" y="1255"/>
              <a:ext cx="14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4" name="Rectangle 86"/>
            <p:cNvSpPr>
              <a:spLocks noChangeArrowheads="1"/>
            </p:cNvSpPr>
            <p:nvPr/>
          </p:nvSpPr>
          <p:spPr bwMode="auto">
            <a:xfrm>
              <a:off x="616" y="1234"/>
              <a:ext cx="1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5" name="Rectangle 87"/>
            <p:cNvSpPr>
              <a:spLocks noChangeArrowheads="1"/>
            </p:cNvSpPr>
            <p:nvPr/>
          </p:nvSpPr>
          <p:spPr bwMode="auto">
            <a:xfrm>
              <a:off x="534" y="119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6" name="Rectangle 88"/>
            <p:cNvSpPr>
              <a:spLocks noChangeArrowheads="1"/>
            </p:cNvSpPr>
            <p:nvPr/>
          </p:nvSpPr>
          <p:spPr bwMode="auto">
            <a:xfrm>
              <a:off x="575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7" name="Rectangle 89"/>
            <p:cNvSpPr>
              <a:spLocks noChangeArrowheads="1"/>
            </p:cNvSpPr>
            <p:nvPr/>
          </p:nvSpPr>
          <p:spPr bwMode="auto">
            <a:xfrm>
              <a:off x="616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8" name="Freeform 90"/>
            <p:cNvSpPr>
              <a:spLocks noEditPoints="1"/>
            </p:cNvSpPr>
            <p:nvPr/>
          </p:nvSpPr>
          <p:spPr bwMode="auto">
            <a:xfrm>
              <a:off x="287" y="1086"/>
              <a:ext cx="379" cy="201"/>
            </a:xfrm>
            <a:custGeom>
              <a:avLst/>
              <a:gdLst/>
              <a:ahLst/>
              <a:cxnLst>
                <a:cxn ang="0">
                  <a:pos x="343" y="79"/>
                </a:cxn>
                <a:cxn ang="0">
                  <a:pos x="343" y="28"/>
                </a:cxn>
                <a:cxn ang="0">
                  <a:pos x="343" y="9"/>
                </a:cxn>
                <a:cxn ang="0">
                  <a:pos x="333" y="0"/>
                </a:cxn>
                <a:cxn ang="0">
                  <a:pos x="305" y="0"/>
                </a:cxn>
                <a:cxn ang="0">
                  <a:pos x="302" y="26"/>
                </a:cxn>
                <a:cxn ang="0">
                  <a:pos x="302" y="26"/>
                </a:cxn>
                <a:cxn ang="0">
                  <a:pos x="230" y="91"/>
                </a:cxn>
                <a:cxn ang="0">
                  <a:pos x="223" y="100"/>
                </a:cxn>
                <a:cxn ang="0">
                  <a:pos x="223" y="103"/>
                </a:cxn>
                <a:cxn ang="0">
                  <a:pos x="154" y="103"/>
                </a:cxn>
                <a:cxn ang="0">
                  <a:pos x="154" y="86"/>
                </a:cxn>
                <a:cxn ang="0">
                  <a:pos x="79" y="55"/>
                </a:cxn>
                <a:cxn ang="0">
                  <a:pos x="75" y="55"/>
                </a:cxn>
                <a:cxn ang="0">
                  <a:pos x="0" y="86"/>
                </a:cxn>
                <a:cxn ang="0">
                  <a:pos x="0" y="191"/>
                </a:cxn>
                <a:cxn ang="0">
                  <a:pos x="10" y="201"/>
                </a:cxn>
                <a:cxn ang="0">
                  <a:pos x="146" y="201"/>
                </a:cxn>
                <a:cxn ang="0">
                  <a:pos x="156" y="201"/>
                </a:cxn>
                <a:cxn ang="0">
                  <a:pos x="223" y="201"/>
                </a:cxn>
                <a:cxn ang="0">
                  <a:pos x="233" y="201"/>
                </a:cxn>
                <a:cxn ang="0">
                  <a:pos x="379" y="201"/>
                </a:cxn>
                <a:cxn ang="0">
                  <a:pos x="379" y="100"/>
                </a:cxn>
                <a:cxn ang="0">
                  <a:pos x="372" y="91"/>
                </a:cxn>
                <a:cxn ang="0">
                  <a:pos x="10" y="191"/>
                </a:cxn>
                <a:cxn ang="0">
                  <a:pos x="77" y="62"/>
                </a:cxn>
                <a:cxn ang="0">
                  <a:pos x="144" y="191"/>
                </a:cxn>
                <a:cxn ang="0">
                  <a:pos x="156" y="191"/>
                </a:cxn>
                <a:cxn ang="0">
                  <a:pos x="223" y="112"/>
                </a:cxn>
                <a:cxn ang="0">
                  <a:pos x="369" y="191"/>
                </a:cxn>
                <a:cxn ang="0">
                  <a:pos x="233" y="100"/>
                </a:cxn>
                <a:cxn ang="0">
                  <a:pos x="312" y="26"/>
                </a:cxn>
                <a:cxn ang="0">
                  <a:pos x="333" y="9"/>
                </a:cxn>
                <a:cxn ang="0">
                  <a:pos x="333" y="86"/>
                </a:cxn>
                <a:cxn ang="0">
                  <a:pos x="369" y="191"/>
                </a:cxn>
              </a:cxnLst>
              <a:rect l="0" t="0" r="r" b="b"/>
              <a:pathLst>
                <a:path w="379" h="201">
                  <a:moveTo>
                    <a:pt x="372" y="91"/>
                  </a:moveTo>
                  <a:lnTo>
                    <a:pt x="343" y="79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9"/>
                  </a:lnTo>
                  <a:lnTo>
                    <a:pt x="343" y="0"/>
                  </a:lnTo>
                  <a:lnTo>
                    <a:pt x="333" y="0"/>
                  </a:lnTo>
                  <a:lnTo>
                    <a:pt x="312" y="0"/>
                  </a:lnTo>
                  <a:lnTo>
                    <a:pt x="305" y="0"/>
                  </a:lnTo>
                  <a:lnTo>
                    <a:pt x="305" y="7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76"/>
                  </a:lnTo>
                  <a:lnTo>
                    <a:pt x="230" y="91"/>
                  </a:lnTo>
                  <a:lnTo>
                    <a:pt x="223" y="93"/>
                  </a:lnTo>
                  <a:lnTo>
                    <a:pt x="223" y="100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156" y="103"/>
                  </a:lnTo>
                  <a:lnTo>
                    <a:pt x="154" y="103"/>
                  </a:lnTo>
                  <a:lnTo>
                    <a:pt x="154" y="91"/>
                  </a:lnTo>
                  <a:lnTo>
                    <a:pt x="154" y="86"/>
                  </a:lnTo>
                  <a:lnTo>
                    <a:pt x="149" y="83"/>
                  </a:lnTo>
                  <a:lnTo>
                    <a:pt x="79" y="55"/>
                  </a:lnTo>
                  <a:lnTo>
                    <a:pt x="77" y="52"/>
                  </a:lnTo>
                  <a:lnTo>
                    <a:pt x="75" y="55"/>
                  </a:lnTo>
                  <a:lnTo>
                    <a:pt x="5" y="83"/>
                  </a:lnTo>
                  <a:lnTo>
                    <a:pt x="0" y="86"/>
                  </a:lnTo>
                  <a:lnTo>
                    <a:pt x="0" y="91"/>
                  </a:lnTo>
                  <a:lnTo>
                    <a:pt x="0" y="191"/>
                  </a:lnTo>
                  <a:lnTo>
                    <a:pt x="0" y="201"/>
                  </a:lnTo>
                  <a:lnTo>
                    <a:pt x="10" y="201"/>
                  </a:lnTo>
                  <a:lnTo>
                    <a:pt x="144" y="201"/>
                  </a:lnTo>
                  <a:lnTo>
                    <a:pt x="146" y="201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223" y="201"/>
                  </a:lnTo>
                  <a:lnTo>
                    <a:pt x="223" y="201"/>
                  </a:lnTo>
                  <a:lnTo>
                    <a:pt x="230" y="201"/>
                  </a:lnTo>
                  <a:lnTo>
                    <a:pt x="233" y="201"/>
                  </a:lnTo>
                  <a:lnTo>
                    <a:pt x="369" y="201"/>
                  </a:lnTo>
                  <a:lnTo>
                    <a:pt x="379" y="201"/>
                  </a:lnTo>
                  <a:lnTo>
                    <a:pt x="379" y="191"/>
                  </a:lnTo>
                  <a:lnTo>
                    <a:pt x="379" y="100"/>
                  </a:lnTo>
                  <a:lnTo>
                    <a:pt x="379" y="93"/>
                  </a:lnTo>
                  <a:lnTo>
                    <a:pt x="372" y="91"/>
                  </a:lnTo>
                  <a:close/>
                  <a:moveTo>
                    <a:pt x="144" y="191"/>
                  </a:moveTo>
                  <a:lnTo>
                    <a:pt x="10" y="191"/>
                  </a:lnTo>
                  <a:lnTo>
                    <a:pt x="10" y="91"/>
                  </a:lnTo>
                  <a:lnTo>
                    <a:pt x="77" y="62"/>
                  </a:lnTo>
                  <a:lnTo>
                    <a:pt x="144" y="91"/>
                  </a:lnTo>
                  <a:lnTo>
                    <a:pt x="144" y="191"/>
                  </a:lnTo>
                  <a:close/>
                  <a:moveTo>
                    <a:pt x="223" y="191"/>
                  </a:moveTo>
                  <a:lnTo>
                    <a:pt x="156" y="191"/>
                  </a:lnTo>
                  <a:lnTo>
                    <a:pt x="156" y="112"/>
                  </a:lnTo>
                  <a:lnTo>
                    <a:pt x="223" y="112"/>
                  </a:lnTo>
                  <a:lnTo>
                    <a:pt x="223" y="191"/>
                  </a:lnTo>
                  <a:close/>
                  <a:moveTo>
                    <a:pt x="369" y="191"/>
                  </a:moveTo>
                  <a:lnTo>
                    <a:pt x="233" y="191"/>
                  </a:lnTo>
                  <a:lnTo>
                    <a:pt x="233" y="100"/>
                  </a:lnTo>
                  <a:lnTo>
                    <a:pt x="312" y="83"/>
                  </a:lnTo>
                  <a:lnTo>
                    <a:pt x="312" y="26"/>
                  </a:lnTo>
                  <a:lnTo>
                    <a:pt x="312" y="9"/>
                  </a:lnTo>
                  <a:lnTo>
                    <a:pt x="333" y="9"/>
                  </a:lnTo>
                  <a:lnTo>
                    <a:pt x="333" y="28"/>
                  </a:lnTo>
                  <a:lnTo>
                    <a:pt x="333" y="86"/>
                  </a:lnTo>
                  <a:lnTo>
                    <a:pt x="369" y="100"/>
                  </a:lnTo>
                  <a:lnTo>
                    <a:pt x="369" y="19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39" name="Rectangle 91"/>
            <p:cNvSpPr>
              <a:spLocks noChangeArrowheads="1"/>
            </p:cNvSpPr>
            <p:nvPr/>
          </p:nvSpPr>
          <p:spPr bwMode="auto">
            <a:xfrm>
              <a:off x="450" y="1210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0" name="Rectangle 92"/>
            <p:cNvSpPr>
              <a:spLocks noChangeArrowheads="1"/>
            </p:cNvSpPr>
            <p:nvPr/>
          </p:nvSpPr>
          <p:spPr bwMode="auto">
            <a:xfrm>
              <a:off x="481" y="1210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1" name="Rectangle 93"/>
            <p:cNvSpPr>
              <a:spLocks noChangeArrowheads="1"/>
            </p:cNvSpPr>
            <p:nvPr/>
          </p:nvSpPr>
          <p:spPr bwMode="auto">
            <a:xfrm>
              <a:off x="450" y="1234"/>
              <a:ext cx="2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2" name="Rectangle 94"/>
            <p:cNvSpPr>
              <a:spLocks noChangeArrowheads="1"/>
            </p:cNvSpPr>
            <p:nvPr/>
          </p:nvSpPr>
          <p:spPr bwMode="auto">
            <a:xfrm>
              <a:off x="481" y="1234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3" name="Rectangle 95"/>
            <p:cNvSpPr>
              <a:spLocks noChangeArrowheads="1"/>
            </p:cNvSpPr>
            <p:nvPr/>
          </p:nvSpPr>
          <p:spPr bwMode="auto">
            <a:xfrm>
              <a:off x="450" y="1255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4" name="Rectangle 96"/>
            <p:cNvSpPr>
              <a:spLocks noChangeArrowheads="1"/>
            </p:cNvSpPr>
            <p:nvPr/>
          </p:nvSpPr>
          <p:spPr bwMode="auto">
            <a:xfrm>
              <a:off x="481" y="1255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5" name="Rectangle 97"/>
            <p:cNvSpPr>
              <a:spLocks noChangeArrowheads="1"/>
            </p:cNvSpPr>
            <p:nvPr/>
          </p:nvSpPr>
          <p:spPr bwMode="auto">
            <a:xfrm>
              <a:off x="311" y="1193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6" name="Rectangle 98"/>
            <p:cNvSpPr>
              <a:spLocks noChangeArrowheads="1"/>
            </p:cNvSpPr>
            <p:nvPr/>
          </p:nvSpPr>
          <p:spPr bwMode="auto">
            <a:xfrm>
              <a:off x="352" y="1193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7" name="Rectangle 99"/>
            <p:cNvSpPr>
              <a:spLocks noChangeArrowheads="1"/>
            </p:cNvSpPr>
            <p:nvPr/>
          </p:nvSpPr>
          <p:spPr bwMode="auto">
            <a:xfrm>
              <a:off x="390" y="1193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8" name="Rectangle 100"/>
            <p:cNvSpPr>
              <a:spLocks noChangeArrowheads="1"/>
            </p:cNvSpPr>
            <p:nvPr/>
          </p:nvSpPr>
          <p:spPr bwMode="auto">
            <a:xfrm>
              <a:off x="311" y="1212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49" name="Rectangle 101"/>
            <p:cNvSpPr>
              <a:spLocks noChangeArrowheads="1"/>
            </p:cNvSpPr>
            <p:nvPr/>
          </p:nvSpPr>
          <p:spPr bwMode="auto">
            <a:xfrm>
              <a:off x="352" y="1212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0" name="Rectangle 102"/>
            <p:cNvSpPr>
              <a:spLocks noChangeArrowheads="1"/>
            </p:cNvSpPr>
            <p:nvPr/>
          </p:nvSpPr>
          <p:spPr bwMode="auto">
            <a:xfrm>
              <a:off x="390" y="1212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1" name="Rectangle 103"/>
            <p:cNvSpPr>
              <a:spLocks noChangeArrowheads="1"/>
            </p:cNvSpPr>
            <p:nvPr/>
          </p:nvSpPr>
          <p:spPr bwMode="auto">
            <a:xfrm>
              <a:off x="311" y="1234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2" name="Rectangle 104"/>
            <p:cNvSpPr>
              <a:spLocks noChangeArrowheads="1"/>
            </p:cNvSpPr>
            <p:nvPr/>
          </p:nvSpPr>
          <p:spPr bwMode="auto">
            <a:xfrm>
              <a:off x="352" y="1234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3" name="Rectangle 105"/>
            <p:cNvSpPr>
              <a:spLocks noChangeArrowheads="1"/>
            </p:cNvSpPr>
            <p:nvPr/>
          </p:nvSpPr>
          <p:spPr bwMode="auto">
            <a:xfrm>
              <a:off x="390" y="1234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4" name="Rectangle 106"/>
            <p:cNvSpPr>
              <a:spLocks noChangeArrowheads="1"/>
            </p:cNvSpPr>
            <p:nvPr/>
          </p:nvSpPr>
          <p:spPr bwMode="auto">
            <a:xfrm>
              <a:off x="311" y="125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5" name="Rectangle 107"/>
            <p:cNvSpPr>
              <a:spLocks noChangeArrowheads="1"/>
            </p:cNvSpPr>
            <p:nvPr/>
          </p:nvSpPr>
          <p:spPr bwMode="auto">
            <a:xfrm>
              <a:off x="352" y="125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56" name="Rectangle 108"/>
            <p:cNvSpPr>
              <a:spLocks noChangeArrowheads="1"/>
            </p:cNvSpPr>
            <p:nvPr/>
          </p:nvSpPr>
          <p:spPr bwMode="auto">
            <a:xfrm>
              <a:off x="390" y="1253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359" name="Group 111"/>
          <p:cNvGrpSpPr>
            <a:grpSpLocks noChangeAspect="1"/>
          </p:cNvGrpSpPr>
          <p:nvPr/>
        </p:nvGrpSpPr>
        <p:grpSpPr bwMode="auto">
          <a:xfrm>
            <a:off x="1481139" y="1561464"/>
            <a:ext cx="768350" cy="768350"/>
            <a:chOff x="927" y="958"/>
            <a:chExt cx="484" cy="484"/>
          </a:xfrm>
        </p:grpSpPr>
        <p:sp>
          <p:nvSpPr>
            <p:cNvPr id="53360" name="Freeform 112"/>
            <p:cNvSpPr>
              <a:spLocks noEditPoints="1"/>
            </p:cNvSpPr>
            <p:nvPr/>
          </p:nvSpPr>
          <p:spPr bwMode="auto">
            <a:xfrm>
              <a:off x="927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1" name="Rectangle 113"/>
            <p:cNvSpPr>
              <a:spLocks noChangeArrowheads="1"/>
            </p:cNvSpPr>
            <p:nvPr/>
          </p:nvSpPr>
          <p:spPr bwMode="auto">
            <a:xfrm>
              <a:off x="1239" y="1256"/>
              <a:ext cx="12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2" name="Rectangle 114"/>
            <p:cNvSpPr>
              <a:spLocks noChangeArrowheads="1"/>
            </p:cNvSpPr>
            <p:nvPr/>
          </p:nvSpPr>
          <p:spPr bwMode="auto">
            <a:xfrm>
              <a:off x="1225" y="1234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3" name="Rectangle 115"/>
            <p:cNvSpPr>
              <a:spLocks noChangeArrowheads="1"/>
            </p:cNvSpPr>
            <p:nvPr/>
          </p:nvSpPr>
          <p:spPr bwMode="auto">
            <a:xfrm>
              <a:off x="1265" y="1256"/>
              <a:ext cx="12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4" name="Rectangle 116"/>
            <p:cNvSpPr>
              <a:spLocks noChangeArrowheads="1"/>
            </p:cNvSpPr>
            <p:nvPr/>
          </p:nvSpPr>
          <p:spPr bwMode="auto">
            <a:xfrm>
              <a:off x="1251" y="1234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5" name="Rectangle 117"/>
            <p:cNvSpPr>
              <a:spLocks noChangeArrowheads="1"/>
            </p:cNvSpPr>
            <p:nvPr/>
          </p:nvSpPr>
          <p:spPr bwMode="auto">
            <a:xfrm>
              <a:off x="1292" y="1256"/>
              <a:ext cx="14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6" name="Rectangle 118"/>
            <p:cNvSpPr>
              <a:spLocks noChangeArrowheads="1"/>
            </p:cNvSpPr>
            <p:nvPr/>
          </p:nvSpPr>
          <p:spPr bwMode="auto">
            <a:xfrm>
              <a:off x="1277" y="1234"/>
              <a:ext cx="15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7" name="Rectangle 119"/>
            <p:cNvSpPr>
              <a:spLocks noChangeArrowheads="1"/>
            </p:cNvSpPr>
            <p:nvPr/>
          </p:nvSpPr>
          <p:spPr bwMode="auto">
            <a:xfrm>
              <a:off x="1318" y="1256"/>
              <a:ext cx="14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8" name="Rectangle 120"/>
            <p:cNvSpPr>
              <a:spLocks noChangeArrowheads="1"/>
            </p:cNvSpPr>
            <p:nvPr/>
          </p:nvSpPr>
          <p:spPr bwMode="auto">
            <a:xfrm>
              <a:off x="1306" y="1234"/>
              <a:ext cx="12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69" name="Rectangle 121"/>
            <p:cNvSpPr>
              <a:spLocks noChangeArrowheads="1"/>
            </p:cNvSpPr>
            <p:nvPr/>
          </p:nvSpPr>
          <p:spPr bwMode="auto">
            <a:xfrm>
              <a:off x="1225" y="1193"/>
              <a:ext cx="2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0" name="Rectangle 122"/>
            <p:cNvSpPr>
              <a:spLocks noChangeArrowheads="1"/>
            </p:cNvSpPr>
            <p:nvPr/>
          </p:nvSpPr>
          <p:spPr bwMode="auto">
            <a:xfrm>
              <a:off x="1265" y="1193"/>
              <a:ext cx="2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1" name="Rectangle 123"/>
            <p:cNvSpPr>
              <a:spLocks noChangeArrowheads="1"/>
            </p:cNvSpPr>
            <p:nvPr/>
          </p:nvSpPr>
          <p:spPr bwMode="auto">
            <a:xfrm>
              <a:off x="1306" y="1193"/>
              <a:ext cx="2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2" name="Freeform 124"/>
            <p:cNvSpPr>
              <a:spLocks noEditPoints="1"/>
            </p:cNvSpPr>
            <p:nvPr/>
          </p:nvSpPr>
          <p:spPr bwMode="auto">
            <a:xfrm>
              <a:off x="978" y="1085"/>
              <a:ext cx="378" cy="202"/>
            </a:xfrm>
            <a:custGeom>
              <a:avLst/>
              <a:gdLst/>
              <a:ahLst/>
              <a:cxnLst>
                <a:cxn ang="0">
                  <a:pos x="342" y="79"/>
                </a:cxn>
                <a:cxn ang="0">
                  <a:pos x="342" y="29"/>
                </a:cxn>
                <a:cxn ang="0">
                  <a:pos x="342" y="10"/>
                </a:cxn>
                <a:cxn ang="0">
                  <a:pos x="333" y="0"/>
                </a:cxn>
                <a:cxn ang="0">
                  <a:pos x="304" y="0"/>
                </a:cxn>
                <a:cxn ang="0">
                  <a:pos x="302" y="27"/>
                </a:cxn>
                <a:cxn ang="0">
                  <a:pos x="302" y="27"/>
                </a:cxn>
                <a:cxn ang="0">
                  <a:pos x="230" y="91"/>
                </a:cxn>
                <a:cxn ang="0">
                  <a:pos x="223" y="101"/>
                </a:cxn>
                <a:cxn ang="0">
                  <a:pos x="223" y="103"/>
                </a:cxn>
                <a:cxn ang="0">
                  <a:pos x="153" y="103"/>
                </a:cxn>
                <a:cxn ang="0">
                  <a:pos x="153" y="87"/>
                </a:cxn>
                <a:cxn ang="0">
                  <a:pos x="79" y="55"/>
                </a:cxn>
                <a:cxn ang="0">
                  <a:pos x="74" y="55"/>
                </a:cxn>
                <a:cxn ang="0">
                  <a:pos x="0" y="87"/>
                </a:cxn>
                <a:cxn ang="0">
                  <a:pos x="0" y="192"/>
                </a:cxn>
                <a:cxn ang="0">
                  <a:pos x="9" y="202"/>
                </a:cxn>
                <a:cxn ang="0">
                  <a:pos x="146" y="202"/>
                </a:cxn>
                <a:cxn ang="0">
                  <a:pos x="155" y="202"/>
                </a:cxn>
                <a:cxn ang="0">
                  <a:pos x="223" y="202"/>
                </a:cxn>
                <a:cxn ang="0">
                  <a:pos x="232" y="202"/>
                </a:cxn>
                <a:cxn ang="0">
                  <a:pos x="378" y="202"/>
                </a:cxn>
                <a:cxn ang="0">
                  <a:pos x="378" y="101"/>
                </a:cxn>
                <a:cxn ang="0">
                  <a:pos x="371" y="91"/>
                </a:cxn>
                <a:cxn ang="0">
                  <a:pos x="9" y="192"/>
                </a:cxn>
                <a:cxn ang="0">
                  <a:pos x="76" y="63"/>
                </a:cxn>
                <a:cxn ang="0">
                  <a:pos x="143" y="192"/>
                </a:cxn>
                <a:cxn ang="0">
                  <a:pos x="155" y="192"/>
                </a:cxn>
                <a:cxn ang="0">
                  <a:pos x="223" y="113"/>
                </a:cxn>
                <a:cxn ang="0">
                  <a:pos x="369" y="192"/>
                </a:cxn>
                <a:cxn ang="0">
                  <a:pos x="232" y="101"/>
                </a:cxn>
                <a:cxn ang="0">
                  <a:pos x="311" y="27"/>
                </a:cxn>
                <a:cxn ang="0">
                  <a:pos x="333" y="10"/>
                </a:cxn>
                <a:cxn ang="0">
                  <a:pos x="333" y="87"/>
                </a:cxn>
                <a:cxn ang="0">
                  <a:pos x="369" y="192"/>
                </a:cxn>
              </a:cxnLst>
              <a:rect l="0" t="0" r="r" b="b"/>
              <a:pathLst>
                <a:path w="378" h="202">
                  <a:moveTo>
                    <a:pt x="371" y="91"/>
                  </a:moveTo>
                  <a:lnTo>
                    <a:pt x="342" y="7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10"/>
                  </a:lnTo>
                  <a:lnTo>
                    <a:pt x="342" y="0"/>
                  </a:lnTo>
                  <a:lnTo>
                    <a:pt x="333" y="0"/>
                  </a:lnTo>
                  <a:lnTo>
                    <a:pt x="311" y="0"/>
                  </a:lnTo>
                  <a:lnTo>
                    <a:pt x="304" y="0"/>
                  </a:lnTo>
                  <a:lnTo>
                    <a:pt x="304" y="8"/>
                  </a:lnTo>
                  <a:lnTo>
                    <a:pt x="302" y="27"/>
                  </a:lnTo>
                  <a:lnTo>
                    <a:pt x="302" y="27"/>
                  </a:lnTo>
                  <a:lnTo>
                    <a:pt x="302" y="27"/>
                  </a:lnTo>
                  <a:lnTo>
                    <a:pt x="302" y="77"/>
                  </a:lnTo>
                  <a:lnTo>
                    <a:pt x="230" y="91"/>
                  </a:lnTo>
                  <a:lnTo>
                    <a:pt x="223" y="94"/>
                  </a:lnTo>
                  <a:lnTo>
                    <a:pt x="223" y="101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155" y="103"/>
                  </a:lnTo>
                  <a:lnTo>
                    <a:pt x="153" y="103"/>
                  </a:lnTo>
                  <a:lnTo>
                    <a:pt x="153" y="91"/>
                  </a:lnTo>
                  <a:lnTo>
                    <a:pt x="153" y="87"/>
                  </a:lnTo>
                  <a:lnTo>
                    <a:pt x="148" y="84"/>
                  </a:lnTo>
                  <a:lnTo>
                    <a:pt x="79" y="55"/>
                  </a:lnTo>
                  <a:lnTo>
                    <a:pt x="76" y="53"/>
                  </a:lnTo>
                  <a:lnTo>
                    <a:pt x="74" y="55"/>
                  </a:lnTo>
                  <a:lnTo>
                    <a:pt x="4" y="84"/>
                  </a:lnTo>
                  <a:lnTo>
                    <a:pt x="0" y="87"/>
                  </a:lnTo>
                  <a:lnTo>
                    <a:pt x="0" y="91"/>
                  </a:lnTo>
                  <a:lnTo>
                    <a:pt x="0" y="192"/>
                  </a:lnTo>
                  <a:lnTo>
                    <a:pt x="0" y="202"/>
                  </a:lnTo>
                  <a:lnTo>
                    <a:pt x="9" y="202"/>
                  </a:lnTo>
                  <a:lnTo>
                    <a:pt x="143" y="202"/>
                  </a:lnTo>
                  <a:lnTo>
                    <a:pt x="146" y="202"/>
                  </a:lnTo>
                  <a:lnTo>
                    <a:pt x="153" y="202"/>
                  </a:lnTo>
                  <a:lnTo>
                    <a:pt x="155" y="202"/>
                  </a:lnTo>
                  <a:lnTo>
                    <a:pt x="223" y="202"/>
                  </a:lnTo>
                  <a:lnTo>
                    <a:pt x="223" y="202"/>
                  </a:lnTo>
                  <a:lnTo>
                    <a:pt x="230" y="202"/>
                  </a:lnTo>
                  <a:lnTo>
                    <a:pt x="232" y="202"/>
                  </a:lnTo>
                  <a:lnTo>
                    <a:pt x="369" y="202"/>
                  </a:lnTo>
                  <a:lnTo>
                    <a:pt x="378" y="202"/>
                  </a:lnTo>
                  <a:lnTo>
                    <a:pt x="378" y="192"/>
                  </a:lnTo>
                  <a:lnTo>
                    <a:pt x="378" y="101"/>
                  </a:lnTo>
                  <a:lnTo>
                    <a:pt x="378" y="94"/>
                  </a:lnTo>
                  <a:lnTo>
                    <a:pt x="371" y="91"/>
                  </a:lnTo>
                  <a:close/>
                  <a:moveTo>
                    <a:pt x="143" y="192"/>
                  </a:moveTo>
                  <a:lnTo>
                    <a:pt x="9" y="192"/>
                  </a:lnTo>
                  <a:lnTo>
                    <a:pt x="9" y="91"/>
                  </a:lnTo>
                  <a:lnTo>
                    <a:pt x="76" y="63"/>
                  </a:lnTo>
                  <a:lnTo>
                    <a:pt x="143" y="91"/>
                  </a:lnTo>
                  <a:lnTo>
                    <a:pt x="143" y="192"/>
                  </a:lnTo>
                  <a:close/>
                  <a:moveTo>
                    <a:pt x="223" y="192"/>
                  </a:moveTo>
                  <a:lnTo>
                    <a:pt x="155" y="192"/>
                  </a:lnTo>
                  <a:lnTo>
                    <a:pt x="155" y="113"/>
                  </a:lnTo>
                  <a:lnTo>
                    <a:pt x="223" y="113"/>
                  </a:lnTo>
                  <a:lnTo>
                    <a:pt x="223" y="192"/>
                  </a:lnTo>
                  <a:close/>
                  <a:moveTo>
                    <a:pt x="369" y="192"/>
                  </a:moveTo>
                  <a:lnTo>
                    <a:pt x="232" y="192"/>
                  </a:lnTo>
                  <a:lnTo>
                    <a:pt x="232" y="101"/>
                  </a:lnTo>
                  <a:lnTo>
                    <a:pt x="311" y="84"/>
                  </a:lnTo>
                  <a:lnTo>
                    <a:pt x="311" y="27"/>
                  </a:lnTo>
                  <a:lnTo>
                    <a:pt x="311" y="10"/>
                  </a:lnTo>
                  <a:lnTo>
                    <a:pt x="333" y="10"/>
                  </a:lnTo>
                  <a:lnTo>
                    <a:pt x="333" y="29"/>
                  </a:lnTo>
                  <a:lnTo>
                    <a:pt x="333" y="87"/>
                  </a:lnTo>
                  <a:lnTo>
                    <a:pt x="369" y="101"/>
                  </a:lnTo>
                  <a:lnTo>
                    <a:pt x="369" y="19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3" name="Rectangle 125"/>
            <p:cNvSpPr>
              <a:spLocks noChangeArrowheads="1"/>
            </p:cNvSpPr>
            <p:nvPr/>
          </p:nvSpPr>
          <p:spPr bwMode="auto">
            <a:xfrm>
              <a:off x="1141" y="1210"/>
              <a:ext cx="21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4" name="Rectangle 126"/>
            <p:cNvSpPr>
              <a:spLocks noChangeArrowheads="1"/>
            </p:cNvSpPr>
            <p:nvPr/>
          </p:nvSpPr>
          <p:spPr bwMode="auto">
            <a:xfrm>
              <a:off x="1172" y="121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5" name="Rectangle 127"/>
            <p:cNvSpPr>
              <a:spLocks noChangeArrowheads="1"/>
            </p:cNvSpPr>
            <p:nvPr/>
          </p:nvSpPr>
          <p:spPr bwMode="auto">
            <a:xfrm>
              <a:off x="1141" y="1234"/>
              <a:ext cx="2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6" name="Rectangle 128"/>
            <p:cNvSpPr>
              <a:spLocks noChangeArrowheads="1"/>
            </p:cNvSpPr>
            <p:nvPr/>
          </p:nvSpPr>
          <p:spPr bwMode="auto">
            <a:xfrm>
              <a:off x="1172" y="1234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7" name="Rectangle 129"/>
            <p:cNvSpPr>
              <a:spLocks noChangeArrowheads="1"/>
            </p:cNvSpPr>
            <p:nvPr/>
          </p:nvSpPr>
          <p:spPr bwMode="auto">
            <a:xfrm>
              <a:off x="1141" y="1256"/>
              <a:ext cx="2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8" name="Rectangle 130"/>
            <p:cNvSpPr>
              <a:spLocks noChangeArrowheads="1"/>
            </p:cNvSpPr>
            <p:nvPr/>
          </p:nvSpPr>
          <p:spPr bwMode="auto">
            <a:xfrm>
              <a:off x="1172" y="1256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79" name="Rectangle 131"/>
            <p:cNvSpPr>
              <a:spLocks noChangeArrowheads="1"/>
            </p:cNvSpPr>
            <p:nvPr/>
          </p:nvSpPr>
          <p:spPr bwMode="auto">
            <a:xfrm>
              <a:off x="1002" y="1193"/>
              <a:ext cx="2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0" name="Rectangle 132"/>
            <p:cNvSpPr>
              <a:spLocks noChangeArrowheads="1"/>
            </p:cNvSpPr>
            <p:nvPr/>
          </p:nvSpPr>
          <p:spPr bwMode="auto">
            <a:xfrm>
              <a:off x="1042" y="1193"/>
              <a:ext cx="2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1" name="Rectangle 133"/>
            <p:cNvSpPr>
              <a:spLocks noChangeArrowheads="1"/>
            </p:cNvSpPr>
            <p:nvPr/>
          </p:nvSpPr>
          <p:spPr bwMode="auto">
            <a:xfrm>
              <a:off x="1081" y="1193"/>
              <a:ext cx="28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2" name="Rectangle 134"/>
            <p:cNvSpPr>
              <a:spLocks noChangeArrowheads="1"/>
            </p:cNvSpPr>
            <p:nvPr/>
          </p:nvSpPr>
          <p:spPr bwMode="auto">
            <a:xfrm>
              <a:off x="1002" y="1212"/>
              <a:ext cx="2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3" name="Rectangle 135"/>
            <p:cNvSpPr>
              <a:spLocks noChangeArrowheads="1"/>
            </p:cNvSpPr>
            <p:nvPr/>
          </p:nvSpPr>
          <p:spPr bwMode="auto">
            <a:xfrm>
              <a:off x="1042" y="1212"/>
              <a:ext cx="2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4" name="Rectangle 136"/>
            <p:cNvSpPr>
              <a:spLocks noChangeArrowheads="1"/>
            </p:cNvSpPr>
            <p:nvPr/>
          </p:nvSpPr>
          <p:spPr bwMode="auto">
            <a:xfrm>
              <a:off x="1081" y="1212"/>
              <a:ext cx="28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85" name="Rectangle 137"/>
            <p:cNvSpPr>
              <a:spLocks noChangeArrowheads="1"/>
            </p:cNvSpPr>
            <p:nvPr/>
          </p:nvSpPr>
          <p:spPr bwMode="auto">
            <a:xfrm>
              <a:off x="1002" y="1234"/>
              <a:ext cx="2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6" name="Rectangle 138"/>
            <p:cNvSpPr>
              <a:spLocks noChangeArrowheads="1"/>
            </p:cNvSpPr>
            <p:nvPr/>
          </p:nvSpPr>
          <p:spPr bwMode="auto">
            <a:xfrm>
              <a:off x="1042" y="1234"/>
              <a:ext cx="2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7" name="Rectangle 139"/>
            <p:cNvSpPr>
              <a:spLocks noChangeArrowheads="1"/>
            </p:cNvSpPr>
            <p:nvPr/>
          </p:nvSpPr>
          <p:spPr bwMode="auto">
            <a:xfrm>
              <a:off x="1081" y="1234"/>
              <a:ext cx="28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8" name="Rectangle 140"/>
            <p:cNvSpPr>
              <a:spLocks noChangeArrowheads="1"/>
            </p:cNvSpPr>
            <p:nvPr/>
          </p:nvSpPr>
          <p:spPr bwMode="auto">
            <a:xfrm>
              <a:off x="1002" y="1253"/>
              <a:ext cx="2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89" name="Rectangle 141"/>
            <p:cNvSpPr>
              <a:spLocks noChangeArrowheads="1"/>
            </p:cNvSpPr>
            <p:nvPr/>
          </p:nvSpPr>
          <p:spPr bwMode="auto">
            <a:xfrm>
              <a:off x="1042" y="1253"/>
              <a:ext cx="2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90" name="Rectangle 142"/>
            <p:cNvSpPr>
              <a:spLocks noChangeArrowheads="1"/>
            </p:cNvSpPr>
            <p:nvPr/>
          </p:nvSpPr>
          <p:spPr bwMode="auto">
            <a:xfrm>
              <a:off x="1081" y="1253"/>
              <a:ext cx="28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393" name="Group 145"/>
          <p:cNvGrpSpPr>
            <a:grpSpLocks noChangeAspect="1"/>
          </p:cNvGrpSpPr>
          <p:nvPr/>
        </p:nvGrpSpPr>
        <p:grpSpPr bwMode="auto">
          <a:xfrm>
            <a:off x="2541587" y="1528128"/>
            <a:ext cx="838200" cy="836612"/>
            <a:chOff x="1596" y="937"/>
            <a:chExt cx="528" cy="527"/>
          </a:xfrm>
        </p:grpSpPr>
        <p:sp>
          <p:nvSpPr>
            <p:cNvPr id="53394" name="Oval 146"/>
            <p:cNvSpPr>
              <a:spLocks noChangeArrowheads="1"/>
            </p:cNvSpPr>
            <p:nvPr/>
          </p:nvSpPr>
          <p:spPr bwMode="auto">
            <a:xfrm>
              <a:off x="1596" y="937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95" name="Freeform 147"/>
            <p:cNvSpPr>
              <a:spLocks noEditPoints="1"/>
            </p:cNvSpPr>
            <p:nvPr/>
          </p:nvSpPr>
          <p:spPr bwMode="auto">
            <a:xfrm>
              <a:off x="1618" y="959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96" name="Freeform 148"/>
            <p:cNvSpPr>
              <a:spLocks noEditPoints="1"/>
            </p:cNvSpPr>
            <p:nvPr/>
          </p:nvSpPr>
          <p:spPr bwMode="auto">
            <a:xfrm>
              <a:off x="1788" y="1119"/>
              <a:ext cx="122" cy="251"/>
            </a:xfrm>
            <a:custGeom>
              <a:avLst/>
              <a:gdLst/>
              <a:ahLst/>
              <a:cxnLst>
                <a:cxn ang="0">
                  <a:pos x="39" y="75"/>
                </a:cxn>
                <a:cxn ang="0">
                  <a:pos x="27" y="90"/>
                </a:cxn>
                <a:cxn ang="0">
                  <a:pos x="22" y="85"/>
                </a:cxn>
                <a:cxn ang="0">
                  <a:pos x="24" y="75"/>
                </a:cxn>
                <a:cxn ang="0">
                  <a:pos x="44" y="0"/>
                </a:cxn>
                <a:cxn ang="0">
                  <a:pos x="4" y="0"/>
                </a:cxn>
                <a:cxn ang="0">
                  <a:pos x="0" y="18"/>
                </a:cxn>
                <a:cxn ang="0">
                  <a:pos x="19" y="18"/>
                </a:cxn>
                <a:cxn ang="0">
                  <a:pos x="4" y="74"/>
                </a:cxn>
                <a:cxn ang="0">
                  <a:pos x="2" y="85"/>
                </a:cxn>
                <a:cxn ang="0">
                  <a:pos x="24" y="105"/>
                </a:cxn>
                <a:cxn ang="0">
                  <a:pos x="51" y="80"/>
                </a:cxn>
                <a:cxn ang="0">
                  <a:pos x="51" y="78"/>
                </a:cxn>
                <a:cxn ang="0">
                  <a:pos x="40" y="74"/>
                </a:cxn>
                <a:cxn ang="0">
                  <a:pos x="39" y="75"/>
                </a:cxn>
                <a:cxn ang="0">
                  <a:pos x="47" y="80"/>
                </a:cxn>
                <a:cxn ang="0">
                  <a:pos x="24" y="102"/>
                </a:cxn>
                <a:cxn ang="0">
                  <a:pos x="6" y="85"/>
                </a:cxn>
                <a:cxn ang="0">
                  <a:pos x="8" y="75"/>
                </a:cxn>
                <a:cxn ang="0">
                  <a:pos x="24" y="14"/>
                </a:cxn>
                <a:cxn ang="0">
                  <a:pos x="4" y="14"/>
                </a:cxn>
                <a:cxn ang="0">
                  <a:pos x="7" y="4"/>
                </a:cxn>
                <a:cxn ang="0">
                  <a:pos x="39" y="4"/>
                </a:cxn>
                <a:cxn ang="0">
                  <a:pos x="20" y="74"/>
                </a:cxn>
                <a:cxn ang="0">
                  <a:pos x="19" y="85"/>
                </a:cxn>
                <a:cxn ang="0">
                  <a:pos x="27" y="94"/>
                </a:cxn>
                <a:cxn ang="0">
                  <a:pos x="42" y="78"/>
                </a:cxn>
                <a:cxn ang="0">
                  <a:pos x="47" y="80"/>
                </a:cxn>
              </a:cxnLst>
              <a:rect l="0" t="0" r="r" b="b"/>
              <a:pathLst>
                <a:path w="51" h="105">
                  <a:moveTo>
                    <a:pt x="39" y="75"/>
                  </a:moveTo>
                  <a:cubicBezTo>
                    <a:pt x="34" y="88"/>
                    <a:pt x="30" y="90"/>
                    <a:pt x="27" y="90"/>
                  </a:cubicBezTo>
                  <a:cubicBezTo>
                    <a:pt x="24" y="90"/>
                    <a:pt x="22" y="88"/>
                    <a:pt x="22" y="85"/>
                  </a:cubicBezTo>
                  <a:cubicBezTo>
                    <a:pt x="22" y="83"/>
                    <a:pt x="23" y="79"/>
                    <a:pt x="24" y="75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6"/>
                    <a:pt x="2" y="81"/>
                    <a:pt x="2" y="85"/>
                  </a:cubicBezTo>
                  <a:cubicBezTo>
                    <a:pt x="2" y="97"/>
                    <a:pt x="11" y="105"/>
                    <a:pt x="24" y="105"/>
                  </a:cubicBezTo>
                  <a:cubicBezTo>
                    <a:pt x="36" y="105"/>
                    <a:pt x="45" y="97"/>
                    <a:pt x="51" y="80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40" y="74"/>
                    <a:pt x="40" y="74"/>
                    <a:pt x="40" y="74"/>
                  </a:cubicBezTo>
                  <a:lnTo>
                    <a:pt x="39" y="75"/>
                  </a:lnTo>
                  <a:close/>
                  <a:moveTo>
                    <a:pt x="47" y="80"/>
                  </a:moveTo>
                  <a:cubicBezTo>
                    <a:pt x="42" y="95"/>
                    <a:pt x="34" y="102"/>
                    <a:pt x="24" y="102"/>
                  </a:cubicBezTo>
                  <a:cubicBezTo>
                    <a:pt x="13" y="102"/>
                    <a:pt x="6" y="95"/>
                    <a:pt x="6" y="85"/>
                  </a:cubicBezTo>
                  <a:cubicBezTo>
                    <a:pt x="6" y="83"/>
                    <a:pt x="7" y="79"/>
                    <a:pt x="8" y="7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8"/>
                    <a:pt x="19" y="82"/>
                    <a:pt x="19" y="85"/>
                  </a:cubicBezTo>
                  <a:cubicBezTo>
                    <a:pt x="19" y="90"/>
                    <a:pt x="22" y="94"/>
                    <a:pt x="27" y="94"/>
                  </a:cubicBezTo>
                  <a:cubicBezTo>
                    <a:pt x="33" y="94"/>
                    <a:pt x="38" y="89"/>
                    <a:pt x="42" y="78"/>
                  </a:cubicBezTo>
                  <a:lnTo>
                    <a:pt x="47" y="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97" name="Freeform 149"/>
            <p:cNvSpPr>
              <a:spLocks noEditPoints="1"/>
            </p:cNvSpPr>
            <p:nvPr/>
          </p:nvSpPr>
          <p:spPr bwMode="auto">
            <a:xfrm>
              <a:off x="1843" y="1031"/>
              <a:ext cx="67" cy="64"/>
            </a:xfrm>
            <a:custGeom>
              <a:avLst/>
              <a:gdLst/>
              <a:ahLst/>
              <a:cxnLst>
                <a:cxn ang="0">
                  <a:pos x="14" y="27"/>
                </a:cxn>
                <a:cxn ang="0">
                  <a:pos x="28" y="14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14" y="27"/>
                </a:cxn>
                <a:cxn ang="0">
                  <a:pos x="14" y="3"/>
                </a:cxn>
                <a:cxn ang="0">
                  <a:pos x="24" y="14"/>
                </a:cxn>
                <a:cxn ang="0">
                  <a:pos x="14" y="24"/>
                </a:cxn>
                <a:cxn ang="0">
                  <a:pos x="4" y="14"/>
                </a:cxn>
                <a:cxn ang="0">
                  <a:pos x="14" y="3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21" y="27"/>
                    <a:pt x="28" y="21"/>
                    <a:pt x="28" y="14"/>
                  </a:cubicBezTo>
                  <a:cubicBezTo>
                    <a:pt x="28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4" y="27"/>
                  </a:cubicBezTo>
                  <a:close/>
                  <a:moveTo>
                    <a:pt x="14" y="3"/>
                  </a:moveTo>
                  <a:cubicBezTo>
                    <a:pt x="19" y="3"/>
                    <a:pt x="24" y="8"/>
                    <a:pt x="24" y="14"/>
                  </a:cubicBezTo>
                  <a:cubicBezTo>
                    <a:pt x="24" y="19"/>
                    <a:pt x="19" y="24"/>
                    <a:pt x="14" y="24"/>
                  </a:cubicBezTo>
                  <a:cubicBezTo>
                    <a:pt x="8" y="24"/>
                    <a:pt x="4" y="19"/>
                    <a:pt x="4" y="14"/>
                  </a:cubicBezTo>
                  <a:cubicBezTo>
                    <a:pt x="4" y="8"/>
                    <a:pt x="8" y="3"/>
                    <a:pt x="14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00" name="Group 152"/>
          <p:cNvGrpSpPr>
            <a:grpSpLocks noChangeAspect="1"/>
          </p:cNvGrpSpPr>
          <p:nvPr/>
        </p:nvGrpSpPr>
        <p:grpSpPr bwMode="auto">
          <a:xfrm>
            <a:off x="3670298" y="1561464"/>
            <a:ext cx="768350" cy="768350"/>
            <a:chOff x="2308" y="958"/>
            <a:chExt cx="484" cy="484"/>
          </a:xfrm>
        </p:grpSpPr>
        <p:sp>
          <p:nvSpPr>
            <p:cNvPr id="53401" name="Freeform 153"/>
            <p:cNvSpPr>
              <a:spLocks noEditPoints="1"/>
            </p:cNvSpPr>
            <p:nvPr/>
          </p:nvSpPr>
          <p:spPr bwMode="auto">
            <a:xfrm>
              <a:off x="2308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02" name="Freeform 154"/>
            <p:cNvSpPr>
              <a:spLocks noEditPoints="1"/>
            </p:cNvSpPr>
            <p:nvPr/>
          </p:nvSpPr>
          <p:spPr bwMode="auto">
            <a:xfrm>
              <a:off x="2478" y="1119"/>
              <a:ext cx="123" cy="252"/>
            </a:xfrm>
            <a:custGeom>
              <a:avLst/>
              <a:gdLst/>
              <a:ahLst/>
              <a:cxnLst>
                <a:cxn ang="0">
                  <a:pos x="39" y="75"/>
                </a:cxn>
                <a:cxn ang="0">
                  <a:pos x="27" y="90"/>
                </a:cxn>
                <a:cxn ang="0">
                  <a:pos x="22" y="85"/>
                </a:cxn>
                <a:cxn ang="0">
                  <a:pos x="24" y="75"/>
                </a:cxn>
                <a:cxn ang="0">
                  <a:pos x="44" y="0"/>
                </a:cxn>
                <a:cxn ang="0">
                  <a:pos x="4" y="0"/>
                </a:cxn>
                <a:cxn ang="0">
                  <a:pos x="0" y="18"/>
                </a:cxn>
                <a:cxn ang="0">
                  <a:pos x="19" y="18"/>
                </a:cxn>
                <a:cxn ang="0">
                  <a:pos x="4" y="74"/>
                </a:cxn>
                <a:cxn ang="0">
                  <a:pos x="2" y="85"/>
                </a:cxn>
                <a:cxn ang="0">
                  <a:pos x="24" y="105"/>
                </a:cxn>
                <a:cxn ang="0">
                  <a:pos x="51" y="80"/>
                </a:cxn>
                <a:cxn ang="0">
                  <a:pos x="51" y="78"/>
                </a:cxn>
                <a:cxn ang="0">
                  <a:pos x="40" y="74"/>
                </a:cxn>
                <a:cxn ang="0">
                  <a:pos x="39" y="75"/>
                </a:cxn>
                <a:cxn ang="0">
                  <a:pos x="47" y="80"/>
                </a:cxn>
                <a:cxn ang="0">
                  <a:pos x="24" y="102"/>
                </a:cxn>
                <a:cxn ang="0">
                  <a:pos x="6" y="85"/>
                </a:cxn>
                <a:cxn ang="0">
                  <a:pos x="8" y="75"/>
                </a:cxn>
                <a:cxn ang="0">
                  <a:pos x="24" y="14"/>
                </a:cxn>
                <a:cxn ang="0">
                  <a:pos x="4" y="14"/>
                </a:cxn>
                <a:cxn ang="0">
                  <a:pos x="7" y="4"/>
                </a:cxn>
                <a:cxn ang="0">
                  <a:pos x="39" y="4"/>
                </a:cxn>
                <a:cxn ang="0">
                  <a:pos x="20" y="74"/>
                </a:cxn>
                <a:cxn ang="0">
                  <a:pos x="19" y="85"/>
                </a:cxn>
                <a:cxn ang="0">
                  <a:pos x="27" y="94"/>
                </a:cxn>
                <a:cxn ang="0">
                  <a:pos x="42" y="78"/>
                </a:cxn>
                <a:cxn ang="0">
                  <a:pos x="47" y="80"/>
                </a:cxn>
              </a:cxnLst>
              <a:rect l="0" t="0" r="r" b="b"/>
              <a:pathLst>
                <a:path w="51" h="105">
                  <a:moveTo>
                    <a:pt x="39" y="75"/>
                  </a:moveTo>
                  <a:cubicBezTo>
                    <a:pt x="34" y="88"/>
                    <a:pt x="30" y="90"/>
                    <a:pt x="27" y="90"/>
                  </a:cubicBezTo>
                  <a:cubicBezTo>
                    <a:pt x="24" y="90"/>
                    <a:pt x="22" y="88"/>
                    <a:pt x="22" y="85"/>
                  </a:cubicBezTo>
                  <a:cubicBezTo>
                    <a:pt x="22" y="83"/>
                    <a:pt x="23" y="79"/>
                    <a:pt x="24" y="75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6"/>
                    <a:pt x="2" y="81"/>
                    <a:pt x="2" y="85"/>
                  </a:cubicBezTo>
                  <a:cubicBezTo>
                    <a:pt x="2" y="97"/>
                    <a:pt x="11" y="105"/>
                    <a:pt x="24" y="105"/>
                  </a:cubicBezTo>
                  <a:cubicBezTo>
                    <a:pt x="36" y="105"/>
                    <a:pt x="45" y="97"/>
                    <a:pt x="51" y="80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40" y="74"/>
                    <a:pt x="40" y="74"/>
                    <a:pt x="40" y="74"/>
                  </a:cubicBezTo>
                  <a:lnTo>
                    <a:pt x="39" y="75"/>
                  </a:lnTo>
                  <a:close/>
                  <a:moveTo>
                    <a:pt x="47" y="80"/>
                  </a:moveTo>
                  <a:cubicBezTo>
                    <a:pt x="42" y="95"/>
                    <a:pt x="34" y="102"/>
                    <a:pt x="24" y="102"/>
                  </a:cubicBezTo>
                  <a:cubicBezTo>
                    <a:pt x="13" y="102"/>
                    <a:pt x="6" y="95"/>
                    <a:pt x="6" y="85"/>
                  </a:cubicBezTo>
                  <a:cubicBezTo>
                    <a:pt x="6" y="83"/>
                    <a:pt x="7" y="79"/>
                    <a:pt x="8" y="7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8"/>
                    <a:pt x="19" y="82"/>
                    <a:pt x="19" y="85"/>
                  </a:cubicBezTo>
                  <a:cubicBezTo>
                    <a:pt x="19" y="90"/>
                    <a:pt x="22" y="94"/>
                    <a:pt x="27" y="94"/>
                  </a:cubicBezTo>
                  <a:cubicBezTo>
                    <a:pt x="33" y="94"/>
                    <a:pt x="38" y="89"/>
                    <a:pt x="42" y="78"/>
                  </a:cubicBezTo>
                  <a:lnTo>
                    <a:pt x="47" y="8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03" name="Freeform 155"/>
            <p:cNvSpPr>
              <a:spLocks noEditPoints="1"/>
            </p:cNvSpPr>
            <p:nvPr/>
          </p:nvSpPr>
          <p:spPr bwMode="auto">
            <a:xfrm>
              <a:off x="2534" y="1030"/>
              <a:ext cx="67" cy="65"/>
            </a:xfrm>
            <a:custGeom>
              <a:avLst/>
              <a:gdLst/>
              <a:ahLst/>
              <a:cxnLst>
                <a:cxn ang="0">
                  <a:pos x="14" y="27"/>
                </a:cxn>
                <a:cxn ang="0">
                  <a:pos x="28" y="14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14" y="27"/>
                </a:cxn>
                <a:cxn ang="0">
                  <a:pos x="14" y="3"/>
                </a:cxn>
                <a:cxn ang="0">
                  <a:pos x="24" y="14"/>
                </a:cxn>
                <a:cxn ang="0">
                  <a:pos x="14" y="24"/>
                </a:cxn>
                <a:cxn ang="0">
                  <a:pos x="4" y="14"/>
                </a:cxn>
                <a:cxn ang="0">
                  <a:pos x="14" y="3"/>
                </a:cxn>
              </a:cxnLst>
              <a:rect l="0" t="0" r="r" b="b"/>
              <a:pathLst>
                <a:path w="28" h="27">
                  <a:moveTo>
                    <a:pt x="14" y="27"/>
                  </a:moveTo>
                  <a:cubicBezTo>
                    <a:pt x="21" y="27"/>
                    <a:pt x="28" y="21"/>
                    <a:pt x="28" y="14"/>
                  </a:cubicBezTo>
                  <a:cubicBezTo>
                    <a:pt x="28" y="6"/>
                    <a:pt x="21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7"/>
                    <a:pt x="14" y="27"/>
                  </a:cubicBezTo>
                  <a:close/>
                  <a:moveTo>
                    <a:pt x="14" y="3"/>
                  </a:moveTo>
                  <a:cubicBezTo>
                    <a:pt x="19" y="3"/>
                    <a:pt x="24" y="8"/>
                    <a:pt x="24" y="14"/>
                  </a:cubicBezTo>
                  <a:cubicBezTo>
                    <a:pt x="24" y="19"/>
                    <a:pt x="19" y="24"/>
                    <a:pt x="14" y="24"/>
                  </a:cubicBezTo>
                  <a:cubicBezTo>
                    <a:pt x="8" y="24"/>
                    <a:pt x="4" y="19"/>
                    <a:pt x="4" y="14"/>
                  </a:cubicBezTo>
                  <a:cubicBezTo>
                    <a:pt x="4" y="8"/>
                    <a:pt x="8" y="3"/>
                    <a:pt x="14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06" name="Group 158"/>
          <p:cNvGrpSpPr>
            <a:grpSpLocks noChangeAspect="1"/>
          </p:cNvGrpSpPr>
          <p:nvPr/>
        </p:nvGrpSpPr>
        <p:grpSpPr bwMode="auto">
          <a:xfrm>
            <a:off x="4725988" y="1518603"/>
            <a:ext cx="849313" cy="852487"/>
            <a:chOff x="2974" y="931"/>
            <a:chExt cx="535" cy="537"/>
          </a:xfrm>
        </p:grpSpPr>
        <p:sp>
          <p:nvSpPr>
            <p:cNvPr id="53407" name="Oval 159"/>
            <p:cNvSpPr>
              <a:spLocks noChangeArrowheads="1"/>
            </p:cNvSpPr>
            <p:nvPr/>
          </p:nvSpPr>
          <p:spPr bwMode="auto">
            <a:xfrm>
              <a:off x="2974" y="931"/>
              <a:ext cx="535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08" name="Freeform 160"/>
            <p:cNvSpPr>
              <a:spLocks noEditPoints="1"/>
            </p:cNvSpPr>
            <p:nvPr/>
          </p:nvSpPr>
          <p:spPr bwMode="auto">
            <a:xfrm>
              <a:off x="2995" y="950"/>
              <a:ext cx="493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09" name="Freeform 161"/>
            <p:cNvSpPr>
              <a:spLocks noEditPoints="1"/>
            </p:cNvSpPr>
            <p:nvPr/>
          </p:nvSpPr>
          <p:spPr bwMode="auto">
            <a:xfrm>
              <a:off x="3084" y="1055"/>
              <a:ext cx="311" cy="300"/>
            </a:xfrm>
            <a:custGeom>
              <a:avLst/>
              <a:gdLst/>
              <a:ahLst/>
              <a:cxnLst>
                <a:cxn ang="0">
                  <a:pos x="126" y="51"/>
                </a:cxn>
                <a:cxn ang="0">
                  <a:pos x="116" y="15"/>
                </a:cxn>
                <a:cxn ang="0">
                  <a:pos x="78" y="6"/>
                </a:cxn>
                <a:cxn ang="0">
                  <a:pos x="54" y="6"/>
                </a:cxn>
                <a:cxn ang="0">
                  <a:pos x="15" y="15"/>
                </a:cxn>
                <a:cxn ang="0">
                  <a:pos x="4" y="51"/>
                </a:cxn>
                <a:cxn ang="0">
                  <a:pos x="0" y="53"/>
                </a:cxn>
                <a:cxn ang="0">
                  <a:pos x="45" y="53"/>
                </a:cxn>
                <a:cxn ang="0">
                  <a:pos x="41" y="51"/>
                </a:cxn>
                <a:cxn ang="0">
                  <a:pos x="54" y="23"/>
                </a:cxn>
                <a:cxn ang="0">
                  <a:pos x="58" y="107"/>
                </a:cxn>
                <a:cxn ang="0">
                  <a:pos x="37" y="116"/>
                </a:cxn>
                <a:cxn ang="0">
                  <a:pos x="87" y="125"/>
                </a:cxn>
                <a:cxn ang="0">
                  <a:pos x="87" y="107"/>
                </a:cxn>
                <a:cxn ang="0">
                  <a:pos x="73" y="27"/>
                </a:cxn>
                <a:cxn ang="0">
                  <a:pos x="105" y="23"/>
                </a:cxn>
                <a:cxn ang="0">
                  <a:pos x="87" y="51"/>
                </a:cxn>
                <a:cxn ang="0">
                  <a:pos x="108" y="75"/>
                </a:cxn>
                <a:cxn ang="0">
                  <a:pos x="128" y="51"/>
                </a:cxn>
                <a:cxn ang="0">
                  <a:pos x="4" y="55"/>
                </a:cxn>
                <a:cxn ang="0">
                  <a:pos x="40" y="55"/>
                </a:cxn>
                <a:cxn ang="0">
                  <a:pos x="41" y="55"/>
                </a:cxn>
                <a:cxn ang="0">
                  <a:pos x="8" y="51"/>
                </a:cxn>
                <a:cxn ang="0">
                  <a:pos x="37" y="51"/>
                </a:cxn>
                <a:cxn ang="0">
                  <a:pos x="77" y="20"/>
                </a:cxn>
                <a:cxn ang="0">
                  <a:pos x="71" y="25"/>
                </a:cxn>
                <a:cxn ang="0">
                  <a:pos x="70" y="108"/>
                </a:cxn>
                <a:cxn ang="0">
                  <a:pos x="87" y="110"/>
                </a:cxn>
                <a:cxn ang="0">
                  <a:pos x="87" y="122"/>
                </a:cxn>
                <a:cxn ang="0">
                  <a:pos x="40" y="116"/>
                </a:cxn>
                <a:cxn ang="0">
                  <a:pos x="60" y="110"/>
                </a:cxn>
                <a:cxn ang="0">
                  <a:pos x="62" y="26"/>
                </a:cxn>
                <a:cxn ang="0">
                  <a:pos x="56" y="21"/>
                </a:cxn>
                <a:cxn ang="0">
                  <a:pos x="24" y="20"/>
                </a:cxn>
                <a:cxn ang="0">
                  <a:pos x="24" y="10"/>
                </a:cxn>
                <a:cxn ang="0">
                  <a:pos x="56" y="9"/>
                </a:cxn>
                <a:cxn ang="0">
                  <a:pos x="75" y="9"/>
                </a:cxn>
                <a:cxn ang="0">
                  <a:pos x="108" y="10"/>
                </a:cxn>
                <a:cxn ang="0">
                  <a:pos x="108" y="20"/>
                </a:cxn>
                <a:cxn ang="0">
                  <a:pos x="108" y="20"/>
                </a:cxn>
                <a:cxn ang="0">
                  <a:pos x="77" y="20"/>
                </a:cxn>
                <a:cxn ang="0">
                  <a:pos x="122" y="51"/>
                </a:cxn>
                <a:cxn ang="0">
                  <a:pos x="108" y="25"/>
                </a:cxn>
                <a:cxn ang="0">
                  <a:pos x="89" y="55"/>
                </a:cxn>
                <a:cxn ang="0">
                  <a:pos x="90" y="55"/>
                </a:cxn>
                <a:cxn ang="0">
                  <a:pos x="126" y="55"/>
                </a:cxn>
              </a:cxnLst>
              <a:rect l="0" t="0" r="r" b="b"/>
              <a:pathLst>
                <a:path w="130" h="125">
                  <a:moveTo>
                    <a:pt x="128" y="51"/>
                  </a:moveTo>
                  <a:cubicBezTo>
                    <a:pt x="126" y="51"/>
                    <a:pt x="126" y="51"/>
                    <a:pt x="126" y="51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4" y="22"/>
                    <a:pt x="116" y="19"/>
                    <a:pt x="116" y="15"/>
                  </a:cubicBezTo>
                  <a:cubicBezTo>
                    <a:pt x="116" y="10"/>
                    <a:pt x="112" y="6"/>
                    <a:pt x="108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5" y="2"/>
                    <a:pt x="71" y="0"/>
                    <a:pt x="66" y="0"/>
                  </a:cubicBezTo>
                  <a:cubicBezTo>
                    <a:pt x="61" y="0"/>
                    <a:pt x="56" y="2"/>
                    <a:pt x="5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9" y="6"/>
                    <a:pt x="15" y="10"/>
                    <a:pt x="15" y="15"/>
                  </a:cubicBezTo>
                  <a:cubicBezTo>
                    <a:pt x="15" y="18"/>
                    <a:pt x="17" y="21"/>
                    <a:pt x="20" y="2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1" y="51"/>
                    <a:pt x="0" y="52"/>
                    <a:pt x="0" y="53"/>
                  </a:cubicBezTo>
                  <a:cubicBezTo>
                    <a:pt x="0" y="65"/>
                    <a:pt x="10" y="75"/>
                    <a:pt x="23" y="75"/>
                  </a:cubicBezTo>
                  <a:cubicBezTo>
                    <a:pt x="35" y="75"/>
                    <a:pt x="45" y="65"/>
                    <a:pt x="45" y="53"/>
                  </a:cubicBezTo>
                  <a:cubicBezTo>
                    <a:pt x="45" y="52"/>
                    <a:pt x="44" y="51"/>
                    <a:pt x="43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5"/>
                    <a:pt x="56" y="26"/>
                    <a:pt x="58" y="27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0" y="107"/>
                    <a:pt x="37" y="111"/>
                    <a:pt x="37" y="116"/>
                  </a:cubicBezTo>
                  <a:cubicBezTo>
                    <a:pt x="37" y="121"/>
                    <a:pt x="40" y="125"/>
                    <a:pt x="45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91" y="125"/>
                    <a:pt x="95" y="121"/>
                    <a:pt x="95" y="116"/>
                  </a:cubicBezTo>
                  <a:cubicBezTo>
                    <a:pt x="95" y="111"/>
                    <a:pt x="91" y="107"/>
                    <a:pt x="87" y="107"/>
                  </a:cubicBezTo>
                  <a:cubicBezTo>
                    <a:pt x="73" y="107"/>
                    <a:pt x="73" y="107"/>
                    <a:pt x="73" y="10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5" y="26"/>
                    <a:pt x="77" y="25"/>
                    <a:pt x="78" y="23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5" y="52"/>
                    <a:pt x="85" y="53"/>
                  </a:cubicBezTo>
                  <a:cubicBezTo>
                    <a:pt x="85" y="65"/>
                    <a:pt x="95" y="75"/>
                    <a:pt x="108" y="75"/>
                  </a:cubicBezTo>
                  <a:cubicBezTo>
                    <a:pt x="120" y="75"/>
                    <a:pt x="130" y="65"/>
                    <a:pt x="130" y="53"/>
                  </a:cubicBezTo>
                  <a:cubicBezTo>
                    <a:pt x="130" y="52"/>
                    <a:pt x="129" y="51"/>
                    <a:pt x="128" y="51"/>
                  </a:cubicBezTo>
                  <a:close/>
                  <a:moveTo>
                    <a:pt x="23" y="72"/>
                  </a:moveTo>
                  <a:cubicBezTo>
                    <a:pt x="13" y="72"/>
                    <a:pt x="5" y="64"/>
                    <a:pt x="4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0" y="64"/>
                    <a:pt x="32" y="72"/>
                    <a:pt x="23" y="72"/>
                  </a:cubicBezTo>
                  <a:close/>
                  <a:moveTo>
                    <a:pt x="8" y="51"/>
                  </a:moveTo>
                  <a:cubicBezTo>
                    <a:pt x="23" y="25"/>
                    <a:pt x="23" y="25"/>
                    <a:pt x="23" y="25"/>
                  </a:cubicBezTo>
                  <a:cubicBezTo>
                    <a:pt x="37" y="51"/>
                    <a:pt x="37" y="51"/>
                    <a:pt x="37" y="51"/>
                  </a:cubicBezTo>
                  <a:lnTo>
                    <a:pt x="8" y="51"/>
                  </a:lnTo>
                  <a:close/>
                  <a:moveTo>
                    <a:pt x="77" y="20"/>
                  </a:moveTo>
                  <a:cubicBezTo>
                    <a:pt x="76" y="20"/>
                    <a:pt x="75" y="20"/>
                    <a:pt x="75" y="21"/>
                  </a:cubicBezTo>
                  <a:cubicBezTo>
                    <a:pt x="74" y="22"/>
                    <a:pt x="73" y="24"/>
                    <a:pt x="71" y="25"/>
                  </a:cubicBezTo>
                  <a:cubicBezTo>
                    <a:pt x="70" y="25"/>
                    <a:pt x="70" y="26"/>
                    <a:pt x="70" y="26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9"/>
                    <a:pt x="71" y="110"/>
                    <a:pt x="72" y="11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89" y="110"/>
                    <a:pt x="91" y="113"/>
                    <a:pt x="91" y="116"/>
                  </a:cubicBezTo>
                  <a:cubicBezTo>
                    <a:pt x="91" y="119"/>
                    <a:pt x="89" y="122"/>
                    <a:pt x="87" y="122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2" y="122"/>
                    <a:pt x="40" y="119"/>
                    <a:pt x="40" y="116"/>
                  </a:cubicBezTo>
                  <a:cubicBezTo>
                    <a:pt x="40" y="113"/>
                    <a:pt x="42" y="110"/>
                    <a:pt x="45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61" y="110"/>
                    <a:pt x="62" y="109"/>
                    <a:pt x="62" y="108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6"/>
                    <a:pt x="61" y="25"/>
                    <a:pt x="61" y="25"/>
                  </a:cubicBezTo>
                  <a:cubicBezTo>
                    <a:pt x="59" y="24"/>
                    <a:pt x="57" y="22"/>
                    <a:pt x="56" y="21"/>
                  </a:cubicBezTo>
                  <a:cubicBezTo>
                    <a:pt x="56" y="20"/>
                    <a:pt x="55" y="20"/>
                    <a:pt x="5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1" y="20"/>
                    <a:pt x="19" y="18"/>
                    <a:pt x="19" y="15"/>
                  </a:cubicBezTo>
                  <a:cubicBezTo>
                    <a:pt x="19" y="12"/>
                    <a:pt x="21" y="10"/>
                    <a:pt x="2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56" y="10"/>
                    <a:pt x="56" y="9"/>
                  </a:cubicBezTo>
                  <a:cubicBezTo>
                    <a:pt x="58" y="6"/>
                    <a:pt x="62" y="4"/>
                    <a:pt x="66" y="4"/>
                  </a:cubicBezTo>
                  <a:cubicBezTo>
                    <a:pt x="70" y="4"/>
                    <a:pt x="73" y="6"/>
                    <a:pt x="75" y="9"/>
                  </a:cubicBezTo>
                  <a:cubicBezTo>
                    <a:pt x="75" y="10"/>
                    <a:pt x="76" y="10"/>
                    <a:pt x="77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0"/>
                    <a:pt x="112" y="12"/>
                    <a:pt x="112" y="15"/>
                  </a:cubicBezTo>
                  <a:cubicBezTo>
                    <a:pt x="112" y="17"/>
                    <a:pt x="110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lnTo>
                    <a:pt x="77" y="20"/>
                  </a:lnTo>
                  <a:close/>
                  <a:moveTo>
                    <a:pt x="108" y="25"/>
                  </a:moveTo>
                  <a:cubicBezTo>
                    <a:pt x="122" y="51"/>
                    <a:pt x="122" y="51"/>
                    <a:pt x="122" y="51"/>
                  </a:cubicBezTo>
                  <a:cubicBezTo>
                    <a:pt x="93" y="51"/>
                    <a:pt x="93" y="51"/>
                    <a:pt x="93" y="51"/>
                  </a:cubicBezTo>
                  <a:lnTo>
                    <a:pt x="108" y="25"/>
                  </a:lnTo>
                  <a:close/>
                  <a:moveTo>
                    <a:pt x="108" y="72"/>
                  </a:moveTo>
                  <a:cubicBezTo>
                    <a:pt x="98" y="72"/>
                    <a:pt x="90" y="64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5" y="64"/>
                    <a:pt x="117" y="72"/>
                    <a:pt x="108" y="7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12" name="Group 164"/>
          <p:cNvGrpSpPr>
            <a:grpSpLocks noChangeAspect="1"/>
          </p:cNvGrpSpPr>
          <p:nvPr/>
        </p:nvGrpSpPr>
        <p:grpSpPr bwMode="auto">
          <a:xfrm>
            <a:off x="5851528" y="1550354"/>
            <a:ext cx="784226" cy="785813"/>
            <a:chOff x="3685" y="951"/>
            <a:chExt cx="494" cy="495"/>
          </a:xfrm>
        </p:grpSpPr>
        <p:sp>
          <p:nvSpPr>
            <p:cNvPr id="53413" name="Freeform 165"/>
            <p:cNvSpPr>
              <a:spLocks noEditPoints="1"/>
            </p:cNvSpPr>
            <p:nvPr/>
          </p:nvSpPr>
          <p:spPr bwMode="auto">
            <a:xfrm>
              <a:off x="3685" y="951"/>
              <a:ext cx="494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14" name="Freeform 166"/>
            <p:cNvSpPr>
              <a:spLocks noEditPoints="1"/>
            </p:cNvSpPr>
            <p:nvPr/>
          </p:nvSpPr>
          <p:spPr bwMode="auto">
            <a:xfrm>
              <a:off x="3774" y="1056"/>
              <a:ext cx="312" cy="299"/>
            </a:xfrm>
            <a:custGeom>
              <a:avLst/>
              <a:gdLst/>
              <a:ahLst/>
              <a:cxnLst>
                <a:cxn ang="0">
                  <a:pos x="126" y="51"/>
                </a:cxn>
                <a:cxn ang="0">
                  <a:pos x="116" y="15"/>
                </a:cxn>
                <a:cxn ang="0">
                  <a:pos x="78" y="6"/>
                </a:cxn>
                <a:cxn ang="0">
                  <a:pos x="54" y="6"/>
                </a:cxn>
                <a:cxn ang="0">
                  <a:pos x="15" y="15"/>
                </a:cxn>
                <a:cxn ang="0">
                  <a:pos x="4" y="51"/>
                </a:cxn>
                <a:cxn ang="0">
                  <a:pos x="0" y="53"/>
                </a:cxn>
                <a:cxn ang="0">
                  <a:pos x="45" y="53"/>
                </a:cxn>
                <a:cxn ang="0">
                  <a:pos x="41" y="51"/>
                </a:cxn>
                <a:cxn ang="0">
                  <a:pos x="54" y="23"/>
                </a:cxn>
                <a:cxn ang="0">
                  <a:pos x="58" y="107"/>
                </a:cxn>
                <a:cxn ang="0">
                  <a:pos x="37" y="116"/>
                </a:cxn>
                <a:cxn ang="0">
                  <a:pos x="87" y="125"/>
                </a:cxn>
                <a:cxn ang="0">
                  <a:pos x="87" y="107"/>
                </a:cxn>
                <a:cxn ang="0">
                  <a:pos x="73" y="27"/>
                </a:cxn>
                <a:cxn ang="0">
                  <a:pos x="105" y="23"/>
                </a:cxn>
                <a:cxn ang="0">
                  <a:pos x="87" y="51"/>
                </a:cxn>
                <a:cxn ang="0">
                  <a:pos x="108" y="75"/>
                </a:cxn>
                <a:cxn ang="0">
                  <a:pos x="128" y="51"/>
                </a:cxn>
                <a:cxn ang="0">
                  <a:pos x="4" y="55"/>
                </a:cxn>
                <a:cxn ang="0">
                  <a:pos x="40" y="55"/>
                </a:cxn>
                <a:cxn ang="0">
                  <a:pos x="41" y="55"/>
                </a:cxn>
                <a:cxn ang="0">
                  <a:pos x="8" y="51"/>
                </a:cxn>
                <a:cxn ang="0">
                  <a:pos x="37" y="51"/>
                </a:cxn>
                <a:cxn ang="0">
                  <a:pos x="77" y="20"/>
                </a:cxn>
                <a:cxn ang="0">
                  <a:pos x="71" y="25"/>
                </a:cxn>
                <a:cxn ang="0">
                  <a:pos x="70" y="108"/>
                </a:cxn>
                <a:cxn ang="0">
                  <a:pos x="87" y="110"/>
                </a:cxn>
                <a:cxn ang="0">
                  <a:pos x="87" y="122"/>
                </a:cxn>
                <a:cxn ang="0">
                  <a:pos x="40" y="116"/>
                </a:cxn>
                <a:cxn ang="0">
                  <a:pos x="60" y="110"/>
                </a:cxn>
                <a:cxn ang="0">
                  <a:pos x="62" y="26"/>
                </a:cxn>
                <a:cxn ang="0">
                  <a:pos x="56" y="21"/>
                </a:cxn>
                <a:cxn ang="0">
                  <a:pos x="24" y="20"/>
                </a:cxn>
                <a:cxn ang="0">
                  <a:pos x="24" y="10"/>
                </a:cxn>
                <a:cxn ang="0">
                  <a:pos x="56" y="9"/>
                </a:cxn>
                <a:cxn ang="0">
                  <a:pos x="75" y="9"/>
                </a:cxn>
                <a:cxn ang="0">
                  <a:pos x="108" y="10"/>
                </a:cxn>
                <a:cxn ang="0">
                  <a:pos x="108" y="20"/>
                </a:cxn>
                <a:cxn ang="0">
                  <a:pos x="108" y="20"/>
                </a:cxn>
                <a:cxn ang="0">
                  <a:pos x="77" y="20"/>
                </a:cxn>
                <a:cxn ang="0">
                  <a:pos x="122" y="51"/>
                </a:cxn>
                <a:cxn ang="0">
                  <a:pos x="108" y="25"/>
                </a:cxn>
                <a:cxn ang="0">
                  <a:pos x="89" y="55"/>
                </a:cxn>
                <a:cxn ang="0">
                  <a:pos x="90" y="55"/>
                </a:cxn>
                <a:cxn ang="0">
                  <a:pos x="126" y="55"/>
                </a:cxn>
              </a:cxnLst>
              <a:rect l="0" t="0" r="r" b="b"/>
              <a:pathLst>
                <a:path w="130" h="125">
                  <a:moveTo>
                    <a:pt x="128" y="51"/>
                  </a:moveTo>
                  <a:cubicBezTo>
                    <a:pt x="126" y="51"/>
                    <a:pt x="126" y="51"/>
                    <a:pt x="126" y="51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4" y="22"/>
                    <a:pt x="116" y="19"/>
                    <a:pt x="116" y="15"/>
                  </a:cubicBezTo>
                  <a:cubicBezTo>
                    <a:pt x="116" y="10"/>
                    <a:pt x="112" y="6"/>
                    <a:pt x="108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5" y="2"/>
                    <a:pt x="71" y="0"/>
                    <a:pt x="66" y="0"/>
                  </a:cubicBezTo>
                  <a:cubicBezTo>
                    <a:pt x="61" y="0"/>
                    <a:pt x="56" y="2"/>
                    <a:pt x="5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9" y="6"/>
                    <a:pt x="15" y="10"/>
                    <a:pt x="15" y="15"/>
                  </a:cubicBezTo>
                  <a:cubicBezTo>
                    <a:pt x="15" y="18"/>
                    <a:pt x="17" y="21"/>
                    <a:pt x="20" y="2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1" y="51"/>
                    <a:pt x="0" y="52"/>
                    <a:pt x="0" y="53"/>
                  </a:cubicBezTo>
                  <a:cubicBezTo>
                    <a:pt x="0" y="65"/>
                    <a:pt x="10" y="75"/>
                    <a:pt x="23" y="75"/>
                  </a:cubicBezTo>
                  <a:cubicBezTo>
                    <a:pt x="35" y="75"/>
                    <a:pt x="45" y="65"/>
                    <a:pt x="45" y="53"/>
                  </a:cubicBezTo>
                  <a:cubicBezTo>
                    <a:pt x="45" y="52"/>
                    <a:pt x="44" y="51"/>
                    <a:pt x="43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5"/>
                    <a:pt x="56" y="26"/>
                    <a:pt x="58" y="27"/>
                  </a:cubicBezTo>
                  <a:cubicBezTo>
                    <a:pt x="58" y="107"/>
                    <a:pt x="58" y="107"/>
                    <a:pt x="58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0" y="107"/>
                    <a:pt x="37" y="111"/>
                    <a:pt x="37" y="116"/>
                  </a:cubicBezTo>
                  <a:cubicBezTo>
                    <a:pt x="37" y="121"/>
                    <a:pt x="40" y="125"/>
                    <a:pt x="45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91" y="125"/>
                    <a:pt x="95" y="121"/>
                    <a:pt x="95" y="116"/>
                  </a:cubicBezTo>
                  <a:cubicBezTo>
                    <a:pt x="95" y="111"/>
                    <a:pt x="91" y="107"/>
                    <a:pt x="87" y="107"/>
                  </a:cubicBezTo>
                  <a:cubicBezTo>
                    <a:pt x="73" y="107"/>
                    <a:pt x="73" y="107"/>
                    <a:pt x="73" y="10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5" y="26"/>
                    <a:pt x="77" y="25"/>
                    <a:pt x="78" y="23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5" y="52"/>
                    <a:pt x="85" y="53"/>
                  </a:cubicBezTo>
                  <a:cubicBezTo>
                    <a:pt x="85" y="65"/>
                    <a:pt x="95" y="75"/>
                    <a:pt x="108" y="75"/>
                  </a:cubicBezTo>
                  <a:cubicBezTo>
                    <a:pt x="120" y="75"/>
                    <a:pt x="130" y="65"/>
                    <a:pt x="130" y="53"/>
                  </a:cubicBezTo>
                  <a:cubicBezTo>
                    <a:pt x="130" y="52"/>
                    <a:pt x="129" y="51"/>
                    <a:pt x="128" y="51"/>
                  </a:cubicBezTo>
                  <a:close/>
                  <a:moveTo>
                    <a:pt x="23" y="72"/>
                  </a:moveTo>
                  <a:cubicBezTo>
                    <a:pt x="13" y="72"/>
                    <a:pt x="5" y="64"/>
                    <a:pt x="4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0" y="64"/>
                    <a:pt x="32" y="72"/>
                    <a:pt x="23" y="72"/>
                  </a:cubicBezTo>
                  <a:close/>
                  <a:moveTo>
                    <a:pt x="8" y="51"/>
                  </a:moveTo>
                  <a:cubicBezTo>
                    <a:pt x="23" y="25"/>
                    <a:pt x="23" y="25"/>
                    <a:pt x="23" y="25"/>
                  </a:cubicBezTo>
                  <a:cubicBezTo>
                    <a:pt x="37" y="51"/>
                    <a:pt x="37" y="51"/>
                    <a:pt x="37" y="51"/>
                  </a:cubicBezTo>
                  <a:lnTo>
                    <a:pt x="8" y="51"/>
                  </a:lnTo>
                  <a:close/>
                  <a:moveTo>
                    <a:pt x="77" y="20"/>
                  </a:moveTo>
                  <a:cubicBezTo>
                    <a:pt x="76" y="20"/>
                    <a:pt x="75" y="20"/>
                    <a:pt x="75" y="21"/>
                  </a:cubicBezTo>
                  <a:cubicBezTo>
                    <a:pt x="74" y="22"/>
                    <a:pt x="73" y="24"/>
                    <a:pt x="71" y="25"/>
                  </a:cubicBezTo>
                  <a:cubicBezTo>
                    <a:pt x="70" y="25"/>
                    <a:pt x="70" y="26"/>
                    <a:pt x="70" y="26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9"/>
                    <a:pt x="71" y="110"/>
                    <a:pt x="72" y="11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89" y="110"/>
                    <a:pt x="91" y="113"/>
                    <a:pt x="91" y="116"/>
                  </a:cubicBezTo>
                  <a:cubicBezTo>
                    <a:pt x="91" y="119"/>
                    <a:pt x="89" y="122"/>
                    <a:pt x="87" y="122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2" y="122"/>
                    <a:pt x="40" y="119"/>
                    <a:pt x="40" y="116"/>
                  </a:cubicBezTo>
                  <a:cubicBezTo>
                    <a:pt x="40" y="113"/>
                    <a:pt x="42" y="110"/>
                    <a:pt x="45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61" y="110"/>
                    <a:pt x="62" y="109"/>
                    <a:pt x="62" y="108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6"/>
                    <a:pt x="61" y="25"/>
                    <a:pt x="61" y="25"/>
                  </a:cubicBezTo>
                  <a:cubicBezTo>
                    <a:pt x="59" y="24"/>
                    <a:pt x="57" y="22"/>
                    <a:pt x="56" y="21"/>
                  </a:cubicBezTo>
                  <a:cubicBezTo>
                    <a:pt x="56" y="20"/>
                    <a:pt x="55" y="20"/>
                    <a:pt x="5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1" y="20"/>
                    <a:pt x="19" y="18"/>
                    <a:pt x="19" y="15"/>
                  </a:cubicBezTo>
                  <a:cubicBezTo>
                    <a:pt x="19" y="12"/>
                    <a:pt x="21" y="10"/>
                    <a:pt x="2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56" y="10"/>
                    <a:pt x="56" y="9"/>
                  </a:cubicBezTo>
                  <a:cubicBezTo>
                    <a:pt x="58" y="6"/>
                    <a:pt x="62" y="4"/>
                    <a:pt x="66" y="4"/>
                  </a:cubicBezTo>
                  <a:cubicBezTo>
                    <a:pt x="70" y="4"/>
                    <a:pt x="73" y="6"/>
                    <a:pt x="75" y="9"/>
                  </a:cubicBezTo>
                  <a:cubicBezTo>
                    <a:pt x="75" y="10"/>
                    <a:pt x="76" y="10"/>
                    <a:pt x="77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0"/>
                    <a:pt x="112" y="12"/>
                    <a:pt x="112" y="15"/>
                  </a:cubicBezTo>
                  <a:cubicBezTo>
                    <a:pt x="112" y="17"/>
                    <a:pt x="110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20"/>
                    <a:pt x="108" y="20"/>
                    <a:pt x="108" y="20"/>
                  </a:cubicBezTo>
                  <a:lnTo>
                    <a:pt x="77" y="20"/>
                  </a:lnTo>
                  <a:close/>
                  <a:moveTo>
                    <a:pt x="108" y="25"/>
                  </a:moveTo>
                  <a:cubicBezTo>
                    <a:pt x="122" y="51"/>
                    <a:pt x="122" y="51"/>
                    <a:pt x="122" y="51"/>
                  </a:cubicBezTo>
                  <a:cubicBezTo>
                    <a:pt x="93" y="51"/>
                    <a:pt x="93" y="51"/>
                    <a:pt x="93" y="51"/>
                  </a:cubicBezTo>
                  <a:lnTo>
                    <a:pt x="108" y="25"/>
                  </a:lnTo>
                  <a:close/>
                  <a:moveTo>
                    <a:pt x="108" y="72"/>
                  </a:moveTo>
                  <a:cubicBezTo>
                    <a:pt x="98" y="72"/>
                    <a:pt x="90" y="64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5" y="64"/>
                    <a:pt x="117" y="72"/>
                    <a:pt x="108" y="7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17" name="Group 169"/>
          <p:cNvGrpSpPr>
            <a:grpSpLocks noChangeAspect="1"/>
          </p:cNvGrpSpPr>
          <p:nvPr/>
        </p:nvGrpSpPr>
        <p:grpSpPr bwMode="auto">
          <a:xfrm>
            <a:off x="6920706" y="1528128"/>
            <a:ext cx="836612" cy="836612"/>
            <a:chOff x="4359" y="937"/>
            <a:chExt cx="527" cy="527"/>
          </a:xfrm>
        </p:grpSpPr>
        <p:sp>
          <p:nvSpPr>
            <p:cNvPr id="53418" name="Oval 170"/>
            <p:cNvSpPr>
              <a:spLocks noChangeArrowheads="1"/>
            </p:cNvSpPr>
            <p:nvPr/>
          </p:nvSpPr>
          <p:spPr bwMode="auto">
            <a:xfrm>
              <a:off x="4359" y="937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19" name="Freeform 171"/>
            <p:cNvSpPr>
              <a:spLocks noEditPoints="1"/>
            </p:cNvSpPr>
            <p:nvPr/>
          </p:nvSpPr>
          <p:spPr bwMode="auto">
            <a:xfrm>
              <a:off x="4381" y="959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0" name="Freeform 172"/>
            <p:cNvSpPr>
              <a:spLocks noEditPoints="1"/>
            </p:cNvSpPr>
            <p:nvPr/>
          </p:nvSpPr>
          <p:spPr bwMode="auto">
            <a:xfrm>
              <a:off x="4477" y="1138"/>
              <a:ext cx="174" cy="182"/>
            </a:xfrm>
            <a:custGeom>
              <a:avLst/>
              <a:gdLst/>
              <a:ahLst/>
              <a:cxnLst>
                <a:cxn ang="0">
                  <a:pos x="48" y="39"/>
                </a:cxn>
                <a:cxn ang="0">
                  <a:pos x="58" y="21"/>
                </a:cxn>
                <a:cxn ang="0">
                  <a:pos x="37" y="0"/>
                </a:cxn>
                <a:cxn ang="0">
                  <a:pos x="15" y="21"/>
                </a:cxn>
                <a:cxn ang="0">
                  <a:pos x="25" y="39"/>
                </a:cxn>
                <a:cxn ang="0">
                  <a:pos x="0" y="67"/>
                </a:cxn>
                <a:cxn ang="0">
                  <a:pos x="0" y="76"/>
                </a:cxn>
                <a:cxn ang="0">
                  <a:pos x="73" y="76"/>
                </a:cxn>
                <a:cxn ang="0">
                  <a:pos x="73" y="67"/>
                </a:cxn>
                <a:cxn ang="0">
                  <a:pos x="48" y="39"/>
                </a:cxn>
                <a:cxn ang="0">
                  <a:pos x="19" y="21"/>
                </a:cxn>
                <a:cxn ang="0">
                  <a:pos x="37" y="3"/>
                </a:cxn>
                <a:cxn ang="0">
                  <a:pos x="55" y="21"/>
                </a:cxn>
                <a:cxn ang="0">
                  <a:pos x="37" y="39"/>
                </a:cxn>
                <a:cxn ang="0">
                  <a:pos x="19" y="21"/>
                </a:cxn>
                <a:cxn ang="0">
                  <a:pos x="70" y="73"/>
                </a:cxn>
                <a:cxn ang="0">
                  <a:pos x="3" y="73"/>
                </a:cxn>
                <a:cxn ang="0">
                  <a:pos x="3" y="67"/>
                </a:cxn>
                <a:cxn ang="0">
                  <a:pos x="25" y="43"/>
                </a:cxn>
                <a:cxn ang="0">
                  <a:pos x="48" y="43"/>
                </a:cxn>
                <a:cxn ang="0">
                  <a:pos x="70" y="67"/>
                </a:cxn>
                <a:cxn ang="0">
                  <a:pos x="70" y="73"/>
                </a:cxn>
              </a:cxnLst>
              <a:rect l="0" t="0" r="r" b="b"/>
              <a:pathLst>
                <a:path w="73" h="76">
                  <a:moveTo>
                    <a:pt x="48" y="39"/>
                  </a:moveTo>
                  <a:cubicBezTo>
                    <a:pt x="54" y="35"/>
                    <a:pt x="58" y="29"/>
                    <a:pt x="58" y="21"/>
                  </a:cubicBezTo>
                  <a:cubicBezTo>
                    <a:pt x="58" y="9"/>
                    <a:pt x="48" y="0"/>
                    <a:pt x="37" y="0"/>
                  </a:cubicBezTo>
                  <a:cubicBezTo>
                    <a:pt x="25" y="0"/>
                    <a:pt x="15" y="9"/>
                    <a:pt x="15" y="21"/>
                  </a:cubicBezTo>
                  <a:cubicBezTo>
                    <a:pt x="15" y="29"/>
                    <a:pt x="19" y="35"/>
                    <a:pt x="25" y="39"/>
                  </a:cubicBezTo>
                  <a:cubicBezTo>
                    <a:pt x="11" y="40"/>
                    <a:pt x="0" y="52"/>
                    <a:pt x="0" y="6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52"/>
                    <a:pt x="62" y="40"/>
                    <a:pt x="48" y="39"/>
                  </a:cubicBezTo>
                  <a:close/>
                  <a:moveTo>
                    <a:pt x="19" y="21"/>
                  </a:moveTo>
                  <a:cubicBezTo>
                    <a:pt x="19" y="11"/>
                    <a:pt x="27" y="3"/>
                    <a:pt x="37" y="3"/>
                  </a:cubicBezTo>
                  <a:cubicBezTo>
                    <a:pt x="46" y="3"/>
                    <a:pt x="55" y="11"/>
                    <a:pt x="55" y="21"/>
                  </a:cubicBezTo>
                  <a:cubicBezTo>
                    <a:pt x="55" y="31"/>
                    <a:pt x="46" y="39"/>
                    <a:pt x="37" y="39"/>
                  </a:cubicBezTo>
                  <a:cubicBezTo>
                    <a:pt x="27" y="39"/>
                    <a:pt x="19" y="31"/>
                    <a:pt x="19" y="21"/>
                  </a:cubicBezTo>
                  <a:close/>
                  <a:moveTo>
                    <a:pt x="70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54"/>
                    <a:pt x="13" y="43"/>
                    <a:pt x="25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60" y="43"/>
                    <a:pt x="70" y="54"/>
                    <a:pt x="70" y="67"/>
                  </a:cubicBezTo>
                  <a:lnTo>
                    <a:pt x="70" y="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1" name="Freeform 173"/>
            <p:cNvSpPr>
              <a:spLocks noEditPoints="1"/>
            </p:cNvSpPr>
            <p:nvPr/>
          </p:nvSpPr>
          <p:spPr bwMode="auto">
            <a:xfrm>
              <a:off x="4627" y="1081"/>
              <a:ext cx="146" cy="13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29"/>
                </a:cxn>
                <a:cxn ang="0">
                  <a:pos x="0" y="139"/>
                </a:cxn>
                <a:cxn ang="0">
                  <a:pos x="10" y="139"/>
                </a:cxn>
                <a:cxn ang="0">
                  <a:pos x="17" y="139"/>
                </a:cxn>
                <a:cxn ang="0">
                  <a:pos x="22" y="139"/>
                </a:cxn>
                <a:cxn ang="0">
                  <a:pos x="24" y="134"/>
                </a:cxn>
                <a:cxn ang="0">
                  <a:pos x="41" y="105"/>
                </a:cxn>
                <a:cxn ang="0">
                  <a:pos x="139" y="105"/>
                </a:cxn>
                <a:cxn ang="0">
                  <a:pos x="146" y="105"/>
                </a:cxn>
                <a:cxn ang="0">
                  <a:pos x="146" y="98"/>
                </a:cxn>
                <a:cxn ang="0">
                  <a:pos x="146" y="9"/>
                </a:cxn>
                <a:cxn ang="0">
                  <a:pos x="146" y="0"/>
                </a:cxn>
                <a:cxn ang="0">
                  <a:pos x="139" y="0"/>
                </a:cxn>
                <a:cxn ang="0">
                  <a:pos x="10" y="0"/>
                </a:cxn>
                <a:cxn ang="0">
                  <a:pos x="139" y="98"/>
                </a:cxn>
                <a:cxn ang="0">
                  <a:pos x="34" y="98"/>
                </a:cxn>
                <a:cxn ang="0">
                  <a:pos x="17" y="129"/>
                </a:cxn>
                <a:cxn ang="0">
                  <a:pos x="10" y="129"/>
                </a:cxn>
                <a:cxn ang="0">
                  <a:pos x="10" y="9"/>
                </a:cxn>
                <a:cxn ang="0">
                  <a:pos x="139" y="9"/>
                </a:cxn>
                <a:cxn ang="0">
                  <a:pos x="139" y="98"/>
                </a:cxn>
              </a:cxnLst>
              <a:rect l="0" t="0" r="r" b="b"/>
              <a:pathLst>
                <a:path w="146" h="139"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0" y="129"/>
                  </a:lnTo>
                  <a:lnTo>
                    <a:pt x="0" y="139"/>
                  </a:lnTo>
                  <a:lnTo>
                    <a:pt x="10" y="139"/>
                  </a:lnTo>
                  <a:lnTo>
                    <a:pt x="17" y="139"/>
                  </a:lnTo>
                  <a:lnTo>
                    <a:pt x="22" y="139"/>
                  </a:lnTo>
                  <a:lnTo>
                    <a:pt x="24" y="134"/>
                  </a:lnTo>
                  <a:lnTo>
                    <a:pt x="41" y="105"/>
                  </a:lnTo>
                  <a:lnTo>
                    <a:pt x="139" y="105"/>
                  </a:lnTo>
                  <a:lnTo>
                    <a:pt x="146" y="105"/>
                  </a:lnTo>
                  <a:lnTo>
                    <a:pt x="146" y="98"/>
                  </a:lnTo>
                  <a:lnTo>
                    <a:pt x="146" y="9"/>
                  </a:lnTo>
                  <a:lnTo>
                    <a:pt x="146" y="0"/>
                  </a:lnTo>
                  <a:lnTo>
                    <a:pt x="139" y="0"/>
                  </a:lnTo>
                  <a:lnTo>
                    <a:pt x="10" y="0"/>
                  </a:lnTo>
                  <a:close/>
                  <a:moveTo>
                    <a:pt x="139" y="98"/>
                  </a:moveTo>
                  <a:lnTo>
                    <a:pt x="34" y="98"/>
                  </a:lnTo>
                  <a:lnTo>
                    <a:pt x="17" y="129"/>
                  </a:lnTo>
                  <a:lnTo>
                    <a:pt x="10" y="129"/>
                  </a:lnTo>
                  <a:lnTo>
                    <a:pt x="10" y="9"/>
                  </a:lnTo>
                  <a:lnTo>
                    <a:pt x="139" y="9"/>
                  </a:lnTo>
                  <a:lnTo>
                    <a:pt x="139" y="9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2" name="Freeform 174"/>
            <p:cNvSpPr>
              <a:spLocks noEditPoints="1"/>
            </p:cNvSpPr>
            <p:nvPr/>
          </p:nvSpPr>
          <p:spPr bwMode="auto">
            <a:xfrm>
              <a:off x="4677" y="1100"/>
              <a:ext cx="48" cy="67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5" y="25"/>
                </a:cxn>
                <a:cxn ang="0">
                  <a:pos x="5" y="28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20" y="17"/>
                </a:cxn>
                <a:cxn ang="0">
                  <a:pos x="18" y="12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9" y="7"/>
                </a:cxn>
                <a:cxn ang="0">
                  <a:pos x="20" y="5"/>
                </a:cxn>
                <a:cxn ang="0">
                  <a:pos x="17" y="3"/>
                </a:cxn>
                <a:cxn ang="0">
                  <a:pos x="17" y="3"/>
                </a:cxn>
                <a:cxn ang="0">
                  <a:pos x="16" y="3"/>
                </a:cxn>
                <a:cxn ang="0">
                  <a:pos x="16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1" y="11"/>
                </a:cxn>
                <a:cxn ang="0">
                  <a:pos x="2" y="15"/>
                </a:cxn>
                <a:cxn ang="0">
                  <a:pos x="2" y="16"/>
                </a:cxn>
                <a:cxn ang="0">
                  <a:pos x="1" y="20"/>
                </a:cxn>
                <a:cxn ang="0">
                  <a:pos x="0" y="23"/>
                </a:cxn>
                <a:cxn ang="0">
                  <a:pos x="2" y="24"/>
                </a:cxn>
                <a:cxn ang="0">
                  <a:pos x="3" y="24"/>
                </a:cxn>
                <a:cxn ang="0">
                  <a:pos x="9" y="16"/>
                </a:cxn>
                <a:cxn ang="0">
                  <a:pos x="4" y="11"/>
                </a:cxn>
                <a:cxn ang="0">
                  <a:pos x="8" y="6"/>
                </a:cxn>
                <a:cxn ang="0">
                  <a:pos x="8" y="3"/>
                </a:cxn>
                <a:cxn ang="0">
                  <a:pos x="12" y="3"/>
                </a:cxn>
                <a:cxn ang="0">
                  <a:pos x="12" y="5"/>
                </a:cxn>
                <a:cxn ang="0">
                  <a:pos x="15" y="6"/>
                </a:cxn>
                <a:cxn ang="0">
                  <a:pos x="16" y="7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1" y="9"/>
                </a:cxn>
                <a:cxn ang="0">
                  <a:pos x="9" y="10"/>
                </a:cxn>
                <a:cxn ang="0">
                  <a:pos x="12" y="12"/>
                </a:cxn>
                <a:cxn ang="0">
                  <a:pos x="16" y="17"/>
                </a:cxn>
                <a:cxn ang="0">
                  <a:pos x="12" y="2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2"/>
                </a:cxn>
                <a:cxn ang="0">
                  <a:pos x="5" y="21"/>
                </a:cxn>
                <a:cxn ang="0">
                  <a:pos x="4" y="21"/>
                </a:cxn>
                <a:cxn ang="0">
                  <a:pos x="5" y="17"/>
                </a:cxn>
                <a:cxn ang="0">
                  <a:pos x="6" y="17"/>
                </a:cxn>
                <a:cxn ang="0">
                  <a:pos x="10" y="18"/>
                </a:cxn>
                <a:cxn ang="0">
                  <a:pos x="11" y="17"/>
                </a:cxn>
                <a:cxn ang="0">
                  <a:pos x="9" y="16"/>
                </a:cxn>
              </a:cxnLst>
              <a:rect l="0" t="0" r="r" b="b"/>
              <a:pathLst>
                <a:path w="20" h="28">
                  <a:moveTo>
                    <a:pt x="3" y="24"/>
                  </a:moveTo>
                  <a:cubicBezTo>
                    <a:pt x="3" y="25"/>
                    <a:pt x="4" y="25"/>
                    <a:pt x="5" y="25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8" y="23"/>
                    <a:pt x="20" y="20"/>
                    <a:pt x="20" y="17"/>
                  </a:cubicBezTo>
                  <a:cubicBezTo>
                    <a:pt x="20" y="15"/>
                    <a:pt x="19" y="13"/>
                    <a:pt x="18" y="1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2" y="5"/>
                    <a:pt x="1" y="8"/>
                    <a:pt x="1" y="11"/>
                  </a:cubicBezTo>
                  <a:cubicBezTo>
                    <a:pt x="1" y="12"/>
                    <a:pt x="1" y="14"/>
                    <a:pt x="2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3" y="24"/>
                  </a:lnTo>
                  <a:close/>
                  <a:moveTo>
                    <a:pt x="9" y="16"/>
                  </a:moveTo>
                  <a:cubicBezTo>
                    <a:pt x="7" y="15"/>
                    <a:pt x="4" y="14"/>
                    <a:pt x="4" y="11"/>
                  </a:cubicBezTo>
                  <a:cubicBezTo>
                    <a:pt x="4" y="8"/>
                    <a:pt x="6" y="6"/>
                    <a:pt x="8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6"/>
                    <a:pt x="15" y="6"/>
                    <a:pt x="15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2" y="9"/>
                    <a:pt x="11" y="9"/>
                  </a:cubicBezTo>
                  <a:cubicBezTo>
                    <a:pt x="10" y="9"/>
                    <a:pt x="9" y="10"/>
                    <a:pt x="9" y="10"/>
                  </a:cubicBezTo>
                  <a:cubicBezTo>
                    <a:pt x="9" y="11"/>
                    <a:pt x="11" y="11"/>
                    <a:pt x="12" y="12"/>
                  </a:cubicBezTo>
                  <a:cubicBezTo>
                    <a:pt x="15" y="13"/>
                    <a:pt x="16" y="14"/>
                    <a:pt x="16" y="17"/>
                  </a:cubicBezTo>
                  <a:cubicBezTo>
                    <a:pt x="16" y="19"/>
                    <a:pt x="15" y="21"/>
                    <a:pt x="12" y="22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2"/>
                    <a:pt x="5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8" y="18"/>
                    <a:pt x="10" y="18"/>
                  </a:cubicBezTo>
                  <a:cubicBezTo>
                    <a:pt x="10" y="18"/>
                    <a:pt x="11" y="18"/>
                    <a:pt x="11" y="17"/>
                  </a:cubicBezTo>
                  <a:cubicBezTo>
                    <a:pt x="11" y="17"/>
                    <a:pt x="11" y="16"/>
                    <a:pt x="9" y="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25" name="Group 177"/>
          <p:cNvGrpSpPr>
            <a:grpSpLocks noChangeAspect="1"/>
          </p:cNvGrpSpPr>
          <p:nvPr/>
        </p:nvGrpSpPr>
        <p:grpSpPr bwMode="auto">
          <a:xfrm>
            <a:off x="8050218" y="1561464"/>
            <a:ext cx="768350" cy="768350"/>
            <a:chOff x="5071" y="958"/>
            <a:chExt cx="484" cy="484"/>
          </a:xfrm>
        </p:grpSpPr>
        <p:sp>
          <p:nvSpPr>
            <p:cNvPr id="53426" name="Freeform 178"/>
            <p:cNvSpPr>
              <a:spLocks noEditPoints="1"/>
            </p:cNvSpPr>
            <p:nvPr/>
          </p:nvSpPr>
          <p:spPr bwMode="auto">
            <a:xfrm>
              <a:off x="5071" y="95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7" name="Freeform 179"/>
            <p:cNvSpPr>
              <a:spLocks noEditPoints="1"/>
            </p:cNvSpPr>
            <p:nvPr/>
          </p:nvSpPr>
          <p:spPr bwMode="auto">
            <a:xfrm>
              <a:off x="5167" y="1138"/>
              <a:ext cx="175" cy="182"/>
            </a:xfrm>
            <a:custGeom>
              <a:avLst/>
              <a:gdLst/>
              <a:ahLst/>
              <a:cxnLst>
                <a:cxn ang="0">
                  <a:pos x="48" y="39"/>
                </a:cxn>
                <a:cxn ang="0">
                  <a:pos x="58" y="21"/>
                </a:cxn>
                <a:cxn ang="0">
                  <a:pos x="37" y="0"/>
                </a:cxn>
                <a:cxn ang="0">
                  <a:pos x="15" y="21"/>
                </a:cxn>
                <a:cxn ang="0">
                  <a:pos x="25" y="39"/>
                </a:cxn>
                <a:cxn ang="0">
                  <a:pos x="0" y="67"/>
                </a:cxn>
                <a:cxn ang="0">
                  <a:pos x="0" y="76"/>
                </a:cxn>
                <a:cxn ang="0">
                  <a:pos x="73" y="76"/>
                </a:cxn>
                <a:cxn ang="0">
                  <a:pos x="73" y="67"/>
                </a:cxn>
                <a:cxn ang="0">
                  <a:pos x="48" y="39"/>
                </a:cxn>
                <a:cxn ang="0">
                  <a:pos x="19" y="21"/>
                </a:cxn>
                <a:cxn ang="0">
                  <a:pos x="37" y="3"/>
                </a:cxn>
                <a:cxn ang="0">
                  <a:pos x="55" y="21"/>
                </a:cxn>
                <a:cxn ang="0">
                  <a:pos x="37" y="39"/>
                </a:cxn>
                <a:cxn ang="0">
                  <a:pos x="19" y="21"/>
                </a:cxn>
                <a:cxn ang="0">
                  <a:pos x="70" y="73"/>
                </a:cxn>
                <a:cxn ang="0">
                  <a:pos x="3" y="73"/>
                </a:cxn>
                <a:cxn ang="0">
                  <a:pos x="3" y="67"/>
                </a:cxn>
                <a:cxn ang="0">
                  <a:pos x="25" y="43"/>
                </a:cxn>
                <a:cxn ang="0">
                  <a:pos x="48" y="43"/>
                </a:cxn>
                <a:cxn ang="0">
                  <a:pos x="70" y="67"/>
                </a:cxn>
                <a:cxn ang="0">
                  <a:pos x="70" y="73"/>
                </a:cxn>
              </a:cxnLst>
              <a:rect l="0" t="0" r="r" b="b"/>
              <a:pathLst>
                <a:path w="73" h="76">
                  <a:moveTo>
                    <a:pt x="48" y="39"/>
                  </a:moveTo>
                  <a:cubicBezTo>
                    <a:pt x="54" y="35"/>
                    <a:pt x="58" y="29"/>
                    <a:pt x="58" y="21"/>
                  </a:cubicBezTo>
                  <a:cubicBezTo>
                    <a:pt x="58" y="9"/>
                    <a:pt x="48" y="0"/>
                    <a:pt x="37" y="0"/>
                  </a:cubicBezTo>
                  <a:cubicBezTo>
                    <a:pt x="25" y="0"/>
                    <a:pt x="15" y="9"/>
                    <a:pt x="15" y="21"/>
                  </a:cubicBezTo>
                  <a:cubicBezTo>
                    <a:pt x="15" y="29"/>
                    <a:pt x="19" y="35"/>
                    <a:pt x="25" y="39"/>
                  </a:cubicBezTo>
                  <a:cubicBezTo>
                    <a:pt x="11" y="40"/>
                    <a:pt x="0" y="52"/>
                    <a:pt x="0" y="67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52"/>
                    <a:pt x="62" y="40"/>
                    <a:pt x="48" y="39"/>
                  </a:cubicBezTo>
                  <a:close/>
                  <a:moveTo>
                    <a:pt x="19" y="21"/>
                  </a:moveTo>
                  <a:cubicBezTo>
                    <a:pt x="19" y="11"/>
                    <a:pt x="27" y="3"/>
                    <a:pt x="37" y="3"/>
                  </a:cubicBezTo>
                  <a:cubicBezTo>
                    <a:pt x="46" y="3"/>
                    <a:pt x="55" y="11"/>
                    <a:pt x="55" y="21"/>
                  </a:cubicBezTo>
                  <a:cubicBezTo>
                    <a:pt x="55" y="31"/>
                    <a:pt x="46" y="39"/>
                    <a:pt x="37" y="39"/>
                  </a:cubicBezTo>
                  <a:cubicBezTo>
                    <a:pt x="27" y="39"/>
                    <a:pt x="19" y="31"/>
                    <a:pt x="19" y="21"/>
                  </a:cubicBezTo>
                  <a:close/>
                  <a:moveTo>
                    <a:pt x="70" y="73"/>
                  </a:moveTo>
                  <a:cubicBezTo>
                    <a:pt x="3" y="73"/>
                    <a:pt x="3" y="73"/>
                    <a:pt x="3" y="73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54"/>
                    <a:pt x="13" y="43"/>
                    <a:pt x="25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60" y="43"/>
                    <a:pt x="70" y="54"/>
                    <a:pt x="70" y="67"/>
                  </a:cubicBezTo>
                  <a:lnTo>
                    <a:pt x="70" y="7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8" name="Freeform 180"/>
            <p:cNvSpPr>
              <a:spLocks noEditPoints="1"/>
            </p:cNvSpPr>
            <p:nvPr/>
          </p:nvSpPr>
          <p:spPr bwMode="auto">
            <a:xfrm>
              <a:off x="5318" y="1081"/>
              <a:ext cx="146" cy="13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29"/>
                </a:cxn>
                <a:cxn ang="0">
                  <a:pos x="0" y="139"/>
                </a:cxn>
                <a:cxn ang="0">
                  <a:pos x="10" y="139"/>
                </a:cxn>
                <a:cxn ang="0">
                  <a:pos x="17" y="139"/>
                </a:cxn>
                <a:cxn ang="0">
                  <a:pos x="22" y="139"/>
                </a:cxn>
                <a:cxn ang="0">
                  <a:pos x="24" y="134"/>
                </a:cxn>
                <a:cxn ang="0">
                  <a:pos x="41" y="105"/>
                </a:cxn>
                <a:cxn ang="0">
                  <a:pos x="139" y="105"/>
                </a:cxn>
                <a:cxn ang="0">
                  <a:pos x="146" y="105"/>
                </a:cxn>
                <a:cxn ang="0">
                  <a:pos x="146" y="98"/>
                </a:cxn>
                <a:cxn ang="0">
                  <a:pos x="146" y="9"/>
                </a:cxn>
                <a:cxn ang="0">
                  <a:pos x="146" y="0"/>
                </a:cxn>
                <a:cxn ang="0">
                  <a:pos x="139" y="0"/>
                </a:cxn>
                <a:cxn ang="0">
                  <a:pos x="10" y="0"/>
                </a:cxn>
                <a:cxn ang="0">
                  <a:pos x="139" y="98"/>
                </a:cxn>
                <a:cxn ang="0">
                  <a:pos x="34" y="98"/>
                </a:cxn>
                <a:cxn ang="0">
                  <a:pos x="17" y="129"/>
                </a:cxn>
                <a:cxn ang="0">
                  <a:pos x="10" y="129"/>
                </a:cxn>
                <a:cxn ang="0">
                  <a:pos x="10" y="9"/>
                </a:cxn>
                <a:cxn ang="0">
                  <a:pos x="139" y="9"/>
                </a:cxn>
                <a:cxn ang="0">
                  <a:pos x="139" y="98"/>
                </a:cxn>
              </a:cxnLst>
              <a:rect l="0" t="0" r="r" b="b"/>
              <a:pathLst>
                <a:path w="146" h="139">
                  <a:moveTo>
                    <a:pt x="1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0" y="129"/>
                  </a:lnTo>
                  <a:lnTo>
                    <a:pt x="0" y="139"/>
                  </a:lnTo>
                  <a:lnTo>
                    <a:pt x="10" y="139"/>
                  </a:lnTo>
                  <a:lnTo>
                    <a:pt x="17" y="139"/>
                  </a:lnTo>
                  <a:lnTo>
                    <a:pt x="22" y="139"/>
                  </a:lnTo>
                  <a:lnTo>
                    <a:pt x="24" y="134"/>
                  </a:lnTo>
                  <a:lnTo>
                    <a:pt x="41" y="105"/>
                  </a:lnTo>
                  <a:lnTo>
                    <a:pt x="139" y="105"/>
                  </a:lnTo>
                  <a:lnTo>
                    <a:pt x="146" y="105"/>
                  </a:lnTo>
                  <a:lnTo>
                    <a:pt x="146" y="98"/>
                  </a:lnTo>
                  <a:lnTo>
                    <a:pt x="146" y="9"/>
                  </a:lnTo>
                  <a:lnTo>
                    <a:pt x="146" y="0"/>
                  </a:lnTo>
                  <a:lnTo>
                    <a:pt x="139" y="0"/>
                  </a:lnTo>
                  <a:lnTo>
                    <a:pt x="10" y="0"/>
                  </a:lnTo>
                  <a:close/>
                  <a:moveTo>
                    <a:pt x="139" y="98"/>
                  </a:moveTo>
                  <a:lnTo>
                    <a:pt x="34" y="98"/>
                  </a:lnTo>
                  <a:lnTo>
                    <a:pt x="17" y="129"/>
                  </a:lnTo>
                  <a:lnTo>
                    <a:pt x="10" y="129"/>
                  </a:lnTo>
                  <a:lnTo>
                    <a:pt x="10" y="9"/>
                  </a:lnTo>
                  <a:lnTo>
                    <a:pt x="139" y="9"/>
                  </a:lnTo>
                  <a:lnTo>
                    <a:pt x="139" y="9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29" name="Freeform 181"/>
            <p:cNvSpPr>
              <a:spLocks noEditPoints="1"/>
            </p:cNvSpPr>
            <p:nvPr/>
          </p:nvSpPr>
          <p:spPr bwMode="auto">
            <a:xfrm>
              <a:off x="5369" y="1100"/>
              <a:ext cx="47" cy="67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5" y="25"/>
                </a:cxn>
                <a:cxn ang="0">
                  <a:pos x="5" y="28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20" y="17"/>
                </a:cxn>
                <a:cxn ang="0">
                  <a:pos x="18" y="12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9" y="7"/>
                </a:cxn>
                <a:cxn ang="0">
                  <a:pos x="20" y="5"/>
                </a:cxn>
                <a:cxn ang="0">
                  <a:pos x="17" y="3"/>
                </a:cxn>
                <a:cxn ang="0">
                  <a:pos x="17" y="3"/>
                </a:cxn>
                <a:cxn ang="0">
                  <a:pos x="16" y="3"/>
                </a:cxn>
                <a:cxn ang="0">
                  <a:pos x="16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1" y="11"/>
                </a:cxn>
                <a:cxn ang="0">
                  <a:pos x="2" y="15"/>
                </a:cxn>
                <a:cxn ang="0">
                  <a:pos x="2" y="16"/>
                </a:cxn>
                <a:cxn ang="0">
                  <a:pos x="1" y="20"/>
                </a:cxn>
                <a:cxn ang="0">
                  <a:pos x="0" y="23"/>
                </a:cxn>
                <a:cxn ang="0">
                  <a:pos x="2" y="24"/>
                </a:cxn>
                <a:cxn ang="0">
                  <a:pos x="3" y="24"/>
                </a:cxn>
                <a:cxn ang="0">
                  <a:pos x="9" y="16"/>
                </a:cxn>
                <a:cxn ang="0">
                  <a:pos x="4" y="11"/>
                </a:cxn>
                <a:cxn ang="0">
                  <a:pos x="8" y="6"/>
                </a:cxn>
                <a:cxn ang="0">
                  <a:pos x="8" y="3"/>
                </a:cxn>
                <a:cxn ang="0">
                  <a:pos x="12" y="3"/>
                </a:cxn>
                <a:cxn ang="0">
                  <a:pos x="12" y="5"/>
                </a:cxn>
                <a:cxn ang="0">
                  <a:pos x="15" y="6"/>
                </a:cxn>
                <a:cxn ang="0">
                  <a:pos x="16" y="7"/>
                </a:cxn>
                <a:cxn ang="0">
                  <a:pos x="15" y="10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1" y="9"/>
                </a:cxn>
                <a:cxn ang="0">
                  <a:pos x="9" y="10"/>
                </a:cxn>
                <a:cxn ang="0">
                  <a:pos x="12" y="12"/>
                </a:cxn>
                <a:cxn ang="0">
                  <a:pos x="16" y="17"/>
                </a:cxn>
                <a:cxn ang="0">
                  <a:pos x="12" y="2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2"/>
                </a:cxn>
                <a:cxn ang="0">
                  <a:pos x="5" y="21"/>
                </a:cxn>
                <a:cxn ang="0">
                  <a:pos x="4" y="21"/>
                </a:cxn>
                <a:cxn ang="0">
                  <a:pos x="5" y="17"/>
                </a:cxn>
                <a:cxn ang="0">
                  <a:pos x="6" y="17"/>
                </a:cxn>
                <a:cxn ang="0">
                  <a:pos x="10" y="18"/>
                </a:cxn>
                <a:cxn ang="0">
                  <a:pos x="11" y="17"/>
                </a:cxn>
                <a:cxn ang="0">
                  <a:pos x="9" y="16"/>
                </a:cxn>
              </a:cxnLst>
              <a:rect l="0" t="0" r="r" b="b"/>
              <a:pathLst>
                <a:path w="20" h="28">
                  <a:moveTo>
                    <a:pt x="3" y="24"/>
                  </a:moveTo>
                  <a:cubicBezTo>
                    <a:pt x="3" y="25"/>
                    <a:pt x="4" y="25"/>
                    <a:pt x="5" y="25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8" y="23"/>
                    <a:pt x="20" y="20"/>
                    <a:pt x="20" y="17"/>
                  </a:cubicBezTo>
                  <a:cubicBezTo>
                    <a:pt x="20" y="15"/>
                    <a:pt x="19" y="13"/>
                    <a:pt x="18" y="1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2" y="5"/>
                    <a:pt x="1" y="8"/>
                    <a:pt x="1" y="11"/>
                  </a:cubicBezTo>
                  <a:cubicBezTo>
                    <a:pt x="1" y="12"/>
                    <a:pt x="1" y="14"/>
                    <a:pt x="2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24"/>
                    <a:pt x="2" y="24"/>
                    <a:pt x="2" y="24"/>
                  </a:cubicBezTo>
                  <a:lnTo>
                    <a:pt x="3" y="24"/>
                  </a:lnTo>
                  <a:close/>
                  <a:moveTo>
                    <a:pt x="9" y="16"/>
                  </a:moveTo>
                  <a:cubicBezTo>
                    <a:pt x="7" y="15"/>
                    <a:pt x="4" y="14"/>
                    <a:pt x="4" y="11"/>
                  </a:cubicBezTo>
                  <a:cubicBezTo>
                    <a:pt x="4" y="8"/>
                    <a:pt x="6" y="6"/>
                    <a:pt x="8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6"/>
                    <a:pt x="15" y="6"/>
                    <a:pt x="15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2" y="9"/>
                    <a:pt x="11" y="9"/>
                  </a:cubicBezTo>
                  <a:cubicBezTo>
                    <a:pt x="10" y="9"/>
                    <a:pt x="9" y="10"/>
                    <a:pt x="9" y="10"/>
                  </a:cubicBezTo>
                  <a:cubicBezTo>
                    <a:pt x="9" y="11"/>
                    <a:pt x="11" y="11"/>
                    <a:pt x="12" y="12"/>
                  </a:cubicBezTo>
                  <a:cubicBezTo>
                    <a:pt x="15" y="13"/>
                    <a:pt x="16" y="14"/>
                    <a:pt x="16" y="17"/>
                  </a:cubicBezTo>
                  <a:cubicBezTo>
                    <a:pt x="16" y="19"/>
                    <a:pt x="15" y="21"/>
                    <a:pt x="12" y="22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2"/>
                    <a:pt x="5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8" y="18"/>
                    <a:pt x="10" y="18"/>
                  </a:cubicBezTo>
                  <a:cubicBezTo>
                    <a:pt x="10" y="18"/>
                    <a:pt x="11" y="18"/>
                    <a:pt x="11" y="17"/>
                  </a:cubicBezTo>
                  <a:cubicBezTo>
                    <a:pt x="11" y="17"/>
                    <a:pt x="11" y="16"/>
                    <a:pt x="9" y="1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32" name="Group 184"/>
          <p:cNvGrpSpPr>
            <a:grpSpLocks noChangeAspect="1"/>
          </p:cNvGrpSpPr>
          <p:nvPr/>
        </p:nvGrpSpPr>
        <p:grpSpPr bwMode="auto">
          <a:xfrm>
            <a:off x="346869" y="2795905"/>
            <a:ext cx="838200" cy="836613"/>
            <a:chOff x="215" y="1742"/>
            <a:chExt cx="528" cy="527"/>
          </a:xfrm>
        </p:grpSpPr>
        <p:sp>
          <p:nvSpPr>
            <p:cNvPr id="53433" name="Oval 185"/>
            <p:cNvSpPr>
              <a:spLocks noChangeArrowheads="1"/>
            </p:cNvSpPr>
            <p:nvPr/>
          </p:nvSpPr>
          <p:spPr bwMode="auto">
            <a:xfrm>
              <a:off x="215" y="1742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34" name="Freeform 186"/>
            <p:cNvSpPr>
              <a:spLocks noEditPoints="1"/>
            </p:cNvSpPr>
            <p:nvPr/>
          </p:nvSpPr>
          <p:spPr bwMode="auto">
            <a:xfrm>
              <a:off x="237" y="1764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35" name="Freeform 187"/>
            <p:cNvSpPr>
              <a:spLocks noEditPoints="1"/>
            </p:cNvSpPr>
            <p:nvPr/>
          </p:nvSpPr>
          <p:spPr bwMode="auto">
            <a:xfrm>
              <a:off x="338" y="1888"/>
              <a:ext cx="270" cy="232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98" y="3"/>
                </a:cxn>
                <a:cxn ang="0">
                  <a:pos x="106" y="3"/>
                </a:cxn>
                <a:cxn ang="0">
                  <a:pos x="85" y="23"/>
                </a:cxn>
                <a:cxn ang="0">
                  <a:pos x="85" y="46"/>
                </a:cxn>
                <a:cxn ang="0">
                  <a:pos x="71" y="37"/>
                </a:cxn>
                <a:cxn ang="0">
                  <a:pos x="77" y="24"/>
                </a:cxn>
                <a:cxn ang="0">
                  <a:pos x="61" y="7"/>
                </a:cxn>
                <a:cxn ang="0">
                  <a:pos x="44" y="24"/>
                </a:cxn>
                <a:cxn ang="0">
                  <a:pos x="50" y="37"/>
                </a:cxn>
                <a:cxn ang="0">
                  <a:pos x="33" y="58"/>
                </a:cxn>
                <a:cxn ang="0">
                  <a:pos x="33" y="64"/>
                </a:cxn>
                <a:cxn ang="0">
                  <a:pos x="33" y="64"/>
                </a:cxn>
                <a:cxn ang="0">
                  <a:pos x="33" y="93"/>
                </a:cxn>
                <a:cxn ang="0">
                  <a:pos x="0" y="93"/>
                </a:cxn>
                <a:cxn ang="0">
                  <a:pos x="0" y="97"/>
                </a:cxn>
                <a:cxn ang="0">
                  <a:pos x="36" y="97"/>
                </a:cxn>
                <a:cxn ang="0">
                  <a:pos x="36" y="66"/>
                </a:cxn>
                <a:cxn ang="0">
                  <a:pos x="89" y="66"/>
                </a:cxn>
                <a:cxn ang="0">
                  <a:pos x="89" y="25"/>
                </a:cxn>
                <a:cxn ang="0">
                  <a:pos x="109" y="6"/>
                </a:cxn>
                <a:cxn ang="0">
                  <a:pos x="109" y="14"/>
                </a:cxn>
                <a:cxn ang="0">
                  <a:pos x="113" y="14"/>
                </a:cxn>
                <a:cxn ang="0">
                  <a:pos x="113" y="1"/>
                </a:cxn>
                <a:cxn ang="0">
                  <a:pos x="111" y="0"/>
                </a:cxn>
                <a:cxn ang="0">
                  <a:pos x="98" y="0"/>
                </a:cxn>
                <a:cxn ang="0">
                  <a:pos x="85" y="58"/>
                </a:cxn>
                <a:cxn ang="0">
                  <a:pos x="85" y="62"/>
                </a:cxn>
                <a:cxn ang="0">
                  <a:pos x="63" y="62"/>
                </a:cxn>
                <a:cxn ang="0">
                  <a:pos x="68" y="44"/>
                </a:cxn>
                <a:cxn ang="0">
                  <a:pos x="67" y="42"/>
                </a:cxn>
                <a:cxn ang="0">
                  <a:pos x="65" y="40"/>
                </a:cxn>
                <a:cxn ang="0">
                  <a:pos x="69" y="40"/>
                </a:cxn>
                <a:cxn ang="0">
                  <a:pos x="85" y="58"/>
                </a:cxn>
                <a:cxn ang="0">
                  <a:pos x="61" y="41"/>
                </a:cxn>
                <a:cxn ang="0">
                  <a:pos x="64" y="44"/>
                </a:cxn>
                <a:cxn ang="0">
                  <a:pos x="61" y="57"/>
                </a:cxn>
                <a:cxn ang="0">
                  <a:pos x="57" y="44"/>
                </a:cxn>
                <a:cxn ang="0">
                  <a:pos x="61" y="41"/>
                </a:cxn>
                <a:cxn ang="0">
                  <a:pos x="48" y="24"/>
                </a:cxn>
                <a:cxn ang="0">
                  <a:pos x="61" y="11"/>
                </a:cxn>
                <a:cxn ang="0">
                  <a:pos x="74" y="24"/>
                </a:cxn>
                <a:cxn ang="0">
                  <a:pos x="61" y="37"/>
                </a:cxn>
                <a:cxn ang="0">
                  <a:pos x="48" y="24"/>
                </a:cxn>
                <a:cxn ang="0">
                  <a:pos x="36" y="62"/>
                </a:cxn>
                <a:cxn ang="0">
                  <a:pos x="36" y="58"/>
                </a:cxn>
                <a:cxn ang="0">
                  <a:pos x="52" y="40"/>
                </a:cxn>
                <a:cxn ang="0">
                  <a:pos x="56" y="40"/>
                </a:cxn>
                <a:cxn ang="0">
                  <a:pos x="54" y="42"/>
                </a:cxn>
                <a:cxn ang="0">
                  <a:pos x="54" y="44"/>
                </a:cxn>
                <a:cxn ang="0">
                  <a:pos x="58" y="62"/>
                </a:cxn>
                <a:cxn ang="0">
                  <a:pos x="36" y="62"/>
                </a:cxn>
              </a:cxnLst>
              <a:rect l="0" t="0" r="r" b="b"/>
              <a:pathLst>
                <a:path w="113" h="97">
                  <a:moveTo>
                    <a:pt x="98" y="0"/>
                  </a:move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2" y="41"/>
                    <a:pt x="77" y="37"/>
                    <a:pt x="71" y="37"/>
                  </a:cubicBezTo>
                  <a:cubicBezTo>
                    <a:pt x="75" y="34"/>
                    <a:pt x="77" y="29"/>
                    <a:pt x="77" y="24"/>
                  </a:cubicBezTo>
                  <a:cubicBezTo>
                    <a:pt x="77" y="14"/>
                    <a:pt x="70" y="7"/>
                    <a:pt x="61" y="7"/>
                  </a:cubicBezTo>
                  <a:cubicBezTo>
                    <a:pt x="51" y="7"/>
                    <a:pt x="44" y="14"/>
                    <a:pt x="44" y="24"/>
                  </a:cubicBezTo>
                  <a:cubicBezTo>
                    <a:pt x="44" y="29"/>
                    <a:pt x="46" y="34"/>
                    <a:pt x="50" y="37"/>
                  </a:cubicBezTo>
                  <a:cubicBezTo>
                    <a:pt x="40" y="38"/>
                    <a:pt x="33" y="47"/>
                    <a:pt x="33" y="58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98" y="0"/>
                  </a:lnTo>
                  <a:close/>
                  <a:moveTo>
                    <a:pt x="85" y="58"/>
                  </a:moveTo>
                  <a:cubicBezTo>
                    <a:pt x="85" y="62"/>
                    <a:pt x="85" y="62"/>
                    <a:pt x="85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8" y="40"/>
                    <a:pt x="85" y="48"/>
                    <a:pt x="85" y="58"/>
                  </a:cubicBezTo>
                  <a:close/>
                  <a:moveTo>
                    <a:pt x="61" y="41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57" y="44"/>
                    <a:pt x="57" y="44"/>
                    <a:pt x="57" y="44"/>
                  </a:cubicBezTo>
                  <a:lnTo>
                    <a:pt x="61" y="41"/>
                  </a:lnTo>
                  <a:close/>
                  <a:moveTo>
                    <a:pt x="48" y="24"/>
                  </a:moveTo>
                  <a:cubicBezTo>
                    <a:pt x="48" y="16"/>
                    <a:pt x="53" y="11"/>
                    <a:pt x="61" y="11"/>
                  </a:cubicBezTo>
                  <a:cubicBezTo>
                    <a:pt x="68" y="11"/>
                    <a:pt x="74" y="16"/>
                    <a:pt x="74" y="24"/>
                  </a:cubicBezTo>
                  <a:cubicBezTo>
                    <a:pt x="74" y="31"/>
                    <a:pt x="68" y="37"/>
                    <a:pt x="61" y="37"/>
                  </a:cubicBezTo>
                  <a:cubicBezTo>
                    <a:pt x="53" y="37"/>
                    <a:pt x="48" y="31"/>
                    <a:pt x="48" y="24"/>
                  </a:cubicBezTo>
                  <a:close/>
                  <a:moveTo>
                    <a:pt x="36" y="62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48"/>
                    <a:pt x="43" y="40"/>
                    <a:pt x="52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8" y="62"/>
                    <a:pt x="58" y="62"/>
                    <a:pt x="58" y="62"/>
                  </a:cubicBezTo>
                  <a:lnTo>
                    <a:pt x="36" y="6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38" name="Group 190"/>
          <p:cNvGrpSpPr>
            <a:grpSpLocks noChangeAspect="1"/>
          </p:cNvGrpSpPr>
          <p:nvPr/>
        </p:nvGrpSpPr>
        <p:grpSpPr bwMode="auto">
          <a:xfrm>
            <a:off x="1481136" y="2829245"/>
            <a:ext cx="768350" cy="768350"/>
            <a:chOff x="928" y="1763"/>
            <a:chExt cx="484" cy="484"/>
          </a:xfrm>
        </p:grpSpPr>
        <p:sp>
          <p:nvSpPr>
            <p:cNvPr id="53439" name="Freeform 191"/>
            <p:cNvSpPr>
              <a:spLocks noEditPoints="1"/>
            </p:cNvSpPr>
            <p:nvPr/>
          </p:nvSpPr>
          <p:spPr bwMode="auto">
            <a:xfrm>
              <a:off x="928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40" name="Freeform 192"/>
            <p:cNvSpPr>
              <a:spLocks noEditPoints="1"/>
            </p:cNvSpPr>
            <p:nvPr/>
          </p:nvSpPr>
          <p:spPr bwMode="auto">
            <a:xfrm>
              <a:off x="1029" y="1888"/>
              <a:ext cx="271" cy="232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98" y="3"/>
                </a:cxn>
                <a:cxn ang="0">
                  <a:pos x="106" y="3"/>
                </a:cxn>
                <a:cxn ang="0">
                  <a:pos x="85" y="23"/>
                </a:cxn>
                <a:cxn ang="0">
                  <a:pos x="85" y="46"/>
                </a:cxn>
                <a:cxn ang="0">
                  <a:pos x="71" y="37"/>
                </a:cxn>
                <a:cxn ang="0">
                  <a:pos x="77" y="24"/>
                </a:cxn>
                <a:cxn ang="0">
                  <a:pos x="61" y="7"/>
                </a:cxn>
                <a:cxn ang="0">
                  <a:pos x="44" y="24"/>
                </a:cxn>
                <a:cxn ang="0">
                  <a:pos x="50" y="37"/>
                </a:cxn>
                <a:cxn ang="0">
                  <a:pos x="33" y="58"/>
                </a:cxn>
                <a:cxn ang="0">
                  <a:pos x="33" y="64"/>
                </a:cxn>
                <a:cxn ang="0">
                  <a:pos x="33" y="64"/>
                </a:cxn>
                <a:cxn ang="0">
                  <a:pos x="33" y="93"/>
                </a:cxn>
                <a:cxn ang="0">
                  <a:pos x="0" y="93"/>
                </a:cxn>
                <a:cxn ang="0">
                  <a:pos x="0" y="97"/>
                </a:cxn>
                <a:cxn ang="0">
                  <a:pos x="36" y="97"/>
                </a:cxn>
                <a:cxn ang="0">
                  <a:pos x="36" y="66"/>
                </a:cxn>
                <a:cxn ang="0">
                  <a:pos x="89" y="66"/>
                </a:cxn>
                <a:cxn ang="0">
                  <a:pos x="89" y="25"/>
                </a:cxn>
                <a:cxn ang="0">
                  <a:pos x="109" y="6"/>
                </a:cxn>
                <a:cxn ang="0">
                  <a:pos x="109" y="14"/>
                </a:cxn>
                <a:cxn ang="0">
                  <a:pos x="113" y="14"/>
                </a:cxn>
                <a:cxn ang="0">
                  <a:pos x="113" y="1"/>
                </a:cxn>
                <a:cxn ang="0">
                  <a:pos x="111" y="0"/>
                </a:cxn>
                <a:cxn ang="0">
                  <a:pos x="98" y="0"/>
                </a:cxn>
                <a:cxn ang="0">
                  <a:pos x="85" y="58"/>
                </a:cxn>
                <a:cxn ang="0">
                  <a:pos x="85" y="62"/>
                </a:cxn>
                <a:cxn ang="0">
                  <a:pos x="63" y="62"/>
                </a:cxn>
                <a:cxn ang="0">
                  <a:pos x="68" y="44"/>
                </a:cxn>
                <a:cxn ang="0">
                  <a:pos x="67" y="42"/>
                </a:cxn>
                <a:cxn ang="0">
                  <a:pos x="65" y="40"/>
                </a:cxn>
                <a:cxn ang="0">
                  <a:pos x="69" y="40"/>
                </a:cxn>
                <a:cxn ang="0">
                  <a:pos x="85" y="58"/>
                </a:cxn>
                <a:cxn ang="0">
                  <a:pos x="61" y="41"/>
                </a:cxn>
                <a:cxn ang="0">
                  <a:pos x="64" y="44"/>
                </a:cxn>
                <a:cxn ang="0">
                  <a:pos x="61" y="57"/>
                </a:cxn>
                <a:cxn ang="0">
                  <a:pos x="57" y="44"/>
                </a:cxn>
                <a:cxn ang="0">
                  <a:pos x="61" y="41"/>
                </a:cxn>
                <a:cxn ang="0">
                  <a:pos x="48" y="24"/>
                </a:cxn>
                <a:cxn ang="0">
                  <a:pos x="61" y="11"/>
                </a:cxn>
                <a:cxn ang="0">
                  <a:pos x="74" y="24"/>
                </a:cxn>
                <a:cxn ang="0">
                  <a:pos x="61" y="37"/>
                </a:cxn>
                <a:cxn ang="0">
                  <a:pos x="48" y="24"/>
                </a:cxn>
                <a:cxn ang="0">
                  <a:pos x="36" y="62"/>
                </a:cxn>
                <a:cxn ang="0">
                  <a:pos x="36" y="58"/>
                </a:cxn>
                <a:cxn ang="0">
                  <a:pos x="52" y="40"/>
                </a:cxn>
                <a:cxn ang="0">
                  <a:pos x="56" y="40"/>
                </a:cxn>
                <a:cxn ang="0">
                  <a:pos x="54" y="42"/>
                </a:cxn>
                <a:cxn ang="0">
                  <a:pos x="54" y="44"/>
                </a:cxn>
                <a:cxn ang="0">
                  <a:pos x="58" y="62"/>
                </a:cxn>
                <a:cxn ang="0">
                  <a:pos x="36" y="62"/>
                </a:cxn>
              </a:cxnLst>
              <a:rect l="0" t="0" r="r" b="b"/>
              <a:pathLst>
                <a:path w="113" h="97">
                  <a:moveTo>
                    <a:pt x="98" y="0"/>
                  </a:moveTo>
                  <a:cubicBezTo>
                    <a:pt x="98" y="3"/>
                    <a:pt x="98" y="3"/>
                    <a:pt x="98" y="3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2" y="41"/>
                    <a:pt x="77" y="37"/>
                    <a:pt x="71" y="37"/>
                  </a:cubicBezTo>
                  <a:cubicBezTo>
                    <a:pt x="75" y="34"/>
                    <a:pt x="77" y="29"/>
                    <a:pt x="77" y="24"/>
                  </a:cubicBezTo>
                  <a:cubicBezTo>
                    <a:pt x="77" y="14"/>
                    <a:pt x="70" y="7"/>
                    <a:pt x="61" y="7"/>
                  </a:cubicBezTo>
                  <a:cubicBezTo>
                    <a:pt x="51" y="7"/>
                    <a:pt x="44" y="14"/>
                    <a:pt x="44" y="24"/>
                  </a:cubicBezTo>
                  <a:cubicBezTo>
                    <a:pt x="44" y="29"/>
                    <a:pt x="46" y="34"/>
                    <a:pt x="50" y="37"/>
                  </a:cubicBezTo>
                  <a:cubicBezTo>
                    <a:pt x="40" y="38"/>
                    <a:pt x="33" y="47"/>
                    <a:pt x="33" y="58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98" y="0"/>
                  </a:lnTo>
                  <a:close/>
                  <a:moveTo>
                    <a:pt x="85" y="58"/>
                  </a:moveTo>
                  <a:cubicBezTo>
                    <a:pt x="85" y="62"/>
                    <a:pt x="85" y="62"/>
                    <a:pt x="85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8" y="40"/>
                    <a:pt x="85" y="48"/>
                    <a:pt x="85" y="58"/>
                  </a:cubicBezTo>
                  <a:close/>
                  <a:moveTo>
                    <a:pt x="61" y="41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57" y="44"/>
                    <a:pt x="57" y="44"/>
                    <a:pt x="57" y="44"/>
                  </a:cubicBezTo>
                  <a:lnTo>
                    <a:pt x="61" y="41"/>
                  </a:lnTo>
                  <a:close/>
                  <a:moveTo>
                    <a:pt x="48" y="24"/>
                  </a:moveTo>
                  <a:cubicBezTo>
                    <a:pt x="48" y="16"/>
                    <a:pt x="53" y="11"/>
                    <a:pt x="61" y="11"/>
                  </a:cubicBezTo>
                  <a:cubicBezTo>
                    <a:pt x="68" y="11"/>
                    <a:pt x="74" y="16"/>
                    <a:pt x="74" y="24"/>
                  </a:cubicBezTo>
                  <a:cubicBezTo>
                    <a:pt x="74" y="31"/>
                    <a:pt x="68" y="37"/>
                    <a:pt x="61" y="37"/>
                  </a:cubicBezTo>
                  <a:cubicBezTo>
                    <a:pt x="53" y="37"/>
                    <a:pt x="48" y="31"/>
                    <a:pt x="48" y="24"/>
                  </a:cubicBezTo>
                  <a:close/>
                  <a:moveTo>
                    <a:pt x="36" y="62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48"/>
                    <a:pt x="43" y="40"/>
                    <a:pt x="52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8" y="62"/>
                    <a:pt x="58" y="62"/>
                    <a:pt x="58" y="62"/>
                  </a:cubicBezTo>
                  <a:lnTo>
                    <a:pt x="36" y="6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43" name="Group 195"/>
          <p:cNvGrpSpPr>
            <a:grpSpLocks noChangeAspect="1"/>
          </p:cNvGrpSpPr>
          <p:nvPr/>
        </p:nvGrpSpPr>
        <p:grpSpPr bwMode="auto">
          <a:xfrm>
            <a:off x="2541587" y="2795905"/>
            <a:ext cx="838200" cy="836613"/>
            <a:chOff x="1598" y="1742"/>
            <a:chExt cx="528" cy="527"/>
          </a:xfrm>
        </p:grpSpPr>
        <p:sp>
          <p:nvSpPr>
            <p:cNvPr id="53444" name="Oval 196"/>
            <p:cNvSpPr>
              <a:spLocks noChangeArrowheads="1"/>
            </p:cNvSpPr>
            <p:nvPr/>
          </p:nvSpPr>
          <p:spPr bwMode="auto">
            <a:xfrm>
              <a:off x="1598" y="1742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45" name="Rectangle 197"/>
            <p:cNvSpPr>
              <a:spLocks noChangeArrowheads="1"/>
            </p:cNvSpPr>
            <p:nvPr/>
          </p:nvSpPr>
          <p:spPr bwMode="auto">
            <a:xfrm>
              <a:off x="1752" y="2106"/>
              <a:ext cx="4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46" name="Freeform 198"/>
            <p:cNvSpPr>
              <a:spLocks noEditPoints="1"/>
            </p:cNvSpPr>
            <p:nvPr/>
          </p:nvSpPr>
          <p:spPr bwMode="auto">
            <a:xfrm>
              <a:off x="1620" y="1764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47" name="Freeform 199"/>
            <p:cNvSpPr>
              <a:spLocks noEditPoints="1"/>
            </p:cNvSpPr>
            <p:nvPr/>
          </p:nvSpPr>
          <p:spPr bwMode="auto">
            <a:xfrm>
              <a:off x="1706" y="1860"/>
              <a:ext cx="317" cy="289"/>
            </a:xfrm>
            <a:custGeom>
              <a:avLst/>
              <a:gdLst/>
              <a:ahLst/>
              <a:cxnLst>
                <a:cxn ang="0">
                  <a:pos x="107" y="26"/>
                </a:cxn>
                <a:cxn ang="0">
                  <a:pos x="103" y="13"/>
                </a:cxn>
                <a:cxn ang="0">
                  <a:pos x="43" y="1"/>
                </a:cxn>
                <a:cxn ang="0">
                  <a:pos x="65" y="39"/>
                </a:cxn>
                <a:cxn ang="0">
                  <a:pos x="0" y="42"/>
                </a:cxn>
                <a:cxn ang="0">
                  <a:pos x="0" y="117"/>
                </a:cxn>
                <a:cxn ang="0">
                  <a:pos x="67" y="55"/>
                </a:cxn>
                <a:cxn ang="0">
                  <a:pos x="69" y="76"/>
                </a:cxn>
                <a:cxn ang="0">
                  <a:pos x="66" y="121"/>
                </a:cxn>
                <a:cxn ang="0">
                  <a:pos x="79" y="121"/>
                </a:cxn>
                <a:cxn ang="0">
                  <a:pos x="100" y="86"/>
                </a:cxn>
                <a:cxn ang="0">
                  <a:pos x="107" y="121"/>
                </a:cxn>
                <a:cxn ang="0">
                  <a:pos x="116" y="118"/>
                </a:cxn>
                <a:cxn ang="0">
                  <a:pos x="117" y="71"/>
                </a:cxn>
                <a:cxn ang="0">
                  <a:pos x="129" y="117"/>
                </a:cxn>
                <a:cxn ang="0">
                  <a:pos x="132" y="50"/>
                </a:cxn>
                <a:cxn ang="0">
                  <a:pos x="115" y="38"/>
                </a:cxn>
                <a:cxn ang="0">
                  <a:pos x="105" y="29"/>
                </a:cxn>
                <a:cxn ang="0">
                  <a:pos x="95" y="32"/>
                </a:cxn>
                <a:cxn ang="0">
                  <a:pos x="74" y="32"/>
                </a:cxn>
                <a:cxn ang="0">
                  <a:pos x="91" y="26"/>
                </a:cxn>
                <a:cxn ang="0">
                  <a:pos x="92" y="4"/>
                </a:cxn>
                <a:cxn ang="0">
                  <a:pos x="83" y="13"/>
                </a:cxn>
                <a:cxn ang="0">
                  <a:pos x="82" y="5"/>
                </a:cxn>
                <a:cxn ang="0">
                  <a:pos x="77" y="25"/>
                </a:cxn>
                <a:cxn ang="0">
                  <a:pos x="51" y="113"/>
                </a:cxn>
                <a:cxn ang="0">
                  <a:pos x="51" y="96"/>
                </a:cxn>
                <a:cxn ang="0">
                  <a:pos x="4" y="92"/>
                </a:cxn>
                <a:cxn ang="0">
                  <a:pos x="51" y="92"/>
                </a:cxn>
                <a:cxn ang="0">
                  <a:pos x="4" y="55"/>
                </a:cxn>
                <a:cxn ang="0">
                  <a:pos x="67" y="51"/>
                </a:cxn>
                <a:cxn ang="0">
                  <a:pos x="67" y="46"/>
                </a:cxn>
                <a:cxn ang="0">
                  <a:pos x="47" y="29"/>
                </a:cxn>
                <a:cxn ang="0">
                  <a:pos x="70" y="32"/>
                </a:cxn>
                <a:cxn ang="0">
                  <a:pos x="70" y="70"/>
                </a:cxn>
                <a:cxn ang="0">
                  <a:pos x="71" y="38"/>
                </a:cxn>
                <a:cxn ang="0">
                  <a:pos x="72" y="36"/>
                </a:cxn>
                <a:cxn ang="0">
                  <a:pos x="72" y="38"/>
                </a:cxn>
                <a:cxn ang="0">
                  <a:pos x="72" y="51"/>
                </a:cxn>
                <a:cxn ang="0">
                  <a:pos x="72" y="74"/>
                </a:cxn>
                <a:cxn ang="0">
                  <a:pos x="107" y="118"/>
                </a:cxn>
                <a:cxn ang="0">
                  <a:pos x="79" y="82"/>
                </a:cxn>
                <a:cxn ang="0">
                  <a:pos x="70" y="118"/>
                </a:cxn>
                <a:cxn ang="0">
                  <a:pos x="76" y="75"/>
                </a:cxn>
                <a:cxn ang="0">
                  <a:pos x="106" y="36"/>
                </a:cxn>
                <a:cxn ang="0">
                  <a:pos x="106" y="42"/>
                </a:cxn>
                <a:cxn ang="0">
                  <a:pos x="110" y="78"/>
                </a:cxn>
                <a:cxn ang="0">
                  <a:pos x="107" y="118"/>
                </a:cxn>
                <a:cxn ang="0">
                  <a:pos x="110" y="68"/>
                </a:cxn>
                <a:cxn ang="0">
                  <a:pos x="110" y="46"/>
                </a:cxn>
                <a:cxn ang="0">
                  <a:pos x="110" y="36"/>
                </a:cxn>
                <a:cxn ang="0">
                  <a:pos x="112" y="38"/>
                </a:cxn>
                <a:cxn ang="0">
                  <a:pos x="112" y="47"/>
                </a:cxn>
                <a:cxn ang="0">
                  <a:pos x="112" y="61"/>
                </a:cxn>
                <a:cxn ang="0">
                  <a:pos x="110" y="74"/>
                </a:cxn>
                <a:cxn ang="0">
                  <a:pos x="129" y="51"/>
                </a:cxn>
                <a:cxn ang="0">
                  <a:pos x="129" y="46"/>
                </a:cxn>
              </a:cxnLst>
              <a:rect l="0" t="0" r="r" b="b"/>
              <a:pathLst>
                <a:path w="132" h="121"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0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4" y="24"/>
                    <a:pt x="102" y="23"/>
                    <a:pt x="98" y="23"/>
                  </a:cubicBezTo>
                  <a:cubicBezTo>
                    <a:pt x="101" y="20"/>
                    <a:pt x="103" y="17"/>
                    <a:pt x="103" y="13"/>
                  </a:cubicBezTo>
                  <a:cubicBezTo>
                    <a:pt x="103" y="6"/>
                    <a:pt x="98" y="0"/>
                    <a:pt x="92" y="0"/>
                  </a:cubicBezTo>
                  <a:cubicBezTo>
                    <a:pt x="90" y="0"/>
                    <a:pt x="88" y="1"/>
                    <a:pt x="87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73"/>
                    <a:pt x="67" y="75"/>
                    <a:pt x="69" y="76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70" y="121"/>
                    <a:pt x="70" y="121"/>
                    <a:pt x="70" y="121"/>
                  </a:cubicBezTo>
                  <a:cubicBezTo>
                    <a:pt x="75" y="121"/>
                    <a:pt x="75" y="121"/>
                    <a:pt x="75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4" y="121"/>
                    <a:pt x="104" y="121"/>
                    <a:pt x="104" y="121"/>
                  </a:cubicBezTo>
                  <a:cubicBezTo>
                    <a:pt x="107" y="121"/>
                    <a:pt x="107" y="121"/>
                    <a:pt x="107" y="121"/>
                  </a:cubicBezTo>
                  <a:cubicBezTo>
                    <a:pt x="112" y="121"/>
                    <a:pt x="112" y="121"/>
                    <a:pt x="112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18"/>
                    <a:pt x="116" y="118"/>
                    <a:pt x="116" y="118"/>
                  </a:cubicBezTo>
                  <a:cubicBezTo>
                    <a:pt x="113" y="78"/>
                    <a:pt x="113" y="78"/>
                    <a:pt x="113" y="78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6"/>
                    <a:pt x="117" y="74"/>
                    <a:pt x="117" y="7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32" y="117"/>
                    <a:pt x="132" y="117"/>
                    <a:pt x="132" y="117"/>
                  </a:cubicBezTo>
                  <a:cubicBezTo>
                    <a:pt x="132" y="55"/>
                    <a:pt x="132" y="55"/>
                    <a:pt x="132" y="55"/>
                  </a:cubicBezTo>
                  <a:cubicBezTo>
                    <a:pt x="132" y="50"/>
                    <a:pt x="132" y="50"/>
                    <a:pt x="132" y="50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15" y="42"/>
                    <a:pt x="115" y="42"/>
                    <a:pt x="115" y="42"/>
                  </a:cubicBezTo>
                  <a:lnTo>
                    <a:pt x="115" y="38"/>
                  </a:lnTo>
                  <a:close/>
                  <a:moveTo>
                    <a:pt x="105" y="29"/>
                  </a:moveTo>
                  <a:cubicBezTo>
                    <a:pt x="106" y="27"/>
                    <a:pt x="106" y="27"/>
                    <a:pt x="106" y="27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7" y="30"/>
                    <a:pt x="108" y="31"/>
                    <a:pt x="109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5" y="31"/>
                    <a:pt x="75" y="31"/>
                  </a:cubicBezTo>
                  <a:cubicBezTo>
                    <a:pt x="76" y="29"/>
                    <a:pt x="81" y="26"/>
                    <a:pt x="91" y="26"/>
                  </a:cubicBezTo>
                  <a:cubicBezTo>
                    <a:pt x="93" y="26"/>
                    <a:pt x="94" y="26"/>
                    <a:pt x="95" y="26"/>
                  </a:cubicBezTo>
                  <a:cubicBezTo>
                    <a:pt x="99" y="26"/>
                    <a:pt x="102" y="27"/>
                    <a:pt x="105" y="29"/>
                  </a:cubicBezTo>
                  <a:close/>
                  <a:moveTo>
                    <a:pt x="92" y="4"/>
                  </a:moveTo>
                  <a:cubicBezTo>
                    <a:pt x="96" y="4"/>
                    <a:pt x="100" y="8"/>
                    <a:pt x="100" y="13"/>
                  </a:cubicBezTo>
                  <a:cubicBezTo>
                    <a:pt x="100" y="17"/>
                    <a:pt x="96" y="21"/>
                    <a:pt x="92" y="21"/>
                  </a:cubicBezTo>
                  <a:cubicBezTo>
                    <a:pt x="87" y="21"/>
                    <a:pt x="83" y="17"/>
                    <a:pt x="83" y="13"/>
                  </a:cubicBezTo>
                  <a:cubicBezTo>
                    <a:pt x="83" y="8"/>
                    <a:pt x="87" y="4"/>
                    <a:pt x="92" y="4"/>
                  </a:cubicBezTo>
                  <a:close/>
                  <a:moveTo>
                    <a:pt x="47" y="5"/>
                  </a:moveTo>
                  <a:cubicBezTo>
                    <a:pt x="82" y="5"/>
                    <a:pt x="82" y="5"/>
                    <a:pt x="82" y="5"/>
                  </a:cubicBezTo>
                  <a:cubicBezTo>
                    <a:pt x="81" y="7"/>
                    <a:pt x="80" y="10"/>
                    <a:pt x="80" y="13"/>
                  </a:cubicBezTo>
                  <a:cubicBezTo>
                    <a:pt x="80" y="17"/>
                    <a:pt x="82" y="20"/>
                    <a:pt x="85" y="23"/>
                  </a:cubicBezTo>
                  <a:cubicBezTo>
                    <a:pt x="82" y="23"/>
                    <a:pt x="79" y="24"/>
                    <a:pt x="77" y="25"/>
                  </a:cubicBezTo>
                  <a:cubicBezTo>
                    <a:pt x="47" y="25"/>
                    <a:pt x="47" y="25"/>
                    <a:pt x="47" y="25"/>
                  </a:cubicBezTo>
                  <a:lnTo>
                    <a:pt x="47" y="5"/>
                  </a:lnTo>
                  <a:close/>
                  <a:moveTo>
                    <a:pt x="51" y="1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51" y="96"/>
                    <a:pt x="51" y="96"/>
                    <a:pt x="51" y="96"/>
                  </a:cubicBezTo>
                  <a:lnTo>
                    <a:pt x="51" y="113"/>
                  </a:lnTo>
                  <a:close/>
                  <a:moveTo>
                    <a:pt x="51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1" y="77"/>
                    <a:pt x="51" y="77"/>
                    <a:pt x="51" y="77"/>
                  </a:cubicBezTo>
                  <a:lnTo>
                    <a:pt x="51" y="92"/>
                  </a:lnTo>
                  <a:close/>
                  <a:moveTo>
                    <a:pt x="51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1" y="55"/>
                    <a:pt x="51" y="55"/>
                    <a:pt x="51" y="55"/>
                  </a:cubicBezTo>
                  <a:lnTo>
                    <a:pt x="51" y="74"/>
                  </a:lnTo>
                  <a:close/>
                  <a:moveTo>
                    <a:pt x="67" y="51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67" y="46"/>
                    <a:pt x="67" y="46"/>
                    <a:pt x="67" y="46"/>
                  </a:cubicBezTo>
                  <a:lnTo>
                    <a:pt x="67" y="51"/>
                  </a:lnTo>
                  <a:close/>
                  <a:moveTo>
                    <a:pt x="47" y="32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1" y="30"/>
                    <a:pt x="70" y="31"/>
                    <a:pt x="70" y="32"/>
                  </a:cubicBezTo>
                  <a:lnTo>
                    <a:pt x="47" y="32"/>
                  </a:lnTo>
                  <a:close/>
                  <a:moveTo>
                    <a:pt x="70" y="71"/>
                  </a:moveTo>
                  <a:cubicBezTo>
                    <a:pt x="70" y="70"/>
                    <a:pt x="70" y="70"/>
                    <a:pt x="70" y="70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1" y="73"/>
                    <a:pt x="70" y="72"/>
                    <a:pt x="70" y="71"/>
                  </a:cubicBezTo>
                  <a:close/>
                  <a:moveTo>
                    <a:pt x="107" y="118"/>
                  </a:moveTo>
                  <a:cubicBezTo>
                    <a:pt x="107" y="118"/>
                    <a:pt x="107" y="118"/>
                    <a:pt x="107" y="118"/>
                  </a:cubicBezTo>
                  <a:cubicBezTo>
                    <a:pt x="107" y="118"/>
                    <a:pt x="107" y="118"/>
                    <a:pt x="107" y="118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2" y="78"/>
                    <a:pt x="76" y="76"/>
                    <a:pt x="76" y="75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6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2" y="118"/>
                    <a:pt x="112" y="118"/>
                    <a:pt x="112" y="118"/>
                  </a:cubicBezTo>
                  <a:lnTo>
                    <a:pt x="107" y="118"/>
                  </a:lnTo>
                  <a:close/>
                  <a:moveTo>
                    <a:pt x="110" y="74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68"/>
                    <a:pt x="110" y="68"/>
                    <a:pt x="110" y="68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1" y="35"/>
                    <a:pt x="111" y="36"/>
                    <a:pt x="111" y="37"/>
                  </a:cubicBezTo>
                  <a:cubicBezTo>
                    <a:pt x="111" y="38"/>
                    <a:pt x="111" y="38"/>
                    <a:pt x="112" y="38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3"/>
                    <a:pt x="112" y="74"/>
                    <a:pt x="110" y="74"/>
                  </a:cubicBezTo>
                  <a:close/>
                  <a:moveTo>
                    <a:pt x="129" y="46"/>
                  </a:moveTo>
                  <a:cubicBezTo>
                    <a:pt x="129" y="50"/>
                    <a:pt x="129" y="50"/>
                    <a:pt x="129" y="50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5" y="46"/>
                    <a:pt x="115" y="46"/>
                    <a:pt x="115" y="46"/>
                  </a:cubicBezTo>
                  <a:lnTo>
                    <a:pt x="129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48" name="Rectangle 200"/>
            <p:cNvSpPr>
              <a:spLocks noChangeArrowheads="1"/>
            </p:cNvSpPr>
            <p:nvPr/>
          </p:nvSpPr>
          <p:spPr bwMode="auto">
            <a:xfrm>
              <a:off x="1752" y="2058"/>
              <a:ext cx="41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49" name="Rectangle 201"/>
            <p:cNvSpPr>
              <a:spLocks noChangeArrowheads="1"/>
            </p:cNvSpPr>
            <p:nvPr/>
          </p:nvSpPr>
          <p:spPr bwMode="auto">
            <a:xfrm>
              <a:off x="1752" y="2010"/>
              <a:ext cx="4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52" name="Group 204"/>
          <p:cNvGrpSpPr>
            <a:grpSpLocks noChangeAspect="1"/>
          </p:cNvGrpSpPr>
          <p:nvPr/>
        </p:nvGrpSpPr>
        <p:grpSpPr bwMode="auto">
          <a:xfrm>
            <a:off x="3670303" y="2829245"/>
            <a:ext cx="768350" cy="768350"/>
            <a:chOff x="2311" y="1763"/>
            <a:chExt cx="484" cy="484"/>
          </a:xfrm>
        </p:grpSpPr>
        <p:sp>
          <p:nvSpPr>
            <p:cNvPr id="53453" name="Rectangle 205"/>
            <p:cNvSpPr>
              <a:spLocks noChangeArrowheads="1"/>
            </p:cNvSpPr>
            <p:nvPr/>
          </p:nvSpPr>
          <p:spPr bwMode="auto">
            <a:xfrm>
              <a:off x="2443" y="2106"/>
              <a:ext cx="4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54" name="Freeform 206"/>
            <p:cNvSpPr>
              <a:spLocks noEditPoints="1"/>
            </p:cNvSpPr>
            <p:nvPr/>
          </p:nvSpPr>
          <p:spPr bwMode="auto">
            <a:xfrm>
              <a:off x="2311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55" name="Freeform 207"/>
            <p:cNvSpPr>
              <a:spLocks noEditPoints="1"/>
            </p:cNvSpPr>
            <p:nvPr/>
          </p:nvSpPr>
          <p:spPr bwMode="auto">
            <a:xfrm>
              <a:off x="2398" y="1859"/>
              <a:ext cx="316" cy="290"/>
            </a:xfrm>
            <a:custGeom>
              <a:avLst/>
              <a:gdLst/>
              <a:ahLst/>
              <a:cxnLst>
                <a:cxn ang="0">
                  <a:pos x="107" y="26"/>
                </a:cxn>
                <a:cxn ang="0">
                  <a:pos x="103" y="13"/>
                </a:cxn>
                <a:cxn ang="0">
                  <a:pos x="43" y="1"/>
                </a:cxn>
                <a:cxn ang="0">
                  <a:pos x="65" y="39"/>
                </a:cxn>
                <a:cxn ang="0">
                  <a:pos x="0" y="42"/>
                </a:cxn>
                <a:cxn ang="0">
                  <a:pos x="0" y="117"/>
                </a:cxn>
                <a:cxn ang="0">
                  <a:pos x="67" y="55"/>
                </a:cxn>
                <a:cxn ang="0">
                  <a:pos x="69" y="76"/>
                </a:cxn>
                <a:cxn ang="0">
                  <a:pos x="66" y="121"/>
                </a:cxn>
                <a:cxn ang="0">
                  <a:pos x="79" y="121"/>
                </a:cxn>
                <a:cxn ang="0">
                  <a:pos x="100" y="86"/>
                </a:cxn>
                <a:cxn ang="0">
                  <a:pos x="107" y="121"/>
                </a:cxn>
                <a:cxn ang="0">
                  <a:pos x="116" y="118"/>
                </a:cxn>
                <a:cxn ang="0">
                  <a:pos x="117" y="71"/>
                </a:cxn>
                <a:cxn ang="0">
                  <a:pos x="129" y="117"/>
                </a:cxn>
                <a:cxn ang="0">
                  <a:pos x="132" y="50"/>
                </a:cxn>
                <a:cxn ang="0">
                  <a:pos x="115" y="38"/>
                </a:cxn>
                <a:cxn ang="0">
                  <a:pos x="105" y="29"/>
                </a:cxn>
                <a:cxn ang="0">
                  <a:pos x="95" y="32"/>
                </a:cxn>
                <a:cxn ang="0">
                  <a:pos x="74" y="32"/>
                </a:cxn>
                <a:cxn ang="0">
                  <a:pos x="91" y="26"/>
                </a:cxn>
                <a:cxn ang="0">
                  <a:pos x="92" y="4"/>
                </a:cxn>
                <a:cxn ang="0">
                  <a:pos x="83" y="13"/>
                </a:cxn>
                <a:cxn ang="0">
                  <a:pos x="82" y="5"/>
                </a:cxn>
                <a:cxn ang="0">
                  <a:pos x="77" y="25"/>
                </a:cxn>
                <a:cxn ang="0">
                  <a:pos x="51" y="113"/>
                </a:cxn>
                <a:cxn ang="0">
                  <a:pos x="51" y="96"/>
                </a:cxn>
                <a:cxn ang="0">
                  <a:pos x="4" y="92"/>
                </a:cxn>
                <a:cxn ang="0">
                  <a:pos x="51" y="92"/>
                </a:cxn>
                <a:cxn ang="0">
                  <a:pos x="4" y="55"/>
                </a:cxn>
                <a:cxn ang="0">
                  <a:pos x="67" y="51"/>
                </a:cxn>
                <a:cxn ang="0">
                  <a:pos x="67" y="46"/>
                </a:cxn>
                <a:cxn ang="0">
                  <a:pos x="47" y="29"/>
                </a:cxn>
                <a:cxn ang="0">
                  <a:pos x="70" y="32"/>
                </a:cxn>
                <a:cxn ang="0">
                  <a:pos x="70" y="70"/>
                </a:cxn>
                <a:cxn ang="0">
                  <a:pos x="71" y="38"/>
                </a:cxn>
                <a:cxn ang="0">
                  <a:pos x="72" y="36"/>
                </a:cxn>
                <a:cxn ang="0">
                  <a:pos x="72" y="38"/>
                </a:cxn>
                <a:cxn ang="0">
                  <a:pos x="72" y="51"/>
                </a:cxn>
                <a:cxn ang="0">
                  <a:pos x="72" y="74"/>
                </a:cxn>
                <a:cxn ang="0">
                  <a:pos x="107" y="118"/>
                </a:cxn>
                <a:cxn ang="0">
                  <a:pos x="79" y="82"/>
                </a:cxn>
                <a:cxn ang="0">
                  <a:pos x="70" y="118"/>
                </a:cxn>
                <a:cxn ang="0">
                  <a:pos x="76" y="75"/>
                </a:cxn>
                <a:cxn ang="0">
                  <a:pos x="106" y="36"/>
                </a:cxn>
                <a:cxn ang="0">
                  <a:pos x="106" y="42"/>
                </a:cxn>
                <a:cxn ang="0">
                  <a:pos x="110" y="78"/>
                </a:cxn>
                <a:cxn ang="0">
                  <a:pos x="107" y="118"/>
                </a:cxn>
                <a:cxn ang="0">
                  <a:pos x="110" y="68"/>
                </a:cxn>
                <a:cxn ang="0">
                  <a:pos x="110" y="46"/>
                </a:cxn>
                <a:cxn ang="0">
                  <a:pos x="110" y="36"/>
                </a:cxn>
                <a:cxn ang="0">
                  <a:pos x="112" y="38"/>
                </a:cxn>
                <a:cxn ang="0">
                  <a:pos x="112" y="47"/>
                </a:cxn>
                <a:cxn ang="0">
                  <a:pos x="112" y="61"/>
                </a:cxn>
                <a:cxn ang="0">
                  <a:pos x="110" y="74"/>
                </a:cxn>
                <a:cxn ang="0">
                  <a:pos x="129" y="51"/>
                </a:cxn>
                <a:cxn ang="0">
                  <a:pos x="129" y="46"/>
                </a:cxn>
              </a:cxnLst>
              <a:rect l="0" t="0" r="r" b="b"/>
              <a:pathLst>
                <a:path w="132" h="121"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0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4" y="24"/>
                    <a:pt x="102" y="23"/>
                    <a:pt x="98" y="23"/>
                  </a:cubicBezTo>
                  <a:cubicBezTo>
                    <a:pt x="101" y="20"/>
                    <a:pt x="103" y="17"/>
                    <a:pt x="103" y="13"/>
                  </a:cubicBezTo>
                  <a:cubicBezTo>
                    <a:pt x="103" y="6"/>
                    <a:pt x="98" y="0"/>
                    <a:pt x="92" y="0"/>
                  </a:cubicBezTo>
                  <a:cubicBezTo>
                    <a:pt x="90" y="0"/>
                    <a:pt x="88" y="1"/>
                    <a:pt x="87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6" y="73"/>
                    <a:pt x="67" y="75"/>
                    <a:pt x="69" y="76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7" y="118"/>
                    <a:pt x="67" y="118"/>
                    <a:pt x="67" y="118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70" y="121"/>
                    <a:pt x="70" y="121"/>
                    <a:pt x="70" y="121"/>
                  </a:cubicBezTo>
                  <a:cubicBezTo>
                    <a:pt x="75" y="121"/>
                    <a:pt x="75" y="121"/>
                    <a:pt x="75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4" y="121"/>
                    <a:pt x="104" y="121"/>
                    <a:pt x="104" y="121"/>
                  </a:cubicBezTo>
                  <a:cubicBezTo>
                    <a:pt x="107" y="121"/>
                    <a:pt x="107" y="121"/>
                    <a:pt x="107" y="121"/>
                  </a:cubicBezTo>
                  <a:cubicBezTo>
                    <a:pt x="112" y="121"/>
                    <a:pt x="112" y="121"/>
                    <a:pt x="112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18"/>
                    <a:pt x="116" y="118"/>
                    <a:pt x="116" y="118"/>
                  </a:cubicBezTo>
                  <a:cubicBezTo>
                    <a:pt x="113" y="78"/>
                    <a:pt x="113" y="78"/>
                    <a:pt x="113" y="78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6"/>
                    <a:pt x="117" y="74"/>
                    <a:pt x="117" y="71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9" y="117"/>
                    <a:pt x="129" y="117"/>
                    <a:pt x="129" y="117"/>
                  </a:cubicBezTo>
                  <a:cubicBezTo>
                    <a:pt x="132" y="117"/>
                    <a:pt x="132" y="117"/>
                    <a:pt x="132" y="117"/>
                  </a:cubicBezTo>
                  <a:cubicBezTo>
                    <a:pt x="132" y="55"/>
                    <a:pt x="132" y="55"/>
                    <a:pt x="132" y="55"/>
                  </a:cubicBezTo>
                  <a:cubicBezTo>
                    <a:pt x="132" y="50"/>
                    <a:pt x="132" y="50"/>
                    <a:pt x="132" y="50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15" y="42"/>
                    <a:pt x="115" y="42"/>
                    <a:pt x="115" y="42"/>
                  </a:cubicBezTo>
                  <a:lnTo>
                    <a:pt x="115" y="38"/>
                  </a:lnTo>
                  <a:close/>
                  <a:moveTo>
                    <a:pt x="105" y="29"/>
                  </a:moveTo>
                  <a:cubicBezTo>
                    <a:pt x="106" y="27"/>
                    <a:pt x="106" y="27"/>
                    <a:pt x="106" y="27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7" y="30"/>
                    <a:pt x="108" y="31"/>
                    <a:pt x="109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5" y="31"/>
                    <a:pt x="75" y="31"/>
                  </a:cubicBezTo>
                  <a:cubicBezTo>
                    <a:pt x="76" y="29"/>
                    <a:pt x="81" y="26"/>
                    <a:pt x="91" y="26"/>
                  </a:cubicBezTo>
                  <a:cubicBezTo>
                    <a:pt x="93" y="26"/>
                    <a:pt x="94" y="26"/>
                    <a:pt x="95" y="26"/>
                  </a:cubicBezTo>
                  <a:cubicBezTo>
                    <a:pt x="99" y="26"/>
                    <a:pt x="102" y="27"/>
                    <a:pt x="105" y="29"/>
                  </a:cubicBezTo>
                  <a:close/>
                  <a:moveTo>
                    <a:pt x="92" y="4"/>
                  </a:moveTo>
                  <a:cubicBezTo>
                    <a:pt x="96" y="4"/>
                    <a:pt x="100" y="8"/>
                    <a:pt x="100" y="13"/>
                  </a:cubicBezTo>
                  <a:cubicBezTo>
                    <a:pt x="100" y="17"/>
                    <a:pt x="96" y="21"/>
                    <a:pt x="92" y="21"/>
                  </a:cubicBezTo>
                  <a:cubicBezTo>
                    <a:pt x="87" y="21"/>
                    <a:pt x="83" y="17"/>
                    <a:pt x="83" y="13"/>
                  </a:cubicBezTo>
                  <a:cubicBezTo>
                    <a:pt x="83" y="8"/>
                    <a:pt x="87" y="4"/>
                    <a:pt x="92" y="4"/>
                  </a:cubicBezTo>
                  <a:close/>
                  <a:moveTo>
                    <a:pt x="47" y="5"/>
                  </a:moveTo>
                  <a:cubicBezTo>
                    <a:pt x="82" y="5"/>
                    <a:pt x="82" y="5"/>
                    <a:pt x="82" y="5"/>
                  </a:cubicBezTo>
                  <a:cubicBezTo>
                    <a:pt x="81" y="7"/>
                    <a:pt x="80" y="10"/>
                    <a:pt x="80" y="13"/>
                  </a:cubicBezTo>
                  <a:cubicBezTo>
                    <a:pt x="80" y="17"/>
                    <a:pt x="82" y="20"/>
                    <a:pt x="85" y="23"/>
                  </a:cubicBezTo>
                  <a:cubicBezTo>
                    <a:pt x="82" y="23"/>
                    <a:pt x="79" y="24"/>
                    <a:pt x="77" y="25"/>
                  </a:cubicBezTo>
                  <a:cubicBezTo>
                    <a:pt x="47" y="25"/>
                    <a:pt x="47" y="25"/>
                    <a:pt x="47" y="25"/>
                  </a:cubicBezTo>
                  <a:lnTo>
                    <a:pt x="47" y="5"/>
                  </a:lnTo>
                  <a:close/>
                  <a:moveTo>
                    <a:pt x="51" y="113"/>
                  </a:moveTo>
                  <a:cubicBezTo>
                    <a:pt x="4" y="113"/>
                    <a:pt x="4" y="113"/>
                    <a:pt x="4" y="113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51" y="96"/>
                    <a:pt x="51" y="96"/>
                    <a:pt x="51" y="96"/>
                  </a:cubicBezTo>
                  <a:lnTo>
                    <a:pt x="51" y="113"/>
                  </a:lnTo>
                  <a:close/>
                  <a:moveTo>
                    <a:pt x="51" y="92"/>
                  </a:moveTo>
                  <a:cubicBezTo>
                    <a:pt x="4" y="92"/>
                    <a:pt x="4" y="92"/>
                    <a:pt x="4" y="92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1" y="77"/>
                    <a:pt x="51" y="77"/>
                    <a:pt x="51" y="77"/>
                  </a:cubicBezTo>
                  <a:lnTo>
                    <a:pt x="51" y="92"/>
                  </a:lnTo>
                  <a:close/>
                  <a:moveTo>
                    <a:pt x="51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51" y="55"/>
                    <a:pt x="51" y="55"/>
                    <a:pt x="51" y="55"/>
                  </a:cubicBezTo>
                  <a:lnTo>
                    <a:pt x="51" y="74"/>
                  </a:lnTo>
                  <a:close/>
                  <a:moveTo>
                    <a:pt x="67" y="51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67" y="46"/>
                    <a:pt x="67" y="46"/>
                    <a:pt x="67" y="46"/>
                  </a:cubicBezTo>
                  <a:lnTo>
                    <a:pt x="67" y="51"/>
                  </a:lnTo>
                  <a:close/>
                  <a:moveTo>
                    <a:pt x="47" y="32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1" y="30"/>
                    <a:pt x="70" y="31"/>
                    <a:pt x="70" y="32"/>
                  </a:cubicBezTo>
                  <a:lnTo>
                    <a:pt x="47" y="32"/>
                  </a:lnTo>
                  <a:close/>
                  <a:moveTo>
                    <a:pt x="70" y="71"/>
                  </a:moveTo>
                  <a:cubicBezTo>
                    <a:pt x="70" y="70"/>
                    <a:pt x="70" y="70"/>
                    <a:pt x="70" y="70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1" y="73"/>
                    <a:pt x="70" y="72"/>
                    <a:pt x="70" y="71"/>
                  </a:cubicBezTo>
                  <a:close/>
                  <a:moveTo>
                    <a:pt x="107" y="118"/>
                  </a:moveTo>
                  <a:cubicBezTo>
                    <a:pt x="107" y="118"/>
                    <a:pt x="107" y="118"/>
                    <a:pt x="107" y="118"/>
                  </a:cubicBezTo>
                  <a:cubicBezTo>
                    <a:pt x="107" y="118"/>
                    <a:pt x="107" y="118"/>
                    <a:pt x="107" y="118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0" y="118"/>
                    <a:pt x="70" y="118"/>
                    <a:pt x="70" y="11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2" y="78"/>
                    <a:pt x="76" y="76"/>
                    <a:pt x="76" y="75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6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2" y="118"/>
                    <a:pt x="112" y="118"/>
                    <a:pt x="112" y="118"/>
                  </a:cubicBezTo>
                  <a:lnTo>
                    <a:pt x="107" y="118"/>
                  </a:lnTo>
                  <a:close/>
                  <a:moveTo>
                    <a:pt x="110" y="74"/>
                  </a:moveTo>
                  <a:cubicBezTo>
                    <a:pt x="110" y="74"/>
                    <a:pt x="110" y="74"/>
                    <a:pt x="110" y="74"/>
                  </a:cubicBezTo>
                  <a:cubicBezTo>
                    <a:pt x="110" y="68"/>
                    <a:pt x="110" y="68"/>
                    <a:pt x="110" y="68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1" y="35"/>
                    <a:pt x="111" y="36"/>
                    <a:pt x="111" y="37"/>
                  </a:cubicBezTo>
                  <a:cubicBezTo>
                    <a:pt x="111" y="38"/>
                    <a:pt x="111" y="38"/>
                    <a:pt x="112" y="38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12" y="61"/>
                    <a:pt x="112" y="61"/>
                    <a:pt x="112" y="61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3" y="73"/>
                    <a:pt x="112" y="74"/>
                    <a:pt x="110" y="74"/>
                  </a:cubicBezTo>
                  <a:close/>
                  <a:moveTo>
                    <a:pt x="129" y="46"/>
                  </a:moveTo>
                  <a:cubicBezTo>
                    <a:pt x="129" y="50"/>
                    <a:pt x="129" y="50"/>
                    <a:pt x="129" y="50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5" y="46"/>
                    <a:pt x="115" y="46"/>
                    <a:pt x="115" y="46"/>
                  </a:cubicBezTo>
                  <a:lnTo>
                    <a:pt x="129" y="4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56" name="Rectangle 208"/>
            <p:cNvSpPr>
              <a:spLocks noChangeArrowheads="1"/>
            </p:cNvSpPr>
            <p:nvPr/>
          </p:nvSpPr>
          <p:spPr bwMode="auto">
            <a:xfrm>
              <a:off x="2443" y="2058"/>
              <a:ext cx="41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57" name="Rectangle 209"/>
            <p:cNvSpPr>
              <a:spLocks noChangeArrowheads="1"/>
            </p:cNvSpPr>
            <p:nvPr/>
          </p:nvSpPr>
          <p:spPr bwMode="auto">
            <a:xfrm>
              <a:off x="2443" y="2010"/>
              <a:ext cx="4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60" name="Group 212"/>
          <p:cNvGrpSpPr>
            <a:grpSpLocks noChangeAspect="1"/>
          </p:cNvGrpSpPr>
          <p:nvPr/>
        </p:nvGrpSpPr>
        <p:grpSpPr bwMode="auto">
          <a:xfrm>
            <a:off x="4734720" y="2802256"/>
            <a:ext cx="831850" cy="828675"/>
            <a:chOff x="2980" y="1746"/>
            <a:chExt cx="524" cy="522"/>
          </a:xfrm>
        </p:grpSpPr>
        <p:sp>
          <p:nvSpPr>
            <p:cNvPr id="53461" name="Oval 213"/>
            <p:cNvSpPr>
              <a:spLocks noChangeArrowheads="1"/>
            </p:cNvSpPr>
            <p:nvPr/>
          </p:nvSpPr>
          <p:spPr bwMode="auto">
            <a:xfrm>
              <a:off x="2980" y="1746"/>
              <a:ext cx="524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62" name="Freeform 214"/>
            <p:cNvSpPr>
              <a:spLocks noEditPoints="1"/>
            </p:cNvSpPr>
            <p:nvPr/>
          </p:nvSpPr>
          <p:spPr bwMode="auto">
            <a:xfrm>
              <a:off x="2999" y="1765"/>
              <a:ext cx="486" cy="486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0" y="102"/>
                </a:cxn>
                <a:cxn ang="0">
                  <a:pos x="102" y="203"/>
                </a:cxn>
                <a:cxn ang="0">
                  <a:pos x="203" y="102"/>
                </a:cxn>
                <a:cxn ang="0">
                  <a:pos x="102" y="0"/>
                </a:cxn>
                <a:cxn ang="0">
                  <a:pos x="170" y="170"/>
                </a:cxn>
                <a:cxn ang="0">
                  <a:pos x="102" y="198"/>
                </a:cxn>
                <a:cxn ang="0">
                  <a:pos x="34" y="170"/>
                </a:cxn>
                <a:cxn ang="0">
                  <a:pos x="5" y="102"/>
                </a:cxn>
                <a:cxn ang="0">
                  <a:pos x="34" y="34"/>
                </a:cxn>
                <a:cxn ang="0">
                  <a:pos x="102" y="5"/>
                </a:cxn>
                <a:cxn ang="0">
                  <a:pos x="170" y="34"/>
                </a:cxn>
                <a:cxn ang="0">
                  <a:pos x="198" y="102"/>
                </a:cxn>
                <a:cxn ang="0">
                  <a:pos x="170" y="170"/>
                </a:cxn>
              </a:cxnLst>
              <a:rect l="0" t="0" r="r" b="b"/>
              <a:pathLst>
                <a:path w="203" h="203">
                  <a:moveTo>
                    <a:pt x="102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57"/>
                    <a:pt x="46" y="203"/>
                    <a:pt x="102" y="203"/>
                  </a:cubicBezTo>
                  <a:cubicBezTo>
                    <a:pt x="157" y="203"/>
                    <a:pt x="203" y="157"/>
                    <a:pt x="203" y="102"/>
                  </a:cubicBezTo>
                  <a:cubicBezTo>
                    <a:pt x="203" y="46"/>
                    <a:pt x="157" y="0"/>
                    <a:pt x="102" y="0"/>
                  </a:cubicBezTo>
                  <a:close/>
                  <a:moveTo>
                    <a:pt x="170" y="170"/>
                  </a:moveTo>
                  <a:cubicBezTo>
                    <a:pt x="151" y="188"/>
                    <a:pt x="127" y="198"/>
                    <a:pt x="102" y="198"/>
                  </a:cubicBezTo>
                  <a:cubicBezTo>
                    <a:pt x="76" y="198"/>
                    <a:pt x="52" y="188"/>
                    <a:pt x="34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4" y="34"/>
                  </a:cubicBezTo>
                  <a:cubicBezTo>
                    <a:pt x="52" y="15"/>
                    <a:pt x="76" y="5"/>
                    <a:pt x="102" y="5"/>
                  </a:cubicBezTo>
                  <a:cubicBezTo>
                    <a:pt x="127" y="5"/>
                    <a:pt x="151" y="15"/>
                    <a:pt x="170" y="34"/>
                  </a:cubicBezTo>
                  <a:cubicBezTo>
                    <a:pt x="188" y="52"/>
                    <a:pt x="198" y="76"/>
                    <a:pt x="198" y="102"/>
                  </a:cubicBezTo>
                  <a:cubicBezTo>
                    <a:pt x="198" y="127"/>
                    <a:pt x="188" y="151"/>
                    <a:pt x="170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63" name="Rectangle 215"/>
            <p:cNvSpPr>
              <a:spLocks noChangeArrowheads="1"/>
            </p:cNvSpPr>
            <p:nvPr/>
          </p:nvSpPr>
          <p:spPr bwMode="auto">
            <a:xfrm>
              <a:off x="3269" y="2019"/>
              <a:ext cx="8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64" name="Freeform 216"/>
            <p:cNvSpPr>
              <a:spLocks noEditPoints="1"/>
            </p:cNvSpPr>
            <p:nvPr/>
          </p:nvSpPr>
          <p:spPr bwMode="auto">
            <a:xfrm>
              <a:off x="3088" y="1878"/>
              <a:ext cx="308" cy="258"/>
            </a:xfrm>
            <a:custGeom>
              <a:avLst/>
              <a:gdLst/>
              <a:ahLst/>
              <a:cxnLst>
                <a:cxn ang="0">
                  <a:pos x="26" y="24"/>
                </a:cxn>
                <a:cxn ang="0">
                  <a:pos x="18" y="43"/>
                </a:cxn>
                <a:cxn ang="0">
                  <a:pos x="26" y="62"/>
                </a:cxn>
                <a:cxn ang="0">
                  <a:pos x="26" y="65"/>
                </a:cxn>
                <a:cxn ang="0">
                  <a:pos x="0" y="97"/>
                </a:cxn>
                <a:cxn ang="0">
                  <a:pos x="0" y="108"/>
                </a:cxn>
                <a:cxn ang="0">
                  <a:pos x="88" y="108"/>
                </a:cxn>
                <a:cxn ang="0">
                  <a:pos x="88" y="97"/>
                </a:cxn>
                <a:cxn ang="0">
                  <a:pos x="81" y="77"/>
                </a:cxn>
                <a:cxn ang="0">
                  <a:pos x="90" y="77"/>
                </a:cxn>
                <a:cxn ang="0">
                  <a:pos x="90" y="74"/>
                </a:cxn>
                <a:cxn ang="0">
                  <a:pos x="85" y="74"/>
                </a:cxn>
                <a:cxn ang="0">
                  <a:pos x="85" y="68"/>
                </a:cxn>
                <a:cxn ang="0">
                  <a:pos x="129" y="68"/>
                </a:cxn>
                <a:cxn ang="0">
                  <a:pos x="129" y="0"/>
                </a:cxn>
                <a:cxn ang="0">
                  <a:pos x="26" y="0"/>
                </a:cxn>
                <a:cxn ang="0">
                  <a:pos x="26" y="24"/>
                </a:cxn>
                <a:cxn ang="0">
                  <a:pos x="22" y="43"/>
                </a:cxn>
                <a:cxn ang="0">
                  <a:pos x="44" y="21"/>
                </a:cxn>
                <a:cxn ang="0">
                  <a:pos x="66" y="43"/>
                </a:cxn>
                <a:cxn ang="0">
                  <a:pos x="44" y="65"/>
                </a:cxn>
                <a:cxn ang="0">
                  <a:pos x="22" y="43"/>
                </a:cxn>
                <a:cxn ang="0">
                  <a:pos x="31" y="65"/>
                </a:cxn>
                <a:cxn ang="0">
                  <a:pos x="30" y="65"/>
                </a:cxn>
                <a:cxn ang="0">
                  <a:pos x="30" y="64"/>
                </a:cxn>
                <a:cxn ang="0">
                  <a:pos x="31" y="65"/>
                </a:cxn>
                <a:cxn ang="0">
                  <a:pos x="84" y="105"/>
                </a:cxn>
                <a:cxn ang="0">
                  <a:pos x="4" y="105"/>
                </a:cxn>
                <a:cxn ang="0">
                  <a:pos x="4" y="97"/>
                </a:cxn>
                <a:cxn ang="0">
                  <a:pos x="30" y="68"/>
                </a:cxn>
                <a:cxn ang="0">
                  <a:pos x="57" y="68"/>
                </a:cxn>
                <a:cxn ang="0">
                  <a:pos x="84" y="97"/>
                </a:cxn>
                <a:cxn ang="0">
                  <a:pos x="84" y="105"/>
                </a:cxn>
                <a:cxn ang="0">
                  <a:pos x="81" y="74"/>
                </a:cxn>
                <a:cxn ang="0">
                  <a:pos x="78" y="74"/>
                </a:cxn>
                <a:cxn ang="0">
                  <a:pos x="74" y="70"/>
                </a:cxn>
                <a:cxn ang="0">
                  <a:pos x="74" y="68"/>
                </a:cxn>
                <a:cxn ang="0">
                  <a:pos x="81" y="68"/>
                </a:cxn>
                <a:cxn ang="0">
                  <a:pos x="81" y="74"/>
                </a:cxn>
                <a:cxn ang="0">
                  <a:pos x="125" y="65"/>
                </a:cxn>
                <a:cxn ang="0">
                  <a:pos x="57" y="65"/>
                </a:cxn>
                <a:cxn ang="0">
                  <a:pos x="65" y="56"/>
                </a:cxn>
                <a:cxn ang="0">
                  <a:pos x="125" y="56"/>
                </a:cxn>
                <a:cxn ang="0">
                  <a:pos x="125" y="65"/>
                </a:cxn>
                <a:cxn ang="0">
                  <a:pos x="125" y="3"/>
                </a:cxn>
                <a:cxn ang="0">
                  <a:pos x="125" y="53"/>
                </a:cxn>
                <a:cxn ang="0">
                  <a:pos x="67" y="53"/>
                </a:cxn>
                <a:cxn ang="0">
                  <a:pos x="69" y="43"/>
                </a:cxn>
                <a:cxn ang="0">
                  <a:pos x="44" y="17"/>
                </a:cxn>
                <a:cxn ang="0">
                  <a:pos x="30" y="21"/>
                </a:cxn>
                <a:cxn ang="0">
                  <a:pos x="30" y="3"/>
                </a:cxn>
                <a:cxn ang="0">
                  <a:pos x="125" y="3"/>
                </a:cxn>
              </a:cxnLst>
              <a:rect l="0" t="0" r="r" b="b"/>
              <a:pathLst>
                <a:path w="129" h="108">
                  <a:moveTo>
                    <a:pt x="26" y="24"/>
                  </a:moveTo>
                  <a:cubicBezTo>
                    <a:pt x="21" y="29"/>
                    <a:pt x="18" y="35"/>
                    <a:pt x="18" y="43"/>
                  </a:cubicBezTo>
                  <a:cubicBezTo>
                    <a:pt x="18" y="50"/>
                    <a:pt x="21" y="57"/>
                    <a:pt x="26" y="62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11" y="67"/>
                    <a:pt x="0" y="81"/>
                    <a:pt x="0" y="97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88" y="108"/>
                    <a:pt x="88" y="108"/>
                    <a:pt x="88" y="108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0"/>
                    <a:pt x="85" y="83"/>
                    <a:pt x="81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129" y="68"/>
                    <a:pt x="129" y="68"/>
                    <a:pt x="129" y="68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26" y="24"/>
                  </a:lnTo>
                  <a:close/>
                  <a:moveTo>
                    <a:pt x="22" y="43"/>
                  </a:moveTo>
                  <a:cubicBezTo>
                    <a:pt x="22" y="31"/>
                    <a:pt x="32" y="21"/>
                    <a:pt x="44" y="21"/>
                  </a:cubicBezTo>
                  <a:cubicBezTo>
                    <a:pt x="56" y="21"/>
                    <a:pt x="66" y="31"/>
                    <a:pt x="66" y="43"/>
                  </a:cubicBezTo>
                  <a:cubicBezTo>
                    <a:pt x="66" y="55"/>
                    <a:pt x="56" y="65"/>
                    <a:pt x="44" y="65"/>
                  </a:cubicBezTo>
                  <a:cubicBezTo>
                    <a:pt x="32" y="65"/>
                    <a:pt x="22" y="55"/>
                    <a:pt x="22" y="43"/>
                  </a:cubicBezTo>
                  <a:close/>
                  <a:moveTo>
                    <a:pt x="31" y="65"/>
                  </a:moveTo>
                  <a:cubicBezTo>
                    <a:pt x="30" y="65"/>
                    <a:pt x="30" y="65"/>
                    <a:pt x="30" y="65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5"/>
                    <a:pt x="31" y="65"/>
                  </a:cubicBezTo>
                  <a:close/>
                  <a:moveTo>
                    <a:pt x="84" y="105"/>
                  </a:moveTo>
                  <a:cubicBezTo>
                    <a:pt x="4" y="105"/>
                    <a:pt x="4" y="105"/>
                    <a:pt x="4" y="10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81"/>
                    <a:pt x="15" y="68"/>
                    <a:pt x="30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72" y="68"/>
                    <a:pt x="84" y="81"/>
                    <a:pt x="84" y="97"/>
                  </a:cubicBezTo>
                  <a:lnTo>
                    <a:pt x="84" y="105"/>
                  </a:lnTo>
                  <a:close/>
                  <a:moveTo>
                    <a:pt x="81" y="74"/>
                  </a:moveTo>
                  <a:cubicBezTo>
                    <a:pt x="78" y="74"/>
                    <a:pt x="78" y="74"/>
                    <a:pt x="78" y="74"/>
                  </a:cubicBezTo>
                  <a:cubicBezTo>
                    <a:pt x="77" y="72"/>
                    <a:pt x="75" y="71"/>
                    <a:pt x="74" y="70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81" y="68"/>
                    <a:pt x="81" y="68"/>
                    <a:pt x="81" y="68"/>
                  </a:cubicBezTo>
                  <a:lnTo>
                    <a:pt x="81" y="74"/>
                  </a:lnTo>
                  <a:close/>
                  <a:moveTo>
                    <a:pt x="125" y="65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60" y="63"/>
                    <a:pt x="63" y="60"/>
                    <a:pt x="65" y="56"/>
                  </a:cubicBezTo>
                  <a:cubicBezTo>
                    <a:pt x="125" y="56"/>
                    <a:pt x="125" y="56"/>
                    <a:pt x="125" y="56"/>
                  </a:cubicBezTo>
                  <a:lnTo>
                    <a:pt x="125" y="65"/>
                  </a:lnTo>
                  <a:close/>
                  <a:moveTo>
                    <a:pt x="125" y="3"/>
                  </a:moveTo>
                  <a:cubicBezTo>
                    <a:pt x="125" y="53"/>
                    <a:pt x="125" y="53"/>
                    <a:pt x="125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9" y="50"/>
                    <a:pt x="69" y="46"/>
                    <a:pt x="69" y="43"/>
                  </a:cubicBezTo>
                  <a:cubicBezTo>
                    <a:pt x="69" y="29"/>
                    <a:pt x="58" y="17"/>
                    <a:pt x="44" y="17"/>
                  </a:cubicBezTo>
                  <a:cubicBezTo>
                    <a:pt x="39" y="17"/>
                    <a:pt x="34" y="19"/>
                    <a:pt x="30" y="21"/>
                  </a:cubicBezTo>
                  <a:cubicBezTo>
                    <a:pt x="30" y="3"/>
                    <a:pt x="30" y="3"/>
                    <a:pt x="30" y="3"/>
                  </a:cubicBezTo>
                  <a:lnTo>
                    <a:pt x="125" y="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67" name="Group 219"/>
          <p:cNvGrpSpPr>
            <a:grpSpLocks noChangeAspect="1"/>
          </p:cNvGrpSpPr>
          <p:nvPr/>
        </p:nvGrpSpPr>
        <p:grpSpPr bwMode="auto">
          <a:xfrm>
            <a:off x="5860256" y="2829245"/>
            <a:ext cx="768350" cy="768350"/>
            <a:chOff x="3688" y="1763"/>
            <a:chExt cx="484" cy="484"/>
          </a:xfrm>
        </p:grpSpPr>
        <p:sp>
          <p:nvSpPr>
            <p:cNvPr id="53468" name="Freeform 220"/>
            <p:cNvSpPr>
              <a:spLocks noEditPoints="1"/>
            </p:cNvSpPr>
            <p:nvPr/>
          </p:nvSpPr>
          <p:spPr bwMode="auto">
            <a:xfrm>
              <a:off x="3688" y="1763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69" name="Rectangle 221"/>
            <p:cNvSpPr>
              <a:spLocks noChangeArrowheads="1"/>
            </p:cNvSpPr>
            <p:nvPr/>
          </p:nvSpPr>
          <p:spPr bwMode="auto">
            <a:xfrm>
              <a:off x="3956" y="2015"/>
              <a:ext cx="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70" name="Freeform 222"/>
            <p:cNvSpPr>
              <a:spLocks noEditPoints="1"/>
            </p:cNvSpPr>
            <p:nvPr/>
          </p:nvSpPr>
          <p:spPr bwMode="auto">
            <a:xfrm>
              <a:off x="3774" y="1874"/>
              <a:ext cx="309" cy="261"/>
            </a:xfrm>
            <a:custGeom>
              <a:avLst/>
              <a:gdLst/>
              <a:ahLst/>
              <a:cxnLst>
                <a:cxn ang="0">
                  <a:pos x="27" y="25"/>
                </a:cxn>
                <a:cxn ang="0">
                  <a:pos x="19" y="43"/>
                </a:cxn>
                <a:cxn ang="0">
                  <a:pos x="27" y="62"/>
                </a:cxn>
                <a:cxn ang="0">
                  <a:pos x="27" y="65"/>
                </a:cxn>
                <a:cxn ang="0">
                  <a:pos x="0" y="98"/>
                </a:cxn>
                <a:cxn ang="0">
                  <a:pos x="0" y="109"/>
                </a:cxn>
                <a:cxn ang="0">
                  <a:pos x="88" y="109"/>
                </a:cxn>
                <a:cxn ang="0">
                  <a:pos x="88" y="98"/>
                </a:cxn>
                <a:cxn ang="0">
                  <a:pos x="81" y="78"/>
                </a:cxn>
                <a:cxn ang="0">
                  <a:pos x="90" y="78"/>
                </a:cxn>
                <a:cxn ang="0">
                  <a:pos x="90" y="74"/>
                </a:cxn>
                <a:cxn ang="0">
                  <a:pos x="85" y="74"/>
                </a:cxn>
                <a:cxn ang="0">
                  <a:pos x="85" y="69"/>
                </a:cxn>
                <a:cxn ang="0">
                  <a:pos x="129" y="69"/>
                </a:cxn>
                <a:cxn ang="0">
                  <a:pos x="129" y="0"/>
                </a:cxn>
                <a:cxn ang="0">
                  <a:pos x="27" y="0"/>
                </a:cxn>
                <a:cxn ang="0">
                  <a:pos x="27" y="25"/>
                </a:cxn>
                <a:cxn ang="0">
                  <a:pos x="22" y="43"/>
                </a:cxn>
                <a:cxn ang="0">
                  <a:pos x="44" y="21"/>
                </a:cxn>
                <a:cxn ang="0">
                  <a:pos x="66" y="43"/>
                </a:cxn>
                <a:cxn ang="0">
                  <a:pos x="44" y="65"/>
                </a:cxn>
                <a:cxn ang="0">
                  <a:pos x="22" y="43"/>
                </a:cxn>
                <a:cxn ang="0">
                  <a:pos x="31" y="65"/>
                </a:cxn>
                <a:cxn ang="0">
                  <a:pos x="30" y="65"/>
                </a:cxn>
                <a:cxn ang="0">
                  <a:pos x="30" y="65"/>
                </a:cxn>
                <a:cxn ang="0">
                  <a:pos x="31" y="65"/>
                </a:cxn>
                <a:cxn ang="0">
                  <a:pos x="84" y="105"/>
                </a:cxn>
                <a:cxn ang="0">
                  <a:pos x="4" y="105"/>
                </a:cxn>
                <a:cxn ang="0">
                  <a:pos x="4" y="98"/>
                </a:cxn>
                <a:cxn ang="0">
                  <a:pos x="30" y="69"/>
                </a:cxn>
                <a:cxn ang="0">
                  <a:pos x="58" y="69"/>
                </a:cxn>
                <a:cxn ang="0">
                  <a:pos x="84" y="98"/>
                </a:cxn>
                <a:cxn ang="0">
                  <a:pos x="84" y="105"/>
                </a:cxn>
                <a:cxn ang="0">
                  <a:pos x="81" y="74"/>
                </a:cxn>
                <a:cxn ang="0">
                  <a:pos x="78" y="74"/>
                </a:cxn>
                <a:cxn ang="0">
                  <a:pos x="75" y="71"/>
                </a:cxn>
                <a:cxn ang="0">
                  <a:pos x="75" y="69"/>
                </a:cxn>
                <a:cxn ang="0">
                  <a:pos x="81" y="69"/>
                </a:cxn>
                <a:cxn ang="0">
                  <a:pos x="81" y="74"/>
                </a:cxn>
                <a:cxn ang="0">
                  <a:pos x="126" y="65"/>
                </a:cxn>
                <a:cxn ang="0">
                  <a:pos x="57" y="65"/>
                </a:cxn>
                <a:cxn ang="0">
                  <a:pos x="66" y="57"/>
                </a:cxn>
                <a:cxn ang="0">
                  <a:pos x="126" y="57"/>
                </a:cxn>
                <a:cxn ang="0">
                  <a:pos x="126" y="65"/>
                </a:cxn>
                <a:cxn ang="0">
                  <a:pos x="126" y="4"/>
                </a:cxn>
                <a:cxn ang="0">
                  <a:pos x="126" y="53"/>
                </a:cxn>
                <a:cxn ang="0">
                  <a:pos x="68" y="53"/>
                </a:cxn>
                <a:cxn ang="0">
                  <a:pos x="70" y="43"/>
                </a:cxn>
                <a:cxn ang="0">
                  <a:pos x="44" y="18"/>
                </a:cxn>
                <a:cxn ang="0">
                  <a:pos x="30" y="22"/>
                </a:cxn>
                <a:cxn ang="0">
                  <a:pos x="30" y="4"/>
                </a:cxn>
                <a:cxn ang="0">
                  <a:pos x="126" y="4"/>
                </a:cxn>
              </a:cxnLst>
              <a:rect l="0" t="0" r="r" b="b"/>
              <a:pathLst>
                <a:path w="129" h="109">
                  <a:moveTo>
                    <a:pt x="27" y="25"/>
                  </a:moveTo>
                  <a:cubicBezTo>
                    <a:pt x="22" y="29"/>
                    <a:pt x="19" y="36"/>
                    <a:pt x="19" y="43"/>
                  </a:cubicBezTo>
                  <a:cubicBezTo>
                    <a:pt x="19" y="51"/>
                    <a:pt x="22" y="57"/>
                    <a:pt x="27" y="62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12" y="67"/>
                    <a:pt x="0" y="81"/>
                    <a:pt x="0" y="98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88" y="109"/>
                    <a:pt x="88" y="109"/>
                    <a:pt x="88" y="109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8" y="90"/>
                    <a:pt x="85" y="83"/>
                    <a:pt x="81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129" y="69"/>
                    <a:pt x="129" y="69"/>
                    <a:pt x="129" y="69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27" y="25"/>
                  </a:lnTo>
                  <a:close/>
                  <a:moveTo>
                    <a:pt x="22" y="43"/>
                  </a:moveTo>
                  <a:cubicBezTo>
                    <a:pt x="22" y="31"/>
                    <a:pt x="32" y="21"/>
                    <a:pt x="44" y="21"/>
                  </a:cubicBezTo>
                  <a:cubicBezTo>
                    <a:pt x="56" y="21"/>
                    <a:pt x="66" y="31"/>
                    <a:pt x="66" y="43"/>
                  </a:cubicBezTo>
                  <a:cubicBezTo>
                    <a:pt x="66" y="55"/>
                    <a:pt x="56" y="65"/>
                    <a:pt x="44" y="65"/>
                  </a:cubicBezTo>
                  <a:cubicBezTo>
                    <a:pt x="32" y="65"/>
                    <a:pt x="22" y="55"/>
                    <a:pt x="22" y="43"/>
                  </a:cubicBezTo>
                  <a:close/>
                  <a:moveTo>
                    <a:pt x="31" y="65"/>
                  </a:move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84" y="105"/>
                  </a:moveTo>
                  <a:cubicBezTo>
                    <a:pt x="4" y="105"/>
                    <a:pt x="4" y="105"/>
                    <a:pt x="4" y="105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4" y="82"/>
                    <a:pt x="16" y="69"/>
                    <a:pt x="30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72" y="69"/>
                    <a:pt x="84" y="82"/>
                    <a:pt x="84" y="98"/>
                  </a:cubicBezTo>
                  <a:lnTo>
                    <a:pt x="84" y="105"/>
                  </a:lnTo>
                  <a:close/>
                  <a:moveTo>
                    <a:pt x="81" y="74"/>
                  </a:moveTo>
                  <a:cubicBezTo>
                    <a:pt x="78" y="74"/>
                    <a:pt x="78" y="74"/>
                    <a:pt x="78" y="74"/>
                  </a:cubicBezTo>
                  <a:cubicBezTo>
                    <a:pt x="77" y="73"/>
                    <a:pt x="76" y="72"/>
                    <a:pt x="75" y="71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81" y="69"/>
                    <a:pt x="81" y="69"/>
                    <a:pt x="81" y="69"/>
                  </a:cubicBezTo>
                  <a:lnTo>
                    <a:pt x="81" y="74"/>
                  </a:lnTo>
                  <a:close/>
                  <a:moveTo>
                    <a:pt x="126" y="65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61" y="63"/>
                    <a:pt x="64" y="60"/>
                    <a:pt x="66" y="57"/>
                  </a:cubicBezTo>
                  <a:cubicBezTo>
                    <a:pt x="126" y="57"/>
                    <a:pt x="126" y="57"/>
                    <a:pt x="126" y="57"/>
                  </a:cubicBezTo>
                  <a:lnTo>
                    <a:pt x="126" y="65"/>
                  </a:lnTo>
                  <a:close/>
                  <a:moveTo>
                    <a:pt x="126" y="4"/>
                  </a:moveTo>
                  <a:cubicBezTo>
                    <a:pt x="126" y="53"/>
                    <a:pt x="126" y="53"/>
                    <a:pt x="126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9" y="50"/>
                    <a:pt x="70" y="47"/>
                    <a:pt x="70" y="43"/>
                  </a:cubicBezTo>
                  <a:cubicBezTo>
                    <a:pt x="70" y="29"/>
                    <a:pt x="58" y="18"/>
                    <a:pt x="44" y="18"/>
                  </a:cubicBezTo>
                  <a:cubicBezTo>
                    <a:pt x="39" y="18"/>
                    <a:pt x="34" y="19"/>
                    <a:pt x="30" y="22"/>
                  </a:cubicBezTo>
                  <a:cubicBezTo>
                    <a:pt x="30" y="4"/>
                    <a:pt x="30" y="4"/>
                    <a:pt x="30" y="4"/>
                  </a:cubicBezTo>
                  <a:lnTo>
                    <a:pt x="126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73" name="Group 225"/>
          <p:cNvGrpSpPr>
            <a:grpSpLocks noChangeAspect="1"/>
          </p:cNvGrpSpPr>
          <p:nvPr/>
        </p:nvGrpSpPr>
        <p:grpSpPr bwMode="auto">
          <a:xfrm>
            <a:off x="6920706" y="2795905"/>
            <a:ext cx="836613" cy="836613"/>
            <a:chOff x="4358" y="1742"/>
            <a:chExt cx="527" cy="527"/>
          </a:xfrm>
        </p:grpSpPr>
        <p:sp>
          <p:nvSpPr>
            <p:cNvPr id="53474" name="Oval 226"/>
            <p:cNvSpPr>
              <a:spLocks noChangeArrowheads="1"/>
            </p:cNvSpPr>
            <p:nvPr/>
          </p:nvSpPr>
          <p:spPr bwMode="auto">
            <a:xfrm>
              <a:off x="4358" y="1742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75" name="Freeform 227"/>
            <p:cNvSpPr>
              <a:spLocks noEditPoints="1"/>
            </p:cNvSpPr>
            <p:nvPr/>
          </p:nvSpPr>
          <p:spPr bwMode="auto">
            <a:xfrm>
              <a:off x="4380" y="1764"/>
              <a:ext cx="483" cy="483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76" name="Freeform 228"/>
            <p:cNvSpPr>
              <a:spLocks noEditPoints="1"/>
            </p:cNvSpPr>
            <p:nvPr/>
          </p:nvSpPr>
          <p:spPr bwMode="auto">
            <a:xfrm>
              <a:off x="4485" y="1850"/>
              <a:ext cx="292" cy="292"/>
            </a:xfrm>
            <a:custGeom>
              <a:avLst/>
              <a:gdLst/>
              <a:ahLst/>
              <a:cxnLst>
                <a:cxn ang="0">
                  <a:pos x="3" y="119"/>
                </a:cxn>
                <a:cxn ang="0">
                  <a:pos x="5" y="103"/>
                </a:cxn>
                <a:cxn ang="0">
                  <a:pos x="12" y="101"/>
                </a:cxn>
                <a:cxn ang="0">
                  <a:pos x="19" y="97"/>
                </a:cxn>
                <a:cxn ang="0">
                  <a:pos x="27" y="90"/>
                </a:cxn>
                <a:cxn ang="0">
                  <a:pos x="25" y="83"/>
                </a:cxn>
                <a:cxn ang="0">
                  <a:pos x="33" y="79"/>
                </a:cxn>
                <a:cxn ang="0">
                  <a:pos x="53" y="49"/>
                </a:cxn>
                <a:cxn ang="0">
                  <a:pos x="53" y="23"/>
                </a:cxn>
                <a:cxn ang="0">
                  <a:pos x="81" y="0"/>
                </a:cxn>
                <a:cxn ang="0">
                  <a:pos x="118" y="33"/>
                </a:cxn>
                <a:cxn ang="0">
                  <a:pos x="118" y="49"/>
                </a:cxn>
                <a:cxn ang="0">
                  <a:pos x="86" y="73"/>
                </a:cxn>
                <a:cxn ang="0">
                  <a:pos x="81" y="72"/>
                </a:cxn>
                <a:cxn ang="0">
                  <a:pos x="13" y="122"/>
                </a:cxn>
                <a:cxn ang="0">
                  <a:pos x="12" y="118"/>
                </a:cxn>
                <a:cxn ang="0">
                  <a:pos x="82" y="69"/>
                </a:cxn>
                <a:cxn ang="0">
                  <a:pos x="96" y="66"/>
                </a:cxn>
                <a:cxn ang="0">
                  <a:pos x="118" y="41"/>
                </a:cxn>
                <a:cxn ang="0">
                  <a:pos x="86" y="6"/>
                </a:cxn>
                <a:cxn ang="0">
                  <a:pos x="75" y="6"/>
                </a:cxn>
                <a:cxn ang="0">
                  <a:pos x="53" y="39"/>
                </a:cxn>
                <a:cxn ang="0">
                  <a:pos x="37" y="73"/>
                </a:cxn>
                <a:cxn ang="0">
                  <a:pos x="30" y="82"/>
                </a:cxn>
                <a:cxn ang="0">
                  <a:pos x="32" y="89"/>
                </a:cxn>
                <a:cxn ang="0">
                  <a:pos x="23" y="93"/>
                </a:cxn>
                <a:cxn ang="0">
                  <a:pos x="16" y="100"/>
                </a:cxn>
                <a:cxn ang="0">
                  <a:pos x="10" y="108"/>
                </a:cxn>
                <a:cxn ang="0">
                  <a:pos x="4" y="110"/>
                </a:cxn>
                <a:cxn ang="0">
                  <a:pos x="89" y="43"/>
                </a:cxn>
                <a:cxn ang="0">
                  <a:pos x="78" y="33"/>
                </a:cxn>
                <a:cxn ang="0">
                  <a:pos x="89" y="22"/>
                </a:cxn>
                <a:cxn ang="0">
                  <a:pos x="96" y="40"/>
                </a:cxn>
                <a:cxn ang="0">
                  <a:pos x="89" y="26"/>
                </a:cxn>
                <a:cxn ang="0">
                  <a:pos x="82" y="33"/>
                </a:cxn>
                <a:cxn ang="0">
                  <a:pos x="89" y="39"/>
                </a:cxn>
                <a:cxn ang="0">
                  <a:pos x="94" y="28"/>
                </a:cxn>
              </a:cxnLst>
              <a:rect l="0" t="0" r="r" b="b"/>
              <a:pathLst>
                <a:path w="122" h="122">
                  <a:moveTo>
                    <a:pt x="13" y="122"/>
                  </a:moveTo>
                  <a:cubicBezTo>
                    <a:pt x="3" y="119"/>
                    <a:pt x="3" y="119"/>
                    <a:pt x="3" y="11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7" y="35"/>
                    <a:pt x="49" y="27"/>
                    <a:pt x="53" y="2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5" y="1"/>
                    <a:pt x="78" y="0"/>
                    <a:pt x="81" y="0"/>
                  </a:cubicBezTo>
                  <a:cubicBezTo>
                    <a:pt x="84" y="0"/>
                    <a:pt x="87" y="1"/>
                    <a:pt x="89" y="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20" y="35"/>
                    <a:pt x="122" y="38"/>
                    <a:pt x="122" y="41"/>
                  </a:cubicBezTo>
                  <a:cubicBezTo>
                    <a:pt x="122" y="44"/>
                    <a:pt x="120" y="47"/>
                    <a:pt x="118" y="49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6" y="71"/>
                    <a:pt x="91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4" y="73"/>
                    <a:pt x="83" y="73"/>
                    <a:pt x="81" y="72"/>
                  </a:cubicBezTo>
                  <a:cubicBezTo>
                    <a:pt x="72" y="69"/>
                    <a:pt x="72" y="69"/>
                    <a:pt x="72" y="69"/>
                  </a:cubicBezTo>
                  <a:lnTo>
                    <a:pt x="13" y="122"/>
                  </a:lnTo>
                  <a:close/>
                  <a:moveTo>
                    <a:pt x="6" y="116"/>
                  </a:moveTo>
                  <a:cubicBezTo>
                    <a:pt x="12" y="118"/>
                    <a:pt x="12" y="118"/>
                    <a:pt x="12" y="118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4" y="69"/>
                    <a:pt x="85" y="70"/>
                    <a:pt x="86" y="70"/>
                  </a:cubicBezTo>
                  <a:cubicBezTo>
                    <a:pt x="90" y="70"/>
                    <a:pt x="94" y="68"/>
                    <a:pt x="96" y="66"/>
                  </a:cubicBezTo>
                  <a:cubicBezTo>
                    <a:pt x="116" y="46"/>
                    <a:pt x="116" y="46"/>
                    <a:pt x="116" y="46"/>
                  </a:cubicBezTo>
                  <a:cubicBezTo>
                    <a:pt x="117" y="45"/>
                    <a:pt x="118" y="43"/>
                    <a:pt x="118" y="41"/>
                  </a:cubicBezTo>
                  <a:cubicBezTo>
                    <a:pt x="118" y="39"/>
                    <a:pt x="117" y="37"/>
                    <a:pt x="116" y="36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85" y="5"/>
                    <a:pt x="83" y="4"/>
                    <a:pt x="81" y="4"/>
                  </a:cubicBezTo>
                  <a:cubicBezTo>
                    <a:pt x="79" y="4"/>
                    <a:pt x="77" y="5"/>
                    <a:pt x="75" y="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3" y="29"/>
                    <a:pt x="51" y="35"/>
                    <a:pt x="53" y="39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23" y="93"/>
                    <a:pt x="23" y="93"/>
                    <a:pt x="23" y="93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4" y="110"/>
                    <a:pt x="4" y="110"/>
                    <a:pt x="4" y="110"/>
                  </a:cubicBezTo>
                  <a:lnTo>
                    <a:pt x="6" y="116"/>
                  </a:lnTo>
                  <a:close/>
                  <a:moveTo>
                    <a:pt x="89" y="43"/>
                  </a:moveTo>
                  <a:cubicBezTo>
                    <a:pt x="86" y="43"/>
                    <a:pt x="83" y="42"/>
                    <a:pt x="82" y="40"/>
                  </a:cubicBezTo>
                  <a:cubicBezTo>
                    <a:pt x="80" y="38"/>
                    <a:pt x="78" y="35"/>
                    <a:pt x="78" y="33"/>
                  </a:cubicBezTo>
                  <a:cubicBezTo>
                    <a:pt x="78" y="30"/>
                    <a:pt x="80" y="27"/>
                    <a:pt x="82" y="25"/>
                  </a:cubicBezTo>
                  <a:cubicBezTo>
                    <a:pt x="83" y="23"/>
                    <a:pt x="86" y="22"/>
                    <a:pt x="89" y="22"/>
                  </a:cubicBezTo>
                  <a:cubicBezTo>
                    <a:pt x="92" y="22"/>
                    <a:pt x="94" y="23"/>
                    <a:pt x="96" y="25"/>
                  </a:cubicBezTo>
                  <a:cubicBezTo>
                    <a:pt x="100" y="29"/>
                    <a:pt x="100" y="36"/>
                    <a:pt x="96" y="40"/>
                  </a:cubicBezTo>
                  <a:cubicBezTo>
                    <a:pt x="94" y="42"/>
                    <a:pt x="92" y="43"/>
                    <a:pt x="89" y="43"/>
                  </a:cubicBezTo>
                  <a:close/>
                  <a:moveTo>
                    <a:pt x="89" y="26"/>
                  </a:moveTo>
                  <a:cubicBezTo>
                    <a:pt x="87" y="26"/>
                    <a:pt x="85" y="27"/>
                    <a:pt x="84" y="28"/>
                  </a:cubicBezTo>
                  <a:cubicBezTo>
                    <a:pt x="83" y="29"/>
                    <a:pt x="82" y="31"/>
                    <a:pt x="82" y="33"/>
                  </a:cubicBezTo>
                  <a:cubicBezTo>
                    <a:pt x="82" y="35"/>
                    <a:pt x="83" y="36"/>
                    <a:pt x="84" y="38"/>
                  </a:cubicBezTo>
                  <a:cubicBezTo>
                    <a:pt x="85" y="39"/>
                    <a:pt x="87" y="39"/>
                    <a:pt x="89" y="39"/>
                  </a:cubicBezTo>
                  <a:cubicBezTo>
                    <a:pt x="91" y="39"/>
                    <a:pt x="92" y="39"/>
                    <a:pt x="94" y="38"/>
                  </a:cubicBezTo>
                  <a:cubicBezTo>
                    <a:pt x="96" y="35"/>
                    <a:pt x="96" y="31"/>
                    <a:pt x="94" y="28"/>
                  </a:cubicBezTo>
                  <a:cubicBezTo>
                    <a:pt x="92" y="27"/>
                    <a:pt x="91" y="26"/>
                    <a:pt x="89" y="2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79" name="Group 231"/>
          <p:cNvGrpSpPr>
            <a:grpSpLocks noChangeAspect="1"/>
          </p:cNvGrpSpPr>
          <p:nvPr/>
        </p:nvGrpSpPr>
        <p:grpSpPr bwMode="auto">
          <a:xfrm>
            <a:off x="8050218" y="2829245"/>
            <a:ext cx="768350" cy="768350"/>
            <a:chOff x="5071" y="1763"/>
            <a:chExt cx="484" cy="484"/>
          </a:xfrm>
        </p:grpSpPr>
        <p:sp>
          <p:nvSpPr>
            <p:cNvPr id="53480" name="Freeform 232"/>
            <p:cNvSpPr>
              <a:spLocks noEditPoints="1"/>
            </p:cNvSpPr>
            <p:nvPr/>
          </p:nvSpPr>
          <p:spPr bwMode="auto">
            <a:xfrm>
              <a:off x="5071" y="1763"/>
              <a:ext cx="484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81" name="Freeform 233"/>
            <p:cNvSpPr>
              <a:spLocks noEditPoints="1"/>
            </p:cNvSpPr>
            <p:nvPr/>
          </p:nvSpPr>
          <p:spPr bwMode="auto">
            <a:xfrm>
              <a:off x="5177" y="1850"/>
              <a:ext cx="292" cy="292"/>
            </a:xfrm>
            <a:custGeom>
              <a:avLst/>
              <a:gdLst/>
              <a:ahLst/>
              <a:cxnLst>
                <a:cxn ang="0">
                  <a:pos x="3" y="119"/>
                </a:cxn>
                <a:cxn ang="0">
                  <a:pos x="5" y="103"/>
                </a:cxn>
                <a:cxn ang="0">
                  <a:pos x="12" y="101"/>
                </a:cxn>
                <a:cxn ang="0">
                  <a:pos x="19" y="97"/>
                </a:cxn>
                <a:cxn ang="0">
                  <a:pos x="27" y="90"/>
                </a:cxn>
                <a:cxn ang="0">
                  <a:pos x="25" y="83"/>
                </a:cxn>
                <a:cxn ang="0">
                  <a:pos x="33" y="79"/>
                </a:cxn>
                <a:cxn ang="0">
                  <a:pos x="53" y="49"/>
                </a:cxn>
                <a:cxn ang="0">
                  <a:pos x="53" y="23"/>
                </a:cxn>
                <a:cxn ang="0">
                  <a:pos x="81" y="0"/>
                </a:cxn>
                <a:cxn ang="0">
                  <a:pos x="118" y="33"/>
                </a:cxn>
                <a:cxn ang="0">
                  <a:pos x="118" y="49"/>
                </a:cxn>
                <a:cxn ang="0">
                  <a:pos x="86" y="73"/>
                </a:cxn>
                <a:cxn ang="0">
                  <a:pos x="81" y="72"/>
                </a:cxn>
                <a:cxn ang="0">
                  <a:pos x="13" y="122"/>
                </a:cxn>
                <a:cxn ang="0">
                  <a:pos x="12" y="118"/>
                </a:cxn>
                <a:cxn ang="0">
                  <a:pos x="82" y="69"/>
                </a:cxn>
                <a:cxn ang="0">
                  <a:pos x="96" y="66"/>
                </a:cxn>
                <a:cxn ang="0">
                  <a:pos x="118" y="41"/>
                </a:cxn>
                <a:cxn ang="0">
                  <a:pos x="86" y="6"/>
                </a:cxn>
                <a:cxn ang="0">
                  <a:pos x="75" y="6"/>
                </a:cxn>
                <a:cxn ang="0">
                  <a:pos x="53" y="39"/>
                </a:cxn>
                <a:cxn ang="0">
                  <a:pos x="37" y="73"/>
                </a:cxn>
                <a:cxn ang="0">
                  <a:pos x="30" y="82"/>
                </a:cxn>
                <a:cxn ang="0">
                  <a:pos x="32" y="89"/>
                </a:cxn>
                <a:cxn ang="0">
                  <a:pos x="23" y="93"/>
                </a:cxn>
                <a:cxn ang="0">
                  <a:pos x="16" y="100"/>
                </a:cxn>
                <a:cxn ang="0">
                  <a:pos x="10" y="108"/>
                </a:cxn>
                <a:cxn ang="0">
                  <a:pos x="4" y="110"/>
                </a:cxn>
                <a:cxn ang="0">
                  <a:pos x="89" y="43"/>
                </a:cxn>
                <a:cxn ang="0">
                  <a:pos x="78" y="33"/>
                </a:cxn>
                <a:cxn ang="0">
                  <a:pos x="89" y="22"/>
                </a:cxn>
                <a:cxn ang="0">
                  <a:pos x="96" y="40"/>
                </a:cxn>
                <a:cxn ang="0">
                  <a:pos x="89" y="26"/>
                </a:cxn>
                <a:cxn ang="0">
                  <a:pos x="82" y="33"/>
                </a:cxn>
                <a:cxn ang="0">
                  <a:pos x="89" y="39"/>
                </a:cxn>
                <a:cxn ang="0">
                  <a:pos x="94" y="28"/>
                </a:cxn>
              </a:cxnLst>
              <a:rect l="0" t="0" r="r" b="b"/>
              <a:pathLst>
                <a:path w="122" h="122">
                  <a:moveTo>
                    <a:pt x="13" y="122"/>
                  </a:moveTo>
                  <a:cubicBezTo>
                    <a:pt x="3" y="119"/>
                    <a:pt x="3" y="119"/>
                    <a:pt x="3" y="11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7" y="35"/>
                    <a:pt x="49" y="27"/>
                    <a:pt x="53" y="2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5" y="1"/>
                    <a:pt x="78" y="0"/>
                    <a:pt x="81" y="0"/>
                  </a:cubicBezTo>
                  <a:cubicBezTo>
                    <a:pt x="84" y="0"/>
                    <a:pt x="87" y="1"/>
                    <a:pt x="89" y="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20" y="35"/>
                    <a:pt x="122" y="38"/>
                    <a:pt x="122" y="41"/>
                  </a:cubicBezTo>
                  <a:cubicBezTo>
                    <a:pt x="122" y="44"/>
                    <a:pt x="120" y="47"/>
                    <a:pt x="118" y="49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6" y="71"/>
                    <a:pt x="91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4" y="73"/>
                    <a:pt x="83" y="73"/>
                    <a:pt x="81" y="72"/>
                  </a:cubicBezTo>
                  <a:cubicBezTo>
                    <a:pt x="72" y="69"/>
                    <a:pt x="72" y="69"/>
                    <a:pt x="72" y="69"/>
                  </a:cubicBezTo>
                  <a:lnTo>
                    <a:pt x="13" y="122"/>
                  </a:lnTo>
                  <a:close/>
                  <a:moveTo>
                    <a:pt x="6" y="116"/>
                  </a:moveTo>
                  <a:cubicBezTo>
                    <a:pt x="12" y="118"/>
                    <a:pt x="12" y="118"/>
                    <a:pt x="12" y="118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4" y="69"/>
                    <a:pt x="85" y="70"/>
                    <a:pt x="86" y="70"/>
                  </a:cubicBezTo>
                  <a:cubicBezTo>
                    <a:pt x="90" y="70"/>
                    <a:pt x="94" y="68"/>
                    <a:pt x="96" y="66"/>
                  </a:cubicBezTo>
                  <a:cubicBezTo>
                    <a:pt x="116" y="46"/>
                    <a:pt x="116" y="46"/>
                    <a:pt x="116" y="46"/>
                  </a:cubicBezTo>
                  <a:cubicBezTo>
                    <a:pt x="117" y="45"/>
                    <a:pt x="118" y="43"/>
                    <a:pt x="118" y="41"/>
                  </a:cubicBezTo>
                  <a:cubicBezTo>
                    <a:pt x="118" y="39"/>
                    <a:pt x="117" y="37"/>
                    <a:pt x="116" y="36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85" y="5"/>
                    <a:pt x="83" y="4"/>
                    <a:pt x="81" y="4"/>
                  </a:cubicBezTo>
                  <a:cubicBezTo>
                    <a:pt x="79" y="4"/>
                    <a:pt x="77" y="5"/>
                    <a:pt x="75" y="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3" y="29"/>
                    <a:pt x="51" y="35"/>
                    <a:pt x="53" y="39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23" y="93"/>
                    <a:pt x="23" y="93"/>
                    <a:pt x="23" y="93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4" y="110"/>
                    <a:pt x="4" y="110"/>
                    <a:pt x="4" y="110"/>
                  </a:cubicBezTo>
                  <a:lnTo>
                    <a:pt x="6" y="116"/>
                  </a:lnTo>
                  <a:close/>
                  <a:moveTo>
                    <a:pt x="89" y="43"/>
                  </a:moveTo>
                  <a:cubicBezTo>
                    <a:pt x="86" y="43"/>
                    <a:pt x="83" y="42"/>
                    <a:pt x="82" y="40"/>
                  </a:cubicBezTo>
                  <a:cubicBezTo>
                    <a:pt x="80" y="38"/>
                    <a:pt x="78" y="35"/>
                    <a:pt x="78" y="33"/>
                  </a:cubicBezTo>
                  <a:cubicBezTo>
                    <a:pt x="78" y="30"/>
                    <a:pt x="80" y="27"/>
                    <a:pt x="82" y="25"/>
                  </a:cubicBezTo>
                  <a:cubicBezTo>
                    <a:pt x="83" y="23"/>
                    <a:pt x="86" y="22"/>
                    <a:pt x="89" y="22"/>
                  </a:cubicBezTo>
                  <a:cubicBezTo>
                    <a:pt x="92" y="22"/>
                    <a:pt x="94" y="23"/>
                    <a:pt x="96" y="25"/>
                  </a:cubicBezTo>
                  <a:cubicBezTo>
                    <a:pt x="100" y="29"/>
                    <a:pt x="100" y="36"/>
                    <a:pt x="96" y="40"/>
                  </a:cubicBezTo>
                  <a:cubicBezTo>
                    <a:pt x="94" y="42"/>
                    <a:pt x="92" y="43"/>
                    <a:pt x="89" y="43"/>
                  </a:cubicBezTo>
                  <a:close/>
                  <a:moveTo>
                    <a:pt x="89" y="26"/>
                  </a:moveTo>
                  <a:cubicBezTo>
                    <a:pt x="87" y="26"/>
                    <a:pt x="85" y="27"/>
                    <a:pt x="84" y="28"/>
                  </a:cubicBezTo>
                  <a:cubicBezTo>
                    <a:pt x="83" y="29"/>
                    <a:pt x="82" y="31"/>
                    <a:pt x="82" y="33"/>
                  </a:cubicBezTo>
                  <a:cubicBezTo>
                    <a:pt x="82" y="35"/>
                    <a:pt x="83" y="36"/>
                    <a:pt x="84" y="38"/>
                  </a:cubicBezTo>
                  <a:cubicBezTo>
                    <a:pt x="85" y="39"/>
                    <a:pt x="87" y="39"/>
                    <a:pt x="89" y="39"/>
                  </a:cubicBezTo>
                  <a:cubicBezTo>
                    <a:pt x="91" y="39"/>
                    <a:pt x="92" y="39"/>
                    <a:pt x="94" y="38"/>
                  </a:cubicBezTo>
                  <a:cubicBezTo>
                    <a:pt x="96" y="35"/>
                    <a:pt x="96" y="31"/>
                    <a:pt x="94" y="28"/>
                  </a:cubicBezTo>
                  <a:cubicBezTo>
                    <a:pt x="92" y="27"/>
                    <a:pt x="91" y="26"/>
                    <a:pt x="89" y="2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84" name="Group 236"/>
          <p:cNvGrpSpPr>
            <a:grpSpLocks noChangeAspect="1"/>
          </p:cNvGrpSpPr>
          <p:nvPr/>
        </p:nvGrpSpPr>
        <p:grpSpPr bwMode="auto">
          <a:xfrm>
            <a:off x="341313" y="4075113"/>
            <a:ext cx="855662" cy="858837"/>
            <a:chOff x="215" y="2567"/>
            <a:chExt cx="539" cy="541"/>
          </a:xfrm>
        </p:grpSpPr>
        <p:sp>
          <p:nvSpPr>
            <p:cNvPr id="53485" name="Oval 237"/>
            <p:cNvSpPr>
              <a:spLocks noChangeArrowheads="1"/>
            </p:cNvSpPr>
            <p:nvPr/>
          </p:nvSpPr>
          <p:spPr bwMode="auto">
            <a:xfrm>
              <a:off x="215" y="2567"/>
              <a:ext cx="539" cy="54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86" name="Freeform 238"/>
            <p:cNvSpPr>
              <a:spLocks noEditPoints="1"/>
            </p:cNvSpPr>
            <p:nvPr/>
          </p:nvSpPr>
          <p:spPr bwMode="auto">
            <a:xfrm>
              <a:off x="237" y="2591"/>
              <a:ext cx="496" cy="493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87" name="Freeform 239"/>
            <p:cNvSpPr>
              <a:spLocks noEditPoints="1"/>
            </p:cNvSpPr>
            <p:nvPr/>
          </p:nvSpPr>
          <p:spPr bwMode="auto">
            <a:xfrm>
              <a:off x="345" y="2684"/>
              <a:ext cx="292" cy="321"/>
            </a:xfrm>
            <a:custGeom>
              <a:avLst/>
              <a:gdLst/>
              <a:ahLst/>
              <a:cxnLst>
                <a:cxn ang="0">
                  <a:pos x="103" y="9"/>
                </a:cxn>
                <a:cxn ang="0">
                  <a:pos x="61" y="0"/>
                </a:cxn>
                <a:cxn ang="0">
                  <a:pos x="18" y="9"/>
                </a:cxn>
                <a:cxn ang="0">
                  <a:pos x="0" y="31"/>
                </a:cxn>
                <a:cxn ang="0">
                  <a:pos x="8" y="47"/>
                </a:cxn>
                <a:cxn ang="0">
                  <a:pos x="8" y="48"/>
                </a:cxn>
                <a:cxn ang="0">
                  <a:pos x="10" y="53"/>
                </a:cxn>
                <a:cxn ang="0">
                  <a:pos x="17" y="56"/>
                </a:cxn>
                <a:cxn ang="0">
                  <a:pos x="21" y="56"/>
                </a:cxn>
                <a:cxn ang="0">
                  <a:pos x="36" y="76"/>
                </a:cxn>
                <a:cxn ang="0">
                  <a:pos x="39" y="131"/>
                </a:cxn>
                <a:cxn ang="0">
                  <a:pos x="40" y="134"/>
                </a:cxn>
                <a:cxn ang="0">
                  <a:pos x="41" y="134"/>
                </a:cxn>
                <a:cxn ang="0">
                  <a:pos x="42" y="133"/>
                </a:cxn>
                <a:cxn ang="0">
                  <a:pos x="39" y="74"/>
                </a:cxn>
                <a:cxn ang="0">
                  <a:pos x="27" y="57"/>
                </a:cxn>
                <a:cxn ang="0">
                  <a:pos x="61" y="62"/>
                </a:cxn>
                <a:cxn ang="0">
                  <a:pos x="103" y="53"/>
                </a:cxn>
                <a:cxn ang="0">
                  <a:pos x="122" y="31"/>
                </a:cxn>
                <a:cxn ang="0">
                  <a:pos x="103" y="9"/>
                </a:cxn>
                <a:cxn ang="0">
                  <a:pos x="22" y="51"/>
                </a:cxn>
                <a:cxn ang="0">
                  <a:pos x="20" y="50"/>
                </a:cxn>
                <a:cxn ang="0">
                  <a:pos x="12" y="46"/>
                </a:cxn>
                <a:cxn ang="0">
                  <a:pos x="17" y="43"/>
                </a:cxn>
                <a:cxn ang="0">
                  <a:pos x="23" y="48"/>
                </a:cxn>
                <a:cxn ang="0">
                  <a:pos x="22" y="51"/>
                </a:cxn>
                <a:cxn ang="0">
                  <a:pos x="13" y="51"/>
                </a:cxn>
                <a:cxn ang="0">
                  <a:pos x="12" y="50"/>
                </a:cxn>
                <a:cxn ang="0">
                  <a:pos x="17" y="53"/>
                </a:cxn>
                <a:cxn ang="0">
                  <a:pos x="13" y="51"/>
                </a:cxn>
                <a:cxn ang="0">
                  <a:pos x="102" y="50"/>
                </a:cxn>
                <a:cxn ang="0">
                  <a:pos x="61" y="58"/>
                </a:cxn>
                <a:cxn ang="0">
                  <a:pos x="25" y="52"/>
                </a:cxn>
                <a:cxn ang="0">
                  <a:pos x="27" y="48"/>
                </a:cxn>
                <a:cxn ang="0">
                  <a:pos x="17" y="40"/>
                </a:cxn>
                <a:cxn ang="0">
                  <a:pos x="10" y="43"/>
                </a:cxn>
                <a:cxn ang="0">
                  <a:pos x="3" y="31"/>
                </a:cxn>
                <a:cxn ang="0">
                  <a:pos x="20" y="12"/>
                </a:cxn>
                <a:cxn ang="0">
                  <a:pos x="61" y="4"/>
                </a:cxn>
                <a:cxn ang="0">
                  <a:pos x="102" y="12"/>
                </a:cxn>
                <a:cxn ang="0">
                  <a:pos x="118" y="31"/>
                </a:cxn>
                <a:cxn ang="0">
                  <a:pos x="102" y="50"/>
                </a:cxn>
              </a:cxnLst>
              <a:rect l="0" t="0" r="r" b="b"/>
              <a:pathLst>
                <a:path w="122" h="134">
                  <a:moveTo>
                    <a:pt x="103" y="9"/>
                  </a:moveTo>
                  <a:cubicBezTo>
                    <a:pt x="92" y="3"/>
                    <a:pt x="77" y="0"/>
                    <a:pt x="61" y="0"/>
                  </a:cubicBezTo>
                  <a:cubicBezTo>
                    <a:pt x="45" y="0"/>
                    <a:pt x="30" y="3"/>
                    <a:pt x="18" y="9"/>
                  </a:cubicBezTo>
                  <a:cubicBezTo>
                    <a:pt x="6" y="15"/>
                    <a:pt x="0" y="23"/>
                    <a:pt x="0" y="31"/>
                  </a:cubicBezTo>
                  <a:cubicBezTo>
                    <a:pt x="0" y="37"/>
                    <a:pt x="3" y="42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50"/>
                    <a:pt x="9" y="52"/>
                    <a:pt x="10" y="53"/>
                  </a:cubicBezTo>
                  <a:cubicBezTo>
                    <a:pt x="12" y="55"/>
                    <a:pt x="14" y="56"/>
                    <a:pt x="17" y="56"/>
                  </a:cubicBezTo>
                  <a:cubicBezTo>
                    <a:pt x="19" y="56"/>
                    <a:pt x="20" y="56"/>
                    <a:pt x="21" y="56"/>
                  </a:cubicBezTo>
                  <a:cubicBezTo>
                    <a:pt x="24" y="59"/>
                    <a:pt x="31" y="66"/>
                    <a:pt x="36" y="76"/>
                  </a:cubicBezTo>
                  <a:cubicBezTo>
                    <a:pt x="45" y="95"/>
                    <a:pt x="46" y="113"/>
                    <a:pt x="39" y="131"/>
                  </a:cubicBezTo>
                  <a:cubicBezTo>
                    <a:pt x="38" y="132"/>
                    <a:pt x="39" y="133"/>
                    <a:pt x="40" y="134"/>
                  </a:cubicBezTo>
                  <a:cubicBezTo>
                    <a:pt x="40" y="134"/>
                    <a:pt x="40" y="134"/>
                    <a:pt x="41" y="134"/>
                  </a:cubicBezTo>
                  <a:cubicBezTo>
                    <a:pt x="41" y="134"/>
                    <a:pt x="42" y="133"/>
                    <a:pt x="42" y="133"/>
                  </a:cubicBezTo>
                  <a:cubicBezTo>
                    <a:pt x="50" y="114"/>
                    <a:pt x="49" y="94"/>
                    <a:pt x="39" y="74"/>
                  </a:cubicBezTo>
                  <a:cubicBezTo>
                    <a:pt x="35" y="67"/>
                    <a:pt x="30" y="61"/>
                    <a:pt x="27" y="57"/>
                  </a:cubicBezTo>
                  <a:cubicBezTo>
                    <a:pt x="37" y="60"/>
                    <a:pt x="48" y="62"/>
                    <a:pt x="61" y="62"/>
                  </a:cubicBezTo>
                  <a:cubicBezTo>
                    <a:pt x="77" y="62"/>
                    <a:pt x="92" y="59"/>
                    <a:pt x="103" y="53"/>
                  </a:cubicBezTo>
                  <a:cubicBezTo>
                    <a:pt x="115" y="47"/>
                    <a:pt x="122" y="40"/>
                    <a:pt x="122" y="31"/>
                  </a:cubicBezTo>
                  <a:cubicBezTo>
                    <a:pt x="122" y="23"/>
                    <a:pt x="115" y="15"/>
                    <a:pt x="103" y="9"/>
                  </a:cubicBezTo>
                  <a:close/>
                  <a:moveTo>
                    <a:pt x="22" y="51"/>
                  </a:moveTo>
                  <a:cubicBezTo>
                    <a:pt x="21" y="51"/>
                    <a:pt x="20" y="50"/>
                    <a:pt x="20" y="50"/>
                  </a:cubicBezTo>
                  <a:cubicBezTo>
                    <a:pt x="17" y="49"/>
                    <a:pt x="15" y="47"/>
                    <a:pt x="12" y="46"/>
                  </a:cubicBezTo>
                  <a:cubicBezTo>
                    <a:pt x="14" y="44"/>
                    <a:pt x="15" y="43"/>
                    <a:pt x="17" y="43"/>
                  </a:cubicBezTo>
                  <a:cubicBezTo>
                    <a:pt x="20" y="43"/>
                    <a:pt x="23" y="46"/>
                    <a:pt x="23" y="48"/>
                  </a:cubicBezTo>
                  <a:cubicBezTo>
                    <a:pt x="23" y="49"/>
                    <a:pt x="23" y="50"/>
                    <a:pt x="22" y="51"/>
                  </a:cubicBezTo>
                  <a:close/>
                  <a:moveTo>
                    <a:pt x="13" y="51"/>
                  </a:moveTo>
                  <a:cubicBezTo>
                    <a:pt x="12" y="50"/>
                    <a:pt x="12" y="50"/>
                    <a:pt x="12" y="50"/>
                  </a:cubicBezTo>
                  <a:cubicBezTo>
                    <a:pt x="14" y="51"/>
                    <a:pt x="15" y="52"/>
                    <a:pt x="17" y="53"/>
                  </a:cubicBezTo>
                  <a:cubicBezTo>
                    <a:pt x="15" y="53"/>
                    <a:pt x="14" y="52"/>
                    <a:pt x="13" y="51"/>
                  </a:cubicBezTo>
                  <a:close/>
                  <a:moveTo>
                    <a:pt x="102" y="50"/>
                  </a:moveTo>
                  <a:cubicBezTo>
                    <a:pt x="91" y="55"/>
                    <a:pt x="76" y="58"/>
                    <a:pt x="61" y="58"/>
                  </a:cubicBezTo>
                  <a:cubicBezTo>
                    <a:pt x="48" y="58"/>
                    <a:pt x="35" y="56"/>
                    <a:pt x="25" y="52"/>
                  </a:cubicBezTo>
                  <a:cubicBezTo>
                    <a:pt x="26" y="51"/>
                    <a:pt x="27" y="50"/>
                    <a:pt x="27" y="48"/>
                  </a:cubicBezTo>
                  <a:cubicBezTo>
                    <a:pt x="27" y="44"/>
                    <a:pt x="22" y="40"/>
                    <a:pt x="17" y="40"/>
                  </a:cubicBezTo>
                  <a:cubicBezTo>
                    <a:pt x="14" y="40"/>
                    <a:pt x="11" y="41"/>
                    <a:pt x="10" y="43"/>
                  </a:cubicBezTo>
                  <a:cubicBezTo>
                    <a:pt x="6" y="40"/>
                    <a:pt x="3" y="35"/>
                    <a:pt x="3" y="31"/>
                  </a:cubicBezTo>
                  <a:cubicBezTo>
                    <a:pt x="3" y="24"/>
                    <a:pt x="9" y="17"/>
                    <a:pt x="20" y="12"/>
                  </a:cubicBezTo>
                  <a:cubicBezTo>
                    <a:pt x="31" y="7"/>
                    <a:pt x="45" y="4"/>
                    <a:pt x="61" y="4"/>
                  </a:cubicBezTo>
                  <a:cubicBezTo>
                    <a:pt x="76" y="4"/>
                    <a:pt x="91" y="7"/>
                    <a:pt x="102" y="12"/>
                  </a:cubicBezTo>
                  <a:cubicBezTo>
                    <a:pt x="112" y="17"/>
                    <a:pt x="118" y="24"/>
                    <a:pt x="118" y="31"/>
                  </a:cubicBezTo>
                  <a:cubicBezTo>
                    <a:pt x="118" y="38"/>
                    <a:pt x="112" y="45"/>
                    <a:pt x="102" y="5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490" name="Group 242"/>
          <p:cNvGrpSpPr>
            <a:grpSpLocks noChangeAspect="1"/>
          </p:cNvGrpSpPr>
          <p:nvPr/>
        </p:nvGrpSpPr>
        <p:grpSpPr bwMode="auto">
          <a:xfrm>
            <a:off x="1475581" y="4111625"/>
            <a:ext cx="787400" cy="785813"/>
            <a:chOff x="932" y="2590"/>
            <a:chExt cx="496" cy="495"/>
          </a:xfrm>
        </p:grpSpPr>
        <p:sp>
          <p:nvSpPr>
            <p:cNvPr id="53491" name="Freeform 243"/>
            <p:cNvSpPr>
              <a:spLocks noEditPoints="1"/>
            </p:cNvSpPr>
            <p:nvPr/>
          </p:nvSpPr>
          <p:spPr bwMode="auto">
            <a:xfrm>
              <a:off x="932" y="2590"/>
              <a:ext cx="496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92" name="Freeform 244"/>
            <p:cNvSpPr>
              <a:spLocks noEditPoints="1"/>
            </p:cNvSpPr>
            <p:nvPr/>
          </p:nvSpPr>
          <p:spPr bwMode="auto">
            <a:xfrm>
              <a:off x="1040" y="2684"/>
              <a:ext cx="293" cy="322"/>
            </a:xfrm>
            <a:custGeom>
              <a:avLst/>
              <a:gdLst/>
              <a:ahLst/>
              <a:cxnLst>
                <a:cxn ang="0">
                  <a:pos x="103" y="9"/>
                </a:cxn>
                <a:cxn ang="0">
                  <a:pos x="61" y="0"/>
                </a:cxn>
                <a:cxn ang="0">
                  <a:pos x="18" y="9"/>
                </a:cxn>
                <a:cxn ang="0">
                  <a:pos x="0" y="31"/>
                </a:cxn>
                <a:cxn ang="0">
                  <a:pos x="8" y="47"/>
                </a:cxn>
                <a:cxn ang="0">
                  <a:pos x="8" y="48"/>
                </a:cxn>
                <a:cxn ang="0">
                  <a:pos x="10" y="53"/>
                </a:cxn>
                <a:cxn ang="0">
                  <a:pos x="17" y="56"/>
                </a:cxn>
                <a:cxn ang="0">
                  <a:pos x="21" y="56"/>
                </a:cxn>
                <a:cxn ang="0">
                  <a:pos x="36" y="76"/>
                </a:cxn>
                <a:cxn ang="0">
                  <a:pos x="39" y="131"/>
                </a:cxn>
                <a:cxn ang="0">
                  <a:pos x="40" y="134"/>
                </a:cxn>
                <a:cxn ang="0">
                  <a:pos x="41" y="134"/>
                </a:cxn>
                <a:cxn ang="0">
                  <a:pos x="42" y="133"/>
                </a:cxn>
                <a:cxn ang="0">
                  <a:pos x="39" y="74"/>
                </a:cxn>
                <a:cxn ang="0">
                  <a:pos x="27" y="57"/>
                </a:cxn>
                <a:cxn ang="0">
                  <a:pos x="61" y="62"/>
                </a:cxn>
                <a:cxn ang="0">
                  <a:pos x="103" y="53"/>
                </a:cxn>
                <a:cxn ang="0">
                  <a:pos x="122" y="31"/>
                </a:cxn>
                <a:cxn ang="0">
                  <a:pos x="103" y="9"/>
                </a:cxn>
                <a:cxn ang="0">
                  <a:pos x="22" y="51"/>
                </a:cxn>
                <a:cxn ang="0">
                  <a:pos x="20" y="50"/>
                </a:cxn>
                <a:cxn ang="0">
                  <a:pos x="12" y="46"/>
                </a:cxn>
                <a:cxn ang="0">
                  <a:pos x="17" y="43"/>
                </a:cxn>
                <a:cxn ang="0">
                  <a:pos x="23" y="48"/>
                </a:cxn>
                <a:cxn ang="0">
                  <a:pos x="22" y="51"/>
                </a:cxn>
                <a:cxn ang="0">
                  <a:pos x="13" y="51"/>
                </a:cxn>
                <a:cxn ang="0">
                  <a:pos x="12" y="50"/>
                </a:cxn>
                <a:cxn ang="0">
                  <a:pos x="17" y="53"/>
                </a:cxn>
                <a:cxn ang="0">
                  <a:pos x="13" y="51"/>
                </a:cxn>
                <a:cxn ang="0">
                  <a:pos x="102" y="50"/>
                </a:cxn>
                <a:cxn ang="0">
                  <a:pos x="61" y="58"/>
                </a:cxn>
                <a:cxn ang="0">
                  <a:pos x="25" y="52"/>
                </a:cxn>
                <a:cxn ang="0">
                  <a:pos x="27" y="48"/>
                </a:cxn>
                <a:cxn ang="0">
                  <a:pos x="17" y="40"/>
                </a:cxn>
                <a:cxn ang="0">
                  <a:pos x="10" y="43"/>
                </a:cxn>
                <a:cxn ang="0">
                  <a:pos x="3" y="31"/>
                </a:cxn>
                <a:cxn ang="0">
                  <a:pos x="20" y="12"/>
                </a:cxn>
                <a:cxn ang="0">
                  <a:pos x="61" y="4"/>
                </a:cxn>
                <a:cxn ang="0">
                  <a:pos x="102" y="12"/>
                </a:cxn>
                <a:cxn ang="0">
                  <a:pos x="118" y="31"/>
                </a:cxn>
                <a:cxn ang="0">
                  <a:pos x="102" y="50"/>
                </a:cxn>
              </a:cxnLst>
              <a:rect l="0" t="0" r="r" b="b"/>
              <a:pathLst>
                <a:path w="122" h="134">
                  <a:moveTo>
                    <a:pt x="103" y="9"/>
                  </a:moveTo>
                  <a:cubicBezTo>
                    <a:pt x="92" y="3"/>
                    <a:pt x="77" y="0"/>
                    <a:pt x="61" y="0"/>
                  </a:cubicBezTo>
                  <a:cubicBezTo>
                    <a:pt x="45" y="0"/>
                    <a:pt x="30" y="3"/>
                    <a:pt x="18" y="9"/>
                  </a:cubicBezTo>
                  <a:cubicBezTo>
                    <a:pt x="6" y="15"/>
                    <a:pt x="0" y="23"/>
                    <a:pt x="0" y="31"/>
                  </a:cubicBezTo>
                  <a:cubicBezTo>
                    <a:pt x="0" y="37"/>
                    <a:pt x="3" y="42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50"/>
                    <a:pt x="9" y="52"/>
                    <a:pt x="10" y="53"/>
                  </a:cubicBezTo>
                  <a:cubicBezTo>
                    <a:pt x="12" y="55"/>
                    <a:pt x="14" y="56"/>
                    <a:pt x="17" y="56"/>
                  </a:cubicBezTo>
                  <a:cubicBezTo>
                    <a:pt x="19" y="56"/>
                    <a:pt x="20" y="56"/>
                    <a:pt x="21" y="56"/>
                  </a:cubicBezTo>
                  <a:cubicBezTo>
                    <a:pt x="24" y="59"/>
                    <a:pt x="31" y="66"/>
                    <a:pt x="36" y="76"/>
                  </a:cubicBezTo>
                  <a:cubicBezTo>
                    <a:pt x="45" y="95"/>
                    <a:pt x="46" y="113"/>
                    <a:pt x="39" y="131"/>
                  </a:cubicBezTo>
                  <a:cubicBezTo>
                    <a:pt x="38" y="132"/>
                    <a:pt x="39" y="133"/>
                    <a:pt x="40" y="134"/>
                  </a:cubicBezTo>
                  <a:cubicBezTo>
                    <a:pt x="40" y="134"/>
                    <a:pt x="40" y="134"/>
                    <a:pt x="41" y="134"/>
                  </a:cubicBezTo>
                  <a:cubicBezTo>
                    <a:pt x="41" y="134"/>
                    <a:pt x="42" y="133"/>
                    <a:pt x="42" y="133"/>
                  </a:cubicBezTo>
                  <a:cubicBezTo>
                    <a:pt x="50" y="114"/>
                    <a:pt x="49" y="94"/>
                    <a:pt x="39" y="74"/>
                  </a:cubicBezTo>
                  <a:cubicBezTo>
                    <a:pt x="35" y="67"/>
                    <a:pt x="30" y="61"/>
                    <a:pt x="27" y="57"/>
                  </a:cubicBezTo>
                  <a:cubicBezTo>
                    <a:pt x="37" y="60"/>
                    <a:pt x="48" y="62"/>
                    <a:pt x="61" y="62"/>
                  </a:cubicBezTo>
                  <a:cubicBezTo>
                    <a:pt x="77" y="62"/>
                    <a:pt x="92" y="59"/>
                    <a:pt x="103" y="53"/>
                  </a:cubicBezTo>
                  <a:cubicBezTo>
                    <a:pt x="115" y="47"/>
                    <a:pt x="122" y="40"/>
                    <a:pt x="122" y="31"/>
                  </a:cubicBezTo>
                  <a:cubicBezTo>
                    <a:pt x="122" y="23"/>
                    <a:pt x="115" y="15"/>
                    <a:pt x="103" y="9"/>
                  </a:cubicBezTo>
                  <a:close/>
                  <a:moveTo>
                    <a:pt x="22" y="51"/>
                  </a:moveTo>
                  <a:cubicBezTo>
                    <a:pt x="21" y="51"/>
                    <a:pt x="20" y="50"/>
                    <a:pt x="20" y="50"/>
                  </a:cubicBezTo>
                  <a:cubicBezTo>
                    <a:pt x="17" y="49"/>
                    <a:pt x="15" y="47"/>
                    <a:pt x="12" y="46"/>
                  </a:cubicBezTo>
                  <a:cubicBezTo>
                    <a:pt x="14" y="44"/>
                    <a:pt x="15" y="43"/>
                    <a:pt x="17" y="43"/>
                  </a:cubicBezTo>
                  <a:cubicBezTo>
                    <a:pt x="20" y="43"/>
                    <a:pt x="23" y="46"/>
                    <a:pt x="23" y="48"/>
                  </a:cubicBezTo>
                  <a:cubicBezTo>
                    <a:pt x="23" y="49"/>
                    <a:pt x="23" y="50"/>
                    <a:pt x="22" y="51"/>
                  </a:cubicBezTo>
                  <a:close/>
                  <a:moveTo>
                    <a:pt x="13" y="51"/>
                  </a:moveTo>
                  <a:cubicBezTo>
                    <a:pt x="12" y="50"/>
                    <a:pt x="12" y="50"/>
                    <a:pt x="12" y="50"/>
                  </a:cubicBezTo>
                  <a:cubicBezTo>
                    <a:pt x="14" y="51"/>
                    <a:pt x="15" y="52"/>
                    <a:pt x="17" y="53"/>
                  </a:cubicBezTo>
                  <a:cubicBezTo>
                    <a:pt x="15" y="53"/>
                    <a:pt x="14" y="52"/>
                    <a:pt x="13" y="51"/>
                  </a:cubicBezTo>
                  <a:close/>
                  <a:moveTo>
                    <a:pt x="102" y="50"/>
                  </a:moveTo>
                  <a:cubicBezTo>
                    <a:pt x="91" y="55"/>
                    <a:pt x="76" y="58"/>
                    <a:pt x="61" y="58"/>
                  </a:cubicBezTo>
                  <a:cubicBezTo>
                    <a:pt x="48" y="58"/>
                    <a:pt x="35" y="56"/>
                    <a:pt x="25" y="52"/>
                  </a:cubicBezTo>
                  <a:cubicBezTo>
                    <a:pt x="26" y="51"/>
                    <a:pt x="27" y="50"/>
                    <a:pt x="27" y="48"/>
                  </a:cubicBezTo>
                  <a:cubicBezTo>
                    <a:pt x="27" y="44"/>
                    <a:pt x="22" y="40"/>
                    <a:pt x="17" y="40"/>
                  </a:cubicBezTo>
                  <a:cubicBezTo>
                    <a:pt x="14" y="40"/>
                    <a:pt x="11" y="41"/>
                    <a:pt x="10" y="43"/>
                  </a:cubicBezTo>
                  <a:cubicBezTo>
                    <a:pt x="6" y="40"/>
                    <a:pt x="3" y="35"/>
                    <a:pt x="3" y="31"/>
                  </a:cubicBezTo>
                  <a:cubicBezTo>
                    <a:pt x="3" y="24"/>
                    <a:pt x="9" y="17"/>
                    <a:pt x="20" y="12"/>
                  </a:cubicBezTo>
                  <a:cubicBezTo>
                    <a:pt x="31" y="7"/>
                    <a:pt x="45" y="4"/>
                    <a:pt x="61" y="4"/>
                  </a:cubicBezTo>
                  <a:cubicBezTo>
                    <a:pt x="76" y="4"/>
                    <a:pt x="91" y="7"/>
                    <a:pt x="102" y="12"/>
                  </a:cubicBezTo>
                  <a:cubicBezTo>
                    <a:pt x="112" y="17"/>
                    <a:pt x="118" y="24"/>
                    <a:pt x="118" y="31"/>
                  </a:cubicBezTo>
                  <a:cubicBezTo>
                    <a:pt x="118" y="38"/>
                    <a:pt x="112" y="45"/>
                    <a:pt x="102" y="5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495" name="Group 247"/>
          <p:cNvGrpSpPr>
            <a:grpSpLocks noChangeAspect="1"/>
          </p:cNvGrpSpPr>
          <p:nvPr/>
        </p:nvGrpSpPr>
        <p:grpSpPr bwMode="auto">
          <a:xfrm>
            <a:off x="2542381" y="4084638"/>
            <a:ext cx="836612" cy="836612"/>
            <a:chOff x="1607" y="2573"/>
            <a:chExt cx="527" cy="527"/>
          </a:xfrm>
        </p:grpSpPr>
        <p:sp>
          <p:nvSpPr>
            <p:cNvPr id="53496" name="Oval 248"/>
            <p:cNvSpPr>
              <a:spLocks noChangeArrowheads="1"/>
            </p:cNvSpPr>
            <p:nvPr/>
          </p:nvSpPr>
          <p:spPr bwMode="auto">
            <a:xfrm>
              <a:off x="1607" y="2573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97" name="Freeform 249"/>
            <p:cNvSpPr>
              <a:spLocks noEditPoints="1"/>
            </p:cNvSpPr>
            <p:nvPr/>
          </p:nvSpPr>
          <p:spPr bwMode="auto">
            <a:xfrm>
              <a:off x="1698" y="2650"/>
              <a:ext cx="316" cy="273"/>
            </a:xfrm>
            <a:custGeom>
              <a:avLst/>
              <a:gdLst/>
              <a:ahLst/>
              <a:cxnLst>
                <a:cxn ang="0">
                  <a:pos x="63" y="80"/>
                </a:cxn>
                <a:cxn ang="0">
                  <a:pos x="75" y="68"/>
                </a:cxn>
                <a:cxn ang="0">
                  <a:pos x="80" y="67"/>
                </a:cxn>
                <a:cxn ang="0">
                  <a:pos x="88" y="70"/>
                </a:cxn>
                <a:cxn ang="0">
                  <a:pos x="91" y="81"/>
                </a:cxn>
                <a:cxn ang="0">
                  <a:pos x="115" y="72"/>
                </a:cxn>
                <a:cxn ang="0">
                  <a:pos x="131" y="52"/>
                </a:cxn>
                <a:cxn ang="0">
                  <a:pos x="121" y="46"/>
                </a:cxn>
                <a:cxn ang="0">
                  <a:pos x="120" y="38"/>
                </a:cxn>
                <a:cxn ang="0">
                  <a:pos x="101" y="19"/>
                </a:cxn>
                <a:cxn ang="0">
                  <a:pos x="101" y="11"/>
                </a:cxn>
                <a:cxn ang="0">
                  <a:pos x="73" y="15"/>
                </a:cxn>
                <a:cxn ang="0">
                  <a:pos x="57" y="35"/>
                </a:cxn>
                <a:cxn ang="0">
                  <a:pos x="67" y="41"/>
                </a:cxn>
                <a:cxn ang="0">
                  <a:pos x="67" y="49"/>
                </a:cxn>
                <a:cxn ang="0">
                  <a:pos x="63" y="53"/>
                </a:cxn>
                <a:cxn ang="0">
                  <a:pos x="50" y="62"/>
                </a:cxn>
                <a:cxn ang="0">
                  <a:pos x="8" y="90"/>
                </a:cxn>
                <a:cxn ang="0">
                  <a:pos x="3" y="109"/>
                </a:cxn>
                <a:cxn ang="0">
                  <a:pos x="12" y="114"/>
                </a:cxn>
                <a:cxn ang="0">
                  <a:pos x="59" y="80"/>
                </a:cxn>
                <a:cxn ang="0">
                  <a:pos x="57" y="77"/>
                </a:cxn>
                <a:cxn ang="0">
                  <a:pos x="12" y="110"/>
                </a:cxn>
                <a:cxn ang="0">
                  <a:pos x="4" y="100"/>
                </a:cxn>
                <a:cxn ang="0">
                  <a:pos x="51" y="69"/>
                </a:cxn>
                <a:cxn ang="0">
                  <a:pos x="52" y="67"/>
                </a:cxn>
                <a:cxn ang="0">
                  <a:pos x="69" y="58"/>
                </a:cxn>
                <a:cxn ang="0">
                  <a:pos x="69" y="54"/>
                </a:cxn>
                <a:cxn ang="0">
                  <a:pos x="70" y="47"/>
                </a:cxn>
                <a:cxn ang="0">
                  <a:pos x="73" y="43"/>
                </a:cxn>
                <a:cxn ang="0">
                  <a:pos x="67" y="37"/>
                </a:cxn>
                <a:cxn ang="0">
                  <a:pos x="60" y="33"/>
                </a:cxn>
                <a:cxn ang="0">
                  <a:pos x="94" y="8"/>
                </a:cxn>
                <a:cxn ang="0">
                  <a:pos x="96" y="16"/>
                </a:cxn>
                <a:cxn ang="0">
                  <a:pos x="100" y="23"/>
                </a:cxn>
                <a:cxn ang="0">
                  <a:pos x="105" y="22"/>
                </a:cxn>
                <a:cxn ang="0">
                  <a:pos x="115" y="43"/>
                </a:cxn>
                <a:cxn ang="0">
                  <a:pos x="119" y="50"/>
                </a:cxn>
                <a:cxn ang="0">
                  <a:pos x="124" y="49"/>
                </a:cxn>
                <a:cxn ang="0">
                  <a:pos x="113" y="69"/>
                </a:cxn>
                <a:cxn ang="0">
                  <a:pos x="90" y="74"/>
                </a:cxn>
                <a:cxn ang="0">
                  <a:pos x="93" y="70"/>
                </a:cxn>
                <a:cxn ang="0">
                  <a:pos x="87" y="64"/>
                </a:cxn>
                <a:cxn ang="0">
                  <a:pos x="80" y="60"/>
                </a:cxn>
                <a:cxn ang="0">
                  <a:pos x="74" y="61"/>
                </a:cxn>
                <a:cxn ang="0">
                  <a:pos x="61" y="77"/>
                </a:cxn>
                <a:cxn ang="0">
                  <a:pos x="58" y="76"/>
                </a:cxn>
              </a:cxnLst>
              <a:rect l="0" t="0" r="r" b="b"/>
              <a:pathLst>
                <a:path w="132" h="114">
                  <a:moveTo>
                    <a:pt x="63" y="80"/>
                  </a:moveTo>
                  <a:cubicBezTo>
                    <a:pt x="63" y="80"/>
                    <a:pt x="63" y="80"/>
                    <a:pt x="63" y="80"/>
                  </a:cubicBezTo>
                  <a:cubicBezTo>
                    <a:pt x="65" y="79"/>
                    <a:pt x="70" y="73"/>
                    <a:pt x="74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2" y="69"/>
                    <a:pt x="84" y="68"/>
                    <a:pt x="87" y="68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7" y="72"/>
                    <a:pt x="86" y="74"/>
                    <a:pt x="87" y="76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2" y="83"/>
                    <a:pt x="96" y="83"/>
                    <a:pt x="101" y="81"/>
                  </a:cubicBezTo>
                  <a:cubicBezTo>
                    <a:pt x="105" y="79"/>
                    <a:pt x="110" y="76"/>
                    <a:pt x="115" y="72"/>
                  </a:cubicBezTo>
                  <a:cubicBezTo>
                    <a:pt x="120" y="68"/>
                    <a:pt x="124" y="64"/>
                    <a:pt x="127" y="61"/>
                  </a:cubicBezTo>
                  <a:cubicBezTo>
                    <a:pt x="131" y="57"/>
                    <a:pt x="132" y="54"/>
                    <a:pt x="131" y="52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6" y="45"/>
                    <a:pt x="123" y="45"/>
                    <a:pt x="121" y="46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21" y="42"/>
                    <a:pt x="122" y="39"/>
                    <a:pt x="120" y="38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6" y="18"/>
                    <a:pt x="103" y="18"/>
                    <a:pt x="101" y="19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1" y="15"/>
                    <a:pt x="102" y="13"/>
                    <a:pt x="101" y="11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3" y="0"/>
                    <a:pt x="76" y="12"/>
                    <a:pt x="73" y="15"/>
                  </a:cubicBezTo>
                  <a:cubicBezTo>
                    <a:pt x="68" y="18"/>
                    <a:pt x="63" y="22"/>
                    <a:pt x="60" y="26"/>
                  </a:cubicBezTo>
                  <a:cubicBezTo>
                    <a:pt x="56" y="30"/>
                    <a:pt x="55" y="33"/>
                    <a:pt x="57" y="35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2" y="42"/>
                    <a:pt x="65" y="42"/>
                    <a:pt x="67" y="41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7" y="45"/>
                    <a:pt x="66" y="47"/>
                    <a:pt x="67" y="49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59" y="58"/>
                    <a:pt x="52" y="61"/>
                    <a:pt x="50" y="62"/>
                  </a:cubicBezTo>
                  <a:cubicBezTo>
                    <a:pt x="50" y="63"/>
                    <a:pt x="48" y="64"/>
                    <a:pt x="49" y="66"/>
                  </a:cubicBezTo>
                  <a:cubicBezTo>
                    <a:pt x="32" y="75"/>
                    <a:pt x="13" y="86"/>
                    <a:pt x="8" y="90"/>
                  </a:cubicBezTo>
                  <a:cubicBezTo>
                    <a:pt x="4" y="93"/>
                    <a:pt x="1" y="96"/>
                    <a:pt x="1" y="99"/>
                  </a:cubicBezTo>
                  <a:cubicBezTo>
                    <a:pt x="0" y="102"/>
                    <a:pt x="1" y="106"/>
                    <a:pt x="3" y="109"/>
                  </a:cubicBezTo>
                  <a:cubicBezTo>
                    <a:pt x="5" y="112"/>
                    <a:pt x="8" y="113"/>
                    <a:pt x="11" y="114"/>
                  </a:cubicBezTo>
                  <a:cubicBezTo>
                    <a:pt x="11" y="114"/>
                    <a:pt x="12" y="114"/>
                    <a:pt x="12" y="114"/>
                  </a:cubicBezTo>
                  <a:cubicBezTo>
                    <a:pt x="15" y="114"/>
                    <a:pt x="19" y="112"/>
                    <a:pt x="23" y="110"/>
                  </a:cubicBezTo>
                  <a:cubicBezTo>
                    <a:pt x="28" y="106"/>
                    <a:pt x="44" y="93"/>
                    <a:pt x="59" y="80"/>
                  </a:cubicBezTo>
                  <a:cubicBezTo>
                    <a:pt x="61" y="81"/>
                    <a:pt x="62" y="80"/>
                    <a:pt x="63" y="80"/>
                  </a:cubicBezTo>
                  <a:close/>
                  <a:moveTo>
                    <a:pt x="57" y="77"/>
                  </a:moveTo>
                  <a:cubicBezTo>
                    <a:pt x="42" y="90"/>
                    <a:pt x="26" y="103"/>
                    <a:pt x="20" y="107"/>
                  </a:cubicBezTo>
                  <a:cubicBezTo>
                    <a:pt x="17" y="109"/>
                    <a:pt x="14" y="110"/>
                    <a:pt x="12" y="110"/>
                  </a:cubicBezTo>
                  <a:cubicBezTo>
                    <a:pt x="10" y="110"/>
                    <a:pt x="8" y="109"/>
                    <a:pt x="6" y="106"/>
                  </a:cubicBezTo>
                  <a:cubicBezTo>
                    <a:pt x="4" y="104"/>
                    <a:pt x="4" y="102"/>
                    <a:pt x="4" y="100"/>
                  </a:cubicBezTo>
                  <a:cubicBezTo>
                    <a:pt x="5" y="98"/>
                    <a:pt x="7" y="95"/>
                    <a:pt x="10" y="93"/>
                  </a:cubicBezTo>
                  <a:cubicBezTo>
                    <a:pt x="14" y="90"/>
                    <a:pt x="31" y="80"/>
                    <a:pt x="51" y="69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2" y="65"/>
                    <a:pt x="52" y="65"/>
                    <a:pt x="53" y="65"/>
                  </a:cubicBezTo>
                  <a:cubicBezTo>
                    <a:pt x="54" y="64"/>
                    <a:pt x="62" y="60"/>
                    <a:pt x="69" y="58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1" y="47"/>
                    <a:pt x="71" y="46"/>
                    <a:pt x="72" y="44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38"/>
                    <a:pt x="64" y="38"/>
                    <a:pt x="64" y="38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31"/>
                    <a:pt x="65" y="25"/>
                    <a:pt x="75" y="18"/>
                  </a:cubicBezTo>
                  <a:cubicBezTo>
                    <a:pt x="85" y="10"/>
                    <a:pt x="92" y="7"/>
                    <a:pt x="94" y="8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8" y="13"/>
                    <a:pt x="97" y="14"/>
                    <a:pt x="96" y="16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3" y="22"/>
                    <a:pt x="104" y="22"/>
                    <a:pt x="105" y="22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1"/>
                    <a:pt x="115" y="43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3" y="49"/>
                    <a:pt x="124" y="49"/>
                    <a:pt x="124" y="49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56"/>
                    <a:pt x="123" y="62"/>
                    <a:pt x="113" y="69"/>
                  </a:cubicBezTo>
                  <a:cubicBezTo>
                    <a:pt x="103" y="77"/>
                    <a:pt x="95" y="79"/>
                    <a:pt x="94" y="79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0" y="73"/>
                    <a:pt x="90" y="73"/>
                    <a:pt x="92" y="71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5" y="65"/>
                    <a:pt x="84" y="65"/>
                    <a:pt x="83" y="6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69" y="69"/>
                    <a:pt x="62" y="76"/>
                    <a:pt x="61" y="77"/>
                  </a:cubicBezTo>
                  <a:cubicBezTo>
                    <a:pt x="61" y="77"/>
                    <a:pt x="61" y="77"/>
                    <a:pt x="59" y="76"/>
                  </a:cubicBezTo>
                  <a:cubicBezTo>
                    <a:pt x="58" y="76"/>
                    <a:pt x="58" y="76"/>
                    <a:pt x="58" y="76"/>
                  </a:cubicBezTo>
                  <a:lnTo>
                    <a:pt x="57" y="7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98" name="Freeform 250"/>
            <p:cNvSpPr>
              <a:spLocks/>
            </p:cNvSpPr>
            <p:nvPr/>
          </p:nvSpPr>
          <p:spPr bwMode="auto">
            <a:xfrm>
              <a:off x="1880" y="2894"/>
              <a:ext cx="45" cy="9"/>
            </a:xfrm>
            <a:custGeom>
              <a:avLst/>
              <a:gdLst/>
              <a:ahLst/>
              <a:cxnLst>
                <a:cxn ang="0">
                  <a:pos x="19" y="4"/>
                </a:cxn>
                <a:cxn ang="0">
                  <a:pos x="19" y="1"/>
                </a:cxn>
                <a:cxn ang="0">
                  <a:pos x="1" y="0"/>
                </a:cxn>
                <a:cxn ang="0">
                  <a:pos x="0" y="3"/>
                </a:cxn>
                <a:cxn ang="0">
                  <a:pos x="13" y="4"/>
                </a:cxn>
                <a:cxn ang="0">
                  <a:pos x="19" y="4"/>
                </a:cxn>
              </a:cxnLst>
              <a:rect l="0" t="0" r="r" b="b"/>
              <a:pathLst>
                <a:path w="19" h="4">
                  <a:moveTo>
                    <a:pt x="19" y="4"/>
                  </a:moveTo>
                  <a:cubicBezTo>
                    <a:pt x="19" y="1"/>
                    <a:pt x="19" y="1"/>
                    <a:pt x="19" y="1"/>
                  </a:cubicBezTo>
                  <a:cubicBezTo>
                    <a:pt x="10" y="1"/>
                    <a:pt x="4" y="0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4"/>
                    <a:pt x="7" y="4"/>
                    <a:pt x="13" y="4"/>
                  </a:cubicBezTo>
                  <a:cubicBezTo>
                    <a:pt x="15" y="4"/>
                    <a:pt x="17" y="4"/>
                    <a:pt x="19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99" name="Freeform 251"/>
            <p:cNvSpPr>
              <a:spLocks noEditPoints="1"/>
            </p:cNvSpPr>
            <p:nvPr/>
          </p:nvSpPr>
          <p:spPr bwMode="auto">
            <a:xfrm>
              <a:off x="1835" y="2875"/>
              <a:ext cx="191" cy="93"/>
            </a:xfrm>
            <a:custGeom>
              <a:avLst/>
              <a:gdLst/>
              <a:ahLst/>
              <a:cxnLst>
                <a:cxn ang="0">
                  <a:pos x="71" y="11"/>
                </a:cxn>
                <a:cxn ang="0">
                  <a:pos x="71" y="8"/>
                </a:cxn>
                <a:cxn ang="0">
                  <a:pos x="40" y="0"/>
                </a:cxn>
                <a:cxn ang="0">
                  <a:pos x="9" y="8"/>
                </a:cxn>
                <a:cxn ang="0">
                  <a:pos x="9" y="11"/>
                </a:cxn>
                <a:cxn ang="0">
                  <a:pos x="0" y="18"/>
                </a:cxn>
                <a:cxn ang="0">
                  <a:pos x="0" y="29"/>
                </a:cxn>
                <a:cxn ang="0">
                  <a:pos x="40" y="39"/>
                </a:cxn>
                <a:cxn ang="0">
                  <a:pos x="80" y="29"/>
                </a:cxn>
                <a:cxn ang="0">
                  <a:pos x="80" y="18"/>
                </a:cxn>
                <a:cxn ang="0">
                  <a:pos x="71" y="11"/>
                </a:cxn>
                <a:cxn ang="0">
                  <a:pos x="66" y="33"/>
                </a:cxn>
                <a:cxn ang="0">
                  <a:pos x="40" y="35"/>
                </a:cxn>
                <a:cxn ang="0">
                  <a:pos x="14" y="33"/>
                </a:cxn>
                <a:cxn ang="0">
                  <a:pos x="3" y="29"/>
                </a:cxn>
                <a:cxn ang="0">
                  <a:pos x="3" y="18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12" y="8"/>
                </a:cxn>
                <a:cxn ang="0">
                  <a:pos x="40" y="4"/>
                </a:cxn>
                <a:cxn ang="0">
                  <a:pos x="67" y="8"/>
                </a:cxn>
                <a:cxn ang="0">
                  <a:pos x="67" y="14"/>
                </a:cxn>
                <a:cxn ang="0">
                  <a:pos x="68" y="14"/>
                </a:cxn>
                <a:cxn ang="0">
                  <a:pos x="76" y="18"/>
                </a:cxn>
                <a:cxn ang="0">
                  <a:pos x="76" y="29"/>
                </a:cxn>
                <a:cxn ang="0">
                  <a:pos x="66" y="33"/>
                </a:cxn>
              </a:cxnLst>
              <a:rect l="0" t="0" r="r" b="b"/>
              <a:pathLst>
                <a:path w="80" h="39">
                  <a:moveTo>
                    <a:pt x="71" y="11"/>
                  </a:moveTo>
                  <a:cubicBezTo>
                    <a:pt x="71" y="8"/>
                    <a:pt x="71" y="8"/>
                    <a:pt x="71" y="8"/>
                  </a:cubicBezTo>
                  <a:cubicBezTo>
                    <a:pt x="71" y="0"/>
                    <a:pt x="43" y="0"/>
                    <a:pt x="40" y="0"/>
                  </a:cubicBezTo>
                  <a:cubicBezTo>
                    <a:pt x="37" y="0"/>
                    <a:pt x="9" y="0"/>
                    <a:pt x="9" y="8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3" y="13"/>
                    <a:pt x="0" y="15"/>
                    <a:pt x="0" y="1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7"/>
                    <a:pt x="25" y="39"/>
                    <a:pt x="40" y="39"/>
                  </a:cubicBezTo>
                  <a:cubicBezTo>
                    <a:pt x="55" y="39"/>
                    <a:pt x="80" y="37"/>
                    <a:pt x="80" y="2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5"/>
                    <a:pt x="77" y="13"/>
                    <a:pt x="71" y="11"/>
                  </a:cubicBezTo>
                  <a:close/>
                  <a:moveTo>
                    <a:pt x="66" y="33"/>
                  </a:moveTo>
                  <a:cubicBezTo>
                    <a:pt x="59" y="35"/>
                    <a:pt x="49" y="35"/>
                    <a:pt x="40" y="35"/>
                  </a:cubicBezTo>
                  <a:cubicBezTo>
                    <a:pt x="30" y="35"/>
                    <a:pt x="21" y="35"/>
                    <a:pt x="14" y="33"/>
                  </a:cubicBezTo>
                  <a:cubicBezTo>
                    <a:pt x="6" y="32"/>
                    <a:pt x="4" y="30"/>
                    <a:pt x="3" y="29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4" y="16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4" y="7"/>
                    <a:pt x="23" y="4"/>
                    <a:pt x="40" y="4"/>
                  </a:cubicBezTo>
                  <a:cubicBezTo>
                    <a:pt x="56" y="4"/>
                    <a:pt x="66" y="7"/>
                    <a:pt x="67" y="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5" y="16"/>
                    <a:pt x="76" y="18"/>
                    <a:pt x="76" y="1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30"/>
                    <a:pt x="74" y="32"/>
                    <a:pt x="66" y="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00" name="Freeform 252"/>
            <p:cNvSpPr>
              <a:spLocks/>
            </p:cNvSpPr>
            <p:nvPr/>
          </p:nvSpPr>
          <p:spPr bwMode="auto">
            <a:xfrm>
              <a:off x="1851" y="2918"/>
              <a:ext cx="77" cy="1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27" y="8"/>
                </a:cxn>
                <a:cxn ang="0">
                  <a:pos x="32" y="7"/>
                </a:cxn>
                <a:cxn ang="0">
                  <a:pos x="31" y="4"/>
                </a:cxn>
                <a:cxn ang="0">
                  <a:pos x="2" y="0"/>
                </a:cxn>
              </a:cxnLst>
              <a:rect l="0" t="0" r="r" b="b"/>
              <a:pathLst>
                <a:path w="32" h="8">
                  <a:moveTo>
                    <a:pt x="2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9" y="8"/>
                    <a:pt x="27" y="8"/>
                  </a:cubicBezTo>
                  <a:cubicBezTo>
                    <a:pt x="28" y="8"/>
                    <a:pt x="30" y="8"/>
                    <a:pt x="32" y="7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12" y="5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01" name="Freeform 253"/>
            <p:cNvSpPr>
              <a:spLocks noEditPoints="1"/>
            </p:cNvSpPr>
            <p:nvPr/>
          </p:nvSpPr>
          <p:spPr bwMode="auto">
            <a:xfrm>
              <a:off x="1629" y="2595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04" name="Group 256"/>
          <p:cNvGrpSpPr>
            <a:grpSpLocks noChangeAspect="1"/>
          </p:cNvGrpSpPr>
          <p:nvPr/>
        </p:nvGrpSpPr>
        <p:grpSpPr bwMode="auto">
          <a:xfrm>
            <a:off x="3670298" y="4117972"/>
            <a:ext cx="768350" cy="768350"/>
            <a:chOff x="2316" y="2594"/>
            <a:chExt cx="484" cy="484"/>
          </a:xfrm>
        </p:grpSpPr>
        <p:sp>
          <p:nvSpPr>
            <p:cNvPr id="53505" name="Freeform 257"/>
            <p:cNvSpPr>
              <a:spLocks noEditPoints="1"/>
            </p:cNvSpPr>
            <p:nvPr/>
          </p:nvSpPr>
          <p:spPr bwMode="auto">
            <a:xfrm>
              <a:off x="2386" y="2649"/>
              <a:ext cx="316" cy="274"/>
            </a:xfrm>
            <a:custGeom>
              <a:avLst/>
              <a:gdLst/>
              <a:ahLst/>
              <a:cxnLst>
                <a:cxn ang="0">
                  <a:pos x="63" y="80"/>
                </a:cxn>
                <a:cxn ang="0">
                  <a:pos x="75" y="68"/>
                </a:cxn>
                <a:cxn ang="0">
                  <a:pos x="80" y="67"/>
                </a:cxn>
                <a:cxn ang="0">
                  <a:pos x="88" y="70"/>
                </a:cxn>
                <a:cxn ang="0">
                  <a:pos x="91" y="81"/>
                </a:cxn>
                <a:cxn ang="0">
                  <a:pos x="115" y="72"/>
                </a:cxn>
                <a:cxn ang="0">
                  <a:pos x="131" y="52"/>
                </a:cxn>
                <a:cxn ang="0">
                  <a:pos x="121" y="46"/>
                </a:cxn>
                <a:cxn ang="0">
                  <a:pos x="120" y="38"/>
                </a:cxn>
                <a:cxn ang="0">
                  <a:pos x="101" y="19"/>
                </a:cxn>
                <a:cxn ang="0">
                  <a:pos x="101" y="11"/>
                </a:cxn>
                <a:cxn ang="0">
                  <a:pos x="73" y="15"/>
                </a:cxn>
                <a:cxn ang="0">
                  <a:pos x="57" y="35"/>
                </a:cxn>
                <a:cxn ang="0">
                  <a:pos x="67" y="41"/>
                </a:cxn>
                <a:cxn ang="0">
                  <a:pos x="67" y="49"/>
                </a:cxn>
                <a:cxn ang="0">
                  <a:pos x="63" y="53"/>
                </a:cxn>
                <a:cxn ang="0">
                  <a:pos x="50" y="62"/>
                </a:cxn>
                <a:cxn ang="0">
                  <a:pos x="8" y="90"/>
                </a:cxn>
                <a:cxn ang="0">
                  <a:pos x="3" y="109"/>
                </a:cxn>
                <a:cxn ang="0">
                  <a:pos x="12" y="114"/>
                </a:cxn>
                <a:cxn ang="0">
                  <a:pos x="59" y="80"/>
                </a:cxn>
                <a:cxn ang="0">
                  <a:pos x="57" y="77"/>
                </a:cxn>
                <a:cxn ang="0">
                  <a:pos x="12" y="110"/>
                </a:cxn>
                <a:cxn ang="0">
                  <a:pos x="4" y="100"/>
                </a:cxn>
                <a:cxn ang="0">
                  <a:pos x="51" y="69"/>
                </a:cxn>
                <a:cxn ang="0">
                  <a:pos x="52" y="67"/>
                </a:cxn>
                <a:cxn ang="0">
                  <a:pos x="69" y="58"/>
                </a:cxn>
                <a:cxn ang="0">
                  <a:pos x="69" y="54"/>
                </a:cxn>
                <a:cxn ang="0">
                  <a:pos x="70" y="47"/>
                </a:cxn>
                <a:cxn ang="0">
                  <a:pos x="73" y="43"/>
                </a:cxn>
                <a:cxn ang="0">
                  <a:pos x="67" y="37"/>
                </a:cxn>
                <a:cxn ang="0">
                  <a:pos x="60" y="33"/>
                </a:cxn>
                <a:cxn ang="0">
                  <a:pos x="94" y="8"/>
                </a:cxn>
                <a:cxn ang="0">
                  <a:pos x="96" y="16"/>
                </a:cxn>
                <a:cxn ang="0">
                  <a:pos x="100" y="23"/>
                </a:cxn>
                <a:cxn ang="0">
                  <a:pos x="105" y="22"/>
                </a:cxn>
                <a:cxn ang="0">
                  <a:pos x="115" y="43"/>
                </a:cxn>
                <a:cxn ang="0">
                  <a:pos x="119" y="50"/>
                </a:cxn>
                <a:cxn ang="0">
                  <a:pos x="124" y="49"/>
                </a:cxn>
                <a:cxn ang="0">
                  <a:pos x="113" y="69"/>
                </a:cxn>
                <a:cxn ang="0">
                  <a:pos x="90" y="74"/>
                </a:cxn>
                <a:cxn ang="0">
                  <a:pos x="93" y="70"/>
                </a:cxn>
                <a:cxn ang="0">
                  <a:pos x="87" y="64"/>
                </a:cxn>
                <a:cxn ang="0">
                  <a:pos x="80" y="60"/>
                </a:cxn>
                <a:cxn ang="0">
                  <a:pos x="74" y="61"/>
                </a:cxn>
                <a:cxn ang="0">
                  <a:pos x="61" y="77"/>
                </a:cxn>
                <a:cxn ang="0">
                  <a:pos x="58" y="76"/>
                </a:cxn>
              </a:cxnLst>
              <a:rect l="0" t="0" r="r" b="b"/>
              <a:pathLst>
                <a:path w="132" h="114">
                  <a:moveTo>
                    <a:pt x="63" y="80"/>
                  </a:moveTo>
                  <a:cubicBezTo>
                    <a:pt x="63" y="80"/>
                    <a:pt x="63" y="80"/>
                    <a:pt x="63" y="80"/>
                  </a:cubicBezTo>
                  <a:cubicBezTo>
                    <a:pt x="65" y="79"/>
                    <a:pt x="70" y="73"/>
                    <a:pt x="74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2" y="69"/>
                    <a:pt x="84" y="68"/>
                    <a:pt x="87" y="68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7" y="72"/>
                    <a:pt x="86" y="74"/>
                    <a:pt x="87" y="76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2" y="83"/>
                    <a:pt x="96" y="83"/>
                    <a:pt x="101" y="81"/>
                  </a:cubicBezTo>
                  <a:cubicBezTo>
                    <a:pt x="105" y="79"/>
                    <a:pt x="110" y="76"/>
                    <a:pt x="115" y="72"/>
                  </a:cubicBezTo>
                  <a:cubicBezTo>
                    <a:pt x="120" y="68"/>
                    <a:pt x="124" y="64"/>
                    <a:pt x="127" y="61"/>
                  </a:cubicBezTo>
                  <a:cubicBezTo>
                    <a:pt x="131" y="57"/>
                    <a:pt x="132" y="54"/>
                    <a:pt x="131" y="52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6" y="45"/>
                    <a:pt x="123" y="45"/>
                    <a:pt x="121" y="46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21" y="42"/>
                    <a:pt x="122" y="39"/>
                    <a:pt x="120" y="38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6" y="18"/>
                    <a:pt x="103" y="18"/>
                    <a:pt x="101" y="19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1" y="15"/>
                    <a:pt x="102" y="13"/>
                    <a:pt x="101" y="11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3" y="0"/>
                    <a:pt x="76" y="12"/>
                    <a:pt x="73" y="15"/>
                  </a:cubicBezTo>
                  <a:cubicBezTo>
                    <a:pt x="68" y="18"/>
                    <a:pt x="63" y="22"/>
                    <a:pt x="60" y="26"/>
                  </a:cubicBezTo>
                  <a:cubicBezTo>
                    <a:pt x="56" y="30"/>
                    <a:pt x="55" y="33"/>
                    <a:pt x="57" y="35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2" y="42"/>
                    <a:pt x="65" y="42"/>
                    <a:pt x="67" y="41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7" y="45"/>
                    <a:pt x="66" y="47"/>
                    <a:pt x="67" y="49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59" y="58"/>
                    <a:pt x="52" y="61"/>
                    <a:pt x="50" y="62"/>
                  </a:cubicBezTo>
                  <a:cubicBezTo>
                    <a:pt x="50" y="63"/>
                    <a:pt x="48" y="64"/>
                    <a:pt x="49" y="66"/>
                  </a:cubicBezTo>
                  <a:cubicBezTo>
                    <a:pt x="32" y="75"/>
                    <a:pt x="13" y="86"/>
                    <a:pt x="8" y="90"/>
                  </a:cubicBezTo>
                  <a:cubicBezTo>
                    <a:pt x="4" y="93"/>
                    <a:pt x="1" y="96"/>
                    <a:pt x="1" y="99"/>
                  </a:cubicBezTo>
                  <a:cubicBezTo>
                    <a:pt x="0" y="102"/>
                    <a:pt x="1" y="106"/>
                    <a:pt x="3" y="109"/>
                  </a:cubicBezTo>
                  <a:cubicBezTo>
                    <a:pt x="5" y="112"/>
                    <a:pt x="8" y="113"/>
                    <a:pt x="11" y="114"/>
                  </a:cubicBezTo>
                  <a:cubicBezTo>
                    <a:pt x="11" y="114"/>
                    <a:pt x="12" y="114"/>
                    <a:pt x="12" y="114"/>
                  </a:cubicBezTo>
                  <a:cubicBezTo>
                    <a:pt x="15" y="114"/>
                    <a:pt x="19" y="112"/>
                    <a:pt x="23" y="110"/>
                  </a:cubicBezTo>
                  <a:cubicBezTo>
                    <a:pt x="28" y="106"/>
                    <a:pt x="44" y="93"/>
                    <a:pt x="59" y="80"/>
                  </a:cubicBezTo>
                  <a:cubicBezTo>
                    <a:pt x="61" y="81"/>
                    <a:pt x="62" y="80"/>
                    <a:pt x="63" y="80"/>
                  </a:cubicBezTo>
                  <a:close/>
                  <a:moveTo>
                    <a:pt x="57" y="77"/>
                  </a:moveTo>
                  <a:cubicBezTo>
                    <a:pt x="42" y="90"/>
                    <a:pt x="26" y="103"/>
                    <a:pt x="20" y="107"/>
                  </a:cubicBezTo>
                  <a:cubicBezTo>
                    <a:pt x="17" y="109"/>
                    <a:pt x="14" y="110"/>
                    <a:pt x="12" y="110"/>
                  </a:cubicBezTo>
                  <a:cubicBezTo>
                    <a:pt x="10" y="110"/>
                    <a:pt x="8" y="109"/>
                    <a:pt x="6" y="106"/>
                  </a:cubicBezTo>
                  <a:cubicBezTo>
                    <a:pt x="4" y="104"/>
                    <a:pt x="4" y="102"/>
                    <a:pt x="4" y="100"/>
                  </a:cubicBezTo>
                  <a:cubicBezTo>
                    <a:pt x="5" y="98"/>
                    <a:pt x="7" y="95"/>
                    <a:pt x="10" y="93"/>
                  </a:cubicBezTo>
                  <a:cubicBezTo>
                    <a:pt x="14" y="90"/>
                    <a:pt x="31" y="80"/>
                    <a:pt x="51" y="69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2" y="65"/>
                    <a:pt x="52" y="65"/>
                    <a:pt x="53" y="65"/>
                  </a:cubicBezTo>
                  <a:cubicBezTo>
                    <a:pt x="54" y="64"/>
                    <a:pt x="62" y="60"/>
                    <a:pt x="69" y="58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1" y="47"/>
                    <a:pt x="71" y="46"/>
                    <a:pt x="72" y="44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38"/>
                    <a:pt x="64" y="38"/>
                    <a:pt x="64" y="38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31"/>
                    <a:pt x="65" y="25"/>
                    <a:pt x="75" y="18"/>
                  </a:cubicBezTo>
                  <a:cubicBezTo>
                    <a:pt x="85" y="10"/>
                    <a:pt x="92" y="7"/>
                    <a:pt x="94" y="8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8" y="13"/>
                    <a:pt x="97" y="14"/>
                    <a:pt x="96" y="16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3" y="22"/>
                    <a:pt x="104" y="22"/>
                    <a:pt x="105" y="22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1"/>
                    <a:pt x="115" y="43"/>
                  </a:cubicBezTo>
                  <a:cubicBezTo>
                    <a:pt x="115" y="44"/>
                    <a:pt x="115" y="44"/>
                    <a:pt x="115" y="44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3" y="49"/>
                    <a:pt x="124" y="49"/>
                    <a:pt x="124" y="49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56"/>
                    <a:pt x="123" y="62"/>
                    <a:pt x="113" y="69"/>
                  </a:cubicBezTo>
                  <a:cubicBezTo>
                    <a:pt x="103" y="77"/>
                    <a:pt x="95" y="79"/>
                    <a:pt x="94" y="79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0" y="73"/>
                    <a:pt x="90" y="73"/>
                    <a:pt x="92" y="71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5" y="65"/>
                    <a:pt x="84" y="65"/>
                    <a:pt x="83" y="6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69" y="69"/>
                    <a:pt x="62" y="76"/>
                    <a:pt x="61" y="77"/>
                  </a:cubicBezTo>
                  <a:cubicBezTo>
                    <a:pt x="61" y="77"/>
                    <a:pt x="61" y="77"/>
                    <a:pt x="59" y="76"/>
                  </a:cubicBezTo>
                  <a:cubicBezTo>
                    <a:pt x="58" y="76"/>
                    <a:pt x="58" y="76"/>
                    <a:pt x="58" y="76"/>
                  </a:cubicBezTo>
                  <a:lnTo>
                    <a:pt x="57" y="7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06" name="Freeform 258"/>
            <p:cNvSpPr>
              <a:spLocks/>
            </p:cNvSpPr>
            <p:nvPr/>
          </p:nvSpPr>
          <p:spPr bwMode="auto">
            <a:xfrm>
              <a:off x="2568" y="2894"/>
              <a:ext cx="46" cy="10"/>
            </a:xfrm>
            <a:custGeom>
              <a:avLst/>
              <a:gdLst/>
              <a:ahLst/>
              <a:cxnLst>
                <a:cxn ang="0">
                  <a:pos x="19" y="4"/>
                </a:cxn>
                <a:cxn ang="0">
                  <a:pos x="19" y="1"/>
                </a:cxn>
                <a:cxn ang="0">
                  <a:pos x="1" y="0"/>
                </a:cxn>
                <a:cxn ang="0">
                  <a:pos x="0" y="3"/>
                </a:cxn>
                <a:cxn ang="0">
                  <a:pos x="13" y="4"/>
                </a:cxn>
                <a:cxn ang="0">
                  <a:pos x="19" y="4"/>
                </a:cxn>
              </a:cxnLst>
              <a:rect l="0" t="0" r="r" b="b"/>
              <a:pathLst>
                <a:path w="19" h="4">
                  <a:moveTo>
                    <a:pt x="19" y="4"/>
                  </a:moveTo>
                  <a:cubicBezTo>
                    <a:pt x="19" y="1"/>
                    <a:pt x="19" y="1"/>
                    <a:pt x="19" y="1"/>
                  </a:cubicBezTo>
                  <a:cubicBezTo>
                    <a:pt x="10" y="1"/>
                    <a:pt x="4" y="0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4"/>
                    <a:pt x="7" y="4"/>
                    <a:pt x="13" y="4"/>
                  </a:cubicBezTo>
                  <a:cubicBezTo>
                    <a:pt x="15" y="4"/>
                    <a:pt x="17" y="4"/>
                    <a:pt x="19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07" name="Freeform 259"/>
            <p:cNvSpPr>
              <a:spLocks noEditPoints="1"/>
            </p:cNvSpPr>
            <p:nvPr/>
          </p:nvSpPr>
          <p:spPr bwMode="auto">
            <a:xfrm>
              <a:off x="2522" y="2875"/>
              <a:ext cx="192" cy="93"/>
            </a:xfrm>
            <a:custGeom>
              <a:avLst/>
              <a:gdLst/>
              <a:ahLst/>
              <a:cxnLst>
                <a:cxn ang="0">
                  <a:pos x="71" y="11"/>
                </a:cxn>
                <a:cxn ang="0">
                  <a:pos x="71" y="8"/>
                </a:cxn>
                <a:cxn ang="0">
                  <a:pos x="40" y="0"/>
                </a:cxn>
                <a:cxn ang="0">
                  <a:pos x="9" y="8"/>
                </a:cxn>
                <a:cxn ang="0">
                  <a:pos x="9" y="11"/>
                </a:cxn>
                <a:cxn ang="0">
                  <a:pos x="0" y="18"/>
                </a:cxn>
                <a:cxn ang="0">
                  <a:pos x="0" y="29"/>
                </a:cxn>
                <a:cxn ang="0">
                  <a:pos x="40" y="39"/>
                </a:cxn>
                <a:cxn ang="0">
                  <a:pos x="80" y="29"/>
                </a:cxn>
                <a:cxn ang="0">
                  <a:pos x="80" y="18"/>
                </a:cxn>
                <a:cxn ang="0">
                  <a:pos x="71" y="11"/>
                </a:cxn>
                <a:cxn ang="0">
                  <a:pos x="66" y="33"/>
                </a:cxn>
                <a:cxn ang="0">
                  <a:pos x="40" y="35"/>
                </a:cxn>
                <a:cxn ang="0">
                  <a:pos x="14" y="33"/>
                </a:cxn>
                <a:cxn ang="0">
                  <a:pos x="3" y="29"/>
                </a:cxn>
                <a:cxn ang="0">
                  <a:pos x="3" y="18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12" y="8"/>
                </a:cxn>
                <a:cxn ang="0">
                  <a:pos x="40" y="4"/>
                </a:cxn>
                <a:cxn ang="0">
                  <a:pos x="67" y="8"/>
                </a:cxn>
                <a:cxn ang="0">
                  <a:pos x="67" y="14"/>
                </a:cxn>
                <a:cxn ang="0">
                  <a:pos x="68" y="14"/>
                </a:cxn>
                <a:cxn ang="0">
                  <a:pos x="76" y="18"/>
                </a:cxn>
                <a:cxn ang="0">
                  <a:pos x="76" y="29"/>
                </a:cxn>
                <a:cxn ang="0">
                  <a:pos x="66" y="33"/>
                </a:cxn>
              </a:cxnLst>
              <a:rect l="0" t="0" r="r" b="b"/>
              <a:pathLst>
                <a:path w="80" h="39">
                  <a:moveTo>
                    <a:pt x="71" y="11"/>
                  </a:moveTo>
                  <a:cubicBezTo>
                    <a:pt x="71" y="8"/>
                    <a:pt x="71" y="8"/>
                    <a:pt x="71" y="8"/>
                  </a:cubicBezTo>
                  <a:cubicBezTo>
                    <a:pt x="71" y="0"/>
                    <a:pt x="43" y="0"/>
                    <a:pt x="40" y="0"/>
                  </a:cubicBezTo>
                  <a:cubicBezTo>
                    <a:pt x="37" y="0"/>
                    <a:pt x="9" y="0"/>
                    <a:pt x="9" y="8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3" y="13"/>
                    <a:pt x="0" y="15"/>
                    <a:pt x="0" y="1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7"/>
                    <a:pt x="25" y="39"/>
                    <a:pt x="40" y="39"/>
                  </a:cubicBezTo>
                  <a:cubicBezTo>
                    <a:pt x="55" y="39"/>
                    <a:pt x="80" y="37"/>
                    <a:pt x="80" y="2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5"/>
                    <a:pt x="77" y="13"/>
                    <a:pt x="71" y="11"/>
                  </a:cubicBezTo>
                  <a:close/>
                  <a:moveTo>
                    <a:pt x="66" y="33"/>
                  </a:moveTo>
                  <a:cubicBezTo>
                    <a:pt x="59" y="35"/>
                    <a:pt x="49" y="35"/>
                    <a:pt x="40" y="35"/>
                  </a:cubicBezTo>
                  <a:cubicBezTo>
                    <a:pt x="30" y="35"/>
                    <a:pt x="21" y="35"/>
                    <a:pt x="14" y="33"/>
                  </a:cubicBezTo>
                  <a:cubicBezTo>
                    <a:pt x="6" y="32"/>
                    <a:pt x="4" y="30"/>
                    <a:pt x="3" y="29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4" y="16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4" y="7"/>
                    <a:pt x="23" y="4"/>
                    <a:pt x="40" y="4"/>
                  </a:cubicBezTo>
                  <a:cubicBezTo>
                    <a:pt x="56" y="4"/>
                    <a:pt x="66" y="7"/>
                    <a:pt x="67" y="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5" y="16"/>
                    <a:pt x="76" y="18"/>
                    <a:pt x="76" y="1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30"/>
                    <a:pt x="74" y="32"/>
                    <a:pt x="66" y="3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08" name="Freeform 260"/>
            <p:cNvSpPr>
              <a:spLocks/>
            </p:cNvSpPr>
            <p:nvPr/>
          </p:nvSpPr>
          <p:spPr bwMode="auto">
            <a:xfrm>
              <a:off x="2539" y="2918"/>
              <a:ext cx="77" cy="1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27" y="8"/>
                </a:cxn>
                <a:cxn ang="0">
                  <a:pos x="32" y="7"/>
                </a:cxn>
                <a:cxn ang="0">
                  <a:pos x="31" y="4"/>
                </a:cxn>
                <a:cxn ang="0">
                  <a:pos x="2" y="0"/>
                </a:cxn>
              </a:cxnLst>
              <a:rect l="0" t="0" r="r" b="b"/>
              <a:pathLst>
                <a:path w="32" h="8">
                  <a:moveTo>
                    <a:pt x="2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9" y="8"/>
                    <a:pt x="27" y="8"/>
                  </a:cubicBezTo>
                  <a:cubicBezTo>
                    <a:pt x="28" y="8"/>
                    <a:pt x="30" y="8"/>
                    <a:pt x="32" y="7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12" y="5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09" name="Freeform 261"/>
            <p:cNvSpPr>
              <a:spLocks noEditPoints="1"/>
            </p:cNvSpPr>
            <p:nvPr/>
          </p:nvSpPr>
          <p:spPr bwMode="auto">
            <a:xfrm>
              <a:off x="2316" y="259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12" name="Group 264"/>
          <p:cNvGrpSpPr>
            <a:grpSpLocks noChangeAspect="1"/>
          </p:cNvGrpSpPr>
          <p:nvPr/>
        </p:nvGrpSpPr>
        <p:grpSpPr bwMode="auto">
          <a:xfrm>
            <a:off x="4732338" y="4081463"/>
            <a:ext cx="836613" cy="839787"/>
            <a:chOff x="2984" y="2571"/>
            <a:chExt cx="527" cy="529"/>
          </a:xfrm>
        </p:grpSpPr>
        <p:sp>
          <p:nvSpPr>
            <p:cNvPr id="53513" name="Oval 265"/>
            <p:cNvSpPr>
              <a:spLocks noChangeArrowheads="1"/>
            </p:cNvSpPr>
            <p:nvPr/>
          </p:nvSpPr>
          <p:spPr bwMode="auto">
            <a:xfrm>
              <a:off x="2984" y="2571"/>
              <a:ext cx="527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14" name="Freeform 266"/>
            <p:cNvSpPr>
              <a:spLocks noEditPoints="1"/>
            </p:cNvSpPr>
            <p:nvPr/>
          </p:nvSpPr>
          <p:spPr bwMode="auto">
            <a:xfrm>
              <a:off x="3006" y="2592"/>
              <a:ext cx="483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3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8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1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1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2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2"/>
                    <a:pt x="197" y="76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15" name="Freeform 267"/>
            <p:cNvSpPr>
              <a:spLocks noEditPoints="1"/>
            </p:cNvSpPr>
            <p:nvPr/>
          </p:nvSpPr>
          <p:spPr bwMode="auto">
            <a:xfrm>
              <a:off x="3082" y="2707"/>
              <a:ext cx="307" cy="254"/>
            </a:xfrm>
            <a:custGeom>
              <a:avLst/>
              <a:gdLst/>
              <a:ahLst/>
              <a:cxnLst>
                <a:cxn ang="0">
                  <a:pos x="117" y="67"/>
                </a:cxn>
                <a:cxn ang="0">
                  <a:pos x="124" y="0"/>
                </a:cxn>
                <a:cxn ang="0">
                  <a:pos x="18" y="33"/>
                </a:cxn>
                <a:cxn ang="0">
                  <a:pos x="16" y="58"/>
                </a:cxn>
                <a:cxn ang="0">
                  <a:pos x="0" y="84"/>
                </a:cxn>
                <a:cxn ang="0">
                  <a:pos x="19" y="99"/>
                </a:cxn>
                <a:cxn ang="0">
                  <a:pos x="72" y="106"/>
                </a:cxn>
                <a:cxn ang="0">
                  <a:pos x="128" y="106"/>
                </a:cxn>
                <a:cxn ang="0">
                  <a:pos x="111" y="78"/>
                </a:cxn>
                <a:cxn ang="0">
                  <a:pos x="87" y="64"/>
                </a:cxn>
                <a:cxn ang="0">
                  <a:pos x="113" y="64"/>
                </a:cxn>
                <a:cxn ang="0">
                  <a:pos x="48" y="51"/>
                </a:cxn>
                <a:cxn ang="0">
                  <a:pos x="48" y="77"/>
                </a:cxn>
                <a:cxn ang="0">
                  <a:pos x="48" y="51"/>
                </a:cxn>
                <a:cxn ang="0">
                  <a:pos x="84" y="67"/>
                </a:cxn>
                <a:cxn ang="0">
                  <a:pos x="74" y="90"/>
                </a:cxn>
                <a:cxn ang="0">
                  <a:pos x="64" y="67"/>
                </a:cxn>
                <a:cxn ang="0">
                  <a:pos x="120" y="4"/>
                </a:cxn>
                <a:cxn ang="0">
                  <a:pos x="117" y="64"/>
                </a:cxn>
                <a:cxn ang="0">
                  <a:pos x="84" y="64"/>
                </a:cxn>
                <a:cxn ang="0">
                  <a:pos x="48" y="48"/>
                </a:cxn>
                <a:cxn ang="0">
                  <a:pos x="40" y="47"/>
                </a:cxn>
                <a:cxn ang="0">
                  <a:pos x="22" y="32"/>
                </a:cxn>
                <a:cxn ang="0">
                  <a:pos x="14" y="47"/>
                </a:cxn>
                <a:cxn ang="0">
                  <a:pos x="37" y="47"/>
                </a:cxn>
                <a:cxn ang="0">
                  <a:pos x="14" y="47"/>
                </a:cxn>
                <a:cxn ang="0">
                  <a:pos x="18" y="62"/>
                </a:cxn>
                <a:cxn ang="0">
                  <a:pos x="31" y="64"/>
                </a:cxn>
                <a:cxn ang="0">
                  <a:pos x="29" y="81"/>
                </a:cxn>
                <a:cxn ang="0">
                  <a:pos x="4" y="77"/>
                </a:cxn>
                <a:cxn ang="0">
                  <a:pos x="23" y="103"/>
                </a:cxn>
                <a:cxn ang="0">
                  <a:pos x="28" y="86"/>
                </a:cxn>
                <a:cxn ang="0">
                  <a:pos x="41" y="81"/>
                </a:cxn>
                <a:cxn ang="0">
                  <a:pos x="72" y="99"/>
                </a:cxn>
                <a:cxn ang="0">
                  <a:pos x="125" y="103"/>
                </a:cxn>
                <a:cxn ang="0">
                  <a:pos x="76" y="99"/>
                </a:cxn>
                <a:cxn ang="0">
                  <a:pos x="109" y="81"/>
                </a:cxn>
                <a:cxn ang="0">
                  <a:pos x="125" y="103"/>
                </a:cxn>
              </a:cxnLst>
              <a:rect l="0" t="0" r="r" b="b"/>
              <a:pathLst>
                <a:path w="128" h="106">
                  <a:moveTo>
                    <a:pt x="111" y="78"/>
                  </a:moveTo>
                  <a:cubicBezTo>
                    <a:pt x="114" y="75"/>
                    <a:pt x="116" y="72"/>
                    <a:pt x="117" y="67"/>
                  </a:cubicBezTo>
                  <a:cubicBezTo>
                    <a:pt x="124" y="67"/>
                    <a:pt x="124" y="67"/>
                    <a:pt x="124" y="67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4" y="36"/>
                    <a:pt x="10" y="41"/>
                    <a:pt x="10" y="47"/>
                  </a:cubicBezTo>
                  <a:cubicBezTo>
                    <a:pt x="10" y="51"/>
                    <a:pt x="12" y="55"/>
                    <a:pt x="16" y="58"/>
                  </a:cubicBezTo>
                  <a:cubicBezTo>
                    <a:pt x="7" y="59"/>
                    <a:pt x="0" y="67"/>
                    <a:pt x="0" y="7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1" y="88"/>
                    <a:pt x="19" y="93"/>
                    <a:pt x="19" y="99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72" y="106"/>
                    <a:pt x="72" y="106"/>
                    <a:pt x="72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88"/>
                    <a:pt x="121" y="78"/>
                    <a:pt x="111" y="78"/>
                  </a:cubicBezTo>
                  <a:close/>
                  <a:moveTo>
                    <a:pt x="100" y="77"/>
                  </a:moveTo>
                  <a:cubicBezTo>
                    <a:pt x="93" y="77"/>
                    <a:pt x="87" y="72"/>
                    <a:pt x="87" y="64"/>
                  </a:cubicBezTo>
                  <a:cubicBezTo>
                    <a:pt x="87" y="57"/>
                    <a:pt x="93" y="51"/>
                    <a:pt x="100" y="51"/>
                  </a:cubicBezTo>
                  <a:cubicBezTo>
                    <a:pt x="107" y="51"/>
                    <a:pt x="113" y="57"/>
                    <a:pt x="113" y="64"/>
                  </a:cubicBezTo>
                  <a:cubicBezTo>
                    <a:pt x="113" y="72"/>
                    <a:pt x="107" y="77"/>
                    <a:pt x="100" y="77"/>
                  </a:cubicBezTo>
                  <a:close/>
                  <a:moveTo>
                    <a:pt x="48" y="51"/>
                  </a:moveTo>
                  <a:cubicBezTo>
                    <a:pt x="55" y="51"/>
                    <a:pt x="61" y="57"/>
                    <a:pt x="61" y="64"/>
                  </a:cubicBezTo>
                  <a:cubicBezTo>
                    <a:pt x="61" y="72"/>
                    <a:pt x="55" y="77"/>
                    <a:pt x="48" y="77"/>
                  </a:cubicBezTo>
                  <a:cubicBezTo>
                    <a:pt x="40" y="77"/>
                    <a:pt x="34" y="72"/>
                    <a:pt x="34" y="64"/>
                  </a:cubicBezTo>
                  <a:cubicBezTo>
                    <a:pt x="34" y="57"/>
                    <a:pt x="40" y="51"/>
                    <a:pt x="48" y="51"/>
                  </a:cubicBezTo>
                  <a:close/>
                  <a:moveTo>
                    <a:pt x="64" y="67"/>
                  </a:moveTo>
                  <a:cubicBezTo>
                    <a:pt x="84" y="67"/>
                    <a:pt x="84" y="67"/>
                    <a:pt x="84" y="67"/>
                  </a:cubicBezTo>
                  <a:cubicBezTo>
                    <a:pt x="85" y="72"/>
                    <a:pt x="87" y="75"/>
                    <a:pt x="90" y="78"/>
                  </a:cubicBezTo>
                  <a:cubicBezTo>
                    <a:pt x="83" y="78"/>
                    <a:pt x="77" y="83"/>
                    <a:pt x="74" y="90"/>
                  </a:cubicBezTo>
                  <a:cubicBezTo>
                    <a:pt x="71" y="83"/>
                    <a:pt x="65" y="78"/>
                    <a:pt x="58" y="78"/>
                  </a:cubicBezTo>
                  <a:cubicBezTo>
                    <a:pt x="61" y="75"/>
                    <a:pt x="63" y="72"/>
                    <a:pt x="64" y="67"/>
                  </a:cubicBezTo>
                  <a:close/>
                  <a:moveTo>
                    <a:pt x="22" y="4"/>
                  </a:moveTo>
                  <a:cubicBezTo>
                    <a:pt x="120" y="4"/>
                    <a:pt x="120" y="4"/>
                    <a:pt x="120" y="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55"/>
                    <a:pt x="109" y="48"/>
                    <a:pt x="100" y="48"/>
                  </a:cubicBezTo>
                  <a:cubicBezTo>
                    <a:pt x="91" y="48"/>
                    <a:pt x="84" y="55"/>
                    <a:pt x="8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55"/>
                    <a:pt x="57" y="48"/>
                    <a:pt x="48" y="48"/>
                  </a:cubicBezTo>
                  <a:cubicBezTo>
                    <a:pt x="45" y="48"/>
                    <a:pt x="42" y="48"/>
                    <a:pt x="40" y="49"/>
                  </a:cubicBezTo>
                  <a:cubicBezTo>
                    <a:pt x="40" y="48"/>
                    <a:pt x="40" y="47"/>
                    <a:pt x="40" y="47"/>
                  </a:cubicBezTo>
                  <a:cubicBezTo>
                    <a:pt x="40" y="38"/>
                    <a:pt x="34" y="31"/>
                    <a:pt x="25" y="31"/>
                  </a:cubicBezTo>
                  <a:cubicBezTo>
                    <a:pt x="24" y="31"/>
                    <a:pt x="23" y="32"/>
                    <a:pt x="22" y="32"/>
                  </a:cubicBezTo>
                  <a:lnTo>
                    <a:pt x="22" y="4"/>
                  </a:lnTo>
                  <a:close/>
                  <a:moveTo>
                    <a:pt x="14" y="47"/>
                  </a:moveTo>
                  <a:cubicBezTo>
                    <a:pt x="14" y="40"/>
                    <a:pt x="19" y="35"/>
                    <a:pt x="25" y="35"/>
                  </a:cubicBezTo>
                  <a:cubicBezTo>
                    <a:pt x="32" y="35"/>
                    <a:pt x="37" y="40"/>
                    <a:pt x="37" y="47"/>
                  </a:cubicBezTo>
                  <a:cubicBezTo>
                    <a:pt x="37" y="53"/>
                    <a:pt x="32" y="58"/>
                    <a:pt x="25" y="58"/>
                  </a:cubicBezTo>
                  <a:cubicBezTo>
                    <a:pt x="19" y="58"/>
                    <a:pt x="14" y="53"/>
                    <a:pt x="14" y="47"/>
                  </a:cubicBezTo>
                  <a:close/>
                  <a:moveTo>
                    <a:pt x="4" y="77"/>
                  </a:moveTo>
                  <a:cubicBezTo>
                    <a:pt x="4" y="69"/>
                    <a:pt x="10" y="62"/>
                    <a:pt x="18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3"/>
                    <a:pt x="31" y="63"/>
                    <a:pt x="31" y="64"/>
                  </a:cubicBezTo>
                  <a:cubicBezTo>
                    <a:pt x="31" y="70"/>
                    <a:pt x="33" y="74"/>
                    <a:pt x="37" y="78"/>
                  </a:cubicBezTo>
                  <a:cubicBezTo>
                    <a:pt x="34" y="78"/>
                    <a:pt x="31" y="79"/>
                    <a:pt x="29" y="81"/>
                  </a:cubicBezTo>
                  <a:cubicBezTo>
                    <a:pt x="4" y="81"/>
                    <a:pt x="4" y="81"/>
                    <a:pt x="4" y="81"/>
                  </a:cubicBezTo>
                  <a:lnTo>
                    <a:pt x="4" y="77"/>
                  </a:lnTo>
                  <a:close/>
                  <a:moveTo>
                    <a:pt x="72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4"/>
                    <a:pt x="25" y="89"/>
                    <a:pt x="28" y="86"/>
                  </a:cubicBezTo>
                  <a:cubicBezTo>
                    <a:pt x="29" y="85"/>
                    <a:pt x="30" y="84"/>
                    <a:pt x="31" y="83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65" y="81"/>
                    <a:pt x="72" y="89"/>
                    <a:pt x="72" y="99"/>
                  </a:cubicBezTo>
                  <a:lnTo>
                    <a:pt x="72" y="103"/>
                  </a:lnTo>
                  <a:close/>
                  <a:moveTo>
                    <a:pt x="125" y="103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89"/>
                    <a:pt x="83" y="81"/>
                    <a:pt x="92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8" y="81"/>
                    <a:pt x="125" y="89"/>
                    <a:pt x="125" y="99"/>
                  </a:cubicBezTo>
                  <a:lnTo>
                    <a:pt x="125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18" name="Group 270"/>
          <p:cNvGrpSpPr>
            <a:grpSpLocks noChangeAspect="1"/>
          </p:cNvGrpSpPr>
          <p:nvPr/>
        </p:nvGrpSpPr>
        <p:grpSpPr bwMode="auto">
          <a:xfrm>
            <a:off x="5859458" y="4117972"/>
            <a:ext cx="768350" cy="768350"/>
            <a:chOff x="3694" y="2594"/>
            <a:chExt cx="484" cy="484"/>
          </a:xfrm>
        </p:grpSpPr>
        <p:sp>
          <p:nvSpPr>
            <p:cNvPr id="53519" name="Freeform 271"/>
            <p:cNvSpPr>
              <a:spLocks noEditPoints="1"/>
            </p:cNvSpPr>
            <p:nvPr/>
          </p:nvSpPr>
          <p:spPr bwMode="auto">
            <a:xfrm>
              <a:off x="3694" y="259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20" name="Freeform 272"/>
            <p:cNvSpPr>
              <a:spLocks noEditPoints="1"/>
            </p:cNvSpPr>
            <p:nvPr/>
          </p:nvSpPr>
          <p:spPr bwMode="auto">
            <a:xfrm>
              <a:off x="3771" y="2709"/>
              <a:ext cx="307" cy="254"/>
            </a:xfrm>
            <a:custGeom>
              <a:avLst/>
              <a:gdLst/>
              <a:ahLst/>
              <a:cxnLst>
                <a:cxn ang="0">
                  <a:pos x="117" y="67"/>
                </a:cxn>
                <a:cxn ang="0">
                  <a:pos x="124" y="0"/>
                </a:cxn>
                <a:cxn ang="0">
                  <a:pos x="18" y="33"/>
                </a:cxn>
                <a:cxn ang="0">
                  <a:pos x="16" y="58"/>
                </a:cxn>
                <a:cxn ang="0">
                  <a:pos x="0" y="84"/>
                </a:cxn>
                <a:cxn ang="0">
                  <a:pos x="19" y="98"/>
                </a:cxn>
                <a:cxn ang="0">
                  <a:pos x="72" y="106"/>
                </a:cxn>
                <a:cxn ang="0">
                  <a:pos x="128" y="106"/>
                </a:cxn>
                <a:cxn ang="0">
                  <a:pos x="111" y="77"/>
                </a:cxn>
                <a:cxn ang="0">
                  <a:pos x="87" y="64"/>
                </a:cxn>
                <a:cxn ang="0">
                  <a:pos x="113" y="64"/>
                </a:cxn>
                <a:cxn ang="0">
                  <a:pos x="48" y="51"/>
                </a:cxn>
                <a:cxn ang="0">
                  <a:pos x="48" y="77"/>
                </a:cxn>
                <a:cxn ang="0">
                  <a:pos x="48" y="51"/>
                </a:cxn>
                <a:cxn ang="0">
                  <a:pos x="84" y="67"/>
                </a:cxn>
                <a:cxn ang="0">
                  <a:pos x="74" y="89"/>
                </a:cxn>
                <a:cxn ang="0">
                  <a:pos x="64" y="67"/>
                </a:cxn>
                <a:cxn ang="0">
                  <a:pos x="120" y="4"/>
                </a:cxn>
                <a:cxn ang="0">
                  <a:pos x="117" y="63"/>
                </a:cxn>
                <a:cxn ang="0">
                  <a:pos x="84" y="63"/>
                </a:cxn>
                <a:cxn ang="0">
                  <a:pos x="48" y="47"/>
                </a:cxn>
                <a:cxn ang="0">
                  <a:pos x="40" y="46"/>
                </a:cxn>
                <a:cxn ang="0">
                  <a:pos x="22" y="31"/>
                </a:cxn>
                <a:cxn ang="0">
                  <a:pos x="14" y="46"/>
                </a:cxn>
                <a:cxn ang="0">
                  <a:pos x="37" y="46"/>
                </a:cxn>
                <a:cxn ang="0">
                  <a:pos x="14" y="46"/>
                </a:cxn>
                <a:cxn ang="0">
                  <a:pos x="18" y="61"/>
                </a:cxn>
                <a:cxn ang="0">
                  <a:pos x="31" y="64"/>
                </a:cxn>
                <a:cxn ang="0">
                  <a:pos x="29" y="80"/>
                </a:cxn>
                <a:cxn ang="0">
                  <a:pos x="4" y="77"/>
                </a:cxn>
                <a:cxn ang="0">
                  <a:pos x="23" y="102"/>
                </a:cxn>
                <a:cxn ang="0">
                  <a:pos x="28" y="86"/>
                </a:cxn>
                <a:cxn ang="0">
                  <a:pos x="41" y="81"/>
                </a:cxn>
                <a:cxn ang="0">
                  <a:pos x="72" y="98"/>
                </a:cxn>
                <a:cxn ang="0">
                  <a:pos x="125" y="102"/>
                </a:cxn>
                <a:cxn ang="0">
                  <a:pos x="76" y="98"/>
                </a:cxn>
                <a:cxn ang="0">
                  <a:pos x="109" y="81"/>
                </a:cxn>
                <a:cxn ang="0">
                  <a:pos x="125" y="102"/>
                </a:cxn>
              </a:cxnLst>
              <a:rect l="0" t="0" r="r" b="b"/>
              <a:pathLst>
                <a:path w="128" h="106">
                  <a:moveTo>
                    <a:pt x="111" y="77"/>
                  </a:moveTo>
                  <a:cubicBezTo>
                    <a:pt x="114" y="75"/>
                    <a:pt x="116" y="71"/>
                    <a:pt x="117" y="67"/>
                  </a:cubicBezTo>
                  <a:cubicBezTo>
                    <a:pt x="124" y="67"/>
                    <a:pt x="124" y="67"/>
                    <a:pt x="124" y="67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4" y="35"/>
                    <a:pt x="10" y="40"/>
                    <a:pt x="10" y="46"/>
                  </a:cubicBezTo>
                  <a:cubicBezTo>
                    <a:pt x="10" y="51"/>
                    <a:pt x="12" y="55"/>
                    <a:pt x="16" y="58"/>
                  </a:cubicBezTo>
                  <a:cubicBezTo>
                    <a:pt x="7" y="59"/>
                    <a:pt x="0" y="67"/>
                    <a:pt x="0" y="7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1" y="88"/>
                    <a:pt x="19" y="93"/>
                    <a:pt x="19" y="98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72" y="106"/>
                    <a:pt x="72" y="106"/>
                    <a:pt x="72" y="106"/>
                  </a:cubicBezTo>
                  <a:cubicBezTo>
                    <a:pt x="76" y="106"/>
                    <a:pt x="76" y="106"/>
                    <a:pt x="76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87"/>
                    <a:pt x="121" y="78"/>
                    <a:pt x="111" y="77"/>
                  </a:cubicBezTo>
                  <a:close/>
                  <a:moveTo>
                    <a:pt x="100" y="77"/>
                  </a:moveTo>
                  <a:cubicBezTo>
                    <a:pt x="93" y="77"/>
                    <a:pt x="87" y="71"/>
                    <a:pt x="87" y="64"/>
                  </a:cubicBezTo>
                  <a:cubicBezTo>
                    <a:pt x="87" y="57"/>
                    <a:pt x="93" y="51"/>
                    <a:pt x="100" y="51"/>
                  </a:cubicBezTo>
                  <a:cubicBezTo>
                    <a:pt x="107" y="51"/>
                    <a:pt x="113" y="57"/>
                    <a:pt x="113" y="64"/>
                  </a:cubicBezTo>
                  <a:cubicBezTo>
                    <a:pt x="113" y="71"/>
                    <a:pt x="107" y="77"/>
                    <a:pt x="100" y="77"/>
                  </a:cubicBezTo>
                  <a:close/>
                  <a:moveTo>
                    <a:pt x="48" y="51"/>
                  </a:moveTo>
                  <a:cubicBezTo>
                    <a:pt x="55" y="51"/>
                    <a:pt x="61" y="57"/>
                    <a:pt x="61" y="64"/>
                  </a:cubicBezTo>
                  <a:cubicBezTo>
                    <a:pt x="61" y="71"/>
                    <a:pt x="55" y="77"/>
                    <a:pt x="48" y="77"/>
                  </a:cubicBezTo>
                  <a:cubicBezTo>
                    <a:pt x="40" y="77"/>
                    <a:pt x="34" y="71"/>
                    <a:pt x="34" y="64"/>
                  </a:cubicBezTo>
                  <a:cubicBezTo>
                    <a:pt x="34" y="57"/>
                    <a:pt x="40" y="51"/>
                    <a:pt x="48" y="51"/>
                  </a:cubicBezTo>
                  <a:close/>
                  <a:moveTo>
                    <a:pt x="64" y="67"/>
                  </a:moveTo>
                  <a:cubicBezTo>
                    <a:pt x="84" y="67"/>
                    <a:pt x="84" y="67"/>
                    <a:pt x="84" y="67"/>
                  </a:cubicBezTo>
                  <a:cubicBezTo>
                    <a:pt x="85" y="71"/>
                    <a:pt x="87" y="75"/>
                    <a:pt x="90" y="77"/>
                  </a:cubicBezTo>
                  <a:cubicBezTo>
                    <a:pt x="83" y="78"/>
                    <a:pt x="77" y="83"/>
                    <a:pt x="74" y="89"/>
                  </a:cubicBezTo>
                  <a:cubicBezTo>
                    <a:pt x="71" y="83"/>
                    <a:pt x="65" y="78"/>
                    <a:pt x="58" y="77"/>
                  </a:cubicBezTo>
                  <a:cubicBezTo>
                    <a:pt x="61" y="75"/>
                    <a:pt x="63" y="71"/>
                    <a:pt x="64" y="67"/>
                  </a:cubicBezTo>
                  <a:close/>
                  <a:moveTo>
                    <a:pt x="22" y="4"/>
                  </a:moveTo>
                  <a:cubicBezTo>
                    <a:pt x="120" y="4"/>
                    <a:pt x="120" y="4"/>
                    <a:pt x="120" y="4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7" y="54"/>
                    <a:pt x="109" y="47"/>
                    <a:pt x="100" y="47"/>
                  </a:cubicBezTo>
                  <a:cubicBezTo>
                    <a:pt x="91" y="47"/>
                    <a:pt x="84" y="54"/>
                    <a:pt x="8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54"/>
                    <a:pt x="57" y="47"/>
                    <a:pt x="48" y="47"/>
                  </a:cubicBezTo>
                  <a:cubicBezTo>
                    <a:pt x="45" y="47"/>
                    <a:pt x="42" y="48"/>
                    <a:pt x="40" y="49"/>
                  </a:cubicBezTo>
                  <a:cubicBezTo>
                    <a:pt x="40" y="48"/>
                    <a:pt x="40" y="47"/>
                    <a:pt x="40" y="46"/>
                  </a:cubicBezTo>
                  <a:cubicBezTo>
                    <a:pt x="40" y="38"/>
                    <a:pt x="34" y="31"/>
                    <a:pt x="25" y="31"/>
                  </a:cubicBezTo>
                  <a:cubicBezTo>
                    <a:pt x="24" y="31"/>
                    <a:pt x="23" y="31"/>
                    <a:pt x="22" y="31"/>
                  </a:cubicBezTo>
                  <a:lnTo>
                    <a:pt x="22" y="4"/>
                  </a:lnTo>
                  <a:close/>
                  <a:moveTo>
                    <a:pt x="14" y="46"/>
                  </a:moveTo>
                  <a:cubicBezTo>
                    <a:pt x="14" y="40"/>
                    <a:pt x="19" y="35"/>
                    <a:pt x="25" y="35"/>
                  </a:cubicBezTo>
                  <a:cubicBezTo>
                    <a:pt x="32" y="35"/>
                    <a:pt x="37" y="40"/>
                    <a:pt x="37" y="46"/>
                  </a:cubicBezTo>
                  <a:cubicBezTo>
                    <a:pt x="37" y="52"/>
                    <a:pt x="32" y="58"/>
                    <a:pt x="25" y="58"/>
                  </a:cubicBezTo>
                  <a:cubicBezTo>
                    <a:pt x="19" y="58"/>
                    <a:pt x="14" y="52"/>
                    <a:pt x="14" y="46"/>
                  </a:cubicBezTo>
                  <a:close/>
                  <a:moveTo>
                    <a:pt x="4" y="77"/>
                  </a:moveTo>
                  <a:cubicBezTo>
                    <a:pt x="4" y="68"/>
                    <a:pt x="10" y="61"/>
                    <a:pt x="18" y="61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1" y="62"/>
                    <a:pt x="31" y="63"/>
                    <a:pt x="31" y="64"/>
                  </a:cubicBezTo>
                  <a:cubicBezTo>
                    <a:pt x="31" y="69"/>
                    <a:pt x="33" y="74"/>
                    <a:pt x="37" y="77"/>
                  </a:cubicBezTo>
                  <a:cubicBezTo>
                    <a:pt x="34" y="77"/>
                    <a:pt x="31" y="78"/>
                    <a:pt x="29" y="80"/>
                  </a:cubicBezTo>
                  <a:cubicBezTo>
                    <a:pt x="4" y="80"/>
                    <a:pt x="4" y="80"/>
                    <a:pt x="4" y="80"/>
                  </a:cubicBezTo>
                  <a:lnTo>
                    <a:pt x="4" y="77"/>
                  </a:lnTo>
                  <a:close/>
                  <a:moveTo>
                    <a:pt x="72" y="102"/>
                  </a:moveTo>
                  <a:cubicBezTo>
                    <a:pt x="23" y="102"/>
                    <a:pt x="23" y="102"/>
                    <a:pt x="23" y="102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3" y="93"/>
                    <a:pt x="25" y="89"/>
                    <a:pt x="28" y="86"/>
                  </a:cubicBezTo>
                  <a:cubicBezTo>
                    <a:pt x="29" y="85"/>
                    <a:pt x="30" y="84"/>
                    <a:pt x="31" y="83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65" y="81"/>
                    <a:pt x="72" y="88"/>
                    <a:pt x="72" y="98"/>
                  </a:cubicBezTo>
                  <a:lnTo>
                    <a:pt x="72" y="102"/>
                  </a:lnTo>
                  <a:close/>
                  <a:moveTo>
                    <a:pt x="125" y="102"/>
                  </a:moveTo>
                  <a:cubicBezTo>
                    <a:pt x="76" y="102"/>
                    <a:pt x="76" y="102"/>
                    <a:pt x="76" y="102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76" y="88"/>
                    <a:pt x="83" y="81"/>
                    <a:pt x="92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18" y="81"/>
                    <a:pt x="125" y="88"/>
                    <a:pt x="125" y="98"/>
                  </a:cubicBezTo>
                  <a:lnTo>
                    <a:pt x="125" y="10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523" name="Group 275"/>
          <p:cNvGrpSpPr>
            <a:grpSpLocks noChangeAspect="1"/>
          </p:cNvGrpSpPr>
          <p:nvPr/>
        </p:nvGrpSpPr>
        <p:grpSpPr bwMode="auto">
          <a:xfrm>
            <a:off x="6920706" y="4084638"/>
            <a:ext cx="836612" cy="836612"/>
            <a:chOff x="4361" y="2573"/>
            <a:chExt cx="527" cy="527"/>
          </a:xfrm>
        </p:grpSpPr>
        <p:sp>
          <p:nvSpPr>
            <p:cNvPr id="53524" name="Oval 276"/>
            <p:cNvSpPr>
              <a:spLocks noChangeArrowheads="1"/>
            </p:cNvSpPr>
            <p:nvPr/>
          </p:nvSpPr>
          <p:spPr bwMode="auto">
            <a:xfrm>
              <a:off x="4361" y="2573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25" name="Freeform 277"/>
            <p:cNvSpPr>
              <a:spLocks noEditPoints="1"/>
            </p:cNvSpPr>
            <p:nvPr/>
          </p:nvSpPr>
          <p:spPr bwMode="auto">
            <a:xfrm>
              <a:off x="4383" y="2595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26" name="Freeform 278"/>
            <p:cNvSpPr>
              <a:spLocks noEditPoints="1"/>
            </p:cNvSpPr>
            <p:nvPr/>
          </p:nvSpPr>
          <p:spPr bwMode="auto">
            <a:xfrm>
              <a:off x="4512" y="2702"/>
              <a:ext cx="234" cy="27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1" y="0"/>
                </a:cxn>
                <a:cxn ang="0">
                  <a:pos x="31" y="8"/>
                </a:cxn>
                <a:cxn ang="0">
                  <a:pos x="31" y="29"/>
                </a:cxn>
                <a:cxn ang="0">
                  <a:pos x="10" y="29"/>
                </a:cxn>
                <a:cxn ang="0">
                  <a:pos x="0" y="29"/>
                </a:cxn>
                <a:cxn ang="0">
                  <a:pos x="0" y="39"/>
                </a:cxn>
                <a:cxn ang="0">
                  <a:pos x="0" y="268"/>
                </a:cxn>
                <a:cxn ang="0">
                  <a:pos x="0" y="278"/>
                </a:cxn>
                <a:cxn ang="0">
                  <a:pos x="10" y="278"/>
                </a:cxn>
                <a:cxn ang="0">
                  <a:pos x="194" y="278"/>
                </a:cxn>
                <a:cxn ang="0">
                  <a:pos x="203" y="278"/>
                </a:cxn>
                <a:cxn ang="0">
                  <a:pos x="203" y="268"/>
                </a:cxn>
                <a:cxn ang="0">
                  <a:pos x="203" y="249"/>
                </a:cxn>
                <a:cxn ang="0">
                  <a:pos x="225" y="249"/>
                </a:cxn>
                <a:cxn ang="0">
                  <a:pos x="234" y="249"/>
                </a:cxn>
                <a:cxn ang="0">
                  <a:pos x="234" y="240"/>
                </a:cxn>
                <a:cxn ang="0">
                  <a:pos x="234" y="8"/>
                </a:cxn>
                <a:cxn ang="0">
                  <a:pos x="234" y="0"/>
                </a:cxn>
                <a:cxn ang="0">
                  <a:pos x="225" y="0"/>
                </a:cxn>
                <a:cxn ang="0">
                  <a:pos x="41" y="0"/>
                </a:cxn>
                <a:cxn ang="0">
                  <a:pos x="194" y="268"/>
                </a:cxn>
                <a:cxn ang="0">
                  <a:pos x="10" y="268"/>
                </a:cxn>
                <a:cxn ang="0">
                  <a:pos x="10" y="39"/>
                </a:cxn>
                <a:cxn ang="0">
                  <a:pos x="31" y="39"/>
                </a:cxn>
                <a:cxn ang="0">
                  <a:pos x="31" y="240"/>
                </a:cxn>
                <a:cxn ang="0">
                  <a:pos x="31" y="249"/>
                </a:cxn>
                <a:cxn ang="0">
                  <a:pos x="41" y="249"/>
                </a:cxn>
                <a:cxn ang="0">
                  <a:pos x="194" y="249"/>
                </a:cxn>
                <a:cxn ang="0">
                  <a:pos x="194" y="268"/>
                </a:cxn>
                <a:cxn ang="0">
                  <a:pos x="225" y="240"/>
                </a:cxn>
                <a:cxn ang="0">
                  <a:pos x="203" y="240"/>
                </a:cxn>
                <a:cxn ang="0">
                  <a:pos x="194" y="240"/>
                </a:cxn>
                <a:cxn ang="0">
                  <a:pos x="41" y="240"/>
                </a:cxn>
                <a:cxn ang="0">
                  <a:pos x="41" y="39"/>
                </a:cxn>
                <a:cxn ang="0">
                  <a:pos x="41" y="29"/>
                </a:cxn>
                <a:cxn ang="0">
                  <a:pos x="41" y="8"/>
                </a:cxn>
                <a:cxn ang="0">
                  <a:pos x="225" y="8"/>
                </a:cxn>
                <a:cxn ang="0">
                  <a:pos x="225" y="240"/>
                </a:cxn>
              </a:cxnLst>
              <a:rect l="0" t="0" r="r" b="b"/>
              <a:pathLst>
                <a:path w="234" h="278">
                  <a:moveTo>
                    <a:pt x="41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31" y="2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0" y="39"/>
                  </a:lnTo>
                  <a:lnTo>
                    <a:pt x="0" y="268"/>
                  </a:lnTo>
                  <a:lnTo>
                    <a:pt x="0" y="278"/>
                  </a:lnTo>
                  <a:lnTo>
                    <a:pt x="10" y="278"/>
                  </a:lnTo>
                  <a:lnTo>
                    <a:pt x="194" y="278"/>
                  </a:lnTo>
                  <a:lnTo>
                    <a:pt x="203" y="278"/>
                  </a:lnTo>
                  <a:lnTo>
                    <a:pt x="203" y="268"/>
                  </a:lnTo>
                  <a:lnTo>
                    <a:pt x="203" y="249"/>
                  </a:lnTo>
                  <a:lnTo>
                    <a:pt x="225" y="249"/>
                  </a:lnTo>
                  <a:lnTo>
                    <a:pt x="234" y="249"/>
                  </a:lnTo>
                  <a:lnTo>
                    <a:pt x="234" y="240"/>
                  </a:lnTo>
                  <a:lnTo>
                    <a:pt x="234" y="8"/>
                  </a:lnTo>
                  <a:lnTo>
                    <a:pt x="234" y="0"/>
                  </a:lnTo>
                  <a:lnTo>
                    <a:pt x="225" y="0"/>
                  </a:lnTo>
                  <a:lnTo>
                    <a:pt x="41" y="0"/>
                  </a:lnTo>
                  <a:close/>
                  <a:moveTo>
                    <a:pt x="194" y="268"/>
                  </a:moveTo>
                  <a:lnTo>
                    <a:pt x="10" y="268"/>
                  </a:lnTo>
                  <a:lnTo>
                    <a:pt x="10" y="39"/>
                  </a:lnTo>
                  <a:lnTo>
                    <a:pt x="31" y="39"/>
                  </a:lnTo>
                  <a:lnTo>
                    <a:pt x="31" y="240"/>
                  </a:lnTo>
                  <a:lnTo>
                    <a:pt x="31" y="249"/>
                  </a:lnTo>
                  <a:lnTo>
                    <a:pt x="41" y="249"/>
                  </a:lnTo>
                  <a:lnTo>
                    <a:pt x="194" y="249"/>
                  </a:lnTo>
                  <a:lnTo>
                    <a:pt x="194" y="268"/>
                  </a:lnTo>
                  <a:close/>
                  <a:moveTo>
                    <a:pt x="225" y="240"/>
                  </a:moveTo>
                  <a:lnTo>
                    <a:pt x="203" y="240"/>
                  </a:lnTo>
                  <a:lnTo>
                    <a:pt x="194" y="240"/>
                  </a:lnTo>
                  <a:lnTo>
                    <a:pt x="41" y="240"/>
                  </a:lnTo>
                  <a:lnTo>
                    <a:pt x="41" y="39"/>
                  </a:lnTo>
                  <a:lnTo>
                    <a:pt x="41" y="29"/>
                  </a:lnTo>
                  <a:lnTo>
                    <a:pt x="41" y="8"/>
                  </a:lnTo>
                  <a:lnTo>
                    <a:pt x="225" y="8"/>
                  </a:lnTo>
                  <a:lnTo>
                    <a:pt x="225" y="2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27" name="Rectangle 279"/>
            <p:cNvSpPr>
              <a:spLocks noChangeArrowheads="1"/>
            </p:cNvSpPr>
            <p:nvPr/>
          </p:nvSpPr>
          <p:spPr bwMode="auto">
            <a:xfrm>
              <a:off x="4569" y="2734"/>
              <a:ext cx="44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28" name="Rectangle 280"/>
            <p:cNvSpPr>
              <a:spLocks noChangeArrowheads="1"/>
            </p:cNvSpPr>
            <p:nvPr/>
          </p:nvSpPr>
          <p:spPr bwMode="auto">
            <a:xfrm>
              <a:off x="4569" y="2762"/>
              <a:ext cx="63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29" name="Rectangle 281"/>
            <p:cNvSpPr>
              <a:spLocks noChangeArrowheads="1"/>
            </p:cNvSpPr>
            <p:nvPr/>
          </p:nvSpPr>
          <p:spPr bwMode="auto">
            <a:xfrm>
              <a:off x="4569" y="2793"/>
              <a:ext cx="63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0" name="Rectangle 282"/>
            <p:cNvSpPr>
              <a:spLocks noChangeArrowheads="1"/>
            </p:cNvSpPr>
            <p:nvPr/>
          </p:nvSpPr>
          <p:spPr bwMode="auto">
            <a:xfrm>
              <a:off x="4569" y="2822"/>
              <a:ext cx="63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1" name="Rectangle 283"/>
            <p:cNvSpPr>
              <a:spLocks noChangeArrowheads="1"/>
            </p:cNvSpPr>
            <p:nvPr/>
          </p:nvSpPr>
          <p:spPr bwMode="auto">
            <a:xfrm>
              <a:off x="4569" y="2851"/>
              <a:ext cx="14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2" name="Rectangle 284"/>
            <p:cNvSpPr>
              <a:spLocks noChangeArrowheads="1"/>
            </p:cNvSpPr>
            <p:nvPr/>
          </p:nvSpPr>
          <p:spPr bwMode="auto">
            <a:xfrm>
              <a:off x="4569" y="2880"/>
              <a:ext cx="14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3" name="Rectangle 285"/>
            <p:cNvSpPr>
              <a:spLocks noChangeArrowheads="1"/>
            </p:cNvSpPr>
            <p:nvPr/>
          </p:nvSpPr>
          <p:spPr bwMode="auto">
            <a:xfrm>
              <a:off x="4569" y="2911"/>
              <a:ext cx="14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4" name="Freeform 286"/>
            <p:cNvSpPr>
              <a:spLocks noEditPoints="1"/>
            </p:cNvSpPr>
            <p:nvPr/>
          </p:nvSpPr>
          <p:spPr bwMode="auto">
            <a:xfrm>
              <a:off x="4648" y="2734"/>
              <a:ext cx="70" cy="98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0" y="0"/>
                </a:cxn>
                <a:cxn ang="0">
                  <a:pos x="0" y="98"/>
                </a:cxn>
                <a:cxn ang="0">
                  <a:pos x="70" y="98"/>
                </a:cxn>
                <a:cxn ang="0">
                  <a:pos x="70" y="0"/>
                </a:cxn>
                <a:cxn ang="0">
                  <a:pos x="63" y="88"/>
                </a:cxn>
                <a:cxn ang="0">
                  <a:pos x="10" y="88"/>
                </a:cxn>
                <a:cxn ang="0">
                  <a:pos x="10" y="7"/>
                </a:cxn>
                <a:cxn ang="0">
                  <a:pos x="63" y="7"/>
                </a:cxn>
                <a:cxn ang="0">
                  <a:pos x="63" y="88"/>
                </a:cxn>
              </a:cxnLst>
              <a:rect l="0" t="0" r="r" b="b"/>
              <a:pathLst>
                <a:path w="70" h="98">
                  <a:moveTo>
                    <a:pt x="70" y="0"/>
                  </a:moveTo>
                  <a:lnTo>
                    <a:pt x="0" y="0"/>
                  </a:lnTo>
                  <a:lnTo>
                    <a:pt x="0" y="98"/>
                  </a:lnTo>
                  <a:lnTo>
                    <a:pt x="70" y="98"/>
                  </a:lnTo>
                  <a:lnTo>
                    <a:pt x="70" y="0"/>
                  </a:lnTo>
                  <a:close/>
                  <a:moveTo>
                    <a:pt x="63" y="88"/>
                  </a:moveTo>
                  <a:lnTo>
                    <a:pt x="10" y="88"/>
                  </a:lnTo>
                  <a:lnTo>
                    <a:pt x="10" y="7"/>
                  </a:lnTo>
                  <a:lnTo>
                    <a:pt x="63" y="7"/>
                  </a:lnTo>
                  <a:lnTo>
                    <a:pt x="63" y="8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37" name="Group 289"/>
          <p:cNvGrpSpPr>
            <a:grpSpLocks noChangeAspect="1"/>
          </p:cNvGrpSpPr>
          <p:nvPr/>
        </p:nvGrpSpPr>
        <p:grpSpPr bwMode="auto">
          <a:xfrm>
            <a:off x="8050218" y="4117972"/>
            <a:ext cx="768350" cy="768350"/>
            <a:chOff x="5071" y="2594"/>
            <a:chExt cx="484" cy="484"/>
          </a:xfrm>
        </p:grpSpPr>
        <p:sp>
          <p:nvSpPr>
            <p:cNvPr id="53538" name="Freeform 290"/>
            <p:cNvSpPr>
              <a:spLocks noEditPoints="1"/>
            </p:cNvSpPr>
            <p:nvPr/>
          </p:nvSpPr>
          <p:spPr bwMode="auto">
            <a:xfrm>
              <a:off x="5071" y="259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39" name="Freeform 291"/>
            <p:cNvSpPr>
              <a:spLocks noEditPoints="1"/>
            </p:cNvSpPr>
            <p:nvPr/>
          </p:nvSpPr>
          <p:spPr bwMode="auto">
            <a:xfrm>
              <a:off x="5201" y="2702"/>
              <a:ext cx="235" cy="27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1" y="0"/>
                </a:cxn>
                <a:cxn ang="0">
                  <a:pos x="31" y="7"/>
                </a:cxn>
                <a:cxn ang="0">
                  <a:pos x="31" y="29"/>
                </a:cxn>
                <a:cxn ang="0">
                  <a:pos x="9" y="29"/>
                </a:cxn>
                <a:cxn ang="0">
                  <a:pos x="0" y="29"/>
                </a:cxn>
                <a:cxn ang="0">
                  <a:pos x="0" y="39"/>
                </a:cxn>
                <a:cxn ang="0">
                  <a:pos x="0" y="269"/>
                </a:cxn>
                <a:cxn ang="0">
                  <a:pos x="0" y="278"/>
                </a:cxn>
                <a:cxn ang="0">
                  <a:pos x="9" y="278"/>
                </a:cxn>
                <a:cxn ang="0">
                  <a:pos x="194" y="278"/>
                </a:cxn>
                <a:cxn ang="0">
                  <a:pos x="203" y="278"/>
                </a:cxn>
                <a:cxn ang="0">
                  <a:pos x="203" y="269"/>
                </a:cxn>
                <a:cxn ang="0">
                  <a:pos x="203" y="249"/>
                </a:cxn>
                <a:cxn ang="0">
                  <a:pos x="225" y="249"/>
                </a:cxn>
                <a:cxn ang="0">
                  <a:pos x="235" y="249"/>
                </a:cxn>
                <a:cxn ang="0">
                  <a:pos x="235" y="240"/>
                </a:cxn>
                <a:cxn ang="0">
                  <a:pos x="235" y="7"/>
                </a:cxn>
                <a:cxn ang="0">
                  <a:pos x="235" y="0"/>
                </a:cxn>
                <a:cxn ang="0">
                  <a:pos x="225" y="0"/>
                </a:cxn>
                <a:cxn ang="0">
                  <a:pos x="40" y="0"/>
                </a:cxn>
                <a:cxn ang="0">
                  <a:pos x="194" y="269"/>
                </a:cxn>
                <a:cxn ang="0">
                  <a:pos x="9" y="269"/>
                </a:cxn>
                <a:cxn ang="0">
                  <a:pos x="9" y="39"/>
                </a:cxn>
                <a:cxn ang="0">
                  <a:pos x="31" y="39"/>
                </a:cxn>
                <a:cxn ang="0">
                  <a:pos x="31" y="240"/>
                </a:cxn>
                <a:cxn ang="0">
                  <a:pos x="31" y="249"/>
                </a:cxn>
                <a:cxn ang="0">
                  <a:pos x="40" y="249"/>
                </a:cxn>
                <a:cxn ang="0">
                  <a:pos x="194" y="249"/>
                </a:cxn>
                <a:cxn ang="0">
                  <a:pos x="194" y="269"/>
                </a:cxn>
                <a:cxn ang="0">
                  <a:pos x="225" y="240"/>
                </a:cxn>
                <a:cxn ang="0">
                  <a:pos x="203" y="240"/>
                </a:cxn>
                <a:cxn ang="0">
                  <a:pos x="194" y="240"/>
                </a:cxn>
                <a:cxn ang="0">
                  <a:pos x="40" y="240"/>
                </a:cxn>
                <a:cxn ang="0">
                  <a:pos x="40" y="39"/>
                </a:cxn>
                <a:cxn ang="0">
                  <a:pos x="40" y="29"/>
                </a:cxn>
                <a:cxn ang="0">
                  <a:pos x="40" y="7"/>
                </a:cxn>
                <a:cxn ang="0">
                  <a:pos x="225" y="7"/>
                </a:cxn>
                <a:cxn ang="0">
                  <a:pos x="225" y="240"/>
                </a:cxn>
              </a:cxnLst>
              <a:rect l="0" t="0" r="r" b="b"/>
              <a:pathLst>
                <a:path w="235" h="278">
                  <a:moveTo>
                    <a:pt x="40" y="0"/>
                  </a:moveTo>
                  <a:lnTo>
                    <a:pt x="31" y="0"/>
                  </a:lnTo>
                  <a:lnTo>
                    <a:pt x="31" y="7"/>
                  </a:lnTo>
                  <a:lnTo>
                    <a:pt x="31" y="29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39"/>
                  </a:lnTo>
                  <a:lnTo>
                    <a:pt x="0" y="269"/>
                  </a:lnTo>
                  <a:lnTo>
                    <a:pt x="0" y="278"/>
                  </a:lnTo>
                  <a:lnTo>
                    <a:pt x="9" y="278"/>
                  </a:lnTo>
                  <a:lnTo>
                    <a:pt x="194" y="278"/>
                  </a:lnTo>
                  <a:lnTo>
                    <a:pt x="203" y="278"/>
                  </a:lnTo>
                  <a:lnTo>
                    <a:pt x="203" y="269"/>
                  </a:lnTo>
                  <a:lnTo>
                    <a:pt x="203" y="249"/>
                  </a:lnTo>
                  <a:lnTo>
                    <a:pt x="225" y="249"/>
                  </a:lnTo>
                  <a:lnTo>
                    <a:pt x="235" y="249"/>
                  </a:lnTo>
                  <a:lnTo>
                    <a:pt x="235" y="240"/>
                  </a:lnTo>
                  <a:lnTo>
                    <a:pt x="235" y="7"/>
                  </a:lnTo>
                  <a:lnTo>
                    <a:pt x="235" y="0"/>
                  </a:lnTo>
                  <a:lnTo>
                    <a:pt x="225" y="0"/>
                  </a:lnTo>
                  <a:lnTo>
                    <a:pt x="40" y="0"/>
                  </a:lnTo>
                  <a:close/>
                  <a:moveTo>
                    <a:pt x="194" y="269"/>
                  </a:moveTo>
                  <a:lnTo>
                    <a:pt x="9" y="269"/>
                  </a:lnTo>
                  <a:lnTo>
                    <a:pt x="9" y="39"/>
                  </a:lnTo>
                  <a:lnTo>
                    <a:pt x="31" y="39"/>
                  </a:lnTo>
                  <a:lnTo>
                    <a:pt x="31" y="240"/>
                  </a:lnTo>
                  <a:lnTo>
                    <a:pt x="31" y="249"/>
                  </a:lnTo>
                  <a:lnTo>
                    <a:pt x="40" y="249"/>
                  </a:lnTo>
                  <a:lnTo>
                    <a:pt x="194" y="249"/>
                  </a:lnTo>
                  <a:lnTo>
                    <a:pt x="194" y="269"/>
                  </a:lnTo>
                  <a:close/>
                  <a:moveTo>
                    <a:pt x="225" y="240"/>
                  </a:moveTo>
                  <a:lnTo>
                    <a:pt x="203" y="240"/>
                  </a:lnTo>
                  <a:lnTo>
                    <a:pt x="194" y="240"/>
                  </a:lnTo>
                  <a:lnTo>
                    <a:pt x="40" y="240"/>
                  </a:lnTo>
                  <a:lnTo>
                    <a:pt x="40" y="39"/>
                  </a:lnTo>
                  <a:lnTo>
                    <a:pt x="40" y="29"/>
                  </a:lnTo>
                  <a:lnTo>
                    <a:pt x="40" y="7"/>
                  </a:lnTo>
                  <a:lnTo>
                    <a:pt x="225" y="7"/>
                  </a:lnTo>
                  <a:lnTo>
                    <a:pt x="225" y="2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0" name="Rectangle 292"/>
            <p:cNvSpPr>
              <a:spLocks noChangeArrowheads="1"/>
            </p:cNvSpPr>
            <p:nvPr/>
          </p:nvSpPr>
          <p:spPr bwMode="auto">
            <a:xfrm>
              <a:off x="5258" y="2733"/>
              <a:ext cx="43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1" name="Rectangle 293"/>
            <p:cNvSpPr>
              <a:spLocks noChangeArrowheads="1"/>
            </p:cNvSpPr>
            <p:nvPr/>
          </p:nvSpPr>
          <p:spPr bwMode="auto">
            <a:xfrm>
              <a:off x="5258" y="2762"/>
              <a:ext cx="63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2" name="Rectangle 294"/>
            <p:cNvSpPr>
              <a:spLocks noChangeArrowheads="1"/>
            </p:cNvSpPr>
            <p:nvPr/>
          </p:nvSpPr>
          <p:spPr bwMode="auto">
            <a:xfrm>
              <a:off x="5258" y="2793"/>
              <a:ext cx="63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3" name="Rectangle 295"/>
            <p:cNvSpPr>
              <a:spLocks noChangeArrowheads="1"/>
            </p:cNvSpPr>
            <p:nvPr/>
          </p:nvSpPr>
          <p:spPr bwMode="auto">
            <a:xfrm>
              <a:off x="5258" y="2822"/>
              <a:ext cx="63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4" name="Rectangle 296"/>
            <p:cNvSpPr>
              <a:spLocks noChangeArrowheads="1"/>
            </p:cNvSpPr>
            <p:nvPr/>
          </p:nvSpPr>
          <p:spPr bwMode="auto">
            <a:xfrm>
              <a:off x="5258" y="2851"/>
              <a:ext cx="14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5" name="Rectangle 297"/>
            <p:cNvSpPr>
              <a:spLocks noChangeArrowheads="1"/>
            </p:cNvSpPr>
            <p:nvPr/>
          </p:nvSpPr>
          <p:spPr bwMode="auto">
            <a:xfrm>
              <a:off x="5258" y="2880"/>
              <a:ext cx="14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6" name="Rectangle 298"/>
            <p:cNvSpPr>
              <a:spLocks noChangeArrowheads="1"/>
            </p:cNvSpPr>
            <p:nvPr/>
          </p:nvSpPr>
          <p:spPr bwMode="auto">
            <a:xfrm>
              <a:off x="5258" y="2911"/>
              <a:ext cx="14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47" name="Freeform 299"/>
            <p:cNvSpPr>
              <a:spLocks noEditPoints="1"/>
            </p:cNvSpPr>
            <p:nvPr/>
          </p:nvSpPr>
          <p:spPr bwMode="auto">
            <a:xfrm>
              <a:off x="5337" y="2733"/>
              <a:ext cx="70" cy="99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0" y="0"/>
                </a:cxn>
                <a:cxn ang="0">
                  <a:pos x="0" y="99"/>
                </a:cxn>
                <a:cxn ang="0">
                  <a:pos x="70" y="99"/>
                </a:cxn>
                <a:cxn ang="0">
                  <a:pos x="70" y="0"/>
                </a:cxn>
                <a:cxn ang="0">
                  <a:pos x="63" y="89"/>
                </a:cxn>
                <a:cxn ang="0">
                  <a:pos x="10" y="89"/>
                </a:cxn>
                <a:cxn ang="0">
                  <a:pos x="10" y="8"/>
                </a:cxn>
                <a:cxn ang="0">
                  <a:pos x="63" y="8"/>
                </a:cxn>
                <a:cxn ang="0">
                  <a:pos x="63" y="89"/>
                </a:cxn>
              </a:cxnLst>
              <a:rect l="0" t="0" r="r" b="b"/>
              <a:pathLst>
                <a:path w="70" h="99">
                  <a:moveTo>
                    <a:pt x="70" y="0"/>
                  </a:moveTo>
                  <a:lnTo>
                    <a:pt x="0" y="0"/>
                  </a:lnTo>
                  <a:lnTo>
                    <a:pt x="0" y="99"/>
                  </a:lnTo>
                  <a:lnTo>
                    <a:pt x="70" y="99"/>
                  </a:lnTo>
                  <a:lnTo>
                    <a:pt x="70" y="0"/>
                  </a:lnTo>
                  <a:close/>
                  <a:moveTo>
                    <a:pt x="63" y="89"/>
                  </a:moveTo>
                  <a:lnTo>
                    <a:pt x="10" y="89"/>
                  </a:lnTo>
                  <a:lnTo>
                    <a:pt x="10" y="8"/>
                  </a:lnTo>
                  <a:lnTo>
                    <a:pt x="63" y="8"/>
                  </a:lnTo>
                  <a:lnTo>
                    <a:pt x="63" y="8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550" name="Group 302"/>
          <p:cNvGrpSpPr>
            <a:grpSpLocks noChangeAspect="1"/>
          </p:cNvGrpSpPr>
          <p:nvPr/>
        </p:nvGrpSpPr>
        <p:grpSpPr bwMode="auto">
          <a:xfrm>
            <a:off x="346869" y="5402263"/>
            <a:ext cx="838200" cy="836612"/>
            <a:chOff x="215" y="3403"/>
            <a:chExt cx="528" cy="527"/>
          </a:xfrm>
        </p:grpSpPr>
        <p:sp>
          <p:nvSpPr>
            <p:cNvPr id="53551" name="Oval 303"/>
            <p:cNvSpPr>
              <a:spLocks noChangeArrowheads="1"/>
            </p:cNvSpPr>
            <p:nvPr/>
          </p:nvSpPr>
          <p:spPr bwMode="auto">
            <a:xfrm>
              <a:off x="215" y="3403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52" name="Freeform 304"/>
            <p:cNvSpPr>
              <a:spLocks noEditPoints="1"/>
            </p:cNvSpPr>
            <p:nvPr/>
          </p:nvSpPr>
          <p:spPr bwMode="auto">
            <a:xfrm>
              <a:off x="237" y="3425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53" name="Freeform 305"/>
            <p:cNvSpPr>
              <a:spLocks noEditPoints="1"/>
            </p:cNvSpPr>
            <p:nvPr/>
          </p:nvSpPr>
          <p:spPr bwMode="auto">
            <a:xfrm>
              <a:off x="340" y="3544"/>
              <a:ext cx="122" cy="233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16" y="14"/>
                </a:cxn>
                <a:cxn ang="0">
                  <a:pos x="3" y="34"/>
                </a:cxn>
                <a:cxn ang="0">
                  <a:pos x="0" y="64"/>
                </a:cxn>
                <a:cxn ang="0">
                  <a:pos x="0" y="97"/>
                </a:cxn>
                <a:cxn ang="0">
                  <a:pos x="47" y="97"/>
                </a:cxn>
                <a:cxn ang="0">
                  <a:pos x="47" y="50"/>
                </a:cxn>
                <a:cxn ang="0">
                  <a:pos x="26" y="50"/>
                </a:cxn>
                <a:cxn ang="0">
                  <a:pos x="31" y="33"/>
                </a:cxn>
                <a:cxn ang="0">
                  <a:pos x="49" y="21"/>
                </a:cxn>
                <a:cxn ang="0">
                  <a:pos x="51" y="21"/>
                </a:cxn>
                <a:cxn ang="0">
                  <a:pos x="41" y="0"/>
                </a:cxn>
                <a:cxn ang="0">
                  <a:pos x="39" y="0"/>
                </a:cxn>
                <a:cxn ang="0">
                  <a:pos x="28" y="31"/>
                </a:cxn>
                <a:cxn ang="0">
                  <a:pos x="22" y="52"/>
                </a:cxn>
                <a:cxn ang="0">
                  <a:pos x="22" y="54"/>
                </a:cxn>
                <a:cxn ang="0">
                  <a:pos x="43" y="54"/>
                </a:cxn>
                <a:cxn ang="0">
                  <a:pos x="43" y="93"/>
                </a:cxn>
                <a:cxn ang="0">
                  <a:pos x="3" y="93"/>
                </a:cxn>
                <a:cxn ang="0">
                  <a:pos x="3" y="64"/>
                </a:cxn>
                <a:cxn ang="0">
                  <a:pos x="7" y="35"/>
                </a:cxn>
                <a:cxn ang="0">
                  <a:pos x="18" y="17"/>
                </a:cxn>
                <a:cxn ang="0">
                  <a:pos x="39" y="4"/>
                </a:cxn>
                <a:cxn ang="0">
                  <a:pos x="46" y="19"/>
                </a:cxn>
                <a:cxn ang="0">
                  <a:pos x="28" y="31"/>
                </a:cxn>
              </a:cxnLst>
              <a:rect l="0" t="0" r="r" b="b"/>
              <a:pathLst>
                <a:path w="51" h="97">
                  <a:moveTo>
                    <a:pt x="39" y="0"/>
                  </a:moveTo>
                  <a:cubicBezTo>
                    <a:pt x="30" y="3"/>
                    <a:pt x="22" y="8"/>
                    <a:pt x="16" y="14"/>
                  </a:cubicBezTo>
                  <a:cubicBezTo>
                    <a:pt x="10" y="20"/>
                    <a:pt x="5" y="27"/>
                    <a:pt x="3" y="34"/>
                  </a:cubicBezTo>
                  <a:cubicBezTo>
                    <a:pt x="1" y="42"/>
                    <a:pt x="0" y="52"/>
                    <a:pt x="0" y="64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43"/>
                    <a:pt x="28" y="37"/>
                    <a:pt x="31" y="33"/>
                  </a:cubicBezTo>
                  <a:cubicBezTo>
                    <a:pt x="35" y="28"/>
                    <a:pt x="41" y="24"/>
                    <a:pt x="49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1" y="0"/>
                    <a:pt x="41" y="0"/>
                    <a:pt x="41" y="0"/>
                  </a:cubicBezTo>
                  <a:lnTo>
                    <a:pt x="39" y="0"/>
                  </a:lnTo>
                  <a:close/>
                  <a:moveTo>
                    <a:pt x="28" y="31"/>
                  </a:moveTo>
                  <a:cubicBezTo>
                    <a:pt x="24" y="36"/>
                    <a:pt x="22" y="43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3" y="93"/>
                    <a:pt x="3" y="93"/>
                    <a:pt x="3" y="9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52"/>
                    <a:pt x="5" y="42"/>
                    <a:pt x="7" y="35"/>
                  </a:cubicBezTo>
                  <a:cubicBezTo>
                    <a:pt x="9" y="28"/>
                    <a:pt x="13" y="22"/>
                    <a:pt x="18" y="17"/>
                  </a:cubicBezTo>
                  <a:cubicBezTo>
                    <a:pt x="24" y="11"/>
                    <a:pt x="31" y="7"/>
                    <a:pt x="39" y="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38" y="21"/>
                    <a:pt x="32" y="26"/>
                    <a:pt x="28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54" name="Freeform 306"/>
            <p:cNvSpPr>
              <a:spLocks noEditPoints="1"/>
            </p:cNvSpPr>
            <p:nvPr/>
          </p:nvSpPr>
          <p:spPr bwMode="auto">
            <a:xfrm>
              <a:off x="493" y="3544"/>
              <a:ext cx="123" cy="233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17" y="14"/>
                </a:cxn>
                <a:cxn ang="0">
                  <a:pos x="4" y="34"/>
                </a:cxn>
                <a:cxn ang="0">
                  <a:pos x="0" y="64"/>
                </a:cxn>
                <a:cxn ang="0">
                  <a:pos x="0" y="97"/>
                </a:cxn>
                <a:cxn ang="0">
                  <a:pos x="47" y="97"/>
                </a:cxn>
                <a:cxn ang="0">
                  <a:pos x="47" y="50"/>
                </a:cxn>
                <a:cxn ang="0">
                  <a:pos x="26" y="50"/>
                </a:cxn>
                <a:cxn ang="0">
                  <a:pos x="32" y="33"/>
                </a:cxn>
                <a:cxn ang="0">
                  <a:pos x="49" y="21"/>
                </a:cxn>
                <a:cxn ang="0">
                  <a:pos x="51" y="21"/>
                </a:cxn>
                <a:cxn ang="0">
                  <a:pos x="41" y="0"/>
                </a:cxn>
                <a:cxn ang="0">
                  <a:pos x="40" y="0"/>
                </a:cxn>
                <a:cxn ang="0">
                  <a:pos x="29" y="31"/>
                </a:cxn>
                <a:cxn ang="0">
                  <a:pos x="23" y="52"/>
                </a:cxn>
                <a:cxn ang="0">
                  <a:pos x="23" y="54"/>
                </a:cxn>
                <a:cxn ang="0">
                  <a:pos x="44" y="54"/>
                </a:cxn>
                <a:cxn ang="0">
                  <a:pos x="44" y="93"/>
                </a:cxn>
                <a:cxn ang="0">
                  <a:pos x="4" y="93"/>
                </a:cxn>
                <a:cxn ang="0">
                  <a:pos x="4" y="64"/>
                </a:cxn>
                <a:cxn ang="0">
                  <a:pos x="7" y="35"/>
                </a:cxn>
                <a:cxn ang="0">
                  <a:pos x="19" y="17"/>
                </a:cxn>
                <a:cxn ang="0">
                  <a:pos x="40" y="4"/>
                </a:cxn>
                <a:cxn ang="0">
                  <a:pos x="46" y="19"/>
                </a:cxn>
                <a:cxn ang="0">
                  <a:pos x="29" y="31"/>
                </a:cxn>
              </a:cxnLst>
              <a:rect l="0" t="0" r="r" b="b"/>
              <a:pathLst>
                <a:path w="51" h="97">
                  <a:moveTo>
                    <a:pt x="40" y="0"/>
                  </a:moveTo>
                  <a:cubicBezTo>
                    <a:pt x="31" y="3"/>
                    <a:pt x="23" y="8"/>
                    <a:pt x="17" y="14"/>
                  </a:cubicBezTo>
                  <a:cubicBezTo>
                    <a:pt x="10" y="20"/>
                    <a:pt x="6" y="27"/>
                    <a:pt x="4" y="34"/>
                  </a:cubicBezTo>
                  <a:cubicBezTo>
                    <a:pt x="1" y="41"/>
                    <a:pt x="0" y="52"/>
                    <a:pt x="0" y="64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7" y="43"/>
                    <a:pt x="29" y="37"/>
                    <a:pt x="32" y="33"/>
                  </a:cubicBezTo>
                  <a:cubicBezTo>
                    <a:pt x="35" y="28"/>
                    <a:pt x="41" y="24"/>
                    <a:pt x="49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1" y="0"/>
                    <a:pt x="41" y="0"/>
                    <a:pt x="41" y="0"/>
                  </a:cubicBezTo>
                  <a:lnTo>
                    <a:pt x="40" y="0"/>
                  </a:lnTo>
                  <a:close/>
                  <a:moveTo>
                    <a:pt x="29" y="31"/>
                  </a:moveTo>
                  <a:cubicBezTo>
                    <a:pt x="25" y="36"/>
                    <a:pt x="23" y="43"/>
                    <a:pt x="23" y="52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52"/>
                    <a:pt x="5" y="42"/>
                    <a:pt x="7" y="35"/>
                  </a:cubicBezTo>
                  <a:cubicBezTo>
                    <a:pt x="9" y="28"/>
                    <a:pt x="13" y="22"/>
                    <a:pt x="19" y="17"/>
                  </a:cubicBezTo>
                  <a:cubicBezTo>
                    <a:pt x="24" y="11"/>
                    <a:pt x="31" y="7"/>
                    <a:pt x="40" y="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38" y="21"/>
                    <a:pt x="33" y="26"/>
                    <a:pt x="29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57" name="Group 309"/>
          <p:cNvGrpSpPr>
            <a:grpSpLocks noChangeAspect="1"/>
          </p:cNvGrpSpPr>
          <p:nvPr/>
        </p:nvGrpSpPr>
        <p:grpSpPr bwMode="auto">
          <a:xfrm>
            <a:off x="1481139" y="5435597"/>
            <a:ext cx="768350" cy="768350"/>
            <a:chOff x="929" y="3424"/>
            <a:chExt cx="484" cy="484"/>
          </a:xfrm>
        </p:grpSpPr>
        <p:sp>
          <p:nvSpPr>
            <p:cNvPr id="53558" name="Freeform 310"/>
            <p:cNvSpPr>
              <a:spLocks noEditPoints="1"/>
            </p:cNvSpPr>
            <p:nvPr/>
          </p:nvSpPr>
          <p:spPr bwMode="auto">
            <a:xfrm>
              <a:off x="929" y="342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59" name="Freeform 311"/>
            <p:cNvSpPr>
              <a:spLocks noEditPoints="1"/>
            </p:cNvSpPr>
            <p:nvPr/>
          </p:nvSpPr>
          <p:spPr bwMode="auto">
            <a:xfrm>
              <a:off x="1032" y="3544"/>
              <a:ext cx="123" cy="233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16" y="14"/>
                </a:cxn>
                <a:cxn ang="0">
                  <a:pos x="3" y="34"/>
                </a:cxn>
                <a:cxn ang="0">
                  <a:pos x="0" y="64"/>
                </a:cxn>
                <a:cxn ang="0">
                  <a:pos x="0" y="97"/>
                </a:cxn>
                <a:cxn ang="0">
                  <a:pos x="47" y="97"/>
                </a:cxn>
                <a:cxn ang="0">
                  <a:pos x="47" y="50"/>
                </a:cxn>
                <a:cxn ang="0">
                  <a:pos x="26" y="50"/>
                </a:cxn>
                <a:cxn ang="0">
                  <a:pos x="31" y="33"/>
                </a:cxn>
                <a:cxn ang="0">
                  <a:pos x="49" y="21"/>
                </a:cxn>
                <a:cxn ang="0">
                  <a:pos x="51" y="21"/>
                </a:cxn>
                <a:cxn ang="0">
                  <a:pos x="41" y="0"/>
                </a:cxn>
                <a:cxn ang="0">
                  <a:pos x="39" y="0"/>
                </a:cxn>
                <a:cxn ang="0">
                  <a:pos x="28" y="31"/>
                </a:cxn>
                <a:cxn ang="0">
                  <a:pos x="22" y="52"/>
                </a:cxn>
                <a:cxn ang="0">
                  <a:pos x="22" y="54"/>
                </a:cxn>
                <a:cxn ang="0">
                  <a:pos x="43" y="54"/>
                </a:cxn>
                <a:cxn ang="0">
                  <a:pos x="43" y="93"/>
                </a:cxn>
                <a:cxn ang="0">
                  <a:pos x="3" y="93"/>
                </a:cxn>
                <a:cxn ang="0">
                  <a:pos x="3" y="64"/>
                </a:cxn>
                <a:cxn ang="0">
                  <a:pos x="7" y="35"/>
                </a:cxn>
                <a:cxn ang="0">
                  <a:pos x="18" y="17"/>
                </a:cxn>
                <a:cxn ang="0">
                  <a:pos x="39" y="4"/>
                </a:cxn>
                <a:cxn ang="0">
                  <a:pos x="46" y="19"/>
                </a:cxn>
                <a:cxn ang="0">
                  <a:pos x="28" y="31"/>
                </a:cxn>
              </a:cxnLst>
              <a:rect l="0" t="0" r="r" b="b"/>
              <a:pathLst>
                <a:path w="51" h="97">
                  <a:moveTo>
                    <a:pt x="39" y="0"/>
                  </a:moveTo>
                  <a:cubicBezTo>
                    <a:pt x="30" y="3"/>
                    <a:pt x="22" y="8"/>
                    <a:pt x="16" y="14"/>
                  </a:cubicBezTo>
                  <a:cubicBezTo>
                    <a:pt x="10" y="20"/>
                    <a:pt x="5" y="27"/>
                    <a:pt x="3" y="34"/>
                  </a:cubicBezTo>
                  <a:cubicBezTo>
                    <a:pt x="1" y="42"/>
                    <a:pt x="0" y="52"/>
                    <a:pt x="0" y="64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43"/>
                    <a:pt x="28" y="37"/>
                    <a:pt x="31" y="33"/>
                  </a:cubicBezTo>
                  <a:cubicBezTo>
                    <a:pt x="35" y="28"/>
                    <a:pt x="41" y="24"/>
                    <a:pt x="49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1" y="0"/>
                    <a:pt x="41" y="0"/>
                    <a:pt x="41" y="0"/>
                  </a:cubicBezTo>
                  <a:lnTo>
                    <a:pt x="39" y="0"/>
                  </a:lnTo>
                  <a:close/>
                  <a:moveTo>
                    <a:pt x="28" y="31"/>
                  </a:moveTo>
                  <a:cubicBezTo>
                    <a:pt x="24" y="36"/>
                    <a:pt x="22" y="43"/>
                    <a:pt x="22" y="52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3" y="93"/>
                    <a:pt x="3" y="93"/>
                    <a:pt x="3" y="93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52"/>
                    <a:pt x="5" y="42"/>
                    <a:pt x="7" y="35"/>
                  </a:cubicBezTo>
                  <a:cubicBezTo>
                    <a:pt x="9" y="28"/>
                    <a:pt x="13" y="22"/>
                    <a:pt x="18" y="17"/>
                  </a:cubicBezTo>
                  <a:cubicBezTo>
                    <a:pt x="24" y="11"/>
                    <a:pt x="31" y="7"/>
                    <a:pt x="39" y="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38" y="21"/>
                    <a:pt x="32" y="26"/>
                    <a:pt x="28" y="3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60" name="Freeform 312"/>
            <p:cNvSpPr>
              <a:spLocks noEditPoints="1"/>
            </p:cNvSpPr>
            <p:nvPr/>
          </p:nvSpPr>
          <p:spPr bwMode="auto">
            <a:xfrm>
              <a:off x="1186" y="3544"/>
              <a:ext cx="122" cy="233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17" y="14"/>
                </a:cxn>
                <a:cxn ang="0">
                  <a:pos x="4" y="34"/>
                </a:cxn>
                <a:cxn ang="0">
                  <a:pos x="0" y="64"/>
                </a:cxn>
                <a:cxn ang="0">
                  <a:pos x="0" y="97"/>
                </a:cxn>
                <a:cxn ang="0">
                  <a:pos x="47" y="97"/>
                </a:cxn>
                <a:cxn ang="0">
                  <a:pos x="47" y="50"/>
                </a:cxn>
                <a:cxn ang="0">
                  <a:pos x="26" y="50"/>
                </a:cxn>
                <a:cxn ang="0">
                  <a:pos x="32" y="33"/>
                </a:cxn>
                <a:cxn ang="0">
                  <a:pos x="49" y="21"/>
                </a:cxn>
                <a:cxn ang="0">
                  <a:pos x="51" y="21"/>
                </a:cxn>
                <a:cxn ang="0">
                  <a:pos x="41" y="0"/>
                </a:cxn>
                <a:cxn ang="0">
                  <a:pos x="40" y="0"/>
                </a:cxn>
                <a:cxn ang="0">
                  <a:pos x="29" y="31"/>
                </a:cxn>
                <a:cxn ang="0">
                  <a:pos x="23" y="52"/>
                </a:cxn>
                <a:cxn ang="0">
                  <a:pos x="23" y="54"/>
                </a:cxn>
                <a:cxn ang="0">
                  <a:pos x="44" y="54"/>
                </a:cxn>
                <a:cxn ang="0">
                  <a:pos x="44" y="93"/>
                </a:cxn>
                <a:cxn ang="0">
                  <a:pos x="4" y="93"/>
                </a:cxn>
                <a:cxn ang="0">
                  <a:pos x="4" y="64"/>
                </a:cxn>
                <a:cxn ang="0">
                  <a:pos x="7" y="35"/>
                </a:cxn>
                <a:cxn ang="0">
                  <a:pos x="19" y="17"/>
                </a:cxn>
                <a:cxn ang="0">
                  <a:pos x="40" y="4"/>
                </a:cxn>
                <a:cxn ang="0">
                  <a:pos x="46" y="19"/>
                </a:cxn>
                <a:cxn ang="0">
                  <a:pos x="29" y="31"/>
                </a:cxn>
              </a:cxnLst>
              <a:rect l="0" t="0" r="r" b="b"/>
              <a:pathLst>
                <a:path w="51" h="97">
                  <a:moveTo>
                    <a:pt x="40" y="0"/>
                  </a:moveTo>
                  <a:cubicBezTo>
                    <a:pt x="31" y="3"/>
                    <a:pt x="23" y="8"/>
                    <a:pt x="17" y="14"/>
                  </a:cubicBezTo>
                  <a:cubicBezTo>
                    <a:pt x="10" y="20"/>
                    <a:pt x="6" y="27"/>
                    <a:pt x="4" y="34"/>
                  </a:cubicBezTo>
                  <a:cubicBezTo>
                    <a:pt x="1" y="41"/>
                    <a:pt x="0" y="52"/>
                    <a:pt x="0" y="64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7" y="43"/>
                    <a:pt x="29" y="37"/>
                    <a:pt x="32" y="33"/>
                  </a:cubicBezTo>
                  <a:cubicBezTo>
                    <a:pt x="35" y="28"/>
                    <a:pt x="41" y="24"/>
                    <a:pt x="49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41" y="0"/>
                    <a:pt x="41" y="0"/>
                    <a:pt x="41" y="0"/>
                  </a:cubicBezTo>
                  <a:lnTo>
                    <a:pt x="40" y="0"/>
                  </a:lnTo>
                  <a:close/>
                  <a:moveTo>
                    <a:pt x="29" y="31"/>
                  </a:moveTo>
                  <a:cubicBezTo>
                    <a:pt x="25" y="36"/>
                    <a:pt x="23" y="43"/>
                    <a:pt x="23" y="52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52"/>
                    <a:pt x="5" y="42"/>
                    <a:pt x="7" y="35"/>
                  </a:cubicBezTo>
                  <a:cubicBezTo>
                    <a:pt x="9" y="28"/>
                    <a:pt x="13" y="22"/>
                    <a:pt x="19" y="17"/>
                  </a:cubicBezTo>
                  <a:cubicBezTo>
                    <a:pt x="24" y="11"/>
                    <a:pt x="31" y="7"/>
                    <a:pt x="40" y="4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38" y="21"/>
                    <a:pt x="33" y="26"/>
                    <a:pt x="29" y="3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63" name="Group 315"/>
          <p:cNvGrpSpPr>
            <a:grpSpLocks noChangeAspect="1"/>
          </p:cNvGrpSpPr>
          <p:nvPr/>
        </p:nvGrpSpPr>
        <p:grpSpPr bwMode="auto">
          <a:xfrm>
            <a:off x="2541587" y="5402263"/>
            <a:ext cx="838200" cy="836612"/>
            <a:chOff x="1600" y="3403"/>
            <a:chExt cx="528" cy="527"/>
          </a:xfrm>
        </p:grpSpPr>
        <p:sp>
          <p:nvSpPr>
            <p:cNvPr id="53564" name="Oval 316"/>
            <p:cNvSpPr>
              <a:spLocks noChangeArrowheads="1"/>
            </p:cNvSpPr>
            <p:nvPr/>
          </p:nvSpPr>
          <p:spPr bwMode="auto">
            <a:xfrm>
              <a:off x="1600" y="3403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65" name="Freeform 317"/>
            <p:cNvSpPr>
              <a:spLocks noEditPoints="1"/>
            </p:cNvSpPr>
            <p:nvPr/>
          </p:nvSpPr>
          <p:spPr bwMode="auto">
            <a:xfrm>
              <a:off x="1622" y="3425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66" name="Freeform 318"/>
            <p:cNvSpPr>
              <a:spLocks noEditPoints="1"/>
            </p:cNvSpPr>
            <p:nvPr/>
          </p:nvSpPr>
          <p:spPr bwMode="auto">
            <a:xfrm>
              <a:off x="1744" y="3717"/>
              <a:ext cx="39" cy="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39" y="3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10" y="9"/>
                </a:cxn>
                <a:cxn ang="0">
                  <a:pos x="31" y="9"/>
                </a:cxn>
                <a:cxn ang="0">
                  <a:pos x="31" y="28"/>
                </a:cxn>
                <a:cxn ang="0">
                  <a:pos x="10" y="28"/>
                </a:cxn>
                <a:cxn ang="0">
                  <a:pos x="10" y="9"/>
                </a:cxn>
              </a:cxnLst>
              <a:rect l="0" t="0" r="r" b="b"/>
              <a:pathLst>
                <a:path w="39" h="38">
                  <a:moveTo>
                    <a:pt x="0" y="38"/>
                  </a:moveTo>
                  <a:lnTo>
                    <a:pt x="39" y="3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10" y="9"/>
                  </a:moveTo>
                  <a:lnTo>
                    <a:pt x="31" y="9"/>
                  </a:lnTo>
                  <a:lnTo>
                    <a:pt x="31" y="28"/>
                  </a:lnTo>
                  <a:lnTo>
                    <a:pt x="10" y="28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67" name="Freeform 319"/>
            <p:cNvSpPr>
              <a:spLocks noEditPoints="1"/>
            </p:cNvSpPr>
            <p:nvPr/>
          </p:nvSpPr>
          <p:spPr bwMode="auto">
            <a:xfrm>
              <a:off x="1821" y="3717"/>
              <a:ext cx="38" cy="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38" y="38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9" y="9"/>
                </a:cxn>
                <a:cxn ang="0">
                  <a:pos x="29" y="9"/>
                </a:cxn>
                <a:cxn ang="0">
                  <a:pos x="29" y="28"/>
                </a:cxn>
                <a:cxn ang="0">
                  <a:pos x="9" y="28"/>
                </a:cxn>
                <a:cxn ang="0">
                  <a:pos x="9" y="9"/>
                </a:cxn>
              </a:cxnLst>
              <a:rect l="0" t="0" r="r" b="b"/>
              <a:pathLst>
                <a:path w="38" h="38">
                  <a:moveTo>
                    <a:pt x="0" y="38"/>
                  </a:moveTo>
                  <a:lnTo>
                    <a:pt x="38" y="38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9" y="9"/>
                  </a:moveTo>
                  <a:lnTo>
                    <a:pt x="29" y="9"/>
                  </a:lnTo>
                  <a:lnTo>
                    <a:pt x="29" y="28"/>
                  </a:lnTo>
                  <a:lnTo>
                    <a:pt x="9" y="28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68" name="Freeform 320"/>
            <p:cNvSpPr>
              <a:spLocks noEditPoints="1"/>
            </p:cNvSpPr>
            <p:nvPr/>
          </p:nvSpPr>
          <p:spPr bwMode="auto">
            <a:xfrm>
              <a:off x="1723" y="3535"/>
              <a:ext cx="306" cy="244"/>
            </a:xfrm>
            <a:custGeom>
              <a:avLst/>
              <a:gdLst/>
              <a:ahLst/>
              <a:cxnLst>
                <a:cxn ang="0">
                  <a:pos x="237" y="9"/>
                </a:cxn>
                <a:cxn ang="0">
                  <a:pos x="225" y="5"/>
                </a:cxn>
                <a:cxn ang="0">
                  <a:pos x="158" y="26"/>
                </a:cxn>
                <a:cxn ang="0">
                  <a:pos x="158" y="12"/>
                </a:cxn>
                <a:cxn ang="0">
                  <a:pos x="84" y="12"/>
                </a:cxn>
                <a:cxn ang="0">
                  <a:pos x="76" y="12"/>
                </a:cxn>
                <a:cxn ang="0">
                  <a:pos x="9" y="12"/>
                </a:cxn>
                <a:cxn ang="0">
                  <a:pos x="0" y="21"/>
                </a:cxn>
                <a:cxn ang="0">
                  <a:pos x="0" y="242"/>
                </a:cxn>
                <a:cxn ang="0">
                  <a:pos x="74" y="242"/>
                </a:cxn>
                <a:cxn ang="0">
                  <a:pos x="81" y="242"/>
                </a:cxn>
                <a:cxn ang="0">
                  <a:pos x="148" y="242"/>
                </a:cxn>
                <a:cxn ang="0">
                  <a:pos x="158" y="234"/>
                </a:cxn>
                <a:cxn ang="0">
                  <a:pos x="160" y="36"/>
                </a:cxn>
                <a:cxn ang="0">
                  <a:pos x="230" y="244"/>
                </a:cxn>
                <a:cxn ang="0">
                  <a:pos x="299" y="222"/>
                </a:cxn>
                <a:cxn ang="0">
                  <a:pos x="304" y="210"/>
                </a:cxn>
                <a:cxn ang="0">
                  <a:pos x="84" y="86"/>
                </a:cxn>
                <a:cxn ang="0">
                  <a:pos x="148" y="72"/>
                </a:cxn>
                <a:cxn ang="0">
                  <a:pos x="148" y="21"/>
                </a:cxn>
                <a:cxn ang="0">
                  <a:pos x="84" y="64"/>
                </a:cxn>
                <a:cxn ang="0">
                  <a:pos x="148" y="21"/>
                </a:cxn>
                <a:cxn ang="0">
                  <a:pos x="9" y="86"/>
                </a:cxn>
                <a:cxn ang="0">
                  <a:pos x="74" y="72"/>
                </a:cxn>
                <a:cxn ang="0">
                  <a:pos x="74" y="21"/>
                </a:cxn>
                <a:cxn ang="0">
                  <a:pos x="9" y="64"/>
                </a:cxn>
                <a:cxn ang="0">
                  <a:pos x="74" y="21"/>
                </a:cxn>
                <a:cxn ang="0">
                  <a:pos x="9" y="93"/>
                </a:cxn>
                <a:cxn ang="0">
                  <a:pos x="74" y="234"/>
                </a:cxn>
                <a:cxn ang="0">
                  <a:pos x="84" y="234"/>
                </a:cxn>
                <a:cxn ang="0">
                  <a:pos x="148" y="93"/>
                </a:cxn>
                <a:cxn ang="0">
                  <a:pos x="84" y="234"/>
                </a:cxn>
                <a:cxn ang="0">
                  <a:pos x="244" y="60"/>
                </a:cxn>
                <a:cxn ang="0">
                  <a:pos x="189" y="93"/>
                </a:cxn>
                <a:cxn ang="0">
                  <a:pos x="230" y="12"/>
                </a:cxn>
                <a:cxn ang="0">
                  <a:pos x="182" y="74"/>
                </a:cxn>
                <a:cxn ang="0">
                  <a:pos x="230" y="12"/>
                </a:cxn>
                <a:cxn ang="0">
                  <a:pos x="191" y="100"/>
                </a:cxn>
                <a:cxn ang="0">
                  <a:pos x="297" y="213"/>
                </a:cxn>
              </a:cxnLst>
              <a:rect l="0" t="0" r="r" b="b"/>
              <a:pathLst>
                <a:path w="306" h="244">
                  <a:moveTo>
                    <a:pt x="304" y="210"/>
                  </a:moveTo>
                  <a:lnTo>
                    <a:pt x="237" y="9"/>
                  </a:lnTo>
                  <a:lnTo>
                    <a:pt x="235" y="0"/>
                  </a:lnTo>
                  <a:lnTo>
                    <a:pt x="225" y="5"/>
                  </a:lnTo>
                  <a:lnTo>
                    <a:pt x="165" y="24"/>
                  </a:lnTo>
                  <a:lnTo>
                    <a:pt x="158" y="26"/>
                  </a:lnTo>
                  <a:lnTo>
                    <a:pt x="158" y="21"/>
                  </a:lnTo>
                  <a:lnTo>
                    <a:pt x="158" y="12"/>
                  </a:lnTo>
                  <a:lnTo>
                    <a:pt x="148" y="12"/>
                  </a:lnTo>
                  <a:lnTo>
                    <a:pt x="84" y="12"/>
                  </a:lnTo>
                  <a:lnTo>
                    <a:pt x="81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9" y="12"/>
                  </a:lnTo>
                  <a:lnTo>
                    <a:pt x="0" y="12"/>
                  </a:lnTo>
                  <a:lnTo>
                    <a:pt x="0" y="21"/>
                  </a:lnTo>
                  <a:lnTo>
                    <a:pt x="0" y="234"/>
                  </a:lnTo>
                  <a:lnTo>
                    <a:pt x="0" y="242"/>
                  </a:lnTo>
                  <a:lnTo>
                    <a:pt x="9" y="242"/>
                  </a:lnTo>
                  <a:lnTo>
                    <a:pt x="74" y="242"/>
                  </a:lnTo>
                  <a:lnTo>
                    <a:pt x="76" y="242"/>
                  </a:lnTo>
                  <a:lnTo>
                    <a:pt x="81" y="242"/>
                  </a:lnTo>
                  <a:lnTo>
                    <a:pt x="84" y="242"/>
                  </a:lnTo>
                  <a:lnTo>
                    <a:pt x="148" y="242"/>
                  </a:lnTo>
                  <a:lnTo>
                    <a:pt x="158" y="242"/>
                  </a:lnTo>
                  <a:lnTo>
                    <a:pt x="158" y="234"/>
                  </a:lnTo>
                  <a:lnTo>
                    <a:pt x="158" y="29"/>
                  </a:lnTo>
                  <a:lnTo>
                    <a:pt x="160" y="36"/>
                  </a:lnTo>
                  <a:lnTo>
                    <a:pt x="227" y="237"/>
                  </a:lnTo>
                  <a:lnTo>
                    <a:pt x="230" y="244"/>
                  </a:lnTo>
                  <a:lnTo>
                    <a:pt x="239" y="242"/>
                  </a:lnTo>
                  <a:lnTo>
                    <a:pt x="299" y="222"/>
                  </a:lnTo>
                  <a:lnTo>
                    <a:pt x="306" y="218"/>
                  </a:lnTo>
                  <a:lnTo>
                    <a:pt x="304" y="210"/>
                  </a:lnTo>
                  <a:close/>
                  <a:moveTo>
                    <a:pt x="148" y="86"/>
                  </a:moveTo>
                  <a:lnTo>
                    <a:pt x="84" y="86"/>
                  </a:lnTo>
                  <a:lnTo>
                    <a:pt x="84" y="72"/>
                  </a:lnTo>
                  <a:lnTo>
                    <a:pt x="148" y="72"/>
                  </a:lnTo>
                  <a:lnTo>
                    <a:pt x="148" y="86"/>
                  </a:lnTo>
                  <a:close/>
                  <a:moveTo>
                    <a:pt x="148" y="21"/>
                  </a:moveTo>
                  <a:lnTo>
                    <a:pt x="148" y="64"/>
                  </a:lnTo>
                  <a:lnTo>
                    <a:pt x="84" y="64"/>
                  </a:lnTo>
                  <a:lnTo>
                    <a:pt x="84" y="21"/>
                  </a:lnTo>
                  <a:lnTo>
                    <a:pt x="148" y="21"/>
                  </a:lnTo>
                  <a:close/>
                  <a:moveTo>
                    <a:pt x="74" y="86"/>
                  </a:moveTo>
                  <a:lnTo>
                    <a:pt x="9" y="86"/>
                  </a:lnTo>
                  <a:lnTo>
                    <a:pt x="9" y="72"/>
                  </a:lnTo>
                  <a:lnTo>
                    <a:pt x="74" y="72"/>
                  </a:lnTo>
                  <a:lnTo>
                    <a:pt x="74" y="86"/>
                  </a:lnTo>
                  <a:close/>
                  <a:moveTo>
                    <a:pt x="74" y="21"/>
                  </a:moveTo>
                  <a:lnTo>
                    <a:pt x="74" y="64"/>
                  </a:lnTo>
                  <a:lnTo>
                    <a:pt x="9" y="64"/>
                  </a:lnTo>
                  <a:lnTo>
                    <a:pt x="9" y="21"/>
                  </a:lnTo>
                  <a:lnTo>
                    <a:pt x="74" y="21"/>
                  </a:lnTo>
                  <a:close/>
                  <a:moveTo>
                    <a:pt x="9" y="234"/>
                  </a:moveTo>
                  <a:lnTo>
                    <a:pt x="9" y="93"/>
                  </a:lnTo>
                  <a:lnTo>
                    <a:pt x="74" y="93"/>
                  </a:lnTo>
                  <a:lnTo>
                    <a:pt x="74" y="234"/>
                  </a:lnTo>
                  <a:lnTo>
                    <a:pt x="9" y="234"/>
                  </a:lnTo>
                  <a:close/>
                  <a:moveTo>
                    <a:pt x="84" y="234"/>
                  </a:moveTo>
                  <a:lnTo>
                    <a:pt x="84" y="93"/>
                  </a:lnTo>
                  <a:lnTo>
                    <a:pt x="148" y="93"/>
                  </a:lnTo>
                  <a:lnTo>
                    <a:pt x="148" y="234"/>
                  </a:lnTo>
                  <a:lnTo>
                    <a:pt x="84" y="234"/>
                  </a:lnTo>
                  <a:close/>
                  <a:moveTo>
                    <a:pt x="184" y="81"/>
                  </a:moveTo>
                  <a:lnTo>
                    <a:pt x="244" y="60"/>
                  </a:lnTo>
                  <a:lnTo>
                    <a:pt x="249" y="72"/>
                  </a:lnTo>
                  <a:lnTo>
                    <a:pt x="189" y="93"/>
                  </a:lnTo>
                  <a:lnTo>
                    <a:pt x="184" y="81"/>
                  </a:lnTo>
                  <a:close/>
                  <a:moveTo>
                    <a:pt x="230" y="12"/>
                  </a:moveTo>
                  <a:lnTo>
                    <a:pt x="242" y="53"/>
                  </a:lnTo>
                  <a:lnTo>
                    <a:pt x="182" y="74"/>
                  </a:lnTo>
                  <a:lnTo>
                    <a:pt x="167" y="33"/>
                  </a:lnTo>
                  <a:lnTo>
                    <a:pt x="230" y="12"/>
                  </a:lnTo>
                  <a:close/>
                  <a:moveTo>
                    <a:pt x="235" y="234"/>
                  </a:moveTo>
                  <a:lnTo>
                    <a:pt x="191" y="100"/>
                  </a:lnTo>
                  <a:lnTo>
                    <a:pt x="251" y="81"/>
                  </a:lnTo>
                  <a:lnTo>
                    <a:pt x="297" y="213"/>
                  </a:lnTo>
                  <a:lnTo>
                    <a:pt x="235" y="2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69" name="Freeform 321"/>
            <p:cNvSpPr>
              <a:spLocks noEditPoints="1"/>
            </p:cNvSpPr>
            <p:nvPr/>
          </p:nvSpPr>
          <p:spPr bwMode="auto">
            <a:xfrm>
              <a:off x="1955" y="3702"/>
              <a:ext cx="48" cy="4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2" y="48"/>
                </a:cxn>
                <a:cxn ang="0">
                  <a:pos x="48" y="36"/>
                </a:cxn>
                <a:cxn ang="0">
                  <a:pos x="36" y="0"/>
                </a:cxn>
                <a:cxn ang="0">
                  <a:pos x="0" y="12"/>
                </a:cxn>
                <a:cxn ang="0">
                  <a:pos x="17" y="39"/>
                </a:cxn>
                <a:cxn ang="0">
                  <a:pos x="12" y="19"/>
                </a:cxn>
                <a:cxn ang="0">
                  <a:pos x="31" y="12"/>
                </a:cxn>
                <a:cxn ang="0">
                  <a:pos x="36" y="31"/>
                </a:cxn>
                <a:cxn ang="0">
                  <a:pos x="17" y="39"/>
                </a:cxn>
              </a:cxnLst>
              <a:rect l="0" t="0" r="r" b="b"/>
              <a:pathLst>
                <a:path w="48" h="48">
                  <a:moveTo>
                    <a:pt x="0" y="12"/>
                  </a:moveTo>
                  <a:lnTo>
                    <a:pt x="12" y="48"/>
                  </a:lnTo>
                  <a:lnTo>
                    <a:pt x="48" y="36"/>
                  </a:lnTo>
                  <a:lnTo>
                    <a:pt x="36" y="0"/>
                  </a:lnTo>
                  <a:lnTo>
                    <a:pt x="0" y="12"/>
                  </a:lnTo>
                  <a:close/>
                  <a:moveTo>
                    <a:pt x="17" y="39"/>
                  </a:moveTo>
                  <a:lnTo>
                    <a:pt x="12" y="19"/>
                  </a:lnTo>
                  <a:lnTo>
                    <a:pt x="31" y="12"/>
                  </a:lnTo>
                  <a:lnTo>
                    <a:pt x="36" y="31"/>
                  </a:lnTo>
                  <a:lnTo>
                    <a:pt x="17" y="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72" name="Group 324"/>
          <p:cNvGrpSpPr>
            <a:grpSpLocks noChangeAspect="1"/>
          </p:cNvGrpSpPr>
          <p:nvPr/>
        </p:nvGrpSpPr>
        <p:grpSpPr bwMode="auto">
          <a:xfrm>
            <a:off x="3670298" y="5435597"/>
            <a:ext cx="768350" cy="768350"/>
            <a:chOff x="2314" y="3424"/>
            <a:chExt cx="484" cy="484"/>
          </a:xfrm>
        </p:grpSpPr>
        <p:sp>
          <p:nvSpPr>
            <p:cNvPr id="53573" name="Freeform 325"/>
            <p:cNvSpPr>
              <a:spLocks noEditPoints="1"/>
            </p:cNvSpPr>
            <p:nvPr/>
          </p:nvSpPr>
          <p:spPr bwMode="auto">
            <a:xfrm>
              <a:off x="2314" y="342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74" name="Freeform 326"/>
            <p:cNvSpPr>
              <a:spLocks noEditPoints="1"/>
            </p:cNvSpPr>
            <p:nvPr/>
          </p:nvSpPr>
          <p:spPr bwMode="auto">
            <a:xfrm>
              <a:off x="2437" y="3717"/>
              <a:ext cx="38" cy="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38" y="38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9" y="9"/>
                </a:cxn>
                <a:cxn ang="0">
                  <a:pos x="31" y="9"/>
                </a:cxn>
                <a:cxn ang="0">
                  <a:pos x="31" y="28"/>
                </a:cxn>
                <a:cxn ang="0">
                  <a:pos x="9" y="28"/>
                </a:cxn>
                <a:cxn ang="0">
                  <a:pos x="9" y="9"/>
                </a:cxn>
              </a:cxnLst>
              <a:rect l="0" t="0" r="r" b="b"/>
              <a:pathLst>
                <a:path w="38" h="38">
                  <a:moveTo>
                    <a:pt x="0" y="38"/>
                  </a:moveTo>
                  <a:lnTo>
                    <a:pt x="38" y="38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9" y="9"/>
                  </a:moveTo>
                  <a:lnTo>
                    <a:pt x="31" y="9"/>
                  </a:lnTo>
                  <a:lnTo>
                    <a:pt x="31" y="28"/>
                  </a:lnTo>
                  <a:lnTo>
                    <a:pt x="9" y="28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75" name="Freeform 327"/>
            <p:cNvSpPr>
              <a:spLocks noEditPoints="1"/>
            </p:cNvSpPr>
            <p:nvPr/>
          </p:nvSpPr>
          <p:spPr bwMode="auto">
            <a:xfrm>
              <a:off x="2513" y="3717"/>
              <a:ext cx="39" cy="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39" y="3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38"/>
                </a:cxn>
                <a:cxn ang="0">
                  <a:pos x="10" y="9"/>
                </a:cxn>
                <a:cxn ang="0">
                  <a:pos x="29" y="9"/>
                </a:cxn>
                <a:cxn ang="0">
                  <a:pos x="29" y="28"/>
                </a:cxn>
                <a:cxn ang="0">
                  <a:pos x="10" y="28"/>
                </a:cxn>
                <a:cxn ang="0">
                  <a:pos x="10" y="9"/>
                </a:cxn>
              </a:cxnLst>
              <a:rect l="0" t="0" r="r" b="b"/>
              <a:pathLst>
                <a:path w="39" h="38">
                  <a:moveTo>
                    <a:pt x="0" y="38"/>
                  </a:moveTo>
                  <a:lnTo>
                    <a:pt x="39" y="38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38"/>
                  </a:lnTo>
                  <a:close/>
                  <a:moveTo>
                    <a:pt x="10" y="9"/>
                  </a:moveTo>
                  <a:lnTo>
                    <a:pt x="29" y="9"/>
                  </a:lnTo>
                  <a:lnTo>
                    <a:pt x="29" y="28"/>
                  </a:lnTo>
                  <a:lnTo>
                    <a:pt x="10" y="28"/>
                  </a:lnTo>
                  <a:lnTo>
                    <a:pt x="1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76" name="Freeform 328"/>
            <p:cNvSpPr>
              <a:spLocks noEditPoints="1"/>
            </p:cNvSpPr>
            <p:nvPr/>
          </p:nvSpPr>
          <p:spPr bwMode="auto">
            <a:xfrm>
              <a:off x="2415" y="3535"/>
              <a:ext cx="307" cy="244"/>
            </a:xfrm>
            <a:custGeom>
              <a:avLst/>
              <a:gdLst/>
              <a:ahLst/>
              <a:cxnLst>
                <a:cxn ang="0">
                  <a:pos x="237" y="9"/>
                </a:cxn>
                <a:cxn ang="0">
                  <a:pos x="225" y="4"/>
                </a:cxn>
                <a:cxn ang="0">
                  <a:pos x="158" y="26"/>
                </a:cxn>
                <a:cxn ang="0">
                  <a:pos x="158" y="12"/>
                </a:cxn>
                <a:cxn ang="0">
                  <a:pos x="84" y="12"/>
                </a:cxn>
                <a:cxn ang="0">
                  <a:pos x="77" y="12"/>
                </a:cxn>
                <a:cxn ang="0">
                  <a:pos x="10" y="12"/>
                </a:cxn>
                <a:cxn ang="0">
                  <a:pos x="0" y="21"/>
                </a:cxn>
                <a:cxn ang="0">
                  <a:pos x="0" y="242"/>
                </a:cxn>
                <a:cxn ang="0">
                  <a:pos x="74" y="242"/>
                </a:cxn>
                <a:cxn ang="0">
                  <a:pos x="81" y="242"/>
                </a:cxn>
                <a:cxn ang="0">
                  <a:pos x="149" y="242"/>
                </a:cxn>
                <a:cxn ang="0">
                  <a:pos x="158" y="234"/>
                </a:cxn>
                <a:cxn ang="0">
                  <a:pos x="161" y="36"/>
                </a:cxn>
                <a:cxn ang="0">
                  <a:pos x="230" y="244"/>
                </a:cxn>
                <a:cxn ang="0">
                  <a:pos x="300" y="222"/>
                </a:cxn>
                <a:cxn ang="0">
                  <a:pos x="304" y="210"/>
                </a:cxn>
                <a:cxn ang="0">
                  <a:pos x="84" y="86"/>
                </a:cxn>
                <a:cxn ang="0">
                  <a:pos x="149" y="71"/>
                </a:cxn>
                <a:cxn ang="0">
                  <a:pos x="149" y="21"/>
                </a:cxn>
                <a:cxn ang="0">
                  <a:pos x="84" y="64"/>
                </a:cxn>
                <a:cxn ang="0">
                  <a:pos x="149" y="21"/>
                </a:cxn>
                <a:cxn ang="0">
                  <a:pos x="10" y="86"/>
                </a:cxn>
                <a:cxn ang="0">
                  <a:pos x="74" y="71"/>
                </a:cxn>
                <a:cxn ang="0">
                  <a:pos x="74" y="21"/>
                </a:cxn>
                <a:cxn ang="0">
                  <a:pos x="10" y="64"/>
                </a:cxn>
                <a:cxn ang="0">
                  <a:pos x="74" y="21"/>
                </a:cxn>
                <a:cxn ang="0">
                  <a:pos x="10" y="93"/>
                </a:cxn>
                <a:cxn ang="0">
                  <a:pos x="74" y="234"/>
                </a:cxn>
                <a:cxn ang="0">
                  <a:pos x="84" y="234"/>
                </a:cxn>
                <a:cxn ang="0">
                  <a:pos x="149" y="93"/>
                </a:cxn>
                <a:cxn ang="0">
                  <a:pos x="84" y="234"/>
                </a:cxn>
                <a:cxn ang="0">
                  <a:pos x="244" y="59"/>
                </a:cxn>
                <a:cxn ang="0">
                  <a:pos x="189" y="93"/>
                </a:cxn>
                <a:cxn ang="0">
                  <a:pos x="230" y="12"/>
                </a:cxn>
                <a:cxn ang="0">
                  <a:pos x="182" y="74"/>
                </a:cxn>
                <a:cxn ang="0">
                  <a:pos x="230" y="12"/>
                </a:cxn>
                <a:cxn ang="0">
                  <a:pos x="192" y="100"/>
                </a:cxn>
                <a:cxn ang="0">
                  <a:pos x="297" y="213"/>
                </a:cxn>
              </a:cxnLst>
              <a:rect l="0" t="0" r="r" b="b"/>
              <a:pathLst>
                <a:path w="307" h="244">
                  <a:moveTo>
                    <a:pt x="304" y="210"/>
                  </a:moveTo>
                  <a:lnTo>
                    <a:pt x="237" y="9"/>
                  </a:lnTo>
                  <a:lnTo>
                    <a:pt x="235" y="0"/>
                  </a:lnTo>
                  <a:lnTo>
                    <a:pt x="225" y="4"/>
                  </a:lnTo>
                  <a:lnTo>
                    <a:pt x="165" y="24"/>
                  </a:lnTo>
                  <a:lnTo>
                    <a:pt x="158" y="26"/>
                  </a:lnTo>
                  <a:lnTo>
                    <a:pt x="158" y="21"/>
                  </a:lnTo>
                  <a:lnTo>
                    <a:pt x="158" y="12"/>
                  </a:lnTo>
                  <a:lnTo>
                    <a:pt x="149" y="12"/>
                  </a:lnTo>
                  <a:lnTo>
                    <a:pt x="84" y="12"/>
                  </a:lnTo>
                  <a:lnTo>
                    <a:pt x="81" y="12"/>
                  </a:lnTo>
                  <a:lnTo>
                    <a:pt x="77" y="12"/>
                  </a:lnTo>
                  <a:lnTo>
                    <a:pt x="74" y="12"/>
                  </a:lnTo>
                  <a:lnTo>
                    <a:pt x="10" y="12"/>
                  </a:lnTo>
                  <a:lnTo>
                    <a:pt x="0" y="12"/>
                  </a:lnTo>
                  <a:lnTo>
                    <a:pt x="0" y="21"/>
                  </a:lnTo>
                  <a:lnTo>
                    <a:pt x="0" y="234"/>
                  </a:lnTo>
                  <a:lnTo>
                    <a:pt x="0" y="242"/>
                  </a:lnTo>
                  <a:lnTo>
                    <a:pt x="10" y="242"/>
                  </a:lnTo>
                  <a:lnTo>
                    <a:pt x="74" y="242"/>
                  </a:lnTo>
                  <a:lnTo>
                    <a:pt x="77" y="242"/>
                  </a:lnTo>
                  <a:lnTo>
                    <a:pt x="81" y="242"/>
                  </a:lnTo>
                  <a:lnTo>
                    <a:pt x="84" y="242"/>
                  </a:lnTo>
                  <a:lnTo>
                    <a:pt x="149" y="242"/>
                  </a:lnTo>
                  <a:lnTo>
                    <a:pt x="158" y="242"/>
                  </a:lnTo>
                  <a:lnTo>
                    <a:pt x="158" y="234"/>
                  </a:lnTo>
                  <a:lnTo>
                    <a:pt x="158" y="28"/>
                  </a:lnTo>
                  <a:lnTo>
                    <a:pt x="161" y="36"/>
                  </a:lnTo>
                  <a:lnTo>
                    <a:pt x="228" y="237"/>
                  </a:lnTo>
                  <a:lnTo>
                    <a:pt x="230" y="244"/>
                  </a:lnTo>
                  <a:lnTo>
                    <a:pt x="240" y="242"/>
                  </a:lnTo>
                  <a:lnTo>
                    <a:pt x="300" y="222"/>
                  </a:lnTo>
                  <a:lnTo>
                    <a:pt x="307" y="218"/>
                  </a:lnTo>
                  <a:lnTo>
                    <a:pt x="304" y="210"/>
                  </a:lnTo>
                  <a:close/>
                  <a:moveTo>
                    <a:pt x="149" y="86"/>
                  </a:moveTo>
                  <a:lnTo>
                    <a:pt x="84" y="86"/>
                  </a:lnTo>
                  <a:lnTo>
                    <a:pt x="84" y="71"/>
                  </a:lnTo>
                  <a:lnTo>
                    <a:pt x="149" y="71"/>
                  </a:lnTo>
                  <a:lnTo>
                    <a:pt x="149" y="86"/>
                  </a:lnTo>
                  <a:close/>
                  <a:moveTo>
                    <a:pt x="149" y="21"/>
                  </a:moveTo>
                  <a:lnTo>
                    <a:pt x="149" y="64"/>
                  </a:lnTo>
                  <a:lnTo>
                    <a:pt x="84" y="64"/>
                  </a:lnTo>
                  <a:lnTo>
                    <a:pt x="84" y="21"/>
                  </a:lnTo>
                  <a:lnTo>
                    <a:pt x="149" y="21"/>
                  </a:lnTo>
                  <a:close/>
                  <a:moveTo>
                    <a:pt x="74" y="86"/>
                  </a:moveTo>
                  <a:lnTo>
                    <a:pt x="10" y="86"/>
                  </a:lnTo>
                  <a:lnTo>
                    <a:pt x="10" y="71"/>
                  </a:lnTo>
                  <a:lnTo>
                    <a:pt x="74" y="71"/>
                  </a:lnTo>
                  <a:lnTo>
                    <a:pt x="74" y="86"/>
                  </a:lnTo>
                  <a:close/>
                  <a:moveTo>
                    <a:pt x="74" y="21"/>
                  </a:moveTo>
                  <a:lnTo>
                    <a:pt x="74" y="64"/>
                  </a:lnTo>
                  <a:lnTo>
                    <a:pt x="10" y="64"/>
                  </a:lnTo>
                  <a:lnTo>
                    <a:pt x="10" y="21"/>
                  </a:lnTo>
                  <a:lnTo>
                    <a:pt x="74" y="21"/>
                  </a:lnTo>
                  <a:close/>
                  <a:moveTo>
                    <a:pt x="10" y="234"/>
                  </a:moveTo>
                  <a:lnTo>
                    <a:pt x="10" y="93"/>
                  </a:lnTo>
                  <a:lnTo>
                    <a:pt x="74" y="93"/>
                  </a:lnTo>
                  <a:lnTo>
                    <a:pt x="74" y="234"/>
                  </a:lnTo>
                  <a:lnTo>
                    <a:pt x="10" y="234"/>
                  </a:lnTo>
                  <a:close/>
                  <a:moveTo>
                    <a:pt x="84" y="234"/>
                  </a:moveTo>
                  <a:lnTo>
                    <a:pt x="84" y="93"/>
                  </a:lnTo>
                  <a:lnTo>
                    <a:pt x="149" y="93"/>
                  </a:lnTo>
                  <a:lnTo>
                    <a:pt x="149" y="234"/>
                  </a:lnTo>
                  <a:lnTo>
                    <a:pt x="84" y="234"/>
                  </a:lnTo>
                  <a:close/>
                  <a:moveTo>
                    <a:pt x="185" y="81"/>
                  </a:moveTo>
                  <a:lnTo>
                    <a:pt x="244" y="59"/>
                  </a:lnTo>
                  <a:lnTo>
                    <a:pt x="249" y="71"/>
                  </a:lnTo>
                  <a:lnTo>
                    <a:pt x="189" y="93"/>
                  </a:lnTo>
                  <a:lnTo>
                    <a:pt x="185" y="81"/>
                  </a:lnTo>
                  <a:close/>
                  <a:moveTo>
                    <a:pt x="230" y="12"/>
                  </a:moveTo>
                  <a:lnTo>
                    <a:pt x="242" y="52"/>
                  </a:lnTo>
                  <a:lnTo>
                    <a:pt x="182" y="74"/>
                  </a:lnTo>
                  <a:lnTo>
                    <a:pt x="168" y="33"/>
                  </a:lnTo>
                  <a:lnTo>
                    <a:pt x="230" y="12"/>
                  </a:lnTo>
                  <a:close/>
                  <a:moveTo>
                    <a:pt x="235" y="234"/>
                  </a:moveTo>
                  <a:lnTo>
                    <a:pt x="192" y="100"/>
                  </a:lnTo>
                  <a:lnTo>
                    <a:pt x="252" y="81"/>
                  </a:lnTo>
                  <a:lnTo>
                    <a:pt x="297" y="213"/>
                  </a:lnTo>
                  <a:lnTo>
                    <a:pt x="235" y="23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77" name="Freeform 329"/>
            <p:cNvSpPr>
              <a:spLocks noEditPoints="1"/>
            </p:cNvSpPr>
            <p:nvPr/>
          </p:nvSpPr>
          <p:spPr bwMode="auto">
            <a:xfrm>
              <a:off x="2647" y="3702"/>
              <a:ext cx="48" cy="4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2" y="48"/>
                </a:cxn>
                <a:cxn ang="0">
                  <a:pos x="48" y="36"/>
                </a:cxn>
                <a:cxn ang="0">
                  <a:pos x="36" y="0"/>
                </a:cxn>
                <a:cxn ang="0">
                  <a:pos x="0" y="12"/>
                </a:cxn>
                <a:cxn ang="0">
                  <a:pos x="17" y="39"/>
                </a:cxn>
                <a:cxn ang="0">
                  <a:pos x="12" y="20"/>
                </a:cxn>
                <a:cxn ang="0">
                  <a:pos x="32" y="12"/>
                </a:cxn>
                <a:cxn ang="0">
                  <a:pos x="36" y="32"/>
                </a:cxn>
                <a:cxn ang="0">
                  <a:pos x="17" y="39"/>
                </a:cxn>
              </a:cxnLst>
              <a:rect l="0" t="0" r="r" b="b"/>
              <a:pathLst>
                <a:path w="48" h="48">
                  <a:moveTo>
                    <a:pt x="0" y="12"/>
                  </a:moveTo>
                  <a:lnTo>
                    <a:pt x="12" y="48"/>
                  </a:lnTo>
                  <a:lnTo>
                    <a:pt x="48" y="36"/>
                  </a:lnTo>
                  <a:lnTo>
                    <a:pt x="36" y="0"/>
                  </a:lnTo>
                  <a:lnTo>
                    <a:pt x="0" y="12"/>
                  </a:lnTo>
                  <a:close/>
                  <a:moveTo>
                    <a:pt x="17" y="39"/>
                  </a:moveTo>
                  <a:lnTo>
                    <a:pt x="12" y="20"/>
                  </a:lnTo>
                  <a:lnTo>
                    <a:pt x="32" y="12"/>
                  </a:lnTo>
                  <a:lnTo>
                    <a:pt x="36" y="32"/>
                  </a:lnTo>
                  <a:lnTo>
                    <a:pt x="17" y="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580" name="Group 332"/>
          <p:cNvGrpSpPr>
            <a:grpSpLocks noChangeAspect="1"/>
          </p:cNvGrpSpPr>
          <p:nvPr/>
        </p:nvGrpSpPr>
        <p:grpSpPr bwMode="auto">
          <a:xfrm>
            <a:off x="4734719" y="5402263"/>
            <a:ext cx="835025" cy="836612"/>
            <a:chOff x="2984" y="3403"/>
            <a:chExt cx="526" cy="527"/>
          </a:xfrm>
        </p:grpSpPr>
        <p:sp>
          <p:nvSpPr>
            <p:cNvPr id="53581" name="Oval 333"/>
            <p:cNvSpPr>
              <a:spLocks noChangeArrowheads="1"/>
            </p:cNvSpPr>
            <p:nvPr/>
          </p:nvSpPr>
          <p:spPr bwMode="auto">
            <a:xfrm>
              <a:off x="2984" y="3403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82" name="Freeform 334"/>
            <p:cNvSpPr>
              <a:spLocks noEditPoints="1"/>
            </p:cNvSpPr>
            <p:nvPr/>
          </p:nvSpPr>
          <p:spPr bwMode="auto">
            <a:xfrm>
              <a:off x="3005" y="3425"/>
              <a:ext cx="486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3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8" y="101"/>
                </a:cxn>
                <a:cxn ang="0">
                  <a:pos x="169" y="169"/>
                </a:cxn>
              </a:cxnLst>
              <a:rect l="0" t="0" r="r" b="b"/>
              <a:pathLst>
                <a:path w="203" h="202">
                  <a:moveTo>
                    <a:pt x="101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1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2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2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8" y="51"/>
                    <a:pt x="198" y="75"/>
                    <a:pt x="198" y="101"/>
                  </a:cubicBezTo>
                  <a:cubicBezTo>
                    <a:pt x="198" y="127"/>
                    <a:pt x="188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83" name="Freeform 335"/>
            <p:cNvSpPr>
              <a:spLocks noEditPoints="1"/>
            </p:cNvSpPr>
            <p:nvPr/>
          </p:nvSpPr>
          <p:spPr bwMode="auto">
            <a:xfrm>
              <a:off x="3099" y="3559"/>
              <a:ext cx="299" cy="206"/>
            </a:xfrm>
            <a:custGeom>
              <a:avLst/>
              <a:gdLst/>
              <a:ahLst/>
              <a:cxnLst>
                <a:cxn ang="0">
                  <a:pos x="0" y="182"/>
                </a:cxn>
                <a:cxn ang="0">
                  <a:pos x="129" y="182"/>
                </a:cxn>
                <a:cxn ang="0">
                  <a:pos x="129" y="198"/>
                </a:cxn>
                <a:cxn ang="0">
                  <a:pos x="115" y="198"/>
                </a:cxn>
                <a:cxn ang="0">
                  <a:pos x="115" y="206"/>
                </a:cxn>
                <a:cxn ang="0">
                  <a:pos x="184" y="206"/>
                </a:cxn>
                <a:cxn ang="0">
                  <a:pos x="184" y="198"/>
                </a:cxn>
                <a:cxn ang="0">
                  <a:pos x="170" y="198"/>
                </a:cxn>
                <a:cxn ang="0">
                  <a:pos x="170" y="182"/>
                </a:cxn>
                <a:cxn ang="0">
                  <a:pos x="299" y="182"/>
                </a:cxn>
                <a:cxn ang="0">
                  <a:pos x="299" y="0"/>
                </a:cxn>
                <a:cxn ang="0">
                  <a:pos x="0" y="0"/>
                </a:cxn>
                <a:cxn ang="0">
                  <a:pos x="0" y="182"/>
                </a:cxn>
                <a:cxn ang="0">
                  <a:pos x="160" y="182"/>
                </a:cxn>
                <a:cxn ang="0">
                  <a:pos x="160" y="198"/>
                </a:cxn>
                <a:cxn ang="0">
                  <a:pos x="139" y="198"/>
                </a:cxn>
                <a:cxn ang="0">
                  <a:pos x="139" y="182"/>
                </a:cxn>
                <a:cxn ang="0">
                  <a:pos x="160" y="182"/>
                </a:cxn>
                <a:cxn ang="0">
                  <a:pos x="7" y="7"/>
                </a:cxn>
                <a:cxn ang="0">
                  <a:pos x="289" y="7"/>
                </a:cxn>
                <a:cxn ang="0">
                  <a:pos x="289" y="172"/>
                </a:cxn>
                <a:cxn ang="0">
                  <a:pos x="7" y="172"/>
                </a:cxn>
                <a:cxn ang="0">
                  <a:pos x="7" y="7"/>
                </a:cxn>
              </a:cxnLst>
              <a:rect l="0" t="0" r="r" b="b"/>
              <a:pathLst>
                <a:path w="299" h="206">
                  <a:moveTo>
                    <a:pt x="0" y="182"/>
                  </a:moveTo>
                  <a:lnTo>
                    <a:pt x="129" y="182"/>
                  </a:lnTo>
                  <a:lnTo>
                    <a:pt x="129" y="198"/>
                  </a:lnTo>
                  <a:lnTo>
                    <a:pt x="115" y="198"/>
                  </a:lnTo>
                  <a:lnTo>
                    <a:pt x="115" y="206"/>
                  </a:lnTo>
                  <a:lnTo>
                    <a:pt x="184" y="206"/>
                  </a:lnTo>
                  <a:lnTo>
                    <a:pt x="184" y="198"/>
                  </a:lnTo>
                  <a:lnTo>
                    <a:pt x="170" y="198"/>
                  </a:lnTo>
                  <a:lnTo>
                    <a:pt x="170" y="182"/>
                  </a:lnTo>
                  <a:lnTo>
                    <a:pt x="299" y="182"/>
                  </a:lnTo>
                  <a:lnTo>
                    <a:pt x="299" y="0"/>
                  </a:lnTo>
                  <a:lnTo>
                    <a:pt x="0" y="0"/>
                  </a:lnTo>
                  <a:lnTo>
                    <a:pt x="0" y="182"/>
                  </a:lnTo>
                  <a:close/>
                  <a:moveTo>
                    <a:pt x="160" y="182"/>
                  </a:moveTo>
                  <a:lnTo>
                    <a:pt x="160" y="198"/>
                  </a:lnTo>
                  <a:lnTo>
                    <a:pt x="139" y="198"/>
                  </a:lnTo>
                  <a:lnTo>
                    <a:pt x="139" y="182"/>
                  </a:lnTo>
                  <a:lnTo>
                    <a:pt x="160" y="182"/>
                  </a:lnTo>
                  <a:close/>
                  <a:moveTo>
                    <a:pt x="7" y="7"/>
                  </a:moveTo>
                  <a:lnTo>
                    <a:pt x="289" y="7"/>
                  </a:lnTo>
                  <a:lnTo>
                    <a:pt x="289" y="172"/>
                  </a:lnTo>
                  <a:lnTo>
                    <a:pt x="7" y="172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84" name="Freeform 336"/>
            <p:cNvSpPr>
              <a:spLocks/>
            </p:cNvSpPr>
            <p:nvPr/>
          </p:nvSpPr>
          <p:spPr bwMode="auto">
            <a:xfrm>
              <a:off x="3154" y="3588"/>
              <a:ext cx="189" cy="122"/>
            </a:xfrm>
            <a:custGeom>
              <a:avLst/>
              <a:gdLst/>
              <a:ahLst/>
              <a:cxnLst>
                <a:cxn ang="0">
                  <a:pos x="136" y="21"/>
                </a:cxn>
                <a:cxn ang="0">
                  <a:pos x="127" y="21"/>
                </a:cxn>
                <a:cxn ang="0">
                  <a:pos x="98" y="107"/>
                </a:cxn>
                <a:cxn ang="0">
                  <a:pos x="67" y="0"/>
                </a:cxn>
                <a:cxn ang="0">
                  <a:pos x="57" y="0"/>
                </a:cxn>
                <a:cxn ang="0">
                  <a:pos x="36" y="52"/>
                </a:cxn>
                <a:cxn ang="0">
                  <a:pos x="0" y="52"/>
                </a:cxn>
                <a:cxn ang="0">
                  <a:pos x="0" y="62"/>
                </a:cxn>
                <a:cxn ang="0">
                  <a:pos x="41" y="62"/>
                </a:cxn>
                <a:cxn ang="0">
                  <a:pos x="43" y="59"/>
                </a:cxn>
                <a:cxn ang="0">
                  <a:pos x="62" y="14"/>
                </a:cxn>
                <a:cxn ang="0">
                  <a:pos x="93" y="122"/>
                </a:cxn>
                <a:cxn ang="0">
                  <a:pos x="100" y="122"/>
                </a:cxn>
                <a:cxn ang="0">
                  <a:pos x="131" y="35"/>
                </a:cxn>
                <a:cxn ang="0">
                  <a:pos x="143" y="57"/>
                </a:cxn>
                <a:cxn ang="0">
                  <a:pos x="148" y="59"/>
                </a:cxn>
                <a:cxn ang="0">
                  <a:pos x="189" y="59"/>
                </a:cxn>
                <a:cxn ang="0">
                  <a:pos x="189" y="52"/>
                </a:cxn>
                <a:cxn ang="0">
                  <a:pos x="151" y="52"/>
                </a:cxn>
                <a:cxn ang="0">
                  <a:pos x="136" y="21"/>
                </a:cxn>
              </a:cxnLst>
              <a:rect l="0" t="0" r="r" b="b"/>
              <a:pathLst>
                <a:path w="189" h="122">
                  <a:moveTo>
                    <a:pt x="136" y="21"/>
                  </a:moveTo>
                  <a:lnTo>
                    <a:pt x="127" y="21"/>
                  </a:lnTo>
                  <a:lnTo>
                    <a:pt x="98" y="107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36" y="52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41" y="62"/>
                  </a:lnTo>
                  <a:lnTo>
                    <a:pt x="43" y="59"/>
                  </a:lnTo>
                  <a:lnTo>
                    <a:pt x="62" y="14"/>
                  </a:lnTo>
                  <a:lnTo>
                    <a:pt x="93" y="122"/>
                  </a:lnTo>
                  <a:lnTo>
                    <a:pt x="100" y="122"/>
                  </a:lnTo>
                  <a:lnTo>
                    <a:pt x="131" y="35"/>
                  </a:lnTo>
                  <a:lnTo>
                    <a:pt x="143" y="57"/>
                  </a:lnTo>
                  <a:lnTo>
                    <a:pt x="148" y="59"/>
                  </a:lnTo>
                  <a:lnTo>
                    <a:pt x="189" y="59"/>
                  </a:lnTo>
                  <a:lnTo>
                    <a:pt x="189" y="52"/>
                  </a:lnTo>
                  <a:lnTo>
                    <a:pt x="151" y="52"/>
                  </a:lnTo>
                  <a:lnTo>
                    <a:pt x="136" y="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587" name="Group 339"/>
          <p:cNvGrpSpPr>
            <a:grpSpLocks noChangeAspect="1"/>
          </p:cNvGrpSpPr>
          <p:nvPr/>
        </p:nvGrpSpPr>
        <p:grpSpPr bwMode="auto">
          <a:xfrm>
            <a:off x="5859467" y="5435597"/>
            <a:ext cx="768350" cy="768350"/>
            <a:chOff x="3693" y="3424"/>
            <a:chExt cx="484" cy="484"/>
          </a:xfrm>
        </p:grpSpPr>
        <p:sp>
          <p:nvSpPr>
            <p:cNvPr id="53588" name="Freeform 340"/>
            <p:cNvSpPr>
              <a:spLocks noEditPoints="1"/>
            </p:cNvSpPr>
            <p:nvPr/>
          </p:nvSpPr>
          <p:spPr bwMode="auto">
            <a:xfrm>
              <a:off x="3693" y="342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89" name="Freeform 341"/>
            <p:cNvSpPr>
              <a:spLocks noEditPoints="1"/>
            </p:cNvSpPr>
            <p:nvPr/>
          </p:nvSpPr>
          <p:spPr bwMode="auto">
            <a:xfrm>
              <a:off x="3784" y="3559"/>
              <a:ext cx="302" cy="206"/>
            </a:xfrm>
            <a:custGeom>
              <a:avLst/>
              <a:gdLst/>
              <a:ahLst/>
              <a:cxnLst>
                <a:cxn ang="0">
                  <a:pos x="0" y="182"/>
                </a:cxn>
                <a:cxn ang="0">
                  <a:pos x="132" y="182"/>
                </a:cxn>
                <a:cxn ang="0">
                  <a:pos x="132" y="198"/>
                </a:cxn>
                <a:cxn ang="0">
                  <a:pos x="115" y="198"/>
                </a:cxn>
                <a:cxn ang="0">
                  <a:pos x="115" y="206"/>
                </a:cxn>
                <a:cxn ang="0">
                  <a:pos x="187" y="206"/>
                </a:cxn>
                <a:cxn ang="0">
                  <a:pos x="187" y="198"/>
                </a:cxn>
                <a:cxn ang="0">
                  <a:pos x="171" y="198"/>
                </a:cxn>
                <a:cxn ang="0">
                  <a:pos x="171" y="182"/>
                </a:cxn>
                <a:cxn ang="0">
                  <a:pos x="302" y="182"/>
                </a:cxn>
                <a:cxn ang="0">
                  <a:pos x="302" y="0"/>
                </a:cxn>
                <a:cxn ang="0">
                  <a:pos x="0" y="0"/>
                </a:cxn>
                <a:cxn ang="0">
                  <a:pos x="0" y="182"/>
                </a:cxn>
                <a:cxn ang="0">
                  <a:pos x="163" y="182"/>
                </a:cxn>
                <a:cxn ang="0">
                  <a:pos x="163" y="198"/>
                </a:cxn>
                <a:cxn ang="0">
                  <a:pos x="139" y="198"/>
                </a:cxn>
                <a:cxn ang="0">
                  <a:pos x="139" y="182"/>
                </a:cxn>
                <a:cxn ang="0">
                  <a:pos x="163" y="182"/>
                </a:cxn>
                <a:cxn ang="0">
                  <a:pos x="10" y="7"/>
                </a:cxn>
                <a:cxn ang="0">
                  <a:pos x="293" y="7"/>
                </a:cxn>
                <a:cxn ang="0">
                  <a:pos x="293" y="172"/>
                </a:cxn>
                <a:cxn ang="0">
                  <a:pos x="10" y="172"/>
                </a:cxn>
                <a:cxn ang="0">
                  <a:pos x="10" y="7"/>
                </a:cxn>
              </a:cxnLst>
              <a:rect l="0" t="0" r="r" b="b"/>
              <a:pathLst>
                <a:path w="302" h="206">
                  <a:moveTo>
                    <a:pt x="0" y="182"/>
                  </a:moveTo>
                  <a:lnTo>
                    <a:pt x="132" y="182"/>
                  </a:lnTo>
                  <a:lnTo>
                    <a:pt x="132" y="198"/>
                  </a:lnTo>
                  <a:lnTo>
                    <a:pt x="115" y="198"/>
                  </a:lnTo>
                  <a:lnTo>
                    <a:pt x="115" y="206"/>
                  </a:lnTo>
                  <a:lnTo>
                    <a:pt x="187" y="206"/>
                  </a:lnTo>
                  <a:lnTo>
                    <a:pt x="187" y="198"/>
                  </a:lnTo>
                  <a:lnTo>
                    <a:pt x="171" y="198"/>
                  </a:lnTo>
                  <a:lnTo>
                    <a:pt x="171" y="182"/>
                  </a:lnTo>
                  <a:lnTo>
                    <a:pt x="302" y="182"/>
                  </a:lnTo>
                  <a:lnTo>
                    <a:pt x="302" y="0"/>
                  </a:lnTo>
                  <a:lnTo>
                    <a:pt x="0" y="0"/>
                  </a:lnTo>
                  <a:lnTo>
                    <a:pt x="0" y="182"/>
                  </a:lnTo>
                  <a:close/>
                  <a:moveTo>
                    <a:pt x="163" y="182"/>
                  </a:moveTo>
                  <a:lnTo>
                    <a:pt x="163" y="198"/>
                  </a:lnTo>
                  <a:lnTo>
                    <a:pt x="139" y="198"/>
                  </a:lnTo>
                  <a:lnTo>
                    <a:pt x="139" y="182"/>
                  </a:lnTo>
                  <a:lnTo>
                    <a:pt x="163" y="182"/>
                  </a:lnTo>
                  <a:close/>
                  <a:moveTo>
                    <a:pt x="10" y="7"/>
                  </a:moveTo>
                  <a:lnTo>
                    <a:pt x="293" y="7"/>
                  </a:lnTo>
                  <a:lnTo>
                    <a:pt x="293" y="172"/>
                  </a:lnTo>
                  <a:lnTo>
                    <a:pt x="10" y="172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90" name="Freeform 342"/>
            <p:cNvSpPr>
              <a:spLocks/>
            </p:cNvSpPr>
            <p:nvPr/>
          </p:nvSpPr>
          <p:spPr bwMode="auto">
            <a:xfrm>
              <a:off x="3840" y="3587"/>
              <a:ext cx="189" cy="123"/>
            </a:xfrm>
            <a:custGeom>
              <a:avLst/>
              <a:gdLst/>
              <a:ahLst/>
              <a:cxnLst>
                <a:cxn ang="0">
                  <a:pos x="136" y="22"/>
                </a:cxn>
                <a:cxn ang="0">
                  <a:pos x="129" y="22"/>
                </a:cxn>
                <a:cxn ang="0">
                  <a:pos x="98" y="108"/>
                </a:cxn>
                <a:cxn ang="0">
                  <a:pos x="67" y="0"/>
                </a:cxn>
                <a:cxn ang="0">
                  <a:pos x="59" y="0"/>
                </a:cxn>
                <a:cxn ang="0">
                  <a:pos x="38" y="53"/>
                </a:cxn>
                <a:cxn ang="0">
                  <a:pos x="0" y="53"/>
                </a:cxn>
                <a:cxn ang="0">
                  <a:pos x="0" y="63"/>
                </a:cxn>
                <a:cxn ang="0">
                  <a:pos x="40" y="63"/>
                </a:cxn>
                <a:cxn ang="0">
                  <a:pos x="45" y="60"/>
                </a:cxn>
                <a:cxn ang="0">
                  <a:pos x="62" y="15"/>
                </a:cxn>
                <a:cxn ang="0">
                  <a:pos x="95" y="123"/>
                </a:cxn>
                <a:cxn ang="0">
                  <a:pos x="103" y="123"/>
                </a:cxn>
                <a:cxn ang="0">
                  <a:pos x="134" y="36"/>
                </a:cxn>
                <a:cxn ang="0">
                  <a:pos x="146" y="58"/>
                </a:cxn>
                <a:cxn ang="0">
                  <a:pos x="148" y="60"/>
                </a:cxn>
                <a:cxn ang="0">
                  <a:pos x="189" y="60"/>
                </a:cxn>
                <a:cxn ang="0">
                  <a:pos x="189" y="53"/>
                </a:cxn>
                <a:cxn ang="0">
                  <a:pos x="153" y="53"/>
                </a:cxn>
                <a:cxn ang="0">
                  <a:pos x="136" y="22"/>
                </a:cxn>
              </a:cxnLst>
              <a:rect l="0" t="0" r="r" b="b"/>
              <a:pathLst>
                <a:path w="189" h="123">
                  <a:moveTo>
                    <a:pt x="136" y="22"/>
                  </a:moveTo>
                  <a:lnTo>
                    <a:pt x="129" y="22"/>
                  </a:lnTo>
                  <a:lnTo>
                    <a:pt x="98" y="108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38" y="53"/>
                  </a:lnTo>
                  <a:lnTo>
                    <a:pt x="0" y="53"/>
                  </a:lnTo>
                  <a:lnTo>
                    <a:pt x="0" y="63"/>
                  </a:lnTo>
                  <a:lnTo>
                    <a:pt x="40" y="63"/>
                  </a:lnTo>
                  <a:lnTo>
                    <a:pt x="45" y="60"/>
                  </a:lnTo>
                  <a:lnTo>
                    <a:pt x="62" y="15"/>
                  </a:lnTo>
                  <a:lnTo>
                    <a:pt x="95" y="123"/>
                  </a:lnTo>
                  <a:lnTo>
                    <a:pt x="103" y="123"/>
                  </a:lnTo>
                  <a:lnTo>
                    <a:pt x="134" y="36"/>
                  </a:lnTo>
                  <a:lnTo>
                    <a:pt x="146" y="58"/>
                  </a:lnTo>
                  <a:lnTo>
                    <a:pt x="148" y="60"/>
                  </a:lnTo>
                  <a:lnTo>
                    <a:pt x="189" y="60"/>
                  </a:lnTo>
                  <a:lnTo>
                    <a:pt x="189" y="53"/>
                  </a:lnTo>
                  <a:lnTo>
                    <a:pt x="153" y="53"/>
                  </a:lnTo>
                  <a:lnTo>
                    <a:pt x="136" y="2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593" name="Group 345"/>
          <p:cNvGrpSpPr>
            <a:grpSpLocks noChangeAspect="1"/>
          </p:cNvGrpSpPr>
          <p:nvPr/>
        </p:nvGrpSpPr>
        <p:grpSpPr bwMode="auto">
          <a:xfrm>
            <a:off x="6923087" y="5402263"/>
            <a:ext cx="835025" cy="836612"/>
            <a:chOff x="4362" y="3403"/>
            <a:chExt cx="526" cy="527"/>
          </a:xfrm>
        </p:grpSpPr>
        <p:sp>
          <p:nvSpPr>
            <p:cNvPr id="53594" name="Oval 346"/>
            <p:cNvSpPr>
              <a:spLocks noChangeArrowheads="1"/>
            </p:cNvSpPr>
            <p:nvPr/>
          </p:nvSpPr>
          <p:spPr bwMode="auto">
            <a:xfrm>
              <a:off x="4362" y="3403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95" name="Freeform 347"/>
            <p:cNvSpPr>
              <a:spLocks noEditPoints="1"/>
            </p:cNvSpPr>
            <p:nvPr/>
          </p:nvSpPr>
          <p:spPr bwMode="auto">
            <a:xfrm>
              <a:off x="4383" y="3425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96" name="Freeform 348"/>
            <p:cNvSpPr>
              <a:spLocks noEditPoints="1"/>
            </p:cNvSpPr>
            <p:nvPr/>
          </p:nvSpPr>
          <p:spPr bwMode="auto">
            <a:xfrm>
              <a:off x="4491" y="3532"/>
              <a:ext cx="79" cy="254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5" y="27"/>
                </a:cxn>
                <a:cxn ang="0">
                  <a:pos x="7" y="29"/>
                </a:cxn>
                <a:cxn ang="0">
                  <a:pos x="5" y="29"/>
                </a:cxn>
                <a:cxn ang="0">
                  <a:pos x="1" y="29"/>
                </a:cxn>
                <a:cxn ang="0">
                  <a:pos x="1" y="32"/>
                </a:cxn>
                <a:cxn ang="0">
                  <a:pos x="1" y="102"/>
                </a:cxn>
                <a:cxn ang="0">
                  <a:pos x="1" y="106"/>
                </a:cxn>
                <a:cxn ang="0">
                  <a:pos x="5" y="106"/>
                </a:cxn>
                <a:cxn ang="0">
                  <a:pos x="28" y="106"/>
                </a:cxn>
                <a:cxn ang="0">
                  <a:pos x="32" y="106"/>
                </a:cxn>
                <a:cxn ang="0">
                  <a:pos x="32" y="102"/>
                </a:cxn>
                <a:cxn ang="0">
                  <a:pos x="32" y="32"/>
                </a:cxn>
                <a:cxn ang="0">
                  <a:pos x="32" y="29"/>
                </a:cxn>
                <a:cxn ang="0">
                  <a:pos x="28" y="29"/>
                </a:cxn>
                <a:cxn ang="0">
                  <a:pos x="27" y="29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28" y="102"/>
                </a:cxn>
                <a:cxn ang="0">
                  <a:pos x="5" y="102"/>
                </a:cxn>
                <a:cxn ang="0">
                  <a:pos x="5" y="32"/>
                </a:cxn>
                <a:cxn ang="0">
                  <a:pos x="28" y="32"/>
                </a:cxn>
                <a:cxn ang="0">
                  <a:pos x="28" y="102"/>
                </a:cxn>
                <a:cxn ang="0">
                  <a:pos x="17" y="28"/>
                </a:cxn>
                <a:cxn ang="0">
                  <a:pos x="16" y="28"/>
                </a:cxn>
                <a:cxn ang="0">
                  <a:pos x="4" y="16"/>
                </a:cxn>
                <a:cxn ang="0">
                  <a:pos x="17" y="4"/>
                </a:cxn>
                <a:cxn ang="0">
                  <a:pos x="30" y="16"/>
                </a:cxn>
                <a:cxn ang="0">
                  <a:pos x="17" y="28"/>
                </a:cxn>
              </a:cxnLst>
              <a:rect l="0" t="0" r="r" b="b"/>
              <a:pathLst>
                <a:path w="33" h="106">
                  <a:moveTo>
                    <a:pt x="17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0"/>
                    <a:pt x="2" y="24"/>
                    <a:pt x="5" y="27"/>
                  </a:cubicBezTo>
                  <a:cubicBezTo>
                    <a:pt x="5" y="28"/>
                    <a:pt x="6" y="28"/>
                    <a:pt x="7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31" y="26"/>
                    <a:pt x="33" y="21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28" y="102"/>
                  </a:moveTo>
                  <a:cubicBezTo>
                    <a:pt x="5" y="102"/>
                    <a:pt x="5" y="102"/>
                    <a:pt x="5" y="10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8" y="32"/>
                    <a:pt x="28" y="32"/>
                    <a:pt x="28" y="32"/>
                  </a:cubicBezTo>
                  <a:lnTo>
                    <a:pt x="28" y="102"/>
                  </a:lnTo>
                  <a:close/>
                  <a:moveTo>
                    <a:pt x="17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9" y="28"/>
                    <a:pt x="4" y="23"/>
                    <a:pt x="4" y="16"/>
                  </a:cubicBezTo>
                  <a:cubicBezTo>
                    <a:pt x="4" y="9"/>
                    <a:pt x="9" y="4"/>
                    <a:pt x="17" y="4"/>
                  </a:cubicBezTo>
                  <a:cubicBezTo>
                    <a:pt x="25" y="4"/>
                    <a:pt x="30" y="9"/>
                    <a:pt x="30" y="16"/>
                  </a:cubicBezTo>
                  <a:cubicBezTo>
                    <a:pt x="30" y="23"/>
                    <a:pt x="25" y="28"/>
                    <a:pt x="17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97" name="Freeform 349"/>
            <p:cNvSpPr>
              <a:spLocks noEditPoints="1"/>
            </p:cNvSpPr>
            <p:nvPr/>
          </p:nvSpPr>
          <p:spPr bwMode="auto">
            <a:xfrm>
              <a:off x="4582" y="3597"/>
              <a:ext cx="187" cy="189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1" y="7"/>
                </a:cxn>
                <a:cxn ang="0">
                  <a:pos x="31" y="5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4" y="2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75"/>
                </a:cxn>
                <a:cxn ang="0">
                  <a:pos x="0" y="79"/>
                </a:cxn>
                <a:cxn ang="0">
                  <a:pos x="4" y="79"/>
                </a:cxn>
                <a:cxn ang="0">
                  <a:pos x="27" y="79"/>
                </a:cxn>
                <a:cxn ang="0">
                  <a:pos x="31" y="79"/>
                </a:cxn>
                <a:cxn ang="0">
                  <a:pos x="31" y="75"/>
                </a:cxn>
                <a:cxn ang="0">
                  <a:pos x="31" y="36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40" y="26"/>
                </a:cxn>
                <a:cxn ang="0">
                  <a:pos x="48" y="38"/>
                </a:cxn>
                <a:cxn ang="0">
                  <a:pos x="48" y="75"/>
                </a:cxn>
                <a:cxn ang="0">
                  <a:pos x="48" y="79"/>
                </a:cxn>
                <a:cxn ang="0">
                  <a:pos x="51" y="79"/>
                </a:cxn>
                <a:cxn ang="0">
                  <a:pos x="74" y="79"/>
                </a:cxn>
                <a:cxn ang="0">
                  <a:pos x="78" y="79"/>
                </a:cxn>
                <a:cxn ang="0">
                  <a:pos x="78" y="75"/>
                </a:cxn>
                <a:cxn ang="0">
                  <a:pos x="78" y="35"/>
                </a:cxn>
                <a:cxn ang="0">
                  <a:pos x="70" y="9"/>
                </a:cxn>
                <a:cxn ang="0">
                  <a:pos x="48" y="0"/>
                </a:cxn>
                <a:cxn ang="0">
                  <a:pos x="74" y="75"/>
                </a:cxn>
                <a:cxn ang="0">
                  <a:pos x="51" y="75"/>
                </a:cxn>
                <a:cxn ang="0">
                  <a:pos x="51" y="38"/>
                </a:cxn>
                <a:cxn ang="0">
                  <a:pos x="40" y="22"/>
                </a:cxn>
                <a:cxn ang="0">
                  <a:pos x="28" y="30"/>
                </a:cxn>
                <a:cxn ang="0">
                  <a:pos x="27" y="36"/>
                </a:cxn>
                <a:cxn ang="0">
                  <a:pos x="27" y="75"/>
                </a:cxn>
                <a:cxn ang="0">
                  <a:pos x="4" y="75"/>
                </a:cxn>
                <a:cxn ang="0">
                  <a:pos x="4" y="5"/>
                </a:cxn>
                <a:cxn ang="0">
                  <a:pos x="27" y="5"/>
                </a:cxn>
                <a:cxn ang="0">
                  <a:pos x="27" y="15"/>
                </a:cxn>
                <a:cxn ang="0">
                  <a:pos x="27" y="15"/>
                </a:cxn>
                <a:cxn ang="0">
                  <a:pos x="48" y="4"/>
                </a:cxn>
                <a:cxn ang="0">
                  <a:pos x="74" y="35"/>
                </a:cxn>
                <a:cxn ang="0">
                  <a:pos x="74" y="75"/>
                </a:cxn>
              </a:cxnLst>
              <a:rect l="0" t="0" r="r" b="b"/>
              <a:pathLst>
                <a:path w="78" h="79">
                  <a:moveTo>
                    <a:pt x="48" y="0"/>
                  </a:moveTo>
                  <a:cubicBezTo>
                    <a:pt x="41" y="0"/>
                    <a:pt x="35" y="3"/>
                    <a:pt x="31" y="7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12"/>
                    <a:pt x="0" y="74"/>
                    <a:pt x="0" y="7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34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2" y="30"/>
                    <a:pt x="34" y="26"/>
                    <a:pt x="40" y="26"/>
                  </a:cubicBezTo>
                  <a:cubicBezTo>
                    <a:pt x="42" y="26"/>
                    <a:pt x="48" y="26"/>
                    <a:pt x="48" y="38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24"/>
                    <a:pt x="75" y="15"/>
                    <a:pt x="70" y="9"/>
                  </a:cubicBezTo>
                  <a:cubicBezTo>
                    <a:pt x="64" y="3"/>
                    <a:pt x="57" y="0"/>
                    <a:pt x="48" y="0"/>
                  </a:cubicBezTo>
                  <a:close/>
                  <a:moveTo>
                    <a:pt x="74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28"/>
                    <a:pt x="48" y="22"/>
                    <a:pt x="40" y="22"/>
                  </a:cubicBezTo>
                  <a:cubicBezTo>
                    <a:pt x="33" y="22"/>
                    <a:pt x="29" y="26"/>
                    <a:pt x="28" y="30"/>
                  </a:cubicBezTo>
                  <a:cubicBezTo>
                    <a:pt x="27" y="32"/>
                    <a:pt x="27" y="34"/>
                    <a:pt x="27" y="3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12"/>
                    <a:pt x="4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36" y="4"/>
                    <a:pt x="48" y="4"/>
                  </a:cubicBezTo>
                  <a:cubicBezTo>
                    <a:pt x="63" y="4"/>
                    <a:pt x="74" y="14"/>
                    <a:pt x="74" y="35"/>
                  </a:cubicBezTo>
                  <a:lnTo>
                    <a:pt x="74" y="7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600" name="Group 352"/>
          <p:cNvGrpSpPr>
            <a:grpSpLocks noChangeAspect="1"/>
          </p:cNvGrpSpPr>
          <p:nvPr/>
        </p:nvGrpSpPr>
        <p:grpSpPr bwMode="auto">
          <a:xfrm>
            <a:off x="8052594" y="5435597"/>
            <a:ext cx="768350" cy="768350"/>
            <a:chOff x="5069" y="3424"/>
            <a:chExt cx="484" cy="484"/>
          </a:xfrm>
        </p:grpSpPr>
        <p:sp>
          <p:nvSpPr>
            <p:cNvPr id="53601" name="Freeform 353"/>
            <p:cNvSpPr>
              <a:spLocks noEditPoints="1"/>
            </p:cNvSpPr>
            <p:nvPr/>
          </p:nvSpPr>
          <p:spPr bwMode="auto">
            <a:xfrm>
              <a:off x="5069" y="342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02" name="Freeform 354"/>
            <p:cNvSpPr>
              <a:spLocks noEditPoints="1"/>
            </p:cNvSpPr>
            <p:nvPr/>
          </p:nvSpPr>
          <p:spPr bwMode="auto">
            <a:xfrm>
              <a:off x="5177" y="3532"/>
              <a:ext cx="79" cy="254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5" y="27"/>
                </a:cxn>
                <a:cxn ang="0">
                  <a:pos x="7" y="29"/>
                </a:cxn>
                <a:cxn ang="0">
                  <a:pos x="5" y="29"/>
                </a:cxn>
                <a:cxn ang="0">
                  <a:pos x="1" y="29"/>
                </a:cxn>
                <a:cxn ang="0">
                  <a:pos x="1" y="32"/>
                </a:cxn>
                <a:cxn ang="0">
                  <a:pos x="1" y="102"/>
                </a:cxn>
                <a:cxn ang="0">
                  <a:pos x="1" y="106"/>
                </a:cxn>
                <a:cxn ang="0">
                  <a:pos x="5" y="106"/>
                </a:cxn>
                <a:cxn ang="0">
                  <a:pos x="28" y="106"/>
                </a:cxn>
                <a:cxn ang="0">
                  <a:pos x="32" y="106"/>
                </a:cxn>
                <a:cxn ang="0">
                  <a:pos x="32" y="102"/>
                </a:cxn>
                <a:cxn ang="0">
                  <a:pos x="32" y="32"/>
                </a:cxn>
                <a:cxn ang="0">
                  <a:pos x="32" y="29"/>
                </a:cxn>
                <a:cxn ang="0">
                  <a:pos x="28" y="29"/>
                </a:cxn>
                <a:cxn ang="0">
                  <a:pos x="27" y="29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28" y="102"/>
                </a:cxn>
                <a:cxn ang="0">
                  <a:pos x="5" y="102"/>
                </a:cxn>
                <a:cxn ang="0">
                  <a:pos x="5" y="32"/>
                </a:cxn>
                <a:cxn ang="0">
                  <a:pos x="28" y="32"/>
                </a:cxn>
                <a:cxn ang="0">
                  <a:pos x="28" y="102"/>
                </a:cxn>
                <a:cxn ang="0">
                  <a:pos x="17" y="28"/>
                </a:cxn>
                <a:cxn ang="0">
                  <a:pos x="16" y="28"/>
                </a:cxn>
                <a:cxn ang="0">
                  <a:pos x="4" y="16"/>
                </a:cxn>
                <a:cxn ang="0">
                  <a:pos x="17" y="4"/>
                </a:cxn>
                <a:cxn ang="0">
                  <a:pos x="30" y="16"/>
                </a:cxn>
                <a:cxn ang="0">
                  <a:pos x="17" y="28"/>
                </a:cxn>
              </a:cxnLst>
              <a:rect l="0" t="0" r="r" b="b"/>
              <a:pathLst>
                <a:path w="33" h="106">
                  <a:moveTo>
                    <a:pt x="17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0"/>
                    <a:pt x="2" y="24"/>
                    <a:pt x="5" y="27"/>
                  </a:cubicBezTo>
                  <a:cubicBezTo>
                    <a:pt x="5" y="28"/>
                    <a:pt x="6" y="28"/>
                    <a:pt x="7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5" y="106"/>
                    <a:pt x="5" y="106"/>
                    <a:pt x="5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31" y="26"/>
                    <a:pt x="33" y="21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28" y="102"/>
                  </a:moveTo>
                  <a:cubicBezTo>
                    <a:pt x="5" y="102"/>
                    <a:pt x="5" y="102"/>
                    <a:pt x="5" y="10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8" y="32"/>
                    <a:pt x="28" y="32"/>
                    <a:pt x="28" y="32"/>
                  </a:cubicBezTo>
                  <a:lnTo>
                    <a:pt x="28" y="102"/>
                  </a:lnTo>
                  <a:close/>
                  <a:moveTo>
                    <a:pt x="17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9" y="28"/>
                    <a:pt x="4" y="23"/>
                    <a:pt x="4" y="16"/>
                  </a:cubicBezTo>
                  <a:cubicBezTo>
                    <a:pt x="4" y="9"/>
                    <a:pt x="9" y="4"/>
                    <a:pt x="17" y="4"/>
                  </a:cubicBezTo>
                  <a:cubicBezTo>
                    <a:pt x="25" y="4"/>
                    <a:pt x="30" y="9"/>
                    <a:pt x="30" y="16"/>
                  </a:cubicBezTo>
                  <a:cubicBezTo>
                    <a:pt x="30" y="23"/>
                    <a:pt x="25" y="28"/>
                    <a:pt x="17" y="2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03" name="Freeform 355"/>
            <p:cNvSpPr>
              <a:spLocks noEditPoints="1"/>
            </p:cNvSpPr>
            <p:nvPr/>
          </p:nvSpPr>
          <p:spPr bwMode="auto">
            <a:xfrm>
              <a:off x="5268" y="3597"/>
              <a:ext cx="187" cy="189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1" y="7"/>
                </a:cxn>
                <a:cxn ang="0">
                  <a:pos x="31" y="5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4" y="2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75"/>
                </a:cxn>
                <a:cxn ang="0">
                  <a:pos x="0" y="79"/>
                </a:cxn>
                <a:cxn ang="0">
                  <a:pos x="4" y="79"/>
                </a:cxn>
                <a:cxn ang="0">
                  <a:pos x="27" y="79"/>
                </a:cxn>
                <a:cxn ang="0">
                  <a:pos x="31" y="79"/>
                </a:cxn>
                <a:cxn ang="0">
                  <a:pos x="31" y="75"/>
                </a:cxn>
                <a:cxn ang="0">
                  <a:pos x="31" y="36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40" y="26"/>
                </a:cxn>
                <a:cxn ang="0">
                  <a:pos x="48" y="38"/>
                </a:cxn>
                <a:cxn ang="0">
                  <a:pos x="48" y="75"/>
                </a:cxn>
                <a:cxn ang="0">
                  <a:pos x="48" y="79"/>
                </a:cxn>
                <a:cxn ang="0">
                  <a:pos x="51" y="79"/>
                </a:cxn>
                <a:cxn ang="0">
                  <a:pos x="74" y="79"/>
                </a:cxn>
                <a:cxn ang="0">
                  <a:pos x="78" y="79"/>
                </a:cxn>
                <a:cxn ang="0">
                  <a:pos x="78" y="75"/>
                </a:cxn>
                <a:cxn ang="0">
                  <a:pos x="78" y="35"/>
                </a:cxn>
                <a:cxn ang="0">
                  <a:pos x="70" y="9"/>
                </a:cxn>
                <a:cxn ang="0">
                  <a:pos x="48" y="0"/>
                </a:cxn>
                <a:cxn ang="0">
                  <a:pos x="74" y="75"/>
                </a:cxn>
                <a:cxn ang="0">
                  <a:pos x="51" y="75"/>
                </a:cxn>
                <a:cxn ang="0">
                  <a:pos x="51" y="38"/>
                </a:cxn>
                <a:cxn ang="0">
                  <a:pos x="40" y="22"/>
                </a:cxn>
                <a:cxn ang="0">
                  <a:pos x="28" y="30"/>
                </a:cxn>
                <a:cxn ang="0">
                  <a:pos x="27" y="36"/>
                </a:cxn>
                <a:cxn ang="0">
                  <a:pos x="27" y="75"/>
                </a:cxn>
                <a:cxn ang="0">
                  <a:pos x="4" y="75"/>
                </a:cxn>
                <a:cxn ang="0">
                  <a:pos x="4" y="5"/>
                </a:cxn>
                <a:cxn ang="0">
                  <a:pos x="27" y="5"/>
                </a:cxn>
                <a:cxn ang="0">
                  <a:pos x="27" y="15"/>
                </a:cxn>
                <a:cxn ang="0">
                  <a:pos x="27" y="15"/>
                </a:cxn>
                <a:cxn ang="0">
                  <a:pos x="48" y="4"/>
                </a:cxn>
                <a:cxn ang="0">
                  <a:pos x="74" y="35"/>
                </a:cxn>
                <a:cxn ang="0">
                  <a:pos x="74" y="75"/>
                </a:cxn>
              </a:cxnLst>
              <a:rect l="0" t="0" r="r" b="b"/>
              <a:pathLst>
                <a:path w="78" h="79">
                  <a:moveTo>
                    <a:pt x="48" y="0"/>
                  </a:moveTo>
                  <a:cubicBezTo>
                    <a:pt x="41" y="0"/>
                    <a:pt x="35" y="3"/>
                    <a:pt x="31" y="7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12"/>
                    <a:pt x="0" y="74"/>
                    <a:pt x="0" y="7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34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2" y="30"/>
                    <a:pt x="34" y="26"/>
                    <a:pt x="40" y="26"/>
                  </a:cubicBezTo>
                  <a:cubicBezTo>
                    <a:pt x="42" y="26"/>
                    <a:pt x="48" y="26"/>
                    <a:pt x="48" y="38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24"/>
                    <a:pt x="75" y="15"/>
                    <a:pt x="70" y="9"/>
                  </a:cubicBezTo>
                  <a:cubicBezTo>
                    <a:pt x="64" y="3"/>
                    <a:pt x="57" y="0"/>
                    <a:pt x="48" y="0"/>
                  </a:cubicBezTo>
                  <a:close/>
                  <a:moveTo>
                    <a:pt x="74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28"/>
                    <a:pt x="48" y="22"/>
                    <a:pt x="40" y="22"/>
                  </a:cubicBezTo>
                  <a:cubicBezTo>
                    <a:pt x="33" y="22"/>
                    <a:pt x="29" y="26"/>
                    <a:pt x="28" y="30"/>
                  </a:cubicBezTo>
                  <a:cubicBezTo>
                    <a:pt x="27" y="32"/>
                    <a:pt x="27" y="34"/>
                    <a:pt x="27" y="3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12"/>
                    <a:pt x="4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36" y="4"/>
                    <a:pt x="48" y="4"/>
                  </a:cubicBezTo>
                  <a:cubicBezTo>
                    <a:pt x="63" y="4"/>
                    <a:pt x="74" y="14"/>
                    <a:pt x="74" y="35"/>
                  </a:cubicBezTo>
                  <a:lnTo>
                    <a:pt x="74" y="7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1" name="Table 440">
            <a:extLst>
              <a:ext uri="{FF2B5EF4-FFF2-40B4-BE49-F238E27FC236}">
                <a16:creationId xmlns:a16="http://schemas.microsoft.com/office/drawing/2014/main" id="{22ED5D6B-61A9-40FB-822B-BBE2769C47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50580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/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/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nag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p 1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p 2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p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asur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gaphon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Merg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Moves, Adds, Chang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Mov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Multi Famil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ulti Si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ewspaper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bligations of Occupanc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ccupancy Plann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ccupied Works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Buildings 1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Buildings 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Buildings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ffice Loc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nline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Search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4276" name="Group 4"/>
          <p:cNvGrpSpPr>
            <a:grpSpLocks noChangeAspect="1"/>
          </p:cNvGrpSpPr>
          <p:nvPr/>
        </p:nvGrpSpPr>
        <p:grpSpPr bwMode="auto">
          <a:xfrm>
            <a:off x="346869" y="244475"/>
            <a:ext cx="838200" cy="836613"/>
            <a:chOff x="215" y="154"/>
            <a:chExt cx="528" cy="527"/>
          </a:xfrm>
        </p:grpSpPr>
        <p:sp>
          <p:nvSpPr>
            <p:cNvPr id="54277" name="Oval 5"/>
            <p:cNvSpPr>
              <a:spLocks noChangeArrowheads="1"/>
            </p:cNvSpPr>
            <p:nvPr/>
          </p:nvSpPr>
          <p:spPr bwMode="auto">
            <a:xfrm>
              <a:off x="215" y="154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78" name="Freeform 6"/>
            <p:cNvSpPr>
              <a:spLocks noEditPoints="1"/>
            </p:cNvSpPr>
            <p:nvPr/>
          </p:nvSpPr>
          <p:spPr bwMode="auto">
            <a:xfrm>
              <a:off x="237" y="176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79" name="Freeform 7"/>
            <p:cNvSpPr>
              <a:spLocks noEditPoints="1"/>
            </p:cNvSpPr>
            <p:nvPr/>
          </p:nvSpPr>
          <p:spPr bwMode="auto">
            <a:xfrm>
              <a:off x="314" y="291"/>
              <a:ext cx="354" cy="229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2" y="81"/>
                </a:cxn>
                <a:cxn ang="0">
                  <a:pos x="146" y="73"/>
                </a:cxn>
                <a:cxn ang="0">
                  <a:pos x="113" y="11"/>
                </a:cxn>
                <a:cxn ang="0">
                  <a:pos x="111" y="49"/>
                </a:cxn>
                <a:cxn ang="0">
                  <a:pos x="109" y="50"/>
                </a:cxn>
                <a:cxn ang="0">
                  <a:pos x="105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2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7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9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6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60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9" y="78"/>
                </a:cxn>
                <a:cxn ang="0">
                  <a:pos x="29" y="78"/>
                </a:cxn>
                <a:cxn ang="0">
                  <a:pos x="32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3" y="54"/>
                </a:cxn>
              </a:cxnLst>
              <a:rect l="0" t="0" r="r" b="b"/>
              <a:pathLst>
                <a:path w="148" h="96">
                  <a:moveTo>
                    <a:pt x="146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6" y="33"/>
                    <a:pt x="125" y="19"/>
                    <a:pt x="115" y="9"/>
                  </a:cubicBezTo>
                  <a:cubicBezTo>
                    <a:pt x="110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4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6" y="73"/>
                  </a:lnTo>
                  <a:close/>
                  <a:moveTo>
                    <a:pt x="76" y="10"/>
                  </a:moveTo>
                  <a:cubicBezTo>
                    <a:pt x="81" y="6"/>
                    <a:pt x="88" y="3"/>
                    <a:pt x="94" y="3"/>
                  </a:cubicBezTo>
                  <a:cubicBezTo>
                    <a:pt x="101" y="3"/>
                    <a:pt x="107" y="6"/>
                    <a:pt x="113" y="11"/>
                  </a:cubicBezTo>
                  <a:cubicBezTo>
                    <a:pt x="122" y="22"/>
                    <a:pt x="122" y="38"/>
                    <a:pt x="112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1" y="48"/>
                    <a:pt x="111" y="48"/>
                    <a:pt x="111" y="49"/>
                  </a:cubicBezTo>
                  <a:cubicBezTo>
                    <a:pt x="111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8" y="50"/>
                  </a:cubicBezTo>
                  <a:cubicBezTo>
                    <a:pt x="107" y="51"/>
                    <a:pt x="106" y="52"/>
                    <a:pt x="105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5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1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3" y="43"/>
                  </a:cubicBezTo>
                  <a:cubicBezTo>
                    <a:pt x="72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2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2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3" y="49"/>
                  </a:cubicBezTo>
                  <a:cubicBezTo>
                    <a:pt x="74" y="50"/>
                    <a:pt x="75" y="51"/>
                    <a:pt x="76" y="52"/>
                  </a:cubicBezTo>
                  <a:lnTo>
                    <a:pt x="72" y="52"/>
                  </a:lnTo>
                  <a:close/>
                  <a:moveTo>
                    <a:pt x="78" y="56"/>
                  </a:moveTo>
                  <a:cubicBezTo>
                    <a:pt x="76" y="59"/>
                    <a:pt x="76" y="59"/>
                    <a:pt x="76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8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6" y="20"/>
                    <a:pt x="65" y="24"/>
                    <a:pt x="65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4"/>
                    <a:pt x="65" y="37"/>
                    <a:pt x="67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9" y="65"/>
                    <a:pt x="39" y="65"/>
                    <a:pt x="39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10" y="69"/>
                    <a:pt x="10" y="69"/>
                    <a:pt x="10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4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6" y="71"/>
                    <a:pt x="36" y="71"/>
                    <a:pt x="36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" y="89"/>
                    <a:pt x="4" y="89"/>
                    <a:pt x="4" y="89"/>
                  </a:cubicBezTo>
                  <a:lnTo>
                    <a:pt x="4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6" y="65"/>
                    <a:pt x="66" y="65"/>
                    <a:pt x="66" y="65"/>
                  </a:cubicBezTo>
                  <a:lnTo>
                    <a:pt x="55" y="65"/>
                  </a:lnTo>
                  <a:close/>
                  <a:moveTo>
                    <a:pt x="29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9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7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7" y="55"/>
                    <a:pt x="117" y="55"/>
                    <a:pt x="117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282" name="Group 10"/>
          <p:cNvGrpSpPr>
            <a:grpSpLocks noChangeAspect="1"/>
          </p:cNvGrpSpPr>
          <p:nvPr/>
        </p:nvGrpSpPr>
        <p:grpSpPr bwMode="auto">
          <a:xfrm>
            <a:off x="1462883" y="277813"/>
            <a:ext cx="768350" cy="768350"/>
            <a:chOff x="927" y="175"/>
            <a:chExt cx="484" cy="484"/>
          </a:xfrm>
        </p:grpSpPr>
        <p:sp>
          <p:nvSpPr>
            <p:cNvPr id="54283" name="Freeform 11"/>
            <p:cNvSpPr>
              <a:spLocks noEditPoints="1"/>
            </p:cNvSpPr>
            <p:nvPr/>
          </p:nvSpPr>
          <p:spPr bwMode="auto">
            <a:xfrm>
              <a:off x="927" y="1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84" name="Freeform 12"/>
            <p:cNvSpPr>
              <a:spLocks noEditPoints="1"/>
            </p:cNvSpPr>
            <p:nvPr/>
          </p:nvSpPr>
          <p:spPr bwMode="auto">
            <a:xfrm>
              <a:off x="1004" y="290"/>
              <a:ext cx="355" cy="230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2" y="81"/>
                </a:cxn>
                <a:cxn ang="0">
                  <a:pos x="146" y="73"/>
                </a:cxn>
                <a:cxn ang="0">
                  <a:pos x="113" y="11"/>
                </a:cxn>
                <a:cxn ang="0">
                  <a:pos x="111" y="49"/>
                </a:cxn>
                <a:cxn ang="0">
                  <a:pos x="109" y="50"/>
                </a:cxn>
                <a:cxn ang="0">
                  <a:pos x="105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2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7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9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6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60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9" y="78"/>
                </a:cxn>
                <a:cxn ang="0">
                  <a:pos x="29" y="78"/>
                </a:cxn>
                <a:cxn ang="0">
                  <a:pos x="32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3" y="54"/>
                </a:cxn>
              </a:cxnLst>
              <a:rect l="0" t="0" r="r" b="b"/>
              <a:pathLst>
                <a:path w="148" h="96">
                  <a:moveTo>
                    <a:pt x="146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6" y="33"/>
                    <a:pt x="125" y="19"/>
                    <a:pt x="115" y="9"/>
                  </a:cubicBezTo>
                  <a:cubicBezTo>
                    <a:pt x="110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4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6" y="73"/>
                  </a:lnTo>
                  <a:close/>
                  <a:moveTo>
                    <a:pt x="76" y="10"/>
                  </a:moveTo>
                  <a:cubicBezTo>
                    <a:pt x="81" y="6"/>
                    <a:pt x="88" y="3"/>
                    <a:pt x="94" y="3"/>
                  </a:cubicBezTo>
                  <a:cubicBezTo>
                    <a:pt x="101" y="3"/>
                    <a:pt x="107" y="6"/>
                    <a:pt x="113" y="11"/>
                  </a:cubicBezTo>
                  <a:cubicBezTo>
                    <a:pt x="122" y="22"/>
                    <a:pt x="122" y="38"/>
                    <a:pt x="112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1" y="48"/>
                    <a:pt x="111" y="48"/>
                    <a:pt x="111" y="49"/>
                  </a:cubicBezTo>
                  <a:cubicBezTo>
                    <a:pt x="111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8" y="50"/>
                  </a:cubicBezTo>
                  <a:cubicBezTo>
                    <a:pt x="107" y="51"/>
                    <a:pt x="106" y="52"/>
                    <a:pt x="105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5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1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3" y="43"/>
                  </a:cubicBezTo>
                  <a:cubicBezTo>
                    <a:pt x="72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2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2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3" y="49"/>
                  </a:cubicBezTo>
                  <a:cubicBezTo>
                    <a:pt x="74" y="50"/>
                    <a:pt x="75" y="51"/>
                    <a:pt x="76" y="52"/>
                  </a:cubicBezTo>
                  <a:lnTo>
                    <a:pt x="72" y="52"/>
                  </a:lnTo>
                  <a:close/>
                  <a:moveTo>
                    <a:pt x="78" y="56"/>
                  </a:moveTo>
                  <a:cubicBezTo>
                    <a:pt x="76" y="59"/>
                    <a:pt x="76" y="59"/>
                    <a:pt x="76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8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6" y="20"/>
                    <a:pt x="65" y="24"/>
                    <a:pt x="65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4"/>
                    <a:pt x="65" y="37"/>
                    <a:pt x="67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9" y="65"/>
                    <a:pt x="39" y="65"/>
                    <a:pt x="39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10" y="69"/>
                    <a:pt x="10" y="69"/>
                    <a:pt x="10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4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6" y="71"/>
                    <a:pt x="36" y="71"/>
                    <a:pt x="36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" y="89"/>
                    <a:pt x="4" y="89"/>
                    <a:pt x="4" y="89"/>
                  </a:cubicBezTo>
                  <a:lnTo>
                    <a:pt x="4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6" y="65"/>
                    <a:pt x="66" y="65"/>
                    <a:pt x="66" y="65"/>
                  </a:cubicBezTo>
                  <a:lnTo>
                    <a:pt x="55" y="65"/>
                  </a:lnTo>
                  <a:close/>
                  <a:moveTo>
                    <a:pt x="29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9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7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7" y="55"/>
                    <a:pt x="117" y="55"/>
                    <a:pt x="117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287" name="Group 15"/>
          <p:cNvGrpSpPr>
            <a:grpSpLocks noChangeAspect="1"/>
          </p:cNvGrpSpPr>
          <p:nvPr/>
        </p:nvGrpSpPr>
        <p:grpSpPr bwMode="auto">
          <a:xfrm>
            <a:off x="2527300" y="244475"/>
            <a:ext cx="838200" cy="836613"/>
            <a:chOff x="1596" y="154"/>
            <a:chExt cx="528" cy="527"/>
          </a:xfrm>
        </p:grpSpPr>
        <p:sp>
          <p:nvSpPr>
            <p:cNvPr id="54288" name="Oval 16"/>
            <p:cNvSpPr>
              <a:spLocks noChangeArrowheads="1"/>
            </p:cNvSpPr>
            <p:nvPr/>
          </p:nvSpPr>
          <p:spPr bwMode="auto">
            <a:xfrm>
              <a:off x="1596" y="154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89" name="Freeform 17"/>
            <p:cNvSpPr>
              <a:spLocks noEditPoints="1"/>
            </p:cNvSpPr>
            <p:nvPr/>
          </p:nvSpPr>
          <p:spPr bwMode="auto">
            <a:xfrm>
              <a:off x="1618" y="176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59" y="9"/>
                </a:cxn>
                <a:cxn ang="0">
                  <a:pos x="55" y="11"/>
                </a:cxn>
                <a:cxn ang="0">
                  <a:pos x="53" y="12"/>
                </a:cxn>
                <a:cxn ang="0">
                  <a:pos x="49" y="14"/>
                </a:cxn>
                <a:cxn ang="0">
                  <a:pos x="44" y="17"/>
                </a:cxn>
                <a:cxn ang="0">
                  <a:pos x="8" y="62"/>
                </a:cxn>
                <a:cxn ang="0">
                  <a:pos x="7" y="64"/>
                </a:cxn>
                <a:cxn ang="0">
                  <a:pos x="0" y="101"/>
                </a:cxn>
                <a:cxn ang="0">
                  <a:pos x="7" y="138"/>
                </a:cxn>
                <a:cxn ang="0">
                  <a:pos x="8" y="140"/>
                </a:cxn>
                <a:cxn ang="0">
                  <a:pos x="44" y="185"/>
                </a:cxn>
                <a:cxn ang="0">
                  <a:pos x="49" y="188"/>
                </a:cxn>
                <a:cxn ang="0">
                  <a:pos x="53" y="190"/>
                </a:cxn>
                <a:cxn ang="0">
                  <a:pos x="55" y="191"/>
                </a:cxn>
                <a:cxn ang="0">
                  <a:pos x="59" y="193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77" y="16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25" y="160"/>
                </a:cxn>
                <a:cxn ang="0">
                  <a:pos x="5" y="111"/>
                </a:cxn>
                <a:cxn ang="0">
                  <a:pos x="5" y="101"/>
                </a:cxn>
                <a:cxn ang="0">
                  <a:pos x="13" y="62"/>
                </a:cxn>
                <a:cxn ang="0">
                  <a:pos x="15" y="58"/>
                </a:cxn>
                <a:cxn ang="0">
                  <a:pos x="16" y="56"/>
                </a:cxn>
                <a:cxn ang="0">
                  <a:pos x="33" y="33"/>
                </a:cxn>
                <a:cxn ang="0">
                  <a:pos x="60" y="14"/>
                </a:cxn>
                <a:cxn ang="0">
                  <a:pos x="62" y="13"/>
                </a:cxn>
                <a:cxn ang="0">
                  <a:pos x="71" y="10"/>
                </a:cxn>
                <a:cxn ang="0">
                  <a:pos x="101" y="5"/>
                </a:cxn>
                <a:cxn ang="0">
                  <a:pos x="131" y="10"/>
                </a:cxn>
                <a:cxn ang="0">
                  <a:pos x="140" y="13"/>
                </a:cxn>
                <a:cxn ang="0">
                  <a:pos x="142" y="14"/>
                </a:cxn>
                <a:cxn ang="0">
                  <a:pos x="169" y="33"/>
                </a:cxn>
                <a:cxn ang="0">
                  <a:pos x="186" y="56"/>
                </a:cxn>
                <a:cxn ang="0">
                  <a:pos x="187" y="58"/>
                </a:cxn>
                <a:cxn ang="0">
                  <a:pos x="189" y="62"/>
                </a:cxn>
                <a:cxn ang="0">
                  <a:pos x="197" y="101"/>
                </a:cxn>
                <a:cxn ang="0">
                  <a:pos x="197" y="111"/>
                </a:cxn>
                <a:cxn ang="0">
                  <a:pos x="177" y="160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86" y="0"/>
                    <a:pt x="72" y="3"/>
                    <a:pt x="59" y="9"/>
                  </a:cubicBezTo>
                  <a:cubicBezTo>
                    <a:pt x="58" y="9"/>
                    <a:pt x="56" y="10"/>
                    <a:pt x="55" y="11"/>
                  </a:cubicBezTo>
                  <a:cubicBezTo>
                    <a:pt x="54" y="11"/>
                    <a:pt x="53" y="12"/>
                    <a:pt x="53" y="12"/>
                  </a:cubicBezTo>
                  <a:cubicBezTo>
                    <a:pt x="51" y="13"/>
                    <a:pt x="50" y="14"/>
                    <a:pt x="49" y="14"/>
                  </a:cubicBezTo>
                  <a:cubicBezTo>
                    <a:pt x="47" y="15"/>
                    <a:pt x="46" y="16"/>
                    <a:pt x="44" y="17"/>
                  </a:cubicBezTo>
                  <a:cubicBezTo>
                    <a:pt x="28" y="28"/>
                    <a:pt x="15" y="43"/>
                    <a:pt x="8" y="62"/>
                  </a:cubicBezTo>
                  <a:cubicBezTo>
                    <a:pt x="7" y="62"/>
                    <a:pt x="7" y="63"/>
                    <a:pt x="7" y="64"/>
                  </a:cubicBezTo>
                  <a:cubicBezTo>
                    <a:pt x="2" y="75"/>
                    <a:pt x="0" y="88"/>
                    <a:pt x="0" y="101"/>
                  </a:cubicBezTo>
                  <a:cubicBezTo>
                    <a:pt x="0" y="114"/>
                    <a:pt x="2" y="127"/>
                    <a:pt x="7" y="138"/>
                  </a:cubicBezTo>
                  <a:cubicBezTo>
                    <a:pt x="7" y="139"/>
                    <a:pt x="7" y="140"/>
                    <a:pt x="8" y="140"/>
                  </a:cubicBezTo>
                  <a:cubicBezTo>
                    <a:pt x="15" y="159"/>
                    <a:pt x="28" y="174"/>
                    <a:pt x="44" y="185"/>
                  </a:cubicBezTo>
                  <a:cubicBezTo>
                    <a:pt x="46" y="186"/>
                    <a:pt x="47" y="187"/>
                    <a:pt x="49" y="188"/>
                  </a:cubicBezTo>
                  <a:cubicBezTo>
                    <a:pt x="50" y="188"/>
                    <a:pt x="51" y="189"/>
                    <a:pt x="53" y="190"/>
                  </a:cubicBezTo>
                  <a:cubicBezTo>
                    <a:pt x="53" y="190"/>
                    <a:pt x="54" y="191"/>
                    <a:pt x="55" y="191"/>
                  </a:cubicBezTo>
                  <a:cubicBezTo>
                    <a:pt x="56" y="192"/>
                    <a:pt x="58" y="193"/>
                    <a:pt x="59" y="193"/>
                  </a:cubicBezTo>
                  <a:cubicBezTo>
                    <a:pt x="72" y="199"/>
                    <a:pt x="86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77" y="160"/>
                  </a:moveTo>
                  <a:cubicBezTo>
                    <a:pt x="174" y="163"/>
                    <a:pt x="172" y="166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30" y="166"/>
                    <a:pt x="28" y="163"/>
                    <a:pt x="25" y="160"/>
                  </a:cubicBezTo>
                  <a:cubicBezTo>
                    <a:pt x="14" y="146"/>
                    <a:pt x="7" y="129"/>
                    <a:pt x="5" y="111"/>
                  </a:cubicBezTo>
                  <a:cubicBezTo>
                    <a:pt x="5" y="107"/>
                    <a:pt x="5" y="104"/>
                    <a:pt x="5" y="101"/>
                  </a:cubicBezTo>
                  <a:cubicBezTo>
                    <a:pt x="5" y="87"/>
                    <a:pt x="8" y="74"/>
                    <a:pt x="13" y="62"/>
                  </a:cubicBezTo>
                  <a:cubicBezTo>
                    <a:pt x="14" y="61"/>
                    <a:pt x="14" y="59"/>
                    <a:pt x="15" y="58"/>
                  </a:cubicBezTo>
                  <a:cubicBezTo>
                    <a:pt x="15" y="57"/>
                    <a:pt x="16" y="56"/>
                    <a:pt x="16" y="56"/>
                  </a:cubicBezTo>
                  <a:cubicBezTo>
                    <a:pt x="21" y="47"/>
                    <a:pt x="26" y="40"/>
                    <a:pt x="33" y="33"/>
                  </a:cubicBezTo>
                  <a:cubicBezTo>
                    <a:pt x="41" y="25"/>
                    <a:pt x="50" y="19"/>
                    <a:pt x="60" y="14"/>
                  </a:cubicBezTo>
                  <a:cubicBezTo>
                    <a:pt x="61" y="14"/>
                    <a:pt x="61" y="13"/>
                    <a:pt x="62" y="13"/>
                  </a:cubicBezTo>
                  <a:cubicBezTo>
                    <a:pt x="65" y="12"/>
                    <a:pt x="68" y="11"/>
                    <a:pt x="71" y="10"/>
                  </a:cubicBezTo>
                  <a:cubicBezTo>
                    <a:pt x="80" y="7"/>
                    <a:pt x="91" y="5"/>
                    <a:pt x="101" y="5"/>
                  </a:cubicBezTo>
                  <a:cubicBezTo>
                    <a:pt x="111" y="5"/>
                    <a:pt x="122" y="7"/>
                    <a:pt x="131" y="10"/>
                  </a:cubicBezTo>
                  <a:cubicBezTo>
                    <a:pt x="134" y="11"/>
                    <a:pt x="137" y="12"/>
                    <a:pt x="140" y="13"/>
                  </a:cubicBezTo>
                  <a:cubicBezTo>
                    <a:pt x="141" y="13"/>
                    <a:pt x="141" y="14"/>
                    <a:pt x="142" y="14"/>
                  </a:cubicBezTo>
                  <a:cubicBezTo>
                    <a:pt x="152" y="19"/>
                    <a:pt x="161" y="25"/>
                    <a:pt x="169" y="33"/>
                  </a:cubicBezTo>
                  <a:cubicBezTo>
                    <a:pt x="176" y="40"/>
                    <a:pt x="181" y="47"/>
                    <a:pt x="186" y="56"/>
                  </a:cubicBezTo>
                  <a:cubicBezTo>
                    <a:pt x="186" y="56"/>
                    <a:pt x="187" y="57"/>
                    <a:pt x="187" y="58"/>
                  </a:cubicBezTo>
                  <a:cubicBezTo>
                    <a:pt x="188" y="59"/>
                    <a:pt x="188" y="61"/>
                    <a:pt x="189" y="62"/>
                  </a:cubicBezTo>
                  <a:cubicBezTo>
                    <a:pt x="194" y="74"/>
                    <a:pt x="197" y="87"/>
                    <a:pt x="197" y="101"/>
                  </a:cubicBezTo>
                  <a:cubicBezTo>
                    <a:pt x="197" y="104"/>
                    <a:pt x="197" y="107"/>
                    <a:pt x="197" y="111"/>
                  </a:cubicBezTo>
                  <a:cubicBezTo>
                    <a:pt x="195" y="129"/>
                    <a:pt x="188" y="146"/>
                    <a:pt x="177" y="16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90" name="Freeform 18"/>
            <p:cNvSpPr>
              <a:spLocks noEditPoints="1"/>
            </p:cNvSpPr>
            <p:nvPr/>
          </p:nvSpPr>
          <p:spPr bwMode="auto">
            <a:xfrm>
              <a:off x="1733" y="226"/>
              <a:ext cx="254" cy="32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51" y="8"/>
                </a:cxn>
                <a:cxn ang="0">
                  <a:pos x="44" y="27"/>
                </a:cxn>
                <a:cxn ang="0">
                  <a:pos x="0" y="34"/>
                </a:cxn>
                <a:cxn ang="0">
                  <a:pos x="37" y="128"/>
                </a:cxn>
                <a:cxn ang="0">
                  <a:pos x="106" y="126"/>
                </a:cxn>
                <a:cxn ang="0">
                  <a:pos x="94" y="27"/>
                </a:cxn>
                <a:cxn ang="0">
                  <a:pos x="35" y="57"/>
                </a:cxn>
                <a:cxn ang="0">
                  <a:pos x="15" y="58"/>
                </a:cxn>
                <a:cxn ang="0">
                  <a:pos x="15" y="69"/>
                </a:cxn>
                <a:cxn ang="0">
                  <a:pos x="35" y="61"/>
                </a:cxn>
                <a:cxn ang="0">
                  <a:pos x="3" y="132"/>
                </a:cxn>
                <a:cxn ang="0">
                  <a:pos x="35" y="30"/>
                </a:cxn>
                <a:cxn ang="0">
                  <a:pos x="17" y="63"/>
                </a:cxn>
                <a:cxn ang="0">
                  <a:pos x="13" y="63"/>
                </a:cxn>
                <a:cxn ang="0">
                  <a:pos x="17" y="63"/>
                </a:cxn>
                <a:cxn ang="0">
                  <a:pos x="69" y="3"/>
                </a:cxn>
                <a:cxn ang="0">
                  <a:pos x="91" y="25"/>
                </a:cxn>
                <a:cxn ang="0">
                  <a:pos x="47" y="26"/>
                </a:cxn>
                <a:cxn ang="0">
                  <a:pos x="39" y="30"/>
                </a:cxn>
                <a:cxn ang="0">
                  <a:pos x="67" y="62"/>
                </a:cxn>
                <a:cxn ang="0">
                  <a:pos x="39" y="57"/>
                </a:cxn>
                <a:cxn ang="0">
                  <a:pos x="67" y="131"/>
                </a:cxn>
                <a:cxn ang="0">
                  <a:pos x="39" y="61"/>
                </a:cxn>
                <a:cxn ang="0">
                  <a:pos x="52" y="95"/>
                </a:cxn>
                <a:cxn ang="0">
                  <a:pos x="67" y="131"/>
                </a:cxn>
                <a:cxn ang="0">
                  <a:pos x="56" y="93"/>
                </a:cxn>
                <a:cxn ang="0">
                  <a:pos x="63" y="67"/>
                </a:cxn>
                <a:cxn ang="0">
                  <a:pos x="67" y="72"/>
                </a:cxn>
                <a:cxn ang="0">
                  <a:pos x="67" y="67"/>
                </a:cxn>
                <a:cxn ang="0">
                  <a:pos x="71" y="67"/>
                </a:cxn>
                <a:cxn ang="0">
                  <a:pos x="67" y="67"/>
                </a:cxn>
                <a:cxn ang="0">
                  <a:pos x="70" y="131"/>
                </a:cxn>
                <a:cxn ang="0">
                  <a:pos x="102" y="95"/>
                </a:cxn>
                <a:cxn ang="0">
                  <a:pos x="102" y="29"/>
                </a:cxn>
                <a:cxn ang="0">
                  <a:pos x="102" y="92"/>
                </a:cxn>
                <a:cxn ang="0">
                  <a:pos x="70" y="73"/>
                </a:cxn>
                <a:cxn ang="0">
                  <a:pos x="72" y="62"/>
                </a:cxn>
                <a:cxn ang="0">
                  <a:pos x="102" y="29"/>
                </a:cxn>
              </a:cxnLst>
              <a:rect l="0" t="0" r="r" b="b"/>
              <a:pathLst>
                <a:path w="106" h="137">
                  <a:moveTo>
                    <a:pt x="94" y="25"/>
                  </a:moveTo>
                  <a:cubicBezTo>
                    <a:pt x="94" y="11"/>
                    <a:pt x="83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2" y="0"/>
                    <a:pt x="56" y="3"/>
                    <a:pt x="51" y="8"/>
                  </a:cubicBezTo>
                  <a:cubicBezTo>
                    <a:pt x="46" y="12"/>
                    <a:pt x="44" y="19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06" y="126"/>
                    <a:pt x="106" y="126"/>
                    <a:pt x="106" y="1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6"/>
                    <a:pt x="94" y="25"/>
                  </a:cubicBezTo>
                  <a:close/>
                  <a:moveTo>
                    <a:pt x="35" y="57"/>
                  </a:moveTo>
                  <a:cubicBezTo>
                    <a:pt x="20" y="61"/>
                    <a:pt x="20" y="61"/>
                    <a:pt x="20" y="61"/>
                  </a:cubicBezTo>
                  <a:cubicBezTo>
                    <a:pt x="19" y="59"/>
                    <a:pt x="17" y="58"/>
                    <a:pt x="15" y="58"/>
                  </a:cubicBezTo>
                  <a:cubicBezTo>
                    <a:pt x="12" y="58"/>
                    <a:pt x="9" y="60"/>
                    <a:pt x="9" y="63"/>
                  </a:cubicBezTo>
                  <a:cubicBezTo>
                    <a:pt x="9" y="66"/>
                    <a:pt x="12" y="69"/>
                    <a:pt x="15" y="69"/>
                  </a:cubicBezTo>
                  <a:cubicBezTo>
                    <a:pt x="17" y="69"/>
                    <a:pt x="20" y="67"/>
                    <a:pt x="20" y="65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5" y="30"/>
                    <a:pt x="35" y="30"/>
                    <a:pt x="35" y="30"/>
                  </a:cubicBezTo>
                  <a:lnTo>
                    <a:pt x="35" y="57"/>
                  </a:lnTo>
                  <a:close/>
                  <a:moveTo>
                    <a:pt x="17" y="63"/>
                  </a:moveTo>
                  <a:cubicBezTo>
                    <a:pt x="17" y="64"/>
                    <a:pt x="16" y="65"/>
                    <a:pt x="15" y="65"/>
                  </a:cubicBezTo>
                  <a:cubicBezTo>
                    <a:pt x="14" y="65"/>
                    <a:pt x="13" y="64"/>
                    <a:pt x="13" y="63"/>
                  </a:cubicBezTo>
                  <a:cubicBezTo>
                    <a:pt x="13" y="62"/>
                    <a:pt x="14" y="61"/>
                    <a:pt x="15" y="61"/>
                  </a:cubicBezTo>
                  <a:cubicBezTo>
                    <a:pt x="16" y="61"/>
                    <a:pt x="17" y="62"/>
                    <a:pt x="17" y="63"/>
                  </a:cubicBezTo>
                  <a:close/>
                  <a:moveTo>
                    <a:pt x="53" y="10"/>
                  </a:moveTo>
                  <a:cubicBezTo>
                    <a:pt x="58" y="6"/>
                    <a:pt x="63" y="4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81" y="3"/>
                    <a:pt x="91" y="13"/>
                    <a:pt x="91" y="25"/>
                  </a:cubicBezTo>
                  <a:cubicBezTo>
                    <a:pt x="91" y="33"/>
                    <a:pt x="79" y="49"/>
                    <a:pt x="69" y="60"/>
                  </a:cubicBezTo>
                  <a:cubicBezTo>
                    <a:pt x="59" y="49"/>
                    <a:pt x="47" y="34"/>
                    <a:pt x="47" y="26"/>
                  </a:cubicBezTo>
                  <a:cubicBezTo>
                    <a:pt x="47" y="20"/>
                    <a:pt x="49" y="14"/>
                    <a:pt x="53" y="10"/>
                  </a:cubicBezTo>
                  <a:close/>
                  <a:moveTo>
                    <a:pt x="39" y="30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8" y="42"/>
                    <a:pt x="61" y="56"/>
                    <a:pt x="67" y="62"/>
                  </a:cubicBezTo>
                  <a:cubicBezTo>
                    <a:pt x="66" y="62"/>
                    <a:pt x="65" y="63"/>
                    <a:pt x="65" y="63"/>
                  </a:cubicBezTo>
                  <a:cubicBezTo>
                    <a:pt x="39" y="57"/>
                    <a:pt x="39" y="57"/>
                    <a:pt x="39" y="57"/>
                  </a:cubicBezTo>
                  <a:lnTo>
                    <a:pt x="39" y="30"/>
                  </a:lnTo>
                  <a:close/>
                  <a:moveTo>
                    <a:pt x="67" y="131"/>
                  </a:moveTo>
                  <a:cubicBezTo>
                    <a:pt x="39" y="124"/>
                    <a:pt x="39" y="124"/>
                    <a:pt x="39" y="124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67" y="100"/>
                    <a:pt x="67" y="100"/>
                    <a:pt x="67" y="100"/>
                  </a:cubicBezTo>
                  <a:lnTo>
                    <a:pt x="67" y="131"/>
                  </a:lnTo>
                  <a:close/>
                  <a:moveTo>
                    <a:pt x="67" y="96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9"/>
                    <a:pt x="65" y="71"/>
                    <a:pt x="67" y="72"/>
                  </a:cubicBezTo>
                  <a:lnTo>
                    <a:pt x="67" y="96"/>
                  </a:lnTo>
                  <a:close/>
                  <a:moveTo>
                    <a:pt x="67" y="67"/>
                  </a:moveTo>
                  <a:cubicBezTo>
                    <a:pt x="67" y="66"/>
                    <a:pt x="68" y="65"/>
                    <a:pt x="69" y="65"/>
                  </a:cubicBezTo>
                  <a:cubicBezTo>
                    <a:pt x="70" y="65"/>
                    <a:pt x="71" y="66"/>
                    <a:pt x="71" y="67"/>
                  </a:cubicBezTo>
                  <a:cubicBezTo>
                    <a:pt x="71" y="68"/>
                    <a:pt x="70" y="69"/>
                    <a:pt x="69" y="69"/>
                  </a:cubicBezTo>
                  <a:cubicBezTo>
                    <a:pt x="68" y="69"/>
                    <a:pt x="67" y="68"/>
                    <a:pt x="67" y="67"/>
                  </a:cubicBezTo>
                  <a:close/>
                  <a:moveTo>
                    <a:pt x="102" y="123"/>
                  </a:moveTo>
                  <a:cubicBezTo>
                    <a:pt x="70" y="131"/>
                    <a:pt x="70" y="131"/>
                    <a:pt x="70" y="131"/>
                  </a:cubicBezTo>
                  <a:cubicBezTo>
                    <a:pt x="70" y="100"/>
                    <a:pt x="70" y="100"/>
                    <a:pt x="70" y="100"/>
                  </a:cubicBezTo>
                  <a:cubicBezTo>
                    <a:pt x="102" y="95"/>
                    <a:pt x="102" y="95"/>
                    <a:pt x="102" y="95"/>
                  </a:cubicBezTo>
                  <a:lnTo>
                    <a:pt x="102" y="123"/>
                  </a:lnTo>
                  <a:close/>
                  <a:moveTo>
                    <a:pt x="102" y="29"/>
                  </a:moveTo>
                  <a:cubicBezTo>
                    <a:pt x="102" y="93"/>
                    <a:pt x="102" y="93"/>
                    <a:pt x="102" y="93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3" y="72"/>
                    <a:pt x="75" y="70"/>
                    <a:pt x="75" y="67"/>
                  </a:cubicBezTo>
                  <a:cubicBezTo>
                    <a:pt x="75" y="65"/>
                    <a:pt x="73" y="63"/>
                    <a:pt x="72" y="62"/>
                  </a:cubicBezTo>
                  <a:cubicBezTo>
                    <a:pt x="77" y="57"/>
                    <a:pt x="90" y="42"/>
                    <a:pt x="93" y="31"/>
                  </a:cubicBezTo>
                  <a:lnTo>
                    <a:pt x="102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293" name="Group 21"/>
          <p:cNvGrpSpPr>
            <a:grpSpLocks noChangeAspect="1"/>
          </p:cNvGrpSpPr>
          <p:nvPr/>
        </p:nvGrpSpPr>
        <p:grpSpPr bwMode="auto">
          <a:xfrm>
            <a:off x="3659979" y="277813"/>
            <a:ext cx="768350" cy="768350"/>
            <a:chOff x="2308" y="175"/>
            <a:chExt cx="484" cy="484"/>
          </a:xfrm>
        </p:grpSpPr>
        <p:sp>
          <p:nvSpPr>
            <p:cNvPr id="54294" name="Freeform 22"/>
            <p:cNvSpPr>
              <a:spLocks noEditPoints="1"/>
            </p:cNvSpPr>
            <p:nvPr/>
          </p:nvSpPr>
          <p:spPr bwMode="auto">
            <a:xfrm>
              <a:off x="2308" y="1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59" y="9"/>
                </a:cxn>
                <a:cxn ang="0">
                  <a:pos x="55" y="11"/>
                </a:cxn>
                <a:cxn ang="0">
                  <a:pos x="53" y="12"/>
                </a:cxn>
                <a:cxn ang="0">
                  <a:pos x="49" y="14"/>
                </a:cxn>
                <a:cxn ang="0">
                  <a:pos x="44" y="17"/>
                </a:cxn>
                <a:cxn ang="0">
                  <a:pos x="8" y="62"/>
                </a:cxn>
                <a:cxn ang="0">
                  <a:pos x="7" y="64"/>
                </a:cxn>
                <a:cxn ang="0">
                  <a:pos x="0" y="101"/>
                </a:cxn>
                <a:cxn ang="0">
                  <a:pos x="7" y="138"/>
                </a:cxn>
                <a:cxn ang="0">
                  <a:pos x="8" y="140"/>
                </a:cxn>
                <a:cxn ang="0">
                  <a:pos x="44" y="185"/>
                </a:cxn>
                <a:cxn ang="0">
                  <a:pos x="49" y="188"/>
                </a:cxn>
                <a:cxn ang="0">
                  <a:pos x="53" y="190"/>
                </a:cxn>
                <a:cxn ang="0">
                  <a:pos x="55" y="191"/>
                </a:cxn>
                <a:cxn ang="0">
                  <a:pos x="59" y="193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77" y="16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25" y="160"/>
                </a:cxn>
                <a:cxn ang="0">
                  <a:pos x="5" y="111"/>
                </a:cxn>
                <a:cxn ang="0">
                  <a:pos x="5" y="101"/>
                </a:cxn>
                <a:cxn ang="0">
                  <a:pos x="13" y="62"/>
                </a:cxn>
                <a:cxn ang="0">
                  <a:pos x="15" y="58"/>
                </a:cxn>
                <a:cxn ang="0">
                  <a:pos x="16" y="56"/>
                </a:cxn>
                <a:cxn ang="0">
                  <a:pos x="33" y="33"/>
                </a:cxn>
                <a:cxn ang="0">
                  <a:pos x="60" y="14"/>
                </a:cxn>
                <a:cxn ang="0">
                  <a:pos x="62" y="13"/>
                </a:cxn>
                <a:cxn ang="0">
                  <a:pos x="71" y="10"/>
                </a:cxn>
                <a:cxn ang="0">
                  <a:pos x="101" y="5"/>
                </a:cxn>
                <a:cxn ang="0">
                  <a:pos x="131" y="10"/>
                </a:cxn>
                <a:cxn ang="0">
                  <a:pos x="140" y="13"/>
                </a:cxn>
                <a:cxn ang="0">
                  <a:pos x="142" y="14"/>
                </a:cxn>
                <a:cxn ang="0">
                  <a:pos x="169" y="33"/>
                </a:cxn>
                <a:cxn ang="0">
                  <a:pos x="186" y="56"/>
                </a:cxn>
                <a:cxn ang="0">
                  <a:pos x="187" y="58"/>
                </a:cxn>
                <a:cxn ang="0">
                  <a:pos x="189" y="62"/>
                </a:cxn>
                <a:cxn ang="0">
                  <a:pos x="197" y="101"/>
                </a:cxn>
                <a:cxn ang="0">
                  <a:pos x="197" y="111"/>
                </a:cxn>
                <a:cxn ang="0">
                  <a:pos x="177" y="160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86" y="0"/>
                    <a:pt x="72" y="3"/>
                    <a:pt x="59" y="9"/>
                  </a:cubicBezTo>
                  <a:cubicBezTo>
                    <a:pt x="58" y="9"/>
                    <a:pt x="56" y="10"/>
                    <a:pt x="55" y="11"/>
                  </a:cubicBezTo>
                  <a:cubicBezTo>
                    <a:pt x="54" y="11"/>
                    <a:pt x="53" y="12"/>
                    <a:pt x="53" y="12"/>
                  </a:cubicBezTo>
                  <a:cubicBezTo>
                    <a:pt x="51" y="13"/>
                    <a:pt x="50" y="14"/>
                    <a:pt x="49" y="14"/>
                  </a:cubicBezTo>
                  <a:cubicBezTo>
                    <a:pt x="47" y="15"/>
                    <a:pt x="46" y="16"/>
                    <a:pt x="44" y="17"/>
                  </a:cubicBezTo>
                  <a:cubicBezTo>
                    <a:pt x="28" y="28"/>
                    <a:pt x="15" y="43"/>
                    <a:pt x="8" y="62"/>
                  </a:cubicBezTo>
                  <a:cubicBezTo>
                    <a:pt x="7" y="62"/>
                    <a:pt x="7" y="63"/>
                    <a:pt x="7" y="64"/>
                  </a:cubicBezTo>
                  <a:cubicBezTo>
                    <a:pt x="2" y="75"/>
                    <a:pt x="0" y="88"/>
                    <a:pt x="0" y="101"/>
                  </a:cubicBezTo>
                  <a:cubicBezTo>
                    <a:pt x="0" y="114"/>
                    <a:pt x="2" y="127"/>
                    <a:pt x="7" y="138"/>
                  </a:cubicBezTo>
                  <a:cubicBezTo>
                    <a:pt x="7" y="139"/>
                    <a:pt x="7" y="140"/>
                    <a:pt x="8" y="140"/>
                  </a:cubicBezTo>
                  <a:cubicBezTo>
                    <a:pt x="15" y="159"/>
                    <a:pt x="28" y="174"/>
                    <a:pt x="44" y="185"/>
                  </a:cubicBezTo>
                  <a:cubicBezTo>
                    <a:pt x="46" y="186"/>
                    <a:pt x="47" y="187"/>
                    <a:pt x="49" y="188"/>
                  </a:cubicBezTo>
                  <a:cubicBezTo>
                    <a:pt x="50" y="188"/>
                    <a:pt x="51" y="189"/>
                    <a:pt x="53" y="190"/>
                  </a:cubicBezTo>
                  <a:cubicBezTo>
                    <a:pt x="53" y="190"/>
                    <a:pt x="54" y="191"/>
                    <a:pt x="55" y="191"/>
                  </a:cubicBezTo>
                  <a:cubicBezTo>
                    <a:pt x="56" y="192"/>
                    <a:pt x="58" y="193"/>
                    <a:pt x="59" y="193"/>
                  </a:cubicBezTo>
                  <a:cubicBezTo>
                    <a:pt x="72" y="199"/>
                    <a:pt x="86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77" y="160"/>
                  </a:moveTo>
                  <a:cubicBezTo>
                    <a:pt x="174" y="163"/>
                    <a:pt x="172" y="166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30" y="166"/>
                    <a:pt x="28" y="163"/>
                    <a:pt x="25" y="160"/>
                  </a:cubicBezTo>
                  <a:cubicBezTo>
                    <a:pt x="14" y="146"/>
                    <a:pt x="7" y="129"/>
                    <a:pt x="5" y="111"/>
                  </a:cubicBezTo>
                  <a:cubicBezTo>
                    <a:pt x="5" y="107"/>
                    <a:pt x="5" y="104"/>
                    <a:pt x="5" y="101"/>
                  </a:cubicBezTo>
                  <a:cubicBezTo>
                    <a:pt x="5" y="87"/>
                    <a:pt x="8" y="74"/>
                    <a:pt x="13" y="62"/>
                  </a:cubicBezTo>
                  <a:cubicBezTo>
                    <a:pt x="14" y="61"/>
                    <a:pt x="14" y="59"/>
                    <a:pt x="15" y="58"/>
                  </a:cubicBezTo>
                  <a:cubicBezTo>
                    <a:pt x="15" y="57"/>
                    <a:pt x="16" y="56"/>
                    <a:pt x="16" y="56"/>
                  </a:cubicBezTo>
                  <a:cubicBezTo>
                    <a:pt x="21" y="47"/>
                    <a:pt x="26" y="40"/>
                    <a:pt x="33" y="33"/>
                  </a:cubicBezTo>
                  <a:cubicBezTo>
                    <a:pt x="41" y="25"/>
                    <a:pt x="50" y="19"/>
                    <a:pt x="60" y="14"/>
                  </a:cubicBezTo>
                  <a:cubicBezTo>
                    <a:pt x="61" y="14"/>
                    <a:pt x="61" y="13"/>
                    <a:pt x="62" y="13"/>
                  </a:cubicBezTo>
                  <a:cubicBezTo>
                    <a:pt x="65" y="12"/>
                    <a:pt x="68" y="11"/>
                    <a:pt x="71" y="10"/>
                  </a:cubicBezTo>
                  <a:cubicBezTo>
                    <a:pt x="80" y="7"/>
                    <a:pt x="91" y="5"/>
                    <a:pt x="101" y="5"/>
                  </a:cubicBezTo>
                  <a:cubicBezTo>
                    <a:pt x="111" y="5"/>
                    <a:pt x="122" y="7"/>
                    <a:pt x="131" y="10"/>
                  </a:cubicBezTo>
                  <a:cubicBezTo>
                    <a:pt x="134" y="11"/>
                    <a:pt x="137" y="12"/>
                    <a:pt x="140" y="13"/>
                  </a:cubicBezTo>
                  <a:cubicBezTo>
                    <a:pt x="141" y="13"/>
                    <a:pt x="141" y="14"/>
                    <a:pt x="142" y="14"/>
                  </a:cubicBezTo>
                  <a:cubicBezTo>
                    <a:pt x="152" y="19"/>
                    <a:pt x="161" y="25"/>
                    <a:pt x="169" y="33"/>
                  </a:cubicBezTo>
                  <a:cubicBezTo>
                    <a:pt x="176" y="40"/>
                    <a:pt x="181" y="47"/>
                    <a:pt x="186" y="56"/>
                  </a:cubicBezTo>
                  <a:cubicBezTo>
                    <a:pt x="186" y="56"/>
                    <a:pt x="187" y="57"/>
                    <a:pt x="187" y="58"/>
                  </a:cubicBezTo>
                  <a:cubicBezTo>
                    <a:pt x="188" y="59"/>
                    <a:pt x="188" y="61"/>
                    <a:pt x="189" y="62"/>
                  </a:cubicBezTo>
                  <a:cubicBezTo>
                    <a:pt x="194" y="74"/>
                    <a:pt x="197" y="87"/>
                    <a:pt x="197" y="101"/>
                  </a:cubicBezTo>
                  <a:cubicBezTo>
                    <a:pt x="197" y="104"/>
                    <a:pt x="197" y="107"/>
                    <a:pt x="197" y="111"/>
                  </a:cubicBezTo>
                  <a:cubicBezTo>
                    <a:pt x="195" y="129"/>
                    <a:pt x="188" y="146"/>
                    <a:pt x="177" y="16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95" name="Freeform 23"/>
            <p:cNvSpPr>
              <a:spLocks noEditPoints="1"/>
            </p:cNvSpPr>
            <p:nvPr/>
          </p:nvSpPr>
          <p:spPr bwMode="auto">
            <a:xfrm>
              <a:off x="2423" y="226"/>
              <a:ext cx="254" cy="32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51" y="8"/>
                </a:cxn>
                <a:cxn ang="0">
                  <a:pos x="44" y="27"/>
                </a:cxn>
                <a:cxn ang="0">
                  <a:pos x="0" y="34"/>
                </a:cxn>
                <a:cxn ang="0">
                  <a:pos x="37" y="128"/>
                </a:cxn>
                <a:cxn ang="0">
                  <a:pos x="106" y="126"/>
                </a:cxn>
                <a:cxn ang="0">
                  <a:pos x="94" y="27"/>
                </a:cxn>
                <a:cxn ang="0">
                  <a:pos x="35" y="57"/>
                </a:cxn>
                <a:cxn ang="0">
                  <a:pos x="15" y="58"/>
                </a:cxn>
                <a:cxn ang="0">
                  <a:pos x="15" y="69"/>
                </a:cxn>
                <a:cxn ang="0">
                  <a:pos x="35" y="61"/>
                </a:cxn>
                <a:cxn ang="0">
                  <a:pos x="3" y="132"/>
                </a:cxn>
                <a:cxn ang="0">
                  <a:pos x="35" y="30"/>
                </a:cxn>
                <a:cxn ang="0">
                  <a:pos x="17" y="63"/>
                </a:cxn>
                <a:cxn ang="0">
                  <a:pos x="13" y="63"/>
                </a:cxn>
                <a:cxn ang="0">
                  <a:pos x="17" y="63"/>
                </a:cxn>
                <a:cxn ang="0">
                  <a:pos x="69" y="3"/>
                </a:cxn>
                <a:cxn ang="0">
                  <a:pos x="91" y="25"/>
                </a:cxn>
                <a:cxn ang="0">
                  <a:pos x="47" y="26"/>
                </a:cxn>
                <a:cxn ang="0">
                  <a:pos x="39" y="30"/>
                </a:cxn>
                <a:cxn ang="0">
                  <a:pos x="67" y="62"/>
                </a:cxn>
                <a:cxn ang="0">
                  <a:pos x="39" y="57"/>
                </a:cxn>
                <a:cxn ang="0">
                  <a:pos x="67" y="131"/>
                </a:cxn>
                <a:cxn ang="0">
                  <a:pos x="39" y="61"/>
                </a:cxn>
                <a:cxn ang="0">
                  <a:pos x="52" y="95"/>
                </a:cxn>
                <a:cxn ang="0">
                  <a:pos x="67" y="131"/>
                </a:cxn>
                <a:cxn ang="0">
                  <a:pos x="56" y="93"/>
                </a:cxn>
                <a:cxn ang="0">
                  <a:pos x="63" y="67"/>
                </a:cxn>
                <a:cxn ang="0">
                  <a:pos x="67" y="72"/>
                </a:cxn>
                <a:cxn ang="0">
                  <a:pos x="67" y="67"/>
                </a:cxn>
                <a:cxn ang="0">
                  <a:pos x="71" y="67"/>
                </a:cxn>
                <a:cxn ang="0">
                  <a:pos x="67" y="67"/>
                </a:cxn>
                <a:cxn ang="0">
                  <a:pos x="70" y="131"/>
                </a:cxn>
                <a:cxn ang="0">
                  <a:pos x="102" y="95"/>
                </a:cxn>
                <a:cxn ang="0">
                  <a:pos x="102" y="29"/>
                </a:cxn>
                <a:cxn ang="0">
                  <a:pos x="102" y="92"/>
                </a:cxn>
                <a:cxn ang="0">
                  <a:pos x="70" y="73"/>
                </a:cxn>
                <a:cxn ang="0">
                  <a:pos x="72" y="62"/>
                </a:cxn>
                <a:cxn ang="0">
                  <a:pos x="102" y="29"/>
                </a:cxn>
              </a:cxnLst>
              <a:rect l="0" t="0" r="r" b="b"/>
              <a:pathLst>
                <a:path w="106" h="137">
                  <a:moveTo>
                    <a:pt x="94" y="25"/>
                  </a:moveTo>
                  <a:cubicBezTo>
                    <a:pt x="94" y="11"/>
                    <a:pt x="83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2" y="0"/>
                    <a:pt x="56" y="3"/>
                    <a:pt x="51" y="8"/>
                  </a:cubicBezTo>
                  <a:cubicBezTo>
                    <a:pt x="46" y="12"/>
                    <a:pt x="44" y="19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06" y="126"/>
                    <a:pt x="106" y="126"/>
                    <a:pt x="106" y="1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6"/>
                    <a:pt x="94" y="25"/>
                  </a:cubicBezTo>
                  <a:close/>
                  <a:moveTo>
                    <a:pt x="35" y="57"/>
                  </a:moveTo>
                  <a:cubicBezTo>
                    <a:pt x="20" y="61"/>
                    <a:pt x="20" y="61"/>
                    <a:pt x="20" y="61"/>
                  </a:cubicBezTo>
                  <a:cubicBezTo>
                    <a:pt x="19" y="59"/>
                    <a:pt x="17" y="58"/>
                    <a:pt x="15" y="58"/>
                  </a:cubicBezTo>
                  <a:cubicBezTo>
                    <a:pt x="12" y="58"/>
                    <a:pt x="9" y="60"/>
                    <a:pt x="9" y="63"/>
                  </a:cubicBezTo>
                  <a:cubicBezTo>
                    <a:pt x="9" y="66"/>
                    <a:pt x="12" y="69"/>
                    <a:pt x="15" y="69"/>
                  </a:cubicBezTo>
                  <a:cubicBezTo>
                    <a:pt x="17" y="69"/>
                    <a:pt x="20" y="67"/>
                    <a:pt x="20" y="65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5" y="30"/>
                    <a:pt x="35" y="30"/>
                    <a:pt x="35" y="30"/>
                  </a:cubicBezTo>
                  <a:lnTo>
                    <a:pt x="35" y="57"/>
                  </a:lnTo>
                  <a:close/>
                  <a:moveTo>
                    <a:pt x="17" y="63"/>
                  </a:moveTo>
                  <a:cubicBezTo>
                    <a:pt x="17" y="64"/>
                    <a:pt x="16" y="65"/>
                    <a:pt x="15" y="65"/>
                  </a:cubicBezTo>
                  <a:cubicBezTo>
                    <a:pt x="14" y="65"/>
                    <a:pt x="13" y="64"/>
                    <a:pt x="13" y="63"/>
                  </a:cubicBezTo>
                  <a:cubicBezTo>
                    <a:pt x="13" y="62"/>
                    <a:pt x="14" y="61"/>
                    <a:pt x="15" y="61"/>
                  </a:cubicBezTo>
                  <a:cubicBezTo>
                    <a:pt x="16" y="61"/>
                    <a:pt x="17" y="62"/>
                    <a:pt x="17" y="63"/>
                  </a:cubicBezTo>
                  <a:close/>
                  <a:moveTo>
                    <a:pt x="53" y="10"/>
                  </a:moveTo>
                  <a:cubicBezTo>
                    <a:pt x="58" y="6"/>
                    <a:pt x="63" y="4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81" y="3"/>
                    <a:pt x="91" y="13"/>
                    <a:pt x="91" y="25"/>
                  </a:cubicBezTo>
                  <a:cubicBezTo>
                    <a:pt x="91" y="33"/>
                    <a:pt x="79" y="49"/>
                    <a:pt x="69" y="60"/>
                  </a:cubicBezTo>
                  <a:cubicBezTo>
                    <a:pt x="59" y="49"/>
                    <a:pt x="47" y="34"/>
                    <a:pt x="47" y="26"/>
                  </a:cubicBezTo>
                  <a:cubicBezTo>
                    <a:pt x="47" y="20"/>
                    <a:pt x="49" y="14"/>
                    <a:pt x="53" y="10"/>
                  </a:cubicBezTo>
                  <a:close/>
                  <a:moveTo>
                    <a:pt x="39" y="30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8" y="42"/>
                    <a:pt x="61" y="56"/>
                    <a:pt x="67" y="62"/>
                  </a:cubicBezTo>
                  <a:cubicBezTo>
                    <a:pt x="66" y="62"/>
                    <a:pt x="65" y="63"/>
                    <a:pt x="65" y="63"/>
                  </a:cubicBezTo>
                  <a:cubicBezTo>
                    <a:pt x="39" y="57"/>
                    <a:pt x="39" y="57"/>
                    <a:pt x="39" y="57"/>
                  </a:cubicBezTo>
                  <a:lnTo>
                    <a:pt x="39" y="30"/>
                  </a:lnTo>
                  <a:close/>
                  <a:moveTo>
                    <a:pt x="67" y="131"/>
                  </a:moveTo>
                  <a:cubicBezTo>
                    <a:pt x="39" y="124"/>
                    <a:pt x="39" y="124"/>
                    <a:pt x="39" y="124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67" y="100"/>
                    <a:pt x="67" y="100"/>
                    <a:pt x="67" y="100"/>
                  </a:cubicBezTo>
                  <a:lnTo>
                    <a:pt x="67" y="131"/>
                  </a:lnTo>
                  <a:close/>
                  <a:moveTo>
                    <a:pt x="67" y="96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9"/>
                    <a:pt x="65" y="71"/>
                    <a:pt x="67" y="72"/>
                  </a:cubicBezTo>
                  <a:lnTo>
                    <a:pt x="67" y="96"/>
                  </a:lnTo>
                  <a:close/>
                  <a:moveTo>
                    <a:pt x="67" y="67"/>
                  </a:moveTo>
                  <a:cubicBezTo>
                    <a:pt x="67" y="66"/>
                    <a:pt x="68" y="65"/>
                    <a:pt x="69" y="65"/>
                  </a:cubicBezTo>
                  <a:cubicBezTo>
                    <a:pt x="70" y="65"/>
                    <a:pt x="71" y="66"/>
                    <a:pt x="71" y="67"/>
                  </a:cubicBezTo>
                  <a:cubicBezTo>
                    <a:pt x="71" y="68"/>
                    <a:pt x="70" y="69"/>
                    <a:pt x="69" y="69"/>
                  </a:cubicBezTo>
                  <a:cubicBezTo>
                    <a:pt x="68" y="69"/>
                    <a:pt x="67" y="68"/>
                    <a:pt x="67" y="67"/>
                  </a:cubicBezTo>
                  <a:close/>
                  <a:moveTo>
                    <a:pt x="102" y="123"/>
                  </a:moveTo>
                  <a:cubicBezTo>
                    <a:pt x="70" y="131"/>
                    <a:pt x="70" y="131"/>
                    <a:pt x="70" y="131"/>
                  </a:cubicBezTo>
                  <a:cubicBezTo>
                    <a:pt x="70" y="100"/>
                    <a:pt x="70" y="100"/>
                    <a:pt x="70" y="100"/>
                  </a:cubicBezTo>
                  <a:cubicBezTo>
                    <a:pt x="102" y="95"/>
                    <a:pt x="102" y="95"/>
                    <a:pt x="102" y="95"/>
                  </a:cubicBezTo>
                  <a:lnTo>
                    <a:pt x="102" y="123"/>
                  </a:lnTo>
                  <a:close/>
                  <a:moveTo>
                    <a:pt x="102" y="29"/>
                  </a:moveTo>
                  <a:cubicBezTo>
                    <a:pt x="102" y="93"/>
                    <a:pt x="102" y="93"/>
                    <a:pt x="102" y="93"/>
                  </a:cubicBezTo>
                  <a:cubicBezTo>
                    <a:pt x="102" y="92"/>
                    <a:pt x="102" y="92"/>
                    <a:pt x="102" y="92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3" y="72"/>
                    <a:pt x="75" y="70"/>
                    <a:pt x="75" y="67"/>
                  </a:cubicBezTo>
                  <a:cubicBezTo>
                    <a:pt x="75" y="65"/>
                    <a:pt x="73" y="63"/>
                    <a:pt x="72" y="62"/>
                  </a:cubicBezTo>
                  <a:cubicBezTo>
                    <a:pt x="77" y="57"/>
                    <a:pt x="90" y="42"/>
                    <a:pt x="93" y="31"/>
                  </a:cubicBezTo>
                  <a:lnTo>
                    <a:pt x="102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298" name="Group 26"/>
          <p:cNvGrpSpPr>
            <a:grpSpLocks noChangeAspect="1"/>
          </p:cNvGrpSpPr>
          <p:nvPr/>
        </p:nvGrpSpPr>
        <p:grpSpPr bwMode="auto">
          <a:xfrm>
            <a:off x="4718050" y="244475"/>
            <a:ext cx="836613" cy="836613"/>
            <a:chOff x="2978" y="154"/>
            <a:chExt cx="527" cy="527"/>
          </a:xfrm>
        </p:grpSpPr>
        <p:sp>
          <p:nvSpPr>
            <p:cNvPr id="54299" name="Oval 27"/>
            <p:cNvSpPr>
              <a:spLocks noChangeArrowheads="1"/>
            </p:cNvSpPr>
            <p:nvPr/>
          </p:nvSpPr>
          <p:spPr bwMode="auto">
            <a:xfrm>
              <a:off x="2978" y="154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00" name="Freeform 28"/>
            <p:cNvSpPr>
              <a:spLocks noEditPoints="1"/>
            </p:cNvSpPr>
            <p:nvPr/>
          </p:nvSpPr>
          <p:spPr bwMode="auto">
            <a:xfrm>
              <a:off x="3000" y="176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01" name="Freeform 29"/>
            <p:cNvSpPr>
              <a:spLocks noEditPoints="1"/>
            </p:cNvSpPr>
            <p:nvPr/>
          </p:nvSpPr>
          <p:spPr bwMode="auto">
            <a:xfrm>
              <a:off x="3110" y="245"/>
              <a:ext cx="265" cy="309"/>
            </a:xfrm>
            <a:custGeom>
              <a:avLst/>
              <a:gdLst/>
              <a:ahLst/>
              <a:cxnLst>
                <a:cxn ang="0">
                  <a:pos x="97" y="74"/>
                </a:cxn>
                <a:cxn ang="0">
                  <a:pos x="96" y="72"/>
                </a:cxn>
                <a:cxn ang="0">
                  <a:pos x="87" y="67"/>
                </a:cxn>
                <a:cxn ang="0">
                  <a:pos x="95" y="40"/>
                </a:cxn>
                <a:cxn ang="0">
                  <a:pos x="55" y="0"/>
                </a:cxn>
                <a:cxn ang="0">
                  <a:pos x="15" y="40"/>
                </a:cxn>
                <a:cxn ang="0">
                  <a:pos x="24" y="67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13" y="74"/>
                </a:cxn>
                <a:cxn ang="0">
                  <a:pos x="1" y="124"/>
                </a:cxn>
                <a:cxn ang="0">
                  <a:pos x="2" y="128"/>
                </a:cxn>
                <a:cxn ang="0">
                  <a:pos x="7" y="129"/>
                </a:cxn>
                <a:cxn ang="0">
                  <a:pos x="33" y="116"/>
                </a:cxn>
                <a:cxn ang="0">
                  <a:pos x="33" y="116"/>
                </a:cxn>
                <a:cxn ang="0">
                  <a:pos x="53" y="127"/>
                </a:cxn>
                <a:cxn ang="0">
                  <a:pos x="58" y="127"/>
                </a:cxn>
                <a:cxn ang="0">
                  <a:pos x="78" y="116"/>
                </a:cxn>
                <a:cxn ang="0">
                  <a:pos x="104" y="129"/>
                </a:cxn>
                <a:cxn ang="0">
                  <a:pos x="106" y="129"/>
                </a:cxn>
                <a:cxn ang="0">
                  <a:pos x="109" y="128"/>
                </a:cxn>
                <a:cxn ang="0">
                  <a:pos x="110" y="124"/>
                </a:cxn>
                <a:cxn ang="0">
                  <a:pos x="97" y="74"/>
                </a:cxn>
                <a:cxn ang="0">
                  <a:pos x="55" y="3"/>
                </a:cxn>
                <a:cxn ang="0">
                  <a:pos x="92" y="40"/>
                </a:cxn>
                <a:cxn ang="0">
                  <a:pos x="61" y="88"/>
                </a:cxn>
                <a:cxn ang="0">
                  <a:pos x="55" y="94"/>
                </a:cxn>
                <a:cxn ang="0">
                  <a:pos x="49" y="88"/>
                </a:cxn>
                <a:cxn ang="0">
                  <a:pos x="19" y="40"/>
                </a:cxn>
                <a:cxn ang="0">
                  <a:pos x="55" y="3"/>
                </a:cxn>
                <a:cxn ang="0">
                  <a:pos x="53" y="123"/>
                </a:cxn>
                <a:cxn ang="0">
                  <a:pos x="35" y="113"/>
                </a:cxn>
                <a:cxn ang="0">
                  <a:pos x="39" y="84"/>
                </a:cxn>
                <a:cxn ang="0">
                  <a:pos x="47" y="91"/>
                </a:cxn>
                <a:cxn ang="0">
                  <a:pos x="54" y="98"/>
                </a:cxn>
                <a:cxn ang="0">
                  <a:pos x="54" y="99"/>
                </a:cxn>
                <a:cxn ang="0">
                  <a:pos x="53" y="123"/>
                </a:cxn>
                <a:cxn ang="0">
                  <a:pos x="5" y="125"/>
                </a:cxn>
                <a:cxn ang="0">
                  <a:pos x="4" y="125"/>
                </a:cxn>
                <a:cxn ang="0">
                  <a:pos x="4" y="125"/>
                </a:cxn>
                <a:cxn ang="0">
                  <a:pos x="17" y="75"/>
                </a:cxn>
                <a:cxn ang="0">
                  <a:pos x="26" y="70"/>
                </a:cxn>
                <a:cxn ang="0">
                  <a:pos x="36" y="81"/>
                </a:cxn>
                <a:cxn ang="0">
                  <a:pos x="32" y="113"/>
                </a:cxn>
                <a:cxn ang="0">
                  <a:pos x="5" y="125"/>
                </a:cxn>
                <a:cxn ang="0">
                  <a:pos x="55" y="124"/>
                </a:cxn>
                <a:cxn ang="0">
                  <a:pos x="56" y="124"/>
                </a:cxn>
                <a:cxn ang="0">
                  <a:pos x="55" y="124"/>
                </a:cxn>
                <a:cxn ang="0">
                  <a:pos x="57" y="123"/>
                </a:cxn>
                <a:cxn ang="0">
                  <a:pos x="58" y="96"/>
                </a:cxn>
                <a:cxn ang="0">
                  <a:pos x="64" y="91"/>
                </a:cxn>
                <a:cxn ang="0">
                  <a:pos x="74" y="82"/>
                </a:cxn>
                <a:cxn ang="0">
                  <a:pos x="76" y="113"/>
                </a:cxn>
                <a:cxn ang="0">
                  <a:pos x="57" y="123"/>
                </a:cxn>
                <a:cxn ang="0">
                  <a:pos x="106" y="125"/>
                </a:cxn>
                <a:cxn ang="0">
                  <a:pos x="106" y="125"/>
                </a:cxn>
                <a:cxn ang="0">
                  <a:pos x="80" y="113"/>
                </a:cxn>
                <a:cxn ang="0">
                  <a:pos x="77" y="79"/>
                </a:cxn>
                <a:cxn ang="0">
                  <a:pos x="84" y="70"/>
                </a:cxn>
                <a:cxn ang="0">
                  <a:pos x="94" y="75"/>
                </a:cxn>
                <a:cxn ang="0">
                  <a:pos x="107" y="125"/>
                </a:cxn>
                <a:cxn ang="0">
                  <a:pos x="106" y="125"/>
                </a:cxn>
              </a:cxnLst>
              <a:rect l="0" t="0" r="r" b="b"/>
              <a:pathLst>
                <a:path w="111" h="129">
                  <a:moveTo>
                    <a:pt x="97" y="74"/>
                  </a:moveTo>
                  <a:cubicBezTo>
                    <a:pt x="97" y="73"/>
                    <a:pt x="96" y="73"/>
                    <a:pt x="96" y="72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2" y="59"/>
                    <a:pt x="95" y="50"/>
                    <a:pt x="95" y="40"/>
                  </a:cubicBezTo>
                  <a:cubicBezTo>
                    <a:pt x="95" y="17"/>
                    <a:pt x="77" y="0"/>
                    <a:pt x="55" y="0"/>
                  </a:cubicBezTo>
                  <a:cubicBezTo>
                    <a:pt x="33" y="0"/>
                    <a:pt x="15" y="17"/>
                    <a:pt x="15" y="40"/>
                  </a:cubicBezTo>
                  <a:cubicBezTo>
                    <a:pt x="15" y="50"/>
                    <a:pt x="19" y="59"/>
                    <a:pt x="24" y="6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4" y="73"/>
                    <a:pt x="14" y="73"/>
                    <a:pt x="13" y="74"/>
                  </a:cubicBezTo>
                  <a:cubicBezTo>
                    <a:pt x="1" y="124"/>
                    <a:pt x="1" y="124"/>
                    <a:pt x="1" y="124"/>
                  </a:cubicBezTo>
                  <a:cubicBezTo>
                    <a:pt x="0" y="125"/>
                    <a:pt x="1" y="127"/>
                    <a:pt x="2" y="128"/>
                  </a:cubicBezTo>
                  <a:cubicBezTo>
                    <a:pt x="3" y="129"/>
                    <a:pt x="5" y="129"/>
                    <a:pt x="7" y="12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5" y="128"/>
                    <a:pt x="56" y="128"/>
                    <a:pt x="58" y="127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05" y="129"/>
                    <a:pt x="105" y="129"/>
                    <a:pt x="106" y="129"/>
                  </a:cubicBezTo>
                  <a:cubicBezTo>
                    <a:pt x="107" y="129"/>
                    <a:pt x="108" y="129"/>
                    <a:pt x="109" y="128"/>
                  </a:cubicBezTo>
                  <a:cubicBezTo>
                    <a:pt x="110" y="127"/>
                    <a:pt x="111" y="125"/>
                    <a:pt x="110" y="124"/>
                  </a:cubicBezTo>
                  <a:lnTo>
                    <a:pt x="97" y="74"/>
                  </a:lnTo>
                  <a:close/>
                  <a:moveTo>
                    <a:pt x="55" y="3"/>
                  </a:moveTo>
                  <a:cubicBezTo>
                    <a:pt x="75" y="3"/>
                    <a:pt x="92" y="19"/>
                    <a:pt x="92" y="40"/>
                  </a:cubicBezTo>
                  <a:cubicBezTo>
                    <a:pt x="92" y="62"/>
                    <a:pt x="73" y="79"/>
                    <a:pt x="61" y="88"/>
                  </a:cubicBezTo>
                  <a:cubicBezTo>
                    <a:pt x="59" y="91"/>
                    <a:pt x="57" y="92"/>
                    <a:pt x="55" y="94"/>
                  </a:cubicBezTo>
                  <a:cubicBezTo>
                    <a:pt x="54" y="92"/>
                    <a:pt x="52" y="91"/>
                    <a:pt x="49" y="88"/>
                  </a:cubicBezTo>
                  <a:cubicBezTo>
                    <a:pt x="38" y="79"/>
                    <a:pt x="19" y="62"/>
                    <a:pt x="19" y="40"/>
                  </a:cubicBezTo>
                  <a:cubicBezTo>
                    <a:pt x="19" y="19"/>
                    <a:pt x="35" y="3"/>
                    <a:pt x="55" y="3"/>
                  </a:cubicBezTo>
                  <a:close/>
                  <a:moveTo>
                    <a:pt x="53" y="123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42" y="87"/>
                    <a:pt x="45" y="89"/>
                    <a:pt x="47" y="91"/>
                  </a:cubicBezTo>
                  <a:cubicBezTo>
                    <a:pt x="50" y="94"/>
                    <a:pt x="53" y="96"/>
                    <a:pt x="54" y="98"/>
                  </a:cubicBezTo>
                  <a:cubicBezTo>
                    <a:pt x="54" y="99"/>
                    <a:pt x="54" y="99"/>
                    <a:pt x="54" y="99"/>
                  </a:cubicBezTo>
                  <a:lnTo>
                    <a:pt x="53" y="123"/>
                  </a:lnTo>
                  <a:close/>
                  <a:moveTo>
                    <a:pt x="5" y="125"/>
                  </a:moveTo>
                  <a:cubicBezTo>
                    <a:pt x="5" y="126"/>
                    <a:pt x="5" y="126"/>
                    <a:pt x="4" y="12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9" y="74"/>
                    <a:pt x="33" y="78"/>
                    <a:pt x="36" y="81"/>
                  </a:cubicBezTo>
                  <a:cubicBezTo>
                    <a:pt x="32" y="113"/>
                    <a:pt x="32" y="113"/>
                    <a:pt x="32" y="113"/>
                  </a:cubicBezTo>
                  <a:lnTo>
                    <a:pt x="5" y="125"/>
                  </a:lnTo>
                  <a:close/>
                  <a:moveTo>
                    <a:pt x="55" y="124"/>
                  </a:moveTo>
                  <a:cubicBezTo>
                    <a:pt x="56" y="124"/>
                    <a:pt x="56" y="124"/>
                    <a:pt x="56" y="124"/>
                  </a:cubicBezTo>
                  <a:cubicBezTo>
                    <a:pt x="55" y="124"/>
                    <a:pt x="55" y="124"/>
                    <a:pt x="55" y="124"/>
                  </a:cubicBezTo>
                  <a:close/>
                  <a:moveTo>
                    <a:pt x="57" y="123"/>
                  </a:moveTo>
                  <a:cubicBezTo>
                    <a:pt x="58" y="96"/>
                    <a:pt x="58" y="96"/>
                    <a:pt x="58" y="96"/>
                  </a:cubicBezTo>
                  <a:cubicBezTo>
                    <a:pt x="59" y="95"/>
                    <a:pt x="61" y="93"/>
                    <a:pt x="64" y="91"/>
                  </a:cubicBezTo>
                  <a:cubicBezTo>
                    <a:pt x="67" y="89"/>
                    <a:pt x="70" y="86"/>
                    <a:pt x="74" y="82"/>
                  </a:cubicBezTo>
                  <a:cubicBezTo>
                    <a:pt x="76" y="113"/>
                    <a:pt x="76" y="113"/>
                    <a:pt x="76" y="113"/>
                  </a:cubicBezTo>
                  <a:lnTo>
                    <a:pt x="57" y="123"/>
                  </a:lnTo>
                  <a:close/>
                  <a:moveTo>
                    <a:pt x="106" y="125"/>
                  </a:moveTo>
                  <a:cubicBezTo>
                    <a:pt x="106" y="126"/>
                    <a:pt x="106" y="126"/>
                    <a:pt x="106" y="125"/>
                  </a:cubicBezTo>
                  <a:cubicBezTo>
                    <a:pt x="80" y="113"/>
                    <a:pt x="80" y="113"/>
                    <a:pt x="80" y="113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80" y="76"/>
                    <a:pt x="82" y="73"/>
                    <a:pt x="84" y="70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7" y="125"/>
                    <a:pt x="107" y="125"/>
                    <a:pt x="106" y="12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02" name="Freeform 30"/>
            <p:cNvSpPr>
              <a:spLocks noEditPoints="1"/>
            </p:cNvSpPr>
            <p:nvPr/>
          </p:nvSpPr>
          <p:spPr bwMode="auto">
            <a:xfrm>
              <a:off x="3191" y="288"/>
              <a:ext cx="82" cy="110"/>
            </a:xfrm>
            <a:custGeom>
              <a:avLst/>
              <a:gdLst/>
              <a:ahLst/>
              <a:cxnLst>
                <a:cxn ang="0">
                  <a:pos x="82" y="110"/>
                </a:cxn>
                <a:cxn ang="0">
                  <a:pos x="70" y="0"/>
                </a:cxn>
                <a:cxn ang="0">
                  <a:pos x="0" y="89"/>
                </a:cxn>
                <a:cxn ang="0">
                  <a:pos x="43" y="89"/>
                </a:cxn>
                <a:cxn ang="0">
                  <a:pos x="82" y="110"/>
                </a:cxn>
                <a:cxn ang="0">
                  <a:pos x="62" y="22"/>
                </a:cxn>
                <a:cxn ang="0">
                  <a:pos x="70" y="94"/>
                </a:cxn>
                <a:cxn ang="0">
                  <a:pos x="46" y="82"/>
                </a:cxn>
                <a:cxn ang="0">
                  <a:pos x="19" y="79"/>
                </a:cxn>
                <a:cxn ang="0">
                  <a:pos x="62" y="22"/>
                </a:cxn>
              </a:cxnLst>
              <a:rect l="0" t="0" r="r" b="b"/>
              <a:pathLst>
                <a:path w="82" h="110">
                  <a:moveTo>
                    <a:pt x="82" y="110"/>
                  </a:moveTo>
                  <a:lnTo>
                    <a:pt x="70" y="0"/>
                  </a:lnTo>
                  <a:lnTo>
                    <a:pt x="0" y="89"/>
                  </a:lnTo>
                  <a:lnTo>
                    <a:pt x="43" y="89"/>
                  </a:lnTo>
                  <a:lnTo>
                    <a:pt x="82" y="110"/>
                  </a:lnTo>
                  <a:close/>
                  <a:moveTo>
                    <a:pt x="62" y="22"/>
                  </a:moveTo>
                  <a:lnTo>
                    <a:pt x="70" y="94"/>
                  </a:lnTo>
                  <a:lnTo>
                    <a:pt x="46" y="82"/>
                  </a:lnTo>
                  <a:lnTo>
                    <a:pt x="19" y="79"/>
                  </a:lnTo>
                  <a:lnTo>
                    <a:pt x="62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05" name="Group 33"/>
          <p:cNvGrpSpPr>
            <a:grpSpLocks noChangeAspect="1"/>
          </p:cNvGrpSpPr>
          <p:nvPr/>
        </p:nvGrpSpPr>
        <p:grpSpPr bwMode="auto">
          <a:xfrm>
            <a:off x="5855490" y="277813"/>
            <a:ext cx="768350" cy="768350"/>
            <a:chOff x="3690" y="175"/>
            <a:chExt cx="484" cy="484"/>
          </a:xfrm>
        </p:grpSpPr>
        <p:sp>
          <p:nvSpPr>
            <p:cNvPr id="54306" name="Freeform 34"/>
            <p:cNvSpPr>
              <a:spLocks noEditPoints="1"/>
            </p:cNvSpPr>
            <p:nvPr/>
          </p:nvSpPr>
          <p:spPr bwMode="auto">
            <a:xfrm>
              <a:off x="3690" y="1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07" name="Freeform 35"/>
            <p:cNvSpPr>
              <a:spLocks noEditPoints="1"/>
            </p:cNvSpPr>
            <p:nvPr/>
          </p:nvSpPr>
          <p:spPr bwMode="auto">
            <a:xfrm>
              <a:off x="3801" y="245"/>
              <a:ext cx="266" cy="309"/>
            </a:xfrm>
            <a:custGeom>
              <a:avLst/>
              <a:gdLst/>
              <a:ahLst/>
              <a:cxnLst>
                <a:cxn ang="0">
                  <a:pos x="97" y="74"/>
                </a:cxn>
                <a:cxn ang="0">
                  <a:pos x="96" y="72"/>
                </a:cxn>
                <a:cxn ang="0">
                  <a:pos x="87" y="67"/>
                </a:cxn>
                <a:cxn ang="0">
                  <a:pos x="95" y="40"/>
                </a:cxn>
                <a:cxn ang="0">
                  <a:pos x="55" y="0"/>
                </a:cxn>
                <a:cxn ang="0">
                  <a:pos x="15" y="40"/>
                </a:cxn>
                <a:cxn ang="0">
                  <a:pos x="24" y="67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13" y="74"/>
                </a:cxn>
                <a:cxn ang="0">
                  <a:pos x="1" y="124"/>
                </a:cxn>
                <a:cxn ang="0">
                  <a:pos x="2" y="128"/>
                </a:cxn>
                <a:cxn ang="0">
                  <a:pos x="7" y="129"/>
                </a:cxn>
                <a:cxn ang="0">
                  <a:pos x="33" y="116"/>
                </a:cxn>
                <a:cxn ang="0">
                  <a:pos x="33" y="116"/>
                </a:cxn>
                <a:cxn ang="0">
                  <a:pos x="53" y="127"/>
                </a:cxn>
                <a:cxn ang="0">
                  <a:pos x="58" y="127"/>
                </a:cxn>
                <a:cxn ang="0">
                  <a:pos x="78" y="116"/>
                </a:cxn>
                <a:cxn ang="0">
                  <a:pos x="104" y="129"/>
                </a:cxn>
                <a:cxn ang="0">
                  <a:pos x="106" y="129"/>
                </a:cxn>
                <a:cxn ang="0">
                  <a:pos x="109" y="128"/>
                </a:cxn>
                <a:cxn ang="0">
                  <a:pos x="110" y="124"/>
                </a:cxn>
                <a:cxn ang="0">
                  <a:pos x="97" y="74"/>
                </a:cxn>
                <a:cxn ang="0">
                  <a:pos x="55" y="3"/>
                </a:cxn>
                <a:cxn ang="0">
                  <a:pos x="92" y="40"/>
                </a:cxn>
                <a:cxn ang="0">
                  <a:pos x="61" y="88"/>
                </a:cxn>
                <a:cxn ang="0">
                  <a:pos x="55" y="94"/>
                </a:cxn>
                <a:cxn ang="0">
                  <a:pos x="49" y="88"/>
                </a:cxn>
                <a:cxn ang="0">
                  <a:pos x="19" y="40"/>
                </a:cxn>
                <a:cxn ang="0">
                  <a:pos x="55" y="3"/>
                </a:cxn>
                <a:cxn ang="0">
                  <a:pos x="53" y="123"/>
                </a:cxn>
                <a:cxn ang="0">
                  <a:pos x="35" y="113"/>
                </a:cxn>
                <a:cxn ang="0">
                  <a:pos x="39" y="84"/>
                </a:cxn>
                <a:cxn ang="0">
                  <a:pos x="47" y="91"/>
                </a:cxn>
                <a:cxn ang="0">
                  <a:pos x="54" y="98"/>
                </a:cxn>
                <a:cxn ang="0">
                  <a:pos x="54" y="99"/>
                </a:cxn>
                <a:cxn ang="0">
                  <a:pos x="53" y="123"/>
                </a:cxn>
                <a:cxn ang="0">
                  <a:pos x="5" y="125"/>
                </a:cxn>
                <a:cxn ang="0">
                  <a:pos x="4" y="125"/>
                </a:cxn>
                <a:cxn ang="0">
                  <a:pos x="4" y="125"/>
                </a:cxn>
                <a:cxn ang="0">
                  <a:pos x="17" y="75"/>
                </a:cxn>
                <a:cxn ang="0">
                  <a:pos x="26" y="70"/>
                </a:cxn>
                <a:cxn ang="0">
                  <a:pos x="36" y="81"/>
                </a:cxn>
                <a:cxn ang="0">
                  <a:pos x="32" y="113"/>
                </a:cxn>
                <a:cxn ang="0">
                  <a:pos x="5" y="125"/>
                </a:cxn>
                <a:cxn ang="0">
                  <a:pos x="55" y="124"/>
                </a:cxn>
                <a:cxn ang="0">
                  <a:pos x="56" y="124"/>
                </a:cxn>
                <a:cxn ang="0">
                  <a:pos x="55" y="124"/>
                </a:cxn>
                <a:cxn ang="0">
                  <a:pos x="57" y="123"/>
                </a:cxn>
                <a:cxn ang="0">
                  <a:pos x="58" y="96"/>
                </a:cxn>
                <a:cxn ang="0">
                  <a:pos x="64" y="91"/>
                </a:cxn>
                <a:cxn ang="0">
                  <a:pos x="74" y="82"/>
                </a:cxn>
                <a:cxn ang="0">
                  <a:pos x="76" y="113"/>
                </a:cxn>
                <a:cxn ang="0">
                  <a:pos x="57" y="123"/>
                </a:cxn>
                <a:cxn ang="0">
                  <a:pos x="106" y="125"/>
                </a:cxn>
                <a:cxn ang="0">
                  <a:pos x="106" y="125"/>
                </a:cxn>
                <a:cxn ang="0">
                  <a:pos x="80" y="113"/>
                </a:cxn>
                <a:cxn ang="0">
                  <a:pos x="77" y="79"/>
                </a:cxn>
                <a:cxn ang="0">
                  <a:pos x="84" y="70"/>
                </a:cxn>
                <a:cxn ang="0">
                  <a:pos x="94" y="75"/>
                </a:cxn>
                <a:cxn ang="0">
                  <a:pos x="107" y="125"/>
                </a:cxn>
                <a:cxn ang="0">
                  <a:pos x="106" y="125"/>
                </a:cxn>
              </a:cxnLst>
              <a:rect l="0" t="0" r="r" b="b"/>
              <a:pathLst>
                <a:path w="111" h="129">
                  <a:moveTo>
                    <a:pt x="97" y="74"/>
                  </a:moveTo>
                  <a:cubicBezTo>
                    <a:pt x="97" y="73"/>
                    <a:pt x="96" y="73"/>
                    <a:pt x="96" y="72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92" y="59"/>
                    <a:pt x="95" y="50"/>
                    <a:pt x="95" y="40"/>
                  </a:cubicBezTo>
                  <a:cubicBezTo>
                    <a:pt x="95" y="17"/>
                    <a:pt x="77" y="0"/>
                    <a:pt x="55" y="0"/>
                  </a:cubicBezTo>
                  <a:cubicBezTo>
                    <a:pt x="33" y="0"/>
                    <a:pt x="15" y="17"/>
                    <a:pt x="15" y="40"/>
                  </a:cubicBezTo>
                  <a:cubicBezTo>
                    <a:pt x="15" y="50"/>
                    <a:pt x="19" y="59"/>
                    <a:pt x="24" y="6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4" y="73"/>
                    <a:pt x="14" y="73"/>
                    <a:pt x="13" y="74"/>
                  </a:cubicBezTo>
                  <a:cubicBezTo>
                    <a:pt x="1" y="124"/>
                    <a:pt x="1" y="124"/>
                    <a:pt x="1" y="124"/>
                  </a:cubicBezTo>
                  <a:cubicBezTo>
                    <a:pt x="0" y="125"/>
                    <a:pt x="1" y="127"/>
                    <a:pt x="2" y="128"/>
                  </a:cubicBezTo>
                  <a:cubicBezTo>
                    <a:pt x="3" y="129"/>
                    <a:pt x="5" y="129"/>
                    <a:pt x="7" y="129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33" y="116"/>
                    <a:pt x="33" y="116"/>
                    <a:pt x="33" y="116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5" y="128"/>
                    <a:pt x="56" y="128"/>
                    <a:pt x="58" y="127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05" y="129"/>
                    <a:pt x="105" y="129"/>
                    <a:pt x="106" y="129"/>
                  </a:cubicBezTo>
                  <a:cubicBezTo>
                    <a:pt x="107" y="129"/>
                    <a:pt x="108" y="129"/>
                    <a:pt x="109" y="128"/>
                  </a:cubicBezTo>
                  <a:cubicBezTo>
                    <a:pt x="110" y="127"/>
                    <a:pt x="111" y="125"/>
                    <a:pt x="110" y="124"/>
                  </a:cubicBezTo>
                  <a:lnTo>
                    <a:pt x="97" y="74"/>
                  </a:lnTo>
                  <a:close/>
                  <a:moveTo>
                    <a:pt x="55" y="3"/>
                  </a:moveTo>
                  <a:cubicBezTo>
                    <a:pt x="75" y="3"/>
                    <a:pt x="92" y="19"/>
                    <a:pt x="92" y="40"/>
                  </a:cubicBezTo>
                  <a:cubicBezTo>
                    <a:pt x="92" y="62"/>
                    <a:pt x="73" y="79"/>
                    <a:pt x="61" y="88"/>
                  </a:cubicBezTo>
                  <a:cubicBezTo>
                    <a:pt x="59" y="91"/>
                    <a:pt x="57" y="92"/>
                    <a:pt x="55" y="94"/>
                  </a:cubicBezTo>
                  <a:cubicBezTo>
                    <a:pt x="54" y="92"/>
                    <a:pt x="52" y="91"/>
                    <a:pt x="49" y="88"/>
                  </a:cubicBezTo>
                  <a:cubicBezTo>
                    <a:pt x="38" y="79"/>
                    <a:pt x="19" y="62"/>
                    <a:pt x="19" y="40"/>
                  </a:cubicBezTo>
                  <a:cubicBezTo>
                    <a:pt x="19" y="19"/>
                    <a:pt x="35" y="3"/>
                    <a:pt x="55" y="3"/>
                  </a:cubicBezTo>
                  <a:close/>
                  <a:moveTo>
                    <a:pt x="53" y="123"/>
                  </a:moveTo>
                  <a:cubicBezTo>
                    <a:pt x="35" y="113"/>
                    <a:pt x="35" y="113"/>
                    <a:pt x="35" y="113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42" y="87"/>
                    <a:pt x="45" y="89"/>
                    <a:pt x="47" y="91"/>
                  </a:cubicBezTo>
                  <a:cubicBezTo>
                    <a:pt x="50" y="94"/>
                    <a:pt x="53" y="96"/>
                    <a:pt x="54" y="98"/>
                  </a:cubicBezTo>
                  <a:cubicBezTo>
                    <a:pt x="54" y="99"/>
                    <a:pt x="54" y="99"/>
                    <a:pt x="54" y="99"/>
                  </a:cubicBezTo>
                  <a:lnTo>
                    <a:pt x="53" y="123"/>
                  </a:lnTo>
                  <a:close/>
                  <a:moveTo>
                    <a:pt x="5" y="125"/>
                  </a:moveTo>
                  <a:cubicBezTo>
                    <a:pt x="5" y="126"/>
                    <a:pt x="5" y="126"/>
                    <a:pt x="4" y="12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9" y="74"/>
                    <a:pt x="33" y="78"/>
                    <a:pt x="36" y="81"/>
                  </a:cubicBezTo>
                  <a:cubicBezTo>
                    <a:pt x="32" y="113"/>
                    <a:pt x="32" y="113"/>
                    <a:pt x="32" y="113"/>
                  </a:cubicBezTo>
                  <a:lnTo>
                    <a:pt x="5" y="125"/>
                  </a:lnTo>
                  <a:close/>
                  <a:moveTo>
                    <a:pt x="55" y="124"/>
                  </a:moveTo>
                  <a:cubicBezTo>
                    <a:pt x="56" y="124"/>
                    <a:pt x="56" y="124"/>
                    <a:pt x="56" y="124"/>
                  </a:cubicBezTo>
                  <a:cubicBezTo>
                    <a:pt x="55" y="124"/>
                    <a:pt x="55" y="124"/>
                    <a:pt x="55" y="124"/>
                  </a:cubicBezTo>
                  <a:close/>
                  <a:moveTo>
                    <a:pt x="57" y="123"/>
                  </a:moveTo>
                  <a:cubicBezTo>
                    <a:pt x="58" y="96"/>
                    <a:pt x="58" y="96"/>
                    <a:pt x="58" y="96"/>
                  </a:cubicBezTo>
                  <a:cubicBezTo>
                    <a:pt x="59" y="95"/>
                    <a:pt x="61" y="93"/>
                    <a:pt x="64" y="91"/>
                  </a:cubicBezTo>
                  <a:cubicBezTo>
                    <a:pt x="67" y="89"/>
                    <a:pt x="70" y="86"/>
                    <a:pt x="74" y="82"/>
                  </a:cubicBezTo>
                  <a:cubicBezTo>
                    <a:pt x="76" y="113"/>
                    <a:pt x="76" y="113"/>
                    <a:pt x="76" y="113"/>
                  </a:cubicBezTo>
                  <a:lnTo>
                    <a:pt x="57" y="123"/>
                  </a:lnTo>
                  <a:close/>
                  <a:moveTo>
                    <a:pt x="106" y="125"/>
                  </a:moveTo>
                  <a:cubicBezTo>
                    <a:pt x="106" y="126"/>
                    <a:pt x="106" y="126"/>
                    <a:pt x="106" y="125"/>
                  </a:cubicBezTo>
                  <a:cubicBezTo>
                    <a:pt x="80" y="113"/>
                    <a:pt x="80" y="113"/>
                    <a:pt x="80" y="113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80" y="76"/>
                    <a:pt x="82" y="73"/>
                    <a:pt x="84" y="70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7" y="125"/>
                    <a:pt x="107" y="125"/>
                    <a:pt x="106" y="12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08" name="Freeform 36"/>
            <p:cNvSpPr>
              <a:spLocks noEditPoints="1"/>
            </p:cNvSpPr>
            <p:nvPr/>
          </p:nvSpPr>
          <p:spPr bwMode="auto">
            <a:xfrm>
              <a:off x="3882" y="288"/>
              <a:ext cx="82" cy="110"/>
            </a:xfrm>
            <a:custGeom>
              <a:avLst/>
              <a:gdLst/>
              <a:ahLst/>
              <a:cxnLst>
                <a:cxn ang="0">
                  <a:pos x="82" y="110"/>
                </a:cxn>
                <a:cxn ang="0">
                  <a:pos x="70" y="0"/>
                </a:cxn>
                <a:cxn ang="0">
                  <a:pos x="0" y="89"/>
                </a:cxn>
                <a:cxn ang="0">
                  <a:pos x="43" y="89"/>
                </a:cxn>
                <a:cxn ang="0">
                  <a:pos x="82" y="110"/>
                </a:cxn>
                <a:cxn ang="0">
                  <a:pos x="62" y="22"/>
                </a:cxn>
                <a:cxn ang="0">
                  <a:pos x="70" y="93"/>
                </a:cxn>
                <a:cxn ang="0">
                  <a:pos x="46" y="81"/>
                </a:cxn>
                <a:cxn ang="0">
                  <a:pos x="19" y="79"/>
                </a:cxn>
                <a:cxn ang="0">
                  <a:pos x="62" y="22"/>
                </a:cxn>
              </a:cxnLst>
              <a:rect l="0" t="0" r="r" b="b"/>
              <a:pathLst>
                <a:path w="82" h="110">
                  <a:moveTo>
                    <a:pt x="82" y="110"/>
                  </a:moveTo>
                  <a:lnTo>
                    <a:pt x="70" y="0"/>
                  </a:lnTo>
                  <a:lnTo>
                    <a:pt x="0" y="89"/>
                  </a:lnTo>
                  <a:lnTo>
                    <a:pt x="43" y="89"/>
                  </a:lnTo>
                  <a:lnTo>
                    <a:pt x="82" y="110"/>
                  </a:lnTo>
                  <a:close/>
                  <a:moveTo>
                    <a:pt x="62" y="22"/>
                  </a:moveTo>
                  <a:lnTo>
                    <a:pt x="70" y="93"/>
                  </a:lnTo>
                  <a:lnTo>
                    <a:pt x="46" y="81"/>
                  </a:lnTo>
                  <a:lnTo>
                    <a:pt x="19" y="79"/>
                  </a:lnTo>
                  <a:lnTo>
                    <a:pt x="62" y="2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311" name="Group 39"/>
          <p:cNvGrpSpPr>
            <a:grpSpLocks noChangeAspect="1"/>
          </p:cNvGrpSpPr>
          <p:nvPr/>
        </p:nvGrpSpPr>
        <p:grpSpPr bwMode="auto">
          <a:xfrm>
            <a:off x="6922294" y="244475"/>
            <a:ext cx="836612" cy="836613"/>
            <a:chOff x="4359" y="154"/>
            <a:chExt cx="527" cy="527"/>
          </a:xfrm>
        </p:grpSpPr>
        <p:sp>
          <p:nvSpPr>
            <p:cNvPr id="54312" name="Oval 40"/>
            <p:cNvSpPr>
              <a:spLocks noChangeArrowheads="1"/>
            </p:cNvSpPr>
            <p:nvPr/>
          </p:nvSpPr>
          <p:spPr bwMode="auto">
            <a:xfrm>
              <a:off x="4359" y="154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13" name="Freeform 41"/>
            <p:cNvSpPr>
              <a:spLocks noEditPoints="1"/>
            </p:cNvSpPr>
            <p:nvPr/>
          </p:nvSpPr>
          <p:spPr bwMode="auto">
            <a:xfrm>
              <a:off x="4381" y="176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14" name="Freeform 42"/>
            <p:cNvSpPr>
              <a:spLocks noEditPoints="1"/>
            </p:cNvSpPr>
            <p:nvPr/>
          </p:nvSpPr>
          <p:spPr bwMode="auto">
            <a:xfrm>
              <a:off x="4496" y="283"/>
              <a:ext cx="253" cy="271"/>
            </a:xfrm>
            <a:custGeom>
              <a:avLst/>
              <a:gdLst/>
              <a:ahLst/>
              <a:cxnLst>
                <a:cxn ang="0">
                  <a:pos x="88" y="3"/>
                </a:cxn>
                <a:cxn ang="0">
                  <a:pos x="0" y="24"/>
                </a:cxn>
                <a:cxn ang="0">
                  <a:pos x="0" y="271"/>
                </a:cxn>
                <a:cxn ang="0">
                  <a:pos x="88" y="249"/>
                </a:cxn>
                <a:cxn ang="0">
                  <a:pos x="162" y="266"/>
                </a:cxn>
                <a:cxn ang="0">
                  <a:pos x="253" y="245"/>
                </a:cxn>
                <a:cxn ang="0">
                  <a:pos x="253" y="0"/>
                </a:cxn>
                <a:cxn ang="0">
                  <a:pos x="162" y="22"/>
                </a:cxn>
                <a:cxn ang="0">
                  <a:pos x="88" y="3"/>
                </a:cxn>
                <a:cxn ang="0">
                  <a:pos x="93" y="15"/>
                </a:cxn>
                <a:cxn ang="0">
                  <a:pos x="160" y="29"/>
                </a:cxn>
                <a:cxn ang="0">
                  <a:pos x="160" y="256"/>
                </a:cxn>
                <a:cxn ang="0">
                  <a:pos x="93" y="240"/>
                </a:cxn>
                <a:cxn ang="0">
                  <a:pos x="93" y="15"/>
                </a:cxn>
                <a:cxn ang="0">
                  <a:pos x="7" y="32"/>
                </a:cxn>
                <a:cxn ang="0">
                  <a:pos x="83" y="15"/>
                </a:cxn>
                <a:cxn ang="0">
                  <a:pos x="83" y="240"/>
                </a:cxn>
                <a:cxn ang="0">
                  <a:pos x="7" y="259"/>
                </a:cxn>
                <a:cxn ang="0">
                  <a:pos x="7" y="32"/>
                </a:cxn>
                <a:cxn ang="0">
                  <a:pos x="244" y="237"/>
                </a:cxn>
                <a:cxn ang="0">
                  <a:pos x="167" y="256"/>
                </a:cxn>
                <a:cxn ang="0">
                  <a:pos x="167" y="29"/>
                </a:cxn>
                <a:cxn ang="0">
                  <a:pos x="244" y="12"/>
                </a:cxn>
                <a:cxn ang="0">
                  <a:pos x="244" y="237"/>
                </a:cxn>
              </a:cxnLst>
              <a:rect l="0" t="0" r="r" b="b"/>
              <a:pathLst>
                <a:path w="253" h="271">
                  <a:moveTo>
                    <a:pt x="88" y="3"/>
                  </a:moveTo>
                  <a:lnTo>
                    <a:pt x="0" y="24"/>
                  </a:lnTo>
                  <a:lnTo>
                    <a:pt x="0" y="271"/>
                  </a:lnTo>
                  <a:lnTo>
                    <a:pt x="88" y="249"/>
                  </a:lnTo>
                  <a:lnTo>
                    <a:pt x="162" y="266"/>
                  </a:lnTo>
                  <a:lnTo>
                    <a:pt x="253" y="245"/>
                  </a:lnTo>
                  <a:lnTo>
                    <a:pt x="253" y="0"/>
                  </a:lnTo>
                  <a:lnTo>
                    <a:pt x="162" y="22"/>
                  </a:lnTo>
                  <a:lnTo>
                    <a:pt x="88" y="3"/>
                  </a:lnTo>
                  <a:close/>
                  <a:moveTo>
                    <a:pt x="93" y="15"/>
                  </a:moveTo>
                  <a:lnTo>
                    <a:pt x="160" y="29"/>
                  </a:lnTo>
                  <a:lnTo>
                    <a:pt x="160" y="256"/>
                  </a:lnTo>
                  <a:lnTo>
                    <a:pt x="93" y="240"/>
                  </a:lnTo>
                  <a:lnTo>
                    <a:pt x="93" y="15"/>
                  </a:lnTo>
                  <a:close/>
                  <a:moveTo>
                    <a:pt x="7" y="32"/>
                  </a:moveTo>
                  <a:lnTo>
                    <a:pt x="83" y="15"/>
                  </a:lnTo>
                  <a:lnTo>
                    <a:pt x="83" y="240"/>
                  </a:lnTo>
                  <a:lnTo>
                    <a:pt x="7" y="259"/>
                  </a:lnTo>
                  <a:lnTo>
                    <a:pt x="7" y="32"/>
                  </a:lnTo>
                  <a:close/>
                  <a:moveTo>
                    <a:pt x="244" y="237"/>
                  </a:moveTo>
                  <a:lnTo>
                    <a:pt x="167" y="256"/>
                  </a:lnTo>
                  <a:lnTo>
                    <a:pt x="167" y="29"/>
                  </a:lnTo>
                  <a:lnTo>
                    <a:pt x="244" y="12"/>
                  </a:lnTo>
                  <a:lnTo>
                    <a:pt x="244" y="23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17" name="Group 45"/>
          <p:cNvGrpSpPr>
            <a:grpSpLocks noChangeAspect="1"/>
          </p:cNvGrpSpPr>
          <p:nvPr/>
        </p:nvGrpSpPr>
        <p:grpSpPr bwMode="auto">
          <a:xfrm>
            <a:off x="8055775" y="277813"/>
            <a:ext cx="768350" cy="768350"/>
            <a:chOff x="5071" y="175"/>
            <a:chExt cx="484" cy="484"/>
          </a:xfrm>
        </p:grpSpPr>
        <p:sp>
          <p:nvSpPr>
            <p:cNvPr id="54318" name="Freeform 46"/>
            <p:cNvSpPr>
              <a:spLocks noEditPoints="1"/>
            </p:cNvSpPr>
            <p:nvPr/>
          </p:nvSpPr>
          <p:spPr bwMode="auto">
            <a:xfrm>
              <a:off x="5071" y="1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19" name="Freeform 47"/>
            <p:cNvSpPr>
              <a:spLocks noEditPoints="1"/>
            </p:cNvSpPr>
            <p:nvPr/>
          </p:nvSpPr>
          <p:spPr bwMode="auto">
            <a:xfrm>
              <a:off x="5186" y="283"/>
              <a:ext cx="254" cy="271"/>
            </a:xfrm>
            <a:custGeom>
              <a:avLst/>
              <a:gdLst/>
              <a:ahLst/>
              <a:cxnLst>
                <a:cxn ang="0">
                  <a:pos x="89" y="3"/>
                </a:cxn>
                <a:cxn ang="0">
                  <a:pos x="0" y="24"/>
                </a:cxn>
                <a:cxn ang="0">
                  <a:pos x="0" y="271"/>
                </a:cxn>
                <a:cxn ang="0">
                  <a:pos x="89" y="249"/>
                </a:cxn>
                <a:cxn ang="0">
                  <a:pos x="163" y="266"/>
                </a:cxn>
                <a:cxn ang="0">
                  <a:pos x="254" y="245"/>
                </a:cxn>
                <a:cxn ang="0">
                  <a:pos x="254" y="0"/>
                </a:cxn>
                <a:cxn ang="0">
                  <a:pos x="163" y="22"/>
                </a:cxn>
                <a:cxn ang="0">
                  <a:pos x="89" y="3"/>
                </a:cxn>
                <a:cxn ang="0">
                  <a:pos x="94" y="15"/>
                </a:cxn>
                <a:cxn ang="0">
                  <a:pos x="161" y="29"/>
                </a:cxn>
                <a:cxn ang="0">
                  <a:pos x="161" y="257"/>
                </a:cxn>
                <a:cxn ang="0">
                  <a:pos x="94" y="240"/>
                </a:cxn>
                <a:cxn ang="0">
                  <a:pos x="94" y="15"/>
                </a:cxn>
                <a:cxn ang="0">
                  <a:pos x="8" y="31"/>
                </a:cxn>
                <a:cxn ang="0">
                  <a:pos x="84" y="15"/>
                </a:cxn>
                <a:cxn ang="0">
                  <a:pos x="84" y="240"/>
                </a:cxn>
                <a:cxn ang="0">
                  <a:pos x="8" y="259"/>
                </a:cxn>
                <a:cxn ang="0">
                  <a:pos x="8" y="31"/>
                </a:cxn>
                <a:cxn ang="0">
                  <a:pos x="245" y="237"/>
                </a:cxn>
                <a:cxn ang="0">
                  <a:pos x="168" y="257"/>
                </a:cxn>
                <a:cxn ang="0">
                  <a:pos x="168" y="29"/>
                </a:cxn>
                <a:cxn ang="0">
                  <a:pos x="245" y="12"/>
                </a:cxn>
                <a:cxn ang="0">
                  <a:pos x="245" y="237"/>
                </a:cxn>
              </a:cxnLst>
              <a:rect l="0" t="0" r="r" b="b"/>
              <a:pathLst>
                <a:path w="254" h="271">
                  <a:moveTo>
                    <a:pt x="89" y="3"/>
                  </a:moveTo>
                  <a:lnTo>
                    <a:pt x="0" y="24"/>
                  </a:lnTo>
                  <a:lnTo>
                    <a:pt x="0" y="271"/>
                  </a:lnTo>
                  <a:lnTo>
                    <a:pt x="89" y="249"/>
                  </a:lnTo>
                  <a:lnTo>
                    <a:pt x="163" y="266"/>
                  </a:lnTo>
                  <a:lnTo>
                    <a:pt x="254" y="245"/>
                  </a:lnTo>
                  <a:lnTo>
                    <a:pt x="254" y="0"/>
                  </a:lnTo>
                  <a:lnTo>
                    <a:pt x="163" y="22"/>
                  </a:lnTo>
                  <a:lnTo>
                    <a:pt x="89" y="3"/>
                  </a:lnTo>
                  <a:close/>
                  <a:moveTo>
                    <a:pt x="94" y="15"/>
                  </a:moveTo>
                  <a:lnTo>
                    <a:pt x="161" y="29"/>
                  </a:lnTo>
                  <a:lnTo>
                    <a:pt x="161" y="257"/>
                  </a:lnTo>
                  <a:lnTo>
                    <a:pt x="94" y="240"/>
                  </a:lnTo>
                  <a:lnTo>
                    <a:pt x="94" y="15"/>
                  </a:lnTo>
                  <a:close/>
                  <a:moveTo>
                    <a:pt x="8" y="31"/>
                  </a:moveTo>
                  <a:lnTo>
                    <a:pt x="84" y="15"/>
                  </a:lnTo>
                  <a:lnTo>
                    <a:pt x="84" y="240"/>
                  </a:lnTo>
                  <a:lnTo>
                    <a:pt x="8" y="259"/>
                  </a:lnTo>
                  <a:lnTo>
                    <a:pt x="8" y="31"/>
                  </a:lnTo>
                  <a:close/>
                  <a:moveTo>
                    <a:pt x="245" y="237"/>
                  </a:moveTo>
                  <a:lnTo>
                    <a:pt x="168" y="257"/>
                  </a:lnTo>
                  <a:lnTo>
                    <a:pt x="168" y="29"/>
                  </a:lnTo>
                  <a:lnTo>
                    <a:pt x="245" y="12"/>
                  </a:lnTo>
                  <a:lnTo>
                    <a:pt x="245" y="23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322" name="Group 50"/>
          <p:cNvGrpSpPr>
            <a:grpSpLocks noChangeAspect="1"/>
          </p:cNvGrpSpPr>
          <p:nvPr/>
        </p:nvGrpSpPr>
        <p:grpSpPr bwMode="auto">
          <a:xfrm>
            <a:off x="346869" y="1514475"/>
            <a:ext cx="838200" cy="833438"/>
            <a:chOff x="215" y="954"/>
            <a:chExt cx="528" cy="525"/>
          </a:xfrm>
        </p:grpSpPr>
        <p:sp>
          <p:nvSpPr>
            <p:cNvPr id="54323" name="Oval 51"/>
            <p:cNvSpPr>
              <a:spLocks noChangeArrowheads="1"/>
            </p:cNvSpPr>
            <p:nvPr/>
          </p:nvSpPr>
          <p:spPr bwMode="auto">
            <a:xfrm>
              <a:off x="215" y="954"/>
              <a:ext cx="528" cy="52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24" name="Freeform 52"/>
            <p:cNvSpPr>
              <a:spLocks noEditPoints="1"/>
            </p:cNvSpPr>
            <p:nvPr/>
          </p:nvSpPr>
          <p:spPr bwMode="auto">
            <a:xfrm>
              <a:off x="309" y="1050"/>
              <a:ext cx="331" cy="331"/>
            </a:xfrm>
            <a:custGeom>
              <a:avLst/>
              <a:gdLst/>
              <a:ahLst/>
              <a:cxnLst>
                <a:cxn ang="0">
                  <a:pos x="273" y="0"/>
                </a:cxn>
                <a:cxn ang="0">
                  <a:pos x="7" y="268"/>
                </a:cxn>
                <a:cxn ang="0">
                  <a:pos x="7" y="280"/>
                </a:cxn>
                <a:cxn ang="0">
                  <a:pos x="57" y="331"/>
                </a:cxn>
                <a:cxn ang="0">
                  <a:pos x="323" y="65"/>
                </a:cxn>
                <a:cxn ang="0">
                  <a:pos x="323" y="53"/>
                </a:cxn>
                <a:cxn ang="0">
                  <a:pos x="57" y="319"/>
                </a:cxn>
                <a:cxn ang="0">
                  <a:pos x="24" y="264"/>
                </a:cxn>
                <a:cxn ang="0">
                  <a:pos x="48" y="276"/>
                </a:cxn>
                <a:cxn ang="0">
                  <a:pos x="24" y="264"/>
                </a:cxn>
                <a:cxn ang="0">
                  <a:pos x="50" y="261"/>
                </a:cxn>
                <a:cxn ang="0">
                  <a:pos x="43" y="242"/>
                </a:cxn>
                <a:cxn ang="0">
                  <a:pos x="53" y="235"/>
                </a:cxn>
                <a:cxn ang="0">
                  <a:pos x="72" y="242"/>
                </a:cxn>
                <a:cxn ang="0">
                  <a:pos x="67" y="220"/>
                </a:cxn>
                <a:cxn ang="0">
                  <a:pos x="86" y="228"/>
                </a:cxn>
                <a:cxn ang="0">
                  <a:pos x="81" y="206"/>
                </a:cxn>
                <a:cxn ang="0">
                  <a:pos x="108" y="218"/>
                </a:cxn>
                <a:cxn ang="0">
                  <a:pos x="110" y="175"/>
                </a:cxn>
                <a:cxn ang="0">
                  <a:pos x="132" y="184"/>
                </a:cxn>
                <a:cxn ang="0">
                  <a:pos x="117" y="170"/>
                </a:cxn>
                <a:cxn ang="0">
                  <a:pos x="139" y="146"/>
                </a:cxn>
                <a:cxn ang="0">
                  <a:pos x="165" y="161"/>
                </a:cxn>
                <a:cxn ang="0">
                  <a:pos x="170" y="117"/>
                </a:cxn>
                <a:cxn ang="0">
                  <a:pos x="189" y="125"/>
                </a:cxn>
                <a:cxn ang="0">
                  <a:pos x="199" y="89"/>
                </a:cxn>
                <a:cxn ang="0">
                  <a:pos x="218" y="108"/>
                </a:cxn>
                <a:cxn ang="0">
                  <a:pos x="204" y="81"/>
                </a:cxn>
                <a:cxn ang="0">
                  <a:pos x="242" y="45"/>
                </a:cxn>
                <a:cxn ang="0">
                  <a:pos x="261" y="53"/>
                </a:cxn>
                <a:cxn ang="0">
                  <a:pos x="273" y="14"/>
                </a:cxn>
                <a:cxn ang="0">
                  <a:pos x="57" y="319"/>
                </a:cxn>
              </a:cxnLst>
              <a:rect l="0" t="0" r="r" b="b"/>
              <a:pathLst>
                <a:path w="331" h="331">
                  <a:moveTo>
                    <a:pt x="280" y="7"/>
                  </a:moveTo>
                  <a:lnTo>
                    <a:pt x="273" y="0"/>
                  </a:lnTo>
                  <a:lnTo>
                    <a:pt x="266" y="7"/>
                  </a:lnTo>
                  <a:lnTo>
                    <a:pt x="7" y="268"/>
                  </a:lnTo>
                  <a:lnTo>
                    <a:pt x="0" y="273"/>
                  </a:lnTo>
                  <a:lnTo>
                    <a:pt x="7" y="280"/>
                  </a:lnTo>
                  <a:lnTo>
                    <a:pt x="53" y="326"/>
                  </a:lnTo>
                  <a:lnTo>
                    <a:pt x="57" y="331"/>
                  </a:lnTo>
                  <a:lnTo>
                    <a:pt x="65" y="326"/>
                  </a:lnTo>
                  <a:lnTo>
                    <a:pt x="323" y="65"/>
                  </a:lnTo>
                  <a:lnTo>
                    <a:pt x="331" y="57"/>
                  </a:lnTo>
                  <a:lnTo>
                    <a:pt x="323" y="53"/>
                  </a:lnTo>
                  <a:lnTo>
                    <a:pt x="280" y="7"/>
                  </a:lnTo>
                  <a:close/>
                  <a:moveTo>
                    <a:pt x="57" y="319"/>
                  </a:moveTo>
                  <a:lnTo>
                    <a:pt x="12" y="273"/>
                  </a:lnTo>
                  <a:lnTo>
                    <a:pt x="24" y="264"/>
                  </a:lnTo>
                  <a:lnTo>
                    <a:pt x="43" y="283"/>
                  </a:lnTo>
                  <a:lnTo>
                    <a:pt x="48" y="276"/>
                  </a:lnTo>
                  <a:lnTo>
                    <a:pt x="29" y="256"/>
                  </a:lnTo>
                  <a:lnTo>
                    <a:pt x="24" y="264"/>
                  </a:lnTo>
                  <a:lnTo>
                    <a:pt x="38" y="249"/>
                  </a:lnTo>
                  <a:lnTo>
                    <a:pt x="50" y="261"/>
                  </a:lnTo>
                  <a:lnTo>
                    <a:pt x="57" y="256"/>
                  </a:lnTo>
                  <a:lnTo>
                    <a:pt x="43" y="242"/>
                  </a:lnTo>
                  <a:lnTo>
                    <a:pt x="41" y="247"/>
                  </a:lnTo>
                  <a:lnTo>
                    <a:pt x="53" y="235"/>
                  </a:lnTo>
                  <a:lnTo>
                    <a:pt x="67" y="249"/>
                  </a:lnTo>
                  <a:lnTo>
                    <a:pt x="72" y="242"/>
                  </a:lnTo>
                  <a:lnTo>
                    <a:pt x="57" y="228"/>
                  </a:lnTo>
                  <a:lnTo>
                    <a:pt x="67" y="220"/>
                  </a:lnTo>
                  <a:lnTo>
                    <a:pt x="79" y="232"/>
                  </a:lnTo>
                  <a:lnTo>
                    <a:pt x="86" y="228"/>
                  </a:lnTo>
                  <a:lnTo>
                    <a:pt x="74" y="213"/>
                  </a:lnTo>
                  <a:lnTo>
                    <a:pt x="81" y="206"/>
                  </a:lnTo>
                  <a:lnTo>
                    <a:pt x="101" y="225"/>
                  </a:lnTo>
                  <a:lnTo>
                    <a:pt x="108" y="218"/>
                  </a:lnTo>
                  <a:lnTo>
                    <a:pt x="89" y="199"/>
                  </a:lnTo>
                  <a:lnTo>
                    <a:pt x="110" y="175"/>
                  </a:lnTo>
                  <a:lnTo>
                    <a:pt x="124" y="189"/>
                  </a:lnTo>
                  <a:lnTo>
                    <a:pt x="132" y="184"/>
                  </a:lnTo>
                  <a:lnTo>
                    <a:pt x="117" y="170"/>
                  </a:lnTo>
                  <a:lnTo>
                    <a:pt x="117" y="170"/>
                  </a:lnTo>
                  <a:lnTo>
                    <a:pt x="144" y="144"/>
                  </a:lnTo>
                  <a:lnTo>
                    <a:pt x="139" y="146"/>
                  </a:lnTo>
                  <a:lnTo>
                    <a:pt x="158" y="165"/>
                  </a:lnTo>
                  <a:lnTo>
                    <a:pt x="165" y="161"/>
                  </a:lnTo>
                  <a:lnTo>
                    <a:pt x="146" y="141"/>
                  </a:lnTo>
                  <a:lnTo>
                    <a:pt x="170" y="117"/>
                  </a:lnTo>
                  <a:lnTo>
                    <a:pt x="182" y="132"/>
                  </a:lnTo>
                  <a:lnTo>
                    <a:pt x="189" y="125"/>
                  </a:lnTo>
                  <a:lnTo>
                    <a:pt x="175" y="113"/>
                  </a:lnTo>
                  <a:lnTo>
                    <a:pt x="199" y="89"/>
                  </a:lnTo>
                  <a:lnTo>
                    <a:pt x="199" y="89"/>
                  </a:lnTo>
                  <a:lnTo>
                    <a:pt x="218" y="108"/>
                  </a:lnTo>
                  <a:lnTo>
                    <a:pt x="223" y="101"/>
                  </a:lnTo>
                  <a:lnTo>
                    <a:pt x="204" y="81"/>
                  </a:lnTo>
                  <a:lnTo>
                    <a:pt x="242" y="43"/>
                  </a:lnTo>
                  <a:lnTo>
                    <a:pt x="242" y="45"/>
                  </a:lnTo>
                  <a:lnTo>
                    <a:pt x="254" y="57"/>
                  </a:lnTo>
                  <a:lnTo>
                    <a:pt x="261" y="53"/>
                  </a:lnTo>
                  <a:lnTo>
                    <a:pt x="249" y="38"/>
                  </a:lnTo>
                  <a:lnTo>
                    <a:pt x="273" y="14"/>
                  </a:lnTo>
                  <a:lnTo>
                    <a:pt x="319" y="57"/>
                  </a:lnTo>
                  <a:lnTo>
                    <a:pt x="57" y="3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25" name="Freeform 53"/>
            <p:cNvSpPr>
              <a:spLocks/>
            </p:cNvSpPr>
            <p:nvPr/>
          </p:nvSpPr>
          <p:spPr bwMode="auto">
            <a:xfrm>
              <a:off x="405" y="1234"/>
              <a:ext cx="19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4" y="20"/>
                </a:cxn>
                <a:cxn ang="0">
                  <a:pos x="19" y="12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19" h="20">
                  <a:moveTo>
                    <a:pt x="0" y="8"/>
                  </a:moveTo>
                  <a:lnTo>
                    <a:pt x="14" y="20"/>
                  </a:lnTo>
                  <a:lnTo>
                    <a:pt x="19" y="12"/>
                  </a:lnTo>
                  <a:lnTo>
                    <a:pt x="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26" name="Freeform 54"/>
            <p:cNvSpPr>
              <a:spLocks/>
            </p:cNvSpPr>
            <p:nvPr/>
          </p:nvSpPr>
          <p:spPr bwMode="auto">
            <a:xfrm>
              <a:off x="433" y="1206"/>
              <a:ext cx="20" cy="1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19"/>
                </a:cxn>
                <a:cxn ang="0">
                  <a:pos x="20" y="12"/>
                </a:cxn>
                <a:cxn ang="0">
                  <a:pos x="8" y="0"/>
                </a:cxn>
                <a:cxn ang="0">
                  <a:pos x="0" y="5"/>
                </a:cxn>
              </a:cxnLst>
              <a:rect l="0" t="0" r="r" b="b"/>
              <a:pathLst>
                <a:path w="20" h="19">
                  <a:moveTo>
                    <a:pt x="0" y="5"/>
                  </a:moveTo>
                  <a:lnTo>
                    <a:pt x="15" y="19"/>
                  </a:lnTo>
                  <a:lnTo>
                    <a:pt x="20" y="12"/>
                  </a:lnTo>
                  <a:lnTo>
                    <a:pt x="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27" name="Freeform 55"/>
            <p:cNvSpPr>
              <a:spLocks/>
            </p:cNvSpPr>
            <p:nvPr/>
          </p:nvSpPr>
          <p:spPr bwMode="auto">
            <a:xfrm>
              <a:off x="462" y="1177"/>
              <a:ext cx="22" cy="1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19"/>
                </a:cxn>
                <a:cxn ang="0">
                  <a:pos x="22" y="12"/>
                </a:cxn>
                <a:cxn ang="0">
                  <a:pos x="7" y="0"/>
                </a:cxn>
                <a:cxn ang="0">
                  <a:pos x="0" y="5"/>
                </a:cxn>
              </a:cxnLst>
              <a:rect l="0" t="0" r="r" b="b"/>
              <a:pathLst>
                <a:path w="22" h="19">
                  <a:moveTo>
                    <a:pt x="0" y="5"/>
                  </a:moveTo>
                  <a:lnTo>
                    <a:pt x="15" y="19"/>
                  </a:lnTo>
                  <a:lnTo>
                    <a:pt x="22" y="12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28" name="Freeform 56"/>
            <p:cNvSpPr>
              <a:spLocks/>
            </p:cNvSpPr>
            <p:nvPr/>
          </p:nvSpPr>
          <p:spPr bwMode="auto">
            <a:xfrm>
              <a:off x="493" y="1146"/>
              <a:ext cx="20" cy="1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2" y="19"/>
                </a:cxn>
                <a:cxn ang="0">
                  <a:pos x="20" y="14"/>
                </a:cxn>
                <a:cxn ang="0">
                  <a:pos x="5" y="0"/>
                </a:cxn>
                <a:cxn ang="0">
                  <a:pos x="0" y="7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12" y="19"/>
                  </a:lnTo>
                  <a:lnTo>
                    <a:pt x="20" y="14"/>
                  </a:ln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29" name="Freeform 57"/>
            <p:cNvSpPr>
              <a:spLocks/>
            </p:cNvSpPr>
            <p:nvPr/>
          </p:nvSpPr>
          <p:spPr bwMode="auto">
            <a:xfrm>
              <a:off x="522" y="1117"/>
              <a:ext cx="19" cy="1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2" y="19"/>
                </a:cxn>
                <a:cxn ang="0">
                  <a:pos x="19" y="14"/>
                </a:cxn>
                <a:cxn ang="0">
                  <a:pos x="5" y="0"/>
                </a:cxn>
                <a:cxn ang="0">
                  <a:pos x="0" y="7"/>
                </a:cxn>
              </a:cxnLst>
              <a:rect l="0" t="0" r="r" b="b"/>
              <a:pathLst>
                <a:path w="19" h="19">
                  <a:moveTo>
                    <a:pt x="0" y="7"/>
                  </a:moveTo>
                  <a:lnTo>
                    <a:pt x="12" y="19"/>
                  </a:lnTo>
                  <a:lnTo>
                    <a:pt x="19" y="14"/>
                  </a:ln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30" name="Freeform 58"/>
            <p:cNvSpPr>
              <a:spLocks/>
            </p:cNvSpPr>
            <p:nvPr/>
          </p:nvSpPr>
          <p:spPr bwMode="auto">
            <a:xfrm>
              <a:off x="537" y="1103"/>
              <a:ext cx="19" cy="2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4" y="21"/>
                </a:cxn>
                <a:cxn ang="0">
                  <a:pos x="19" y="14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19" h="21">
                  <a:moveTo>
                    <a:pt x="0" y="7"/>
                  </a:moveTo>
                  <a:lnTo>
                    <a:pt x="14" y="21"/>
                  </a:lnTo>
                  <a:lnTo>
                    <a:pt x="19" y="14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31" name="Freeform 59"/>
            <p:cNvSpPr>
              <a:spLocks/>
            </p:cNvSpPr>
            <p:nvPr/>
          </p:nvSpPr>
          <p:spPr bwMode="auto">
            <a:xfrm>
              <a:off x="565" y="1074"/>
              <a:ext cx="27" cy="26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9" y="26"/>
                </a:cxn>
                <a:cxn ang="0">
                  <a:pos x="27" y="19"/>
                </a:cxn>
                <a:cxn ang="0">
                  <a:pos x="8" y="0"/>
                </a:cxn>
                <a:cxn ang="0">
                  <a:pos x="0" y="7"/>
                </a:cxn>
              </a:cxnLst>
              <a:rect l="0" t="0" r="r" b="b"/>
              <a:pathLst>
                <a:path w="27" h="26">
                  <a:moveTo>
                    <a:pt x="0" y="7"/>
                  </a:moveTo>
                  <a:lnTo>
                    <a:pt x="19" y="26"/>
                  </a:lnTo>
                  <a:lnTo>
                    <a:pt x="27" y="19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32" name="Freeform 60"/>
            <p:cNvSpPr>
              <a:spLocks noEditPoints="1"/>
            </p:cNvSpPr>
            <p:nvPr/>
          </p:nvSpPr>
          <p:spPr bwMode="auto">
            <a:xfrm>
              <a:off x="237" y="973"/>
              <a:ext cx="484" cy="487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70"/>
                </a:cxn>
                <a:cxn ang="0">
                  <a:pos x="101" y="198"/>
                </a:cxn>
                <a:cxn ang="0">
                  <a:pos x="33" y="170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70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70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35" name="Group 63"/>
          <p:cNvGrpSpPr>
            <a:grpSpLocks noChangeAspect="1"/>
          </p:cNvGrpSpPr>
          <p:nvPr/>
        </p:nvGrpSpPr>
        <p:grpSpPr bwMode="auto">
          <a:xfrm>
            <a:off x="1462880" y="1546224"/>
            <a:ext cx="768350" cy="768350"/>
            <a:chOff x="924" y="974"/>
            <a:chExt cx="484" cy="484"/>
          </a:xfrm>
        </p:grpSpPr>
        <p:sp>
          <p:nvSpPr>
            <p:cNvPr id="54336" name="Freeform 64"/>
            <p:cNvSpPr>
              <a:spLocks noEditPoints="1"/>
            </p:cNvSpPr>
            <p:nvPr/>
          </p:nvSpPr>
          <p:spPr bwMode="auto">
            <a:xfrm>
              <a:off x="996" y="1051"/>
              <a:ext cx="331" cy="331"/>
            </a:xfrm>
            <a:custGeom>
              <a:avLst/>
              <a:gdLst/>
              <a:ahLst/>
              <a:cxnLst>
                <a:cxn ang="0">
                  <a:pos x="273" y="0"/>
                </a:cxn>
                <a:cxn ang="0">
                  <a:pos x="7" y="266"/>
                </a:cxn>
                <a:cxn ang="0">
                  <a:pos x="7" y="278"/>
                </a:cxn>
                <a:cxn ang="0">
                  <a:pos x="58" y="331"/>
                </a:cxn>
                <a:cxn ang="0">
                  <a:pos x="324" y="62"/>
                </a:cxn>
                <a:cxn ang="0">
                  <a:pos x="324" y="50"/>
                </a:cxn>
                <a:cxn ang="0">
                  <a:pos x="58" y="319"/>
                </a:cxn>
                <a:cxn ang="0">
                  <a:pos x="24" y="261"/>
                </a:cxn>
                <a:cxn ang="0">
                  <a:pos x="48" y="276"/>
                </a:cxn>
                <a:cxn ang="0">
                  <a:pos x="24" y="261"/>
                </a:cxn>
                <a:cxn ang="0">
                  <a:pos x="51" y="261"/>
                </a:cxn>
                <a:cxn ang="0">
                  <a:pos x="43" y="242"/>
                </a:cxn>
                <a:cxn ang="0">
                  <a:pos x="53" y="233"/>
                </a:cxn>
                <a:cxn ang="0">
                  <a:pos x="72" y="242"/>
                </a:cxn>
                <a:cxn ang="0">
                  <a:pos x="67" y="218"/>
                </a:cxn>
                <a:cxn ang="0">
                  <a:pos x="86" y="225"/>
                </a:cxn>
                <a:cxn ang="0">
                  <a:pos x="82" y="204"/>
                </a:cxn>
                <a:cxn ang="0">
                  <a:pos x="108" y="218"/>
                </a:cxn>
                <a:cxn ang="0">
                  <a:pos x="110" y="175"/>
                </a:cxn>
                <a:cxn ang="0">
                  <a:pos x="132" y="182"/>
                </a:cxn>
                <a:cxn ang="0">
                  <a:pos x="118" y="168"/>
                </a:cxn>
                <a:cxn ang="0">
                  <a:pos x="139" y="146"/>
                </a:cxn>
                <a:cxn ang="0">
                  <a:pos x="166" y="158"/>
                </a:cxn>
                <a:cxn ang="0">
                  <a:pos x="154" y="132"/>
                </a:cxn>
                <a:cxn ang="0">
                  <a:pos x="182" y="129"/>
                </a:cxn>
                <a:cxn ang="0">
                  <a:pos x="175" y="110"/>
                </a:cxn>
                <a:cxn ang="0">
                  <a:pos x="197" y="115"/>
                </a:cxn>
                <a:cxn ang="0">
                  <a:pos x="190" y="96"/>
                </a:cxn>
                <a:cxn ang="0">
                  <a:pos x="199" y="86"/>
                </a:cxn>
                <a:cxn ang="0">
                  <a:pos x="218" y="105"/>
                </a:cxn>
                <a:cxn ang="0">
                  <a:pos x="204" y="81"/>
                </a:cxn>
                <a:cxn ang="0">
                  <a:pos x="242" y="43"/>
                </a:cxn>
                <a:cxn ang="0">
                  <a:pos x="261" y="50"/>
                </a:cxn>
                <a:cxn ang="0">
                  <a:pos x="273" y="12"/>
                </a:cxn>
                <a:cxn ang="0">
                  <a:pos x="58" y="319"/>
                </a:cxn>
              </a:cxnLst>
              <a:rect l="0" t="0" r="r" b="b"/>
              <a:pathLst>
                <a:path w="331" h="331">
                  <a:moveTo>
                    <a:pt x="281" y="5"/>
                  </a:moveTo>
                  <a:lnTo>
                    <a:pt x="273" y="0"/>
                  </a:lnTo>
                  <a:lnTo>
                    <a:pt x="266" y="5"/>
                  </a:lnTo>
                  <a:lnTo>
                    <a:pt x="7" y="266"/>
                  </a:lnTo>
                  <a:lnTo>
                    <a:pt x="0" y="273"/>
                  </a:lnTo>
                  <a:lnTo>
                    <a:pt x="7" y="278"/>
                  </a:lnTo>
                  <a:lnTo>
                    <a:pt x="53" y="324"/>
                  </a:lnTo>
                  <a:lnTo>
                    <a:pt x="58" y="331"/>
                  </a:lnTo>
                  <a:lnTo>
                    <a:pt x="65" y="324"/>
                  </a:lnTo>
                  <a:lnTo>
                    <a:pt x="324" y="62"/>
                  </a:lnTo>
                  <a:lnTo>
                    <a:pt x="331" y="58"/>
                  </a:lnTo>
                  <a:lnTo>
                    <a:pt x="324" y="50"/>
                  </a:lnTo>
                  <a:lnTo>
                    <a:pt x="281" y="5"/>
                  </a:lnTo>
                  <a:close/>
                  <a:moveTo>
                    <a:pt x="58" y="319"/>
                  </a:moveTo>
                  <a:lnTo>
                    <a:pt x="12" y="273"/>
                  </a:lnTo>
                  <a:lnTo>
                    <a:pt x="24" y="261"/>
                  </a:lnTo>
                  <a:lnTo>
                    <a:pt x="43" y="280"/>
                  </a:lnTo>
                  <a:lnTo>
                    <a:pt x="48" y="276"/>
                  </a:lnTo>
                  <a:lnTo>
                    <a:pt x="29" y="256"/>
                  </a:lnTo>
                  <a:lnTo>
                    <a:pt x="24" y="261"/>
                  </a:lnTo>
                  <a:lnTo>
                    <a:pt x="39" y="247"/>
                  </a:lnTo>
                  <a:lnTo>
                    <a:pt x="51" y="261"/>
                  </a:lnTo>
                  <a:lnTo>
                    <a:pt x="58" y="254"/>
                  </a:lnTo>
                  <a:lnTo>
                    <a:pt x="43" y="242"/>
                  </a:lnTo>
                  <a:lnTo>
                    <a:pt x="41" y="244"/>
                  </a:lnTo>
                  <a:lnTo>
                    <a:pt x="53" y="233"/>
                  </a:lnTo>
                  <a:lnTo>
                    <a:pt x="67" y="247"/>
                  </a:lnTo>
                  <a:lnTo>
                    <a:pt x="72" y="242"/>
                  </a:lnTo>
                  <a:lnTo>
                    <a:pt x="58" y="228"/>
                  </a:lnTo>
                  <a:lnTo>
                    <a:pt x="67" y="218"/>
                  </a:lnTo>
                  <a:lnTo>
                    <a:pt x="79" y="233"/>
                  </a:lnTo>
                  <a:lnTo>
                    <a:pt x="86" y="225"/>
                  </a:lnTo>
                  <a:lnTo>
                    <a:pt x="75" y="213"/>
                  </a:lnTo>
                  <a:lnTo>
                    <a:pt x="82" y="204"/>
                  </a:lnTo>
                  <a:lnTo>
                    <a:pt x="101" y="223"/>
                  </a:lnTo>
                  <a:lnTo>
                    <a:pt x="108" y="218"/>
                  </a:lnTo>
                  <a:lnTo>
                    <a:pt x="89" y="197"/>
                  </a:lnTo>
                  <a:lnTo>
                    <a:pt x="110" y="175"/>
                  </a:lnTo>
                  <a:lnTo>
                    <a:pt x="125" y="189"/>
                  </a:lnTo>
                  <a:lnTo>
                    <a:pt x="132" y="182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44" y="141"/>
                  </a:lnTo>
                  <a:lnTo>
                    <a:pt x="139" y="146"/>
                  </a:lnTo>
                  <a:lnTo>
                    <a:pt x="158" y="165"/>
                  </a:lnTo>
                  <a:lnTo>
                    <a:pt x="166" y="158"/>
                  </a:lnTo>
                  <a:lnTo>
                    <a:pt x="146" y="139"/>
                  </a:lnTo>
                  <a:lnTo>
                    <a:pt x="154" y="132"/>
                  </a:lnTo>
                  <a:lnTo>
                    <a:pt x="170" y="115"/>
                  </a:lnTo>
                  <a:lnTo>
                    <a:pt x="182" y="129"/>
                  </a:lnTo>
                  <a:lnTo>
                    <a:pt x="190" y="125"/>
                  </a:lnTo>
                  <a:lnTo>
                    <a:pt x="175" y="110"/>
                  </a:lnTo>
                  <a:lnTo>
                    <a:pt x="185" y="101"/>
                  </a:lnTo>
                  <a:lnTo>
                    <a:pt x="197" y="115"/>
                  </a:lnTo>
                  <a:lnTo>
                    <a:pt x="204" y="108"/>
                  </a:lnTo>
                  <a:lnTo>
                    <a:pt x="190" y="96"/>
                  </a:lnTo>
                  <a:lnTo>
                    <a:pt x="187" y="98"/>
                  </a:lnTo>
                  <a:lnTo>
                    <a:pt x="199" y="86"/>
                  </a:lnTo>
                  <a:lnTo>
                    <a:pt x="199" y="86"/>
                  </a:lnTo>
                  <a:lnTo>
                    <a:pt x="218" y="105"/>
                  </a:lnTo>
                  <a:lnTo>
                    <a:pt x="223" y="101"/>
                  </a:lnTo>
                  <a:lnTo>
                    <a:pt x="204" y="81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54" y="55"/>
                  </a:lnTo>
                  <a:lnTo>
                    <a:pt x="261" y="50"/>
                  </a:lnTo>
                  <a:lnTo>
                    <a:pt x="249" y="36"/>
                  </a:lnTo>
                  <a:lnTo>
                    <a:pt x="273" y="12"/>
                  </a:lnTo>
                  <a:lnTo>
                    <a:pt x="319" y="58"/>
                  </a:lnTo>
                  <a:lnTo>
                    <a:pt x="58" y="31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37" name="Freeform 65"/>
            <p:cNvSpPr>
              <a:spLocks/>
            </p:cNvSpPr>
            <p:nvPr/>
          </p:nvSpPr>
          <p:spPr bwMode="auto">
            <a:xfrm>
              <a:off x="1092" y="1233"/>
              <a:ext cx="19" cy="1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4" y="19"/>
                </a:cxn>
                <a:cxn ang="0">
                  <a:pos x="19" y="15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19" h="19">
                  <a:moveTo>
                    <a:pt x="0" y="7"/>
                  </a:moveTo>
                  <a:lnTo>
                    <a:pt x="14" y="19"/>
                  </a:lnTo>
                  <a:lnTo>
                    <a:pt x="19" y="15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38" name="Freeform 66"/>
            <p:cNvSpPr>
              <a:spLocks/>
            </p:cNvSpPr>
            <p:nvPr/>
          </p:nvSpPr>
          <p:spPr bwMode="auto">
            <a:xfrm>
              <a:off x="1121" y="1204"/>
              <a:ext cx="19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4" y="20"/>
                </a:cxn>
                <a:cxn ang="0">
                  <a:pos x="19" y="15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19" h="20">
                  <a:moveTo>
                    <a:pt x="0" y="8"/>
                  </a:moveTo>
                  <a:lnTo>
                    <a:pt x="14" y="20"/>
                  </a:lnTo>
                  <a:lnTo>
                    <a:pt x="19" y="15"/>
                  </a:lnTo>
                  <a:lnTo>
                    <a:pt x="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39" name="Freeform 67"/>
            <p:cNvSpPr>
              <a:spLocks/>
            </p:cNvSpPr>
            <p:nvPr/>
          </p:nvSpPr>
          <p:spPr bwMode="auto">
            <a:xfrm>
              <a:off x="1150" y="1176"/>
              <a:ext cx="21" cy="19"/>
            </a:xfrm>
            <a:custGeom>
              <a:avLst/>
              <a:gdLst/>
              <a:ahLst/>
              <a:cxnLst>
                <a:cxn ang="0">
                  <a:pos x="21" y="12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14" y="19"/>
                </a:cxn>
                <a:cxn ang="0">
                  <a:pos x="21" y="12"/>
                </a:cxn>
              </a:cxnLst>
              <a:rect l="0" t="0" r="r" b="b"/>
              <a:pathLst>
                <a:path w="21" h="19">
                  <a:moveTo>
                    <a:pt x="21" y="12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14" y="19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0" name="Freeform 68"/>
            <p:cNvSpPr>
              <a:spLocks/>
            </p:cNvSpPr>
            <p:nvPr/>
          </p:nvSpPr>
          <p:spPr bwMode="auto">
            <a:xfrm>
              <a:off x="1210" y="1118"/>
              <a:ext cx="19" cy="1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2" y="19"/>
                </a:cxn>
                <a:cxn ang="0">
                  <a:pos x="19" y="12"/>
                </a:cxn>
                <a:cxn ang="0">
                  <a:pos x="4" y="0"/>
                </a:cxn>
                <a:cxn ang="0">
                  <a:pos x="0" y="5"/>
                </a:cxn>
              </a:cxnLst>
              <a:rect l="0" t="0" r="r" b="b"/>
              <a:pathLst>
                <a:path w="19" h="19">
                  <a:moveTo>
                    <a:pt x="0" y="5"/>
                  </a:moveTo>
                  <a:lnTo>
                    <a:pt x="12" y="19"/>
                  </a:lnTo>
                  <a:lnTo>
                    <a:pt x="19" y="12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1" name="Freeform 69"/>
            <p:cNvSpPr>
              <a:spLocks/>
            </p:cNvSpPr>
            <p:nvPr/>
          </p:nvSpPr>
          <p:spPr bwMode="auto">
            <a:xfrm>
              <a:off x="1224" y="1104"/>
              <a:ext cx="19" cy="1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19"/>
                </a:cxn>
                <a:cxn ang="0">
                  <a:pos x="19" y="12"/>
                </a:cxn>
                <a:cxn ang="0">
                  <a:pos x="7" y="0"/>
                </a:cxn>
                <a:cxn ang="0">
                  <a:pos x="0" y="5"/>
                </a:cxn>
              </a:cxnLst>
              <a:rect l="0" t="0" r="r" b="b"/>
              <a:pathLst>
                <a:path w="19" h="19">
                  <a:moveTo>
                    <a:pt x="0" y="5"/>
                  </a:moveTo>
                  <a:lnTo>
                    <a:pt x="14" y="19"/>
                  </a:lnTo>
                  <a:lnTo>
                    <a:pt x="19" y="12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2" name="Freeform 70"/>
            <p:cNvSpPr>
              <a:spLocks/>
            </p:cNvSpPr>
            <p:nvPr/>
          </p:nvSpPr>
          <p:spPr bwMode="auto">
            <a:xfrm>
              <a:off x="1253" y="1073"/>
              <a:ext cx="26" cy="26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9" y="26"/>
                </a:cxn>
                <a:cxn ang="0">
                  <a:pos x="26" y="19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26" h="26">
                  <a:moveTo>
                    <a:pt x="0" y="7"/>
                  </a:moveTo>
                  <a:lnTo>
                    <a:pt x="19" y="26"/>
                  </a:lnTo>
                  <a:lnTo>
                    <a:pt x="26" y="19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3" name="Freeform 71"/>
            <p:cNvSpPr>
              <a:spLocks noEditPoints="1"/>
            </p:cNvSpPr>
            <p:nvPr/>
          </p:nvSpPr>
          <p:spPr bwMode="auto">
            <a:xfrm>
              <a:off x="924" y="974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46" name="Group 74"/>
          <p:cNvGrpSpPr>
            <a:grpSpLocks noChangeAspect="1"/>
          </p:cNvGrpSpPr>
          <p:nvPr/>
        </p:nvGrpSpPr>
        <p:grpSpPr bwMode="auto">
          <a:xfrm>
            <a:off x="2520950" y="1506538"/>
            <a:ext cx="850900" cy="849312"/>
            <a:chOff x="1586" y="949"/>
            <a:chExt cx="536" cy="535"/>
          </a:xfrm>
        </p:grpSpPr>
        <p:sp>
          <p:nvSpPr>
            <p:cNvPr id="54347" name="Oval 75"/>
            <p:cNvSpPr>
              <a:spLocks noChangeArrowheads="1"/>
            </p:cNvSpPr>
            <p:nvPr/>
          </p:nvSpPr>
          <p:spPr bwMode="auto">
            <a:xfrm>
              <a:off x="1586" y="949"/>
              <a:ext cx="536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8" name="Freeform 76"/>
            <p:cNvSpPr>
              <a:spLocks noEditPoints="1"/>
            </p:cNvSpPr>
            <p:nvPr/>
          </p:nvSpPr>
          <p:spPr bwMode="auto">
            <a:xfrm>
              <a:off x="1607" y="970"/>
              <a:ext cx="494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49" name="Freeform 77"/>
            <p:cNvSpPr>
              <a:spLocks noEditPoints="1"/>
            </p:cNvSpPr>
            <p:nvPr/>
          </p:nvSpPr>
          <p:spPr bwMode="auto">
            <a:xfrm>
              <a:off x="1684" y="1252"/>
              <a:ext cx="45" cy="58"/>
            </a:xfrm>
            <a:custGeom>
              <a:avLst/>
              <a:gdLst/>
              <a:ahLst/>
              <a:cxnLst>
                <a:cxn ang="0">
                  <a:pos x="11" y="1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8" y="22"/>
                </a:cxn>
                <a:cxn ang="0">
                  <a:pos x="9" y="23"/>
                </a:cxn>
                <a:cxn ang="0">
                  <a:pos x="10" y="24"/>
                </a:cxn>
                <a:cxn ang="0">
                  <a:pos x="10" y="23"/>
                </a:cxn>
                <a:cxn ang="0">
                  <a:pos x="18" y="20"/>
                </a:cxn>
                <a:cxn ang="0">
                  <a:pos x="19" y="18"/>
                </a:cxn>
                <a:cxn ang="0">
                  <a:pos x="11" y="1"/>
                </a:cxn>
                <a:cxn ang="0">
                  <a:pos x="11" y="19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14" y="18"/>
                </a:cxn>
                <a:cxn ang="0">
                  <a:pos x="11" y="19"/>
                </a:cxn>
              </a:cxnLst>
              <a:rect l="0" t="0" r="r" b="b"/>
              <a:pathLst>
                <a:path w="19" h="24">
                  <a:moveTo>
                    <a:pt x="11" y="1"/>
                  </a:move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3"/>
                    <a:pt x="9" y="23"/>
                    <a:pt x="9" y="23"/>
                  </a:cubicBezTo>
                  <a:cubicBezTo>
                    <a:pt x="9" y="24"/>
                    <a:pt x="9" y="24"/>
                    <a:pt x="10" y="24"/>
                  </a:cubicBezTo>
                  <a:cubicBezTo>
                    <a:pt x="10" y="24"/>
                    <a:pt x="10" y="23"/>
                    <a:pt x="10" y="23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0"/>
                    <a:pt x="19" y="19"/>
                    <a:pt x="19" y="18"/>
                  </a:cubicBezTo>
                  <a:lnTo>
                    <a:pt x="11" y="1"/>
                  </a:lnTo>
                  <a:close/>
                  <a:moveTo>
                    <a:pt x="11" y="19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11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50" name="Freeform 78"/>
            <p:cNvSpPr>
              <a:spLocks noEditPoints="1"/>
            </p:cNvSpPr>
            <p:nvPr/>
          </p:nvSpPr>
          <p:spPr bwMode="auto">
            <a:xfrm>
              <a:off x="1720" y="1106"/>
              <a:ext cx="228" cy="206"/>
            </a:xfrm>
            <a:custGeom>
              <a:avLst/>
              <a:gdLst/>
              <a:ahLst/>
              <a:cxnLst>
                <a:cxn ang="0">
                  <a:pos x="65" y="1"/>
                </a:cxn>
                <a:cxn ang="0">
                  <a:pos x="63" y="0"/>
                </a:cxn>
                <a:cxn ang="0">
                  <a:pos x="62" y="0"/>
                </a:cxn>
                <a:cxn ang="0">
                  <a:pos x="1" y="57"/>
                </a:cxn>
                <a:cxn ang="0">
                  <a:pos x="1" y="59"/>
                </a:cxn>
                <a:cxn ang="0">
                  <a:pos x="9" y="77"/>
                </a:cxn>
                <a:cxn ang="0">
                  <a:pos x="11" y="79"/>
                </a:cxn>
                <a:cxn ang="0">
                  <a:pos x="11" y="79"/>
                </a:cxn>
                <a:cxn ang="0">
                  <a:pos x="34" y="76"/>
                </a:cxn>
                <a:cxn ang="0">
                  <a:pos x="46" y="86"/>
                </a:cxn>
                <a:cxn ang="0">
                  <a:pos x="46" y="86"/>
                </a:cxn>
                <a:cxn ang="0">
                  <a:pos x="48" y="86"/>
                </a:cxn>
                <a:cxn ang="0">
                  <a:pos x="60" y="73"/>
                </a:cxn>
                <a:cxn ang="0">
                  <a:pos x="93" y="70"/>
                </a:cxn>
                <a:cxn ang="0">
                  <a:pos x="94" y="69"/>
                </a:cxn>
                <a:cxn ang="0">
                  <a:pos x="94" y="67"/>
                </a:cxn>
                <a:cxn ang="0">
                  <a:pos x="65" y="1"/>
                </a:cxn>
                <a:cxn ang="0">
                  <a:pos x="48" y="83"/>
                </a:cxn>
                <a:cxn ang="0">
                  <a:pos x="46" y="83"/>
                </a:cxn>
                <a:cxn ang="0">
                  <a:pos x="46" y="83"/>
                </a:cxn>
                <a:cxn ang="0">
                  <a:pos x="37" y="76"/>
                </a:cxn>
                <a:cxn ang="0">
                  <a:pos x="56" y="74"/>
                </a:cxn>
                <a:cxn ang="0">
                  <a:pos x="48" y="83"/>
                </a:cxn>
                <a:cxn ang="0">
                  <a:pos x="12" y="75"/>
                </a:cxn>
                <a:cxn ang="0">
                  <a:pos x="5" y="59"/>
                </a:cxn>
                <a:cxn ang="0">
                  <a:pos x="62" y="5"/>
                </a:cxn>
                <a:cxn ang="0">
                  <a:pos x="90" y="66"/>
                </a:cxn>
                <a:cxn ang="0">
                  <a:pos x="12" y="75"/>
                </a:cxn>
              </a:cxnLst>
              <a:rect l="0" t="0" r="r" b="b"/>
              <a:pathLst>
                <a:path w="95" h="86">
                  <a:moveTo>
                    <a:pt x="65" y="1"/>
                  </a:moveTo>
                  <a:cubicBezTo>
                    <a:pt x="64" y="0"/>
                    <a:pt x="64" y="0"/>
                    <a:pt x="63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0" y="58"/>
                    <a:pt x="1" y="5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9" y="78"/>
                    <a:pt x="10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5" y="82"/>
                    <a:pt x="40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7" y="86"/>
                    <a:pt x="48" y="86"/>
                    <a:pt x="48" y="86"/>
                  </a:cubicBezTo>
                  <a:cubicBezTo>
                    <a:pt x="55" y="85"/>
                    <a:pt x="60" y="80"/>
                    <a:pt x="60" y="73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70"/>
                    <a:pt x="94" y="69"/>
                    <a:pt x="94" y="69"/>
                  </a:cubicBezTo>
                  <a:cubicBezTo>
                    <a:pt x="95" y="68"/>
                    <a:pt x="95" y="68"/>
                    <a:pt x="94" y="67"/>
                  </a:cubicBezTo>
                  <a:lnTo>
                    <a:pt x="65" y="1"/>
                  </a:lnTo>
                  <a:close/>
                  <a:moveTo>
                    <a:pt x="48" y="83"/>
                  </a:moveTo>
                  <a:cubicBezTo>
                    <a:pt x="47" y="83"/>
                    <a:pt x="47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2" y="83"/>
                    <a:pt x="39" y="80"/>
                    <a:pt x="37" y="7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8"/>
                    <a:pt x="52" y="82"/>
                    <a:pt x="48" y="83"/>
                  </a:cubicBezTo>
                  <a:close/>
                  <a:moveTo>
                    <a:pt x="12" y="75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90" y="66"/>
                    <a:pt x="90" y="66"/>
                    <a:pt x="90" y="66"/>
                  </a:cubicBezTo>
                  <a:lnTo>
                    <a:pt x="12" y="7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51" name="Freeform 79"/>
            <p:cNvSpPr>
              <a:spLocks/>
            </p:cNvSpPr>
            <p:nvPr/>
          </p:nvSpPr>
          <p:spPr bwMode="auto">
            <a:xfrm>
              <a:off x="1912" y="1094"/>
              <a:ext cx="112" cy="144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9"/>
                </a:cxn>
                <a:cxn ang="0">
                  <a:pos x="3" y="10"/>
                </a:cxn>
                <a:cxn ang="0">
                  <a:pos x="37" y="22"/>
                </a:cxn>
                <a:cxn ang="0">
                  <a:pos x="24" y="57"/>
                </a:cxn>
                <a:cxn ang="0">
                  <a:pos x="23" y="59"/>
                </a:cxn>
                <a:cxn ang="0">
                  <a:pos x="25" y="60"/>
                </a:cxn>
                <a:cxn ang="0">
                  <a:pos x="26" y="60"/>
                </a:cxn>
                <a:cxn ang="0">
                  <a:pos x="40" y="21"/>
                </a:cxn>
                <a:cxn ang="0">
                  <a:pos x="1" y="6"/>
                </a:cxn>
              </a:cxnLst>
              <a:rect l="0" t="0" r="r" b="b"/>
              <a:pathLst>
                <a:path w="47" h="60">
                  <a:moveTo>
                    <a:pt x="1" y="6"/>
                  </a:moveTo>
                  <a:cubicBezTo>
                    <a:pt x="0" y="7"/>
                    <a:pt x="0" y="8"/>
                    <a:pt x="0" y="9"/>
                  </a:cubicBezTo>
                  <a:cubicBezTo>
                    <a:pt x="1" y="10"/>
                    <a:pt x="2" y="10"/>
                    <a:pt x="3" y="10"/>
                  </a:cubicBezTo>
                  <a:cubicBezTo>
                    <a:pt x="16" y="4"/>
                    <a:pt x="31" y="9"/>
                    <a:pt x="37" y="22"/>
                  </a:cubicBezTo>
                  <a:cubicBezTo>
                    <a:pt x="43" y="36"/>
                    <a:pt x="37" y="51"/>
                    <a:pt x="24" y="57"/>
                  </a:cubicBezTo>
                  <a:cubicBezTo>
                    <a:pt x="23" y="57"/>
                    <a:pt x="23" y="58"/>
                    <a:pt x="23" y="59"/>
                  </a:cubicBezTo>
                  <a:cubicBezTo>
                    <a:pt x="23" y="60"/>
                    <a:pt x="24" y="60"/>
                    <a:pt x="25" y="60"/>
                  </a:cubicBezTo>
                  <a:cubicBezTo>
                    <a:pt x="25" y="60"/>
                    <a:pt x="25" y="60"/>
                    <a:pt x="26" y="60"/>
                  </a:cubicBezTo>
                  <a:cubicBezTo>
                    <a:pt x="40" y="53"/>
                    <a:pt x="47" y="36"/>
                    <a:pt x="40" y="21"/>
                  </a:cubicBezTo>
                  <a:cubicBezTo>
                    <a:pt x="34" y="6"/>
                    <a:pt x="16" y="0"/>
                    <a:pt x="1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52" name="Freeform 80"/>
            <p:cNvSpPr>
              <a:spLocks/>
            </p:cNvSpPr>
            <p:nvPr/>
          </p:nvSpPr>
          <p:spPr bwMode="auto">
            <a:xfrm>
              <a:off x="1938" y="1140"/>
              <a:ext cx="45" cy="57"/>
            </a:xfrm>
            <a:custGeom>
              <a:avLst/>
              <a:gdLst/>
              <a:ahLst/>
              <a:cxnLst>
                <a:cxn ang="0">
                  <a:pos x="17" y="17"/>
                </a:cxn>
                <a:cxn ang="0">
                  <a:pos x="17" y="8"/>
                </a:cxn>
                <a:cxn ang="0">
                  <a:pos x="10" y="1"/>
                </a:cxn>
                <a:cxn ang="0">
                  <a:pos x="1" y="2"/>
                </a:cxn>
                <a:cxn ang="0">
                  <a:pos x="0" y="4"/>
                </a:cxn>
                <a:cxn ang="0">
                  <a:pos x="3" y="5"/>
                </a:cxn>
                <a:cxn ang="0">
                  <a:pos x="14" y="9"/>
                </a:cxn>
                <a:cxn ang="0">
                  <a:pos x="14" y="16"/>
                </a:cxn>
                <a:cxn ang="0">
                  <a:pos x="10" y="20"/>
                </a:cxn>
                <a:cxn ang="0">
                  <a:pos x="9" y="23"/>
                </a:cxn>
                <a:cxn ang="0">
                  <a:pos x="10" y="24"/>
                </a:cxn>
                <a:cxn ang="0">
                  <a:pos x="11" y="24"/>
                </a:cxn>
                <a:cxn ang="0">
                  <a:pos x="17" y="17"/>
                </a:cxn>
              </a:cxnLst>
              <a:rect l="0" t="0" r="r" b="b"/>
              <a:pathLst>
                <a:path w="19" h="24">
                  <a:moveTo>
                    <a:pt x="17" y="17"/>
                  </a:moveTo>
                  <a:cubicBezTo>
                    <a:pt x="19" y="14"/>
                    <a:pt x="18" y="11"/>
                    <a:pt x="17" y="8"/>
                  </a:cubicBezTo>
                  <a:cubicBezTo>
                    <a:pt x="16" y="5"/>
                    <a:pt x="13" y="2"/>
                    <a:pt x="10" y="1"/>
                  </a:cubicBezTo>
                  <a:cubicBezTo>
                    <a:pt x="7" y="0"/>
                    <a:pt x="4" y="0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7" y="3"/>
                    <a:pt x="12" y="5"/>
                    <a:pt x="14" y="9"/>
                  </a:cubicBezTo>
                  <a:cubicBezTo>
                    <a:pt x="15" y="11"/>
                    <a:pt x="15" y="14"/>
                    <a:pt x="14" y="16"/>
                  </a:cubicBezTo>
                  <a:cubicBezTo>
                    <a:pt x="13" y="18"/>
                    <a:pt x="12" y="19"/>
                    <a:pt x="10" y="20"/>
                  </a:cubicBezTo>
                  <a:cubicBezTo>
                    <a:pt x="9" y="21"/>
                    <a:pt x="8" y="22"/>
                    <a:pt x="9" y="23"/>
                  </a:cubicBezTo>
                  <a:cubicBezTo>
                    <a:pt x="9" y="23"/>
                    <a:pt x="10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4" y="22"/>
                    <a:pt x="16" y="20"/>
                    <a:pt x="17" y="1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55" name="Group 83"/>
          <p:cNvGrpSpPr>
            <a:grpSpLocks noChangeAspect="1"/>
          </p:cNvGrpSpPr>
          <p:nvPr/>
        </p:nvGrpSpPr>
        <p:grpSpPr bwMode="auto">
          <a:xfrm>
            <a:off x="3652042" y="1538288"/>
            <a:ext cx="784224" cy="784226"/>
            <a:chOff x="2294" y="969"/>
            <a:chExt cx="494" cy="494"/>
          </a:xfrm>
        </p:grpSpPr>
        <p:sp>
          <p:nvSpPr>
            <p:cNvPr id="54356" name="Freeform 84"/>
            <p:cNvSpPr>
              <a:spLocks noEditPoints="1"/>
            </p:cNvSpPr>
            <p:nvPr/>
          </p:nvSpPr>
          <p:spPr bwMode="auto">
            <a:xfrm>
              <a:off x="2294" y="969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57" name="Freeform 85"/>
            <p:cNvSpPr>
              <a:spLocks noEditPoints="1"/>
            </p:cNvSpPr>
            <p:nvPr/>
          </p:nvSpPr>
          <p:spPr bwMode="auto">
            <a:xfrm>
              <a:off x="2371" y="1252"/>
              <a:ext cx="46" cy="58"/>
            </a:xfrm>
            <a:custGeom>
              <a:avLst/>
              <a:gdLst/>
              <a:ahLst/>
              <a:cxnLst>
                <a:cxn ang="0">
                  <a:pos x="11" y="1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8" y="22"/>
                </a:cxn>
                <a:cxn ang="0">
                  <a:pos x="9" y="23"/>
                </a:cxn>
                <a:cxn ang="0">
                  <a:pos x="10" y="24"/>
                </a:cxn>
                <a:cxn ang="0">
                  <a:pos x="10" y="23"/>
                </a:cxn>
                <a:cxn ang="0">
                  <a:pos x="18" y="20"/>
                </a:cxn>
                <a:cxn ang="0">
                  <a:pos x="19" y="18"/>
                </a:cxn>
                <a:cxn ang="0">
                  <a:pos x="11" y="1"/>
                </a:cxn>
                <a:cxn ang="0">
                  <a:pos x="11" y="19"/>
                </a:cxn>
                <a:cxn ang="0">
                  <a:pos x="5" y="6"/>
                </a:cxn>
                <a:cxn ang="0">
                  <a:pos x="8" y="4"/>
                </a:cxn>
                <a:cxn ang="0">
                  <a:pos x="14" y="18"/>
                </a:cxn>
                <a:cxn ang="0">
                  <a:pos x="11" y="19"/>
                </a:cxn>
              </a:cxnLst>
              <a:rect l="0" t="0" r="r" b="b"/>
              <a:pathLst>
                <a:path w="19" h="24">
                  <a:moveTo>
                    <a:pt x="11" y="1"/>
                  </a:move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3"/>
                    <a:pt x="9" y="23"/>
                    <a:pt x="9" y="23"/>
                  </a:cubicBezTo>
                  <a:cubicBezTo>
                    <a:pt x="9" y="24"/>
                    <a:pt x="9" y="24"/>
                    <a:pt x="10" y="24"/>
                  </a:cubicBezTo>
                  <a:cubicBezTo>
                    <a:pt x="10" y="24"/>
                    <a:pt x="10" y="23"/>
                    <a:pt x="10" y="23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0"/>
                    <a:pt x="19" y="19"/>
                    <a:pt x="19" y="18"/>
                  </a:cubicBezTo>
                  <a:lnTo>
                    <a:pt x="11" y="1"/>
                  </a:lnTo>
                  <a:close/>
                  <a:moveTo>
                    <a:pt x="11" y="19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11" y="1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58" name="Freeform 86"/>
            <p:cNvSpPr>
              <a:spLocks noEditPoints="1"/>
            </p:cNvSpPr>
            <p:nvPr/>
          </p:nvSpPr>
          <p:spPr bwMode="auto">
            <a:xfrm>
              <a:off x="2407" y="1106"/>
              <a:ext cx="228" cy="206"/>
            </a:xfrm>
            <a:custGeom>
              <a:avLst/>
              <a:gdLst/>
              <a:ahLst/>
              <a:cxnLst>
                <a:cxn ang="0">
                  <a:pos x="65" y="1"/>
                </a:cxn>
                <a:cxn ang="0">
                  <a:pos x="63" y="0"/>
                </a:cxn>
                <a:cxn ang="0">
                  <a:pos x="62" y="0"/>
                </a:cxn>
                <a:cxn ang="0">
                  <a:pos x="1" y="57"/>
                </a:cxn>
                <a:cxn ang="0">
                  <a:pos x="1" y="59"/>
                </a:cxn>
                <a:cxn ang="0">
                  <a:pos x="9" y="77"/>
                </a:cxn>
                <a:cxn ang="0">
                  <a:pos x="11" y="79"/>
                </a:cxn>
                <a:cxn ang="0">
                  <a:pos x="11" y="79"/>
                </a:cxn>
                <a:cxn ang="0">
                  <a:pos x="34" y="76"/>
                </a:cxn>
                <a:cxn ang="0">
                  <a:pos x="46" y="86"/>
                </a:cxn>
                <a:cxn ang="0">
                  <a:pos x="46" y="86"/>
                </a:cxn>
                <a:cxn ang="0">
                  <a:pos x="48" y="86"/>
                </a:cxn>
                <a:cxn ang="0">
                  <a:pos x="60" y="73"/>
                </a:cxn>
                <a:cxn ang="0">
                  <a:pos x="93" y="70"/>
                </a:cxn>
                <a:cxn ang="0">
                  <a:pos x="94" y="69"/>
                </a:cxn>
                <a:cxn ang="0">
                  <a:pos x="94" y="67"/>
                </a:cxn>
                <a:cxn ang="0">
                  <a:pos x="65" y="1"/>
                </a:cxn>
                <a:cxn ang="0">
                  <a:pos x="48" y="83"/>
                </a:cxn>
                <a:cxn ang="0">
                  <a:pos x="46" y="83"/>
                </a:cxn>
                <a:cxn ang="0">
                  <a:pos x="46" y="83"/>
                </a:cxn>
                <a:cxn ang="0">
                  <a:pos x="37" y="76"/>
                </a:cxn>
                <a:cxn ang="0">
                  <a:pos x="56" y="74"/>
                </a:cxn>
                <a:cxn ang="0">
                  <a:pos x="48" y="83"/>
                </a:cxn>
                <a:cxn ang="0">
                  <a:pos x="12" y="75"/>
                </a:cxn>
                <a:cxn ang="0">
                  <a:pos x="5" y="59"/>
                </a:cxn>
                <a:cxn ang="0">
                  <a:pos x="62" y="5"/>
                </a:cxn>
                <a:cxn ang="0">
                  <a:pos x="90" y="66"/>
                </a:cxn>
                <a:cxn ang="0">
                  <a:pos x="12" y="75"/>
                </a:cxn>
              </a:cxnLst>
              <a:rect l="0" t="0" r="r" b="b"/>
              <a:pathLst>
                <a:path w="95" h="86">
                  <a:moveTo>
                    <a:pt x="65" y="1"/>
                  </a:moveTo>
                  <a:cubicBezTo>
                    <a:pt x="64" y="0"/>
                    <a:pt x="64" y="0"/>
                    <a:pt x="63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0" y="58"/>
                    <a:pt x="1" y="59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9" y="78"/>
                    <a:pt x="10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5" y="82"/>
                    <a:pt x="40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7" y="86"/>
                    <a:pt x="48" y="86"/>
                    <a:pt x="48" y="86"/>
                  </a:cubicBezTo>
                  <a:cubicBezTo>
                    <a:pt x="55" y="85"/>
                    <a:pt x="60" y="80"/>
                    <a:pt x="60" y="73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70"/>
                    <a:pt x="94" y="69"/>
                    <a:pt x="94" y="69"/>
                  </a:cubicBezTo>
                  <a:cubicBezTo>
                    <a:pt x="95" y="68"/>
                    <a:pt x="95" y="68"/>
                    <a:pt x="94" y="67"/>
                  </a:cubicBezTo>
                  <a:lnTo>
                    <a:pt x="65" y="1"/>
                  </a:lnTo>
                  <a:close/>
                  <a:moveTo>
                    <a:pt x="48" y="83"/>
                  </a:moveTo>
                  <a:cubicBezTo>
                    <a:pt x="47" y="83"/>
                    <a:pt x="47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2" y="83"/>
                    <a:pt x="39" y="80"/>
                    <a:pt x="37" y="76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8"/>
                    <a:pt x="52" y="82"/>
                    <a:pt x="48" y="83"/>
                  </a:cubicBezTo>
                  <a:close/>
                  <a:moveTo>
                    <a:pt x="12" y="75"/>
                  </a:moveTo>
                  <a:cubicBezTo>
                    <a:pt x="5" y="59"/>
                    <a:pt x="5" y="59"/>
                    <a:pt x="5" y="59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90" y="66"/>
                    <a:pt x="90" y="66"/>
                    <a:pt x="90" y="66"/>
                  </a:cubicBezTo>
                  <a:lnTo>
                    <a:pt x="12" y="7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59" name="Freeform 87"/>
            <p:cNvSpPr>
              <a:spLocks/>
            </p:cNvSpPr>
            <p:nvPr/>
          </p:nvSpPr>
          <p:spPr bwMode="auto">
            <a:xfrm>
              <a:off x="2599" y="1094"/>
              <a:ext cx="113" cy="144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9"/>
                </a:cxn>
                <a:cxn ang="0">
                  <a:pos x="3" y="10"/>
                </a:cxn>
                <a:cxn ang="0">
                  <a:pos x="37" y="22"/>
                </a:cxn>
                <a:cxn ang="0">
                  <a:pos x="24" y="57"/>
                </a:cxn>
                <a:cxn ang="0">
                  <a:pos x="23" y="59"/>
                </a:cxn>
                <a:cxn ang="0">
                  <a:pos x="25" y="60"/>
                </a:cxn>
                <a:cxn ang="0">
                  <a:pos x="26" y="60"/>
                </a:cxn>
                <a:cxn ang="0">
                  <a:pos x="40" y="21"/>
                </a:cxn>
                <a:cxn ang="0">
                  <a:pos x="1" y="6"/>
                </a:cxn>
              </a:cxnLst>
              <a:rect l="0" t="0" r="r" b="b"/>
              <a:pathLst>
                <a:path w="47" h="60">
                  <a:moveTo>
                    <a:pt x="1" y="6"/>
                  </a:moveTo>
                  <a:cubicBezTo>
                    <a:pt x="0" y="7"/>
                    <a:pt x="0" y="8"/>
                    <a:pt x="0" y="9"/>
                  </a:cubicBezTo>
                  <a:cubicBezTo>
                    <a:pt x="1" y="10"/>
                    <a:pt x="2" y="10"/>
                    <a:pt x="3" y="10"/>
                  </a:cubicBezTo>
                  <a:cubicBezTo>
                    <a:pt x="16" y="4"/>
                    <a:pt x="31" y="9"/>
                    <a:pt x="37" y="22"/>
                  </a:cubicBezTo>
                  <a:cubicBezTo>
                    <a:pt x="43" y="36"/>
                    <a:pt x="37" y="51"/>
                    <a:pt x="24" y="57"/>
                  </a:cubicBezTo>
                  <a:cubicBezTo>
                    <a:pt x="23" y="57"/>
                    <a:pt x="23" y="58"/>
                    <a:pt x="23" y="59"/>
                  </a:cubicBezTo>
                  <a:cubicBezTo>
                    <a:pt x="23" y="60"/>
                    <a:pt x="24" y="60"/>
                    <a:pt x="25" y="60"/>
                  </a:cubicBezTo>
                  <a:cubicBezTo>
                    <a:pt x="25" y="60"/>
                    <a:pt x="25" y="60"/>
                    <a:pt x="26" y="60"/>
                  </a:cubicBezTo>
                  <a:cubicBezTo>
                    <a:pt x="40" y="53"/>
                    <a:pt x="47" y="36"/>
                    <a:pt x="40" y="21"/>
                  </a:cubicBezTo>
                  <a:cubicBezTo>
                    <a:pt x="34" y="6"/>
                    <a:pt x="16" y="0"/>
                    <a:pt x="1" y="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60" name="Freeform 88"/>
            <p:cNvSpPr>
              <a:spLocks/>
            </p:cNvSpPr>
            <p:nvPr/>
          </p:nvSpPr>
          <p:spPr bwMode="auto">
            <a:xfrm>
              <a:off x="2625" y="1140"/>
              <a:ext cx="46" cy="57"/>
            </a:xfrm>
            <a:custGeom>
              <a:avLst/>
              <a:gdLst/>
              <a:ahLst/>
              <a:cxnLst>
                <a:cxn ang="0">
                  <a:pos x="17" y="17"/>
                </a:cxn>
                <a:cxn ang="0">
                  <a:pos x="17" y="8"/>
                </a:cxn>
                <a:cxn ang="0">
                  <a:pos x="10" y="1"/>
                </a:cxn>
                <a:cxn ang="0">
                  <a:pos x="1" y="2"/>
                </a:cxn>
                <a:cxn ang="0">
                  <a:pos x="0" y="4"/>
                </a:cxn>
                <a:cxn ang="0">
                  <a:pos x="3" y="5"/>
                </a:cxn>
                <a:cxn ang="0">
                  <a:pos x="14" y="9"/>
                </a:cxn>
                <a:cxn ang="0">
                  <a:pos x="14" y="16"/>
                </a:cxn>
                <a:cxn ang="0">
                  <a:pos x="10" y="20"/>
                </a:cxn>
                <a:cxn ang="0">
                  <a:pos x="9" y="23"/>
                </a:cxn>
                <a:cxn ang="0">
                  <a:pos x="10" y="24"/>
                </a:cxn>
                <a:cxn ang="0">
                  <a:pos x="11" y="24"/>
                </a:cxn>
                <a:cxn ang="0">
                  <a:pos x="17" y="17"/>
                </a:cxn>
              </a:cxnLst>
              <a:rect l="0" t="0" r="r" b="b"/>
              <a:pathLst>
                <a:path w="19" h="24">
                  <a:moveTo>
                    <a:pt x="17" y="17"/>
                  </a:moveTo>
                  <a:cubicBezTo>
                    <a:pt x="19" y="14"/>
                    <a:pt x="18" y="11"/>
                    <a:pt x="17" y="8"/>
                  </a:cubicBezTo>
                  <a:cubicBezTo>
                    <a:pt x="16" y="5"/>
                    <a:pt x="13" y="2"/>
                    <a:pt x="10" y="1"/>
                  </a:cubicBezTo>
                  <a:cubicBezTo>
                    <a:pt x="7" y="0"/>
                    <a:pt x="4" y="0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7" y="3"/>
                    <a:pt x="12" y="5"/>
                    <a:pt x="14" y="9"/>
                  </a:cubicBezTo>
                  <a:cubicBezTo>
                    <a:pt x="15" y="11"/>
                    <a:pt x="15" y="14"/>
                    <a:pt x="14" y="16"/>
                  </a:cubicBezTo>
                  <a:cubicBezTo>
                    <a:pt x="13" y="18"/>
                    <a:pt x="12" y="19"/>
                    <a:pt x="10" y="20"/>
                  </a:cubicBezTo>
                  <a:cubicBezTo>
                    <a:pt x="9" y="21"/>
                    <a:pt x="8" y="22"/>
                    <a:pt x="9" y="23"/>
                  </a:cubicBezTo>
                  <a:cubicBezTo>
                    <a:pt x="9" y="23"/>
                    <a:pt x="10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4" y="22"/>
                    <a:pt x="16" y="20"/>
                    <a:pt x="17" y="1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63" name="Group 91"/>
          <p:cNvGrpSpPr>
            <a:grpSpLocks noChangeAspect="1"/>
          </p:cNvGrpSpPr>
          <p:nvPr/>
        </p:nvGrpSpPr>
        <p:grpSpPr bwMode="auto">
          <a:xfrm>
            <a:off x="4711700" y="1503363"/>
            <a:ext cx="855662" cy="855662"/>
            <a:chOff x="2965" y="947"/>
            <a:chExt cx="539" cy="539"/>
          </a:xfrm>
        </p:grpSpPr>
        <p:sp>
          <p:nvSpPr>
            <p:cNvPr id="54364" name="Oval 92"/>
            <p:cNvSpPr>
              <a:spLocks noChangeArrowheads="1"/>
            </p:cNvSpPr>
            <p:nvPr/>
          </p:nvSpPr>
          <p:spPr bwMode="auto">
            <a:xfrm>
              <a:off x="2965" y="947"/>
              <a:ext cx="539" cy="53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65" name="Freeform 93"/>
            <p:cNvSpPr>
              <a:spLocks noEditPoints="1"/>
            </p:cNvSpPr>
            <p:nvPr/>
          </p:nvSpPr>
          <p:spPr bwMode="auto">
            <a:xfrm>
              <a:off x="3147" y="1040"/>
              <a:ext cx="175" cy="336"/>
            </a:xfrm>
            <a:custGeom>
              <a:avLst/>
              <a:gdLst/>
              <a:ahLst/>
              <a:cxnLst>
                <a:cxn ang="0">
                  <a:pos x="64" y="118"/>
                </a:cxn>
                <a:cxn ang="0">
                  <a:pos x="64" y="87"/>
                </a:cxn>
                <a:cxn ang="0">
                  <a:pos x="57" y="70"/>
                </a:cxn>
                <a:cxn ang="0">
                  <a:pos x="38" y="64"/>
                </a:cxn>
                <a:cxn ang="0">
                  <a:pos x="38" y="22"/>
                </a:cxn>
                <a:cxn ang="0">
                  <a:pos x="48" y="11"/>
                </a:cxn>
                <a:cxn ang="0">
                  <a:pos x="37" y="0"/>
                </a:cxn>
                <a:cxn ang="0">
                  <a:pos x="26" y="11"/>
                </a:cxn>
                <a:cxn ang="0">
                  <a:pos x="35" y="22"/>
                </a:cxn>
                <a:cxn ang="0">
                  <a:pos x="35" y="64"/>
                </a:cxn>
                <a:cxn ang="0">
                  <a:pos x="16" y="70"/>
                </a:cxn>
                <a:cxn ang="0">
                  <a:pos x="10" y="87"/>
                </a:cxn>
                <a:cxn ang="0">
                  <a:pos x="10" y="118"/>
                </a:cxn>
                <a:cxn ang="0">
                  <a:pos x="0" y="129"/>
                </a:cxn>
                <a:cxn ang="0">
                  <a:pos x="11" y="140"/>
                </a:cxn>
                <a:cxn ang="0">
                  <a:pos x="23" y="129"/>
                </a:cxn>
                <a:cxn ang="0">
                  <a:pos x="13" y="118"/>
                </a:cxn>
                <a:cxn ang="0">
                  <a:pos x="13" y="87"/>
                </a:cxn>
                <a:cxn ang="0">
                  <a:pos x="19" y="73"/>
                </a:cxn>
                <a:cxn ang="0">
                  <a:pos x="37" y="67"/>
                </a:cxn>
                <a:cxn ang="0">
                  <a:pos x="54" y="73"/>
                </a:cxn>
                <a:cxn ang="0">
                  <a:pos x="60" y="87"/>
                </a:cxn>
                <a:cxn ang="0">
                  <a:pos x="60" y="118"/>
                </a:cxn>
                <a:cxn ang="0">
                  <a:pos x="51" y="129"/>
                </a:cxn>
                <a:cxn ang="0">
                  <a:pos x="62" y="140"/>
                </a:cxn>
                <a:cxn ang="0">
                  <a:pos x="73" y="129"/>
                </a:cxn>
                <a:cxn ang="0">
                  <a:pos x="64" y="118"/>
                </a:cxn>
                <a:cxn ang="0">
                  <a:pos x="19" y="129"/>
                </a:cxn>
                <a:cxn ang="0">
                  <a:pos x="11" y="137"/>
                </a:cxn>
                <a:cxn ang="0">
                  <a:pos x="4" y="129"/>
                </a:cxn>
                <a:cxn ang="0">
                  <a:pos x="11" y="122"/>
                </a:cxn>
                <a:cxn ang="0">
                  <a:pos x="19" y="129"/>
                </a:cxn>
                <a:cxn ang="0">
                  <a:pos x="29" y="11"/>
                </a:cxn>
                <a:cxn ang="0">
                  <a:pos x="37" y="4"/>
                </a:cxn>
                <a:cxn ang="0">
                  <a:pos x="44" y="11"/>
                </a:cxn>
                <a:cxn ang="0">
                  <a:pos x="37" y="19"/>
                </a:cxn>
                <a:cxn ang="0">
                  <a:pos x="29" y="11"/>
                </a:cxn>
                <a:cxn ang="0">
                  <a:pos x="62" y="137"/>
                </a:cxn>
                <a:cxn ang="0">
                  <a:pos x="54" y="129"/>
                </a:cxn>
                <a:cxn ang="0">
                  <a:pos x="62" y="122"/>
                </a:cxn>
                <a:cxn ang="0">
                  <a:pos x="69" y="129"/>
                </a:cxn>
                <a:cxn ang="0">
                  <a:pos x="62" y="137"/>
                </a:cxn>
              </a:cxnLst>
              <a:rect l="0" t="0" r="r" b="b"/>
              <a:pathLst>
                <a:path w="73" h="140">
                  <a:moveTo>
                    <a:pt x="64" y="118"/>
                  </a:moveTo>
                  <a:cubicBezTo>
                    <a:pt x="64" y="87"/>
                    <a:pt x="64" y="87"/>
                    <a:pt x="64" y="87"/>
                  </a:cubicBezTo>
                  <a:cubicBezTo>
                    <a:pt x="64" y="80"/>
                    <a:pt x="61" y="74"/>
                    <a:pt x="57" y="70"/>
                  </a:cubicBezTo>
                  <a:cubicBezTo>
                    <a:pt x="51" y="65"/>
                    <a:pt x="42" y="64"/>
                    <a:pt x="38" y="6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4" y="22"/>
                    <a:pt x="48" y="17"/>
                    <a:pt x="48" y="11"/>
                  </a:cubicBezTo>
                  <a:cubicBezTo>
                    <a:pt x="48" y="5"/>
                    <a:pt x="43" y="0"/>
                    <a:pt x="37" y="0"/>
                  </a:cubicBezTo>
                  <a:cubicBezTo>
                    <a:pt x="30" y="0"/>
                    <a:pt x="26" y="5"/>
                    <a:pt x="26" y="11"/>
                  </a:cubicBezTo>
                  <a:cubicBezTo>
                    <a:pt x="26" y="17"/>
                    <a:pt x="30" y="22"/>
                    <a:pt x="35" y="22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1" y="64"/>
                    <a:pt x="22" y="65"/>
                    <a:pt x="16" y="70"/>
                  </a:cubicBezTo>
                  <a:cubicBezTo>
                    <a:pt x="12" y="74"/>
                    <a:pt x="10" y="80"/>
                    <a:pt x="10" y="87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4" y="119"/>
                    <a:pt x="0" y="124"/>
                    <a:pt x="0" y="129"/>
                  </a:cubicBezTo>
                  <a:cubicBezTo>
                    <a:pt x="0" y="135"/>
                    <a:pt x="5" y="140"/>
                    <a:pt x="11" y="140"/>
                  </a:cubicBezTo>
                  <a:cubicBezTo>
                    <a:pt x="18" y="140"/>
                    <a:pt x="23" y="135"/>
                    <a:pt x="23" y="129"/>
                  </a:cubicBezTo>
                  <a:cubicBezTo>
                    <a:pt x="23" y="124"/>
                    <a:pt x="19" y="119"/>
                    <a:pt x="13" y="118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1"/>
                    <a:pt x="15" y="76"/>
                    <a:pt x="19" y="73"/>
                  </a:cubicBezTo>
                  <a:cubicBezTo>
                    <a:pt x="26" y="67"/>
                    <a:pt x="37" y="67"/>
                    <a:pt x="37" y="67"/>
                  </a:cubicBezTo>
                  <a:cubicBezTo>
                    <a:pt x="37" y="67"/>
                    <a:pt x="48" y="67"/>
                    <a:pt x="54" y="73"/>
                  </a:cubicBezTo>
                  <a:cubicBezTo>
                    <a:pt x="58" y="76"/>
                    <a:pt x="60" y="81"/>
                    <a:pt x="60" y="87"/>
                  </a:cubicBezTo>
                  <a:cubicBezTo>
                    <a:pt x="60" y="118"/>
                    <a:pt x="60" y="118"/>
                    <a:pt x="60" y="118"/>
                  </a:cubicBezTo>
                  <a:cubicBezTo>
                    <a:pt x="55" y="119"/>
                    <a:pt x="51" y="124"/>
                    <a:pt x="51" y="129"/>
                  </a:cubicBezTo>
                  <a:cubicBezTo>
                    <a:pt x="51" y="135"/>
                    <a:pt x="56" y="140"/>
                    <a:pt x="62" y="140"/>
                  </a:cubicBezTo>
                  <a:cubicBezTo>
                    <a:pt x="68" y="140"/>
                    <a:pt x="73" y="135"/>
                    <a:pt x="73" y="129"/>
                  </a:cubicBezTo>
                  <a:cubicBezTo>
                    <a:pt x="73" y="124"/>
                    <a:pt x="69" y="119"/>
                    <a:pt x="64" y="118"/>
                  </a:cubicBezTo>
                  <a:close/>
                  <a:moveTo>
                    <a:pt x="19" y="129"/>
                  </a:moveTo>
                  <a:cubicBezTo>
                    <a:pt x="19" y="133"/>
                    <a:pt x="16" y="137"/>
                    <a:pt x="11" y="137"/>
                  </a:cubicBezTo>
                  <a:cubicBezTo>
                    <a:pt x="7" y="137"/>
                    <a:pt x="4" y="133"/>
                    <a:pt x="4" y="129"/>
                  </a:cubicBezTo>
                  <a:cubicBezTo>
                    <a:pt x="4" y="125"/>
                    <a:pt x="7" y="122"/>
                    <a:pt x="11" y="122"/>
                  </a:cubicBezTo>
                  <a:cubicBezTo>
                    <a:pt x="16" y="122"/>
                    <a:pt x="19" y="125"/>
                    <a:pt x="19" y="129"/>
                  </a:cubicBezTo>
                  <a:close/>
                  <a:moveTo>
                    <a:pt x="29" y="11"/>
                  </a:moveTo>
                  <a:cubicBezTo>
                    <a:pt x="29" y="7"/>
                    <a:pt x="33" y="4"/>
                    <a:pt x="37" y="4"/>
                  </a:cubicBezTo>
                  <a:cubicBezTo>
                    <a:pt x="41" y="4"/>
                    <a:pt x="44" y="7"/>
                    <a:pt x="44" y="11"/>
                  </a:cubicBezTo>
                  <a:cubicBezTo>
                    <a:pt x="44" y="16"/>
                    <a:pt x="41" y="19"/>
                    <a:pt x="37" y="19"/>
                  </a:cubicBezTo>
                  <a:cubicBezTo>
                    <a:pt x="33" y="19"/>
                    <a:pt x="29" y="16"/>
                    <a:pt x="29" y="11"/>
                  </a:cubicBezTo>
                  <a:close/>
                  <a:moveTo>
                    <a:pt x="62" y="137"/>
                  </a:moveTo>
                  <a:cubicBezTo>
                    <a:pt x="58" y="137"/>
                    <a:pt x="54" y="133"/>
                    <a:pt x="54" y="129"/>
                  </a:cubicBezTo>
                  <a:cubicBezTo>
                    <a:pt x="54" y="125"/>
                    <a:pt x="58" y="122"/>
                    <a:pt x="62" y="122"/>
                  </a:cubicBezTo>
                  <a:cubicBezTo>
                    <a:pt x="66" y="122"/>
                    <a:pt x="69" y="125"/>
                    <a:pt x="69" y="129"/>
                  </a:cubicBezTo>
                  <a:cubicBezTo>
                    <a:pt x="69" y="133"/>
                    <a:pt x="66" y="137"/>
                    <a:pt x="62" y="1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66" name="Freeform 94"/>
            <p:cNvSpPr>
              <a:spLocks noEditPoints="1"/>
            </p:cNvSpPr>
            <p:nvPr/>
          </p:nvSpPr>
          <p:spPr bwMode="auto">
            <a:xfrm>
              <a:off x="2987" y="969"/>
              <a:ext cx="496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69" name="Group 97"/>
          <p:cNvGrpSpPr>
            <a:grpSpLocks noChangeAspect="1"/>
          </p:cNvGrpSpPr>
          <p:nvPr/>
        </p:nvGrpSpPr>
        <p:grpSpPr bwMode="auto">
          <a:xfrm>
            <a:off x="5843588" y="1538288"/>
            <a:ext cx="793750" cy="787400"/>
            <a:chOff x="3681" y="969"/>
            <a:chExt cx="500" cy="496"/>
          </a:xfrm>
        </p:grpSpPr>
        <p:sp>
          <p:nvSpPr>
            <p:cNvPr id="54370" name="Freeform 98"/>
            <p:cNvSpPr>
              <a:spLocks noEditPoints="1"/>
            </p:cNvSpPr>
            <p:nvPr/>
          </p:nvSpPr>
          <p:spPr bwMode="auto">
            <a:xfrm>
              <a:off x="3845" y="1041"/>
              <a:ext cx="172" cy="335"/>
            </a:xfrm>
            <a:custGeom>
              <a:avLst/>
              <a:gdLst/>
              <a:ahLst/>
              <a:cxnLst>
                <a:cxn ang="0">
                  <a:pos x="63" y="118"/>
                </a:cxn>
                <a:cxn ang="0">
                  <a:pos x="63" y="87"/>
                </a:cxn>
                <a:cxn ang="0">
                  <a:pos x="56" y="70"/>
                </a:cxn>
                <a:cxn ang="0">
                  <a:pos x="38" y="64"/>
                </a:cxn>
                <a:cxn ang="0">
                  <a:pos x="38" y="22"/>
                </a:cxn>
                <a:cxn ang="0">
                  <a:pos x="47" y="11"/>
                </a:cxn>
                <a:cxn ang="0">
                  <a:pos x="36" y="0"/>
                </a:cxn>
                <a:cxn ang="0">
                  <a:pos x="25" y="11"/>
                </a:cxn>
                <a:cxn ang="0">
                  <a:pos x="34" y="22"/>
                </a:cxn>
                <a:cxn ang="0">
                  <a:pos x="34" y="64"/>
                </a:cxn>
                <a:cxn ang="0">
                  <a:pos x="16" y="70"/>
                </a:cxn>
                <a:cxn ang="0">
                  <a:pos x="9" y="87"/>
                </a:cxn>
                <a:cxn ang="0">
                  <a:pos x="9" y="118"/>
                </a:cxn>
                <a:cxn ang="0">
                  <a:pos x="0" y="129"/>
                </a:cxn>
                <a:cxn ang="0">
                  <a:pos x="11" y="140"/>
                </a:cxn>
                <a:cxn ang="0">
                  <a:pos x="22" y="129"/>
                </a:cxn>
                <a:cxn ang="0">
                  <a:pos x="13" y="118"/>
                </a:cxn>
                <a:cxn ang="0">
                  <a:pos x="13" y="87"/>
                </a:cxn>
                <a:cxn ang="0">
                  <a:pos x="18" y="73"/>
                </a:cxn>
                <a:cxn ang="0">
                  <a:pos x="36" y="67"/>
                </a:cxn>
                <a:cxn ang="0">
                  <a:pos x="54" y="73"/>
                </a:cxn>
                <a:cxn ang="0">
                  <a:pos x="59" y="87"/>
                </a:cxn>
                <a:cxn ang="0">
                  <a:pos x="59" y="118"/>
                </a:cxn>
                <a:cxn ang="0">
                  <a:pos x="50" y="129"/>
                </a:cxn>
                <a:cxn ang="0">
                  <a:pos x="61" y="140"/>
                </a:cxn>
                <a:cxn ang="0">
                  <a:pos x="72" y="129"/>
                </a:cxn>
                <a:cxn ang="0">
                  <a:pos x="63" y="118"/>
                </a:cxn>
                <a:cxn ang="0">
                  <a:pos x="18" y="129"/>
                </a:cxn>
                <a:cxn ang="0">
                  <a:pos x="11" y="137"/>
                </a:cxn>
                <a:cxn ang="0">
                  <a:pos x="3" y="129"/>
                </a:cxn>
                <a:cxn ang="0">
                  <a:pos x="11" y="122"/>
                </a:cxn>
                <a:cxn ang="0">
                  <a:pos x="18" y="129"/>
                </a:cxn>
                <a:cxn ang="0">
                  <a:pos x="28" y="11"/>
                </a:cxn>
                <a:cxn ang="0">
                  <a:pos x="36" y="4"/>
                </a:cxn>
                <a:cxn ang="0">
                  <a:pos x="43" y="11"/>
                </a:cxn>
                <a:cxn ang="0">
                  <a:pos x="36" y="19"/>
                </a:cxn>
                <a:cxn ang="0">
                  <a:pos x="28" y="11"/>
                </a:cxn>
                <a:cxn ang="0">
                  <a:pos x="61" y="137"/>
                </a:cxn>
                <a:cxn ang="0">
                  <a:pos x="54" y="129"/>
                </a:cxn>
                <a:cxn ang="0">
                  <a:pos x="61" y="122"/>
                </a:cxn>
                <a:cxn ang="0">
                  <a:pos x="69" y="129"/>
                </a:cxn>
                <a:cxn ang="0">
                  <a:pos x="61" y="137"/>
                </a:cxn>
              </a:cxnLst>
              <a:rect l="0" t="0" r="r" b="b"/>
              <a:pathLst>
                <a:path w="72" h="140">
                  <a:moveTo>
                    <a:pt x="63" y="118"/>
                  </a:moveTo>
                  <a:cubicBezTo>
                    <a:pt x="63" y="87"/>
                    <a:pt x="63" y="87"/>
                    <a:pt x="63" y="87"/>
                  </a:cubicBezTo>
                  <a:cubicBezTo>
                    <a:pt x="63" y="80"/>
                    <a:pt x="61" y="74"/>
                    <a:pt x="56" y="70"/>
                  </a:cubicBezTo>
                  <a:cubicBezTo>
                    <a:pt x="50" y="65"/>
                    <a:pt x="42" y="64"/>
                    <a:pt x="38" y="6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3" y="22"/>
                    <a:pt x="47" y="17"/>
                    <a:pt x="47" y="11"/>
                  </a:cubicBezTo>
                  <a:cubicBezTo>
                    <a:pt x="47" y="5"/>
                    <a:pt x="42" y="0"/>
                    <a:pt x="36" y="0"/>
                  </a:cubicBezTo>
                  <a:cubicBezTo>
                    <a:pt x="30" y="0"/>
                    <a:pt x="25" y="5"/>
                    <a:pt x="25" y="11"/>
                  </a:cubicBezTo>
                  <a:cubicBezTo>
                    <a:pt x="25" y="17"/>
                    <a:pt x="29" y="22"/>
                    <a:pt x="34" y="22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0" y="64"/>
                    <a:pt x="22" y="65"/>
                    <a:pt x="16" y="70"/>
                  </a:cubicBezTo>
                  <a:cubicBezTo>
                    <a:pt x="11" y="74"/>
                    <a:pt x="9" y="80"/>
                    <a:pt x="9" y="87"/>
                  </a:cubicBezTo>
                  <a:cubicBezTo>
                    <a:pt x="9" y="118"/>
                    <a:pt x="9" y="118"/>
                    <a:pt x="9" y="118"/>
                  </a:cubicBezTo>
                  <a:cubicBezTo>
                    <a:pt x="4" y="119"/>
                    <a:pt x="0" y="124"/>
                    <a:pt x="0" y="129"/>
                  </a:cubicBezTo>
                  <a:cubicBezTo>
                    <a:pt x="0" y="135"/>
                    <a:pt x="5" y="140"/>
                    <a:pt x="11" y="140"/>
                  </a:cubicBezTo>
                  <a:cubicBezTo>
                    <a:pt x="17" y="140"/>
                    <a:pt x="22" y="135"/>
                    <a:pt x="22" y="129"/>
                  </a:cubicBezTo>
                  <a:cubicBezTo>
                    <a:pt x="22" y="124"/>
                    <a:pt x="18" y="119"/>
                    <a:pt x="13" y="118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1"/>
                    <a:pt x="14" y="76"/>
                    <a:pt x="18" y="73"/>
                  </a:cubicBezTo>
                  <a:cubicBezTo>
                    <a:pt x="25" y="67"/>
                    <a:pt x="36" y="67"/>
                    <a:pt x="36" y="67"/>
                  </a:cubicBezTo>
                  <a:cubicBezTo>
                    <a:pt x="36" y="67"/>
                    <a:pt x="47" y="67"/>
                    <a:pt x="54" y="73"/>
                  </a:cubicBezTo>
                  <a:cubicBezTo>
                    <a:pt x="57" y="76"/>
                    <a:pt x="59" y="81"/>
                    <a:pt x="59" y="8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4" y="119"/>
                    <a:pt x="50" y="124"/>
                    <a:pt x="50" y="129"/>
                  </a:cubicBezTo>
                  <a:cubicBezTo>
                    <a:pt x="50" y="135"/>
                    <a:pt x="55" y="140"/>
                    <a:pt x="61" y="140"/>
                  </a:cubicBezTo>
                  <a:cubicBezTo>
                    <a:pt x="67" y="140"/>
                    <a:pt x="72" y="135"/>
                    <a:pt x="72" y="129"/>
                  </a:cubicBezTo>
                  <a:cubicBezTo>
                    <a:pt x="72" y="124"/>
                    <a:pt x="68" y="119"/>
                    <a:pt x="63" y="118"/>
                  </a:cubicBezTo>
                  <a:close/>
                  <a:moveTo>
                    <a:pt x="18" y="129"/>
                  </a:moveTo>
                  <a:cubicBezTo>
                    <a:pt x="18" y="133"/>
                    <a:pt x="15" y="137"/>
                    <a:pt x="11" y="137"/>
                  </a:cubicBezTo>
                  <a:cubicBezTo>
                    <a:pt x="7" y="137"/>
                    <a:pt x="3" y="133"/>
                    <a:pt x="3" y="129"/>
                  </a:cubicBezTo>
                  <a:cubicBezTo>
                    <a:pt x="3" y="125"/>
                    <a:pt x="7" y="122"/>
                    <a:pt x="11" y="122"/>
                  </a:cubicBezTo>
                  <a:cubicBezTo>
                    <a:pt x="15" y="122"/>
                    <a:pt x="18" y="125"/>
                    <a:pt x="18" y="129"/>
                  </a:cubicBezTo>
                  <a:close/>
                  <a:moveTo>
                    <a:pt x="28" y="11"/>
                  </a:moveTo>
                  <a:cubicBezTo>
                    <a:pt x="28" y="7"/>
                    <a:pt x="32" y="4"/>
                    <a:pt x="36" y="4"/>
                  </a:cubicBezTo>
                  <a:cubicBezTo>
                    <a:pt x="40" y="4"/>
                    <a:pt x="43" y="7"/>
                    <a:pt x="43" y="11"/>
                  </a:cubicBezTo>
                  <a:cubicBezTo>
                    <a:pt x="43" y="16"/>
                    <a:pt x="40" y="19"/>
                    <a:pt x="36" y="19"/>
                  </a:cubicBezTo>
                  <a:cubicBezTo>
                    <a:pt x="32" y="19"/>
                    <a:pt x="28" y="16"/>
                    <a:pt x="28" y="11"/>
                  </a:cubicBezTo>
                  <a:close/>
                  <a:moveTo>
                    <a:pt x="61" y="137"/>
                  </a:moveTo>
                  <a:cubicBezTo>
                    <a:pt x="57" y="137"/>
                    <a:pt x="54" y="133"/>
                    <a:pt x="54" y="129"/>
                  </a:cubicBezTo>
                  <a:cubicBezTo>
                    <a:pt x="54" y="125"/>
                    <a:pt x="57" y="122"/>
                    <a:pt x="61" y="122"/>
                  </a:cubicBezTo>
                  <a:cubicBezTo>
                    <a:pt x="65" y="122"/>
                    <a:pt x="69" y="125"/>
                    <a:pt x="69" y="129"/>
                  </a:cubicBezTo>
                  <a:cubicBezTo>
                    <a:pt x="69" y="133"/>
                    <a:pt x="65" y="137"/>
                    <a:pt x="61" y="13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71" name="Freeform 99"/>
            <p:cNvSpPr>
              <a:spLocks noEditPoints="1"/>
            </p:cNvSpPr>
            <p:nvPr/>
          </p:nvSpPr>
          <p:spPr bwMode="auto">
            <a:xfrm>
              <a:off x="3681" y="969"/>
              <a:ext cx="500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2"/>
                </a:cxn>
              </a:cxnLst>
              <a:rect l="0" t="0" r="r" b="b"/>
              <a:pathLst>
                <a:path w="208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50" y="202"/>
                    <a:pt x="5" y="158"/>
                    <a:pt x="5" y="104"/>
                  </a:cubicBezTo>
                  <a:cubicBezTo>
                    <a:pt x="5" y="49"/>
                    <a:pt x="50" y="5"/>
                    <a:pt x="104" y="5"/>
                  </a:cubicBezTo>
                  <a:cubicBezTo>
                    <a:pt x="158" y="5"/>
                    <a:pt x="203" y="49"/>
                    <a:pt x="203" y="104"/>
                  </a:cubicBezTo>
                  <a:cubicBezTo>
                    <a:pt x="203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74" name="Group 102"/>
          <p:cNvGrpSpPr>
            <a:grpSpLocks noChangeAspect="1"/>
          </p:cNvGrpSpPr>
          <p:nvPr/>
        </p:nvGrpSpPr>
        <p:grpSpPr bwMode="auto">
          <a:xfrm>
            <a:off x="6915944" y="1506538"/>
            <a:ext cx="849313" cy="849312"/>
            <a:chOff x="4358" y="949"/>
            <a:chExt cx="535" cy="535"/>
          </a:xfrm>
        </p:grpSpPr>
        <p:sp>
          <p:nvSpPr>
            <p:cNvPr id="54375" name="Oval 103"/>
            <p:cNvSpPr>
              <a:spLocks noChangeArrowheads="1"/>
            </p:cNvSpPr>
            <p:nvPr/>
          </p:nvSpPr>
          <p:spPr bwMode="auto">
            <a:xfrm>
              <a:off x="4358" y="949"/>
              <a:ext cx="535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76" name="Freeform 104"/>
            <p:cNvSpPr>
              <a:spLocks noEditPoints="1"/>
            </p:cNvSpPr>
            <p:nvPr/>
          </p:nvSpPr>
          <p:spPr bwMode="auto">
            <a:xfrm>
              <a:off x="4379" y="970"/>
              <a:ext cx="493" cy="493"/>
            </a:xfrm>
            <a:custGeom>
              <a:avLst/>
              <a:gdLst/>
              <a:ahLst/>
              <a:cxnLst>
                <a:cxn ang="0">
                  <a:pos x="206" y="103"/>
                </a:cxn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206" y="103"/>
                  </a:moveTo>
                  <a:cubicBezTo>
                    <a:pt x="206" y="46"/>
                    <a:pt x="160" y="0"/>
                    <a:pt x="103" y="0"/>
                  </a:cubicBez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77" name="Freeform 105"/>
            <p:cNvSpPr>
              <a:spLocks/>
            </p:cNvSpPr>
            <p:nvPr/>
          </p:nvSpPr>
          <p:spPr bwMode="auto">
            <a:xfrm>
              <a:off x="4472" y="1049"/>
              <a:ext cx="307" cy="304"/>
            </a:xfrm>
            <a:custGeom>
              <a:avLst/>
              <a:gdLst/>
              <a:ahLst/>
              <a:cxnLst>
                <a:cxn ang="0">
                  <a:pos x="120" y="84"/>
                </a:cxn>
                <a:cxn ang="0">
                  <a:pos x="102" y="78"/>
                </a:cxn>
                <a:cxn ang="0">
                  <a:pos x="87" y="84"/>
                </a:cxn>
                <a:cxn ang="0">
                  <a:pos x="66" y="42"/>
                </a:cxn>
                <a:cxn ang="0">
                  <a:pos x="81" y="35"/>
                </a:cxn>
                <a:cxn ang="0">
                  <a:pos x="81" y="0"/>
                </a:cxn>
                <a:cxn ang="0">
                  <a:pos x="79" y="3"/>
                </a:cxn>
                <a:cxn ang="0">
                  <a:pos x="78" y="33"/>
                </a:cxn>
                <a:cxn ang="0">
                  <a:pos x="49" y="32"/>
                </a:cxn>
                <a:cxn ang="0">
                  <a:pos x="43" y="17"/>
                </a:cxn>
                <a:cxn ang="0">
                  <a:pos x="49" y="3"/>
                </a:cxn>
                <a:cxn ang="0">
                  <a:pos x="46" y="0"/>
                </a:cxn>
                <a:cxn ang="0">
                  <a:pos x="39" y="17"/>
                </a:cxn>
                <a:cxn ang="0">
                  <a:pos x="46" y="35"/>
                </a:cxn>
                <a:cxn ang="0">
                  <a:pos x="61" y="42"/>
                </a:cxn>
                <a:cxn ang="0">
                  <a:pos x="40" y="83"/>
                </a:cxn>
                <a:cxn ang="0">
                  <a:pos x="27" y="78"/>
                </a:cxn>
                <a:cxn ang="0">
                  <a:pos x="9" y="84"/>
                </a:cxn>
                <a:cxn ang="0">
                  <a:pos x="0" y="101"/>
                </a:cxn>
                <a:cxn ang="0">
                  <a:pos x="4" y="101"/>
                </a:cxn>
                <a:cxn ang="0">
                  <a:pos x="11" y="87"/>
                </a:cxn>
                <a:cxn ang="0">
                  <a:pos x="27" y="82"/>
                </a:cxn>
                <a:cxn ang="0">
                  <a:pos x="46" y="104"/>
                </a:cxn>
                <a:cxn ang="0">
                  <a:pos x="39" y="119"/>
                </a:cxn>
                <a:cxn ang="0">
                  <a:pos x="23" y="124"/>
                </a:cxn>
                <a:cxn ang="0">
                  <a:pos x="23" y="127"/>
                </a:cxn>
                <a:cxn ang="0">
                  <a:pos x="25" y="127"/>
                </a:cxn>
                <a:cxn ang="0">
                  <a:pos x="50" y="105"/>
                </a:cxn>
                <a:cxn ang="0">
                  <a:pos x="43" y="86"/>
                </a:cxn>
                <a:cxn ang="0">
                  <a:pos x="64" y="45"/>
                </a:cxn>
                <a:cxn ang="0">
                  <a:pos x="85" y="87"/>
                </a:cxn>
                <a:cxn ang="0">
                  <a:pos x="85" y="87"/>
                </a:cxn>
                <a:cxn ang="0">
                  <a:pos x="79" y="105"/>
                </a:cxn>
                <a:cxn ang="0">
                  <a:pos x="104" y="127"/>
                </a:cxn>
                <a:cxn ang="0">
                  <a:pos x="106" y="127"/>
                </a:cxn>
                <a:cxn ang="0">
                  <a:pos x="105" y="124"/>
                </a:cxn>
                <a:cxn ang="0">
                  <a:pos x="83" y="104"/>
                </a:cxn>
                <a:cxn ang="0">
                  <a:pos x="102" y="82"/>
                </a:cxn>
                <a:cxn ang="0">
                  <a:pos x="117" y="87"/>
                </a:cxn>
                <a:cxn ang="0">
                  <a:pos x="125" y="101"/>
                </a:cxn>
                <a:cxn ang="0">
                  <a:pos x="128" y="101"/>
                </a:cxn>
                <a:cxn ang="0">
                  <a:pos x="120" y="84"/>
                </a:cxn>
              </a:cxnLst>
              <a:rect l="0" t="0" r="r" b="b"/>
              <a:pathLst>
                <a:path w="128" h="127">
                  <a:moveTo>
                    <a:pt x="120" y="84"/>
                  </a:moveTo>
                  <a:cubicBezTo>
                    <a:pt x="115" y="80"/>
                    <a:pt x="108" y="78"/>
                    <a:pt x="102" y="78"/>
                  </a:cubicBezTo>
                  <a:cubicBezTo>
                    <a:pt x="96" y="79"/>
                    <a:pt x="91" y="81"/>
                    <a:pt x="87" y="84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72" y="41"/>
                    <a:pt x="77" y="39"/>
                    <a:pt x="81" y="35"/>
                  </a:cubicBezTo>
                  <a:cubicBezTo>
                    <a:pt x="91" y="26"/>
                    <a:pt x="91" y="10"/>
                    <a:pt x="81" y="0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87" y="11"/>
                    <a:pt x="87" y="24"/>
                    <a:pt x="78" y="33"/>
                  </a:cubicBezTo>
                  <a:cubicBezTo>
                    <a:pt x="70" y="41"/>
                    <a:pt x="57" y="41"/>
                    <a:pt x="49" y="32"/>
                  </a:cubicBezTo>
                  <a:cubicBezTo>
                    <a:pt x="45" y="28"/>
                    <a:pt x="43" y="23"/>
                    <a:pt x="43" y="17"/>
                  </a:cubicBezTo>
                  <a:cubicBezTo>
                    <a:pt x="43" y="12"/>
                    <a:pt x="45" y="6"/>
                    <a:pt x="49" y="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2" y="5"/>
                    <a:pt x="39" y="11"/>
                    <a:pt x="39" y="17"/>
                  </a:cubicBezTo>
                  <a:cubicBezTo>
                    <a:pt x="39" y="24"/>
                    <a:pt x="41" y="30"/>
                    <a:pt x="46" y="35"/>
                  </a:cubicBezTo>
                  <a:cubicBezTo>
                    <a:pt x="50" y="39"/>
                    <a:pt x="55" y="41"/>
                    <a:pt x="61" y="42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0"/>
                    <a:pt x="32" y="79"/>
                    <a:pt x="27" y="78"/>
                  </a:cubicBezTo>
                  <a:cubicBezTo>
                    <a:pt x="20" y="78"/>
                    <a:pt x="14" y="80"/>
                    <a:pt x="9" y="84"/>
                  </a:cubicBezTo>
                  <a:cubicBezTo>
                    <a:pt x="4" y="88"/>
                    <a:pt x="1" y="94"/>
                    <a:pt x="0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96"/>
                    <a:pt x="7" y="90"/>
                    <a:pt x="11" y="87"/>
                  </a:cubicBezTo>
                  <a:cubicBezTo>
                    <a:pt x="16" y="83"/>
                    <a:pt x="21" y="81"/>
                    <a:pt x="27" y="82"/>
                  </a:cubicBezTo>
                  <a:cubicBezTo>
                    <a:pt x="38" y="83"/>
                    <a:pt x="47" y="93"/>
                    <a:pt x="46" y="104"/>
                  </a:cubicBezTo>
                  <a:cubicBezTo>
                    <a:pt x="46" y="110"/>
                    <a:pt x="43" y="115"/>
                    <a:pt x="39" y="119"/>
                  </a:cubicBezTo>
                  <a:cubicBezTo>
                    <a:pt x="34" y="122"/>
                    <a:pt x="29" y="124"/>
                    <a:pt x="23" y="124"/>
                  </a:cubicBezTo>
                  <a:cubicBezTo>
                    <a:pt x="23" y="127"/>
                    <a:pt x="23" y="127"/>
                    <a:pt x="23" y="127"/>
                  </a:cubicBezTo>
                  <a:cubicBezTo>
                    <a:pt x="24" y="127"/>
                    <a:pt x="24" y="127"/>
                    <a:pt x="25" y="127"/>
                  </a:cubicBezTo>
                  <a:cubicBezTo>
                    <a:pt x="38" y="127"/>
                    <a:pt x="49" y="117"/>
                    <a:pt x="50" y="105"/>
                  </a:cubicBezTo>
                  <a:cubicBezTo>
                    <a:pt x="50" y="97"/>
                    <a:pt x="48" y="91"/>
                    <a:pt x="43" y="86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1" y="92"/>
                    <a:pt x="79" y="98"/>
                    <a:pt x="79" y="105"/>
                  </a:cubicBezTo>
                  <a:cubicBezTo>
                    <a:pt x="80" y="117"/>
                    <a:pt x="91" y="127"/>
                    <a:pt x="104" y="127"/>
                  </a:cubicBezTo>
                  <a:cubicBezTo>
                    <a:pt x="104" y="127"/>
                    <a:pt x="105" y="127"/>
                    <a:pt x="106" y="127"/>
                  </a:cubicBezTo>
                  <a:cubicBezTo>
                    <a:pt x="105" y="124"/>
                    <a:pt x="105" y="124"/>
                    <a:pt x="105" y="124"/>
                  </a:cubicBezTo>
                  <a:cubicBezTo>
                    <a:pt x="94" y="124"/>
                    <a:pt x="84" y="116"/>
                    <a:pt x="83" y="104"/>
                  </a:cubicBezTo>
                  <a:cubicBezTo>
                    <a:pt x="82" y="93"/>
                    <a:pt x="91" y="83"/>
                    <a:pt x="102" y="82"/>
                  </a:cubicBezTo>
                  <a:cubicBezTo>
                    <a:pt x="108" y="81"/>
                    <a:pt x="113" y="83"/>
                    <a:pt x="117" y="87"/>
                  </a:cubicBezTo>
                  <a:cubicBezTo>
                    <a:pt x="122" y="90"/>
                    <a:pt x="124" y="96"/>
                    <a:pt x="125" y="101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8" y="94"/>
                    <a:pt x="125" y="88"/>
                    <a:pt x="120" y="8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80" name="Group 108"/>
          <p:cNvGrpSpPr>
            <a:grpSpLocks noChangeAspect="1"/>
          </p:cNvGrpSpPr>
          <p:nvPr/>
        </p:nvGrpSpPr>
        <p:grpSpPr bwMode="auto">
          <a:xfrm>
            <a:off x="8047827" y="1538288"/>
            <a:ext cx="784224" cy="784226"/>
            <a:chOff x="5066" y="969"/>
            <a:chExt cx="494" cy="494"/>
          </a:xfrm>
        </p:grpSpPr>
        <p:sp>
          <p:nvSpPr>
            <p:cNvPr id="54381" name="Freeform 109"/>
            <p:cNvSpPr>
              <a:spLocks noEditPoints="1"/>
            </p:cNvSpPr>
            <p:nvPr/>
          </p:nvSpPr>
          <p:spPr bwMode="auto">
            <a:xfrm>
              <a:off x="5066" y="969"/>
              <a:ext cx="494" cy="494"/>
            </a:xfrm>
            <a:custGeom>
              <a:avLst/>
              <a:gdLst/>
              <a:ahLst/>
              <a:cxnLst>
                <a:cxn ang="0">
                  <a:pos x="206" y="103"/>
                </a:cxn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206" y="103"/>
                  </a:moveTo>
                  <a:cubicBezTo>
                    <a:pt x="206" y="46"/>
                    <a:pt x="160" y="0"/>
                    <a:pt x="103" y="0"/>
                  </a:cubicBez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82" name="Freeform 110"/>
            <p:cNvSpPr>
              <a:spLocks/>
            </p:cNvSpPr>
            <p:nvPr/>
          </p:nvSpPr>
          <p:spPr bwMode="auto">
            <a:xfrm>
              <a:off x="5160" y="1049"/>
              <a:ext cx="307" cy="304"/>
            </a:xfrm>
            <a:custGeom>
              <a:avLst/>
              <a:gdLst/>
              <a:ahLst/>
              <a:cxnLst>
                <a:cxn ang="0">
                  <a:pos x="120" y="84"/>
                </a:cxn>
                <a:cxn ang="0">
                  <a:pos x="102" y="78"/>
                </a:cxn>
                <a:cxn ang="0">
                  <a:pos x="87" y="84"/>
                </a:cxn>
                <a:cxn ang="0">
                  <a:pos x="66" y="42"/>
                </a:cxn>
                <a:cxn ang="0">
                  <a:pos x="81" y="35"/>
                </a:cxn>
                <a:cxn ang="0">
                  <a:pos x="81" y="0"/>
                </a:cxn>
                <a:cxn ang="0">
                  <a:pos x="79" y="3"/>
                </a:cxn>
                <a:cxn ang="0">
                  <a:pos x="78" y="33"/>
                </a:cxn>
                <a:cxn ang="0">
                  <a:pos x="49" y="32"/>
                </a:cxn>
                <a:cxn ang="0">
                  <a:pos x="43" y="17"/>
                </a:cxn>
                <a:cxn ang="0">
                  <a:pos x="49" y="3"/>
                </a:cxn>
                <a:cxn ang="0">
                  <a:pos x="46" y="0"/>
                </a:cxn>
                <a:cxn ang="0">
                  <a:pos x="39" y="17"/>
                </a:cxn>
                <a:cxn ang="0">
                  <a:pos x="46" y="35"/>
                </a:cxn>
                <a:cxn ang="0">
                  <a:pos x="61" y="42"/>
                </a:cxn>
                <a:cxn ang="0">
                  <a:pos x="40" y="83"/>
                </a:cxn>
                <a:cxn ang="0">
                  <a:pos x="27" y="78"/>
                </a:cxn>
                <a:cxn ang="0">
                  <a:pos x="9" y="84"/>
                </a:cxn>
                <a:cxn ang="0">
                  <a:pos x="0" y="101"/>
                </a:cxn>
                <a:cxn ang="0">
                  <a:pos x="4" y="101"/>
                </a:cxn>
                <a:cxn ang="0">
                  <a:pos x="11" y="87"/>
                </a:cxn>
                <a:cxn ang="0">
                  <a:pos x="27" y="82"/>
                </a:cxn>
                <a:cxn ang="0">
                  <a:pos x="46" y="104"/>
                </a:cxn>
                <a:cxn ang="0">
                  <a:pos x="39" y="119"/>
                </a:cxn>
                <a:cxn ang="0">
                  <a:pos x="23" y="124"/>
                </a:cxn>
                <a:cxn ang="0">
                  <a:pos x="23" y="127"/>
                </a:cxn>
                <a:cxn ang="0">
                  <a:pos x="25" y="127"/>
                </a:cxn>
                <a:cxn ang="0">
                  <a:pos x="50" y="105"/>
                </a:cxn>
                <a:cxn ang="0">
                  <a:pos x="43" y="86"/>
                </a:cxn>
                <a:cxn ang="0">
                  <a:pos x="64" y="45"/>
                </a:cxn>
                <a:cxn ang="0">
                  <a:pos x="85" y="87"/>
                </a:cxn>
                <a:cxn ang="0">
                  <a:pos x="85" y="87"/>
                </a:cxn>
                <a:cxn ang="0">
                  <a:pos x="79" y="105"/>
                </a:cxn>
                <a:cxn ang="0">
                  <a:pos x="104" y="127"/>
                </a:cxn>
                <a:cxn ang="0">
                  <a:pos x="106" y="127"/>
                </a:cxn>
                <a:cxn ang="0">
                  <a:pos x="105" y="124"/>
                </a:cxn>
                <a:cxn ang="0">
                  <a:pos x="83" y="104"/>
                </a:cxn>
                <a:cxn ang="0">
                  <a:pos x="102" y="82"/>
                </a:cxn>
                <a:cxn ang="0">
                  <a:pos x="117" y="87"/>
                </a:cxn>
                <a:cxn ang="0">
                  <a:pos x="125" y="101"/>
                </a:cxn>
                <a:cxn ang="0">
                  <a:pos x="128" y="101"/>
                </a:cxn>
                <a:cxn ang="0">
                  <a:pos x="120" y="84"/>
                </a:cxn>
              </a:cxnLst>
              <a:rect l="0" t="0" r="r" b="b"/>
              <a:pathLst>
                <a:path w="128" h="127">
                  <a:moveTo>
                    <a:pt x="120" y="84"/>
                  </a:moveTo>
                  <a:cubicBezTo>
                    <a:pt x="115" y="80"/>
                    <a:pt x="108" y="78"/>
                    <a:pt x="102" y="78"/>
                  </a:cubicBezTo>
                  <a:cubicBezTo>
                    <a:pt x="96" y="79"/>
                    <a:pt x="91" y="81"/>
                    <a:pt x="87" y="84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72" y="41"/>
                    <a:pt x="77" y="39"/>
                    <a:pt x="81" y="35"/>
                  </a:cubicBezTo>
                  <a:cubicBezTo>
                    <a:pt x="91" y="26"/>
                    <a:pt x="91" y="10"/>
                    <a:pt x="81" y="0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87" y="11"/>
                    <a:pt x="87" y="24"/>
                    <a:pt x="78" y="33"/>
                  </a:cubicBezTo>
                  <a:cubicBezTo>
                    <a:pt x="70" y="41"/>
                    <a:pt x="57" y="41"/>
                    <a:pt x="49" y="32"/>
                  </a:cubicBezTo>
                  <a:cubicBezTo>
                    <a:pt x="45" y="28"/>
                    <a:pt x="43" y="23"/>
                    <a:pt x="43" y="17"/>
                  </a:cubicBezTo>
                  <a:cubicBezTo>
                    <a:pt x="43" y="12"/>
                    <a:pt x="45" y="6"/>
                    <a:pt x="49" y="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2" y="5"/>
                    <a:pt x="39" y="11"/>
                    <a:pt x="39" y="17"/>
                  </a:cubicBezTo>
                  <a:cubicBezTo>
                    <a:pt x="39" y="24"/>
                    <a:pt x="41" y="30"/>
                    <a:pt x="46" y="35"/>
                  </a:cubicBezTo>
                  <a:cubicBezTo>
                    <a:pt x="50" y="39"/>
                    <a:pt x="55" y="41"/>
                    <a:pt x="61" y="42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0"/>
                    <a:pt x="32" y="79"/>
                    <a:pt x="27" y="78"/>
                  </a:cubicBezTo>
                  <a:cubicBezTo>
                    <a:pt x="20" y="78"/>
                    <a:pt x="14" y="80"/>
                    <a:pt x="9" y="84"/>
                  </a:cubicBezTo>
                  <a:cubicBezTo>
                    <a:pt x="4" y="88"/>
                    <a:pt x="1" y="94"/>
                    <a:pt x="0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96"/>
                    <a:pt x="7" y="90"/>
                    <a:pt x="11" y="87"/>
                  </a:cubicBezTo>
                  <a:cubicBezTo>
                    <a:pt x="16" y="83"/>
                    <a:pt x="21" y="81"/>
                    <a:pt x="27" y="82"/>
                  </a:cubicBezTo>
                  <a:cubicBezTo>
                    <a:pt x="38" y="83"/>
                    <a:pt x="47" y="93"/>
                    <a:pt x="46" y="104"/>
                  </a:cubicBezTo>
                  <a:cubicBezTo>
                    <a:pt x="46" y="110"/>
                    <a:pt x="43" y="115"/>
                    <a:pt x="39" y="119"/>
                  </a:cubicBezTo>
                  <a:cubicBezTo>
                    <a:pt x="34" y="122"/>
                    <a:pt x="29" y="124"/>
                    <a:pt x="23" y="124"/>
                  </a:cubicBezTo>
                  <a:cubicBezTo>
                    <a:pt x="23" y="127"/>
                    <a:pt x="23" y="127"/>
                    <a:pt x="23" y="127"/>
                  </a:cubicBezTo>
                  <a:cubicBezTo>
                    <a:pt x="24" y="127"/>
                    <a:pt x="24" y="127"/>
                    <a:pt x="25" y="127"/>
                  </a:cubicBezTo>
                  <a:cubicBezTo>
                    <a:pt x="38" y="127"/>
                    <a:pt x="49" y="117"/>
                    <a:pt x="50" y="105"/>
                  </a:cubicBezTo>
                  <a:cubicBezTo>
                    <a:pt x="50" y="97"/>
                    <a:pt x="48" y="91"/>
                    <a:pt x="43" y="86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1" y="92"/>
                    <a:pt x="79" y="98"/>
                    <a:pt x="79" y="105"/>
                  </a:cubicBezTo>
                  <a:cubicBezTo>
                    <a:pt x="80" y="117"/>
                    <a:pt x="91" y="127"/>
                    <a:pt x="104" y="127"/>
                  </a:cubicBezTo>
                  <a:cubicBezTo>
                    <a:pt x="104" y="127"/>
                    <a:pt x="105" y="127"/>
                    <a:pt x="106" y="127"/>
                  </a:cubicBezTo>
                  <a:cubicBezTo>
                    <a:pt x="105" y="124"/>
                    <a:pt x="105" y="124"/>
                    <a:pt x="105" y="124"/>
                  </a:cubicBezTo>
                  <a:cubicBezTo>
                    <a:pt x="94" y="124"/>
                    <a:pt x="84" y="116"/>
                    <a:pt x="83" y="104"/>
                  </a:cubicBezTo>
                  <a:cubicBezTo>
                    <a:pt x="82" y="93"/>
                    <a:pt x="91" y="83"/>
                    <a:pt x="102" y="82"/>
                  </a:cubicBezTo>
                  <a:cubicBezTo>
                    <a:pt x="108" y="81"/>
                    <a:pt x="113" y="83"/>
                    <a:pt x="117" y="87"/>
                  </a:cubicBezTo>
                  <a:cubicBezTo>
                    <a:pt x="122" y="90"/>
                    <a:pt x="124" y="96"/>
                    <a:pt x="125" y="101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8" y="94"/>
                    <a:pt x="125" y="88"/>
                    <a:pt x="120" y="8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385" name="Group 113"/>
          <p:cNvGrpSpPr>
            <a:grpSpLocks noChangeAspect="1"/>
          </p:cNvGrpSpPr>
          <p:nvPr/>
        </p:nvGrpSpPr>
        <p:grpSpPr bwMode="auto">
          <a:xfrm>
            <a:off x="338138" y="2774950"/>
            <a:ext cx="852487" cy="847725"/>
            <a:chOff x="213" y="1748"/>
            <a:chExt cx="537" cy="534"/>
          </a:xfrm>
        </p:grpSpPr>
        <p:sp>
          <p:nvSpPr>
            <p:cNvPr id="54386" name="Oval 114"/>
            <p:cNvSpPr>
              <a:spLocks noChangeArrowheads="1"/>
            </p:cNvSpPr>
            <p:nvPr/>
          </p:nvSpPr>
          <p:spPr bwMode="auto">
            <a:xfrm>
              <a:off x="213" y="1748"/>
              <a:ext cx="537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87" name="Freeform 115"/>
            <p:cNvSpPr>
              <a:spLocks noEditPoints="1"/>
            </p:cNvSpPr>
            <p:nvPr/>
          </p:nvSpPr>
          <p:spPr bwMode="auto">
            <a:xfrm>
              <a:off x="234" y="1768"/>
              <a:ext cx="494" cy="492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88" name="Freeform 116"/>
            <p:cNvSpPr>
              <a:spLocks/>
            </p:cNvSpPr>
            <p:nvPr/>
          </p:nvSpPr>
          <p:spPr bwMode="auto">
            <a:xfrm>
              <a:off x="349" y="1870"/>
              <a:ext cx="123" cy="244"/>
            </a:xfrm>
            <a:custGeom>
              <a:avLst/>
              <a:gdLst/>
              <a:ahLst/>
              <a:cxnLst>
                <a:cxn ang="0">
                  <a:pos x="115" y="244"/>
                </a:cxn>
                <a:cxn ang="0">
                  <a:pos x="36" y="12"/>
                </a:cxn>
                <a:cxn ang="0">
                  <a:pos x="5" y="24"/>
                </a:cxn>
                <a:cxn ang="0">
                  <a:pos x="0" y="15"/>
                </a:cxn>
                <a:cxn ang="0">
                  <a:pos x="41" y="0"/>
                </a:cxn>
                <a:cxn ang="0">
                  <a:pos x="123" y="239"/>
                </a:cxn>
                <a:cxn ang="0">
                  <a:pos x="115" y="244"/>
                </a:cxn>
              </a:cxnLst>
              <a:rect l="0" t="0" r="r" b="b"/>
              <a:pathLst>
                <a:path w="123" h="244">
                  <a:moveTo>
                    <a:pt x="115" y="244"/>
                  </a:moveTo>
                  <a:lnTo>
                    <a:pt x="36" y="12"/>
                  </a:lnTo>
                  <a:lnTo>
                    <a:pt x="5" y="24"/>
                  </a:lnTo>
                  <a:lnTo>
                    <a:pt x="0" y="15"/>
                  </a:lnTo>
                  <a:lnTo>
                    <a:pt x="41" y="0"/>
                  </a:lnTo>
                  <a:lnTo>
                    <a:pt x="123" y="239"/>
                  </a:lnTo>
                  <a:lnTo>
                    <a:pt x="115" y="24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89" name="Freeform 117"/>
            <p:cNvSpPr>
              <a:spLocks noEditPoints="1"/>
            </p:cNvSpPr>
            <p:nvPr/>
          </p:nvSpPr>
          <p:spPr bwMode="auto">
            <a:xfrm>
              <a:off x="438" y="2105"/>
              <a:ext cx="86" cy="83"/>
            </a:xfrm>
            <a:custGeom>
              <a:avLst/>
              <a:gdLst/>
              <a:ahLst/>
              <a:cxnLst>
                <a:cxn ang="0">
                  <a:pos x="18" y="35"/>
                </a:cxn>
                <a:cxn ang="0">
                  <a:pos x="1" y="23"/>
                </a:cxn>
                <a:cxn ang="0">
                  <a:pos x="2" y="10"/>
                </a:cxn>
                <a:cxn ang="0">
                  <a:pos x="12" y="1"/>
                </a:cxn>
                <a:cxn ang="0">
                  <a:pos x="18" y="0"/>
                </a:cxn>
                <a:cxn ang="0">
                  <a:pos x="34" y="12"/>
                </a:cxn>
                <a:cxn ang="0">
                  <a:pos x="33" y="25"/>
                </a:cxn>
                <a:cxn ang="0">
                  <a:pos x="23" y="34"/>
                </a:cxn>
                <a:cxn ang="0">
                  <a:pos x="18" y="35"/>
                </a:cxn>
                <a:cxn ang="0">
                  <a:pos x="18" y="4"/>
                </a:cxn>
                <a:cxn ang="0">
                  <a:pos x="13" y="5"/>
                </a:cxn>
                <a:cxn ang="0">
                  <a:pos x="5" y="12"/>
                </a:cxn>
                <a:cxn ang="0">
                  <a:pos x="5" y="22"/>
                </a:cxn>
                <a:cxn ang="0">
                  <a:pos x="18" y="32"/>
                </a:cxn>
                <a:cxn ang="0">
                  <a:pos x="22" y="31"/>
                </a:cxn>
                <a:cxn ang="0">
                  <a:pos x="30" y="24"/>
                </a:cxn>
                <a:cxn ang="0">
                  <a:pos x="31" y="13"/>
                </a:cxn>
                <a:cxn ang="0">
                  <a:pos x="18" y="4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cubicBezTo>
                    <a:pt x="10" y="35"/>
                    <a:pt x="4" y="31"/>
                    <a:pt x="1" y="23"/>
                  </a:cubicBezTo>
                  <a:cubicBezTo>
                    <a:pt x="0" y="19"/>
                    <a:pt x="0" y="14"/>
                    <a:pt x="2" y="10"/>
                  </a:cubicBezTo>
                  <a:cubicBezTo>
                    <a:pt x="4" y="6"/>
                    <a:pt x="8" y="3"/>
                    <a:pt x="12" y="1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5" y="0"/>
                    <a:pt x="32" y="5"/>
                    <a:pt x="34" y="12"/>
                  </a:cubicBezTo>
                  <a:cubicBezTo>
                    <a:pt x="36" y="17"/>
                    <a:pt x="35" y="21"/>
                    <a:pt x="33" y="25"/>
                  </a:cubicBezTo>
                  <a:cubicBezTo>
                    <a:pt x="31" y="30"/>
                    <a:pt x="28" y="33"/>
                    <a:pt x="23" y="34"/>
                  </a:cubicBezTo>
                  <a:cubicBezTo>
                    <a:pt x="21" y="35"/>
                    <a:pt x="20" y="35"/>
                    <a:pt x="18" y="35"/>
                  </a:cubicBezTo>
                  <a:close/>
                  <a:moveTo>
                    <a:pt x="18" y="4"/>
                  </a:moveTo>
                  <a:cubicBezTo>
                    <a:pt x="16" y="4"/>
                    <a:pt x="15" y="4"/>
                    <a:pt x="13" y="5"/>
                  </a:cubicBezTo>
                  <a:cubicBezTo>
                    <a:pt x="10" y="6"/>
                    <a:pt x="7" y="8"/>
                    <a:pt x="5" y="12"/>
                  </a:cubicBezTo>
                  <a:cubicBezTo>
                    <a:pt x="4" y="15"/>
                    <a:pt x="3" y="19"/>
                    <a:pt x="5" y="22"/>
                  </a:cubicBezTo>
                  <a:cubicBezTo>
                    <a:pt x="7" y="28"/>
                    <a:pt x="12" y="32"/>
                    <a:pt x="18" y="32"/>
                  </a:cubicBezTo>
                  <a:cubicBezTo>
                    <a:pt x="19" y="32"/>
                    <a:pt x="21" y="31"/>
                    <a:pt x="22" y="31"/>
                  </a:cubicBezTo>
                  <a:cubicBezTo>
                    <a:pt x="26" y="30"/>
                    <a:pt x="28" y="27"/>
                    <a:pt x="30" y="24"/>
                  </a:cubicBezTo>
                  <a:cubicBezTo>
                    <a:pt x="32" y="21"/>
                    <a:pt x="32" y="17"/>
                    <a:pt x="31" y="13"/>
                  </a:cubicBezTo>
                  <a:cubicBezTo>
                    <a:pt x="29" y="8"/>
                    <a:pt x="24" y="4"/>
                    <a:pt x="18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0" name="Freeform 118"/>
            <p:cNvSpPr>
              <a:spLocks/>
            </p:cNvSpPr>
            <p:nvPr/>
          </p:nvSpPr>
          <p:spPr bwMode="auto">
            <a:xfrm>
              <a:off x="515" y="2093"/>
              <a:ext cx="115" cy="45"/>
            </a:xfrm>
            <a:custGeom>
              <a:avLst/>
              <a:gdLst/>
              <a:ahLst/>
              <a:cxnLst>
                <a:cxn ang="0">
                  <a:pos x="2" y="45"/>
                </a:cxn>
                <a:cxn ang="0">
                  <a:pos x="0" y="38"/>
                </a:cxn>
                <a:cxn ang="0">
                  <a:pos x="112" y="0"/>
                </a:cxn>
                <a:cxn ang="0">
                  <a:pos x="115" y="7"/>
                </a:cxn>
                <a:cxn ang="0">
                  <a:pos x="2" y="45"/>
                </a:cxn>
              </a:cxnLst>
              <a:rect l="0" t="0" r="r" b="b"/>
              <a:pathLst>
                <a:path w="115" h="45">
                  <a:moveTo>
                    <a:pt x="2" y="45"/>
                  </a:moveTo>
                  <a:lnTo>
                    <a:pt x="0" y="38"/>
                  </a:lnTo>
                  <a:lnTo>
                    <a:pt x="112" y="0"/>
                  </a:lnTo>
                  <a:lnTo>
                    <a:pt x="115" y="7"/>
                  </a:lnTo>
                  <a:lnTo>
                    <a:pt x="2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1" name="Freeform 119"/>
            <p:cNvSpPr>
              <a:spLocks noEditPoints="1"/>
            </p:cNvSpPr>
            <p:nvPr/>
          </p:nvSpPr>
          <p:spPr bwMode="auto">
            <a:xfrm>
              <a:off x="448" y="1973"/>
              <a:ext cx="175" cy="146"/>
            </a:xfrm>
            <a:custGeom>
              <a:avLst/>
              <a:gdLst/>
              <a:ahLst/>
              <a:cxnLst>
                <a:cxn ang="0">
                  <a:pos x="32" y="61"/>
                </a:cxn>
                <a:cxn ang="0">
                  <a:pos x="32" y="60"/>
                </a:cxn>
                <a:cxn ang="0">
                  <a:pos x="16" y="49"/>
                </a:cxn>
                <a:cxn ang="0">
                  <a:pos x="13" y="49"/>
                </a:cxn>
                <a:cxn ang="0">
                  <a:pos x="11" y="50"/>
                </a:cxn>
                <a:cxn ang="0">
                  <a:pos x="10" y="48"/>
                </a:cxn>
                <a:cxn ang="0">
                  <a:pos x="0" y="19"/>
                </a:cxn>
                <a:cxn ang="0">
                  <a:pos x="57" y="0"/>
                </a:cxn>
                <a:cxn ang="0">
                  <a:pos x="73" y="47"/>
                </a:cxn>
                <a:cxn ang="0">
                  <a:pos x="32" y="61"/>
                </a:cxn>
                <a:cxn ang="0">
                  <a:pos x="16" y="45"/>
                </a:cxn>
                <a:cxn ang="0">
                  <a:pos x="34" y="57"/>
                </a:cxn>
                <a:cxn ang="0">
                  <a:pos x="69" y="45"/>
                </a:cxn>
                <a:cxn ang="0">
                  <a:pos x="55" y="4"/>
                </a:cxn>
                <a:cxn ang="0">
                  <a:pos x="5" y="21"/>
                </a:cxn>
                <a:cxn ang="0">
                  <a:pos x="13" y="46"/>
                </a:cxn>
                <a:cxn ang="0">
                  <a:pos x="16" y="45"/>
                </a:cxn>
              </a:cxnLst>
              <a:rect l="0" t="0" r="r" b="b"/>
              <a:pathLst>
                <a:path w="73" h="61">
                  <a:moveTo>
                    <a:pt x="32" y="61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28" y="51"/>
                    <a:pt x="21" y="49"/>
                    <a:pt x="16" y="49"/>
                  </a:cubicBezTo>
                  <a:cubicBezTo>
                    <a:pt x="14" y="49"/>
                    <a:pt x="13" y="49"/>
                    <a:pt x="13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3" y="47"/>
                    <a:pt x="73" y="47"/>
                    <a:pt x="73" y="47"/>
                  </a:cubicBezTo>
                  <a:lnTo>
                    <a:pt x="32" y="61"/>
                  </a:lnTo>
                  <a:close/>
                  <a:moveTo>
                    <a:pt x="16" y="45"/>
                  </a:moveTo>
                  <a:cubicBezTo>
                    <a:pt x="21" y="45"/>
                    <a:pt x="29" y="47"/>
                    <a:pt x="34" y="57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4" y="46"/>
                    <a:pt x="15" y="45"/>
                    <a:pt x="16" y="4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2" name="Freeform 120"/>
            <p:cNvSpPr>
              <a:spLocks noEditPoints="1"/>
            </p:cNvSpPr>
            <p:nvPr/>
          </p:nvSpPr>
          <p:spPr bwMode="auto">
            <a:xfrm>
              <a:off x="412" y="1873"/>
              <a:ext cx="139" cy="138"/>
            </a:xfrm>
            <a:custGeom>
              <a:avLst/>
              <a:gdLst/>
              <a:ahLst/>
              <a:cxnLst>
                <a:cxn ang="0">
                  <a:pos x="33" y="138"/>
                </a:cxn>
                <a:cxn ang="0">
                  <a:pos x="0" y="36"/>
                </a:cxn>
                <a:cxn ang="0">
                  <a:pos x="105" y="0"/>
                </a:cxn>
                <a:cxn ang="0">
                  <a:pos x="139" y="103"/>
                </a:cxn>
                <a:cxn ang="0">
                  <a:pos x="33" y="138"/>
                </a:cxn>
                <a:cxn ang="0">
                  <a:pos x="9" y="43"/>
                </a:cxn>
                <a:cxn ang="0">
                  <a:pos x="40" y="126"/>
                </a:cxn>
                <a:cxn ang="0">
                  <a:pos x="129" y="98"/>
                </a:cxn>
                <a:cxn ang="0">
                  <a:pos x="100" y="12"/>
                </a:cxn>
                <a:cxn ang="0">
                  <a:pos x="9" y="43"/>
                </a:cxn>
              </a:cxnLst>
              <a:rect l="0" t="0" r="r" b="b"/>
              <a:pathLst>
                <a:path w="139" h="138">
                  <a:moveTo>
                    <a:pt x="33" y="138"/>
                  </a:moveTo>
                  <a:lnTo>
                    <a:pt x="0" y="36"/>
                  </a:lnTo>
                  <a:lnTo>
                    <a:pt x="105" y="0"/>
                  </a:lnTo>
                  <a:lnTo>
                    <a:pt x="139" y="103"/>
                  </a:lnTo>
                  <a:lnTo>
                    <a:pt x="33" y="138"/>
                  </a:lnTo>
                  <a:close/>
                  <a:moveTo>
                    <a:pt x="9" y="43"/>
                  </a:moveTo>
                  <a:lnTo>
                    <a:pt x="40" y="126"/>
                  </a:lnTo>
                  <a:lnTo>
                    <a:pt x="129" y="98"/>
                  </a:lnTo>
                  <a:lnTo>
                    <a:pt x="100" y="12"/>
                  </a:lnTo>
                  <a:lnTo>
                    <a:pt x="9" y="4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395" name="Group 123"/>
          <p:cNvGrpSpPr>
            <a:grpSpLocks noChangeAspect="1"/>
          </p:cNvGrpSpPr>
          <p:nvPr/>
        </p:nvGrpSpPr>
        <p:grpSpPr bwMode="auto">
          <a:xfrm>
            <a:off x="1454944" y="2805113"/>
            <a:ext cx="784224" cy="784225"/>
            <a:chOff x="924" y="1767"/>
            <a:chExt cx="494" cy="494"/>
          </a:xfrm>
        </p:grpSpPr>
        <p:sp>
          <p:nvSpPr>
            <p:cNvPr id="54396" name="Freeform 124"/>
            <p:cNvSpPr>
              <a:spLocks noEditPoints="1"/>
            </p:cNvSpPr>
            <p:nvPr/>
          </p:nvSpPr>
          <p:spPr bwMode="auto">
            <a:xfrm>
              <a:off x="924" y="1767"/>
              <a:ext cx="494" cy="494"/>
            </a:xfrm>
            <a:custGeom>
              <a:avLst/>
              <a:gdLst/>
              <a:ahLst/>
              <a:cxnLst>
                <a:cxn ang="0">
                  <a:pos x="103" y="206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6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1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6" y="206"/>
                    <a:pt x="0" y="160"/>
                    <a:pt x="0" y="103"/>
                  </a:cubicBezTo>
                  <a:cubicBezTo>
                    <a:pt x="0" y="46"/>
                    <a:pt x="46" y="0"/>
                    <a:pt x="103" y="0"/>
                  </a:cubicBezTo>
                  <a:cubicBezTo>
                    <a:pt x="160" y="0"/>
                    <a:pt x="206" y="46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7"/>
                    <a:pt x="49" y="201"/>
                    <a:pt x="103" y="201"/>
                  </a:cubicBezTo>
                  <a:cubicBezTo>
                    <a:pt x="157" y="201"/>
                    <a:pt x="201" y="157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7" name="Freeform 125"/>
            <p:cNvSpPr>
              <a:spLocks/>
            </p:cNvSpPr>
            <p:nvPr/>
          </p:nvSpPr>
          <p:spPr bwMode="auto">
            <a:xfrm>
              <a:off x="1040" y="1870"/>
              <a:ext cx="122" cy="244"/>
            </a:xfrm>
            <a:custGeom>
              <a:avLst/>
              <a:gdLst/>
              <a:ahLst/>
              <a:cxnLst>
                <a:cxn ang="0">
                  <a:pos x="112" y="244"/>
                </a:cxn>
                <a:cxn ang="0">
                  <a:pos x="33" y="12"/>
                </a:cxn>
                <a:cxn ang="0">
                  <a:pos x="2" y="24"/>
                </a:cxn>
                <a:cxn ang="0">
                  <a:pos x="0" y="14"/>
                </a:cxn>
                <a:cxn ang="0">
                  <a:pos x="38" y="0"/>
                </a:cxn>
                <a:cxn ang="0">
                  <a:pos x="122" y="240"/>
                </a:cxn>
                <a:cxn ang="0">
                  <a:pos x="112" y="244"/>
                </a:cxn>
              </a:cxnLst>
              <a:rect l="0" t="0" r="r" b="b"/>
              <a:pathLst>
                <a:path w="122" h="244">
                  <a:moveTo>
                    <a:pt x="112" y="244"/>
                  </a:moveTo>
                  <a:lnTo>
                    <a:pt x="33" y="12"/>
                  </a:lnTo>
                  <a:lnTo>
                    <a:pt x="2" y="24"/>
                  </a:lnTo>
                  <a:lnTo>
                    <a:pt x="0" y="14"/>
                  </a:lnTo>
                  <a:lnTo>
                    <a:pt x="38" y="0"/>
                  </a:lnTo>
                  <a:lnTo>
                    <a:pt x="122" y="240"/>
                  </a:lnTo>
                  <a:lnTo>
                    <a:pt x="112" y="2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8" name="Freeform 126"/>
            <p:cNvSpPr>
              <a:spLocks noEditPoints="1"/>
            </p:cNvSpPr>
            <p:nvPr/>
          </p:nvSpPr>
          <p:spPr bwMode="auto">
            <a:xfrm>
              <a:off x="1126" y="2105"/>
              <a:ext cx="86" cy="84"/>
            </a:xfrm>
            <a:custGeom>
              <a:avLst/>
              <a:gdLst/>
              <a:ahLst/>
              <a:cxnLst>
                <a:cxn ang="0">
                  <a:pos x="18" y="35"/>
                </a:cxn>
                <a:cxn ang="0">
                  <a:pos x="2" y="23"/>
                </a:cxn>
                <a:cxn ang="0">
                  <a:pos x="3" y="10"/>
                </a:cxn>
                <a:cxn ang="0">
                  <a:pos x="13" y="1"/>
                </a:cxn>
                <a:cxn ang="0">
                  <a:pos x="18" y="0"/>
                </a:cxn>
                <a:cxn ang="0">
                  <a:pos x="35" y="12"/>
                </a:cxn>
                <a:cxn ang="0">
                  <a:pos x="34" y="25"/>
                </a:cxn>
                <a:cxn ang="0">
                  <a:pos x="24" y="34"/>
                </a:cxn>
                <a:cxn ang="0">
                  <a:pos x="18" y="35"/>
                </a:cxn>
                <a:cxn ang="0">
                  <a:pos x="18" y="4"/>
                </a:cxn>
                <a:cxn ang="0">
                  <a:pos x="14" y="5"/>
                </a:cxn>
                <a:cxn ang="0">
                  <a:pos x="6" y="12"/>
                </a:cxn>
                <a:cxn ang="0">
                  <a:pos x="5" y="22"/>
                </a:cxn>
                <a:cxn ang="0">
                  <a:pos x="18" y="32"/>
                </a:cxn>
                <a:cxn ang="0">
                  <a:pos x="23" y="31"/>
                </a:cxn>
                <a:cxn ang="0">
                  <a:pos x="31" y="24"/>
                </a:cxn>
                <a:cxn ang="0">
                  <a:pos x="31" y="13"/>
                </a:cxn>
                <a:cxn ang="0">
                  <a:pos x="18" y="4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cubicBezTo>
                    <a:pt x="11" y="35"/>
                    <a:pt x="4" y="31"/>
                    <a:pt x="2" y="23"/>
                  </a:cubicBezTo>
                  <a:cubicBezTo>
                    <a:pt x="0" y="19"/>
                    <a:pt x="1" y="14"/>
                    <a:pt x="3" y="10"/>
                  </a:cubicBezTo>
                  <a:cubicBezTo>
                    <a:pt x="5" y="6"/>
                    <a:pt x="8" y="3"/>
                    <a:pt x="13" y="1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6" y="0"/>
                    <a:pt x="32" y="5"/>
                    <a:pt x="35" y="12"/>
                  </a:cubicBezTo>
                  <a:cubicBezTo>
                    <a:pt x="36" y="17"/>
                    <a:pt x="36" y="21"/>
                    <a:pt x="34" y="25"/>
                  </a:cubicBezTo>
                  <a:cubicBezTo>
                    <a:pt x="32" y="30"/>
                    <a:pt x="28" y="33"/>
                    <a:pt x="24" y="34"/>
                  </a:cubicBezTo>
                  <a:cubicBezTo>
                    <a:pt x="22" y="35"/>
                    <a:pt x="20" y="35"/>
                    <a:pt x="18" y="35"/>
                  </a:cubicBezTo>
                  <a:close/>
                  <a:moveTo>
                    <a:pt x="18" y="4"/>
                  </a:moveTo>
                  <a:cubicBezTo>
                    <a:pt x="17" y="4"/>
                    <a:pt x="15" y="4"/>
                    <a:pt x="14" y="5"/>
                  </a:cubicBezTo>
                  <a:cubicBezTo>
                    <a:pt x="10" y="6"/>
                    <a:pt x="7" y="8"/>
                    <a:pt x="6" y="12"/>
                  </a:cubicBezTo>
                  <a:cubicBezTo>
                    <a:pt x="4" y="15"/>
                    <a:pt x="4" y="19"/>
                    <a:pt x="5" y="22"/>
                  </a:cubicBezTo>
                  <a:cubicBezTo>
                    <a:pt x="7" y="28"/>
                    <a:pt x="12" y="32"/>
                    <a:pt x="18" y="32"/>
                  </a:cubicBezTo>
                  <a:cubicBezTo>
                    <a:pt x="20" y="32"/>
                    <a:pt x="21" y="31"/>
                    <a:pt x="23" y="31"/>
                  </a:cubicBezTo>
                  <a:cubicBezTo>
                    <a:pt x="26" y="30"/>
                    <a:pt x="29" y="27"/>
                    <a:pt x="31" y="24"/>
                  </a:cubicBezTo>
                  <a:cubicBezTo>
                    <a:pt x="32" y="21"/>
                    <a:pt x="32" y="17"/>
                    <a:pt x="31" y="13"/>
                  </a:cubicBezTo>
                  <a:cubicBezTo>
                    <a:pt x="29" y="8"/>
                    <a:pt x="24" y="4"/>
                    <a:pt x="18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99" name="Freeform 127"/>
            <p:cNvSpPr>
              <a:spLocks/>
            </p:cNvSpPr>
            <p:nvPr/>
          </p:nvSpPr>
          <p:spPr bwMode="auto">
            <a:xfrm>
              <a:off x="1203" y="2093"/>
              <a:ext cx="115" cy="45"/>
            </a:xfrm>
            <a:custGeom>
              <a:avLst/>
              <a:gdLst/>
              <a:ahLst/>
              <a:cxnLst>
                <a:cxn ang="0">
                  <a:pos x="4" y="45"/>
                </a:cxn>
                <a:cxn ang="0">
                  <a:pos x="0" y="38"/>
                </a:cxn>
                <a:cxn ang="0">
                  <a:pos x="112" y="0"/>
                </a:cxn>
                <a:cxn ang="0">
                  <a:pos x="115" y="7"/>
                </a:cxn>
                <a:cxn ang="0">
                  <a:pos x="4" y="45"/>
                </a:cxn>
              </a:cxnLst>
              <a:rect l="0" t="0" r="r" b="b"/>
              <a:pathLst>
                <a:path w="115" h="45">
                  <a:moveTo>
                    <a:pt x="4" y="45"/>
                  </a:moveTo>
                  <a:lnTo>
                    <a:pt x="0" y="38"/>
                  </a:lnTo>
                  <a:lnTo>
                    <a:pt x="112" y="0"/>
                  </a:lnTo>
                  <a:lnTo>
                    <a:pt x="115" y="7"/>
                  </a:lnTo>
                  <a:lnTo>
                    <a:pt x="4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00" name="Freeform 128"/>
            <p:cNvSpPr>
              <a:spLocks noEditPoints="1"/>
            </p:cNvSpPr>
            <p:nvPr/>
          </p:nvSpPr>
          <p:spPr bwMode="auto">
            <a:xfrm>
              <a:off x="1138" y="1973"/>
              <a:ext cx="175" cy="146"/>
            </a:xfrm>
            <a:custGeom>
              <a:avLst/>
              <a:gdLst/>
              <a:ahLst/>
              <a:cxnLst>
                <a:cxn ang="0">
                  <a:pos x="32" y="61"/>
                </a:cxn>
                <a:cxn ang="0">
                  <a:pos x="31" y="60"/>
                </a:cxn>
                <a:cxn ang="0">
                  <a:pos x="16" y="49"/>
                </a:cxn>
                <a:cxn ang="0">
                  <a:pos x="12" y="49"/>
                </a:cxn>
                <a:cxn ang="0">
                  <a:pos x="11" y="50"/>
                </a:cxn>
                <a:cxn ang="0">
                  <a:pos x="10" y="48"/>
                </a:cxn>
                <a:cxn ang="0">
                  <a:pos x="0" y="19"/>
                </a:cxn>
                <a:cxn ang="0">
                  <a:pos x="57" y="0"/>
                </a:cxn>
                <a:cxn ang="0">
                  <a:pos x="73" y="47"/>
                </a:cxn>
                <a:cxn ang="0">
                  <a:pos x="32" y="61"/>
                </a:cxn>
                <a:cxn ang="0">
                  <a:pos x="16" y="45"/>
                </a:cxn>
                <a:cxn ang="0">
                  <a:pos x="34" y="57"/>
                </a:cxn>
                <a:cxn ang="0">
                  <a:pos x="68" y="45"/>
                </a:cxn>
                <a:cxn ang="0">
                  <a:pos x="54" y="4"/>
                </a:cxn>
                <a:cxn ang="0">
                  <a:pos x="5" y="21"/>
                </a:cxn>
                <a:cxn ang="0">
                  <a:pos x="13" y="46"/>
                </a:cxn>
                <a:cxn ang="0">
                  <a:pos x="16" y="45"/>
                </a:cxn>
              </a:cxnLst>
              <a:rect l="0" t="0" r="r" b="b"/>
              <a:pathLst>
                <a:path w="73" h="61">
                  <a:moveTo>
                    <a:pt x="32" y="61"/>
                  </a:moveTo>
                  <a:cubicBezTo>
                    <a:pt x="31" y="60"/>
                    <a:pt x="31" y="60"/>
                    <a:pt x="31" y="60"/>
                  </a:cubicBezTo>
                  <a:cubicBezTo>
                    <a:pt x="27" y="51"/>
                    <a:pt x="21" y="49"/>
                    <a:pt x="16" y="49"/>
                  </a:cubicBezTo>
                  <a:cubicBezTo>
                    <a:pt x="14" y="49"/>
                    <a:pt x="12" y="49"/>
                    <a:pt x="12" y="49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3" y="47"/>
                    <a:pt x="73" y="47"/>
                    <a:pt x="73" y="47"/>
                  </a:cubicBezTo>
                  <a:lnTo>
                    <a:pt x="32" y="61"/>
                  </a:lnTo>
                  <a:close/>
                  <a:moveTo>
                    <a:pt x="16" y="45"/>
                  </a:moveTo>
                  <a:cubicBezTo>
                    <a:pt x="20" y="45"/>
                    <a:pt x="29" y="47"/>
                    <a:pt x="34" y="57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4" y="46"/>
                    <a:pt x="15" y="45"/>
                    <a:pt x="16" y="4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01" name="Freeform 129"/>
            <p:cNvSpPr>
              <a:spLocks noEditPoints="1"/>
            </p:cNvSpPr>
            <p:nvPr/>
          </p:nvSpPr>
          <p:spPr bwMode="auto">
            <a:xfrm>
              <a:off x="1099" y="1872"/>
              <a:ext cx="142" cy="139"/>
            </a:xfrm>
            <a:custGeom>
              <a:avLst/>
              <a:gdLst/>
              <a:ahLst/>
              <a:cxnLst>
                <a:cxn ang="0">
                  <a:pos x="36" y="139"/>
                </a:cxn>
                <a:cxn ang="0">
                  <a:pos x="0" y="36"/>
                </a:cxn>
                <a:cxn ang="0">
                  <a:pos x="106" y="0"/>
                </a:cxn>
                <a:cxn ang="0">
                  <a:pos x="142" y="103"/>
                </a:cxn>
                <a:cxn ang="0">
                  <a:pos x="36" y="139"/>
                </a:cxn>
                <a:cxn ang="0">
                  <a:pos x="12" y="44"/>
                </a:cxn>
                <a:cxn ang="0">
                  <a:pos x="41" y="127"/>
                </a:cxn>
                <a:cxn ang="0">
                  <a:pos x="130" y="99"/>
                </a:cxn>
                <a:cxn ang="0">
                  <a:pos x="101" y="12"/>
                </a:cxn>
                <a:cxn ang="0">
                  <a:pos x="12" y="44"/>
                </a:cxn>
              </a:cxnLst>
              <a:rect l="0" t="0" r="r" b="b"/>
              <a:pathLst>
                <a:path w="142" h="139">
                  <a:moveTo>
                    <a:pt x="36" y="139"/>
                  </a:moveTo>
                  <a:lnTo>
                    <a:pt x="0" y="36"/>
                  </a:lnTo>
                  <a:lnTo>
                    <a:pt x="106" y="0"/>
                  </a:lnTo>
                  <a:lnTo>
                    <a:pt x="142" y="103"/>
                  </a:lnTo>
                  <a:lnTo>
                    <a:pt x="36" y="139"/>
                  </a:lnTo>
                  <a:close/>
                  <a:moveTo>
                    <a:pt x="12" y="44"/>
                  </a:moveTo>
                  <a:lnTo>
                    <a:pt x="41" y="127"/>
                  </a:lnTo>
                  <a:lnTo>
                    <a:pt x="130" y="99"/>
                  </a:lnTo>
                  <a:lnTo>
                    <a:pt x="101" y="12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404" name="Group 132"/>
          <p:cNvGrpSpPr>
            <a:grpSpLocks noChangeAspect="1"/>
          </p:cNvGrpSpPr>
          <p:nvPr/>
        </p:nvGrpSpPr>
        <p:grpSpPr bwMode="auto">
          <a:xfrm>
            <a:off x="2521744" y="2773363"/>
            <a:ext cx="855662" cy="850900"/>
            <a:chOff x="1593" y="1747"/>
            <a:chExt cx="539" cy="536"/>
          </a:xfrm>
        </p:grpSpPr>
        <p:sp>
          <p:nvSpPr>
            <p:cNvPr id="54405" name="Oval 133"/>
            <p:cNvSpPr>
              <a:spLocks noChangeArrowheads="1"/>
            </p:cNvSpPr>
            <p:nvPr/>
          </p:nvSpPr>
          <p:spPr bwMode="auto">
            <a:xfrm>
              <a:off x="1593" y="1747"/>
              <a:ext cx="539" cy="53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06" name="Freeform 134"/>
            <p:cNvSpPr>
              <a:spLocks noEditPoints="1"/>
            </p:cNvSpPr>
            <p:nvPr/>
          </p:nvSpPr>
          <p:spPr bwMode="auto">
            <a:xfrm>
              <a:off x="1615" y="1766"/>
              <a:ext cx="496" cy="498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8"/>
                </a:cxn>
                <a:cxn ang="0">
                  <a:pos x="207" y="104"/>
                </a:cxn>
                <a:cxn ang="0">
                  <a:pos x="103" y="0"/>
                </a:cxn>
                <a:cxn ang="0">
                  <a:pos x="103" y="203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2" y="104"/>
                </a:cxn>
                <a:cxn ang="0">
                  <a:pos x="103" y="203"/>
                </a:cxn>
              </a:cxnLst>
              <a:rect l="0" t="0" r="r" b="b"/>
              <a:pathLst>
                <a:path w="207" h="208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3" y="208"/>
                  </a:cubicBezTo>
                  <a:cubicBezTo>
                    <a:pt x="160" y="208"/>
                    <a:pt x="207" y="161"/>
                    <a:pt x="207" y="104"/>
                  </a:cubicBezTo>
                  <a:cubicBezTo>
                    <a:pt x="207" y="47"/>
                    <a:pt x="160" y="0"/>
                    <a:pt x="103" y="0"/>
                  </a:cubicBezTo>
                  <a:close/>
                  <a:moveTo>
                    <a:pt x="103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3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3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07" name="Rectangle 135"/>
            <p:cNvSpPr>
              <a:spLocks noChangeArrowheads="1"/>
            </p:cNvSpPr>
            <p:nvPr/>
          </p:nvSpPr>
          <p:spPr bwMode="auto">
            <a:xfrm>
              <a:off x="1922" y="1950"/>
              <a:ext cx="14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08" name="Rectangle 136"/>
            <p:cNvSpPr>
              <a:spLocks noChangeArrowheads="1"/>
            </p:cNvSpPr>
            <p:nvPr/>
          </p:nvSpPr>
          <p:spPr bwMode="auto">
            <a:xfrm>
              <a:off x="1960" y="1950"/>
              <a:ext cx="12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09" name="Rectangle 137"/>
            <p:cNvSpPr>
              <a:spLocks noChangeArrowheads="1"/>
            </p:cNvSpPr>
            <p:nvPr/>
          </p:nvSpPr>
          <p:spPr bwMode="auto">
            <a:xfrm>
              <a:off x="1922" y="1991"/>
              <a:ext cx="14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0" name="Rectangle 138"/>
            <p:cNvSpPr>
              <a:spLocks noChangeArrowheads="1"/>
            </p:cNvSpPr>
            <p:nvPr/>
          </p:nvSpPr>
          <p:spPr bwMode="auto">
            <a:xfrm>
              <a:off x="1960" y="1991"/>
              <a:ext cx="12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1" name="Rectangle 139"/>
            <p:cNvSpPr>
              <a:spLocks noChangeArrowheads="1"/>
            </p:cNvSpPr>
            <p:nvPr/>
          </p:nvSpPr>
          <p:spPr bwMode="auto">
            <a:xfrm>
              <a:off x="1922" y="2032"/>
              <a:ext cx="14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2" name="Rectangle 140"/>
            <p:cNvSpPr>
              <a:spLocks noChangeArrowheads="1"/>
            </p:cNvSpPr>
            <p:nvPr/>
          </p:nvSpPr>
          <p:spPr bwMode="auto">
            <a:xfrm>
              <a:off x="1960" y="2032"/>
              <a:ext cx="12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3" name="Rectangle 141"/>
            <p:cNvSpPr>
              <a:spLocks noChangeArrowheads="1"/>
            </p:cNvSpPr>
            <p:nvPr/>
          </p:nvSpPr>
          <p:spPr bwMode="auto">
            <a:xfrm>
              <a:off x="1922" y="2068"/>
              <a:ext cx="14" cy="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4" name="Rectangle 142"/>
            <p:cNvSpPr>
              <a:spLocks noChangeArrowheads="1"/>
            </p:cNvSpPr>
            <p:nvPr/>
          </p:nvSpPr>
          <p:spPr bwMode="auto">
            <a:xfrm>
              <a:off x="1960" y="2068"/>
              <a:ext cx="12" cy="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5" name="Freeform 143"/>
            <p:cNvSpPr>
              <a:spLocks noEditPoints="1"/>
            </p:cNvSpPr>
            <p:nvPr/>
          </p:nvSpPr>
          <p:spPr bwMode="auto">
            <a:xfrm>
              <a:off x="1869" y="1900"/>
              <a:ext cx="156" cy="225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53" y="0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1" y="12"/>
                </a:cxn>
                <a:cxn ang="0">
                  <a:pos x="0" y="14"/>
                </a:cxn>
                <a:cxn ang="0">
                  <a:pos x="2" y="15"/>
                </a:cxn>
                <a:cxn ang="0">
                  <a:pos x="9" y="15"/>
                </a:cxn>
                <a:cxn ang="0">
                  <a:pos x="9" y="94"/>
                </a:cxn>
                <a:cxn ang="0">
                  <a:pos x="56" y="94"/>
                </a:cxn>
                <a:cxn ang="0">
                  <a:pos x="56" y="15"/>
                </a:cxn>
                <a:cxn ang="0">
                  <a:pos x="63" y="15"/>
                </a:cxn>
                <a:cxn ang="0">
                  <a:pos x="65" y="14"/>
                </a:cxn>
                <a:cxn ang="0">
                  <a:pos x="65" y="12"/>
                </a:cxn>
                <a:cxn ang="0">
                  <a:pos x="55" y="0"/>
                </a:cxn>
                <a:cxn ang="0">
                  <a:pos x="52" y="90"/>
                </a:cxn>
                <a:cxn ang="0">
                  <a:pos x="36" y="90"/>
                </a:cxn>
                <a:cxn ang="0">
                  <a:pos x="36" y="81"/>
                </a:cxn>
                <a:cxn ang="0">
                  <a:pos x="30" y="81"/>
                </a:cxn>
                <a:cxn ang="0">
                  <a:pos x="30" y="90"/>
                </a:cxn>
                <a:cxn ang="0">
                  <a:pos x="13" y="90"/>
                </a:cxn>
                <a:cxn ang="0">
                  <a:pos x="13" y="15"/>
                </a:cxn>
                <a:cxn ang="0">
                  <a:pos x="52" y="15"/>
                </a:cxn>
                <a:cxn ang="0">
                  <a:pos x="52" y="90"/>
                </a:cxn>
                <a:cxn ang="0">
                  <a:pos x="56" y="11"/>
                </a:cxn>
                <a:cxn ang="0">
                  <a:pos x="54" y="11"/>
                </a:cxn>
                <a:cxn ang="0">
                  <a:pos x="11" y="11"/>
                </a:cxn>
                <a:cxn ang="0">
                  <a:pos x="9" y="11"/>
                </a:cxn>
                <a:cxn ang="0">
                  <a:pos x="6" y="11"/>
                </a:cxn>
                <a:cxn ang="0">
                  <a:pos x="13" y="3"/>
                </a:cxn>
                <a:cxn ang="0">
                  <a:pos x="53" y="3"/>
                </a:cxn>
                <a:cxn ang="0">
                  <a:pos x="59" y="11"/>
                </a:cxn>
                <a:cxn ang="0">
                  <a:pos x="56" y="11"/>
                </a:cxn>
              </a:cxnLst>
              <a:rect l="0" t="0" r="r" b="b"/>
              <a:pathLst>
                <a:path w="65" h="94">
                  <a:moveTo>
                    <a:pt x="55" y="0"/>
                  </a:moveTo>
                  <a:cubicBezTo>
                    <a:pt x="55" y="0"/>
                    <a:pt x="54" y="0"/>
                    <a:pt x="5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3"/>
                    <a:pt x="0" y="14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5"/>
                    <a:pt x="65" y="15"/>
                    <a:pt x="65" y="14"/>
                  </a:cubicBezTo>
                  <a:cubicBezTo>
                    <a:pt x="65" y="13"/>
                    <a:pt x="65" y="13"/>
                    <a:pt x="65" y="12"/>
                  </a:cubicBezTo>
                  <a:lnTo>
                    <a:pt x="55" y="0"/>
                  </a:lnTo>
                  <a:close/>
                  <a:moveTo>
                    <a:pt x="52" y="90"/>
                  </a:moveTo>
                  <a:cubicBezTo>
                    <a:pt x="36" y="90"/>
                    <a:pt x="36" y="90"/>
                    <a:pt x="36" y="90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52" y="15"/>
                    <a:pt x="52" y="15"/>
                    <a:pt x="52" y="15"/>
                  </a:cubicBezTo>
                  <a:lnTo>
                    <a:pt x="52" y="90"/>
                  </a:lnTo>
                  <a:close/>
                  <a:moveTo>
                    <a:pt x="56" y="11"/>
                  </a:moveTo>
                  <a:cubicBezTo>
                    <a:pt x="54" y="11"/>
                    <a:pt x="54" y="11"/>
                    <a:pt x="54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9" y="11"/>
                    <a:pt x="59" y="11"/>
                    <a:pt x="59" y="11"/>
                  </a:cubicBezTo>
                  <a:lnTo>
                    <a:pt x="56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6" name="Rectangle 144"/>
            <p:cNvSpPr>
              <a:spLocks noChangeArrowheads="1"/>
            </p:cNvSpPr>
            <p:nvPr/>
          </p:nvSpPr>
          <p:spPr bwMode="auto">
            <a:xfrm>
              <a:off x="1751" y="1950"/>
              <a:ext cx="15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7" name="Rectangle 145"/>
            <p:cNvSpPr>
              <a:spLocks noChangeArrowheads="1"/>
            </p:cNvSpPr>
            <p:nvPr/>
          </p:nvSpPr>
          <p:spPr bwMode="auto">
            <a:xfrm>
              <a:off x="1790" y="1950"/>
              <a:ext cx="14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8" name="Rectangle 146"/>
            <p:cNvSpPr>
              <a:spLocks noChangeArrowheads="1"/>
            </p:cNvSpPr>
            <p:nvPr/>
          </p:nvSpPr>
          <p:spPr bwMode="auto">
            <a:xfrm>
              <a:off x="1751" y="1991"/>
              <a:ext cx="15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19" name="Rectangle 147"/>
            <p:cNvSpPr>
              <a:spLocks noChangeArrowheads="1"/>
            </p:cNvSpPr>
            <p:nvPr/>
          </p:nvSpPr>
          <p:spPr bwMode="auto">
            <a:xfrm>
              <a:off x="1790" y="1991"/>
              <a:ext cx="14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0" name="Rectangle 148"/>
            <p:cNvSpPr>
              <a:spLocks noChangeArrowheads="1"/>
            </p:cNvSpPr>
            <p:nvPr/>
          </p:nvSpPr>
          <p:spPr bwMode="auto">
            <a:xfrm>
              <a:off x="1751" y="2032"/>
              <a:ext cx="15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1" name="Rectangle 149"/>
            <p:cNvSpPr>
              <a:spLocks noChangeArrowheads="1"/>
            </p:cNvSpPr>
            <p:nvPr/>
          </p:nvSpPr>
          <p:spPr bwMode="auto">
            <a:xfrm>
              <a:off x="1790" y="2032"/>
              <a:ext cx="14" cy="1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2" name="Rectangle 150"/>
            <p:cNvSpPr>
              <a:spLocks noChangeArrowheads="1"/>
            </p:cNvSpPr>
            <p:nvPr/>
          </p:nvSpPr>
          <p:spPr bwMode="auto">
            <a:xfrm>
              <a:off x="1751" y="2068"/>
              <a:ext cx="15" cy="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3" name="Rectangle 151"/>
            <p:cNvSpPr>
              <a:spLocks noChangeArrowheads="1"/>
            </p:cNvSpPr>
            <p:nvPr/>
          </p:nvSpPr>
          <p:spPr bwMode="auto">
            <a:xfrm>
              <a:off x="1790" y="2068"/>
              <a:ext cx="14" cy="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4" name="Freeform 152"/>
            <p:cNvSpPr>
              <a:spLocks noEditPoints="1"/>
            </p:cNvSpPr>
            <p:nvPr/>
          </p:nvSpPr>
          <p:spPr bwMode="auto">
            <a:xfrm>
              <a:off x="1699" y="1900"/>
              <a:ext cx="155" cy="225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54" y="0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1" y="12"/>
                </a:cxn>
                <a:cxn ang="0">
                  <a:pos x="1" y="14"/>
                </a:cxn>
                <a:cxn ang="0">
                  <a:pos x="2" y="15"/>
                </a:cxn>
                <a:cxn ang="0">
                  <a:pos x="9" y="15"/>
                </a:cxn>
                <a:cxn ang="0">
                  <a:pos x="9" y="94"/>
                </a:cxn>
                <a:cxn ang="0">
                  <a:pos x="56" y="94"/>
                </a:cxn>
                <a:cxn ang="0">
                  <a:pos x="56" y="15"/>
                </a:cxn>
                <a:cxn ang="0">
                  <a:pos x="63" y="15"/>
                </a:cxn>
                <a:cxn ang="0">
                  <a:pos x="65" y="14"/>
                </a:cxn>
                <a:cxn ang="0">
                  <a:pos x="65" y="12"/>
                </a:cxn>
                <a:cxn ang="0">
                  <a:pos x="55" y="0"/>
                </a:cxn>
                <a:cxn ang="0">
                  <a:pos x="53" y="90"/>
                </a:cxn>
                <a:cxn ang="0">
                  <a:pos x="36" y="90"/>
                </a:cxn>
                <a:cxn ang="0">
                  <a:pos x="36" y="81"/>
                </a:cxn>
                <a:cxn ang="0">
                  <a:pos x="30" y="81"/>
                </a:cxn>
                <a:cxn ang="0">
                  <a:pos x="30" y="90"/>
                </a:cxn>
                <a:cxn ang="0">
                  <a:pos x="13" y="90"/>
                </a:cxn>
                <a:cxn ang="0">
                  <a:pos x="13" y="15"/>
                </a:cxn>
                <a:cxn ang="0">
                  <a:pos x="53" y="15"/>
                </a:cxn>
                <a:cxn ang="0">
                  <a:pos x="53" y="90"/>
                </a:cxn>
                <a:cxn ang="0">
                  <a:pos x="56" y="12"/>
                </a:cxn>
                <a:cxn ang="0">
                  <a:pos x="54" y="12"/>
                </a:cxn>
                <a:cxn ang="0">
                  <a:pos x="11" y="12"/>
                </a:cxn>
                <a:cxn ang="0">
                  <a:pos x="9" y="12"/>
                </a:cxn>
                <a:cxn ang="0">
                  <a:pos x="6" y="12"/>
                </a:cxn>
                <a:cxn ang="0">
                  <a:pos x="13" y="3"/>
                </a:cxn>
                <a:cxn ang="0">
                  <a:pos x="53" y="3"/>
                </a:cxn>
                <a:cxn ang="0">
                  <a:pos x="60" y="12"/>
                </a:cxn>
                <a:cxn ang="0">
                  <a:pos x="56" y="12"/>
                </a:cxn>
              </a:cxnLst>
              <a:rect l="0" t="0" r="r" b="b"/>
              <a:pathLst>
                <a:path w="65" h="94">
                  <a:moveTo>
                    <a:pt x="55" y="0"/>
                  </a:moveTo>
                  <a:cubicBezTo>
                    <a:pt x="55" y="0"/>
                    <a:pt x="54" y="0"/>
                    <a:pt x="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5"/>
                    <a:pt x="65" y="15"/>
                    <a:pt x="65" y="14"/>
                  </a:cubicBezTo>
                  <a:cubicBezTo>
                    <a:pt x="65" y="14"/>
                    <a:pt x="65" y="13"/>
                    <a:pt x="65" y="12"/>
                  </a:cubicBezTo>
                  <a:lnTo>
                    <a:pt x="55" y="0"/>
                  </a:lnTo>
                  <a:close/>
                  <a:moveTo>
                    <a:pt x="53" y="90"/>
                  </a:moveTo>
                  <a:cubicBezTo>
                    <a:pt x="36" y="90"/>
                    <a:pt x="36" y="90"/>
                    <a:pt x="36" y="90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53" y="15"/>
                    <a:pt x="53" y="15"/>
                    <a:pt x="53" y="15"/>
                  </a:cubicBezTo>
                  <a:lnTo>
                    <a:pt x="53" y="90"/>
                  </a:lnTo>
                  <a:close/>
                  <a:moveTo>
                    <a:pt x="56" y="12"/>
                  </a:moveTo>
                  <a:cubicBezTo>
                    <a:pt x="54" y="12"/>
                    <a:pt x="54" y="12"/>
                    <a:pt x="54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60" y="12"/>
                    <a:pt x="60" y="12"/>
                    <a:pt x="60" y="12"/>
                  </a:cubicBezTo>
                  <a:lnTo>
                    <a:pt x="56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27" name="Group 155"/>
          <p:cNvGrpSpPr>
            <a:grpSpLocks noChangeAspect="1"/>
          </p:cNvGrpSpPr>
          <p:nvPr/>
        </p:nvGrpSpPr>
        <p:grpSpPr bwMode="auto">
          <a:xfrm>
            <a:off x="3654425" y="2803523"/>
            <a:ext cx="787400" cy="790575"/>
            <a:chOff x="2307" y="1766"/>
            <a:chExt cx="496" cy="498"/>
          </a:xfrm>
        </p:grpSpPr>
        <p:sp>
          <p:nvSpPr>
            <p:cNvPr id="54428" name="Freeform 156"/>
            <p:cNvSpPr>
              <a:spLocks noEditPoints="1"/>
            </p:cNvSpPr>
            <p:nvPr/>
          </p:nvSpPr>
          <p:spPr bwMode="auto">
            <a:xfrm>
              <a:off x="2307" y="1766"/>
              <a:ext cx="496" cy="498"/>
            </a:xfrm>
            <a:custGeom>
              <a:avLst/>
              <a:gdLst/>
              <a:ahLst/>
              <a:cxnLst>
                <a:cxn ang="0">
                  <a:pos x="103" y="208"/>
                </a:cxn>
                <a:cxn ang="0">
                  <a:pos x="0" y="104"/>
                </a:cxn>
                <a:cxn ang="0">
                  <a:pos x="103" y="0"/>
                </a:cxn>
                <a:cxn ang="0">
                  <a:pos x="207" y="104"/>
                </a:cxn>
                <a:cxn ang="0">
                  <a:pos x="103" y="208"/>
                </a:cxn>
                <a:cxn ang="0">
                  <a:pos x="103" y="5"/>
                </a:cxn>
                <a:cxn ang="0">
                  <a:pos x="5" y="104"/>
                </a:cxn>
                <a:cxn ang="0">
                  <a:pos x="103" y="203"/>
                </a:cxn>
                <a:cxn ang="0">
                  <a:pos x="202" y="104"/>
                </a:cxn>
                <a:cxn ang="0">
                  <a:pos x="103" y="5"/>
                </a:cxn>
              </a:cxnLst>
              <a:rect l="0" t="0" r="r" b="b"/>
              <a:pathLst>
                <a:path w="207" h="208">
                  <a:moveTo>
                    <a:pt x="103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7" y="47"/>
                    <a:pt x="207" y="104"/>
                  </a:cubicBezTo>
                  <a:cubicBezTo>
                    <a:pt x="207" y="161"/>
                    <a:pt x="160" y="208"/>
                    <a:pt x="103" y="208"/>
                  </a:cubicBezTo>
                  <a:close/>
                  <a:moveTo>
                    <a:pt x="103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8"/>
                    <a:pt x="49" y="203"/>
                    <a:pt x="103" y="203"/>
                  </a:cubicBezTo>
                  <a:cubicBezTo>
                    <a:pt x="158" y="203"/>
                    <a:pt x="202" y="158"/>
                    <a:pt x="202" y="104"/>
                  </a:cubicBezTo>
                  <a:cubicBezTo>
                    <a:pt x="202" y="50"/>
                    <a:pt x="158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29" name="Freeform 157"/>
            <p:cNvSpPr>
              <a:spLocks noEditPoints="1"/>
            </p:cNvSpPr>
            <p:nvPr/>
          </p:nvSpPr>
          <p:spPr bwMode="auto">
            <a:xfrm>
              <a:off x="2583" y="1927"/>
              <a:ext cx="112" cy="199"/>
            </a:xfrm>
            <a:custGeom>
              <a:avLst/>
              <a:gdLst/>
              <a:ahLst/>
              <a:cxnLst>
                <a:cxn ang="0">
                  <a:pos x="112" y="199"/>
                </a:cxn>
                <a:cxn ang="0">
                  <a:pos x="0" y="199"/>
                </a:cxn>
                <a:cxn ang="0">
                  <a:pos x="0" y="0"/>
                </a:cxn>
                <a:cxn ang="0">
                  <a:pos x="112" y="0"/>
                </a:cxn>
                <a:cxn ang="0">
                  <a:pos x="112" y="199"/>
                </a:cxn>
                <a:cxn ang="0">
                  <a:pos x="9" y="189"/>
                </a:cxn>
                <a:cxn ang="0">
                  <a:pos x="103" y="189"/>
                </a:cxn>
                <a:cxn ang="0">
                  <a:pos x="103" y="9"/>
                </a:cxn>
                <a:cxn ang="0">
                  <a:pos x="9" y="9"/>
                </a:cxn>
                <a:cxn ang="0">
                  <a:pos x="9" y="189"/>
                </a:cxn>
              </a:cxnLst>
              <a:rect l="0" t="0" r="r" b="b"/>
              <a:pathLst>
                <a:path w="112" h="199">
                  <a:moveTo>
                    <a:pt x="112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99"/>
                  </a:lnTo>
                  <a:close/>
                  <a:moveTo>
                    <a:pt x="9" y="189"/>
                  </a:moveTo>
                  <a:lnTo>
                    <a:pt x="103" y="189"/>
                  </a:lnTo>
                  <a:lnTo>
                    <a:pt x="103" y="9"/>
                  </a:lnTo>
                  <a:lnTo>
                    <a:pt x="9" y="9"/>
                  </a:lnTo>
                  <a:lnTo>
                    <a:pt x="9" y="18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0" name="Rectangle 158"/>
            <p:cNvSpPr>
              <a:spLocks noChangeArrowheads="1"/>
            </p:cNvSpPr>
            <p:nvPr/>
          </p:nvSpPr>
          <p:spPr bwMode="auto">
            <a:xfrm>
              <a:off x="2614" y="1951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1" name="Rectangle 159"/>
            <p:cNvSpPr>
              <a:spLocks noChangeArrowheads="1"/>
            </p:cNvSpPr>
            <p:nvPr/>
          </p:nvSpPr>
          <p:spPr bwMode="auto">
            <a:xfrm>
              <a:off x="2652" y="1951"/>
              <a:ext cx="12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2" name="Rectangle 160"/>
            <p:cNvSpPr>
              <a:spLocks noChangeArrowheads="1"/>
            </p:cNvSpPr>
            <p:nvPr/>
          </p:nvSpPr>
          <p:spPr bwMode="auto">
            <a:xfrm>
              <a:off x="2614" y="1991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3" name="Rectangle 161"/>
            <p:cNvSpPr>
              <a:spLocks noChangeArrowheads="1"/>
            </p:cNvSpPr>
            <p:nvPr/>
          </p:nvSpPr>
          <p:spPr bwMode="auto">
            <a:xfrm>
              <a:off x="2652" y="1991"/>
              <a:ext cx="12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4" name="Rectangle 162"/>
            <p:cNvSpPr>
              <a:spLocks noChangeArrowheads="1"/>
            </p:cNvSpPr>
            <p:nvPr/>
          </p:nvSpPr>
          <p:spPr bwMode="auto">
            <a:xfrm>
              <a:off x="2614" y="2032"/>
              <a:ext cx="14" cy="15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5" name="Rectangle 163"/>
            <p:cNvSpPr>
              <a:spLocks noChangeArrowheads="1"/>
            </p:cNvSpPr>
            <p:nvPr/>
          </p:nvSpPr>
          <p:spPr bwMode="auto">
            <a:xfrm>
              <a:off x="2652" y="2032"/>
              <a:ext cx="12" cy="15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6" name="Rectangle 164"/>
            <p:cNvSpPr>
              <a:spLocks noChangeArrowheads="1"/>
            </p:cNvSpPr>
            <p:nvPr/>
          </p:nvSpPr>
          <p:spPr bwMode="auto">
            <a:xfrm>
              <a:off x="2614" y="2068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7" name="Rectangle 165"/>
            <p:cNvSpPr>
              <a:spLocks noChangeArrowheads="1"/>
            </p:cNvSpPr>
            <p:nvPr/>
          </p:nvSpPr>
          <p:spPr bwMode="auto">
            <a:xfrm>
              <a:off x="2652" y="2068"/>
              <a:ext cx="12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8" name="Rectangle 166"/>
            <p:cNvSpPr>
              <a:spLocks noChangeArrowheads="1"/>
            </p:cNvSpPr>
            <p:nvPr/>
          </p:nvSpPr>
          <p:spPr bwMode="auto">
            <a:xfrm>
              <a:off x="2633" y="2094"/>
              <a:ext cx="15" cy="2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39" name="Freeform 167"/>
            <p:cNvSpPr>
              <a:spLocks/>
            </p:cNvSpPr>
            <p:nvPr/>
          </p:nvSpPr>
          <p:spPr bwMode="auto">
            <a:xfrm>
              <a:off x="2561" y="1900"/>
              <a:ext cx="156" cy="36"/>
            </a:xfrm>
            <a:custGeom>
              <a:avLst/>
              <a:gdLst/>
              <a:ahLst/>
              <a:cxnLst>
                <a:cxn ang="0">
                  <a:pos x="63" y="15"/>
                </a:cxn>
                <a:cxn ang="0">
                  <a:pos x="54" y="15"/>
                </a:cxn>
                <a:cxn ang="0">
                  <a:pos x="52" y="13"/>
                </a:cxn>
                <a:cxn ang="0">
                  <a:pos x="54" y="11"/>
                </a:cxn>
                <a:cxn ang="0">
                  <a:pos x="59" y="11"/>
                </a:cxn>
                <a:cxn ang="0">
                  <a:pos x="53" y="3"/>
                </a:cxn>
                <a:cxn ang="0">
                  <a:pos x="13" y="3"/>
                </a:cxn>
                <a:cxn ang="0">
                  <a:pos x="6" y="11"/>
                </a:cxn>
                <a:cxn ang="0">
                  <a:pos x="11" y="11"/>
                </a:cxn>
                <a:cxn ang="0">
                  <a:pos x="13" y="13"/>
                </a:cxn>
                <a:cxn ang="0">
                  <a:pos x="11" y="15"/>
                </a:cxn>
                <a:cxn ang="0">
                  <a:pos x="2" y="15"/>
                </a:cxn>
                <a:cxn ang="0">
                  <a:pos x="0" y="14"/>
                </a:cxn>
                <a:cxn ang="0">
                  <a:pos x="1" y="1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53" y="0"/>
                </a:cxn>
                <a:cxn ang="0">
                  <a:pos x="55" y="0"/>
                </a:cxn>
                <a:cxn ang="0">
                  <a:pos x="65" y="12"/>
                </a:cxn>
                <a:cxn ang="0">
                  <a:pos x="65" y="14"/>
                </a:cxn>
                <a:cxn ang="0">
                  <a:pos x="63" y="15"/>
                </a:cxn>
              </a:cxnLst>
              <a:rect l="0" t="0" r="r" b="b"/>
              <a:pathLst>
                <a:path w="65" h="15">
                  <a:moveTo>
                    <a:pt x="63" y="15"/>
                  </a:moveTo>
                  <a:cubicBezTo>
                    <a:pt x="54" y="15"/>
                    <a:pt x="54" y="15"/>
                    <a:pt x="54" y="15"/>
                  </a:cubicBezTo>
                  <a:cubicBezTo>
                    <a:pt x="53" y="15"/>
                    <a:pt x="52" y="14"/>
                    <a:pt x="52" y="13"/>
                  </a:cubicBezTo>
                  <a:cubicBezTo>
                    <a:pt x="52" y="12"/>
                    <a:pt x="53" y="11"/>
                    <a:pt x="54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3" y="12"/>
                    <a:pt x="13" y="13"/>
                  </a:cubicBezTo>
                  <a:cubicBezTo>
                    <a:pt x="13" y="14"/>
                    <a:pt x="12" y="15"/>
                    <a:pt x="1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1" y="15"/>
                    <a:pt x="0" y="14"/>
                  </a:cubicBezTo>
                  <a:cubicBezTo>
                    <a:pt x="0" y="13"/>
                    <a:pt x="0" y="13"/>
                    <a:pt x="1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5" y="0"/>
                    <a:pt x="55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3"/>
                    <a:pt x="65" y="13"/>
                    <a:pt x="65" y="14"/>
                  </a:cubicBezTo>
                  <a:cubicBezTo>
                    <a:pt x="65" y="15"/>
                    <a:pt x="64" y="15"/>
                    <a:pt x="63" y="1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0" name="Freeform 168"/>
            <p:cNvSpPr>
              <a:spLocks noEditPoints="1"/>
            </p:cNvSpPr>
            <p:nvPr/>
          </p:nvSpPr>
          <p:spPr bwMode="auto">
            <a:xfrm>
              <a:off x="2413" y="1929"/>
              <a:ext cx="112" cy="197"/>
            </a:xfrm>
            <a:custGeom>
              <a:avLst/>
              <a:gdLst/>
              <a:ahLst/>
              <a:cxnLst>
                <a:cxn ang="0">
                  <a:pos x="112" y="197"/>
                </a:cxn>
                <a:cxn ang="0">
                  <a:pos x="0" y="197"/>
                </a:cxn>
                <a:cxn ang="0">
                  <a:pos x="0" y="0"/>
                </a:cxn>
                <a:cxn ang="0">
                  <a:pos x="112" y="0"/>
                </a:cxn>
                <a:cxn ang="0">
                  <a:pos x="112" y="197"/>
                </a:cxn>
                <a:cxn ang="0">
                  <a:pos x="9" y="187"/>
                </a:cxn>
                <a:cxn ang="0">
                  <a:pos x="105" y="187"/>
                </a:cxn>
                <a:cxn ang="0">
                  <a:pos x="105" y="7"/>
                </a:cxn>
                <a:cxn ang="0">
                  <a:pos x="9" y="7"/>
                </a:cxn>
                <a:cxn ang="0">
                  <a:pos x="9" y="187"/>
                </a:cxn>
              </a:cxnLst>
              <a:rect l="0" t="0" r="r" b="b"/>
              <a:pathLst>
                <a:path w="112" h="197">
                  <a:moveTo>
                    <a:pt x="112" y="197"/>
                  </a:moveTo>
                  <a:lnTo>
                    <a:pt x="0" y="19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97"/>
                  </a:lnTo>
                  <a:close/>
                  <a:moveTo>
                    <a:pt x="9" y="187"/>
                  </a:moveTo>
                  <a:lnTo>
                    <a:pt x="105" y="187"/>
                  </a:lnTo>
                  <a:lnTo>
                    <a:pt x="105" y="7"/>
                  </a:lnTo>
                  <a:lnTo>
                    <a:pt x="9" y="7"/>
                  </a:lnTo>
                  <a:lnTo>
                    <a:pt x="9" y="18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1" name="Rectangle 169"/>
            <p:cNvSpPr>
              <a:spLocks noChangeArrowheads="1"/>
            </p:cNvSpPr>
            <p:nvPr/>
          </p:nvSpPr>
          <p:spPr bwMode="auto">
            <a:xfrm>
              <a:off x="2444" y="1951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2" name="Rectangle 170"/>
            <p:cNvSpPr>
              <a:spLocks noChangeArrowheads="1"/>
            </p:cNvSpPr>
            <p:nvPr/>
          </p:nvSpPr>
          <p:spPr bwMode="auto">
            <a:xfrm>
              <a:off x="2482" y="1951"/>
              <a:ext cx="15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3" name="Rectangle 171"/>
            <p:cNvSpPr>
              <a:spLocks noChangeArrowheads="1"/>
            </p:cNvSpPr>
            <p:nvPr/>
          </p:nvSpPr>
          <p:spPr bwMode="auto">
            <a:xfrm>
              <a:off x="2444" y="1991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4" name="Rectangle 172"/>
            <p:cNvSpPr>
              <a:spLocks noChangeArrowheads="1"/>
            </p:cNvSpPr>
            <p:nvPr/>
          </p:nvSpPr>
          <p:spPr bwMode="auto">
            <a:xfrm>
              <a:off x="2482" y="1991"/>
              <a:ext cx="15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5" name="Rectangle 173"/>
            <p:cNvSpPr>
              <a:spLocks noChangeArrowheads="1"/>
            </p:cNvSpPr>
            <p:nvPr/>
          </p:nvSpPr>
          <p:spPr bwMode="auto">
            <a:xfrm>
              <a:off x="2444" y="2032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6" name="Rectangle 174"/>
            <p:cNvSpPr>
              <a:spLocks noChangeArrowheads="1"/>
            </p:cNvSpPr>
            <p:nvPr/>
          </p:nvSpPr>
          <p:spPr bwMode="auto">
            <a:xfrm>
              <a:off x="2482" y="2032"/>
              <a:ext cx="15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47" name="Rectangle 175"/>
            <p:cNvSpPr>
              <a:spLocks noChangeArrowheads="1"/>
            </p:cNvSpPr>
            <p:nvPr/>
          </p:nvSpPr>
          <p:spPr bwMode="auto">
            <a:xfrm>
              <a:off x="2444" y="2068"/>
              <a:ext cx="14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8" name="Rectangle 176"/>
            <p:cNvSpPr>
              <a:spLocks noChangeArrowheads="1"/>
            </p:cNvSpPr>
            <p:nvPr/>
          </p:nvSpPr>
          <p:spPr bwMode="auto">
            <a:xfrm>
              <a:off x="2482" y="2068"/>
              <a:ext cx="15" cy="1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49" name="Rectangle 177"/>
            <p:cNvSpPr>
              <a:spLocks noChangeArrowheads="1"/>
            </p:cNvSpPr>
            <p:nvPr/>
          </p:nvSpPr>
          <p:spPr bwMode="auto">
            <a:xfrm>
              <a:off x="2463" y="2094"/>
              <a:ext cx="15" cy="2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50" name="Freeform 178"/>
            <p:cNvSpPr>
              <a:spLocks/>
            </p:cNvSpPr>
            <p:nvPr/>
          </p:nvSpPr>
          <p:spPr bwMode="auto">
            <a:xfrm>
              <a:off x="2391" y="1900"/>
              <a:ext cx="156" cy="36"/>
            </a:xfrm>
            <a:custGeom>
              <a:avLst/>
              <a:gdLst/>
              <a:ahLst/>
              <a:cxnLst>
                <a:cxn ang="0">
                  <a:pos x="63" y="15"/>
                </a:cxn>
                <a:cxn ang="0">
                  <a:pos x="54" y="15"/>
                </a:cxn>
                <a:cxn ang="0">
                  <a:pos x="53" y="13"/>
                </a:cxn>
                <a:cxn ang="0">
                  <a:pos x="54" y="12"/>
                </a:cxn>
                <a:cxn ang="0">
                  <a:pos x="60" y="12"/>
                </a:cxn>
                <a:cxn ang="0">
                  <a:pos x="53" y="3"/>
                </a:cxn>
                <a:cxn ang="0">
                  <a:pos x="13" y="3"/>
                </a:cxn>
                <a:cxn ang="0">
                  <a:pos x="6" y="12"/>
                </a:cxn>
                <a:cxn ang="0">
                  <a:pos x="11" y="12"/>
                </a:cxn>
                <a:cxn ang="0">
                  <a:pos x="13" y="13"/>
                </a:cxn>
                <a:cxn ang="0">
                  <a:pos x="11" y="15"/>
                </a:cxn>
                <a:cxn ang="0">
                  <a:pos x="2" y="15"/>
                </a:cxn>
                <a:cxn ang="0">
                  <a:pos x="1" y="14"/>
                </a:cxn>
                <a:cxn ang="0">
                  <a:pos x="1" y="1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54" y="0"/>
                </a:cxn>
                <a:cxn ang="0">
                  <a:pos x="55" y="0"/>
                </a:cxn>
                <a:cxn ang="0">
                  <a:pos x="65" y="12"/>
                </a:cxn>
                <a:cxn ang="0">
                  <a:pos x="65" y="14"/>
                </a:cxn>
                <a:cxn ang="0">
                  <a:pos x="63" y="15"/>
                </a:cxn>
              </a:cxnLst>
              <a:rect l="0" t="0" r="r" b="b"/>
              <a:pathLst>
                <a:path w="65" h="15">
                  <a:moveTo>
                    <a:pt x="63" y="15"/>
                  </a:moveTo>
                  <a:cubicBezTo>
                    <a:pt x="54" y="15"/>
                    <a:pt x="54" y="15"/>
                    <a:pt x="54" y="15"/>
                  </a:cubicBezTo>
                  <a:cubicBezTo>
                    <a:pt x="53" y="15"/>
                    <a:pt x="53" y="14"/>
                    <a:pt x="53" y="13"/>
                  </a:cubicBezTo>
                  <a:cubicBezTo>
                    <a:pt x="53" y="12"/>
                    <a:pt x="53" y="12"/>
                    <a:pt x="54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2"/>
                    <a:pt x="13" y="12"/>
                    <a:pt x="13" y="13"/>
                  </a:cubicBezTo>
                  <a:cubicBezTo>
                    <a:pt x="13" y="14"/>
                    <a:pt x="12" y="15"/>
                    <a:pt x="1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1" y="15"/>
                    <a:pt x="1" y="14"/>
                  </a:cubicBezTo>
                  <a:cubicBezTo>
                    <a:pt x="0" y="14"/>
                    <a:pt x="0" y="13"/>
                    <a:pt x="1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5" y="0"/>
                    <a:pt x="55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3"/>
                    <a:pt x="65" y="14"/>
                    <a:pt x="65" y="14"/>
                  </a:cubicBezTo>
                  <a:cubicBezTo>
                    <a:pt x="65" y="15"/>
                    <a:pt x="64" y="15"/>
                    <a:pt x="63" y="1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53" name="Group 181"/>
          <p:cNvGrpSpPr>
            <a:grpSpLocks noChangeAspect="1"/>
          </p:cNvGrpSpPr>
          <p:nvPr/>
        </p:nvGrpSpPr>
        <p:grpSpPr bwMode="auto">
          <a:xfrm>
            <a:off x="4714875" y="2776538"/>
            <a:ext cx="846137" cy="847725"/>
            <a:chOff x="2977" y="1749"/>
            <a:chExt cx="533" cy="534"/>
          </a:xfrm>
        </p:grpSpPr>
        <p:sp>
          <p:nvSpPr>
            <p:cNvPr id="54454" name="Oval 182"/>
            <p:cNvSpPr>
              <a:spLocks noChangeArrowheads="1"/>
            </p:cNvSpPr>
            <p:nvPr/>
          </p:nvSpPr>
          <p:spPr bwMode="auto">
            <a:xfrm>
              <a:off x="2977" y="1749"/>
              <a:ext cx="533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55" name="Freeform 183"/>
            <p:cNvSpPr>
              <a:spLocks noEditPoints="1"/>
            </p:cNvSpPr>
            <p:nvPr/>
          </p:nvSpPr>
          <p:spPr bwMode="auto">
            <a:xfrm>
              <a:off x="2996" y="1768"/>
              <a:ext cx="495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56" name="Freeform 184"/>
            <p:cNvSpPr>
              <a:spLocks noEditPoints="1"/>
            </p:cNvSpPr>
            <p:nvPr/>
          </p:nvSpPr>
          <p:spPr bwMode="auto">
            <a:xfrm>
              <a:off x="3073" y="1941"/>
              <a:ext cx="110" cy="153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2" y="21"/>
                </a:cxn>
                <a:cxn ang="0">
                  <a:pos x="21" y="63"/>
                </a:cxn>
                <a:cxn ang="0">
                  <a:pos x="23" y="64"/>
                </a:cxn>
                <a:cxn ang="0">
                  <a:pos x="24" y="63"/>
                </a:cxn>
                <a:cxn ang="0">
                  <a:pos x="44" y="21"/>
                </a:cxn>
                <a:cxn ang="0">
                  <a:pos x="23" y="0"/>
                </a:cxn>
                <a:cxn ang="0">
                  <a:pos x="23" y="59"/>
                </a:cxn>
                <a:cxn ang="0">
                  <a:pos x="5" y="22"/>
                </a:cxn>
                <a:cxn ang="0">
                  <a:pos x="5" y="21"/>
                </a:cxn>
                <a:cxn ang="0">
                  <a:pos x="23" y="4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23" y="59"/>
                </a:cxn>
              </a:cxnLst>
              <a:rect l="0" t="0" r="r" b="b"/>
              <a:pathLst>
                <a:path w="46" h="64">
                  <a:moveTo>
                    <a:pt x="23" y="0"/>
                  </a:moveTo>
                  <a:cubicBezTo>
                    <a:pt x="11" y="0"/>
                    <a:pt x="2" y="10"/>
                    <a:pt x="2" y="21"/>
                  </a:cubicBezTo>
                  <a:cubicBezTo>
                    <a:pt x="1" y="23"/>
                    <a:pt x="0" y="37"/>
                    <a:pt x="21" y="63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46" y="36"/>
                    <a:pt x="44" y="22"/>
                    <a:pt x="44" y="21"/>
                  </a:cubicBezTo>
                  <a:cubicBezTo>
                    <a:pt x="44" y="9"/>
                    <a:pt x="34" y="0"/>
                    <a:pt x="23" y="0"/>
                  </a:cubicBezTo>
                  <a:close/>
                  <a:moveTo>
                    <a:pt x="23" y="59"/>
                  </a:moveTo>
                  <a:cubicBezTo>
                    <a:pt x="3" y="34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12"/>
                    <a:pt x="13" y="4"/>
                    <a:pt x="23" y="4"/>
                  </a:cubicBezTo>
                  <a:cubicBezTo>
                    <a:pt x="33" y="4"/>
                    <a:pt x="40" y="1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1" y="23"/>
                    <a:pt x="41" y="36"/>
                    <a:pt x="23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57" name="Freeform 185"/>
            <p:cNvSpPr>
              <a:spLocks noEditPoints="1"/>
            </p:cNvSpPr>
            <p:nvPr/>
          </p:nvSpPr>
          <p:spPr bwMode="auto">
            <a:xfrm>
              <a:off x="3106" y="1972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4"/>
                </a:cxn>
                <a:cxn ang="0">
                  <a:pos x="3" y="9"/>
                </a:cxn>
                <a:cxn ang="0">
                  <a:pos x="9" y="3"/>
                </a:cxn>
                <a:cxn ang="0">
                  <a:pos x="14" y="9"/>
                </a:cxn>
                <a:cxn ang="0">
                  <a:pos x="9" y="14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4"/>
                  </a:moveTo>
                  <a:cubicBezTo>
                    <a:pt x="6" y="14"/>
                    <a:pt x="3" y="12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58" name="Freeform 186"/>
            <p:cNvSpPr>
              <a:spLocks noEditPoints="1"/>
            </p:cNvSpPr>
            <p:nvPr/>
          </p:nvSpPr>
          <p:spPr bwMode="auto">
            <a:xfrm>
              <a:off x="3305" y="1941"/>
              <a:ext cx="110" cy="153"/>
            </a:xfrm>
            <a:custGeom>
              <a:avLst/>
              <a:gdLst/>
              <a:ahLst/>
              <a:cxnLst>
                <a:cxn ang="0">
                  <a:pos x="44" y="21"/>
                </a:cxn>
                <a:cxn ang="0">
                  <a:pos x="23" y="0"/>
                </a:cxn>
                <a:cxn ang="0">
                  <a:pos x="2" y="21"/>
                </a:cxn>
                <a:cxn ang="0">
                  <a:pos x="21" y="63"/>
                </a:cxn>
                <a:cxn ang="0">
                  <a:pos x="23" y="64"/>
                </a:cxn>
                <a:cxn ang="0">
                  <a:pos x="24" y="63"/>
                </a:cxn>
                <a:cxn ang="0">
                  <a:pos x="44" y="21"/>
                </a:cxn>
                <a:cxn ang="0">
                  <a:pos x="23" y="59"/>
                </a:cxn>
                <a:cxn ang="0">
                  <a:pos x="5" y="22"/>
                </a:cxn>
                <a:cxn ang="0">
                  <a:pos x="5" y="22"/>
                </a:cxn>
                <a:cxn ang="0">
                  <a:pos x="23" y="4"/>
                </a:cxn>
                <a:cxn ang="0">
                  <a:pos x="41" y="22"/>
                </a:cxn>
                <a:cxn ang="0">
                  <a:pos x="41" y="22"/>
                </a:cxn>
                <a:cxn ang="0">
                  <a:pos x="23" y="59"/>
                </a:cxn>
              </a:cxnLst>
              <a:rect l="0" t="0" r="r" b="b"/>
              <a:pathLst>
                <a:path w="46" h="64">
                  <a:moveTo>
                    <a:pt x="44" y="21"/>
                  </a:moveTo>
                  <a:cubicBezTo>
                    <a:pt x="44" y="9"/>
                    <a:pt x="34" y="0"/>
                    <a:pt x="23" y="0"/>
                  </a:cubicBezTo>
                  <a:cubicBezTo>
                    <a:pt x="11" y="0"/>
                    <a:pt x="2" y="10"/>
                    <a:pt x="2" y="21"/>
                  </a:cubicBezTo>
                  <a:cubicBezTo>
                    <a:pt x="1" y="23"/>
                    <a:pt x="0" y="37"/>
                    <a:pt x="21" y="63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46" y="37"/>
                    <a:pt x="44" y="22"/>
                    <a:pt x="44" y="21"/>
                  </a:cubicBezTo>
                  <a:close/>
                  <a:moveTo>
                    <a:pt x="23" y="59"/>
                  </a:moveTo>
                  <a:cubicBezTo>
                    <a:pt x="4" y="34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13" y="4"/>
                    <a:pt x="23" y="4"/>
                  </a:cubicBezTo>
                  <a:cubicBezTo>
                    <a:pt x="33" y="4"/>
                    <a:pt x="41" y="1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4"/>
                    <a:pt x="41" y="36"/>
                    <a:pt x="23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59" name="Freeform 187"/>
            <p:cNvSpPr>
              <a:spLocks noEditPoints="1"/>
            </p:cNvSpPr>
            <p:nvPr/>
          </p:nvSpPr>
          <p:spPr bwMode="auto">
            <a:xfrm>
              <a:off x="3338" y="1972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4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4" y="9"/>
                </a:cxn>
                <a:cxn ang="0">
                  <a:pos x="9" y="14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0" name="Freeform 188"/>
            <p:cNvSpPr>
              <a:spLocks noEditPoints="1"/>
            </p:cNvSpPr>
            <p:nvPr/>
          </p:nvSpPr>
          <p:spPr bwMode="auto">
            <a:xfrm>
              <a:off x="3190" y="1941"/>
              <a:ext cx="107" cy="153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" y="21"/>
                </a:cxn>
                <a:cxn ang="0">
                  <a:pos x="21" y="62"/>
                </a:cxn>
                <a:cxn ang="0">
                  <a:pos x="22" y="64"/>
                </a:cxn>
                <a:cxn ang="0">
                  <a:pos x="24" y="62"/>
                </a:cxn>
                <a:cxn ang="0">
                  <a:pos x="44" y="20"/>
                </a:cxn>
                <a:cxn ang="0">
                  <a:pos x="22" y="0"/>
                </a:cxn>
                <a:cxn ang="0">
                  <a:pos x="22" y="58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22" y="4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22" y="58"/>
                </a:cxn>
              </a:cxnLst>
              <a:rect l="0" t="0" r="r" b="b"/>
              <a:pathLst>
                <a:path w="45" h="64">
                  <a:moveTo>
                    <a:pt x="22" y="0"/>
                  </a:moveTo>
                  <a:cubicBezTo>
                    <a:pt x="11" y="0"/>
                    <a:pt x="1" y="9"/>
                    <a:pt x="1" y="21"/>
                  </a:cubicBezTo>
                  <a:cubicBezTo>
                    <a:pt x="1" y="23"/>
                    <a:pt x="0" y="37"/>
                    <a:pt x="21" y="62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45" y="36"/>
                    <a:pt x="44" y="22"/>
                    <a:pt x="44" y="20"/>
                  </a:cubicBezTo>
                  <a:cubicBezTo>
                    <a:pt x="43" y="9"/>
                    <a:pt x="34" y="0"/>
                    <a:pt x="22" y="0"/>
                  </a:cubicBezTo>
                  <a:close/>
                  <a:moveTo>
                    <a:pt x="22" y="58"/>
                  </a:moveTo>
                  <a:cubicBezTo>
                    <a:pt x="3" y="34"/>
                    <a:pt x="5" y="22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11"/>
                    <a:pt x="13" y="4"/>
                    <a:pt x="22" y="4"/>
                  </a:cubicBezTo>
                  <a:cubicBezTo>
                    <a:pt x="32" y="4"/>
                    <a:pt x="40" y="1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3"/>
                    <a:pt x="41" y="36"/>
                    <a:pt x="22" y="5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1" name="Freeform 189"/>
            <p:cNvSpPr>
              <a:spLocks noEditPoints="1"/>
            </p:cNvSpPr>
            <p:nvPr/>
          </p:nvSpPr>
          <p:spPr bwMode="auto">
            <a:xfrm>
              <a:off x="3221" y="1969"/>
              <a:ext cx="43" cy="44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5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5" y="9"/>
                </a:cxn>
                <a:cxn ang="0">
                  <a:pos x="9" y="15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5" y="0"/>
                    <a:pt x="0" y="5"/>
                    <a:pt x="0" y="9"/>
                  </a:cubicBezTo>
                  <a:cubicBezTo>
                    <a:pt x="0" y="14"/>
                    <a:pt x="5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5"/>
                    <a:pt x="14" y="0"/>
                    <a:pt x="9" y="0"/>
                  </a:cubicBezTo>
                  <a:close/>
                  <a:moveTo>
                    <a:pt x="9" y="15"/>
                  </a:moveTo>
                  <a:cubicBezTo>
                    <a:pt x="7" y="15"/>
                    <a:pt x="4" y="12"/>
                    <a:pt x="4" y="9"/>
                  </a:cubicBezTo>
                  <a:cubicBezTo>
                    <a:pt x="4" y="7"/>
                    <a:pt x="7" y="4"/>
                    <a:pt x="9" y="4"/>
                  </a:cubicBezTo>
                  <a:cubicBezTo>
                    <a:pt x="12" y="4"/>
                    <a:pt x="15" y="7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64" name="Group 192"/>
          <p:cNvGrpSpPr>
            <a:grpSpLocks noChangeAspect="1"/>
          </p:cNvGrpSpPr>
          <p:nvPr/>
        </p:nvGrpSpPr>
        <p:grpSpPr bwMode="auto">
          <a:xfrm>
            <a:off x="5842795" y="2806699"/>
            <a:ext cx="788987" cy="784224"/>
            <a:chOff x="3681" y="1768"/>
            <a:chExt cx="497" cy="494"/>
          </a:xfrm>
        </p:grpSpPr>
        <p:sp>
          <p:nvSpPr>
            <p:cNvPr id="54465" name="Freeform 193"/>
            <p:cNvSpPr>
              <a:spLocks noEditPoints="1"/>
            </p:cNvSpPr>
            <p:nvPr/>
          </p:nvSpPr>
          <p:spPr bwMode="auto">
            <a:xfrm>
              <a:off x="3681" y="1768"/>
              <a:ext cx="497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6" name="Freeform 194"/>
            <p:cNvSpPr>
              <a:spLocks noEditPoints="1"/>
            </p:cNvSpPr>
            <p:nvPr/>
          </p:nvSpPr>
          <p:spPr bwMode="auto">
            <a:xfrm>
              <a:off x="3757" y="1941"/>
              <a:ext cx="111" cy="153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2" y="21"/>
                </a:cxn>
                <a:cxn ang="0">
                  <a:pos x="21" y="63"/>
                </a:cxn>
                <a:cxn ang="0">
                  <a:pos x="23" y="64"/>
                </a:cxn>
                <a:cxn ang="0">
                  <a:pos x="24" y="63"/>
                </a:cxn>
                <a:cxn ang="0">
                  <a:pos x="44" y="21"/>
                </a:cxn>
                <a:cxn ang="0">
                  <a:pos x="23" y="0"/>
                </a:cxn>
                <a:cxn ang="0">
                  <a:pos x="23" y="59"/>
                </a:cxn>
                <a:cxn ang="0">
                  <a:pos x="5" y="22"/>
                </a:cxn>
                <a:cxn ang="0">
                  <a:pos x="5" y="21"/>
                </a:cxn>
                <a:cxn ang="0">
                  <a:pos x="23" y="4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23" y="59"/>
                </a:cxn>
              </a:cxnLst>
              <a:rect l="0" t="0" r="r" b="b"/>
              <a:pathLst>
                <a:path w="46" h="64">
                  <a:moveTo>
                    <a:pt x="23" y="0"/>
                  </a:moveTo>
                  <a:cubicBezTo>
                    <a:pt x="11" y="0"/>
                    <a:pt x="2" y="10"/>
                    <a:pt x="2" y="21"/>
                  </a:cubicBezTo>
                  <a:cubicBezTo>
                    <a:pt x="1" y="23"/>
                    <a:pt x="0" y="37"/>
                    <a:pt x="21" y="63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46" y="36"/>
                    <a:pt x="44" y="22"/>
                    <a:pt x="44" y="21"/>
                  </a:cubicBezTo>
                  <a:cubicBezTo>
                    <a:pt x="44" y="9"/>
                    <a:pt x="34" y="0"/>
                    <a:pt x="23" y="0"/>
                  </a:cubicBezTo>
                  <a:close/>
                  <a:moveTo>
                    <a:pt x="23" y="59"/>
                  </a:moveTo>
                  <a:cubicBezTo>
                    <a:pt x="3" y="34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12"/>
                    <a:pt x="13" y="4"/>
                    <a:pt x="23" y="4"/>
                  </a:cubicBezTo>
                  <a:cubicBezTo>
                    <a:pt x="33" y="4"/>
                    <a:pt x="40" y="1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1" y="23"/>
                    <a:pt x="41" y="36"/>
                    <a:pt x="23" y="5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7" name="Freeform 195"/>
            <p:cNvSpPr>
              <a:spLocks noEditPoints="1"/>
            </p:cNvSpPr>
            <p:nvPr/>
          </p:nvSpPr>
          <p:spPr bwMode="auto">
            <a:xfrm>
              <a:off x="3791" y="1972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4"/>
                </a:cxn>
                <a:cxn ang="0">
                  <a:pos x="3" y="9"/>
                </a:cxn>
                <a:cxn ang="0">
                  <a:pos x="9" y="3"/>
                </a:cxn>
                <a:cxn ang="0">
                  <a:pos x="14" y="9"/>
                </a:cxn>
                <a:cxn ang="0">
                  <a:pos x="9" y="14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4"/>
                  </a:moveTo>
                  <a:cubicBezTo>
                    <a:pt x="6" y="14"/>
                    <a:pt x="3" y="12"/>
                    <a:pt x="3" y="9"/>
                  </a:cubicBezTo>
                  <a:cubicBezTo>
                    <a:pt x="3" y="6"/>
                    <a:pt x="6" y="3"/>
                    <a:pt x="9" y="3"/>
                  </a:cubicBezTo>
                  <a:cubicBezTo>
                    <a:pt x="12" y="3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8" name="Freeform 196"/>
            <p:cNvSpPr>
              <a:spLocks noEditPoints="1"/>
            </p:cNvSpPr>
            <p:nvPr/>
          </p:nvSpPr>
          <p:spPr bwMode="auto">
            <a:xfrm>
              <a:off x="3990" y="1941"/>
              <a:ext cx="111" cy="153"/>
            </a:xfrm>
            <a:custGeom>
              <a:avLst/>
              <a:gdLst/>
              <a:ahLst/>
              <a:cxnLst>
                <a:cxn ang="0">
                  <a:pos x="44" y="21"/>
                </a:cxn>
                <a:cxn ang="0">
                  <a:pos x="23" y="0"/>
                </a:cxn>
                <a:cxn ang="0">
                  <a:pos x="2" y="21"/>
                </a:cxn>
                <a:cxn ang="0">
                  <a:pos x="21" y="63"/>
                </a:cxn>
                <a:cxn ang="0">
                  <a:pos x="23" y="64"/>
                </a:cxn>
                <a:cxn ang="0">
                  <a:pos x="24" y="63"/>
                </a:cxn>
                <a:cxn ang="0">
                  <a:pos x="44" y="21"/>
                </a:cxn>
                <a:cxn ang="0">
                  <a:pos x="23" y="59"/>
                </a:cxn>
                <a:cxn ang="0">
                  <a:pos x="5" y="22"/>
                </a:cxn>
                <a:cxn ang="0">
                  <a:pos x="5" y="22"/>
                </a:cxn>
                <a:cxn ang="0">
                  <a:pos x="23" y="4"/>
                </a:cxn>
                <a:cxn ang="0">
                  <a:pos x="41" y="22"/>
                </a:cxn>
                <a:cxn ang="0">
                  <a:pos x="41" y="22"/>
                </a:cxn>
                <a:cxn ang="0">
                  <a:pos x="23" y="59"/>
                </a:cxn>
              </a:cxnLst>
              <a:rect l="0" t="0" r="r" b="b"/>
              <a:pathLst>
                <a:path w="46" h="64">
                  <a:moveTo>
                    <a:pt x="44" y="21"/>
                  </a:moveTo>
                  <a:cubicBezTo>
                    <a:pt x="44" y="9"/>
                    <a:pt x="34" y="0"/>
                    <a:pt x="23" y="0"/>
                  </a:cubicBezTo>
                  <a:cubicBezTo>
                    <a:pt x="11" y="0"/>
                    <a:pt x="2" y="10"/>
                    <a:pt x="2" y="21"/>
                  </a:cubicBezTo>
                  <a:cubicBezTo>
                    <a:pt x="1" y="23"/>
                    <a:pt x="0" y="37"/>
                    <a:pt x="21" y="63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46" y="37"/>
                    <a:pt x="44" y="22"/>
                    <a:pt x="44" y="21"/>
                  </a:cubicBezTo>
                  <a:close/>
                  <a:moveTo>
                    <a:pt x="23" y="59"/>
                  </a:moveTo>
                  <a:cubicBezTo>
                    <a:pt x="4" y="34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12"/>
                    <a:pt x="13" y="4"/>
                    <a:pt x="23" y="4"/>
                  </a:cubicBezTo>
                  <a:cubicBezTo>
                    <a:pt x="33" y="4"/>
                    <a:pt x="41" y="1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4"/>
                    <a:pt x="41" y="36"/>
                    <a:pt x="23" y="5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69" name="Freeform 197"/>
            <p:cNvSpPr>
              <a:spLocks noEditPoints="1"/>
            </p:cNvSpPr>
            <p:nvPr/>
          </p:nvSpPr>
          <p:spPr bwMode="auto">
            <a:xfrm>
              <a:off x="4024" y="1972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4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4" y="9"/>
                </a:cxn>
                <a:cxn ang="0">
                  <a:pos x="9" y="14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lose/>
                  <a:moveTo>
                    <a:pt x="9" y="14"/>
                  </a:moveTo>
                  <a:cubicBezTo>
                    <a:pt x="6" y="14"/>
                    <a:pt x="4" y="12"/>
                    <a:pt x="4" y="9"/>
                  </a:cubicBezTo>
                  <a:cubicBezTo>
                    <a:pt x="4" y="6"/>
                    <a:pt x="6" y="4"/>
                    <a:pt x="9" y="4"/>
                  </a:cubicBezTo>
                  <a:cubicBezTo>
                    <a:pt x="12" y="4"/>
                    <a:pt x="14" y="6"/>
                    <a:pt x="14" y="9"/>
                  </a:cubicBezTo>
                  <a:cubicBezTo>
                    <a:pt x="14" y="12"/>
                    <a:pt x="12" y="14"/>
                    <a:pt x="9" y="1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70" name="Freeform 198"/>
            <p:cNvSpPr>
              <a:spLocks noEditPoints="1"/>
            </p:cNvSpPr>
            <p:nvPr/>
          </p:nvSpPr>
          <p:spPr bwMode="auto">
            <a:xfrm>
              <a:off x="3875" y="1941"/>
              <a:ext cx="108" cy="153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" y="21"/>
                </a:cxn>
                <a:cxn ang="0">
                  <a:pos x="21" y="62"/>
                </a:cxn>
                <a:cxn ang="0">
                  <a:pos x="22" y="64"/>
                </a:cxn>
                <a:cxn ang="0">
                  <a:pos x="24" y="62"/>
                </a:cxn>
                <a:cxn ang="0">
                  <a:pos x="44" y="20"/>
                </a:cxn>
                <a:cxn ang="0">
                  <a:pos x="22" y="0"/>
                </a:cxn>
                <a:cxn ang="0">
                  <a:pos x="22" y="58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22" y="4"/>
                </a:cxn>
                <a:cxn ang="0">
                  <a:pos x="40" y="21"/>
                </a:cxn>
                <a:cxn ang="0">
                  <a:pos x="40" y="21"/>
                </a:cxn>
                <a:cxn ang="0">
                  <a:pos x="22" y="58"/>
                </a:cxn>
              </a:cxnLst>
              <a:rect l="0" t="0" r="r" b="b"/>
              <a:pathLst>
                <a:path w="45" h="64">
                  <a:moveTo>
                    <a:pt x="22" y="0"/>
                  </a:moveTo>
                  <a:cubicBezTo>
                    <a:pt x="11" y="0"/>
                    <a:pt x="1" y="9"/>
                    <a:pt x="1" y="21"/>
                  </a:cubicBezTo>
                  <a:cubicBezTo>
                    <a:pt x="1" y="23"/>
                    <a:pt x="0" y="37"/>
                    <a:pt x="21" y="62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45" y="36"/>
                    <a:pt x="44" y="22"/>
                    <a:pt x="44" y="20"/>
                  </a:cubicBezTo>
                  <a:cubicBezTo>
                    <a:pt x="43" y="9"/>
                    <a:pt x="34" y="0"/>
                    <a:pt x="22" y="0"/>
                  </a:cubicBezTo>
                  <a:close/>
                  <a:moveTo>
                    <a:pt x="22" y="58"/>
                  </a:moveTo>
                  <a:cubicBezTo>
                    <a:pt x="3" y="34"/>
                    <a:pt x="5" y="22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11"/>
                    <a:pt x="13" y="4"/>
                    <a:pt x="22" y="4"/>
                  </a:cubicBezTo>
                  <a:cubicBezTo>
                    <a:pt x="32" y="4"/>
                    <a:pt x="40" y="1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3"/>
                    <a:pt x="41" y="36"/>
                    <a:pt x="22" y="5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71" name="Freeform 199"/>
            <p:cNvSpPr>
              <a:spLocks noEditPoints="1"/>
            </p:cNvSpPr>
            <p:nvPr/>
          </p:nvSpPr>
          <p:spPr bwMode="auto">
            <a:xfrm>
              <a:off x="3906" y="1970"/>
              <a:ext cx="43" cy="4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9" y="0"/>
                </a:cxn>
                <a:cxn ang="0">
                  <a:pos x="9" y="15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5" y="9"/>
                </a:cxn>
                <a:cxn ang="0">
                  <a:pos x="9" y="15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cubicBezTo>
                    <a:pt x="5" y="0"/>
                    <a:pt x="0" y="5"/>
                    <a:pt x="0" y="9"/>
                  </a:cubicBezTo>
                  <a:cubicBezTo>
                    <a:pt x="0" y="14"/>
                    <a:pt x="5" y="18"/>
                    <a:pt x="9" y="18"/>
                  </a:cubicBezTo>
                  <a:cubicBezTo>
                    <a:pt x="14" y="18"/>
                    <a:pt x="18" y="14"/>
                    <a:pt x="18" y="9"/>
                  </a:cubicBezTo>
                  <a:cubicBezTo>
                    <a:pt x="18" y="5"/>
                    <a:pt x="14" y="0"/>
                    <a:pt x="9" y="0"/>
                  </a:cubicBezTo>
                  <a:close/>
                  <a:moveTo>
                    <a:pt x="9" y="15"/>
                  </a:moveTo>
                  <a:cubicBezTo>
                    <a:pt x="7" y="15"/>
                    <a:pt x="4" y="12"/>
                    <a:pt x="4" y="9"/>
                  </a:cubicBezTo>
                  <a:cubicBezTo>
                    <a:pt x="4" y="7"/>
                    <a:pt x="7" y="4"/>
                    <a:pt x="9" y="4"/>
                  </a:cubicBezTo>
                  <a:cubicBezTo>
                    <a:pt x="12" y="4"/>
                    <a:pt x="15" y="7"/>
                    <a:pt x="15" y="9"/>
                  </a:cubicBezTo>
                  <a:cubicBezTo>
                    <a:pt x="15" y="12"/>
                    <a:pt x="12" y="15"/>
                    <a:pt x="9" y="1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74" name="Group 202"/>
          <p:cNvGrpSpPr>
            <a:grpSpLocks noChangeAspect="1"/>
          </p:cNvGrpSpPr>
          <p:nvPr/>
        </p:nvGrpSpPr>
        <p:grpSpPr bwMode="auto">
          <a:xfrm>
            <a:off x="6913563" y="2771775"/>
            <a:ext cx="854075" cy="854075"/>
            <a:chOff x="4355" y="1746"/>
            <a:chExt cx="538" cy="538"/>
          </a:xfrm>
        </p:grpSpPr>
        <p:sp>
          <p:nvSpPr>
            <p:cNvPr id="54475" name="Oval 203"/>
            <p:cNvSpPr>
              <a:spLocks noChangeArrowheads="1"/>
            </p:cNvSpPr>
            <p:nvPr/>
          </p:nvSpPr>
          <p:spPr bwMode="auto">
            <a:xfrm>
              <a:off x="4355" y="1746"/>
              <a:ext cx="538" cy="53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76" name="Freeform 204"/>
            <p:cNvSpPr>
              <a:spLocks noEditPoints="1"/>
            </p:cNvSpPr>
            <p:nvPr/>
          </p:nvSpPr>
          <p:spPr bwMode="auto">
            <a:xfrm>
              <a:off x="4377" y="1765"/>
              <a:ext cx="497" cy="500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5"/>
                </a:cxn>
                <a:cxn ang="0">
                  <a:pos x="104" y="209"/>
                </a:cxn>
                <a:cxn ang="0">
                  <a:pos x="208" y="105"/>
                </a:cxn>
                <a:cxn ang="0">
                  <a:pos x="104" y="0"/>
                </a:cxn>
                <a:cxn ang="0">
                  <a:pos x="104" y="204"/>
                </a:cxn>
                <a:cxn ang="0">
                  <a:pos x="5" y="105"/>
                </a:cxn>
                <a:cxn ang="0">
                  <a:pos x="104" y="5"/>
                </a:cxn>
                <a:cxn ang="0">
                  <a:pos x="203" y="105"/>
                </a:cxn>
                <a:cxn ang="0">
                  <a:pos x="104" y="204"/>
                </a:cxn>
              </a:cxnLst>
              <a:rect l="0" t="0" r="r" b="b"/>
              <a:pathLst>
                <a:path w="208" h="209">
                  <a:moveTo>
                    <a:pt x="104" y="0"/>
                  </a:moveTo>
                  <a:cubicBezTo>
                    <a:pt x="46" y="0"/>
                    <a:pt x="0" y="47"/>
                    <a:pt x="0" y="105"/>
                  </a:cubicBezTo>
                  <a:cubicBezTo>
                    <a:pt x="0" y="162"/>
                    <a:pt x="46" y="209"/>
                    <a:pt x="104" y="209"/>
                  </a:cubicBezTo>
                  <a:cubicBezTo>
                    <a:pt x="162" y="209"/>
                    <a:pt x="208" y="162"/>
                    <a:pt x="208" y="105"/>
                  </a:cubicBezTo>
                  <a:cubicBezTo>
                    <a:pt x="208" y="47"/>
                    <a:pt x="162" y="0"/>
                    <a:pt x="104" y="0"/>
                  </a:cubicBezTo>
                  <a:close/>
                  <a:moveTo>
                    <a:pt x="104" y="204"/>
                  </a:moveTo>
                  <a:cubicBezTo>
                    <a:pt x="49" y="204"/>
                    <a:pt x="5" y="160"/>
                    <a:pt x="5" y="105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9" y="5"/>
                    <a:pt x="203" y="50"/>
                    <a:pt x="203" y="105"/>
                  </a:cubicBezTo>
                  <a:cubicBezTo>
                    <a:pt x="203" y="160"/>
                    <a:pt x="159" y="204"/>
                    <a:pt x="104" y="20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77" name="Freeform 205"/>
            <p:cNvSpPr>
              <a:spLocks noEditPoints="1"/>
            </p:cNvSpPr>
            <p:nvPr/>
          </p:nvSpPr>
          <p:spPr bwMode="auto">
            <a:xfrm>
              <a:off x="4470" y="1906"/>
              <a:ext cx="308" cy="213"/>
            </a:xfrm>
            <a:custGeom>
              <a:avLst/>
              <a:gdLst/>
              <a:ahLst/>
              <a:cxnLst>
                <a:cxn ang="0">
                  <a:pos x="19" y="22"/>
                </a:cxn>
                <a:cxn ang="0">
                  <a:pos x="0" y="22"/>
                </a:cxn>
                <a:cxn ang="0">
                  <a:pos x="0" y="70"/>
                </a:cxn>
                <a:cxn ang="0">
                  <a:pos x="6" y="85"/>
                </a:cxn>
                <a:cxn ang="0">
                  <a:pos x="18" y="89"/>
                </a:cxn>
                <a:cxn ang="0">
                  <a:pos x="19" y="89"/>
                </a:cxn>
                <a:cxn ang="0">
                  <a:pos x="129" y="89"/>
                </a:cxn>
                <a:cxn ang="0">
                  <a:pos x="129" y="0"/>
                </a:cxn>
                <a:cxn ang="0">
                  <a:pos x="19" y="0"/>
                </a:cxn>
                <a:cxn ang="0">
                  <a:pos x="19" y="22"/>
                </a:cxn>
                <a:cxn ang="0">
                  <a:pos x="9" y="81"/>
                </a:cxn>
                <a:cxn ang="0">
                  <a:pos x="5" y="70"/>
                </a:cxn>
                <a:cxn ang="0">
                  <a:pos x="5" y="27"/>
                </a:cxn>
                <a:cxn ang="0">
                  <a:pos x="19" y="27"/>
                </a:cxn>
                <a:cxn ang="0">
                  <a:pos x="19" y="84"/>
                </a:cxn>
                <a:cxn ang="0">
                  <a:pos x="9" y="81"/>
                </a:cxn>
                <a:cxn ang="0">
                  <a:pos x="24" y="5"/>
                </a:cxn>
                <a:cxn ang="0">
                  <a:pos x="124" y="5"/>
                </a:cxn>
                <a:cxn ang="0">
                  <a:pos x="124" y="84"/>
                </a:cxn>
                <a:cxn ang="0">
                  <a:pos x="24" y="84"/>
                </a:cxn>
                <a:cxn ang="0">
                  <a:pos x="24" y="5"/>
                </a:cxn>
              </a:cxnLst>
              <a:rect l="0" t="0" r="r" b="b"/>
              <a:pathLst>
                <a:path w="129" h="89">
                  <a:moveTo>
                    <a:pt x="19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0" y="79"/>
                    <a:pt x="6" y="85"/>
                  </a:cubicBezTo>
                  <a:cubicBezTo>
                    <a:pt x="9" y="88"/>
                    <a:pt x="13" y="89"/>
                    <a:pt x="18" y="89"/>
                  </a:cubicBezTo>
                  <a:cubicBezTo>
                    <a:pt x="18" y="89"/>
                    <a:pt x="19" y="89"/>
                    <a:pt x="19" y="89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19" y="22"/>
                  </a:lnTo>
                  <a:close/>
                  <a:moveTo>
                    <a:pt x="9" y="81"/>
                  </a:moveTo>
                  <a:cubicBezTo>
                    <a:pt x="5" y="77"/>
                    <a:pt x="5" y="71"/>
                    <a:pt x="5" y="7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5" y="84"/>
                    <a:pt x="12" y="83"/>
                    <a:pt x="9" y="81"/>
                  </a:cubicBezTo>
                  <a:close/>
                  <a:moveTo>
                    <a:pt x="24" y="5"/>
                  </a:moveTo>
                  <a:cubicBezTo>
                    <a:pt x="124" y="5"/>
                    <a:pt x="124" y="5"/>
                    <a:pt x="124" y="5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24" y="84"/>
                    <a:pt x="24" y="84"/>
                    <a:pt x="24" y="84"/>
                  </a:cubicBezTo>
                  <a:lnTo>
                    <a:pt x="24" y="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78" name="Freeform 206"/>
            <p:cNvSpPr>
              <a:spLocks noEditPoints="1"/>
            </p:cNvSpPr>
            <p:nvPr/>
          </p:nvSpPr>
          <p:spPr bwMode="auto">
            <a:xfrm>
              <a:off x="4544" y="1954"/>
              <a:ext cx="203" cy="4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203" y="48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2" y="12"/>
                </a:cxn>
                <a:cxn ang="0">
                  <a:pos x="191" y="12"/>
                </a:cxn>
                <a:cxn ang="0">
                  <a:pos x="191" y="36"/>
                </a:cxn>
                <a:cxn ang="0">
                  <a:pos x="12" y="36"/>
                </a:cxn>
                <a:cxn ang="0">
                  <a:pos x="12" y="12"/>
                </a:cxn>
              </a:cxnLst>
              <a:rect l="0" t="0" r="r" b="b"/>
              <a:pathLst>
                <a:path w="203" h="48">
                  <a:moveTo>
                    <a:pt x="0" y="48"/>
                  </a:moveTo>
                  <a:lnTo>
                    <a:pt x="203" y="48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48"/>
                  </a:lnTo>
                  <a:close/>
                  <a:moveTo>
                    <a:pt x="12" y="12"/>
                  </a:moveTo>
                  <a:lnTo>
                    <a:pt x="191" y="12"/>
                  </a:lnTo>
                  <a:lnTo>
                    <a:pt x="191" y="36"/>
                  </a:lnTo>
                  <a:lnTo>
                    <a:pt x="12" y="36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79" name="Rectangle 207"/>
            <p:cNvSpPr>
              <a:spLocks noChangeArrowheads="1"/>
            </p:cNvSpPr>
            <p:nvPr/>
          </p:nvSpPr>
          <p:spPr bwMode="auto">
            <a:xfrm>
              <a:off x="4549" y="2016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0" name="Rectangle 208"/>
            <p:cNvSpPr>
              <a:spLocks noChangeArrowheads="1"/>
            </p:cNvSpPr>
            <p:nvPr/>
          </p:nvSpPr>
          <p:spPr bwMode="auto">
            <a:xfrm>
              <a:off x="4549" y="2047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1" name="Rectangle 209"/>
            <p:cNvSpPr>
              <a:spLocks noChangeArrowheads="1"/>
            </p:cNvSpPr>
            <p:nvPr/>
          </p:nvSpPr>
          <p:spPr bwMode="auto">
            <a:xfrm>
              <a:off x="4549" y="2078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2" name="Rectangle 210"/>
            <p:cNvSpPr>
              <a:spLocks noChangeArrowheads="1"/>
            </p:cNvSpPr>
            <p:nvPr/>
          </p:nvSpPr>
          <p:spPr bwMode="auto">
            <a:xfrm>
              <a:off x="4663" y="2016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3" name="Rectangle 211"/>
            <p:cNvSpPr>
              <a:spLocks noChangeArrowheads="1"/>
            </p:cNvSpPr>
            <p:nvPr/>
          </p:nvSpPr>
          <p:spPr bwMode="auto">
            <a:xfrm>
              <a:off x="4663" y="2045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4" name="Rectangle 212"/>
            <p:cNvSpPr>
              <a:spLocks noChangeArrowheads="1"/>
            </p:cNvSpPr>
            <p:nvPr/>
          </p:nvSpPr>
          <p:spPr bwMode="auto">
            <a:xfrm>
              <a:off x="4663" y="2076"/>
              <a:ext cx="79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87" name="Group 215"/>
          <p:cNvGrpSpPr>
            <a:grpSpLocks noChangeAspect="1"/>
          </p:cNvGrpSpPr>
          <p:nvPr/>
        </p:nvGrpSpPr>
        <p:grpSpPr bwMode="auto">
          <a:xfrm>
            <a:off x="8047038" y="2801938"/>
            <a:ext cx="790575" cy="793750"/>
            <a:chOff x="5069" y="1765"/>
            <a:chExt cx="498" cy="500"/>
          </a:xfrm>
        </p:grpSpPr>
        <p:sp>
          <p:nvSpPr>
            <p:cNvPr id="54488" name="Freeform 216"/>
            <p:cNvSpPr>
              <a:spLocks noEditPoints="1"/>
            </p:cNvSpPr>
            <p:nvPr/>
          </p:nvSpPr>
          <p:spPr bwMode="auto">
            <a:xfrm>
              <a:off x="5069" y="1765"/>
              <a:ext cx="498" cy="500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5"/>
                </a:cxn>
                <a:cxn ang="0">
                  <a:pos x="104" y="209"/>
                </a:cxn>
                <a:cxn ang="0">
                  <a:pos x="208" y="105"/>
                </a:cxn>
                <a:cxn ang="0">
                  <a:pos x="104" y="0"/>
                </a:cxn>
                <a:cxn ang="0">
                  <a:pos x="104" y="204"/>
                </a:cxn>
                <a:cxn ang="0">
                  <a:pos x="5" y="105"/>
                </a:cxn>
                <a:cxn ang="0">
                  <a:pos x="104" y="5"/>
                </a:cxn>
                <a:cxn ang="0">
                  <a:pos x="203" y="105"/>
                </a:cxn>
                <a:cxn ang="0">
                  <a:pos x="104" y="204"/>
                </a:cxn>
              </a:cxnLst>
              <a:rect l="0" t="0" r="r" b="b"/>
              <a:pathLst>
                <a:path w="208" h="209">
                  <a:moveTo>
                    <a:pt x="104" y="0"/>
                  </a:moveTo>
                  <a:cubicBezTo>
                    <a:pt x="46" y="0"/>
                    <a:pt x="0" y="47"/>
                    <a:pt x="0" y="105"/>
                  </a:cubicBezTo>
                  <a:cubicBezTo>
                    <a:pt x="0" y="162"/>
                    <a:pt x="46" y="209"/>
                    <a:pt x="104" y="209"/>
                  </a:cubicBezTo>
                  <a:cubicBezTo>
                    <a:pt x="162" y="209"/>
                    <a:pt x="208" y="162"/>
                    <a:pt x="208" y="105"/>
                  </a:cubicBezTo>
                  <a:cubicBezTo>
                    <a:pt x="208" y="47"/>
                    <a:pt x="162" y="0"/>
                    <a:pt x="104" y="0"/>
                  </a:cubicBezTo>
                  <a:close/>
                  <a:moveTo>
                    <a:pt x="104" y="204"/>
                  </a:moveTo>
                  <a:cubicBezTo>
                    <a:pt x="49" y="204"/>
                    <a:pt x="5" y="159"/>
                    <a:pt x="5" y="105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9" y="5"/>
                    <a:pt x="203" y="50"/>
                    <a:pt x="203" y="105"/>
                  </a:cubicBezTo>
                  <a:cubicBezTo>
                    <a:pt x="203" y="159"/>
                    <a:pt x="159" y="204"/>
                    <a:pt x="104" y="20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89" name="Freeform 217"/>
            <p:cNvSpPr>
              <a:spLocks noEditPoints="1"/>
            </p:cNvSpPr>
            <p:nvPr/>
          </p:nvSpPr>
          <p:spPr bwMode="auto">
            <a:xfrm>
              <a:off x="5162" y="1906"/>
              <a:ext cx="310" cy="213"/>
            </a:xfrm>
            <a:custGeom>
              <a:avLst/>
              <a:gdLst/>
              <a:ahLst/>
              <a:cxnLst>
                <a:cxn ang="0">
                  <a:pos x="19" y="22"/>
                </a:cxn>
                <a:cxn ang="0">
                  <a:pos x="0" y="22"/>
                </a:cxn>
                <a:cxn ang="0">
                  <a:pos x="0" y="70"/>
                </a:cxn>
                <a:cxn ang="0">
                  <a:pos x="6" y="85"/>
                </a:cxn>
                <a:cxn ang="0">
                  <a:pos x="18" y="89"/>
                </a:cxn>
                <a:cxn ang="0">
                  <a:pos x="19" y="89"/>
                </a:cxn>
                <a:cxn ang="0">
                  <a:pos x="129" y="89"/>
                </a:cxn>
                <a:cxn ang="0">
                  <a:pos x="129" y="0"/>
                </a:cxn>
                <a:cxn ang="0">
                  <a:pos x="19" y="0"/>
                </a:cxn>
                <a:cxn ang="0">
                  <a:pos x="19" y="22"/>
                </a:cxn>
                <a:cxn ang="0">
                  <a:pos x="9" y="81"/>
                </a:cxn>
                <a:cxn ang="0">
                  <a:pos x="5" y="70"/>
                </a:cxn>
                <a:cxn ang="0">
                  <a:pos x="5" y="27"/>
                </a:cxn>
                <a:cxn ang="0">
                  <a:pos x="19" y="27"/>
                </a:cxn>
                <a:cxn ang="0">
                  <a:pos x="19" y="84"/>
                </a:cxn>
                <a:cxn ang="0">
                  <a:pos x="9" y="81"/>
                </a:cxn>
                <a:cxn ang="0">
                  <a:pos x="24" y="5"/>
                </a:cxn>
                <a:cxn ang="0">
                  <a:pos x="124" y="5"/>
                </a:cxn>
                <a:cxn ang="0">
                  <a:pos x="124" y="84"/>
                </a:cxn>
                <a:cxn ang="0">
                  <a:pos x="24" y="84"/>
                </a:cxn>
                <a:cxn ang="0">
                  <a:pos x="24" y="5"/>
                </a:cxn>
              </a:cxnLst>
              <a:rect l="0" t="0" r="r" b="b"/>
              <a:pathLst>
                <a:path w="129" h="89">
                  <a:moveTo>
                    <a:pt x="19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0" y="79"/>
                    <a:pt x="6" y="85"/>
                  </a:cubicBezTo>
                  <a:cubicBezTo>
                    <a:pt x="9" y="88"/>
                    <a:pt x="13" y="89"/>
                    <a:pt x="18" y="89"/>
                  </a:cubicBezTo>
                  <a:cubicBezTo>
                    <a:pt x="18" y="89"/>
                    <a:pt x="19" y="89"/>
                    <a:pt x="19" y="89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19" y="22"/>
                  </a:lnTo>
                  <a:close/>
                  <a:moveTo>
                    <a:pt x="9" y="81"/>
                  </a:moveTo>
                  <a:cubicBezTo>
                    <a:pt x="5" y="77"/>
                    <a:pt x="5" y="70"/>
                    <a:pt x="5" y="7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5" y="84"/>
                    <a:pt x="12" y="83"/>
                    <a:pt x="9" y="81"/>
                  </a:cubicBezTo>
                  <a:close/>
                  <a:moveTo>
                    <a:pt x="24" y="5"/>
                  </a:moveTo>
                  <a:cubicBezTo>
                    <a:pt x="124" y="5"/>
                    <a:pt x="124" y="5"/>
                    <a:pt x="124" y="5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24" y="84"/>
                    <a:pt x="24" y="84"/>
                    <a:pt x="24" y="84"/>
                  </a:cubicBezTo>
                  <a:lnTo>
                    <a:pt x="24" y="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0" name="Freeform 218"/>
            <p:cNvSpPr>
              <a:spLocks noEditPoints="1"/>
            </p:cNvSpPr>
            <p:nvPr/>
          </p:nvSpPr>
          <p:spPr bwMode="auto">
            <a:xfrm>
              <a:off x="5237" y="1954"/>
              <a:ext cx="203" cy="4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203" y="48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2" y="12"/>
                </a:cxn>
                <a:cxn ang="0">
                  <a:pos x="191" y="12"/>
                </a:cxn>
                <a:cxn ang="0">
                  <a:pos x="191" y="36"/>
                </a:cxn>
                <a:cxn ang="0">
                  <a:pos x="12" y="36"/>
                </a:cxn>
                <a:cxn ang="0">
                  <a:pos x="12" y="12"/>
                </a:cxn>
              </a:cxnLst>
              <a:rect l="0" t="0" r="r" b="b"/>
              <a:pathLst>
                <a:path w="203" h="48">
                  <a:moveTo>
                    <a:pt x="0" y="48"/>
                  </a:moveTo>
                  <a:lnTo>
                    <a:pt x="203" y="48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48"/>
                  </a:lnTo>
                  <a:close/>
                  <a:moveTo>
                    <a:pt x="12" y="12"/>
                  </a:moveTo>
                  <a:lnTo>
                    <a:pt x="191" y="12"/>
                  </a:lnTo>
                  <a:lnTo>
                    <a:pt x="191" y="36"/>
                  </a:lnTo>
                  <a:lnTo>
                    <a:pt x="12" y="36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1" name="Rectangle 219"/>
            <p:cNvSpPr>
              <a:spLocks noChangeArrowheads="1"/>
            </p:cNvSpPr>
            <p:nvPr/>
          </p:nvSpPr>
          <p:spPr bwMode="auto">
            <a:xfrm>
              <a:off x="5242" y="2016"/>
              <a:ext cx="79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92" name="Rectangle 220"/>
            <p:cNvSpPr>
              <a:spLocks noChangeArrowheads="1"/>
            </p:cNvSpPr>
            <p:nvPr/>
          </p:nvSpPr>
          <p:spPr bwMode="auto">
            <a:xfrm>
              <a:off x="5242" y="2047"/>
              <a:ext cx="79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3" name="Rectangle 221"/>
            <p:cNvSpPr>
              <a:spLocks noChangeArrowheads="1"/>
            </p:cNvSpPr>
            <p:nvPr/>
          </p:nvSpPr>
          <p:spPr bwMode="auto">
            <a:xfrm>
              <a:off x="5242" y="2079"/>
              <a:ext cx="79" cy="1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4" name="Rectangle 222"/>
            <p:cNvSpPr>
              <a:spLocks noChangeArrowheads="1"/>
            </p:cNvSpPr>
            <p:nvPr/>
          </p:nvSpPr>
          <p:spPr bwMode="auto">
            <a:xfrm>
              <a:off x="5357" y="2016"/>
              <a:ext cx="79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5" name="Rectangle 223"/>
            <p:cNvSpPr>
              <a:spLocks noChangeArrowheads="1"/>
            </p:cNvSpPr>
            <p:nvPr/>
          </p:nvSpPr>
          <p:spPr bwMode="auto">
            <a:xfrm>
              <a:off x="5357" y="2045"/>
              <a:ext cx="79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96" name="Rectangle 224"/>
            <p:cNvSpPr>
              <a:spLocks noChangeArrowheads="1"/>
            </p:cNvSpPr>
            <p:nvPr/>
          </p:nvSpPr>
          <p:spPr bwMode="auto">
            <a:xfrm>
              <a:off x="5357" y="2076"/>
              <a:ext cx="79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499" name="Group 227"/>
          <p:cNvGrpSpPr>
            <a:grpSpLocks noChangeAspect="1"/>
          </p:cNvGrpSpPr>
          <p:nvPr/>
        </p:nvGrpSpPr>
        <p:grpSpPr bwMode="auto">
          <a:xfrm>
            <a:off x="352426" y="4057650"/>
            <a:ext cx="827087" cy="828675"/>
            <a:chOff x="211" y="2556"/>
            <a:chExt cx="521" cy="522"/>
          </a:xfrm>
        </p:grpSpPr>
        <p:sp>
          <p:nvSpPr>
            <p:cNvPr id="54500" name="Oval 228"/>
            <p:cNvSpPr>
              <a:spLocks noChangeArrowheads="1"/>
            </p:cNvSpPr>
            <p:nvPr/>
          </p:nvSpPr>
          <p:spPr bwMode="auto">
            <a:xfrm>
              <a:off x="211" y="2556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01" name="Freeform 229"/>
            <p:cNvSpPr>
              <a:spLocks noEditPoints="1"/>
            </p:cNvSpPr>
            <p:nvPr/>
          </p:nvSpPr>
          <p:spPr bwMode="auto">
            <a:xfrm>
              <a:off x="230" y="2575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02" name="Rectangle 230"/>
            <p:cNvSpPr>
              <a:spLocks noChangeArrowheads="1"/>
            </p:cNvSpPr>
            <p:nvPr/>
          </p:nvSpPr>
          <p:spPr bwMode="auto">
            <a:xfrm>
              <a:off x="445" y="2673"/>
              <a:ext cx="5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03" name="Freeform 231"/>
            <p:cNvSpPr>
              <a:spLocks noEditPoints="1"/>
            </p:cNvSpPr>
            <p:nvPr/>
          </p:nvSpPr>
          <p:spPr bwMode="auto">
            <a:xfrm>
              <a:off x="357" y="2652"/>
              <a:ext cx="229" cy="314"/>
            </a:xfrm>
            <a:custGeom>
              <a:avLst/>
              <a:gdLst/>
              <a:ahLst/>
              <a:cxnLst>
                <a:cxn ang="0">
                  <a:pos x="167" y="31"/>
                </a:cxn>
                <a:cxn ang="0">
                  <a:pos x="167" y="0"/>
                </a:cxn>
                <a:cxn ang="0">
                  <a:pos x="64" y="0"/>
                </a:cxn>
                <a:cxn ang="0">
                  <a:pos x="64" y="31"/>
                </a:cxn>
                <a:cxn ang="0">
                  <a:pos x="9" y="31"/>
                </a:cxn>
                <a:cxn ang="0">
                  <a:pos x="0" y="31"/>
                </a:cxn>
                <a:cxn ang="0">
                  <a:pos x="0" y="40"/>
                </a:cxn>
                <a:cxn ang="0">
                  <a:pos x="0" y="304"/>
                </a:cxn>
                <a:cxn ang="0">
                  <a:pos x="0" y="314"/>
                </a:cxn>
                <a:cxn ang="0">
                  <a:pos x="9" y="314"/>
                </a:cxn>
                <a:cxn ang="0">
                  <a:pos x="222" y="314"/>
                </a:cxn>
                <a:cxn ang="0">
                  <a:pos x="229" y="314"/>
                </a:cxn>
                <a:cxn ang="0">
                  <a:pos x="229" y="304"/>
                </a:cxn>
                <a:cxn ang="0">
                  <a:pos x="229" y="40"/>
                </a:cxn>
                <a:cxn ang="0">
                  <a:pos x="229" y="31"/>
                </a:cxn>
                <a:cxn ang="0">
                  <a:pos x="222" y="31"/>
                </a:cxn>
                <a:cxn ang="0">
                  <a:pos x="167" y="31"/>
                </a:cxn>
                <a:cxn ang="0">
                  <a:pos x="222" y="52"/>
                </a:cxn>
                <a:cxn ang="0">
                  <a:pos x="9" y="52"/>
                </a:cxn>
                <a:cxn ang="0">
                  <a:pos x="9" y="62"/>
                </a:cxn>
                <a:cxn ang="0">
                  <a:pos x="222" y="62"/>
                </a:cxn>
                <a:cxn ang="0">
                  <a:pos x="222" y="304"/>
                </a:cxn>
                <a:cxn ang="0">
                  <a:pos x="9" y="304"/>
                </a:cxn>
                <a:cxn ang="0">
                  <a:pos x="9" y="40"/>
                </a:cxn>
                <a:cxn ang="0">
                  <a:pos x="64" y="40"/>
                </a:cxn>
                <a:cxn ang="0">
                  <a:pos x="67" y="40"/>
                </a:cxn>
                <a:cxn ang="0">
                  <a:pos x="71" y="40"/>
                </a:cxn>
                <a:cxn ang="0">
                  <a:pos x="71" y="9"/>
                </a:cxn>
                <a:cxn ang="0">
                  <a:pos x="160" y="9"/>
                </a:cxn>
                <a:cxn ang="0">
                  <a:pos x="160" y="40"/>
                </a:cxn>
                <a:cxn ang="0">
                  <a:pos x="162" y="40"/>
                </a:cxn>
                <a:cxn ang="0">
                  <a:pos x="167" y="40"/>
                </a:cxn>
                <a:cxn ang="0">
                  <a:pos x="222" y="40"/>
                </a:cxn>
                <a:cxn ang="0">
                  <a:pos x="222" y="52"/>
                </a:cxn>
              </a:cxnLst>
              <a:rect l="0" t="0" r="r" b="b"/>
              <a:pathLst>
                <a:path w="229" h="314">
                  <a:moveTo>
                    <a:pt x="167" y="31"/>
                  </a:moveTo>
                  <a:lnTo>
                    <a:pt x="167" y="0"/>
                  </a:lnTo>
                  <a:lnTo>
                    <a:pt x="64" y="0"/>
                  </a:lnTo>
                  <a:lnTo>
                    <a:pt x="64" y="31"/>
                  </a:lnTo>
                  <a:lnTo>
                    <a:pt x="9" y="31"/>
                  </a:lnTo>
                  <a:lnTo>
                    <a:pt x="0" y="31"/>
                  </a:lnTo>
                  <a:lnTo>
                    <a:pt x="0" y="40"/>
                  </a:lnTo>
                  <a:lnTo>
                    <a:pt x="0" y="304"/>
                  </a:lnTo>
                  <a:lnTo>
                    <a:pt x="0" y="314"/>
                  </a:lnTo>
                  <a:lnTo>
                    <a:pt x="9" y="314"/>
                  </a:lnTo>
                  <a:lnTo>
                    <a:pt x="222" y="314"/>
                  </a:lnTo>
                  <a:lnTo>
                    <a:pt x="229" y="314"/>
                  </a:lnTo>
                  <a:lnTo>
                    <a:pt x="229" y="304"/>
                  </a:lnTo>
                  <a:lnTo>
                    <a:pt x="229" y="40"/>
                  </a:lnTo>
                  <a:lnTo>
                    <a:pt x="229" y="31"/>
                  </a:lnTo>
                  <a:lnTo>
                    <a:pt x="222" y="31"/>
                  </a:lnTo>
                  <a:lnTo>
                    <a:pt x="167" y="31"/>
                  </a:lnTo>
                  <a:close/>
                  <a:moveTo>
                    <a:pt x="222" y="52"/>
                  </a:moveTo>
                  <a:lnTo>
                    <a:pt x="9" y="52"/>
                  </a:lnTo>
                  <a:lnTo>
                    <a:pt x="9" y="62"/>
                  </a:lnTo>
                  <a:lnTo>
                    <a:pt x="222" y="62"/>
                  </a:lnTo>
                  <a:lnTo>
                    <a:pt x="222" y="304"/>
                  </a:lnTo>
                  <a:lnTo>
                    <a:pt x="9" y="304"/>
                  </a:lnTo>
                  <a:lnTo>
                    <a:pt x="9" y="40"/>
                  </a:lnTo>
                  <a:lnTo>
                    <a:pt x="64" y="40"/>
                  </a:lnTo>
                  <a:lnTo>
                    <a:pt x="67" y="40"/>
                  </a:lnTo>
                  <a:lnTo>
                    <a:pt x="71" y="40"/>
                  </a:lnTo>
                  <a:lnTo>
                    <a:pt x="71" y="9"/>
                  </a:lnTo>
                  <a:lnTo>
                    <a:pt x="160" y="9"/>
                  </a:lnTo>
                  <a:lnTo>
                    <a:pt x="160" y="40"/>
                  </a:lnTo>
                  <a:lnTo>
                    <a:pt x="162" y="40"/>
                  </a:lnTo>
                  <a:lnTo>
                    <a:pt x="167" y="40"/>
                  </a:lnTo>
                  <a:lnTo>
                    <a:pt x="222" y="40"/>
                  </a:lnTo>
                  <a:lnTo>
                    <a:pt x="222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504" name="Freeform 232"/>
            <p:cNvSpPr>
              <a:spLocks noEditPoints="1"/>
            </p:cNvSpPr>
            <p:nvPr/>
          </p:nvSpPr>
          <p:spPr bwMode="auto">
            <a:xfrm>
              <a:off x="385" y="2740"/>
              <a:ext cx="173" cy="175"/>
            </a:xfrm>
            <a:custGeom>
              <a:avLst/>
              <a:gdLst/>
              <a:ahLst/>
              <a:cxnLst>
                <a:cxn ang="0">
                  <a:pos x="55" y="175"/>
                </a:cxn>
                <a:cxn ang="0">
                  <a:pos x="96" y="175"/>
                </a:cxn>
                <a:cxn ang="0">
                  <a:pos x="106" y="154"/>
                </a:cxn>
                <a:cxn ang="0">
                  <a:pos x="146" y="154"/>
                </a:cxn>
                <a:cxn ang="0">
                  <a:pos x="146" y="58"/>
                </a:cxn>
                <a:cxn ang="0">
                  <a:pos x="173" y="0"/>
                </a:cxn>
                <a:cxn ang="0">
                  <a:pos x="125" y="0"/>
                </a:cxn>
                <a:cxn ang="0">
                  <a:pos x="103" y="53"/>
                </a:cxn>
                <a:cxn ang="0">
                  <a:pos x="46" y="53"/>
                </a:cxn>
                <a:cxn ang="0">
                  <a:pos x="46" y="94"/>
                </a:cxn>
                <a:cxn ang="0">
                  <a:pos x="0" y="94"/>
                </a:cxn>
                <a:cxn ang="0">
                  <a:pos x="55" y="175"/>
                </a:cxn>
                <a:cxn ang="0">
                  <a:pos x="139" y="144"/>
                </a:cxn>
                <a:cxn ang="0">
                  <a:pos x="108" y="144"/>
                </a:cxn>
                <a:cxn ang="0">
                  <a:pos x="139" y="77"/>
                </a:cxn>
                <a:cxn ang="0">
                  <a:pos x="139" y="144"/>
                </a:cxn>
                <a:cxn ang="0">
                  <a:pos x="130" y="10"/>
                </a:cxn>
                <a:cxn ang="0">
                  <a:pos x="158" y="10"/>
                </a:cxn>
                <a:cxn ang="0">
                  <a:pos x="89" y="168"/>
                </a:cxn>
                <a:cxn ang="0">
                  <a:pos x="60" y="168"/>
                </a:cxn>
                <a:cxn ang="0">
                  <a:pos x="17" y="101"/>
                </a:cxn>
                <a:cxn ang="0">
                  <a:pos x="48" y="101"/>
                </a:cxn>
                <a:cxn ang="0">
                  <a:pos x="75" y="142"/>
                </a:cxn>
                <a:cxn ang="0">
                  <a:pos x="130" y="10"/>
                </a:cxn>
                <a:cxn ang="0">
                  <a:pos x="98" y="60"/>
                </a:cxn>
                <a:cxn ang="0">
                  <a:pos x="72" y="123"/>
                </a:cxn>
                <a:cxn ang="0">
                  <a:pos x="55" y="94"/>
                </a:cxn>
                <a:cxn ang="0">
                  <a:pos x="55" y="60"/>
                </a:cxn>
                <a:cxn ang="0">
                  <a:pos x="98" y="60"/>
                </a:cxn>
              </a:cxnLst>
              <a:rect l="0" t="0" r="r" b="b"/>
              <a:pathLst>
                <a:path w="173" h="175">
                  <a:moveTo>
                    <a:pt x="55" y="175"/>
                  </a:moveTo>
                  <a:lnTo>
                    <a:pt x="96" y="175"/>
                  </a:lnTo>
                  <a:lnTo>
                    <a:pt x="106" y="154"/>
                  </a:lnTo>
                  <a:lnTo>
                    <a:pt x="146" y="154"/>
                  </a:lnTo>
                  <a:lnTo>
                    <a:pt x="146" y="58"/>
                  </a:lnTo>
                  <a:lnTo>
                    <a:pt x="173" y="0"/>
                  </a:lnTo>
                  <a:lnTo>
                    <a:pt x="125" y="0"/>
                  </a:lnTo>
                  <a:lnTo>
                    <a:pt x="103" y="53"/>
                  </a:lnTo>
                  <a:lnTo>
                    <a:pt x="46" y="53"/>
                  </a:lnTo>
                  <a:lnTo>
                    <a:pt x="46" y="94"/>
                  </a:lnTo>
                  <a:lnTo>
                    <a:pt x="0" y="94"/>
                  </a:lnTo>
                  <a:lnTo>
                    <a:pt x="55" y="175"/>
                  </a:lnTo>
                  <a:close/>
                  <a:moveTo>
                    <a:pt x="139" y="144"/>
                  </a:moveTo>
                  <a:lnTo>
                    <a:pt x="108" y="144"/>
                  </a:lnTo>
                  <a:lnTo>
                    <a:pt x="139" y="77"/>
                  </a:lnTo>
                  <a:lnTo>
                    <a:pt x="139" y="144"/>
                  </a:lnTo>
                  <a:close/>
                  <a:moveTo>
                    <a:pt x="130" y="10"/>
                  </a:moveTo>
                  <a:lnTo>
                    <a:pt x="158" y="10"/>
                  </a:lnTo>
                  <a:lnTo>
                    <a:pt x="89" y="168"/>
                  </a:lnTo>
                  <a:lnTo>
                    <a:pt x="60" y="168"/>
                  </a:lnTo>
                  <a:lnTo>
                    <a:pt x="17" y="101"/>
                  </a:lnTo>
                  <a:lnTo>
                    <a:pt x="48" y="101"/>
                  </a:lnTo>
                  <a:lnTo>
                    <a:pt x="75" y="142"/>
                  </a:lnTo>
                  <a:lnTo>
                    <a:pt x="130" y="10"/>
                  </a:lnTo>
                  <a:close/>
                  <a:moveTo>
                    <a:pt x="98" y="60"/>
                  </a:moveTo>
                  <a:lnTo>
                    <a:pt x="72" y="123"/>
                  </a:lnTo>
                  <a:lnTo>
                    <a:pt x="55" y="94"/>
                  </a:lnTo>
                  <a:lnTo>
                    <a:pt x="55" y="60"/>
                  </a:lnTo>
                  <a:lnTo>
                    <a:pt x="98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507" name="Group 235"/>
          <p:cNvGrpSpPr>
            <a:grpSpLocks noChangeAspect="1"/>
          </p:cNvGrpSpPr>
          <p:nvPr/>
        </p:nvGrpSpPr>
        <p:grpSpPr bwMode="auto">
          <a:xfrm>
            <a:off x="1462880" y="4087816"/>
            <a:ext cx="768350" cy="768350"/>
            <a:chOff x="914" y="2575"/>
            <a:chExt cx="484" cy="484"/>
          </a:xfrm>
        </p:grpSpPr>
        <p:sp>
          <p:nvSpPr>
            <p:cNvPr id="54508" name="Freeform 236"/>
            <p:cNvSpPr>
              <a:spLocks noEditPoints="1"/>
            </p:cNvSpPr>
            <p:nvPr/>
          </p:nvSpPr>
          <p:spPr bwMode="auto">
            <a:xfrm>
              <a:off x="914" y="25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09" name="Rectangle 237"/>
            <p:cNvSpPr>
              <a:spLocks noChangeArrowheads="1"/>
            </p:cNvSpPr>
            <p:nvPr/>
          </p:nvSpPr>
          <p:spPr bwMode="auto">
            <a:xfrm>
              <a:off x="1130" y="2674"/>
              <a:ext cx="55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10" name="Freeform 238"/>
            <p:cNvSpPr>
              <a:spLocks noEditPoints="1"/>
            </p:cNvSpPr>
            <p:nvPr/>
          </p:nvSpPr>
          <p:spPr bwMode="auto">
            <a:xfrm>
              <a:off x="1041" y="2652"/>
              <a:ext cx="233" cy="314"/>
            </a:xfrm>
            <a:custGeom>
              <a:avLst/>
              <a:gdLst/>
              <a:ahLst/>
              <a:cxnLst>
                <a:cxn ang="0">
                  <a:pos x="168" y="31"/>
                </a:cxn>
                <a:cxn ang="0">
                  <a:pos x="168" y="0"/>
                </a:cxn>
                <a:cxn ang="0">
                  <a:pos x="65" y="0"/>
                </a:cxn>
                <a:cxn ang="0">
                  <a:pos x="65" y="31"/>
                </a:cxn>
                <a:cxn ang="0">
                  <a:pos x="10" y="31"/>
                </a:cxn>
                <a:cxn ang="0">
                  <a:pos x="0" y="31"/>
                </a:cxn>
                <a:cxn ang="0">
                  <a:pos x="0" y="41"/>
                </a:cxn>
                <a:cxn ang="0">
                  <a:pos x="0" y="304"/>
                </a:cxn>
                <a:cxn ang="0">
                  <a:pos x="0" y="314"/>
                </a:cxn>
                <a:cxn ang="0">
                  <a:pos x="10" y="314"/>
                </a:cxn>
                <a:cxn ang="0">
                  <a:pos x="223" y="314"/>
                </a:cxn>
                <a:cxn ang="0">
                  <a:pos x="233" y="314"/>
                </a:cxn>
                <a:cxn ang="0">
                  <a:pos x="233" y="304"/>
                </a:cxn>
                <a:cxn ang="0">
                  <a:pos x="233" y="41"/>
                </a:cxn>
                <a:cxn ang="0">
                  <a:pos x="233" y="31"/>
                </a:cxn>
                <a:cxn ang="0">
                  <a:pos x="223" y="31"/>
                </a:cxn>
                <a:cxn ang="0">
                  <a:pos x="168" y="31"/>
                </a:cxn>
                <a:cxn ang="0">
                  <a:pos x="223" y="53"/>
                </a:cxn>
                <a:cxn ang="0">
                  <a:pos x="10" y="53"/>
                </a:cxn>
                <a:cxn ang="0">
                  <a:pos x="10" y="62"/>
                </a:cxn>
                <a:cxn ang="0">
                  <a:pos x="223" y="62"/>
                </a:cxn>
                <a:cxn ang="0">
                  <a:pos x="223" y="304"/>
                </a:cxn>
                <a:cxn ang="0">
                  <a:pos x="10" y="304"/>
                </a:cxn>
                <a:cxn ang="0">
                  <a:pos x="10" y="41"/>
                </a:cxn>
                <a:cxn ang="0">
                  <a:pos x="65" y="41"/>
                </a:cxn>
                <a:cxn ang="0">
                  <a:pos x="67" y="41"/>
                </a:cxn>
                <a:cxn ang="0">
                  <a:pos x="72" y="41"/>
                </a:cxn>
                <a:cxn ang="0">
                  <a:pos x="72" y="10"/>
                </a:cxn>
                <a:cxn ang="0">
                  <a:pos x="161" y="10"/>
                </a:cxn>
                <a:cxn ang="0">
                  <a:pos x="161" y="41"/>
                </a:cxn>
                <a:cxn ang="0">
                  <a:pos x="163" y="41"/>
                </a:cxn>
                <a:cxn ang="0">
                  <a:pos x="168" y="41"/>
                </a:cxn>
                <a:cxn ang="0">
                  <a:pos x="223" y="41"/>
                </a:cxn>
                <a:cxn ang="0">
                  <a:pos x="223" y="53"/>
                </a:cxn>
              </a:cxnLst>
              <a:rect l="0" t="0" r="r" b="b"/>
              <a:pathLst>
                <a:path w="233" h="314">
                  <a:moveTo>
                    <a:pt x="168" y="31"/>
                  </a:moveTo>
                  <a:lnTo>
                    <a:pt x="168" y="0"/>
                  </a:lnTo>
                  <a:lnTo>
                    <a:pt x="65" y="0"/>
                  </a:lnTo>
                  <a:lnTo>
                    <a:pt x="65" y="31"/>
                  </a:lnTo>
                  <a:lnTo>
                    <a:pt x="10" y="31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0" y="304"/>
                  </a:lnTo>
                  <a:lnTo>
                    <a:pt x="0" y="314"/>
                  </a:lnTo>
                  <a:lnTo>
                    <a:pt x="10" y="314"/>
                  </a:lnTo>
                  <a:lnTo>
                    <a:pt x="223" y="314"/>
                  </a:lnTo>
                  <a:lnTo>
                    <a:pt x="233" y="314"/>
                  </a:lnTo>
                  <a:lnTo>
                    <a:pt x="233" y="304"/>
                  </a:lnTo>
                  <a:lnTo>
                    <a:pt x="233" y="41"/>
                  </a:lnTo>
                  <a:lnTo>
                    <a:pt x="233" y="31"/>
                  </a:lnTo>
                  <a:lnTo>
                    <a:pt x="223" y="31"/>
                  </a:lnTo>
                  <a:lnTo>
                    <a:pt x="168" y="31"/>
                  </a:lnTo>
                  <a:close/>
                  <a:moveTo>
                    <a:pt x="223" y="53"/>
                  </a:moveTo>
                  <a:lnTo>
                    <a:pt x="10" y="53"/>
                  </a:lnTo>
                  <a:lnTo>
                    <a:pt x="10" y="62"/>
                  </a:lnTo>
                  <a:lnTo>
                    <a:pt x="223" y="62"/>
                  </a:lnTo>
                  <a:lnTo>
                    <a:pt x="223" y="304"/>
                  </a:lnTo>
                  <a:lnTo>
                    <a:pt x="10" y="304"/>
                  </a:lnTo>
                  <a:lnTo>
                    <a:pt x="10" y="41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72" y="41"/>
                  </a:lnTo>
                  <a:lnTo>
                    <a:pt x="72" y="10"/>
                  </a:lnTo>
                  <a:lnTo>
                    <a:pt x="161" y="10"/>
                  </a:lnTo>
                  <a:lnTo>
                    <a:pt x="161" y="41"/>
                  </a:lnTo>
                  <a:lnTo>
                    <a:pt x="163" y="41"/>
                  </a:lnTo>
                  <a:lnTo>
                    <a:pt x="168" y="41"/>
                  </a:lnTo>
                  <a:lnTo>
                    <a:pt x="223" y="41"/>
                  </a:lnTo>
                  <a:lnTo>
                    <a:pt x="223" y="5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11" name="Freeform 239"/>
            <p:cNvSpPr>
              <a:spLocks noEditPoints="1"/>
            </p:cNvSpPr>
            <p:nvPr/>
          </p:nvSpPr>
          <p:spPr bwMode="auto">
            <a:xfrm>
              <a:off x="1070" y="2741"/>
              <a:ext cx="173" cy="175"/>
            </a:xfrm>
            <a:custGeom>
              <a:avLst/>
              <a:gdLst/>
              <a:ahLst/>
              <a:cxnLst>
                <a:cxn ang="0">
                  <a:pos x="55" y="175"/>
                </a:cxn>
                <a:cxn ang="0">
                  <a:pos x="96" y="175"/>
                </a:cxn>
                <a:cxn ang="0">
                  <a:pos x="106" y="153"/>
                </a:cxn>
                <a:cxn ang="0">
                  <a:pos x="146" y="153"/>
                </a:cxn>
                <a:cxn ang="0">
                  <a:pos x="146" y="57"/>
                </a:cxn>
                <a:cxn ang="0">
                  <a:pos x="173" y="0"/>
                </a:cxn>
                <a:cxn ang="0">
                  <a:pos x="125" y="0"/>
                </a:cxn>
                <a:cxn ang="0">
                  <a:pos x="103" y="52"/>
                </a:cxn>
                <a:cxn ang="0">
                  <a:pos x="46" y="52"/>
                </a:cxn>
                <a:cxn ang="0">
                  <a:pos x="46" y="93"/>
                </a:cxn>
                <a:cxn ang="0">
                  <a:pos x="0" y="93"/>
                </a:cxn>
                <a:cxn ang="0">
                  <a:pos x="55" y="175"/>
                </a:cxn>
                <a:cxn ang="0">
                  <a:pos x="139" y="144"/>
                </a:cxn>
                <a:cxn ang="0">
                  <a:pos x="108" y="144"/>
                </a:cxn>
                <a:cxn ang="0">
                  <a:pos x="139" y="76"/>
                </a:cxn>
                <a:cxn ang="0">
                  <a:pos x="139" y="144"/>
                </a:cxn>
                <a:cxn ang="0">
                  <a:pos x="130" y="9"/>
                </a:cxn>
                <a:cxn ang="0">
                  <a:pos x="158" y="9"/>
                </a:cxn>
                <a:cxn ang="0">
                  <a:pos x="89" y="167"/>
                </a:cxn>
                <a:cxn ang="0">
                  <a:pos x="60" y="167"/>
                </a:cxn>
                <a:cxn ang="0">
                  <a:pos x="17" y="100"/>
                </a:cxn>
                <a:cxn ang="0">
                  <a:pos x="48" y="100"/>
                </a:cxn>
                <a:cxn ang="0">
                  <a:pos x="74" y="141"/>
                </a:cxn>
                <a:cxn ang="0">
                  <a:pos x="130" y="9"/>
                </a:cxn>
                <a:cxn ang="0">
                  <a:pos x="98" y="60"/>
                </a:cxn>
                <a:cxn ang="0">
                  <a:pos x="72" y="122"/>
                </a:cxn>
                <a:cxn ang="0">
                  <a:pos x="55" y="93"/>
                </a:cxn>
                <a:cxn ang="0">
                  <a:pos x="55" y="60"/>
                </a:cxn>
                <a:cxn ang="0">
                  <a:pos x="98" y="60"/>
                </a:cxn>
              </a:cxnLst>
              <a:rect l="0" t="0" r="r" b="b"/>
              <a:pathLst>
                <a:path w="173" h="175">
                  <a:moveTo>
                    <a:pt x="55" y="175"/>
                  </a:moveTo>
                  <a:lnTo>
                    <a:pt x="96" y="175"/>
                  </a:lnTo>
                  <a:lnTo>
                    <a:pt x="106" y="153"/>
                  </a:lnTo>
                  <a:lnTo>
                    <a:pt x="146" y="153"/>
                  </a:lnTo>
                  <a:lnTo>
                    <a:pt x="146" y="57"/>
                  </a:lnTo>
                  <a:lnTo>
                    <a:pt x="173" y="0"/>
                  </a:lnTo>
                  <a:lnTo>
                    <a:pt x="125" y="0"/>
                  </a:lnTo>
                  <a:lnTo>
                    <a:pt x="103" y="52"/>
                  </a:lnTo>
                  <a:lnTo>
                    <a:pt x="46" y="52"/>
                  </a:lnTo>
                  <a:lnTo>
                    <a:pt x="46" y="93"/>
                  </a:lnTo>
                  <a:lnTo>
                    <a:pt x="0" y="93"/>
                  </a:lnTo>
                  <a:lnTo>
                    <a:pt x="55" y="175"/>
                  </a:lnTo>
                  <a:close/>
                  <a:moveTo>
                    <a:pt x="139" y="144"/>
                  </a:moveTo>
                  <a:lnTo>
                    <a:pt x="108" y="144"/>
                  </a:lnTo>
                  <a:lnTo>
                    <a:pt x="139" y="76"/>
                  </a:lnTo>
                  <a:lnTo>
                    <a:pt x="139" y="144"/>
                  </a:lnTo>
                  <a:close/>
                  <a:moveTo>
                    <a:pt x="130" y="9"/>
                  </a:moveTo>
                  <a:lnTo>
                    <a:pt x="158" y="9"/>
                  </a:lnTo>
                  <a:lnTo>
                    <a:pt x="89" y="167"/>
                  </a:lnTo>
                  <a:lnTo>
                    <a:pt x="60" y="167"/>
                  </a:lnTo>
                  <a:lnTo>
                    <a:pt x="17" y="100"/>
                  </a:lnTo>
                  <a:lnTo>
                    <a:pt x="48" y="100"/>
                  </a:lnTo>
                  <a:lnTo>
                    <a:pt x="74" y="141"/>
                  </a:lnTo>
                  <a:lnTo>
                    <a:pt x="130" y="9"/>
                  </a:lnTo>
                  <a:close/>
                  <a:moveTo>
                    <a:pt x="98" y="60"/>
                  </a:moveTo>
                  <a:lnTo>
                    <a:pt x="72" y="122"/>
                  </a:lnTo>
                  <a:lnTo>
                    <a:pt x="55" y="93"/>
                  </a:lnTo>
                  <a:lnTo>
                    <a:pt x="55" y="60"/>
                  </a:lnTo>
                  <a:lnTo>
                    <a:pt x="98" y="6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514" name="Group 242"/>
          <p:cNvGrpSpPr>
            <a:grpSpLocks noChangeAspect="1"/>
          </p:cNvGrpSpPr>
          <p:nvPr/>
        </p:nvGrpSpPr>
        <p:grpSpPr bwMode="auto">
          <a:xfrm>
            <a:off x="2524125" y="4048125"/>
            <a:ext cx="847725" cy="847725"/>
            <a:chOff x="1582" y="2550"/>
            <a:chExt cx="534" cy="534"/>
          </a:xfrm>
        </p:grpSpPr>
        <p:sp>
          <p:nvSpPr>
            <p:cNvPr id="54515" name="Oval 243"/>
            <p:cNvSpPr>
              <a:spLocks noChangeArrowheads="1"/>
            </p:cNvSpPr>
            <p:nvPr/>
          </p:nvSpPr>
          <p:spPr bwMode="auto">
            <a:xfrm>
              <a:off x="1582" y="2550"/>
              <a:ext cx="534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516" name="Freeform 244"/>
            <p:cNvSpPr>
              <a:spLocks noEditPoints="1"/>
            </p:cNvSpPr>
            <p:nvPr/>
          </p:nvSpPr>
          <p:spPr bwMode="auto">
            <a:xfrm>
              <a:off x="1601" y="2572"/>
              <a:ext cx="496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7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7"/>
                    <a:pt x="104" y="207"/>
                  </a:cubicBezTo>
                  <a:cubicBezTo>
                    <a:pt x="161" y="207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17" name="Freeform 245"/>
            <p:cNvSpPr>
              <a:spLocks noEditPoints="1"/>
            </p:cNvSpPr>
            <p:nvPr/>
          </p:nvSpPr>
          <p:spPr bwMode="auto">
            <a:xfrm>
              <a:off x="1680" y="2648"/>
              <a:ext cx="341" cy="340"/>
            </a:xfrm>
            <a:custGeom>
              <a:avLst/>
              <a:gdLst/>
              <a:ahLst/>
              <a:cxnLst>
                <a:cxn ang="0">
                  <a:pos x="305" y="163"/>
                </a:cxn>
                <a:cxn ang="0">
                  <a:pos x="305" y="106"/>
                </a:cxn>
                <a:cxn ang="0">
                  <a:pos x="230" y="106"/>
                </a:cxn>
                <a:cxn ang="0">
                  <a:pos x="230" y="32"/>
                </a:cxn>
                <a:cxn ang="0">
                  <a:pos x="173" y="32"/>
                </a:cxn>
                <a:cxn ang="0">
                  <a:pos x="173" y="0"/>
                </a:cxn>
                <a:cxn ang="0">
                  <a:pos x="166" y="0"/>
                </a:cxn>
                <a:cxn ang="0">
                  <a:pos x="166" y="32"/>
                </a:cxn>
                <a:cxn ang="0">
                  <a:pos x="108" y="32"/>
                </a:cxn>
                <a:cxn ang="0">
                  <a:pos x="108" y="106"/>
                </a:cxn>
                <a:cxn ang="0">
                  <a:pos x="34" y="106"/>
                </a:cxn>
                <a:cxn ang="0">
                  <a:pos x="34" y="163"/>
                </a:cxn>
                <a:cxn ang="0">
                  <a:pos x="0" y="163"/>
                </a:cxn>
                <a:cxn ang="0">
                  <a:pos x="0" y="170"/>
                </a:cxn>
                <a:cxn ang="0">
                  <a:pos x="34" y="170"/>
                </a:cxn>
                <a:cxn ang="0">
                  <a:pos x="34" y="228"/>
                </a:cxn>
                <a:cxn ang="0">
                  <a:pos x="108" y="228"/>
                </a:cxn>
                <a:cxn ang="0">
                  <a:pos x="108" y="299"/>
                </a:cxn>
                <a:cxn ang="0">
                  <a:pos x="166" y="299"/>
                </a:cxn>
                <a:cxn ang="0">
                  <a:pos x="166" y="340"/>
                </a:cxn>
                <a:cxn ang="0">
                  <a:pos x="173" y="340"/>
                </a:cxn>
                <a:cxn ang="0">
                  <a:pos x="173" y="302"/>
                </a:cxn>
                <a:cxn ang="0">
                  <a:pos x="230" y="302"/>
                </a:cxn>
                <a:cxn ang="0">
                  <a:pos x="230" y="228"/>
                </a:cxn>
                <a:cxn ang="0">
                  <a:pos x="305" y="228"/>
                </a:cxn>
                <a:cxn ang="0">
                  <a:pos x="305" y="170"/>
                </a:cxn>
                <a:cxn ang="0">
                  <a:pos x="341" y="170"/>
                </a:cxn>
                <a:cxn ang="0">
                  <a:pos x="341" y="163"/>
                </a:cxn>
                <a:cxn ang="0">
                  <a:pos x="305" y="163"/>
                </a:cxn>
                <a:cxn ang="0">
                  <a:pos x="221" y="41"/>
                </a:cxn>
                <a:cxn ang="0">
                  <a:pos x="221" y="113"/>
                </a:cxn>
                <a:cxn ang="0">
                  <a:pos x="295" y="113"/>
                </a:cxn>
                <a:cxn ang="0">
                  <a:pos x="295" y="161"/>
                </a:cxn>
                <a:cxn ang="0">
                  <a:pos x="173" y="161"/>
                </a:cxn>
                <a:cxn ang="0">
                  <a:pos x="173" y="41"/>
                </a:cxn>
                <a:cxn ang="0">
                  <a:pos x="221" y="41"/>
                </a:cxn>
                <a:cxn ang="0">
                  <a:pos x="43" y="115"/>
                </a:cxn>
                <a:cxn ang="0">
                  <a:pos x="118" y="115"/>
                </a:cxn>
                <a:cxn ang="0">
                  <a:pos x="118" y="41"/>
                </a:cxn>
                <a:cxn ang="0">
                  <a:pos x="166" y="41"/>
                </a:cxn>
                <a:cxn ang="0">
                  <a:pos x="166" y="163"/>
                </a:cxn>
                <a:cxn ang="0">
                  <a:pos x="43" y="163"/>
                </a:cxn>
                <a:cxn ang="0">
                  <a:pos x="43" y="115"/>
                </a:cxn>
                <a:cxn ang="0">
                  <a:pos x="118" y="292"/>
                </a:cxn>
                <a:cxn ang="0">
                  <a:pos x="118" y="218"/>
                </a:cxn>
                <a:cxn ang="0">
                  <a:pos x="43" y="218"/>
                </a:cxn>
                <a:cxn ang="0">
                  <a:pos x="43" y="170"/>
                </a:cxn>
                <a:cxn ang="0">
                  <a:pos x="166" y="170"/>
                </a:cxn>
                <a:cxn ang="0">
                  <a:pos x="166" y="292"/>
                </a:cxn>
                <a:cxn ang="0">
                  <a:pos x="118" y="292"/>
                </a:cxn>
                <a:cxn ang="0">
                  <a:pos x="295" y="218"/>
                </a:cxn>
                <a:cxn ang="0">
                  <a:pos x="221" y="218"/>
                </a:cxn>
                <a:cxn ang="0">
                  <a:pos x="221" y="292"/>
                </a:cxn>
                <a:cxn ang="0">
                  <a:pos x="173" y="292"/>
                </a:cxn>
                <a:cxn ang="0">
                  <a:pos x="173" y="170"/>
                </a:cxn>
                <a:cxn ang="0">
                  <a:pos x="295" y="170"/>
                </a:cxn>
                <a:cxn ang="0">
                  <a:pos x="295" y="218"/>
                </a:cxn>
              </a:cxnLst>
              <a:rect l="0" t="0" r="r" b="b"/>
              <a:pathLst>
                <a:path w="341" h="340">
                  <a:moveTo>
                    <a:pt x="305" y="163"/>
                  </a:moveTo>
                  <a:lnTo>
                    <a:pt x="305" y="106"/>
                  </a:lnTo>
                  <a:lnTo>
                    <a:pt x="230" y="106"/>
                  </a:lnTo>
                  <a:lnTo>
                    <a:pt x="230" y="32"/>
                  </a:lnTo>
                  <a:lnTo>
                    <a:pt x="173" y="32"/>
                  </a:lnTo>
                  <a:lnTo>
                    <a:pt x="173" y="0"/>
                  </a:lnTo>
                  <a:lnTo>
                    <a:pt x="166" y="0"/>
                  </a:lnTo>
                  <a:lnTo>
                    <a:pt x="166" y="32"/>
                  </a:lnTo>
                  <a:lnTo>
                    <a:pt x="108" y="32"/>
                  </a:lnTo>
                  <a:lnTo>
                    <a:pt x="108" y="106"/>
                  </a:lnTo>
                  <a:lnTo>
                    <a:pt x="34" y="106"/>
                  </a:lnTo>
                  <a:lnTo>
                    <a:pt x="34" y="163"/>
                  </a:lnTo>
                  <a:lnTo>
                    <a:pt x="0" y="163"/>
                  </a:lnTo>
                  <a:lnTo>
                    <a:pt x="0" y="170"/>
                  </a:lnTo>
                  <a:lnTo>
                    <a:pt x="34" y="170"/>
                  </a:lnTo>
                  <a:lnTo>
                    <a:pt x="34" y="228"/>
                  </a:lnTo>
                  <a:lnTo>
                    <a:pt x="108" y="228"/>
                  </a:lnTo>
                  <a:lnTo>
                    <a:pt x="108" y="299"/>
                  </a:lnTo>
                  <a:lnTo>
                    <a:pt x="166" y="299"/>
                  </a:lnTo>
                  <a:lnTo>
                    <a:pt x="166" y="340"/>
                  </a:lnTo>
                  <a:lnTo>
                    <a:pt x="173" y="340"/>
                  </a:lnTo>
                  <a:lnTo>
                    <a:pt x="173" y="302"/>
                  </a:lnTo>
                  <a:lnTo>
                    <a:pt x="230" y="302"/>
                  </a:lnTo>
                  <a:lnTo>
                    <a:pt x="230" y="228"/>
                  </a:lnTo>
                  <a:lnTo>
                    <a:pt x="305" y="228"/>
                  </a:lnTo>
                  <a:lnTo>
                    <a:pt x="305" y="170"/>
                  </a:lnTo>
                  <a:lnTo>
                    <a:pt x="341" y="170"/>
                  </a:lnTo>
                  <a:lnTo>
                    <a:pt x="341" y="163"/>
                  </a:lnTo>
                  <a:lnTo>
                    <a:pt x="305" y="163"/>
                  </a:lnTo>
                  <a:close/>
                  <a:moveTo>
                    <a:pt x="221" y="41"/>
                  </a:moveTo>
                  <a:lnTo>
                    <a:pt x="221" y="113"/>
                  </a:lnTo>
                  <a:lnTo>
                    <a:pt x="295" y="113"/>
                  </a:lnTo>
                  <a:lnTo>
                    <a:pt x="295" y="161"/>
                  </a:lnTo>
                  <a:lnTo>
                    <a:pt x="173" y="161"/>
                  </a:lnTo>
                  <a:lnTo>
                    <a:pt x="173" y="41"/>
                  </a:lnTo>
                  <a:lnTo>
                    <a:pt x="221" y="41"/>
                  </a:lnTo>
                  <a:close/>
                  <a:moveTo>
                    <a:pt x="43" y="115"/>
                  </a:moveTo>
                  <a:lnTo>
                    <a:pt x="118" y="115"/>
                  </a:lnTo>
                  <a:lnTo>
                    <a:pt x="118" y="41"/>
                  </a:lnTo>
                  <a:lnTo>
                    <a:pt x="166" y="41"/>
                  </a:lnTo>
                  <a:lnTo>
                    <a:pt x="166" y="163"/>
                  </a:lnTo>
                  <a:lnTo>
                    <a:pt x="43" y="163"/>
                  </a:lnTo>
                  <a:lnTo>
                    <a:pt x="43" y="115"/>
                  </a:lnTo>
                  <a:close/>
                  <a:moveTo>
                    <a:pt x="118" y="292"/>
                  </a:moveTo>
                  <a:lnTo>
                    <a:pt x="118" y="218"/>
                  </a:lnTo>
                  <a:lnTo>
                    <a:pt x="43" y="218"/>
                  </a:lnTo>
                  <a:lnTo>
                    <a:pt x="43" y="170"/>
                  </a:lnTo>
                  <a:lnTo>
                    <a:pt x="166" y="170"/>
                  </a:lnTo>
                  <a:lnTo>
                    <a:pt x="166" y="292"/>
                  </a:lnTo>
                  <a:lnTo>
                    <a:pt x="118" y="292"/>
                  </a:lnTo>
                  <a:close/>
                  <a:moveTo>
                    <a:pt x="295" y="218"/>
                  </a:moveTo>
                  <a:lnTo>
                    <a:pt x="221" y="218"/>
                  </a:lnTo>
                  <a:lnTo>
                    <a:pt x="221" y="292"/>
                  </a:lnTo>
                  <a:lnTo>
                    <a:pt x="173" y="292"/>
                  </a:lnTo>
                  <a:lnTo>
                    <a:pt x="173" y="170"/>
                  </a:lnTo>
                  <a:lnTo>
                    <a:pt x="295" y="170"/>
                  </a:lnTo>
                  <a:lnTo>
                    <a:pt x="295" y="2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18" name="Freeform 246"/>
            <p:cNvSpPr>
              <a:spLocks noEditPoints="1"/>
            </p:cNvSpPr>
            <p:nvPr/>
          </p:nvSpPr>
          <p:spPr bwMode="auto">
            <a:xfrm>
              <a:off x="1920" y="2687"/>
              <a:ext cx="60" cy="60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11" y="25"/>
                </a:cxn>
                <a:cxn ang="0">
                  <a:pos x="18" y="22"/>
                </a:cxn>
                <a:cxn ang="0">
                  <a:pos x="22" y="24"/>
                </a:cxn>
                <a:cxn ang="0">
                  <a:pos x="23" y="23"/>
                </a:cxn>
                <a:cxn ang="0">
                  <a:pos x="23" y="16"/>
                </a:cxn>
                <a:cxn ang="0">
                  <a:pos x="17" y="8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3" y="7"/>
                </a:cxn>
                <a:cxn ang="0">
                  <a:pos x="0" y="14"/>
                </a:cxn>
                <a:cxn ang="0">
                  <a:pos x="3" y="22"/>
                </a:cxn>
                <a:cxn ang="0">
                  <a:pos x="10" y="25"/>
                </a:cxn>
                <a:cxn ang="0">
                  <a:pos x="10" y="21"/>
                </a:cxn>
                <a:cxn ang="0">
                  <a:pos x="5" y="20"/>
                </a:cxn>
                <a:cxn ang="0">
                  <a:pos x="4" y="15"/>
                </a:cxn>
                <a:cxn ang="0">
                  <a:pos x="6" y="9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10" y="21"/>
                </a:cxn>
                <a:cxn ang="0">
                  <a:pos x="14" y="11"/>
                </a:cxn>
                <a:cxn ang="0">
                  <a:pos x="20" y="19"/>
                </a:cxn>
                <a:cxn ang="0">
                  <a:pos x="19" y="17"/>
                </a:cxn>
                <a:cxn ang="0">
                  <a:pos x="14" y="11"/>
                </a:cxn>
                <a:cxn ang="0">
                  <a:pos x="7" y="6"/>
                </a:cxn>
                <a:cxn ang="0">
                  <a:pos x="6" y="4"/>
                </a:cxn>
                <a:cxn ang="0">
                  <a:pos x="14" y="11"/>
                </a:cxn>
              </a:cxnLst>
              <a:rect l="0" t="0" r="r" b="b"/>
              <a:pathLst>
                <a:path w="25" h="25">
                  <a:moveTo>
                    <a:pt x="10" y="25"/>
                  </a:moveTo>
                  <a:cubicBezTo>
                    <a:pt x="10" y="25"/>
                    <a:pt x="10" y="25"/>
                    <a:pt x="11" y="25"/>
                  </a:cubicBezTo>
                  <a:cubicBezTo>
                    <a:pt x="13" y="25"/>
                    <a:pt x="16" y="24"/>
                    <a:pt x="18" y="22"/>
                  </a:cubicBezTo>
                  <a:cubicBezTo>
                    <a:pt x="19" y="23"/>
                    <a:pt x="20" y="24"/>
                    <a:pt x="22" y="24"/>
                  </a:cubicBezTo>
                  <a:cubicBezTo>
                    <a:pt x="22" y="24"/>
                    <a:pt x="23" y="24"/>
                    <a:pt x="23" y="23"/>
                  </a:cubicBezTo>
                  <a:cubicBezTo>
                    <a:pt x="24" y="22"/>
                    <a:pt x="25" y="20"/>
                    <a:pt x="23" y="16"/>
                  </a:cubicBezTo>
                  <a:cubicBezTo>
                    <a:pt x="22" y="14"/>
                    <a:pt x="19" y="11"/>
                    <a:pt x="17" y="8"/>
                  </a:cubicBezTo>
                  <a:cubicBezTo>
                    <a:pt x="12" y="3"/>
                    <a:pt x="7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5"/>
                    <a:pt x="2" y="6"/>
                    <a:pt x="3" y="7"/>
                  </a:cubicBezTo>
                  <a:cubicBezTo>
                    <a:pt x="1" y="9"/>
                    <a:pt x="0" y="12"/>
                    <a:pt x="0" y="14"/>
                  </a:cubicBezTo>
                  <a:cubicBezTo>
                    <a:pt x="0" y="17"/>
                    <a:pt x="1" y="20"/>
                    <a:pt x="3" y="22"/>
                  </a:cubicBezTo>
                  <a:cubicBezTo>
                    <a:pt x="5" y="24"/>
                    <a:pt x="7" y="25"/>
                    <a:pt x="10" y="25"/>
                  </a:cubicBezTo>
                  <a:close/>
                  <a:moveTo>
                    <a:pt x="10" y="21"/>
                  </a:moveTo>
                  <a:cubicBezTo>
                    <a:pt x="8" y="22"/>
                    <a:pt x="7" y="21"/>
                    <a:pt x="5" y="20"/>
                  </a:cubicBezTo>
                  <a:cubicBezTo>
                    <a:pt x="4" y="18"/>
                    <a:pt x="4" y="17"/>
                    <a:pt x="4" y="15"/>
                  </a:cubicBezTo>
                  <a:cubicBezTo>
                    <a:pt x="4" y="13"/>
                    <a:pt x="5" y="11"/>
                    <a:pt x="6" y="9"/>
                  </a:cubicBezTo>
                  <a:cubicBezTo>
                    <a:pt x="8" y="11"/>
                    <a:pt x="9" y="12"/>
                    <a:pt x="11" y="14"/>
                  </a:cubicBezTo>
                  <a:cubicBezTo>
                    <a:pt x="13" y="16"/>
                    <a:pt x="14" y="17"/>
                    <a:pt x="16" y="19"/>
                  </a:cubicBezTo>
                  <a:cubicBezTo>
                    <a:pt x="14" y="20"/>
                    <a:pt x="12" y="21"/>
                    <a:pt x="10" y="21"/>
                  </a:cubicBezTo>
                  <a:close/>
                  <a:moveTo>
                    <a:pt x="14" y="11"/>
                  </a:moveTo>
                  <a:cubicBezTo>
                    <a:pt x="18" y="14"/>
                    <a:pt x="20" y="17"/>
                    <a:pt x="20" y="19"/>
                  </a:cubicBezTo>
                  <a:cubicBezTo>
                    <a:pt x="20" y="19"/>
                    <a:pt x="20" y="18"/>
                    <a:pt x="19" y="17"/>
                  </a:cubicBezTo>
                  <a:cubicBezTo>
                    <a:pt x="18" y="16"/>
                    <a:pt x="16" y="13"/>
                    <a:pt x="14" y="11"/>
                  </a:cubicBezTo>
                  <a:cubicBezTo>
                    <a:pt x="11" y="9"/>
                    <a:pt x="9" y="7"/>
                    <a:pt x="7" y="6"/>
                  </a:cubicBezTo>
                  <a:cubicBezTo>
                    <a:pt x="7" y="5"/>
                    <a:pt x="6" y="5"/>
                    <a:pt x="6" y="4"/>
                  </a:cubicBezTo>
                  <a:cubicBezTo>
                    <a:pt x="8" y="5"/>
                    <a:pt x="11" y="7"/>
                    <a:pt x="14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19" name="Freeform 247"/>
            <p:cNvSpPr>
              <a:spLocks noEditPoints="1"/>
            </p:cNvSpPr>
            <p:nvPr/>
          </p:nvSpPr>
          <p:spPr bwMode="auto">
            <a:xfrm>
              <a:off x="1915" y="2883"/>
              <a:ext cx="70" cy="62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19" y="4"/>
                </a:cxn>
                <a:cxn ang="0">
                  <a:pos x="4" y="4"/>
                </a:cxn>
                <a:cxn ang="0">
                  <a:pos x="5" y="19"/>
                </a:cxn>
                <a:cxn ang="0">
                  <a:pos x="2" y="23"/>
                </a:cxn>
                <a:cxn ang="0">
                  <a:pos x="3" y="25"/>
                </a:cxn>
                <a:cxn ang="0">
                  <a:pos x="6" y="26"/>
                </a:cxn>
                <a:cxn ang="0">
                  <a:pos x="18" y="18"/>
                </a:cxn>
                <a:cxn ang="0">
                  <a:pos x="25" y="3"/>
                </a:cxn>
                <a:cxn ang="0">
                  <a:pos x="23" y="2"/>
                </a:cxn>
                <a:cxn ang="0">
                  <a:pos x="7" y="7"/>
                </a:cxn>
                <a:cxn ang="0">
                  <a:pos x="17" y="7"/>
                </a:cxn>
                <a:cxn ang="0">
                  <a:pos x="13" y="12"/>
                </a:cxn>
                <a:cxn ang="0">
                  <a:pos x="7" y="17"/>
                </a:cxn>
                <a:cxn ang="0">
                  <a:pos x="7" y="7"/>
                </a:cxn>
                <a:cxn ang="0">
                  <a:pos x="16" y="15"/>
                </a:cxn>
                <a:cxn ang="0">
                  <a:pos x="7" y="22"/>
                </a:cxn>
                <a:cxn ang="0">
                  <a:pos x="9" y="20"/>
                </a:cxn>
                <a:cxn ang="0">
                  <a:pos x="15" y="15"/>
                </a:cxn>
                <a:cxn ang="0">
                  <a:pos x="21" y="9"/>
                </a:cxn>
                <a:cxn ang="0">
                  <a:pos x="22" y="7"/>
                </a:cxn>
                <a:cxn ang="0">
                  <a:pos x="16" y="15"/>
                </a:cxn>
              </a:cxnLst>
              <a:rect l="0" t="0" r="r" b="b"/>
              <a:pathLst>
                <a:path w="29" h="26">
                  <a:moveTo>
                    <a:pt x="23" y="2"/>
                  </a:moveTo>
                  <a:cubicBezTo>
                    <a:pt x="22" y="2"/>
                    <a:pt x="21" y="3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1" y="14"/>
                    <a:pt x="5" y="19"/>
                  </a:cubicBezTo>
                  <a:cubicBezTo>
                    <a:pt x="3" y="20"/>
                    <a:pt x="2" y="21"/>
                    <a:pt x="2" y="23"/>
                  </a:cubicBezTo>
                  <a:cubicBezTo>
                    <a:pt x="2" y="23"/>
                    <a:pt x="2" y="24"/>
                    <a:pt x="3" y="25"/>
                  </a:cubicBezTo>
                  <a:cubicBezTo>
                    <a:pt x="3" y="25"/>
                    <a:pt x="4" y="26"/>
                    <a:pt x="6" y="26"/>
                  </a:cubicBezTo>
                  <a:cubicBezTo>
                    <a:pt x="9" y="26"/>
                    <a:pt x="14" y="23"/>
                    <a:pt x="18" y="18"/>
                  </a:cubicBezTo>
                  <a:cubicBezTo>
                    <a:pt x="22" y="14"/>
                    <a:pt x="29" y="6"/>
                    <a:pt x="25" y="3"/>
                  </a:cubicBezTo>
                  <a:cubicBezTo>
                    <a:pt x="25" y="2"/>
                    <a:pt x="24" y="2"/>
                    <a:pt x="23" y="2"/>
                  </a:cubicBezTo>
                  <a:close/>
                  <a:moveTo>
                    <a:pt x="7" y="7"/>
                  </a:moveTo>
                  <a:cubicBezTo>
                    <a:pt x="9" y="4"/>
                    <a:pt x="14" y="4"/>
                    <a:pt x="17" y="7"/>
                  </a:cubicBezTo>
                  <a:cubicBezTo>
                    <a:pt x="16" y="9"/>
                    <a:pt x="14" y="11"/>
                    <a:pt x="13" y="12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5" y="14"/>
                    <a:pt x="4" y="9"/>
                    <a:pt x="7" y="7"/>
                  </a:cubicBezTo>
                  <a:close/>
                  <a:moveTo>
                    <a:pt x="16" y="15"/>
                  </a:moveTo>
                  <a:cubicBezTo>
                    <a:pt x="13" y="19"/>
                    <a:pt x="9" y="21"/>
                    <a:pt x="7" y="22"/>
                  </a:cubicBezTo>
                  <a:cubicBezTo>
                    <a:pt x="8" y="21"/>
                    <a:pt x="8" y="21"/>
                    <a:pt x="9" y="20"/>
                  </a:cubicBezTo>
                  <a:cubicBezTo>
                    <a:pt x="11" y="19"/>
                    <a:pt x="13" y="17"/>
                    <a:pt x="15" y="15"/>
                  </a:cubicBezTo>
                  <a:cubicBezTo>
                    <a:pt x="18" y="13"/>
                    <a:pt x="19" y="10"/>
                    <a:pt x="21" y="9"/>
                  </a:cubicBezTo>
                  <a:cubicBezTo>
                    <a:pt x="21" y="8"/>
                    <a:pt x="22" y="7"/>
                    <a:pt x="22" y="7"/>
                  </a:cubicBezTo>
                  <a:cubicBezTo>
                    <a:pt x="21" y="9"/>
                    <a:pt x="19" y="12"/>
                    <a:pt x="16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0" name="Freeform 248"/>
            <p:cNvSpPr>
              <a:spLocks noEditPoints="1"/>
            </p:cNvSpPr>
            <p:nvPr/>
          </p:nvSpPr>
          <p:spPr bwMode="auto">
            <a:xfrm>
              <a:off x="1714" y="2883"/>
              <a:ext cx="67" cy="60"/>
            </a:xfrm>
            <a:custGeom>
              <a:avLst/>
              <a:gdLst/>
              <a:ahLst/>
              <a:cxnLst>
                <a:cxn ang="0">
                  <a:pos x="24" y="3"/>
                </a:cxn>
                <a:cxn ang="0">
                  <a:pos x="9" y="4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0" y="18"/>
                </a:cxn>
                <a:cxn ang="0">
                  <a:pos x="23" y="25"/>
                </a:cxn>
                <a:cxn ang="0">
                  <a:pos x="25" y="24"/>
                </a:cxn>
                <a:cxn ang="0">
                  <a:pos x="26" y="22"/>
                </a:cxn>
                <a:cxn ang="0">
                  <a:pos x="24" y="19"/>
                </a:cxn>
                <a:cxn ang="0">
                  <a:pos x="24" y="3"/>
                </a:cxn>
                <a:cxn ang="0">
                  <a:pos x="21" y="6"/>
                </a:cxn>
                <a:cxn ang="0">
                  <a:pos x="21" y="16"/>
                </a:cxn>
                <a:cxn ang="0">
                  <a:pos x="16" y="12"/>
                </a:cxn>
                <a:cxn ang="0">
                  <a:pos x="11" y="7"/>
                </a:cxn>
                <a:cxn ang="0">
                  <a:pos x="21" y="6"/>
                </a:cxn>
                <a:cxn ang="0">
                  <a:pos x="13" y="15"/>
                </a:cxn>
                <a:cxn ang="0">
                  <a:pos x="6" y="7"/>
                </a:cxn>
                <a:cxn ang="0">
                  <a:pos x="8" y="8"/>
                </a:cxn>
                <a:cxn ang="0">
                  <a:pos x="13" y="15"/>
                </a:cxn>
                <a:cxn ang="0">
                  <a:pos x="19" y="20"/>
                </a:cxn>
                <a:cxn ang="0">
                  <a:pos x="21" y="21"/>
                </a:cxn>
                <a:cxn ang="0">
                  <a:pos x="13" y="15"/>
                </a:cxn>
              </a:cxnLst>
              <a:rect l="0" t="0" r="r" b="b"/>
              <a:pathLst>
                <a:path w="28" h="25">
                  <a:moveTo>
                    <a:pt x="24" y="3"/>
                  </a:moveTo>
                  <a:cubicBezTo>
                    <a:pt x="20" y="0"/>
                    <a:pt x="14" y="0"/>
                    <a:pt x="9" y="4"/>
                  </a:cubicBezTo>
                  <a:cubicBezTo>
                    <a:pt x="8" y="2"/>
                    <a:pt x="7" y="1"/>
                    <a:pt x="5" y="1"/>
                  </a:cubicBezTo>
                  <a:cubicBezTo>
                    <a:pt x="5" y="1"/>
                    <a:pt x="4" y="2"/>
                    <a:pt x="3" y="2"/>
                  </a:cubicBezTo>
                  <a:cubicBezTo>
                    <a:pt x="0" y="6"/>
                    <a:pt x="6" y="14"/>
                    <a:pt x="10" y="18"/>
                  </a:cubicBezTo>
                  <a:cubicBezTo>
                    <a:pt x="15" y="22"/>
                    <a:pt x="20" y="25"/>
                    <a:pt x="23" y="25"/>
                  </a:cubicBezTo>
                  <a:cubicBezTo>
                    <a:pt x="24" y="25"/>
                    <a:pt x="25" y="25"/>
                    <a:pt x="25" y="24"/>
                  </a:cubicBezTo>
                  <a:cubicBezTo>
                    <a:pt x="26" y="24"/>
                    <a:pt x="26" y="23"/>
                    <a:pt x="26" y="22"/>
                  </a:cubicBezTo>
                  <a:cubicBezTo>
                    <a:pt x="26" y="21"/>
                    <a:pt x="25" y="20"/>
                    <a:pt x="24" y="19"/>
                  </a:cubicBezTo>
                  <a:cubicBezTo>
                    <a:pt x="28" y="14"/>
                    <a:pt x="28" y="7"/>
                    <a:pt x="24" y="3"/>
                  </a:cubicBezTo>
                  <a:close/>
                  <a:moveTo>
                    <a:pt x="21" y="6"/>
                  </a:moveTo>
                  <a:cubicBezTo>
                    <a:pt x="24" y="9"/>
                    <a:pt x="24" y="13"/>
                    <a:pt x="21" y="16"/>
                  </a:cubicBezTo>
                  <a:cubicBezTo>
                    <a:pt x="19" y="15"/>
                    <a:pt x="17" y="14"/>
                    <a:pt x="16" y="12"/>
                  </a:cubicBezTo>
                  <a:cubicBezTo>
                    <a:pt x="14" y="10"/>
                    <a:pt x="12" y="8"/>
                    <a:pt x="11" y="7"/>
                  </a:cubicBezTo>
                  <a:cubicBezTo>
                    <a:pt x="14" y="4"/>
                    <a:pt x="19" y="3"/>
                    <a:pt x="21" y="6"/>
                  </a:cubicBezTo>
                  <a:close/>
                  <a:moveTo>
                    <a:pt x="13" y="15"/>
                  </a:moveTo>
                  <a:cubicBezTo>
                    <a:pt x="9" y="11"/>
                    <a:pt x="7" y="8"/>
                    <a:pt x="6" y="7"/>
                  </a:cubicBezTo>
                  <a:cubicBezTo>
                    <a:pt x="7" y="7"/>
                    <a:pt x="7" y="8"/>
                    <a:pt x="8" y="8"/>
                  </a:cubicBezTo>
                  <a:cubicBezTo>
                    <a:pt x="9" y="10"/>
                    <a:pt x="11" y="12"/>
                    <a:pt x="13" y="15"/>
                  </a:cubicBezTo>
                  <a:cubicBezTo>
                    <a:pt x="15" y="17"/>
                    <a:pt x="18" y="19"/>
                    <a:pt x="19" y="20"/>
                  </a:cubicBezTo>
                  <a:cubicBezTo>
                    <a:pt x="20" y="20"/>
                    <a:pt x="21" y="21"/>
                    <a:pt x="21" y="21"/>
                  </a:cubicBezTo>
                  <a:cubicBezTo>
                    <a:pt x="19" y="20"/>
                    <a:pt x="16" y="18"/>
                    <a:pt x="13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1" name="Freeform 249"/>
            <p:cNvSpPr>
              <a:spLocks noEditPoints="1"/>
            </p:cNvSpPr>
            <p:nvPr/>
          </p:nvSpPr>
          <p:spPr bwMode="auto">
            <a:xfrm>
              <a:off x="1714" y="2687"/>
              <a:ext cx="69" cy="60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10" y="21"/>
                </a:cxn>
                <a:cxn ang="0">
                  <a:pos x="18" y="25"/>
                </a:cxn>
                <a:cxn ang="0">
                  <a:pos x="25" y="22"/>
                </a:cxn>
                <a:cxn ang="0">
                  <a:pos x="24" y="7"/>
                </a:cxn>
                <a:cxn ang="0">
                  <a:pos x="27" y="3"/>
                </a:cxn>
                <a:cxn ang="0">
                  <a:pos x="26" y="1"/>
                </a:cxn>
                <a:cxn ang="0">
                  <a:pos x="23" y="0"/>
                </a:cxn>
                <a:cxn ang="0">
                  <a:pos x="11" y="8"/>
                </a:cxn>
                <a:cxn ang="0">
                  <a:pos x="4" y="23"/>
                </a:cxn>
                <a:cxn ang="0">
                  <a:pos x="6" y="24"/>
                </a:cxn>
                <a:cxn ang="0">
                  <a:pos x="22" y="19"/>
                </a:cxn>
                <a:cxn ang="0">
                  <a:pos x="17" y="21"/>
                </a:cxn>
                <a:cxn ang="0">
                  <a:pos x="12" y="18"/>
                </a:cxn>
                <a:cxn ang="0">
                  <a:pos x="16" y="13"/>
                </a:cxn>
                <a:cxn ang="0">
                  <a:pos x="22" y="9"/>
                </a:cxn>
                <a:cxn ang="0">
                  <a:pos x="22" y="19"/>
                </a:cxn>
                <a:cxn ang="0">
                  <a:pos x="13" y="10"/>
                </a:cxn>
                <a:cxn ang="0">
                  <a:pos x="22" y="4"/>
                </a:cxn>
                <a:cxn ang="0">
                  <a:pos x="20" y="5"/>
                </a:cxn>
                <a:cxn ang="0">
                  <a:pos x="14" y="11"/>
                </a:cxn>
                <a:cxn ang="0">
                  <a:pos x="8" y="17"/>
                </a:cxn>
                <a:cxn ang="0">
                  <a:pos x="7" y="19"/>
                </a:cxn>
                <a:cxn ang="0">
                  <a:pos x="13" y="10"/>
                </a:cxn>
              </a:cxnLst>
              <a:rect l="0" t="0" r="r" b="b"/>
              <a:pathLst>
                <a:path w="29" h="25">
                  <a:moveTo>
                    <a:pt x="6" y="24"/>
                  </a:moveTo>
                  <a:cubicBezTo>
                    <a:pt x="7" y="24"/>
                    <a:pt x="8" y="23"/>
                    <a:pt x="10" y="21"/>
                  </a:cubicBezTo>
                  <a:cubicBezTo>
                    <a:pt x="12" y="23"/>
                    <a:pt x="15" y="25"/>
                    <a:pt x="18" y="25"/>
                  </a:cubicBezTo>
                  <a:cubicBezTo>
                    <a:pt x="20" y="25"/>
                    <a:pt x="23" y="24"/>
                    <a:pt x="25" y="22"/>
                  </a:cubicBezTo>
                  <a:cubicBezTo>
                    <a:pt x="29" y="18"/>
                    <a:pt x="28" y="11"/>
                    <a:pt x="24" y="7"/>
                  </a:cubicBezTo>
                  <a:cubicBezTo>
                    <a:pt x="26" y="5"/>
                    <a:pt x="27" y="4"/>
                    <a:pt x="27" y="3"/>
                  </a:cubicBezTo>
                  <a:cubicBezTo>
                    <a:pt x="27" y="2"/>
                    <a:pt x="26" y="2"/>
                    <a:pt x="26" y="1"/>
                  </a:cubicBezTo>
                  <a:cubicBezTo>
                    <a:pt x="25" y="1"/>
                    <a:pt x="25" y="0"/>
                    <a:pt x="23" y="0"/>
                  </a:cubicBezTo>
                  <a:cubicBezTo>
                    <a:pt x="20" y="0"/>
                    <a:pt x="15" y="3"/>
                    <a:pt x="11" y="8"/>
                  </a:cubicBezTo>
                  <a:cubicBezTo>
                    <a:pt x="6" y="12"/>
                    <a:pt x="0" y="20"/>
                    <a:pt x="4" y="23"/>
                  </a:cubicBezTo>
                  <a:cubicBezTo>
                    <a:pt x="4" y="24"/>
                    <a:pt x="5" y="24"/>
                    <a:pt x="6" y="24"/>
                  </a:cubicBezTo>
                  <a:close/>
                  <a:moveTo>
                    <a:pt x="22" y="19"/>
                  </a:moveTo>
                  <a:cubicBezTo>
                    <a:pt x="21" y="20"/>
                    <a:pt x="19" y="21"/>
                    <a:pt x="17" y="21"/>
                  </a:cubicBezTo>
                  <a:cubicBezTo>
                    <a:pt x="15" y="21"/>
                    <a:pt x="13" y="20"/>
                    <a:pt x="12" y="18"/>
                  </a:cubicBezTo>
                  <a:cubicBezTo>
                    <a:pt x="13" y="17"/>
                    <a:pt x="14" y="15"/>
                    <a:pt x="16" y="13"/>
                  </a:cubicBezTo>
                  <a:cubicBezTo>
                    <a:pt x="18" y="12"/>
                    <a:pt x="20" y="10"/>
                    <a:pt x="22" y="9"/>
                  </a:cubicBezTo>
                  <a:cubicBezTo>
                    <a:pt x="24" y="12"/>
                    <a:pt x="25" y="17"/>
                    <a:pt x="22" y="19"/>
                  </a:cubicBezTo>
                  <a:close/>
                  <a:moveTo>
                    <a:pt x="13" y="10"/>
                  </a:moveTo>
                  <a:cubicBezTo>
                    <a:pt x="16" y="7"/>
                    <a:pt x="20" y="5"/>
                    <a:pt x="22" y="4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18" y="7"/>
                    <a:pt x="16" y="9"/>
                    <a:pt x="14" y="11"/>
                  </a:cubicBezTo>
                  <a:cubicBezTo>
                    <a:pt x="11" y="13"/>
                    <a:pt x="10" y="15"/>
                    <a:pt x="8" y="17"/>
                  </a:cubicBezTo>
                  <a:cubicBezTo>
                    <a:pt x="8" y="18"/>
                    <a:pt x="7" y="18"/>
                    <a:pt x="7" y="19"/>
                  </a:cubicBezTo>
                  <a:cubicBezTo>
                    <a:pt x="8" y="17"/>
                    <a:pt x="10" y="14"/>
                    <a:pt x="13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524" name="Group 252"/>
          <p:cNvGrpSpPr>
            <a:grpSpLocks noChangeAspect="1"/>
          </p:cNvGrpSpPr>
          <p:nvPr/>
        </p:nvGrpSpPr>
        <p:grpSpPr bwMode="auto">
          <a:xfrm>
            <a:off x="3648077" y="4079873"/>
            <a:ext cx="785813" cy="784224"/>
            <a:chOff x="2293" y="2570"/>
            <a:chExt cx="495" cy="494"/>
          </a:xfrm>
        </p:grpSpPr>
        <p:sp>
          <p:nvSpPr>
            <p:cNvPr id="54525" name="Freeform 253"/>
            <p:cNvSpPr>
              <a:spLocks noEditPoints="1"/>
            </p:cNvSpPr>
            <p:nvPr/>
          </p:nvSpPr>
          <p:spPr bwMode="auto">
            <a:xfrm>
              <a:off x="2293" y="2570"/>
              <a:ext cx="495" cy="494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3"/>
                </a:cxn>
                <a:cxn ang="0">
                  <a:pos x="104" y="206"/>
                </a:cxn>
                <a:cxn ang="0">
                  <a:pos x="207" y="103"/>
                </a:cxn>
                <a:cxn ang="0">
                  <a:pos x="104" y="0"/>
                </a:cxn>
                <a:cxn ang="0">
                  <a:pos x="104" y="201"/>
                </a:cxn>
                <a:cxn ang="0">
                  <a:pos x="5" y="103"/>
                </a:cxn>
                <a:cxn ang="0">
                  <a:pos x="104" y="5"/>
                </a:cxn>
                <a:cxn ang="0">
                  <a:pos x="202" y="103"/>
                </a:cxn>
                <a:cxn ang="0">
                  <a:pos x="104" y="201"/>
                </a:cxn>
              </a:cxnLst>
              <a:rect l="0" t="0" r="r" b="b"/>
              <a:pathLst>
                <a:path w="207" h="206">
                  <a:moveTo>
                    <a:pt x="104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4" y="206"/>
                  </a:cubicBezTo>
                  <a:cubicBezTo>
                    <a:pt x="161" y="206"/>
                    <a:pt x="207" y="160"/>
                    <a:pt x="207" y="103"/>
                  </a:cubicBezTo>
                  <a:cubicBezTo>
                    <a:pt x="207" y="46"/>
                    <a:pt x="161" y="0"/>
                    <a:pt x="104" y="0"/>
                  </a:cubicBezTo>
                  <a:close/>
                  <a:moveTo>
                    <a:pt x="104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3"/>
                  </a:cubicBezTo>
                  <a:cubicBezTo>
                    <a:pt x="202" y="157"/>
                    <a:pt x="158" y="201"/>
                    <a:pt x="104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6" name="Freeform 254"/>
            <p:cNvSpPr>
              <a:spLocks noEditPoints="1"/>
            </p:cNvSpPr>
            <p:nvPr/>
          </p:nvSpPr>
          <p:spPr bwMode="auto">
            <a:xfrm>
              <a:off x="2372" y="2645"/>
              <a:ext cx="340" cy="343"/>
            </a:xfrm>
            <a:custGeom>
              <a:avLst/>
              <a:gdLst/>
              <a:ahLst/>
              <a:cxnLst>
                <a:cxn ang="0">
                  <a:pos x="304" y="163"/>
                </a:cxn>
                <a:cxn ang="0">
                  <a:pos x="304" y="108"/>
                </a:cxn>
                <a:cxn ang="0">
                  <a:pos x="230" y="108"/>
                </a:cxn>
                <a:cxn ang="0">
                  <a:pos x="230" y="33"/>
                </a:cxn>
                <a:cxn ang="0">
                  <a:pos x="172" y="3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33"/>
                </a:cxn>
                <a:cxn ang="0">
                  <a:pos x="107" y="33"/>
                </a:cxn>
                <a:cxn ang="0">
                  <a:pos x="107" y="108"/>
                </a:cxn>
                <a:cxn ang="0">
                  <a:pos x="33" y="108"/>
                </a:cxn>
                <a:cxn ang="0">
                  <a:pos x="33" y="163"/>
                </a:cxn>
                <a:cxn ang="0">
                  <a:pos x="0" y="163"/>
                </a:cxn>
                <a:cxn ang="0">
                  <a:pos x="0" y="172"/>
                </a:cxn>
                <a:cxn ang="0">
                  <a:pos x="33" y="172"/>
                </a:cxn>
                <a:cxn ang="0">
                  <a:pos x="33" y="230"/>
                </a:cxn>
                <a:cxn ang="0">
                  <a:pos x="107" y="230"/>
                </a:cxn>
                <a:cxn ang="0">
                  <a:pos x="107" y="302"/>
                </a:cxn>
                <a:cxn ang="0">
                  <a:pos x="165" y="302"/>
                </a:cxn>
                <a:cxn ang="0">
                  <a:pos x="165" y="343"/>
                </a:cxn>
                <a:cxn ang="0">
                  <a:pos x="172" y="343"/>
                </a:cxn>
                <a:cxn ang="0">
                  <a:pos x="172" y="302"/>
                </a:cxn>
                <a:cxn ang="0">
                  <a:pos x="230" y="302"/>
                </a:cxn>
                <a:cxn ang="0">
                  <a:pos x="230" y="230"/>
                </a:cxn>
                <a:cxn ang="0">
                  <a:pos x="304" y="230"/>
                </a:cxn>
                <a:cxn ang="0">
                  <a:pos x="304" y="172"/>
                </a:cxn>
                <a:cxn ang="0">
                  <a:pos x="340" y="172"/>
                </a:cxn>
                <a:cxn ang="0">
                  <a:pos x="340" y="163"/>
                </a:cxn>
                <a:cxn ang="0">
                  <a:pos x="304" y="163"/>
                </a:cxn>
                <a:cxn ang="0">
                  <a:pos x="220" y="43"/>
                </a:cxn>
                <a:cxn ang="0">
                  <a:pos x="220" y="115"/>
                </a:cxn>
                <a:cxn ang="0">
                  <a:pos x="294" y="115"/>
                </a:cxn>
                <a:cxn ang="0">
                  <a:pos x="294" y="163"/>
                </a:cxn>
                <a:cxn ang="0">
                  <a:pos x="172" y="163"/>
                </a:cxn>
                <a:cxn ang="0">
                  <a:pos x="172" y="43"/>
                </a:cxn>
                <a:cxn ang="0">
                  <a:pos x="220" y="43"/>
                </a:cxn>
                <a:cxn ang="0">
                  <a:pos x="43" y="115"/>
                </a:cxn>
                <a:cxn ang="0">
                  <a:pos x="117" y="115"/>
                </a:cxn>
                <a:cxn ang="0">
                  <a:pos x="117" y="43"/>
                </a:cxn>
                <a:cxn ang="0">
                  <a:pos x="165" y="43"/>
                </a:cxn>
                <a:cxn ang="0">
                  <a:pos x="165" y="163"/>
                </a:cxn>
                <a:cxn ang="0">
                  <a:pos x="43" y="163"/>
                </a:cxn>
                <a:cxn ang="0">
                  <a:pos x="43" y="115"/>
                </a:cxn>
                <a:cxn ang="0">
                  <a:pos x="117" y="295"/>
                </a:cxn>
                <a:cxn ang="0">
                  <a:pos x="117" y="220"/>
                </a:cxn>
                <a:cxn ang="0">
                  <a:pos x="43" y="220"/>
                </a:cxn>
                <a:cxn ang="0">
                  <a:pos x="43" y="172"/>
                </a:cxn>
                <a:cxn ang="0">
                  <a:pos x="165" y="172"/>
                </a:cxn>
                <a:cxn ang="0">
                  <a:pos x="165" y="295"/>
                </a:cxn>
                <a:cxn ang="0">
                  <a:pos x="117" y="295"/>
                </a:cxn>
                <a:cxn ang="0">
                  <a:pos x="294" y="220"/>
                </a:cxn>
                <a:cxn ang="0">
                  <a:pos x="220" y="220"/>
                </a:cxn>
                <a:cxn ang="0">
                  <a:pos x="220" y="295"/>
                </a:cxn>
                <a:cxn ang="0">
                  <a:pos x="172" y="295"/>
                </a:cxn>
                <a:cxn ang="0">
                  <a:pos x="172" y="172"/>
                </a:cxn>
                <a:cxn ang="0">
                  <a:pos x="294" y="172"/>
                </a:cxn>
                <a:cxn ang="0">
                  <a:pos x="294" y="220"/>
                </a:cxn>
              </a:cxnLst>
              <a:rect l="0" t="0" r="r" b="b"/>
              <a:pathLst>
                <a:path w="340" h="343">
                  <a:moveTo>
                    <a:pt x="304" y="163"/>
                  </a:moveTo>
                  <a:lnTo>
                    <a:pt x="304" y="108"/>
                  </a:lnTo>
                  <a:lnTo>
                    <a:pt x="230" y="108"/>
                  </a:lnTo>
                  <a:lnTo>
                    <a:pt x="230" y="33"/>
                  </a:lnTo>
                  <a:lnTo>
                    <a:pt x="172" y="3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33"/>
                  </a:lnTo>
                  <a:lnTo>
                    <a:pt x="107" y="33"/>
                  </a:lnTo>
                  <a:lnTo>
                    <a:pt x="107" y="108"/>
                  </a:lnTo>
                  <a:lnTo>
                    <a:pt x="33" y="108"/>
                  </a:lnTo>
                  <a:lnTo>
                    <a:pt x="33" y="163"/>
                  </a:lnTo>
                  <a:lnTo>
                    <a:pt x="0" y="163"/>
                  </a:lnTo>
                  <a:lnTo>
                    <a:pt x="0" y="172"/>
                  </a:lnTo>
                  <a:lnTo>
                    <a:pt x="33" y="172"/>
                  </a:lnTo>
                  <a:lnTo>
                    <a:pt x="33" y="230"/>
                  </a:lnTo>
                  <a:lnTo>
                    <a:pt x="107" y="230"/>
                  </a:lnTo>
                  <a:lnTo>
                    <a:pt x="107" y="302"/>
                  </a:lnTo>
                  <a:lnTo>
                    <a:pt x="165" y="302"/>
                  </a:lnTo>
                  <a:lnTo>
                    <a:pt x="165" y="343"/>
                  </a:lnTo>
                  <a:lnTo>
                    <a:pt x="172" y="343"/>
                  </a:lnTo>
                  <a:lnTo>
                    <a:pt x="172" y="302"/>
                  </a:lnTo>
                  <a:lnTo>
                    <a:pt x="230" y="302"/>
                  </a:lnTo>
                  <a:lnTo>
                    <a:pt x="230" y="230"/>
                  </a:lnTo>
                  <a:lnTo>
                    <a:pt x="304" y="230"/>
                  </a:lnTo>
                  <a:lnTo>
                    <a:pt x="304" y="172"/>
                  </a:lnTo>
                  <a:lnTo>
                    <a:pt x="340" y="172"/>
                  </a:lnTo>
                  <a:lnTo>
                    <a:pt x="340" y="163"/>
                  </a:lnTo>
                  <a:lnTo>
                    <a:pt x="304" y="163"/>
                  </a:lnTo>
                  <a:close/>
                  <a:moveTo>
                    <a:pt x="220" y="43"/>
                  </a:moveTo>
                  <a:lnTo>
                    <a:pt x="220" y="115"/>
                  </a:lnTo>
                  <a:lnTo>
                    <a:pt x="294" y="115"/>
                  </a:lnTo>
                  <a:lnTo>
                    <a:pt x="294" y="163"/>
                  </a:lnTo>
                  <a:lnTo>
                    <a:pt x="172" y="163"/>
                  </a:lnTo>
                  <a:lnTo>
                    <a:pt x="172" y="43"/>
                  </a:lnTo>
                  <a:lnTo>
                    <a:pt x="220" y="43"/>
                  </a:lnTo>
                  <a:close/>
                  <a:moveTo>
                    <a:pt x="43" y="115"/>
                  </a:moveTo>
                  <a:lnTo>
                    <a:pt x="117" y="115"/>
                  </a:lnTo>
                  <a:lnTo>
                    <a:pt x="117" y="43"/>
                  </a:lnTo>
                  <a:lnTo>
                    <a:pt x="165" y="43"/>
                  </a:lnTo>
                  <a:lnTo>
                    <a:pt x="165" y="163"/>
                  </a:lnTo>
                  <a:lnTo>
                    <a:pt x="43" y="163"/>
                  </a:lnTo>
                  <a:lnTo>
                    <a:pt x="43" y="115"/>
                  </a:lnTo>
                  <a:close/>
                  <a:moveTo>
                    <a:pt x="117" y="295"/>
                  </a:moveTo>
                  <a:lnTo>
                    <a:pt x="117" y="220"/>
                  </a:lnTo>
                  <a:lnTo>
                    <a:pt x="43" y="220"/>
                  </a:lnTo>
                  <a:lnTo>
                    <a:pt x="43" y="172"/>
                  </a:lnTo>
                  <a:lnTo>
                    <a:pt x="165" y="172"/>
                  </a:lnTo>
                  <a:lnTo>
                    <a:pt x="165" y="295"/>
                  </a:lnTo>
                  <a:lnTo>
                    <a:pt x="117" y="295"/>
                  </a:lnTo>
                  <a:close/>
                  <a:moveTo>
                    <a:pt x="294" y="220"/>
                  </a:moveTo>
                  <a:lnTo>
                    <a:pt x="220" y="220"/>
                  </a:lnTo>
                  <a:lnTo>
                    <a:pt x="220" y="295"/>
                  </a:lnTo>
                  <a:lnTo>
                    <a:pt x="172" y="295"/>
                  </a:lnTo>
                  <a:lnTo>
                    <a:pt x="172" y="172"/>
                  </a:lnTo>
                  <a:lnTo>
                    <a:pt x="294" y="172"/>
                  </a:lnTo>
                  <a:lnTo>
                    <a:pt x="294" y="22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7" name="Freeform 255"/>
            <p:cNvSpPr>
              <a:spLocks noEditPoints="1"/>
            </p:cNvSpPr>
            <p:nvPr/>
          </p:nvSpPr>
          <p:spPr bwMode="auto">
            <a:xfrm>
              <a:off x="2611" y="2686"/>
              <a:ext cx="60" cy="59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11" y="25"/>
                </a:cxn>
                <a:cxn ang="0">
                  <a:pos x="18" y="22"/>
                </a:cxn>
                <a:cxn ang="0">
                  <a:pos x="22" y="24"/>
                </a:cxn>
                <a:cxn ang="0">
                  <a:pos x="23" y="23"/>
                </a:cxn>
                <a:cxn ang="0">
                  <a:pos x="23" y="16"/>
                </a:cxn>
                <a:cxn ang="0">
                  <a:pos x="17" y="8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3" y="7"/>
                </a:cxn>
                <a:cxn ang="0">
                  <a:pos x="0" y="14"/>
                </a:cxn>
                <a:cxn ang="0">
                  <a:pos x="3" y="22"/>
                </a:cxn>
                <a:cxn ang="0">
                  <a:pos x="10" y="25"/>
                </a:cxn>
                <a:cxn ang="0">
                  <a:pos x="10" y="21"/>
                </a:cxn>
                <a:cxn ang="0">
                  <a:pos x="5" y="20"/>
                </a:cxn>
                <a:cxn ang="0">
                  <a:pos x="4" y="15"/>
                </a:cxn>
                <a:cxn ang="0">
                  <a:pos x="6" y="9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10" y="21"/>
                </a:cxn>
                <a:cxn ang="0">
                  <a:pos x="14" y="10"/>
                </a:cxn>
                <a:cxn ang="0">
                  <a:pos x="20" y="19"/>
                </a:cxn>
                <a:cxn ang="0">
                  <a:pos x="19" y="17"/>
                </a:cxn>
                <a:cxn ang="0">
                  <a:pos x="14" y="11"/>
                </a:cxn>
                <a:cxn ang="0">
                  <a:pos x="7" y="6"/>
                </a:cxn>
                <a:cxn ang="0">
                  <a:pos x="6" y="4"/>
                </a:cxn>
                <a:cxn ang="0">
                  <a:pos x="14" y="10"/>
                </a:cxn>
              </a:cxnLst>
              <a:rect l="0" t="0" r="r" b="b"/>
              <a:pathLst>
                <a:path w="25" h="25">
                  <a:moveTo>
                    <a:pt x="10" y="25"/>
                  </a:moveTo>
                  <a:cubicBezTo>
                    <a:pt x="10" y="25"/>
                    <a:pt x="10" y="25"/>
                    <a:pt x="11" y="25"/>
                  </a:cubicBezTo>
                  <a:cubicBezTo>
                    <a:pt x="13" y="25"/>
                    <a:pt x="16" y="24"/>
                    <a:pt x="18" y="22"/>
                  </a:cubicBezTo>
                  <a:cubicBezTo>
                    <a:pt x="19" y="23"/>
                    <a:pt x="20" y="24"/>
                    <a:pt x="22" y="24"/>
                  </a:cubicBezTo>
                  <a:cubicBezTo>
                    <a:pt x="22" y="24"/>
                    <a:pt x="23" y="24"/>
                    <a:pt x="23" y="23"/>
                  </a:cubicBezTo>
                  <a:cubicBezTo>
                    <a:pt x="24" y="22"/>
                    <a:pt x="25" y="20"/>
                    <a:pt x="23" y="16"/>
                  </a:cubicBezTo>
                  <a:cubicBezTo>
                    <a:pt x="22" y="14"/>
                    <a:pt x="19" y="11"/>
                    <a:pt x="17" y="8"/>
                  </a:cubicBezTo>
                  <a:cubicBezTo>
                    <a:pt x="12" y="3"/>
                    <a:pt x="7" y="0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5"/>
                    <a:pt x="2" y="6"/>
                    <a:pt x="3" y="7"/>
                  </a:cubicBezTo>
                  <a:cubicBezTo>
                    <a:pt x="1" y="9"/>
                    <a:pt x="0" y="12"/>
                    <a:pt x="0" y="14"/>
                  </a:cubicBezTo>
                  <a:cubicBezTo>
                    <a:pt x="0" y="17"/>
                    <a:pt x="1" y="20"/>
                    <a:pt x="3" y="22"/>
                  </a:cubicBezTo>
                  <a:cubicBezTo>
                    <a:pt x="5" y="24"/>
                    <a:pt x="7" y="25"/>
                    <a:pt x="10" y="25"/>
                  </a:cubicBezTo>
                  <a:close/>
                  <a:moveTo>
                    <a:pt x="10" y="21"/>
                  </a:moveTo>
                  <a:cubicBezTo>
                    <a:pt x="8" y="21"/>
                    <a:pt x="7" y="21"/>
                    <a:pt x="5" y="20"/>
                  </a:cubicBezTo>
                  <a:cubicBezTo>
                    <a:pt x="4" y="18"/>
                    <a:pt x="4" y="17"/>
                    <a:pt x="4" y="15"/>
                  </a:cubicBezTo>
                  <a:cubicBezTo>
                    <a:pt x="4" y="13"/>
                    <a:pt x="5" y="11"/>
                    <a:pt x="6" y="9"/>
                  </a:cubicBezTo>
                  <a:cubicBezTo>
                    <a:pt x="8" y="10"/>
                    <a:pt x="9" y="12"/>
                    <a:pt x="11" y="14"/>
                  </a:cubicBezTo>
                  <a:cubicBezTo>
                    <a:pt x="13" y="15"/>
                    <a:pt x="14" y="17"/>
                    <a:pt x="16" y="19"/>
                  </a:cubicBezTo>
                  <a:cubicBezTo>
                    <a:pt x="14" y="20"/>
                    <a:pt x="12" y="21"/>
                    <a:pt x="10" y="21"/>
                  </a:cubicBezTo>
                  <a:close/>
                  <a:moveTo>
                    <a:pt x="14" y="10"/>
                  </a:moveTo>
                  <a:cubicBezTo>
                    <a:pt x="18" y="14"/>
                    <a:pt x="20" y="17"/>
                    <a:pt x="20" y="19"/>
                  </a:cubicBezTo>
                  <a:cubicBezTo>
                    <a:pt x="20" y="18"/>
                    <a:pt x="20" y="18"/>
                    <a:pt x="19" y="17"/>
                  </a:cubicBezTo>
                  <a:cubicBezTo>
                    <a:pt x="18" y="15"/>
                    <a:pt x="16" y="13"/>
                    <a:pt x="14" y="11"/>
                  </a:cubicBezTo>
                  <a:cubicBezTo>
                    <a:pt x="11" y="9"/>
                    <a:pt x="9" y="7"/>
                    <a:pt x="7" y="6"/>
                  </a:cubicBezTo>
                  <a:cubicBezTo>
                    <a:pt x="7" y="5"/>
                    <a:pt x="6" y="5"/>
                    <a:pt x="6" y="4"/>
                  </a:cubicBezTo>
                  <a:cubicBezTo>
                    <a:pt x="8" y="5"/>
                    <a:pt x="11" y="7"/>
                    <a:pt x="14" y="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8" name="Freeform 256"/>
            <p:cNvSpPr>
              <a:spLocks noEditPoints="1"/>
            </p:cNvSpPr>
            <p:nvPr/>
          </p:nvSpPr>
          <p:spPr bwMode="auto">
            <a:xfrm>
              <a:off x="2606" y="2882"/>
              <a:ext cx="70" cy="60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19" y="4"/>
                </a:cxn>
                <a:cxn ang="0">
                  <a:pos x="4" y="4"/>
                </a:cxn>
                <a:cxn ang="0">
                  <a:pos x="5" y="19"/>
                </a:cxn>
                <a:cxn ang="0">
                  <a:pos x="2" y="22"/>
                </a:cxn>
                <a:cxn ang="0">
                  <a:pos x="3" y="24"/>
                </a:cxn>
                <a:cxn ang="0">
                  <a:pos x="6" y="25"/>
                </a:cxn>
                <a:cxn ang="0">
                  <a:pos x="18" y="18"/>
                </a:cxn>
                <a:cxn ang="0">
                  <a:pos x="25" y="2"/>
                </a:cxn>
                <a:cxn ang="0">
                  <a:pos x="23" y="2"/>
                </a:cxn>
                <a:cxn ang="0">
                  <a:pos x="7" y="6"/>
                </a:cxn>
                <a:cxn ang="0">
                  <a:pos x="17" y="7"/>
                </a:cxn>
                <a:cxn ang="0">
                  <a:pos x="13" y="12"/>
                </a:cxn>
                <a:cxn ang="0">
                  <a:pos x="7" y="17"/>
                </a:cxn>
                <a:cxn ang="0">
                  <a:pos x="7" y="6"/>
                </a:cxn>
                <a:cxn ang="0">
                  <a:pos x="16" y="15"/>
                </a:cxn>
                <a:cxn ang="0">
                  <a:pos x="7" y="21"/>
                </a:cxn>
                <a:cxn ang="0">
                  <a:pos x="9" y="20"/>
                </a:cxn>
                <a:cxn ang="0">
                  <a:pos x="15" y="15"/>
                </a:cxn>
                <a:cxn ang="0">
                  <a:pos x="21" y="8"/>
                </a:cxn>
                <a:cxn ang="0">
                  <a:pos x="22" y="7"/>
                </a:cxn>
                <a:cxn ang="0">
                  <a:pos x="16" y="15"/>
                </a:cxn>
              </a:cxnLst>
              <a:rect l="0" t="0" r="r" b="b"/>
              <a:pathLst>
                <a:path w="29" h="25">
                  <a:moveTo>
                    <a:pt x="23" y="2"/>
                  </a:moveTo>
                  <a:cubicBezTo>
                    <a:pt x="22" y="2"/>
                    <a:pt x="21" y="2"/>
                    <a:pt x="19" y="4"/>
                  </a:cubicBezTo>
                  <a:cubicBezTo>
                    <a:pt x="15" y="0"/>
                    <a:pt x="8" y="0"/>
                    <a:pt x="4" y="4"/>
                  </a:cubicBezTo>
                  <a:cubicBezTo>
                    <a:pt x="0" y="8"/>
                    <a:pt x="1" y="14"/>
                    <a:pt x="5" y="19"/>
                  </a:cubicBezTo>
                  <a:cubicBezTo>
                    <a:pt x="3" y="20"/>
                    <a:pt x="2" y="21"/>
                    <a:pt x="2" y="22"/>
                  </a:cubicBezTo>
                  <a:cubicBezTo>
                    <a:pt x="2" y="23"/>
                    <a:pt x="2" y="24"/>
                    <a:pt x="3" y="24"/>
                  </a:cubicBezTo>
                  <a:cubicBezTo>
                    <a:pt x="3" y="25"/>
                    <a:pt x="4" y="25"/>
                    <a:pt x="6" y="25"/>
                  </a:cubicBezTo>
                  <a:cubicBezTo>
                    <a:pt x="9" y="25"/>
                    <a:pt x="14" y="22"/>
                    <a:pt x="18" y="18"/>
                  </a:cubicBezTo>
                  <a:cubicBezTo>
                    <a:pt x="22" y="14"/>
                    <a:pt x="29" y="6"/>
                    <a:pt x="25" y="2"/>
                  </a:cubicBezTo>
                  <a:cubicBezTo>
                    <a:pt x="25" y="2"/>
                    <a:pt x="24" y="2"/>
                    <a:pt x="23" y="2"/>
                  </a:cubicBezTo>
                  <a:close/>
                  <a:moveTo>
                    <a:pt x="7" y="6"/>
                  </a:moveTo>
                  <a:cubicBezTo>
                    <a:pt x="9" y="4"/>
                    <a:pt x="14" y="4"/>
                    <a:pt x="17" y="7"/>
                  </a:cubicBezTo>
                  <a:cubicBezTo>
                    <a:pt x="16" y="9"/>
                    <a:pt x="14" y="10"/>
                    <a:pt x="13" y="12"/>
                  </a:cubicBezTo>
                  <a:cubicBezTo>
                    <a:pt x="11" y="14"/>
                    <a:pt x="9" y="15"/>
                    <a:pt x="7" y="17"/>
                  </a:cubicBezTo>
                  <a:cubicBezTo>
                    <a:pt x="5" y="13"/>
                    <a:pt x="4" y="9"/>
                    <a:pt x="7" y="6"/>
                  </a:cubicBezTo>
                  <a:close/>
                  <a:moveTo>
                    <a:pt x="16" y="15"/>
                  </a:moveTo>
                  <a:cubicBezTo>
                    <a:pt x="13" y="18"/>
                    <a:pt x="9" y="21"/>
                    <a:pt x="7" y="21"/>
                  </a:cubicBezTo>
                  <a:cubicBezTo>
                    <a:pt x="8" y="21"/>
                    <a:pt x="8" y="20"/>
                    <a:pt x="9" y="20"/>
                  </a:cubicBezTo>
                  <a:cubicBezTo>
                    <a:pt x="11" y="19"/>
                    <a:pt x="13" y="17"/>
                    <a:pt x="15" y="15"/>
                  </a:cubicBezTo>
                  <a:cubicBezTo>
                    <a:pt x="18" y="12"/>
                    <a:pt x="19" y="10"/>
                    <a:pt x="21" y="8"/>
                  </a:cubicBezTo>
                  <a:cubicBezTo>
                    <a:pt x="21" y="8"/>
                    <a:pt x="22" y="7"/>
                    <a:pt x="22" y="7"/>
                  </a:cubicBezTo>
                  <a:cubicBezTo>
                    <a:pt x="21" y="9"/>
                    <a:pt x="19" y="12"/>
                    <a:pt x="16" y="1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29" name="Freeform 257"/>
            <p:cNvSpPr>
              <a:spLocks noEditPoints="1"/>
            </p:cNvSpPr>
            <p:nvPr/>
          </p:nvSpPr>
          <p:spPr bwMode="auto">
            <a:xfrm>
              <a:off x="2405" y="2880"/>
              <a:ext cx="67" cy="62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9" y="5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10" y="18"/>
                </a:cxn>
                <a:cxn ang="0">
                  <a:pos x="23" y="26"/>
                </a:cxn>
                <a:cxn ang="0">
                  <a:pos x="25" y="25"/>
                </a:cxn>
                <a:cxn ang="0">
                  <a:pos x="26" y="23"/>
                </a:cxn>
                <a:cxn ang="0">
                  <a:pos x="24" y="19"/>
                </a:cxn>
                <a:cxn ang="0">
                  <a:pos x="24" y="4"/>
                </a:cxn>
                <a:cxn ang="0">
                  <a:pos x="21" y="7"/>
                </a:cxn>
                <a:cxn ang="0">
                  <a:pos x="21" y="17"/>
                </a:cxn>
                <a:cxn ang="0">
                  <a:pos x="16" y="13"/>
                </a:cxn>
                <a:cxn ang="0">
                  <a:pos x="11" y="7"/>
                </a:cxn>
                <a:cxn ang="0">
                  <a:pos x="21" y="7"/>
                </a:cxn>
                <a:cxn ang="0">
                  <a:pos x="13" y="1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13" y="15"/>
                </a:cxn>
                <a:cxn ang="0">
                  <a:pos x="19" y="21"/>
                </a:cxn>
                <a:cxn ang="0">
                  <a:pos x="21" y="22"/>
                </a:cxn>
                <a:cxn ang="0">
                  <a:pos x="13" y="16"/>
                </a:cxn>
              </a:cxnLst>
              <a:rect l="0" t="0" r="r" b="b"/>
              <a:pathLst>
                <a:path w="28" h="26">
                  <a:moveTo>
                    <a:pt x="24" y="4"/>
                  </a:moveTo>
                  <a:cubicBezTo>
                    <a:pt x="20" y="0"/>
                    <a:pt x="14" y="1"/>
                    <a:pt x="9" y="5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0" y="6"/>
                    <a:pt x="6" y="14"/>
                    <a:pt x="10" y="18"/>
                  </a:cubicBezTo>
                  <a:cubicBezTo>
                    <a:pt x="15" y="23"/>
                    <a:pt x="20" y="26"/>
                    <a:pt x="23" y="26"/>
                  </a:cubicBezTo>
                  <a:cubicBezTo>
                    <a:pt x="24" y="26"/>
                    <a:pt x="25" y="26"/>
                    <a:pt x="25" y="25"/>
                  </a:cubicBezTo>
                  <a:cubicBezTo>
                    <a:pt x="26" y="25"/>
                    <a:pt x="26" y="24"/>
                    <a:pt x="26" y="23"/>
                  </a:cubicBezTo>
                  <a:cubicBezTo>
                    <a:pt x="26" y="22"/>
                    <a:pt x="25" y="21"/>
                    <a:pt x="24" y="19"/>
                  </a:cubicBezTo>
                  <a:cubicBezTo>
                    <a:pt x="28" y="15"/>
                    <a:pt x="28" y="8"/>
                    <a:pt x="24" y="4"/>
                  </a:cubicBezTo>
                  <a:close/>
                  <a:moveTo>
                    <a:pt x="21" y="7"/>
                  </a:moveTo>
                  <a:cubicBezTo>
                    <a:pt x="24" y="9"/>
                    <a:pt x="24" y="14"/>
                    <a:pt x="21" y="17"/>
                  </a:cubicBezTo>
                  <a:cubicBezTo>
                    <a:pt x="19" y="16"/>
                    <a:pt x="17" y="15"/>
                    <a:pt x="16" y="13"/>
                  </a:cubicBezTo>
                  <a:cubicBezTo>
                    <a:pt x="14" y="11"/>
                    <a:pt x="12" y="9"/>
                    <a:pt x="11" y="7"/>
                  </a:cubicBezTo>
                  <a:cubicBezTo>
                    <a:pt x="14" y="5"/>
                    <a:pt x="19" y="4"/>
                    <a:pt x="21" y="7"/>
                  </a:cubicBezTo>
                  <a:close/>
                  <a:moveTo>
                    <a:pt x="13" y="16"/>
                  </a:moveTo>
                  <a:cubicBezTo>
                    <a:pt x="9" y="12"/>
                    <a:pt x="7" y="9"/>
                    <a:pt x="6" y="7"/>
                  </a:cubicBezTo>
                  <a:cubicBezTo>
                    <a:pt x="7" y="8"/>
                    <a:pt x="7" y="8"/>
                    <a:pt x="8" y="9"/>
                  </a:cubicBezTo>
                  <a:cubicBezTo>
                    <a:pt x="9" y="11"/>
                    <a:pt x="11" y="13"/>
                    <a:pt x="13" y="15"/>
                  </a:cubicBezTo>
                  <a:cubicBezTo>
                    <a:pt x="15" y="18"/>
                    <a:pt x="18" y="19"/>
                    <a:pt x="19" y="21"/>
                  </a:cubicBezTo>
                  <a:cubicBezTo>
                    <a:pt x="20" y="21"/>
                    <a:pt x="21" y="22"/>
                    <a:pt x="21" y="22"/>
                  </a:cubicBezTo>
                  <a:cubicBezTo>
                    <a:pt x="19" y="21"/>
                    <a:pt x="16" y="19"/>
                    <a:pt x="13" y="1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30" name="Freeform 258"/>
            <p:cNvSpPr>
              <a:spLocks noEditPoints="1"/>
            </p:cNvSpPr>
            <p:nvPr/>
          </p:nvSpPr>
          <p:spPr bwMode="auto">
            <a:xfrm>
              <a:off x="2405" y="2686"/>
              <a:ext cx="70" cy="57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10" y="21"/>
                </a:cxn>
                <a:cxn ang="0">
                  <a:pos x="18" y="24"/>
                </a:cxn>
                <a:cxn ang="0">
                  <a:pos x="25" y="22"/>
                </a:cxn>
                <a:cxn ang="0">
                  <a:pos x="24" y="6"/>
                </a:cxn>
                <a:cxn ang="0">
                  <a:pos x="27" y="3"/>
                </a:cxn>
                <a:cxn ang="0">
                  <a:pos x="26" y="1"/>
                </a:cxn>
                <a:cxn ang="0">
                  <a:pos x="23" y="0"/>
                </a:cxn>
                <a:cxn ang="0">
                  <a:pos x="11" y="8"/>
                </a:cxn>
                <a:cxn ang="0">
                  <a:pos x="4" y="23"/>
                </a:cxn>
                <a:cxn ang="0">
                  <a:pos x="6" y="24"/>
                </a:cxn>
                <a:cxn ang="0">
                  <a:pos x="22" y="19"/>
                </a:cxn>
                <a:cxn ang="0">
                  <a:pos x="17" y="21"/>
                </a:cxn>
                <a:cxn ang="0">
                  <a:pos x="12" y="18"/>
                </a:cxn>
                <a:cxn ang="0">
                  <a:pos x="16" y="13"/>
                </a:cxn>
                <a:cxn ang="0">
                  <a:pos x="22" y="9"/>
                </a:cxn>
                <a:cxn ang="0">
                  <a:pos x="22" y="19"/>
                </a:cxn>
                <a:cxn ang="0">
                  <a:pos x="13" y="10"/>
                </a:cxn>
                <a:cxn ang="0">
                  <a:pos x="22" y="4"/>
                </a:cxn>
                <a:cxn ang="0">
                  <a:pos x="20" y="5"/>
                </a:cxn>
                <a:cxn ang="0">
                  <a:pos x="14" y="11"/>
                </a:cxn>
                <a:cxn ang="0">
                  <a:pos x="8" y="17"/>
                </a:cxn>
                <a:cxn ang="0">
                  <a:pos x="7" y="19"/>
                </a:cxn>
                <a:cxn ang="0">
                  <a:pos x="13" y="10"/>
                </a:cxn>
              </a:cxnLst>
              <a:rect l="0" t="0" r="r" b="b"/>
              <a:pathLst>
                <a:path w="29" h="24">
                  <a:moveTo>
                    <a:pt x="6" y="24"/>
                  </a:moveTo>
                  <a:cubicBezTo>
                    <a:pt x="7" y="24"/>
                    <a:pt x="8" y="23"/>
                    <a:pt x="10" y="21"/>
                  </a:cubicBezTo>
                  <a:cubicBezTo>
                    <a:pt x="12" y="23"/>
                    <a:pt x="15" y="24"/>
                    <a:pt x="18" y="24"/>
                  </a:cubicBezTo>
                  <a:cubicBezTo>
                    <a:pt x="20" y="24"/>
                    <a:pt x="23" y="23"/>
                    <a:pt x="25" y="22"/>
                  </a:cubicBezTo>
                  <a:cubicBezTo>
                    <a:pt x="29" y="18"/>
                    <a:pt x="28" y="11"/>
                    <a:pt x="24" y="6"/>
                  </a:cubicBezTo>
                  <a:cubicBezTo>
                    <a:pt x="26" y="5"/>
                    <a:pt x="27" y="4"/>
                    <a:pt x="27" y="3"/>
                  </a:cubicBezTo>
                  <a:cubicBezTo>
                    <a:pt x="27" y="2"/>
                    <a:pt x="26" y="1"/>
                    <a:pt x="26" y="1"/>
                  </a:cubicBezTo>
                  <a:cubicBezTo>
                    <a:pt x="25" y="0"/>
                    <a:pt x="25" y="0"/>
                    <a:pt x="23" y="0"/>
                  </a:cubicBezTo>
                  <a:cubicBezTo>
                    <a:pt x="20" y="0"/>
                    <a:pt x="15" y="3"/>
                    <a:pt x="11" y="8"/>
                  </a:cubicBezTo>
                  <a:cubicBezTo>
                    <a:pt x="6" y="12"/>
                    <a:pt x="0" y="20"/>
                    <a:pt x="4" y="23"/>
                  </a:cubicBezTo>
                  <a:cubicBezTo>
                    <a:pt x="4" y="24"/>
                    <a:pt x="5" y="24"/>
                    <a:pt x="6" y="24"/>
                  </a:cubicBezTo>
                  <a:close/>
                  <a:moveTo>
                    <a:pt x="22" y="19"/>
                  </a:moveTo>
                  <a:cubicBezTo>
                    <a:pt x="21" y="20"/>
                    <a:pt x="19" y="21"/>
                    <a:pt x="17" y="21"/>
                  </a:cubicBezTo>
                  <a:cubicBezTo>
                    <a:pt x="15" y="21"/>
                    <a:pt x="13" y="20"/>
                    <a:pt x="12" y="18"/>
                  </a:cubicBezTo>
                  <a:cubicBezTo>
                    <a:pt x="13" y="17"/>
                    <a:pt x="14" y="15"/>
                    <a:pt x="16" y="13"/>
                  </a:cubicBezTo>
                  <a:cubicBezTo>
                    <a:pt x="18" y="11"/>
                    <a:pt x="20" y="10"/>
                    <a:pt x="22" y="9"/>
                  </a:cubicBezTo>
                  <a:cubicBezTo>
                    <a:pt x="24" y="12"/>
                    <a:pt x="25" y="16"/>
                    <a:pt x="22" y="19"/>
                  </a:cubicBezTo>
                  <a:close/>
                  <a:moveTo>
                    <a:pt x="13" y="10"/>
                  </a:moveTo>
                  <a:cubicBezTo>
                    <a:pt x="16" y="7"/>
                    <a:pt x="20" y="5"/>
                    <a:pt x="22" y="4"/>
                  </a:cubicBezTo>
                  <a:cubicBezTo>
                    <a:pt x="21" y="4"/>
                    <a:pt x="20" y="5"/>
                    <a:pt x="20" y="5"/>
                  </a:cubicBezTo>
                  <a:cubicBezTo>
                    <a:pt x="18" y="7"/>
                    <a:pt x="16" y="8"/>
                    <a:pt x="14" y="11"/>
                  </a:cubicBezTo>
                  <a:cubicBezTo>
                    <a:pt x="11" y="13"/>
                    <a:pt x="10" y="15"/>
                    <a:pt x="8" y="17"/>
                  </a:cubicBezTo>
                  <a:cubicBezTo>
                    <a:pt x="8" y="18"/>
                    <a:pt x="7" y="18"/>
                    <a:pt x="7" y="19"/>
                  </a:cubicBezTo>
                  <a:cubicBezTo>
                    <a:pt x="8" y="17"/>
                    <a:pt x="10" y="14"/>
                    <a:pt x="13" y="1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533" name="Group 261"/>
          <p:cNvGrpSpPr>
            <a:grpSpLocks noChangeAspect="1"/>
          </p:cNvGrpSpPr>
          <p:nvPr/>
        </p:nvGrpSpPr>
        <p:grpSpPr bwMode="auto">
          <a:xfrm>
            <a:off x="4718050" y="4059238"/>
            <a:ext cx="836612" cy="831850"/>
            <a:chOff x="2975" y="2557"/>
            <a:chExt cx="527" cy="524"/>
          </a:xfrm>
        </p:grpSpPr>
        <p:sp>
          <p:nvSpPr>
            <p:cNvPr id="54534" name="Oval 262"/>
            <p:cNvSpPr>
              <a:spLocks noChangeArrowheads="1"/>
            </p:cNvSpPr>
            <p:nvPr/>
          </p:nvSpPr>
          <p:spPr bwMode="auto">
            <a:xfrm>
              <a:off x="2975" y="2557"/>
              <a:ext cx="527" cy="52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535" name="Freeform 263"/>
            <p:cNvSpPr>
              <a:spLocks noEditPoints="1"/>
            </p:cNvSpPr>
            <p:nvPr/>
          </p:nvSpPr>
          <p:spPr bwMode="auto">
            <a:xfrm>
              <a:off x="2997" y="2576"/>
              <a:ext cx="483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70"/>
                </a:cxn>
                <a:cxn ang="0">
                  <a:pos x="101" y="198"/>
                </a:cxn>
                <a:cxn ang="0">
                  <a:pos x="33" y="170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70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70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36" name="Freeform 264"/>
            <p:cNvSpPr>
              <a:spLocks/>
            </p:cNvSpPr>
            <p:nvPr/>
          </p:nvSpPr>
          <p:spPr bwMode="auto">
            <a:xfrm>
              <a:off x="3250" y="2720"/>
              <a:ext cx="142" cy="249"/>
            </a:xfrm>
            <a:custGeom>
              <a:avLst/>
              <a:gdLst/>
              <a:ahLst/>
              <a:cxnLst>
                <a:cxn ang="0">
                  <a:pos x="50" y="60"/>
                </a:cxn>
                <a:cxn ang="0">
                  <a:pos x="33" y="73"/>
                </a:cxn>
                <a:cxn ang="0">
                  <a:pos x="0" y="73"/>
                </a:cxn>
                <a:cxn ang="0">
                  <a:pos x="0" y="76"/>
                </a:cxn>
                <a:cxn ang="0">
                  <a:pos x="21" y="76"/>
                </a:cxn>
                <a:cxn ang="0">
                  <a:pos x="21" y="101"/>
                </a:cxn>
                <a:cxn ang="0">
                  <a:pos x="11" y="101"/>
                </a:cxn>
                <a:cxn ang="0">
                  <a:pos x="11" y="104"/>
                </a:cxn>
                <a:cxn ang="0">
                  <a:pos x="35" y="104"/>
                </a:cxn>
                <a:cxn ang="0">
                  <a:pos x="35" y="101"/>
                </a:cxn>
                <a:cxn ang="0">
                  <a:pos x="25" y="101"/>
                </a:cxn>
                <a:cxn ang="0">
                  <a:pos x="25" y="76"/>
                </a:cxn>
                <a:cxn ang="0">
                  <a:pos x="33" y="76"/>
                </a:cxn>
                <a:cxn ang="0">
                  <a:pos x="53" y="61"/>
                </a:cxn>
                <a:cxn ang="0">
                  <a:pos x="53" y="61"/>
                </a:cxn>
                <a:cxn ang="0">
                  <a:pos x="59" y="0"/>
                </a:cxn>
                <a:cxn ang="0">
                  <a:pos x="56" y="0"/>
                </a:cxn>
                <a:cxn ang="0">
                  <a:pos x="50" y="60"/>
                </a:cxn>
              </a:cxnLst>
              <a:rect l="0" t="0" r="r" b="b"/>
              <a:pathLst>
                <a:path w="59" h="104">
                  <a:moveTo>
                    <a:pt x="50" y="60"/>
                  </a:moveTo>
                  <a:cubicBezTo>
                    <a:pt x="48" y="68"/>
                    <a:pt x="40" y="73"/>
                    <a:pt x="3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1"/>
                    <a:pt x="35" y="101"/>
                    <a:pt x="35" y="101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42" y="76"/>
                    <a:pt x="51" y="70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50" y="6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37" name="Freeform 265"/>
            <p:cNvSpPr>
              <a:spLocks noEditPoints="1"/>
            </p:cNvSpPr>
            <p:nvPr/>
          </p:nvSpPr>
          <p:spPr bwMode="auto">
            <a:xfrm>
              <a:off x="3186" y="2667"/>
              <a:ext cx="184" cy="304"/>
            </a:xfrm>
            <a:custGeom>
              <a:avLst/>
              <a:gdLst/>
              <a:ahLst/>
              <a:cxnLst>
                <a:cxn ang="0">
                  <a:pos x="73" y="44"/>
                </a:cxn>
                <a:cxn ang="0">
                  <a:pos x="69" y="29"/>
                </a:cxn>
                <a:cxn ang="0">
                  <a:pos x="77" y="15"/>
                </a:cxn>
                <a:cxn ang="0">
                  <a:pos x="47" y="15"/>
                </a:cxn>
                <a:cxn ang="0">
                  <a:pos x="52" y="30"/>
                </a:cxn>
                <a:cxn ang="0">
                  <a:pos x="33" y="43"/>
                </a:cxn>
                <a:cxn ang="0">
                  <a:pos x="12" y="40"/>
                </a:cxn>
                <a:cxn ang="0">
                  <a:pos x="11" y="53"/>
                </a:cxn>
                <a:cxn ang="0">
                  <a:pos x="39" y="58"/>
                </a:cxn>
                <a:cxn ang="0">
                  <a:pos x="50" y="71"/>
                </a:cxn>
                <a:cxn ang="0">
                  <a:pos x="19" y="71"/>
                </a:cxn>
                <a:cxn ang="0">
                  <a:pos x="0" y="117"/>
                </a:cxn>
                <a:cxn ang="0">
                  <a:pos x="9" y="127"/>
                </a:cxn>
                <a:cxn ang="0">
                  <a:pos x="25" y="90"/>
                </a:cxn>
                <a:cxn ang="0">
                  <a:pos x="53" y="89"/>
                </a:cxn>
                <a:cxn ang="0">
                  <a:pos x="51" y="15"/>
                </a:cxn>
                <a:cxn ang="0">
                  <a:pos x="74" y="15"/>
                </a:cxn>
                <a:cxn ang="0">
                  <a:pos x="51" y="15"/>
                </a:cxn>
                <a:cxn ang="0">
                  <a:pos x="21" y="89"/>
                </a:cxn>
                <a:cxn ang="0">
                  <a:pos x="9" y="123"/>
                </a:cxn>
                <a:cxn ang="0">
                  <a:pos x="4" y="118"/>
                </a:cxn>
                <a:cxn ang="0">
                  <a:pos x="14" y="79"/>
                </a:cxn>
                <a:cxn ang="0">
                  <a:pos x="35" y="74"/>
                </a:cxn>
                <a:cxn ang="0">
                  <a:pos x="54" y="69"/>
                </a:cxn>
                <a:cxn ang="0">
                  <a:pos x="55" y="48"/>
                </a:cxn>
                <a:cxn ang="0">
                  <a:pos x="38" y="55"/>
                </a:cxn>
                <a:cxn ang="0">
                  <a:pos x="34" y="55"/>
                </a:cxn>
                <a:cxn ang="0">
                  <a:pos x="12" y="49"/>
                </a:cxn>
                <a:cxn ang="0">
                  <a:pos x="12" y="43"/>
                </a:cxn>
                <a:cxn ang="0">
                  <a:pos x="33" y="46"/>
                </a:cxn>
                <a:cxn ang="0">
                  <a:pos x="54" y="33"/>
                </a:cxn>
                <a:cxn ang="0">
                  <a:pos x="67" y="31"/>
                </a:cxn>
                <a:cxn ang="0">
                  <a:pos x="67" y="75"/>
                </a:cxn>
                <a:cxn ang="0">
                  <a:pos x="25" y="86"/>
                </a:cxn>
              </a:cxnLst>
              <a:rect l="0" t="0" r="r" b="b"/>
              <a:pathLst>
                <a:path w="77" h="127">
                  <a:moveTo>
                    <a:pt x="70" y="75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37"/>
                    <a:pt x="72" y="32"/>
                    <a:pt x="69" y="29"/>
                  </a:cubicBezTo>
                  <a:cubicBezTo>
                    <a:pt x="69" y="29"/>
                    <a:pt x="69" y="28"/>
                    <a:pt x="69" y="28"/>
                  </a:cubicBezTo>
                  <a:cubicBezTo>
                    <a:pt x="74" y="26"/>
                    <a:pt x="77" y="21"/>
                    <a:pt x="77" y="15"/>
                  </a:cubicBezTo>
                  <a:cubicBezTo>
                    <a:pt x="77" y="6"/>
                    <a:pt x="71" y="0"/>
                    <a:pt x="62" y="0"/>
                  </a:cubicBezTo>
                  <a:cubicBezTo>
                    <a:pt x="54" y="0"/>
                    <a:pt x="47" y="6"/>
                    <a:pt x="47" y="15"/>
                  </a:cubicBezTo>
                  <a:cubicBezTo>
                    <a:pt x="47" y="20"/>
                    <a:pt x="51" y="26"/>
                    <a:pt x="56" y="28"/>
                  </a:cubicBezTo>
                  <a:cubicBezTo>
                    <a:pt x="55" y="29"/>
                    <a:pt x="53" y="29"/>
                    <a:pt x="52" y="30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3" y="40"/>
                    <a:pt x="12" y="40"/>
                  </a:cubicBezTo>
                  <a:cubicBezTo>
                    <a:pt x="8" y="40"/>
                    <a:pt x="6" y="43"/>
                    <a:pt x="5" y="45"/>
                  </a:cubicBezTo>
                  <a:cubicBezTo>
                    <a:pt x="5" y="49"/>
                    <a:pt x="7" y="52"/>
                    <a:pt x="11" y="53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5" y="59"/>
                    <a:pt x="38" y="59"/>
                    <a:pt x="39" y="58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59"/>
                    <a:pt x="50" y="68"/>
                    <a:pt x="50" y="71"/>
                  </a:cubicBezTo>
                  <a:cubicBezTo>
                    <a:pt x="45" y="71"/>
                    <a:pt x="40" y="71"/>
                    <a:pt x="35" y="71"/>
                  </a:cubicBezTo>
                  <a:cubicBezTo>
                    <a:pt x="30" y="71"/>
                    <a:pt x="24" y="71"/>
                    <a:pt x="19" y="71"/>
                  </a:cubicBezTo>
                  <a:cubicBezTo>
                    <a:pt x="15" y="71"/>
                    <a:pt x="11" y="74"/>
                    <a:pt x="10" y="7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9"/>
                    <a:pt x="0" y="121"/>
                    <a:pt x="1" y="123"/>
                  </a:cubicBezTo>
                  <a:cubicBezTo>
                    <a:pt x="3" y="125"/>
                    <a:pt x="6" y="127"/>
                    <a:pt x="9" y="127"/>
                  </a:cubicBezTo>
                  <a:cubicBezTo>
                    <a:pt x="13" y="127"/>
                    <a:pt x="16" y="124"/>
                    <a:pt x="17" y="121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62" y="89"/>
                    <a:pt x="69" y="87"/>
                    <a:pt x="70" y="75"/>
                  </a:cubicBezTo>
                  <a:close/>
                  <a:moveTo>
                    <a:pt x="51" y="15"/>
                  </a:moveTo>
                  <a:cubicBezTo>
                    <a:pt x="51" y="8"/>
                    <a:pt x="56" y="3"/>
                    <a:pt x="62" y="3"/>
                  </a:cubicBezTo>
                  <a:cubicBezTo>
                    <a:pt x="69" y="3"/>
                    <a:pt x="74" y="8"/>
                    <a:pt x="74" y="15"/>
                  </a:cubicBezTo>
                  <a:cubicBezTo>
                    <a:pt x="74" y="21"/>
                    <a:pt x="69" y="26"/>
                    <a:pt x="62" y="26"/>
                  </a:cubicBezTo>
                  <a:cubicBezTo>
                    <a:pt x="56" y="26"/>
                    <a:pt x="51" y="21"/>
                    <a:pt x="51" y="15"/>
                  </a:cubicBezTo>
                  <a:close/>
                  <a:moveTo>
                    <a:pt x="25" y="86"/>
                  </a:moveTo>
                  <a:cubicBezTo>
                    <a:pt x="23" y="86"/>
                    <a:pt x="21" y="87"/>
                    <a:pt x="21" y="89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3"/>
                    <a:pt x="10" y="123"/>
                    <a:pt x="9" y="123"/>
                  </a:cubicBezTo>
                  <a:cubicBezTo>
                    <a:pt x="7" y="123"/>
                    <a:pt x="5" y="122"/>
                    <a:pt x="4" y="121"/>
                  </a:cubicBezTo>
                  <a:cubicBezTo>
                    <a:pt x="4" y="120"/>
                    <a:pt x="3" y="119"/>
                    <a:pt x="4" y="118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7"/>
                    <a:pt x="16" y="75"/>
                    <a:pt x="19" y="75"/>
                  </a:cubicBezTo>
                  <a:cubicBezTo>
                    <a:pt x="24" y="75"/>
                    <a:pt x="30" y="75"/>
                    <a:pt x="35" y="74"/>
                  </a:cubicBezTo>
                  <a:cubicBezTo>
                    <a:pt x="40" y="74"/>
                    <a:pt x="46" y="74"/>
                    <a:pt x="51" y="74"/>
                  </a:cubicBezTo>
                  <a:cubicBezTo>
                    <a:pt x="53" y="74"/>
                    <a:pt x="53" y="72"/>
                    <a:pt x="54" y="69"/>
                  </a:cubicBezTo>
                  <a:cubicBezTo>
                    <a:pt x="54" y="67"/>
                    <a:pt x="54" y="64"/>
                    <a:pt x="54" y="60"/>
                  </a:cubicBezTo>
                  <a:cubicBezTo>
                    <a:pt x="55" y="54"/>
                    <a:pt x="55" y="48"/>
                    <a:pt x="55" y="48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5" y="55"/>
                    <a:pt x="34" y="55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0" y="49"/>
                    <a:pt x="9" y="47"/>
                    <a:pt x="9" y="46"/>
                  </a:cubicBezTo>
                  <a:cubicBezTo>
                    <a:pt x="9" y="45"/>
                    <a:pt x="10" y="43"/>
                    <a:pt x="12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4" y="46"/>
                    <a:pt x="35" y="46"/>
                    <a:pt x="36" y="46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7" y="31"/>
                    <a:pt x="60" y="30"/>
                    <a:pt x="63" y="30"/>
                  </a:cubicBezTo>
                  <a:cubicBezTo>
                    <a:pt x="64" y="30"/>
                    <a:pt x="66" y="30"/>
                    <a:pt x="67" y="31"/>
                  </a:cubicBezTo>
                  <a:cubicBezTo>
                    <a:pt x="69" y="34"/>
                    <a:pt x="70" y="38"/>
                    <a:pt x="69" y="4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6" y="83"/>
                    <a:pt x="63" y="85"/>
                    <a:pt x="53" y="85"/>
                  </a:cubicBezTo>
                  <a:lnTo>
                    <a:pt x="25" y="8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38" name="Freeform 266"/>
            <p:cNvSpPr>
              <a:spLocks/>
            </p:cNvSpPr>
            <p:nvPr/>
          </p:nvSpPr>
          <p:spPr bwMode="auto">
            <a:xfrm>
              <a:off x="3093" y="2816"/>
              <a:ext cx="160" cy="153"/>
            </a:xfrm>
            <a:custGeom>
              <a:avLst/>
              <a:gdLst/>
              <a:ahLst/>
              <a:cxnLst>
                <a:cxn ang="0">
                  <a:pos x="160" y="9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9" y="9"/>
                </a:cxn>
                <a:cxn ang="0">
                  <a:pos x="19" y="153"/>
                </a:cxn>
                <a:cxn ang="0">
                  <a:pos x="28" y="153"/>
                </a:cxn>
                <a:cxn ang="0">
                  <a:pos x="28" y="9"/>
                </a:cxn>
                <a:cxn ang="0">
                  <a:pos x="160" y="9"/>
                </a:cxn>
              </a:cxnLst>
              <a:rect l="0" t="0" r="r" b="b"/>
              <a:pathLst>
                <a:path w="160" h="153">
                  <a:moveTo>
                    <a:pt x="160" y="9"/>
                  </a:moveTo>
                  <a:lnTo>
                    <a:pt x="16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19" y="9"/>
                  </a:lnTo>
                  <a:lnTo>
                    <a:pt x="19" y="153"/>
                  </a:lnTo>
                  <a:lnTo>
                    <a:pt x="28" y="153"/>
                  </a:lnTo>
                  <a:lnTo>
                    <a:pt x="28" y="9"/>
                  </a:lnTo>
                  <a:lnTo>
                    <a:pt x="160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39" name="Freeform 267"/>
            <p:cNvSpPr>
              <a:spLocks/>
            </p:cNvSpPr>
            <p:nvPr/>
          </p:nvSpPr>
          <p:spPr bwMode="auto">
            <a:xfrm>
              <a:off x="3090" y="2720"/>
              <a:ext cx="110" cy="89"/>
            </a:xfrm>
            <a:custGeom>
              <a:avLst/>
              <a:gdLst/>
              <a:ahLst/>
              <a:cxnLst>
                <a:cxn ang="0">
                  <a:pos x="7" y="33"/>
                </a:cxn>
                <a:cxn ang="0">
                  <a:pos x="12" y="37"/>
                </a:cxn>
                <a:cxn ang="0">
                  <a:pos x="46" y="37"/>
                </a:cxn>
                <a:cxn ang="0">
                  <a:pos x="46" y="33"/>
                </a:cxn>
                <a:cxn ang="0">
                  <a:pos x="12" y="33"/>
                </a:cxn>
                <a:cxn ang="0">
                  <a:pos x="11" y="32"/>
                </a:cxn>
                <a:cxn ang="0">
                  <a:pos x="3" y="0"/>
                </a:cxn>
                <a:cxn ang="0">
                  <a:pos x="0" y="1"/>
                </a:cxn>
                <a:cxn ang="0">
                  <a:pos x="7" y="33"/>
                </a:cxn>
              </a:cxnLst>
              <a:rect l="0" t="0" r="r" b="b"/>
              <a:pathLst>
                <a:path w="46" h="37">
                  <a:moveTo>
                    <a:pt x="7" y="33"/>
                  </a:moveTo>
                  <a:cubicBezTo>
                    <a:pt x="8" y="35"/>
                    <a:pt x="10" y="37"/>
                    <a:pt x="12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1" y="33"/>
                    <a:pt x="11" y="3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33"/>
                    <a:pt x="7" y="33"/>
                    <a:pt x="7" y="3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542" name="Group 270"/>
          <p:cNvGrpSpPr>
            <a:grpSpLocks noChangeAspect="1"/>
          </p:cNvGrpSpPr>
          <p:nvPr/>
        </p:nvGrpSpPr>
        <p:grpSpPr bwMode="auto">
          <a:xfrm>
            <a:off x="5856288" y="4087816"/>
            <a:ext cx="768350" cy="768350"/>
            <a:chOff x="3688" y="2575"/>
            <a:chExt cx="484" cy="484"/>
          </a:xfrm>
        </p:grpSpPr>
        <p:sp>
          <p:nvSpPr>
            <p:cNvPr id="54543" name="Freeform 271"/>
            <p:cNvSpPr>
              <a:spLocks noEditPoints="1"/>
            </p:cNvSpPr>
            <p:nvPr/>
          </p:nvSpPr>
          <p:spPr bwMode="auto">
            <a:xfrm>
              <a:off x="3688" y="25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44" name="Freeform 272"/>
            <p:cNvSpPr>
              <a:spLocks/>
            </p:cNvSpPr>
            <p:nvPr/>
          </p:nvSpPr>
          <p:spPr bwMode="auto">
            <a:xfrm>
              <a:off x="3942" y="2717"/>
              <a:ext cx="141" cy="251"/>
            </a:xfrm>
            <a:custGeom>
              <a:avLst/>
              <a:gdLst/>
              <a:ahLst/>
              <a:cxnLst>
                <a:cxn ang="0">
                  <a:pos x="50" y="61"/>
                </a:cxn>
                <a:cxn ang="0">
                  <a:pos x="33" y="73"/>
                </a:cxn>
                <a:cxn ang="0">
                  <a:pos x="0" y="73"/>
                </a:cxn>
                <a:cxn ang="0">
                  <a:pos x="0" y="77"/>
                </a:cxn>
                <a:cxn ang="0">
                  <a:pos x="21" y="77"/>
                </a:cxn>
                <a:cxn ang="0">
                  <a:pos x="21" y="101"/>
                </a:cxn>
                <a:cxn ang="0">
                  <a:pos x="11" y="101"/>
                </a:cxn>
                <a:cxn ang="0">
                  <a:pos x="11" y="105"/>
                </a:cxn>
                <a:cxn ang="0">
                  <a:pos x="35" y="105"/>
                </a:cxn>
                <a:cxn ang="0">
                  <a:pos x="35" y="101"/>
                </a:cxn>
                <a:cxn ang="0">
                  <a:pos x="25" y="101"/>
                </a:cxn>
                <a:cxn ang="0">
                  <a:pos x="25" y="77"/>
                </a:cxn>
                <a:cxn ang="0">
                  <a:pos x="33" y="77"/>
                </a:cxn>
                <a:cxn ang="0">
                  <a:pos x="53" y="62"/>
                </a:cxn>
                <a:cxn ang="0">
                  <a:pos x="53" y="62"/>
                </a:cxn>
                <a:cxn ang="0">
                  <a:pos x="59" y="0"/>
                </a:cxn>
                <a:cxn ang="0">
                  <a:pos x="56" y="0"/>
                </a:cxn>
                <a:cxn ang="0">
                  <a:pos x="50" y="61"/>
                </a:cxn>
              </a:cxnLst>
              <a:rect l="0" t="0" r="r" b="b"/>
              <a:pathLst>
                <a:path w="59" h="105">
                  <a:moveTo>
                    <a:pt x="50" y="61"/>
                  </a:moveTo>
                  <a:cubicBezTo>
                    <a:pt x="48" y="68"/>
                    <a:pt x="40" y="73"/>
                    <a:pt x="3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35" y="101"/>
                    <a:pt x="35" y="101"/>
                    <a:pt x="35" y="101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42" y="77"/>
                    <a:pt x="51" y="70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50" y="6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45" name="Freeform 273"/>
            <p:cNvSpPr>
              <a:spLocks noEditPoints="1"/>
            </p:cNvSpPr>
            <p:nvPr/>
          </p:nvSpPr>
          <p:spPr bwMode="auto">
            <a:xfrm>
              <a:off x="3877" y="2664"/>
              <a:ext cx="184" cy="304"/>
            </a:xfrm>
            <a:custGeom>
              <a:avLst/>
              <a:gdLst/>
              <a:ahLst/>
              <a:cxnLst>
                <a:cxn ang="0">
                  <a:pos x="73" y="44"/>
                </a:cxn>
                <a:cxn ang="0">
                  <a:pos x="69" y="29"/>
                </a:cxn>
                <a:cxn ang="0">
                  <a:pos x="77" y="15"/>
                </a:cxn>
                <a:cxn ang="0">
                  <a:pos x="47" y="15"/>
                </a:cxn>
                <a:cxn ang="0">
                  <a:pos x="52" y="31"/>
                </a:cxn>
                <a:cxn ang="0">
                  <a:pos x="33" y="43"/>
                </a:cxn>
                <a:cxn ang="0">
                  <a:pos x="12" y="40"/>
                </a:cxn>
                <a:cxn ang="0">
                  <a:pos x="11" y="53"/>
                </a:cxn>
                <a:cxn ang="0">
                  <a:pos x="39" y="58"/>
                </a:cxn>
                <a:cxn ang="0">
                  <a:pos x="50" y="71"/>
                </a:cxn>
                <a:cxn ang="0">
                  <a:pos x="19" y="72"/>
                </a:cxn>
                <a:cxn ang="0">
                  <a:pos x="0" y="117"/>
                </a:cxn>
                <a:cxn ang="0">
                  <a:pos x="9" y="127"/>
                </a:cxn>
                <a:cxn ang="0">
                  <a:pos x="25" y="90"/>
                </a:cxn>
                <a:cxn ang="0">
                  <a:pos x="53" y="89"/>
                </a:cxn>
                <a:cxn ang="0">
                  <a:pos x="51" y="15"/>
                </a:cxn>
                <a:cxn ang="0">
                  <a:pos x="74" y="15"/>
                </a:cxn>
                <a:cxn ang="0">
                  <a:pos x="51" y="15"/>
                </a:cxn>
                <a:cxn ang="0">
                  <a:pos x="21" y="89"/>
                </a:cxn>
                <a:cxn ang="0">
                  <a:pos x="9" y="123"/>
                </a:cxn>
                <a:cxn ang="0">
                  <a:pos x="4" y="118"/>
                </a:cxn>
                <a:cxn ang="0">
                  <a:pos x="14" y="80"/>
                </a:cxn>
                <a:cxn ang="0">
                  <a:pos x="35" y="75"/>
                </a:cxn>
                <a:cxn ang="0">
                  <a:pos x="54" y="69"/>
                </a:cxn>
                <a:cxn ang="0">
                  <a:pos x="55" y="49"/>
                </a:cxn>
                <a:cxn ang="0">
                  <a:pos x="38" y="55"/>
                </a:cxn>
                <a:cxn ang="0">
                  <a:pos x="34" y="56"/>
                </a:cxn>
                <a:cxn ang="0">
                  <a:pos x="12" y="50"/>
                </a:cxn>
                <a:cxn ang="0">
                  <a:pos x="12" y="44"/>
                </a:cxn>
                <a:cxn ang="0">
                  <a:pos x="33" y="47"/>
                </a:cxn>
                <a:cxn ang="0">
                  <a:pos x="54" y="34"/>
                </a:cxn>
                <a:cxn ang="0">
                  <a:pos x="67" y="32"/>
                </a:cxn>
                <a:cxn ang="0">
                  <a:pos x="67" y="75"/>
                </a:cxn>
                <a:cxn ang="0">
                  <a:pos x="25" y="86"/>
                </a:cxn>
              </a:cxnLst>
              <a:rect l="0" t="0" r="r" b="b"/>
              <a:pathLst>
                <a:path w="77" h="127">
                  <a:moveTo>
                    <a:pt x="70" y="76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37"/>
                    <a:pt x="72" y="32"/>
                    <a:pt x="69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74" y="26"/>
                    <a:pt x="77" y="21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ubicBezTo>
                    <a:pt x="54" y="0"/>
                    <a:pt x="47" y="7"/>
                    <a:pt x="47" y="15"/>
                  </a:cubicBezTo>
                  <a:cubicBezTo>
                    <a:pt x="47" y="21"/>
                    <a:pt x="51" y="26"/>
                    <a:pt x="56" y="29"/>
                  </a:cubicBezTo>
                  <a:cubicBezTo>
                    <a:pt x="55" y="29"/>
                    <a:pt x="53" y="30"/>
                    <a:pt x="52" y="31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3" y="40"/>
                    <a:pt x="12" y="40"/>
                  </a:cubicBezTo>
                  <a:cubicBezTo>
                    <a:pt x="8" y="40"/>
                    <a:pt x="6" y="43"/>
                    <a:pt x="5" y="46"/>
                  </a:cubicBezTo>
                  <a:cubicBezTo>
                    <a:pt x="5" y="49"/>
                    <a:pt x="7" y="53"/>
                    <a:pt x="11" y="53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5" y="60"/>
                    <a:pt x="38" y="59"/>
                    <a:pt x="39" y="58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1" y="60"/>
                    <a:pt x="50" y="68"/>
                    <a:pt x="50" y="71"/>
                  </a:cubicBezTo>
                  <a:cubicBezTo>
                    <a:pt x="45" y="71"/>
                    <a:pt x="40" y="71"/>
                    <a:pt x="35" y="71"/>
                  </a:cubicBezTo>
                  <a:cubicBezTo>
                    <a:pt x="30" y="71"/>
                    <a:pt x="24" y="72"/>
                    <a:pt x="19" y="72"/>
                  </a:cubicBezTo>
                  <a:cubicBezTo>
                    <a:pt x="15" y="72"/>
                    <a:pt x="11" y="75"/>
                    <a:pt x="10" y="7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0"/>
                    <a:pt x="0" y="122"/>
                    <a:pt x="1" y="124"/>
                  </a:cubicBezTo>
                  <a:cubicBezTo>
                    <a:pt x="3" y="126"/>
                    <a:pt x="6" y="127"/>
                    <a:pt x="9" y="127"/>
                  </a:cubicBezTo>
                  <a:cubicBezTo>
                    <a:pt x="13" y="127"/>
                    <a:pt x="16" y="125"/>
                    <a:pt x="17" y="121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62" y="89"/>
                    <a:pt x="69" y="88"/>
                    <a:pt x="70" y="76"/>
                  </a:cubicBezTo>
                  <a:close/>
                  <a:moveTo>
                    <a:pt x="51" y="15"/>
                  </a:moveTo>
                  <a:cubicBezTo>
                    <a:pt x="51" y="9"/>
                    <a:pt x="56" y="4"/>
                    <a:pt x="62" y="4"/>
                  </a:cubicBezTo>
                  <a:cubicBezTo>
                    <a:pt x="69" y="4"/>
                    <a:pt x="74" y="9"/>
                    <a:pt x="74" y="15"/>
                  </a:cubicBezTo>
                  <a:cubicBezTo>
                    <a:pt x="74" y="21"/>
                    <a:pt x="69" y="26"/>
                    <a:pt x="62" y="26"/>
                  </a:cubicBezTo>
                  <a:cubicBezTo>
                    <a:pt x="56" y="26"/>
                    <a:pt x="51" y="21"/>
                    <a:pt x="51" y="15"/>
                  </a:cubicBezTo>
                  <a:close/>
                  <a:moveTo>
                    <a:pt x="25" y="86"/>
                  </a:moveTo>
                  <a:cubicBezTo>
                    <a:pt x="23" y="86"/>
                    <a:pt x="21" y="87"/>
                    <a:pt x="21" y="89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3"/>
                    <a:pt x="10" y="123"/>
                    <a:pt x="9" y="123"/>
                  </a:cubicBezTo>
                  <a:cubicBezTo>
                    <a:pt x="7" y="123"/>
                    <a:pt x="5" y="123"/>
                    <a:pt x="4" y="121"/>
                  </a:cubicBezTo>
                  <a:cubicBezTo>
                    <a:pt x="4" y="121"/>
                    <a:pt x="3" y="119"/>
                    <a:pt x="4" y="118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77"/>
                    <a:pt x="16" y="75"/>
                    <a:pt x="19" y="75"/>
                  </a:cubicBezTo>
                  <a:cubicBezTo>
                    <a:pt x="24" y="75"/>
                    <a:pt x="30" y="75"/>
                    <a:pt x="35" y="75"/>
                  </a:cubicBezTo>
                  <a:cubicBezTo>
                    <a:pt x="40" y="75"/>
                    <a:pt x="46" y="75"/>
                    <a:pt x="51" y="75"/>
                  </a:cubicBezTo>
                  <a:cubicBezTo>
                    <a:pt x="53" y="75"/>
                    <a:pt x="53" y="72"/>
                    <a:pt x="54" y="69"/>
                  </a:cubicBezTo>
                  <a:cubicBezTo>
                    <a:pt x="54" y="67"/>
                    <a:pt x="54" y="64"/>
                    <a:pt x="54" y="61"/>
                  </a:cubicBezTo>
                  <a:cubicBezTo>
                    <a:pt x="55" y="55"/>
                    <a:pt x="55" y="49"/>
                    <a:pt x="55" y="49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6"/>
                    <a:pt x="35" y="56"/>
                    <a:pt x="34" y="56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0" y="49"/>
                    <a:pt x="9" y="48"/>
                    <a:pt x="9" y="46"/>
                  </a:cubicBezTo>
                  <a:cubicBezTo>
                    <a:pt x="9" y="45"/>
                    <a:pt x="10" y="44"/>
                    <a:pt x="1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7"/>
                    <a:pt x="35" y="47"/>
                    <a:pt x="36" y="46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7" y="31"/>
                    <a:pt x="60" y="30"/>
                    <a:pt x="63" y="30"/>
                  </a:cubicBezTo>
                  <a:cubicBezTo>
                    <a:pt x="64" y="30"/>
                    <a:pt x="66" y="31"/>
                    <a:pt x="67" y="32"/>
                  </a:cubicBezTo>
                  <a:cubicBezTo>
                    <a:pt x="69" y="34"/>
                    <a:pt x="70" y="38"/>
                    <a:pt x="69" y="4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6" y="83"/>
                    <a:pt x="63" y="86"/>
                    <a:pt x="53" y="86"/>
                  </a:cubicBezTo>
                  <a:lnTo>
                    <a:pt x="25" y="8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46" name="Freeform 274"/>
            <p:cNvSpPr>
              <a:spLocks/>
            </p:cNvSpPr>
            <p:nvPr/>
          </p:nvSpPr>
          <p:spPr bwMode="auto">
            <a:xfrm>
              <a:off x="3784" y="2815"/>
              <a:ext cx="160" cy="153"/>
            </a:xfrm>
            <a:custGeom>
              <a:avLst/>
              <a:gdLst/>
              <a:ahLst/>
              <a:cxnLst>
                <a:cxn ang="0">
                  <a:pos x="160" y="7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19" y="7"/>
                </a:cxn>
                <a:cxn ang="0">
                  <a:pos x="19" y="153"/>
                </a:cxn>
                <a:cxn ang="0">
                  <a:pos x="29" y="153"/>
                </a:cxn>
                <a:cxn ang="0">
                  <a:pos x="29" y="7"/>
                </a:cxn>
                <a:cxn ang="0">
                  <a:pos x="160" y="7"/>
                </a:cxn>
              </a:cxnLst>
              <a:rect l="0" t="0" r="r" b="b"/>
              <a:pathLst>
                <a:path w="160" h="153">
                  <a:moveTo>
                    <a:pt x="160" y="7"/>
                  </a:moveTo>
                  <a:lnTo>
                    <a:pt x="160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19" y="7"/>
                  </a:lnTo>
                  <a:lnTo>
                    <a:pt x="19" y="153"/>
                  </a:lnTo>
                  <a:lnTo>
                    <a:pt x="29" y="153"/>
                  </a:lnTo>
                  <a:lnTo>
                    <a:pt x="29" y="7"/>
                  </a:lnTo>
                  <a:lnTo>
                    <a:pt x="160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47" name="Freeform 275"/>
            <p:cNvSpPr>
              <a:spLocks/>
            </p:cNvSpPr>
            <p:nvPr/>
          </p:nvSpPr>
          <p:spPr bwMode="auto">
            <a:xfrm>
              <a:off x="3782" y="2719"/>
              <a:ext cx="110" cy="86"/>
            </a:xfrm>
            <a:custGeom>
              <a:avLst/>
              <a:gdLst/>
              <a:ahLst/>
              <a:cxnLst>
                <a:cxn ang="0">
                  <a:pos x="7" y="32"/>
                </a:cxn>
                <a:cxn ang="0">
                  <a:pos x="12" y="36"/>
                </a:cxn>
                <a:cxn ang="0">
                  <a:pos x="46" y="36"/>
                </a:cxn>
                <a:cxn ang="0">
                  <a:pos x="46" y="33"/>
                </a:cxn>
                <a:cxn ang="0">
                  <a:pos x="12" y="33"/>
                </a:cxn>
                <a:cxn ang="0">
                  <a:pos x="11" y="31"/>
                </a:cxn>
                <a:cxn ang="0">
                  <a:pos x="3" y="0"/>
                </a:cxn>
                <a:cxn ang="0">
                  <a:pos x="0" y="1"/>
                </a:cxn>
                <a:cxn ang="0">
                  <a:pos x="7" y="32"/>
                </a:cxn>
              </a:cxnLst>
              <a:rect l="0" t="0" r="r" b="b"/>
              <a:pathLst>
                <a:path w="46" h="36">
                  <a:moveTo>
                    <a:pt x="7" y="32"/>
                  </a:moveTo>
                  <a:cubicBezTo>
                    <a:pt x="8" y="35"/>
                    <a:pt x="10" y="36"/>
                    <a:pt x="12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1" y="32"/>
                    <a:pt x="11" y="3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32"/>
                    <a:pt x="7" y="32"/>
                    <a:pt x="7" y="3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550" name="Group 278"/>
          <p:cNvGrpSpPr>
            <a:grpSpLocks noChangeAspect="1"/>
          </p:cNvGrpSpPr>
          <p:nvPr/>
        </p:nvGrpSpPr>
        <p:grpSpPr bwMode="auto">
          <a:xfrm>
            <a:off x="6922294" y="4052888"/>
            <a:ext cx="836613" cy="838200"/>
            <a:chOff x="4358" y="2553"/>
            <a:chExt cx="527" cy="528"/>
          </a:xfrm>
        </p:grpSpPr>
        <p:sp>
          <p:nvSpPr>
            <p:cNvPr id="54551" name="Oval 279"/>
            <p:cNvSpPr>
              <a:spLocks noChangeArrowheads="1"/>
            </p:cNvSpPr>
            <p:nvPr/>
          </p:nvSpPr>
          <p:spPr bwMode="auto">
            <a:xfrm>
              <a:off x="4358" y="2553"/>
              <a:ext cx="527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552" name="Freeform 280"/>
            <p:cNvSpPr>
              <a:spLocks noEditPoints="1"/>
            </p:cNvSpPr>
            <p:nvPr/>
          </p:nvSpPr>
          <p:spPr bwMode="auto">
            <a:xfrm>
              <a:off x="4380" y="2575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3" name="Rectangle 281"/>
            <p:cNvSpPr>
              <a:spLocks noChangeArrowheads="1"/>
            </p:cNvSpPr>
            <p:nvPr/>
          </p:nvSpPr>
          <p:spPr bwMode="auto">
            <a:xfrm>
              <a:off x="4612" y="2767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4" name="Rectangle 282"/>
            <p:cNvSpPr>
              <a:spLocks noChangeArrowheads="1"/>
            </p:cNvSpPr>
            <p:nvPr/>
          </p:nvSpPr>
          <p:spPr bwMode="auto">
            <a:xfrm>
              <a:off x="4581" y="2767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5" name="Rectangle 283"/>
            <p:cNvSpPr>
              <a:spLocks noChangeArrowheads="1"/>
            </p:cNvSpPr>
            <p:nvPr/>
          </p:nvSpPr>
          <p:spPr bwMode="auto">
            <a:xfrm>
              <a:off x="4612" y="279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6" name="Rectangle 284"/>
            <p:cNvSpPr>
              <a:spLocks noChangeArrowheads="1"/>
            </p:cNvSpPr>
            <p:nvPr/>
          </p:nvSpPr>
          <p:spPr bwMode="auto">
            <a:xfrm>
              <a:off x="4581" y="279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7" name="Rectangle 285"/>
            <p:cNvSpPr>
              <a:spLocks noChangeArrowheads="1"/>
            </p:cNvSpPr>
            <p:nvPr/>
          </p:nvSpPr>
          <p:spPr bwMode="auto">
            <a:xfrm>
              <a:off x="4612" y="2738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8" name="Rectangle 286"/>
            <p:cNvSpPr>
              <a:spLocks noChangeArrowheads="1"/>
            </p:cNvSpPr>
            <p:nvPr/>
          </p:nvSpPr>
          <p:spPr bwMode="auto">
            <a:xfrm>
              <a:off x="4581" y="2738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59" name="Rectangle 287"/>
            <p:cNvSpPr>
              <a:spLocks noChangeArrowheads="1"/>
            </p:cNvSpPr>
            <p:nvPr/>
          </p:nvSpPr>
          <p:spPr bwMode="auto">
            <a:xfrm>
              <a:off x="4643" y="2767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0" name="Rectangle 288"/>
            <p:cNvSpPr>
              <a:spLocks noChangeArrowheads="1"/>
            </p:cNvSpPr>
            <p:nvPr/>
          </p:nvSpPr>
          <p:spPr bwMode="auto">
            <a:xfrm>
              <a:off x="4643" y="279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1" name="Rectangle 289"/>
            <p:cNvSpPr>
              <a:spLocks noChangeArrowheads="1"/>
            </p:cNvSpPr>
            <p:nvPr/>
          </p:nvSpPr>
          <p:spPr bwMode="auto">
            <a:xfrm>
              <a:off x="4643" y="2738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2" name="Rectangle 290"/>
            <p:cNvSpPr>
              <a:spLocks noChangeArrowheads="1"/>
            </p:cNvSpPr>
            <p:nvPr/>
          </p:nvSpPr>
          <p:spPr bwMode="auto">
            <a:xfrm>
              <a:off x="4612" y="2827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3" name="Rectangle 291"/>
            <p:cNvSpPr>
              <a:spLocks noChangeArrowheads="1"/>
            </p:cNvSpPr>
            <p:nvPr/>
          </p:nvSpPr>
          <p:spPr bwMode="auto">
            <a:xfrm>
              <a:off x="4581" y="2827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4" name="Rectangle 292"/>
            <p:cNvSpPr>
              <a:spLocks noChangeArrowheads="1"/>
            </p:cNvSpPr>
            <p:nvPr/>
          </p:nvSpPr>
          <p:spPr bwMode="auto">
            <a:xfrm>
              <a:off x="4612" y="285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5" name="Rectangle 293"/>
            <p:cNvSpPr>
              <a:spLocks noChangeArrowheads="1"/>
            </p:cNvSpPr>
            <p:nvPr/>
          </p:nvSpPr>
          <p:spPr bwMode="auto">
            <a:xfrm>
              <a:off x="4581" y="285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6" name="Rectangle 294"/>
            <p:cNvSpPr>
              <a:spLocks noChangeArrowheads="1"/>
            </p:cNvSpPr>
            <p:nvPr/>
          </p:nvSpPr>
          <p:spPr bwMode="auto">
            <a:xfrm>
              <a:off x="4643" y="2827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7" name="Rectangle 295"/>
            <p:cNvSpPr>
              <a:spLocks noChangeArrowheads="1"/>
            </p:cNvSpPr>
            <p:nvPr/>
          </p:nvSpPr>
          <p:spPr bwMode="auto">
            <a:xfrm>
              <a:off x="4643" y="2855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8" name="Freeform 296"/>
            <p:cNvSpPr>
              <a:spLocks noEditPoints="1"/>
            </p:cNvSpPr>
            <p:nvPr/>
          </p:nvSpPr>
          <p:spPr bwMode="auto">
            <a:xfrm>
              <a:off x="4471" y="2712"/>
              <a:ext cx="299" cy="213"/>
            </a:xfrm>
            <a:custGeom>
              <a:avLst/>
              <a:gdLst/>
              <a:ahLst/>
              <a:cxnLst>
                <a:cxn ang="0">
                  <a:pos x="215" y="21"/>
                </a:cxn>
                <a:cxn ang="0">
                  <a:pos x="213" y="21"/>
                </a:cxn>
                <a:cxn ang="0">
                  <a:pos x="213" y="7"/>
                </a:cxn>
                <a:cxn ang="0">
                  <a:pos x="213" y="0"/>
                </a:cxn>
                <a:cxn ang="0">
                  <a:pos x="205" y="0"/>
                </a:cxn>
                <a:cxn ang="0">
                  <a:pos x="93" y="0"/>
                </a:cxn>
                <a:cxn ang="0">
                  <a:pos x="86" y="0"/>
                </a:cxn>
                <a:cxn ang="0">
                  <a:pos x="86" y="7"/>
                </a:cxn>
                <a:cxn ang="0">
                  <a:pos x="86" y="69"/>
                </a:cxn>
                <a:cxn ang="0">
                  <a:pos x="86" y="69"/>
                </a:cxn>
                <a:cxn ang="0">
                  <a:pos x="9" y="69"/>
                </a:cxn>
                <a:cxn ang="0">
                  <a:pos x="0" y="69"/>
                </a:cxn>
                <a:cxn ang="0">
                  <a:pos x="0" y="79"/>
                </a:cxn>
                <a:cxn ang="0">
                  <a:pos x="0" y="203"/>
                </a:cxn>
                <a:cxn ang="0">
                  <a:pos x="0" y="213"/>
                </a:cxn>
                <a:cxn ang="0">
                  <a:pos x="9" y="213"/>
                </a:cxn>
                <a:cxn ang="0">
                  <a:pos x="86" y="213"/>
                </a:cxn>
                <a:cxn ang="0">
                  <a:pos x="93" y="213"/>
                </a:cxn>
                <a:cxn ang="0">
                  <a:pos x="93" y="213"/>
                </a:cxn>
                <a:cxn ang="0">
                  <a:pos x="93" y="213"/>
                </a:cxn>
                <a:cxn ang="0">
                  <a:pos x="205" y="213"/>
                </a:cxn>
                <a:cxn ang="0">
                  <a:pos x="205" y="213"/>
                </a:cxn>
                <a:cxn ang="0">
                  <a:pos x="213" y="213"/>
                </a:cxn>
                <a:cxn ang="0">
                  <a:pos x="213" y="213"/>
                </a:cxn>
                <a:cxn ang="0">
                  <a:pos x="289" y="213"/>
                </a:cxn>
                <a:cxn ang="0">
                  <a:pos x="299" y="213"/>
                </a:cxn>
                <a:cxn ang="0">
                  <a:pos x="299" y="203"/>
                </a:cxn>
                <a:cxn ang="0">
                  <a:pos x="299" y="45"/>
                </a:cxn>
                <a:cxn ang="0">
                  <a:pos x="299" y="38"/>
                </a:cxn>
                <a:cxn ang="0">
                  <a:pos x="292" y="38"/>
                </a:cxn>
                <a:cxn ang="0">
                  <a:pos x="215" y="21"/>
                </a:cxn>
                <a:cxn ang="0">
                  <a:pos x="86" y="203"/>
                </a:cxn>
                <a:cxn ang="0">
                  <a:pos x="9" y="203"/>
                </a:cxn>
                <a:cxn ang="0">
                  <a:pos x="9" y="79"/>
                </a:cxn>
                <a:cxn ang="0">
                  <a:pos x="86" y="79"/>
                </a:cxn>
                <a:cxn ang="0">
                  <a:pos x="86" y="203"/>
                </a:cxn>
                <a:cxn ang="0">
                  <a:pos x="205" y="203"/>
                </a:cxn>
                <a:cxn ang="0">
                  <a:pos x="93" y="203"/>
                </a:cxn>
                <a:cxn ang="0">
                  <a:pos x="93" y="7"/>
                </a:cxn>
                <a:cxn ang="0">
                  <a:pos x="205" y="7"/>
                </a:cxn>
                <a:cxn ang="0">
                  <a:pos x="205" y="203"/>
                </a:cxn>
                <a:cxn ang="0">
                  <a:pos x="289" y="203"/>
                </a:cxn>
                <a:cxn ang="0">
                  <a:pos x="213" y="203"/>
                </a:cxn>
                <a:cxn ang="0">
                  <a:pos x="213" y="28"/>
                </a:cxn>
                <a:cxn ang="0">
                  <a:pos x="289" y="45"/>
                </a:cxn>
                <a:cxn ang="0">
                  <a:pos x="289" y="203"/>
                </a:cxn>
              </a:cxnLst>
              <a:rect l="0" t="0" r="r" b="b"/>
              <a:pathLst>
                <a:path w="299" h="213">
                  <a:moveTo>
                    <a:pt x="215" y="21"/>
                  </a:moveTo>
                  <a:lnTo>
                    <a:pt x="213" y="21"/>
                  </a:lnTo>
                  <a:lnTo>
                    <a:pt x="213" y="7"/>
                  </a:lnTo>
                  <a:lnTo>
                    <a:pt x="213" y="0"/>
                  </a:lnTo>
                  <a:lnTo>
                    <a:pt x="205" y="0"/>
                  </a:lnTo>
                  <a:lnTo>
                    <a:pt x="93" y="0"/>
                  </a:lnTo>
                  <a:lnTo>
                    <a:pt x="86" y="0"/>
                  </a:lnTo>
                  <a:lnTo>
                    <a:pt x="86" y="7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9" y="69"/>
                  </a:lnTo>
                  <a:lnTo>
                    <a:pt x="0" y="69"/>
                  </a:lnTo>
                  <a:lnTo>
                    <a:pt x="0" y="79"/>
                  </a:lnTo>
                  <a:lnTo>
                    <a:pt x="0" y="203"/>
                  </a:lnTo>
                  <a:lnTo>
                    <a:pt x="0" y="213"/>
                  </a:lnTo>
                  <a:lnTo>
                    <a:pt x="9" y="213"/>
                  </a:lnTo>
                  <a:lnTo>
                    <a:pt x="86" y="213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205" y="213"/>
                  </a:lnTo>
                  <a:lnTo>
                    <a:pt x="205" y="213"/>
                  </a:lnTo>
                  <a:lnTo>
                    <a:pt x="213" y="213"/>
                  </a:lnTo>
                  <a:lnTo>
                    <a:pt x="213" y="213"/>
                  </a:lnTo>
                  <a:lnTo>
                    <a:pt x="289" y="213"/>
                  </a:lnTo>
                  <a:lnTo>
                    <a:pt x="299" y="213"/>
                  </a:lnTo>
                  <a:lnTo>
                    <a:pt x="299" y="203"/>
                  </a:lnTo>
                  <a:lnTo>
                    <a:pt x="299" y="45"/>
                  </a:lnTo>
                  <a:lnTo>
                    <a:pt x="299" y="38"/>
                  </a:lnTo>
                  <a:lnTo>
                    <a:pt x="292" y="38"/>
                  </a:lnTo>
                  <a:lnTo>
                    <a:pt x="215" y="21"/>
                  </a:lnTo>
                  <a:close/>
                  <a:moveTo>
                    <a:pt x="86" y="203"/>
                  </a:moveTo>
                  <a:lnTo>
                    <a:pt x="9" y="203"/>
                  </a:lnTo>
                  <a:lnTo>
                    <a:pt x="9" y="79"/>
                  </a:lnTo>
                  <a:lnTo>
                    <a:pt x="86" y="79"/>
                  </a:lnTo>
                  <a:lnTo>
                    <a:pt x="86" y="203"/>
                  </a:lnTo>
                  <a:close/>
                  <a:moveTo>
                    <a:pt x="205" y="203"/>
                  </a:moveTo>
                  <a:lnTo>
                    <a:pt x="93" y="203"/>
                  </a:lnTo>
                  <a:lnTo>
                    <a:pt x="93" y="7"/>
                  </a:lnTo>
                  <a:lnTo>
                    <a:pt x="205" y="7"/>
                  </a:lnTo>
                  <a:lnTo>
                    <a:pt x="205" y="203"/>
                  </a:lnTo>
                  <a:close/>
                  <a:moveTo>
                    <a:pt x="289" y="203"/>
                  </a:moveTo>
                  <a:lnTo>
                    <a:pt x="213" y="203"/>
                  </a:lnTo>
                  <a:lnTo>
                    <a:pt x="213" y="28"/>
                  </a:lnTo>
                  <a:lnTo>
                    <a:pt x="289" y="45"/>
                  </a:lnTo>
                  <a:lnTo>
                    <a:pt x="289" y="2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69" name="Rectangle 297"/>
            <p:cNvSpPr>
              <a:spLocks noChangeArrowheads="1"/>
            </p:cNvSpPr>
            <p:nvPr/>
          </p:nvSpPr>
          <p:spPr bwMode="auto">
            <a:xfrm>
              <a:off x="4693" y="2750"/>
              <a:ext cx="7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0" name="Rectangle 298"/>
            <p:cNvSpPr>
              <a:spLocks noChangeArrowheads="1"/>
            </p:cNvSpPr>
            <p:nvPr/>
          </p:nvSpPr>
          <p:spPr bwMode="auto">
            <a:xfrm>
              <a:off x="4710" y="2755"/>
              <a:ext cx="7" cy="15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1" name="Rectangle 299"/>
            <p:cNvSpPr>
              <a:spLocks noChangeArrowheads="1"/>
            </p:cNvSpPr>
            <p:nvPr/>
          </p:nvSpPr>
          <p:spPr bwMode="auto">
            <a:xfrm>
              <a:off x="4727" y="2760"/>
              <a:ext cx="9" cy="14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2" name="Rectangle 300"/>
            <p:cNvSpPr>
              <a:spLocks noChangeArrowheads="1"/>
            </p:cNvSpPr>
            <p:nvPr/>
          </p:nvSpPr>
          <p:spPr bwMode="auto">
            <a:xfrm>
              <a:off x="4743" y="2764"/>
              <a:ext cx="10" cy="14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3" name="Rectangle 301"/>
            <p:cNvSpPr>
              <a:spLocks noChangeArrowheads="1"/>
            </p:cNvSpPr>
            <p:nvPr/>
          </p:nvSpPr>
          <p:spPr bwMode="auto">
            <a:xfrm>
              <a:off x="4487" y="2798"/>
              <a:ext cx="10" cy="1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4" name="Rectangle 302"/>
            <p:cNvSpPr>
              <a:spLocks noChangeArrowheads="1"/>
            </p:cNvSpPr>
            <p:nvPr/>
          </p:nvSpPr>
          <p:spPr bwMode="auto">
            <a:xfrm>
              <a:off x="4504" y="2798"/>
              <a:ext cx="10" cy="1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5" name="Rectangle 303"/>
            <p:cNvSpPr>
              <a:spLocks noChangeArrowheads="1"/>
            </p:cNvSpPr>
            <p:nvPr/>
          </p:nvSpPr>
          <p:spPr bwMode="auto">
            <a:xfrm>
              <a:off x="4521" y="2798"/>
              <a:ext cx="10" cy="1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76" name="Rectangle 304"/>
            <p:cNvSpPr>
              <a:spLocks noChangeArrowheads="1"/>
            </p:cNvSpPr>
            <p:nvPr/>
          </p:nvSpPr>
          <p:spPr bwMode="auto">
            <a:xfrm>
              <a:off x="4540" y="2798"/>
              <a:ext cx="7" cy="1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579" name="Group 307"/>
          <p:cNvGrpSpPr>
            <a:grpSpLocks noChangeAspect="1"/>
          </p:cNvGrpSpPr>
          <p:nvPr/>
        </p:nvGrpSpPr>
        <p:grpSpPr bwMode="auto">
          <a:xfrm>
            <a:off x="8055775" y="4087816"/>
            <a:ext cx="768350" cy="768350"/>
            <a:chOff x="5071" y="2575"/>
            <a:chExt cx="484" cy="484"/>
          </a:xfrm>
        </p:grpSpPr>
        <p:sp>
          <p:nvSpPr>
            <p:cNvPr id="54580" name="Freeform 308"/>
            <p:cNvSpPr>
              <a:spLocks noEditPoints="1"/>
            </p:cNvSpPr>
            <p:nvPr/>
          </p:nvSpPr>
          <p:spPr bwMode="auto">
            <a:xfrm>
              <a:off x="5071" y="257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1" name="Rectangle 309"/>
            <p:cNvSpPr>
              <a:spLocks noChangeArrowheads="1"/>
            </p:cNvSpPr>
            <p:nvPr/>
          </p:nvSpPr>
          <p:spPr bwMode="auto">
            <a:xfrm>
              <a:off x="5304" y="2767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2" name="Rectangle 310"/>
            <p:cNvSpPr>
              <a:spLocks noChangeArrowheads="1"/>
            </p:cNvSpPr>
            <p:nvPr/>
          </p:nvSpPr>
          <p:spPr bwMode="auto">
            <a:xfrm>
              <a:off x="5273" y="2767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3" name="Rectangle 311"/>
            <p:cNvSpPr>
              <a:spLocks noChangeArrowheads="1"/>
            </p:cNvSpPr>
            <p:nvPr/>
          </p:nvSpPr>
          <p:spPr bwMode="auto">
            <a:xfrm>
              <a:off x="5304" y="2796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4" name="Rectangle 312"/>
            <p:cNvSpPr>
              <a:spLocks noChangeArrowheads="1"/>
            </p:cNvSpPr>
            <p:nvPr/>
          </p:nvSpPr>
          <p:spPr bwMode="auto">
            <a:xfrm>
              <a:off x="5273" y="2796"/>
              <a:ext cx="16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5" name="Rectangle 313"/>
            <p:cNvSpPr>
              <a:spLocks noChangeArrowheads="1"/>
            </p:cNvSpPr>
            <p:nvPr/>
          </p:nvSpPr>
          <p:spPr bwMode="auto">
            <a:xfrm>
              <a:off x="5304" y="2738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6" name="Rectangle 314"/>
            <p:cNvSpPr>
              <a:spLocks noChangeArrowheads="1"/>
            </p:cNvSpPr>
            <p:nvPr/>
          </p:nvSpPr>
          <p:spPr bwMode="auto">
            <a:xfrm>
              <a:off x="5273" y="2738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7" name="Rectangle 315"/>
            <p:cNvSpPr>
              <a:spLocks noChangeArrowheads="1"/>
            </p:cNvSpPr>
            <p:nvPr/>
          </p:nvSpPr>
          <p:spPr bwMode="auto">
            <a:xfrm>
              <a:off x="5335" y="2767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8" name="Rectangle 316"/>
            <p:cNvSpPr>
              <a:spLocks noChangeArrowheads="1"/>
            </p:cNvSpPr>
            <p:nvPr/>
          </p:nvSpPr>
          <p:spPr bwMode="auto">
            <a:xfrm>
              <a:off x="5335" y="2796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89" name="Rectangle 317"/>
            <p:cNvSpPr>
              <a:spLocks noChangeArrowheads="1"/>
            </p:cNvSpPr>
            <p:nvPr/>
          </p:nvSpPr>
          <p:spPr bwMode="auto">
            <a:xfrm>
              <a:off x="5335" y="2738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0" name="Rectangle 318"/>
            <p:cNvSpPr>
              <a:spLocks noChangeArrowheads="1"/>
            </p:cNvSpPr>
            <p:nvPr/>
          </p:nvSpPr>
          <p:spPr bwMode="auto">
            <a:xfrm>
              <a:off x="5304" y="2827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1" name="Rectangle 319"/>
            <p:cNvSpPr>
              <a:spLocks noChangeArrowheads="1"/>
            </p:cNvSpPr>
            <p:nvPr/>
          </p:nvSpPr>
          <p:spPr bwMode="auto">
            <a:xfrm>
              <a:off x="5273" y="2827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2" name="Rectangle 320"/>
            <p:cNvSpPr>
              <a:spLocks noChangeArrowheads="1"/>
            </p:cNvSpPr>
            <p:nvPr/>
          </p:nvSpPr>
          <p:spPr bwMode="auto">
            <a:xfrm>
              <a:off x="5304" y="2856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3" name="Rectangle 321"/>
            <p:cNvSpPr>
              <a:spLocks noChangeArrowheads="1"/>
            </p:cNvSpPr>
            <p:nvPr/>
          </p:nvSpPr>
          <p:spPr bwMode="auto">
            <a:xfrm>
              <a:off x="5273" y="2856"/>
              <a:ext cx="16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4" name="Rectangle 322"/>
            <p:cNvSpPr>
              <a:spLocks noChangeArrowheads="1"/>
            </p:cNvSpPr>
            <p:nvPr/>
          </p:nvSpPr>
          <p:spPr bwMode="auto">
            <a:xfrm>
              <a:off x="5335" y="2827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5" name="Rectangle 323"/>
            <p:cNvSpPr>
              <a:spLocks noChangeArrowheads="1"/>
            </p:cNvSpPr>
            <p:nvPr/>
          </p:nvSpPr>
          <p:spPr bwMode="auto">
            <a:xfrm>
              <a:off x="5335" y="2856"/>
              <a:ext cx="1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6" name="Freeform 324"/>
            <p:cNvSpPr>
              <a:spLocks noEditPoints="1"/>
            </p:cNvSpPr>
            <p:nvPr/>
          </p:nvSpPr>
          <p:spPr bwMode="auto">
            <a:xfrm>
              <a:off x="5162" y="2712"/>
              <a:ext cx="300" cy="213"/>
            </a:xfrm>
            <a:custGeom>
              <a:avLst/>
              <a:gdLst/>
              <a:ahLst/>
              <a:cxnLst>
                <a:cxn ang="0">
                  <a:pos x="216" y="21"/>
                </a:cxn>
                <a:cxn ang="0">
                  <a:pos x="214" y="21"/>
                </a:cxn>
                <a:cxn ang="0">
                  <a:pos x="214" y="7"/>
                </a:cxn>
                <a:cxn ang="0">
                  <a:pos x="214" y="0"/>
                </a:cxn>
                <a:cxn ang="0">
                  <a:pos x="207" y="0"/>
                </a:cxn>
                <a:cxn ang="0">
                  <a:pos x="94" y="0"/>
                </a:cxn>
                <a:cxn ang="0">
                  <a:pos x="87" y="0"/>
                </a:cxn>
                <a:cxn ang="0">
                  <a:pos x="87" y="7"/>
                </a:cxn>
                <a:cxn ang="0">
                  <a:pos x="87" y="69"/>
                </a:cxn>
                <a:cxn ang="0">
                  <a:pos x="87" y="69"/>
                </a:cxn>
                <a:cxn ang="0">
                  <a:pos x="10" y="69"/>
                </a:cxn>
                <a:cxn ang="0">
                  <a:pos x="0" y="69"/>
                </a:cxn>
                <a:cxn ang="0">
                  <a:pos x="0" y="79"/>
                </a:cxn>
                <a:cxn ang="0">
                  <a:pos x="0" y="204"/>
                </a:cxn>
                <a:cxn ang="0">
                  <a:pos x="0" y="213"/>
                </a:cxn>
                <a:cxn ang="0">
                  <a:pos x="10" y="213"/>
                </a:cxn>
                <a:cxn ang="0">
                  <a:pos x="87" y="213"/>
                </a:cxn>
                <a:cxn ang="0">
                  <a:pos x="94" y="213"/>
                </a:cxn>
                <a:cxn ang="0">
                  <a:pos x="94" y="213"/>
                </a:cxn>
                <a:cxn ang="0">
                  <a:pos x="94" y="213"/>
                </a:cxn>
                <a:cxn ang="0">
                  <a:pos x="207" y="213"/>
                </a:cxn>
                <a:cxn ang="0">
                  <a:pos x="207" y="213"/>
                </a:cxn>
                <a:cxn ang="0">
                  <a:pos x="214" y="213"/>
                </a:cxn>
                <a:cxn ang="0">
                  <a:pos x="214" y="213"/>
                </a:cxn>
                <a:cxn ang="0">
                  <a:pos x="290" y="213"/>
                </a:cxn>
                <a:cxn ang="0">
                  <a:pos x="300" y="213"/>
                </a:cxn>
                <a:cxn ang="0">
                  <a:pos x="300" y="204"/>
                </a:cxn>
                <a:cxn ang="0">
                  <a:pos x="300" y="45"/>
                </a:cxn>
                <a:cxn ang="0">
                  <a:pos x="300" y="38"/>
                </a:cxn>
                <a:cxn ang="0">
                  <a:pos x="293" y="38"/>
                </a:cxn>
                <a:cxn ang="0">
                  <a:pos x="216" y="21"/>
                </a:cxn>
                <a:cxn ang="0">
                  <a:pos x="87" y="204"/>
                </a:cxn>
                <a:cxn ang="0">
                  <a:pos x="10" y="204"/>
                </a:cxn>
                <a:cxn ang="0">
                  <a:pos x="10" y="79"/>
                </a:cxn>
                <a:cxn ang="0">
                  <a:pos x="87" y="79"/>
                </a:cxn>
                <a:cxn ang="0">
                  <a:pos x="87" y="204"/>
                </a:cxn>
                <a:cxn ang="0">
                  <a:pos x="207" y="204"/>
                </a:cxn>
                <a:cxn ang="0">
                  <a:pos x="94" y="204"/>
                </a:cxn>
                <a:cxn ang="0">
                  <a:pos x="94" y="7"/>
                </a:cxn>
                <a:cxn ang="0">
                  <a:pos x="207" y="7"/>
                </a:cxn>
                <a:cxn ang="0">
                  <a:pos x="207" y="204"/>
                </a:cxn>
                <a:cxn ang="0">
                  <a:pos x="290" y="204"/>
                </a:cxn>
                <a:cxn ang="0">
                  <a:pos x="214" y="204"/>
                </a:cxn>
                <a:cxn ang="0">
                  <a:pos x="214" y="29"/>
                </a:cxn>
                <a:cxn ang="0">
                  <a:pos x="290" y="45"/>
                </a:cxn>
                <a:cxn ang="0">
                  <a:pos x="290" y="204"/>
                </a:cxn>
              </a:cxnLst>
              <a:rect l="0" t="0" r="r" b="b"/>
              <a:pathLst>
                <a:path w="300" h="213">
                  <a:moveTo>
                    <a:pt x="216" y="21"/>
                  </a:moveTo>
                  <a:lnTo>
                    <a:pt x="214" y="21"/>
                  </a:lnTo>
                  <a:lnTo>
                    <a:pt x="214" y="7"/>
                  </a:lnTo>
                  <a:lnTo>
                    <a:pt x="214" y="0"/>
                  </a:lnTo>
                  <a:lnTo>
                    <a:pt x="207" y="0"/>
                  </a:lnTo>
                  <a:lnTo>
                    <a:pt x="94" y="0"/>
                  </a:lnTo>
                  <a:lnTo>
                    <a:pt x="87" y="0"/>
                  </a:lnTo>
                  <a:lnTo>
                    <a:pt x="87" y="7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10" y="69"/>
                  </a:lnTo>
                  <a:lnTo>
                    <a:pt x="0" y="69"/>
                  </a:lnTo>
                  <a:lnTo>
                    <a:pt x="0" y="79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10" y="213"/>
                  </a:lnTo>
                  <a:lnTo>
                    <a:pt x="87" y="213"/>
                  </a:lnTo>
                  <a:lnTo>
                    <a:pt x="94" y="213"/>
                  </a:lnTo>
                  <a:lnTo>
                    <a:pt x="94" y="213"/>
                  </a:lnTo>
                  <a:lnTo>
                    <a:pt x="94" y="213"/>
                  </a:lnTo>
                  <a:lnTo>
                    <a:pt x="207" y="213"/>
                  </a:lnTo>
                  <a:lnTo>
                    <a:pt x="207" y="213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90" y="213"/>
                  </a:lnTo>
                  <a:lnTo>
                    <a:pt x="300" y="213"/>
                  </a:lnTo>
                  <a:lnTo>
                    <a:pt x="300" y="204"/>
                  </a:lnTo>
                  <a:lnTo>
                    <a:pt x="300" y="45"/>
                  </a:lnTo>
                  <a:lnTo>
                    <a:pt x="300" y="38"/>
                  </a:lnTo>
                  <a:lnTo>
                    <a:pt x="293" y="38"/>
                  </a:lnTo>
                  <a:lnTo>
                    <a:pt x="216" y="21"/>
                  </a:lnTo>
                  <a:close/>
                  <a:moveTo>
                    <a:pt x="87" y="204"/>
                  </a:moveTo>
                  <a:lnTo>
                    <a:pt x="10" y="204"/>
                  </a:lnTo>
                  <a:lnTo>
                    <a:pt x="10" y="79"/>
                  </a:lnTo>
                  <a:lnTo>
                    <a:pt x="87" y="79"/>
                  </a:lnTo>
                  <a:lnTo>
                    <a:pt x="87" y="204"/>
                  </a:lnTo>
                  <a:close/>
                  <a:moveTo>
                    <a:pt x="207" y="204"/>
                  </a:moveTo>
                  <a:lnTo>
                    <a:pt x="94" y="204"/>
                  </a:lnTo>
                  <a:lnTo>
                    <a:pt x="94" y="7"/>
                  </a:lnTo>
                  <a:lnTo>
                    <a:pt x="207" y="7"/>
                  </a:lnTo>
                  <a:lnTo>
                    <a:pt x="207" y="204"/>
                  </a:lnTo>
                  <a:close/>
                  <a:moveTo>
                    <a:pt x="290" y="204"/>
                  </a:moveTo>
                  <a:lnTo>
                    <a:pt x="214" y="204"/>
                  </a:lnTo>
                  <a:lnTo>
                    <a:pt x="214" y="29"/>
                  </a:lnTo>
                  <a:lnTo>
                    <a:pt x="290" y="45"/>
                  </a:lnTo>
                  <a:lnTo>
                    <a:pt x="290" y="20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7" name="Rectangle 325"/>
            <p:cNvSpPr>
              <a:spLocks noChangeArrowheads="1"/>
            </p:cNvSpPr>
            <p:nvPr/>
          </p:nvSpPr>
          <p:spPr bwMode="auto">
            <a:xfrm>
              <a:off x="5385" y="2750"/>
              <a:ext cx="7" cy="15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8" name="Rectangle 326"/>
            <p:cNvSpPr>
              <a:spLocks noChangeArrowheads="1"/>
            </p:cNvSpPr>
            <p:nvPr/>
          </p:nvSpPr>
          <p:spPr bwMode="auto">
            <a:xfrm>
              <a:off x="5402" y="2755"/>
              <a:ext cx="7" cy="153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99" name="Rectangle 327"/>
            <p:cNvSpPr>
              <a:spLocks noChangeArrowheads="1"/>
            </p:cNvSpPr>
            <p:nvPr/>
          </p:nvSpPr>
          <p:spPr bwMode="auto">
            <a:xfrm>
              <a:off x="5419" y="2760"/>
              <a:ext cx="9" cy="14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00" name="Rectangle 328"/>
            <p:cNvSpPr>
              <a:spLocks noChangeArrowheads="1"/>
            </p:cNvSpPr>
            <p:nvPr/>
          </p:nvSpPr>
          <p:spPr bwMode="auto">
            <a:xfrm>
              <a:off x="5436" y="2765"/>
              <a:ext cx="9" cy="143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601" name="Rectangle 329"/>
            <p:cNvSpPr>
              <a:spLocks noChangeArrowheads="1"/>
            </p:cNvSpPr>
            <p:nvPr/>
          </p:nvSpPr>
          <p:spPr bwMode="auto">
            <a:xfrm>
              <a:off x="5179" y="2798"/>
              <a:ext cx="10" cy="1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02" name="Rectangle 330"/>
            <p:cNvSpPr>
              <a:spLocks noChangeArrowheads="1"/>
            </p:cNvSpPr>
            <p:nvPr/>
          </p:nvSpPr>
          <p:spPr bwMode="auto">
            <a:xfrm>
              <a:off x="5196" y="2798"/>
              <a:ext cx="10" cy="1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03" name="Rectangle 331"/>
            <p:cNvSpPr>
              <a:spLocks noChangeArrowheads="1"/>
            </p:cNvSpPr>
            <p:nvPr/>
          </p:nvSpPr>
          <p:spPr bwMode="auto">
            <a:xfrm>
              <a:off x="5213" y="2798"/>
              <a:ext cx="9" cy="1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04" name="Rectangle 332"/>
            <p:cNvSpPr>
              <a:spLocks noChangeArrowheads="1"/>
            </p:cNvSpPr>
            <p:nvPr/>
          </p:nvSpPr>
          <p:spPr bwMode="auto">
            <a:xfrm>
              <a:off x="5232" y="2798"/>
              <a:ext cx="7" cy="1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607" name="Group 335"/>
          <p:cNvGrpSpPr>
            <a:grpSpLocks noChangeAspect="1"/>
          </p:cNvGrpSpPr>
          <p:nvPr/>
        </p:nvGrpSpPr>
        <p:grpSpPr bwMode="auto">
          <a:xfrm>
            <a:off x="346869" y="5407025"/>
            <a:ext cx="838200" cy="838200"/>
            <a:chOff x="215" y="3406"/>
            <a:chExt cx="528" cy="528"/>
          </a:xfrm>
        </p:grpSpPr>
        <p:sp>
          <p:nvSpPr>
            <p:cNvPr id="54608" name="Oval 336"/>
            <p:cNvSpPr>
              <a:spLocks noChangeArrowheads="1"/>
            </p:cNvSpPr>
            <p:nvPr/>
          </p:nvSpPr>
          <p:spPr bwMode="auto">
            <a:xfrm>
              <a:off x="215" y="3406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09" name="Freeform 337"/>
            <p:cNvSpPr>
              <a:spLocks noEditPoints="1"/>
            </p:cNvSpPr>
            <p:nvPr/>
          </p:nvSpPr>
          <p:spPr bwMode="auto">
            <a:xfrm>
              <a:off x="237" y="342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0" name="Rectangle 338"/>
            <p:cNvSpPr>
              <a:spLocks noChangeArrowheads="1"/>
            </p:cNvSpPr>
            <p:nvPr/>
          </p:nvSpPr>
          <p:spPr bwMode="auto">
            <a:xfrm>
              <a:off x="352" y="365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1" name="Rectangle 339"/>
            <p:cNvSpPr>
              <a:spLocks noChangeArrowheads="1"/>
            </p:cNvSpPr>
            <p:nvPr/>
          </p:nvSpPr>
          <p:spPr bwMode="auto">
            <a:xfrm>
              <a:off x="383" y="365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2" name="Rectangle 340"/>
            <p:cNvSpPr>
              <a:spLocks noChangeArrowheads="1"/>
            </p:cNvSpPr>
            <p:nvPr/>
          </p:nvSpPr>
          <p:spPr bwMode="auto">
            <a:xfrm>
              <a:off x="352" y="368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3" name="Rectangle 341"/>
            <p:cNvSpPr>
              <a:spLocks noChangeArrowheads="1"/>
            </p:cNvSpPr>
            <p:nvPr/>
          </p:nvSpPr>
          <p:spPr bwMode="auto">
            <a:xfrm>
              <a:off x="352" y="362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4" name="Rectangle 342"/>
            <p:cNvSpPr>
              <a:spLocks noChangeArrowheads="1"/>
            </p:cNvSpPr>
            <p:nvPr/>
          </p:nvSpPr>
          <p:spPr bwMode="auto">
            <a:xfrm>
              <a:off x="383" y="362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5" name="Rectangle 343"/>
            <p:cNvSpPr>
              <a:spLocks noChangeArrowheads="1"/>
            </p:cNvSpPr>
            <p:nvPr/>
          </p:nvSpPr>
          <p:spPr bwMode="auto">
            <a:xfrm>
              <a:off x="352" y="371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6" name="Rectangle 344"/>
            <p:cNvSpPr>
              <a:spLocks noChangeArrowheads="1"/>
            </p:cNvSpPr>
            <p:nvPr/>
          </p:nvSpPr>
          <p:spPr bwMode="auto">
            <a:xfrm>
              <a:off x="383" y="371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7" name="Rectangle 345"/>
            <p:cNvSpPr>
              <a:spLocks noChangeArrowheads="1"/>
            </p:cNvSpPr>
            <p:nvPr/>
          </p:nvSpPr>
          <p:spPr bwMode="auto">
            <a:xfrm>
              <a:off x="383" y="368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8" name="Freeform 346"/>
            <p:cNvSpPr>
              <a:spLocks noEditPoints="1"/>
            </p:cNvSpPr>
            <p:nvPr/>
          </p:nvSpPr>
          <p:spPr bwMode="auto">
            <a:xfrm>
              <a:off x="330" y="3536"/>
              <a:ext cx="298" cy="242"/>
            </a:xfrm>
            <a:custGeom>
              <a:avLst/>
              <a:gdLst/>
              <a:ahLst/>
              <a:cxnLst>
                <a:cxn ang="0">
                  <a:pos x="216" y="36"/>
                </a:cxn>
                <a:cxn ang="0">
                  <a:pos x="214" y="33"/>
                </a:cxn>
                <a:cxn ang="0">
                  <a:pos x="214" y="7"/>
                </a:cxn>
                <a:cxn ang="0">
                  <a:pos x="214" y="0"/>
                </a:cxn>
                <a:cxn ang="0">
                  <a:pos x="204" y="0"/>
                </a:cxn>
                <a:cxn ang="0">
                  <a:pos x="94" y="0"/>
                </a:cxn>
                <a:cxn ang="0">
                  <a:pos x="84" y="0"/>
                </a:cxn>
                <a:cxn ang="0">
                  <a:pos x="84" y="7"/>
                </a:cxn>
                <a:cxn ang="0">
                  <a:pos x="84" y="33"/>
                </a:cxn>
                <a:cxn ang="0">
                  <a:pos x="82" y="36"/>
                </a:cxn>
                <a:cxn ang="0">
                  <a:pos x="5" y="65"/>
                </a:cxn>
                <a:cxn ang="0">
                  <a:pos x="0" y="65"/>
                </a:cxn>
                <a:cxn ang="0">
                  <a:pos x="0" y="72"/>
                </a:cxn>
                <a:cxn ang="0">
                  <a:pos x="0" y="232"/>
                </a:cxn>
                <a:cxn ang="0">
                  <a:pos x="0" y="242"/>
                </a:cxn>
                <a:cxn ang="0">
                  <a:pos x="8" y="242"/>
                </a:cxn>
                <a:cxn ang="0">
                  <a:pos x="84" y="242"/>
                </a:cxn>
                <a:cxn ang="0">
                  <a:pos x="84" y="242"/>
                </a:cxn>
                <a:cxn ang="0">
                  <a:pos x="94" y="242"/>
                </a:cxn>
                <a:cxn ang="0">
                  <a:pos x="94" y="242"/>
                </a:cxn>
                <a:cxn ang="0">
                  <a:pos x="204" y="242"/>
                </a:cxn>
                <a:cxn ang="0">
                  <a:pos x="204" y="242"/>
                </a:cxn>
                <a:cxn ang="0">
                  <a:pos x="214" y="242"/>
                </a:cxn>
                <a:cxn ang="0">
                  <a:pos x="214" y="242"/>
                </a:cxn>
                <a:cxn ang="0">
                  <a:pos x="290" y="242"/>
                </a:cxn>
                <a:cxn ang="0">
                  <a:pos x="298" y="242"/>
                </a:cxn>
                <a:cxn ang="0">
                  <a:pos x="298" y="232"/>
                </a:cxn>
                <a:cxn ang="0">
                  <a:pos x="298" y="72"/>
                </a:cxn>
                <a:cxn ang="0">
                  <a:pos x="298" y="65"/>
                </a:cxn>
                <a:cxn ang="0">
                  <a:pos x="293" y="65"/>
                </a:cxn>
                <a:cxn ang="0">
                  <a:pos x="216" y="36"/>
                </a:cxn>
                <a:cxn ang="0">
                  <a:pos x="84" y="232"/>
                </a:cxn>
                <a:cxn ang="0">
                  <a:pos x="8" y="232"/>
                </a:cxn>
                <a:cxn ang="0">
                  <a:pos x="8" y="72"/>
                </a:cxn>
                <a:cxn ang="0">
                  <a:pos x="84" y="43"/>
                </a:cxn>
                <a:cxn ang="0">
                  <a:pos x="84" y="232"/>
                </a:cxn>
                <a:cxn ang="0">
                  <a:pos x="204" y="232"/>
                </a:cxn>
                <a:cxn ang="0">
                  <a:pos x="94" y="232"/>
                </a:cxn>
                <a:cxn ang="0">
                  <a:pos x="94" y="7"/>
                </a:cxn>
                <a:cxn ang="0">
                  <a:pos x="204" y="7"/>
                </a:cxn>
                <a:cxn ang="0">
                  <a:pos x="204" y="232"/>
                </a:cxn>
                <a:cxn ang="0">
                  <a:pos x="290" y="232"/>
                </a:cxn>
                <a:cxn ang="0">
                  <a:pos x="214" y="232"/>
                </a:cxn>
                <a:cxn ang="0">
                  <a:pos x="214" y="43"/>
                </a:cxn>
                <a:cxn ang="0">
                  <a:pos x="290" y="72"/>
                </a:cxn>
                <a:cxn ang="0">
                  <a:pos x="290" y="232"/>
                </a:cxn>
              </a:cxnLst>
              <a:rect l="0" t="0" r="r" b="b"/>
              <a:pathLst>
                <a:path w="298" h="242">
                  <a:moveTo>
                    <a:pt x="216" y="36"/>
                  </a:moveTo>
                  <a:lnTo>
                    <a:pt x="214" y="33"/>
                  </a:lnTo>
                  <a:lnTo>
                    <a:pt x="214" y="7"/>
                  </a:lnTo>
                  <a:lnTo>
                    <a:pt x="214" y="0"/>
                  </a:lnTo>
                  <a:lnTo>
                    <a:pt x="204" y="0"/>
                  </a:lnTo>
                  <a:lnTo>
                    <a:pt x="94" y="0"/>
                  </a:lnTo>
                  <a:lnTo>
                    <a:pt x="84" y="0"/>
                  </a:lnTo>
                  <a:lnTo>
                    <a:pt x="84" y="7"/>
                  </a:lnTo>
                  <a:lnTo>
                    <a:pt x="84" y="33"/>
                  </a:lnTo>
                  <a:lnTo>
                    <a:pt x="82" y="36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0" y="72"/>
                  </a:lnTo>
                  <a:lnTo>
                    <a:pt x="0" y="232"/>
                  </a:lnTo>
                  <a:lnTo>
                    <a:pt x="0" y="242"/>
                  </a:lnTo>
                  <a:lnTo>
                    <a:pt x="8" y="242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94" y="242"/>
                  </a:lnTo>
                  <a:lnTo>
                    <a:pt x="94" y="242"/>
                  </a:lnTo>
                  <a:lnTo>
                    <a:pt x="204" y="242"/>
                  </a:lnTo>
                  <a:lnTo>
                    <a:pt x="204" y="242"/>
                  </a:lnTo>
                  <a:lnTo>
                    <a:pt x="214" y="242"/>
                  </a:lnTo>
                  <a:lnTo>
                    <a:pt x="214" y="242"/>
                  </a:lnTo>
                  <a:lnTo>
                    <a:pt x="290" y="242"/>
                  </a:lnTo>
                  <a:lnTo>
                    <a:pt x="298" y="242"/>
                  </a:lnTo>
                  <a:lnTo>
                    <a:pt x="298" y="232"/>
                  </a:lnTo>
                  <a:lnTo>
                    <a:pt x="298" y="72"/>
                  </a:lnTo>
                  <a:lnTo>
                    <a:pt x="298" y="65"/>
                  </a:lnTo>
                  <a:lnTo>
                    <a:pt x="293" y="65"/>
                  </a:lnTo>
                  <a:lnTo>
                    <a:pt x="216" y="36"/>
                  </a:lnTo>
                  <a:close/>
                  <a:moveTo>
                    <a:pt x="84" y="232"/>
                  </a:moveTo>
                  <a:lnTo>
                    <a:pt x="8" y="232"/>
                  </a:lnTo>
                  <a:lnTo>
                    <a:pt x="8" y="72"/>
                  </a:lnTo>
                  <a:lnTo>
                    <a:pt x="84" y="43"/>
                  </a:lnTo>
                  <a:lnTo>
                    <a:pt x="84" y="232"/>
                  </a:lnTo>
                  <a:close/>
                  <a:moveTo>
                    <a:pt x="204" y="232"/>
                  </a:moveTo>
                  <a:lnTo>
                    <a:pt x="94" y="232"/>
                  </a:lnTo>
                  <a:lnTo>
                    <a:pt x="94" y="7"/>
                  </a:lnTo>
                  <a:lnTo>
                    <a:pt x="204" y="7"/>
                  </a:lnTo>
                  <a:lnTo>
                    <a:pt x="204" y="232"/>
                  </a:lnTo>
                  <a:close/>
                  <a:moveTo>
                    <a:pt x="290" y="232"/>
                  </a:moveTo>
                  <a:lnTo>
                    <a:pt x="214" y="232"/>
                  </a:lnTo>
                  <a:lnTo>
                    <a:pt x="214" y="43"/>
                  </a:lnTo>
                  <a:lnTo>
                    <a:pt x="290" y="72"/>
                  </a:lnTo>
                  <a:lnTo>
                    <a:pt x="290" y="23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19" name="Rectangle 347"/>
            <p:cNvSpPr>
              <a:spLocks noChangeArrowheads="1"/>
            </p:cNvSpPr>
            <p:nvPr/>
          </p:nvSpPr>
          <p:spPr bwMode="auto">
            <a:xfrm>
              <a:off x="589" y="365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0" name="Rectangle 348"/>
            <p:cNvSpPr>
              <a:spLocks noChangeArrowheads="1"/>
            </p:cNvSpPr>
            <p:nvPr/>
          </p:nvSpPr>
          <p:spPr bwMode="auto">
            <a:xfrm>
              <a:off x="558" y="365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1" name="Rectangle 349"/>
            <p:cNvSpPr>
              <a:spLocks noChangeArrowheads="1"/>
            </p:cNvSpPr>
            <p:nvPr/>
          </p:nvSpPr>
          <p:spPr bwMode="auto">
            <a:xfrm>
              <a:off x="589" y="368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2" name="Rectangle 350"/>
            <p:cNvSpPr>
              <a:spLocks noChangeArrowheads="1"/>
            </p:cNvSpPr>
            <p:nvPr/>
          </p:nvSpPr>
          <p:spPr bwMode="auto">
            <a:xfrm>
              <a:off x="589" y="362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3" name="Rectangle 351"/>
            <p:cNvSpPr>
              <a:spLocks noChangeArrowheads="1"/>
            </p:cNvSpPr>
            <p:nvPr/>
          </p:nvSpPr>
          <p:spPr bwMode="auto">
            <a:xfrm>
              <a:off x="558" y="362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4" name="Rectangle 352"/>
            <p:cNvSpPr>
              <a:spLocks noChangeArrowheads="1"/>
            </p:cNvSpPr>
            <p:nvPr/>
          </p:nvSpPr>
          <p:spPr bwMode="auto">
            <a:xfrm>
              <a:off x="589" y="371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5" name="Rectangle 353"/>
            <p:cNvSpPr>
              <a:spLocks noChangeArrowheads="1"/>
            </p:cNvSpPr>
            <p:nvPr/>
          </p:nvSpPr>
          <p:spPr bwMode="auto">
            <a:xfrm>
              <a:off x="558" y="371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6" name="Rectangle 354"/>
            <p:cNvSpPr>
              <a:spLocks noChangeArrowheads="1"/>
            </p:cNvSpPr>
            <p:nvPr/>
          </p:nvSpPr>
          <p:spPr bwMode="auto">
            <a:xfrm>
              <a:off x="558" y="368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7" name="Rectangle 355"/>
            <p:cNvSpPr>
              <a:spLocks noChangeArrowheads="1"/>
            </p:cNvSpPr>
            <p:nvPr/>
          </p:nvSpPr>
          <p:spPr bwMode="auto">
            <a:xfrm>
              <a:off x="469" y="3620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628" name="Rectangle 356"/>
            <p:cNvSpPr>
              <a:spLocks noChangeArrowheads="1"/>
            </p:cNvSpPr>
            <p:nvPr/>
          </p:nvSpPr>
          <p:spPr bwMode="auto">
            <a:xfrm>
              <a:off x="438" y="362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29" name="Rectangle 357"/>
            <p:cNvSpPr>
              <a:spLocks noChangeArrowheads="1"/>
            </p:cNvSpPr>
            <p:nvPr/>
          </p:nvSpPr>
          <p:spPr bwMode="auto">
            <a:xfrm>
              <a:off x="469" y="3651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0" name="Rectangle 358"/>
            <p:cNvSpPr>
              <a:spLocks noChangeArrowheads="1"/>
            </p:cNvSpPr>
            <p:nvPr/>
          </p:nvSpPr>
          <p:spPr bwMode="auto">
            <a:xfrm>
              <a:off x="438" y="365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1" name="Rectangle 359"/>
            <p:cNvSpPr>
              <a:spLocks noChangeArrowheads="1"/>
            </p:cNvSpPr>
            <p:nvPr/>
          </p:nvSpPr>
          <p:spPr bwMode="auto">
            <a:xfrm>
              <a:off x="469" y="3591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2" name="Rectangle 360"/>
            <p:cNvSpPr>
              <a:spLocks noChangeArrowheads="1"/>
            </p:cNvSpPr>
            <p:nvPr/>
          </p:nvSpPr>
          <p:spPr bwMode="auto">
            <a:xfrm>
              <a:off x="438" y="3591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3" name="Rectangle 361"/>
            <p:cNvSpPr>
              <a:spLocks noChangeArrowheads="1"/>
            </p:cNvSpPr>
            <p:nvPr/>
          </p:nvSpPr>
          <p:spPr bwMode="auto">
            <a:xfrm>
              <a:off x="501" y="362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4" name="Rectangle 362"/>
            <p:cNvSpPr>
              <a:spLocks noChangeArrowheads="1"/>
            </p:cNvSpPr>
            <p:nvPr/>
          </p:nvSpPr>
          <p:spPr bwMode="auto">
            <a:xfrm>
              <a:off x="501" y="365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5" name="Rectangle 363"/>
            <p:cNvSpPr>
              <a:spLocks noChangeArrowheads="1"/>
            </p:cNvSpPr>
            <p:nvPr/>
          </p:nvSpPr>
          <p:spPr bwMode="auto">
            <a:xfrm>
              <a:off x="501" y="3591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6" name="Rectangle 364"/>
            <p:cNvSpPr>
              <a:spLocks noChangeArrowheads="1"/>
            </p:cNvSpPr>
            <p:nvPr/>
          </p:nvSpPr>
          <p:spPr bwMode="auto">
            <a:xfrm>
              <a:off x="469" y="3680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7" name="Rectangle 365"/>
            <p:cNvSpPr>
              <a:spLocks noChangeArrowheads="1"/>
            </p:cNvSpPr>
            <p:nvPr/>
          </p:nvSpPr>
          <p:spPr bwMode="auto">
            <a:xfrm>
              <a:off x="438" y="368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8" name="Rectangle 366"/>
            <p:cNvSpPr>
              <a:spLocks noChangeArrowheads="1"/>
            </p:cNvSpPr>
            <p:nvPr/>
          </p:nvSpPr>
          <p:spPr bwMode="auto">
            <a:xfrm>
              <a:off x="469" y="3711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39" name="Rectangle 367"/>
            <p:cNvSpPr>
              <a:spLocks noChangeArrowheads="1"/>
            </p:cNvSpPr>
            <p:nvPr/>
          </p:nvSpPr>
          <p:spPr bwMode="auto">
            <a:xfrm>
              <a:off x="438" y="371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0" name="Rectangle 368"/>
            <p:cNvSpPr>
              <a:spLocks noChangeArrowheads="1"/>
            </p:cNvSpPr>
            <p:nvPr/>
          </p:nvSpPr>
          <p:spPr bwMode="auto">
            <a:xfrm>
              <a:off x="501" y="368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1" name="Rectangle 369"/>
            <p:cNvSpPr>
              <a:spLocks noChangeArrowheads="1"/>
            </p:cNvSpPr>
            <p:nvPr/>
          </p:nvSpPr>
          <p:spPr bwMode="auto">
            <a:xfrm>
              <a:off x="501" y="3711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2" name="Rectangle 370"/>
            <p:cNvSpPr>
              <a:spLocks noChangeArrowheads="1"/>
            </p:cNvSpPr>
            <p:nvPr/>
          </p:nvSpPr>
          <p:spPr bwMode="auto">
            <a:xfrm>
              <a:off x="469" y="3562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3" name="Rectangle 371"/>
            <p:cNvSpPr>
              <a:spLocks noChangeArrowheads="1"/>
            </p:cNvSpPr>
            <p:nvPr/>
          </p:nvSpPr>
          <p:spPr bwMode="auto">
            <a:xfrm>
              <a:off x="438" y="3562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4" name="Rectangle 372"/>
            <p:cNvSpPr>
              <a:spLocks noChangeArrowheads="1"/>
            </p:cNvSpPr>
            <p:nvPr/>
          </p:nvSpPr>
          <p:spPr bwMode="auto">
            <a:xfrm>
              <a:off x="501" y="3562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647" name="Group 375"/>
          <p:cNvGrpSpPr>
            <a:grpSpLocks noChangeAspect="1"/>
          </p:cNvGrpSpPr>
          <p:nvPr/>
        </p:nvGrpSpPr>
        <p:grpSpPr bwMode="auto">
          <a:xfrm>
            <a:off x="1462883" y="5441946"/>
            <a:ext cx="768350" cy="768350"/>
            <a:chOff x="929" y="3428"/>
            <a:chExt cx="484" cy="484"/>
          </a:xfrm>
        </p:grpSpPr>
        <p:sp>
          <p:nvSpPr>
            <p:cNvPr id="54648" name="Freeform 376"/>
            <p:cNvSpPr>
              <a:spLocks noEditPoints="1"/>
            </p:cNvSpPr>
            <p:nvPr/>
          </p:nvSpPr>
          <p:spPr bwMode="auto">
            <a:xfrm>
              <a:off x="929" y="342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49" name="Rectangle 377"/>
            <p:cNvSpPr>
              <a:spLocks noChangeArrowheads="1"/>
            </p:cNvSpPr>
            <p:nvPr/>
          </p:nvSpPr>
          <p:spPr bwMode="auto">
            <a:xfrm>
              <a:off x="1044" y="3651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0" name="Rectangle 378"/>
            <p:cNvSpPr>
              <a:spLocks noChangeArrowheads="1"/>
            </p:cNvSpPr>
            <p:nvPr/>
          </p:nvSpPr>
          <p:spPr bwMode="auto">
            <a:xfrm>
              <a:off x="1076" y="365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1" name="Rectangle 379"/>
            <p:cNvSpPr>
              <a:spLocks noChangeArrowheads="1"/>
            </p:cNvSpPr>
            <p:nvPr/>
          </p:nvSpPr>
          <p:spPr bwMode="auto">
            <a:xfrm>
              <a:off x="1044" y="3680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2" name="Rectangle 380"/>
            <p:cNvSpPr>
              <a:spLocks noChangeArrowheads="1"/>
            </p:cNvSpPr>
            <p:nvPr/>
          </p:nvSpPr>
          <p:spPr bwMode="auto">
            <a:xfrm>
              <a:off x="1044" y="3620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3" name="Rectangle 381"/>
            <p:cNvSpPr>
              <a:spLocks noChangeArrowheads="1"/>
            </p:cNvSpPr>
            <p:nvPr/>
          </p:nvSpPr>
          <p:spPr bwMode="auto">
            <a:xfrm>
              <a:off x="1076" y="362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4" name="Rectangle 382"/>
            <p:cNvSpPr>
              <a:spLocks noChangeArrowheads="1"/>
            </p:cNvSpPr>
            <p:nvPr/>
          </p:nvSpPr>
          <p:spPr bwMode="auto">
            <a:xfrm>
              <a:off x="1044" y="3711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5" name="Rectangle 383"/>
            <p:cNvSpPr>
              <a:spLocks noChangeArrowheads="1"/>
            </p:cNvSpPr>
            <p:nvPr/>
          </p:nvSpPr>
          <p:spPr bwMode="auto">
            <a:xfrm>
              <a:off x="1076" y="371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6" name="Rectangle 384"/>
            <p:cNvSpPr>
              <a:spLocks noChangeArrowheads="1"/>
            </p:cNvSpPr>
            <p:nvPr/>
          </p:nvSpPr>
          <p:spPr bwMode="auto">
            <a:xfrm>
              <a:off x="1076" y="368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7" name="Freeform 385"/>
            <p:cNvSpPr>
              <a:spLocks noEditPoints="1"/>
            </p:cNvSpPr>
            <p:nvPr/>
          </p:nvSpPr>
          <p:spPr bwMode="auto">
            <a:xfrm>
              <a:off x="1023" y="3536"/>
              <a:ext cx="297" cy="242"/>
            </a:xfrm>
            <a:custGeom>
              <a:avLst/>
              <a:gdLst/>
              <a:ahLst/>
              <a:cxnLst>
                <a:cxn ang="0">
                  <a:pos x="216" y="36"/>
                </a:cxn>
                <a:cxn ang="0">
                  <a:pos x="213" y="34"/>
                </a:cxn>
                <a:cxn ang="0">
                  <a:pos x="213" y="7"/>
                </a:cxn>
                <a:cxn ang="0">
                  <a:pos x="213" y="0"/>
                </a:cxn>
                <a:cxn ang="0">
                  <a:pos x="204" y="0"/>
                </a:cxn>
                <a:cxn ang="0">
                  <a:pos x="93" y="0"/>
                </a:cxn>
                <a:cxn ang="0">
                  <a:pos x="84" y="0"/>
                </a:cxn>
                <a:cxn ang="0">
                  <a:pos x="84" y="7"/>
                </a:cxn>
                <a:cxn ang="0">
                  <a:pos x="84" y="34"/>
                </a:cxn>
                <a:cxn ang="0">
                  <a:pos x="81" y="36"/>
                </a:cxn>
                <a:cxn ang="0">
                  <a:pos x="5" y="65"/>
                </a:cxn>
                <a:cxn ang="0">
                  <a:pos x="0" y="65"/>
                </a:cxn>
                <a:cxn ang="0">
                  <a:pos x="0" y="72"/>
                </a:cxn>
                <a:cxn ang="0">
                  <a:pos x="0" y="233"/>
                </a:cxn>
                <a:cxn ang="0">
                  <a:pos x="0" y="242"/>
                </a:cxn>
                <a:cxn ang="0">
                  <a:pos x="7" y="242"/>
                </a:cxn>
                <a:cxn ang="0">
                  <a:pos x="84" y="242"/>
                </a:cxn>
                <a:cxn ang="0">
                  <a:pos x="84" y="242"/>
                </a:cxn>
                <a:cxn ang="0">
                  <a:pos x="93" y="242"/>
                </a:cxn>
                <a:cxn ang="0">
                  <a:pos x="93" y="242"/>
                </a:cxn>
                <a:cxn ang="0">
                  <a:pos x="204" y="242"/>
                </a:cxn>
                <a:cxn ang="0">
                  <a:pos x="204" y="242"/>
                </a:cxn>
                <a:cxn ang="0">
                  <a:pos x="213" y="242"/>
                </a:cxn>
                <a:cxn ang="0">
                  <a:pos x="213" y="242"/>
                </a:cxn>
                <a:cxn ang="0">
                  <a:pos x="290" y="242"/>
                </a:cxn>
                <a:cxn ang="0">
                  <a:pos x="297" y="242"/>
                </a:cxn>
                <a:cxn ang="0">
                  <a:pos x="297" y="233"/>
                </a:cxn>
                <a:cxn ang="0">
                  <a:pos x="297" y="72"/>
                </a:cxn>
                <a:cxn ang="0">
                  <a:pos x="297" y="65"/>
                </a:cxn>
                <a:cxn ang="0">
                  <a:pos x="292" y="65"/>
                </a:cxn>
                <a:cxn ang="0">
                  <a:pos x="216" y="36"/>
                </a:cxn>
                <a:cxn ang="0">
                  <a:pos x="84" y="233"/>
                </a:cxn>
                <a:cxn ang="0">
                  <a:pos x="7" y="233"/>
                </a:cxn>
                <a:cxn ang="0">
                  <a:pos x="7" y="72"/>
                </a:cxn>
                <a:cxn ang="0">
                  <a:pos x="84" y="43"/>
                </a:cxn>
                <a:cxn ang="0">
                  <a:pos x="84" y="233"/>
                </a:cxn>
                <a:cxn ang="0">
                  <a:pos x="204" y="233"/>
                </a:cxn>
                <a:cxn ang="0">
                  <a:pos x="93" y="233"/>
                </a:cxn>
                <a:cxn ang="0">
                  <a:pos x="93" y="7"/>
                </a:cxn>
                <a:cxn ang="0">
                  <a:pos x="204" y="7"/>
                </a:cxn>
                <a:cxn ang="0">
                  <a:pos x="204" y="233"/>
                </a:cxn>
                <a:cxn ang="0">
                  <a:pos x="290" y="233"/>
                </a:cxn>
                <a:cxn ang="0">
                  <a:pos x="213" y="233"/>
                </a:cxn>
                <a:cxn ang="0">
                  <a:pos x="213" y="43"/>
                </a:cxn>
                <a:cxn ang="0">
                  <a:pos x="290" y="72"/>
                </a:cxn>
                <a:cxn ang="0">
                  <a:pos x="290" y="233"/>
                </a:cxn>
              </a:cxnLst>
              <a:rect l="0" t="0" r="r" b="b"/>
              <a:pathLst>
                <a:path w="297" h="242">
                  <a:moveTo>
                    <a:pt x="216" y="36"/>
                  </a:moveTo>
                  <a:lnTo>
                    <a:pt x="213" y="34"/>
                  </a:lnTo>
                  <a:lnTo>
                    <a:pt x="213" y="7"/>
                  </a:lnTo>
                  <a:lnTo>
                    <a:pt x="213" y="0"/>
                  </a:lnTo>
                  <a:lnTo>
                    <a:pt x="204" y="0"/>
                  </a:lnTo>
                  <a:lnTo>
                    <a:pt x="93" y="0"/>
                  </a:lnTo>
                  <a:lnTo>
                    <a:pt x="84" y="0"/>
                  </a:lnTo>
                  <a:lnTo>
                    <a:pt x="84" y="7"/>
                  </a:lnTo>
                  <a:lnTo>
                    <a:pt x="84" y="34"/>
                  </a:lnTo>
                  <a:lnTo>
                    <a:pt x="81" y="36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0" y="72"/>
                  </a:lnTo>
                  <a:lnTo>
                    <a:pt x="0" y="233"/>
                  </a:lnTo>
                  <a:lnTo>
                    <a:pt x="0" y="242"/>
                  </a:lnTo>
                  <a:lnTo>
                    <a:pt x="7" y="242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93" y="242"/>
                  </a:lnTo>
                  <a:lnTo>
                    <a:pt x="93" y="242"/>
                  </a:lnTo>
                  <a:lnTo>
                    <a:pt x="204" y="242"/>
                  </a:lnTo>
                  <a:lnTo>
                    <a:pt x="204" y="242"/>
                  </a:lnTo>
                  <a:lnTo>
                    <a:pt x="213" y="242"/>
                  </a:lnTo>
                  <a:lnTo>
                    <a:pt x="213" y="242"/>
                  </a:lnTo>
                  <a:lnTo>
                    <a:pt x="290" y="242"/>
                  </a:lnTo>
                  <a:lnTo>
                    <a:pt x="297" y="242"/>
                  </a:lnTo>
                  <a:lnTo>
                    <a:pt x="297" y="233"/>
                  </a:lnTo>
                  <a:lnTo>
                    <a:pt x="297" y="72"/>
                  </a:lnTo>
                  <a:lnTo>
                    <a:pt x="297" y="65"/>
                  </a:lnTo>
                  <a:lnTo>
                    <a:pt x="292" y="65"/>
                  </a:lnTo>
                  <a:lnTo>
                    <a:pt x="216" y="36"/>
                  </a:lnTo>
                  <a:close/>
                  <a:moveTo>
                    <a:pt x="84" y="233"/>
                  </a:moveTo>
                  <a:lnTo>
                    <a:pt x="7" y="233"/>
                  </a:lnTo>
                  <a:lnTo>
                    <a:pt x="7" y="72"/>
                  </a:lnTo>
                  <a:lnTo>
                    <a:pt x="84" y="43"/>
                  </a:lnTo>
                  <a:lnTo>
                    <a:pt x="84" y="233"/>
                  </a:lnTo>
                  <a:close/>
                  <a:moveTo>
                    <a:pt x="204" y="233"/>
                  </a:moveTo>
                  <a:lnTo>
                    <a:pt x="93" y="233"/>
                  </a:lnTo>
                  <a:lnTo>
                    <a:pt x="93" y="7"/>
                  </a:lnTo>
                  <a:lnTo>
                    <a:pt x="204" y="7"/>
                  </a:lnTo>
                  <a:lnTo>
                    <a:pt x="204" y="233"/>
                  </a:lnTo>
                  <a:close/>
                  <a:moveTo>
                    <a:pt x="290" y="233"/>
                  </a:moveTo>
                  <a:lnTo>
                    <a:pt x="213" y="233"/>
                  </a:lnTo>
                  <a:lnTo>
                    <a:pt x="213" y="43"/>
                  </a:lnTo>
                  <a:lnTo>
                    <a:pt x="290" y="72"/>
                  </a:lnTo>
                  <a:lnTo>
                    <a:pt x="290" y="23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658" name="Rectangle 386"/>
            <p:cNvSpPr>
              <a:spLocks noChangeArrowheads="1"/>
            </p:cNvSpPr>
            <p:nvPr/>
          </p:nvSpPr>
          <p:spPr bwMode="auto">
            <a:xfrm>
              <a:off x="1282" y="365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59" name="Rectangle 387"/>
            <p:cNvSpPr>
              <a:spLocks noChangeArrowheads="1"/>
            </p:cNvSpPr>
            <p:nvPr/>
          </p:nvSpPr>
          <p:spPr bwMode="auto">
            <a:xfrm>
              <a:off x="1250" y="3651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0" name="Rectangle 388"/>
            <p:cNvSpPr>
              <a:spLocks noChangeArrowheads="1"/>
            </p:cNvSpPr>
            <p:nvPr/>
          </p:nvSpPr>
          <p:spPr bwMode="auto">
            <a:xfrm>
              <a:off x="1282" y="368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1" name="Rectangle 389"/>
            <p:cNvSpPr>
              <a:spLocks noChangeArrowheads="1"/>
            </p:cNvSpPr>
            <p:nvPr/>
          </p:nvSpPr>
          <p:spPr bwMode="auto">
            <a:xfrm>
              <a:off x="1282" y="362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2" name="Rectangle 390"/>
            <p:cNvSpPr>
              <a:spLocks noChangeArrowheads="1"/>
            </p:cNvSpPr>
            <p:nvPr/>
          </p:nvSpPr>
          <p:spPr bwMode="auto">
            <a:xfrm>
              <a:off x="1250" y="3620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3" name="Rectangle 391"/>
            <p:cNvSpPr>
              <a:spLocks noChangeArrowheads="1"/>
            </p:cNvSpPr>
            <p:nvPr/>
          </p:nvSpPr>
          <p:spPr bwMode="auto">
            <a:xfrm>
              <a:off x="1282" y="371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4" name="Rectangle 392"/>
            <p:cNvSpPr>
              <a:spLocks noChangeArrowheads="1"/>
            </p:cNvSpPr>
            <p:nvPr/>
          </p:nvSpPr>
          <p:spPr bwMode="auto">
            <a:xfrm>
              <a:off x="1250" y="3711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5" name="Rectangle 393"/>
            <p:cNvSpPr>
              <a:spLocks noChangeArrowheads="1"/>
            </p:cNvSpPr>
            <p:nvPr/>
          </p:nvSpPr>
          <p:spPr bwMode="auto">
            <a:xfrm>
              <a:off x="1250" y="3680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6" name="Rectangle 394"/>
            <p:cNvSpPr>
              <a:spLocks noChangeArrowheads="1"/>
            </p:cNvSpPr>
            <p:nvPr/>
          </p:nvSpPr>
          <p:spPr bwMode="auto">
            <a:xfrm>
              <a:off x="1162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7" name="Rectangle 395"/>
            <p:cNvSpPr>
              <a:spLocks noChangeArrowheads="1"/>
            </p:cNvSpPr>
            <p:nvPr/>
          </p:nvSpPr>
          <p:spPr bwMode="auto">
            <a:xfrm>
              <a:off x="1131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8" name="Rectangle 396"/>
            <p:cNvSpPr>
              <a:spLocks noChangeArrowheads="1"/>
            </p:cNvSpPr>
            <p:nvPr/>
          </p:nvSpPr>
          <p:spPr bwMode="auto">
            <a:xfrm>
              <a:off x="1162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69" name="Rectangle 397"/>
            <p:cNvSpPr>
              <a:spLocks noChangeArrowheads="1"/>
            </p:cNvSpPr>
            <p:nvPr/>
          </p:nvSpPr>
          <p:spPr bwMode="auto">
            <a:xfrm>
              <a:off x="1131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0" name="Rectangle 398"/>
            <p:cNvSpPr>
              <a:spLocks noChangeArrowheads="1"/>
            </p:cNvSpPr>
            <p:nvPr/>
          </p:nvSpPr>
          <p:spPr bwMode="auto">
            <a:xfrm>
              <a:off x="1162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1" name="Rectangle 399"/>
            <p:cNvSpPr>
              <a:spLocks noChangeArrowheads="1"/>
            </p:cNvSpPr>
            <p:nvPr/>
          </p:nvSpPr>
          <p:spPr bwMode="auto">
            <a:xfrm>
              <a:off x="1131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2" name="Rectangle 400"/>
            <p:cNvSpPr>
              <a:spLocks noChangeArrowheads="1"/>
            </p:cNvSpPr>
            <p:nvPr/>
          </p:nvSpPr>
          <p:spPr bwMode="auto">
            <a:xfrm>
              <a:off x="1193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3" name="Rectangle 401"/>
            <p:cNvSpPr>
              <a:spLocks noChangeArrowheads="1"/>
            </p:cNvSpPr>
            <p:nvPr/>
          </p:nvSpPr>
          <p:spPr bwMode="auto">
            <a:xfrm>
              <a:off x="1193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4" name="Rectangle 402"/>
            <p:cNvSpPr>
              <a:spLocks noChangeArrowheads="1"/>
            </p:cNvSpPr>
            <p:nvPr/>
          </p:nvSpPr>
          <p:spPr bwMode="auto">
            <a:xfrm>
              <a:off x="1193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5" name="Rectangle 403"/>
            <p:cNvSpPr>
              <a:spLocks noChangeArrowheads="1"/>
            </p:cNvSpPr>
            <p:nvPr/>
          </p:nvSpPr>
          <p:spPr bwMode="auto">
            <a:xfrm>
              <a:off x="1162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6" name="Rectangle 404"/>
            <p:cNvSpPr>
              <a:spLocks noChangeArrowheads="1"/>
            </p:cNvSpPr>
            <p:nvPr/>
          </p:nvSpPr>
          <p:spPr bwMode="auto">
            <a:xfrm>
              <a:off x="1131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7" name="Rectangle 405"/>
            <p:cNvSpPr>
              <a:spLocks noChangeArrowheads="1"/>
            </p:cNvSpPr>
            <p:nvPr/>
          </p:nvSpPr>
          <p:spPr bwMode="auto">
            <a:xfrm>
              <a:off x="1162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8" name="Rectangle 406"/>
            <p:cNvSpPr>
              <a:spLocks noChangeArrowheads="1"/>
            </p:cNvSpPr>
            <p:nvPr/>
          </p:nvSpPr>
          <p:spPr bwMode="auto">
            <a:xfrm>
              <a:off x="1131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79" name="Rectangle 407"/>
            <p:cNvSpPr>
              <a:spLocks noChangeArrowheads="1"/>
            </p:cNvSpPr>
            <p:nvPr/>
          </p:nvSpPr>
          <p:spPr bwMode="auto">
            <a:xfrm>
              <a:off x="1193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0" name="Rectangle 408"/>
            <p:cNvSpPr>
              <a:spLocks noChangeArrowheads="1"/>
            </p:cNvSpPr>
            <p:nvPr/>
          </p:nvSpPr>
          <p:spPr bwMode="auto">
            <a:xfrm>
              <a:off x="1193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1" name="Rectangle 409"/>
            <p:cNvSpPr>
              <a:spLocks noChangeArrowheads="1"/>
            </p:cNvSpPr>
            <p:nvPr/>
          </p:nvSpPr>
          <p:spPr bwMode="auto">
            <a:xfrm>
              <a:off x="1162" y="356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2" name="Rectangle 410"/>
            <p:cNvSpPr>
              <a:spLocks noChangeArrowheads="1"/>
            </p:cNvSpPr>
            <p:nvPr/>
          </p:nvSpPr>
          <p:spPr bwMode="auto">
            <a:xfrm>
              <a:off x="1131" y="356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3" name="Rectangle 411"/>
            <p:cNvSpPr>
              <a:spLocks noChangeArrowheads="1"/>
            </p:cNvSpPr>
            <p:nvPr/>
          </p:nvSpPr>
          <p:spPr bwMode="auto">
            <a:xfrm>
              <a:off x="1193" y="356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686" name="Group 414"/>
          <p:cNvGrpSpPr>
            <a:grpSpLocks noChangeAspect="1"/>
          </p:cNvGrpSpPr>
          <p:nvPr/>
        </p:nvGrpSpPr>
        <p:grpSpPr bwMode="auto">
          <a:xfrm>
            <a:off x="2527300" y="5410200"/>
            <a:ext cx="838200" cy="835025"/>
            <a:chOff x="1600" y="3408"/>
            <a:chExt cx="528" cy="526"/>
          </a:xfrm>
        </p:grpSpPr>
        <p:sp>
          <p:nvSpPr>
            <p:cNvPr id="54687" name="Oval 415"/>
            <p:cNvSpPr>
              <a:spLocks noChangeArrowheads="1"/>
            </p:cNvSpPr>
            <p:nvPr/>
          </p:nvSpPr>
          <p:spPr bwMode="auto">
            <a:xfrm>
              <a:off x="1600" y="3408"/>
              <a:ext cx="528" cy="52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8" name="Freeform 416"/>
            <p:cNvSpPr>
              <a:spLocks noEditPoints="1"/>
            </p:cNvSpPr>
            <p:nvPr/>
          </p:nvSpPr>
          <p:spPr bwMode="auto">
            <a:xfrm>
              <a:off x="1622" y="3430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6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6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89" name="Rectangle 417"/>
            <p:cNvSpPr>
              <a:spLocks noChangeArrowheads="1"/>
            </p:cNvSpPr>
            <p:nvPr/>
          </p:nvSpPr>
          <p:spPr bwMode="auto">
            <a:xfrm>
              <a:off x="1768" y="3652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0" name="Rectangle 418"/>
            <p:cNvSpPr>
              <a:spLocks noChangeArrowheads="1"/>
            </p:cNvSpPr>
            <p:nvPr/>
          </p:nvSpPr>
          <p:spPr bwMode="auto">
            <a:xfrm>
              <a:off x="1737" y="365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1" name="Rectangle 419"/>
            <p:cNvSpPr>
              <a:spLocks noChangeArrowheads="1"/>
            </p:cNvSpPr>
            <p:nvPr/>
          </p:nvSpPr>
          <p:spPr bwMode="auto">
            <a:xfrm>
              <a:off x="1768" y="3681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2" name="Rectangle 420"/>
            <p:cNvSpPr>
              <a:spLocks noChangeArrowheads="1"/>
            </p:cNvSpPr>
            <p:nvPr/>
          </p:nvSpPr>
          <p:spPr bwMode="auto">
            <a:xfrm>
              <a:off x="1768" y="3621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3" name="Rectangle 421"/>
            <p:cNvSpPr>
              <a:spLocks noChangeArrowheads="1"/>
            </p:cNvSpPr>
            <p:nvPr/>
          </p:nvSpPr>
          <p:spPr bwMode="auto">
            <a:xfrm>
              <a:off x="1737" y="3621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4" name="Rectangle 422"/>
            <p:cNvSpPr>
              <a:spLocks noChangeArrowheads="1"/>
            </p:cNvSpPr>
            <p:nvPr/>
          </p:nvSpPr>
          <p:spPr bwMode="auto">
            <a:xfrm>
              <a:off x="1768" y="371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5" name="Rectangle 423"/>
            <p:cNvSpPr>
              <a:spLocks noChangeArrowheads="1"/>
            </p:cNvSpPr>
            <p:nvPr/>
          </p:nvSpPr>
          <p:spPr bwMode="auto">
            <a:xfrm>
              <a:off x="1737" y="371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6" name="Rectangle 424"/>
            <p:cNvSpPr>
              <a:spLocks noChangeArrowheads="1"/>
            </p:cNvSpPr>
            <p:nvPr/>
          </p:nvSpPr>
          <p:spPr bwMode="auto">
            <a:xfrm>
              <a:off x="1737" y="368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7" name="Rectangle 425"/>
            <p:cNvSpPr>
              <a:spLocks noChangeArrowheads="1"/>
            </p:cNvSpPr>
            <p:nvPr/>
          </p:nvSpPr>
          <p:spPr bwMode="auto">
            <a:xfrm>
              <a:off x="1854" y="3621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8" name="Rectangle 426"/>
            <p:cNvSpPr>
              <a:spLocks noChangeArrowheads="1"/>
            </p:cNvSpPr>
            <p:nvPr/>
          </p:nvSpPr>
          <p:spPr bwMode="auto">
            <a:xfrm>
              <a:off x="1823" y="3621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99" name="Rectangle 427"/>
            <p:cNvSpPr>
              <a:spLocks noChangeArrowheads="1"/>
            </p:cNvSpPr>
            <p:nvPr/>
          </p:nvSpPr>
          <p:spPr bwMode="auto">
            <a:xfrm>
              <a:off x="1854" y="3652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0" name="Rectangle 428"/>
            <p:cNvSpPr>
              <a:spLocks noChangeArrowheads="1"/>
            </p:cNvSpPr>
            <p:nvPr/>
          </p:nvSpPr>
          <p:spPr bwMode="auto">
            <a:xfrm>
              <a:off x="1823" y="365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1" name="Rectangle 429"/>
            <p:cNvSpPr>
              <a:spLocks noChangeArrowheads="1"/>
            </p:cNvSpPr>
            <p:nvPr/>
          </p:nvSpPr>
          <p:spPr bwMode="auto">
            <a:xfrm>
              <a:off x="1854" y="3592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2" name="Rectangle 430"/>
            <p:cNvSpPr>
              <a:spLocks noChangeArrowheads="1"/>
            </p:cNvSpPr>
            <p:nvPr/>
          </p:nvSpPr>
          <p:spPr bwMode="auto">
            <a:xfrm>
              <a:off x="1823" y="359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3" name="Rectangle 431"/>
            <p:cNvSpPr>
              <a:spLocks noChangeArrowheads="1"/>
            </p:cNvSpPr>
            <p:nvPr/>
          </p:nvSpPr>
          <p:spPr bwMode="auto">
            <a:xfrm>
              <a:off x="1886" y="3621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704" name="Rectangle 432"/>
            <p:cNvSpPr>
              <a:spLocks noChangeArrowheads="1"/>
            </p:cNvSpPr>
            <p:nvPr/>
          </p:nvSpPr>
          <p:spPr bwMode="auto">
            <a:xfrm>
              <a:off x="1886" y="365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5" name="Rectangle 433"/>
            <p:cNvSpPr>
              <a:spLocks noChangeArrowheads="1"/>
            </p:cNvSpPr>
            <p:nvPr/>
          </p:nvSpPr>
          <p:spPr bwMode="auto">
            <a:xfrm>
              <a:off x="1886" y="3592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6" name="Rectangle 434"/>
            <p:cNvSpPr>
              <a:spLocks noChangeArrowheads="1"/>
            </p:cNvSpPr>
            <p:nvPr/>
          </p:nvSpPr>
          <p:spPr bwMode="auto">
            <a:xfrm>
              <a:off x="1854" y="3681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7" name="Rectangle 435"/>
            <p:cNvSpPr>
              <a:spLocks noChangeArrowheads="1"/>
            </p:cNvSpPr>
            <p:nvPr/>
          </p:nvSpPr>
          <p:spPr bwMode="auto">
            <a:xfrm>
              <a:off x="1823" y="368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8" name="Rectangle 436"/>
            <p:cNvSpPr>
              <a:spLocks noChangeArrowheads="1"/>
            </p:cNvSpPr>
            <p:nvPr/>
          </p:nvSpPr>
          <p:spPr bwMode="auto">
            <a:xfrm>
              <a:off x="1854" y="3710"/>
              <a:ext cx="20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09" name="Rectangle 437"/>
            <p:cNvSpPr>
              <a:spLocks noChangeArrowheads="1"/>
            </p:cNvSpPr>
            <p:nvPr/>
          </p:nvSpPr>
          <p:spPr bwMode="auto">
            <a:xfrm>
              <a:off x="1823" y="371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0" name="Rectangle 438"/>
            <p:cNvSpPr>
              <a:spLocks noChangeArrowheads="1"/>
            </p:cNvSpPr>
            <p:nvPr/>
          </p:nvSpPr>
          <p:spPr bwMode="auto">
            <a:xfrm>
              <a:off x="1886" y="3681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1" name="Rectangle 439"/>
            <p:cNvSpPr>
              <a:spLocks noChangeArrowheads="1"/>
            </p:cNvSpPr>
            <p:nvPr/>
          </p:nvSpPr>
          <p:spPr bwMode="auto">
            <a:xfrm>
              <a:off x="1886" y="3710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2" name="Rectangle 440"/>
            <p:cNvSpPr>
              <a:spLocks noChangeArrowheads="1"/>
            </p:cNvSpPr>
            <p:nvPr/>
          </p:nvSpPr>
          <p:spPr bwMode="auto">
            <a:xfrm>
              <a:off x="1974" y="3652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3" name="Rectangle 441"/>
            <p:cNvSpPr>
              <a:spLocks noChangeArrowheads="1"/>
            </p:cNvSpPr>
            <p:nvPr/>
          </p:nvSpPr>
          <p:spPr bwMode="auto">
            <a:xfrm>
              <a:off x="1943" y="3652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4" name="Rectangle 442"/>
            <p:cNvSpPr>
              <a:spLocks noChangeArrowheads="1"/>
            </p:cNvSpPr>
            <p:nvPr/>
          </p:nvSpPr>
          <p:spPr bwMode="auto">
            <a:xfrm>
              <a:off x="1974" y="3681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5" name="Rectangle 443"/>
            <p:cNvSpPr>
              <a:spLocks noChangeArrowheads="1"/>
            </p:cNvSpPr>
            <p:nvPr/>
          </p:nvSpPr>
          <p:spPr bwMode="auto">
            <a:xfrm>
              <a:off x="1943" y="3681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6" name="Rectangle 444"/>
            <p:cNvSpPr>
              <a:spLocks noChangeArrowheads="1"/>
            </p:cNvSpPr>
            <p:nvPr/>
          </p:nvSpPr>
          <p:spPr bwMode="auto">
            <a:xfrm>
              <a:off x="1974" y="371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7" name="Rectangle 445"/>
            <p:cNvSpPr>
              <a:spLocks noChangeArrowheads="1"/>
            </p:cNvSpPr>
            <p:nvPr/>
          </p:nvSpPr>
          <p:spPr bwMode="auto">
            <a:xfrm>
              <a:off x="1943" y="3710"/>
              <a:ext cx="17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18" name="Freeform 446"/>
            <p:cNvSpPr>
              <a:spLocks noEditPoints="1"/>
            </p:cNvSpPr>
            <p:nvPr/>
          </p:nvSpPr>
          <p:spPr bwMode="auto">
            <a:xfrm>
              <a:off x="1715" y="3566"/>
              <a:ext cx="298" cy="211"/>
            </a:xfrm>
            <a:custGeom>
              <a:avLst/>
              <a:gdLst/>
              <a:ahLst/>
              <a:cxnLst>
                <a:cxn ang="0">
                  <a:pos x="214" y="60"/>
                </a:cxn>
                <a:cxn ang="0">
                  <a:pos x="214" y="7"/>
                </a:cxn>
                <a:cxn ang="0">
                  <a:pos x="214" y="0"/>
                </a:cxn>
                <a:cxn ang="0">
                  <a:pos x="204" y="0"/>
                </a:cxn>
                <a:cxn ang="0">
                  <a:pos x="94" y="0"/>
                </a:cxn>
                <a:cxn ang="0">
                  <a:pos x="84" y="0"/>
                </a:cxn>
                <a:cxn ang="0">
                  <a:pos x="84" y="7"/>
                </a:cxn>
                <a:cxn ang="0">
                  <a:pos x="84" y="33"/>
                </a:cxn>
                <a:cxn ang="0">
                  <a:pos x="10" y="7"/>
                </a:cxn>
                <a:cxn ang="0">
                  <a:pos x="0" y="2"/>
                </a:cxn>
                <a:cxn ang="0">
                  <a:pos x="0" y="14"/>
                </a:cxn>
                <a:cxn ang="0">
                  <a:pos x="0" y="203"/>
                </a:cxn>
                <a:cxn ang="0">
                  <a:pos x="0" y="211"/>
                </a:cxn>
                <a:cxn ang="0">
                  <a:pos x="8" y="211"/>
                </a:cxn>
                <a:cxn ang="0">
                  <a:pos x="84" y="211"/>
                </a:cxn>
                <a:cxn ang="0">
                  <a:pos x="84" y="211"/>
                </a:cxn>
                <a:cxn ang="0">
                  <a:pos x="94" y="211"/>
                </a:cxn>
                <a:cxn ang="0">
                  <a:pos x="94" y="211"/>
                </a:cxn>
                <a:cxn ang="0">
                  <a:pos x="204" y="211"/>
                </a:cxn>
                <a:cxn ang="0">
                  <a:pos x="204" y="211"/>
                </a:cxn>
                <a:cxn ang="0">
                  <a:pos x="214" y="211"/>
                </a:cxn>
                <a:cxn ang="0">
                  <a:pos x="290" y="211"/>
                </a:cxn>
                <a:cxn ang="0">
                  <a:pos x="298" y="211"/>
                </a:cxn>
                <a:cxn ang="0">
                  <a:pos x="298" y="203"/>
                </a:cxn>
                <a:cxn ang="0">
                  <a:pos x="298" y="69"/>
                </a:cxn>
                <a:cxn ang="0">
                  <a:pos x="298" y="60"/>
                </a:cxn>
                <a:cxn ang="0">
                  <a:pos x="290" y="60"/>
                </a:cxn>
                <a:cxn ang="0">
                  <a:pos x="214" y="60"/>
                </a:cxn>
                <a:cxn ang="0">
                  <a:pos x="84" y="203"/>
                </a:cxn>
                <a:cxn ang="0">
                  <a:pos x="8" y="203"/>
                </a:cxn>
                <a:cxn ang="0">
                  <a:pos x="8" y="14"/>
                </a:cxn>
                <a:cxn ang="0">
                  <a:pos x="84" y="43"/>
                </a:cxn>
                <a:cxn ang="0">
                  <a:pos x="84" y="203"/>
                </a:cxn>
                <a:cxn ang="0">
                  <a:pos x="94" y="7"/>
                </a:cxn>
                <a:cxn ang="0">
                  <a:pos x="204" y="7"/>
                </a:cxn>
                <a:cxn ang="0">
                  <a:pos x="204" y="60"/>
                </a:cxn>
                <a:cxn ang="0">
                  <a:pos x="204" y="60"/>
                </a:cxn>
                <a:cxn ang="0">
                  <a:pos x="204" y="69"/>
                </a:cxn>
                <a:cxn ang="0">
                  <a:pos x="204" y="203"/>
                </a:cxn>
                <a:cxn ang="0">
                  <a:pos x="94" y="203"/>
                </a:cxn>
                <a:cxn ang="0">
                  <a:pos x="94" y="7"/>
                </a:cxn>
                <a:cxn ang="0">
                  <a:pos x="290" y="203"/>
                </a:cxn>
                <a:cxn ang="0">
                  <a:pos x="214" y="203"/>
                </a:cxn>
                <a:cxn ang="0">
                  <a:pos x="214" y="203"/>
                </a:cxn>
                <a:cxn ang="0">
                  <a:pos x="214" y="69"/>
                </a:cxn>
                <a:cxn ang="0">
                  <a:pos x="290" y="69"/>
                </a:cxn>
                <a:cxn ang="0">
                  <a:pos x="290" y="203"/>
                </a:cxn>
              </a:cxnLst>
              <a:rect l="0" t="0" r="r" b="b"/>
              <a:pathLst>
                <a:path w="298" h="211">
                  <a:moveTo>
                    <a:pt x="214" y="60"/>
                  </a:moveTo>
                  <a:lnTo>
                    <a:pt x="214" y="7"/>
                  </a:lnTo>
                  <a:lnTo>
                    <a:pt x="214" y="0"/>
                  </a:lnTo>
                  <a:lnTo>
                    <a:pt x="204" y="0"/>
                  </a:lnTo>
                  <a:lnTo>
                    <a:pt x="94" y="0"/>
                  </a:lnTo>
                  <a:lnTo>
                    <a:pt x="84" y="0"/>
                  </a:lnTo>
                  <a:lnTo>
                    <a:pt x="84" y="7"/>
                  </a:lnTo>
                  <a:lnTo>
                    <a:pt x="84" y="33"/>
                  </a:lnTo>
                  <a:lnTo>
                    <a:pt x="10" y="7"/>
                  </a:lnTo>
                  <a:lnTo>
                    <a:pt x="0" y="2"/>
                  </a:lnTo>
                  <a:lnTo>
                    <a:pt x="0" y="14"/>
                  </a:lnTo>
                  <a:lnTo>
                    <a:pt x="0" y="203"/>
                  </a:lnTo>
                  <a:lnTo>
                    <a:pt x="0" y="211"/>
                  </a:lnTo>
                  <a:lnTo>
                    <a:pt x="8" y="211"/>
                  </a:lnTo>
                  <a:lnTo>
                    <a:pt x="84" y="211"/>
                  </a:lnTo>
                  <a:lnTo>
                    <a:pt x="84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204" y="211"/>
                  </a:lnTo>
                  <a:lnTo>
                    <a:pt x="204" y="211"/>
                  </a:lnTo>
                  <a:lnTo>
                    <a:pt x="214" y="211"/>
                  </a:lnTo>
                  <a:lnTo>
                    <a:pt x="290" y="211"/>
                  </a:lnTo>
                  <a:lnTo>
                    <a:pt x="298" y="211"/>
                  </a:lnTo>
                  <a:lnTo>
                    <a:pt x="298" y="203"/>
                  </a:lnTo>
                  <a:lnTo>
                    <a:pt x="298" y="69"/>
                  </a:lnTo>
                  <a:lnTo>
                    <a:pt x="298" y="60"/>
                  </a:lnTo>
                  <a:lnTo>
                    <a:pt x="290" y="60"/>
                  </a:lnTo>
                  <a:lnTo>
                    <a:pt x="214" y="60"/>
                  </a:lnTo>
                  <a:close/>
                  <a:moveTo>
                    <a:pt x="84" y="203"/>
                  </a:moveTo>
                  <a:lnTo>
                    <a:pt x="8" y="203"/>
                  </a:lnTo>
                  <a:lnTo>
                    <a:pt x="8" y="14"/>
                  </a:lnTo>
                  <a:lnTo>
                    <a:pt x="84" y="43"/>
                  </a:lnTo>
                  <a:lnTo>
                    <a:pt x="84" y="203"/>
                  </a:lnTo>
                  <a:close/>
                  <a:moveTo>
                    <a:pt x="94" y="7"/>
                  </a:moveTo>
                  <a:lnTo>
                    <a:pt x="204" y="7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9"/>
                  </a:lnTo>
                  <a:lnTo>
                    <a:pt x="204" y="203"/>
                  </a:lnTo>
                  <a:lnTo>
                    <a:pt x="94" y="203"/>
                  </a:lnTo>
                  <a:lnTo>
                    <a:pt x="94" y="7"/>
                  </a:lnTo>
                  <a:close/>
                  <a:moveTo>
                    <a:pt x="290" y="203"/>
                  </a:moveTo>
                  <a:lnTo>
                    <a:pt x="214" y="203"/>
                  </a:lnTo>
                  <a:lnTo>
                    <a:pt x="214" y="203"/>
                  </a:lnTo>
                  <a:lnTo>
                    <a:pt x="214" y="69"/>
                  </a:lnTo>
                  <a:lnTo>
                    <a:pt x="290" y="69"/>
                  </a:lnTo>
                  <a:lnTo>
                    <a:pt x="290" y="2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721" name="Group 449"/>
          <p:cNvGrpSpPr>
            <a:grpSpLocks noChangeAspect="1"/>
          </p:cNvGrpSpPr>
          <p:nvPr/>
        </p:nvGrpSpPr>
        <p:grpSpPr bwMode="auto">
          <a:xfrm>
            <a:off x="3659979" y="5441946"/>
            <a:ext cx="768350" cy="768350"/>
            <a:chOff x="2314" y="3428"/>
            <a:chExt cx="484" cy="484"/>
          </a:xfrm>
        </p:grpSpPr>
        <p:sp>
          <p:nvSpPr>
            <p:cNvPr id="54722" name="Freeform 450"/>
            <p:cNvSpPr>
              <a:spLocks noEditPoints="1"/>
            </p:cNvSpPr>
            <p:nvPr/>
          </p:nvSpPr>
          <p:spPr bwMode="auto">
            <a:xfrm>
              <a:off x="2314" y="342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3" name="Rectangle 451"/>
            <p:cNvSpPr>
              <a:spLocks noChangeArrowheads="1"/>
            </p:cNvSpPr>
            <p:nvPr/>
          </p:nvSpPr>
          <p:spPr bwMode="auto">
            <a:xfrm>
              <a:off x="2461" y="365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4" name="Rectangle 452"/>
            <p:cNvSpPr>
              <a:spLocks noChangeArrowheads="1"/>
            </p:cNvSpPr>
            <p:nvPr/>
          </p:nvSpPr>
          <p:spPr bwMode="auto">
            <a:xfrm>
              <a:off x="2429" y="3651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5" name="Rectangle 453"/>
            <p:cNvSpPr>
              <a:spLocks noChangeArrowheads="1"/>
            </p:cNvSpPr>
            <p:nvPr/>
          </p:nvSpPr>
          <p:spPr bwMode="auto">
            <a:xfrm>
              <a:off x="2461" y="368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6" name="Rectangle 454"/>
            <p:cNvSpPr>
              <a:spLocks noChangeArrowheads="1"/>
            </p:cNvSpPr>
            <p:nvPr/>
          </p:nvSpPr>
          <p:spPr bwMode="auto">
            <a:xfrm>
              <a:off x="2461" y="362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7" name="Rectangle 455"/>
            <p:cNvSpPr>
              <a:spLocks noChangeArrowheads="1"/>
            </p:cNvSpPr>
            <p:nvPr/>
          </p:nvSpPr>
          <p:spPr bwMode="auto">
            <a:xfrm>
              <a:off x="2429" y="3620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8" name="Rectangle 456"/>
            <p:cNvSpPr>
              <a:spLocks noChangeArrowheads="1"/>
            </p:cNvSpPr>
            <p:nvPr/>
          </p:nvSpPr>
          <p:spPr bwMode="auto">
            <a:xfrm>
              <a:off x="2461" y="371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29" name="Rectangle 457"/>
            <p:cNvSpPr>
              <a:spLocks noChangeArrowheads="1"/>
            </p:cNvSpPr>
            <p:nvPr/>
          </p:nvSpPr>
          <p:spPr bwMode="auto">
            <a:xfrm>
              <a:off x="2429" y="3711"/>
              <a:ext cx="20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0" name="Rectangle 458"/>
            <p:cNvSpPr>
              <a:spLocks noChangeArrowheads="1"/>
            </p:cNvSpPr>
            <p:nvPr/>
          </p:nvSpPr>
          <p:spPr bwMode="auto">
            <a:xfrm>
              <a:off x="2429" y="3680"/>
              <a:ext cx="2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1" name="Rectangle 459"/>
            <p:cNvSpPr>
              <a:spLocks noChangeArrowheads="1"/>
            </p:cNvSpPr>
            <p:nvPr/>
          </p:nvSpPr>
          <p:spPr bwMode="auto">
            <a:xfrm>
              <a:off x="2547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2" name="Rectangle 460"/>
            <p:cNvSpPr>
              <a:spLocks noChangeArrowheads="1"/>
            </p:cNvSpPr>
            <p:nvPr/>
          </p:nvSpPr>
          <p:spPr bwMode="auto">
            <a:xfrm>
              <a:off x="2516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3" name="Rectangle 461"/>
            <p:cNvSpPr>
              <a:spLocks noChangeArrowheads="1"/>
            </p:cNvSpPr>
            <p:nvPr/>
          </p:nvSpPr>
          <p:spPr bwMode="auto">
            <a:xfrm>
              <a:off x="2547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4" name="Rectangle 462"/>
            <p:cNvSpPr>
              <a:spLocks noChangeArrowheads="1"/>
            </p:cNvSpPr>
            <p:nvPr/>
          </p:nvSpPr>
          <p:spPr bwMode="auto">
            <a:xfrm>
              <a:off x="2516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5" name="Rectangle 463"/>
            <p:cNvSpPr>
              <a:spLocks noChangeArrowheads="1"/>
            </p:cNvSpPr>
            <p:nvPr/>
          </p:nvSpPr>
          <p:spPr bwMode="auto">
            <a:xfrm>
              <a:off x="2547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6" name="Rectangle 464"/>
            <p:cNvSpPr>
              <a:spLocks noChangeArrowheads="1"/>
            </p:cNvSpPr>
            <p:nvPr/>
          </p:nvSpPr>
          <p:spPr bwMode="auto">
            <a:xfrm>
              <a:off x="2516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7" name="Rectangle 465"/>
            <p:cNvSpPr>
              <a:spLocks noChangeArrowheads="1"/>
            </p:cNvSpPr>
            <p:nvPr/>
          </p:nvSpPr>
          <p:spPr bwMode="auto">
            <a:xfrm>
              <a:off x="2578" y="362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8" name="Rectangle 466"/>
            <p:cNvSpPr>
              <a:spLocks noChangeArrowheads="1"/>
            </p:cNvSpPr>
            <p:nvPr/>
          </p:nvSpPr>
          <p:spPr bwMode="auto">
            <a:xfrm>
              <a:off x="2578" y="365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39" name="Rectangle 467"/>
            <p:cNvSpPr>
              <a:spLocks noChangeArrowheads="1"/>
            </p:cNvSpPr>
            <p:nvPr/>
          </p:nvSpPr>
          <p:spPr bwMode="auto">
            <a:xfrm>
              <a:off x="2578" y="3591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0" name="Rectangle 468"/>
            <p:cNvSpPr>
              <a:spLocks noChangeArrowheads="1"/>
            </p:cNvSpPr>
            <p:nvPr/>
          </p:nvSpPr>
          <p:spPr bwMode="auto">
            <a:xfrm>
              <a:off x="2547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1" name="Rectangle 469"/>
            <p:cNvSpPr>
              <a:spLocks noChangeArrowheads="1"/>
            </p:cNvSpPr>
            <p:nvPr/>
          </p:nvSpPr>
          <p:spPr bwMode="auto">
            <a:xfrm>
              <a:off x="2516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2" name="Rectangle 470"/>
            <p:cNvSpPr>
              <a:spLocks noChangeArrowheads="1"/>
            </p:cNvSpPr>
            <p:nvPr/>
          </p:nvSpPr>
          <p:spPr bwMode="auto">
            <a:xfrm>
              <a:off x="2547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3" name="Rectangle 471"/>
            <p:cNvSpPr>
              <a:spLocks noChangeArrowheads="1"/>
            </p:cNvSpPr>
            <p:nvPr/>
          </p:nvSpPr>
          <p:spPr bwMode="auto">
            <a:xfrm>
              <a:off x="2516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4" name="Rectangle 472"/>
            <p:cNvSpPr>
              <a:spLocks noChangeArrowheads="1"/>
            </p:cNvSpPr>
            <p:nvPr/>
          </p:nvSpPr>
          <p:spPr bwMode="auto">
            <a:xfrm>
              <a:off x="2578" y="368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5" name="Rectangle 473"/>
            <p:cNvSpPr>
              <a:spLocks noChangeArrowheads="1"/>
            </p:cNvSpPr>
            <p:nvPr/>
          </p:nvSpPr>
          <p:spPr bwMode="auto">
            <a:xfrm>
              <a:off x="2578" y="3711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6" name="Rectangle 474"/>
            <p:cNvSpPr>
              <a:spLocks noChangeArrowheads="1"/>
            </p:cNvSpPr>
            <p:nvPr/>
          </p:nvSpPr>
          <p:spPr bwMode="auto">
            <a:xfrm>
              <a:off x="2667" y="365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7" name="Rectangle 475"/>
            <p:cNvSpPr>
              <a:spLocks noChangeArrowheads="1"/>
            </p:cNvSpPr>
            <p:nvPr/>
          </p:nvSpPr>
          <p:spPr bwMode="auto">
            <a:xfrm>
              <a:off x="2635" y="3651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8" name="Rectangle 476"/>
            <p:cNvSpPr>
              <a:spLocks noChangeArrowheads="1"/>
            </p:cNvSpPr>
            <p:nvPr/>
          </p:nvSpPr>
          <p:spPr bwMode="auto">
            <a:xfrm>
              <a:off x="2667" y="3680"/>
              <a:ext cx="1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49" name="Rectangle 477"/>
            <p:cNvSpPr>
              <a:spLocks noChangeArrowheads="1"/>
            </p:cNvSpPr>
            <p:nvPr/>
          </p:nvSpPr>
          <p:spPr bwMode="auto">
            <a:xfrm>
              <a:off x="2635" y="3680"/>
              <a:ext cx="1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0" name="Rectangle 478"/>
            <p:cNvSpPr>
              <a:spLocks noChangeArrowheads="1"/>
            </p:cNvSpPr>
            <p:nvPr/>
          </p:nvSpPr>
          <p:spPr bwMode="auto">
            <a:xfrm>
              <a:off x="2667" y="3711"/>
              <a:ext cx="16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1" name="Rectangle 479"/>
            <p:cNvSpPr>
              <a:spLocks noChangeArrowheads="1"/>
            </p:cNvSpPr>
            <p:nvPr/>
          </p:nvSpPr>
          <p:spPr bwMode="auto">
            <a:xfrm>
              <a:off x="2635" y="3711"/>
              <a:ext cx="1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2" name="Freeform 480"/>
            <p:cNvSpPr>
              <a:spLocks noEditPoints="1"/>
            </p:cNvSpPr>
            <p:nvPr/>
          </p:nvSpPr>
          <p:spPr bwMode="auto">
            <a:xfrm>
              <a:off x="2408" y="3565"/>
              <a:ext cx="297" cy="213"/>
            </a:xfrm>
            <a:custGeom>
              <a:avLst/>
              <a:gdLst/>
              <a:ahLst/>
              <a:cxnLst>
                <a:cxn ang="0">
                  <a:pos x="213" y="62"/>
                </a:cxn>
                <a:cxn ang="0">
                  <a:pos x="213" y="7"/>
                </a:cxn>
                <a:cxn ang="0">
                  <a:pos x="213" y="0"/>
                </a:cxn>
                <a:cxn ang="0">
                  <a:pos x="204" y="0"/>
                </a:cxn>
                <a:cxn ang="0">
                  <a:pos x="93" y="0"/>
                </a:cxn>
                <a:cxn ang="0">
                  <a:pos x="84" y="0"/>
                </a:cxn>
                <a:cxn ang="0">
                  <a:pos x="84" y="7"/>
                </a:cxn>
                <a:cxn ang="0">
                  <a:pos x="84" y="33"/>
                </a:cxn>
                <a:cxn ang="0">
                  <a:pos x="9" y="7"/>
                </a:cxn>
                <a:cxn ang="0">
                  <a:pos x="0" y="2"/>
                </a:cxn>
                <a:cxn ang="0">
                  <a:pos x="0" y="14"/>
                </a:cxn>
                <a:cxn ang="0">
                  <a:pos x="0" y="204"/>
                </a:cxn>
                <a:cxn ang="0">
                  <a:pos x="0" y="213"/>
                </a:cxn>
                <a:cxn ang="0">
                  <a:pos x="7" y="213"/>
                </a:cxn>
                <a:cxn ang="0">
                  <a:pos x="84" y="213"/>
                </a:cxn>
                <a:cxn ang="0">
                  <a:pos x="84" y="213"/>
                </a:cxn>
                <a:cxn ang="0">
                  <a:pos x="93" y="213"/>
                </a:cxn>
                <a:cxn ang="0">
                  <a:pos x="93" y="213"/>
                </a:cxn>
                <a:cxn ang="0">
                  <a:pos x="204" y="213"/>
                </a:cxn>
                <a:cxn ang="0">
                  <a:pos x="204" y="213"/>
                </a:cxn>
                <a:cxn ang="0">
                  <a:pos x="213" y="213"/>
                </a:cxn>
                <a:cxn ang="0">
                  <a:pos x="290" y="213"/>
                </a:cxn>
                <a:cxn ang="0">
                  <a:pos x="297" y="213"/>
                </a:cxn>
                <a:cxn ang="0">
                  <a:pos x="297" y="204"/>
                </a:cxn>
                <a:cxn ang="0">
                  <a:pos x="297" y="69"/>
                </a:cxn>
                <a:cxn ang="0">
                  <a:pos x="297" y="62"/>
                </a:cxn>
                <a:cxn ang="0">
                  <a:pos x="290" y="62"/>
                </a:cxn>
                <a:cxn ang="0">
                  <a:pos x="213" y="62"/>
                </a:cxn>
                <a:cxn ang="0">
                  <a:pos x="84" y="204"/>
                </a:cxn>
                <a:cxn ang="0">
                  <a:pos x="7" y="204"/>
                </a:cxn>
                <a:cxn ang="0">
                  <a:pos x="7" y="14"/>
                </a:cxn>
                <a:cxn ang="0">
                  <a:pos x="84" y="43"/>
                </a:cxn>
                <a:cxn ang="0">
                  <a:pos x="84" y="204"/>
                </a:cxn>
                <a:cxn ang="0">
                  <a:pos x="93" y="7"/>
                </a:cxn>
                <a:cxn ang="0">
                  <a:pos x="204" y="7"/>
                </a:cxn>
                <a:cxn ang="0">
                  <a:pos x="204" y="62"/>
                </a:cxn>
                <a:cxn ang="0">
                  <a:pos x="204" y="62"/>
                </a:cxn>
                <a:cxn ang="0">
                  <a:pos x="204" y="69"/>
                </a:cxn>
                <a:cxn ang="0">
                  <a:pos x="204" y="204"/>
                </a:cxn>
                <a:cxn ang="0">
                  <a:pos x="93" y="204"/>
                </a:cxn>
                <a:cxn ang="0">
                  <a:pos x="93" y="7"/>
                </a:cxn>
                <a:cxn ang="0">
                  <a:pos x="290" y="204"/>
                </a:cxn>
                <a:cxn ang="0">
                  <a:pos x="213" y="204"/>
                </a:cxn>
                <a:cxn ang="0">
                  <a:pos x="213" y="204"/>
                </a:cxn>
                <a:cxn ang="0">
                  <a:pos x="213" y="69"/>
                </a:cxn>
                <a:cxn ang="0">
                  <a:pos x="290" y="69"/>
                </a:cxn>
                <a:cxn ang="0">
                  <a:pos x="290" y="204"/>
                </a:cxn>
              </a:cxnLst>
              <a:rect l="0" t="0" r="r" b="b"/>
              <a:pathLst>
                <a:path w="297" h="213">
                  <a:moveTo>
                    <a:pt x="213" y="62"/>
                  </a:moveTo>
                  <a:lnTo>
                    <a:pt x="213" y="7"/>
                  </a:lnTo>
                  <a:lnTo>
                    <a:pt x="213" y="0"/>
                  </a:lnTo>
                  <a:lnTo>
                    <a:pt x="204" y="0"/>
                  </a:lnTo>
                  <a:lnTo>
                    <a:pt x="93" y="0"/>
                  </a:lnTo>
                  <a:lnTo>
                    <a:pt x="84" y="0"/>
                  </a:lnTo>
                  <a:lnTo>
                    <a:pt x="84" y="7"/>
                  </a:lnTo>
                  <a:lnTo>
                    <a:pt x="84" y="33"/>
                  </a:lnTo>
                  <a:lnTo>
                    <a:pt x="9" y="7"/>
                  </a:lnTo>
                  <a:lnTo>
                    <a:pt x="0" y="2"/>
                  </a:lnTo>
                  <a:lnTo>
                    <a:pt x="0" y="14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7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13" y="213"/>
                  </a:lnTo>
                  <a:lnTo>
                    <a:pt x="290" y="213"/>
                  </a:lnTo>
                  <a:lnTo>
                    <a:pt x="297" y="213"/>
                  </a:lnTo>
                  <a:lnTo>
                    <a:pt x="297" y="204"/>
                  </a:lnTo>
                  <a:lnTo>
                    <a:pt x="297" y="69"/>
                  </a:lnTo>
                  <a:lnTo>
                    <a:pt x="297" y="62"/>
                  </a:lnTo>
                  <a:lnTo>
                    <a:pt x="290" y="62"/>
                  </a:lnTo>
                  <a:lnTo>
                    <a:pt x="213" y="62"/>
                  </a:lnTo>
                  <a:close/>
                  <a:moveTo>
                    <a:pt x="84" y="204"/>
                  </a:moveTo>
                  <a:lnTo>
                    <a:pt x="7" y="204"/>
                  </a:lnTo>
                  <a:lnTo>
                    <a:pt x="7" y="14"/>
                  </a:lnTo>
                  <a:lnTo>
                    <a:pt x="84" y="43"/>
                  </a:lnTo>
                  <a:lnTo>
                    <a:pt x="84" y="204"/>
                  </a:lnTo>
                  <a:close/>
                  <a:moveTo>
                    <a:pt x="93" y="7"/>
                  </a:moveTo>
                  <a:lnTo>
                    <a:pt x="204" y="7"/>
                  </a:lnTo>
                  <a:lnTo>
                    <a:pt x="204" y="62"/>
                  </a:lnTo>
                  <a:lnTo>
                    <a:pt x="204" y="62"/>
                  </a:lnTo>
                  <a:lnTo>
                    <a:pt x="204" y="69"/>
                  </a:lnTo>
                  <a:lnTo>
                    <a:pt x="204" y="204"/>
                  </a:lnTo>
                  <a:lnTo>
                    <a:pt x="93" y="204"/>
                  </a:lnTo>
                  <a:lnTo>
                    <a:pt x="93" y="7"/>
                  </a:lnTo>
                  <a:close/>
                  <a:moveTo>
                    <a:pt x="290" y="204"/>
                  </a:moveTo>
                  <a:lnTo>
                    <a:pt x="213" y="204"/>
                  </a:lnTo>
                  <a:lnTo>
                    <a:pt x="213" y="204"/>
                  </a:lnTo>
                  <a:lnTo>
                    <a:pt x="213" y="69"/>
                  </a:lnTo>
                  <a:lnTo>
                    <a:pt x="290" y="69"/>
                  </a:lnTo>
                  <a:lnTo>
                    <a:pt x="290" y="20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755" name="Group 483"/>
          <p:cNvGrpSpPr>
            <a:grpSpLocks noChangeAspect="1"/>
          </p:cNvGrpSpPr>
          <p:nvPr/>
        </p:nvGrpSpPr>
        <p:grpSpPr bwMode="auto">
          <a:xfrm>
            <a:off x="4722812" y="5411788"/>
            <a:ext cx="827088" cy="828675"/>
            <a:chOff x="2982" y="3409"/>
            <a:chExt cx="521" cy="522"/>
          </a:xfrm>
        </p:grpSpPr>
        <p:sp>
          <p:nvSpPr>
            <p:cNvPr id="54756" name="Oval 484"/>
            <p:cNvSpPr>
              <a:spLocks noChangeArrowheads="1"/>
            </p:cNvSpPr>
            <p:nvPr/>
          </p:nvSpPr>
          <p:spPr bwMode="auto">
            <a:xfrm>
              <a:off x="2982" y="3409"/>
              <a:ext cx="521" cy="52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7" name="Freeform 485"/>
            <p:cNvSpPr>
              <a:spLocks noEditPoints="1"/>
            </p:cNvSpPr>
            <p:nvPr/>
          </p:nvSpPr>
          <p:spPr bwMode="auto">
            <a:xfrm>
              <a:off x="3001" y="3428"/>
              <a:ext cx="486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8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3" y="101"/>
                </a:cxn>
                <a:cxn ang="0">
                  <a:pos x="101" y="0"/>
                </a:cxn>
              </a:cxnLst>
              <a:rect l="0" t="0" r="r" b="b"/>
              <a:pathLst>
                <a:path w="203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8" y="51"/>
                    <a:pt x="198" y="75"/>
                    <a:pt x="198" y="101"/>
                  </a:cubicBezTo>
                  <a:cubicBezTo>
                    <a:pt x="198" y="127"/>
                    <a:pt x="188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2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2" y="15"/>
                    <a:pt x="76" y="5"/>
                    <a:pt x="101" y="5"/>
                  </a:cubicBezTo>
                  <a:moveTo>
                    <a:pt x="101" y="0"/>
                  </a:moveTo>
                  <a:cubicBezTo>
                    <a:pt x="46" y="0"/>
                    <a:pt x="0" y="45"/>
                    <a:pt x="0" y="101"/>
                  </a:cubicBezTo>
                  <a:cubicBezTo>
                    <a:pt x="0" y="157"/>
                    <a:pt x="46" y="202"/>
                    <a:pt x="101" y="202"/>
                  </a:cubicBezTo>
                  <a:cubicBezTo>
                    <a:pt x="157" y="202"/>
                    <a:pt x="203" y="157"/>
                    <a:pt x="203" y="101"/>
                  </a:cubicBezTo>
                  <a:cubicBezTo>
                    <a:pt x="203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8" name="Freeform 486"/>
            <p:cNvSpPr>
              <a:spLocks noEditPoints="1"/>
            </p:cNvSpPr>
            <p:nvPr/>
          </p:nvSpPr>
          <p:spPr bwMode="auto">
            <a:xfrm>
              <a:off x="3125" y="3519"/>
              <a:ext cx="237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9" y="50"/>
                </a:cxn>
                <a:cxn ang="0">
                  <a:pos x="51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4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9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7" y="0"/>
                    <a:pt x="99" y="22"/>
                    <a:pt x="99" y="50"/>
                  </a:cubicBezTo>
                  <a:cubicBezTo>
                    <a:pt x="99" y="74"/>
                    <a:pt x="59" y="117"/>
                    <a:pt x="51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4" y="24"/>
                    <a:pt x="4" y="50"/>
                  </a:cubicBezTo>
                  <a:cubicBezTo>
                    <a:pt x="4" y="71"/>
                    <a:pt x="41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5" y="3"/>
                    <a:pt x="4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59" name="Rectangle 487"/>
            <p:cNvSpPr>
              <a:spLocks noChangeArrowheads="1"/>
            </p:cNvSpPr>
            <p:nvPr/>
          </p:nvSpPr>
          <p:spPr bwMode="auto">
            <a:xfrm>
              <a:off x="3250" y="3596"/>
              <a:ext cx="1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0" name="Rectangle 488"/>
            <p:cNvSpPr>
              <a:spLocks noChangeArrowheads="1"/>
            </p:cNvSpPr>
            <p:nvPr/>
          </p:nvSpPr>
          <p:spPr bwMode="auto">
            <a:xfrm>
              <a:off x="3221" y="3596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1" name="Rectangle 489"/>
            <p:cNvSpPr>
              <a:spLocks noChangeArrowheads="1"/>
            </p:cNvSpPr>
            <p:nvPr/>
          </p:nvSpPr>
          <p:spPr bwMode="auto">
            <a:xfrm>
              <a:off x="3250" y="3622"/>
              <a:ext cx="1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2" name="Rectangle 490"/>
            <p:cNvSpPr>
              <a:spLocks noChangeArrowheads="1"/>
            </p:cNvSpPr>
            <p:nvPr/>
          </p:nvSpPr>
          <p:spPr bwMode="auto">
            <a:xfrm>
              <a:off x="3221" y="3622"/>
              <a:ext cx="1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3" name="Rectangle 491"/>
            <p:cNvSpPr>
              <a:spLocks noChangeArrowheads="1"/>
            </p:cNvSpPr>
            <p:nvPr/>
          </p:nvSpPr>
          <p:spPr bwMode="auto">
            <a:xfrm>
              <a:off x="3250" y="3651"/>
              <a:ext cx="1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4" name="Rectangle 492"/>
            <p:cNvSpPr>
              <a:spLocks noChangeArrowheads="1"/>
            </p:cNvSpPr>
            <p:nvPr/>
          </p:nvSpPr>
          <p:spPr bwMode="auto">
            <a:xfrm>
              <a:off x="3221" y="3651"/>
              <a:ext cx="1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5" name="Freeform 493"/>
            <p:cNvSpPr>
              <a:spLocks noEditPoints="1"/>
            </p:cNvSpPr>
            <p:nvPr/>
          </p:nvSpPr>
          <p:spPr bwMode="auto">
            <a:xfrm>
              <a:off x="3199" y="3572"/>
              <a:ext cx="89" cy="141"/>
            </a:xfrm>
            <a:custGeom>
              <a:avLst/>
              <a:gdLst/>
              <a:ahLst/>
              <a:cxnLst>
                <a:cxn ang="0">
                  <a:pos x="79" y="9"/>
                </a:cxn>
                <a:cxn ang="0">
                  <a:pos x="79" y="132"/>
                </a:cxn>
                <a:cxn ang="0">
                  <a:pos x="10" y="132"/>
                </a:cxn>
                <a:cxn ang="0">
                  <a:pos x="10" y="9"/>
                </a:cxn>
                <a:cxn ang="0">
                  <a:pos x="79" y="9"/>
                </a:cxn>
                <a:cxn ang="0">
                  <a:pos x="89" y="0"/>
                </a:cxn>
                <a:cxn ang="0">
                  <a:pos x="79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32"/>
                </a:cxn>
                <a:cxn ang="0">
                  <a:pos x="0" y="141"/>
                </a:cxn>
                <a:cxn ang="0">
                  <a:pos x="10" y="141"/>
                </a:cxn>
                <a:cxn ang="0">
                  <a:pos x="79" y="141"/>
                </a:cxn>
                <a:cxn ang="0">
                  <a:pos x="89" y="141"/>
                </a:cxn>
                <a:cxn ang="0">
                  <a:pos x="89" y="132"/>
                </a:cxn>
                <a:cxn ang="0">
                  <a:pos x="89" y="9"/>
                </a:cxn>
                <a:cxn ang="0">
                  <a:pos x="89" y="0"/>
                </a:cxn>
                <a:cxn ang="0">
                  <a:pos x="89" y="0"/>
                </a:cxn>
              </a:cxnLst>
              <a:rect l="0" t="0" r="r" b="b"/>
              <a:pathLst>
                <a:path w="89" h="141">
                  <a:moveTo>
                    <a:pt x="79" y="9"/>
                  </a:moveTo>
                  <a:lnTo>
                    <a:pt x="79" y="132"/>
                  </a:lnTo>
                  <a:lnTo>
                    <a:pt x="10" y="132"/>
                  </a:lnTo>
                  <a:lnTo>
                    <a:pt x="10" y="9"/>
                  </a:lnTo>
                  <a:lnTo>
                    <a:pt x="79" y="9"/>
                  </a:lnTo>
                  <a:close/>
                  <a:moveTo>
                    <a:pt x="89" y="0"/>
                  </a:moveTo>
                  <a:lnTo>
                    <a:pt x="7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2"/>
                  </a:lnTo>
                  <a:lnTo>
                    <a:pt x="0" y="141"/>
                  </a:lnTo>
                  <a:lnTo>
                    <a:pt x="10" y="141"/>
                  </a:lnTo>
                  <a:lnTo>
                    <a:pt x="79" y="141"/>
                  </a:lnTo>
                  <a:lnTo>
                    <a:pt x="89" y="141"/>
                  </a:lnTo>
                  <a:lnTo>
                    <a:pt x="89" y="132"/>
                  </a:lnTo>
                  <a:lnTo>
                    <a:pt x="89" y="9"/>
                  </a:lnTo>
                  <a:lnTo>
                    <a:pt x="89" y="0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66" name="Freeform 494"/>
            <p:cNvSpPr>
              <a:spLocks noEditPoints="1"/>
            </p:cNvSpPr>
            <p:nvPr/>
          </p:nvSpPr>
          <p:spPr bwMode="auto">
            <a:xfrm>
              <a:off x="3199" y="3572"/>
              <a:ext cx="89" cy="141"/>
            </a:xfrm>
            <a:custGeom>
              <a:avLst/>
              <a:gdLst/>
              <a:ahLst/>
              <a:cxnLst>
                <a:cxn ang="0">
                  <a:pos x="79" y="9"/>
                </a:cxn>
                <a:cxn ang="0">
                  <a:pos x="79" y="132"/>
                </a:cxn>
                <a:cxn ang="0">
                  <a:pos x="10" y="132"/>
                </a:cxn>
                <a:cxn ang="0">
                  <a:pos x="10" y="9"/>
                </a:cxn>
                <a:cxn ang="0">
                  <a:pos x="79" y="9"/>
                </a:cxn>
                <a:cxn ang="0">
                  <a:pos x="89" y="0"/>
                </a:cxn>
                <a:cxn ang="0">
                  <a:pos x="79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32"/>
                </a:cxn>
                <a:cxn ang="0">
                  <a:pos x="0" y="141"/>
                </a:cxn>
                <a:cxn ang="0">
                  <a:pos x="10" y="141"/>
                </a:cxn>
                <a:cxn ang="0">
                  <a:pos x="79" y="141"/>
                </a:cxn>
                <a:cxn ang="0">
                  <a:pos x="89" y="141"/>
                </a:cxn>
                <a:cxn ang="0">
                  <a:pos x="89" y="132"/>
                </a:cxn>
                <a:cxn ang="0">
                  <a:pos x="89" y="9"/>
                </a:cxn>
                <a:cxn ang="0">
                  <a:pos x="89" y="0"/>
                </a:cxn>
                <a:cxn ang="0">
                  <a:pos x="89" y="0"/>
                </a:cxn>
              </a:cxnLst>
              <a:rect l="0" t="0" r="r" b="b"/>
              <a:pathLst>
                <a:path w="89" h="141">
                  <a:moveTo>
                    <a:pt x="79" y="9"/>
                  </a:moveTo>
                  <a:lnTo>
                    <a:pt x="79" y="132"/>
                  </a:lnTo>
                  <a:lnTo>
                    <a:pt x="10" y="132"/>
                  </a:lnTo>
                  <a:lnTo>
                    <a:pt x="10" y="9"/>
                  </a:lnTo>
                  <a:lnTo>
                    <a:pt x="79" y="9"/>
                  </a:lnTo>
                  <a:moveTo>
                    <a:pt x="89" y="0"/>
                  </a:moveTo>
                  <a:lnTo>
                    <a:pt x="7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2"/>
                  </a:lnTo>
                  <a:lnTo>
                    <a:pt x="0" y="141"/>
                  </a:lnTo>
                  <a:lnTo>
                    <a:pt x="10" y="141"/>
                  </a:lnTo>
                  <a:lnTo>
                    <a:pt x="79" y="141"/>
                  </a:lnTo>
                  <a:lnTo>
                    <a:pt x="89" y="141"/>
                  </a:lnTo>
                  <a:lnTo>
                    <a:pt x="89" y="132"/>
                  </a:lnTo>
                  <a:lnTo>
                    <a:pt x="89" y="9"/>
                  </a:lnTo>
                  <a:lnTo>
                    <a:pt x="89" y="0"/>
                  </a:lnTo>
                  <a:lnTo>
                    <a:pt x="89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769" name="Group 497"/>
          <p:cNvGrpSpPr>
            <a:grpSpLocks noChangeAspect="1"/>
          </p:cNvGrpSpPr>
          <p:nvPr/>
        </p:nvGrpSpPr>
        <p:grpSpPr bwMode="auto">
          <a:xfrm>
            <a:off x="5855499" y="5441946"/>
            <a:ext cx="768350" cy="768350"/>
            <a:chOff x="3685" y="3428"/>
            <a:chExt cx="484" cy="484"/>
          </a:xfrm>
        </p:grpSpPr>
        <p:sp>
          <p:nvSpPr>
            <p:cNvPr id="54770" name="Freeform 498"/>
            <p:cNvSpPr>
              <a:spLocks noEditPoints="1"/>
            </p:cNvSpPr>
            <p:nvPr/>
          </p:nvSpPr>
          <p:spPr bwMode="auto">
            <a:xfrm>
              <a:off x="3685" y="3428"/>
              <a:ext cx="484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1" name="Freeform 499"/>
            <p:cNvSpPr>
              <a:spLocks noEditPoints="1"/>
            </p:cNvSpPr>
            <p:nvPr/>
          </p:nvSpPr>
          <p:spPr bwMode="auto">
            <a:xfrm>
              <a:off x="3810" y="3519"/>
              <a:ext cx="235" cy="305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2" name="Rectangle 500"/>
            <p:cNvSpPr>
              <a:spLocks noChangeArrowheads="1"/>
            </p:cNvSpPr>
            <p:nvPr/>
          </p:nvSpPr>
          <p:spPr bwMode="auto">
            <a:xfrm>
              <a:off x="3935" y="3596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3" name="Rectangle 501"/>
            <p:cNvSpPr>
              <a:spLocks noChangeArrowheads="1"/>
            </p:cNvSpPr>
            <p:nvPr/>
          </p:nvSpPr>
          <p:spPr bwMode="auto">
            <a:xfrm>
              <a:off x="3906" y="3596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4" name="Rectangle 502"/>
            <p:cNvSpPr>
              <a:spLocks noChangeArrowheads="1"/>
            </p:cNvSpPr>
            <p:nvPr/>
          </p:nvSpPr>
          <p:spPr bwMode="auto">
            <a:xfrm>
              <a:off x="3935" y="3622"/>
              <a:ext cx="14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5" name="Rectangle 503"/>
            <p:cNvSpPr>
              <a:spLocks noChangeArrowheads="1"/>
            </p:cNvSpPr>
            <p:nvPr/>
          </p:nvSpPr>
          <p:spPr bwMode="auto">
            <a:xfrm>
              <a:off x="3906" y="3622"/>
              <a:ext cx="14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6" name="Rectangle 504"/>
            <p:cNvSpPr>
              <a:spLocks noChangeArrowheads="1"/>
            </p:cNvSpPr>
            <p:nvPr/>
          </p:nvSpPr>
          <p:spPr bwMode="auto">
            <a:xfrm>
              <a:off x="3935" y="3651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7" name="Rectangle 505"/>
            <p:cNvSpPr>
              <a:spLocks noChangeArrowheads="1"/>
            </p:cNvSpPr>
            <p:nvPr/>
          </p:nvSpPr>
          <p:spPr bwMode="auto">
            <a:xfrm>
              <a:off x="3906" y="3651"/>
              <a:ext cx="14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8" name="Freeform 506"/>
            <p:cNvSpPr>
              <a:spLocks noEditPoints="1"/>
            </p:cNvSpPr>
            <p:nvPr/>
          </p:nvSpPr>
          <p:spPr bwMode="auto">
            <a:xfrm>
              <a:off x="3884" y="3572"/>
              <a:ext cx="87" cy="142"/>
            </a:xfrm>
            <a:custGeom>
              <a:avLst/>
              <a:gdLst/>
              <a:ahLst/>
              <a:cxnLst>
                <a:cxn ang="0">
                  <a:pos x="79" y="10"/>
                </a:cxn>
                <a:cxn ang="0">
                  <a:pos x="79" y="132"/>
                </a:cxn>
                <a:cxn ang="0">
                  <a:pos x="7" y="132"/>
                </a:cxn>
                <a:cxn ang="0">
                  <a:pos x="7" y="10"/>
                </a:cxn>
                <a:cxn ang="0">
                  <a:pos x="79" y="10"/>
                </a:cxn>
                <a:cxn ang="0">
                  <a:pos x="87" y="0"/>
                </a:cxn>
                <a:cxn ang="0">
                  <a:pos x="79" y="0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32"/>
                </a:cxn>
                <a:cxn ang="0">
                  <a:pos x="0" y="142"/>
                </a:cxn>
                <a:cxn ang="0">
                  <a:pos x="7" y="142"/>
                </a:cxn>
                <a:cxn ang="0">
                  <a:pos x="79" y="142"/>
                </a:cxn>
                <a:cxn ang="0">
                  <a:pos x="87" y="142"/>
                </a:cxn>
                <a:cxn ang="0">
                  <a:pos x="87" y="132"/>
                </a:cxn>
                <a:cxn ang="0">
                  <a:pos x="87" y="10"/>
                </a:cxn>
                <a:cxn ang="0">
                  <a:pos x="87" y="0"/>
                </a:cxn>
                <a:cxn ang="0">
                  <a:pos x="87" y="0"/>
                </a:cxn>
              </a:cxnLst>
              <a:rect l="0" t="0" r="r" b="b"/>
              <a:pathLst>
                <a:path w="87" h="142">
                  <a:moveTo>
                    <a:pt x="79" y="10"/>
                  </a:moveTo>
                  <a:lnTo>
                    <a:pt x="79" y="132"/>
                  </a:lnTo>
                  <a:lnTo>
                    <a:pt x="7" y="132"/>
                  </a:lnTo>
                  <a:lnTo>
                    <a:pt x="7" y="10"/>
                  </a:lnTo>
                  <a:lnTo>
                    <a:pt x="79" y="10"/>
                  </a:lnTo>
                  <a:close/>
                  <a:moveTo>
                    <a:pt x="87" y="0"/>
                  </a:moveTo>
                  <a:lnTo>
                    <a:pt x="79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2"/>
                  </a:lnTo>
                  <a:lnTo>
                    <a:pt x="0" y="142"/>
                  </a:lnTo>
                  <a:lnTo>
                    <a:pt x="7" y="142"/>
                  </a:lnTo>
                  <a:lnTo>
                    <a:pt x="79" y="142"/>
                  </a:lnTo>
                  <a:lnTo>
                    <a:pt x="87" y="142"/>
                  </a:lnTo>
                  <a:lnTo>
                    <a:pt x="87" y="132"/>
                  </a:lnTo>
                  <a:lnTo>
                    <a:pt x="87" y="10"/>
                  </a:lnTo>
                  <a:lnTo>
                    <a:pt x="8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79" name="Freeform 507"/>
            <p:cNvSpPr>
              <a:spLocks noEditPoints="1"/>
            </p:cNvSpPr>
            <p:nvPr/>
          </p:nvSpPr>
          <p:spPr bwMode="auto">
            <a:xfrm>
              <a:off x="3884" y="3572"/>
              <a:ext cx="87" cy="142"/>
            </a:xfrm>
            <a:custGeom>
              <a:avLst/>
              <a:gdLst/>
              <a:ahLst/>
              <a:cxnLst>
                <a:cxn ang="0">
                  <a:pos x="79" y="10"/>
                </a:cxn>
                <a:cxn ang="0">
                  <a:pos x="79" y="132"/>
                </a:cxn>
                <a:cxn ang="0">
                  <a:pos x="7" y="132"/>
                </a:cxn>
                <a:cxn ang="0">
                  <a:pos x="7" y="10"/>
                </a:cxn>
                <a:cxn ang="0">
                  <a:pos x="79" y="10"/>
                </a:cxn>
                <a:cxn ang="0">
                  <a:pos x="87" y="0"/>
                </a:cxn>
                <a:cxn ang="0">
                  <a:pos x="79" y="0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32"/>
                </a:cxn>
                <a:cxn ang="0">
                  <a:pos x="0" y="142"/>
                </a:cxn>
                <a:cxn ang="0">
                  <a:pos x="7" y="142"/>
                </a:cxn>
                <a:cxn ang="0">
                  <a:pos x="79" y="142"/>
                </a:cxn>
                <a:cxn ang="0">
                  <a:pos x="87" y="142"/>
                </a:cxn>
                <a:cxn ang="0">
                  <a:pos x="87" y="132"/>
                </a:cxn>
                <a:cxn ang="0">
                  <a:pos x="87" y="10"/>
                </a:cxn>
                <a:cxn ang="0">
                  <a:pos x="87" y="0"/>
                </a:cxn>
                <a:cxn ang="0">
                  <a:pos x="87" y="0"/>
                </a:cxn>
              </a:cxnLst>
              <a:rect l="0" t="0" r="r" b="b"/>
              <a:pathLst>
                <a:path w="87" h="142">
                  <a:moveTo>
                    <a:pt x="79" y="10"/>
                  </a:moveTo>
                  <a:lnTo>
                    <a:pt x="79" y="132"/>
                  </a:lnTo>
                  <a:lnTo>
                    <a:pt x="7" y="132"/>
                  </a:lnTo>
                  <a:lnTo>
                    <a:pt x="7" y="10"/>
                  </a:lnTo>
                  <a:lnTo>
                    <a:pt x="79" y="10"/>
                  </a:lnTo>
                  <a:moveTo>
                    <a:pt x="87" y="0"/>
                  </a:moveTo>
                  <a:lnTo>
                    <a:pt x="79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2"/>
                  </a:lnTo>
                  <a:lnTo>
                    <a:pt x="0" y="142"/>
                  </a:lnTo>
                  <a:lnTo>
                    <a:pt x="7" y="142"/>
                  </a:lnTo>
                  <a:lnTo>
                    <a:pt x="79" y="142"/>
                  </a:lnTo>
                  <a:lnTo>
                    <a:pt x="87" y="142"/>
                  </a:lnTo>
                  <a:lnTo>
                    <a:pt x="87" y="132"/>
                  </a:lnTo>
                  <a:lnTo>
                    <a:pt x="87" y="10"/>
                  </a:lnTo>
                  <a:lnTo>
                    <a:pt x="87" y="0"/>
                  </a:lnTo>
                  <a:lnTo>
                    <a:pt x="87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782" name="Group 510"/>
          <p:cNvGrpSpPr>
            <a:grpSpLocks noChangeAspect="1"/>
          </p:cNvGrpSpPr>
          <p:nvPr/>
        </p:nvGrpSpPr>
        <p:grpSpPr bwMode="auto">
          <a:xfrm>
            <a:off x="6922294" y="5407025"/>
            <a:ext cx="836612" cy="838200"/>
            <a:chOff x="4357" y="3406"/>
            <a:chExt cx="527" cy="528"/>
          </a:xfrm>
        </p:grpSpPr>
        <p:sp>
          <p:nvSpPr>
            <p:cNvPr id="54783" name="Oval 511"/>
            <p:cNvSpPr>
              <a:spLocks noChangeArrowheads="1"/>
            </p:cNvSpPr>
            <p:nvPr/>
          </p:nvSpPr>
          <p:spPr bwMode="auto">
            <a:xfrm>
              <a:off x="4357" y="3406"/>
              <a:ext cx="527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84" name="Freeform 512"/>
            <p:cNvSpPr>
              <a:spLocks noEditPoints="1"/>
            </p:cNvSpPr>
            <p:nvPr/>
          </p:nvSpPr>
          <p:spPr bwMode="auto">
            <a:xfrm>
              <a:off x="4379" y="3428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85" name="Freeform 513"/>
            <p:cNvSpPr>
              <a:spLocks noEditPoints="1"/>
            </p:cNvSpPr>
            <p:nvPr/>
          </p:nvSpPr>
          <p:spPr bwMode="auto">
            <a:xfrm>
              <a:off x="4460" y="3574"/>
              <a:ext cx="321" cy="221"/>
            </a:xfrm>
            <a:custGeom>
              <a:avLst/>
              <a:gdLst/>
              <a:ahLst/>
              <a:cxnLst>
                <a:cxn ang="0">
                  <a:pos x="0" y="194"/>
                </a:cxn>
                <a:cxn ang="0">
                  <a:pos x="139" y="194"/>
                </a:cxn>
                <a:cxn ang="0">
                  <a:pos x="139" y="213"/>
                </a:cxn>
                <a:cxn ang="0">
                  <a:pos x="122" y="213"/>
                </a:cxn>
                <a:cxn ang="0">
                  <a:pos x="122" y="221"/>
                </a:cxn>
                <a:cxn ang="0">
                  <a:pos x="199" y="221"/>
                </a:cxn>
                <a:cxn ang="0">
                  <a:pos x="199" y="213"/>
                </a:cxn>
                <a:cxn ang="0">
                  <a:pos x="182" y="213"/>
                </a:cxn>
                <a:cxn ang="0">
                  <a:pos x="182" y="194"/>
                </a:cxn>
                <a:cxn ang="0">
                  <a:pos x="321" y="194"/>
                </a:cxn>
                <a:cxn ang="0">
                  <a:pos x="321" y="0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172" y="194"/>
                </a:cxn>
                <a:cxn ang="0">
                  <a:pos x="172" y="213"/>
                </a:cxn>
                <a:cxn ang="0">
                  <a:pos x="149" y="213"/>
                </a:cxn>
                <a:cxn ang="0">
                  <a:pos x="149" y="194"/>
                </a:cxn>
                <a:cxn ang="0">
                  <a:pos x="172" y="194"/>
                </a:cxn>
                <a:cxn ang="0">
                  <a:pos x="10" y="7"/>
                </a:cxn>
                <a:cxn ang="0">
                  <a:pos x="314" y="7"/>
                </a:cxn>
                <a:cxn ang="0">
                  <a:pos x="314" y="185"/>
                </a:cxn>
                <a:cxn ang="0">
                  <a:pos x="10" y="185"/>
                </a:cxn>
                <a:cxn ang="0">
                  <a:pos x="10" y="7"/>
                </a:cxn>
              </a:cxnLst>
              <a:rect l="0" t="0" r="r" b="b"/>
              <a:pathLst>
                <a:path w="321" h="221">
                  <a:moveTo>
                    <a:pt x="0" y="194"/>
                  </a:moveTo>
                  <a:lnTo>
                    <a:pt x="139" y="194"/>
                  </a:lnTo>
                  <a:lnTo>
                    <a:pt x="139" y="213"/>
                  </a:lnTo>
                  <a:lnTo>
                    <a:pt x="122" y="213"/>
                  </a:lnTo>
                  <a:lnTo>
                    <a:pt x="122" y="221"/>
                  </a:lnTo>
                  <a:lnTo>
                    <a:pt x="199" y="221"/>
                  </a:lnTo>
                  <a:lnTo>
                    <a:pt x="199" y="213"/>
                  </a:lnTo>
                  <a:lnTo>
                    <a:pt x="182" y="213"/>
                  </a:lnTo>
                  <a:lnTo>
                    <a:pt x="182" y="194"/>
                  </a:lnTo>
                  <a:lnTo>
                    <a:pt x="321" y="194"/>
                  </a:lnTo>
                  <a:lnTo>
                    <a:pt x="321" y="0"/>
                  </a:lnTo>
                  <a:lnTo>
                    <a:pt x="0" y="0"/>
                  </a:lnTo>
                  <a:lnTo>
                    <a:pt x="0" y="194"/>
                  </a:lnTo>
                  <a:close/>
                  <a:moveTo>
                    <a:pt x="172" y="194"/>
                  </a:moveTo>
                  <a:lnTo>
                    <a:pt x="172" y="213"/>
                  </a:lnTo>
                  <a:lnTo>
                    <a:pt x="149" y="213"/>
                  </a:lnTo>
                  <a:lnTo>
                    <a:pt x="149" y="194"/>
                  </a:lnTo>
                  <a:lnTo>
                    <a:pt x="172" y="194"/>
                  </a:lnTo>
                  <a:close/>
                  <a:moveTo>
                    <a:pt x="10" y="7"/>
                  </a:moveTo>
                  <a:lnTo>
                    <a:pt x="314" y="7"/>
                  </a:lnTo>
                  <a:lnTo>
                    <a:pt x="314" y="185"/>
                  </a:lnTo>
                  <a:lnTo>
                    <a:pt x="10" y="185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786" name="Freeform 514"/>
            <p:cNvSpPr>
              <a:spLocks noEditPoints="1"/>
            </p:cNvSpPr>
            <p:nvPr/>
          </p:nvSpPr>
          <p:spPr bwMode="auto">
            <a:xfrm>
              <a:off x="4553" y="3603"/>
              <a:ext cx="194" cy="139"/>
            </a:xfrm>
            <a:custGeom>
              <a:avLst/>
              <a:gdLst/>
              <a:ahLst/>
              <a:cxnLst>
                <a:cxn ang="0">
                  <a:pos x="51" y="31"/>
                </a:cxn>
                <a:cxn ang="0">
                  <a:pos x="50" y="31"/>
                </a:cxn>
                <a:cxn ang="0">
                  <a:pos x="49" y="18"/>
                </a:cxn>
                <a:cxn ang="0">
                  <a:pos x="37" y="3"/>
                </a:cxn>
                <a:cxn ang="0">
                  <a:pos x="25" y="0"/>
                </a:cxn>
                <a:cxn ang="0">
                  <a:pos x="25" y="4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" y="14"/>
                </a:cxn>
                <a:cxn ang="0">
                  <a:pos x="1" y="33"/>
                </a:cxn>
                <a:cxn ang="0">
                  <a:pos x="14" y="47"/>
                </a:cxn>
                <a:cxn ang="0">
                  <a:pos x="25" y="50"/>
                </a:cxn>
                <a:cxn ang="0">
                  <a:pos x="45" y="41"/>
                </a:cxn>
                <a:cxn ang="0">
                  <a:pos x="45" y="41"/>
                </a:cxn>
                <a:cxn ang="0">
                  <a:pos x="72" y="56"/>
                </a:cxn>
                <a:cxn ang="0">
                  <a:pos x="75" y="58"/>
                </a:cxn>
                <a:cxn ang="0">
                  <a:pos x="77" y="54"/>
                </a:cxn>
                <a:cxn ang="0">
                  <a:pos x="79" y="51"/>
                </a:cxn>
                <a:cxn ang="0">
                  <a:pos x="81" y="47"/>
                </a:cxn>
                <a:cxn ang="0">
                  <a:pos x="78" y="46"/>
                </a:cxn>
                <a:cxn ang="0">
                  <a:pos x="51" y="31"/>
                </a:cxn>
                <a:cxn ang="0">
                  <a:pos x="25" y="47"/>
                </a:cxn>
                <a:cxn ang="0">
                  <a:pos x="15" y="44"/>
                </a:cxn>
                <a:cxn ang="0">
                  <a:pos x="7" y="15"/>
                </a:cxn>
                <a:cxn ang="0">
                  <a:pos x="25" y="4"/>
                </a:cxn>
                <a:cxn ang="0">
                  <a:pos x="35" y="7"/>
                </a:cxn>
                <a:cxn ang="0">
                  <a:pos x="44" y="35"/>
                </a:cxn>
                <a:cxn ang="0">
                  <a:pos x="25" y="47"/>
                </a:cxn>
                <a:cxn ang="0">
                  <a:pos x="74" y="53"/>
                </a:cxn>
                <a:cxn ang="0">
                  <a:pos x="47" y="38"/>
                </a:cxn>
                <a:cxn ang="0">
                  <a:pos x="49" y="34"/>
                </a:cxn>
                <a:cxn ang="0">
                  <a:pos x="76" y="49"/>
                </a:cxn>
                <a:cxn ang="0">
                  <a:pos x="74" y="53"/>
                </a:cxn>
              </a:cxnLst>
              <a:rect l="0" t="0" r="r" b="b"/>
              <a:pathLst>
                <a:path w="81" h="58">
                  <a:moveTo>
                    <a:pt x="51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1" y="27"/>
                    <a:pt x="50" y="22"/>
                    <a:pt x="49" y="18"/>
                  </a:cubicBezTo>
                  <a:cubicBezTo>
                    <a:pt x="47" y="12"/>
                    <a:pt x="43" y="7"/>
                    <a:pt x="37" y="3"/>
                  </a:cubicBezTo>
                  <a:cubicBezTo>
                    <a:pt x="33" y="2"/>
                    <a:pt x="29" y="0"/>
                    <a:pt x="25" y="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6" y="0"/>
                    <a:pt x="8" y="6"/>
                    <a:pt x="3" y="14"/>
                  </a:cubicBezTo>
                  <a:cubicBezTo>
                    <a:pt x="0" y="19"/>
                    <a:pt x="0" y="26"/>
                    <a:pt x="1" y="33"/>
                  </a:cubicBezTo>
                  <a:cubicBezTo>
                    <a:pt x="3" y="39"/>
                    <a:pt x="8" y="44"/>
                    <a:pt x="14" y="47"/>
                  </a:cubicBezTo>
                  <a:cubicBezTo>
                    <a:pt x="17" y="49"/>
                    <a:pt x="21" y="50"/>
                    <a:pt x="25" y="50"/>
                  </a:cubicBezTo>
                  <a:cubicBezTo>
                    <a:pt x="33" y="50"/>
                    <a:pt x="40" y="47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78" y="46"/>
                    <a:pt x="78" y="46"/>
                    <a:pt x="78" y="46"/>
                  </a:cubicBezTo>
                  <a:lnTo>
                    <a:pt x="51" y="31"/>
                  </a:lnTo>
                  <a:close/>
                  <a:moveTo>
                    <a:pt x="25" y="47"/>
                  </a:moveTo>
                  <a:cubicBezTo>
                    <a:pt x="22" y="47"/>
                    <a:pt x="18" y="46"/>
                    <a:pt x="15" y="44"/>
                  </a:cubicBezTo>
                  <a:cubicBezTo>
                    <a:pt x="5" y="39"/>
                    <a:pt x="1" y="26"/>
                    <a:pt x="7" y="15"/>
                  </a:cubicBezTo>
                  <a:cubicBezTo>
                    <a:pt x="10" y="8"/>
                    <a:pt x="18" y="4"/>
                    <a:pt x="25" y="4"/>
                  </a:cubicBezTo>
                  <a:cubicBezTo>
                    <a:pt x="29" y="4"/>
                    <a:pt x="32" y="5"/>
                    <a:pt x="35" y="7"/>
                  </a:cubicBezTo>
                  <a:cubicBezTo>
                    <a:pt x="46" y="12"/>
                    <a:pt x="50" y="25"/>
                    <a:pt x="44" y="35"/>
                  </a:cubicBezTo>
                  <a:cubicBezTo>
                    <a:pt x="40" y="43"/>
                    <a:pt x="33" y="47"/>
                    <a:pt x="25" y="47"/>
                  </a:cubicBezTo>
                  <a:close/>
                  <a:moveTo>
                    <a:pt x="74" y="53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76" y="49"/>
                    <a:pt x="76" y="49"/>
                    <a:pt x="76" y="49"/>
                  </a:cubicBezTo>
                  <a:lnTo>
                    <a:pt x="74" y="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789" name="Group 517"/>
          <p:cNvGrpSpPr>
            <a:grpSpLocks noChangeAspect="1"/>
          </p:cNvGrpSpPr>
          <p:nvPr/>
        </p:nvGrpSpPr>
        <p:grpSpPr bwMode="auto">
          <a:xfrm>
            <a:off x="8055775" y="5441946"/>
            <a:ext cx="768350" cy="768350"/>
            <a:chOff x="5071" y="3428"/>
            <a:chExt cx="484" cy="484"/>
          </a:xfrm>
        </p:grpSpPr>
        <p:sp>
          <p:nvSpPr>
            <p:cNvPr id="54790" name="Freeform 518"/>
            <p:cNvSpPr>
              <a:spLocks noEditPoints="1"/>
            </p:cNvSpPr>
            <p:nvPr/>
          </p:nvSpPr>
          <p:spPr bwMode="auto">
            <a:xfrm>
              <a:off x="5071" y="3428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91" name="Freeform 519"/>
            <p:cNvSpPr>
              <a:spLocks noEditPoints="1"/>
            </p:cNvSpPr>
            <p:nvPr/>
          </p:nvSpPr>
          <p:spPr bwMode="auto">
            <a:xfrm>
              <a:off x="5153" y="3575"/>
              <a:ext cx="321" cy="220"/>
            </a:xfrm>
            <a:custGeom>
              <a:avLst/>
              <a:gdLst/>
              <a:ahLst/>
              <a:cxnLst>
                <a:cxn ang="0">
                  <a:pos x="0" y="194"/>
                </a:cxn>
                <a:cxn ang="0">
                  <a:pos x="139" y="194"/>
                </a:cxn>
                <a:cxn ang="0">
                  <a:pos x="139" y="213"/>
                </a:cxn>
                <a:cxn ang="0">
                  <a:pos x="122" y="213"/>
                </a:cxn>
                <a:cxn ang="0">
                  <a:pos x="122" y="220"/>
                </a:cxn>
                <a:cxn ang="0">
                  <a:pos x="199" y="220"/>
                </a:cxn>
                <a:cxn ang="0">
                  <a:pos x="199" y="213"/>
                </a:cxn>
                <a:cxn ang="0">
                  <a:pos x="182" y="213"/>
                </a:cxn>
                <a:cxn ang="0">
                  <a:pos x="182" y="194"/>
                </a:cxn>
                <a:cxn ang="0">
                  <a:pos x="321" y="194"/>
                </a:cxn>
                <a:cxn ang="0">
                  <a:pos x="321" y="0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172" y="194"/>
                </a:cxn>
                <a:cxn ang="0">
                  <a:pos x="172" y="213"/>
                </a:cxn>
                <a:cxn ang="0">
                  <a:pos x="148" y="213"/>
                </a:cxn>
                <a:cxn ang="0">
                  <a:pos x="148" y="194"/>
                </a:cxn>
                <a:cxn ang="0">
                  <a:pos x="172" y="194"/>
                </a:cxn>
                <a:cxn ang="0">
                  <a:pos x="9" y="7"/>
                </a:cxn>
                <a:cxn ang="0">
                  <a:pos x="314" y="7"/>
                </a:cxn>
                <a:cxn ang="0">
                  <a:pos x="314" y="184"/>
                </a:cxn>
                <a:cxn ang="0">
                  <a:pos x="9" y="184"/>
                </a:cxn>
                <a:cxn ang="0">
                  <a:pos x="9" y="7"/>
                </a:cxn>
              </a:cxnLst>
              <a:rect l="0" t="0" r="r" b="b"/>
              <a:pathLst>
                <a:path w="321" h="220">
                  <a:moveTo>
                    <a:pt x="0" y="194"/>
                  </a:moveTo>
                  <a:lnTo>
                    <a:pt x="139" y="194"/>
                  </a:lnTo>
                  <a:lnTo>
                    <a:pt x="139" y="213"/>
                  </a:lnTo>
                  <a:lnTo>
                    <a:pt x="122" y="213"/>
                  </a:lnTo>
                  <a:lnTo>
                    <a:pt x="122" y="220"/>
                  </a:lnTo>
                  <a:lnTo>
                    <a:pt x="199" y="220"/>
                  </a:lnTo>
                  <a:lnTo>
                    <a:pt x="199" y="213"/>
                  </a:lnTo>
                  <a:lnTo>
                    <a:pt x="182" y="213"/>
                  </a:lnTo>
                  <a:lnTo>
                    <a:pt x="182" y="194"/>
                  </a:lnTo>
                  <a:lnTo>
                    <a:pt x="321" y="194"/>
                  </a:lnTo>
                  <a:lnTo>
                    <a:pt x="321" y="0"/>
                  </a:lnTo>
                  <a:lnTo>
                    <a:pt x="0" y="0"/>
                  </a:lnTo>
                  <a:lnTo>
                    <a:pt x="0" y="194"/>
                  </a:lnTo>
                  <a:close/>
                  <a:moveTo>
                    <a:pt x="172" y="194"/>
                  </a:moveTo>
                  <a:lnTo>
                    <a:pt x="172" y="213"/>
                  </a:lnTo>
                  <a:lnTo>
                    <a:pt x="148" y="213"/>
                  </a:lnTo>
                  <a:lnTo>
                    <a:pt x="148" y="194"/>
                  </a:lnTo>
                  <a:lnTo>
                    <a:pt x="172" y="194"/>
                  </a:lnTo>
                  <a:close/>
                  <a:moveTo>
                    <a:pt x="9" y="7"/>
                  </a:moveTo>
                  <a:lnTo>
                    <a:pt x="314" y="7"/>
                  </a:lnTo>
                  <a:lnTo>
                    <a:pt x="314" y="184"/>
                  </a:lnTo>
                  <a:lnTo>
                    <a:pt x="9" y="184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92" name="Freeform 520"/>
            <p:cNvSpPr>
              <a:spLocks noEditPoints="1"/>
            </p:cNvSpPr>
            <p:nvPr/>
          </p:nvSpPr>
          <p:spPr bwMode="auto">
            <a:xfrm>
              <a:off x="5246" y="3603"/>
              <a:ext cx="194" cy="139"/>
            </a:xfrm>
            <a:custGeom>
              <a:avLst/>
              <a:gdLst/>
              <a:ahLst/>
              <a:cxnLst>
                <a:cxn ang="0">
                  <a:pos x="51" y="31"/>
                </a:cxn>
                <a:cxn ang="0">
                  <a:pos x="50" y="31"/>
                </a:cxn>
                <a:cxn ang="0">
                  <a:pos x="49" y="18"/>
                </a:cxn>
                <a:cxn ang="0">
                  <a:pos x="37" y="3"/>
                </a:cxn>
                <a:cxn ang="0">
                  <a:pos x="25" y="0"/>
                </a:cxn>
                <a:cxn ang="0">
                  <a:pos x="25" y="4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3" y="14"/>
                </a:cxn>
                <a:cxn ang="0">
                  <a:pos x="1" y="33"/>
                </a:cxn>
                <a:cxn ang="0">
                  <a:pos x="14" y="47"/>
                </a:cxn>
                <a:cxn ang="0">
                  <a:pos x="25" y="50"/>
                </a:cxn>
                <a:cxn ang="0">
                  <a:pos x="45" y="41"/>
                </a:cxn>
                <a:cxn ang="0">
                  <a:pos x="45" y="41"/>
                </a:cxn>
                <a:cxn ang="0">
                  <a:pos x="72" y="56"/>
                </a:cxn>
                <a:cxn ang="0">
                  <a:pos x="75" y="58"/>
                </a:cxn>
                <a:cxn ang="0">
                  <a:pos x="77" y="54"/>
                </a:cxn>
                <a:cxn ang="0">
                  <a:pos x="79" y="51"/>
                </a:cxn>
                <a:cxn ang="0">
                  <a:pos x="81" y="47"/>
                </a:cxn>
                <a:cxn ang="0">
                  <a:pos x="78" y="46"/>
                </a:cxn>
                <a:cxn ang="0">
                  <a:pos x="51" y="31"/>
                </a:cxn>
                <a:cxn ang="0">
                  <a:pos x="25" y="47"/>
                </a:cxn>
                <a:cxn ang="0">
                  <a:pos x="15" y="44"/>
                </a:cxn>
                <a:cxn ang="0">
                  <a:pos x="7" y="15"/>
                </a:cxn>
                <a:cxn ang="0">
                  <a:pos x="25" y="4"/>
                </a:cxn>
                <a:cxn ang="0">
                  <a:pos x="35" y="7"/>
                </a:cxn>
                <a:cxn ang="0">
                  <a:pos x="44" y="35"/>
                </a:cxn>
                <a:cxn ang="0">
                  <a:pos x="25" y="47"/>
                </a:cxn>
                <a:cxn ang="0">
                  <a:pos x="74" y="53"/>
                </a:cxn>
                <a:cxn ang="0">
                  <a:pos x="47" y="38"/>
                </a:cxn>
                <a:cxn ang="0">
                  <a:pos x="49" y="34"/>
                </a:cxn>
                <a:cxn ang="0">
                  <a:pos x="76" y="49"/>
                </a:cxn>
                <a:cxn ang="0">
                  <a:pos x="74" y="53"/>
                </a:cxn>
              </a:cxnLst>
              <a:rect l="0" t="0" r="r" b="b"/>
              <a:pathLst>
                <a:path w="81" h="58">
                  <a:moveTo>
                    <a:pt x="51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1" y="27"/>
                    <a:pt x="50" y="22"/>
                    <a:pt x="49" y="18"/>
                  </a:cubicBezTo>
                  <a:cubicBezTo>
                    <a:pt x="47" y="12"/>
                    <a:pt x="43" y="7"/>
                    <a:pt x="37" y="3"/>
                  </a:cubicBezTo>
                  <a:cubicBezTo>
                    <a:pt x="33" y="2"/>
                    <a:pt x="29" y="0"/>
                    <a:pt x="25" y="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6" y="0"/>
                    <a:pt x="8" y="6"/>
                    <a:pt x="3" y="14"/>
                  </a:cubicBezTo>
                  <a:cubicBezTo>
                    <a:pt x="0" y="19"/>
                    <a:pt x="0" y="26"/>
                    <a:pt x="1" y="33"/>
                  </a:cubicBezTo>
                  <a:cubicBezTo>
                    <a:pt x="3" y="39"/>
                    <a:pt x="8" y="44"/>
                    <a:pt x="14" y="47"/>
                  </a:cubicBezTo>
                  <a:cubicBezTo>
                    <a:pt x="17" y="49"/>
                    <a:pt x="21" y="50"/>
                    <a:pt x="25" y="50"/>
                  </a:cubicBezTo>
                  <a:cubicBezTo>
                    <a:pt x="33" y="50"/>
                    <a:pt x="40" y="47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78" y="46"/>
                    <a:pt x="78" y="46"/>
                    <a:pt x="78" y="46"/>
                  </a:cubicBezTo>
                  <a:lnTo>
                    <a:pt x="51" y="31"/>
                  </a:lnTo>
                  <a:close/>
                  <a:moveTo>
                    <a:pt x="25" y="47"/>
                  </a:moveTo>
                  <a:cubicBezTo>
                    <a:pt x="22" y="47"/>
                    <a:pt x="18" y="46"/>
                    <a:pt x="15" y="44"/>
                  </a:cubicBezTo>
                  <a:cubicBezTo>
                    <a:pt x="5" y="39"/>
                    <a:pt x="1" y="26"/>
                    <a:pt x="7" y="15"/>
                  </a:cubicBezTo>
                  <a:cubicBezTo>
                    <a:pt x="10" y="8"/>
                    <a:pt x="18" y="4"/>
                    <a:pt x="25" y="4"/>
                  </a:cubicBezTo>
                  <a:cubicBezTo>
                    <a:pt x="29" y="4"/>
                    <a:pt x="32" y="5"/>
                    <a:pt x="35" y="7"/>
                  </a:cubicBezTo>
                  <a:cubicBezTo>
                    <a:pt x="46" y="12"/>
                    <a:pt x="50" y="25"/>
                    <a:pt x="44" y="35"/>
                  </a:cubicBezTo>
                  <a:cubicBezTo>
                    <a:pt x="40" y="43"/>
                    <a:pt x="33" y="47"/>
                    <a:pt x="25" y="47"/>
                  </a:cubicBezTo>
                  <a:close/>
                  <a:moveTo>
                    <a:pt x="74" y="53"/>
                  </a:moveTo>
                  <a:cubicBezTo>
                    <a:pt x="47" y="38"/>
                    <a:pt x="47" y="38"/>
                    <a:pt x="47" y="38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76" y="49"/>
                    <a:pt x="76" y="49"/>
                    <a:pt x="76" y="49"/>
                  </a:cubicBezTo>
                  <a:lnTo>
                    <a:pt x="74" y="5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5" name="Table 294">
            <a:extLst>
              <a:ext uri="{FF2B5EF4-FFF2-40B4-BE49-F238E27FC236}">
                <a16:creationId xmlns:a16="http://schemas.microsoft.com/office/drawing/2014/main" id="{5365C91F-1143-4E30-9736-C33FF7A6AF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10044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u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wn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rtne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arking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rs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rson with Ti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hoto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in Poi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lann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rtfolio Advisory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rtfolio Management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ower Manageme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dictive Maintenanc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eventative Maintenanc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vate Workstation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blem Solving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ject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Management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perty Finder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estion Mark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5061" name="Oval 5"/>
          <p:cNvSpPr>
            <a:spLocks noChangeArrowheads="1"/>
          </p:cNvSpPr>
          <p:nvPr/>
        </p:nvSpPr>
        <p:spPr bwMode="auto">
          <a:xfrm>
            <a:off x="6918973" y="2789508"/>
            <a:ext cx="838200" cy="846138"/>
          </a:xfrm>
          <a:prstGeom prst="ellipse">
            <a:avLst/>
          </a:prstGeom>
          <a:solidFill>
            <a:srgbClr val="0091B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33" name="Group 332"/>
          <p:cNvGrpSpPr/>
          <p:nvPr/>
        </p:nvGrpSpPr>
        <p:grpSpPr>
          <a:xfrm>
            <a:off x="6953898" y="2819671"/>
            <a:ext cx="773113" cy="782638"/>
            <a:chOff x="6953898" y="2819671"/>
            <a:chExt cx="773113" cy="782638"/>
          </a:xfrm>
        </p:grpSpPr>
        <p:sp>
          <p:nvSpPr>
            <p:cNvPr id="45066" name="Freeform 10"/>
            <p:cNvSpPr>
              <a:spLocks noEditPoints="1"/>
            </p:cNvSpPr>
            <p:nvPr/>
          </p:nvSpPr>
          <p:spPr bwMode="auto">
            <a:xfrm>
              <a:off x="6953898" y="2819671"/>
              <a:ext cx="773113" cy="782638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7" name="Freeform 11"/>
            <p:cNvSpPr>
              <a:spLocks noEditPoints="1"/>
            </p:cNvSpPr>
            <p:nvPr/>
          </p:nvSpPr>
          <p:spPr bwMode="auto">
            <a:xfrm>
              <a:off x="7204723" y="3086371"/>
              <a:ext cx="271463" cy="387350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5"/>
                </a:cxn>
                <a:cxn ang="0">
                  <a:pos x="10" y="62"/>
                </a:cxn>
                <a:cxn ang="0">
                  <a:pos x="28" y="62"/>
                </a:cxn>
                <a:cxn ang="0">
                  <a:pos x="28" y="102"/>
                </a:cxn>
                <a:cxn ang="0">
                  <a:pos x="32" y="102"/>
                </a:cxn>
                <a:cxn ang="0">
                  <a:pos x="32" y="62"/>
                </a:cxn>
                <a:cxn ang="0">
                  <a:pos x="40" y="62"/>
                </a:cxn>
                <a:cxn ang="0">
                  <a:pos x="40" y="102"/>
                </a:cxn>
                <a:cxn ang="0">
                  <a:pos x="43" y="102"/>
                </a:cxn>
                <a:cxn ang="0">
                  <a:pos x="43" y="62"/>
                </a:cxn>
                <a:cxn ang="0">
                  <a:pos x="62" y="62"/>
                </a:cxn>
                <a:cxn ang="0">
                  <a:pos x="72" y="55"/>
                </a:cxn>
                <a:cxn ang="0">
                  <a:pos x="72" y="2"/>
                </a:cxn>
                <a:cxn ang="0">
                  <a:pos x="70" y="0"/>
                </a:cxn>
                <a:cxn ang="0">
                  <a:pos x="68" y="55"/>
                </a:cxn>
                <a:cxn ang="0">
                  <a:pos x="62" y="58"/>
                </a:cxn>
                <a:cxn ang="0">
                  <a:pos x="41" y="58"/>
                </a:cxn>
                <a:cxn ang="0">
                  <a:pos x="30" y="58"/>
                </a:cxn>
                <a:cxn ang="0">
                  <a:pos x="10" y="58"/>
                </a:cxn>
                <a:cxn ang="0">
                  <a:pos x="3" y="55"/>
                </a:cxn>
                <a:cxn ang="0">
                  <a:pos x="3" y="4"/>
                </a:cxn>
                <a:cxn ang="0">
                  <a:pos x="68" y="4"/>
                </a:cxn>
                <a:cxn ang="0">
                  <a:pos x="68" y="55"/>
                </a:cxn>
              </a:cxnLst>
              <a:rect l="0" t="0" r="r" b="b"/>
              <a:pathLst>
                <a:path w="72" h="102">
                  <a:moveTo>
                    <a:pt x="7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9"/>
                    <a:pt x="4" y="62"/>
                    <a:pt x="10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7" y="62"/>
                    <a:pt x="72" y="59"/>
                    <a:pt x="72" y="55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1"/>
                    <a:pt x="71" y="0"/>
                    <a:pt x="70" y="0"/>
                  </a:cubicBezTo>
                  <a:close/>
                  <a:moveTo>
                    <a:pt x="68" y="55"/>
                  </a:moveTo>
                  <a:cubicBezTo>
                    <a:pt x="68" y="56"/>
                    <a:pt x="65" y="58"/>
                    <a:pt x="62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6" y="58"/>
                    <a:pt x="3" y="56"/>
                    <a:pt x="3" y="5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68" y="4"/>
                    <a:pt x="68" y="4"/>
                    <a:pt x="68" y="4"/>
                  </a:cubicBezTo>
                  <a:lnTo>
                    <a:pt x="68" y="5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8" name="Freeform 12"/>
            <p:cNvSpPr>
              <a:spLocks/>
            </p:cNvSpPr>
            <p:nvPr/>
          </p:nvSpPr>
          <p:spPr bwMode="auto">
            <a:xfrm>
              <a:off x="7279335" y="3130821"/>
              <a:ext cx="120650" cy="42863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5" y="7"/>
                </a:cxn>
                <a:cxn ang="0">
                  <a:pos x="23" y="10"/>
                </a:cxn>
                <a:cxn ang="0">
                  <a:pos x="23" y="11"/>
                </a:cxn>
                <a:cxn ang="0">
                  <a:pos x="23" y="11"/>
                </a:cxn>
                <a:cxn ang="0">
                  <a:pos x="23" y="11"/>
                </a:cxn>
                <a:cxn ang="0">
                  <a:pos x="31" y="10"/>
                </a:cxn>
                <a:cxn ang="0">
                  <a:pos x="31" y="10"/>
                </a:cxn>
                <a:cxn ang="0">
                  <a:pos x="32" y="10"/>
                </a:cxn>
                <a:cxn ang="0">
                  <a:pos x="31" y="2"/>
                </a:cxn>
                <a:cxn ang="0">
                  <a:pos x="31" y="1"/>
                </a:cxn>
                <a:cxn ang="0">
                  <a:pos x="30" y="1"/>
                </a:cxn>
                <a:cxn ang="0">
                  <a:pos x="28" y="4"/>
                </a:cxn>
                <a:cxn ang="0">
                  <a:pos x="15" y="0"/>
                </a:cxn>
                <a:cxn ang="0">
                  <a:pos x="1" y="5"/>
                </a:cxn>
                <a:cxn ang="0">
                  <a:pos x="0" y="7"/>
                </a:cxn>
                <a:cxn ang="0">
                  <a:pos x="3" y="9"/>
                </a:cxn>
                <a:cxn ang="0">
                  <a:pos x="4" y="8"/>
                </a:cxn>
              </a:cxnLst>
              <a:rect l="0" t="0" r="r" b="b"/>
              <a:pathLst>
                <a:path w="32" h="11">
                  <a:moveTo>
                    <a:pt x="4" y="8"/>
                  </a:moveTo>
                  <a:cubicBezTo>
                    <a:pt x="10" y="2"/>
                    <a:pt x="19" y="2"/>
                    <a:pt x="25" y="7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2" y="10"/>
                    <a:pt x="32" y="10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1"/>
                    <a:pt x="31" y="1"/>
                  </a:cubicBezTo>
                  <a:cubicBezTo>
                    <a:pt x="31" y="1"/>
                    <a:pt x="31" y="1"/>
                    <a:pt x="30" y="1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4" y="1"/>
                    <a:pt x="20" y="0"/>
                    <a:pt x="15" y="0"/>
                  </a:cubicBezTo>
                  <a:cubicBezTo>
                    <a:pt x="10" y="0"/>
                    <a:pt x="5" y="2"/>
                    <a:pt x="1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69" name="Freeform 13"/>
            <p:cNvSpPr>
              <a:spLocks/>
            </p:cNvSpPr>
            <p:nvPr/>
          </p:nvSpPr>
          <p:spPr bwMode="auto">
            <a:xfrm>
              <a:off x="7279335" y="3226071"/>
              <a:ext cx="117475" cy="41275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16" y="11"/>
                </a:cxn>
                <a:cxn ang="0">
                  <a:pos x="30" y="5"/>
                </a:cxn>
                <a:cxn ang="0">
                  <a:pos x="31" y="4"/>
                </a:cxn>
                <a:cxn ang="0">
                  <a:pos x="29" y="1"/>
                </a:cxn>
                <a:cxn ang="0">
                  <a:pos x="27" y="3"/>
                </a:cxn>
                <a:cxn ang="0">
                  <a:pos x="16" y="7"/>
                </a:cxn>
                <a:cxn ang="0">
                  <a:pos x="6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9"/>
                </a:cxn>
                <a:cxn ang="0">
                  <a:pos x="1" y="9"/>
                </a:cxn>
              </a:cxnLst>
              <a:rect l="0" t="0" r="r" b="b"/>
              <a:pathLst>
                <a:path w="31" h="11"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9"/>
                    <a:pt x="11" y="11"/>
                    <a:pt x="16" y="11"/>
                  </a:cubicBezTo>
                  <a:cubicBezTo>
                    <a:pt x="21" y="11"/>
                    <a:pt x="26" y="9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6"/>
                    <a:pt x="20" y="7"/>
                    <a:pt x="16" y="7"/>
                  </a:cubicBezTo>
                  <a:cubicBezTo>
                    <a:pt x="12" y="7"/>
                    <a:pt x="9" y="6"/>
                    <a:pt x="6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0" name="Freeform 14"/>
            <p:cNvSpPr>
              <a:spLocks noEditPoints="1"/>
            </p:cNvSpPr>
            <p:nvPr/>
          </p:nvSpPr>
          <p:spPr bwMode="auto">
            <a:xfrm>
              <a:off x="7272985" y="2941908"/>
              <a:ext cx="44450" cy="136525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10" y="36"/>
                </a:cxn>
                <a:cxn ang="0">
                  <a:pos x="12" y="35"/>
                </a:cxn>
                <a:cxn ang="0">
                  <a:pos x="12" y="7"/>
                </a:cxn>
                <a:cxn ang="0">
                  <a:pos x="6" y="0"/>
                </a:cxn>
                <a:cxn ang="0">
                  <a:pos x="0" y="7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7"/>
                </a:cxn>
                <a:cxn ang="0">
                  <a:pos x="6" y="4"/>
                </a:cxn>
                <a:cxn ang="0">
                  <a:pos x="8" y="7"/>
                </a:cxn>
                <a:cxn ang="0">
                  <a:pos x="8" y="33"/>
                </a:cxn>
                <a:cxn ang="0">
                  <a:pos x="4" y="33"/>
                </a:cxn>
                <a:cxn ang="0">
                  <a:pos x="4" y="7"/>
                </a:cxn>
              </a:cxnLst>
              <a:rect l="0" t="0" r="r" b="b"/>
              <a:pathLst>
                <a:path w="12" h="36">
                  <a:moveTo>
                    <a:pt x="2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1" y="36"/>
                    <a:pt x="2" y="36"/>
                  </a:cubicBezTo>
                  <a:close/>
                  <a:moveTo>
                    <a:pt x="4" y="7"/>
                  </a:move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4" y="33"/>
                    <a:pt x="4" y="33"/>
                    <a:pt x="4" y="3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71" name="Freeform 15"/>
            <p:cNvSpPr>
              <a:spLocks noEditPoints="1"/>
            </p:cNvSpPr>
            <p:nvPr/>
          </p:nvSpPr>
          <p:spPr bwMode="auto">
            <a:xfrm>
              <a:off x="7355535" y="2941908"/>
              <a:ext cx="44450" cy="136525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10" y="36"/>
                </a:cxn>
                <a:cxn ang="0">
                  <a:pos x="12" y="35"/>
                </a:cxn>
                <a:cxn ang="0">
                  <a:pos x="12" y="7"/>
                </a:cxn>
                <a:cxn ang="0">
                  <a:pos x="6" y="0"/>
                </a:cxn>
                <a:cxn ang="0">
                  <a:pos x="0" y="7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7"/>
                </a:cxn>
                <a:cxn ang="0">
                  <a:pos x="6" y="4"/>
                </a:cxn>
                <a:cxn ang="0">
                  <a:pos x="8" y="7"/>
                </a:cxn>
                <a:cxn ang="0">
                  <a:pos x="8" y="33"/>
                </a:cxn>
                <a:cxn ang="0">
                  <a:pos x="4" y="33"/>
                </a:cxn>
                <a:cxn ang="0">
                  <a:pos x="4" y="7"/>
                </a:cxn>
              </a:cxnLst>
              <a:rect l="0" t="0" r="r" b="b"/>
              <a:pathLst>
                <a:path w="12" h="36">
                  <a:moveTo>
                    <a:pt x="2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1" y="36"/>
                    <a:pt x="2" y="36"/>
                  </a:cubicBezTo>
                  <a:close/>
                  <a:moveTo>
                    <a:pt x="4" y="7"/>
                  </a:move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4" y="33"/>
                    <a:pt x="4" y="33"/>
                    <a:pt x="4" y="3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8053388" y="2822052"/>
            <a:ext cx="774700" cy="781050"/>
            <a:chOff x="5308601" y="6211888"/>
            <a:chExt cx="774700" cy="781050"/>
          </a:xfrm>
        </p:grpSpPr>
        <p:sp>
          <p:nvSpPr>
            <p:cNvPr id="45079" name="Freeform 23"/>
            <p:cNvSpPr>
              <a:spLocks noEditPoints="1"/>
            </p:cNvSpPr>
            <p:nvPr/>
          </p:nvSpPr>
          <p:spPr bwMode="auto">
            <a:xfrm>
              <a:off x="5308601" y="6211888"/>
              <a:ext cx="774700" cy="781050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0" name="Freeform 24"/>
            <p:cNvSpPr>
              <a:spLocks noEditPoints="1"/>
            </p:cNvSpPr>
            <p:nvPr/>
          </p:nvSpPr>
          <p:spPr bwMode="auto">
            <a:xfrm>
              <a:off x="5561013" y="6477001"/>
              <a:ext cx="271463" cy="387350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5"/>
                </a:cxn>
                <a:cxn ang="0">
                  <a:pos x="10" y="62"/>
                </a:cxn>
                <a:cxn ang="0">
                  <a:pos x="28" y="62"/>
                </a:cxn>
                <a:cxn ang="0">
                  <a:pos x="28" y="102"/>
                </a:cxn>
                <a:cxn ang="0">
                  <a:pos x="32" y="102"/>
                </a:cxn>
                <a:cxn ang="0">
                  <a:pos x="32" y="62"/>
                </a:cxn>
                <a:cxn ang="0">
                  <a:pos x="40" y="62"/>
                </a:cxn>
                <a:cxn ang="0">
                  <a:pos x="40" y="102"/>
                </a:cxn>
                <a:cxn ang="0">
                  <a:pos x="43" y="102"/>
                </a:cxn>
                <a:cxn ang="0">
                  <a:pos x="43" y="62"/>
                </a:cxn>
                <a:cxn ang="0">
                  <a:pos x="62" y="62"/>
                </a:cxn>
                <a:cxn ang="0">
                  <a:pos x="72" y="55"/>
                </a:cxn>
                <a:cxn ang="0">
                  <a:pos x="72" y="2"/>
                </a:cxn>
                <a:cxn ang="0">
                  <a:pos x="70" y="0"/>
                </a:cxn>
                <a:cxn ang="0">
                  <a:pos x="68" y="55"/>
                </a:cxn>
                <a:cxn ang="0">
                  <a:pos x="62" y="58"/>
                </a:cxn>
                <a:cxn ang="0">
                  <a:pos x="41" y="58"/>
                </a:cxn>
                <a:cxn ang="0">
                  <a:pos x="30" y="58"/>
                </a:cxn>
                <a:cxn ang="0">
                  <a:pos x="10" y="58"/>
                </a:cxn>
                <a:cxn ang="0">
                  <a:pos x="4" y="55"/>
                </a:cxn>
                <a:cxn ang="0">
                  <a:pos x="4" y="4"/>
                </a:cxn>
                <a:cxn ang="0">
                  <a:pos x="68" y="4"/>
                </a:cxn>
                <a:cxn ang="0">
                  <a:pos x="68" y="55"/>
                </a:cxn>
              </a:cxnLst>
              <a:rect l="0" t="0" r="r" b="b"/>
              <a:pathLst>
                <a:path w="72" h="102">
                  <a:moveTo>
                    <a:pt x="70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9"/>
                    <a:pt x="5" y="62"/>
                    <a:pt x="10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7" y="62"/>
                    <a:pt x="72" y="59"/>
                    <a:pt x="72" y="55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1"/>
                    <a:pt x="71" y="0"/>
                    <a:pt x="70" y="0"/>
                  </a:cubicBezTo>
                  <a:close/>
                  <a:moveTo>
                    <a:pt x="68" y="55"/>
                  </a:moveTo>
                  <a:cubicBezTo>
                    <a:pt x="68" y="56"/>
                    <a:pt x="66" y="58"/>
                    <a:pt x="62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6" y="58"/>
                    <a:pt x="4" y="56"/>
                    <a:pt x="4" y="5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8" y="4"/>
                    <a:pt x="68" y="4"/>
                    <a:pt x="68" y="4"/>
                  </a:cubicBezTo>
                  <a:lnTo>
                    <a:pt x="68" y="5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1" name="Freeform 25"/>
            <p:cNvSpPr>
              <a:spLocks/>
            </p:cNvSpPr>
            <p:nvPr/>
          </p:nvSpPr>
          <p:spPr bwMode="auto">
            <a:xfrm>
              <a:off x="5635626" y="6523038"/>
              <a:ext cx="120650" cy="4127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6" y="7"/>
                </a:cxn>
                <a:cxn ang="0">
                  <a:pos x="23" y="10"/>
                </a:cxn>
                <a:cxn ang="0">
                  <a:pos x="23" y="11"/>
                </a:cxn>
                <a:cxn ang="0">
                  <a:pos x="23" y="11"/>
                </a:cxn>
                <a:cxn ang="0">
                  <a:pos x="23" y="11"/>
                </a:cxn>
                <a:cxn ang="0">
                  <a:pos x="31" y="10"/>
                </a:cxn>
                <a:cxn ang="0">
                  <a:pos x="31" y="10"/>
                </a:cxn>
                <a:cxn ang="0">
                  <a:pos x="32" y="10"/>
                </a:cxn>
                <a:cxn ang="0">
                  <a:pos x="31" y="2"/>
                </a:cxn>
                <a:cxn ang="0">
                  <a:pos x="31" y="1"/>
                </a:cxn>
                <a:cxn ang="0">
                  <a:pos x="31" y="1"/>
                </a:cxn>
                <a:cxn ang="0">
                  <a:pos x="28" y="4"/>
                </a:cxn>
                <a:cxn ang="0">
                  <a:pos x="15" y="0"/>
                </a:cxn>
                <a:cxn ang="0">
                  <a:pos x="1" y="5"/>
                </a:cxn>
                <a:cxn ang="0">
                  <a:pos x="0" y="7"/>
                </a:cxn>
                <a:cxn ang="0">
                  <a:pos x="3" y="9"/>
                </a:cxn>
                <a:cxn ang="0">
                  <a:pos x="4" y="8"/>
                </a:cxn>
              </a:cxnLst>
              <a:rect l="0" t="0" r="r" b="b"/>
              <a:pathLst>
                <a:path w="32" h="11">
                  <a:moveTo>
                    <a:pt x="4" y="8"/>
                  </a:moveTo>
                  <a:cubicBezTo>
                    <a:pt x="10" y="2"/>
                    <a:pt x="19" y="2"/>
                    <a:pt x="26" y="7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4" y="1"/>
                    <a:pt x="20" y="0"/>
                    <a:pt x="15" y="0"/>
                  </a:cubicBezTo>
                  <a:cubicBezTo>
                    <a:pt x="10" y="0"/>
                    <a:pt x="5" y="2"/>
                    <a:pt x="1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2" name="Freeform 26"/>
            <p:cNvSpPr>
              <a:spLocks/>
            </p:cNvSpPr>
            <p:nvPr/>
          </p:nvSpPr>
          <p:spPr bwMode="auto">
            <a:xfrm>
              <a:off x="5635626" y="6616701"/>
              <a:ext cx="117475" cy="42863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16" y="11"/>
                </a:cxn>
                <a:cxn ang="0">
                  <a:pos x="30" y="5"/>
                </a:cxn>
                <a:cxn ang="0">
                  <a:pos x="31" y="4"/>
                </a:cxn>
                <a:cxn ang="0">
                  <a:pos x="29" y="1"/>
                </a:cxn>
                <a:cxn ang="0">
                  <a:pos x="27" y="3"/>
                </a:cxn>
                <a:cxn ang="0">
                  <a:pos x="16" y="7"/>
                </a:cxn>
                <a:cxn ang="0">
                  <a:pos x="6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9"/>
                </a:cxn>
                <a:cxn ang="0">
                  <a:pos x="1" y="9"/>
                </a:cxn>
              </a:cxnLst>
              <a:rect l="0" t="0" r="r" b="b"/>
              <a:pathLst>
                <a:path w="31" h="11"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7" y="9"/>
                    <a:pt x="12" y="11"/>
                    <a:pt x="16" y="11"/>
                  </a:cubicBezTo>
                  <a:cubicBezTo>
                    <a:pt x="21" y="11"/>
                    <a:pt x="26" y="9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6"/>
                    <a:pt x="20" y="7"/>
                    <a:pt x="16" y="7"/>
                  </a:cubicBezTo>
                  <a:cubicBezTo>
                    <a:pt x="12" y="7"/>
                    <a:pt x="9" y="6"/>
                    <a:pt x="6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83" name="Freeform 27"/>
            <p:cNvSpPr>
              <a:spLocks noEditPoints="1"/>
            </p:cNvSpPr>
            <p:nvPr/>
          </p:nvSpPr>
          <p:spPr bwMode="auto">
            <a:xfrm>
              <a:off x="5629276" y="6332538"/>
              <a:ext cx="44450" cy="136525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10" y="36"/>
                </a:cxn>
                <a:cxn ang="0">
                  <a:pos x="12" y="35"/>
                </a:cxn>
                <a:cxn ang="0">
                  <a:pos x="12" y="7"/>
                </a:cxn>
                <a:cxn ang="0">
                  <a:pos x="6" y="0"/>
                </a:cxn>
                <a:cxn ang="0">
                  <a:pos x="0" y="7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7"/>
                </a:cxn>
                <a:cxn ang="0">
                  <a:pos x="6" y="4"/>
                </a:cxn>
                <a:cxn ang="0">
                  <a:pos x="8" y="7"/>
                </a:cxn>
                <a:cxn ang="0">
                  <a:pos x="8" y="33"/>
                </a:cxn>
                <a:cxn ang="0">
                  <a:pos x="4" y="33"/>
                </a:cxn>
                <a:cxn ang="0">
                  <a:pos x="4" y="7"/>
                </a:cxn>
              </a:cxnLst>
              <a:rect l="0" t="0" r="r" b="b"/>
              <a:pathLst>
                <a:path w="12" h="36">
                  <a:moveTo>
                    <a:pt x="2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1" y="36"/>
                    <a:pt x="2" y="36"/>
                  </a:cubicBezTo>
                  <a:close/>
                  <a:moveTo>
                    <a:pt x="4" y="7"/>
                  </a:move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4" y="33"/>
                    <a:pt x="4" y="33"/>
                    <a:pt x="4" y="3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84" name="Freeform 28"/>
            <p:cNvSpPr>
              <a:spLocks noEditPoints="1"/>
            </p:cNvSpPr>
            <p:nvPr/>
          </p:nvSpPr>
          <p:spPr bwMode="auto">
            <a:xfrm>
              <a:off x="5711826" y="6332538"/>
              <a:ext cx="44450" cy="136525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10" y="36"/>
                </a:cxn>
                <a:cxn ang="0">
                  <a:pos x="12" y="35"/>
                </a:cxn>
                <a:cxn ang="0">
                  <a:pos x="12" y="7"/>
                </a:cxn>
                <a:cxn ang="0">
                  <a:pos x="6" y="0"/>
                </a:cxn>
                <a:cxn ang="0">
                  <a:pos x="0" y="7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7"/>
                </a:cxn>
                <a:cxn ang="0">
                  <a:pos x="6" y="4"/>
                </a:cxn>
                <a:cxn ang="0">
                  <a:pos x="9" y="7"/>
                </a:cxn>
                <a:cxn ang="0">
                  <a:pos x="9" y="33"/>
                </a:cxn>
                <a:cxn ang="0">
                  <a:pos x="4" y="33"/>
                </a:cxn>
                <a:cxn ang="0">
                  <a:pos x="4" y="7"/>
                </a:cxn>
              </a:cxnLst>
              <a:rect l="0" t="0" r="r" b="b"/>
              <a:pathLst>
                <a:path w="12" h="36">
                  <a:moveTo>
                    <a:pt x="2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1" y="36"/>
                    <a:pt x="2" y="36"/>
                  </a:cubicBezTo>
                  <a:close/>
                  <a:moveTo>
                    <a:pt x="4" y="7"/>
                  </a:move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9" y="5"/>
                    <a:pt x="9" y="7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4" y="33"/>
                    <a:pt x="4" y="33"/>
                    <a:pt x="4" y="33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087" name="Group 31"/>
          <p:cNvGrpSpPr>
            <a:grpSpLocks noChangeAspect="1"/>
          </p:cNvGrpSpPr>
          <p:nvPr/>
        </p:nvGrpSpPr>
        <p:grpSpPr bwMode="auto">
          <a:xfrm>
            <a:off x="341313" y="260350"/>
            <a:ext cx="838200" cy="836613"/>
            <a:chOff x="215" y="164"/>
            <a:chExt cx="528" cy="527"/>
          </a:xfrm>
        </p:grpSpPr>
        <p:sp>
          <p:nvSpPr>
            <p:cNvPr id="45088" name="Oval 32"/>
            <p:cNvSpPr>
              <a:spLocks noChangeArrowheads="1"/>
            </p:cNvSpPr>
            <p:nvPr/>
          </p:nvSpPr>
          <p:spPr bwMode="auto">
            <a:xfrm>
              <a:off x="215" y="164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89" name="Freeform 33"/>
            <p:cNvSpPr>
              <a:spLocks noEditPoints="1"/>
            </p:cNvSpPr>
            <p:nvPr/>
          </p:nvSpPr>
          <p:spPr bwMode="auto">
            <a:xfrm>
              <a:off x="323" y="284"/>
              <a:ext cx="317" cy="277"/>
            </a:xfrm>
            <a:custGeom>
              <a:avLst/>
              <a:gdLst/>
              <a:ahLst/>
              <a:cxnLst>
                <a:cxn ang="0">
                  <a:pos x="173" y="91"/>
                </a:cxn>
                <a:cxn ang="0">
                  <a:pos x="166" y="91"/>
                </a:cxn>
                <a:cxn ang="0">
                  <a:pos x="166" y="84"/>
                </a:cxn>
                <a:cxn ang="0">
                  <a:pos x="218" y="84"/>
                </a:cxn>
                <a:cxn ang="0">
                  <a:pos x="218" y="0"/>
                </a:cxn>
                <a:cxn ang="0">
                  <a:pos x="103" y="0"/>
                </a:cxn>
                <a:cxn ang="0">
                  <a:pos x="103" y="84"/>
                </a:cxn>
                <a:cxn ang="0">
                  <a:pos x="156" y="84"/>
                </a:cxn>
                <a:cxn ang="0">
                  <a:pos x="156" y="91"/>
                </a:cxn>
                <a:cxn ang="0">
                  <a:pos x="149" y="91"/>
                </a:cxn>
                <a:cxn ang="0">
                  <a:pos x="149" y="98"/>
                </a:cxn>
                <a:cxn ang="0">
                  <a:pos x="0" y="98"/>
                </a:cxn>
                <a:cxn ang="0">
                  <a:pos x="0" y="127"/>
                </a:cxn>
                <a:cxn ang="0">
                  <a:pos x="0" y="129"/>
                </a:cxn>
                <a:cxn ang="0">
                  <a:pos x="0" y="277"/>
                </a:cxn>
                <a:cxn ang="0">
                  <a:pos x="132" y="277"/>
                </a:cxn>
                <a:cxn ang="0">
                  <a:pos x="132" y="129"/>
                </a:cxn>
                <a:cxn ang="0">
                  <a:pos x="309" y="129"/>
                </a:cxn>
                <a:cxn ang="0">
                  <a:pos x="309" y="277"/>
                </a:cxn>
                <a:cxn ang="0">
                  <a:pos x="317" y="277"/>
                </a:cxn>
                <a:cxn ang="0">
                  <a:pos x="317" y="129"/>
                </a:cxn>
                <a:cxn ang="0">
                  <a:pos x="317" y="117"/>
                </a:cxn>
                <a:cxn ang="0">
                  <a:pos x="317" y="98"/>
                </a:cxn>
                <a:cxn ang="0">
                  <a:pos x="173" y="98"/>
                </a:cxn>
                <a:cxn ang="0">
                  <a:pos x="173" y="91"/>
                </a:cxn>
                <a:cxn ang="0">
                  <a:pos x="209" y="9"/>
                </a:cxn>
                <a:cxn ang="0">
                  <a:pos x="209" y="57"/>
                </a:cxn>
                <a:cxn ang="0">
                  <a:pos x="113" y="57"/>
                </a:cxn>
                <a:cxn ang="0">
                  <a:pos x="113" y="9"/>
                </a:cxn>
                <a:cxn ang="0">
                  <a:pos x="209" y="9"/>
                </a:cxn>
                <a:cxn ang="0">
                  <a:pos x="113" y="67"/>
                </a:cxn>
                <a:cxn ang="0">
                  <a:pos x="209" y="67"/>
                </a:cxn>
                <a:cxn ang="0">
                  <a:pos x="209" y="74"/>
                </a:cxn>
                <a:cxn ang="0">
                  <a:pos x="113" y="74"/>
                </a:cxn>
                <a:cxn ang="0">
                  <a:pos x="113" y="67"/>
                </a:cxn>
                <a:cxn ang="0">
                  <a:pos x="10" y="182"/>
                </a:cxn>
                <a:cxn ang="0">
                  <a:pos x="122" y="182"/>
                </a:cxn>
                <a:cxn ang="0">
                  <a:pos x="122" y="218"/>
                </a:cxn>
                <a:cxn ang="0">
                  <a:pos x="10" y="218"/>
                </a:cxn>
                <a:cxn ang="0">
                  <a:pos x="10" y="182"/>
                </a:cxn>
                <a:cxn ang="0">
                  <a:pos x="10" y="268"/>
                </a:cxn>
                <a:cxn ang="0">
                  <a:pos x="10" y="227"/>
                </a:cxn>
                <a:cxn ang="0">
                  <a:pos x="122" y="227"/>
                </a:cxn>
                <a:cxn ang="0">
                  <a:pos x="122" y="268"/>
                </a:cxn>
                <a:cxn ang="0">
                  <a:pos x="10" y="268"/>
                </a:cxn>
                <a:cxn ang="0">
                  <a:pos x="122" y="175"/>
                </a:cxn>
                <a:cxn ang="0">
                  <a:pos x="10" y="175"/>
                </a:cxn>
                <a:cxn ang="0">
                  <a:pos x="10" y="129"/>
                </a:cxn>
                <a:cxn ang="0">
                  <a:pos x="122" y="129"/>
                </a:cxn>
                <a:cxn ang="0">
                  <a:pos x="122" y="175"/>
                </a:cxn>
                <a:cxn ang="0">
                  <a:pos x="309" y="117"/>
                </a:cxn>
                <a:cxn ang="0">
                  <a:pos x="309" y="120"/>
                </a:cxn>
                <a:cxn ang="0">
                  <a:pos x="10" y="120"/>
                </a:cxn>
                <a:cxn ang="0">
                  <a:pos x="10" y="108"/>
                </a:cxn>
                <a:cxn ang="0">
                  <a:pos x="309" y="108"/>
                </a:cxn>
                <a:cxn ang="0">
                  <a:pos x="309" y="117"/>
                </a:cxn>
              </a:cxnLst>
              <a:rect l="0" t="0" r="r" b="b"/>
              <a:pathLst>
                <a:path w="317" h="277">
                  <a:moveTo>
                    <a:pt x="173" y="91"/>
                  </a:moveTo>
                  <a:lnTo>
                    <a:pt x="166" y="91"/>
                  </a:lnTo>
                  <a:lnTo>
                    <a:pt x="166" y="84"/>
                  </a:lnTo>
                  <a:lnTo>
                    <a:pt x="218" y="84"/>
                  </a:lnTo>
                  <a:lnTo>
                    <a:pt x="218" y="0"/>
                  </a:lnTo>
                  <a:lnTo>
                    <a:pt x="103" y="0"/>
                  </a:lnTo>
                  <a:lnTo>
                    <a:pt x="103" y="84"/>
                  </a:lnTo>
                  <a:lnTo>
                    <a:pt x="156" y="84"/>
                  </a:lnTo>
                  <a:lnTo>
                    <a:pt x="156" y="91"/>
                  </a:lnTo>
                  <a:lnTo>
                    <a:pt x="149" y="91"/>
                  </a:lnTo>
                  <a:lnTo>
                    <a:pt x="149" y="98"/>
                  </a:lnTo>
                  <a:lnTo>
                    <a:pt x="0" y="98"/>
                  </a:lnTo>
                  <a:lnTo>
                    <a:pt x="0" y="127"/>
                  </a:lnTo>
                  <a:lnTo>
                    <a:pt x="0" y="129"/>
                  </a:lnTo>
                  <a:lnTo>
                    <a:pt x="0" y="277"/>
                  </a:lnTo>
                  <a:lnTo>
                    <a:pt x="132" y="277"/>
                  </a:lnTo>
                  <a:lnTo>
                    <a:pt x="132" y="129"/>
                  </a:lnTo>
                  <a:lnTo>
                    <a:pt x="309" y="129"/>
                  </a:lnTo>
                  <a:lnTo>
                    <a:pt x="309" y="277"/>
                  </a:lnTo>
                  <a:lnTo>
                    <a:pt x="317" y="277"/>
                  </a:lnTo>
                  <a:lnTo>
                    <a:pt x="317" y="129"/>
                  </a:lnTo>
                  <a:lnTo>
                    <a:pt x="317" y="117"/>
                  </a:lnTo>
                  <a:lnTo>
                    <a:pt x="317" y="98"/>
                  </a:lnTo>
                  <a:lnTo>
                    <a:pt x="173" y="98"/>
                  </a:lnTo>
                  <a:lnTo>
                    <a:pt x="173" y="91"/>
                  </a:lnTo>
                  <a:close/>
                  <a:moveTo>
                    <a:pt x="209" y="9"/>
                  </a:moveTo>
                  <a:lnTo>
                    <a:pt x="209" y="57"/>
                  </a:lnTo>
                  <a:lnTo>
                    <a:pt x="113" y="57"/>
                  </a:lnTo>
                  <a:lnTo>
                    <a:pt x="113" y="9"/>
                  </a:lnTo>
                  <a:lnTo>
                    <a:pt x="209" y="9"/>
                  </a:lnTo>
                  <a:close/>
                  <a:moveTo>
                    <a:pt x="113" y="67"/>
                  </a:moveTo>
                  <a:lnTo>
                    <a:pt x="209" y="67"/>
                  </a:lnTo>
                  <a:lnTo>
                    <a:pt x="209" y="74"/>
                  </a:lnTo>
                  <a:lnTo>
                    <a:pt x="113" y="74"/>
                  </a:lnTo>
                  <a:lnTo>
                    <a:pt x="113" y="67"/>
                  </a:lnTo>
                  <a:close/>
                  <a:moveTo>
                    <a:pt x="10" y="182"/>
                  </a:moveTo>
                  <a:lnTo>
                    <a:pt x="122" y="182"/>
                  </a:lnTo>
                  <a:lnTo>
                    <a:pt x="122" y="218"/>
                  </a:lnTo>
                  <a:lnTo>
                    <a:pt x="10" y="218"/>
                  </a:lnTo>
                  <a:lnTo>
                    <a:pt x="10" y="182"/>
                  </a:lnTo>
                  <a:close/>
                  <a:moveTo>
                    <a:pt x="10" y="268"/>
                  </a:moveTo>
                  <a:lnTo>
                    <a:pt x="10" y="227"/>
                  </a:lnTo>
                  <a:lnTo>
                    <a:pt x="122" y="227"/>
                  </a:lnTo>
                  <a:lnTo>
                    <a:pt x="122" y="268"/>
                  </a:lnTo>
                  <a:lnTo>
                    <a:pt x="10" y="268"/>
                  </a:lnTo>
                  <a:close/>
                  <a:moveTo>
                    <a:pt x="122" y="175"/>
                  </a:moveTo>
                  <a:lnTo>
                    <a:pt x="10" y="175"/>
                  </a:lnTo>
                  <a:lnTo>
                    <a:pt x="10" y="129"/>
                  </a:lnTo>
                  <a:lnTo>
                    <a:pt x="122" y="129"/>
                  </a:lnTo>
                  <a:lnTo>
                    <a:pt x="122" y="175"/>
                  </a:lnTo>
                  <a:close/>
                  <a:moveTo>
                    <a:pt x="309" y="117"/>
                  </a:moveTo>
                  <a:lnTo>
                    <a:pt x="309" y="120"/>
                  </a:lnTo>
                  <a:lnTo>
                    <a:pt x="10" y="120"/>
                  </a:lnTo>
                  <a:lnTo>
                    <a:pt x="10" y="108"/>
                  </a:lnTo>
                  <a:lnTo>
                    <a:pt x="309" y="108"/>
                  </a:lnTo>
                  <a:lnTo>
                    <a:pt x="309" y="1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0" name="Freeform 34"/>
            <p:cNvSpPr>
              <a:spLocks noEditPoints="1"/>
            </p:cNvSpPr>
            <p:nvPr/>
          </p:nvSpPr>
          <p:spPr bwMode="auto">
            <a:xfrm>
              <a:off x="237" y="186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1" name="Rectangle 35"/>
            <p:cNvSpPr>
              <a:spLocks noChangeArrowheads="1"/>
            </p:cNvSpPr>
            <p:nvPr/>
          </p:nvSpPr>
          <p:spPr bwMode="auto">
            <a:xfrm>
              <a:off x="369" y="480"/>
              <a:ext cx="4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2" name="Rectangle 36"/>
            <p:cNvSpPr>
              <a:spLocks noChangeArrowheads="1"/>
            </p:cNvSpPr>
            <p:nvPr/>
          </p:nvSpPr>
          <p:spPr bwMode="auto">
            <a:xfrm>
              <a:off x="369" y="526"/>
              <a:ext cx="41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3" name="Rectangle 37"/>
            <p:cNvSpPr>
              <a:spLocks noChangeArrowheads="1"/>
            </p:cNvSpPr>
            <p:nvPr/>
          </p:nvSpPr>
          <p:spPr bwMode="auto">
            <a:xfrm>
              <a:off x="369" y="430"/>
              <a:ext cx="41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096" name="Group 40"/>
          <p:cNvGrpSpPr>
            <a:grpSpLocks noChangeAspect="1"/>
          </p:cNvGrpSpPr>
          <p:nvPr/>
        </p:nvGrpSpPr>
        <p:grpSpPr bwMode="auto">
          <a:xfrm>
            <a:off x="1472408" y="293688"/>
            <a:ext cx="768350" cy="768350"/>
            <a:chOff x="929" y="185"/>
            <a:chExt cx="484" cy="484"/>
          </a:xfrm>
        </p:grpSpPr>
        <p:sp>
          <p:nvSpPr>
            <p:cNvPr id="45097" name="Freeform 41"/>
            <p:cNvSpPr>
              <a:spLocks noEditPoints="1"/>
            </p:cNvSpPr>
            <p:nvPr/>
          </p:nvSpPr>
          <p:spPr bwMode="auto">
            <a:xfrm>
              <a:off x="1016" y="284"/>
              <a:ext cx="316" cy="278"/>
            </a:xfrm>
            <a:custGeom>
              <a:avLst/>
              <a:gdLst/>
              <a:ahLst/>
              <a:cxnLst>
                <a:cxn ang="0">
                  <a:pos x="172" y="91"/>
                </a:cxn>
                <a:cxn ang="0">
                  <a:pos x="165" y="91"/>
                </a:cxn>
                <a:cxn ang="0">
                  <a:pos x="165" y="83"/>
                </a:cxn>
                <a:cxn ang="0">
                  <a:pos x="218" y="83"/>
                </a:cxn>
                <a:cxn ang="0">
                  <a:pos x="218" y="0"/>
                </a:cxn>
                <a:cxn ang="0">
                  <a:pos x="103" y="0"/>
                </a:cxn>
                <a:cxn ang="0">
                  <a:pos x="103" y="83"/>
                </a:cxn>
                <a:cxn ang="0">
                  <a:pos x="155" y="83"/>
                </a:cxn>
                <a:cxn ang="0">
                  <a:pos x="155" y="91"/>
                </a:cxn>
                <a:cxn ang="0">
                  <a:pos x="148" y="91"/>
                </a:cxn>
                <a:cxn ang="0">
                  <a:pos x="148" y="98"/>
                </a:cxn>
                <a:cxn ang="0">
                  <a:pos x="0" y="98"/>
                </a:cxn>
                <a:cxn ang="0">
                  <a:pos x="0" y="127"/>
                </a:cxn>
                <a:cxn ang="0">
                  <a:pos x="0" y="129"/>
                </a:cxn>
                <a:cxn ang="0">
                  <a:pos x="0" y="278"/>
                </a:cxn>
                <a:cxn ang="0">
                  <a:pos x="131" y="278"/>
                </a:cxn>
                <a:cxn ang="0">
                  <a:pos x="131" y="129"/>
                </a:cxn>
                <a:cxn ang="0">
                  <a:pos x="309" y="129"/>
                </a:cxn>
                <a:cxn ang="0">
                  <a:pos x="309" y="278"/>
                </a:cxn>
                <a:cxn ang="0">
                  <a:pos x="316" y="278"/>
                </a:cxn>
                <a:cxn ang="0">
                  <a:pos x="316" y="129"/>
                </a:cxn>
                <a:cxn ang="0">
                  <a:pos x="316" y="117"/>
                </a:cxn>
                <a:cxn ang="0">
                  <a:pos x="316" y="98"/>
                </a:cxn>
                <a:cxn ang="0">
                  <a:pos x="172" y="98"/>
                </a:cxn>
                <a:cxn ang="0">
                  <a:pos x="172" y="91"/>
                </a:cxn>
                <a:cxn ang="0">
                  <a:pos x="208" y="9"/>
                </a:cxn>
                <a:cxn ang="0">
                  <a:pos x="208" y="57"/>
                </a:cxn>
                <a:cxn ang="0">
                  <a:pos x="112" y="57"/>
                </a:cxn>
                <a:cxn ang="0">
                  <a:pos x="112" y="9"/>
                </a:cxn>
                <a:cxn ang="0">
                  <a:pos x="208" y="9"/>
                </a:cxn>
                <a:cxn ang="0">
                  <a:pos x="112" y="67"/>
                </a:cxn>
                <a:cxn ang="0">
                  <a:pos x="208" y="67"/>
                </a:cxn>
                <a:cxn ang="0">
                  <a:pos x="208" y="74"/>
                </a:cxn>
                <a:cxn ang="0">
                  <a:pos x="112" y="74"/>
                </a:cxn>
                <a:cxn ang="0">
                  <a:pos x="112" y="67"/>
                </a:cxn>
                <a:cxn ang="0">
                  <a:pos x="9" y="182"/>
                </a:cxn>
                <a:cxn ang="0">
                  <a:pos x="122" y="182"/>
                </a:cxn>
                <a:cxn ang="0">
                  <a:pos x="122" y="218"/>
                </a:cxn>
                <a:cxn ang="0">
                  <a:pos x="9" y="218"/>
                </a:cxn>
                <a:cxn ang="0">
                  <a:pos x="9" y="182"/>
                </a:cxn>
                <a:cxn ang="0">
                  <a:pos x="9" y="268"/>
                </a:cxn>
                <a:cxn ang="0">
                  <a:pos x="9" y="227"/>
                </a:cxn>
                <a:cxn ang="0">
                  <a:pos x="122" y="227"/>
                </a:cxn>
                <a:cxn ang="0">
                  <a:pos x="122" y="268"/>
                </a:cxn>
                <a:cxn ang="0">
                  <a:pos x="9" y="268"/>
                </a:cxn>
                <a:cxn ang="0">
                  <a:pos x="122" y="175"/>
                </a:cxn>
                <a:cxn ang="0">
                  <a:pos x="9" y="175"/>
                </a:cxn>
                <a:cxn ang="0">
                  <a:pos x="9" y="129"/>
                </a:cxn>
                <a:cxn ang="0">
                  <a:pos x="122" y="129"/>
                </a:cxn>
                <a:cxn ang="0">
                  <a:pos x="122" y="175"/>
                </a:cxn>
                <a:cxn ang="0">
                  <a:pos x="309" y="117"/>
                </a:cxn>
                <a:cxn ang="0">
                  <a:pos x="309" y="119"/>
                </a:cxn>
                <a:cxn ang="0">
                  <a:pos x="9" y="119"/>
                </a:cxn>
                <a:cxn ang="0">
                  <a:pos x="9" y="107"/>
                </a:cxn>
                <a:cxn ang="0">
                  <a:pos x="309" y="107"/>
                </a:cxn>
                <a:cxn ang="0">
                  <a:pos x="309" y="117"/>
                </a:cxn>
              </a:cxnLst>
              <a:rect l="0" t="0" r="r" b="b"/>
              <a:pathLst>
                <a:path w="316" h="278">
                  <a:moveTo>
                    <a:pt x="172" y="91"/>
                  </a:moveTo>
                  <a:lnTo>
                    <a:pt x="165" y="91"/>
                  </a:lnTo>
                  <a:lnTo>
                    <a:pt x="165" y="83"/>
                  </a:lnTo>
                  <a:lnTo>
                    <a:pt x="218" y="83"/>
                  </a:lnTo>
                  <a:lnTo>
                    <a:pt x="218" y="0"/>
                  </a:lnTo>
                  <a:lnTo>
                    <a:pt x="103" y="0"/>
                  </a:lnTo>
                  <a:lnTo>
                    <a:pt x="103" y="83"/>
                  </a:lnTo>
                  <a:lnTo>
                    <a:pt x="155" y="83"/>
                  </a:lnTo>
                  <a:lnTo>
                    <a:pt x="155" y="91"/>
                  </a:lnTo>
                  <a:lnTo>
                    <a:pt x="148" y="91"/>
                  </a:lnTo>
                  <a:lnTo>
                    <a:pt x="148" y="98"/>
                  </a:lnTo>
                  <a:lnTo>
                    <a:pt x="0" y="98"/>
                  </a:lnTo>
                  <a:lnTo>
                    <a:pt x="0" y="127"/>
                  </a:lnTo>
                  <a:lnTo>
                    <a:pt x="0" y="129"/>
                  </a:lnTo>
                  <a:lnTo>
                    <a:pt x="0" y="278"/>
                  </a:lnTo>
                  <a:lnTo>
                    <a:pt x="131" y="278"/>
                  </a:lnTo>
                  <a:lnTo>
                    <a:pt x="131" y="129"/>
                  </a:lnTo>
                  <a:lnTo>
                    <a:pt x="309" y="129"/>
                  </a:lnTo>
                  <a:lnTo>
                    <a:pt x="309" y="278"/>
                  </a:lnTo>
                  <a:lnTo>
                    <a:pt x="316" y="278"/>
                  </a:lnTo>
                  <a:lnTo>
                    <a:pt x="316" y="129"/>
                  </a:lnTo>
                  <a:lnTo>
                    <a:pt x="316" y="117"/>
                  </a:lnTo>
                  <a:lnTo>
                    <a:pt x="316" y="98"/>
                  </a:lnTo>
                  <a:lnTo>
                    <a:pt x="172" y="98"/>
                  </a:lnTo>
                  <a:lnTo>
                    <a:pt x="172" y="91"/>
                  </a:lnTo>
                  <a:close/>
                  <a:moveTo>
                    <a:pt x="208" y="9"/>
                  </a:moveTo>
                  <a:lnTo>
                    <a:pt x="208" y="57"/>
                  </a:lnTo>
                  <a:lnTo>
                    <a:pt x="112" y="57"/>
                  </a:lnTo>
                  <a:lnTo>
                    <a:pt x="112" y="9"/>
                  </a:lnTo>
                  <a:lnTo>
                    <a:pt x="208" y="9"/>
                  </a:lnTo>
                  <a:close/>
                  <a:moveTo>
                    <a:pt x="112" y="67"/>
                  </a:moveTo>
                  <a:lnTo>
                    <a:pt x="208" y="67"/>
                  </a:lnTo>
                  <a:lnTo>
                    <a:pt x="208" y="74"/>
                  </a:lnTo>
                  <a:lnTo>
                    <a:pt x="112" y="74"/>
                  </a:lnTo>
                  <a:lnTo>
                    <a:pt x="112" y="67"/>
                  </a:lnTo>
                  <a:close/>
                  <a:moveTo>
                    <a:pt x="9" y="182"/>
                  </a:moveTo>
                  <a:lnTo>
                    <a:pt x="122" y="182"/>
                  </a:lnTo>
                  <a:lnTo>
                    <a:pt x="122" y="218"/>
                  </a:lnTo>
                  <a:lnTo>
                    <a:pt x="9" y="218"/>
                  </a:lnTo>
                  <a:lnTo>
                    <a:pt x="9" y="182"/>
                  </a:lnTo>
                  <a:close/>
                  <a:moveTo>
                    <a:pt x="9" y="268"/>
                  </a:moveTo>
                  <a:lnTo>
                    <a:pt x="9" y="227"/>
                  </a:lnTo>
                  <a:lnTo>
                    <a:pt x="122" y="227"/>
                  </a:lnTo>
                  <a:lnTo>
                    <a:pt x="122" y="268"/>
                  </a:lnTo>
                  <a:lnTo>
                    <a:pt x="9" y="268"/>
                  </a:lnTo>
                  <a:close/>
                  <a:moveTo>
                    <a:pt x="122" y="175"/>
                  </a:moveTo>
                  <a:lnTo>
                    <a:pt x="9" y="175"/>
                  </a:lnTo>
                  <a:lnTo>
                    <a:pt x="9" y="129"/>
                  </a:lnTo>
                  <a:lnTo>
                    <a:pt x="122" y="129"/>
                  </a:lnTo>
                  <a:lnTo>
                    <a:pt x="122" y="175"/>
                  </a:lnTo>
                  <a:close/>
                  <a:moveTo>
                    <a:pt x="309" y="117"/>
                  </a:moveTo>
                  <a:lnTo>
                    <a:pt x="309" y="119"/>
                  </a:lnTo>
                  <a:lnTo>
                    <a:pt x="9" y="119"/>
                  </a:lnTo>
                  <a:lnTo>
                    <a:pt x="9" y="107"/>
                  </a:lnTo>
                  <a:lnTo>
                    <a:pt x="309" y="107"/>
                  </a:lnTo>
                  <a:lnTo>
                    <a:pt x="309" y="1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98" name="Freeform 42"/>
            <p:cNvSpPr>
              <a:spLocks noEditPoints="1"/>
            </p:cNvSpPr>
            <p:nvPr/>
          </p:nvSpPr>
          <p:spPr bwMode="auto">
            <a:xfrm>
              <a:off x="929" y="18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99" name="Rectangle 43"/>
            <p:cNvSpPr>
              <a:spLocks noChangeArrowheads="1"/>
            </p:cNvSpPr>
            <p:nvPr/>
          </p:nvSpPr>
          <p:spPr bwMode="auto">
            <a:xfrm>
              <a:off x="1061" y="480"/>
              <a:ext cx="4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0" name="Rectangle 44"/>
            <p:cNvSpPr>
              <a:spLocks noChangeArrowheads="1"/>
            </p:cNvSpPr>
            <p:nvPr/>
          </p:nvSpPr>
          <p:spPr bwMode="auto">
            <a:xfrm>
              <a:off x="1061" y="526"/>
              <a:ext cx="4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1" name="Rectangle 45"/>
            <p:cNvSpPr>
              <a:spLocks noChangeArrowheads="1"/>
            </p:cNvSpPr>
            <p:nvPr/>
          </p:nvSpPr>
          <p:spPr bwMode="auto">
            <a:xfrm>
              <a:off x="1061" y="430"/>
              <a:ext cx="4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04" name="Group 48"/>
          <p:cNvGrpSpPr>
            <a:grpSpLocks noChangeAspect="1"/>
          </p:cNvGrpSpPr>
          <p:nvPr/>
        </p:nvGrpSpPr>
        <p:grpSpPr bwMode="auto">
          <a:xfrm>
            <a:off x="2524919" y="250825"/>
            <a:ext cx="850900" cy="852488"/>
            <a:chOff x="1596" y="158"/>
            <a:chExt cx="536" cy="537"/>
          </a:xfrm>
        </p:grpSpPr>
        <p:sp>
          <p:nvSpPr>
            <p:cNvPr id="45105" name="Oval 49"/>
            <p:cNvSpPr>
              <a:spLocks noChangeArrowheads="1"/>
            </p:cNvSpPr>
            <p:nvPr/>
          </p:nvSpPr>
          <p:spPr bwMode="auto">
            <a:xfrm>
              <a:off x="1596" y="158"/>
              <a:ext cx="536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06" name="Freeform 50"/>
            <p:cNvSpPr>
              <a:spLocks noEditPoints="1"/>
            </p:cNvSpPr>
            <p:nvPr/>
          </p:nvSpPr>
          <p:spPr bwMode="auto">
            <a:xfrm>
              <a:off x="1617" y="179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7" name="Rectangle 51"/>
            <p:cNvSpPr>
              <a:spLocks noChangeArrowheads="1"/>
            </p:cNvSpPr>
            <p:nvPr/>
          </p:nvSpPr>
          <p:spPr bwMode="auto">
            <a:xfrm>
              <a:off x="1854" y="330"/>
              <a:ext cx="44" cy="1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8" name="Rectangle 52"/>
            <p:cNvSpPr>
              <a:spLocks noChangeArrowheads="1"/>
            </p:cNvSpPr>
            <p:nvPr/>
          </p:nvSpPr>
          <p:spPr bwMode="auto">
            <a:xfrm>
              <a:off x="1912" y="330"/>
              <a:ext cx="43" cy="1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09" name="Rectangle 53"/>
            <p:cNvSpPr>
              <a:spLocks noChangeArrowheads="1"/>
            </p:cNvSpPr>
            <p:nvPr/>
          </p:nvSpPr>
          <p:spPr bwMode="auto">
            <a:xfrm>
              <a:off x="1854" y="364"/>
              <a:ext cx="44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0" name="Rectangle 54"/>
            <p:cNvSpPr>
              <a:spLocks noChangeArrowheads="1"/>
            </p:cNvSpPr>
            <p:nvPr/>
          </p:nvSpPr>
          <p:spPr bwMode="auto">
            <a:xfrm>
              <a:off x="1912" y="364"/>
              <a:ext cx="43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1" name="Rectangle 55"/>
            <p:cNvSpPr>
              <a:spLocks noChangeArrowheads="1"/>
            </p:cNvSpPr>
            <p:nvPr/>
          </p:nvSpPr>
          <p:spPr bwMode="auto">
            <a:xfrm>
              <a:off x="1854" y="397"/>
              <a:ext cx="44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2" name="Rectangle 56"/>
            <p:cNvSpPr>
              <a:spLocks noChangeArrowheads="1"/>
            </p:cNvSpPr>
            <p:nvPr/>
          </p:nvSpPr>
          <p:spPr bwMode="auto">
            <a:xfrm>
              <a:off x="1912" y="397"/>
              <a:ext cx="43" cy="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3" name="Rectangle 57"/>
            <p:cNvSpPr>
              <a:spLocks noChangeArrowheads="1"/>
            </p:cNvSpPr>
            <p:nvPr/>
          </p:nvSpPr>
          <p:spPr bwMode="auto">
            <a:xfrm>
              <a:off x="1854" y="429"/>
              <a:ext cx="44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4" name="Rectangle 58"/>
            <p:cNvSpPr>
              <a:spLocks noChangeArrowheads="1"/>
            </p:cNvSpPr>
            <p:nvPr/>
          </p:nvSpPr>
          <p:spPr bwMode="auto">
            <a:xfrm>
              <a:off x="1912" y="429"/>
              <a:ext cx="43" cy="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5" name="Rectangle 59"/>
            <p:cNvSpPr>
              <a:spLocks noChangeArrowheads="1"/>
            </p:cNvSpPr>
            <p:nvPr/>
          </p:nvSpPr>
          <p:spPr bwMode="auto">
            <a:xfrm>
              <a:off x="1854" y="462"/>
              <a:ext cx="44" cy="1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6" name="Rectangle 60"/>
            <p:cNvSpPr>
              <a:spLocks noChangeArrowheads="1"/>
            </p:cNvSpPr>
            <p:nvPr/>
          </p:nvSpPr>
          <p:spPr bwMode="auto">
            <a:xfrm>
              <a:off x="1912" y="462"/>
              <a:ext cx="43" cy="1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17" name="Freeform 61"/>
            <p:cNvSpPr>
              <a:spLocks noEditPoints="1"/>
            </p:cNvSpPr>
            <p:nvPr/>
          </p:nvSpPr>
          <p:spPr bwMode="auto">
            <a:xfrm>
              <a:off x="1739" y="275"/>
              <a:ext cx="242" cy="271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41" y="0"/>
                </a:cxn>
                <a:cxn ang="0">
                  <a:pos x="41" y="10"/>
                </a:cxn>
                <a:cxn ang="0">
                  <a:pos x="37" y="10"/>
                </a:cxn>
                <a:cxn ang="0">
                  <a:pos x="37" y="53"/>
                </a:cxn>
                <a:cxn ang="0">
                  <a:pos x="29" y="51"/>
                </a:cxn>
                <a:cxn ang="0">
                  <a:pos x="13" y="68"/>
                </a:cxn>
                <a:cxn ang="0">
                  <a:pos x="22" y="83"/>
                </a:cxn>
                <a:cxn ang="0">
                  <a:pos x="0" y="111"/>
                </a:cxn>
                <a:cxn ang="0">
                  <a:pos x="0" y="113"/>
                </a:cxn>
                <a:cxn ang="0">
                  <a:pos x="58" y="113"/>
                </a:cxn>
                <a:cxn ang="0">
                  <a:pos x="58" y="111"/>
                </a:cxn>
                <a:cxn ang="0">
                  <a:pos x="58" y="109"/>
                </a:cxn>
                <a:cxn ang="0">
                  <a:pos x="101" y="109"/>
                </a:cxn>
                <a:cxn ang="0">
                  <a:pos x="101" y="10"/>
                </a:cxn>
                <a:cxn ang="0">
                  <a:pos x="68" y="10"/>
                </a:cxn>
                <a:cxn ang="0">
                  <a:pos x="68" y="0"/>
                </a:cxn>
                <a:cxn ang="0">
                  <a:pos x="44" y="4"/>
                </a:cxn>
                <a:cxn ang="0">
                  <a:pos x="64" y="4"/>
                </a:cxn>
                <a:cxn ang="0">
                  <a:pos x="64" y="10"/>
                </a:cxn>
                <a:cxn ang="0">
                  <a:pos x="44" y="10"/>
                </a:cxn>
                <a:cxn ang="0">
                  <a:pos x="44" y="4"/>
                </a:cxn>
                <a:cxn ang="0">
                  <a:pos x="16" y="68"/>
                </a:cxn>
                <a:cxn ang="0">
                  <a:pos x="29" y="55"/>
                </a:cxn>
                <a:cxn ang="0">
                  <a:pos x="43" y="68"/>
                </a:cxn>
                <a:cxn ang="0">
                  <a:pos x="29" y="81"/>
                </a:cxn>
                <a:cxn ang="0">
                  <a:pos x="16" y="68"/>
                </a:cxn>
                <a:cxn ang="0">
                  <a:pos x="33" y="86"/>
                </a:cxn>
                <a:cxn ang="0">
                  <a:pos x="29" y="90"/>
                </a:cxn>
                <a:cxn ang="0">
                  <a:pos x="26" y="86"/>
                </a:cxn>
                <a:cxn ang="0">
                  <a:pos x="29" y="86"/>
                </a:cxn>
                <a:cxn ang="0">
                  <a:pos x="33" y="86"/>
                </a:cxn>
                <a:cxn ang="0">
                  <a:pos x="4" y="110"/>
                </a:cxn>
                <a:cxn ang="0">
                  <a:pos x="21" y="87"/>
                </a:cxn>
                <a:cxn ang="0">
                  <a:pos x="29" y="95"/>
                </a:cxn>
                <a:cxn ang="0">
                  <a:pos x="37" y="87"/>
                </a:cxn>
                <a:cxn ang="0">
                  <a:pos x="55" y="110"/>
                </a:cxn>
                <a:cxn ang="0">
                  <a:pos x="4" y="110"/>
                </a:cxn>
                <a:cxn ang="0">
                  <a:pos x="98" y="105"/>
                </a:cxn>
                <a:cxn ang="0">
                  <a:pos x="73" y="105"/>
                </a:cxn>
                <a:cxn ang="0">
                  <a:pos x="73" y="92"/>
                </a:cxn>
                <a:cxn ang="0">
                  <a:pos x="65" y="92"/>
                </a:cxn>
                <a:cxn ang="0">
                  <a:pos x="65" y="105"/>
                </a:cxn>
                <a:cxn ang="0">
                  <a:pos x="58" y="105"/>
                </a:cxn>
                <a:cxn ang="0">
                  <a:pos x="37" y="83"/>
                </a:cxn>
                <a:cxn ang="0">
                  <a:pos x="46" y="68"/>
                </a:cxn>
                <a:cxn ang="0">
                  <a:pos x="40" y="56"/>
                </a:cxn>
                <a:cxn ang="0">
                  <a:pos x="40" y="14"/>
                </a:cxn>
                <a:cxn ang="0">
                  <a:pos x="98" y="14"/>
                </a:cxn>
                <a:cxn ang="0">
                  <a:pos x="98" y="105"/>
                </a:cxn>
              </a:cxnLst>
              <a:rect l="0" t="0" r="r" b="b"/>
              <a:pathLst>
                <a:path w="101" h="113">
                  <a:moveTo>
                    <a:pt x="68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4" y="52"/>
                    <a:pt x="32" y="51"/>
                    <a:pt x="29" y="51"/>
                  </a:cubicBezTo>
                  <a:cubicBezTo>
                    <a:pt x="20" y="51"/>
                    <a:pt x="13" y="59"/>
                    <a:pt x="13" y="68"/>
                  </a:cubicBezTo>
                  <a:cubicBezTo>
                    <a:pt x="13" y="75"/>
                    <a:pt x="16" y="81"/>
                    <a:pt x="22" y="83"/>
                  </a:cubicBezTo>
                  <a:cubicBezTo>
                    <a:pt x="10" y="87"/>
                    <a:pt x="0" y="98"/>
                    <a:pt x="0" y="11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58" y="110"/>
                    <a:pt x="58" y="110"/>
                    <a:pt x="58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68" y="10"/>
                    <a:pt x="68" y="10"/>
                    <a:pt x="68" y="10"/>
                  </a:cubicBezTo>
                  <a:lnTo>
                    <a:pt x="68" y="0"/>
                  </a:lnTo>
                  <a:close/>
                  <a:moveTo>
                    <a:pt x="44" y="4"/>
                  </a:move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44" y="10"/>
                    <a:pt x="44" y="10"/>
                    <a:pt x="44" y="10"/>
                  </a:cubicBezTo>
                  <a:lnTo>
                    <a:pt x="44" y="4"/>
                  </a:lnTo>
                  <a:close/>
                  <a:moveTo>
                    <a:pt x="16" y="68"/>
                  </a:moveTo>
                  <a:cubicBezTo>
                    <a:pt x="16" y="61"/>
                    <a:pt x="22" y="55"/>
                    <a:pt x="29" y="55"/>
                  </a:cubicBezTo>
                  <a:cubicBezTo>
                    <a:pt x="37" y="55"/>
                    <a:pt x="43" y="61"/>
                    <a:pt x="43" y="68"/>
                  </a:cubicBezTo>
                  <a:cubicBezTo>
                    <a:pt x="43" y="75"/>
                    <a:pt x="37" y="81"/>
                    <a:pt x="29" y="81"/>
                  </a:cubicBezTo>
                  <a:cubicBezTo>
                    <a:pt x="22" y="81"/>
                    <a:pt x="16" y="75"/>
                    <a:pt x="16" y="68"/>
                  </a:cubicBezTo>
                  <a:close/>
                  <a:moveTo>
                    <a:pt x="33" y="86"/>
                  </a:moveTo>
                  <a:cubicBezTo>
                    <a:pt x="29" y="90"/>
                    <a:pt x="29" y="90"/>
                    <a:pt x="29" y="90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7" y="86"/>
                    <a:pt x="28" y="86"/>
                    <a:pt x="29" y="86"/>
                  </a:cubicBezTo>
                  <a:cubicBezTo>
                    <a:pt x="31" y="86"/>
                    <a:pt x="32" y="86"/>
                    <a:pt x="33" y="86"/>
                  </a:cubicBezTo>
                  <a:close/>
                  <a:moveTo>
                    <a:pt x="4" y="110"/>
                  </a:moveTo>
                  <a:cubicBezTo>
                    <a:pt x="5" y="99"/>
                    <a:pt x="12" y="91"/>
                    <a:pt x="21" y="87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47" y="91"/>
                    <a:pt x="54" y="99"/>
                    <a:pt x="55" y="110"/>
                  </a:cubicBezTo>
                  <a:lnTo>
                    <a:pt x="4" y="110"/>
                  </a:lnTo>
                  <a:close/>
                  <a:moveTo>
                    <a:pt x="98" y="105"/>
                  </a:moveTo>
                  <a:cubicBezTo>
                    <a:pt x="73" y="105"/>
                    <a:pt x="73" y="105"/>
                    <a:pt x="73" y="105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5" y="94"/>
                    <a:pt x="47" y="86"/>
                    <a:pt x="37" y="83"/>
                  </a:cubicBezTo>
                  <a:cubicBezTo>
                    <a:pt x="42" y="81"/>
                    <a:pt x="46" y="75"/>
                    <a:pt x="46" y="68"/>
                  </a:cubicBezTo>
                  <a:cubicBezTo>
                    <a:pt x="46" y="63"/>
                    <a:pt x="44" y="59"/>
                    <a:pt x="40" y="56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98" y="14"/>
                    <a:pt x="98" y="14"/>
                    <a:pt x="98" y="14"/>
                  </a:cubicBezTo>
                  <a:lnTo>
                    <a:pt x="98" y="10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20" name="Group 64"/>
          <p:cNvGrpSpPr>
            <a:grpSpLocks noChangeAspect="1"/>
          </p:cNvGrpSpPr>
          <p:nvPr/>
        </p:nvGrpSpPr>
        <p:grpSpPr bwMode="auto">
          <a:xfrm>
            <a:off x="3655221" y="279401"/>
            <a:ext cx="784226" cy="788988"/>
            <a:chOff x="2309" y="176"/>
            <a:chExt cx="494" cy="497"/>
          </a:xfrm>
        </p:grpSpPr>
        <p:sp>
          <p:nvSpPr>
            <p:cNvPr id="45121" name="Freeform 65"/>
            <p:cNvSpPr>
              <a:spLocks noEditPoints="1"/>
            </p:cNvSpPr>
            <p:nvPr/>
          </p:nvSpPr>
          <p:spPr bwMode="auto">
            <a:xfrm>
              <a:off x="2309" y="176"/>
              <a:ext cx="494" cy="497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7" y="202"/>
                    <a:pt x="201" y="158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2" name="Freeform 66"/>
            <p:cNvSpPr>
              <a:spLocks noEditPoints="1"/>
            </p:cNvSpPr>
            <p:nvPr/>
          </p:nvSpPr>
          <p:spPr bwMode="auto">
            <a:xfrm>
              <a:off x="2463" y="397"/>
              <a:ext cx="79" cy="79"/>
            </a:xfrm>
            <a:custGeom>
              <a:avLst/>
              <a:gdLst/>
              <a:ahLst/>
              <a:cxnLst>
                <a:cxn ang="0">
                  <a:pos x="16" y="33"/>
                </a:cxn>
                <a:cxn ang="0">
                  <a:pos x="0" y="17"/>
                </a:cxn>
                <a:cxn ang="0">
                  <a:pos x="16" y="0"/>
                </a:cxn>
                <a:cxn ang="0">
                  <a:pos x="33" y="17"/>
                </a:cxn>
                <a:cxn ang="0">
                  <a:pos x="16" y="33"/>
                </a:cxn>
                <a:cxn ang="0">
                  <a:pos x="16" y="3"/>
                </a:cxn>
                <a:cxn ang="0">
                  <a:pos x="3" y="17"/>
                </a:cxn>
                <a:cxn ang="0">
                  <a:pos x="16" y="30"/>
                </a:cxn>
                <a:cxn ang="0">
                  <a:pos x="30" y="17"/>
                </a:cxn>
                <a:cxn ang="0">
                  <a:pos x="16" y="3"/>
                </a:cxn>
              </a:cxnLst>
              <a:rect l="0" t="0" r="r" b="b"/>
              <a:pathLst>
                <a:path w="33" h="33">
                  <a:moveTo>
                    <a:pt x="16" y="33"/>
                  </a:moveTo>
                  <a:cubicBezTo>
                    <a:pt x="7" y="33"/>
                    <a:pt x="0" y="26"/>
                    <a:pt x="0" y="17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6" y="0"/>
                    <a:pt x="33" y="7"/>
                    <a:pt x="33" y="17"/>
                  </a:cubicBezTo>
                  <a:cubicBezTo>
                    <a:pt x="33" y="26"/>
                    <a:pt x="26" y="33"/>
                    <a:pt x="16" y="33"/>
                  </a:cubicBezTo>
                  <a:close/>
                  <a:moveTo>
                    <a:pt x="16" y="3"/>
                  </a:moveTo>
                  <a:cubicBezTo>
                    <a:pt x="9" y="3"/>
                    <a:pt x="3" y="9"/>
                    <a:pt x="3" y="17"/>
                  </a:cubicBezTo>
                  <a:cubicBezTo>
                    <a:pt x="3" y="24"/>
                    <a:pt x="9" y="30"/>
                    <a:pt x="16" y="30"/>
                  </a:cubicBezTo>
                  <a:cubicBezTo>
                    <a:pt x="24" y="30"/>
                    <a:pt x="30" y="24"/>
                    <a:pt x="30" y="17"/>
                  </a:cubicBezTo>
                  <a:cubicBezTo>
                    <a:pt x="30" y="9"/>
                    <a:pt x="24" y="3"/>
                    <a:pt x="16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3" name="Freeform 67"/>
            <p:cNvSpPr>
              <a:spLocks noEditPoints="1"/>
            </p:cNvSpPr>
            <p:nvPr/>
          </p:nvSpPr>
          <p:spPr bwMode="auto">
            <a:xfrm>
              <a:off x="2432" y="471"/>
              <a:ext cx="139" cy="75"/>
            </a:xfrm>
            <a:custGeom>
              <a:avLst/>
              <a:gdLst/>
              <a:ahLst/>
              <a:cxnLst>
                <a:cxn ang="0">
                  <a:pos x="58" y="31"/>
                </a:cxn>
                <a:cxn ang="0">
                  <a:pos x="0" y="31"/>
                </a:cxn>
                <a:cxn ang="0">
                  <a:pos x="0" y="29"/>
                </a:cxn>
                <a:cxn ang="0">
                  <a:pos x="29" y="0"/>
                </a:cxn>
                <a:cxn ang="0">
                  <a:pos x="58" y="29"/>
                </a:cxn>
                <a:cxn ang="0">
                  <a:pos x="58" y="31"/>
                </a:cxn>
                <a:cxn ang="0">
                  <a:pos x="4" y="27"/>
                </a:cxn>
                <a:cxn ang="0">
                  <a:pos x="55" y="27"/>
                </a:cxn>
                <a:cxn ang="0">
                  <a:pos x="29" y="3"/>
                </a:cxn>
                <a:cxn ang="0">
                  <a:pos x="4" y="27"/>
                </a:cxn>
              </a:cxnLst>
              <a:rect l="0" t="0" r="r" b="b"/>
              <a:pathLst>
                <a:path w="58" h="31">
                  <a:moveTo>
                    <a:pt x="58" y="31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lnTo>
                    <a:pt x="58" y="31"/>
                  </a:lnTo>
                  <a:close/>
                  <a:moveTo>
                    <a:pt x="4" y="27"/>
                  </a:moveTo>
                  <a:cubicBezTo>
                    <a:pt x="55" y="27"/>
                    <a:pt x="55" y="27"/>
                    <a:pt x="55" y="27"/>
                  </a:cubicBezTo>
                  <a:cubicBezTo>
                    <a:pt x="54" y="14"/>
                    <a:pt x="43" y="3"/>
                    <a:pt x="29" y="3"/>
                  </a:cubicBezTo>
                  <a:cubicBezTo>
                    <a:pt x="16" y="3"/>
                    <a:pt x="5" y="14"/>
                    <a:pt x="4" y="2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4" name="Freeform 68"/>
            <p:cNvSpPr>
              <a:spLocks/>
            </p:cNvSpPr>
            <p:nvPr/>
          </p:nvSpPr>
          <p:spPr bwMode="auto">
            <a:xfrm>
              <a:off x="2482" y="476"/>
              <a:ext cx="38" cy="26"/>
            </a:xfrm>
            <a:custGeom>
              <a:avLst/>
              <a:gdLst/>
              <a:ahLst/>
              <a:cxnLst>
                <a:cxn ang="0">
                  <a:pos x="19" y="26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19" y="12"/>
                </a:cxn>
                <a:cxn ang="0">
                  <a:pos x="34" y="0"/>
                </a:cxn>
                <a:cxn ang="0">
                  <a:pos x="38" y="7"/>
                </a:cxn>
                <a:cxn ang="0">
                  <a:pos x="19" y="26"/>
                </a:cxn>
              </a:cxnLst>
              <a:rect l="0" t="0" r="r" b="b"/>
              <a:pathLst>
                <a:path w="38" h="26">
                  <a:moveTo>
                    <a:pt x="19" y="26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19" y="12"/>
                  </a:lnTo>
                  <a:lnTo>
                    <a:pt x="34" y="0"/>
                  </a:lnTo>
                  <a:lnTo>
                    <a:pt x="38" y="7"/>
                  </a:lnTo>
                  <a:lnTo>
                    <a:pt x="19" y="2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25" name="Freeform 69"/>
            <p:cNvSpPr>
              <a:spLocks/>
            </p:cNvSpPr>
            <p:nvPr/>
          </p:nvSpPr>
          <p:spPr bwMode="auto">
            <a:xfrm>
              <a:off x="2520" y="299"/>
              <a:ext cx="154" cy="235"/>
            </a:xfrm>
            <a:custGeom>
              <a:avLst/>
              <a:gdLst/>
              <a:ahLst/>
              <a:cxnLst>
                <a:cxn ang="0">
                  <a:pos x="154" y="235"/>
                </a:cxn>
                <a:cxn ang="0">
                  <a:pos x="46" y="235"/>
                </a:cxn>
                <a:cxn ang="0">
                  <a:pos x="46" y="225"/>
                </a:cxn>
                <a:cxn ang="0">
                  <a:pos x="147" y="225"/>
                </a:cxn>
                <a:cxn ang="0">
                  <a:pos x="147" y="7"/>
                </a:cxn>
                <a:cxn ang="0">
                  <a:pos x="8" y="7"/>
                </a:cxn>
                <a:cxn ang="0">
                  <a:pos x="8" y="110"/>
                </a:cxn>
                <a:cxn ang="0">
                  <a:pos x="0" y="110"/>
                </a:cxn>
                <a:cxn ang="0">
                  <a:pos x="0" y="0"/>
                </a:cxn>
                <a:cxn ang="0">
                  <a:pos x="154" y="0"/>
                </a:cxn>
                <a:cxn ang="0">
                  <a:pos x="154" y="235"/>
                </a:cxn>
              </a:cxnLst>
              <a:rect l="0" t="0" r="r" b="b"/>
              <a:pathLst>
                <a:path w="154" h="235">
                  <a:moveTo>
                    <a:pt x="154" y="235"/>
                  </a:moveTo>
                  <a:lnTo>
                    <a:pt x="46" y="235"/>
                  </a:lnTo>
                  <a:lnTo>
                    <a:pt x="46" y="225"/>
                  </a:lnTo>
                  <a:lnTo>
                    <a:pt x="147" y="225"/>
                  </a:lnTo>
                  <a:lnTo>
                    <a:pt x="147" y="7"/>
                  </a:lnTo>
                  <a:lnTo>
                    <a:pt x="8" y="7"/>
                  </a:lnTo>
                  <a:lnTo>
                    <a:pt x="8" y="110"/>
                  </a:lnTo>
                  <a:lnTo>
                    <a:pt x="0" y="110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54" y="23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6" name="Rectangle 70"/>
            <p:cNvSpPr>
              <a:spLocks noChangeArrowheads="1"/>
            </p:cNvSpPr>
            <p:nvPr/>
          </p:nvSpPr>
          <p:spPr bwMode="auto">
            <a:xfrm>
              <a:off x="2547" y="330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7" name="Rectangle 71"/>
            <p:cNvSpPr>
              <a:spLocks noChangeArrowheads="1"/>
            </p:cNvSpPr>
            <p:nvPr/>
          </p:nvSpPr>
          <p:spPr bwMode="auto">
            <a:xfrm>
              <a:off x="2604" y="330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8" name="Rectangle 72"/>
            <p:cNvSpPr>
              <a:spLocks noChangeArrowheads="1"/>
            </p:cNvSpPr>
            <p:nvPr/>
          </p:nvSpPr>
          <p:spPr bwMode="auto">
            <a:xfrm>
              <a:off x="2547" y="363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29" name="Rectangle 73"/>
            <p:cNvSpPr>
              <a:spLocks noChangeArrowheads="1"/>
            </p:cNvSpPr>
            <p:nvPr/>
          </p:nvSpPr>
          <p:spPr bwMode="auto">
            <a:xfrm>
              <a:off x="2604" y="363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0" name="Rectangle 74"/>
            <p:cNvSpPr>
              <a:spLocks noChangeArrowheads="1"/>
            </p:cNvSpPr>
            <p:nvPr/>
          </p:nvSpPr>
          <p:spPr bwMode="auto">
            <a:xfrm>
              <a:off x="2547" y="395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1" name="Rectangle 75"/>
            <p:cNvSpPr>
              <a:spLocks noChangeArrowheads="1"/>
            </p:cNvSpPr>
            <p:nvPr/>
          </p:nvSpPr>
          <p:spPr bwMode="auto">
            <a:xfrm>
              <a:off x="2604" y="395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2" name="Rectangle 76"/>
            <p:cNvSpPr>
              <a:spLocks noChangeArrowheads="1"/>
            </p:cNvSpPr>
            <p:nvPr/>
          </p:nvSpPr>
          <p:spPr bwMode="auto">
            <a:xfrm>
              <a:off x="2547" y="428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3" name="Rectangle 77"/>
            <p:cNvSpPr>
              <a:spLocks noChangeArrowheads="1"/>
            </p:cNvSpPr>
            <p:nvPr/>
          </p:nvSpPr>
          <p:spPr bwMode="auto">
            <a:xfrm>
              <a:off x="2604" y="428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4" name="Rectangle 78"/>
            <p:cNvSpPr>
              <a:spLocks noChangeArrowheads="1"/>
            </p:cNvSpPr>
            <p:nvPr/>
          </p:nvSpPr>
          <p:spPr bwMode="auto">
            <a:xfrm>
              <a:off x="2547" y="462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5" name="Rectangle 79"/>
            <p:cNvSpPr>
              <a:spLocks noChangeArrowheads="1"/>
            </p:cNvSpPr>
            <p:nvPr/>
          </p:nvSpPr>
          <p:spPr bwMode="auto">
            <a:xfrm>
              <a:off x="2604" y="462"/>
              <a:ext cx="43" cy="12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6" name="Rectangle 80"/>
            <p:cNvSpPr>
              <a:spLocks noChangeArrowheads="1"/>
            </p:cNvSpPr>
            <p:nvPr/>
          </p:nvSpPr>
          <p:spPr bwMode="auto">
            <a:xfrm>
              <a:off x="2588" y="495"/>
              <a:ext cx="19" cy="34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37" name="Freeform 81"/>
            <p:cNvSpPr>
              <a:spLocks/>
            </p:cNvSpPr>
            <p:nvPr/>
          </p:nvSpPr>
          <p:spPr bwMode="auto">
            <a:xfrm>
              <a:off x="2530" y="272"/>
              <a:ext cx="65" cy="29"/>
            </a:xfrm>
            <a:custGeom>
              <a:avLst/>
              <a:gdLst/>
              <a:ahLst/>
              <a:cxnLst>
                <a:cxn ang="0">
                  <a:pos x="65" y="29"/>
                </a:cxn>
                <a:cxn ang="0">
                  <a:pos x="55" y="29"/>
                </a:cxn>
                <a:cxn ang="0">
                  <a:pos x="55" y="10"/>
                </a:cxn>
                <a:cxn ang="0">
                  <a:pos x="7" y="10"/>
                </a:cxn>
                <a:cxn ang="0">
                  <a:pos x="7" y="29"/>
                </a:cxn>
                <a:cxn ang="0">
                  <a:pos x="0" y="29"/>
                </a:cxn>
                <a:cxn ang="0">
                  <a:pos x="0" y="0"/>
                </a:cxn>
                <a:cxn ang="0">
                  <a:pos x="65" y="0"/>
                </a:cxn>
                <a:cxn ang="0">
                  <a:pos x="65" y="29"/>
                </a:cxn>
              </a:cxnLst>
              <a:rect l="0" t="0" r="r" b="b"/>
              <a:pathLst>
                <a:path w="65" h="29">
                  <a:moveTo>
                    <a:pt x="65" y="29"/>
                  </a:moveTo>
                  <a:lnTo>
                    <a:pt x="55" y="29"/>
                  </a:lnTo>
                  <a:lnTo>
                    <a:pt x="55" y="10"/>
                  </a:lnTo>
                  <a:lnTo>
                    <a:pt x="7" y="10"/>
                  </a:lnTo>
                  <a:lnTo>
                    <a:pt x="7" y="29"/>
                  </a:lnTo>
                  <a:lnTo>
                    <a:pt x="0" y="29"/>
                  </a:lnTo>
                  <a:lnTo>
                    <a:pt x="0" y="0"/>
                  </a:lnTo>
                  <a:lnTo>
                    <a:pt x="65" y="0"/>
                  </a:lnTo>
                  <a:lnTo>
                    <a:pt x="65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40" name="Group 84"/>
          <p:cNvGrpSpPr>
            <a:grpSpLocks noChangeAspect="1"/>
          </p:cNvGrpSpPr>
          <p:nvPr/>
        </p:nvGrpSpPr>
        <p:grpSpPr bwMode="auto">
          <a:xfrm>
            <a:off x="4725194" y="257175"/>
            <a:ext cx="839788" cy="839788"/>
            <a:chOff x="2984" y="162"/>
            <a:chExt cx="529" cy="529"/>
          </a:xfrm>
        </p:grpSpPr>
        <p:sp>
          <p:nvSpPr>
            <p:cNvPr id="45141" name="Oval 85"/>
            <p:cNvSpPr>
              <a:spLocks noChangeArrowheads="1"/>
            </p:cNvSpPr>
            <p:nvPr/>
          </p:nvSpPr>
          <p:spPr bwMode="auto">
            <a:xfrm>
              <a:off x="2984" y="162"/>
              <a:ext cx="529" cy="52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42" name="Freeform 86"/>
            <p:cNvSpPr>
              <a:spLocks noEditPoints="1"/>
            </p:cNvSpPr>
            <p:nvPr/>
          </p:nvSpPr>
          <p:spPr bwMode="auto">
            <a:xfrm>
              <a:off x="3197" y="260"/>
              <a:ext cx="105" cy="103"/>
            </a:xfrm>
            <a:custGeom>
              <a:avLst/>
              <a:gdLst/>
              <a:ahLst/>
              <a:cxnLst>
                <a:cxn ang="0">
                  <a:pos x="44" y="41"/>
                </a:cxn>
                <a:cxn ang="0">
                  <a:pos x="30" y="23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3" y="23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44" y="43"/>
                </a:cxn>
                <a:cxn ang="0">
                  <a:pos x="44" y="41"/>
                </a:cxn>
                <a:cxn ang="0">
                  <a:pos x="12" y="13"/>
                </a:cxn>
                <a:cxn ang="0">
                  <a:pos x="22" y="3"/>
                </a:cxn>
                <a:cxn ang="0">
                  <a:pos x="31" y="13"/>
                </a:cxn>
                <a:cxn ang="0">
                  <a:pos x="25" y="21"/>
                </a:cxn>
                <a:cxn ang="0">
                  <a:pos x="25" y="21"/>
                </a:cxn>
                <a:cxn ang="0">
                  <a:pos x="22" y="22"/>
                </a:cxn>
                <a:cxn ang="0">
                  <a:pos x="19" y="22"/>
                </a:cxn>
                <a:cxn ang="0">
                  <a:pos x="19" y="21"/>
                </a:cxn>
                <a:cxn ang="0">
                  <a:pos x="12" y="13"/>
                </a:cxn>
                <a:cxn ang="0">
                  <a:pos x="4" y="40"/>
                </a:cxn>
                <a:cxn ang="0">
                  <a:pos x="18" y="25"/>
                </a:cxn>
                <a:cxn ang="0">
                  <a:pos x="22" y="26"/>
                </a:cxn>
                <a:cxn ang="0">
                  <a:pos x="26" y="25"/>
                </a:cxn>
                <a:cxn ang="0">
                  <a:pos x="40" y="40"/>
                </a:cxn>
                <a:cxn ang="0">
                  <a:pos x="4" y="40"/>
                </a:cxn>
              </a:cxnLst>
              <a:rect l="0" t="0" r="r" b="b"/>
              <a:pathLst>
                <a:path w="44" h="43">
                  <a:moveTo>
                    <a:pt x="44" y="41"/>
                  </a:moveTo>
                  <a:cubicBezTo>
                    <a:pt x="43" y="33"/>
                    <a:pt x="38" y="26"/>
                    <a:pt x="30" y="23"/>
                  </a:cubicBezTo>
                  <a:cubicBezTo>
                    <a:pt x="33" y="20"/>
                    <a:pt x="35" y="17"/>
                    <a:pt x="35" y="13"/>
                  </a:cubicBezTo>
                  <a:cubicBezTo>
                    <a:pt x="35" y="6"/>
                    <a:pt x="29" y="0"/>
                    <a:pt x="22" y="0"/>
                  </a:cubicBezTo>
                  <a:cubicBezTo>
                    <a:pt x="15" y="0"/>
                    <a:pt x="9" y="6"/>
                    <a:pt x="9" y="13"/>
                  </a:cubicBezTo>
                  <a:cubicBezTo>
                    <a:pt x="9" y="17"/>
                    <a:pt x="11" y="20"/>
                    <a:pt x="13" y="23"/>
                  </a:cubicBezTo>
                  <a:cubicBezTo>
                    <a:pt x="6" y="26"/>
                    <a:pt x="1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4" y="43"/>
                    <a:pt x="44" y="43"/>
                    <a:pt x="44" y="43"/>
                  </a:cubicBezTo>
                  <a:lnTo>
                    <a:pt x="44" y="41"/>
                  </a:lnTo>
                  <a:close/>
                  <a:moveTo>
                    <a:pt x="12" y="13"/>
                  </a:moveTo>
                  <a:cubicBezTo>
                    <a:pt x="12" y="8"/>
                    <a:pt x="17" y="3"/>
                    <a:pt x="22" y="3"/>
                  </a:cubicBezTo>
                  <a:cubicBezTo>
                    <a:pt x="27" y="3"/>
                    <a:pt x="31" y="8"/>
                    <a:pt x="31" y="13"/>
                  </a:cubicBezTo>
                  <a:cubicBezTo>
                    <a:pt x="31" y="17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1" y="22"/>
                    <a:pt x="20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5" y="20"/>
                    <a:pt x="12" y="17"/>
                    <a:pt x="12" y="13"/>
                  </a:cubicBezTo>
                  <a:close/>
                  <a:moveTo>
                    <a:pt x="4" y="40"/>
                  </a:moveTo>
                  <a:cubicBezTo>
                    <a:pt x="5" y="32"/>
                    <a:pt x="11" y="27"/>
                    <a:pt x="18" y="25"/>
                  </a:cubicBezTo>
                  <a:cubicBezTo>
                    <a:pt x="19" y="25"/>
                    <a:pt x="21" y="26"/>
                    <a:pt x="22" y="26"/>
                  </a:cubicBezTo>
                  <a:cubicBezTo>
                    <a:pt x="23" y="26"/>
                    <a:pt x="25" y="25"/>
                    <a:pt x="26" y="25"/>
                  </a:cubicBezTo>
                  <a:cubicBezTo>
                    <a:pt x="33" y="27"/>
                    <a:pt x="38" y="32"/>
                    <a:pt x="40" y="40"/>
                  </a:cubicBezTo>
                  <a:lnTo>
                    <a:pt x="4" y="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3" name="Freeform 87"/>
            <p:cNvSpPr>
              <a:spLocks noEditPoints="1"/>
            </p:cNvSpPr>
            <p:nvPr/>
          </p:nvSpPr>
          <p:spPr bwMode="auto">
            <a:xfrm>
              <a:off x="3297" y="427"/>
              <a:ext cx="106" cy="103"/>
            </a:xfrm>
            <a:custGeom>
              <a:avLst/>
              <a:gdLst/>
              <a:ahLst/>
              <a:cxnLst>
                <a:cxn ang="0">
                  <a:pos x="31" y="22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4" y="22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44" y="43"/>
                </a:cxn>
                <a:cxn ang="0">
                  <a:pos x="44" y="41"/>
                </a:cxn>
                <a:cxn ang="0">
                  <a:pos x="31" y="22"/>
                </a:cxn>
                <a:cxn ang="0">
                  <a:pos x="13" y="13"/>
                </a:cxn>
                <a:cxn ang="0">
                  <a:pos x="22" y="3"/>
                </a:cxn>
                <a:cxn ang="0">
                  <a:pos x="32" y="13"/>
                </a:cxn>
                <a:cxn ang="0">
                  <a:pos x="25" y="21"/>
                </a:cxn>
                <a:cxn ang="0">
                  <a:pos x="25" y="21"/>
                </a:cxn>
                <a:cxn ang="0">
                  <a:pos x="22" y="22"/>
                </a:cxn>
                <a:cxn ang="0">
                  <a:pos x="19" y="21"/>
                </a:cxn>
                <a:cxn ang="0">
                  <a:pos x="19" y="21"/>
                </a:cxn>
                <a:cxn ang="0">
                  <a:pos x="13" y="13"/>
                </a:cxn>
                <a:cxn ang="0">
                  <a:pos x="4" y="39"/>
                </a:cxn>
                <a:cxn ang="0">
                  <a:pos x="18" y="25"/>
                </a:cxn>
                <a:cxn ang="0">
                  <a:pos x="22" y="26"/>
                </a:cxn>
                <a:cxn ang="0">
                  <a:pos x="26" y="25"/>
                </a:cxn>
                <a:cxn ang="0">
                  <a:pos x="40" y="39"/>
                </a:cxn>
                <a:cxn ang="0">
                  <a:pos x="4" y="39"/>
                </a:cxn>
              </a:cxnLst>
              <a:rect l="0" t="0" r="r" b="b"/>
              <a:pathLst>
                <a:path w="44" h="43">
                  <a:moveTo>
                    <a:pt x="31" y="22"/>
                  </a:moveTo>
                  <a:cubicBezTo>
                    <a:pt x="33" y="20"/>
                    <a:pt x="35" y="16"/>
                    <a:pt x="35" y="13"/>
                  </a:cubicBezTo>
                  <a:cubicBezTo>
                    <a:pt x="35" y="5"/>
                    <a:pt x="29" y="0"/>
                    <a:pt x="22" y="0"/>
                  </a:cubicBezTo>
                  <a:cubicBezTo>
                    <a:pt x="15" y="0"/>
                    <a:pt x="9" y="5"/>
                    <a:pt x="9" y="13"/>
                  </a:cubicBezTo>
                  <a:cubicBezTo>
                    <a:pt x="9" y="16"/>
                    <a:pt x="11" y="20"/>
                    <a:pt x="14" y="22"/>
                  </a:cubicBezTo>
                  <a:cubicBezTo>
                    <a:pt x="6" y="26"/>
                    <a:pt x="1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3"/>
                    <a:pt x="38" y="26"/>
                    <a:pt x="31" y="22"/>
                  </a:cubicBezTo>
                  <a:close/>
                  <a:moveTo>
                    <a:pt x="13" y="13"/>
                  </a:moveTo>
                  <a:cubicBezTo>
                    <a:pt x="13" y="7"/>
                    <a:pt x="17" y="3"/>
                    <a:pt x="22" y="3"/>
                  </a:cubicBezTo>
                  <a:cubicBezTo>
                    <a:pt x="27" y="3"/>
                    <a:pt x="32" y="7"/>
                    <a:pt x="32" y="13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1" y="22"/>
                    <a:pt x="20" y="22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5" y="20"/>
                    <a:pt x="13" y="16"/>
                    <a:pt x="13" y="13"/>
                  </a:cubicBezTo>
                  <a:close/>
                  <a:moveTo>
                    <a:pt x="4" y="39"/>
                  </a:moveTo>
                  <a:cubicBezTo>
                    <a:pt x="6" y="32"/>
                    <a:pt x="11" y="27"/>
                    <a:pt x="18" y="25"/>
                  </a:cubicBezTo>
                  <a:cubicBezTo>
                    <a:pt x="20" y="25"/>
                    <a:pt x="21" y="26"/>
                    <a:pt x="22" y="26"/>
                  </a:cubicBezTo>
                  <a:cubicBezTo>
                    <a:pt x="24" y="26"/>
                    <a:pt x="25" y="25"/>
                    <a:pt x="26" y="25"/>
                  </a:cubicBezTo>
                  <a:cubicBezTo>
                    <a:pt x="33" y="27"/>
                    <a:pt x="39" y="32"/>
                    <a:pt x="40" y="39"/>
                  </a:cubicBezTo>
                  <a:lnTo>
                    <a:pt x="4" y="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4" name="Freeform 88"/>
            <p:cNvSpPr>
              <a:spLocks noEditPoints="1"/>
            </p:cNvSpPr>
            <p:nvPr/>
          </p:nvSpPr>
          <p:spPr bwMode="auto">
            <a:xfrm>
              <a:off x="3096" y="427"/>
              <a:ext cx="103" cy="103"/>
            </a:xfrm>
            <a:custGeom>
              <a:avLst/>
              <a:gdLst/>
              <a:ahLst/>
              <a:cxnLst>
                <a:cxn ang="0">
                  <a:pos x="30" y="22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3" y="22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43" y="43"/>
                </a:cxn>
                <a:cxn ang="0">
                  <a:pos x="43" y="41"/>
                </a:cxn>
                <a:cxn ang="0">
                  <a:pos x="30" y="22"/>
                </a:cxn>
                <a:cxn ang="0">
                  <a:pos x="12" y="13"/>
                </a:cxn>
                <a:cxn ang="0">
                  <a:pos x="22" y="3"/>
                </a:cxn>
                <a:cxn ang="0">
                  <a:pos x="31" y="13"/>
                </a:cxn>
                <a:cxn ang="0">
                  <a:pos x="25" y="21"/>
                </a:cxn>
                <a:cxn ang="0">
                  <a:pos x="25" y="21"/>
                </a:cxn>
                <a:cxn ang="0">
                  <a:pos x="22" y="22"/>
                </a:cxn>
                <a:cxn ang="0">
                  <a:pos x="19" y="21"/>
                </a:cxn>
                <a:cxn ang="0">
                  <a:pos x="18" y="21"/>
                </a:cxn>
                <a:cxn ang="0">
                  <a:pos x="12" y="13"/>
                </a:cxn>
                <a:cxn ang="0">
                  <a:pos x="4" y="39"/>
                </a:cxn>
                <a:cxn ang="0">
                  <a:pos x="17" y="25"/>
                </a:cxn>
                <a:cxn ang="0">
                  <a:pos x="22" y="26"/>
                </a:cxn>
                <a:cxn ang="0">
                  <a:pos x="26" y="25"/>
                </a:cxn>
                <a:cxn ang="0">
                  <a:pos x="39" y="39"/>
                </a:cxn>
                <a:cxn ang="0">
                  <a:pos x="4" y="39"/>
                </a:cxn>
              </a:cxnLst>
              <a:rect l="0" t="0" r="r" b="b"/>
              <a:pathLst>
                <a:path w="43" h="43">
                  <a:moveTo>
                    <a:pt x="30" y="22"/>
                  </a:moveTo>
                  <a:cubicBezTo>
                    <a:pt x="33" y="20"/>
                    <a:pt x="35" y="16"/>
                    <a:pt x="35" y="13"/>
                  </a:cubicBezTo>
                  <a:cubicBezTo>
                    <a:pt x="35" y="5"/>
                    <a:pt x="29" y="0"/>
                    <a:pt x="22" y="0"/>
                  </a:cubicBezTo>
                  <a:cubicBezTo>
                    <a:pt x="14" y="0"/>
                    <a:pt x="9" y="5"/>
                    <a:pt x="9" y="13"/>
                  </a:cubicBezTo>
                  <a:cubicBezTo>
                    <a:pt x="9" y="16"/>
                    <a:pt x="10" y="20"/>
                    <a:pt x="13" y="22"/>
                  </a:cubicBezTo>
                  <a:cubicBezTo>
                    <a:pt x="6" y="26"/>
                    <a:pt x="0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33"/>
                    <a:pt x="37" y="26"/>
                    <a:pt x="30" y="22"/>
                  </a:cubicBezTo>
                  <a:close/>
                  <a:moveTo>
                    <a:pt x="12" y="13"/>
                  </a:moveTo>
                  <a:cubicBezTo>
                    <a:pt x="12" y="7"/>
                    <a:pt x="16" y="3"/>
                    <a:pt x="22" y="3"/>
                  </a:cubicBezTo>
                  <a:cubicBezTo>
                    <a:pt x="27" y="3"/>
                    <a:pt x="31" y="7"/>
                    <a:pt x="31" y="13"/>
                  </a:cubicBezTo>
                  <a:cubicBezTo>
                    <a:pt x="31" y="16"/>
                    <a:pt x="28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1" y="22"/>
                    <a:pt x="19" y="22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5" y="20"/>
                    <a:pt x="12" y="16"/>
                    <a:pt x="12" y="13"/>
                  </a:cubicBezTo>
                  <a:close/>
                  <a:moveTo>
                    <a:pt x="4" y="39"/>
                  </a:moveTo>
                  <a:cubicBezTo>
                    <a:pt x="5" y="32"/>
                    <a:pt x="10" y="27"/>
                    <a:pt x="17" y="25"/>
                  </a:cubicBezTo>
                  <a:cubicBezTo>
                    <a:pt x="19" y="25"/>
                    <a:pt x="21" y="26"/>
                    <a:pt x="22" y="26"/>
                  </a:cubicBezTo>
                  <a:cubicBezTo>
                    <a:pt x="23" y="26"/>
                    <a:pt x="24" y="25"/>
                    <a:pt x="26" y="25"/>
                  </a:cubicBezTo>
                  <a:cubicBezTo>
                    <a:pt x="33" y="27"/>
                    <a:pt x="38" y="32"/>
                    <a:pt x="39" y="39"/>
                  </a:cubicBezTo>
                  <a:lnTo>
                    <a:pt x="4" y="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5" name="Freeform 89"/>
            <p:cNvSpPr>
              <a:spLocks noEditPoints="1"/>
            </p:cNvSpPr>
            <p:nvPr/>
          </p:nvSpPr>
          <p:spPr bwMode="auto">
            <a:xfrm>
              <a:off x="3008" y="186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46" name="Freeform 90"/>
            <p:cNvSpPr>
              <a:spLocks/>
            </p:cNvSpPr>
            <p:nvPr/>
          </p:nvSpPr>
          <p:spPr bwMode="auto">
            <a:xfrm>
              <a:off x="3199" y="382"/>
              <a:ext cx="101" cy="88"/>
            </a:xfrm>
            <a:custGeom>
              <a:avLst/>
              <a:gdLst/>
              <a:ahLst/>
              <a:cxnLst>
                <a:cxn ang="0">
                  <a:pos x="55" y="48"/>
                </a:cxn>
                <a:cxn ang="0">
                  <a:pos x="55" y="0"/>
                </a:cxn>
                <a:cxn ang="0">
                  <a:pos x="46" y="0"/>
                </a:cxn>
                <a:cxn ang="0">
                  <a:pos x="46" y="48"/>
                </a:cxn>
                <a:cxn ang="0">
                  <a:pos x="0" y="81"/>
                </a:cxn>
                <a:cxn ang="0">
                  <a:pos x="5" y="88"/>
                </a:cxn>
                <a:cxn ang="0">
                  <a:pos x="50" y="55"/>
                </a:cxn>
                <a:cxn ang="0">
                  <a:pos x="96" y="88"/>
                </a:cxn>
                <a:cxn ang="0">
                  <a:pos x="101" y="81"/>
                </a:cxn>
                <a:cxn ang="0">
                  <a:pos x="55" y="48"/>
                </a:cxn>
              </a:cxnLst>
              <a:rect l="0" t="0" r="r" b="b"/>
              <a:pathLst>
                <a:path w="101" h="88">
                  <a:moveTo>
                    <a:pt x="55" y="48"/>
                  </a:moveTo>
                  <a:lnTo>
                    <a:pt x="55" y="0"/>
                  </a:lnTo>
                  <a:lnTo>
                    <a:pt x="46" y="0"/>
                  </a:lnTo>
                  <a:lnTo>
                    <a:pt x="46" y="48"/>
                  </a:lnTo>
                  <a:lnTo>
                    <a:pt x="0" y="81"/>
                  </a:lnTo>
                  <a:lnTo>
                    <a:pt x="5" y="88"/>
                  </a:lnTo>
                  <a:lnTo>
                    <a:pt x="50" y="55"/>
                  </a:lnTo>
                  <a:lnTo>
                    <a:pt x="96" y="88"/>
                  </a:lnTo>
                  <a:lnTo>
                    <a:pt x="101" y="81"/>
                  </a:lnTo>
                  <a:lnTo>
                    <a:pt x="55" y="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49" name="Group 93"/>
          <p:cNvGrpSpPr>
            <a:grpSpLocks noChangeAspect="1"/>
          </p:cNvGrpSpPr>
          <p:nvPr/>
        </p:nvGrpSpPr>
        <p:grpSpPr bwMode="auto">
          <a:xfrm>
            <a:off x="5859458" y="293688"/>
            <a:ext cx="768350" cy="768350"/>
            <a:chOff x="3700" y="185"/>
            <a:chExt cx="484" cy="484"/>
          </a:xfrm>
        </p:grpSpPr>
        <p:sp>
          <p:nvSpPr>
            <p:cNvPr id="45150" name="Freeform 94"/>
            <p:cNvSpPr>
              <a:spLocks noEditPoints="1"/>
            </p:cNvSpPr>
            <p:nvPr/>
          </p:nvSpPr>
          <p:spPr bwMode="auto">
            <a:xfrm>
              <a:off x="3890" y="260"/>
              <a:ext cx="105" cy="103"/>
            </a:xfrm>
            <a:custGeom>
              <a:avLst/>
              <a:gdLst/>
              <a:ahLst/>
              <a:cxnLst>
                <a:cxn ang="0">
                  <a:pos x="44" y="41"/>
                </a:cxn>
                <a:cxn ang="0">
                  <a:pos x="30" y="23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4" y="23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44" y="43"/>
                </a:cxn>
                <a:cxn ang="0">
                  <a:pos x="44" y="41"/>
                </a:cxn>
                <a:cxn ang="0">
                  <a:pos x="13" y="13"/>
                </a:cxn>
                <a:cxn ang="0">
                  <a:pos x="22" y="3"/>
                </a:cxn>
                <a:cxn ang="0">
                  <a:pos x="31" y="13"/>
                </a:cxn>
                <a:cxn ang="0">
                  <a:pos x="25" y="21"/>
                </a:cxn>
                <a:cxn ang="0">
                  <a:pos x="25" y="22"/>
                </a:cxn>
                <a:cxn ang="0">
                  <a:pos x="22" y="22"/>
                </a:cxn>
                <a:cxn ang="0">
                  <a:pos x="19" y="22"/>
                </a:cxn>
                <a:cxn ang="0">
                  <a:pos x="19" y="21"/>
                </a:cxn>
                <a:cxn ang="0">
                  <a:pos x="13" y="13"/>
                </a:cxn>
                <a:cxn ang="0">
                  <a:pos x="4" y="40"/>
                </a:cxn>
                <a:cxn ang="0">
                  <a:pos x="18" y="25"/>
                </a:cxn>
                <a:cxn ang="0">
                  <a:pos x="22" y="26"/>
                </a:cxn>
                <a:cxn ang="0">
                  <a:pos x="26" y="25"/>
                </a:cxn>
                <a:cxn ang="0">
                  <a:pos x="40" y="40"/>
                </a:cxn>
                <a:cxn ang="0">
                  <a:pos x="4" y="40"/>
                </a:cxn>
              </a:cxnLst>
              <a:rect l="0" t="0" r="r" b="b"/>
              <a:pathLst>
                <a:path w="44" h="43">
                  <a:moveTo>
                    <a:pt x="44" y="41"/>
                  </a:moveTo>
                  <a:cubicBezTo>
                    <a:pt x="43" y="33"/>
                    <a:pt x="38" y="26"/>
                    <a:pt x="30" y="23"/>
                  </a:cubicBezTo>
                  <a:cubicBezTo>
                    <a:pt x="33" y="20"/>
                    <a:pt x="35" y="17"/>
                    <a:pt x="35" y="13"/>
                  </a:cubicBezTo>
                  <a:cubicBezTo>
                    <a:pt x="35" y="6"/>
                    <a:pt x="29" y="0"/>
                    <a:pt x="22" y="0"/>
                  </a:cubicBezTo>
                  <a:cubicBezTo>
                    <a:pt x="15" y="0"/>
                    <a:pt x="9" y="6"/>
                    <a:pt x="9" y="13"/>
                  </a:cubicBezTo>
                  <a:cubicBezTo>
                    <a:pt x="9" y="17"/>
                    <a:pt x="11" y="20"/>
                    <a:pt x="14" y="23"/>
                  </a:cubicBezTo>
                  <a:cubicBezTo>
                    <a:pt x="6" y="26"/>
                    <a:pt x="1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4" y="43"/>
                    <a:pt x="44" y="43"/>
                    <a:pt x="44" y="43"/>
                  </a:cubicBezTo>
                  <a:lnTo>
                    <a:pt x="44" y="41"/>
                  </a:lnTo>
                  <a:close/>
                  <a:moveTo>
                    <a:pt x="13" y="13"/>
                  </a:moveTo>
                  <a:cubicBezTo>
                    <a:pt x="13" y="8"/>
                    <a:pt x="17" y="3"/>
                    <a:pt x="22" y="3"/>
                  </a:cubicBezTo>
                  <a:cubicBezTo>
                    <a:pt x="27" y="3"/>
                    <a:pt x="31" y="8"/>
                    <a:pt x="31" y="13"/>
                  </a:cubicBezTo>
                  <a:cubicBezTo>
                    <a:pt x="31" y="17"/>
                    <a:pt x="29" y="20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1" y="22"/>
                    <a:pt x="20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5" y="20"/>
                    <a:pt x="13" y="17"/>
                    <a:pt x="13" y="13"/>
                  </a:cubicBezTo>
                  <a:close/>
                  <a:moveTo>
                    <a:pt x="4" y="40"/>
                  </a:moveTo>
                  <a:cubicBezTo>
                    <a:pt x="5" y="32"/>
                    <a:pt x="11" y="27"/>
                    <a:pt x="18" y="25"/>
                  </a:cubicBezTo>
                  <a:cubicBezTo>
                    <a:pt x="19" y="25"/>
                    <a:pt x="21" y="26"/>
                    <a:pt x="22" y="26"/>
                  </a:cubicBezTo>
                  <a:cubicBezTo>
                    <a:pt x="23" y="26"/>
                    <a:pt x="25" y="25"/>
                    <a:pt x="26" y="25"/>
                  </a:cubicBezTo>
                  <a:cubicBezTo>
                    <a:pt x="33" y="27"/>
                    <a:pt x="39" y="32"/>
                    <a:pt x="40" y="40"/>
                  </a:cubicBezTo>
                  <a:lnTo>
                    <a:pt x="4" y="4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1" name="Freeform 95"/>
            <p:cNvSpPr>
              <a:spLocks noEditPoints="1"/>
            </p:cNvSpPr>
            <p:nvPr/>
          </p:nvSpPr>
          <p:spPr bwMode="auto">
            <a:xfrm>
              <a:off x="3990" y="427"/>
              <a:ext cx="106" cy="103"/>
            </a:xfrm>
            <a:custGeom>
              <a:avLst/>
              <a:gdLst/>
              <a:ahLst/>
              <a:cxnLst>
                <a:cxn ang="0">
                  <a:pos x="31" y="23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4" y="23"/>
                </a:cxn>
                <a:cxn ang="0">
                  <a:pos x="1" y="41"/>
                </a:cxn>
                <a:cxn ang="0">
                  <a:pos x="0" y="43"/>
                </a:cxn>
                <a:cxn ang="0">
                  <a:pos x="44" y="43"/>
                </a:cxn>
                <a:cxn ang="0">
                  <a:pos x="44" y="41"/>
                </a:cxn>
                <a:cxn ang="0">
                  <a:pos x="31" y="23"/>
                </a:cxn>
                <a:cxn ang="0">
                  <a:pos x="13" y="13"/>
                </a:cxn>
                <a:cxn ang="0">
                  <a:pos x="22" y="3"/>
                </a:cxn>
                <a:cxn ang="0">
                  <a:pos x="32" y="13"/>
                </a:cxn>
                <a:cxn ang="0">
                  <a:pos x="26" y="21"/>
                </a:cxn>
                <a:cxn ang="0">
                  <a:pos x="25" y="21"/>
                </a:cxn>
                <a:cxn ang="0">
                  <a:pos x="23" y="22"/>
                </a:cxn>
                <a:cxn ang="0">
                  <a:pos x="19" y="21"/>
                </a:cxn>
                <a:cxn ang="0">
                  <a:pos x="19" y="21"/>
                </a:cxn>
                <a:cxn ang="0">
                  <a:pos x="13" y="13"/>
                </a:cxn>
                <a:cxn ang="0">
                  <a:pos x="4" y="39"/>
                </a:cxn>
                <a:cxn ang="0">
                  <a:pos x="18" y="25"/>
                </a:cxn>
                <a:cxn ang="0">
                  <a:pos x="23" y="26"/>
                </a:cxn>
                <a:cxn ang="0">
                  <a:pos x="26" y="25"/>
                </a:cxn>
                <a:cxn ang="0">
                  <a:pos x="40" y="39"/>
                </a:cxn>
                <a:cxn ang="0">
                  <a:pos x="4" y="39"/>
                </a:cxn>
              </a:cxnLst>
              <a:rect l="0" t="0" r="r" b="b"/>
              <a:pathLst>
                <a:path w="44" h="43">
                  <a:moveTo>
                    <a:pt x="31" y="23"/>
                  </a:moveTo>
                  <a:cubicBezTo>
                    <a:pt x="34" y="20"/>
                    <a:pt x="35" y="16"/>
                    <a:pt x="35" y="13"/>
                  </a:cubicBezTo>
                  <a:cubicBezTo>
                    <a:pt x="35" y="5"/>
                    <a:pt x="29" y="0"/>
                    <a:pt x="22" y="0"/>
                  </a:cubicBezTo>
                  <a:cubicBezTo>
                    <a:pt x="15" y="0"/>
                    <a:pt x="9" y="5"/>
                    <a:pt x="9" y="13"/>
                  </a:cubicBezTo>
                  <a:cubicBezTo>
                    <a:pt x="9" y="16"/>
                    <a:pt x="11" y="20"/>
                    <a:pt x="14" y="23"/>
                  </a:cubicBezTo>
                  <a:cubicBezTo>
                    <a:pt x="6" y="26"/>
                    <a:pt x="1" y="33"/>
                    <a:pt x="1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3"/>
                    <a:pt x="38" y="26"/>
                    <a:pt x="31" y="23"/>
                  </a:cubicBezTo>
                  <a:close/>
                  <a:moveTo>
                    <a:pt x="13" y="13"/>
                  </a:moveTo>
                  <a:cubicBezTo>
                    <a:pt x="13" y="7"/>
                    <a:pt x="17" y="3"/>
                    <a:pt x="22" y="3"/>
                  </a:cubicBezTo>
                  <a:cubicBezTo>
                    <a:pt x="27" y="3"/>
                    <a:pt x="32" y="7"/>
                    <a:pt x="32" y="13"/>
                  </a:cubicBezTo>
                  <a:cubicBezTo>
                    <a:pt x="32" y="16"/>
                    <a:pt x="29" y="20"/>
                    <a:pt x="26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3" y="22"/>
                    <a:pt x="23" y="22"/>
                  </a:cubicBezTo>
                  <a:cubicBezTo>
                    <a:pt x="22" y="22"/>
                    <a:pt x="20" y="22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5" y="20"/>
                    <a:pt x="13" y="16"/>
                    <a:pt x="13" y="13"/>
                  </a:cubicBezTo>
                  <a:close/>
                  <a:moveTo>
                    <a:pt x="4" y="39"/>
                  </a:moveTo>
                  <a:cubicBezTo>
                    <a:pt x="6" y="32"/>
                    <a:pt x="11" y="27"/>
                    <a:pt x="18" y="25"/>
                  </a:cubicBezTo>
                  <a:cubicBezTo>
                    <a:pt x="20" y="25"/>
                    <a:pt x="21" y="26"/>
                    <a:pt x="23" y="26"/>
                  </a:cubicBezTo>
                  <a:cubicBezTo>
                    <a:pt x="24" y="26"/>
                    <a:pt x="25" y="25"/>
                    <a:pt x="26" y="25"/>
                  </a:cubicBezTo>
                  <a:cubicBezTo>
                    <a:pt x="33" y="27"/>
                    <a:pt x="39" y="32"/>
                    <a:pt x="40" y="39"/>
                  </a:cubicBezTo>
                  <a:lnTo>
                    <a:pt x="4" y="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2" name="Freeform 96"/>
            <p:cNvSpPr>
              <a:spLocks noEditPoints="1"/>
            </p:cNvSpPr>
            <p:nvPr/>
          </p:nvSpPr>
          <p:spPr bwMode="auto">
            <a:xfrm>
              <a:off x="3789" y="427"/>
              <a:ext cx="103" cy="103"/>
            </a:xfrm>
            <a:custGeom>
              <a:avLst/>
              <a:gdLst/>
              <a:ahLst/>
              <a:cxnLst>
                <a:cxn ang="0">
                  <a:pos x="30" y="23"/>
                </a:cxn>
                <a:cxn ang="0">
                  <a:pos x="35" y="13"/>
                </a:cxn>
                <a:cxn ang="0">
                  <a:pos x="22" y="0"/>
                </a:cxn>
                <a:cxn ang="0">
                  <a:pos x="9" y="13"/>
                </a:cxn>
                <a:cxn ang="0">
                  <a:pos x="13" y="23"/>
                </a:cxn>
                <a:cxn ang="0">
                  <a:pos x="0" y="41"/>
                </a:cxn>
                <a:cxn ang="0">
                  <a:pos x="0" y="43"/>
                </a:cxn>
                <a:cxn ang="0">
                  <a:pos x="43" y="43"/>
                </a:cxn>
                <a:cxn ang="0">
                  <a:pos x="43" y="41"/>
                </a:cxn>
                <a:cxn ang="0">
                  <a:pos x="30" y="23"/>
                </a:cxn>
                <a:cxn ang="0">
                  <a:pos x="12" y="13"/>
                </a:cxn>
                <a:cxn ang="0">
                  <a:pos x="22" y="3"/>
                </a:cxn>
                <a:cxn ang="0">
                  <a:pos x="31" y="13"/>
                </a:cxn>
                <a:cxn ang="0">
                  <a:pos x="25" y="21"/>
                </a:cxn>
                <a:cxn ang="0">
                  <a:pos x="25" y="21"/>
                </a:cxn>
                <a:cxn ang="0">
                  <a:pos x="22" y="22"/>
                </a:cxn>
                <a:cxn ang="0">
                  <a:pos x="19" y="21"/>
                </a:cxn>
                <a:cxn ang="0">
                  <a:pos x="18" y="21"/>
                </a:cxn>
                <a:cxn ang="0">
                  <a:pos x="12" y="13"/>
                </a:cxn>
                <a:cxn ang="0">
                  <a:pos x="4" y="39"/>
                </a:cxn>
                <a:cxn ang="0">
                  <a:pos x="18" y="25"/>
                </a:cxn>
                <a:cxn ang="0">
                  <a:pos x="22" y="26"/>
                </a:cxn>
                <a:cxn ang="0">
                  <a:pos x="26" y="25"/>
                </a:cxn>
                <a:cxn ang="0">
                  <a:pos x="39" y="39"/>
                </a:cxn>
                <a:cxn ang="0">
                  <a:pos x="4" y="39"/>
                </a:cxn>
              </a:cxnLst>
              <a:rect l="0" t="0" r="r" b="b"/>
              <a:pathLst>
                <a:path w="43" h="43">
                  <a:moveTo>
                    <a:pt x="30" y="23"/>
                  </a:moveTo>
                  <a:cubicBezTo>
                    <a:pt x="33" y="20"/>
                    <a:pt x="35" y="16"/>
                    <a:pt x="35" y="13"/>
                  </a:cubicBezTo>
                  <a:cubicBezTo>
                    <a:pt x="35" y="5"/>
                    <a:pt x="29" y="0"/>
                    <a:pt x="22" y="0"/>
                  </a:cubicBezTo>
                  <a:cubicBezTo>
                    <a:pt x="14" y="0"/>
                    <a:pt x="9" y="5"/>
                    <a:pt x="9" y="13"/>
                  </a:cubicBezTo>
                  <a:cubicBezTo>
                    <a:pt x="9" y="16"/>
                    <a:pt x="10" y="20"/>
                    <a:pt x="13" y="23"/>
                  </a:cubicBezTo>
                  <a:cubicBezTo>
                    <a:pt x="6" y="26"/>
                    <a:pt x="1" y="33"/>
                    <a:pt x="0" y="4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33"/>
                    <a:pt x="38" y="26"/>
                    <a:pt x="30" y="23"/>
                  </a:cubicBezTo>
                  <a:close/>
                  <a:moveTo>
                    <a:pt x="12" y="13"/>
                  </a:moveTo>
                  <a:cubicBezTo>
                    <a:pt x="12" y="7"/>
                    <a:pt x="16" y="3"/>
                    <a:pt x="22" y="3"/>
                  </a:cubicBezTo>
                  <a:cubicBezTo>
                    <a:pt x="27" y="3"/>
                    <a:pt x="31" y="7"/>
                    <a:pt x="31" y="13"/>
                  </a:cubicBezTo>
                  <a:cubicBezTo>
                    <a:pt x="31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3" y="22"/>
                    <a:pt x="22" y="22"/>
                  </a:cubicBezTo>
                  <a:cubicBezTo>
                    <a:pt x="21" y="22"/>
                    <a:pt x="20" y="22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5" y="20"/>
                    <a:pt x="12" y="16"/>
                    <a:pt x="12" y="13"/>
                  </a:cubicBezTo>
                  <a:close/>
                  <a:moveTo>
                    <a:pt x="4" y="39"/>
                  </a:moveTo>
                  <a:cubicBezTo>
                    <a:pt x="5" y="32"/>
                    <a:pt x="11" y="27"/>
                    <a:pt x="18" y="25"/>
                  </a:cubicBezTo>
                  <a:cubicBezTo>
                    <a:pt x="19" y="25"/>
                    <a:pt x="21" y="26"/>
                    <a:pt x="22" y="26"/>
                  </a:cubicBezTo>
                  <a:cubicBezTo>
                    <a:pt x="23" y="26"/>
                    <a:pt x="24" y="25"/>
                    <a:pt x="26" y="25"/>
                  </a:cubicBezTo>
                  <a:cubicBezTo>
                    <a:pt x="33" y="27"/>
                    <a:pt x="38" y="32"/>
                    <a:pt x="39" y="39"/>
                  </a:cubicBezTo>
                  <a:lnTo>
                    <a:pt x="4" y="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3" name="Freeform 97"/>
            <p:cNvSpPr>
              <a:spLocks noEditPoints="1"/>
            </p:cNvSpPr>
            <p:nvPr/>
          </p:nvSpPr>
          <p:spPr bwMode="auto">
            <a:xfrm>
              <a:off x="3700" y="18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54" name="Freeform 98"/>
            <p:cNvSpPr>
              <a:spLocks/>
            </p:cNvSpPr>
            <p:nvPr/>
          </p:nvSpPr>
          <p:spPr bwMode="auto">
            <a:xfrm>
              <a:off x="3892" y="382"/>
              <a:ext cx="101" cy="89"/>
            </a:xfrm>
            <a:custGeom>
              <a:avLst/>
              <a:gdLst/>
              <a:ahLst/>
              <a:cxnLst>
                <a:cxn ang="0">
                  <a:pos x="55" y="48"/>
                </a:cxn>
                <a:cxn ang="0">
                  <a:pos x="55" y="0"/>
                </a:cxn>
                <a:cxn ang="0">
                  <a:pos x="46" y="0"/>
                </a:cxn>
                <a:cxn ang="0">
                  <a:pos x="46" y="48"/>
                </a:cxn>
                <a:cxn ang="0">
                  <a:pos x="0" y="81"/>
                </a:cxn>
                <a:cxn ang="0">
                  <a:pos x="5" y="89"/>
                </a:cxn>
                <a:cxn ang="0">
                  <a:pos x="50" y="55"/>
                </a:cxn>
                <a:cxn ang="0">
                  <a:pos x="96" y="89"/>
                </a:cxn>
                <a:cxn ang="0">
                  <a:pos x="101" y="81"/>
                </a:cxn>
                <a:cxn ang="0">
                  <a:pos x="55" y="48"/>
                </a:cxn>
              </a:cxnLst>
              <a:rect l="0" t="0" r="r" b="b"/>
              <a:pathLst>
                <a:path w="101" h="89">
                  <a:moveTo>
                    <a:pt x="55" y="48"/>
                  </a:moveTo>
                  <a:lnTo>
                    <a:pt x="55" y="0"/>
                  </a:lnTo>
                  <a:lnTo>
                    <a:pt x="46" y="0"/>
                  </a:lnTo>
                  <a:lnTo>
                    <a:pt x="46" y="48"/>
                  </a:lnTo>
                  <a:lnTo>
                    <a:pt x="0" y="81"/>
                  </a:lnTo>
                  <a:lnTo>
                    <a:pt x="5" y="89"/>
                  </a:lnTo>
                  <a:lnTo>
                    <a:pt x="50" y="55"/>
                  </a:lnTo>
                  <a:lnTo>
                    <a:pt x="96" y="89"/>
                  </a:lnTo>
                  <a:lnTo>
                    <a:pt x="101" y="81"/>
                  </a:lnTo>
                  <a:lnTo>
                    <a:pt x="55" y="4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57" name="Group 101"/>
          <p:cNvGrpSpPr>
            <a:grpSpLocks noChangeAspect="1"/>
          </p:cNvGrpSpPr>
          <p:nvPr/>
        </p:nvGrpSpPr>
        <p:grpSpPr bwMode="auto">
          <a:xfrm>
            <a:off x="6918973" y="260350"/>
            <a:ext cx="835025" cy="836613"/>
            <a:chOff x="4367" y="164"/>
            <a:chExt cx="526" cy="527"/>
          </a:xfrm>
        </p:grpSpPr>
        <p:sp>
          <p:nvSpPr>
            <p:cNvPr id="45158" name="Oval 102"/>
            <p:cNvSpPr>
              <a:spLocks noChangeArrowheads="1"/>
            </p:cNvSpPr>
            <p:nvPr/>
          </p:nvSpPr>
          <p:spPr bwMode="auto">
            <a:xfrm>
              <a:off x="4367" y="164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59" name="Freeform 103"/>
            <p:cNvSpPr>
              <a:spLocks noEditPoints="1"/>
            </p:cNvSpPr>
            <p:nvPr/>
          </p:nvSpPr>
          <p:spPr bwMode="auto">
            <a:xfrm>
              <a:off x="4388" y="186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0" name="Freeform 104"/>
            <p:cNvSpPr>
              <a:spLocks noEditPoints="1"/>
            </p:cNvSpPr>
            <p:nvPr/>
          </p:nvSpPr>
          <p:spPr bwMode="auto">
            <a:xfrm>
              <a:off x="4601" y="334"/>
              <a:ext cx="103" cy="84"/>
            </a:xfrm>
            <a:custGeom>
              <a:avLst/>
              <a:gdLst/>
              <a:ahLst/>
              <a:cxnLst>
                <a:cxn ang="0">
                  <a:pos x="30" y="1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35"/>
                </a:cxn>
                <a:cxn ang="0">
                  <a:pos x="13" y="35"/>
                </a:cxn>
                <a:cxn ang="0">
                  <a:pos x="33" y="33"/>
                </a:cxn>
                <a:cxn ang="0">
                  <a:pos x="41" y="27"/>
                </a:cxn>
                <a:cxn ang="0">
                  <a:pos x="43" y="17"/>
                </a:cxn>
                <a:cxn ang="0">
                  <a:pos x="40" y="6"/>
                </a:cxn>
                <a:cxn ang="0">
                  <a:pos x="30" y="1"/>
                </a:cxn>
                <a:cxn ang="0">
                  <a:pos x="38" y="25"/>
                </a:cxn>
                <a:cxn ang="0">
                  <a:pos x="32" y="30"/>
                </a:cxn>
                <a:cxn ang="0">
                  <a:pos x="13" y="31"/>
                </a:cxn>
                <a:cxn ang="0">
                  <a:pos x="4" y="31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9" y="5"/>
                </a:cxn>
                <a:cxn ang="0">
                  <a:pos x="37" y="9"/>
                </a:cxn>
                <a:cxn ang="0">
                  <a:pos x="40" y="17"/>
                </a:cxn>
                <a:cxn ang="0">
                  <a:pos x="38" y="25"/>
                </a:cxn>
              </a:cxnLst>
              <a:rect l="0" t="0" r="r" b="b"/>
              <a:pathLst>
                <a:path w="43" h="35">
                  <a:moveTo>
                    <a:pt x="30" y="1"/>
                  </a:moveTo>
                  <a:cubicBezTo>
                    <a:pt x="27" y="0"/>
                    <a:pt x="21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23" y="35"/>
                    <a:pt x="30" y="34"/>
                    <a:pt x="33" y="33"/>
                  </a:cubicBezTo>
                  <a:cubicBezTo>
                    <a:pt x="36" y="32"/>
                    <a:pt x="39" y="30"/>
                    <a:pt x="41" y="27"/>
                  </a:cubicBezTo>
                  <a:cubicBezTo>
                    <a:pt x="43" y="24"/>
                    <a:pt x="43" y="21"/>
                    <a:pt x="43" y="17"/>
                  </a:cubicBezTo>
                  <a:cubicBezTo>
                    <a:pt x="43" y="13"/>
                    <a:pt x="42" y="9"/>
                    <a:pt x="40" y="6"/>
                  </a:cubicBezTo>
                  <a:cubicBezTo>
                    <a:pt x="37" y="4"/>
                    <a:pt x="34" y="2"/>
                    <a:pt x="30" y="1"/>
                  </a:cubicBezTo>
                  <a:close/>
                  <a:moveTo>
                    <a:pt x="38" y="25"/>
                  </a:moveTo>
                  <a:cubicBezTo>
                    <a:pt x="36" y="27"/>
                    <a:pt x="34" y="29"/>
                    <a:pt x="32" y="30"/>
                  </a:cubicBezTo>
                  <a:cubicBezTo>
                    <a:pt x="30" y="30"/>
                    <a:pt x="25" y="31"/>
                    <a:pt x="13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23" y="4"/>
                    <a:pt x="27" y="4"/>
                    <a:pt x="29" y="5"/>
                  </a:cubicBezTo>
                  <a:cubicBezTo>
                    <a:pt x="32" y="5"/>
                    <a:pt x="35" y="7"/>
                    <a:pt x="37" y="9"/>
                  </a:cubicBezTo>
                  <a:cubicBezTo>
                    <a:pt x="39" y="11"/>
                    <a:pt x="40" y="14"/>
                    <a:pt x="40" y="17"/>
                  </a:cubicBezTo>
                  <a:cubicBezTo>
                    <a:pt x="40" y="20"/>
                    <a:pt x="39" y="23"/>
                    <a:pt x="38" y="2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1" name="Freeform 105"/>
            <p:cNvSpPr>
              <a:spLocks noEditPoints="1"/>
            </p:cNvSpPr>
            <p:nvPr/>
          </p:nvSpPr>
          <p:spPr bwMode="auto">
            <a:xfrm>
              <a:off x="4534" y="277"/>
              <a:ext cx="242" cy="311"/>
            </a:xfrm>
            <a:custGeom>
              <a:avLst/>
              <a:gdLst/>
              <a:ahLst/>
              <a:cxnLst>
                <a:cxn ang="0">
                  <a:pos x="73" y="2"/>
                </a:cxn>
                <a:cxn ang="0">
                  <a:pos x="4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126"/>
                </a:cxn>
                <a:cxn ang="0">
                  <a:pos x="0" y="130"/>
                </a:cxn>
                <a:cxn ang="0">
                  <a:pos x="3" y="130"/>
                </a:cxn>
                <a:cxn ang="0">
                  <a:pos x="28" y="130"/>
                </a:cxn>
                <a:cxn ang="0">
                  <a:pos x="32" y="130"/>
                </a:cxn>
                <a:cxn ang="0">
                  <a:pos x="32" y="126"/>
                </a:cxn>
                <a:cxn ang="0">
                  <a:pos x="32" y="83"/>
                </a:cxn>
                <a:cxn ang="0">
                  <a:pos x="44" y="83"/>
                </a:cxn>
                <a:cxn ang="0">
                  <a:pos x="70" y="82"/>
                </a:cxn>
                <a:cxn ang="0">
                  <a:pos x="70" y="82"/>
                </a:cxn>
                <a:cxn ang="0">
                  <a:pos x="70" y="82"/>
                </a:cxn>
                <a:cxn ang="0">
                  <a:pos x="84" y="75"/>
                </a:cxn>
                <a:cxn ang="0">
                  <a:pos x="96" y="62"/>
                </a:cxn>
                <a:cxn ang="0">
                  <a:pos x="101" y="41"/>
                </a:cxn>
                <a:cxn ang="0">
                  <a:pos x="93" y="15"/>
                </a:cxn>
                <a:cxn ang="0">
                  <a:pos x="73" y="2"/>
                </a:cxn>
                <a:cxn ang="0">
                  <a:pos x="93" y="60"/>
                </a:cxn>
                <a:cxn ang="0">
                  <a:pos x="82" y="72"/>
                </a:cxn>
                <a:cxn ang="0">
                  <a:pos x="70" y="78"/>
                </a:cxn>
                <a:cxn ang="0">
                  <a:pos x="44" y="80"/>
                </a:cxn>
                <a:cxn ang="0">
                  <a:pos x="28" y="80"/>
                </a:cxn>
                <a:cxn ang="0">
                  <a:pos x="28" y="126"/>
                </a:cxn>
                <a:cxn ang="0">
                  <a:pos x="3" y="126"/>
                </a:cxn>
                <a:cxn ang="0">
                  <a:pos x="3" y="3"/>
                </a:cxn>
                <a:cxn ang="0">
                  <a:pos x="43" y="3"/>
                </a:cxn>
                <a:cxn ang="0">
                  <a:pos x="72" y="5"/>
                </a:cxn>
                <a:cxn ang="0">
                  <a:pos x="90" y="17"/>
                </a:cxn>
                <a:cxn ang="0">
                  <a:pos x="97" y="41"/>
                </a:cxn>
                <a:cxn ang="0">
                  <a:pos x="93" y="60"/>
                </a:cxn>
              </a:cxnLst>
              <a:rect l="0" t="0" r="r" b="b"/>
              <a:pathLst>
                <a:path w="101" h="130">
                  <a:moveTo>
                    <a:pt x="73" y="2"/>
                  </a:moveTo>
                  <a:cubicBezTo>
                    <a:pt x="68" y="0"/>
                    <a:pt x="58" y="0"/>
                    <a:pt x="4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3" y="130"/>
                    <a:pt x="3" y="130"/>
                    <a:pt x="3" y="130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32" y="126"/>
                    <a:pt x="32" y="126"/>
                    <a:pt x="32" y="126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56" y="83"/>
                    <a:pt x="64" y="83"/>
                    <a:pt x="70" y="8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5" y="80"/>
                    <a:pt x="80" y="78"/>
                    <a:pt x="84" y="75"/>
                  </a:cubicBezTo>
                  <a:cubicBezTo>
                    <a:pt x="89" y="72"/>
                    <a:pt x="93" y="67"/>
                    <a:pt x="96" y="62"/>
                  </a:cubicBezTo>
                  <a:cubicBezTo>
                    <a:pt x="99" y="56"/>
                    <a:pt x="101" y="49"/>
                    <a:pt x="101" y="41"/>
                  </a:cubicBezTo>
                  <a:cubicBezTo>
                    <a:pt x="101" y="31"/>
                    <a:pt x="98" y="22"/>
                    <a:pt x="93" y="15"/>
                  </a:cubicBezTo>
                  <a:cubicBezTo>
                    <a:pt x="87" y="8"/>
                    <a:pt x="81" y="4"/>
                    <a:pt x="73" y="2"/>
                  </a:cubicBezTo>
                  <a:close/>
                  <a:moveTo>
                    <a:pt x="93" y="60"/>
                  </a:moveTo>
                  <a:cubicBezTo>
                    <a:pt x="90" y="65"/>
                    <a:pt x="87" y="69"/>
                    <a:pt x="82" y="72"/>
                  </a:cubicBezTo>
                  <a:cubicBezTo>
                    <a:pt x="78" y="75"/>
                    <a:pt x="74" y="77"/>
                    <a:pt x="70" y="78"/>
                  </a:cubicBezTo>
                  <a:cubicBezTo>
                    <a:pt x="64" y="79"/>
                    <a:pt x="55" y="80"/>
                    <a:pt x="44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58" y="3"/>
                    <a:pt x="68" y="4"/>
                    <a:pt x="72" y="5"/>
                  </a:cubicBezTo>
                  <a:cubicBezTo>
                    <a:pt x="79" y="7"/>
                    <a:pt x="85" y="11"/>
                    <a:pt x="90" y="17"/>
                  </a:cubicBezTo>
                  <a:cubicBezTo>
                    <a:pt x="95" y="23"/>
                    <a:pt x="97" y="31"/>
                    <a:pt x="97" y="41"/>
                  </a:cubicBezTo>
                  <a:cubicBezTo>
                    <a:pt x="97" y="49"/>
                    <a:pt x="96" y="55"/>
                    <a:pt x="93" y="6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64" name="Group 108"/>
          <p:cNvGrpSpPr>
            <a:grpSpLocks noChangeAspect="1"/>
          </p:cNvGrpSpPr>
          <p:nvPr/>
        </p:nvGrpSpPr>
        <p:grpSpPr bwMode="auto">
          <a:xfrm>
            <a:off x="8055764" y="293688"/>
            <a:ext cx="768350" cy="768350"/>
            <a:chOff x="5078" y="185"/>
            <a:chExt cx="484" cy="484"/>
          </a:xfrm>
        </p:grpSpPr>
        <p:sp>
          <p:nvSpPr>
            <p:cNvPr id="45165" name="Freeform 109"/>
            <p:cNvSpPr>
              <a:spLocks noEditPoints="1"/>
            </p:cNvSpPr>
            <p:nvPr/>
          </p:nvSpPr>
          <p:spPr bwMode="auto">
            <a:xfrm>
              <a:off x="5078" y="185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66" name="Freeform 110"/>
            <p:cNvSpPr>
              <a:spLocks noEditPoints="1"/>
            </p:cNvSpPr>
            <p:nvPr/>
          </p:nvSpPr>
          <p:spPr bwMode="auto">
            <a:xfrm>
              <a:off x="5292" y="334"/>
              <a:ext cx="103" cy="84"/>
            </a:xfrm>
            <a:custGeom>
              <a:avLst/>
              <a:gdLst/>
              <a:ahLst/>
              <a:cxnLst>
                <a:cxn ang="0">
                  <a:pos x="29" y="1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35"/>
                </a:cxn>
                <a:cxn ang="0">
                  <a:pos x="13" y="35"/>
                </a:cxn>
                <a:cxn ang="0">
                  <a:pos x="33" y="33"/>
                </a:cxn>
                <a:cxn ang="0">
                  <a:pos x="40" y="27"/>
                </a:cxn>
                <a:cxn ang="0">
                  <a:pos x="43" y="17"/>
                </a:cxn>
                <a:cxn ang="0">
                  <a:pos x="39" y="6"/>
                </a:cxn>
                <a:cxn ang="0">
                  <a:pos x="29" y="1"/>
                </a:cxn>
                <a:cxn ang="0">
                  <a:pos x="37" y="25"/>
                </a:cxn>
                <a:cxn ang="0">
                  <a:pos x="31" y="30"/>
                </a:cxn>
                <a:cxn ang="0">
                  <a:pos x="13" y="31"/>
                </a:cxn>
                <a:cxn ang="0">
                  <a:pos x="3" y="31"/>
                </a:cxn>
                <a:cxn ang="0">
                  <a:pos x="3" y="4"/>
                </a:cxn>
                <a:cxn ang="0">
                  <a:pos x="12" y="4"/>
                </a:cxn>
                <a:cxn ang="0">
                  <a:pos x="29" y="5"/>
                </a:cxn>
                <a:cxn ang="0">
                  <a:pos x="37" y="9"/>
                </a:cxn>
                <a:cxn ang="0">
                  <a:pos x="40" y="17"/>
                </a:cxn>
                <a:cxn ang="0">
                  <a:pos x="37" y="25"/>
                </a:cxn>
              </a:cxnLst>
              <a:rect l="0" t="0" r="r" b="b"/>
              <a:pathLst>
                <a:path w="43" h="35">
                  <a:moveTo>
                    <a:pt x="29" y="1"/>
                  </a:moveTo>
                  <a:cubicBezTo>
                    <a:pt x="26" y="0"/>
                    <a:pt x="20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23" y="35"/>
                    <a:pt x="29" y="34"/>
                    <a:pt x="33" y="33"/>
                  </a:cubicBezTo>
                  <a:cubicBezTo>
                    <a:pt x="36" y="32"/>
                    <a:pt x="38" y="30"/>
                    <a:pt x="40" y="27"/>
                  </a:cubicBezTo>
                  <a:cubicBezTo>
                    <a:pt x="42" y="24"/>
                    <a:pt x="43" y="21"/>
                    <a:pt x="43" y="17"/>
                  </a:cubicBezTo>
                  <a:cubicBezTo>
                    <a:pt x="43" y="13"/>
                    <a:pt x="42" y="9"/>
                    <a:pt x="39" y="6"/>
                  </a:cubicBezTo>
                  <a:cubicBezTo>
                    <a:pt x="37" y="4"/>
                    <a:pt x="33" y="2"/>
                    <a:pt x="29" y="1"/>
                  </a:cubicBezTo>
                  <a:close/>
                  <a:moveTo>
                    <a:pt x="37" y="25"/>
                  </a:moveTo>
                  <a:cubicBezTo>
                    <a:pt x="36" y="27"/>
                    <a:pt x="34" y="29"/>
                    <a:pt x="31" y="30"/>
                  </a:cubicBezTo>
                  <a:cubicBezTo>
                    <a:pt x="29" y="30"/>
                    <a:pt x="25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22" y="4"/>
                    <a:pt x="27" y="4"/>
                    <a:pt x="29" y="5"/>
                  </a:cubicBezTo>
                  <a:cubicBezTo>
                    <a:pt x="32" y="5"/>
                    <a:pt x="34" y="7"/>
                    <a:pt x="37" y="9"/>
                  </a:cubicBezTo>
                  <a:cubicBezTo>
                    <a:pt x="39" y="11"/>
                    <a:pt x="40" y="14"/>
                    <a:pt x="40" y="17"/>
                  </a:cubicBezTo>
                  <a:cubicBezTo>
                    <a:pt x="40" y="20"/>
                    <a:pt x="39" y="23"/>
                    <a:pt x="37" y="2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67" name="Freeform 111"/>
            <p:cNvSpPr>
              <a:spLocks noEditPoints="1"/>
            </p:cNvSpPr>
            <p:nvPr/>
          </p:nvSpPr>
          <p:spPr bwMode="auto">
            <a:xfrm>
              <a:off x="5222" y="276"/>
              <a:ext cx="242" cy="312"/>
            </a:xfrm>
            <a:custGeom>
              <a:avLst/>
              <a:gdLst/>
              <a:ahLst/>
              <a:cxnLst>
                <a:cxn ang="0">
                  <a:pos x="74" y="2"/>
                </a:cxn>
                <a:cxn ang="0">
                  <a:pos x="4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126"/>
                </a:cxn>
                <a:cxn ang="0">
                  <a:pos x="0" y="130"/>
                </a:cxn>
                <a:cxn ang="0">
                  <a:pos x="4" y="130"/>
                </a:cxn>
                <a:cxn ang="0">
                  <a:pos x="29" y="130"/>
                </a:cxn>
                <a:cxn ang="0">
                  <a:pos x="32" y="130"/>
                </a:cxn>
                <a:cxn ang="0">
                  <a:pos x="32" y="126"/>
                </a:cxn>
                <a:cxn ang="0">
                  <a:pos x="32" y="83"/>
                </a:cxn>
                <a:cxn ang="0">
                  <a:pos x="45" y="83"/>
                </a:cxn>
                <a:cxn ang="0">
                  <a:pos x="71" y="82"/>
                </a:cxn>
                <a:cxn ang="0">
                  <a:pos x="71" y="82"/>
                </a:cxn>
                <a:cxn ang="0">
                  <a:pos x="71" y="82"/>
                </a:cxn>
                <a:cxn ang="0">
                  <a:pos x="85" y="75"/>
                </a:cxn>
                <a:cxn ang="0">
                  <a:pos x="97" y="62"/>
                </a:cxn>
                <a:cxn ang="0">
                  <a:pos x="101" y="41"/>
                </a:cxn>
                <a:cxn ang="0">
                  <a:pos x="93" y="15"/>
                </a:cxn>
                <a:cxn ang="0">
                  <a:pos x="74" y="2"/>
                </a:cxn>
                <a:cxn ang="0">
                  <a:pos x="94" y="60"/>
                </a:cxn>
                <a:cxn ang="0">
                  <a:pos x="83" y="72"/>
                </a:cxn>
                <a:cxn ang="0">
                  <a:pos x="70" y="78"/>
                </a:cxn>
                <a:cxn ang="0">
                  <a:pos x="45" y="80"/>
                </a:cxn>
                <a:cxn ang="0">
                  <a:pos x="29" y="80"/>
                </a:cxn>
                <a:cxn ang="0">
                  <a:pos x="29" y="126"/>
                </a:cxn>
                <a:cxn ang="0">
                  <a:pos x="4" y="126"/>
                </a:cxn>
                <a:cxn ang="0">
                  <a:pos x="4" y="3"/>
                </a:cxn>
                <a:cxn ang="0">
                  <a:pos x="44" y="3"/>
                </a:cxn>
                <a:cxn ang="0">
                  <a:pos x="73" y="5"/>
                </a:cxn>
                <a:cxn ang="0">
                  <a:pos x="91" y="17"/>
                </a:cxn>
                <a:cxn ang="0">
                  <a:pos x="98" y="41"/>
                </a:cxn>
                <a:cxn ang="0">
                  <a:pos x="94" y="60"/>
                </a:cxn>
              </a:cxnLst>
              <a:rect l="0" t="0" r="r" b="b"/>
              <a:pathLst>
                <a:path w="101" h="130">
                  <a:moveTo>
                    <a:pt x="74" y="2"/>
                  </a:moveTo>
                  <a:cubicBezTo>
                    <a:pt x="69" y="0"/>
                    <a:pt x="59" y="0"/>
                    <a:pt x="4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29" y="130"/>
                    <a:pt x="29" y="130"/>
                    <a:pt x="29" y="130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32" y="126"/>
                    <a:pt x="32" y="126"/>
                    <a:pt x="32" y="126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56" y="83"/>
                    <a:pt x="65" y="83"/>
                    <a:pt x="71" y="82"/>
                  </a:cubicBezTo>
                  <a:cubicBezTo>
                    <a:pt x="71" y="82"/>
                    <a:pt x="71" y="82"/>
                    <a:pt x="71" y="82"/>
                  </a:cubicBezTo>
                  <a:cubicBezTo>
                    <a:pt x="71" y="82"/>
                    <a:pt x="71" y="82"/>
                    <a:pt x="71" y="82"/>
                  </a:cubicBezTo>
                  <a:cubicBezTo>
                    <a:pt x="76" y="80"/>
                    <a:pt x="81" y="78"/>
                    <a:pt x="85" y="75"/>
                  </a:cubicBezTo>
                  <a:cubicBezTo>
                    <a:pt x="90" y="72"/>
                    <a:pt x="94" y="67"/>
                    <a:pt x="97" y="62"/>
                  </a:cubicBezTo>
                  <a:cubicBezTo>
                    <a:pt x="100" y="56"/>
                    <a:pt x="101" y="49"/>
                    <a:pt x="101" y="41"/>
                  </a:cubicBezTo>
                  <a:cubicBezTo>
                    <a:pt x="101" y="31"/>
                    <a:pt x="99" y="22"/>
                    <a:pt x="93" y="15"/>
                  </a:cubicBezTo>
                  <a:cubicBezTo>
                    <a:pt x="88" y="8"/>
                    <a:pt x="82" y="4"/>
                    <a:pt x="74" y="2"/>
                  </a:cubicBezTo>
                  <a:close/>
                  <a:moveTo>
                    <a:pt x="94" y="60"/>
                  </a:moveTo>
                  <a:cubicBezTo>
                    <a:pt x="91" y="65"/>
                    <a:pt x="87" y="69"/>
                    <a:pt x="83" y="72"/>
                  </a:cubicBezTo>
                  <a:cubicBezTo>
                    <a:pt x="79" y="75"/>
                    <a:pt x="75" y="77"/>
                    <a:pt x="70" y="78"/>
                  </a:cubicBezTo>
                  <a:cubicBezTo>
                    <a:pt x="64" y="79"/>
                    <a:pt x="56" y="80"/>
                    <a:pt x="45" y="80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4" y="126"/>
                    <a:pt x="4" y="126"/>
                    <a:pt x="4" y="12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59" y="3"/>
                    <a:pt x="68" y="4"/>
                    <a:pt x="73" y="5"/>
                  </a:cubicBezTo>
                  <a:cubicBezTo>
                    <a:pt x="80" y="7"/>
                    <a:pt x="86" y="11"/>
                    <a:pt x="91" y="17"/>
                  </a:cubicBezTo>
                  <a:cubicBezTo>
                    <a:pt x="95" y="23"/>
                    <a:pt x="98" y="31"/>
                    <a:pt x="98" y="41"/>
                  </a:cubicBezTo>
                  <a:cubicBezTo>
                    <a:pt x="98" y="49"/>
                    <a:pt x="96" y="55"/>
                    <a:pt x="94" y="6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70" name="Group 114"/>
          <p:cNvGrpSpPr>
            <a:grpSpLocks noChangeAspect="1"/>
          </p:cNvGrpSpPr>
          <p:nvPr/>
        </p:nvGrpSpPr>
        <p:grpSpPr bwMode="auto">
          <a:xfrm>
            <a:off x="334963" y="1533525"/>
            <a:ext cx="847725" cy="847725"/>
            <a:chOff x="211" y="966"/>
            <a:chExt cx="534" cy="534"/>
          </a:xfrm>
        </p:grpSpPr>
        <p:sp>
          <p:nvSpPr>
            <p:cNvPr id="45171" name="Oval 115"/>
            <p:cNvSpPr>
              <a:spLocks noChangeArrowheads="1"/>
            </p:cNvSpPr>
            <p:nvPr/>
          </p:nvSpPr>
          <p:spPr bwMode="auto">
            <a:xfrm>
              <a:off x="211" y="966"/>
              <a:ext cx="534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2" name="Freeform 116"/>
            <p:cNvSpPr>
              <a:spLocks noEditPoints="1"/>
            </p:cNvSpPr>
            <p:nvPr/>
          </p:nvSpPr>
          <p:spPr bwMode="auto">
            <a:xfrm>
              <a:off x="232" y="985"/>
              <a:ext cx="494" cy="496"/>
            </a:xfrm>
            <a:custGeom>
              <a:avLst/>
              <a:gdLst/>
              <a:ahLst/>
              <a:cxnLst>
                <a:cxn ang="0">
                  <a:pos x="103" y="207"/>
                </a:cxn>
                <a:cxn ang="0">
                  <a:pos x="0" y="103"/>
                </a:cxn>
                <a:cxn ang="0">
                  <a:pos x="103" y="0"/>
                </a:cxn>
                <a:cxn ang="0">
                  <a:pos x="206" y="103"/>
                </a:cxn>
                <a:cxn ang="0">
                  <a:pos x="103" y="207"/>
                </a:cxn>
                <a:cxn ang="0">
                  <a:pos x="103" y="5"/>
                </a:cxn>
                <a:cxn ang="0">
                  <a:pos x="5" y="103"/>
                </a:cxn>
                <a:cxn ang="0">
                  <a:pos x="103" y="202"/>
                </a:cxn>
                <a:cxn ang="0">
                  <a:pos x="201" y="103"/>
                </a:cxn>
                <a:cxn ang="0">
                  <a:pos x="103" y="5"/>
                </a:cxn>
              </a:cxnLst>
              <a:rect l="0" t="0" r="r" b="b"/>
              <a:pathLst>
                <a:path w="206" h="207">
                  <a:moveTo>
                    <a:pt x="103" y="207"/>
                  </a:moveTo>
                  <a:cubicBezTo>
                    <a:pt x="46" y="207"/>
                    <a:pt x="0" y="160"/>
                    <a:pt x="0" y="103"/>
                  </a:cubicBezTo>
                  <a:cubicBezTo>
                    <a:pt x="0" y="47"/>
                    <a:pt x="46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7"/>
                    <a:pt x="103" y="207"/>
                  </a:cubicBezTo>
                  <a:close/>
                  <a:moveTo>
                    <a:pt x="103" y="5"/>
                  </a:moveTo>
                  <a:cubicBezTo>
                    <a:pt x="49" y="5"/>
                    <a:pt x="5" y="49"/>
                    <a:pt x="5" y="103"/>
                  </a:cubicBezTo>
                  <a:cubicBezTo>
                    <a:pt x="5" y="158"/>
                    <a:pt x="49" y="202"/>
                    <a:pt x="103" y="202"/>
                  </a:cubicBezTo>
                  <a:cubicBezTo>
                    <a:pt x="157" y="202"/>
                    <a:pt x="201" y="158"/>
                    <a:pt x="201" y="103"/>
                  </a:cubicBezTo>
                  <a:cubicBezTo>
                    <a:pt x="201" y="49"/>
                    <a:pt x="157" y="5"/>
                    <a:pt x="103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3" name="Freeform 117"/>
            <p:cNvSpPr>
              <a:spLocks noEditPoints="1"/>
            </p:cNvSpPr>
            <p:nvPr/>
          </p:nvSpPr>
          <p:spPr bwMode="auto">
            <a:xfrm>
              <a:off x="412" y="1091"/>
              <a:ext cx="132" cy="134"/>
            </a:xfrm>
            <a:custGeom>
              <a:avLst/>
              <a:gdLst/>
              <a:ahLst/>
              <a:cxnLst>
                <a:cxn ang="0">
                  <a:pos x="28" y="56"/>
                </a:cxn>
                <a:cxn ang="0">
                  <a:pos x="0" y="28"/>
                </a:cxn>
                <a:cxn ang="0">
                  <a:pos x="28" y="0"/>
                </a:cxn>
                <a:cxn ang="0">
                  <a:pos x="55" y="28"/>
                </a:cxn>
                <a:cxn ang="0">
                  <a:pos x="28" y="56"/>
                </a:cxn>
                <a:cxn ang="0">
                  <a:pos x="28" y="4"/>
                </a:cxn>
                <a:cxn ang="0">
                  <a:pos x="3" y="28"/>
                </a:cxn>
                <a:cxn ang="0">
                  <a:pos x="28" y="52"/>
                </a:cxn>
                <a:cxn ang="0">
                  <a:pos x="52" y="28"/>
                </a:cxn>
                <a:cxn ang="0">
                  <a:pos x="28" y="4"/>
                </a:cxn>
              </a:cxnLst>
              <a:rect l="0" t="0" r="r" b="b"/>
              <a:pathLst>
                <a:path w="55" h="56">
                  <a:moveTo>
                    <a:pt x="28" y="56"/>
                  </a:moveTo>
                  <a:cubicBezTo>
                    <a:pt x="12" y="56"/>
                    <a:pt x="0" y="43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5" y="13"/>
                    <a:pt x="55" y="28"/>
                  </a:cubicBezTo>
                  <a:cubicBezTo>
                    <a:pt x="55" y="43"/>
                    <a:pt x="43" y="56"/>
                    <a:pt x="28" y="56"/>
                  </a:cubicBezTo>
                  <a:close/>
                  <a:moveTo>
                    <a:pt x="28" y="4"/>
                  </a:moveTo>
                  <a:cubicBezTo>
                    <a:pt x="14" y="4"/>
                    <a:pt x="3" y="15"/>
                    <a:pt x="3" y="28"/>
                  </a:cubicBezTo>
                  <a:cubicBezTo>
                    <a:pt x="3" y="41"/>
                    <a:pt x="14" y="52"/>
                    <a:pt x="28" y="52"/>
                  </a:cubicBezTo>
                  <a:cubicBezTo>
                    <a:pt x="41" y="52"/>
                    <a:pt x="52" y="41"/>
                    <a:pt x="52" y="28"/>
                  </a:cubicBezTo>
                  <a:cubicBezTo>
                    <a:pt x="52" y="15"/>
                    <a:pt x="41" y="4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4" name="Freeform 118"/>
            <p:cNvSpPr>
              <a:spLocks noEditPoints="1"/>
            </p:cNvSpPr>
            <p:nvPr/>
          </p:nvSpPr>
          <p:spPr bwMode="auto">
            <a:xfrm>
              <a:off x="357" y="1218"/>
              <a:ext cx="242" cy="127"/>
            </a:xfrm>
            <a:custGeom>
              <a:avLst/>
              <a:gdLst/>
              <a:ahLst/>
              <a:cxnLst>
                <a:cxn ang="0">
                  <a:pos x="101" y="53"/>
                </a:cxn>
                <a:cxn ang="0">
                  <a:pos x="0" y="53"/>
                </a:cxn>
                <a:cxn ang="0">
                  <a:pos x="0" y="51"/>
                </a:cxn>
                <a:cxn ang="0">
                  <a:pos x="51" y="0"/>
                </a:cxn>
                <a:cxn ang="0">
                  <a:pos x="101" y="51"/>
                </a:cxn>
                <a:cxn ang="0">
                  <a:pos x="101" y="53"/>
                </a:cxn>
                <a:cxn ang="0">
                  <a:pos x="3" y="49"/>
                </a:cxn>
                <a:cxn ang="0">
                  <a:pos x="98" y="49"/>
                </a:cxn>
                <a:cxn ang="0">
                  <a:pos x="51" y="4"/>
                </a:cxn>
                <a:cxn ang="0">
                  <a:pos x="3" y="49"/>
                </a:cxn>
              </a:cxnLst>
              <a:rect l="0" t="0" r="r" b="b"/>
              <a:pathLst>
                <a:path w="101" h="53">
                  <a:moveTo>
                    <a:pt x="101" y="53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lnTo>
                    <a:pt x="101" y="53"/>
                  </a:lnTo>
                  <a:close/>
                  <a:moveTo>
                    <a:pt x="3" y="49"/>
                  </a:moveTo>
                  <a:cubicBezTo>
                    <a:pt x="98" y="49"/>
                    <a:pt x="98" y="49"/>
                    <a:pt x="98" y="49"/>
                  </a:cubicBezTo>
                  <a:cubicBezTo>
                    <a:pt x="97" y="24"/>
                    <a:pt x="76" y="4"/>
                    <a:pt x="51" y="4"/>
                  </a:cubicBezTo>
                  <a:cubicBezTo>
                    <a:pt x="25" y="4"/>
                    <a:pt x="4" y="24"/>
                    <a:pt x="3" y="4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75" name="Freeform 119"/>
            <p:cNvSpPr>
              <a:spLocks/>
            </p:cNvSpPr>
            <p:nvPr/>
          </p:nvSpPr>
          <p:spPr bwMode="auto">
            <a:xfrm>
              <a:off x="453" y="1220"/>
              <a:ext cx="50" cy="36"/>
            </a:xfrm>
            <a:custGeom>
              <a:avLst/>
              <a:gdLst/>
              <a:ahLst/>
              <a:cxnLst>
                <a:cxn ang="0">
                  <a:pos x="26" y="36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26" y="22"/>
                </a:cxn>
                <a:cxn ang="0">
                  <a:pos x="43" y="0"/>
                </a:cxn>
                <a:cxn ang="0">
                  <a:pos x="50" y="7"/>
                </a:cxn>
                <a:cxn ang="0">
                  <a:pos x="26" y="36"/>
                </a:cxn>
              </a:cxnLst>
              <a:rect l="0" t="0" r="r" b="b"/>
              <a:pathLst>
                <a:path w="50" h="36">
                  <a:moveTo>
                    <a:pt x="26" y="36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26" y="22"/>
                  </a:lnTo>
                  <a:lnTo>
                    <a:pt x="43" y="0"/>
                  </a:lnTo>
                  <a:lnTo>
                    <a:pt x="50" y="7"/>
                  </a:lnTo>
                  <a:lnTo>
                    <a:pt x="26" y="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78" name="Group 122"/>
          <p:cNvGrpSpPr>
            <a:grpSpLocks noChangeAspect="1"/>
          </p:cNvGrpSpPr>
          <p:nvPr/>
        </p:nvGrpSpPr>
        <p:grpSpPr bwMode="auto">
          <a:xfrm>
            <a:off x="1464469" y="1557338"/>
            <a:ext cx="784226" cy="788988"/>
            <a:chOff x="921" y="981"/>
            <a:chExt cx="494" cy="497"/>
          </a:xfrm>
        </p:grpSpPr>
        <p:sp>
          <p:nvSpPr>
            <p:cNvPr id="45179" name="Freeform 123"/>
            <p:cNvSpPr>
              <a:spLocks noEditPoints="1"/>
            </p:cNvSpPr>
            <p:nvPr/>
          </p:nvSpPr>
          <p:spPr bwMode="auto">
            <a:xfrm>
              <a:off x="921" y="981"/>
              <a:ext cx="494" cy="497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6" y="160"/>
                    <a:pt x="206" y="103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0" name="Freeform 124"/>
            <p:cNvSpPr>
              <a:spLocks noEditPoints="1"/>
            </p:cNvSpPr>
            <p:nvPr/>
          </p:nvSpPr>
          <p:spPr bwMode="auto">
            <a:xfrm>
              <a:off x="1046" y="1087"/>
              <a:ext cx="242" cy="254"/>
            </a:xfrm>
            <a:custGeom>
              <a:avLst/>
              <a:gdLst/>
              <a:ahLst/>
              <a:cxnLst>
                <a:cxn ang="0">
                  <a:pos x="60" y="54"/>
                </a:cxn>
                <a:cxn ang="0">
                  <a:pos x="78" y="28"/>
                </a:cxn>
                <a:cxn ang="0">
                  <a:pos x="51" y="0"/>
                </a:cxn>
                <a:cxn ang="0">
                  <a:pos x="23" y="28"/>
                </a:cxn>
                <a:cxn ang="0">
                  <a:pos x="41" y="54"/>
                </a:cxn>
                <a:cxn ang="0">
                  <a:pos x="0" y="104"/>
                </a:cxn>
                <a:cxn ang="0">
                  <a:pos x="0" y="106"/>
                </a:cxn>
                <a:cxn ang="0">
                  <a:pos x="101" y="106"/>
                </a:cxn>
                <a:cxn ang="0">
                  <a:pos x="101" y="104"/>
                </a:cxn>
                <a:cxn ang="0">
                  <a:pos x="60" y="54"/>
                </a:cxn>
                <a:cxn ang="0">
                  <a:pos x="51" y="57"/>
                </a:cxn>
                <a:cxn ang="0">
                  <a:pos x="56" y="57"/>
                </a:cxn>
                <a:cxn ang="0">
                  <a:pos x="51" y="63"/>
                </a:cxn>
                <a:cxn ang="0">
                  <a:pos x="45" y="57"/>
                </a:cxn>
                <a:cxn ang="0">
                  <a:pos x="51" y="57"/>
                </a:cxn>
                <a:cxn ang="0">
                  <a:pos x="26" y="28"/>
                </a:cxn>
                <a:cxn ang="0">
                  <a:pos x="51" y="4"/>
                </a:cxn>
                <a:cxn ang="0">
                  <a:pos x="75" y="28"/>
                </a:cxn>
                <a:cxn ang="0">
                  <a:pos x="51" y="52"/>
                </a:cxn>
                <a:cxn ang="0">
                  <a:pos x="26" y="28"/>
                </a:cxn>
                <a:cxn ang="0">
                  <a:pos x="3" y="102"/>
                </a:cxn>
                <a:cxn ang="0">
                  <a:pos x="41" y="58"/>
                </a:cxn>
                <a:cxn ang="0">
                  <a:pos x="51" y="69"/>
                </a:cxn>
                <a:cxn ang="0">
                  <a:pos x="60" y="58"/>
                </a:cxn>
                <a:cxn ang="0">
                  <a:pos x="98" y="102"/>
                </a:cxn>
                <a:cxn ang="0">
                  <a:pos x="3" y="102"/>
                </a:cxn>
              </a:cxnLst>
              <a:rect l="0" t="0" r="r" b="b"/>
              <a:pathLst>
                <a:path w="101" h="106">
                  <a:moveTo>
                    <a:pt x="60" y="54"/>
                  </a:moveTo>
                  <a:cubicBezTo>
                    <a:pt x="71" y="50"/>
                    <a:pt x="78" y="40"/>
                    <a:pt x="78" y="28"/>
                  </a:cubicBezTo>
                  <a:cubicBezTo>
                    <a:pt x="78" y="13"/>
                    <a:pt x="66" y="0"/>
                    <a:pt x="51" y="0"/>
                  </a:cubicBezTo>
                  <a:cubicBezTo>
                    <a:pt x="35" y="0"/>
                    <a:pt x="23" y="13"/>
                    <a:pt x="23" y="28"/>
                  </a:cubicBezTo>
                  <a:cubicBezTo>
                    <a:pt x="23" y="40"/>
                    <a:pt x="30" y="50"/>
                    <a:pt x="41" y="54"/>
                  </a:cubicBezTo>
                  <a:cubicBezTo>
                    <a:pt x="17" y="59"/>
                    <a:pt x="0" y="79"/>
                    <a:pt x="0" y="104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01" y="106"/>
                    <a:pt x="101" y="106"/>
                    <a:pt x="101" y="106"/>
                  </a:cubicBezTo>
                  <a:cubicBezTo>
                    <a:pt x="101" y="104"/>
                    <a:pt x="101" y="104"/>
                    <a:pt x="101" y="104"/>
                  </a:cubicBezTo>
                  <a:cubicBezTo>
                    <a:pt x="101" y="79"/>
                    <a:pt x="84" y="59"/>
                    <a:pt x="60" y="54"/>
                  </a:cubicBezTo>
                  <a:close/>
                  <a:moveTo>
                    <a:pt x="51" y="57"/>
                  </a:moveTo>
                  <a:cubicBezTo>
                    <a:pt x="52" y="57"/>
                    <a:pt x="54" y="57"/>
                    <a:pt x="56" y="57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7" y="57"/>
                    <a:pt x="49" y="57"/>
                    <a:pt x="51" y="57"/>
                  </a:cubicBezTo>
                  <a:close/>
                  <a:moveTo>
                    <a:pt x="26" y="28"/>
                  </a:moveTo>
                  <a:cubicBezTo>
                    <a:pt x="26" y="15"/>
                    <a:pt x="37" y="4"/>
                    <a:pt x="51" y="4"/>
                  </a:cubicBezTo>
                  <a:cubicBezTo>
                    <a:pt x="64" y="4"/>
                    <a:pt x="75" y="15"/>
                    <a:pt x="75" y="28"/>
                  </a:cubicBezTo>
                  <a:cubicBezTo>
                    <a:pt x="75" y="41"/>
                    <a:pt x="64" y="52"/>
                    <a:pt x="51" y="52"/>
                  </a:cubicBezTo>
                  <a:cubicBezTo>
                    <a:pt x="37" y="52"/>
                    <a:pt x="26" y="41"/>
                    <a:pt x="26" y="28"/>
                  </a:cubicBezTo>
                  <a:close/>
                  <a:moveTo>
                    <a:pt x="3" y="102"/>
                  </a:moveTo>
                  <a:cubicBezTo>
                    <a:pt x="4" y="80"/>
                    <a:pt x="20" y="62"/>
                    <a:pt x="41" y="58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81" y="62"/>
                    <a:pt x="97" y="80"/>
                    <a:pt x="98" y="102"/>
                  </a:cubicBezTo>
                  <a:lnTo>
                    <a:pt x="3" y="10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83" name="Group 127"/>
          <p:cNvGrpSpPr>
            <a:grpSpLocks noChangeAspect="1"/>
          </p:cNvGrpSpPr>
          <p:nvPr/>
        </p:nvGrpSpPr>
        <p:grpSpPr bwMode="auto">
          <a:xfrm>
            <a:off x="2531269" y="1536700"/>
            <a:ext cx="838200" cy="838200"/>
            <a:chOff x="1594" y="968"/>
            <a:chExt cx="528" cy="528"/>
          </a:xfrm>
        </p:grpSpPr>
        <p:sp>
          <p:nvSpPr>
            <p:cNvPr id="45184" name="Oval 128"/>
            <p:cNvSpPr>
              <a:spLocks noChangeArrowheads="1"/>
            </p:cNvSpPr>
            <p:nvPr/>
          </p:nvSpPr>
          <p:spPr bwMode="auto">
            <a:xfrm>
              <a:off x="1594" y="968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85" name="Freeform 129"/>
            <p:cNvSpPr>
              <a:spLocks noEditPoints="1"/>
            </p:cNvSpPr>
            <p:nvPr/>
          </p:nvSpPr>
          <p:spPr bwMode="auto">
            <a:xfrm>
              <a:off x="1616" y="99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86" name="Freeform 130"/>
            <p:cNvSpPr>
              <a:spLocks noEditPoints="1"/>
            </p:cNvSpPr>
            <p:nvPr/>
          </p:nvSpPr>
          <p:spPr bwMode="auto">
            <a:xfrm>
              <a:off x="1738" y="1086"/>
              <a:ext cx="237" cy="249"/>
            </a:xfrm>
            <a:custGeom>
              <a:avLst/>
              <a:gdLst/>
              <a:ahLst/>
              <a:cxnLst>
                <a:cxn ang="0">
                  <a:pos x="65" y="54"/>
                </a:cxn>
                <a:cxn ang="0">
                  <a:pos x="63" y="54"/>
                </a:cxn>
                <a:cxn ang="0">
                  <a:pos x="78" y="29"/>
                </a:cxn>
                <a:cxn ang="0">
                  <a:pos x="49" y="0"/>
                </a:cxn>
                <a:cxn ang="0">
                  <a:pos x="20" y="29"/>
                </a:cxn>
                <a:cxn ang="0">
                  <a:pos x="35" y="54"/>
                </a:cxn>
                <a:cxn ang="0">
                  <a:pos x="34" y="54"/>
                </a:cxn>
                <a:cxn ang="0">
                  <a:pos x="10" y="65"/>
                </a:cxn>
                <a:cxn ang="0">
                  <a:pos x="0" y="91"/>
                </a:cxn>
                <a:cxn ang="0">
                  <a:pos x="0" y="104"/>
                </a:cxn>
                <a:cxn ang="0">
                  <a:pos x="99" y="104"/>
                </a:cxn>
                <a:cxn ang="0">
                  <a:pos x="99" y="91"/>
                </a:cxn>
                <a:cxn ang="0">
                  <a:pos x="65" y="54"/>
                </a:cxn>
                <a:cxn ang="0">
                  <a:pos x="49" y="58"/>
                </a:cxn>
                <a:cxn ang="0">
                  <a:pos x="57" y="65"/>
                </a:cxn>
                <a:cxn ang="0">
                  <a:pos x="49" y="96"/>
                </a:cxn>
                <a:cxn ang="0">
                  <a:pos x="42" y="65"/>
                </a:cxn>
                <a:cxn ang="0">
                  <a:pos x="49" y="58"/>
                </a:cxn>
                <a:cxn ang="0">
                  <a:pos x="24" y="29"/>
                </a:cxn>
                <a:cxn ang="0">
                  <a:pos x="49" y="3"/>
                </a:cxn>
                <a:cxn ang="0">
                  <a:pos x="75" y="29"/>
                </a:cxn>
                <a:cxn ang="0">
                  <a:pos x="49" y="54"/>
                </a:cxn>
                <a:cxn ang="0">
                  <a:pos x="24" y="29"/>
                </a:cxn>
                <a:cxn ang="0">
                  <a:pos x="3" y="91"/>
                </a:cxn>
                <a:cxn ang="0">
                  <a:pos x="12" y="68"/>
                </a:cxn>
                <a:cxn ang="0">
                  <a:pos x="34" y="58"/>
                </a:cxn>
                <a:cxn ang="0">
                  <a:pos x="45" y="58"/>
                </a:cxn>
                <a:cxn ang="0">
                  <a:pos x="39" y="63"/>
                </a:cxn>
                <a:cxn ang="0">
                  <a:pos x="38" y="65"/>
                </a:cxn>
                <a:cxn ang="0">
                  <a:pos x="47" y="100"/>
                </a:cxn>
                <a:cxn ang="0">
                  <a:pos x="3" y="100"/>
                </a:cxn>
                <a:cxn ang="0">
                  <a:pos x="3" y="91"/>
                </a:cxn>
                <a:cxn ang="0">
                  <a:pos x="96" y="100"/>
                </a:cxn>
                <a:cxn ang="0">
                  <a:pos x="52" y="100"/>
                </a:cxn>
                <a:cxn ang="0">
                  <a:pos x="61" y="65"/>
                </a:cxn>
                <a:cxn ang="0">
                  <a:pos x="60" y="63"/>
                </a:cxn>
                <a:cxn ang="0">
                  <a:pos x="54" y="58"/>
                </a:cxn>
                <a:cxn ang="0">
                  <a:pos x="65" y="58"/>
                </a:cxn>
                <a:cxn ang="0">
                  <a:pos x="96" y="91"/>
                </a:cxn>
                <a:cxn ang="0">
                  <a:pos x="96" y="100"/>
                </a:cxn>
              </a:cxnLst>
              <a:rect l="0" t="0" r="r" b="b"/>
              <a:pathLst>
                <a:path w="99" h="104">
                  <a:moveTo>
                    <a:pt x="65" y="54"/>
                  </a:moveTo>
                  <a:cubicBezTo>
                    <a:pt x="63" y="54"/>
                    <a:pt x="63" y="54"/>
                    <a:pt x="63" y="54"/>
                  </a:cubicBezTo>
                  <a:cubicBezTo>
                    <a:pt x="72" y="49"/>
                    <a:pt x="78" y="40"/>
                    <a:pt x="78" y="29"/>
                  </a:cubicBezTo>
                  <a:cubicBezTo>
                    <a:pt x="78" y="13"/>
                    <a:pt x="65" y="0"/>
                    <a:pt x="49" y="0"/>
                  </a:cubicBezTo>
                  <a:cubicBezTo>
                    <a:pt x="33" y="0"/>
                    <a:pt x="20" y="13"/>
                    <a:pt x="20" y="29"/>
                  </a:cubicBezTo>
                  <a:cubicBezTo>
                    <a:pt x="20" y="40"/>
                    <a:pt x="26" y="49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54"/>
                    <a:pt x="16" y="58"/>
                    <a:pt x="10" y="65"/>
                  </a:cubicBezTo>
                  <a:cubicBezTo>
                    <a:pt x="3" y="72"/>
                    <a:pt x="0" y="81"/>
                    <a:pt x="0" y="91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99" y="71"/>
                    <a:pt x="84" y="54"/>
                    <a:pt x="65" y="54"/>
                  </a:cubicBezTo>
                  <a:close/>
                  <a:moveTo>
                    <a:pt x="49" y="58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2" y="65"/>
                    <a:pt x="42" y="65"/>
                    <a:pt x="42" y="65"/>
                  </a:cubicBezTo>
                  <a:lnTo>
                    <a:pt x="49" y="58"/>
                  </a:lnTo>
                  <a:close/>
                  <a:moveTo>
                    <a:pt x="24" y="29"/>
                  </a:moveTo>
                  <a:cubicBezTo>
                    <a:pt x="24" y="15"/>
                    <a:pt x="35" y="3"/>
                    <a:pt x="49" y="3"/>
                  </a:cubicBezTo>
                  <a:cubicBezTo>
                    <a:pt x="63" y="3"/>
                    <a:pt x="75" y="15"/>
                    <a:pt x="75" y="29"/>
                  </a:cubicBezTo>
                  <a:cubicBezTo>
                    <a:pt x="75" y="43"/>
                    <a:pt x="63" y="54"/>
                    <a:pt x="49" y="54"/>
                  </a:cubicBezTo>
                  <a:cubicBezTo>
                    <a:pt x="35" y="54"/>
                    <a:pt x="24" y="43"/>
                    <a:pt x="24" y="29"/>
                  </a:cubicBezTo>
                  <a:close/>
                  <a:moveTo>
                    <a:pt x="3" y="91"/>
                  </a:moveTo>
                  <a:cubicBezTo>
                    <a:pt x="3" y="82"/>
                    <a:pt x="6" y="74"/>
                    <a:pt x="12" y="68"/>
                  </a:cubicBezTo>
                  <a:cubicBezTo>
                    <a:pt x="18" y="61"/>
                    <a:pt x="26" y="58"/>
                    <a:pt x="34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3" y="100"/>
                    <a:pt x="3" y="100"/>
                    <a:pt x="3" y="100"/>
                  </a:cubicBezTo>
                  <a:lnTo>
                    <a:pt x="3" y="91"/>
                  </a:lnTo>
                  <a:close/>
                  <a:moveTo>
                    <a:pt x="96" y="100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82" y="58"/>
                    <a:pt x="96" y="73"/>
                    <a:pt x="96" y="91"/>
                  </a:cubicBezTo>
                  <a:lnTo>
                    <a:pt x="96" y="1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189" name="Group 133"/>
          <p:cNvGrpSpPr>
            <a:grpSpLocks noChangeAspect="1"/>
          </p:cNvGrpSpPr>
          <p:nvPr/>
        </p:nvGrpSpPr>
        <p:grpSpPr bwMode="auto">
          <a:xfrm>
            <a:off x="3663159" y="1571624"/>
            <a:ext cx="768350" cy="768350"/>
            <a:chOff x="2305" y="990"/>
            <a:chExt cx="484" cy="484"/>
          </a:xfrm>
        </p:grpSpPr>
        <p:sp>
          <p:nvSpPr>
            <p:cNvPr id="45190" name="Freeform 134"/>
            <p:cNvSpPr>
              <a:spLocks noEditPoints="1"/>
            </p:cNvSpPr>
            <p:nvPr/>
          </p:nvSpPr>
          <p:spPr bwMode="auto">
            <a:xfrm>
              <a:off x="2305" y="99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1" name="Freeform 135"/>
            <p:cNvSpPr>
              <a:spLocks noEditPoints="1"/>
            </p:cNvSpPr>
            <p:nvPr/>
          </p:nvSpPr>
          <p:spPr bwMode="auto">
            <a:xfrm>
              <a:off x="2428" y="1086"/>
              <a:ext cx="237" cy="249"/>
            </a:xfrm>
            <a:custGeom>
              <a:avLst/>
              <a:gdLst/>
              <a:ahLst/>
              <a:cxnLst>
                <a:cxn ang="0">
                  <a:pos x="65" y="54"/>
                </a:cxn>
                <a:cxn ang="0">
                  <a:pos x="63" y="54"/>
                </a:cxn>
                <a:cxn ang="0">
                  <a:pos x="78" y="29"/>
                </a:cxn>
                <a:cxn ang="0">
                  <a:pos x="49" y="0"/>
                </a:cxn>
                <a:cxn ang="0">
                  <a:pos x="20" y="29"/>
                </a:cxn>
                <a:cxn ang="0">
                  <a:pos x="35" y="54"/>
                </a:cxn>
                <a:cxn ang="0">
                  <a:pos x="34" y="54"/>
                </a:cxn>
                <a:cxn ang="0">
                  <a:pos x="10" y="65"/>
                </a:cxn>
                <a:cxn ang="0">
                  <a:pos x="0" y="91"/>
                </a:cxn>
                <a:cxn ang="0">
                  <a:pos x="0" y="104"/>
                </a:cxn>
                <a:cxn ang="0">
                  <a:pos x="99" y="104"/>
                </a:cxn>
                <a:cxn ang="0">
                  <a:pos x="99" y="91"/>
                </a:cxn>
                <a:cxn ang="0">
                  <a:pos x="65" y="54"/>
                </a:cxn>
                <a:cxn ang="0">
                  <a:pos x="49" y="58"/>
                </a:cxn>
                <a:cxn ang="0">
                  <a:pos x="57" y="65"/>
                </a:cxn>
                <a:cxn ang="0">
                  <a:pos x="49" y="96"/>
                </a:cxn>
                <a:cxn ang="0">
                  <a:pos x="42" y="65"/>
                </a:cxn>
                <a:cxn ang="0">
                  <a:pos x="49" y="58"/>
                </a:cxn>
                <a:cxn ang="0">
                  <a:pos x="24" y="29"/>
                </a:cxn>
                <a:cxn ang="0">
                  <a:pos x="49" y="3"/>
                </a:cxn>
                <a:cxn ang="0">
                  <a:pos x="75" y="29"/>
                </a:cxn>
                <a:cxn ang="0">
                  <a:pos x="49" y="54"/>
                </a:cxn>
                <a:cxn ang="0">
                  <a:pos x="24" y="29"/>
                </a:cxn>
                <a:cxn ang="0">
                  <a:pos x="3" y="91"/>
                </a:cxn>
                <a:cxn ang="0">
                  <a:pos x="12" y="68"/>
                </a:cxn>
                <a:cxn ang="0">
                  <a:pos x="34" y="58"/>
                </a:cxn>
                <a:cxn ang="0">
                  <a:pos x="45" y="58"/>
                </a:cxn>
                <a:cxn ang="0">
                  <a:pos x="39" y="63"/>
                </a:cxn>
                <a:cxn ang="0">
                  <a:pos x="38" y="65"/>
                </a:cxn>
                <a:cxn ang="0">
                  <a:pos x="47" y="100"/>
                </a:cxn>
                <a:cxn ang="0">
                  <a:pos x="3" y="100"/>
                </a:cxn>
                <a:cxn ang="0">
                  <a:pos x="3" y="91"/>
                </a:cxn>
                <a:cxn ang="0">
                  <a:pos x="96" y="100"/>
                </a:cxn>
                <a:cxn ang="0">
                  <a:pos x="52" y="100"/>
                </a:cxn>
                <a:cxn ang="0">
                  <a:pos x="61" y="65"/>
                </a:cxn>
                <a:cxn ang="0">
                  <a:pos x="60" y="63"/>
                </a:cxn>
                <a:cxn ang="0">
                  <a:pos x="54" y="58"/>
                </a:cxn>
                <a:cxn ang="0">
                  <a:pos x="65" y="58"/>
                </a:cxn>
                <a:cxn ang="0">
                  <a:pos x="96" y="91"/>
                </a:cxn>
                <a:cxn ang="0">
                  <a:pos x="96" y="100"/>
                </a:cxn>
              </a:cxnLst>
              <a:rect l="0" t="0" r="r" b="b"/>
              <a:pathLst>
                <a:path w="99" h="104">
                  <a:moveTo>
                    <a:pt x="65" y="54"/>
                  </a:moveTo>
                  <a:cubicBezTo>
                    <a:pt x="63" y="54"/>
                    <a:pt x="63" y="54"/>
                    <a:pt x="63" y="54"/>
                  </a:cubicBezTo>
                  <a:cubicBezTo>
                    <a:pt x="72" y="49"/>
                    <a:pt x="78" y="40"/>
                    <a:pt x="78" y="29"/>
                  </a:cubicBezTo>
                  <a:cubicBezTo>
                    <a:pt x="78" y="13"/>
                    <a:pt x="65" y="0"/>
                    <a:pt x="49" y="0"/>
                  </a:cubicBezTo>
                  <a:cubicBezTo>
                    <a:pt x="33" y="0"/>
                    <a:pt x="20" y="13"/>
                    <a:pt x="20" y="29"/>
                  </a:cubicBezTo>
                  <a:cubicBezTo>
                    <a:pt x="20" y="40"/>
                    <a:pt x="26" y="49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25" y="54"/>
                    <a:pt x="16" y="58"/>
                    <a:pt x="10" y="65"/>
                  </a:cubicBezTo>
                  <a:cubicBezTo>
                    <a:pt x="3" y="72"/>
                    <a:pt x="0" y="81"/>
                    <a:pt x="0" y="91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99" y="104"/>
                    <a:pt x="99" y="104"/>
                    <a:pt x="99" y="104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99" y="71"/>
                    <a:pt x="84" y="54"/>
                    <a:pt x="65" y="54"/>
                  </a:cubicBezTo>
                  <a:close/>
                  <a:moveTo>
                    <a:pt x="49" y="58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2" y="65"/>
                    <a:pt x="42" y="65"/>
                    <a:pt x="42" y="65"/>
                  </a:cubicBezTo>
                  <a:lnTo>
                    <a:pt x="49" y="58"/>
                  </a:lnTo>
                  <a:close/>
                  <a:moveTo>
                    <a:pt x="24" y="29"/>
                  </a:moveTo>
                  <a:cubicBezTo>
                    <a:pt x="24" y="15"/>
                    <a:pt x="35" y="3"/>
                    <a:pt x="49" y="3"/>
                  </a:cubicBezTo>
                  <a:cubicBezTo>
                    <a:pt x="63" y="3"/>
                    <a:pt x="75" y="15"/>
                    <a:pt x="75" y="29"/>
                  </a:cubicBezTo>
                  <a:cubicBezTo>
                    <a:pt x="75" y="43"/>
                    <a:pt x="63" y="54"/>
                    <a:pt x="49" y="54"/>
                  </a:cubicBezTo>
                  <a:cubicBezTo>
                    <a:pt x="35" y="54"/>
                    <a:pt x="24" y="43"/>
                    <a:pt x="24" y="29"/>
                  </a:cubicBezTo>
                  <a:close/>
                  <a:moveTo>
                    <a:pt x="3" y="91"/>
                  </a:moveTo>
                  <a:cubicBezTo>
                    <a:pt x="3" y="82"/>
                    <a:pt x="6" y="74"/>
                    <a:pt x="12" y="68"/>
                  </a:cubicBezTo>
                  <a:cubicBezTo>
                    <a:pt x="18" y="61"/>
                    <a:pt x="26" y="58"/>
                    <a:pt x="34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3" y="100"/>
                    <a:pt x="3" y="100"/>
                    <a:pt x="3" y="100"/>
                  </a:cubicBezTo>
                  <a:lnTo>
                    <a:pt x="3" y="91"/>
                  </a:lnTo>
                  <a:close/>
                  <a:moveTo>
                    <a:pt x="96" y="100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82" y="58"/>
                    <a:pt x="96" y="73"/>
                    <a:pt x="96" y="91"/>
                  </a:cubicBezTo>
                  <a:lnTo>
                    <a:pt x="96" y="10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94" name="Group 138"/>
          <p:cNvGrpSpPr>
            <a:grpSpLocks noChangeAspect="1"/>
          </p:cNvGrpSpPr>
          <p:nvPr/>
        </p:nvGrpSpPr>
        <p:grpSpPr bwMode="auto">
          <a:xfrm>
            <a:off x="4728369" y="1536700"/>
            <a:ext cx="836613" cy="838200"/>
            <a:chOff x="2974" y="968"/>
            <a:chExt cx="527" cy="528"/>
          </a:xfrm>
        </p:grpSpPr>
        <p:sp>
          <p:nvSpPr>
            <p:cNvPr id="45195" name="Oval 139"/>
            <p:cNvSpPr>
              <a:spLocks noChangeArrowheads="1"/>
            </p:cNvSpPr>
            <p:nvPr/>
          </p:nvSpPr>
          <p:spPr bwMode="auto">
            <a:xfrm>
              <a:off x="2974" y="968"/>
              <a:ext cx="527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96" name="Freeform 140"/>
            <p:cNvSpPr>
              <a:spLocks noEditPoints="1"/>
            </p:cNvSpPr>
            <p:nvPr/>
          </p:nvSpPr>
          <p:spPr bwMode="auto">
            <a:xfrm>
              <a:off x="2996" y="990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7" name="Freeform 141"/>
            <p:cNvSpPr>
              <a:spLocks noEditPoints="1"/>
            </p:cNvSpPr>
            <p:nvPr/>
          </p:nvSpPr>
          <p:spPr bwMode="auto">
            <a:xfrm>
              <a:off x="3106" y="1103"/>
              <a:ext cx="256" cy="258"/>
            </a:xfrm>
            <a:custGeom>
              <a:avLst/>
              <a:gdLst/>
              <a:ahLst/>
              <a:cxnLst>
                <a:cxn ang="0">
                  <a:pos x="0" y="258"/>
                </a:cxn>
                <a:cxn ang="0">
                  <a:pos x="256" y="258"/>
                </a:cxn>
                <a:cxn ang="0">
                  <a:pos x="256" y="0"/>
                </a:cxn>
                <a:cxn ang="0">
                  <a:pos x="0" y="0"/>
                </a:cxn>
                <a:cxn ang="0">
                  <a:pos x="0" y="258"/>
                </a:cxn>
                <a:cxn ang="0">
                  <a:pos x="194" y="249"/>
                </a:cxn>
                <a:cxn ang="0">
                  <a:pos x="14" y="249"/>
                </a:cxn>
                <a:cxn ang="0">
                  <a:pos x="100" y="122"/>
                </a:cxn>
                <a:cxn ang="0">
                  <a:pos x="194" y="249"/>
                </a:cxn>
                <a:cxn ang="0">
                  <a:pos x="203" y="249"/>
                </a:cxn>
                <a:cxn ang="0">
                  <a:pos x="160" y="189"/>
                </a:cxn>
                <a:cxn ang="0">
                  <a:pos x="189" y="146"/>
                </a:cxn>
                <a:cxn ang="0">
                  <a:pos x="246" y="230"/>
                </a:cxn>
                <a:cxn ang="0">
                  <a:pos x="246" y="249"/>
                </a:cxn>
                <a:cxn ang="0">
                  <a:pos x="203" y="249"/>
                </a:cxn>
                <a:cxn ang="0">
                  <a:pos x="246" y="9"/>
                </a:cxn>
                <a:cxn ang="0">
                  <a:pos x="246" y="213"/>
                </a:cxn>
                <a:cxn ang="0">
                  <a:pos x="189" y="131"/>
                </a:cxn>
                <a:cxn ang="0">
                  <a:pos x="155" y="182"/>
                </a:cxn>
                <a:cxn ang="0">
                  <a:pos x="100" y="107"/>
                </a:cxn>
                <a:cxn ang="0">
                  <a:pos x="7" y="242"/>
                </a:cxn>
                <a:cxn ang="0">
                  <a:pos x="7" y="9"/>
                </a:cxn>
                <a:cxn ang="0">
                  <a:pos x="246" y="9"/>
                </a:cxn>
              </a:cxnLst>
              <a:rect l="0" t="0" r="r" b="b"/>
              <a:pathLst>
                <a:path w="256" h="258">
                  <a:moveTo>
                    <a:pt x="0" y="258"/>
                  </a:moveTo>
                  <a:lnTo>
                    <a:pt x="256" y="258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58"/>
                  </a:lnTo>
                  <a:close/>
                  <a:moveTo>
                    <a:pt x="194" y="249"/>
                  </a:moveTo>
                  <a:lnTo>
                    <a:pt x="14" y="249"/>
                  </a:lnTo>
                  <a:lnTo>
                    <a:pt x="100" y="122"/>
                  </a:lnTo>
                  <a:lnTo>
                    <a:pt x="194" y="249"/>
                  </a:lnTo>
                  <a:close/>
                  <a:moveTo>
                    <a:pt x="203" y="249"/>
                  </a:moveTo>
                  <a:lnTo>
                    <a:pt x="160" y="189"/>
                  </a:lnTo>
                  <a:lnTo>
                    <a:pt x="189" y="146"/>
                  </a:lnTo>
                  <a:lnTo>
                    <a:pt x="246" y="230"/>
                  </a:lnTo>
                  <a:lnTo>
                    <a:pt x="246" y="249"/>
                  </a:lnTo>
                  <a:lnTo>
                    <a:pt x="203" y="249"/>
                  </a:lnTo>
                  <a:close/>
                  <a:moveTo>
                    <a:pt x="246" y="9"/>
                  </a:moveTo>
                  <a:lnTo>
                    <a:pt x="246" y="213"/>
                  </a:lnTo>
                  <a:lnTo>
                    <a:pt x="189" y="131"/>
                  </a:lnTo>
                  <a:lnTo>
                    <a:pt x="155" y="182"/>
                  </a:lnTo>
                  <a:lnTo>
                    <a:pt x="100" y="107"/>
                  </a:lnTo>
                  <a:lnTo>
                    <a:pt x="7" y="242"/>
                  </a:lnTo>
                  <a:lnTo>
                    <a:pt x="7" y="9"/>
                  </a:lnTo>
                  <a:lnTo>
                    <a:pt x="246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98" name="Freeform 142"/>
            <p:cNvSpPr>
              <a:spLocks noEditPoints="1"/>
            </p:cNvSpPr>
            <p:nvPr/>
          </p:nvSpPr>
          <p:spPr bwMode="auto">
            <a:xfrm>
              <a:off x="3233" y="1153"/>
              <a:ext cx="55" cy="55"/>
            </a:xfrm>
            <a:custGeom>
              <a:avLst/>
              <a:gdLst/>
              <a:ahLst/>
              <a:cxnLst>
                <a:cxn ang="0">
                  <a:pos x="11" y="23"/>
                </a:cxn>
                <a:cxn ang="0">
                  <a:pos x="23" y="11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11" y="23"/>
                </a:cxn>
                <a:cxn ang="0">
                  <a:pos x="11" y="4"/>
                </a:cxn>
                <a:cxn ang="0">
                  <a:pos x="19" y="11"/>
                </a:cxn>
                <a:cxn ang="0">
                  <a:pos x="11" y="19"/>
                </a:cxn>
                <a:cxn ang="0">
                  <a:pos x="4" y="11"/>
                </a:cxn>
                <a:cxn ang="0">
                  <a:pos x="11" y="4"/>
                </a:cxn>
              </a:cxnLst>
              <a:rect l="0" t="0" r="r" b="b"/>
              <a:pathLst>
                <a:path w="23" h="23">
                  <a:moveTo>
                    <a:pt x="11" y="23"/>
                  </a:moveTo>
                  <a:cubicBezTo>
                    <a:pt x="18" y="23"/>
                    <a:pt x="23" y="18"/>
                    <a:pt x="23" y="11"/>
                  </a:cubicBezTo>
                  <a:cubicBezTo>
                    <a:pt x="23" y="5"/>
                    <a:pt x="18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8"/>
                    <a:pt x="5" y="23"/>
                    <a:pt x="11" y="23"/>
                  </a:cubicBezTo>
                  <a:close/>
                  <a:moveTo>
                    <a:pt x="11" y="4"/>
                  </a:moveTo>
                  <a:cubicBezTo>
                    <a:pt x="16" y="4"/>
                    <a:pt x="19" y="7"/>
                    <a:pt x="19" y="11"/>
                  </a:cubicBezTo>
                  <a:cubicBezTo>
                    <a:pt x="19" y="16"/>
                    <a:pt x="16" y="19"/>
                    <a:pt x="11" y="19"/>
                  </a:cubicBezTo>
                  <a:cubicBezTo>
                    <a:pt x="7" y="19"/>
                    <a:pt x="4" y="16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01" name="Group 145"/>
          <p:cNvGrpSpPr>
            <a:grpSpLocks noChangeAspect="1"/>
          </p:cNvGrpSpPr>
          <p:nvPr/>
        </p:nvGrpSpPr>
        <p:grpSpPr bwMode="auto">
          <a:xfrm>
            <a:off x="5859458" y="1571624"/>
            <a:ext cx="768350" cy="768350"/>
            <a:chOff x="3684" y="990"/>
            <a:chExt cx="484" cy="484"/>
          </a:xfrm>
        </p:grpSpPr>
        <p:sp>
          <p:nvSpPr>
            <p:cNvPr id="45202" name="Freeform 146"/>
            <p:cNvSpPr>
              <a:spLocks noEditPoints="1"/>
            </p:cNvSpPr>
            <p:nvPr/>
          </p:nvSpPr>
          <p:spPr bwMode="auto">
            <a:xfrm>
              <a:off x="3684" y="99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3" name="Freeform 147"/>
            <p:cNvSpPr>
              <a:spLocks noEditPoints="1"/>
            </p:cNvSpPr>
            <p:nvPr/>
          </p:nvSpPr>
          <p:spPr bwMode="auto">
            <a:xfrm>
              <a:off x="3795" y="1103"/>
              <a:ext cx="256" cy="259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256" y="259"/>
                </a:cxn>
                <a:cxn ang="0">
                  <a:pos x="256" y="0"/>
                </a:cxn>
                <a:cxn ang="0">
                  <a:pos x="0" y="0"/>
                </a:cxn>
                <a:cxn ang="0">
                  <a:pos x="0" y="259"/>
                </a:cxn>
                <a:cxn ang="0">
                  <a:pos x="194" y="249"/>
                </a:cxn>
                <a:cxn ang="0">
                  <a:pos x="14" y="249"/>
                </a:cxn>
                <a:cxn ang="0">
                  <a:pos x="100" y="122"/>
                </a:cxn>
                <a:cxn ang="0">
                  <a:pos x="194" y="249"/>
                </a:cxn>
                <a:cxn ang="0">
                  <a:pos x="203" y="249"/>
                </a:cxn>
                <a:cxn ang="0">
                  <a:pos x="160" y="189"/>
                </a:cxn>
                <a:cxn ang="0">
                  <a:pos x="189" y="146"/>
                </a:cxn>
                <a:cxn ang="0">
                  <a:pos x="246" y="230"/>
                </a:cxn>
                <a:cxn ang="0">
                  <a:pos x="246" y="249"/>
                </a:cxn>
                <a:cxn ang="0">
                  <a:pos x="203" y="249"/>
                </a:cxn>
                <a:cxn ang="0">
                  <a:pos x="246" y="10"/>
                </a:cxn>
                <a:cxn ang="0">
                  <a:pos x="246" y="213"/>
                </a:cxn>
                <a:cxn ang="0">
                  <a:pos x="189" y="132"/>
                </a:cxn>
                <a:cxn ang="0">
                  <a:pos x="155" y="182"/>
                </a:cxn>
                <a:cxn ang="0">
                  <a:pos x="100" y="108"/>
                </a:cxn>
                <a:cxn ang="0">
                  <a:pos x="7" y="242"/>
                </a:cxn>
                <a:cxn ang="0">
                  <a:pos x="7" y="10"/>
                </a:cxn>
                <a:cxn ang="0">
                  <a:pos x="246" y="10"/>
                </a:cxn>
              </a:cxnLst>
              <a:rect l="0" t="0" r="r" b="b"/>
              <a:pathLst>
                <a:path w="256" h="259">
                  <a:moveTo>
                    <a:pt x="0" y="259"/>
                  </a:moveTo>
                  <a:lnTo>
                    <a:pt x="256" y="259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59"/>
                  </a:lnTo>
                  <a:close/>
                  <a:moveTo>
                    <a:pt x="194" y="249"/>
                  </a:moveTo>
                  <a:lnTo>
                    <a:pt x="14" y="249"/>
                  </a:lnTo>
                  <a:lnTo>
                    <a:pt x="100" y="122"/>
                  </a:lnTo>
                  <a:lnTo>
                    <a:pt x="194" y="249"/>
                  </a:lnTo>
                  <a:close/>
                  <a:moveTo>
                    <a:pt x="203" y="249"/>
                  </a:moveTo>
                  <a:lnTo>
                    <a:pt x="160" y="189"/>
                  </a:lnTo>
                  <a:lnTo>
                    <a:pt x="189" y="146"/>
                  </a:lnTo>
                  <a:lnTo>
                    <a:pt x="246" y="230"/>
                  </a:lnTo>
                  <a:lnTo>
                    <a:pt x="246" y="249"/>
                  </a:lnTo>
                  <a:lnTo>
                    <a:pt x="203" y="249"/>
                  </a:lnTo>
                  <a:close/>
                  <a:moveTo>
                    <a:pt x="246" y="10"/>
                  </a:moveTo>
                  <a:lnTo>
                    <a:pt x="246" y="213"/>
                  </a:lnTo>
                  <a:lnTo>
                    <a:pt x="189" y="132"/>
                  </a:lnTo>
                  <a:lnTo>
                    <a:pt x="155" y="182"/>
                  </a:lnTo>
                  <a:lnTo>
                    <a:pt x="100" y="108"/>
                  </a:lnTo>
                  <a:lnTo>
                    <a:pt x="7" y="242"/>
                  </a:lnTo>
                  <a:lnTo>
                    <a:pt x="7" y="10"/>
                  </a:lnTo>
                  <a:lnTo>
                    <a:pt x="246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04" name="Freeform 148"/>
            <p:cNvSpPr>
              <a:spLocks noEditPoints="1"/>
            </p:cNvSpPr>
            <p:nvPr/>
          </p:nvSpPr>
          <p:spPr bwMode="auto">
            <a:xfrm>
              <a:off x="3922" y="1153"/>
              <a:ext cx="55" cy="55"/>
            </a:xfrm>
            <a:custGeom>
              <a:avLst/>
              <a:gdLst/>
              <a:ahLst/>
              <a:cxnLst>
                <a:cxn ang="0">
                  <a:pos x="11" y="23"/>
                </a:cxn>
                <a:cxn ang="0">
                  <a:pos x="23" y="11"/>
                </a:cxn>
                <a:cxn ang="0">
                  <a:pos x="11" y="0"/>
                </a:cxn>
                <a:cxn ang="0">
                  <a:pos x="0" y="11"/>
                </a:cxn>
                <a:cxn ang="0">
                  <a:pos x="11" y="23"/>
                </a:cxn>
                <a:cxn ang="0">
                  <a:pos x="11" y="4"/>
                </a:cxn>
                <a:cxn ang="0">
                  <a:pos x="19" y="11"/>
                </a:cxn>
                <a:cxn ang="0">
                  <a:pos x="11" y="19"/>
                </a:cxn>
                <a:cxn ang="0">
                  <a:pos x="4" y="11"/>
                </a:cxn>
                <a:cxn ang="0">
                  <a:pos x="11" y="4"/>
                </a:cxn>
              </a:cxnLst>
              <a:rect l="0" t="0" r="r" b="b"/>
              <a:pathLst>
                <a:path w="23" h="23">
                  <a:moveTo>
                    <a:pt x="11" y="23"/>
                  </a:moveTo>
                  <a:cubicBezTo>
                    <a:pt x="18" y="23"/>
                    <a:pt x="23" y="18"/>
                    <a:pt x="23" y="11"/>
                  </a:cubicBezTo>
                  <a:cubicBezTo>
                    <a:pt x="23" y="5"/>
                    <a:pt x="18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8"/>
                    <a:pt x="5" y="23"/>
                    <a:pt x="11" y="23"/>
                  </a:cubicBezTo>
                  <a:close/>
                  <a:moveTo>
                    <a:pt x="11" y="4"/>
                  </a:moveTo>
                  <a:cubicBezTo>
                    <a:pt x="16" y="4"/>
                    <a:pt x="19" y="7"/>
                    <a:pt x="19" y="11"/>
                  </a:cubicBezTo>
                  <a:cubicBezTo>
                    <a:pt x="19" y="16"/>
                    <a:pt x="16" y="19"/>
                    <a:pt x="11" y="19"/>
                  </a:cubicBezTo>
                  <a:cubicBezTo>
                    <a:pt x="7" y="19"/>
                    <a:pt x="4" y="16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207" name="Group 151"/>
          <p:cNvGrpSpPr>
            <a:grpSpLocks noChangeAspect="1"/>
          </p:cNvGrpSpPr>
          <p:nvPr/>
        </p:nvGrpSpPr>
        <p:grpSpPr bwMode="auto">
          <a:xfrm>
            <a:off x="6907861" y="1525588"/>
            <a:ext cx="854075" cy="860425"/>
            <a:chOff x="4349" y="961"/>
            <a:chExt cx="538" cy="542"/>
          </a:xfrm>
        </p:grpSpPr>
        <p:sp>
          <p:nvSpPr>
            <p:cNvPr id="45208" name="Oval 152"/>
            <p:cNvSpPr>
              <a:spLocks noChangeArrowheads="1"/>
            </p:cNvSpPr>
            <p:nvPr/>
          </p:nvSpPr>
          <p:spPr bwMode="auto">
            <a:xfrm>
              <a:off x="4349" y="961"/>
              <a:ext cx="538" cy="54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09" name="Freeform 153"/>
            <p:cNvSpPr>
              <a:spLocks noEditPoints="1"/>
            </p:cNvSpPr>
            <p:nvPr/>
          </p:nvSpPr>
          <p:spPr bwMode="auto">
            <a:xfrm>
              <a:off x="4370" y="983"/>
              <a:ext cx="495" cy="498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0" name="Freeform 154"/>
            <p:cNvSpPr>
              <a:spLocks noEditPoints="1"/>
            </p:cNvSpPr>
            <p:nvPr/>
          </p:nvSpPr>
          <p:spPr bwMode="auto">
            <a:xfrm>
              <a:off x="4504" y="1083"/>
              <a:ext cx="234" cy="305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5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5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5"/>
                    <a:pt x="48" y="125"/>
                    <a:pt x="48" y="125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5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2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1" name="Freeform 155"/>
            <p:cNvSpPr>
              <a:spLocks noEditPoints="1"/>
            </p:cNvSpPr>
            <p:nvPr/>
          </p:nvSpPr>
          <p:spPr bwMode="auto">
            <a:xfrm>
              <a:off x="4573" y="1141"/>
              <a:ext cx="96" cy="93"/>
            </a:xfrm>
            <a:custGeom>
              <a:avLst/>
              <a:gdLst/>
              <a:ahLst/>
              <a:cxnLst>
                <a:cxn ang="0">
                  <a:pos x="20" y="39"/>
                </a:cxn>
                <a:cxn ang="0">
                  <a:pos x="0" y="20"/>
                </a:cxn>
                <a:cxn ang="0">
                  <a:pos x="20" y="0"/>
                </a:cxn>
                <a:cxn ang="0">
                  <a:pos x="40" y="20"/>
                </a:cxn>
                <a:cxn ang="0">
                  <a:pos x="20" y="39"/>
                </a:cxn>
                <a:cxn ang="0">
                  <a:pos x="20" y="4"/>
                </a:cxn>
                <a:cxn ang="0">
                  <a:pos x="4" y="20"/>
                </a:cxn>
                <a:cxn ang="0">
                  <a:pos x="20" y="36"/>
                </a:cxn>
                <a:cxn ang="0">
                  <a:pos x="36" y="20"/>
                </a:cxn>
                <a:cxn ang="0">
                  <a:pos x="20" y="4"/>
                </a:cxn>
              </a:cxnLst>
              <a:rect l="0" t="0" r="r" b="b"/>
              <a:pathLst>
                <a:path w="40" h="39">
                  <a:moveTo>
                    <a:pt x="20" y="39"/>
                  </a:moveTo>
                  <a:cubicBezTo>
                    <a:pt x="9" y="39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14" name="Group 158"/>
          <p:cNvGrpSpPr>
            <a:grpSpLocks noChangeAspect="1"/>
          </p:cNvGrpSpPr>
          <p:nvPr/>
        </p:nvGrpSpPr>
        <p:grpSpPr bwMode="auto">
          <a:xfrm>
            <a:off x="8043868" y="1560513"/>
            <a:ext cx="785813" cy="792162"/>
            <a:chOff x="5067" y="983"/>
            <a:chExt cx="495" cy="499"/>
          </a:xfrm>
        </p:grpSpPr>
        <p:sp>
          <p:nvSpPr>
            <p:cNvPr id="45215" name="Freeform 159"/>
            <p:cNvSpPr>
              <a:spLocks noEditPoints="1"/>
            </p:cNvSpPr>
            <p:nvPr/>
          </p:nvSpPr>
          <p:spPr bwMode="auto">
            <a:xfrm>
              <a:off x="5067" y="983"/>
              <a:ext cx="495" cy="499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7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2" y="104"/>
                </a:cxn>
                <a:cxn ang="0">
                  <a:pos x="104" y="5"/>
                </a:cxn>
              </a:cxnLst>
              <a:rect l="0" t="0" r="r" b="b"/>
              <a:pathLst>
                <a:path w="207" h="208">
                  <a:moveTo>
                    <a:pt x="104" y="208"/>
                  </a:moveTo>
                  <a:cubicBezTo>
                    <a:pt x="46" y="208"/>
                    <a:pt x="0" y="161"/>
                    <a:pt x="0" y="104"/>
                  </a:cubicBezTo>
                  <a:cubicBezTo>
                    <a:pt x="0" y="47"/>
                    <a:pt x="46" y="0"/>
                    <a:pt x="104" y="0"/>
                  </a:cubicBezTo>
                  <a:cubicBezTo>
                    <a:pt x="161" y="0"/>
                    <a:pt x="207" y="47"/>
                    <a:pt x="207" y="104"/>
                  </a:cubicBezTo>
                  <a:cubicBezTo>
                    <a:pt x="207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49" y="5"/>
                    <a:pt x="5" y="50"/>
                    <a:pt x="5" y="104"/>
                  </a:cubicBezTo>
                  <a:cubicBezTo>
                    <a:pt x="5" y="159"/>
                    <a:pt x="49" y="203"/>
                    <a:pt x="104" y="203"/>
                  </a:cubicBezTo>
                  <a:cubicBezTo>
                    <a:pt x="158" y="203"/>
                    <a:pt x="202" y="159"/>
                    <a:pt x="202" y="104"/>
                  </a:cubicBezTo>
                  <a:cubicBezTo>
                    <a:pt x="202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6" name="Freeform 160"/>
            <p:cNvSpPr>
              <a:spLocks noEditPoints="1"/>
            </p:cNvSpPr>
            <p:nvPr/>
          </p:nvSpPr>
          <p:spPr bwMode="auto">
            <a:xfrm>
              <a:off x="5201" y="1084"/>
              <a:ext cx="235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5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5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5"/>
                    <a:pt x="48" y="125"/>
                    <a:pt x="48" y="125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5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2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17" name="Freeform 161"/>
            <p:cNvSpPr>
              <a:spLocks noEditPoints="1"/>
            </p:cNvSpPr>
            <p:nvPr/>
          </p:nvSpPr>
          <p:spPr bwMode="auto">
            <a:xfrm>
              <a:off x="5270" y="1141"/>
              <a:ext cx="96" cy="94"/>
            </a:xfrm>
            <a:custGeom>
              <a:avLst/>
              <a:gdLst/>
              <a:ahLst/>
              <a:cxnLst>
                <a:cxn ang="0">
                  <a:pos x="20" y="39"/>
                </a:cxn>
                <a:cxn ang="0">
                  <a:pos x="0" y="20"/>
                </a:cxn>
                <a:cxn ang="0">
                  <a:pos x="20" y="0"/>
                </a:cxn>
                <a:cxn ang="0">
                  <a:pos x="40" y="20"/>
                </a:cxn>
                <a:cxn ang="0">
                  <a:pos x="20" y="39"/>
                </a:cxn>
                <a:cxn ang="0">
                  <a:pos x="20" y="4"/>
                </a:cxn>
                <a:cxn ang="0">
                  <a:pos x="4" y="20"/>
                </a:cxn>
                <a:cxn ang="0">
                  <a:pos x="20" y="36"/>
                </a:cxn>
                <a:cxn ang="0">
                  <a:pos x="36" y="20"/>
                </a:cxn>
                <a:cxn ang="0">
                  <a:pos x="20" y="4"/>
                </a:cxn>
              </a:cxnLst>
              <a:rect l="0" t="0" r="r" b="b"/>
              <a:pathLst>
                <a:path w="40" h="39">
                  <a:moveTo>
                    <a:pt x="20" y="39"/>
                  </a:moveTo>
                  <a:cubicBezTo>
                    <a:pt x="9" y="39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220" name="Group 164"/>
          <p:cNvGrpSpPr>
            <a:grpSpLocks noChangeAspect="1"/>
          </p:cNvGrpSpPr>
          <p:nvPr/>
        </p:nvGrpSpPr>
        <p:grpSpPr bwMode="auto">
          <a:xfrm>
            <a:off x="334963" y="2780174"/>
            <a:ext cx="850900" cy="857249"/>
            <a:chOff x="211" y="1744"/>
            <a:chExt cx="536" cy="540"/>
          </a:xfrm>
        </p:grpSpPr>
        <p:sp>
          <p:nvSpPr>
            <p:cNvPr id="45221" name="Oval 165"/>
            <p:cNvSpPr>
              <a:spLocks noChangeArrowheads="1"/>
            </p:cNvSpPr>
            <p:nvPr/>
          </p:nvSpPr>
          <p:spPr bwMode="auto">
            <a:xfrm>
              <a:off x="211" y="1744"/>
              <a:ext cx="536" cy="54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2" name="Freeform 166"/>
            <p:cNvSpPr>
              <a:spLocks noEditPoints="1"/>
            </p:cNvSpPr>
            <p:nvPr/>
          </p:nvSpPr>
          <p:spPr bwMode="auto">
            <a:xfrm>
              <a:off x="232" y="1766"/>
              <a:ext cx="494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3" name="Freeform 167"/>
            <p:cNvSpPr>
              <a:spLocks noEditPoints="1"/>
            </p:cNvSpPr>
            <p:nvPr/>
          </p:nvSpPr>
          <p:spPr bwMode="auto">
            <a:xfrm>
              <a:off x="342" y="1855"/>
              <a:ext cx="274" cy="314"/>
            </a:xfrm>
            <a:custGeom>
              <a:avLst/>
              <a:gdLst/>
              <a:ahLst/>
              <a:cxnLst>
                <a:cxn ang="0">
                  <a:pos x="111" y="40"/>
                </a:cxn>
                <a:cxn ang="0">
                  <a:pos x="87" y="8"/>
                </a:cxn>
                <a:cxn ang="0">
                  <a:pos x="87" y="8"/>
                </a:cxn>
                <a:cxn ang="0">
                  <a:pos x="55" y="0"/>
                </a:cxn>
                <a:cxn ang="0">
                  <a:pos x="17" y="19"/>
                </a:cxn>
                <a:cxn ang="0">
                  <a:pos x="9" y="56"/>
                </a:cxn>
                <a:cxn ang="0">
                  <a:pos x="0" y="71"/>
                </a:cxn>
                <a:cxn ang="0">
                  <a:pos x="0" y="74"/>
                </a:cxn>
                <a:cxn ang="0">
                  <a:pos x="2" y="75"/>
                </a:cxn>
                <a:cxn ang="0">
                  <a:pos x="10" y="76"/>
                </a:cxn>
                <a:cxn ang="0">
                  <a:pos x="11" y="105"/>
                </a:cxn>
                <a:cxn ang="0">
                  <a:pos x="12" y="106"/>
                </a:cxn>
                <a:cxn ang="0">
                  <a:pos x="41" y="112"/>
                </a:cxn>
                <a:cxn ang="0">
                  <a:pos x="39" y="128"/>
                </a:cxn>
                <a:cxn ang="0">
                  <a:pos x="39" y="130"/>
                </a:cxn>
                <a:cxn ang="0">
                  <a:pos x="41" y="131"/>
                </a:cxn>
                <a:cxn ang="0">
                  <a:pos x="82" y="131"/>
                </a:cxn>
                <a:cxn ang="0">
                  <a:pos x="84" y="130"/>
                </a:cxn>
                <a:cxn ang="0">
                  <a:pos x="85" y="128"/>
                </a:cxn>
                <a:cxn ang="0">
                  <a:pos x="83" y="104"/>
                </a:cxn>
                <a:cxn ang="0">
                  <a:pos x="111" y="40"/>
                </a:cxn>
                <a:cxn ang="0">
                  <a:pos x="79" y="101"/>
                </a:cxn>
                <a:cxn ang="0">
                  <a:pos x="78" y="103"/>
                </a:cxn>
                <a:cxn ang="0">
                  <a:pos x="80" y="126"/>
                </a:cxn>
                <a:cxn ang="0">
                  <a:pos x="44" y="126"/>
                </a:cxn>
                <a:cxn ang="0">
                  <a:pos x="47" y="110"/>
                </a:cxn>
                <a:cxn ang="0">
                  <a:pos x="46" y="108"/>
                </a:cxn>
                <a:cxn ang="0">
                  <a:pos x="44" y="107"/>
                </a:cxn>
                <a:cxn ang="0">
                  <a:pos x="15" y="103"/>
                </a:cxn>
                <a:cxn ang="0">
                  <a:pos x="16" y="75"/>
                </a:cxn>
                <a:cxn ang="0">
                  <a:pos x="14" y="72"/>
                </a:cxn>
                <a:cxn ang="0">
                  <a:pos x="6" y="71"/>
                </a:cxn>
                <a:cxn ang="0">
                  <a:pos x="14" y="58"/>
                </a:cxn>
                <a:cxn ang="0">
                  <a:pos x="14" y="56"/>
                </a:cxn>
                <a:cxn ang="0">
                  <a:pos x="21" y="22"/>
                </a:cxn>
                <a:cxn ang="0">
                  <a:pos x="55" y="5"/>
                </a:cxn>
                <a:cxn ang="0">
                  <a:pos x="85" y="12"/>
                </a:cxn>
                <a:cxn ang="0">
                  <a:pos x="106" y="41"/>
                </a:cxn>
                <a:cxn ang="0">
                  <a:pos x="79" y="101"/>
                </a:cxn>
              </a:cxnLst>
              <a:rect l="0" t="0" r="r" b="b"/>
              <a:pathLst>
                <a:path w="114" h="131">
                  <a:moveTo>
                    <a:pt x="111" y="40"/>
                  </a:moveTo>
                  <a:cubicBezTo>
                    <a:pt x="109" y="27"/>
                    <a:pt x="101" y="16"/>
                    <a:pt x="87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7"/>
                    <a:pt x="72" y="0"/>
                    <a:pt x="55" y="0"/>
                  </a:cubicBezTo>
                  <a:cubicBezTo>
                    <a:pt x="40" y="0"/>
                    <a:pt x="27" y="6"/>
                    <a:pt x="17" y="19"/>
                  </a:cubicBezTo>
                  <a:cubicBezTo>
                    <a:pt x="17" y="19"/>
                    <a:pt x="4" y="36"/>
                    <a:pt x="9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2"/>
                    <a:pt x="0" y="73"/>
                    <a:pt x="0" y="74"/>
                  </a:cubicBezTo>
                  <a:cubicBezTo>
                    <a:pt x="0" y="74"/>
                    <a:pt x="1" y="75"/>
                    <a:pt x="2" y="75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10" y="82"/>
                    <a:pt x="9" y="98"/>
                    <a:pt x="11" y="105"/>
                  </a:cubicBezTo>
                  <a:cubicBezTo>
                    <a:pt x="11" y="106"/>
                    <a:pt x="11" y="106"/>
                    <a:pt x="12" y="106"/>
                  </a:cubicBezTo>
                  <a:cubicBezTo>
                    <a:pt x="12" y="107"/>
                    <a:pt x="18" y="111"/>
                    <a:pt x="41" y="112"/>
                  </a:cubicBezTo>
                  <a:cubicBezTo>
                    <a:pt x="39" y="128"/>
                    <a:pt x="39" y="128"/>
                    <a:pt x="39" y="128"/>
                  </a:cubicBezTo>
                  <a:cubicBezTo>
                    <a:pt x="39" y="128"/>
                    <a:pt x="39" y="129"/>
                    <a:pt x="39" y="130"/>
                  </a:cubicBezTo>
                  <a:cubicBezTo>
                    <a:pt x="40" y="130"/>
                    <a:pt x="40" y="131"/>
                    <a:pt x="41" y="131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3" y="131"/>
                    <a:pt x="84" y="130"/>
                    <a:pt x="84" y="130"/>
                  </a:cubicBezTo>
                  <a:cubicBezTo>
                    <a:pt x="85" y="129"/>
                    <a:pt x="85" y="129"/>
                    <a:pt x="85" y="128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8" y="99"/>
                    <a:pt x="114" y="68"/>
                    <a:pt x="111" y="40"/>
                  </a:cubicBezTo>
                  <a:close/>
                  <a:moveTo>
                    <a:pt x="79" y="101"/>
                  </a:moveTo>
                  <a:cubicBezTo>
                    <a:pt x="78" y="102"/>
                    <a:pt x="78" y="103"/>
                    <a:pt x="78" y="103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44" y="126"/>
                    <a:pt x="44" y="126"/>
                    <a:pt x="44" y="126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09"/>
                    <a:pt x="46" y="108"/>
                    <a:pt x="46" y="108"/>
                  </a:cubicBezTo>
                  <a:cubicBezTo>
                    <a:pt x="46" y="107"/>
                    <a:pt x="45" y="107"/>
                    <a:pt x="44" y="107"/>
                  </a:cubicBezTo>
                  <a:cubicBezTo>
                    <a:pt x="25" y="106"/>
                    <a:pt x="18" y="104"/>
                    <a:pt x="15" y="103"/>
                  </a:cubicBezTo>
                  <a:cubicBezTo>
                    <a:pt x="14" y="94"/>
                    <a:pt x="16" y="75"/>
                    <a:pt x="16" y="75"/>
                  </a:cubicBezTo>
                  <a:cubicBezTo>
                    <a:pt x="16" y="73"/>
                    <a:pt x="15" y="72"/>
                    <a:pt x="14" y="72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7"/>
                    <a:pt x="15" y="56"/>
                    <a:pt x="14" y="56"/>
                  </a:cubicBezTo>
                  <a:cubicBezTo>
                    <a:pt x="9" y="38"/>
                    <a:pt x="21" y="22"/>
                    <a:pt x="21" y="22"/>
                  </a:cubicBezTo>
                  <a:cubicBezTo>
                    <a:pt x="30" y="11"/>
                    <a:pt x="41" y="5"/>
                    <a:pt x="55" y="5"/>
                  </a:cubicBezTo>
                  <a:cubicBezTo>
                    <a:pt x="71" y="5"/>
                    <a:pt x="84" y="12"/>
                    <a:pt x="85" y="12"/>
                  </a:cubicBezTo>
                  <a:cubicBezTo>
                    <a:pt x="97" y="19"/>
                    <a:pt x="104" y="29"/>
                    <a:pt x="106" y="41"/>
                  </a:cubicBezTo>
                  <a:cubicBezTo>
                    <a:pt x="109" y="69"/>
                    <a:pt x="79" y="101"/>
                    <a:pt x="79" y="1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24" name="Freeform 168"/>
            <p:cNvSpPr>
              <a:spLocks noEditPoints="1"/>
            </p:cNvSpPr>
            <p:nvPr/>
          </p:nvSpPr>
          <p:spPr bwMode="auto">
            <a:xfrm>
              <a:off x="431" y="1891"/>
              <a:ext cx="132" cy="131"/>
            </a:xfrm>
            <a:custGeom>
              <a:avLst/>
              <a:gdLst/>
              <a:ahLst/>
              <a:cxnLst>
                <a:cxn ang="0">
                  <a:pos x="43" y="42"/>
                </a:cxn>
                <a:cxn ang="0">
                  <a:pos x="55" y="29"/>
                </a:cxn>
                <a:cxn ang="0">
                  <a:pos x="49" y="27"/>
                </a:cxn>
                <a:cxn ang="0">
                  <a:pos x="49" y="9"/>
                </a:cxn>
                <a:cxn ang="0">
                  <a:pos x="43" y="12"/>
                </a:cxn>
                <a:cxn ang="0">
                  <a:pos x="30" y="0"/>
                </a:cxn>
                <a:cxn ang="0">
                  <a:pos x="27" y="6"/>
                </a:cxn>
                <a:cxn ang="0">
                  <a:pos x="10" y="7"/>
                </a:cxn>
                <a:cxn ang="0">
                  <a:pos x="12" y="13"/>
                </a:cxn>
                <a:cxn ang="0">
                  <a:pos x="0" y="26"/>
                </a:cxn>
                <a:cxn ang="0">
                  <a:pos x="6" y="28"/>
                </a:cxn>
                <a:cxn ang="0">
                  <a:pos x="7" y="46"/>
                </a:cxn>
                <a:cxn ang="0">
                  <a:pos x="13" y="43"/>
                </a:cxn>
                <a:cxn ang="0">
                  <a:pos x="26" y="55"/>
                </a:cxn>
                <a:cxn ang="0">
                  <a:pos x="28" y="49"/>
                </a:cxn>
                <a:cxn ang="0">
                  <a:pos x="46" y="48"/>
                </a:cxn>
                <a:cxn ang="0">
                  <a:pos x="17" y="46"/>
                </a:cxn>
                <a:cxn ang="0">
                  <a:pos x="18" y="41"/>
                </a:cxn>
                <a:cxn ang="0">
                  <a:pos x="14" y="37"/>
                </a:cxn>
                <a:cxn ang="0">
                  <a:pos x="7" y="33"/>
                </a:cxn>
                <a:cxn ang="0">
                  <a:pos x="11" y="29"/>
                </a:cxn>
                <a:cxn ang="0">
                  <a:pos x="11" y="25"/>
                </a:cxn>
                <a:cxn ang="0">
                  <a:pos x="9" y="17"/>
                </a:cxn>
                <a:cxn ang="0">
                  <a:pos x="15" y="17"/>
                </a:cxn>
                <a:cxn ang="0">
                  <a:pos x="18" y="14"/>
                </a:cxn>
                <a:cxn ang="0">
                  <a:pos x="22" y="7"/>
                </a:cxn>
                <a:cxn ang="0">
                  <a:pos x="26" y="11"/>
                </a:cxn>
                <a:cxn ang="0">
                  <a:pos x="31" y="11"/>
                </a:cxn>
                <a:cxn ang="0">
                  <a:pos x="38" y="9"/>
                </a:cxn>
                <a:cxn ang="0">
                  <a:pos x="38" y="15"/>
                </a:cxn>
                <a:cxn ang="0">
                  <a:pos x="41" y="18"/>
                </a:cxn>
                <a:cxn ang="0">
                  <a:pos x="49" y="22"/>
                </a:cxn>
                <a:cxn ang="0">
                  <a:pos x="44" y="26"/>
                </a:cxn>
                <a:cxn ang="0">
                  <a:pos x="44" y="30"/>
                </a:cxn>
                <a:cxn ang="0">
                  <a:pos x="47" y="38"/>
                </a:cxn>
                <a:cxn ang="0">
                  <a:pos x="41" y="38"/>
                </a:cxn>
                <a:cxn ang="0">
                  <a:pos x="37" y="41"/>
                </a:cxn>
                <a:cxn ang="0">
                  <a:pos x="34" y="48"/>
                </a:cxn>
                <a:cxn ang="0">
                  <a:pos x="30" y="44"/>
                </a:cxn>
                <a:cxn ang="0">
                  <a:pos x="25" y="44"/>
                </a:cxn>
                <a:cxn ang="0">
                  <a:pos x="17" y="46"/>
                </a:cxn>
              </a:cxnLst>
              <a:rect l="0" t="0" r="r" b="b"/>
              <a:pathLst>
                <a:path w="55" h="55"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46" y="48"/>
                    <a:pt x="46" y="48"/>
                    <a:pt x="46" y="48"/>
                  </a:cubicBezTo>
                  <a:lnTo>
                    <a:pt x="43" y="42"/>
                  </a:lnTo>
                  <a:close/>
                  <a:moveTo>
                    <a:pt x="17" y="46"/>
                  </a:moveTo>
                  <a:cubicBezTo>
                    <a:pt x="19" y="42"/>
                    <a:pt x="19" y="42"/>
                    <a:pt x="19" y="42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7" y="40"/>
                    <a:pt x="16" y="39"/>
                    <a:pt x="15" y="39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8"/>
                    <a:pt x="11" y="27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7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8" y="11"/>
                    <a:pt x="29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39" y="16"/>
                    <a:pt x="40" y="1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8"/>
                    <a:pt x="44" y="29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0" y="39"/>
                    <a:pt x="39" y="39"/>
                    <a:pt x="39" y="40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29" y="44"/>
                    <a:pt x="28" y="44"/>
                    <a:pt x="27" y="44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3" y="49"/>
                    <a:pt x="23" y="49"/>
                    <a:pt x="23" y="49"/>
                  </a:cubicBezTo>
                  <a:lnTo>
                    <a:pt x="17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25" name="Freeform 169"/>
            <p:cNvSpPr>
              <a:spLocks noEditPoints="1"/>
            </p:cNvSpPr>
            <p:nvPr/>
          </p:nvSpPr>
          <p:spPr bwMode="auto">
            <a:xfrm>
              <a:off x="479" y="1939"/>
              <a:ext cx="38" cy="38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8" y="11"/>
                </a:cxn>
                <a:cxn ang="0">
                  <a:pos x="4" y="8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3"/>
                    <a:pt x="12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lose/>
                  <a:moveTo>
                    <a:pt x="4" y="8"/>
                  </a:moveTo>
                  <a:cubicBezTo>
                    <a:pt x="4" y="5"/>
                    <a:pt x="6" y="4"/>
                    <a:pt x="8" y="4"/>
                  </a:cubicBezTo>
                  <a:cubicBezTo>
                    <a:pt x="10" y="4"/>
                    <a:pt x="12" y="5"/>
                    <a:pt x="12" y="8"/>
                  </a:cubicBezTo>
                  <a:cubicBezTo>
                    <a:pt x="12" y="10"/>
                    <a:pt x="10" y="11"/>
                    <a:pt x="8" y="11"/>
                  </a:cubicBezTo>
                  <a:cubicBezTo>
                    <a:pt x="6" y="11"/>
                    <a:pt x="4" y="10"/>
                    <a:pt x="4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28" name="Group 172"/>
          <p:cNvGrpSpPr>
            <a:grpSpLocks noChangeAspect="1"/>
          </p:cNvGrpSpPr>
          <p:nvPr/>
        </p:nvGrpSpPr>
        <p:grpSpPr bwMode="auto">
          <a:xfrm>
            <a:off x="1464469" y="2815102"/>
            <a:ext cx="784224" cy="785813"/>
            <a:chOff x="924" y="1766"/>
            <a:chExt cx="494" cy="495"/>
          </a:xfrm>
        </p:grpSpPr>
        <p:sp>
          <p:nvSpPr>
            <p:cNvPr id="45229" name="Freeform 173"/>
            <p:cNvSpPr>
              <a:spLocks noEditPoints="1"/>
            </p:cNvSpPr>
            <p:nvPr/>
          </p:nvSpPr>
          <p:spPr bwMode="auto">
            <a:xfrm>
              <a:off x="924" y="1766"/>
              <a:ext cx="494" cy="495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4"/>
                </a:cxn>
                <a:cxn ang="0">
                  <a:pos x="103" y="207"/>
                </a:cxn>
                <a:cxn ang="0">
                  <a:pos x="206" y="104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4"/>
                </a:cxn>
                <a:cxn ang="0">
                  <a:pos x="103" y="5"/>
                </a:cxn>
                <a:cxn ang="0">
                  <a:pos x="201" y="104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7"/>
                    <a:pt x="103" y="207"/>
                  </a:cubicBezTo>
                  <a:cubicBezTo>
                    <a:pt x="160" y="207"/>
                    <a:pt x="206" y="161"/>
                    <a:pt x="206" y="104"/>
                  </a:cubicBezTo>
                  <a:cubicBezTo>
                    <a:pt x="206" y="47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4"/>
                  </a:cubicBezTo>
                  <a:cubicBezTo>
                    <a:pt x="201" y="158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0" name="Freeform 174"/>
            <p:cNvSpPr>
              <a:spLocks noEditPoints="1"/>
            </p:cNvSpPr>
            <p:nvPr/>
          </p:nvSpPr>
          <p:spPr bwMode="auto">
            <a:xfrm>
              <a:off x="1035" y="1854"/>
              <a:ext cx="273" cy="314"/>
            </a:xfrm>
            <a:custGeom>
              <a:avLst/>
              <a:gdLst/>
              <a:ahLst/>
              <a:cxnLst>
                <a:cxn ang="0">
                  <a:pos x="111" y="40"/>
                </a:cxn>
                <a:cxn ang="0">
                  <a:pos x="87" y="8"/>
                </a:cxn>
                <a:cxn ang="0">
                  <a:pos x="87" y="8"/>
                </a:cxn>
                <a:cxn ang="0">
                  <a:pos x="55" y="0"/>
                </a:cxn>
                <a:cxn ang="0">
                  <a:pos x="17" y="19"/>
                </a:cxn>
                <a:cxn ang="0">
                  <a:pos x="9" y="56"/>
                </a:cxn>
                <a:cxn ang="0">
                  <a:pos x="0" y="71"/>
                </a:cxn>
                <a:cxn ang="0">
                  <a:pos x="0" y="74"/>
                </a:cxn>
                <a:cxn ang="0">
                  <a:pos x="2" y="75"/>
                </a:cxn>
                <a:cxn ang="0">
                  <a:pos x="10" y="76"/>
                </a:cxn>
                <a:cxn ang="0">
                  <a:pos x="11" y="105"/>
                </a:cxn>
                <a:cxn ang="0">
                  <a:pos x="12" y="106"/>
                </a:cxn>
                <a:cxn ang="0">
                  <a:pos x="41" y="112"/>
                </a:cxn>
                <a:cxn ang="0">
                  <a:pos x="39" y="128"/>
                </a:cxn>
                <a:cxn ang="0">
                  <a:pos x="39" y="130"/>
                </a:cxn>
                <a:cxn ang="0">
                  <a:pos x="41" y="131"/>
                </a:cxn>
                <a:cxn ang="0">
                  <a:pos x="82" y="131"/>
                </a:cxn>
                <a:cxn ang="0">
                  <a:pos x="84" y="130"/>
                </a:cxn>
                <a:cxn ang="0">
                  <a:pos x="85" y="128"/>
                </a:cxn>
                <a:cxn ang="0">
                  <a:pos x="83" y="104"/>
                </a:cxn>
                <a:cxn ang="0">
                  <a:pos x="111" y="40"/>
                </a:cxn>
                <a:cxn ang="0">
                  <a:pos x="79" y="101"/>
                </a:cxn>
                <a:cxn ang="0">
                  <a:pos x="78" y="103"/>
                </a:cxn>
                <a:cxn ang="0">
                  <a:pos x="80" y="126"/>
                </a:cxn>
                <a:cxn ang="0">
                  <a:pos x="44" y="126"/>
                </a:cxn>
                <a:cxn ang="0">
                  <a:pos x="47" y="110"/>
                </a:cxn>
                <a:cxn ang="0">
                  <a:pos x="46" y="108"/>
                </a:cxn>
                <a:cxn ang="0">
                  <a:pos x="44" y="107"/>
                </a:cxn>
                <a:cxn ang="0">
                  <a:pos x="15" y="103"/>
                </a:cxn>
                <a:cxn ang="0">
                  <a:pos x="16" y="75"/>
                </a:cxn>
                <a:cxn ang="0">
                  <a:pos x="14" y="72"/>
                </a:cxn>
                <a:cxn ang="0">
                  <a:pos x="6" y="71"/>
                </a:cxn>
                <a:cxn ang="0">
                  <a:pos x="14" y="58"/>
                </a:cxn>
                <a:cxn ang="0">
                  <a:pos x="14" y="56"/>
                </a:cxn>
                <a:cxn ang="0">
                  <a:pos x="21" y="22"/>
                </a:cxn>
                <a:cxn ang="0">
                  <a:pos x="55" y="5"/>
                </a:cxn>
                <a:cxn ang="0">
                  <a:pos x="85" y="12"/>
                </a:cxn>
                <a:cxn ang="0">
                  <a:pos x="106" y="41"/>
                </a:cxn>
                <a:cxn ang="0">
                  <a:pos x="79" y="101"/>
                </a:cxn>
              </a:cxnLst>
              <a:rect l="0" t="0" r="r" b="b"/>
              <a:pathLst>
                <a:path w="114" h="131">
                  <a:moveTo>
                    <a:pt x="111" y="40"/>
                  </a:moveTo>
                  <a:cubicBezTo>
                    <a:pt x="109" y="27"/>
                    <a:pt x="101" y="16"/>
                    <a:pt x="87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7"/>
                    <a:pt x="72" y="0"/>
                    <a:pt x="55" y="0"/>
                  </a:cubicBezTo>
                  <a:cubicBezTo>
                    <a:pt x="40" y="0"/>
                    <a:pt x="27" y="6"/>
                    <a:pt x="17" y="19"/>
                  </a:cubicBezTo>
                  <a:cubicBezTo>
                    <a:pt x="17" y="19"/>
                    <a:pt x="4" y="36"/>
                    <a:pt x="9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2"/>
                    <a:pt x="0" y="73"/>
                    <a:pt x="0" y="74"/>
                  </a:cubicBezTo>
                  <a:cubicBezTo>
                    <a:pt x="0" y="74"/>
                    <a:pt x="1" y="75"/>
                    <a:pt x="2" y="75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10" y="82"/>
                    <a:pt x="9" y="98"/>
                    <a:pt x="11" y="105"/>
                  </a:cubicBezTo>
                  <a:cubicBezTo>
                    <a:pt x="11" y="106"/>
                    <a:pt x="11" y="106"/>
                    <a:pt x="12" y="106"/>
                  </a:cubicBezTo>
                  <a:cubicBezTo>
                    <a:pt x="12" y="107"/>
                    <a:pt x="18" y="111"/>
                    <a:pt x="41" y="112"/>
                  </a:cubicBezTo>
                  <a:cubicBezTo>
                    <a:pt x="39" y="128"/>
                    <a:pt x="39" y="128"/>
                    <a:pt x="39" y="128"/>
                  </a:cubicBezTo>
                  <a:cubicBezTo>
                    <a:pt x="39" y="128"/>
                    <a:pt x="39" y="129"/>
                    <a:pt x="39" y="130"/>
                  </a:cubicBezTo>
                  <a:cubicBezTo>
                    <a:pt x="40" y="130"/>
                    <a:pt x="40" y="131"/>
                    <a:pt x="41" y="131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3" y="131"/>
                    <a:pt x="84" y="130"/>
                    <a:pt x="84" y="130"/>
                  </a:cubicBezTo>
                  <a:cubicBezTo>
                    <a:pt x="85" y="129"/>
                    <a:pt x="85" y="129"/>
                    <a:pt x="85" y="128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8" y="99"/>
                    <a:pt x="114" y="68"/>
                    <a:pt x="111" y="40"/>
                  </a:cubicBezTo>
                  <a:close/>
                  <a:moveTo>
                    <a:pt x="79" y="101"/>
                  </a:moveTo>
                  <a:cubicBezTo>
                    <a:pt x="78" y="102"/>
                    <a:pt x="78" y="103"/>
                    <a:pt x="78" y="103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44" y="126"/>
                    <a:pt x="44" y="126"/>
                    <a:pt x="44" y="126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09"/>
                    <a:pt x="46" y="108"/>
                    <a:pt x="46" y="108"/>
                  </a:cubicBezTo>
                  <a:cubicBezTo>
                    <a:pt x="46" y="107"/>
                    <a:pt x="45" y="107"/>
                    <a:pt x="44" y="107"/>
                  </a:cubicBezTo>
                  <a:cubicBezTo>
                    <a:pt x="25" y="106"/>
                    <a:pt x="18" y="104"/>
                    <a:pt x="15" y="103"/>
                  </a:cubicBezTo>
                  <a:cubicBezTo>
                    <a:pt x="14" y="94"/>
                    <a:pt x="16" y="75"/>
                    <a:pt x="16" y="75"/>
                  </a:cubicBezTo>
                  <a:cubicBezTo>
                    <a:pt x="16" y="73"/>
                    <a:pt x="15" y="72"/>
                    <a:pt x="14" y="72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7"/>
                    <a:pt x="15" y="56"/>
                    <a:pt x="14" y="56"/>
                  </a:cubicBezTo>
                  <a:cubicBezTo>
                    <a:pt x="9" y="38"/>
                    <a:pt x="21" y="22"/>
                    <a:pt x="21" y="22"/>
                  </a:cubicBezTo>
                  <a:cubicBezTo>
                    <a:pt x="30" y="11"/>
                    <a:pt x="41" y="5"/>
                    <a:pt x="55" y="5"/>
                  </a:cubicBezTo>
                  <a:cubicBezTo>
                    <a:pt x="71" y="5"/>
                    <a:pt x="84" y="12"/>
                    <a:pt x="85" y="12"/>
                  </a:cubicBezTo>
                  <a:cubicBezTo>
                    <a:pt x="97" y="19"/>
                    <a:pt x="104" y="29"/>
                    <a:pt x="106" y="41"/>
                  </a:cubicBezTo>
                  <a:cubicBezTo>
                    <a:pt x="109" y="69"/>
                    <a:pt x="79" y="101"/>
                    <a:pt x="79" y="1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1" name="Freeform 175"/>
            <p:cNvSpPr>
              <a:spLocks noEditPoints="1"/>
            </p:cNvSpPr>
            <p:nvPr/>
          </p:nvSpPr>
          <p:spPr bwMode="auto">
            <a:xfrm>
              <a:off x="1123" y="1890"/>
              <a:ext cx="132" cy="132"/>
            </a:xfrm>
            <a:custGeom>
              <a:avLst/>
              <a:gdLst/>
              <a:ahLst/>
              <a:cxnLst>
                <a:cxn ang="0">
                  <a:pos x="43" y="42"/>
                </a:cxn>
                <a:cxn ang="0">
                  <a:pos x="55" y="29"/>
                </a:cxn>
                <a:cxn ang="0">
                  <a:pos x="49" y="27"/>
                </a:cxn>
                <a:cxn ang="0">
                  <a:pos x="49" y="9"/>
                </a:cxn>
                <a:cxn ang="0">
                  <a:pos x="43" y="12"/>
                </a:cxn>
                <a:cxn ang="0">
                  <a:pos x="30" y="0"/>
                </a:cxn>
                <a:cxn ang="0">
                  <a:pos x="27" y="6"/>
                </a:cxn>
                <a:cxn ang="0">
                  <a:pos x="10" y="7"/>
                </a:cxn>
                <a:cxn ang="0">
                  <a:pos x="12" y="13"/>
                </a:cxn>
                <a:cxn ang="0">
                  <a:pos x="0" y="26"/>
                </a:cxn>
                <a:cxn ang="0">
                  <a:pos x="6" y="28"/>
                </a:cxn>
                <a:cxn ang="0">
                  <a:pos x="7" y="46"/>
                </a:cxn>
                <a:cxn ang="0">
                  <a:pos x="13" y="43"/>
                </a:cxn>
                <a:cxn ang="0">
                  <a:pos x="26" y="55"/>
                </a:cxn>
                <a:cxn ang="0">
                  <a:pos x="28" y="49"/>
                </a:cxn>
                <a:cxn ang="0">
                  <a:pos x="46" y="48"/>
                </a:cxn>
                <a:cxn ang="0">
                  <a:pos x="17" y="46"/>
                </a:cxn>
                <a:cxn ang="0">
                  <a:pos x="18" y="41"/>
                </a:cxn>
                <a:cxn ang="0">
                  <a:pos x="14" y="37"/>
                </a:cxn>
                <a:cxn ang="0">
                  <a:pos x="7" y="33"/>
                </a:cxn>
                <a:cxn ang="0">
                  <a:pos x="11" y="29"/>
                </a:cxn>
                <a:cxn ang="0">
                  <a:pos x="11" y="25"/>
                </a:cxn>
                <a:cxn ang="0">
                  <a:pos x="9" y="17"/>
                </a:cxn>
                <a:cxn ang="0">
                  <a:pos x="15" y="17"/>
                </a:cxn>
                <a:cxn ang="0">
                  <a:pos x="18" y="14"/>
                </a:cxn>
                <a:cxn ang="0">
                  <a:pos x="22" y="7"/>
                </a:cxn>
                <a:cxn ang="0">
                  <a:pos x="26" y="11"/>
                </a:cxn>
                <a:cxn ang="0">
                  <a:pos x="31" y="11"/>
                </a:cxn>
                <a:cxn ang="0">
                  <a:pos x="38" y="9"/>
                </a:cxn>
                <a:cxn ang="0">
                  <a:pos x="38" y="15"/>
                </a:cxn>
                <a:cxn ang="0">
                  <a:pos x="41" y="18"/>
                </a:cxn>
                <a:cxn ang="0">
                  <a:pos x="49" y="22"/>
                </a:cxn>
                <a:cxn ang="0">
                  <a:pos x="44" y="26"/>
                </a:cxn>
                <a:cxn ang="0">
                  <a:pos x="44" y="30"/>
                </a:cxn>
                <a:cxn ang="0">
                  <a:pos x="47" y="38"/>
                </a:cxn>
                <a:cxn ang="0">
                  <a:pos x="41" y="38"/>
                </a:cxn>
                <a:cxn ang="0">
                  <a:pos x="37" y="41"/>
                </a:cxn>
                <a:cxn ang="0">
                  <a:pos x="34" y="48"/>
                </a:cxn>
                <a:cxn ang="0">
                  <a:pos x="30" y="44"/>
                </a:cxn>
                <a:cxn ang="0">
                  <a:pos x="25" y="44"/>
                </a:cxn>
                <a:cxn ang="0">
                  <a:pos x="17" y="46"/>
                </a:cxn>
              </a:cxnLst>
              <a:rect l="0" t="0" r="r" b="b"/>
              <a:pathLst>
                <a:path w="55" h="55"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46" y="48"/>
                    <a:pt x="46" y="48"/>
                    <a:pt x="46" y="48"/>
                  </a:cubicBezTo>
                  <a:lnTo>
                    <a:pt x="43" y="42"/>
                  </a:lnTo>
                  <a:close/>
                  <a:moveTo>
                    <a:pt x="17" y="46"/>
                  </a:moveTo>
                  <a:cubicBezTo>
                    <a:pt x="19" y="42"/>
                    <a:pt x="19" y="42"/>
                    <a:pt x="19" y="42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7" y="40"/>
                    <a:pt x="16" y="39"/>
                    <a:pt x="15" y="39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8"/>
                    <a:pt x="11" y="27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6" y="16"/>
                    <a:pt x="17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8" y="11"/>
                    <a:pt x="29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39" y="16"/>
                    <a:pt x="40" y="1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8"/>
                    <a:pt x="44" y="29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0" y="39"/>
                    <a:pt x="39" y="39"/>
                    <a:pt x="39" y="40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29" y="44"/>
                    <a:pt x="28" y="44"/>
                    <a:pt x="27" y="44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3" y="49"/>
                    <a:pt x="23" y="49"/>
                    <a:pt x="23" y="49"/>
                  </a:cubicBezTo>
                  <a:lnTo>
                    <a:pt x="17" y="4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32" name="Freeform 176"/>
            <p:cNvSpPr>
              <a:spLocks noEditPoints="1"/>
            </p:cNvSpPr>
            <p:nvPr/>
          </p:nvSpPr>
          <p:spPr bwMode="auto">
            <a:xfrm>
              <a:off x="1171" y="1938"/>
              <a:ext cx="39" cy="38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8" y="11"/>
                </a:cxn>
                <a:cxn ang="0">
                  <a:pos x="4" y="8"/>
                </a:cxn>
              </a:cxnLst>
              <a:rect l="0" t="0" r="r" b="b"/>
              <a:pathLst>
                <a:path w="16" h="16">
                  <a:moveTo>
                    <a:pt x="16" y="8"/>
                  </a:moveTo>
                  <a:cubicBezTo>
                    <a:pt x="16" y="3"/>
                    <a:pt x="12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ubicBezTo>
                    <a:pt x="12" y="16"/>
                    <a:pt x="16" y="12"/>
                    <a:pt x="16" y="8"/>
                  </a:cubicBezTo>
                  <a:close/>
                  <a:moveTo>
                    <a:pt x="4" y="8"/>
                  </a:moveTo>
                  <a:cubicBezTo>
                    <a:pt x="4" y="5"/>
                    <a:pt x="6" y="4"/>
                    <a:pt x="8" y="4"/>
                  </a:cubicBezTo>
                  <a:cubicBezTo>
                    <a:pt x="10" y="4"/>
                    <a:pt x="12" y="5"/>
                    <a:pt x="12" y="8"/>
                  </a:cubicBezTo>
                  <a:cubicBezTo>
                    <a:pt x="12" y="10"/>
                    <a:pt x="10" y="11"/>
                    <a:pt x="8" y="11"/>
                  </a:cubicBezTo>
                  <a:cubicBezTo>
                    <a:pt x="6" y="11"/>
                    <a:pt x="4" y="10"/>
                    <a:pt x="4" y="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35" name="Group 179"/>
          <p:cNvGrpSpPr>
            <a:grpSpLocks noChangeAspect="1"/>
          </p:cNvGrpSpPr>
          <p:nvPr/>
        </p:nvGrpSpPr>
        <p:grpSpPr bwMode="auto">
          <a:xfrm>
            <a:off x="2532063" y="2794463"/>
            <a:ext cx="836613" cy="836612"/>
            <a:chOff x="1600" y="1753"/>
            <a:chExt cx="527" cy="527"/>
          </a:xfrm>
        </p:grpSpPr>
        <p:sp>
          <p:nvSpPr>
            <p:cNvPr id="45236" name="Oval 180"/>
            <p:cNvSpPr>
              <a:spLocks noChangeArrowheads="1"/>
            </p:cNvSpPr>
            <p:nvPr/>
          </p:nvSpPr>
          <p:spPr bwMode="auto">
            <a:xfrm>
              <a:off x="1600" y="1753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37" name="Freeform 181"/>
            <p:cNvSpPr>
              <a:spLocks noEditPoints="1"/>
            </p:cNvSpPr>
            <p:nvPr/>
          </p:nvSpPr>
          <p:spPr bwMode="auto">
            <a:xfrm>
              <a:off x="1624" y="1775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6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6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8" name="Freeform 182"/>
            <p:cNvSpPr>
              <a:spLocks noEditPoints="1"/>
            </p:cNvSpPr>
            <p:nvPr/>
          </p:nvSpPr>
          <p:spPr bwMode="auto">
            <a:xfrm>
              <a:off x="1701" y="1890"/>
              <a:ext cx="354" cy="229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1" y="81"/>
                </a:cxn>
                <a:cxn ang="0">
                  <a:pos x="145" y="73"/>
                </a:cxn>
                <a:cxn ang="0">
                  <a:pos x="112" y="11"/>
                </a:cxn>
                <a:cxn ang="0">
                  <a:pos x="110" y="49"/>
                </a:cxn>
                <a:cxn ang="0">
                  <a:pos x="109" y="50"/>
                </a:cxn>
                <a:cxn ang="0">
                  <a:pos x="104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1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6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8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5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59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8" y="78"/>
                </a:cxn>
                <a:cxn ang="0">
                  <a:pos x="28" y="78"/>
                </a:cxn>
                <a:cxn ang="0">
                  <a:pos x="31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2" y="54"/>
                </a:cxn>
              </a:cxnLst>
              <a:rect l="0" t="0" r="r" b="b"/>
              <a:pathLst>
                <a:path w="148" h="96">
                  <a:moveTo>
                    <a:pt x="145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5" y="33"/>
                    <a:pt x="124" y="19"/>
                    <a:pt x="115" y="9"/>
                  </a:cubicBezTo>
                  <a:cubicBezTo>
                    <a:pt x="109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3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1" y="81"/>
                    <a:pt x="141" y="81"/>
                    <a:pt x="141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5" y="73"/>
                  </a:lnTo>
                  <a:close/>
                  <a:moveTo>
                    <a:pt x="76" y="10"/>
                  </a:moveTo>
                  <a:cubicBezTo>
                    <a:pt x="81" y="6"/>
                    <a:pt x="87" y="3"/>
                    <a:pt x="94" y="3"/>
                  </a:cubicBezTo>
                  <a:cubicBezTo>
                    <a:pt x="100" y="3"/>
                    <a:pt x="107" y="6"/>
                    <a:pt x="112" y="11"/>
                  </a:cubicBezTo>
                  <a:cubicBezTo>
                    <a:pt x="122" y="22"/>
                    <a:pt x="122" y="38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1" y="48"/>
                    <a:pt x="111" y="48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09" y="49"/>
                    <a:pt x="109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7" y="51"/>
                    <a:pt x="106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3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3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2" y="43"/>
                  </a:cubicBezTo>
                  <a:cubicBezTo>
                    <a:pt x="71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1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1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2" y="49"/>
                  </a:cubicBezTo>
                  <a:cubicBezTo>
                    <a:pt x="73" y="50"/>
                    <a:pt x="75" y="51"/>
                    <a:pt x="76" y="52"/>
                  </a:cubicBezTo>
                  <a:lnTo>
                    <a:pt x="71" y="52"/>
                  </a:lnTo>
                  <a:close/>
                  <a:moveTo>
                    <a:pt x="77" y="56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7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5" y="20"/>
                    <a:pt x="65" y="24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34"/>
                    <a:pt x="65" y="37"/>
                    <a:pt x="66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9" y="69"/>
                    <a:pt x="9" y="69"/>
                    <a:pt x="9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3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" y="89"/>
                    <a:pt x="3" y="89"/>
                    <a:pt x="3" y="89"/>
                  </a:cubicBezTo>
                  <a:lnTo>
                    <a:pt x="3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5" y="65"/>
                    <a:pt x="65" y="65"/>
                    <a:pt x="65" y="65"/>
                  </a:cubicBezTo>
                  <a:lnTo>
                    <a:pt x="55" y="65"/>
                  </a:lnTo>
                  <a:close/>
                  <a:moveTo>
                    <a:pt x="28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8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6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6" y="55"/>
                    <a:pt x="116" y="55"/>
                    <a:pt x="116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39" name="Freeform 183"/>
            <p:cNvSpPr>
              <a:spLocks noEditPoints="1"/>
            </p:cNvSpPr>
            <p:nvPr/>
          </p:nvSpPr>
          <p:spPr bwMode="auto">
            <a:xfrm>
              <a:off x="1895" y="1914"/>
              <a:ext cx="62" cy="88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7" y="33"/>
                </a:cxn>
                <a:cxn ang="0">
                  <a:pos x="7" y="34"/>
                </a:cxn>
                <a:cxn ang="0">
                  <a:pos x="7" y="37"/>
                </a:cxn>
                <a:cxn ang="0">
                  <a:pos x="10" y="37"/>
                </a:cxn>
                <a:cxn ang="0">
                  <a:pos x="16" y="37"/>
                </a:cxn>
                <a:cxn ang="0">
                  <a:pos x="19" y="37"/>
                </a:cxn>
                <a:cxn ang="0">
                  <a:pos x="19" y="34"/>
                </a:cxn>
                <a:cxn ang="0">
                  <a:pos x="19" y="33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3" y="15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5" y="9"/>
                </a:cxn>
                <a:cxn ang="0">
                  <a:pos x="26" y="6"/>
                </a:cxn>
                <a:cxn ang="0">
                  <a:pos x="23" y="5"/>
                </a:cxn>
                <a:cxn ang="0">
                  <a:pos x="22" y="4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7" y="3"/>
                </a:cxn>
                <a:cxn ang="0">
                  <a:pos x="7" y="4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2" y="22"/>
                </a:cxn>
                <a:cxn ang="0">
                  <a:pos x="1" y="28"/>
                </a:cxn>
                <a:cxn ang="0">
                  <a:pos x="0" y="30"/>
                </a:cxn>
                <a:cxn ang="0">
                  <a:pos x="2" y="32"/>
                </a:cxn>
                <a:cxn ang="0">
                  <a:pos x="3" y="32"/>
                </a:cxn>
                <a:cxn ang="0">
                  <a:pos x="12" y="21"/>
                </a:cxn>
                <a:cxn ang="0">
                  <a:pos x="5" y="14"/>
                </a:cxn>
                <a:cxn ang="0">
                  <a:pos x="11" y="7"/>
                </a:cxn>
                <a:cxn ang="0">
                  <a:pos x="11" y="3"/>
                </a:cxn>
                <a:cxn ang="0">
                  <a:pos x="16" y="3"/>
                </a:cxn>
                <a:cxn ang="0">
                  <a:pos x="16" y="6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20" y="13"/>
                </a:cxn>
                <a:cxn ang="0">
                  <a:pos x="20" y="14"/>
                </a:cxn>
                <a:cxn ang="0">
                  <a:pos x="19" y="13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5" y="15"/>
                </a:cxn>
                <a:cxn ang="0">
                  <a:pos x="22" y="23"/>
                </a:cxn>
                <a:cxn ang="0">
                  <a:pos x="16" y="30"/>
                </a:cxn>
                <a:cxn ang="0">
                  <a:pos x="16" y="34"/>
                </a:cxn>
                <a:cxn ang="0">
                  <a:pos x="10" y="34"/>
                </a:cxn>
                <a:cxn ang="0">
                  <a:pos x="10" y="30"/>
                </a:cxn>
                <a:cxn ang="0">
                  <a:pos x="5" y="29"/>
                </a:cxn>
                <a:cxn ang="0">
                  <a:pos x="4" y="28"/>
                </a:cxn>
                <a:cxn ang="0">
                  <a:pos x="6" y="22"/>
                </a:cxn>
                <a:cxn ang="0">
                  <a:pos x="7" y="23"/>
                </a:cxn>
                <a:cxn ang="0">
                  <a:pos x="12" y="25"/>
                </a:cxn>
                <a:cxn ang="0">
                  <a:pos x="15" y="23"/>
                </a:cxn>
                <a:cxn ang="0">
                  <a:pos x="12" y="21"/>
                </a:cxn>
              </a:cxnLst>
              <a:rect l="0" t="0" r="r" b="b"/>
              <a:pathLst>
                <a:path w="26" h="37">
                  <a:moveTo>
                    <a:pt x="3" y="32"/>
                  </a:moveTo>
                  <a:cubicBezTo>
                    <a:pt x="4" y="33"/>
                    <a:pt x="5" y="33"/>
                    <a:pt x="7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23" y="31"/>
                    <a:pt x="26" y="27"/>
                    <a:pt x="26" y="23"/>
                  </a:cubicBezTo>
                  <a:cubicBezTo>
                    <a:pt x="26" y="19"/>
                    <a:pt x="24" y="17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" y="6"/>
                    <a:pt x="1" y="10"/>
                    <a:pt x="1" y="14"/>
                  </a:cubicBezTo>
                  <a:cubicBezTo>
                    <a:pt x="1" y="16"/>
                    <a:pt x="2" y="18"/>
                    <a:pt x="3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3" y="32"/>
                  </a:lnTo>
                  <a:close/>
                  <a:moveTo>
                    <a:pt x="12" y="21"/>
                  </a:moveTo>
                  <a:cubicBezTo>
                    <a:pt x="8" y="20"/>
                    <a:pt x="5" y="18"/>
                    <a:pt x="5" y="14"/>
                  </a:cubicBezTo>
                  <a:cubicBezTo>
                    <a:pt x="5" y="10"/>
                    <a:pt x="7" y="8"/>
                    <a:pt x="11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20" y="7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6" y="12"/>
                    <a:pt x="14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4" y="15"/>
                    <a:pt x="15" y="15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2" y="26"/>
                    <a:pt x="20" y="29"/>
                    <a:pt x="16" y="3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8" y="30"/>
                    <a:pt x="6" y="30"/>
                    <a:pt x="5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4"/>
                    <a:pt x="10" y="25"/>
                    <a:pt x="12" y="25"/>
                  </a:cubicBezTo>
                  <a:cubicBezTo>
                    <a:pt x="13" y="25"/>
                    <a:pt x="15" y="24"/>
                    <a:pt x="15" y="23"/>
                  </a:cubicBezTo>
                  <a:cubicBezTo>
                    <a:pt x="15" y="23"/>
                    <a:pt x="14" y="22"/>
                    <a:pt x="12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42" name="Group 186"/>
          <p:cNvGrpSpPr>
            <a:grpSpLocks noChangeAspect="1"/>
          </p:cNvGrpSpPr>
          <p:nvPr/>
        </p:nvGrpSpPr>
        <p:grpSpPr bwMode="auto">
          <a:xfrm>
            <a:off x="3785400" y="3010361"/>
            <a:ext cx="563563" cy="365125"/>
            <a:chOff x="2390" y="1889"/>
            <a:chExt cx="355" cy="230"/>
          </a:xfrm>
        </p:grpSpPr>
        <p:sp>
          <p:nvSpPr>
            <p:cNvPr id="45244" name="Freeform 188"/>
            <p:cNvSpPr>
              <a:spLocks noEditPoints="1"/>
            </p:cNvSpPr>
            <p:nvPr/>
          </p:nvSpPr>
          <p:spPr bwMode="auto">
            <a:xfrm>
              <a:off x="2390" y="1889"/>
              <a:ext cx="355" cy="230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2" y="81"/>
                </a:cxn>
                <a:cxn ang="0">
                  <a:pos x="146" y="73"/>
                </a:cxn>
                <a:cxn ang="0">
                  <a:pos x="113" y="11"/>
                </a:cxn>
                <a:cxn ang="0">
                  <a:pos x="111" y="49"/>
                </a:cxn>
                <a:cxn ang="0">
                  <a:pos x="109" y="50"/>
                </a:cxn>
                <a:cxn ang="0">
                  <a:pos x="105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2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7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9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6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60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9" y="78"/>
                </a:cxn>
                <a:cxn ang="0">
                  <a:pos x="29" y="78"/>
                </a:cxn>
                <a:cxn ang="0">
                  <a:pos x="32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3" y="54"/>
                </a:cxn>
              </a:cxnLst>
              <a:rect l="0" t="0" r="r" b="b"/>
              <a:pathLst>
                <a:path w="148" h="96">
                  <a:moveTo>
                    <a:pt x="146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6" y="33"/>
                    <a:pt x="125" y="19"/>
                    <a:pt x="115" y="9"/>
                  </a:cubicBezTo>
                  <a:cubicBezTo>
                    <a:pt x="110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4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6" y="73"/>
                  </a:lnTo>
                  <a:close/>
                  <a:moveTo>
                    <a:pt x="76" y="10"/>
                  </a:moveTo>
                  <a:cubicBezTo>
                    <a:pt x="81" y="6"/>
                    <a:pt x="88" y="3"/>
                    <a:pt x="94" y="3"/>
                  </a:cubicBezTo>
                  <a:cubicBezTo>
                    <a:pt x="101" y="3"/>
                    <a:pt x="107" y="6"/>
                    <a:pt x="113" y="11"/>
                  </a:cubicBezTo>
                  <a:cubicBezTo>
                    <a:pt x="122" y="22"/>
                    <a:pt x="122" y="38"/>
                    <a:pt x="112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1" y="48"/>
                    <a:pt x="111" y="48"/>
                    <a:pt x="111" y="49"/>
                  </a:cubicBezTo>
                  <a:cubicBezTo>
                    <a:pt x="111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8" y="50"/>
                  </a:cubicBezTo>
                  <a:cubicBezTo>
                    <a:pt x="107" y="51"/>
                    <a:pt x="106" y="52"/>
                    <a:pt x="105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5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1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3" y="43"/>
                  </a:cubicBezTo>
                  <a:cubicBezTo>
                    <a:pt x="72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2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2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3" y="49"/>
                  </a:cubicBezTo>
                  <a:cubicBezTo>
                    <a:pt x="74" y="50"/>
                    <a:pt x="75" y="51"/>
                    <a:pt x="76" y="52"/>
                  </a:cubicBezTo>
                  <a:lnTo>
                    <a:pt x="72" y="52"/>
                  </a:lnTo>
                  <a:close/>
                  <a:moveTo>
                    <a:pt x="78" y="56"/>
                  </a:moveTo>
                  <a:cubicBezTo>
                    <a:pt x="76" y="59"/>
                    <a:pt x="76" y="59"/>
                    <a:pt x="76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8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6" y="20"/>
                    <a:pt x="65" y="24"/>
                    <a:pt x="65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4"/>
                    <a:pt x="65" y="37"/>
                    <a:pt x="67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9" y="65"/>
                    <a:pt x="39" y="65"/>
                    <a:pt x="39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10" y="69"/>
                    <a:pt x="10" y="69"/>
                    <a:pt x="10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4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6" y="71"/>
                    <a:pt x="36" y="71"/>
                    <a:pt x="36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4" y="89"/>
                    <a:pt x="4" y="89"/>
                    <a:pt x="4" y="89"/>
                  </a:cubicBezTo>
                  <a:lnTo>
                    <a:pt x="4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6" y="65"/>
                    <a:pt x="66" y="65"/>
                    <a:pt x="66" y="65"/>
                  </a:cubicBezTo>
                  <a:lnTo>
                    <a:pt x="55" y="65"/>
                  </a:lnTo>
                  <a:close/>
                  <a:moveTo>
                    <a:pt x="29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9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7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7" y="55"/>
                    <a:pt x="117" y="55"/>
                    <a:pt x="117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45" name="Freeform 189"/>
            <p:cNvSpPr>
              <a:spLocks noEditPoints="1"/>
            </p:cNvSpPr>
            <p:nvPr/>
          </p:nvSpPr>
          <p:spPr bwMode="auto">
            <a:xfrm>
              <a:off x="2584" y="1913"/>
              <a:ext cx="62" cy="89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7" y="33"/>
                </a:cxn>
                <a:cxn ang="0">
                  <a:pos x="7" y="34"/>
                </a:cxn>
                <a:cxn ang="0">
                  <a:pos x="7" y="37"/>
                </a:cxn>
                <a:cxn ang="0">
                  <a:pos x="11" y="37"/>
                </a:cxn>
                <a:cxn ang="0">
                  <a:pos x="16" y="37"/>
                </a:cxn>
                <a:cxn ang="0">
                  <a:pos x="20" y="37"/>
                </a:cxn>
                <a:cxn ang="0">
                  <a:pos x="20" y="34"/>
                </a:cxn>
                <a:cxn ang="0">
                  <a:pos x="20" y="33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3" y="15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5" y="9"/>
                </a:cxn>
                <a:cxn ang="0">
                  <a:pos x="26" y="6"/>
                </a:cxn>
                <a:cxn ang="0">
                  <a:pos x="23" y="5"/>
                </a:cxn>
                <a:cxn ang="0">
                  <a:pos x="22" y="4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7" y="3"/>
                </a:cxn>
                <a:cxn ang="0">
                  <a:pos x="7" y="4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3" y="22"/>
                </a:cxn>
                <a:cxn ang="0">
                  <a:pos x="1" y="28"/>
                </a:cxn>
                <a:cxn ang="0">
                  <a:pos x="0" y="30"/>
                </a:cxn>
                <a:cxn ang="0">
                  <a:pos x="3" y="32"/>
                </a:cxn>
                <a:cxn ang="0">
                  <a:pos x="12" y="21"/>
                </a:cxn>
                <a:cxn ang="0">
                  <a:pos x="5" y="14"/>
                </a:cxn>
                <a:cxn ang="0">
                  <a:pos x="11" y="7"/>
                </a:cxn>
                <a:cxn ang="0">
                  <a:pos x="11" y="3"/>
                </a:cxn>
                <a:cxn ang="0">
                  <a:pos x="16" y="3"/>
                </a:cxn>
                <a:cxn ang="0">
                  <a:pos x="16" y="6"/>
                </a:cxn>
                <a:cxn ang="0">
                  <a:pos x="21" y="8"/>
                </a:cxn>
                <a:cxn ang="0">
                  <a:pos x="22" y="8"/>
                </a:cxn>
                <a:cxn ang="0">
                  <a:pos x="20" y="13"/>
                </a:cxn>
                <a:cxn ang="0">
                  <a:pos x="20" y="14"/>
                </a:cxn>
                <a:cxn ang="0">
                  <a:pos x="19" y="13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6" y="15"/>
                </a:cxn>
                <a:cxn ang="0">
                  <a:pos x="22" y="23"/>
                </a:cxn>
                <a:cxn ang="0">
                  <a:pos x="16" y="30"/>
                </a:cxn>
                <a:cxn ang="0">
                  <a:pos x="16" y="34"/>
                </a:cxn>
                <a:cxn ang="0">
                  <a:pos x="11" y="34"/>
                </a:cxn>
                <a:cxn ang="0">
                  <a:pos x="11" y="30"/>
                </a:cxn>
                <a:cxn ang="0">
                  <a:pos x="5" y="29"/>
                </a:cxn>
                <a:cxn ang="0">
                  <a:pos x="5" y="28"/>
                </a:cxn>
                <a:cxn ang="0">
                  <a:pos x="6" y="22"/>
                </a:cxn>
                <a:cxn ang="0">
                  <a:pos x="7" y="23"/>
                </a:cxn>
                <a:cxn ang="0">
                  <a:pos x="13" y="25"/>
                </a:cxn>
                <a:cxn ang="0">
                  <a:pos x="15" y="23"/>
                </a:cxn>
                <a:cxn ang="0">
                  <a:pos x="12" y="21"/>
                </a:cxn>
              </a:cxnLst>
              <a:rect l="0" t="0" r="r" b="b"/>
              <a:pathLst>
                <a:path w="26" h="37">
                  <a:moveTo>
                    <a:pt x="3" y="32"/>
                  </a:moveTo>
                  <a:cubicBezTo>
                    <a:pt x="4" y="33"/>
                    <a:pt x="6" y="33"/>
                    <a:pt x="7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4" y="31"/>
                    <a:pt x="26" y="27"/>
                    <a:pt x="26" y="23"/>
                  </a:cubicBezTo>
                  <a:cubicBezTo>
                    <a:pt x="26" y="19"/>
                    <a:pt x="25" y="17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" y="6"/>
                    <a:pt x="1" y="10"/>
                    <a:pt x="1" y="14"/>
                  </a:cubicBezTo>
                  <a:cubicBezTo>
                    <a:pt x="1" y="16"/>
                    <a:pt x="2" y="18"/>
                    <a:pt x="3" y="2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3" y="32"/>
                    <a:pt x="3" y="32"/>
                    <a:pt x="3" y="32"/>
                  </a:cubicBezTo>
                  <a:close/>
                  <a:moveTo>
                    <a:pt x="12" y="21"/>
                  </a:moveTo>
                  <a:cubicBezTo>
                    <a:pt x="9" y="20"/>
                    <a:pt x="5" y="18"/>
                    <a:pt x="5" y="14"/>
                  </a:cubicBezTo>
                  <a:cubicBezTo>
                    <a:pt x="5" y="10"/>
                    <a:pt x="7" y="8"/>
                    <a:pt x="11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20" y="7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7" y="12"/>
                    <a:pt x="14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4" y="15"/>
                    <a:pt x="16" y="15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2" y="26"/>
                    <a:pt x="20" y="29"/>
                    <a:pt x="16" y="3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9" y="30"/>
                    <a:pt x="7" y="30"/>
                    <a:pt x="5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4"/>
                    <a:pt x="10" y="25"/>
                    <a:pt x="13" y="25"/>
                  </a:cubicBezTo>
                  <a:cubicBezTo>
                    <a:pt x="14" y="25"/>
                    <a:pt x="15" y="24"/>
                    <a:pt x="15" y="23"/>
                  </a:cubicBezTo>
                  <a:cubicBezTo>
                    <a:pt x="15" y="23"/>
                    <a:pt x="15" y="22"/>
                    <a:pt x="12" y="2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248" name="Group 192"/>
          <p:cNvGrpSpPr>
            <a:grpSpLocks noChangeAspect="1"/>
          </p:cNvGrpSpPr>
          <p:nvPr/>
        </p:nvGrpSpPr>
        <p:grpSpPr bwMode="auto">
          <a:xfrm>
            <a:off x="4727575" y="2794463"/>
            <a:ext cx="838200" cy="836612"/>
            <a:chOff x="2984" y="1753"/>
            <a:chExt cx="528" cy="527"/>
          </a:xfrm>
        </p:grpSpPr>
        <p:sp>
          <p:nvSpPr>
            <p:cNvPr id="45249" name="Oval 193"/>
            <p:cNvSpPr>
              <a:spLocks noChangeArrowheads="1"/>
            </p:cNvSpPr>
            <p:nvPr/>
          </p:nvSpPr>
          <p:spPr bwMode="auto">
            <a:xfrm>
              <a:off x="2984" y="1753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0" name="Freeform 194"/>
            <p:cNvSpPr>
              <a:spLocks noEditPoints="1"/>
            </p:cNvSpPr>
            <p:nvPr/>
          </p:nvSpPr>
          <p:spPr bwMode="auto">
            <a:xfrm>
              <a:off x="3006" y="1775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1" name="Rectangle 195"/>
            <p:cNvSpPr>
              <a:spLocks noChangeArrowheads="1"/>
            </p:cNvSpPr>
            <p:nvPr/>
          </p:nvSpPr>
          <p:spPr bwMode="auto">
            <a:xfrm>
              <a:off x="3119" y="2028"/>
              <a:ext cx="26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2" name="Rectangle 196"/>
            <p:cNvSpPr>
              <a:spLocks noChangeArrowheads="1"/>
            </p:cNvSpPr>
            <p:nvPr/>
          </p:nvSpPr>
          <p:spPr bwMode="auto">
            <a:xfrm>
              <a:off x="3157" y="2028"/>
              <a:ext cx="26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3" name="Freeform 197"/>
            <p:cNvSpPr>
              <a:spLocks noEditPoints="1"/>
            </p:cNvSpPr>
            <p:nvPr/>
          </p:nvSpPr>
          <p:spPr bwMode="auto">
            <a:xfrm>
              <a:off x="3068" y="1866"/>
              <a:ext cx="355" cy="256"/>
            </a:xfrm>
            <a:custGeom>
              <a:avLst/>
              <a:gdLst/>
              <a:ahLst/>
              <a:cxnLst>
                <a:cxn ang="0">
                  <a:pos x="269" y="69"/>
                </a:cxn>
                <a:cxn ang="0">
                  <a:pos x="264" y="7"/>
                </a:cxn>
                <a:cxn ang="0">
                  <a:pos x="257" y="0"/>
                </a:cxn>
                <a:cxn ang="0">
                  <a:pos x="130" y="0"/>
                </a:cxn>
                <a:cxn ang="0">
                  <a:pos x="130" y="141"/>
                </a:cxn>
                <a:cxn ang="0">
                  <a:pos x="55" y="141"/>
                </a:cxn>
                <a:cxn ang="0">
                  <a:pos x="55" y="83"/>
                </a:cxn>
                <a:cxn ang="0">
                  <a:pos x="34" y="83"/>
                </a:cxn>
                <a:cxn ang="0">
                  <a:pos x="24" y="91"/>
                </a:cxn>
                <a:cxn ang="0">
                  <a:pos x="10" y="91"/>
                </a:cxn>
                <a:cxn ang="0">
                  <a:pos x="0" y="100"/>
                </a:cxn>
                <a:cxn ang="0">
                  <a:pos x="0" y="170"/>
                </a:cxn>
                <a:cxn ang="0">
                  <a:pos x="0" y="256"/>
                </a:cxn>
                <a:cxn ang="0">
                  <a:pos x="130" y="256"/>
                </a:cxn>
                <a:cxn ang="0">
                  <a:pos x="137" y="256"/>
                </a:cxn>
                <a:cxn ang="0">
                  <a:pos x="257" y="256"/>
                </a:cxn>
                <a:cxn ang="0">
                  <a:pos x="264" y="256"/>
                </a:cxn>
                <a:cxn ang="0">
                  <a:pos x="348" y="256"/>
                </a:cxn>
                <a:cxn ang="0">
                  <a:pos x="355" y="246"/>
                </a:cxn>
                <a:cxn ang="0">
                  <a:pos x="355" y="100"/>
                </a:cxn>
                <a:cxn ang="0">
                  <a:pos x="130" y="246"/>
                </a:cxn>
                <a:cxn ang="0">
                  <a:pos x="10" y="170"/>
                </a:cxn>
                <a:cxn ang="0">
                  <a:pos x="10" y="100"/>
                </a:cxn>
                <a:cxn ang="0">
                  <a:pos x="22" y="150"/>
                </a:cxn>
                <a:cxn ang="0">
                  <a:pos x="34" y="91"/>
                </a:cxn>
                <a:cxn ang="0">
                  <a:pos x="46" y="150"/>
                </a:cxn>
                <a:cxn ang="0">
                  <a:pos x="130" y="246"/>
                </a:cxn>
                <a:cxn ang="0">
                  <a:pos x="137" y="246"/>
                </a:cxn>
                <a:cxn ang="0">
                  <a:pos x="257" y="7"/>
                </a:cxn>
                <a:cxn ang="0">
                  <a:pos x="348" y="246"/>
                </a:cxn>
                <a:cxn ang="0">
                  <a:pos x="266" y="76"/>
                </a:cxn>
                <a:cxn ang="0">
                  <a:pos x="348" y="246"/>
                </a:cxn>
              </a:cxnLst>
              <a:rect l="0" t="0" r="r" b="b"/>
              <a:pathLst>
                <a:path w="355" h="256">
                  <a:moveTo>
                    <a:pt x="350" y="98"/>
                  </a:moveTo>
                  <a:lnTo>
                    <a:pt x="269" y="69"/>
                  </a:lnTo>
                  <a:lnTo>
                    <a:pt x="264" y="69"/>
                  </a:lnTo>
                  <a:lnTo>
                    <a:pt x="264" y="7"/>
                  </a:lnTo>
                  <a:lnTo>
                    <a:pt x="264" y="0"/>
                  </a:lnTo>
                  <a:lnTo>
                    <a:pt x="257" y="0"/>
                  </a:lnTo>
                  <a:lnTo>
                    <a:pt x="137" y="0"/>
                  </a:lnTo>
                  <a:lnTo>
                    <a:pt x="130" y="0"/>
                  </a:lnTo>
                  <a:lnTo>
                    <a:pt x="130" y="7"/>
                  </a:lnTo>
                  <a:lnTo>
                    <a:pt x="130" y="141"/>
                  </a:lnTo>
                  <a:lnTo>
                    <a:pt x="130" y="141"/>
                  </a:lnTo>
                  <a:lnTo>
                    <a:pt x="55" y="141"/>
                  </a:lnTo>
                  <a:lnTo>
                    <a:pt x="55" y="91"/>
                  </a:lnTo>
                  <a:lnTo>
                    <a:pt x="55" y="83"/>
                  </a:lnTo>
                  <a:lnTo>
                    <a:pt x="46" y="83"/>
                  </a:lnTo>
                  <a:lnTo>
                    <a:pt x="34" y="83"/>
                  </a:lnTo>
                  <a:lnTo>
                    <a:pt x="24" y="83"/>
                  </a:lnTo>
                  <a:lnTo>
                    <a:pt x="24" y="91"/>
                  </a:lnTo>
                  <a:lnTo>
                    <a:pt x="22" y="91"/>
                  </a:lnTo>
                  <a:lnTo>
                    <a:pt x="10" y="91"/>
                  </a:lnTo>
                  <a:lnTo>
                    <a:pt x="0" y="91"/>
                  </a:lnTo>
                  <a:lnTo>
                    <a:pt x="0" y="100"/>
                  </a:lnTo>
                  <a:lnTo>
                    <a:pt x="0" y="150"/>
                  </a:lnTo>
                  <a:lnTo>
                    <a:pt x="0" y="170"/>
                  </a:lnTo>
                  <a:lnTo>
                    <a:pt x="0" y="246"/>
                  </a:lnTo>
                  <a:lnTo>
                    <a:pt x="0" y="256"/>
                  </a:lnTo>
                  <a:lnTo>
                    <a:pt x="1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257" y="256"/>
                  </a:lnTo>
                  <a:lnTo>
                    <a:pt x="257" y="256"/>
                  </a:lnTo>
                  <a:lnTo>
                    <a:pt x="264" y="256"/>
                  </a:lnTo>
                  <a:lnTo>
                    <a:pt x="266" y="256"/>
                  </a:lnTo>
                  <a:lnTo>
                    <a:pt x="348" y="256"/>
                  </a:lnTo>
                  <a:lnTo>
                    <a:pt x="355" y="256"/>
                  </a:lnTo>
                  <a:lnTo>
                    <a:pt x="355" y="246"/>
                  </a:lnTo>
                  <a:lnTo>
                    <a:pt x="355" y="107"/>
                  </a:lnTo>
                  <a:lnTo>
                    <a:pt x="355" y="100"/>
                  </a:lnTo>
                  <a:lnTo>
                    <a:pt x="350" y="98"/>
                  </a:lnTo>
                  <a:close/>
                  <a:moveTo>
                    <a:pt x="130" y="246"/>
                  </a:moveTo>
                  <a:lnTo>
                    <a:pt x="10" y="246"/>
                  </a:lnTo>
                  <a:lnTo>
                    <a:pt x="10" y="170"/>
                  </a:lnTo>
                  <a:lnTo>
                    <a:pt x="10" y="150"/>
                  </a:lnTo>
                  <a:lnTo>
                    <a:pt x="10" y="100"/>
                  </a:lnTo>
                  <a:lnTo>
                    <a:pt x="22" y="100"/>
                  </a:lnTo>
                  <a:lnTo>
                    <a:pt x="22" y="150"/>
                  </a:lnTo>
                  <a:lnTo>
                    <a:pt x="34" y="150"/>
                  </a:lnTo>
                  <a:lnTo>
                    <a:pt x="34" y="91"/>
                  </a:lnTo>
                  <a:lnTo>
                    <a:pt x="46" y="91"/>
                  </a:lnTo>
                  <a:lnTo>
                    <a:pt x="46" y="150"/>
                  </a:lnTo>
                  <a:lnTo>
                    <a:pt x="130" y="150"/>
                  </a:lnTo>
                  <a:lnTo>
                    <a:pt x="130" y="246"/>
                  </a:lnTo>
                  <a:close/>
                  <a:moveTo>
                    <a:pt x="257" y="246"/>
                  </a:moveTo>
                  <a:lnTo>
                    <a:pt x="137" y="246"/>
                  </a:lnTo>
                  <a:lnTo>
                    <a:pt x="137" y="7"/>
                  </a:lnTo>
                  <a:lnTo>
                    <a:pt x="257" y="7"/>
                  </a:lnTo>
                  <a:lnTo>
                    <a:pt x="257" y="246"/>
                  </a:lnTo>
                  <a:close/>
                  <a:moveTo>
                    <a:pt x="348" y="246"/>
                  </a:moveTo>
                  <a:lnTo>
                    <a:pt x="266" y="246"/>
                  </a:lnTo>
                  <a:lnTo>
                    <a:pt x="266" y="76"/>
                  </a:lnTo>
                  <a:lnTo>
                    <a:pt x="348" y="107"/>
                  </a:lnTo>
                  <a:lnTo>
                    <a:pt x="348" y="2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4" name="Rectangle 198"/>
            <p:cNvSpPr>
              <a:spLocks noChangeArrowheads="1"/>
            </p:cNvSpPr>
            <p:nvPr/>
          </p:nvSpPr>
          <p:spPr bwMode="auto">
            <a:xfrm>
              <a:off x="3382" y="1988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5" name="Rectangle 199"/>
            <p:cNvSpPr>
              <a:spLocks noChangeArrowheads="1"/>
            </p:cNvSpPr>
            <p:nvPr/>
          </p:nvSpPr>
          <p:spPr bwMode="auto">
            <a:xfrm>
              <a:off x="3349" y="1988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6" name="Rectangle 200"/>
            <p:cNvSpPr>
              <a:spLocks noChangeArrowheads="1"/>
            </p:cNvSpPr>
            <p:nvPr/>
          </p:nvSpPr>
          <p:spPr bwMode="auto">
            <a:xfrm>
              <a:off x="3382" y="2019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7" name="Rectangle 201"/>
            <p:cNvSpPr>
              <a:spLocks noChangeArrowheads="1"/>
            </p:cNvSpPr>
            <p:nvPr/>
          </p:nvSpPr>
          <p:spPr bwMode="auto">
            <a:xfrm>
              <a:off x="3382" y="2050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8" name="Rectangle 202"/>
            <p:cNvSpPr>
              <a:spLocks noChangeArrowheads="1"/>
            </p:cNvSpPr>
            <p:nvPr/>
          </p:nvSpPr>
          <p:spPr bwMode="auto">
            <a:xfrm>
              <a:off x="3349" y="2050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59" name="Rectangle 203"/>
            <p:cNvSpPr>
              <a:spLocks noChangeArrowheads="1"/>
            </p:cNvSpPr>
            <p:nvPr/>
          </p:nvSpPr>
          <p:spPr bwMode="auto">
            <a:xfrm>
              <a:off x="3349" y="2019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0" name="Rectangle 204"/>
            <p:cNvSpPr>
              <a:spLocks noChangeArrowheads="1"/>
            </p:cNvSpPr>
            <p:nvPr/>
          </p:nvSpPr>
          <p:spPr bwMode="auto">
            <a:xfrm>
              <a:off x="3255" y="1957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1" name="Rectangle 205"/>
            <p:cNvSpPr>
              <a:spLocks noChangeArrowheads="1"/>
            </p:cNvSpPr>
            <p:nvPr/>
          </p:nvSpPr>
          <p:spPr bwMode="auto">
            <a:xfrm>
              <a:off x="3222" y="1957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2" name="Rectangle 206"/>
            <p:cNvSpPr>
              <a:spLocks noChangeArrowheads="1"/>
            </p:cNvSpPr>
            <p:nvPr/>
          </p:nvSpPr>
          <p:spPr bwMode="auto">
            <a:xfrm>
              <a:off x="3255" y="1988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63" name="Rectangle 207"/>
            <p:cNvSpPr>
              <a:spLocks noChangeArrowheads="1"/>
            </p:cNvSpPr>
            <p:nvPr/>
          </p:nvSpPr>
          <p:spPr bwMode="auto">
            <a:xfrm>
              <a:off x="3222" y="1988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4" name="Rectangle 208"/>
            <p:cNvSpPr>
              <a:spLocks noChangeArrowheads="1"/>
            </p:cNvSpPr>
            <p:nvPr/>
          </p:nvSpPr>
          <p:spPr bwMode="auto">
            <a:xfrm>
              <a:off x="3255" y="1923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5" name="Rectangle 209"/>
            <p:cNvSpPr>
              <a:spLocks noChangeArrowheads="1"/>
            </p:cNvSpPr>
            <p:nvPr/>
          </p:nvSpPr>
          <p:spPr bwMode="auto">
            <a:xfrm>
              <a:off x="3222" y="1923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6" name="Rectangle 210"/>
            <p:cNvSpPr>
              <a:spLocks noChangeArrowheads="1"/>
            </p:cNvSpPr>
            <p:nvPr/>
          </p:nvSpPr>
          <p:spPr bwMode="auto">
            <a:xfrm>
              <a:off x="3289" y="1957"/>
              <a:ext cx="1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7" name="Rectangle 211"/>
            <p:cNvSpPr>
              <a:spLocks noChangeArrowheads="1"/>
            </p:cNvSpPr>
            <p:nvPr/>
          </p:nvSpPr>
          <p:spPr bwMode="auto">
            <a:xfrm>
              <a:off x="3289" y="1988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8" name="Rectangle 212"/>
            <p:cNvSpPr>
              <a:spLocks noChangeArrowheads="1"/>
            </p:cNvSpPr>
            <p:nvPr/>
          </p:nvSpPr>
          <p:spPr bwMode="auto">
            <a:xfrm>
              <a:off x="3289" y="1923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69" name="Rectangle 213"/>
            <p:cNvSpPr>
              <a:spLocks noChangeArrowheads="1"/>
            </p:cNvSpPr>
            <p:nvPr/>
          </p:nvSpPr>
          <p:spPr bwMode="auto">
            <a:xfrm>
              <a:off x="3255" y="2019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0" name="Rectangle 214"/>
            <p:cNvSpPr>
              <a:spLocks noChangeArrowheads="1"/>
            </p:cNvSpPr>
            <p:nvPr/>
          </p:nvSpPr>
          <p:spPr bwMode="auto">
            <a:xfrm>
              <a:off x="3222" y="2019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1" name="Rectangle 215"/>
            <p:cNvSpPr>
              <a:spLocks noChangeArrowheads="1"/>
            </p:cNvSpPr>
            <p:nvPr/>
          </p:nvSpPr>
          <p:spPr bwMode="auto">
            <a:xfrm>
              <a:off x="3255" y="2050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2" name="Rectangle 216"/>
            <p:cNvSpPr>
              <a:spLocks noChangeArrowheads="1"/>
            </p:cNvSpPr>
            <p:nvPr/>
          </p:nvSpPr>
          <p:spPr bwMode="auto">
            <a:xfrm>
              <a:off x="3222" y="2050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3" name="Rectangle 217"/>
            <p:cNvSpPr>
              <a:spLocks noChangeArrowheads="1"/>
            </p:cNvSpPr>
            <p:nvPr/>
          </p:nvSpPr>
          <p:spPr bwMode="auto">
            <a:xfrm>
              <a:off x="3289" y="2019"/>
              <a:ext cx="1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4" name="Rectangle 218"/>
            <p:cNvSpPr>
              <a:spLocks noChangeArrowheads="1"/>
            </p:cNvSpPr>
            <p:nvPr/>
          </p:nvSpPr>
          <p:spPr bwMode="auto">
            <a:xfrm>
              <a:off x="3289" y="2050"/>
              <a:ext cx="1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5" name="Rectangle 219"/>
            <p:cNvSpPr>
              <a:spLocks noChangeArrowheads="1"/>
            </p:cNvSpPr>
            <p:nvPr/>
          </p:nvSpPr>
          <p:spPr bwMode="auto">
            <a:xfrm>
              <a:off x="3255" y="1894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6" name="Rectangle 220"/>
            <p:cNvSpPr>
              <a:spLocks noChangeArrowheads="1"/>
            </p:cNvSpPr>
            <p:nvPr/>
          </p:nvSpPr>
          <p:spPr bwMode="auto">
            <a:xfrm>
              <a:off x="3222" y="1894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77" name="Rectangle 221"/>
            <p:cNvSpPr>
              <a:spLocks noChangeArrowheads="1"/>
            </p:cNvSpPr>
            <p:nvPr/>
          </p:nvSpPr>
          <p:spPr bwMode="auto">
            <a:xfrm>
              <a:off x="3289" y="1894"/>
              <a:ext cx="19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280" name="Group 224"/>
          <p:cNvGrpSpPr>
            <a:grpSpLocks noChangeAspect="1"/>
          </p:cNvGrpSpPr>
          <p:nvPr/>
        </p:nvGrpSpPr>
        <p:grpSpPr bwMode="auto">
          <a:xfrm>
            <a:off x="5959471" y="2972264"/>
            <a:ext cx="561975" cy="407988"/>
            <a:chOff x="3761" y="1865"/>
            <a:chExt cx="354" cy="257"/>
          </a:xfrm>
        </p:grpSpPr>
        <p:sp>
          <p:nvSpPr>
            <p:cNvPr id="45282" name="Rectangle 226"/>
            <p:cNvSpPr>
              <a:spLocks noChangeArrowheads="1"/>
            </p:cNvSpPr>
            <p:nvPr/>
          </p:nvSpPr>
          <p:spPr bwMode="auto">
            <a:xfrm>
              <a:off x="3811" y="2028"/>
              <a:ext cx="26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3" name="Rectangle 227"/>
            <p:cNvSpPr>
              <a:spLocks noChangeArrowheads="1"/>
            </p:cNvSpPr>
            <p:nvPr/>
          </p:nvSpPr>
          <p:spPr bwMode="auto">
            <a:xfrm>
              <a:off x="3849" y="2028"/>
              <a:ext cx="27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84" name="Freeform 228"/>
            <p:cNvSpPr>
              <a:spLocks noEditPoints="1"/>
            </p:cNvSpPr>
            <p:nvPr/>
          </p:nvSpPr>
          <p:spPr bwMode="auto">
            <a:xfrm>
              <a:off x="3761" y="1865"/>
              <a:ext cx="354" cy="257"/>
            </a:xfrm>
            <a:custGeom>
              <a:avLst/>
              <a:gdLst/>
              <a:ahLst/>
              <a:cxnLst>
                <a:cxn ang="0">
                  <a:pos x="268" y="70"/>
                </a:cxn>
                <a:cxn ang="0">
                  <a:pos x="263" y="8"/>
                </a:cxn>
                <a:cxn ang="0">
                  <a:pos x="256" y="0"/>
                </a:cxn>
                <a:cxn ang="0">
                  <a:pos x="129" y="0"/>
                </a:cxn>
                <a:cxn ang="0">
                  <a:pos x="129" y="142"/>
                </a:cxn>
                <a:cxn ang="0">
                  <a:pos x="55" y="142"/>
                </a:cxn>
                <a:cxn ang="0">
                  <a:pos x="55" y="84"/>
                </a:cxn>
                <a:cxn ang="0">
                  <a:pos x="33" y="84"/>
                </a:cxn>
                <a:cxn ang="0">
                  <a:pos x="24" y="91"/>
                </a:cxn>
                <a:cxn ang="0">
                  <a:pos x="9" y="91"/>
                </a:cxn>
                <a:cxn ang="0">
                  <a:pos x="0" y="101"/>
                </a:cxn>
                <a:cxn ang="0">
                  <a:pos x="0" y="171"/>
                </a:cxn>
                <a:cxn ang="0">
                  <a:pos x="0" y="257"/>
                </a:cxn>
                <a:cxn ang="0">
                  <a:pos x="129" y="257"/>
                </a:cxn>
                <a:cxn ang="0">
                  <a:pos x="136" y="257"/>
                </a:cxn>
                <a:cxn ang="0">
                  <a:pos x="256" y="257"/>
                </a:cxn>
                <a:cxn ang="0">
                  <a:pos x="263" y="257"/>
                </a:cxn>
                <a:cxn ang="0">
                  <a:pos x="347" y="257"/>
                </a:cxn>
                <a:cxn ang="0">
                  <a:pos x="354" y="247"/>
                </a:cxn>
                <a:cxn ang="0">
                  <a:pos x="354" y="101"/>
                </a:cxn>
                <a:cxn ang="0">
                  <a:pos x="129" y="247"/>
                </a:cxn>
                <a:cxn ang="0">
                  <a:pos x="9" y="171"/>
                </a:cxn>
                <a:cxn ang="0">
                  <a:pos x="9" y="101"/>
                </a:cxn>
                <a:cxn ang="0">
                  <a:pos x="21" y="151"/>
                </a:cxn>
                <a:cxn ang="0">
                  <a:pos x="33" y="91"/>
                </a:cxn>
                <a:cxn ang="0">
                  <a:pos x="45" y="151"/>
                </a:cxn>
                <a:cxn ang="0">
                  <a:pos x="129" y="247"/>
                </a:cxn>
                <a:cxn ang="0">
                  <a:pos x="136" y="247"/>
                </a:cxn>
                <a:cxn ang="0">
                  <a:pos x="256" y="8"/>
                </a:cxn>
                <a:cxn ang="0">
                  <a:pos x="347" y="247"/>
                </a:cxn>
                <a:cxn ang="0">
                  <a:pos x="266" y="77"/>
                </a:cxn>
                <a:cxn ang="0">
                  <a:pos x="347" y="247"/>
                </a:cxn>
              </a:cxnLst>
              <a:rect l="0" t="0" r="r" b="b"/>
              <a:pathLst>
                <a:path w="354" h="257">
                  <a:moveTo>
                    <a:pt x="350" y="99"/>
                  </a:moveTo>
                  <a:lnTo>
                    <a:pt x="268" y="70"/>
                  </a:lnTo>
                  <a:lnTo>
                    <a:pt x="263" y="70"/>
                  </a:lnTo>
                  <a:lnTo>
                    <a:pt x="263" y="8"/>
                  </a:lnTo>
                  <a:lnTo>
                    <a:pt x="263" y="0"/>
                  </a:lnTo>
                  <a:lnTo>
                    <a:pt x="256" y="0"/>
                  </a:lnTo>
                  <a:lnTo>
                    <a:pt x="136" y="0"/>
                  </a:lnTo>
                  <a:lnTo>
                    <a:pt x="129" y="0"/>
                  </a:lnTo>
                  <a:lnTo>
                    <a:pt x="129" y="8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55" y="142"/>
                  </a:lnTo>
                  <a:lnTo>
                    <a:pt x="55" y="91"/>
                  </a:lnTo>
                  <a:lnTo>
                    <a:pt x="55" y="84"/>
                  </a:lnTo>
                  <a:lnTo>
                    <a:pt x="45" y="84"/>
                  </a:lnTo>
                  <a:lnTo>
                    <a:pt x="33" y="84"/>
                  </a:lnTo>
                  <a:lnTo>
                    <a:pt x="24" y="84"/>
                  </a:lnTo>
                  <a:lnTo>
                    <a:pt x="24" y="91"/>
                  </a:lnTo>
                  <a:lnTo>
                    <a:pt x="21" y="91"/>
                  </a:lnTo>
                  <a:lnTo>
                    <a:pt x="9" y="91"/>
                  </a:lnTo>
                  <a:lnTo>
                    <a:pt x="0" y="91"/>
                  </a:lnTo>
                  <a:lnTo>
                    <a:pt x="0" y="101"/>
                  </a:lnTo>
                  <a:lnTo>
                    <a:pt x="0" y="151"/>
                  </a:lnTo>
                  <a:lnTo>
                    <a:pt x="0" y="171"/>
                  </a:lnTo>
                  <a:lnTo>
                    <a:pt x="0" y="247"/>
                  </a:lnTo>
                  <a:lnTo>
                    <a:pt x="0" y="257"/>
                  </a:lnTo>
                  <a:lnTo>
                    <a:pt x="9" y="257"/>
                  </a:lnTo>
                  <a:lnTo>
                    <a:pt x="129" y="257"/>
                  </a:lnTo>
                  <a:lnTo>
                    <a:pt x="129" y="257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63" y="257"/>
                  </a:lnTo>
                  <a:lnTo>
                    <a:pt x="266" y="257"/>
                  </a:lnTo>
                  <a:lnTo>
                    <a:pt x="347" y="257"/>
                  </a:lnTo>
                  <a:lnTo>
                    <a:pt x="354" y="257"/>
                  </a:lnTo>
                  <a:lnTo>
                    <a:pt x="354" y="247"/>
                  </a:lnTo>
                  <a:lnTo>
                    <a:pt x="354" y="108"/>
                  </a:lnTo>
                  <a:lnTo>
                    <a:pt x="354" y="101"/>
                  </a:lnTo>
                  <a:lnTo>
                    <a:pt x="350" y="99"/>
                  </a:lnTo>
                  <a:close/>
                  <a:moveTo>
                    <a:pt x="129" y="247"/>
                  </a:moveTo>
                  <a:lnTo>
                    <a:pt x="9" y="247"/>
                  </a:lnTo>
                  <a:lnTo>
                    <a:pt x="9" y="171"/>
                  </a:lnTo>
                  <a:lnTo>
                    <a:pt x="9" y="151"/>
                  </a:lnTo>
                  <a:lnTo>
                    <a:pt x="9" y="101"/>
                  </a:lnTo>
                  <a:lnTo>
                    <a:pt x="21" y="101"/>
                  </a:lnTo>
                  <a:lnTo>
                    <a:pt x="21" y="151"/>
                  </a:lnTo>
                  <a:lnTo>
                    <a:pt x="33" y="151"/>
                  </a:lnTo>
                  <a:lnTo>
                    <a:pt x="33" y="91"/>
                  </a:lnTo>
                  <a:lnTo>
                    <a:pt x="45" y="91"/>
                  </a:lnTo>
                  <a:lnTo>
                    <a:pt x="45" y="151"/>
                  </a:lnTo>
                  <a:lnTo>
                    <a:pt x="129" y="151"/>
                  </a:lnTo>
                  <a:lnTo>
                    <a:pt x="129" y="247"/>
                  </a:lnTo>
                  <a:close/>
                  <a:moveTo>
                    <a:pt x="256" y="247"/>
                  </a:moveTo>
                  <a:lnTo>
                    <a:pt x="136" y="247"/>
                  </a:lnTo>
                  <a:lnTo>
                    <a:pt x="136" y="8"/>
                  </a:lnTo>
                  <a:lnTo>
                    <a:pt x="256" y="8"/>
                  </a:lnTo>
                  <a:lnTo>
                    <a:pt x="256" y="247"/>
                  </a:lnTo>
                  <a:close/>
                  <a:moveTo>
                    <a:pt x="347" y="247"/>
                  </a:moveTo>
                  <a:lnTo>
                    <a:pt x="266" y="247"/>
                  </a:lnTo>
                  <a:lnTo>
                    <a:pt x="266" y="77"/>
                  </a:lnTo>
                  <a:lnTo>
                    <a:pt x="347" y="108"/>
                  </a:lnTo>
                  <a:lnTo>
                    <a:pt x="347" y="24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5" name="Rectangle 229"/>
            <p:cNvSpPr>
              <a:spLocks noChangeArrowheads="1"/>
            </p:cNvSpPr>
            <p:nvPr/>
          </p:nvSpPr>
          <p:spPr bwMode="auto">
            <a:xfrm>
              <a:off x="4075" y="1988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6" name="Rectangle 230"/>
            <p:cNvSpPr>
              <a:spLocks noChangeArrowheads="1"/>
            </p:cNvSpPr>
            <p:nvPr/>
          </p:nvSpPr>
          <p:spPr bwMode="auto">
            <a:xfrm>
              <a:off x="4041" y="1988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7" name="Rectangle 231"/>
            <p:cNvSpPr>
              <a:spLocks noChangeArrowheads="1"/>
            </p:cNvSpPr>
            <p:nvPr/>
          </p:nvSpPr>
          <p:spPr bwMode="auto">
            <a:xfrm>
              <a:off x="4075" y="2019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8" name="Rectangle 232"/>
            <p:cNvSpPr>
              <a:spLocks noChangeArrowheads="1"/>
            </p:cNvSpPr>
            <p:nvPr/>
          </p:nvSpPr>
          <p:spPr bwMode="auto">
            <a:xfrm>
              <a:off x="4075" y="205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89" name="Rectangle 233"/>
            <p:cNvSpPr>
              <a:spLocks noChangeArrowheads="1"/>
            </p:cNvSpPr>
            <p:nvPr/>
          </p:nvSpPr>
          <p:spPr bwMode="auto">
            <a:xfrm>
              <a:off x="4041" y="205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0" name="Rectangle 234"/>
            <p:cNvSpPr>
              <a:spLocks noChangeArrowheads="1"/>
            </p:cNvSpPr>
            <p:nvPr/>
          </p:nvSpPr>
          <p:spPr bwMode="auto">
            <a:xfrm>
              <a:off x="4041" y="2019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1" name="Rectangle 235"/>
            <p:cNvSpPr>
              <a:spLocks noChangeArrowheads="1"/>
            </p:cNvSpPr>
            <p:nvPr/>
          </p:nvSpPr>
          <p:spPr bwMode="auto">
            <a:xfrm>
              <a:off x="3948" y="1956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2" name="Rectangle 236"/>
            <p:cNvSpPr>
              <a:spLocks noChangeArrowheads="1"/>
            </p:cNvSpPr>
            <p:nvPr/>
          </p:nvSpPr>
          <p:spPr bwMode="auto">
            <a:xfrm>
              <a:off x="3914" y="1956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3" name="Rectangle 237"/>
            <p:cNvSpPr>
              <a:spLocks noChangeArrowheads="1"/>
            </p:cNvSpPr>
            <p:nvPr/>
          </p:nvSpPr>
          <p:spPr bwMode="auto">
            <a:xfrm>
              <a:off x="3948" y="1988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4" name="Rectangle 238"/>
            <p:cNvSpPr>
              <a:spLocks noChangeArrowheads="1"/>
            </p:cNvSpPr>
            <p:nvPr/>
          </p:nvSpPr>
          <p:spPr bwMode="auto">
            <a:xfrm>
              <a:off x="3914" y="1988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5" name="Rectangle 239"/>
            <p:cNvSpPr>
              <a:spLocks noChangeArrowheads="1"/>
            </p:cNvSpPr>
            <p:nvPr/>
          </p:nvSpPr>
          <p:spPr bwMode="auto">
            <a:xfrm>
              <a:off x="3948" y="192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6" name="Rectangle 240"/>
            <p:cNvSpPr>
              <a:spLocks noChangeArrowheads="1"/>
            </p:cNvSpPr>
            <p:nvPr/>
          </p:nvSpPr>
          <p:spPr bwMode="auto">
            <a:xfrm>
              <a:off x="3914" y="192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7" name="Rectangle 241"/>
            <p:cNvSpPr>
              <a:spLocks noChangeArrowheads="1"/>
            </p:cNvSpPr>
            <p:nvPr/>
          </p:nvSpPr>
          <p:spPr bwMode="auto">
            <a:xfrm>
              <a:off x="3981" y="1956"/>
              <a:ext cx="19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8" name="Rectangle 242"/>
            <p:cNvSpPr>
              <a:spLocks noChangeArrowheads="1"/>
            </p:cNvSpPr>
            <p:nvPr/>
          </p:nvSpPr>
          <p:spPr bwMode="auto">
            <a:xfrm>
              <a:off x="3981" y="1988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99" name="Rectangle 243"/>
            <p:cNvSpPr>
              <a:spLocks noChangeArrowheads="1"/>
            </p:cNvSpPr>
            <p:nvPr/>
          </p:nvSpPr>
          <p:spPr bwMode="auto">
            <a:xfrm>
              <a:off x="3981" y="1923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0" name="Rectangle 244"/>
            <p:cNvSpPr>
              <a:spLocks noChangeArrowheads="1"/>
            </p:cNvSpPr>
            <p:nvPr/>
          </p:nvSpPr>
          <p:spPr bwMode="auto">
            <a:xfrm>
              <a:off x="3948" y="2019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1" name="Rectangle 245"/>
            <p:cNvSpPr>
              <a:spLocks noChangeArrowheads="1"/>
            </p:cNvSpPr>
            <p:nvPr/>
          </p:nvSpPr>
          <p:spPr bwMode="auto">
            <a:xfrm>
              <a:off x="3914" y="2019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2" name="Rectangle 246"/>
            <p:cNvSpPr>
              <a:spLocks noChangeArrowheads="1"/>
            </p:cNvSpPr>
            <p:nvPr/>
          </p:nvSpPr>
          <p:spPr bwMode="auto">
            <a:xfrm>
              <a:off x="3948" y="205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3" name="Rectangle 247"/>
            <p:cNvSpPr>
              <a:spLocks noChangeArrowheads="1"/>
            </p:cNvSpPr>
            <p:nvPr/>
          </p:nvSpPr>
          <p:spPr bwMode="auto">
            <a:xfrm>
              <a:off x="3914" y="205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4" name="Rectangle 248"/>
            <p:cNvSpPr>
              <a:spLocks noChangeArrowheads="1"/>
            </p:cNvSpPr>
            <p:nvPr/>
          </p:nvSpPr>
          <p:spPr bwMode="auto">
            <a:xfrm>
              <a:off x="3981" y="2019"/>
              <a:ext cx="19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5" name="Rectangle 249"/>
            <p:cNvSpPr>
              <a:spLocks noChangeArrowheads="1"/>
            </p:cNvSpPr>
            <p:nvPr/>
          </p:nvSpPr>
          <p:spPr bwMode="auto">
            <a:xfrm>
              <a:off x="3981" y="2050"/>
              <a:ext cx="19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6" name="Rectangle 250"/>
            <p:cNvSpPr>
              <a:spLocks noChangeArrowheads="1"/>
            </p:cNvSpPr>
            <p:nvPr/>
          </p:nvSpPr>
          <p:spPr bwMode="auto">
            <a:xfrm>
              <a:off x="3948" y="1894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7" name="Rectangle 251"/>
            <p:cNvSpPr>
              <a:spLocks noChangeArrowheads="1"/>
            </p:cNvSpPr>
            <p:nvPr/>
          </p:nvSpPr>
          <p:spPr bwMode="auto">
            <a:xfrm>
              <a:off x="3914" y="1894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08" name="Rectangle 252"/>
            <p:cNvSpPr>
              <a:spLocks noChangeArrowheads="1"/>
            </p:cNvSpPr>
            <p:nvPr/>
          </p:nvSpPr>
          <p:spPr bwMode="auto">
            <a:xfrm>
              <a:off x="3981" y="1894"/>
              <a:ext cx="19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11" name="Group 255"/>
          <p:cNvGrpSpPr>
            <a:grpSpLocks noChangeAspect="1"/>
          </p:cNvGrpSpPr>
          <p:nvPr/>
        </p:nvGrpSpPr>
        <p:grpSpPr bwMode="auto">
          <a:xfrm>
            <a:off x="334963" y="4099850"/>
            <a:ext cx="844550" cy="846138"/>
            <a:chOff x="211" y="2568"/>
            <a:chExt cx="532" cy="533"/>
          </a:xfrm>
        </p:grpSpPr>
        <p:sp>
          <p:nvSpPr>
            <p:cNvPr id="45312" name="Oval 256"/>
            <p:cNvSpPr>
              <a:spLocks noChangeArrowheads="1"/>
            </p:cNvSpPr>
            <p:nvPr/>
          </p:nvSpPr>
          <p:spPr bwMode="auto">
            <a:xfrm>
              <a:off x="211" y="2568"/>
              <a:ext cx="532" cy="533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13" name="Freeform 257"/>
            <p:cNvSpPr>
              <a:spLocks noEditPoints="1"/>
            </p:cNvSpPr>
            <p:nvPr/>
          </p:nvSpPr>
          <p:spPr bwMode="auto">
            <a:xfrm>
              <a:off x="232" y="2594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6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4" name="Freeform 258"/>
            <p:cNvSpPr>
              <a:spLocks noEditPoints="1"/>
            </p:cNvSpPr>
            <p:nvPr/>
          </p:nvSpPr>
          <p:spPr bwMode="auto">
            <a:xfrm>
              <a:off x="309" y="2668"/>
              <a:ext cx="335" cy="333"/>
            </a:xfrm>
            <a:custGeom>
              <a:avLst/>
              <a:gdLst/>
              <a:ahLst/>
              <a:cxnLst>
                <a:cxn ang="0">
                  <a:pos x="119" y="20"/>
                </a:cxn>
                <a:cxn ang="0">
                  <a:pos x="70" y="0"/>
                </a:cxn>
                <a:cxn ang="0">
                  <a:pos x="20" y="20"/>
                </a:cxn>
                <a:cxn ang="0">
                  <a:pos x="0" y="70"/>
                </a:cxn>
                <a:cxn ang="0">
                  <a:pos x="20" y="119"/>
                </a:cxn>
                <a:cxn ang="0">
                  <a:pos x="70" y="139"/>
                </a:cxn>
                <a:cxn ang="0">
                  <a:pos x="119" y="119"/>
                </a:cxn>
                <a:cxn ang="0">
                  <a:pos x="140" y="70"/>
                </a:cxn>
                <a:cxn ang="0">
                  <a:pos x="119" y="20"/>
                </a:cxn>
                <a:cxn ang="0">
                  <a:pos x="70" y="136"/>
                </a:cxn>
                <a:cxn ang="0">
                  <a:pos x="3" y="70"/>
                </a:cxn>
                <a:cxn ang="0">
                  <a:pos x="70" y="3"/>
                </a:cxn>
                <a:cxn ang="0">
                  <a:pos x="136" y="70"/>
                </a:cxn>
                <a:cxn ang="0">
                  <a:pos x="70" y="136"/>
                </a:cxn>
              </a:cxnLst>
              <a:rect l="0" t="0" r="r" b="b"/>
              <a:pathLst>
                <a:path w="140" h="139">
                  <a:moveTo>
                    <a:pt x="119" y="20"/>
                  </a:moveTo>
                  <a:cubicBezTo>
                    <a:pt x="106" y="7"/>
                    <a:pt x="88" y="0"/>
                    <a:pt x="70" y="0"/>
                  </a:cubicBezTo>
                  <a:cubicBezTo>
                    <a:pt x="51" y="0"/>
                    <a:pt x="33" y="7"/>
                    <a:pt x="20" y="20"/>
                  </a:cubicBezTo>
                  <a:cubicBezTo>
                    <a:pt x="7" y="33"/>
                    <a:pt x="0" y="51"/>
                    <a:pt x="0" y="70"/>
                  </a:cubicBezTo>
                  <a:cubicBezTo>
                    <a:pt x="0" y="88"/>
                    <a:pt x="7" y="106"/>
                    <a:pt x="20" y="119"/>
                  </a:cubicBezTo>
                  <a:cubicBezTo>
                    <a:pt x="33" y="132"/>
                    <a:pt x="51" y="139"/>
                    <a:pt x="70" y="139"/>
                  </a:cubicBezTo>
                  <a:cubicBezTo>
                    <a:pt x="88" y="139"/>
                    <a:pt x="106" y="132"/>
                    <a:pt x="119" y="119"/>
                  </a:cubicBezTo>
                  <a:cubicBezTo>
                    <a:pt x="132" y="106"/>
                    <a:pt x="140" y="88"/>
                    <a:pt x="140" y="70"/>
                  </a:cubicBezTo>
                  <a:cubicBezTo>
                    <a:pt x="140" y="51"/>
                    <a:pt x="132" y="33"/>
                    <a:pt x="119" y="20"/>
                  </a:cubicBezTo>
                  <a:close/>
                  <a:moveTo>
                    <a:pt x="70" y="136"/>
                  </a:moveTo>
                  <a:cubicBezTo>
                    <a:pt x="33" y="136"/>
                    <a:pt x="3" y="106"/>
                    <a:pt x="3" y="70"/>
                  </a:cubicBezTo>
                  <a:cubicBezTo>
                    <a:pt x="3" y="33"/>
                    <a:pt x="33" y="3"/>
                    <a:pt x="70" y="3"/>
                  </a:cubicBezTo>
                  <a:cubicBezTo>
                    <a:pt x="106" y="3"/>
                    <a:pt x="136" y="33"/>
                    <a:pt x="136" y="70"/>
                  </a:cubicBezTo>
                  <a:cubicBezTo>
                    <a:pt x="136" y="106"/>
                    <a:pt x="106" y="136"/>
                    <a:pt x="70" y="13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5" name="Freeform 259"/>
            <p:cNvSpPr>
              <a:spLocks noEditPoints="1"/>
            </p:cNvSpPr>
            <p:nvPr/>
          </p:nvSpPr>
          <p:spPr bwMode="auto">
            <a:xfrm>
              <a:off x="573" y="2800"/>
              <a:ext cx="38" cy="38"/>
            </a:xfrm>
            <a:custGeom>
              <a:avLst/>
              <a:gdLst/>
              <a:ahLst/>
              <a:cxnLst>
                <a:cxn ang="0">
                  <a:pos x="15" y="11"/>
                </a:cxn>
                <a:cxn ang="0">
                  <a:pos x="14" y="3"/>
                </a:cxn>
                <a:cxn ang="0">
                  <a:pos x="13" y="0"/>
                </a:cxn>
                <a:cxn ang="0">
                  <a:pos x="9" y="1"/>
                </a:cxn>
                <a:cxn ang="0">
                  <a:pos x="4" y="3"/>
                </a:cxn>
                <a:cxn ang="0">
                  <a:pos x="0" y="4"/>
                </a:cxn>
                <a:cxn ang="0">
                  <a:pos x="1" y="7"/>
                </a:cxn>
                <a:cxn ang="0">
                  <a:pos x="2" y="12"/>
                </a:cxn>
                <a:cxn ang="0">
                  <a:pos x="3" y="16"/>
                </a:cxn>
                <a:cxn ang="0">
                  <a:pos x="6" y="16"/>
                </a:cxn>
                <a:cxn ang="0">
                  <a:pos x="12" y="15"/>
                </a:cxn>
                <a:cxn ang="0">
                  <a:pos x="16" y="15"/>
                </a:cxn>
                <a:cxn ang="0">
                  <a:pos x="15" y="11"/>
                </a:cxn>
                <a:cxn ang="0">
                  <a:pos x="6" y="12"/>
                </a:cxn>
                <a:cxn ang="0">
                  <a:pos x="5" y="6"/>
                </a:cxn>
                <a:cxn ang="0">
                  <a:pos x="10" y="4"/>
                </a:cxn>
                <a:cxn ang="0">
                  <a:pos x="12" y="12"/>
                </a:cxn>
                <a:cxn ang="0">
                  <a:pos x="6" y="12"/>
                </a:cxn>
              </a:cxnLst>
              <a:rect l="0" t="0" r="r" b="b"/>
              <a:pathLst>
                <a:path w="16" h="16">
                  <a:moveTo>
                    <a:pt x="15" y="11"/>
                  </a:moveTo>
                  <a:cubicBezTo>
                    <a:pt x="15" y="10"/>
                    <a:pt x="15" y="6"/>
                    <a:pt x="14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9"/>
                    <a:pt x="2" y="10"/>
                    <a:pt x="2" y="12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6" y="15"/>
                    <a:pt x="16" y="15"/>
                    <a:pt x="16" y="15"/>
                  </a:cubicBezTo>
                  <a:lnTo>
                    <a:pt x="15" y="11"/>
                  </a:lnTo>
                  <a:close/>
                  <a:moveTo>
                    <a:pt x="6" y="12"/>
                  </a:moveTo>
                  <a:cubicBezTo>
                    <a:pt x="6" y="10"/>
                    <a:pt x="5" y="8"/>
                    <a:pt x="5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7"/>
                    <a:pt x="12" y="9"/>
                    <a:pt x="12" y="12"/>
                  </a:cubicBezTo>
                  <a:lnTo>
                    <a:pt x="6" y="1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6" name="Freeform 260"/>
            <p:cNvSpPr>
              <a:spLocks noEditPoints="1"/>
            </p:cNvSpPr>
            <p:nvPr/>
          </p:nvSpPr>
          <p:spPr bwMode="auto">
            <a:xfrm>
              <a:off x="556" y="2752"/>
              <a:ext cx="40" cy="43"/>
            </a:xfrm>
            <a:custGeom>
              <a:avLst/>
              <a:gdLst/>
              <a:ahLst/>
              <a:cxnLst>
                <a:cxn ang="0">
                  <a:pos x="14" y="15"/>
                </a:cxn>
                <a:cxn ang="0">
                  <a:pos x="17" y="13"/>
                </a:cxn>
                <a:cxn ang="0">
                  <a:pos x="16" y="10"/>
                </a:cxn>
                <a:cxn ang="0">
                  <a:pos x="12" y="3"/>
                </a:cxn>
                <a:cxn ang="0">
                  <a:pos x="9" y="0"/>
                </a:cxn>
                <a:cxn ang="0">
                  <a:pos x="7" y="3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4" y="15"/>
                </a:cxn>
                <a:cxn ang="0">
                  <a:pos x="6" y="18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5" y="9"/>
                </a:cxn>
                <a:cxn ang="0">
                  <a:pos x="9" y="5"/>
                </a:cxn>
                <a:cxn ang="0">
                  <a:pos x="13" y="11"/>
                </a:cxn>
                <a:cxn ang="0">
                  <a:pos x="8" y="14"/>
                </a:cxn>
                <a:cxn ang="0">
                  <a:pos x="5" y="9"/>
                </a:cxn>
              </a:cxnLst>
              <a:rect l="0" t="0" r="r" b="b"/>
              <a:pathLst>
                <a:path w="17" h="18">
                  <a:moveTo>
                    <a:pt x="14" y="15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8"/>
                    <a:pt x="13" y="5"/>
                    <a:pt x="12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2"/>
                    <a:pt x="4" y="14"/>
                    <a:pt x="4" y="15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7"/>
                    <a:pt x="9" y="17"/>
                    <a:pt x="9" y="17"/>
                  </a:cubicBezTo>
                  <a:lnTo>
                    <a:pt x="14" y="15"/>
                  </a:lnTo>
                  <a:close/>
                  <a:moveTo>
                    <a:pt x="5" y="9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10" y="7"/>
                    <a:pt x="12" y="9"/>
                    <a:pt x="13" y="11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2"/>
                    <a:pt x="6" y="10"/>
                    <a:pt x="5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7" name="Freeform 261"/>
            <p:cNvSpPr>
              <a:spLocks noEditPoints="1"/>
            </p:cNvSpPr>
            <p:nvPr/>
          </p:nvSpPr>
          <p:spPr bwMode="auto">
            <a:xfrm>
              <a:off x="525" y="2721"/>
              <a:ext cx="43" cy="43"/>
            </a:xfrm>
            <a:custGeom>
              <a:avLst/>
              <a:gdLst/>
              <a:ahLst/>
              <a:cxnLst>
                <a:cxn ang="0">
                  <a:pos x="18" y="9"/>
                </a:cxn>
                <a:cxn ang="0">
                  <a:pos x="16" y="7"/>
                </a:cxn>
                <a:cxn ang="0">
                  <a:pos x="9" y="2"/>
                </a:cxn>
                <a:cxn ang="0">
                  <a:pos x="6" y="0"/>
                </a:cxn>
                <a:cxn ang="0">
                  <a:pos x="4" y="3"/>
                </a:cxn>
                <a:cxn ang="0">
                  <a:pos x="2" y="7"/>
                </a:cxn>
                <a:cxn ang="0">
                  <a:pos x="0" y="10"/>
                </a:cxn>
                <a:cxn ang="0">
                  <a:pos x="3" y="12"/>
                </a:cxn>
                <a:cxn ang="0">
                  <a:pos x="7" y="15"/>
                </a:cxn>
                <a:cxn ang="0">
                  <a:pos x="10" y="18"/>
                </a:cxn>
                <a:cxn ang="0">
                  <a:pos x="12" y="15"/>
                </a:cxn>
                <a:cxn ang="0">
                  <a:pos x="16" y="12"/>
                </a:cxn>
                <a:cxn ang="0">
                  <a:pos x="18" y="9"/>
                </a:cxn>
                <a:cxn ang="0">
                  <a:pos x="10" y="13"/>
                </a:cxn>
                <a:cxn ang="0">
                  <a:pos x="5" y="9"/>
                </a:cxn>
                <a:cxn ang="0">
                  <a:pos x="7" y="5"/>
                </a:cxn>
                <a:cxn ang="0">
                  <a:pos x="7" y="5"/>
                </a:cxn>
                <a:cxn ang="0">
                  <a:pos x="9" y="6"/>
                </a:cxn>
                <a:cxn ang="0">
                  <a:pos x="13" y="9"/>
                </a:cxn>
                <a:cxn ang="0">
                  <a:pos x="10" y="13"/>
                </a:cxn>
              </a:cxnLst>
              <a:rect l="0" t="0" r="r" b="b"/>
              <a:pathLst>
                <a:path w="18" h="18">
                  <a:moveTo>
                    <a:pt x="18" y="9"/>
                  </a:moveTo>
                  <a:cubicBezTo>
                    <a:pt x="16" y="7"/>
                    <a:pt x="16" y="7"/>
                    <a:pt x="16" y="7"/>
                  </a:cubicBezTo>
                  <a:cubicBezTo>
                    <a:pt x="14" y="5"/>
                    <a:pt x="11" y="3"/>
                    <a:pt x="9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6" y="15"/>
                    <a:pt x="7" y="15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6" y="12"/>
                    <a:pt x="16" y="12"/>
                    <a:pt x="16" y="12"/>
                  </a:cubicBezTo>
                  <a:lnTo>
                    <a:pt x="18" y="9"/>
                  </a:lnTo>
                  <a:close/>
                  <a:moveTo>
                    <a:pt x="10" y="13"/>
                  </a:moveTo>
                  <a:cubicBezTo>
                    <a:pt x="9" y="12"/>
                    <a:pt x="6" y="10"/>
                    <a:pt x="5" y="9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9" y="6"/>
                    <a:pt x="9" y="6"/>
                  </a:cubicBezTo>
                  <a:cubicBezTo>
                    <a:pt x="11" y="7"/>
                    <a:pt x="12" y="8"/>
                    <a:pt x="13" y="9"/>
                  </a:cubicBezTo>
                  <a:lnTo>
                    <a:pt x="10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8" name="Freeform 262"/>
            <p:cNvSpPr>
              <a:spLocks noEditPoints="1"/>
            </p:cNvSpPr>
            <p:nvPr/>
          </p:nvSpPr>
          <p:spPr bwMode="auto">
            <a:xfrm>
              <a:off x="453" y="2702"/>
              <a:ext cx="36" cy="29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2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0" y="11"/>
                </a:cxn>
                <a:cxn ang="0">
                  <a:pos x="14" y="12"/>
                </a:cxn>
                <a:cxn ang="0">
                  <a:pos x="14" y="8"/>
                </a:cxn>
                <a:cxn ang="0">
                  <a:pos x="14" y="4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3" y="1"/>
                </a:cxn>
                <a:cxn ang="0">
                  <a:pos x="0" y="1"/>
                </a:cxn>
                <a:cxn ang="0">
                  <a:pos x="0" y="5"/>
                </a:cxn>
                <a:cxn ang="0">
                  <a:pos x="1" y="9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7" y="4"/>
                </a:cxn>
                <a:cxn ang="0">
                  <a:pos x="8" y="4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9" y="8"/>
                </a:cxn>
                <a:cxn ang="0">
                  <a:pos x="9" y="8"/>
                </a:cxn>
                <a:cxn ang="0">
                  <a:pos x="8" y="8"/>
                </a:cxn>
                <a:cxn ang="0">
                  <a:pos x="7" y="8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5" y="8"/>
                </a:cxn>
                <a:cxn ang="0">
                  <a:pos x="4" y="4"/>
                </a:cxn>
                <a:cxn ang="0">
                  <a:pos x="6" y="4"/>
                </a:cxn>
              </a:cxnLst>
              <a:rect l="0" t="0" r="r" b="b"/>
              <a:pathLst>
                <a:path w="15" h="12">
                  <a:moveTo>
                    <a:pt x="1" y="9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7" y="11"/>
                    <a:pt x="8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1" y="9"/>
                  </a:lnTo>
                  <a:close/>
                  <a:moveTo>
                    <a:pt x="6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0" y="4"/>
                    <a:pt x="11" y="4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ubicBezTo>
                    <a:pt x="8" y="8"/>
                    <a:pt x="8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6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19" name="Freeform 263"/>
            <p:cNvSpPr>
              <a:spLocks noEditPoints="1"/>
            </p:cNvSpPr>
            <p:nvPr/>
          </p:nvSpPr>
          <p:spPr bwMode="auto">
            <a:xfrm>
              <a:off x="407" y="2709"/>
              <a:ext cx="38" cy="36"/>
            </a:xfrm>
            <a:custGeom>
              <a:avLst/>
              <a:gdLst/>
              <a:ahLst/>
              <a:cxnLst>
                <a:cxn ang="0">
                  <a:pos x="5" y="15"/>
                </a:cxn>
                <a:cxn ang="0">
                  <a:pos x="8" y="14"/>
                </a:cxn>
                <a:cxn ang="0">
                  <a:pos x="13" y="11"/>
                </a:cxn>
                <a:cxn ang="0">
                  <a:pos x="16" y="10"/>
                </a:cxn>
                <a:cxn ang="0">
                  <a:pos x="15" y="7"/>
                </a:cxn>
                <a:cxn ang="0">
                  <a:pos x="14" y="4"/>
                </a:cxn>
                <a:cxn ang="0">
                  <a:pos x="13" y="0"/>
                </a:cxn>
                <a:cxn ang="0">
                  <a:pos x="10" y="1"/>
                </a:cxn>
                <a:cxn ang="0">
                  <a:pos x="3" y="4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5" y="15"/>
                </a:cxn>
                <a:cxn ang="0">
                  <a:pos x="8" y="6"/>
                </a:cxn>
                <a:cxn ang="0">
                  <a:pos x="11" y="5"/>
                </a:cxn>
                <a:cxn ang="0">
                  <a:pos x="12" y="8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5" y="8"/>
                </a:cxn>
                <a:cxn ang="0">
                  <a:pos x="8" y="6"/>
                </a:cxn>
              </a:cxnLst>
              <a:rect l="0" t="0" r="r" b="b"/>
              <a:pathLst>
                <a:path w="16" h="15">
                  <a:moveTo>
                    <a:pt x="5" y="1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10" y="13"/>
                    <a:pt x="11" y="12"/>
                    <a:pt x="13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2"/>
                    <a:pt x="5" y="3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12"/>
                    <a:pt x="3" y="12"/>
                    <a:pt x="3" y="12"/>
                  </a:cubicBezTo>
                  <a:lnTo>
                    <a:pt x="5" y="15"/>
                  </a:lnTo>
                  <a:close/>
                  <a:moveTo>
                    <a:pt x="8" y="6"/>
                  </a:moveTo>
                  <a:cubicBezTo>
                    <a:pt x="9" y="5"/>
                    <a:pt x="10" y="5"/>
                    <a:pt x="11" y="5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8"/>
                    <a:pt x="9" y="9"/>
                    <a:pt x="8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7"/>
                    <a:pt x="7" y="6"/>
                    <a:pt x="8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0" name="Freeform 264"/>
            <p:cNvSpPr>
              <a:spLocks noEditPoints="1"/>
            </p:cNvSpPr>
            <p:nvPr/>
          </p:nvSpPr>
          <p:spPr bwMode="auto">
            <a:xfrm>
              <a:off x="350" y="2764"/>
              <a:ext cx="36" cy="3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6" y="0"/>
                </a:cxn>
                <a:cxn ang="0">
                  <a:pos x="4" y="3"/>
                </a:cxn>
                <a:cxn ang="0">
                  <a:pos x="2" y="9"/>
                </a:cxn>
                <a:cxn ang="0">
                  <a:pos x="0" y="12"/>
                </a:cxn>
                <a:cxn ang="0">
                  <a:pos x="4" y="14"/>
                </a:cxn>
                <a:cxn ang="0">
                  <a:pos x="6" y="15"/>
                </a:cxn>
                <a:cxn ang="0">
                  <a:pos x="10" y="16"/>
                </a:cxn>
                <a:cxn ang="0">
                  <a:pos x="11" y="12"/>
                </a:cxn>
                <a:cxn ang="0">
                  <a:pos x="13" y="8"/>
                </a:cxn>
                <a:cxn ang="0">
                  <a:pos x="15" y="5"/>
                </a:cxn>
                <a:cxn ang="0">
                  <a:pos x="12" y="3"/>
                </a:cxn>
                <a:cxn ang="0">
                  <a:pos x="9" y="2"/>
                </a:cxn>
                <a:cxn ang="0">
                  <a:pos x="8" y="11"/>
                </a:cxn>
                <a:cxn ang="0">
                  <a:pos x="5" y="10"/>
                </a:cxn>
                <a:cxn ang="0">
                  <a:pos x="8" y="5"/>
                </a:cxn>
                <a:cxn ang="0">
                  <a:pos x="10" y="6"/>
                </a:cxn>
                <a:cxn ang="0">
                  <a:pos x="8" y="11"/>
                </a:cxn>
              </a:cxnLst>
              <a:rect l="0" t="0" r="r" b="b"/>
              <a:pathLst>
                <a:path w="15" h="16">
                  <a:moveTo>
                    <a:pt x="9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1"/>
                    <a:pt x="12" y="10"/>
                    <a:pt x="13" y="8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3"/>
                    <a:pt x="12" y="3"/>
                    <a:pt x="12" y="3"/>
                  </a:cubicBezTo>
                  <a:lnTo>
                    <a:pt x="9" y="2"/>
                  </a:lnTo>
                  <a:close/>
                  <a:moveTo>
                    <a:pt x="8" y="11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8"/>
                    <a:pt x="7" y="7"/>
                    <a:pt x="8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8"/>
                    <a:pt x="8" y="10"/>
                    <a:pt x="8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1" name="Freeform 265"/>
            <p:cNvSpPr>
              <a:spLocks noEditPoints="1"/>
            </p:cNvSpPr>
            <p:nvPr/>
          </p:nvSpPr>
          <p:spPr bwMode="auto">
            <a:xfrm>
              <a:off x="342" y="2807"/>
              <a:ext cx="29" cy="31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2" y="0"/>
                </a:cxn>
                <a:cxn ang="0">
                  <a:pos x="1" y="4"/>
                </a:cxn>
                <a:cxn ang="0">
                  <a:pos x="1" y="8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4" y="13"/>
                </a:cxn>
                <a:cxn ang="0">
                  <a:pos x="7" y="13"/>
                </a:cxn>
                <a:cxn ang="0">
                  <a:pos x="11" y="13"/>
                </a:cxn>
                <a:cxn ang="0">
                  <a:pos x="11" y="10"/>
                </a:cxn>
                <a:cxn ang="0">
                  <a:pos x="11" y="8"/>
                </a:cxn>
                <a:cxn ang="0">
                  <a:pos x="11" y="5"/>
                </a:cxn>
                <a:cxn ang="0">
                  <a:pos x="12" y="1"/>
                </a:cxn>
                <a:cxn ang="0">
                  <a:pos x="8" y="1"/>
                </a:cxn>
                <a:cxn ang="0">
                  <a:pos x="5" y="1"/>
                </a:cxn>
                <a:cxn ang="0">
                  <a:pos x="7" y="9"/>
                </a:cxn>
                <a:cxn ang="0">
                  <a:pos x="4" y="9"/>
                </a:cxn>
                <a:cxn ang="0">
                  <a:pos x="5" y="4"/>
                </a:cxn>
                <a:cxn ang="0">
                  <a:pos x="8" y="5"/>
                </a:cxn>
                <a:cxn ang="0">
                  <a:pos x="7" y="9"/>
                </a:cxn>
              </a:cxnLst>
              <a:rect l="0" t="0" r="r" b="b"/>
              <a:pathLst>
                <a:path w="12" h="13">
                  <a:moveTo>
                    <a:pt x="5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6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7"/>
                    <a:pt x="11" y="6"/>
                    <a:pt x="11" y="5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8" y="1"/>
                    <a:pt x="8" y="1"/>
                    <a:pt x="8" y="1"/>
                  </a:cubicBezTo>
                  <a:lnTo>
                    <a:pt x="5" y="1"/>
                  </a:lnTo>
                  <a:close/>
                  <a:moveTo>
                    <a:pt x="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6"/>
                    <a:pt x="5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7" y="8"/>
                    <a:pt x="7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2" name="Freeform 266"/>
            <p:cNvSpPr>
              <a:spLocks noEditPoints="1"/>
            </p:cNvSpPr>
            <p:nvPr/>
          </p:nvSpPr>
          <p:spPr bwMode="auto">
            <a:xfrm>
              <a:off x="371" y="2731"/>
              <a:ext cx="39" cy="40"/>
            </a:xfrm>
            <a:custGeom>
              <a:avLst/>
              <a:gdLst/>
              <a:ahLst/>
              <a:cxnLst>
                <a:cxn ang="0">
                  <a:pos x="12" y="3"/>
                </a:cxn>
                <a:cxn ang="0">
                  <a:pos x="10" y="0"/>
                </a:cxn>
                <a:cxn ang="0">
                  <a:pos x="7" y="2"/>
                </a:cxn>
                <a:cxn ang="0">
                  <a:pos x="2" y="7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5" y="15"/>
                </a:cxn>
                <a:cxn ang="0">
                  <a:pos x="8" y="17"/>
                </a:cxn>
                <a:cxn ang="0">
                  <a:pos x="10" y="14"/>
                </a:cxn>
                <a:cxn ang="0">
                  <a:pos x="14" y="11"/>
                </a:cxn>
                <a:cxn ang="0">
                  <a:pos x="16" y="9"/>
                </a:cxn>
                <a:cxn ang="0">
                  <a:pos x="14" y="6"/>
                </a:cxn>
                <a:cxn ang="0">
                  <a:pos x="12" y="3"/>
                </a:cxn>
                <a:cxn ang="0">
                  <a:pos x="7" y="12"/>
                </a:cxn>
                <a:cxn ang="0">
                  <a:pos x="5" y="10"/>
                </a:cxn>
                <a:cxn ang="0">
                  <a:pos x="9" y="5"/>
                </a:cxn>
                <a:cxn ang="0">
                  <a:pos x="11" y="8"/>
                </a:cxn>
                <a:cxn ang="0">
                  <a:pos x="7" y="12"/>
                </a:cxn>
              </a:cxnLst>
              <a:rect l="0" t="0" r="r" b="b"/>
              <a:pathLst>
                <a:path w="16" h="17">
                  <a:moveTo>
                    <a:pt x="12" y="3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5" y="4"/>
                    <a:pt x="4" y="6"/>
                    <a:pt x="2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3"/>
                    <a:pt x="12" y="12"/>
                    <a:pt x="14" y="1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6"/>
                    <a:pt x="14" y="6"/>
                    <a:pt x="14" y="6"/>
                  </a:cubicBezTo>
                  <a:lnTo>
                    <a:pt x="12" y="3"/>
                  </a:lnTo>
                  <a:close/>
                  <a:moveTo>
                    <a:pt x="7" y="12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8"/>
                    <a:pt x="8" y="7"/>
                    <a:pt x="9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9" y="10"/>
                    <a:pt x="7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3" name="Freeform 267"/>
            <p:cNvSpPr>
              <a:spLocks noEditPoints="1"/>
            </p:cNvSpPr>
            <p:nvPr/>
          </p:nvSpPr>
          <p:spPr bwMode="auto">
            <a:xfrm>
              <a:off x="412" y="2690"/>
              <a:ext cx="122" cy="213"/>
            </a:xfrm>
            <a:custGeom>
              <a:avLst/>
              <a:gdLst/>
              <a:ahLst/>
              <a:cxnLst>
                <a:cxn ang="0">
                  <a:pos x="38" y="42"/>
                </a:cxn>
                <a:cxn ang="0">
                  <a:pos x="48" y="2"/>
                </a:cxn>
                <a:cxn ang="0">
                  <a:pos x="47" y="2"/>
                </a:cxn>
                <a:cxn ang="0">
                  <a:pos x="47" y="2"/>
                </a:cxn>
                <a:cxn ang="0">
                  <a:pos x="43" y="1"/>
                </a:cxn>
                <a:cxn ang="0">
                  <a:pos x="43" y="1"/>
                </a:cxn>
                <a:cxn ang="0">
                  <a:pos x="41" y="0"/>
                </a:cxn>
                <a:cxn ang="0">
                  <a:pos x="26" y="38"/>
                </a:cxn>
                <a:cxn ang="0">
                  <a:pos x="25" y="38"/>
                </a:cxn>
                <a:cxn ang="0">
                  <a:pos x="7" y="46"/>
                </a:cxn>
                <a:cxn ang="0">
                  <a:pos x="1" y="64"/>
                </a:cxn>
                <a:cxn ang="0">
                  <a:pos x="26" y="89"/>
                </a:cxn>
                <a:cxn ang="0">
                  <a:pos x="27" y="89"/>
                </a:cxn>
                <a:cxn ang="0">
                  <a:pos x="44" y="81"/>
                </a:cxn>
                <a:cxn ang="0">
                  <a:pos x="51" y="63"/>
                </a:cxn>
                <a:cxn ang="0">
                  <a:pos x="38" y="42"/>
                </a:cxn>
                <a:cxn ang="0">
                  <a:pos x="44" y="5"/>
                </a:cxn>
                <a:cxn ang="0">
                  <a:pos x="44" y="5"/>
                </a:cxn>
                <a:cxn ang="0">
                  <a:pos x="35" y="40"/>
                </a:cxn>
                <a:cxn ang="0">
                  <a:pos x="35" y="40"/>
                </a:cxn>
                <a:cxn ang="0">
                  <a:pos x="35" y="42"/>
                </a:cxn>
                <a:cxn ang="0">
                  <a:pos x="28" y="67"/>
                </a:cxn>
                <a:cxn ang="0">
                  <a:pos x="22" y="76"/>
                </a:cxn>
                <a:cxn ang="0">
                  <a:pos x="20" y="75"/>
                </a:cxn>
                <a:cxn ang="0">
                  <a:pos x="20" y="64"/>
                </a:cxn>
                <a:cxn ang="0">
                  <a:pos x="30" y="39"/>
                </a:cxn>
                <a:cxn ang="0">
                  <a:pos x="30" y="39"/>
                </a:cxn>
                <a:cxn ang="0">
                  <a:pos x="30" y="39"/>
                </a:cxn>
                <a:cxn ang="0">
                  <a:pos x="44" y="5"/>
                </a:cxn>
                <a:cxn ang="0">
                  <a:pos x="42" y="78"/>
                </a:cxn>
                <a:cxn ang="0">
                  <a:pos x="27" y="85"/>
                </a:cxn>
                <a:cxn ang="0">
                  <a:pos x="4" y="64"/>
                </a:cxn>
                <a:cxn ang="0">
                  <a:pos x="10" y="49"/>
                </a:cxn>
                <a:cxn ang="0">
                  <a:pos x="25" y="42"/>
                </a:cxn>
                <a:cxn ang="0">
                  <a:pos x="17" y="63"/>
                </a:cxn>
                <a:cxn ang="0">
                  <a:pos x="17" y="64"/>
                </a:cxn>
                <a:cxn ang="0">
                  <a:pos x="17" y="78"/>
                </a:cxn>
                <a:cxn ang="0">
                  <a:pos x="19" y="78"/>
                </a:cxn>
                <a:cxn ang="0">
                  <a:pos x="22" y="80"/>
                </a:cxn>
                <a:cxn ang="0">
                  <a:pos x="22" y="80"/>
                </a:cxn>
                <a:cxn ang="0">
                  <a:pos x="23" y="80"/>
                </a:cxn>
                <a:cxn ang="0">
                  <a:pos x="31" y="69"/>
                </a:cxn>
                <a:cxn ang="0">
                  <a:pos x="32" y="68"/>
                </a:cxn>
                <a:cxn ang="0">
                  <a:pos x="37" y="45"/>
                </a:cxn>
                <a:cxn ang="0">
                  <a:pos x="48" y="63"/>
                </a:cxn>
                <a:cxn ang="0">
                  <a:pos x="42" y="78"/>
                </a:cxn>
              </a:cxnLst>
              <a:rect l="0" t="0" r="r" b="b"/>
              <a:pathLst>
                <a:path w="51" h="89">
                  <a:moveTo>
                    <a:pt x="38" y="42"/>
                  </a:moveTo>
                  <a:cubicBezTo>
                    <a:pt x="48" y="2"/>
                    <a:pt x="48" y="2"/>
                    <a:pt x="48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cubicBezTo>
                    <a:pt x="18" y="39"/>
                    <a:pt x="12" y="41"/>
                    <a:pt x="7" y="46"/>
                  </a:cubicBezTo>
                  <a:cubicBezTo>
                    <a:pt x="3" y="51"/>
                    <a:pt x="0" y="58"/>
                    <a:pt x="1" y="64"/>
                  </a:cubicBezTo>
                  <a:cubicBezTo>
                    <a:pt x="1" y="78"/>
                    <a:pt x="12" y="89"/>
                    <a:pt x="26" y="89"/>
                  </a:cubicBezTo>
                  <a:cubicBezTo>
                    <a:pt x="26" y="89"/>
                    <a:pt x="26" y="89"/>
                    <a:pt x="27" y="89"/>
                  </a:cubicBezTo>
                  <a:cubicBezTo>
                    <a:pt x="34" y="89"/>
                    <a:pt x="40" y="86"/>
                    <a:pt x="44" y="81"/>
                  </a:cubicBezTo>
                  <a:cubicBezTo>
                    <a:pt x="49" y="76"/>
                    <a:pt x="51" y="69"/>
                    <a:pt x="51" y="63"/>
                  </a:cubicBezTo>
                  <a:cubicBezTo>
                    <a:pt x="51" y="54"/>
                    <a:pt x="46" y="46"/>
                    <a:pt x="38" y="42"/>
                  </a:cubicBezTo>
                  <a:close/>
                  <a:moveTo>
                    <a:pt x="44" y="5"/>
                  </a:moveTo>
                  <a:cubicBezTo>
                    <a:pt x="44" y="5"/>
                    <a:pt x="44" y="5"/>
                    <a:pt x="44" y="5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lnTo>
                    <a:pt x="44" y="5"/>
                  </a:lnTo>
                  <a:close/>
                  <a:moveTo>
                    <a:pt x="42" y="78"/>
                  </a:moveTo>
                  <a:cubicBezTo>
                    <a:pt x="38" y="83"/>
                    <a:pt x="32" y="85"/>
                    <a:pt x="27" y="85"/>
                  </a:cubicBezTo>
                  <a:cubicBezTo>
                    <a:pt x="15" y="86"/>
                    <a:pt x="5" y="76"/>
                    <a:pt x="4" y="64"/>
                  </a:cubicBezTo>
                  <a:cubicBezTo>
                    <a:pt x="4" y="59"/>
                    <a:pt x="6" y="53"/>
                    <a:pt x="10" y="49"/>
                  </a:cubicBezTo>
                  <a:cubicBezTo>
                    <a:pt x="14" y="45"/>
                    <a:pt x="19" y="42"/>
                    <a:pt x="25" y="42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43" y="49"/>
                    <a:pt x="47" y="55"/>
                    <a:pt x="48" y="63"/>
                  </a:cubicBezTo>
                  <a:cubicBezTo>
                    <a:pt x="48" y="69"/>
                    <a:pt x="46" y="74"/>
                    <a:pt x="42" y="7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26" name="Group 270"/>
          <p:cNvGrpSpPr>
            <a:grpSpLocks noChangeAspect="1"/>
          </p:cNvGrpSpPr>
          <p:nvPr/>
        </p:nvGrpSpPr>
        <p:grpSpPr bwMode="auto">
          <a:xfrm>
            <a:off x="1474788" y="4136366"/>
            <a:ext cx="768350" cy="768350"/>
            <a:chOff x="928" y="2591"/>
            <a:chExt cx="484" cy="484"/>
          </a:xfrm>
        </p:grpSpPr>
        <p:sp>
          <p:nvSpPr>
            <p:cNvPr id="45327" name="Freeform 271"/>
            <p:cNvSpPr>
              <a:spLocks noEditPoints="1"/>
            </p:cNvSpPr>
            <p:nvPr/>
          </p:nvSpPr>
          <p:spPr bwMode="auto">
            <a:xfrm>
              <a:off x="928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8" name="Freeform 272"/>
            <p:cNvSpPr>
              <a:spLocks noEditPoints="1"/>
            </p:cNvSpPr>
            <p:nvPr/>
          </p:nvSpPr>
          <p:spPr bwMode="auto">
            <a:xfrm>
              <a:off x="1002" y="2666"/>
              <a:ext cx="336" cy="335"/>
            </a:xfrm>
            <a:custGeom>
              <a:avLst/>
              <a:gdLst/>
              <a:ahLst/>
              <a:cxnLst>
                <a:cxn ang="0">
                  <a:pos x="120" y="20"/>
                </a:cxn>
                <a:cxn ang="0">
                  <a:pos x="70" y="0"/>
                </a:cxn>
                <a:cxn ang="0">
                  <a:pos x="21" y="20"/>
                </a:cxn>
                <a:cxn ang="0">
                  <a:pos x="0" y="70"/>
                </a:cxn>
                <a:cxn ang="0">
                  <a:pos x="21" y="119"/>
                </a:cxn>
                <a:cxn ang="0">
                  <a:pos x="70" y="140"/>
                </a:cxn>
                <a:cxn ang="0">
                  <a:pos x="120" y="119"/>
                </a:cxn>
                <a:cxn ang="0">
                  <a:pos x="140" y="70"/>
                </a:cxn>
                <a:cxn ang="0">
                  <a:pos x="120" y="20"/>
                </a:cxn>
                <a:cxn ang="0">
                  <a:pos x="70" y="136"/>
                </a:cxn>
                <a:cxn ang="0">
                  <a:pos x="4" y="70"/>
                </a:cxn>
                <a:cxn ang="0">
                  <a:pos x="70" y="3"/>
                </a:cxn>
                <a:cxn ang="0">
                  <a:pos x="137" y="70"/>
                </a:cxn>
                <a:cxn ang="0">
                  <a:pos x="70" y="136"/>
                </a:cxn>
              </a:cxnLst>
              <a:rect l="0" t="0" r="r" b="b"/>
              <a:pathLst>
                <a:path w="140" h="140">
                  <a:moveTo>
                    <a:pt x="120" y="20"/>
                  </a:moveTo>
                  <a:cubicBezTo>
                    <a:pt x="107" y="7"/>
                    <a:pt x="89" y="0"/>
                    <a:pt x="70" y="0"/>
                  </a:cubicBezTo>
                  <a:cubicBezTo>
                    <a:pt x="52" y="0"/>
                    <a:pt x="34" y="7"/>
                    <a:pt x="21" y="20"/>
                  </a:cubicBezTo>
                  <a:cubicBezTo>
                    <a:pt x="8" y="33"/>
                    <a:pt x="0" y="51"/>
                    <a:pt x="0" y="70"/>
                  </a:cubicBezTo>
                  <a:cubicBezTo>
                    <a:pt x="0" y="88"/>
                    <a:pt x="8" y="106"/>
                    <a:pt x="21" y="119"/>
                  </a:cubicBezTo>
                  <a:cubicBezTo>
                    <a:pt x="34" y="132"/>
                    <a:pt x="52" y="140"/>
                    <a:pt x="70" y="140"/>
                  </a:cubicBezTo>
                  <a:cubicBezTo>
                    <a:pt x="89" y="140"/>
                    <a:pt x="107" y="132"/>
                    <a:pt x="120" y="119"/>
                  </a:cubicBezTo>
                  <a:cubicBezTo>
                    <a:pt x="133" y="106"/>
                    <a:pt x="140" y="88"/>
                    <a:pt x="140" y="70"/>
                  </a:cubicBezTo>
                  <a:cubicBezTo>
                    <a:pt x="140" y="51"/>
                    <a:pt x="133" y="33"/>
                    <a:pt x="120" y="20"/>
                  </a:cubicBezTo>
                  <a:close/>
                  <a:moveTo>
                    <a:pt x="70" y="136"/>
                  </a:moveTo>
                  <a:cubicBezTo>
                    <a:pt x="34" y="136"/>
                    <a:pt x="4" y="106"/>
                    <a:pt x="4" y="70"/>
                  </a:cubicBezTo>
                  <a:cubicBezTo>
                    <a:pt x="4" y="33"/>
                    <a:pt x="34" y="3"/>
                    <a:pt x="70" y="3"/>
                  </a:cubicBezTo>
                  <a:cubicBezTo>
                    <a:pt x="107" y="3"/>
                    <a:pt x="137" y="33"/>
                    <a:pt x="137" y="70"/>
                  </a:cubicBezTo>
                  <a:cubicBezTo>
                    <a:pt x="137" y="106"/>
                    <a:pt x="107" y="136"/>
                    <a:pt x="70" y="13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29" name="Freeform 273"/>
            <p:cNvSpPr>
              <a:spLocks noEditPoints="1"/>
            </p:cNvSpPr>
            <p:nvPr/>
          </p:nvSpPr>
          <p:spPr bwMode="auto">
            <a:xfrm>
              <a:off x="1269" y="2797"/>
              <a:ext cx="35" cy="39"/>
            </a:xfrm>
            <a:custGeom>
              <a:avLst/>
              <a:gdLst/>
              <a:ahLst/>
              <a:cxnLst>
                <a:cxn ang="0">
                  <a:pos x="15" y="12"/>
                </a:cxn>
                <a:cxn ang="0">
                  <a:pos x="14" y="3"/>
                </a:cxn>
                <a:cxn ang="0">
                  <a:pos x="13" y="0"/>
                </a:cxn>
                <a:cxn ang="0">
                  <a:pos x="9" y="1"/>
                </a:cxn>
                <a:cxn ang="0">
                  <a:pos x="3" y="3"/>
                </a:cxn>
                <a:cxn ang="0">
                  <a:pos x="0" y="4"/>
                </a:cxn>
                <a:cxn ang="0">
                  <a:pos x="1" y="7"/>
                </a:cxn>
                <a:cxn ang="0">
                  <a:pos x="2" y="12"/>
                </a:cxn>
                <a:cxn ang="0">
                  <a:pos x="2" y="16"/>
                </a:cxn>
                <a:cxn ang="0">
                  <a:pos x="6" y="16"/>
                </a:cxn>
                <a:cxn ang="0">
                  <a:pos x="12" y="15"/>
                </a:cxn>
                <a:cxn ang="0">
                  <a:pos x="15" y="15"/>
                </a:cxn>
                <a:cxn ang="0">
                  <a:pos x="15" y="12"/>
                </a:cxn>
                <a:cxn ang="0">
                  <a:pos x="6" y="12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1" y="12"/>
                </a:cxn>
                <a:cxn ang="0">
                  <a:pos x="6" y="12"/>
                </a:cxn>
              </a:cxnLst>
              <a:rect l="0" t="0" r="r" b="b"/>
              <a:pathLst>
                <a:path w="15" h="16">
                  <a:moveTo>
                    <a:pt x="15" y="12"/>
                  </a:moveTo>
                  <a:cubicBezTo>
                    <a:pt x="15" y="10"/>
                    <a:pt x="15" y="7"/>
                    <a:pt x="14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9"/>
                    <a:pt x="2" y="11"/>
                    <a:pt x="2" y="12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15" y="12"/>
                  </a:lnTo>
                  <a:close/>
                  <a:moveTo>
                    <a:pt x="6" y="12"/>
                  </a:moveTo>
                  <a:cubicBezTo>
                    <a:pt x="5" y="10"/>
                    <a:pt x="5" y="8"/>
                    <a:pt x="5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7"/>
                    <a:pt x="11" y="9"/>
                    <a:pt x="11" y="12"/>
                  </a:cubicBezTo>
                  <a:lnTo>
                    <a:pt x="6" y="1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0" name="Freeform 274"/>
            <p:cNvSpPr>
              <a:spLocks noEditPoints="1"/>
            </p:cNvSpPr>
            <p:nvPr/>
          </p:nvSpPr>
          <p:spPr bwMode="auto">
            <a:xfrm>
              <a:off x="1249" y="2749"/>
              <a:ext cx="43" cy="46"/>
            </a:xfrm>
            <a:custGeom>
              <a:avLst/>
              <a:gdLst/>
              <a:ahLst/>
              <a:cxnLst>
                <a:cxn ang="0">
                  <a:pos x="15" y="15"/>
                </a:cxn>
                <a:cxn ang="0">
                  <a:pos x="18" y="13"/>
                </a:cxn>
                <a:cxn ang="0">
                  <a:pos x="17" y="10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3" y="6"/>
                </a:cxn>
                <a:cxn ang="0">
                  <a:pos x="0" y="8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6" y="19"/>
                </a:cxn>
                <a:cxn ang="0">
                  <a:pos x="10" y="17"/>
                </a:cxn>
                <a:cxn ang="0">
                  <a:pos x="15" y="15"/>
                </a:cxn>
                <a:cxn ang="0">
                  <a:pos x="5" y="9"/>
                </a:cxn>
                <a:cxn ang="0">
                  <a:pos x="10" y="6"/>
                </a:cxn>
                <a:cxn ang="0">
                  <a:pos x="13" y="12"/>
                </a:cxn>
                <a:cxn ang="0">
                  <a:pos x="8" y="14"/>
                </a:cxn>
                <a:cxn ang="0">
                  <a:pos x="5" y="9"/>
                </a:cxn>
              </a:cxnLst>
              <a:rect l="0" t="0" r="r" b="b"/>
              <a:pathLst>
                <a:path w="18" h="19">
                  <a:moveTo>
                    <a:pt x="15" y="15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5" y="8"/>
                    <a:pt x="14" y="5"/>
                    <a:pt x="12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4"/>
                    <a:pt x="5" y="15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5" y="15"/>
                  </a:lnTo>
                  <a:close/>
                  <a:moveTo>
                    <a:pt x="5" y="9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1" y="7"/>
                    <a:pt x="12" y="9"/>
                    <a:pt x="13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2"/>
                    <a:pt x="7" y="10"/>
                    <a:pt x="5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1" name="Freeform 275"/>
            <p:cNvSpPr>
              <a:spLocks noEditPoints="1"/>
            </p:cNvSpPr>
            <p:nvPr/>
          </p:nvSpPr>
          <p:spPr bwMode="auto">
            <a:xfrm>
              <a:off x="1221" y="2718"/>
              <a:ext cx="43" cy="43"/>
            </a:xfrm>
            <a:custGeom>
              <a:avLst/>
              <a:gdLst/>
              <a:ahLst/>
              <a:cxnLst>
                <a:cxn ang="0">
                  <a:pos x="18" y="9"/>
                </a:cxn>
                <a:cxn ang="0">
                  <a:pos x="15" y="7"/>
                </a:cxn>
                <a:cxn ang="0">
                  <a:pos x="9" y="2"/>
                </a:cxn>
                <a:cxn ang="0">
                  <a:pos x="6" y="0"/>
                </a:cxn>
                <a:cxn ang="0">
                  <a:pos x="4" y="3"/>
                </a:cxn>
                <a:cxn ang="0">
                  <a:pos x="2" y="7"/>
                </a:cxn>
                <a:cxn ang="0">
                  <a:pos x="0" y="10"/>
                </a:cxn>
                <a:cxn ang="0">
                  <a:pos x="3" y="12"/>
                </a:cxn>
                <a:cxn ang="0">
                  <a:pos x="7" y="15"/>
                </a:cxn>
                <a:cxn ang="0">
                  <a:pos x="10" y="18"/>
                </a:cxn>
                <a:cxn ang="0">
                  <a:pos x="12" y="15"/>
                </a:cxn>
                <a:cxn ang="0">
                  <a:pos x="15" y="12"/>
                </a:cxn>
                <a:cxn ang="0">
                  <a:pos x="18" y="9"/>
                </a:cxn>
                <a:cxn ang="0">
                  <a:pos x="9" y="13"/>
                </a:cxn>
                <a:cxn ang="0">
                  <a:pos x="5" y="9"/>
                </a:cxn>
                <a:cxn ang="0">
                  <a:pos x="7" y="5"/>
                </a:cxn>
                <a:cxn ang="0">
                  <a:pos x="7" y="5"/>
                </a:cxn>
                <a:cxn ang="0">
                  <a:pos x="9" y="6"/>
                </a:cxn>
                <a:cxn ang="0">
                  <a:pos x="13" y="9"/>
                </a:cxn>
                <a:cxn ang="0">
                  <a:pos x="9" y="13"/>
                </a:cxn>
              </a:cxnLst>
              <a:rect l="0" t="0" r="r" b="b"/>
              <a:pathLst>
                <a:path w="18" h="18">
                  <a:moveTo>
                    <a:pt x="18" y="9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4" y="5"/>
                    <a:pt x="11" y="3"/>
                    <a:pt x="9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6" y="15"/>
                    <a:pt x="7" y="15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5" y="12"/>
                    <a:pt x="15" y="12"/>
                    <a:pt x="15" y="12"/>
                  </a:cubicBezTo>
                  <a:lnTo>
                    <a:pt x="18" y="9"/>
                  </a:lnTo>
                  <a:close/>
                  <a:moveTo>
                    <a:pt x="9" y="13"/>
                  </a:moveTo>
                  <a:cubicBezTo>
                    <a:pt x="8" y="12"/>
                    <a:pt x="6" y="10"/>
                    <a:pt x="5" y="9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6"/>
                    <a:pt x="9" y="6"/>
                  </a:cubicBezTo>
                  <a:cubicBezTo>
                    <a:pt x="10" y="7"/>
                    <a:pt x="12" y="8"/>
                    <a:pt x="13" y="9"/>
                  </a:cubicBezTo>
                  <a:lnTo>
                    <a:pt x="9" y="1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2" name="Freeform 276"/>
            <p:cNvSpPr>
              <a:spLocks noEditPoints="1"/>
            </p:cNvSpPr>
            <p:nvPr/>
          </p:nvSpPr>
          <p:spPr bwMode="auto">
            <a:xfrm>
              <a:off x="1146" y="2699"/>
              <a:ext cx="36" cy="31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3" y="13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1" y="12"/>
                </a:cxn>
                <a:cxn ang="0">
                  <a:pos x="15" y="12"/>
                </a:cxn>
                <a:cxn ang="0">
                  <a:pos x="15" y="8"/>
                </a:cxn>
                <a:cxn ang="0">
                  <a:pos x="15" y="4"/>
                </a:cxn>
                <a:cxn ang="0">
                  <a:pos x="15" y="1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4" y="1"/>
                </a:cxn>
                <a:cxn ang="0">
                  <a:pos x="0" y="2"/>
                </a:cxn>
                <a:cxn ang="0">
                  <a:pos x="1" y="5"/>
                </a:cxn>
                <a:cxn ang="0">
                  <a:pos x="2" y="9"/>
                </a:cxn>
                <a:cxn ang="0">
                  <a:pos x="6" y="4"/>
                </a:cxn>
                <a:cxn ang="0">
                  <a:pos x="7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5" y="8"/>
                </a:cxn>
                <a:cxn ang="0">
                  <a:pos x="5" y="4"/>
                </a:cxn>
                <a:cxn ang="0">
                  <a:pos x="6" y="4"/>
                </a:cxn>
              </a:cxnLst>
              <a:rect l="0" t="0" r="r" b="b"/>
              <a:pathLst>
                <a:path w="15" h="13">
                  <a:moveTo>
                    <a:pt x="2" y="9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9" y="11"/>
                    <a:pt x="10" y="11"/>
                  </a:cubicBezTo>
                  <a:cubicBezTo>
                    <a:pt x="10" y="11"/>
                    <a:pt x="11" y="11"/>
                    <a:pt x="11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8" y="0"/>
                    <a:pt x="6" y="0"/>
                    <a:pt x="4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5"/>
                    <a:pt x="1" y="5"/>
                    <a:pt x="1" y="5"/>
                  </a:cubicBezTo>
                  <a:lnTo>
                    <a:pt x="2" y="9"/>
                  </a:lnTo>
                  <a:close/>
                  <a:moveTo>
                    <a:pt x="6" y="4"/>
                  </a:move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3" name="Freeform 277"/>
            <p:cNvSpPr>
              <a:spLocks noEditPoints="1"/>
            </p:cNvSpPr>
            <p:nvPr/>
          </p:nvSpPr>
          <p:spPr bwMode="auto">
            <a:xfrm>
              <a:off x="1101" y="2706"/>
              <a:ext cx="40" cy="39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9" y="14"/>
                </a:cxn>
                <a:cxn ang="0">
                  <a:pos x="14" y="12"/>
                </a:cxn>
                <a:cxn ang="0">
                  <a:pos x="17" y="11"/>
                </a:cxn>
                <a:cxn ang="0">
                  <a:pos x="16" y="7"/>
                </a:cxn>
                <a:cxn ang="0">
                  <a:pos x="15" y="4"/>
                </a:cxn>
                <a:cxn ang="0">
                  <a:pos x="14" y="0"/>
                </a:cxn>
                <a:cxn ang="0">
                  <a:pos x="10" y="1"/>
                </a:cxn>
                <a:cxn ang="0">
                  <a:pos x="3" y="5"/>
                </a:cxn>
                <a:cxn ang="0">
                  <a:pos x="0" y="7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6" y="16"/>
                </a:cxn>
                <a:cxn ang="0">
                  <a:pos x="8" y="6"/>
                </a:cxn>
                <a:cxn ang="0">
                  <a:pos x="12" y="5"/>
                </a:cxn>
                <a:cxn ang="0">
                  <a:pos x="13" y="8"/>
                </a:cxn>
                <a:cxn ang="0">
                  <a:pos x="8" y="10"/>
                </a:cxn>
                <a:cxn ang="0">
                  <a:pos x="7" y="11"/>
                </a:cxn>
                <a:cxn ang="0">
                  <a:pos x="5" y="8"/>
                </a:cxn>
                <a:cxn ang="0">
                  <a:pos x="8" y="6"/>
                </a:cxn>
              </a:cxnLst>
              <a:rect l="0" t="0" r="r" b="b"/>
              <a:pathLst>
                <a:path w="17" h="16">
                  <a:moveTo>
                    <a:pt x="6" y="16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10" y="13"/>
                    <a:pt x="12" y="12"/>
                    <a:pt x="14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2"/>
                    <a:pt x="6" y="3"/>
                    <a:pt x="3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" y="12"/>
                    <a:pt x="4" y="12"/>
                    <a:pt x="4" y="12"/>
                  </a:cubicBezTo>
                  <a:lnTo>
                    <a:pt x="6" y="16"/>
                  </a:lnTo>
                  <a:close/>
                  <a:moveTo>
                    <a:pt x="8" y="6"/>
                  </a:moveTo>
                  <a:cubicBezTo>
                    <a:pt x="9" y="6"/>
                    <a:pt x="10" y="5"/>
                    <a:pt x="12" y="5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1" y="9"/>
                    <a:pt x="10" y="9"/>
                    <a:pt x="8" y="10"/>
                  </a:cubicBezTo>
                  <a:cubicBezTo>
                    <a:pt x="8" y="10"/>
                    <a:pt x="8" y="10"/>
                    <a:pt x="7" y="11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7"/>
                    <a:pt x="7" y="7"/>
                    <a:pt x="8" y="6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4" name="Freeform 278"/>
            <p:cNvSpPr>
              <a:spLocks noEditPoints="1"/>
            </p:cNvSpPr>
            <p:nvPr/>
          </p:nvSpPr>
          <p:spPr bwMode="auto">
            <a:xfrm>
              <a:off x="1046" y="2761"/>
              <a:ext cx="35" cy="39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6" y="0"/>
                </a:cxn>
                <a:cxn ang="0">
                  <a:pos x="4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3" y="14"/>
                </a:cxn>
                <a:cxn ang="0">
                  <a:pos x="6" y="15"/>
                </a:cxn>
                <a:cxn ang="0">
                  <a:pos x="10" y="16"/>
                </a:cxn>
                <a:cxn ang="0">
                  <a:pos x="11" y="13"/>
                </a:cxn>
                <a:cxn ang="0">
                  <a:pos x="13" y="9"/>
                </a:cxn>
                <a:cxn ang="0">
                  <a:pos x="15" y="5"/>
                </a:cxn>
                <a:cxn ang="0">
                  <a:pos x="12" y="4"/>
                </a:cxn>
                <a:cxn ang="0">
                  <a:pos x="9" y="2"/>
                </a:cxn>
                <a:cxn ang="0">
                  <a:pos x="7" y="11"/>
                </a:cxn>
                <a:cxn ang="0">
                  <a:pos x="5" y="10"/>
                </a:cxn>
                <a:cxn ang="0">
                  <a:pos x="7" y="5"/>
                </a:cxn>
                <a:cxn ang="0">
                  <a:pos x="10" y="7"/>
                </a:cxn>
                <a:cxn ang="0">
                  <a:pos x="7" y="11"/>
                </a:cxn>
              </a:cxnLst>
              <a:rect l="0" t="0" r="r" b="b"/>
              <a:pathLst>
                <a:path w="15" h="16">
                  <a:moveTo>
                    <a:pt x="9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5"/>
                    <a:pt x="2" y="7"/>
                    <a:pt x="1" y="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1"/>
                    <a:pt x="12" y="10"/>
                    <a:pt x="13" y="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4"/>
                    <a:pt x="12" y="4"/>
                    <a:pt x="12" y="4"/>
                  </a:cubicBezTo>
                  <a:lnTo>
                    <a:pt x="9" y="2"/>
                  </a:lnTo>
                  <a:close/>
                  <a:moveTo>
                    <a:pt x="7" y="11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8"/>
                    <a:pt x="6" y="7"/>
                    <a:pt x="7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8"/>
                    <a:pt x="8" y="10"/>
                    <a:pt x="7" y="1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5" name="Freeform 279"/>
            <p:cNvSpPr>
              <a:spLocks noEditPoints="1"/>
            </p:cNvSpPr>
            <p:nvPr/>
          </p:nvSpPr>
          <p:spPr bwMode="auto">
            <a:xfrm>
              <a:off x="1038" y="2807"/>
              <a:ext cx="29" cy="2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" y="0"/>
                </a:cxn>
                <a:cxn ang="0">
                  <a:pos x="1" y="3"/>
                </a:cxn>
                <a:cxn ang="0">
                  <a:pos x="1" y="7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10" y="12"/>
                </a:cxn>
                <a:cxn ang="0">
                  <a:pos x="11" y="9"/>
                </a:cxn>
                <a:cxn ang="0">
                  <a:pos x="11" y="7"/>
                </a:cxn>
                <a:cxn ang="0">
                  <a:pos x="11" y="4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5" y="3"/>
                </a:cxn>
                <a:cxn ang="0">
                  <a:pos x="7" y="4"/>
                </a:cxn>
                <a:cxn ang="0">
                  <a:pos x="7" y="9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5"/>
                    <a:pt x="1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7"/>
                  </a:cubicBezTo>
                  <a:cubicBezTo>
                    <a:pt x="11" y="6"/>
                    <a:pt x="11" y="5"/>
                    <a:pt x="11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5" y="0"/>
                  </a:lnTo>
                  <a:close/>
                  <a:moveTo>
                    <a:pt x="7" y="9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4" y="7"/>
                    <a:pt x="4" y="5"/>
                    <a:pt x="5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7"/>
                    <a:pt x="7" y="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6" name="Freeform 280"/>
            <p:cNvSpPr>
              <a:spLocks noEditPoints="1"/>
            </p:cNvSpPr>
            <p:nvPr/>
          </p:nvSpPr>
          <p:spPr bwMode="auto">
            <a:xfrm>
              <a:off x="1067" y="2728"/>
              <a:ext cx="38" cy="41"/>
            </a:xfrm>
            <a:custGeom>
              <a:avLst/>
              <a:gdLst/>
              <a:ahLst/>
              <a:cxnLst>
                <a:cxn ang="0">
                  <a:pos x="12" y="3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5"/>
                </a:cxn>
                <a:cxn ang="0">
                  <a:pos x="8" y="17"/>
                </a:cxn>
                <a:cxn ang="0">
                  <a:pos x="10" y="14"/>
                </a:cxn>
                <a:cxn ang="0">
                  <a:pos x="13" y="11"/>
                </a:cxn>
                <a:cxn ang="0">
                  <a:pos x="16" y="9"/>
                </a:cxn>
                <a:cxn ang="0">
                  <a:pos x="14" y="6"/>
                </a:cxn>
                <a:cxn ang="0">
                  <a:pos x="12" y="3"/>
                </a:cxn>
                <a:cxn ang="0">
                  <a:pos x="7" y="12"/>
                </a:cxn>
                <a:cxn ang="0">
                  <a:pos x="5" y="10"/>
                </a:cxn>
                <a:cxn ang="0">
                  <a:pos x="9" y="6"/>
                </a:cxn>
                <a:cxn ang="0">
                  <a:pos x="11" y="8"/>
                </a:cxn>
                <a:cxn ang="0">
                  <a:pos x="7" y="12"/>
                </a:cxn>
              </a:cxnLst>
              <a:rect l="0" t="0" r="r" b="b"/>
              <a:pathLst>
                <a:path w="16" h="17">
                  <a:moveTo>
                    <a:pt x="12" y="3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4"/>
                    <a:pt x="3" y="6"/>
                    <a:pt x="2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3"/>
                    <a:pt x="12" y="12"/>
                    <a:pt x="13" y="1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6"/>
                    <a:pt x="14" y="6"/>
                    <a:pt x="14" y="6"/>
                  </a:cubicBezTo>
                  <a:lnTo>
                    <a:pt x="12" y="3"/>
                  </a:lnTo>
                  <a:close/>
                  <a:moveTo>
                    <a:pt x="7" y="12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8"/>
                    <a:pt x="7" y="7"/>
                    <a:pt x="9" y="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8" y="10"/>
                    <a:pt x="7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37" name="Freeform 281"/>
            <p:cNvSpPr>
              <a:spLocks noEditPoints="1"/>
            </p:cNvSpPr>
            <p:nvPr/>
          </p:nvSpPr>
          <p:spPr bwMode="auto">
            <a:xfrm>
              <a:off x="1108" y="2687"/>
              <a:ext cx="122" cy="214"/>
            </a:xfrm>
            <a:custGeom>
              <a:avLst/>
              <a:gdLst/>
              <a:ahLst/>
              <a:cxnLst>
                <a:cxn ang="0">
                  <a:pos x="38" y="42"/>
                </a:cxn>
                <a:cxn ang="0">
                  <a:pos x="48" y="3"/>
                </a:cxn>
                <a:cxn ang="0">
                  <a:pos x="47" y="2"/>
                </a:cxn>
                <a:cxn ang="0">
                  <a:pos x="47" y="2"/>
                </a:cxn>
                <a:cxn ang="0">
                  <a:pos x="43" y="1"/>
                </a:cxn>
                <a:cxn ang="0">
                  <a:pos x="43" y="1"/>
                </a:cxn>
                <a:cxn ang="0">
                  <a:pos x="41" y="0"/>
                </a:cxn>
                <a:cxn ang="0">
                  <a:pos x="26" y="38"/>
                </a:cxn>
                <a:cxn ang="0">
                  <a:pos x="25" y="38"/>
                </a:cxn>
                <a:cxn ang="0">
                  <a:pos x="7" y="46"/>
                </a:cxn>
                <a:cxn ang="0">
                  <a:pos x="0" y="65"/>
                </a:cxn>
                <a:cxn ang="0">
                  <a:pos x="26" y="89"/>
                </a:cxn>
                <a:cxn ang="0">
                  <a:pos x="26" y="89"/>
                </a:cxn>
                <a:cxn ang="0">
                  <a:pos x="44" y="81"/>
                </a:cxn>
                <a:cxn ang="0">
                  <a:pos x="51" y="63"/>
                </a:cxn>
                <a:cxn ang="0">
                  <a:pos x="38" y="42"/>
                </a:cxn>
                <a:cxn ang="0">
                  <a:pos x="43" y="5"/>
                </a:cxn>
                <a:cxn ang="0">
                  <a:pos x="44" y="5"/>
                </a:cxn>
                <a:cxn ang="0">
                  <a:pos x="35" y="40"/>
                </a:cxn>
                <a:cxn ang="0">
                  <a:pos x="35" y="40"/>
                </a:cxn>
                <a:cxn ang="0">
                  <a:pos x="34" y="42"/>
                </a:cxn>
                <a:cxn ang="0">
                  <a:pos x="28" y="67"/>
                </a:cxn>
                <a:cxn ang="0">
                  <a:pos x="22" y="76"/>
                </a:cxn>
                <a:cxn ang="0">
                  <a:pos x="20" y="75"/>
                </a:cxn>
                <a:cxn ang="0">
                  <a:pos x="20" y="64"/>
                </a:cxn>
                <a:cxn ang="0">
                  <a:pos x="30" y="39"/>
                </a:cxn>
                <a:cxn ang="0">
                  <a:pos x="30" y="39"/>
                </a:cxn>
                <a:cxn ang="0">
                  <a:pos x="30" y="39"/>
                </a:cxn>
                <a:cxn ang="0">
                  <a:pos x="43" y="5"/>
                </a:cxn>
                <a:cxn ang="0">
                  <a:pos x="41" y="78"/>
                </a:cxn>
                <a:cxn ang="0">
                  <a:pos x="26" y="85"/>
                </a:cxn>
                <a:cxn ang="0">
                  <a:pos x="4" y="64"/>
                </a:cxn>
                <a:cxn ang="0">
                  <a:pos x="10" y="49"/>
                </a:cxn>
                <a:cxn ang="0">
                  <a:pos x="25" y="42"/>
                </a:cxn>
                <a:cxn ang="0">
                  <a:pos x="16" y="63"/>
                </a:cxn>
                <a:cxn ang="0">
                  <a:pos x="16" y="64"/>
                </a:cxn>
                <a:cxn ang="0">
                  <a:pos x="16" y="78"/>
                </a:cxn>
                <a:cxn ang="0">
                  <a:pos x="18" y="79"/>
                </a:cxn>
                <a:cxn ang="0">
                  <a:pos x="22" y="80"/>
                </a:cxn>
                <a:cxn ang="0">
                  <a:pos x="22" y="80"/>
                </a:cxn>
                <a:cxn ang="0">
                  <a:pos x="23" y="80"/>
                </a:cxn>
                <a:cxn ang="0">
                  <a:pos x="31" y="69"/>
                </a:cxn>
                <a:cxn ang="0">
                  <a:pos x="31" y="68"/>
                </a:cxn>
                <a:cxn ang="0">
                  <a:pos x="37" y="45"/>
                </a:cxn>
                <a:cxn ang="0">
                  <a:pos x="47" y="63"/>
                </a:cxn>
                <a:cxn ang="0">
                  <a:pos x="41" y="78"/>
                </a:cxn>
              </a:cxnLst>
              <a:rect l="0" t="0" r="r" b="b"/>
              <a:pathLst>
                <a:path w="51" h="89">
                  <a:moveTo>
                    <a:pt x="38" y="42"/>
                  </a:moveTo>
                  <a:cubicBezTo>
                    <a:pt x="48" y="3"/>
                    <a:pt x="48" y="3"/>
                    <a:pt x="48" y="3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cubicBezTo>
                    <a:pt x="18" y="39"/>
                    <a:pt x="12" y="42"/>
                    <a:pt x="7" y="46"/>
                  </a:cubicBezTo>
                  <a:cubicBezTo>
                    <a:pt x="2" y="51"/>
                    <a:pt x="0" y="58"/>
                    <a:pt x="0" y="65"/>
                  </a:cubicBezTo>
                  <a:cubicBezTo>
                    <a:pt x="1" y="78"/>
                    <a:pt x="12" y="89"/>
                    <a:pt x="26" y="8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33" y="89"/>
                    <a:pt x="39" y="86"/>
                    <a:pt x="44" y="81"/>
                  </a:cubicBezTo>
                  <a:cubicBezTo>
                    <a:pt x="49" y="76"/>
                    <a:pt x="51" y="70"/>
                    <a:pt x="51" y="63"/>
                  </a:cubicBezTo>
                  <a:cubicBezTo>
                    <a:pt x="51" y="54"/>
                    <a:pt x="45" y="46"/>
                    <a:pt x="38" y="42"/>
                  </a:cubicBezTo>
                  <a:close/>
                  <a:moveTo>
                    <a:pt x="43" y="5"/>
                  </a:moveTo>
                  <a:cubicBezTo>
                    <a:pt x="44" y="5"/>
                    <a:pt x="44" y="5"/>
                    <a:pt x="44" y="5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lnTo>
                    <a:pt x="43" y="5"/>
                  </a:lnTo>
                  <a:close/>
                  <a:moveTo>
                    <a:pt x="41" y="78"/>
                  </a:moveTo>
                  <a:cubicBezTo>
                    <a:pt x="37" y="83"/>
                    <a:pt x="32" y="85"/>
                    <a:pt x="26" y="85"/>
                  </a:cubicBezTo>
                  <a:cubicBezTo>
                    <a:pt x="14" y="86"/>
                    <a:pt x="4" y="76"/>
                    <a:pt x="4" y="64"/>
                  </a:cubicBezTo>
                  <a:cubicBezTo>
                    <a:pt x="4" y="59"/>
                    <a:pt x="6" y="53"/>
                    <a:pt x="10" y="49"/>
                  </a:cubicBezTo>
                  <a:cubicBezTo>
                    <a:pt x="14" y="45"/>
                    <a:pt x="19" y="42"/>
                    <a:pt x="25" y="4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43" y="49"/>
                    <a:pt x="47" y="55"/>
                    <a:pt x="47" y="63"/>
                  </a:cubicBezTo>
                  <a:cubicBezTo>
                    <a:pt x="47" y="69"/>
                    <a:pt x="45" y="74"/>
                    <a:pt x="41" y="7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40" name="Group 284"/>
          <p:cNvGrpSpPr>
            <a:grpSpLocks noChangeAspect="1"/>
          </p:cNvGrpSpPr>
          <p:nvPr/>
        </p:nvGrpSpPr>
        <p:grpSpPr bwMode="auto">
          <a:xfrm>
            <a:off x="2531269" y="4099850"/>
            <a:ext cx="844550" cy="842963"/>
            <a:chOff x="1595" y="2568"/>
            <a:chExt cx="532" cy="531"/>
          </a:xfrm>
        </p:grpSpPr>
        <p:sp>
          <p:nvSpPr>
            <p:cNvPr id="45341" name="Oval 285"/>
            <p:cNvSpPr>
              <a:spLocks noChangeArrowheads="1"/>
            </p:cNvSpPr>
            <p:nvPr/>
          </p:nvSpPr>
          <p:spPr bwMode="auto">
            <a:xfrm>
              <a:off x="1595" y="2568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42" name="Freeform 286"/>
            <p:cNvSpPr>
              <a:spLocks noEditPoints="1"/>
            </p:cNvSpPr>
            <p:nvPr/>
          </p:nvSpPr>
          <p:spPr bwMode="auto">
            <a:xfrm>
              <a:off x="1619" y="2592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3" name="Freeform 287"/>
            <p:cNvSpPr>
              <a:spLocks noEditPoints="1"/>
            </p:cNvSpPr>
            <p:nvPr/>
          </p:nvSpPr>
          <p:spPr bwMode="auto">
            <a:xfrm>
              <a:off x="1737" y="2719"/>
              <a:ext cx="249" cy="248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0" y="52"/>
                </a:cxn>
                <a:cxn ang="0">
                  <a:pos x="52" y="104"/>
                </a:cxn>
                <a:cxn ang="0">
                  <a:pos x="104" y="52"/>
                </a:cxn>
                <a:cxn ang="0">
                  <a:pos x="52" y="0"/>
                </a:cxn>
                <a:cxn ang="0">
                  <a:pos x="53" y="101"/>
                </a:cxn>
                <a:cxn ang="0">
                  <a:pos x="53" y="96"/>
                </a:cxn>
                <a:cxn ang="0">
                  <a:pos x="50" y="96"/>
                </a:cxn>
                <a:cxn ang="0">
                  <a:pos x="50" y="101"/>
                </a:cxn>
                <a:cxn ang="0">
                  <a:pos x="16" y="84"/>
                </a:cxn>
                <a:cxn ang="0">
                  <a:pos x="19" y="82"/>
                </a:cxn>
                <a:cxn ang="0">
                  <a:pos x="17" y="79"/>
                </a:cxn>
                <a:cxn ang="0">
                  <a:pos x="13" y="82"/>
                </a:cxn>
                <a:cxn ang="0">
                  <a:pos x="4" y="54"/>
                </a:cxn>
                <a:cxn ang="0">
                  <a:pos x="8" y="54"/>
                </a:cxn>
                <a:cxn ang="0">
                  <a:pos x="8" y="51"/>
                </a:cxn>
                <a:cxn ang="0">
                  <a:pos x="4" y="51"/>
                </a:cxn>
                <a:cxn ang="0">
                  <a:pos x="15" y="21"/>
                </a:cxn>
                <a:cxn ang="0">
                  <a:pos x="19" y="24"/>
                </a:cxn>
                <a:cxn ang="0">
                  <a:pos x="21" y="21"/>
                </a:cxn>
                <a:cxn ang="0">
                  <a:pos x="17" y="19"/>
                </a:cxn>
                <a:cxn ang="0">
                  <a:pos x="52" y="4"/>
                </a:cxn>
                <a:cxn ang="0">
                  <a:pos x="86" y="18"/>
                </a:cxn>
                <a:cxn ang="0">
                  <a:pos x="82" y="21"/>
                </a:cxn>
                <a:cxn ang="0">
                  <a:pos x="84" y="24"/>
                </a:cxn>
                <a:cxn ang="0">
                  <a:pos x="88" y="21"/>
                </a:cxn>
                <a:cxn ang="0">
                  <a:pos x="100" y="51"/>
                </a:cxn>
                <a:cxn ang="0">
                  <a:pos x="95" y="51"/>
                </a:cxn>
                <a:cxn ang="0">
                  <a:pos x="95" y="54"/>
                </a:cxn>
                <a:cxn ang="0">
                  <a:pos x="100" y="54"/>
                </a:cxn>
                <a:cxn ang="0">
                  <a:pos x="90" y="82"/>
                </a:cxn>
                <a:cxn ang="0">
                  <a:pos x="85" y="78"/>
                </a:cxn>
                <a:cxn ang="0">
                  <a:pos x="83" y="81"/>
                </a:cxn>
                <a:cxn ang="0">
                  <a:pos x="87" y="85"/>
                </a:cxn>
                <a:cxn ang="0">
                  <a:pos x="53" y="101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4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0" y="104"/>
                    <a:pt x="104" y="81"/>
                    <a:pt x="104" y="52"/>
                  </a:cubicBezTo>
                  <a:cubicBezTo>
                    <a:pt x="104" y="24"/>
                    <a:pt x="80" y="0"/>
                    <a:pt x="52" y="0"/>
                  </a:cubicBezTo>
                  <a:close/>
                  <a:moveTo>
                    <a:pt x="53" y="101"/>
                  </a:moveTo>
                  <a:cubicBezTo>
                    <a:pt x="53" y="96"/>
                    <a:pt x="53" y="96"/>
                    <a:pt x="53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36" y="100"/>
                    <a:pt x="24" y="94"/>
                    <a:pt x="16" y="84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8" y="74"/>
                    <a:pt x="4" y="64"/>
                    <a:pt x="4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39"/>
                    <a:pt x="8" y="29"/>
                    <a:pt x="15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6" y="10"/>
                    <a:pt x="38" y="4"/>
                    <a:pt x="52" y="4"/>
                  </a:cubicBezTo>
                  <a:cubicBezTo>
                    <a:pt x="65" y="4"/>
                    <a:pt x="77" y="10"/>
                    <a:pt x="86" y="18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95" y="29"/>
                    <a:pt x="99" y="39"/>
                    <a:pt x="100" y="51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65"/>
                    <a:pt x="96" y="74"/>
                    <a:pt x="90" y="82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3" y="81"/>
                    <a:pt x="83" y="81"/>
                    <a:pt x="83" y="81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79" y="94"/>
                    <a:pt x="67" y="100"/>
                    <a:pt x="53" y="1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4" name="Freeform 288"/>
            <p:cNvSpPr>
              <a:spLocks noEditPoints="1"/>
            </p:cNvSpPr>
            <p:nvPr/>
          </p:nvSpPr>
          <p:spPr bwMode="auto">
            <a:xfrm>
              <a:off x="1847" y="2745"/>
              <a:ext cx="62" cy="153"/>
            </a:xfrm>
            <a:custGeom>
              <a:avLst/>
              <a:gdLst/>
              <a:ahLst/>
              <a:cxnLst>
                <a:cxn ang="0">
                  <a:pos x="11" y="42"/>
                </a:cxn>
                <a:cxn ang="0">
                  <a:pos x="7" y="36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4" y="36"/>
                </a:cxn>
                <a:cxn ang="0">
                  <a:pos x="0" y="42"/>
                </a:cxn>
                <a:cxn ang="0">
                  <a:pos x="6" y="48"/>
                </a:cxn>
                <a:cxn ang="0">
                  <a:pos x="7" y="47"/>
                </a:cxn>
                <a:cxn ang="0">
                  <a:pos x="24" y="64"/>
                </a:cxn>
                <a:cxn ang="0">
                  <a:pos x="26" y="61"/>
                </a:cxn>
                <a:cxn ang="0">
                  <a:pos x="10" y="45"/>
                </a:cxn>
                <a:cxn ang="0">
                  <a:pos x="11" y="42"/>
                </a:cxn>
                <a:cxn ang="0">
                  <a:pos x="3" y="42"/>
                </a:cxn>
                <a:cxn ang="0">
                  <a:pos x="6" y="40"/>
                </a:cxn>
                <a:cxn ang="0">
                  <a:pos x="8" y="42"/>
                </a:cxn>
                <a:cxn ang="0">
                  <a:pos x="6" y="44"/>
                </a:cxn>
                <a:cxn ang="0">
                  <a:pos x="3" y="42"/>
                </a:cxn>
              </a:cxnLst>
              <a:rect l="0" t="0" r="r" b="b"/>
              <a:pathLst>
                <a:path w="26" h="64">
                  <a:moveTo>
                    <a:pt x="11" y="42"/>
                  </a:moveTo>
                  <a:cubicBezTo>
                    <a:pt x="11" y="39"/>
                    <a:pt x="10" y="37"/>
                    <a:pt x="7" y="3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" y="37"/>
                    <a:pt x="0" y="39"/>
                    <a:pt x="0" y="42"/>
                  </a:cubicBezTo>
                  <a:cubicBezTo>
                    <a:pt x="0" y="45"/>
                    <a:pt x="2" y="48"/>
                    <a:pt x="6" y="48"/>
                  </a:cubicBezTo>
                  <a:cubicBezTo>
                    <a:pt x="6" y="48"/>
                    <a:pt x="7" y="47"/>
                    <a:pt x="7" y="47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4"/>
                    <a:pt x="11" y="43"/>
                    <a:pt x="11" y="42"/>
                  </a:cubicBezTo>
                  <a:close/>
                  <a:moveTo>
                    <a:pt x="3" y="42"/>
                  </a:moveTo>
                  <a:cubicBezTo>
                    <a:pt x="3" y="41"/>
                    <a:pt x="4" y="40"/>
                    <a:pt x="6" y="40"/>
                  </a:cubicBezTo>
                  <a:cubicBezTo>
                    <a:pt x="7" y="40"/>
                    <a:pt x="8" y="41"/>
                    <a:pt x="8" y="42"/>
                  </a:cubicBezTo>
                  <a:cubicBezTo>
                    <a:pt x="8" y="43"/>
                    <a:pt x="7" y="44"/>
                    <a:pt x="6" y="44"/>
                  </a:cubicBezTo>
                  <a:cubicBezTo>
                    <a:pt x="4" y="44"/>
                    <a:pt x="3" y="43"/>
                    <a:pt x="3" y="4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45" name="Freeform 289"/>
            <p:cNvSpPr>
              <a:spLocks noEditPoints="1"/>
            </p:cNvSpPr>
            <p:nvPr/>
          </p:nvSpPr>
          <p:spPr bwMode="auto">
            <a:xfrm>
              <a:off x="1708" y="2659"/>
              <a:ext cx="307" cy="340"/>
            </a:xfrm>
            <a:custGeom>
              <a:avLst/>
              <a:gdLst/>
              <a:ahLst/>
              <a:cxnLst>
                <a:cxn ang="0">
                  <a:pos x="105" y="29"/>
                </a:cxn>
                <a:cxn ang="0">
                  <a:pos x="107" y="24"/>
                </a:cxn>
                <a:cxn ang="0">
                  <a:pos x="105" y="17"/>
                </a:cxn>
                <a:cxn ang="0">
                  <a:pos x="99" y="13"/>
                </a:cxn>
                <a:cxn ang="0">
                  <a:pos x="96" y="13"/>
                </a:cxn>
                <a:cxn ang="0">
                  <a:pos x="92" y="15"/>
                </a:cxn>
                <a:cxn ang="0">
                  <a:pos x="90" y="19"/>
                </a:cxn>
                <a:cxn ang="0">
                  <a:pos x="73" y="14"/>
                </a:cxn>
                <a:cxn ang="0">
                  <a:pos x="73" y="13"/>
                </a:cxn>
                <a:cxn ang="0">
                  <a:pos x="78" y="13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55" y="0"/>
                </a:cxn>
                <a:cxn ang="0">
                  <a:pos x="50" y="5"/>
                </a:cxn>
                <a:cxn ang="0">
                  <a:pos x="50" y="13"/>
                </a:cxn>
                <a:cxn ang="0">
                  <a:pos x="54" y="13"/>
                </a:cxn>
                <a:cxn ang="0">
                  <a:pos x="54" y="14"/>
                </a:cxn>
                <a:cxn ang="0">
                  <a:pos x="38" y="19"/>
                </a:cxn>
                <a:cxn ang="0">
                  <a:pos x="36" y="15"/>
                </a:cxn>
                <a:cxn ang="0">
                  <a:pos x="31" y="13"/>
                </a:cxn>
                <a:cxn ang="0">
                  <a:pos x="28" y="13"/>
                </a:cxn>
                <a:cxn ang="0">
                  <a:pos x="22" y="17"/>
                </a:cxn>
                <a:cxn ang="0">
                  <a:pos x="20" y="24"/>
                </a:cxn>
                <a:cxn ang="0">
                  <a:pos x="23" y="29"/>
                </a:cxn>
                <a:cxn ang="0">
                  <a:pos x="0" y="78"/>
                </a:cxn>
                <a:cxn ang="0">
                  <a:pos x="64" y="142"/>
                </a:cxn>
                <a:cxn ang="0">
                  <a:pos x="128" y="78"/>
                </a:cxn>
                <a:cxn ang="0">
                  <a:pos x="105" y="29"/>
                </a:cxn>
                <a:cxn ang="0">
                  <a:pos x="64" y="138"/>
                </a:cxn>
                <a:cxn ang="0">
                  <a:pos x="3" y="78"/>
                </a:cxn>
                <a:cxn ang="0">
                  <a:pos x="26" y="30"/>
                </a:cxn>
                <a:cxn ang="0">
                  <a:pos x="27" y="30"/>
                </a:cxn>
                <a:cxn ang="0">
                  <a:pos x="23" y="23"/>
                </a:cxn>
                <a:cxn ang="0">
                  <a:pos x="24" y="20"/>
                </a:cxn>
                <a:cxn ang="0">
                  <a:pos x="30" y="17"/>
                </a:cxn>
                <a:cxn ang="0">
                  <a:pos x="31" y="16"/>
                </a:cxn>
                <a:cxn ang="0">
                  <a:pos x="33" y="17"/>
                </a:cxn>
                <a:cxn ang="0">
                  <a:pos x="36" y="24"/>
                </a:cxn>
                <a:cxn ang="0">
                  <a:pos x="38" y="23"/>
                </a:cxn>
                <a:cxn ang="0">
                  <a:pos x="56" y="18"/>
                </a:cxn>
                <a:cxn ang="0">
                  <a:pos x="58" y="18"/>
                </a:cxn>
                <a:cxn ang="0">
                  <a:pos x="58" y="9"/>
                </a:cxn>
                <a:cxn ang="0">
                  <a:pos x="53" y="9"/>
                </a:cxn>
                <a:cxn ang="0">
                  <a:pos x="53" y="5"/>
                </a:cxn>
                <a:cxn ang="0">
                  <a:pos x="55" y="4"/>
                </a:cxn>
                <a:cxn ang="0">
                  <a:pos x="73" y="4"/>
                </a:cxn>
                <a:cxn ang="0">
                  <a:pos x="74" y="5"/>
                </a:cxn>
                <a:cxn ang="0">
                  <a:pos x="74" y="9"/>
                </a:cxn>
                <a:cxn ang="0">
                  <a:pos x="70" y="9"/>
                </a:cxn>
                <a:cxn ang="0">
                  <a:pos x="70" y="18"/>
                </a:cxn>
                <a:cxn ang="0">
                  <a:pos x="71" y="18"/>
                </a:cxn>
                <a:cxn ang="0">
                  <a:pos x="90" y="23"/>
                </a:cxn>
                <a:cxn ang="0">
                  <a:pos x="91" y="24"/>
                </a:cxn>
                <a:cxn ang="0">
                  <a:pos x="95" y="17"/>
                </a:cxn>
                <a:cxn ang="0">
                  <a:pos x="97" y="17"/>
                </a:cxn>
                <a:cxn ang="0">
                  <a:pos x="104" y="20"/>
                </a:cxn>
                <a:cxn ang="0">
                  <a:pos x="104" y="23"/>
                </a:cxn>
                <a:cxn ang="0">
                  <a:pos x="100" y="30"/>
                </a:cxn>
                <a:cxn ang="0">
                  <a:pos x="101" y="30"/>
                </a:cxn>
                <a:cxn ang="0">
                  <a:pos x="124" y="78"/>
                </a:cxn>
                <a:cxn ang="0">
                  <a:pos x="64" y="138"/>
                </a:cxn>
              </a:cxnLst>
              <a:rect l="0" t="0" r="r" b="b"/>
              <a:pathLst>
                <a:path w="128" h="142">
                  <a:moveTo>
                    <a:pt x="105" y="29"/>
                  </a:moveTo>
                  <a:cubicBezTo>
                    <a:pt x="107" y="24"/>
                    <a:pt x="107" y="24"/>
                    <a:pt x="107" y="24"/>
                  </a:cubicBezTo>
                  <a:cubicBezTo>
                    <a:pt x="109" y="22"/>
                    <a:pt x="108" y="18"/>
                    <a:pt x="105" y="17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8" y="13"/>
                    <a:pt x="97" y="13"/>
                    <a:pt x="96" y="13"/>
                  </a:cubicBezTo>
                  <a:cubicBezTo>
                    <a:pt x="95" y="13"/>
                    <a:pt x="93" y="14"/>
                    <a:pt x="92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4" y="17"/>
                    <a:pt x="79" y="15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5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8" y="15"/>
                    <a:pt x="43" y="17"/>
                    <a:pt x="38" y="19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5" y="14"/>
                    <a:pt x="33" y="13"/>
                    <a:pt x="31" y="13"/>
                  </a:cubicBezTo>
                  <a:cubicBezTo>
                    <a:pt x="30" y="13"/>
                    <a:pt x="29" y="13"/>
                    <a:pt x="28" y="13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0" y="18"/>
                    <a:pt x="19" y="22"/>
                    <a:pt x="20" y="24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8" y="41"/>
                    <a:pt x="0" y="59"/>
                    <a:pt x="0" y="78"/>
                  </a:cubicBezTo>
                  <a:cubicBezTo>
                    <a:pt x="0" y="113"/>
                    <a:pt x="28" y="142"/>
                    <a:pt x="64" y="142"/>
                  </a:cubicBezTo>
                  <a:cubicBezTo>
                    <a:pt x="99" y="142"/>
                    <a:pt x="128" y="113"/>
                    <a:pt x="128" y="78"/>
                  </a:cubicBezTo>
                  <a:cubicBezTo>
                    <a:pt x="128" y="59"/>
                    <a:pt x="119" y="41"/>
                    <a:pt x="105" y="29"/>
                  </a:cubicBezTo>
                  <a:close/>
                  <a:moveTo>
                    <a:pt x="64" y="138"/>
                  </a:moveTo>
                  <a:cubicBezTo>
                    <a:pt x="30" y="138"/>
                    <a:pt x="3" y="111"/>
                    <a:pt x="3" y="78"/>
                  </a:cubicBezTo>
                  <a:cubicBezTo>
                    <a:pt x="3" y="59"/>
                    <a:pt x="12" y="42"/>
                    <a:pt x="26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1"/>
                    <a:pt x="24" y="20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2" y="16"/>
                    <a:pt x="32" y="17"/>
                    <a:pt x="33" y="17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20"/>
                    <a:pt x="50" y="19"/>
                    <a:pt x="56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4" y="4"/>
                    <a:pt x="55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4"/>
                    <a:pt x="74" y="4"/>
                    <a:pt x="74" y="5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8" y="19"/>
                    <a:pt x="84" y="20"/>
                    <a:pt x="90" y="23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5" y="16"/>
                    <a:pt x="97" y="16"/>
                    <a:pt x="97" y="17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1"/>
                    <a:pt x="105" y="22"/>
                    <a:pt x="104" y="23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16" y="42"/>
                    <a:pt x="124" y="59"/>
                    <a:pt x="124" y="78"/>
                  </a:cubicBezTo>
                  <a:cubicBezTo>
                    <a:pt x="124" y="111"/>
                    <a:pt x="97" y="138"/>
                    <a:pt x="64" y="13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48" name="Group 292"/>
          <p:cNvGrpSpPr>
            <a:grpSpLocks noChangeAspect="1"/>
          </p:cNvGrpSpPr>
          <p:nvPr/>
        </p:nvGrpSpPr>
        <p:grpSpPr bwMode="auto">
          <a:xfrm>
            <a:off x="3665538" y="4136366"/>
            <a:ext cx="768350" cy="768350"/>
            <a:chOff x="2308" y="2591"/>
            <a:chExt cx="484" cy="484"/>
          </a:xfrm>
        </p:grpSpPr>
        <p:sp>
          <p:nvSpPr>
            <p:cNvPr id="45349" name="Freeform 293"/>
            <p:cNvSpPr>
              <a:spLocks noEditPoints="1"/>
            </p:cNvSpPr>
            <p:nvPr/>
          </p:nvSpPr>
          <p:spPr bwMode="auto">
            <a:xfrm>
              <a:off x="2308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0" name="Freeform 294"/>
            <p:cNvSpPr>
              <a:spLocks noEditPoints="1"/>
            </p:cNvSpPr>
            <p:nvPr/>
          </p:nvSpPr>
          <p:spPr bwMode="auto">
            <a:xfrm>
              <a:off x="2426" y="2718"/>
              <a:ext cx="249" cy="250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0" y="52"/>
                </a:cxn>
                <a:cxn ang="0">
                  <a:pos x="52" y="104"/>
                </a:cxn>
                <a:cxn ang="0">
                  <a:pos x="104" y="52"/>
                </a:cxn>
                <a:cxn ang="0">
                  <a:pos x="52" y="0"/>
                </a:cxn>
                <a:cxn ang="0">
                  <a:pos x="53" y="101"/>
                </a:cxn>
                <a:cxn ang="0">
                  <a:pos x="53" y="96"/>
                </a:cxn>
                <a:cxn ang="0">
                  <a:pos x="50" y="96"/>
                </a:cxn>
                <a:cxn ang="0">
                  <a:pos x="50" y="101"/>
                </a:cxn>
                <a:cxn ang="0">
                  <a:pos x="16" y="84"/>
                </a:cxn>
                <a:cxn ang="0">
                  <a:pos x="19" y="82"/>
                </a:cxn>
                <a:cxn ang="0">
                  <a:pos x="17" y="79"/>
                </a:cxn>
                <a:cxn ang="0">
                  <a:pos x="14" y="82"/>
                </a:cxn>
                <a:cxn ang="0">
                  <a:pos x="4" y="54"/>
                </a:cxn>
                <a:cxn ang="0">
                  <a:pos x="8" y="54"/>
                </a:cxn>
                <a:cxn ang="0">
                  <a:pos x="8" y="51"/>
                </a:cxn>
                <a:cxn ang="0">
                  <a:pos x="4" y="51"/>
                </a:cxn>
                <a:cxn ang="0">
                  <a:pos x="15" y="21"/>
                </a:cxn>
                <a:cxn ang="0">
                  <a:pos x="19" y="24"/>
                </a:cxn>
                <a:cxn ang="0">
                  <a:pos x="21" y="21"/>
                </a:cxn>
                <a:cxn ang="0">
                  <a:pos x="17" y="19"/>
                </a:cxn>
                <a:cxn ang="0">
                  <a:pos x="52" y="4"/>
                </a:cxn>
                <a:cxn ang="0">
                  <a:pos x="86" y="18"/>
                </a:cxn>
                <a:cxn ang="0">
                  <a:pos x="82" y="21"/>
                </a:cxn>
                <a:cxn ang="0">
                  <a:pos x="84" y="24"/>
                </a:cxn>
                <a:cxn ang="0">
                  <a:pos x="88" y="21"/>
                </a:cxn>
                <a:cxn ang="0">
                  <a:pos x="100" y="51"/>
                </a:cxn>
                <a:cxn ang="0">
                  <a:pos x="95" y="51"/>
                </a:cxn>
                <a:cxn ang="0">
                  <a:pos x="95" y="54"/>
                </a:cxn>
                <a:cxn ang="0">
                  <a:pos x="100" y="54"/>
                </a:cxn>
                <a:cxn ang="0">
                  <a:pos x="90" y="82"/>
                </a:cxn>
                <a:cxn ang="0">
                  <a:pos x="85" y="78"/>
                </a:cxn>
                <a:cxn ang="0">
                  <a:pos x="83" y="81"/>
                </a:cxn>
                <a:cxn ang="0">
                  <a:pos x="87" y="85"/>
                </a:cxn>
                <a:cxn ang="0">
                  <a:pos x="53" y="101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4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0" y="104"/>
                    <a:pt x="104" y="81"/>
                    <a:pt x="104" y="52"/>
                  </a:cubicBezTo>
                  <a:cubicBezTo>
                    <a:pt x="104" y="24"/>
                    <a:pt x="80" y="0"/>
                    <a:pt x="52" y="0"/>
                  </a:cubicBezTo>
                  <a:close/>
                  <a:moveTo>
                    <a:pt x="53" y="101"/>
                  </a:moveTo>
                  <a:cubicBezTo>
                    <a:pt x="53" y="96"/>
                    <a:pt x="53" y="96"/>
                    <a:pt x="53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36" y="100"/>
                    <a:pt x="24" y="94"/>
                    <a:pt x="16" y="84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8" y="74"/>
                    <a:pt x="4" y="64"/>
                    <a:pt x="4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39"/>
                    <a:pt x="8" y="29"/>
                    <a:pt x="15" y="21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6" y="10"/>
                    <a:pt x="38" y="4"/>
                    <a:pt x="52" y="4"/>
                  </a:cubicBezTo>
                  <a:cubicBezTo>
                    <a:pt x="65" y="4"/>
                    <a:pt x="77" y="10"/>
                    <a:pt x="86" y="18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95" y="29"/>
                    <a:pt x="100" y="39"/>
                    <a:pt x="100" y="51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65"/>
                    <a:pt x="96" y="74"/>
                    <a:pt x="90" y="82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3" y="81"/>
                    <a:pt x="83" y="81"/>
                    <a:pt x="83" y="81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79" y="94"/>
                    <a:pt x="67" y="100"/>
                    <a:pt x="53" y="1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1" name="Freeform 295"/>
            <p:cNvSpPr>
              <a:spLocks noEditPoints="1"/>
            </p:cNvSpPr>
            <p:nvPr/>
          </p:nvSpPr>
          <p:spPr bwMode="auto">
            <a:xfrm>
              <a:off x="2536" y="2745"/>
              <a:ext cx="62" cy="153"/>
            </a:xfrm>
            <a:custGeom>
              <a:avLst/>
              <a:gdLst/>
              <a:ahLst/>
              <a:cxnLst>
                <a:cxn ang="0">
                  <a:pos x="11" y="42"/>
                </a:cxn>
                <a:cxn ang="0">
                  <a:pos x="7" y="36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4" y="36"/>
                </a:cxn>
                <a:cxn ang="0">
                  <a:pos x="0" y="42"/>
                </a:cxn>
                <a:cxn ang="0">
                  <a:pos x="6" y="48"/>
                </a:cxn>
                <a:cxn ang="0">
                  <a:pos x="7" y="47"/>
                </a:cxn>
                <a:cxn ang="0">
                  <a:pos x="24" y="64"/>
                </a:cxn>
                <a:cxn ang="0">
                  <a:pos x="26" y="61"/>
                </a:cxn>
                <a:cxn ang="0">
                  <a:pos x="10" y="45"/>
                </a:cxn>
                <a:cxn ang="0">
                  <a:pos x="11" y="42"/>
                </a:cxn>
                <a:cxn ang="0">
                  <a:pos x="3" y="42"/>
                </a:cxn>
                <a:cxn ang="0">
                  <a:pos x="6" y="40"/>
                </a:cxn>
                <a:cxn ang="0">
                  <a:pos x="8" y="42"/>
                </a:cxn>
                <a:cxn ang="0">
                  <a:pos x="6" y="44"/>
                </a:cxn>
                <a:cxn ang="0">
                  <a:pos x="3" y="42"/>
                </a:cxn>
              </a:cxnLst>
              <a:rect l="0" t="0" r="r" b="b"/>
              <a:pathLst>
                <a:path w="26" h="64">
                  <a:moveTo>
                    <a:pt x="11" y="42"/>
                  </a:moveTo>
                  <a:cubicBezTo>
                    <a:pt x="11" y="39"/>
                    <a:pt x="10" y="37"/>
                    <a:pt x="7" y="3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1" y="37"/>
                    <a:pt x="0" y="39"/>
                    <a:pt x="0" y="42"/>
                  </a:cubicBezTo>
                  <a:cubicBezTo>
                    <a:pt x="0" y="45"/>
                    <a:pt x="2" y="48"/>
                    <a:pt x="6" y="48"/>
                  </a:cubicBezTo>
                  <a:cubicBezTo>
                    <a:pt x="6" y="48"/>
                    <a:pt x="7" y="47"/>
                    <a:pt x="7" y="47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4"/>
                    <a:pt x="11" y="43"/>
                    <a:pt x="11" y="42"/>
                  </a:cubicBezTo>
                  <a:close/>
                  <a:moveTo>
                    <a:pt x="3" y="42"/>
                  </a:moveTo>
                  <a:cubicBezTo>
                    <a:pt x="3" y="41"/>
                    <a:pt x="4" y="40"/>
                    <a:pt x="6" y="40"/>
                  </a:cubicBezTo>
                  <a:cubicBezTo>
                    <a:pt x="7" y="40"/>
                    <a:pt x="8" y="41"/>
                    <a:pt x="8" y="42"/>
                  </a:cubicBezTo>
                  <a:cubicBezTo>
                    <a:pt x="8" y="43"/>
                    <a:pt x="7" y="44"/>
                    <a:pt x="6" y="44"/>
                  </a:cubicBezTo>
                  <a:cubicBezTo>
                    <a:pt x="4" y="44"/>
                    <a:pt x="3" y="43"/>
                    <a:pt x="3" y="4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2" name="Freeform 296"/>
            <p:cNvSpPr>
              <a:spLocks noEditPoints="1"/>
            </p:cNvSpPr>
            <p:nvPr/>
          </p:nvSpPr>
          <p:spPr bwMode="auto">
            <a:xfrm>
              <a:off x="2397" y="2658"/>
              <a:ext cx="307" cy="341"/>
            </a:xfrm>
            <a:custGeom>
              <a:avLst/>
              <a:gdLst/>
              <a:ahLst/>
              <a:cxnLst>
                <a:cxn ang="0">
                  <a:pos x="105" y="29"/>
                </a:cxn>
                <a:cxn ang="0">
                  <a:pos x="107" y="24"/>
                </a:cxn>
                <a:cxn ang="0">
                  <a:pos x="105" y="17"/>
                </a:cxn>
                <a:cxn ang="0">
                  <a:pos x="99" y="13"/>
                </a:cxn>
                <a:cxn ang="0">
                  <a:pos x="97" y="13"/>
                </a:cxn>
                <a:cxn ang="0">
                  <a:pos x="92" y="15"/>
                </a:cxn>
                <a:cxn ang="0">
                  <a:pos x="90" y="19"/>
                </a:cxn>
                <a:cxn ang="0">
                  <a:pos x="73" y="14"/>
                </a:cxn>
                <a:cxn ang="0">
                  <a:pos x="73" y="13"/>
                </a:cxn>
                <a:cxn ang="0">
                  <a:pos x="78" y="13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55" y="0"/>
                </a:cxn>
                <a:cxn ang="0">
                  <a:pos x="50" y="5"/>
                </a:cxn>
                <a:cxn ang="0">
                  <a:pos x="50" y="13"/>
                </a:cxn>
                <a:cxn ang="0">
                  <a:pos x="54" y="13"/>
                </a:cxn>
                <a:cxn ang="0">
                  <a:pos x="54" y="14"/>
                </a:cxn>
                <a:cxn ang="0">
                  <a:pos x="38" y="19"/>
                </a:cxn>
                <a:cxn ang="0">
                  <a:pos x="36" y="15"/>
                </a:cxn>
                <a:cxn ang="0">
                  <a:pos x="31" y="13"/>
                </a:cxn>
                <a:cxn ang="0">
                  <a:pos x="28" y="13"/>
                </a:cxn>
                <a:cxn ang="0">
                  <a:pos x="22" y="17"/>
                </a:cxn>
                <a:cxn ang="0">
                  <a:pos x="20" y="24"/>
                </a:cxn>
                <a:cxn ang="0">
                  <a:pos x="23" y="29"/>
                </a:cxn>
                <a:cxn ang="0">
                  <a:pos x="0" y="78"/>
                </a:cxn>
                <a:cxn ang="0">
                  <a:pos x="64" y="142"/>
                </a:cxn>
                <a:cxn ang="0">
                  <a:pos x="128" y="78"/>
                </a:cxn>
                <a:cxn ang="0">
                  <a:pos x="105" y="29"/>
                </a:cxn>
                <a:cxn ang="0">
                  <a:pos x="64" y="138"/>
                </a:cxn>
                <a:cxn ang="0">
                  <a:pos x="3" y="78"/>
                </a:cxn>
                <a:cxn ang="0">
                  <a:pos x="26" y="30"/>
                </a:cxn>
                <a:cxn ang="0">
                  <a:pos x="27" y="30"/>
                </a:cxn>
                <a:cxn ang="0">
                  <a:pos x="23" y="23"/>
                </a:cxn>
                <a:cxn ang="0">
                  <a:pos x="24" y="20"/>
                </a:cxn>
                <a:cxn ang="0">
                  <a:pos x="30" y="17"/>
                </a:cxn>
                <a:cxn ang="0">
                  <a:pos x="31" y="16"/>
                </a:cxn>
                <a:cxn ang="0">
                  <a:pos x="33" y="17"/>
                </a:cxn>
                <a:cxn ang="0">
                  <a:pos x="36" y="24"/>
                </a:cxn>
                <a:cxn ang="0">
                  <a:pos x="38" y="23"/>
                </a:cxn>
                <a:cxn ang="0">
                  <a:pos x="56" y="18"/>
                </a:cxn>
                <a:cxn ang="0">
                  <a:pos x="58" y="18"/>
                </a:cxn>
                <a:cxn ang="0">
                  <a:pos x="58" y="9"/>
                </a:cxn>
                <a:cxn ang="0">
                  <a:pos x="53" y="9"/>
                </a:cxn>
                <a:cxn ang="0">
                  <a:pos x="53" y="5"/>
                </a:cxn>
                <a:cxn ang="0">
                  <a:pos x="55" y="4"/>
                </a:cxn>
                <a:cxn ang="0">
                  <a:pos x="73" y="4"/>
                </a:cxn>
                <a:cxn ang="0">
                  <a:pos x="74" y="5"/>
                </a:cxn>
                <a:cxn ang="0">
                  <a:pos x="74" y="9"/>
                </a:cxn>
                <a:cxn ang="0">
                  <a:pos x="70" y="9"/>
                </a:cxn>
                <a:cxn ang="0">
                  <a:pos x="70" y="18"/>
                </a:cxn>
                <a:cxn ang="0">
                  <a:pos x="71" y="18"/>
                </a:cxn>
                <a:cxn ang="0">
                  <a:pos x="90" y="23"/>
                </a:cxn>
                <a:cxn ang="0">
                  <a:pos x="91" y="24"/>
                </a:cxn>
                <a:cxn ang="0">
                  <a:pos x="95" y="17"/>
                </a:cxn>
                <a:cxn ang="0">
                  <a:pos x="97" y="17"/>
                </a:cxn>
                <a:cxn ang="0">
                  <a:pos x="104" y="20"/>
                </a:cxn>
                <a:cxn ang="0">
                  <a:pos x="104" y="23"/>
                </a:cxn>
                <a:cxn ang="0">
                  <a:pos x="100" y="30"/>
                </a:cxn>
                <a:cxn ang="0">
                  <a:pos x="101" y="30"/>
                </a:cxn>
                <a:cxn ang="0">
                  <a:pos x="124" y="78"/>
                </a:cxn>
                <a:cxn ang="0">
                  <a:pos x="64" y="138"/>
                </a:cxn>
              </a:cxnLst>
              <a:rect l="0" t="0" r="r" b="b"/>
              <a:pathLst>
                <a:path w="128" h="142">
                  <a:moveTo>
                    <a:pt x="105" y="29"/>
                  </a:moveTo>
                  <a:cubicBezTo>
                    <a:pt x="107" y="24"/>
                    <a:pt x="107" y="24"/>
                    <a:pt x="107" y="24"/>
                  </a:cubicBezTo>
                  <a:cubicBezTo>
                    <a:pt x="109" y="22"/>
                    <a:pt x="108" y="18"/>
                    <a:pt x="105" y="17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8" y="13"/>
                    <a:pt x="98" y="13"/>
                    <a:pt x="97" y="13"/>
                  </a:cubicBezTo>
                  <a:cubicBezTo>
                    <a:pt x="95" y="13"/>
                    <a:pt x="93" y="14"/>
                    <a:pt x="92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5" y="17"/>
                    <a:pt x="79" y="15"/>
                    <a:pt x="73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5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9" y="15"/>
                    <a:pt x="43" y="17"/>
                    <a:pt x="38" y="19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5" y="14"/>
                    <a:pt x="33" y="13"/>
                    <a:pt x="31" y="13"/>
                  </a:cubicBezTo>
                  <a:cubicBezTo>
                    <a:pt x="30" y="13"/>
                    <a:pt x="29" y="13"/>
                    <a:pt x="28" y="13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0" y="18"/>
                    <a:pt x="19" y="22"/>
                    <a:pt x="20" y="24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8" y="41"/>
                    <a:pt x="0" y="59"/>
                    <a:pt x="0" y="78"/>
                  </a:cubicBezTo>
                  <a:cubicBezTo>
                    <a:pt x="0" y="113"/>
                    <a:pt x="29" y="142"/>
                    <a:pt x="64" y="142"/>
                  </a:cubicBezTo>
                  <a:cubicBezTo>
                    <a:pt x="99" y="142"/>
                    <a:pt x="128" y="113"/>
                    <a:pt x="128" y="78"/>
                  </a:cubicBezTo>
                  <a:cubicBezTo>
                    <a:pt x="128" y="59"/>
                    <a:pt x="120" y="41"/>
                    <a:pt x="105" y="29"/>
                  </a:cubicBezTo>
                  <a:close/>
                  <a:moveTo>
                    <a:pt x="64" y="138"/>
                  </a:moveTo>
                  <a:cubicBezTo>
                    <a:pt x="31" y="138"/>
                    <a:pt x="3" y="111"/>
                    <a:pt x="3" y="78"/>
                  </a:cubicBezTo>
                  <a:cubicBezTo>
                    <a:pt x="3" y="59"/>
                    <a:pt x="12" y="42"/>
                    <a:pt x="26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1"/>
                    <a:pt x="24" y="20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2" y="16"/>
                    <a:pt x="32" y="17"/>
                    <a:pt x="33" y="17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20"/>
                    <a:pt x="50" y="19"/>
                    <a:pt x="56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4" y="4"/>
                    <a:pt x="55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4" y="4"/>
                    <a:pt x="74" y="4"/>
                    <a:pt x="74" y="5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8" y="19"/>
                    <a:pt x="84" y="20"/>
                    <a:pt x="90" y="23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6"/>
                    <a:pt x="97" y="16"/>
                    <a:pt x="97" y="17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1"/>
                    <a:pt x="105" y="22"/>
                    <a:pt x="104" y="23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16" y="42"/>
                    <a:pt x="124" y="59"/>
                    <a:pt x="124" y="78"/>
                  </a:cubicBezTo>
                  <a:cubicBezTo>
                    <a:pt x="124" y="111"/>
                    <a:pt x="97" y="138"/>
                    <a:pt x="64" y="13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55" name="Group 299"/>
          <p:cNvGrpSpPr>
            <a:grpSpLocks noChangeAspect="1"/>
          </p:cNvGrpSpPr>
          <p:nvPr/>
        </p:nvGrpSpPr>
        <p:grpSpPr bwMode="auto">
          <a:xfrm>
            <a:off x="4722019" y="4099850"/>
            <a:ext cx="842963" cy="842963"/>
            <a:chOff x="2972" y="2568"/>
            <a:chExt cx="531" cy="531"/>
          </a:xfrm>
        </p:grpSpPr>
        <p:sp>
          <p:nvSpPr>
            <p:cNvPr id="45356" name="Oval 300"/>
            <p:cNvSpPr>
              <a:spLocks noChangeArrowheads="1"/>
            </p:cNvSpPr>
            <p:nvPr/>
          </p:nvSpPr>
          <p:spPr bwMode="auto">
            <a:xfrm>
              <a:off x="2972" y="2568"/>
              <a:ext cx="531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7" name="Freeform 301"/>
            <p:cNvSpPr>
              <a:spLocks noEditPoints="1"/>
            </p:cNvSpPr>
            <p:nvPr/>
          </p:nvSpPr>
          <p:spPr bwMode="auto">
            <a:xfrm>
              <a:off x="3091" y="2704"/>
              <a:ext cx="292" cy="259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292" y="259"/>
                </a:cxn>
                <a:cxn ang="0">
                  <a:pos x="292" y="0"/>
                </a:cxn>
                <a:cxn ang="0">
                  <a:pos x="0" y="0"/>
                </a:cxn>
                <a:cxn ang="0">
                  <a:pos x="0" y="259"/>
                </a:cxn>
                <a:cxn ang="0">
                  <a:pos x="10" y="10"/>
                </a:cxn>
                <a:cxn ang="0">
                  <a:pos x="282" y="10"/>
                </a:cxn>
                <a:cxn ang="0">
                  <a:pos x="282" y="249"/>
                </a:cxn>
                <a:cxn ang="0">
                  <a:pos x="10" y="249"/>
                </a:cxn>
                <a:cxn ang="0">
                  <a:pos x="10" y="10"/>
                </a:cxn>
              </a:cxnLst>
              <a:rect l="0" t="0" r="r" b="b"/>
              <a:pathLst>
                <a:path w="292" h="259">
                  <a:moveTo>
                    <a:pt x="0" y="259"/>
                  </a:moveTo>
                  <a:lnTo>
                    <a:pt x="292" y="259"/>
                  </a:lnTo>
                  <a:lnTo>
                    <a:pt x="292" y="0"/>
                  </a:lnTo>
                  <a:lnTo>
                    <a:pt x="0" y="0"/>
                  </a:lnTo>
                  <a:lnTo>
                    <a:pt x="0" y="259"/>
                  </a:lnTo>
                  <a:close/>
                  <a:moveTo>
                    <a:pt x="10" y="10"/>
                  </a:moveTo>
                  <a:lnTo>
                    <a:pt x="282" y="10"/>
                  </a:lnTo>
                  <a:lnTo>
                    <a:pt x="282" y="249"/>
                  </a:lnTo>
                  <a:lnTo>
                    <a:pt x="10" y="249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8" name="Freeform 302"/>
            <p:cNvSpPr>
              <a:spLocks noEditPoints="1"/>
            </p:cNvSpPr>
            <p:nvPr/>
          </p:nvSpPr>
          <p:spPr bwMode="auto">
            <a:xfrm>
              <a:off x="2995" y="2592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59" name="Rectangle 303"/>
            <p:cNvSpPr>
              <a:spLocks noChangeArrowheads="1"/>
            </p:cNvSpPr>
            <p:nvPr/>
          </p:nvSpPr>
          <p:spPr bwMode="auto">
            <a:xfrm>
              <a:off x="3151" y="2884"/>
              <a:ext cx="31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0" name="Rectangle 304"/>
            <p:cNvSpPr>
              <a:spLocks noChangeArrowheads="1"/>
            </p:cNvSpPr>
            <p:nvPr/>
          </p:nvSpPr>
          <p:spPr bwMode="auto">
            <a:xfrm>
              <a:off x="3151" y="2920"/>
              <a:ext cx="3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1" name="Rectangle 305"/>
            <p:cNvSpPr>
              <a:spLocks noChangeArrowheads="1"/>
            </p:cNvSpPr>
            <p:nvPr/>
          </p:nvSpPr>
          <p:spPr bwMode="auto">
            <a:xfrm>
              <a:off x="3151" y="2848"/>
              <a:ext cx="3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2" name="Freeform 306"/>
            <p:cNvSpPr>
              <a:spLocks noEditPoints="1"/>
            </p:cNvSpPr>
            <p:nvPr/>
          </p:nvSpPr>
          <p:spPr bwMode="auto">
            <a:xfrm>
              <a:off x="3117" y="2726"/>
              <a:ext cx="240" cy="222"/>
            </a:xfrm>
            <a:custGeom>
              <a:avLst/>
              <a:gdLst/>
              <a:ahLst/>
              <a:cxnLst>
                <a:cxn ang="0">
                  <a:pos x="86" y="26"/>
                </a:cxn>
                <a:cxn ang="0">
                  <a:pos x="78" y="8"/>
                </a:cxn>
                <a:cxn ang="0">
                  <a:pos x="61" y="8"/>
                </a:cxn>
                <a:cxn ang="0">
                  <a:pos x="56" y="20"/>
                </a:cxn>
                <a:cxn ang="0">
                  <a:pos x="23" y="9"/>
                </a:cxn>
                <a:cxn ang="0">
                  <a:pos x="38" y="33"/>
                </a:cxn>
                <a:cxn ang="0">
                  <a:pos x="36" y="34"/>
                </a:cxn>
                <a:cxn ang="0">
                  <a:pos x="0" y="36"/>
                </a:cxn>
                <a:cxn ang="0">
                  <a:pos x="0" y="46"/>
                </a:cxn>
                <a:cxn ang="0">
                  <a:pos x="42" y="92"/>
                </a:cxn>
                <a:cxn ang="0">
                  <a:pos x="52" y="46"/>
                </a:cxn>
                <a:cxn ang="0">
                  <a:pos x="52" y="50"/>
                </a:cxn>
                <a:cxn ang="0">
                  <a:pos x="59" y="54"/>
                </a:cxn>
                <a:cxn ang="0">
                  <a:pos x="59" y="87"/>
                </a:cxn>
                <a:cxn ang="0">
                  <a:pos x="70" y="90"/>
                </a:cxn>
                <a:cxn ang="0">
                  <a:pos x="81" y="87"/>
                </a:cxn>
                <a:cxn ang="0">
                  <a:pos x="82" y="55"/>
                </a:cxn>
                <a:cxn ang="0">
                  <a:pos x="87" y="46"/>
                </a:cxn>
                <a:cxn ang="0">
                  <a:pos x="96" y="91"/>
                </a:cxn>
                <a:cxn ang="0">
                  <a:pos x="100" y="46"/>
                </a:cxn>
                <a:cxn ang="0">
                  <a:pos x="100" y="36"/>
                </a:cxn>
                <a:cxn ang="0">
                  <a:pos x="86" y="26"/>
                </a:cxn>
                <a:cxn ang="0">
                  <a:pos x="75" y="8"/>
                </a:cxn>
                <a:cxn ang="0">
                  <a:pos x="65" y="8"/>
                </a:cxn>
                <a:cxn ang="0">
                  <a:pos x="52" y="13"/>
                </a:cxn>
                <a:cxn ang="0">
                  <a:pos x="27" y="22"/>
                </a:cxn>
                <a:cxn ang="0">
                  <a:pos x="52" y="13"/>
                </a:cxn>
                <a:cxn ang="0">
                  <a:pos x="52" y="26"/>
                </a:cxn>
                <a:cxn ang="0">
                  <a:pos x="27" y="29"/>
                </a:cxn>
                <a:cxn ang="0">
                  <a:pos x="41" y="34"/>
                </a:cxn>
                <a:cxn ang="0">
                  <a:pos x="53" y="33"/>
                </a:cxn>
                <a:cxn ang="0">
                  <a:pos x="43" y="36"/>
                </a:cxn>
                <a:cxn ang="0">
                  <a:pos x="41" y="34"/>
                </a:cxn>
                <a:cxn ang="0">
                  <a:pos x="38" y="63"/>
                </a:cxn>
                <a:cxn ang="0">
                  <a:pos x="3" y="73"/>
                </a:cxn>
                <a:cxn ang="0">
                  <a:pos x="3" y="89"/>
                </a:cxn>
                <a:cxn ang="0">
                  <a:pos x="38" y="77"/>
                </a:cxn>
                <a:cxn ang="0">
                  <a:pos x="3" y="89"/>
                </a:cxn>
                <a:cxn ang="0">
                  <a:pos x="3" y="59"/>
                </a:cxn>
                <a:cxn ang="0">
                  <a:pos x="38" y="46"/>
                </a:cxn>
                <a:cxn ang="0">
                  <a:pos x="3" y="42"/>
                </a:cxn>
                <a:cxn ang="0">
                  <a:pos x="53" y="39"/>
                </a:cxn>
                <a:cxn ang="0">
                  <a:pos x="3" y="42"/>
                </a:cxn>
                <a:cxn ang="0">
                  <a:pos x="81" y="50"/>
                </a:cxn>
                <a:cxn ang="0">
                  <a:pos x="77" y="31"/>
                </a:cxn>
                <a:cxn ang="0">
                  <a:pos x="77" y="87"/>
                </a:cxn>
                <a:cxn ang="0">
                  <a:pos x="73" y="87"/>
                </a:cxn>
                <a:cxn ang="0">
                  <a:pos x="68" y="57"/>
                </a:cxn>
                <a:cxn ang="0">
                  <a:pos x="67" y="87"/>
                </a:cxn>
                <a:cxn ang="0">
                  <a:pos x="62" y="87"/>
                </a:cxn>
                <a:cxn ang="0">
                  <a:pos x="63" y="31"/>
                </a:cxn>
                <a:cxn ang="0">
                  <a:pos x="59" y="50"/>
                </a:cxn>
                <a:cxn ang="0">
                  <a:pos x="56" y="50"/>
                </a:cxn>
                <a:cxn ang="0">
                  <a:pos x="57" y="26"/>
                </a:cxn>
                <a:cxn ang="0">
                  <a:pos x="83" y="26"/>
                </a:cxn>
                <a:cxn ang="0">
                  <a:pos x="82" y="51"/>
                </a:cxn>
                <a:cxn ang="0">
                  <a:pos x="96" y="41"/>
                </a:cxn>
                <a:cxn ang="0">
                  <a:pos x="87" y="42"/>
                </a:cxn>
                <a:cxn ang="0">
                  <a:pos x="96" y="39"/>
                </a:cxn>
              </a:cxnLst>
              <a:rect l="0" t="0" r="r" b="b"/>
              <a:pathLst>
                <a:path w="100" h="93">
                  <a:moveTo>
                    <a:pt x="86" y="26"/>
                  </a:move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5" y="17"/>
                    <a:pt x="75" y="15"/>
                  </a:cubicBezTo>
                  <a:cubicBezTo>
                    <a:pt x="77" y="13"/>
                    <a:pt x="78" y="11"/>
                    <a:pt x="78" y="8"/>
                  </a:cubicBezTo>
                  <a:cubicBezTo>
                    <a:pt x="78" y="3"/>
                    <a:pt x="75" y="0"/>
                    <a:pt x="70" y="0"/>
                  </a:cubicBezTo>
                  <a:cubicBezTo>
                    <a:pt x="65" y="0"/>
                    <a:pt x="61" y="3"/>
                    <a:pt x="61" y="8"/>
                  </a:cubicBezTo>
                  <a:cubicBezTo>
                    <a:pt x="61" y="11"/>
                    <a:pt x="63" y="13"/>
                    <a:pt x="65" y="15"/>
                  </a:cubicBezTo>
                  <a:cubicBezTo>
                    <a:pt x="60" y="16"/>
                    <a:pt x="57" y="18"/>
                    <a:pt x="56" y="20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3"/>
                    <a:pt x="55" y="55"/>
                    <a:pt x="57" y="55"/>
                  </a:cubicBezTo>
                  <a:cubicBezTo>
                    <a:pt x="58" y="55"/>
                    <a:pt x="58" y="55"/>
                    <a:pt x="59" y="54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71"/>
                    <a:pt x="59" y="82"/>
                    <a:pt x="59" y="87"/>
                  </a:cubicBezTo>
                  <a:cubicBezTo>
                    <a:pt x="59" y="90"/>
                    <a:pt x="61" y="93"/>
                    <a:pt x="65" y="93"/>
                  </a:cubicBezTo>
                  <a:cubicBezTo>
                    <a:pt x="67" y="93"/>
                    <a:pt x="69" y="92"/>
                    <a:pt x="70" y="90"/>
                  </a:cubicBezTo>
                  <a:cubicBezTo>
                    <a:pt x="71" y="92"/>
                    <a:pt x="73" y="93"/>
                    <a:pt x="75" y="93"/>
                  </a:cubicBezTo>
                  <a:cubicBezTo>
                    <a:pt x="78" y="93"/>
                    <a:pt x="81" y="90"/>
                    <a:pt x="81" y="87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2" y="55"/>
                    <a:pt x="82" y="55"/>
                  </a:cubicBezTo>
                  <a:cubicBezTo>
                    <a:pt x="85" y="55"/>
                    <a:pt x="87" y="53"/>
                    <a:pt x="87" y="50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6" y="91"/>
                    <a:pt x="96" y="91"/>
                    <a:pt x="96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87" y="36"/>
                    <a:pt x="87" y="36"/>
                    <a:pt x="87" y="36"/>
                  </a:cubicBezTo>
                  <a:lnTo>
                    <a:pt x="86" y="26"/>
                  </a:lnTo>
                  <a:close/>
                  <a:moveTo>
                    <a:pt x="70" y="3"/>
                  </a:moveTo>
                  <a:cubicBezTo>
                    <a:pt x="73" y="3"/>
                    <a:pt x="75" y="5"/>
                    <a:pt x="75" y="8"/>
                  </a:cubicBezTo>
                  <a:cubicBezTo>
                    <a:pt x="75" y="11"/>
                    <a:pt x="73" y="13"/>
                    <a:pt x="70" y="13"/>
                  </a:cubicBezTo>
                  <a:cubicBezTo>
                    <a:pt x="67" y="13"/>
                    <a:pt x="65" y="11"/>
                    <a:pt x="65" y="8"/>
                  </a:cubicBezTo>
                  <a:cubicBezTo>
                    <a:pt x="65" y="5"/>
                    <a:pt x="67" y="3"/>
                    <a:pt x="70" y="3"/>
                  </a:cubicBezTo>
                  <a:close/>
                  <a:moveTo>
                    <a:pt x="52" y="13"/>
                  </a:moveTo>
                  <a:cubicBezTo>
                    <a:pt x="52" y="22"/>
                    <a:pt x="52" y="22"/>
                    <a:pt x="52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52" y="13"/>
                  </a:lnTo>
                  <a:close/>
                  <a:moveTo>
                    <a:pt x="27" y="26"/>
                  </a:moveTo>
                  <a:cubicBezTo>
                    <a:pt x="52" y="26"/>
                    <a:pt x="52" y="26"/>
                    <a:pt x="52" y="26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7" y="29"/>
                    <a:pt x="27" y="29"/>
                    <a:pt x="27" y="29"/>
                  </a:cubicBezTo>
                  <a:lnTo>
                    <a:pt x="27" y="26"/>
                  </a:lnTo>
                  <a:close/>
                  <a:moveTo>
                    <a:pt x="41" y="34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4"/>
                    <a:pt x="43" y="34"/>
                    <a:pt x="43" y="34"/>
                  </a:cubicBezTo>
                  <a:lnTo>
                    <a:pt x="41" y="34"/>
                  </a:lnTo>
                  <a:close/>
                  <a:moveTo>
                    <a:pt x="3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" y="73"/>
                    <a:pt x="3" y="73"/>
                    <a:pt x="3" y="73"/>
                  </a:cubicBezTo>
                  <a:lnTo>
                    <a:pt x="3" y="63"/>
                  </a:lnTo>
                  <a:close/>
                  <a:moveTo>
                    <a:pt x="3" y="89"/>
                  </a:moveTo>
                  <a:cubicBezTo>
                    <a:pt x="3" y="77"/>
                    <a:pt x="3" y="77"/>
                    <a:pt x="3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89"/>
                    <a:pt x="38" y="89"/>
                    <a:pt x="38" y="89"/>
                  </a:cubicBezTo>
                  <a:lnTo>
                    <a:pt x="3" y="89"/>
                  </a:lnTo>
                  <a:close/>
                  <a:moveTo>
                    <a:pt x="38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8" y="46"/>
                    <a:pt x="38" y="46"/>
                    <a:pt x="38" y="46"/>
                  </a:cubicBezTo>
                  <a:lnTo>
                    <a:pt x="38" y="59"/>
                  </a:lnTo>
                  <a:close/>
                  <a:moveTo>
                    <a:pt x="3" y="42"/>
                  </a:moveTo>
                  <a:cubicBezTo>
                    <a:pt x="3" y="39"/>
                    <a:pt x="3" y="39"/>
                    <a:pt x="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2" y="42"/>
                    <a:pt x="52" y="42"/>
                    <a:pt x="52" y="42"/>
                  </a:cubicBezTo>
                  <a:lnTo>
                    <a:pt x="3" y="42"/>
                  </a:lnTo>
                  <a:close/>
                  <a:moveTo>
                    <a:pt x="82" y="51"/>
                  </a:moveTo>
                  <a:cubicBezTo>
                    <a:pt x="81" y="51"/>
                    <a:pt x="81" y="51"/>
                    <a:pt x="81" y="5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87"/>
                    <a:pt x="77" y="87"/>
                    <a:pt x="77" y="87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3" y="88"/>
                    <a:pt x="73" y="8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8"/>
                    <a:pt x="66" y="89"/>
                    <a:pt x="65" y="89"/>
                  </a:cubicBezTo>
                  <a:cubicBezTo>
                    <a:pt x="63" y="89"/>
                    <a:pt x="62" y="88"/>
                    <a:pt x="62" y="87"/>
                  </a:cubicBezTo>
                  <a:cubicBezTo>
                    <a:pt x="62" y="82"/>
                    <a:pt x="62" y="71"/>
                    <a:pt x="63" y="59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1"/>
                    <a:pt x="57" y="51"/>
                    <a:pt x="57" y="51"/>
                  </a:cubicBezTo>
                  <a:cubicBezTo>
                    <a:pt x="57" y="51"/>
                    <a:pt x="56" y="50"/>
                    <a:pt x="56" y="50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8" y="18"/>
                    <a:pt x="70" y="18"/>
                  </a:cubicBezTo>
                  <a:cubicBezTo>
                    <a:pt x="81" y="18"/>
                    <a:pt x="82" y="25"/>
                    <a:pt x="83" y="26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3" y="51"/>
                    <a:pt x="82" y="51"/>
                  </a:cubicBezTo>
                  <a:close/>
                  <a:moveTo>
                    <a:pt x="96" y="39"/>
                  </a:moveTo>
                  <a:cubicBezTo>
                    <a:pt x="96" y="41"/>
                    <a:pt x="96" y="41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7" y="39"/>
                    <a:pt x="87" y="39"/>
                    <a:pt x="87" y="39"/>
                  </a:cubicBezTo>
                  <a:lnTo>
                    <a:pt x="96" y="3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65" name="Group 309"/>
          <p:cNvGrpSpPr>
            <a:grpSpLocks noChangeAspect="1"/>
          </p:cNvGrpSpPr>
          <p:nvPr/>
        </p:nvGrpSpPr>
        <p:grpSpPr bwMode="auto">
          <a:xfrm>
            <a:off x="5859467" y="4136366"/>
            <a:ext cx="768350" cy="768350"/>
            <a:chOff x="3691" y="2591"/>
            <a:chExt cx="484" cy="484"/>
          </a:xfrm>
        </p:grpSpPr>
        <p:sp>
          <p:nvSpPr>
            <p:cNvPr id="45366" name="Freeform 310"/>
            <p:cNvSpPr>
              <a:spLocks noEditPoints="1"/>
            </p:cNvSpPr>
            <p:nvPr/>
          </p:nvSpPr>
          <p:spPr bwMode="auto">
            <a:xfrm>
              <a:off x="3787" y="2704"/>
              <a:ext cx="293" cy="259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293" y="259"/>
                </a:cxn>
                <a:cxn ang="0">
                  <a:pos x="293" y="0"/>
                </a:cxn>
                <a:cxn ang="0">
                  <a:pos x="0" y="0"/>
                </a:cxn>
                <a:cxn ang="0">
                  <a:pos x="0" y="259"/>
                </a:cxn>
                <a:cxn ang="0">
                  <a:pos x="10" y="10"/>
                </a:cxn>
                <a:cxn ang="0">
                  <a:pos x="283" y="10"/>
                </a:cxn>
                <a:cxn ang="0">
                  <a:pos x="283" y="249"/>
                </a:cxn>
                <a:cxn ang="0">
                  <a:pos x="10" y="249"/>
                </a:cxn>
                <a:cxn ang="0">
                  <a:pos x="10" y="10"/>
                </a:cxn>
              </a:cxnLst>
              <a:rect l="0" t="0" r="r" b="b"/>
              <a:pathLst>
                <a:path w="293" h="259">
                  <a:moveTo>
                    <a:pt x="0" y="259"/>
                  </a:moveTo>
                  <a:lnTo>
                    <a:pt x="293" y="259"/>
                  </a:lnTo>
                  <a:lnTo>
                    <a:pt x="293" y="0"/>
                  </a:lnTo>
                  <a:lnTo>
                    <a:pt x="0" y="0"/>
                  </a:lnTo>
                  <a:lnTo>
                    <a:pt x="0" y="259"/>
                  </a:lnTo>
                  <a:close/>
                  <a:moveTo>
                    <a:pt x="10" y="10"/>
                  </a:moveTo>
                  <a:lnTo>
                    <a:pt x="283" y="10"/>
                  </a:lnTo>
                  <a:lnTo>
                    <a:pt x="283" y="249"/>
                  </a:lnTo>
                  <a:lnTo>
                    <a:pt x="10" y="249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7" name="Freeform 311"/>
            <p:cNvSpPr>
              <a:spLocks noEditPoints="1"/>
            </p:cNvSpPr>
            <p:nvPr/>
          </p:nvSpPr>
          <p:spPr bwMode="auto">
            <a:xfrm>
              <a:off x="3691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8" name="Rectangle 312"/>
            <p:cNvSpPr>
              <a:spLocks noChangeArrowheads="1"/>
            </p:cNvSpPr>
            <p:nvPr/>
          </p:nvSpPr>
          <p:spPr bwMode="auto">
            <a:xfrm>
              <a:off x="3847" y="2884"/>
              <a:ext cx="31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69" name="Rectangle 313"/>
            <p:cNvSpPr>
              <a:spLocks noChangeArrowheads="1"/>
            </p:cNvSpPr>
            <p:nvPr/>
          </p:nvSpPr>
          <p:spPr bwMode="auto">
            <a:xfrm>
              <a:off x="3847" y="2920"/>
              <a:ext cx="3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0" name="Rectangle 314"/>
            <p:cNvSpPr>
              <a:spLocks noChangeArrowheads="1"/>
            </p:cNvSpPr>
            <p:nvPr/>
          </p:nvSpPr>
          <p:spPr bwMode="auto">
            <a:xfrm>
              <a:off x="3847" y="2848"/>
              <a:ext cx="31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1" name="Freeform 315"/>
            <p:cNvSpPr>
              <a:spLocks noEditPoints="1"/>
            </p:cNvSpPr>
            <p:nvPr/>
          </p:nvSpPr>
          <p:spPr bwMode="auto">
            <a:xfrm>
              <a:off x="3814" y="2726"/>
              <a:ext cx="239" cy="222"/>
            </a:xfrm>
            <a:custGeom>
              <a:avLst/>
              <a:gdLst/>
              <a:ahLst/>
              <a:cxnLst>
                <a:cxn ang="0">
                  <a:pos x="86" y="26"/>
                </a:cxn>
                <a:cxn ang="0">
                  <a:pos x="78" y="8"/>
                </a:cxn>
                <a:cxn ang="0">
                  <a:pos x="61" y="8"/>
                </a:cxn>
                <a:cxn ang="0">
                  <a:pos x="56" y="20"/>
                </a:cxn>
                <a:cxn ang="0">
                  <a:pos x="23" y="9"/>
                </a:cxn>
                <a:cxn ang="0">
                  <a:pos x="38" y="33"/>
                </a:cxn>
                <a:cxn ang="0">
                  <a:pos x="36" y="34"/>
                </a:cxn>
                <a:cxn ang="0">
                  <a:pos x="0" y="36"/>
                </a:cxn>
                <a:cxn ang="0">
                  <a:pos x="0" y="46"/>
                </a:cxn>
                <a:cxn ang="0">
                  <a:pos x="42" y="92"/>
                </a:cxn>
                <a:cxn ang="0">
                  <a:pos x="52" y="46"/>
                </a:cxn>
                <a:cxn ang="0">
                  <a:pos x="52" y="50"/>
                </a:cxn>
                <a:cxn ang="0">
                  <a:pos x="59" y="54"/>
                </a:cxn>
                <a:cxn ang="0">
                  <a:pos x="59" y="87"/>
                </a:cxn>
                <a:cxn ang="0">
                  <a:pos x="70" y="90"/>
                </a:cxn>
                <a:cxn ang="0">
                  <a:pos x="81" y="87"/>
                </a:cxn>
                <a:cxn ang="0">
                  <a:pos x="82" y="55"/>
                </a:cxn>
                <a:cxn ang="0">
                  <a:pos x="87" y="46"/>
                </a:cxn>
                <a:cxn ang="0">
                  <a:pos x="96" y="91"/>
                </a:cxn>
                <a:cxn ang="0">
                  <a:pos x="100" y="46"/>
                </a:cxn>
                <a:cxn ang="0">
                  <a:pos x="100" y="36"/>
                </a:cxn>
                <a:cxn ang="0">
                  <a:pos x="86" y="26"/>
                </a:cxn>
                <a:cxn ang="0">
                  <a:pos x="75" y="8"/>
                </a:cxn>
                <a:cxn ang="0">
                  <a:pos x="65" y="8"/>
                </a:cxn>
                <a:cxn ang="0">
                  <a:pos x="52" y="13"/>
                </a:cxn>
                <a:cxn ang="0">
                  <a:pos x="27" y="22"/>
                </a:cxn>
                <a:cxn ang="0">
                  <a:pos x="52" y="13"/>
                </a:cxn>
                <a:cxn ang="0">
                  <a:pos x="52" y="26"/>
                </a:cxn>
                <a:cxn ang="0">
                  <a:pos x="27" y="29"/>
                </a:cxn>
                <a:cxn ang="0">
                  <a:pos x="41" y="34"/>
                </a:cxn>
                <a:cxn ang="0">
                  <a:pos x="53" y="33"/>
                </a:cxn>
                <a:cxn ang="0">
                  <a:pos x="43" y="36"/>
                </a:cxn>
                <a:cxn ang="0">
                  <a:pos x="41" y="34"/>
                </a:cxn>
                <a:cxn ang="0">
                  <a:pos x="38" y="63"/>
                </a:cxn>
                <a:cxn ang="0">
                  <a:pos x="3" y="73"/>
                </a:cxn>
                <a:cxn ang="0">
                  <a:pos x="3" y="89"/>
                </a:cxn>
                <a:cxn ang="0">
                  <a:pos x="38" y="77"/>
                </a:cxn>
                <a:cxn ang="0">
                  <a:pos x="3" y="89"/>
                </a:cxn>
                <a:cxn ang="0">
                  <a:pos x="3" y="59"/>
                </a:cxn>
                <a:cxn ang="0">
                  <a:pos x="38" y="46"/>
                </a:cxn>
                <a:cxn ang="0">
                  <a:pos x="3" y="42"/>
                </a:cxn>
                <a:cxn ang="0">
                  <a:pos x="52" y="39"/>
                </a:cxn>
                <a:cxn ang="0">
                  <a:pos x="3" y="42"/>
                </a:cxn>
                <a:cxn ang="0">
                  <a:pos x="81" y="50"/>
                </a:cxn>
                <a:cxn ang="0">
                  <a:pos x="77" y="31"/>
                </a:cxn>
                <a:cxn ang="0">
                  <a:pos x="77" y="87"/>
                </a:cxn>
                <a:cxn ang="0">
                  <a:pos x="73" y="87"/>
                </a:cxn>
                <a:cxn ang="0">
                  <a:pos x="68" y="57"/>
                </a:cxn>
                <a:cxn ang="0">
                  <a:pos x="67" y="87"/>
                </a:cxn>
                <a:cxn ang="0">
                  <a:pos x="62" y="87"/>
                </a:cxn>
                <a:cxn ang="0">
                  <a:pos x="63" y="31"/>
                </a:cxn>
                <a:cxn ang="0">
                  <a:pos x="59" y="50"/>
                </a:cxn>
                <a:cxn ang="0">
                  <a:pos x="56" y="50"/>
                </a:cxn>
                <a:cxn ang="0">
                  <a:pos x="57" y="26"/>
                </a:cxn>
                <a:cxn ang="0">
                  <a:pos x="83" y="26"/>
                </a:cxn>
                <a:cxn ang="0">
                  <a:pos x="82" y="51"/>
                </a:cxn>
                <a:cxn ang="0">
                  <a:pos x="96" y="41"/>
                </a:cxn>
                <a:cxn ang="0">
                  <a:pos x="87" y="42"/>
                </a:cxn>
                <a:cxn ang="0">
                  <a:pos x="96" y="39"/>
                </a:cxn>
              </a:cxnLst>
              <a:rect l="0" t="0" r="r" b="b"/>
              <a:pathLst>
                <a:path w="100" h="93">
                  <a:moveTo>
                    <a:pt x="86" y="26"/>
                  </a:move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5" y="17"/>
                    <a:pt x="75" y="15"/>
                  </a:cubicBezTo>
                  <a:cubicBezTo>
                    <a:pt x="77" y="13"/>
                    <a:pt x="78" y="11"/>
                    <a:pt x="78" y="8"/>
                  </a:cubicBezTo>
                  <a:cubicBezTo>
                    <a:pt x="78" y="3"/>
                    <a:pt x="75" y="0"/>
                    <a:pt x="70" y="0"/>
                  </a:cubicBezTo>
                  <a:cubicBezTo>
                    <a:pt x="65" y="0"/>
                    <a:pt x="61" y="3"/>
                    <a:pt x="61" y="8"/>
                  </a:cubicBezTo>
                  <a:cubicBezTo>
                    <a:pt x="61" y="11"/>
                    <a:pt x="63" y="13"/>
                    <a:pt x="64" y="15"/>
                  </a:cubicBezTo>
                  <a:cubicBezTo>
                    <a:pt x="60" y="16"/>
                    <a:pt x="57" y="18"/>
                    <a:pt x="56" y="20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3"/>
                    <a:pt x="55" y="55"/>
                    <a:pt x="57" y="55"/>
                  </a:cubicBezTo>
                  <a:cubicBezTo>
                    <a:pt x="58" y="55"/>
                    <a:pt x="58" y="55"/>
                    <a:pt x="59" y="54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71"/>
                    <a:pt x="59" y="82"/>
                    <a:pt x="59" y="87"/>
                  </a:cubicBezTo>
                  <a:cubicBezTo>
                    <a:pt x="59" y="90"/>
                    <a:pt x="61" y="93"/>
                    <a:pt x="65" y="93"/>
                  </a:cubicBezTo>
                  <a:cubicBezTo>
                    <a:pt x="67" y="93"/>
                    <a:pt x="69" y="92"/>
                    <a:pt x="70" y="90"/>
                  </a:cubicBezTo>
                  <a:cubicBezTo>
                    <a:pt x="71" y="92"/>
                    <a:pt x="73" y="93"/>
                    <a:pt x="75" y="93"/>
                  </a:cubicBezTo>
                  <a:cubicBezTo>
                    <a:pt x="78" y="93"/>
                    <a:pt x="81" y="90"/>
                    <a:pt x="81" y="87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2" y="55"/>
                    <a:pt x="82" y="55"/>
                  </a:cubicBezTo>
                  <a:cubicBezTo>
                    <a:pt x="85" y="55"/>
                    <a:pt x="87" y="53"/>
                    <a:pt x="87" y="50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6" y="91"/>
                    <a:pt x="96" y="91"/>
                    <a:pt x="96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87" y="36"/>
                    <a:pt x="87" y="36"/>
                    <a:pt x="87" y="36"/>
                  </a:cubicBezTo>
                  <a:lnTo>
                    <a:pt x="86" y="26"/>
                  </a:lnTo>
                  <a:close/>
                  <a:moveTo>
                    <a:pt x="70" y="3"/>
                  </a:moveTo>
                  <a:cubicBezTo>
                    <a:pt x="73" y="3"/>
                    <a:pt x="75" y="5"/>
                    <a:pt x="75" y="8"/>
                  </a:cubicBezTo>
                  <a:cubicBezTo>
                    <a:pt x="75" y="11"/>
                    <a:pt x="73" y="13"/>
                    <a:pt x="70" y="13"/>
                  </a:cubicBezTo>
                  <a:cubicBezTo>
                    <a:pt x="67" y="13"/>
                    <a:pt x="65" y="11"/>
                    <a:pt x="65" y="8"/>
                  </a:cubicBezTo>
                  <a:cubicBezTo>
                    <a:pt x="65" y="5"/>
                    <a:pt x="67" y="3"/>
                    <a:pt x="70" y="3"/>
                  </a:cubicBezTo>
                  <a:close/>
                  <a:moveTo>
                    <a:pt x="52" y="13"/>
                  </a:moveTo>
                  <a:cubicBezTo>
                    <a:pt x="52" y="22"/>
                    <a:pt x="52" y="22"/>
                    <a:pt x="52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52" y="13"/>
                  </a:lnTo>
                  <a:close/>
                  <a:moveTo>
                    <a:pt x="27" y="26"/>
                  </a:moveTo>
                  <a:cubicBezTo>
                    <a:pt x="52" y="26"/>
                    <a:pt x="52" y="26"/>
                    <a:pt x="52" y="26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27" y="29"/>
                    <a:pt x="27" y="29"/>
                    <a:pt x="27" y="29"/>
                  </a:cubicBezTo>
                  <a:lnTo>
                    <a:pt x="27" y="26"/>
                  </a:lnTo>
                  <a:close/>
                  <a:moveTo>
                    <a:pt x="41" y="34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4"/>
                    <a:pt x="43" y="34"/>
                    <a:pt x="43" y="34"/>
                  </a:cubicBezTo>
                  <a:lnTo>
                    <a:pt x="41" y="34"/>
                  </a:lnTo>
                  <a:close/>
                  <a:moveTo>
                    <a:pt x="3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" y="73"/>
                    <a:pt x="3" y="73"/>
                    <a:pt x="3" y="73"/>
                  </a:cubicBezTo>
                  <a:lnTo>
                    <a:pt x="3" y="63"/>
                  </a:lnTo>
                  <a:close/>
                  <a:moveTo>
                    <a:pt x="3" y="89"/>
                  </a:moveTo>
                  <a:cubicBezTo>
                    <a:pt x="3" y="77"/>
                    <a:pt x="3" y="77"/>
                    <a:pt x="3" y="77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89"/>
                    <a:pt x="38" y="89"/>
                    <a:pt x="38" y="89"/>
                  </a:cubicBezTo>
                  <a:lnTo>
                    <a:pt x="3" y="89"/>
                  </a:lnTo>
                  <a:close/>
                  <a:moveTo>
                    <a:pt x="38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8" y="46"/>
                    <a:pt x="38" y="46"/>
                    <a:pt x="38" y="46"/>
                  </a:cubicBezTo>
                  <a:lnTo>
                    <a:pt x="38" y="59"/>
                  </a:lnTo>
                  <a:close/>
                  <a:moveTo>
                    <a:pt x="3" y="42"/>
                  </a:moveTo>
                  <a:cubicBezTo>
                    <a:pt x="3" y="39"/>
                    <a:pt x="3" y="39"/>
                    <a:pt x="3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42"/>
                    <a:pt x="52" y="42"/>
                    <a:pt x="52" y="42"/>
                  </a:cubicBezTo>
                  <a:lnTo>
                    <a:pt x="3" y="42"/>
                  </a:lnTo>
                  <a:close/>
                  <a:moveTo>
                    <a:pt x="82" y="51"/>
                  </a:moveTo>
                  <a:cubicBezTo>
                    <a:pt x="81" y="51"/>
                    <a:pt x="81" y="51"/>
                    <a:pt x="81" y="5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87"/>
                    <a:pt x="77" y="87"/>
                    <a:pt x="77" y="87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3" y="88"/>
                    <a:pt x="73" y="8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7" y="88"/>
                    <a:pt x="66" y="89"/>
                    <a:pt x="65" y="89"/>
                  </a:cubicBezTo>
                  <a:cubicBezTo>
                    <a:pt x="63" y="89"/>
                    <a:pt x="62" y="88"/>
                    <a:pt x="62" y="87"/>
                  </a:cubicBezTo>
                  <a:cubicBezTo>
                    <a:pt x="62" y="82"/>
                    <a:pt x="62" y="71"/>
                    <a:pt x="63" y="59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1"/>
                    <a:pt x="57" y="51"/>
                    <a:pt x="57" y="51"/>
                  </a:cubicBezTo>
                  <a:cubicBezTo>
                    <a:pt x="57" y="51"/>
                    <a:pt x="56" y="50"/>
                    <a:pt x="56" y="50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8" y="18"/>
                    <a:pt x="70" y="18"/>
                  </a:cubicBezTo>
                  <a:cubicBezTo>
                    <a:pt x="81" y="18"/>
                    <a:pt x="82" y="25"/>
                    <a:pt x="83" y="26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1"/>
                    <a:pt x="83" y="51"/>
                    <a:pt x="82" y="51"/>
                  </a:cubicBezTo>
                  <a:close/>
                  <a:moveTo>
                    <a:pt x="96" y="39"/>
                  </a:moveTo>
                  <a:cubicBezTo>
                    <a:pt x="96" y="41"/>
                    <a:pt x="96" y="41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7" y="39"/>
                    <a:pt x="87" y="39"/>
                    <a:pt x="87" y="39"/>
                  </a:cubicBezTo>
                  <a:lnTo>
                    <a:pt x="96" y="3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74" name="Group 318"/>
          <p:cNvGrpSpPr>
            <a:grpSpLocks noChangeAspect="1"/>
          </p:cNvGrpSpPr>
          <p:nvPr/>
        </p:nvGrpSpPr>
        <p:grpSpPr bwMode="auto">
          <a:xfrm>
            <a:off x="6919767" y="4103025"/>
            <a:ext cx="836612" cy="836613"/>
            <a:chOff x="4363" y="2570"/>
            <a:chExt cx="527" cy="527"/>
          </a:xfrm>
        </p:grpSpPr>
        <p:sp>
          <p:nvSpPr>
            <p:cNvPr id="45375" name="Oval 319"/>
            <p:cNvSpPr>
              <a:spLocks noChangeArrowheads="1"/>
            </p:cNvSpPr>
            <p:nvPr/>
          </p:nvSpPr>
          <p:spPr bwMode="auto">
            <a:xfrm>
              <a:off x="4363" y="2570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76" name="Freeform 320"/>
            <p:cNvSpPr>
              <a:spLocks noEditPoints="1"/>
            </p:cNvSpPr>
            <p:nvPr/>
          </p:nvSpPr>
          <p:spPr bwMode="auto">
            <a:xfrm>
              <a:off x="4385" y="2592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7" name="Freeform 321"/>
            <p:cNvSpPr>
              <a:spLocks noEditPoints="1"/>
            </p:cNvSpPr>
            <p:nvPr/>
          </p:nvSpPr>
          <p:spPr bwMode="auto">
            <a:xfrm>
              <a:off x="4631" y="2845"/>
              <a:ext cx="165" cy="154"/>
            </a:xfrm>
            <a:custGeom>
              <a:avLst/>
              <a:gdLst/>
              <a:ahLst/>
              <a:cxnLst>
                <a:cxn ang="0">
                  <a:pos x="48" y="10"/>
                </a:cxn>
                <a:cxn ang="0">
                  <a:pos x="47" y="12"/>
                </a:cxn>
                <a:cxn ang="0">
                  <a:pos x="47" y="17"/>
                </a:cxn>
                <a:cxn ang="0">
                  <a:pos x="46" y="22"/>
                </a:cxn>
                <a:cxn ang="0">
                  <a:pos x="40" y="23"/>
                </a:cxn>
                <a:cxn ang="0">
                  <a:pos x="37" y="19"/>
                </a:cxn>
                <a:cxn ang="0">
                  <a:pos x="41" y="15"/>
                </a:cxn>
                <a:cxn ang="0">
                  <a:pos x="45" y="11"/>
                </a:cxn>
                <a:cxn ang="0">
                  <a:pos x="45" y="9"/>
                </a:cxn>
                <a:cxn ang="0">
                  <a:pos x="24" y="0"/>
                </a:cxn>
                <a:cxn ang="0">
                  <a:pos x="17" y="16"/>
                </a:cxn>
                <a:cxn ang="0">
                  <a:pos x="8" y="10"/>
                </a:cxn>
                <a:cxn ang="0">
                  <a:pos x="1" y="16"/>
                </a:cxn>
                <a:cxn ang="0">
                  <a:pos x="1" y="24"/>
                </a:cxn>
                <a:cxn ang="0">
                  <a:pos x="9" y="27"/>
                </a:cxn>
                <a:cxn ang="0">
                  <a:pos x="12" y="27"/>
                </a:cxn>
                <a:cxn ang="0">
                  <a:pos x="4" y="44"/>
                </a:cxn>
                <a:cxn ang="0">
                  <a:pos x="48" y="64"/>
                </a:cxn>
                <a:cxn ang="0">
                  <a:pos x="69" y="20"/>
                </a:cxn>
                <a:cxn ang="0">
                  <a:pos x="48" y="10"/>
                </a:cxn>
                <a:cxn ang="0">
                  <a:pos x="47" y="59"/>
                </a:cxn>
                <a:cxn ang="0">
                  <a:pos x="9" y="42"/>
                </a:cxn>
                <a:cxn ang="0">
                  <a:pos x="17" y="24"/>
                </a:cxn>
                <a:cxn ang="0">
                  <a:pos x="15" y="24"/>
                </a:cxn>
                <a:cxn ang="0">
                  <a:pos x="11" y="24"/>
                </a:cxn>
                <a:cxn ang="0">
                  <a:pos x="9" y="24"/>
                </a:cxn>
                <a:cxn ang="0">
                  <a:pos x="4" y="22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8"/>
                </a:cxn>
                <a:cxn ang="0">
                  <a:pos x="16" y="21"/>
                </a:cxn>
                <a:cxn ang="0">
                  <a:pos x="18" y="22"/>
                </a:cxn>
                <a:cxn ang="0">
                  <a:pos x="26" y="4"/>
                </a:cxn>
                <a:cxn ang="0">
                  <a:pos x="40" y="11"/>
                </a:cxn>
                <a:cxn ang="0">
                  <a:pos x="40" y="11"/>
                </a:cxn>
                <a:cxn ang="0">
                  <a:pos x="34" y="19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9" y="24"/>
                </a:cxn>
                <a:cxn ang="0">
                  <a:pos x="50" y="16"/>
                </a:cxn>
                <a:cxn ang="0">
                  <a:pos x="50" y="15"/>
                </a:cxn>
                <a:cxn ang="0">
                  <a:pos x="64" y="22"/>
                </a:cxn>
                <a:cxn ang="0">
                  <a:pos x="47" y="59"/>
                </a:cxn>
              </a:cxnLst>
              <a:rect l="0" t="0" r="r" b="b"/>
              <a:pathLst>
                <a:path w="69" h="64">
                  <a:moveTo>
                    <a:pt x="48" y="10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6" y="14"/>
                    <a:pt x="46" y="16"/>
                    <a:pt x="47" y="17"/>
                  </a:cubicBezTo>
                  <a:cubicBezTo>
                    <a:pt x="47" y="19"/>
                    <a:pt x="47" y="21"/>
                    <a:pt x="46" y="22"/>
                  </a:cubicBezTo>
                  <a:cubicBezTo>
                    <a:pt x="45" y="24"/>
                    <a:pt x="43" y="24"/>
                    <a:pt x="40" y="23"/>
                  </a:cubicBezTo>
                  <a:cubicBezTo>
                    <a:pt x="38" y="22"/>
                    <a:pt x="37" y="21"/>
                    <a:pt x="37" y="19"/>
                  </a:cubicBezTo>
                  <a:cubicBezTo>
                    <a:pt x="37" y="17"/>
                    <a:pt x="39" y="15"/>
                    <a:pt x="41" y="15"/>
                  </a:cubicBezTo>
                  <a:cubicBezTo>
                    <a:pt x="42" y="14"/>
                    <a:pt x="44" y="13"/>
                    <a:pt x="45" y="11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4"/>
                    <a:pt x="12" y="10"/>
                    <a:pt x="8" y="10"/>
                  </a:cubicBezTo>
                  <a:cubicBezTo>
                    <a:pt x="7" y="10"/>
                    <a:pt x="3" y="11"/>
                    <a:pt x="1" y="16"/>
                  </a:cubicBezTo>
                  <a:cubicBezTo>
                    <a:pt x="0" y="20"/>
                    <a:pt x="0" y="22"/>
                    <a:pt x="1" y="24"/>
                  </a:cubicBezTo>
                  <a:cubicBezTo>
                    <a:pt x="3" y="26"/>
                    <a:pt x="6" y="27"/>
                    <a:pt x="9" y="27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69" y="20"/>
                    <a:pt x="69" y="20"/>
                    <a:pt x="69" y="20"/>
                  </a:cubicBezTo>
                  <a:lnTo>
                    <a:pt x="48" y="10"/>
                  </a:lnTo>
                  <a:close/>
                  <a:moveTo>
                    <a:pt x="47" y="59"/>
                  </a:moveTo>
                  <a:cubicBezTo>
                    <a:pt x="9" y="42"/>
                    <a:pt x="9" y="42"/>
                    <a:pt x="9" y="42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3"/>
                    <a:pt x="12" y="23"/>
                    <a:pt x="11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7" y="24"/>
                    <a:pt x="5" y="23"/>
                    <a:pt x="4" y="22"/>
                  </a:cubicBezTo>
                  <a:cubicBezTo>
                    <a:pt x="4" y="21"/>
                    <a:pt x="4" y="19"/>
                    <a:pt x="5" y="17"/>
                  </a:cubicBezTo>
                  <a:cubicBezTo>
                    <a:pt x="6" y="15"/>
                    <a:pt x="7" y="14"/>
                    <a:pt x="8" y="14"/>
                  </a:cubicBezTo>
                  <a:cubicBezTo>
                    <a:pt x="10" y="14"/>
                    <a:pt x="13" y="16"/>
                    <a:pt x="13" y="18"/>
                  </a:cubicBezTo>
                  <a:cubicBezTo>
                    <a:pt x="14" y="19"/>
                    <a:pt x="15" y="20"/>
                    <a:pt x="16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7" y="12"/>
                    <a:pt x="34" y="15"/>
                    <a:pt x="34" y="19"/>
                  </a:cubicBezTo>
                  <a:cubicBezTo>
                    <a:pt x="33" y="21"/>
                    <a:pt x="34" y="24"/>
                    <a:pt x="39" y="27"/>
                  </a:cubicBezTo>
                  <a:cubicBezTo>
                    <a:pt x="40" y="27"/>
                    <a:pt x="42" y="28"/>
                    <a:pt x="43" y="28"/>
                  </a:cubicBezTo>
                  <a:cubicBezTo>
                    <a:pt x="45" y="28"/>
                    <a:pt x="47" y="27"/>
                    <a:pt x="49" y="24"/>
                  </a:cubicBezTo>
                  <a:cubicBezTo>
                    <a:pt x="51" y="22"/>
                    <a:pt x="51" y="18"/>
                    <a:pt x="50" y="16"/>
                  </a:cubicBezTo>
                  <a:cubicBezTo>
                    <a:pt x="50" y="16"/>
                    <a:pt x="50" y="15"/>
                    <a:pt x="50" y="15"/>
                  </a:cubicBezTo>
                  <a:cubicBezTo>
                    <a:pt x="64" y="22"/>
                    <a:pt x="64" y="22"/>
                    <a:pt x="64" y="22"/>
                  </a:cubicBezTo>
                  <a:lnTo>
                    <a:pt x="47" y="5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78" name="Freeform 322"/>
            <p:cNvSpPr>
              <a:spLocks noEditPoints="1"/>
            </p:cNvSpPr>
            <p:nvPr/>
          </p:nvSpPr>
          <p:spPr bwMode="auto">
            <a:xfrm>
              <a:off x="4483" y="2695"/>
              <a:ext cx="222" cy="225"/>
            </a:xfrm>
            <a:custGeom>
              <a:avLst/>
              <a:gdLst/>
              <a:ahLst/>
              <a:cxnLst>
                <a:cxn ang="0">
                  <a:pos x="77" y="58"/>
                </a:cxn>
                <a:cxn ang="0">
                  <a:pos x="93" y="49"/>
                </a:cxn>
                <a:cxn ang="0">
                  <a:pos x="48" y="0"/>
                </a:cxn>
                <a:cxn ang="0">
                  <a:pos x="0" y="0"/>
                </a:cxn>
                <a:cxn ang="0">
                  <a:pos x="0" y="47"/>
                </a:cxn>
                <a:cxn ang="0">
                  <a:pos x="48" y="94"/>
                </a:cxn>
                <a:cxn ang="0">
                  <a:pos x="46" y="71"/>
                </a:cxn>
                <a:cxn ang="0">
                  <a:pos x="37" y="74"/>
                </a:cxn>
                <a:cxn ang="0">
                  <a:pos x="37" y="65"/>
                </a:cxn>
                <a:cxn ang="0">
                  <a:pos x="46" y="68"/>
                </a:cxn>
                <a:cxn ang="0">
                  <a:pos x="48" y="49"/>
                </a:cxn>
                <a:cxn ang="0">
                  <a:pos x="61" y="58"/>
                </a:cxn>
                <a:cxn ang="0">
                  <a:pos x="3" y="3"/>
                </a:cxn>
                <a:cxn ang="0">
                  <a:pos x="45" y="23"/>
                </a:cxn>
                <a:cxn ang="0">
                  <a:pos x="51" y="21"/>
                </a:cxn>
                <a:cxn ang="0">
                  <a:pos x="59" y="24"/>
                </a:cxn>
                <a:cxn ang="0">
                  <a:pos x="51" y="27"/>
                </a:cxn>
                <a:cxn ang="0">
                  <a:pos x="45" y="25"/>
                </a:cxn>
                <a:cxn ang="0">
                  <a:pos x="30" y="45"/>
                </a:cxn>
                <a:cxn ang="0">
                  <a:pos x="24" y="31"/>
                </a:cxn>
                <a:cxn ang="0">
                  <a:pos x="18" y="45"/>
                </a:cxn>
                <a:cxn ang="0">
                  <a:pos x="3" y="3"/>
                </a:cxn>
                <a:cxn ang="0">
                  <a:pos x="44" y="64"/>
                </a:cxn>
                <a:cxn ang="0">
                  <a:pos x="30" y="69"/>
                </a:cxn>
                <a:cxn ang="0">
                  <a:pos x="44" y="75"/>
                </a:cxn>
                <a:cxn ang="0">
                  <a:pos x="45" y="90"/>
                </a:cxn>
                <a:cxn ang="0">
                  <a:pos x="3" y="49"/>
                </a:cxn>
                <a:cxn ang="0">
                  <a:pos x="23" y="47"/>
                </a:cxn>
                <a:cxn ang="0">
                  <a:pos x="20" y="37"/>
                </a:cxn>
                <a:cxn ang="0">
                  <a:pos x="28" y="37"/>
                </a:cxn>
                <a:cxn ang="0">
                  <a:pos x="25" y="47"/>
                </a:cxn>
                <a:cxn ang="0">
                  <a:pos x="45" y="49"/>
                </a:cxn>
                <a:cxn ang="0">
                  <a:pos x="48" y="45"/>
                </a:cxn>
                <a:cxn ang="0">
                  <a:pos x="58" y="32"/>
                </a:cxn>
                <a:cxn ang="0">
                  <a:pos x="58" y="16"/>
                </a:cxn>
                <a:cxn ang="0">
                  <a:pos x="48" y="3"/>
                </a:cxn>
                <a:cxn ang="0">
                  <a:pos x="90" y="45"/>
                </a:cxn>
                <a:cxn ang="0">
                  <a:pos x="70" y="47"/>
                </a:cxn>
                <a:cxn ang="0">
                  <a:pos x="74" y="57"/>
                </a:cxn>
                <a:cxn ang="0">
                  <a:pos x="65" y="57"/>
                </a:cxn>
                <a:cxn ang="0">
                  <a:pos x="68" y="47"/>
                </a:cxn>
                <a:cxn ang="0">
                  <a:pos x="48" y="45"/>
                </a:cxn>
              </a:cxnLst>
              <a:rect l="0" t="0" r="r" b="b"/>
              <a:pathLst>
                <a:path w="93" h="94">
                  <a:moveTo>
                    <a:pt x="69" y="63"/>
                  </a:moveTo>
                  <a:cubicBezTo>
                    <a:pt x="74" y="63"/>
                    <a:pt x="76" y="60"/>
                    <a:pt x="77" y="58"/>
                  </a:cubicBezTo>
                  <a:cubicBezTo>
                    <a:pt x="78" y="55"/>
                    <a:pt x="77" y="51"/>
                    <a:pt x="75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4" y="71"/>
                    <a:pt x="43" y="71"/>
                    <a:pt x="42" y="72"/>
                  </a:cubicBezTo>
                  <a:cubicBezTo>
                    <a:pt x="41" y="73"/>
                    <a:pt x="39" y="74"/>
                    <a:pt x="37" y="74"/>
                  </a:cubicBezTo>
                  <a:cubicBezTo>
                    <a:pt x="36" y="74"/>
                    <a:pt x="33" y="73"/>
                    <a:pt x="33" y="69"/>
                  </a:cubicBezTo>
                  <a:cubicBezTo>
                    <a:pt x="33" y="65"/>
                    <a:pt x="36" y="65"/>
                    <a:pt x="37" y="65"/>
                  </a:cubicBezTo>
                  <a:cubicBezTo>
                    <a:pt x="39" y="65"/>
                    <a:pt x="41" y="65"/>
                    <a:pt x="42" y="66"/>
                  </a:cubicBezTo>
                  <a:cubicBezTo>
                    <a:pt x="43" y="67"/>
                    <a:pt x="44" y="68"/>
                    <a:pt x="46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1" y="51"/>
                    <a:pt x="60" y="55"/>
                    <a:pt x="61" y="58"/>
                  </a:cubicBezTo>
                  <a:cubicBezTo>
                    <a:pt x="62" y="60"/>
                    <a:pt x="64" y="63"/>
                    <a:pt x="69" y="63"/>
                  </a:cubicBezTo>
                  <a:close/>
                  <a:moveTo>
                    <a:pt x="3" y="3"/>
                  </a:moveTo>
                  <a:cubicBezTo>
                    <a:pt x="45" y="3"/>
                    <a:pt x="45" y="3"/>
                    <a:pt x="45" y="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8" y="23"/>
                    <a:pt x="50" y="22"/>
                    <a:pt x="51" y="21"/>
                  </a:cubicBezTo>
                  <a:cubicBezTo>
                    <a:pt x="52" y="20"/>
                    <a:pt x="55" y="19"/>
                    <a:pt x="57" y="20"/>
                  </a:cubicBezTo>
                  <a:cubicBezTo>
                    <a:pt x="58" y="20"/>
                    <a:pt x="59" y="22"/>
                    <a:pt x="59" y="24"/>
                  </a:cubicBezTo>
                  <a:cubicBezTo>
                    <a:pt x="59" y="27"/>
                    <a:pt x="58" y="28"/>
                    <a:pt x="57" y="29"/>
                  </a:cubicBezTo>
                  <a:cubicBezTo>
                    <a:pt x="55" y="29"/>
                    <a:pt x="52" y="29"/>
                    <a:pt x="51" y="27"/>
                  </a:cubicBezTo>
                  <a:cubicBezTo>
                    <a:pt x="50" y="26"/>
                    <a:pt x="48" y="26"/>
                    <a:pt x="47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2" y="43"/>
                    <a:pt x="33" y="39"/>
                    <a:pt x="32" y="35"/>
                  </a:cubicBezTo>
                  <a:cubicBezTo>
                    <a:pt x="31" y="34"/>
                    <a:pt x="29" y="31"/>
                    <a:pt x="24" y="31"/>
                  </a:cubicBezTo>
                  <a:cubicBezTo>
                    <a:pt x="19" y="31"/>
                    <a:pt x="17" y="34"/>
                    <a:pt x="16" y="35"/>
                  </a:cubicBezTo>
                  <a:cubicBezTo>
                    <a:pt x="15" y="39"/>
                    <a:pt x="16" y="43"/>
                    <a:pt x="18" y="45"/>
                  </a:cubicBezTo>
                  <a:cubicBezTo>
                    <a:pt x="3" y="45"/>
                    <a:pt x="3" y="45"/>
                    <a:pt x="3" y="45"/>
                  </a:cubicBezTo>
                  <a:lnTo>
                    <a:pt x="3" y="3"/>
                  </a:lnTo>
                  <a:close/>
                  <a:moveTo>
                    <a:pt x="45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3" y="62"/>
                    <a:pt x="40" y="61"/>
                    <a:pt x="37" y="61"/>
                  </a:cubicBezTo>
                  <a:cubicBezTo>
                    <a:pt x="34" y="61"/>
                    <a:pt x="30" y="63"/>
                    <a:pt x="30" y="69"/>
                  </a:cubicBezTo>
                  <a:cubicBezTo>
                    <a:pt x="30" y="76"/>
                    <a:pt x="34" y="78"/>
                    <a:pt x="37" y="78"/>
                  </a:cubicBezTo>
                  <a:cubicBezTo>
                    <a:pt x="40" y="78"/>
                    <a:pt x="43" y="77"/>
                    <a:pt x="44" y="75"/>
                  </a:cubicBezTo>
                  <a:cubicBezTo>
                    <a:pt x="44" y="75"/>
                    <a:pt x="44" y="75"/>
                    <a:pt x="45" y="75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5"/>
                    <a:pt x="22" y="44"/>
                    <a:pt x="21" y="42"/>
                  </a:cubicBezTo>
                  <a:cubicBezTo>
                    <a:pt x="20" y="41"/>
                    <a:pt x="19" y="39"/>
                    <a:pt x="20" y="37"/>
                  </a:cubicBezTo>
                  <a:cubicBezTo>
                    <a:pt x="20" y="35"/>
                    <a:pt x="22" y="34"/>
                    <a:pt x="24" y="34"/>
                  </a:cubicBezTo>
                  <a:cubicBezTo>
                    <a:pt x="26" y="34"/>
                    <a:pt x="28" y="35"/>
                    <a:pt x="28" y="37"/>
                  </a:cubicBezTo>
                  <a:cubicBezTo>
                    <a:pt x="29" y="39"/>
                    <a:pt x="28" y="41"/>
                    <a:pt x="27" y="42"/>
                  </a:cubicBezTo>
                  <a:cubicBezTo>
                    <a:pt x="26" y="44"/>
                    <a:pt x="25" y="45"/>
                    <a:pt x="25" y="47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45" y="49"/>
                    <a:pt x="45" y="49"/>
                    <a:pt x="45" y="49"/>
                  </a:cubicBezTo>
                  <a:lnTo>
                    <a:pt x="45" y="64"/>
                  </a:lnTo>
                  <a:close/>
                  <a:moveTo>
                    <a:pt x="48" y="45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50" y="32"/>
                    <a:pt x="55" y="33"/>
                    <a:pt x="58" y="32"/>
                  </a:cubicBezTo>
                  <a:cubicBezTo>
                    <a:pt x="60" y="31"/>
                    <a:pt x="63" y="29"/>
                    <a:pt x="63" y="24"/>
                  </a:cubicBezTo>
                  <a:cubicBezTo>
                    <a:pt x="63" y="19"/>
                    <a:pt x="60" y="17"/>
                    <a:pt x="58" y="16"/>
                  </a:cubicBezTo>
                  <a:cubicBezTo>
                    <a:pt x="55" y="15"/>
                    <a:pt x="50" y="16"/>
                    <a:pt x="48" y="1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9"/>
                    <a:pt x="71" y="50"/>
                    <a:pt x="72" y="51"/>
                  </a:cubicBezTo>
                  <a:cubicBezTo>
                    <a:pt x="73" y="52"/>
                    <a:pt x="74" y="55"/>
                    <a:pt x="74" y="57"/>
                  </a:cubicBezTo>
                  <a:cubicBezTo>
                    <a:pt x="73" y="58"/>
                    <a:pt x="71" y="59"/>
                    <a:pt x="69" y="59"/>
                  </a:cubicBezTo>
                  <a:cubicBezTo>
                    <a:pt x="67" y="59"/>
                    <a:pt x="65" y="58"/>
                    <a:pt x="65" y="57"/>
                  </a:cubicBezTo>
                  <a:cubicBezTo>
                    <a:pt x="64" y="55"/>
                    <a:pt x="65" y="52"/>
                    <a:pt x="66" y="51"/>
                  </a:cubicBezTo>
                  <a:cubicBezTo>
                    <a:pt x="67" y="50"/>
                    <a:pt x="68" y="49"/>
                    <a:pt x="68" y="47"/>
                  </a:cubicBezTo>
                  <a:cubicBezTo>
                    <a:pt x="68" y="45"/>
                    <a:pt x="68" y="45"/>
                    <a:pt x="68" y="45"/>
                  </a:cubicBezTo>
                  <a:lnTo>
                    <a:pt x="48" y="4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81" name="Group 325"/>
          <p:cNvGrpSpPr>
            <a:grpSpLocks noChangeAspect="1"/>
          </p:cNvGrpSpPr>
          <p:nvPr/>
        </p:nvGrpSpPr>
        <p:grpSpPr bwMode="auto">
          <a:xfrm>
            <a:off x="8055764" y="4136366"/>
            <a:ext cx="768350" cy="768350"/>
            <a:chOff x="5078" y="2591"/>
            <a:chExt cx="484" cy="484"/>
          </a:xfrm>
        </p:grpSpPr>
        <p:sp>
          <p:nvSpPr>
            <p:cNvPr id="45382" name="Freeform 326"/>
            <p:cNvSpPr>
              <a:spLocks noEditPoints="1"/>
            </p:cNvSpPr>
            <p:nvPr/>
          </p:nvSpPr>
          <p:spPr bwMode="auto">
            <a:xfrm>
              <a:off x="5078" y="259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3" name="Freeform 327"/>
            <p:cNvSpPr>
              <a:spLocks noEditPoints="1"/>
            </p:cNvSpPr>
            <p:nvPr/>
          </p:nvSpPr>
          <p:spPr bwMode="auto">
            <a:xfrm>
              <a:off x="5325" y="2845"/>
              <a:ext cx="166" cy="154"/>
            </a:xfrm>
            <a:custGeom>
              <a:avLst/>
              <a:gdLst/>
              <a:ahLst/>
              <a:cxnLst>
                <a:cxn ang="0">
                  <a:pos x="48" y="10"/>
                </a:cxn>
                <a:cxn ang="0">
                  <a:pos x="47" y="12"/>
                </a:cxn>
                <a:cxn ang="0">
                  <a:pos x="47" y="17"/>
                </a:cxn>
                <a:cxn ang="0">
                  <a:pos x="46" y="22"/>
                </a:cxn>
                <a:cxn ang="0">
                  <a:pos x="40" y="23"/>
                </a:cxn>
                <a:cxn ang="0">
                  <a:pos x="37" y="19"/>
                </a:cxn>
                <a:cxn ang="0">
                  <a:pos x="41" y="15"/>
                </a:cxn>
                <a:cxn ang="0">
                  <a:pos x="45" y="11"/>
                </a:cxn>
                <a:cxn ang="0">
                  <a:pos x="45" y="9"/>
                </a:cxn>
                <a:cxn ang="0">
                  <a:pos x="24" y="0"/>
                </a:cxn>
                <a:cxn ang="0">
                  <a:pos x="17" y="16"/>
                </a:cxn>
                <a:cxn ang="0">
                  <a:pos x="8" y="10"/>
                </a:cxn>
                <a:cxn ang="0">
                  <a:pos x="1" y="16"/>
                </a:cxn>
                <a:cxn ang="0">
                  <a:pos x="1" y="24"/>
                </a:cxn>
                <a:cxn ang="0">
                  <a:pos x="9" y="27"/>
                </a:cxn>
                <a:cxn ang="0">
                  <a:pos x="12" y="27"/>
                </a:cxn>
                <a:cxn ang="0">
                  <a:pos x="4" y="44"/>
                </a:cxn>
                <a:cxn ang="0">
                  <a:pos x="48" y="64"/>
                </a:cxn>
                <a:cxn ang="0">
                  <a:pos x="69" y="20"/>
                </a:cxn>
                <a:cxn ang="0">
                  <a:pos x="48" y="10"/>
                </a:cxn>
                <a:cxn ang="0">
                  <a:pos x="47" y="59"/>
                </a:cxn>
                <a:cxn ang="0">
                  <a:pos x="9" y="42"/>
                </a:cxn>
                <a:cxn ang="0">
                  <a:pos x="17" y="24"/>
                </a:cxn>
                <a:cxn ang="0">
                  <a:pos x="15" y="24"/>
                </a:cxn>
                <a:cxn ang="0">
                  <a:pos x="11" y="24"/>
                </a:cxn>
                <a:cxn ang="0">
                  <a:pos x="9" y="24"/>
                </a:cxn>
                <a:cxn ang="0">
                  <a:pos x="4" y="22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8"/>
                </a:cxn>
                <a:cxn ang="0">
                  <a:pos x="16" y="21"/>
                </a:cxn>
                <a:cxn ang="0">
                  <a:pos x="18" y="22"/>
                </a:cxn>
                <a:cxn ang="0">
                  <a:pos x="26" y="4"/>
                </a:cxn>
                <a:cxn ang="0">
                  <a:pos x="40" y="11"/>
                </a:cxn>
                <a:cxn ang="0">
                  <a:pos x="40" y="11"/>
                </a:cxn>
                <a:cxn ang="0">
                  <a:pos x="34" y="19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9" y="24"/>
                </a:cxn>
                <a:cxn ang="0">
                  <a:pos x="50" y="16"/>
                </a:cxn>
                <a:cxn ang="0">
                  <a:pos x="50" y="15"/>
                </a:cxn>
                <a:cxn ang="0">
                  <a:pos x="64" y="22"/>
                </a:cxn>
                <a:cxn ang="0">
                  <a:pos x="47" y="59"/>
                </a:cxn>
              </a:cxnLst>
              <a:rect l="0" t="0" r="r" b="b"/>
              <a:pathLst>
                <a:path w="69" h="64">
                  <a:moveTo>
                    <a:pt x="48" y="10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6" y="14"/>
                    <a:pt x="46" y="16"/>
                    <a:pt x="47" y="17"/>
                  </a:cubicBezTo>
                  <a:cubicBezTo>
                    <a:pt x="47" y="19"/>
                    <a:pt x="47" y="21"/>
                    <a:pt x="46" y="22"/>
                  </a:cubicBezTo>
                  <a:cubicBezTo>
                    <a:pt x="45" y="24"/>
                    <a:pt x="43" y="24"/>
                    <a:pt x="40" y="23"/>
                  </a:cubicBezTo>
                  <a:cubicBezTo>
                    <a:pt x="38" y="22"/>
                    <a:pt x="37" y="21"/>
                    <a:pt x="37" y="19"/>
                  </a:cubicBezTo>
                  <a:cubicBezTo>
                    <a:pt x="37" y="17"/>
                    <a:pt x="39" y="15"/>
                    <a:pt x="41" y="15"/>
                  </a:cubicBezTo>
                  <a:cubicBezTo>
                    <a:pt x="42" y="14"/>
                    <a:pt x="44" y="13"/>
                    <a:pt x="45" y="11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4"/>
                    <a:pt x="12" y="10"/>
                    <a:pt x="8" y="10"/>
                  </a:cubicBezTo>
                  <a:cubicBezTo>
                    <a:pt x="7" y="10"/>
                    <a:pt x="3" y="11"/>
                    <a:pt x="1" y="16"/>
                  </a:cubicBezTo>
                  <a:cubicBezTo>
                    <a:pt x="0" y="20"/>
                    <a:pt x="0" y="22"/>
                    <a:pt x="1" y="24"/>
                  </a:cubicBezTo>
                  <a:cubicBezTo>
                    <a:pt x="3" y="26"/>
                    <a:pt x="6" y="27"/>
                    <a:pt x="9" y="27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69" y="20"/>
                    <a:pt x="69" y="20"/>
                    <a:pt x="69" y="20"/>
                  </a:cubicBezTo>
                  <a:lnTo>
                    <a:pt x="48" y="10"/>
                  </a:lnTo>
                  <a:close/>
                  <a:moveTo>
                    <a:pt x="47" y="59"/>
                  </a:moveTo>
                  <a:cubicBezTo>
                    <a:pt x="9" y="42"/>
                    <a:pt x="9" y="42"/>
                    <a:pt x="9" y="42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3"/>
                    <a:pt x="12" y="23"/>
                    <a:pt x="11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7" y="24"/>
                    <a:pt x="5" y="23"/>
                    <a:pt x="4" y="22"/>
                  </a:cubicBezTo>
                  <a:cubicBezTo>
                    <a:pt x="4" y="21"/>
                    <a:pt x="4" y="19"/>
                    <a:pt x="5" y="17"/>
                  </a:cubicBezTo>
                  <a:cubicBezTo>
                    <a:pt x="6" y="15"/>
                    <a:pt x="7" y="14"/>
                    <a:pt x="8" y="14"/>
                  </a:cubicBezTo>
                  <a:cubicBezTo>
                    <a:pt x="10" y="14"/>
                    <a:pt x="13" y="16"/>
                    <a:pt x="13" y="18"/>
                  </a:cubicBezTo>
                  <a:cubicBezTo>
                    <a:pt x="14" y="19"/>
                    <a:pt x="15" y="20"/>
                    <a:pt x="16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7" y="12"/>
                    <a:pt x="34" y="15"/>
                    <a:pt x="34" y="19"/>
                  </a:cubicBezTo>
                  <a:cubicBezTo>
                    <a:pt x="33" y="21"/>
                    <a:pt x="34" y="24"/>
                    <a:pt x="39" y="27"/>
                  </a:cubicBezTo>
                  <a:cubicBezTo>
                    <a:pt x="40" y="27"/>
                    <a:pt x="42" y="28"/>
                    <a:pt x="43" y="28"/>
                  </a:cubicBezTo>
                  <a:cubicBezTo>
                    <a:pt x="45" y="28"/>
                    <a:pt x="47" y="27"/>
                    <a:pt x="49" y="24"/>
                  </a:cubicBezTo>
                  <a:cubicBezTo>
                    <a:pt x="51" y="22"/>
                    <a:pt x="51" y="18"/>
                    <a:pt x="50" y="16"/>
                  </a:cubicBezTo>
                  <a:cubicBezTo>
                    <a:pt x="50" y="16"/>
                    <a:pt x="50" y="15"/>
                    <a:pt x="50" y="15"/>
                  </a:cubicBezTo>
                  <a:cubicBezTo>
                    <a:pt x="64" y="22"/>
                    <a:pt x="64" y="22"/>
                    <a:pt x="64" y="22"/>
                  </a:cubicBezTo>
                  <a:lnTo>
                    <a:pt x="47" y="5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84" name="Freeform 328"/>
            <p:cNvSpPr>
              <a:spLocks noEditPoints="1"/>
            </p:cNvSpPr>
            <p:nvPr/>
          </p:nvSpPr>
          <p:spPr bwMode="auto">
            <a:xfrm>
              <a:off x="5177" y="2694"/>
              <a:ext cx="222" cy="226"/>
            </a:xfrm>
            <a:custGeom>
              <a:avLst/>
              <a:gdLst/>
              <a:ahLst/>
              <a:cxnLst>
                <a:cxn ang="0">
                  <a:pos x="77" y="58"/>
                </a:cxn>
                <a:cxn ang="0">
                  <a:pos x="93" y="49"/>
                </a:cxn>
                <a:cxn ang="0">
                  <a:pos x="48" y="0"/>
                </a:cxn>
                <a:cxn ang="0">
                  <a:pos x="0" y="0"/>
                </a:cxn>
                <a:cxn ang="0">
                  <a:pos x="0" y="47"/>
                </a:cxn>
                <a:cxn ang="0">
                  <a:pos x="48" y="94"/>
                </a:cxn>
                <a:cxn ang="0">
                  <a:pos x="46" y="71"/>
                </a:cxn>
                <a:cxn ang="0">
                  <a:pos x="37" y="74"/>
                </a:cxn>
                <a:cxn ang="0">
                  <a:pos x="37" y="65"/>
                </a:cxn>
                <a:cxn ang="0">
                  <a:pos x="46" y="68"/>
                </a:cxn>
                <a:cxn ang="0">
                  <a:pos x="48" y="49"/>
                </a:cxn>
                <a:cxn ang="0">
                  <a:pos x="61" y="58"/>
                </a:cxn>
                <a:cxn ang="0">
                  <a:pos x="3" y="3"/>
                </a:cxn>
                <a:cxn ang="0">
                  <a:pos x="45" y="23"/>
                </a:cxn>
                <a:cxn ang="0">
                  <a:pos x="51" y="21"/>
                </a:cxn>
                <a:cxn ang="0">
                  <a:pos x="59" y="24"/>
                </a:cxn>
                <a:cxn ang="0">
                  <a:pos x="51" y="27"/>
                </a:cxn>
                <a:cxn ang="0">
                  <a:pos x="45" y="25"/>
                </a:cxn>
                <a:cxn ang="0">
                  <a:pos x="30" y="45"/>
                </a:cxn>
                <a:cxn ang="0">
                  <a:pos x="24" y="31"/>
                </a:cxn>
                <a:cxn ang="0">
                  <a:pos x="18" y="45"/>
                </a:cxn>
                <a:cxn ang="0">
                  <a:pos x="3" y="3"/>
                </a:cxn>
                <a:cxn ang="0">
                  <a:pos x="44" y="64"/>
                </a:cxn>
                <a:cxn ang="0">
                  <a:pos x="30" y="69"/>
                </a:cxn>
                <a:cxn ang="0">
                  <a:pos x="44" y="75"/>
                </a:cxn>
                <a:cxn ang="0">
                  <a:pos x="45" y="90"/>
                </a:cxn>
                <a:cxn ang="0">
                  <a:pos x="3" y="49"/>
                </a:cxn>
                <a:cxn ang="0">
                  <a:pos x="23" y="47"/>
                </a:cxn>
                <a:cxn ang="0">
                  <a:pos x="20" y="37"/>
                </a:cxn>
                <a:cxn ang="0">
                  <a:pos x="28" y="37"/>
                </a:cxn>
                <a:cxn ang="0">
                  <a:pos x="25" y="47"/>
                </a:cxn>
                <a:cxn ang="0">
                  <a:pos x="45" y="49"/>
                </a:cxn>
                <a:cxn ang="0">
                  <a:pos x="48" y="45"/>
                </a:cxn>
                <a:cxn ang="0">
                  <a:pos x="58" y="32"/>
                </a:cxn>
                <a:cxn ang="0">
                  <a:pos x="58" y="16"/>
                </a:cxn>
                <a:cxn ang="0">
                  <a:pos x="48" y="3"/>
                </a:cxn>
                <a:cxn ang="0">
                  <a:pos x="90" y="45"/>
                </a:cxn>
                <a:cxn ang="0">
                  <a:pos x="70" y="47"/>
                </a:cxn>
                <a:cxn ang="0">
                  <a:pos x="74" y="57"/>
                </a:cxn>
                <a:cxn ang="0">
                  <a:pos x="65" y="57"/>
                </a:cxn>
                <a:cxn ang="0">
                  <a:pos x="68" y="47"/>
                </a:cxn>
                <a:cxn ang="0">
                  <a:pos x="48" y="45"/>
                </a:cxn>
              </a:cxnLst>
              <a:rect l="0" t="0" r="r" b="b"/>
              <a:pathLst>
                <a:path w="93" h="94">
                  <a:moveTo>
                    <a:pt x="69" y="63"/>
                  </a:moveTo>
                  <a:cubicBezTo>
                    <a:pt x="74" y="63"/>
                    <a:pt x="76" y="60"/>
                    <a:pt x="77" y="58"/>
                  </a:cubicBezTo>
                  <a:cubicBezTo>
                    <a:pt x="78" y="55"/>
                    <a:pt x="77" y="51"/>
                    <a:pt x="75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4" y="71"/>
                    <a:pt x="43" y="71"/>
                    <a:pt x="42" y="72"/>
                  </a:cubicBezTo>
                  <a:cubicBezTo>
                    <a:pt x="41" y="73"/>
                    <a:pt x="39" y="74"/>
                    <a:pt x="37" y="74"/>
                  </a:cubicBezTo>
                  <a:cubicBezTo>
                    <a:pt x="36" y="74"/>
                    <a:pt x="33" y="73"/>
                    <a:pt x="33" y="69"/>
                  </a:cubicBezTo>
                  <a:cubicBezTo>
                    <a:pt x="33" y="65"/>
                    <a:pt x="36" y="65"/>
                    <a:pt x="37" y="65"/>
                  </a:cubicBezTo>
                  <a:cubicBezTo>
                    <a:pt x="39" y="65"/>
                    <a:pt x="41" y="65"/>
                    <a:pt x="42" y="66"/>
                  </a:cubicBezTo>
                  <a:cubicBezTo>
                    <a:pt x="43" y="67"/>
                    <a:pt x="44" y="68"/>
                    <a:pt x="46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1" y="51"/>
                    <a:pt x="60" y="55"/>
                    <a:pt x="61" y="58"/>
                  </a:cubicBezTo>
                  <a:cubicBezTo>
                    <a:pt x="62" y="60"/>
                    <a:pt x="64" y="63"/>
                    <a:pt x="69" y="63"/>
                  </a:cubicBezTo>
                  <a:close/>
                  <a:moveTo>
                    <a:pt x="3" y="3"/>
                  </a:moveTo>
                  <a:cubicBezTo>
                    <a:pt x="45" y="3"/>
                    <a:pt x="45" y="3"/>
                    <a:pt x="45" y="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8" y="23"/>
                    <a:pt x="50" y="22"/>
                    <a:pt x="51" y="21"/>
                  </a:cubicBezTo>
                  <a:cubicBezTo>
                    <a:pt x="52" y="20"/>
                    <a:pt x="55" y="19"/>
                    <a:pt x="57" y="20"/>
                  </a:cubicBezTo>
                  <a:cubicBezTo>
                    <a:pt x="58" y="20"/>
                    <a:pt x="59" y="22"/>
                    <a:pt x="59" y="24"/>
                  </a:cubicBezTo>
                  <a:cubicBezTo>
                    <a:pt x="59" y="27"/>
                    <a:pt x="58" y="28"/>
                    <a:pt x="57" y="29"/>
                  </a:cubicBezTo>
                  <a:cubicBezTo>
                    <a:pt x="55" y="29"/>
                    <a:pt x="52" y="29"/>
                    <a:pt x="51" y="27"/>
                  </a:cubicBezTo>
                  <a:cubicBezTo>
                    <a:pt x="50" y="26"/>
                    <a:pt x="48" y="26"/>
                    <a:pt x="47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2" y="43"/>
                    <a:pt x="33" y="39"/>
                    <a:pt x="32" y="35"/>
                  </a:cubicBezTo>
                  <a:cubicBezTo>
                    <a:pt x="31" y="34"/>
                    <a:pt x="29" y="31"/>
                    <a:pt x="24" y="31"/>
                  </a:cubicBezTo>
                  <a:cubicBezTo>
                    <a:pt x="19" y="31"/>
                    <a:pt x="17" y="34"/>
                    <a:pt x="16" y="35"/>
                  </a:cubicBezTo>
                  <a:cubicBezTo>
                    <a:pt x="15" y="39"/>
                    <a:pt x="16" y="43"/>
                    <a:pt x="18" y="45"/>
                  </a:cubicBezTo>
                  <a:cubicBezTo>
                    <a:pt x="3" y="45"/>
                    <a:pt x="3" y="45"/>
                    <a:pt x="3" y="45"/>
                  </a:cubicBezTo>
                  <a:lnTo>
                    <a:pt x="3" y="3"/>
                  </a:lnTo>
                  <a:close/>
                  <a:moveTo>
                    <a:pt x="45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3" y="62"/>
                    <a:pt x="40" y="61"/>
                    <a:pt x="37" y="61"/>
                  </a:cubicBezTo>
                  <a:cubicBezTo>
                    <a:pt x="34" y="61"/>
                    <a:pt x="30" y="63"/>
                    <a:pt x="30" y="69"/>
                  </a:cubicBezTo>
                  <a:cubicBezTo>
                    <a:pt x="30" y="76"/>
                    <a:pt x="34" y="78"/>
                    <a:pt x="37" y="78"/>
                  </a:cubicBezTo>
                  <a:cubicBezTo>
                    <a:pt x="40" y="78"/>
                    <a:pt x="43" y="77"/>
                    <a:pt x="44" y="75"/>
                  </a:cubicBezTo>
                  <a:cubicBezTo>
                    <a:pt x="44" y="75"/>
                    <a:pt x="44" y="75"/>
                    <a:pt x="45" y="75"/>
                  </a:cubicBezTo>
                  <a:cubicBezTo>
                    <a:pt x="45" y="90"/>
                    <a:pt x="45" y="90"/>
                    <a:pt x="45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5"/>
                    <a:pt x="22" y="44"/>
                    <a:pt x="21" y="42"/>
                  </a:cubicBezTo>
                  <a:cubicBezTo>
                    <a:pt x="20" y="41"/>
                    <a:pt x="19" y="39"/>
                    <a:pt x="20" y="37"/>
                  </a:cubicBezTo>
                  <a:cubicBezTo>
                    <a:pt x="20" y="35"/>
                    <a:pt x="22" y="34"/>
                    <a:pt x="24" y="34"/>
                  </a:cubicBezTo>
                  <a:cubicBezTo>
                    <a:pt x="26" y="34"/>
                    <a:pt x="28" y="35"/>
                    <a:pt x="28" y="37"/>
                  </a:cubicBezTo>
                  <a:cubicBezTo>
                    <a:pt x="29" y="39"/>
                    <a:pt x="28" y="41"/>
                    <a:pt x="27" y="42"/>
                  </a:cubicBezTo>
                  <a:cubicBezTo>
                    <a:pt x="26" y="44"/>
                    <a:pt x="25" y="45"/>
                    <a:pt x="25" y="47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45" y="49"/>
                    <a:pt x="45" y="49"/>
                    <a:pt x="45" y="49"/>
                  </a:cubicBezTo>
                  <a:lnTo>
                    <a:pt x="45" y="64"/>
                  </a:lnTo>
                  <a:close/>
                  <a:moveTo>
                    <a:pt x="48" y="45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50" y="32"/>
                    <a:pt x="55" y="33"/>
                    <a:pt x="58" y="32"/>
                  </a:cubicBezTo>
                  <a:cubicBezTo>
                    <a:pt x="60" y="31"/>
                    <a:pt x="63" y="29"/>
                    <a:pt x="63" y="24"/>
                  </a:cubicBezTo>
                  <a:cubicBezTo>
                    <a:pt x="63" y="19"/>
                    <a:pt x="60" y="17"/>
                    <a:pt x="58" y="16"/>
                  </a:cubicBezTo>
                  <a:cubicBezTo>
                    <a:pt x="55" y="15"/>
                    <a:pt x="50" y="16"/>
                    <a:pt x="48" y="1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9"/>
                    <a:pt x="71" y="50"/>
                    <a:pt x="72" y="51"/>
                  </a:cubicBezTo>
                  <a:cubicBezTo>
                    <a:pt x="73" y="52"/>
                    <a:pt x="74" y="55"/>
                    <a:pt x="74" y="57"/>
                  </a:cubicBezTo>
                  <a:cubicBezTo>
                    <a:pt x="73" y="58"/>
                    <a:pt x="71" y="59"/>
                    <a:pt x="69" y="59"/>
                  </a:cubicBezTo>
                  <a:cubicBezTo>
                    <a:pt x="67" y="59"/>
                    <a:pt x="65" y="58"/>
                    <a:pt x="65" y="57"/>
                  </a:cubicBezTo>
                  <a:cubicBezTo>
                    <a:pt x="64" y="55"/>
                    <a:pt x="65" y="52"/>
                    <a:pt x="66" y="51"/>
                  </a:cubicBezTo>
                  <a:cubicBezTo>
                    <a:pt x="67" y="50"/>
                    <a:pt x="68" y="49"/>
                    <a:pt x="68" y="47"/>
                  </a:cubicBezTo>
                  <a:cubicBezTo>
                    <a:pt x="68" y="45"/>
                    <a:pt x="68" y="45"/>
                    <a:pt x="68" y="45"/>
                  </a:cubicBezTo>
                  <a:lnTo>
                    <a:pt x="48" y="45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87" name="Group 331"/>
          <p:cNvGrpSpPr>
            <a:grpSpLocks noChangeAspect="1"/>
          </p:cNvGrpSpPr>
          <p:nvPr/>
        </p:nvGrpSpPr>
        <p:grpSpPr bwMode="auto">
          <a:xfrm>
            <a:off x="334963" y="5400013"/>
            <a:ext cx="844550" cy="842962"/>
            <a:chOff x="211" y="3387"/>
            <a:chExt cx="532" cy="531"/>
          </a:xfrm>
        </p:grpSpPr>
        <p:sp>
          <p:nvSpPr>
            <p:cNvPr id="45388" name="Oval 332"/>
            <p:cNvSpPr>
              <a:spLocks noChangeArrowheads="1"/>
            </p:cNvSpPr>
            <p:nvPr/>
          </p:nvSpPr>
          <p:spPr bwMode="auto">
            <a:xfrm>
              <a:off x="211" y="3387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89" name="Freeform 333"/>
            <p:cNvSpPr>
              <a:spLocks noEditPoints="1"/>
            </p:cNvSpPr>
            <p:nvPr/>
          </p:nvSpPr>
          <p:spPr bwMode="auto">
            <a:xfrm>
              <a:off x="234" y="3411"/>
              <a:ext cx="485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0" name="Freeform 334"/>
            <p:cNvSpPr>
              <a:spLocks noEditPoints="1"/>
            </p:cNvSpPr>
            <p:nvPr/>
          </p:nvSpPr>
          <p:spPr bwMode="auto">
            <a:xfrm>
              <a:off x="306" y="3583"/>
              <a:ext cx="346" cy="144"/>
            </a:xfrm>
            <a:custGeom>
              <a:avLst/>
              <a:gdLst/>
              <a:ahLst/>
              <a:cxnLst>
                <a:cxn ang="0">
                  <a:pos x="121" y="1"/>
                </a:cxn>
                <a:cxn ang="0">
                  <a:pos x="117" y="0"/>
                </a:cxn>
                <a:cxn ang="0">
                  <a:pos x="115" y="9"/>
                </a:cxn>
                <a:cxn ang="0">
                  <a:pos x="81" y="1"/>
                </a:cxn>
                <a:cxn ang="0">
                  <a:pos x="77" y="0"/>
                </a:cxn>
                <a:cxn ang="0">
                  <a:pos x="75" y="9"/>
                </a:cxn>
                <a:cxn ang="0">
                  <a:pos x="42" y="1"/>
                </a:cxn>
                <a:cxn ang="0">
                  <a:pos x="38" y="0"/>
                </a:cxn>
                <a:cxn ang="0">
                  <a:pos x="35" y="9"/>
                </a:cxn>
                <a:cxn ang="0">
                  <a:pos x="0" y="12"/>
                </a:cxn>
                <a:cxn ang="0">
                  <a:pos x="4" y="52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48" y="52"/>
                </a:cxn>
                <a:cxn ang="0">
                  <a:pos x="75" y="56"/>
                </a:cxn>
                <a:cxn ang="0">
                  <a:pos x="79" y="60"/>
                </a:cxn>
                <a:cxn ang="0">
                  <a:pos x="88" y="52"/>
                </a:cxn>
                <a:cxn ang="0">
                  <a:pos x="115" y="56"/>
                </a:cxn>
                <a:cxn ang="0">
                  <a:pos x="118" y="60"/>
                </a:cxn>
                <a:cxn ang="0">
                  <a:pos x="143" y="32"/>
                </a:cxn>
                <a:cxn ang="0">
                  <a:pos x="39" y="56"/>
                </a:cxn>
                <a:cxn ang="0">
                  <a:pos x="39" y="48"/>
                </a:cxn>
                <a:cxn ang="0">
                  <a:pos x="4" y="12"/>
                </a:cxn>
                <a:cxn ang="0">
                  <a:pos x="39" y="4"/>
                </a:cxn>
                <a:cxn ang="0">
                  <a:pos x="39" y="56"/>
                </a:cxn>
                <a:cxn ang="0">
                  <a:pos x="79" y="56"/>
                </a:cxn>
                <a:cxn ang="0">
                  <a:pos x="51" y="48"/>
                </a:cxn>
                <a:cxn ang="0">
                  <a:pos x="64" y="28"/>
                </a:cxn>
                <a:cxn ang="0">
                  <a:pos x="79" y="12"/>
                </a:cxn>
                <a:cxn ang="0">
                  <a:pos x="101" y="30"/>
                </a:cxn>
                <a:cxn ang="0">
                  <a:pos x="118" y="56"/>
                </a:cxn>
                <a:cxn ang="0">
                  <a:pos x="118" y="48"/>
                </a:cxn>
                <a:cxn ang="0">
                  <a:pos x="104" y="32"/>
                </a:cxn>
                <a:cxn ang="0">
                  <a:pos x="91" y="12"/>
                </a:cxn>
                <a:cxn ang="0">
                  <a:pos x="118" y="4"/>
                </a:cxn>
                <a:cxn ang="0">
                  <a:pos x="118" y="56"/>
                </a:cxn>
              </a:cxnLst>
              <a:rect l="0" t="0" r="r" b="b"/>
              <a:pathLst>
                <a:path w="144" h="60">
                  <a:moveTo>
                    <a:pt x="143" y="28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0" y="1"/>
                    <a:pt x="119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115" y="1"/>
                    <a:pt x="115" y="2"/>
                    <a:pt x="115" y="4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78" y="0"/>
                    <a:pt x="78" y="0"/>
                    <a:pt x="77" y="0"/>
                  </a:cubicBezTo>
                  <a:cubicBezTo>
                    <a:pt x="76" y="1"/>
                    <a:pt x="75" y="2"/>
                    <a:pt x="75" y="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39" y="0"/>
                    <a:pt x="38" y="0"/>
                    <a:pt x="38" y="0"/>
                  </a:cubicBezTo>
                  <a:cubicBezTo>
                    <a:pt x="36" y="1"/>
                    <a:pt x="35" y="2"/>
                    <a:pt x="35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8"/>
                    <a:pt x="36" y="59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40" y="60"/>
                    <a:pt x="41" y="60"/>
                    <a:pt x="42" y="59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6" y="59"/>
                    <a:pt x="77" y="60"/>
                  </a:cubicBezTo>
                  <a:cubicBezTo>
                    <a:pt x="78" y="60"/>
                    <a:pt x="78" y="60"/>
                    <a:pt x="79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8"/>
                    <a:pt x="115" y="59"/>
                    <a:pt x="117" y="60"/>
                  </a:cubicBezTo>
                  <a:cubicBezTo>
                    <a:pt x="117" y="60"/>
                    <a:pt x="118" y="60"/>
                    <a:pt x="118" y="60"/>
                  </a:cubicBezTo>
                  <a:cubicBezTo>
                    <a:pt x="119" y="60"/>
                    <a:pt x="120" y="60"/>
                    <a:pt x="121" y="59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1"/>
                    <a:pt x="144" y="29"/>
                    <a:pt x="143" y="2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39" y="56"/>
                  </a:ln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5" y="31"/>
                    <a:pt x="65" y="29"/>
                    <a:pt x="64" y="28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101" y="30"/>
                    <a:pt x="101" y="30"/>
                    <a:pt x="101" y="30"/>
                  </a:cubicBezTo>
                  <a:lnTo>
                    <a:pt x="79" y="56"/>
                  </a:lnTo>
                  <a:close/>
                  <a:moveTo>
                    <a:pt x="118" y="56"/>
                  </a:moveTo>
                  <a:cubicBezTo>
                    <a:pt x="118" y="56"/>
                    <a:pt x="118" y="56"/>
                    <a:pt x="118" y="56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5" y="31"/>
                    <a:pt x="105" y="29"/>
                    <a:pt x="104" y="28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118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393" name="Group 337"/>
          <p:cNvGrpSpPr>
            <a:grpSpLocks noChangeAspect="1"/>
          </p:cNvGrpSpPr>
          <p:nvPr/>
        </p:nvGrpSpPr>
        <p:grpSpPr bwMode="auto">
          <a:xfrm>
            <a:off x="1474788" y="5436522"/>
            <a:ext cx="768350" cy="768350"/>
            <a:chOff x="925" y="3410"/>
            <a:chExt cx="484" cy="484"/>
          </a:xfrm>
        </p:grpSpPr>
        <p:sp>
          <p:nvSpPr>
            <p:cNvPr id="45394" name="Freeform 338"/>
            <p:cNvSpPr>
              <a:spLocks noEditPoints="1"/>
            </p:cNvSpPr>
            <p:nvPr/>
          </p:nvSpPr>
          <p:spPr bwMode="auto">
            <a:xfrm>
              <a:off x="925" y="341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95" name="Freeform 339"/>
            <p:cNvSpPr>
              <a:spLocks noEditPoints="1"/>
            </p:cNvSpPr>
            <p:nvPr/>
          </p:nvSpPr>
          <p:spPr bwMode="auto">
            <a:xfrm>
              <a:off x="997" y="3583"/>
              <a:ext cx="345" cy="144"/>
            </a:xfrm>
            <a:custGeom>
              <a:avLst/>
              <a:gdLst/>
              <a:ahLst/>
              <a:cxnLst>
                <a:cxn ang="0">
                  <a:pos x="121" y="1"/>
                </a:cxn>
                <a:cxn ang="0">
                  <a:pos x="117" y="0"/>
                </a:cxn>
                <a:cxn ang="0">
                  <a:pos x="115" y="9"/>
                </a:cxn>
                <a:cxn ang="0">
                  <a:pos x="81" y="1"/>
                </a:cxn>
                <a:cxn ang="0">
                  <a:pos x="77" y="0"/>
                </a:cxn>
                <a:cxn ang="0">
                  <a:pos x="75" y="9"/>
                </a:cxn>
                <a:cxn ang="0">
                  <a:pos x="42" y="1"/>
                </a:cxn>
                <a:cxn ang="0">
                  <a:pos x="38" y="0"/>
                </a:cxn>
                <a:cxn ang="0">
                  <a:pos x="35" y="9"/>
                </a:cxn>
                <a:cxn ang="0">
                  <a:pos x="0" y="12"/>
                </a:cxn>
                <a:cxn ang="0">
                  <a:pos x="4" y="52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48" y="52"/>
                </a:cxn>
                <a:cxn ang="0">
                  <a:pos x="75" y="56"/>
                </a:cxn>
                <a:cxn ang="0">
                  <a:pos x="79" y="60"/>
                </a:cxn>
                <a:cxn ang="0">
                  <a:pos x="88" y="52"/>
                </a:cxn>
                <a:cxn ang="0">
                  <a:pos x="115" y="56"/>
                </a:cxn>
                <a:cxn ang="0">
                  <a:pos x="118" y="60"/>
                </a:cxn>
                <a:cxn ang="0">
                  <a:pos x="143" y="32"/>
                </a:cxn>
                <a:cxn ang="0">
                  <a:pos x="39" y="56"/>
                </a:cxn>
                <a:cxn ang="0">
                  <a:pos x="39" y="48"/>
                </a:cxn>
                <a:cxn ang="0">
                  <a:pos x="4" y="12"/>
                </a:cxn>
                <a:cxn ang="0">
                  <a:pos x="39" y="4"/>
                </a:cxn>
                <a:cxn ang="0">
                  <a:pos x="39" y="56"/>
                </a:cxn>
                <a:cxn ang="0">
                  <a:pos x="79" y="56"/>
                </a:cxn>
                <a:cxn ang="0">
                  <a:pos x="51" y="48"/>
                </a:cxn>
                <a:cxn ang="0">
                  <a:pos x="64" y="28"/>
                </a:cxn>
                <a:cxn ang="0">
                  <a:pos x="79" y="12"/>
                </a:cxn>
                <a:cxn ang="0">
                  <a:pos x="101" y="30"/>
                </a:cxn>
                <a:cxn ang="0">
                  <a:pos x="118" y="56"/>
                </a:cxn>
                <a:cxn ang="0">
                  <a:pos x="118" y="48"/>
                </a:cxn>
                <a:cxn ang="0">
                  <a:pos x="104" y="32"/>
                </a:cxn>
                <a:cxn ang="0">
                  <a:pos x="91" y="12"/>
                </a:cxn>
                <a:cxn ang="0">
                  <a:pos x="118" y="4"/>
                </a:cxn>
                <a:cxn ang="0">
                  <a:pos x="118" y="56"/>
                </a:cxn>
              </a:cxnLst>
              <a:rect l="0" t="0" r="r" b="b"/>
              <a:pathLst>
                <a:path w="144" h="60">
                  <a:moveTo>
                    <a:pt x="143" y="28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0" y="1"/>
                    <a:pt x="119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115" y="1"/>
                    <a:pt x="115" y="2"/>
                    <a:pt x="115" y="4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78" y="0"/>
                    <a:pt x="78" y="0"/>
                    <a:pt x="77" y="0"/>
                  </a:cubicBezTo>
                  <a:cubicBezTo>
                    <a:pt x="76" y="1"/>
                    <a:pt x="75" y="2"/>
                    <a:pt x="75" y="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39" y="0"/>
                    <a:pt x="38" y="0"/>
                    <a:pt x="38" y="0"/>
                  </a:cubicBezTo>
                  <a:cubicBezTo>
                    <a:pt x="36" y="1"/>
                    <a:pt x="35" y="2"/>
                    <a:pt x="35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8"/>
                    <a:pt x="36" y="59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40" y="60"/>
                    <a:pt x="41" y="60"/>
                    <a:pt x="42" y="59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6" y="59"/>
                    <a:pt x="77" y="60"/>
                  </a:cubicBezTo>
                  <a:cubicBezTo>
                    <a:pt x="78" y="60"/>
                    <a:pt x="78" y="60"/>
                    <a:pt x="79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8"/>
                    <a:pt x="115" y="59"/>
                    <a:pt x="117" y="60"/>
                  </a:cubicBezTo>
                  <a:cubicBezTo>
                    <a:pt x="117" y="60"/>
                    <a:pt x="118" y="60"/>
                    <a:pt x="118" y="60"/>
                  </a:cubicBezTo>
                  <a:cubicBezTo>
                    <a:pt x="119" y="60"/>
                    <a:pt x="120" y="60"/>
                    <a:pt x="121" y="59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1"/>
                    <a:pt x="144" y="29"/>
                    <a:pt x="143" y="2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39" y="56"/>
                  </a:ln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5" y="31"/>
                    <a:pt x="65" y="29"/>
                    <a:pt x="64" y="28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101" y="30"/>
                    <a:pt x="101" y="30"/>
                    <a:pt x="101" y="30"/>
                  </a:cubicBezTo>
                  <a:lnTo>
                    <a:pt x="79" y="56"/>
                  </a:lnTo>
                  <a:close/>
                  <a:moveTo>
                    <a:pt x="118" y="56"/>
                  </a:moveTo>
                  <a:cubicBezTo>
                    <a:pt x="118" y="56"/>
                    <a:pt x="118" y="56"/>
                    <a:pt x="118" y="56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5" y="31"/>
                    <a:pt x="105" y="29"/>
                    <a:pt x="104" y="28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118" y="5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398" name="Group 342"/>
          <p:cNvGrpSpPr>
            <a:grpSpLocks noChangeAspect="1"/>
          </p:cNvGrpSpPr>
          <p:nvPr/>
        </p:nvGrpSpPr>
        <p:grpSpPr bwMode="auto">
          <a:xfrm>
            <a:off x="2528094" y="5400013"/>
            <a:ext cx="844550" cy="842962"/>
            <a:chOff x="1587" y="3387"/>
            <a:chExt cx="532" cy="531"/>
          </a:xfrm>
        </p:grpSpPr>
        <p:sp>
          <p:nvSpPr>
            <p:cNvPr id="45399" name="Oval 343"/>
            <p:cNvSpPr>
              <a:spLocks noChangeArrowheads="1"/>
            </p:cNvSpPr>
            <p:nvPr/>
          </p:nvSpPr>
          <p:spPr bwMode="auto">
            <a:xfrm>
              <a:off x="1587" y="3387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00" name="Freeform 344"/>
            <p:cNvSpPr>
              <a:spLocks noEditPoints="1"/>
            </p:cNvSpPr>
            <p:nvPr/>
          </p:nvSpPr>
          <p:spPr bwMode="auto">
            <a:xfrm>
              <a:off x="1707" y="3523"/>
              <a:ext cx="285" cy="237"/>
            </a:xfrm>
            <a:custGeom>
              <a:avLst/>
              <a:gdLst/>
              <a:ahLst/>
              <a:cxnLst>
                <a:cxn ang="0">
                  <a:pos x="87" y="12"/>
                </a:cxn>
                <a:cxn ang="0">
                  <a:pos x="84" y="9"/>
                </a:cxn>
                <a:cxn ang="0">
                  <a:pos x="79" y="7"/>
                </a:cxn>
                <a:cxn ang="0">
                  <a:pos x="76" y="6"/>
                </a:cxn>
                <a:cxn ang="0">
                  <a:pos x="73" y="2"/>
                </a:cxn>
                <a:cxn ang="0">
                  <a:pos x="71" y="1"/>
                </a:cxn>
                <a:cxn ang="0">
                  <a:pos x="69" y="1"/>
                </a:cxn>
                <a:cxn ang="0">
                  <a:pos x="65" y="1"/>
                </a:cxn>
                <a:cxn ang="0">
                  <a:pos x="60" y="0"/>
                </a:cxn>
                <a:cxn ang="0">
                  <a:pos x="55" y="1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45" y="3"/>
                </a:cxn>
                <a:cxn ang="0">
                  <a:pos x="42" y="6"/>
                </a:cxn>
                <a:cxn ang="0">
                  <a:pos x="40" y="7"/>
                </a:cxn>
                <a:cxn ang="0">
                  <a:pos x="33" y="10"/>
                </a:cxn>
                <a:cxn ang="0">
                  <a:pos x="32" y="14"/>
                </a:cxn>
                <a:cxn ang="0">
                  <a:pos x="31" y="16"/>
                </a:cxn>
                <a:cxn ang="0">
                  <a:pos x="18" y="91"/>
                </a:cxn>
                <a:cxn ang="0">
                  <a:pos x="119" y="73"/>
                </a:cxn>
                <a:cxn ang="0">
                  <a:pos x="109" y="60"/>
                </a:cxn>
                <a:cxn ang="0">
                  <a:pos x="109" y="60"/>
                </a:cxn>
                <a:cxn ang="0">
                  <a:pos x="20" y="88"/>
                </a:cxn>
                <a:cxn ang="0">
                  <a:pos x="37" y="79"/>
                </a:cxn>
                <a:cxn ang="0">
                  <a:pos x="39" y="79"/>
                </a:cxn>
                <a:cxn ang="0">
                  <a:pos x="38" y="75"/>
                </a:cxn>
                <a:cxn ang="0">
                  <a:pos x="34" y="18"/>
                </a:cxn>
                <a:cxn ang="0">
                  <a:pos x="37" y="15"/>
                </a:cxn>
                <a:cxn ang="0">
                  <a:pos x="36" y="13"/>
                </a:cxn>
                <a:cxn ang="0">
                  <a:pos x="39" y="11"/>
                </a:cxn>
                <a:cxn ang="0">
                  <a:pos x="42" y="10"/>
                </a:cxn>
                <a:cxn ang="0">
                  <a:pos x="44" y="10"/>
                </a:cxn>
                <a:cxn ang="0">
                  <a:pos x="53" y="33"/>
                </a:cxn>
                <a:cxn ang="0">
                  <a:pos x="49" y="5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2" y="4"/>
                </a:cxn>
                <a:cxn ang="0">
                  <a:pos x="67" y="4"/>
                </a:cxn>
                <a:cxn ang="0">
                  <a:pos x="69" y="5"/>
                </a:cxn>
                <a:cxn ang="0">
                  <a:pos x="70" y="7"/>
                </a:cxn>
                <a:cxn ang="0">
                  <a:pos x="69" y="34"/>
                </a:cxn>
                <a:cxn ang="0">
                  <a:pos x="76" y="10"/>
                </a:cxn>
                <a:cxn ang="0">
                  <a:pos x="78" y="11"/>
                </a:cxn>
                <a:cxn ang="0">
                  <a:pos x="83" y="13"/>
                </a:cxn>
                <a:cxn ang="0">
                  <a:pos x="83" y="15"/>
                </a:cxn>
                <a:cxn ang="0">
                  <a:pos x="85" y="18"/>
                </a:cxn>
                <a:cxn ang="0">
                  <a:pos x="81" y="75"/>
                </a:cxn>
                <a:cxn ang="0">
                  <a:pos x="80" y="79"/>
                </a:cxn>
                <a:cxn ang="0">
                  <a:pos x="82" y="79"/>
                </a:cxn>
                <a:cxn ang="0">
                  <a:pos x="99" y="88"/>
                </a:cxn>
              </a:cxnLst>
              <a:rect l="0" t="0" r="r" b="b"/>
              <a:pathLst>
                <a:path w="119" h="99">
                  <a:moveTo>
                    <a:pt x="88" y="16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7" y="14"/>
                    <a:pt x="87" y="13"/>
                    <a:pt x="87" y="12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5" y="9"/>
                    <a:pt x="84" y="9"/>
                  </a:cubicBezTo>
                  <a:cubicBezTo>
                    <a:pt x="83" y="9"/>
                    <a:pt x="82" y="8"/>
                    <a:pt x="81" y="8"/>
                  </a:cubicBezTo>
                  <a:cubicBezTo>
                    <a:pt x="81" y="8"/>
                    <a:pt x="80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8" y="7"/>
                    <a:pt x="78" y="7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6"/>
                    <a:pt x="77" y="6"/>
                    <a:pt x="76" y="6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0" y="1"/>
                    <a:pt x="70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8" y="1"/>
                    <a:pt x="68" y="1"/>
                  </a:cubicBezTo>
                  <a:cubicBezTo>
                    <a:pt x="68" y="1"/>
                    <a:pt x="67" y="1"/>
                    <a:pt x="67" y="1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56" y="0"/>
                    <a:pt x="56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1"/>
                    <a:pt x="50" y="1"/>
                  </a:cubicBezTo>
                  <a:cubicBezTo>
                    <a:pt x="50" y="1"/>
                    <a:pt x="50" y="1"/>
                    <a:pt x="49" y="1"/>
                  </a:cubicBezTo>
                  <a:cubicBezTo>
                    <a:pt x="49" y="1"/>
                    <a:pt x="49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7" y="1"/>
                    <a:pt x="47" y="1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4" y="6"/>
                    <a:pt x="43" y="6"/>
                    <a:pt x="43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8"/>
                    <a:pt x="38" y="8"/>
                  </a:cubicBezTo>
                  <a:cubicBezTo>
                    <a:pt x="37" y="8"/>
                    <a:pt x="36" y="9"/>
                    <a:pt x="35" y="9"/>
                  </a:cubicBezTo>
                  <a:cubicBezTo>
                    <a:pt x="34" y="9"/>
                    <a:pt x="34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17" y="25"/>
                    <a:pt x="9" y="40"/>
                    <a:pt x="7" y="60"/>
                  </a:cubicBezTo>
                  <a:cubicBezTo>
                    <a:pt x="3" y="65"/>
                    <a:pt x="0" y="69"/>
                    <a:pt x="0" y="73"/>
                  </a:cubicBezTo>
                  <a:cubicBezTo>
                    <a:pt x="0" y="79"/>
                    <a:pt x="7" y="86"/>
                    <a:pt x="18" y="91"/>
                  </a:cubicBezTo>
                  <a:cubicBezTo>
                    <a:pt x="30" y="96"/>
                    <a:pt x="45" y="99"/>
                    <a:pt x="60" y="99"/>
                  </a:cubicBezTo>
                  <a:cubicBezTo>
                    <a:pt x="75" y="99"/>
                    <a:pt x="89" y="96"/>
                    <a:pt x="101" y="91"/>
                  </a:cubicBezTo>
                  <a:cubicBezTo>
                    <a:pt x="112" y="86"/>
                    <a:pt x="119" y="79"/>
                    <a:pt x="119" y="73"/>
                  </a:cubicBezTo>
                  <a:cubicBezTo>
                    <a:pt x="119" y="69"/>
                    <a:pt x="117" y="65"/>
                    <a:pt x="112" y="60"/>
                  </a:cubicBezTo>
                  <a:cubicBezTo>
                    <a:pt x="111" y="40"/>
                    <a:pt x="102" y="25"/>
                    <a:pt x="88" y="16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99" y="88"/>
                  </a:moveTo>
                  <a:cubicBezTo>
                    <a:pt x="88" y="93"/>
                    <a:pt x="74" y="95"/>
                    <a:pt x="60" y="95"/>
                  </a:cubicBezTo>
                  <a:cubicBezTo>
                    <a:pt x="45" y="95"/>
                    <a:pt x="31" y="93"/>
                    <a:pt x="20" y="88"/>
                  </a:cubicBezTo>
                  <a:cubicBezTo>
                    <a:pt x="10" y="83"/>
                    <a:pt x="4" y="78"/>
                    <a:pt x="4" y="73"/>
                  </a:cubicBezTo>
                  <a:cubicBezTo>
                    <a:pt x="4" y="71"/>
                    <a:pt x="5" y="67"/>
                    <a:pt x="8" y="64"/>
                  </a:cubicBezTo>
                  <a:cubicBezTo>
                    <a:pt x="11" y="69"/>
                    <a:pt x="20" y="76"/>
                    <a:pt x="37" y="79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8" y="79"/>
                    <a:pt x="38" y="79"/>
                    <a:pt x="39" y="79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8" y="75"/>
                    <a:pt x="38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7" y="72"/>
                    <a:pt x="12" y="63"/>
                    <a:pt x="10" y="61"/>
                  </a:cubicBezTo>
                  <a:cubicBezTo>
                    <a:pt x="12" y="42"/>
                    <a:pt x="20" y="27"/>
                    <a:pt x="33" y="1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6" y="24"/>
                    <a:pt x="41" y="40"/>
                    <a:pt x="45" y="48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3" y="37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7" y="12"/>
                    <a:pt x="38" y="12"/>
                    <a:pt x="39" y="11"/>
                  </a:cubicBezTo>
                  <a:cubicBezTo>
                    <a:pt x="40" y="11"/>
                    <a:pt x="40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5" y="9"/>
                  </a:cubicBezTo>
                  <a:cubicBezTo>
                    <a:pt x="46" y="15"/>
                    <a:pt x="47" y="27"/>
                    <a:pt x="50" y="34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0" y="25"/>
                    <a:pt x="49" y="8"/>
                    <a:pt x="49" y="7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50" y="5"/>
                    <a:pt x="50" y="5"/>
                  </a:cubicBezTo>
                  <a:cubicBezTo>
                    <a:pt x="50" y="5"/>
                    <a:pt x="50" y="5"/>
                    <a:pt x="51" y="5"/>
                  </a:cubicBezTo>
                  <a:cubicBezTo>
                    <a:pt x="51" y="5"/>
                    <a:pt x="51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3" y="4"/>
                    <a:pt x="54" y="4"/>
                    <a:pt x="55" y="4"/>
                  </a:cubicBezTo>
                  <a:cubicBezTo>
                    <a:pt x="55" y="4"/>
                    <a:pt x="56" y="4"/>
                    <a:pt x="56" y="4"/>
                  </a:cubicBezTo>
                  <a:cubicBezTo>
                    <a:pt x="56" y="4"/>
                    <a:pt x="57" y="4"/>
                    <a:pt x="57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4"/>
                    <a:pt x="63" y="4"/>
                    <a:pt x="63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5" y="4"/>
                    <a:pt x="66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4"/>
                    <a:pt x="68" y="5"/>
                    <a:pt x="68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70" y="5"/>
                    <a:pt x="70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8"/>
                    <a:pt x="69" y="25"/>
                    <a:pt x="66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72" y="27"/>
                    <a:pt x="74" y="15"/>
                    <a:pt x="74" y="9"/>
                  </a:cubicBezTo>
                  <a:cubicBezTo>
                    <a:pt x="74" y="10"/>
                    <a:pt x="75" y="10"/>
                    <a:pt x="75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10"/>
                    <a:pt x="76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8" y="10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9" y="11"/>
                    <a:pt x="79" y="11"/>
                    <a:pt x="80" y="11"/>
                  </a:cubicBezTo>
                  <a:cubicBezTo>
                    <a:pt x="81" y="12"/>
                    <a:pt x="82" y="12"/>
                    <a:pt x="8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3" y="14"/>
                    <a:pt x="83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2" y="15"/>
                    <a:pt x="76" y="37"/>
                    <a:pt x="71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9" y="40"/>
                    <a:pt x="84" y="24"/>
                    <a:pt x="85" y="18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99" y="27"/>
                    <a:pt x="107" y="42"/>
                    <a:pt x="109" y="60"/>
                  </a:cubicBezTo>
                  <a:cubicBezTo>
                    <a:pt x="109" y="60"/>
                    <a:pt x="104" y="71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0" y="75"/>
                    <a:pt x="80" y="75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1" y="79"/>
                    <a:pt x="81" y="79"/>
                    <a:pt x="82" y="79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99" y="76"/>
                    <a:pt x="108" y="68"/>
                    <a:pt x="111" y="64"/>
                  </a:cubicBezTo>
                  <a:cubicBezTo>
                    <a:pt x="114" y="67"/>
                    <a:pt x="115" y="70"/>
                    <a:pt x="115" y="73"/>
                  </a:cubicBezTo>
                  <a:cubicBezTo>
                    <a:pt x="115" y="78"/>
                    <a:pt x="109" y="83"/>
                    <a:pt x="99" y="8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01" name="Freeform 345"/>
            <p:cNvSpPr>
              <a:spLocks noEditPoints="1"/>
            </p:cNvSpPr>
            <p:nvPr/>
          </p:nvSpPr>
          <p:spPr bwMode="auto">
            <a:xfrm>
              <a:off x="1611" y="3411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04" name="Group 348"/>
          <p:cNvGrpSpPr>
            <a:grpSpLocks noChangeAspect="1"/>
          </p:cNvGrpSpPr>
          <p:nvPr/>
        </p:nvGrpSpPr>
        <p:grpSpPr bwMode="auto">
          <a:xfrm>
            <a:off x="3663159" y="5436522"/>
            <a:ext cx="768350" cy="768350"/>
            <a:chOff x="2301" y="3410"/>
            <a:chExt cx="484" cy="484"/>
          </a:xfrm>
        </p:grpSpPr>
        <p:sp>
          <p:nvSpPr>
            <p:cNvPr id="45405" name="Freeform 349"/>
            <p:cNvSpPr>
              <a:spLocks noEditPoints="1"/>
            </p:cNvSpPr>
            <p:nvPr/>
          </p:nvSpPr>
          <p:spPr bwMode="auto">
            <a:xfrm>
              <a:off x="2397" y="3523"/>
              <a:ext cx="285" cy="237"/>
            </a:xfrm>
            <a:custGeom>
              <a:avLst/>
              <a:gdLst/>
              <a:ahLst/>
              <a:cxnLst>
                <a:cxn ang="0">
                  <a:pos x="87" y="12"/>
                </a:cxn>
                <a:cxn ang="0">
                  <a:pos x="84" y="9"/>
                </a:cxn>
                <a:cxn ang="0">
                  <a:pos x="79" y="7"/>
                </a:cxn>
                <a:cxn ang="0">
                  <a:pos x="76" y="6"/>
                </a:cxn>
                <a:cxn ang="0">
                  <a:pos x="73" y="2"/>
                </a:cxn>
                <a:cxn ang="0">
                  <a:pos x="71" y="1"/>
                </a:cxn>
                <a:cxn ang="0">
                  <a:pos x="69" y="1"/>
                </a:cxn>
                <a:cxn ang="0">
                  <a:pos x="65" y="1"/>
                </a:cxn>
                <a:cxn ang="0">
                  <a:pos x="60" y="0"/>
                </a:cxn>
                <a:cxn ang="0">
                  <a:pos x="55" y="1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45" y="3"/>
                </a:cxn>
                <a:cxn ang="0">
                  <a:pos x="42" y="6"/>
                </a:cxn>
                <a:cxn ang="0">
                  <a:pos x="40" y="7"/>
                </a:cxn>
                <a:cxn ang="0">
                  <a:pos x="33" y="10"/>
                </a:cxn>
                <a:cxn ang="0">
                  <a:pos x="32" y="14"/>
                </a:cxn>
                <a:cxn ang="0">
                  <a:pos x="31" y="16"/>
                </a:cxn>
                <a:cxn ang="0">
                  <a:pos x="18" y="91"/>
                </a:cxn>
                <a:cxn ang="0">
                  <a:pos x="119" y="73"/>
                </a:cxn>
                <a:cxn ang="0">
                  <a:pos x="109" y="60"/>
                </a:cxn>
                <a:cxn ang="0">
                  <a:pos x="109" y="60"/>
                </a:cxn>
                <a:cxn ang="0">
                  <a:pos x="20" y="88"/>
                </a:cxn>
                <a:cxn ang="0">
                  <a:pos x="37" y="79"/>
                </a:cxn>
                <a:cxn ang="0">
                  <a:pos x="39" y="79"/>
                </a:cxn>
                <a:cxn ang="0">
                  <a:pos x="38" y="75"/>
                </a:cxn>
                <a:cxn ang="0">
                  <a:pos x="34" y="18"/>
                </a:cxn>
                <a:cxn ang="0">
                  <a:pos x="37" y="15"/>
                </a:cxn>
                <a:cxn ang="0">
                  <a:pos x="36" y="13"/>
                </a:cxn>
                <a:cxn ang="0">
                  <a:pos x="39" y="11"/>
                </a:cxn>
                <a:cxn ang="0">
                  <a:pos x="42" y="10"/>
                </a:cxn>
                <a:cxn ang="0">
                  <a:pos x="44" y="10"/>
                </a:cxn>
                <a:cxn ang="0">
                  <a:pos x="53" y="33"/>
                </a:cxn>
                <a:cxn ang="0">
                  <a:pos x="49" y="5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2" y="4"/>
                </a:cxn>
                <a:cxn ang="0">
                  <a:pos x="67" y="4"/>
                </a:cxn>
                <a:cxn ang="0">
                  <a:pos x="69" y="5"/>
                </a:cxn>
                <a:cxn ang="0">
                  <a:pos x="70" y="7"/>
                </a:cxn>
                <a:cxn ang="0">
                  <a:pos x="69" y="34"/>
                </a:cxn>
                <a:cxn ang="0">
                  <a:pos x="76" y="10"/>
                </a:cxn>
                <a:cxn ang="0">
                  <a:pos x="78" y="11"/>
                </a:cxn>
                <a:cxn ang="0">
                  <a:pos x="83" y="13"/>
                </a:cxn>
                <a:cxn ang="0">
                  <a:pos x="83" y="15"/>
                </a:cxn>
                <a:cxn ang="0">
                  <a:pos x="85" y="18"/>
                </a:cxn>
                <a:cxn ang="0">
                  <a:pos x="81" y="75"/>
                </a:cxn>
                <a:cxn ang="0">
                  <a:pos x="80" y="79"/>
                </a:cxn>
                <a:cxn ang="0">
                  <a:pos x="82" y="79"/>
                </a:cxn>
                <a:cxn ang="0">
                  <a:pos x="99" y="88"/>
                </a:cxn>
              </a:cxnLst>
              <a:rect l="0" t="0" r="r" b="b"/>
              <a:pathLst>
                <a:path w="119" h="99">
                  <a:moveTo>
                    <a:pt x="88" y="16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87" y="14"/>
                    <a:pt x="87" y="13"/>
                    <a:pt x="87" y="12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5" y="9"/>
                    <a:pt x="84" y="9"/>
                  </a:cubicBezTo>
                  <a:cubicBezTo>
                    <a:pt x="83" y="9"/>
                    <a:pt x="82" y="8"/>
                    <a:pt x="81" y="8"/>
                  </a:cubicBezTo>
                  <a:cubicBezTo>
                    <a:pt x="81" y="8"/>
                    <a:pt x="80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8" y="7"/>
                    <a:pt x="78" y="7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6"/>
                    <a:pt x="77" y="6"/>
                    <a:pt x="76" y="6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0" y="1"/>
                    <a:pt x="70" y="1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9" y="1"/>
                    <a:pt x="68" y="1"/>
                    <a:pt x="68" y="1"/>
                  </a:cubicBezTo>
                  <a:cubicBezTo>
                    <a:pt x="68" y="1"/>
                    <a:pt x="67" y="1"/>
                    <a:pt x="67" y="1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56" y="0"/>
                    <a:pt x="56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1"/>
                    <a:pt x="50" y="1"/>
                  </a:cubicBezTo>
                  <a:cubicBezTo>
                    <a:pt x="50" y="1"/>
                    <a:pt x="50" y="1"/>
                    <a:pt x="49" y="1"/>
                  </a:cubicBezTo>
                  <a:cubicBezTo>
                    <a:pt x="49" y="1"/>
                    <a:pt x="49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7" y="1"/>
                    <a:pt x="47" y="1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4" y="6"/>
                    <a:pt x="43" y="6"/>
                    <a:pt x="43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7"/>
                    <a:pt x="39" y="8"/>
                    <a:pt x="38" y="8"/>
                  </a:cubicBezTo>
                  <a:cubicBezTo>
                    <a:pt x="37" y="8"/>
                    <a:pt x="36" y="9"/>
                    <a:pt x="35" y="9"/>
                  </a:cubicBezTo>
                  <a:cubicBezTo>
                    <a:pt x="34" y="9"/>
                    <a:pt x="34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3" y="14"/>
                    <a:pt x="33" y="14"/>
                    <a:pt x="33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17" y="25"/>
                    <a:pt x="9" y="40"/>
                    <a:pt x="7" y="60"/>
                  </a:cubicBezTo>
                  <a:cubicBezTo>
                    <a:pt x="3" y="65"/>
                    <a:pt x="0" y="69"/>
                    <a:pt x="0" y="73"/>
                  </a:cubicBezTo>
                  <a:cubicBezTo>
                    <a:pt x="0" y="79"/>
                    <a:pt x="7" y="86"/>
                    <a:pt x="18" y="91"/>
                  </a:cubicBezTo>
                  <a:cubicBezTo>
                    <a:pt x="30" y="96"/>
                    <a:pt x="45" y="99"/>
                    <a:pt x="60" y="99"/>
                  </a:cubicBezTo>
                  <a:cubicBezTo>
                    <a:pt x="75" y="99"/>
                    <a:pt x="89" y="96"/>
                    <a:pt x="101" y="91"/>
                  </a:cubicBezTo>
                  <a:cubicBezTo>
                    <a:pt x="112" y="86"/>
                    <a:pt x="119" y="79"/>
                    <a:pt x="119" y="73"/>
                  </a:cubicBezTo>
                  <a:cubicBezTo>
                    <a:pt x="119" y="69"/>
                    <a:pt x="117" y="65"/>
                    <a:pt x="112" y="60"/>
                  </a:cubicBezTo>
                  <a:cubicBezTo>
                    <a:pt x="111" y="40"/>
                    <a:pt x="102" y="25"/>
                    <a:pt x="88" y="16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99" y="88"/>
                  </a:moveTo>
                  <a:cubicBezTo>
                    <a:pt x="88" y="93"/>
                    <a:pt x="74" y="95"/>
                    <a:pt x="60" y="95"/>
                  </a:cubicBezTo>
                  <a:cubicBezTo>
                    <a:pt x="45" y="95"/>
                    <a:pt x="31" y="93"/>
                    <a:pt x="20" y="88"/>
                  </a:cubicBezTo>
                  <a:cubicBezTo>
                    <a:pt x="10" y="83"/>
                    <a:pt x="4" y="78"/>
                    <a:pt x="4" y="73"/>
                  </a:cubicBezTo>
                  <a:cubicBezTo>
                    <a:pt x="4" y="71"/>
                    <a:pt x="5" y="67"/>
                    <a:pt x="8" y="64"/>
                  </a:cubicBezTo>
                  <a:cubicBezTo>
                    <a:pt x="11" y="69"/>
                    <a:pt x="20" y="76"/>
                    <a:pt x="37" y="79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8" y="79"/>
                    <a:pt x="38" y="79"/>
                    <a:pt x="39" y="79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8" y="75"/>
                    <a:pt x="38" y="75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17" y="72"/>
                    <a:pt x="12" y="63"/>
                    <a:pt x="10" y="61"/>
                  </a:cubicBezTo>
                  <a:cubicBezTo>
                    <a:pt x="12" y="42"/>
                    <a:pt x="20" y="27"/>
                    <a:pt x="33" y="1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6" y="24"/>
                    <a:pt x="41" y="40"/>
                    <a:pt x="45" y="48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3" y="37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7" y="12"/>
                    <a:pt x="38" y="12"/>
                    <a:pt x="39" y="11"/>
                  </a:cubicBezTo>
                  <a:cubicBezTo>
                    <a:pt x="40" y="11"/>
                    <a:pt x="40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5" y="9"/>
                  </a:cubicBezTo>
                  <a:cubicBezTo>
                    <a:pt x="46" y="15"/>
                    <a:pt x="47" y="27"/>
                    <a:pt x="50" y="34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0" y="25"/>
                    <a:pt x="49" y="8"/>
                    <a:pt x="49" y="7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50" y="5"/>
                    <a:pt x="50" y="5"/>
                  </a:cubicBezTo>
                  <a:cubicBezTo>
                    <a:pt x="50" y="5"/>
                    <a:pt x="50" y="5"/>
                    <a:pt x="51" y="5"/>
                  </a:cubicBezTo>
                  <a:cubicBezTo>
                    <a:pt x="51" y="5"/>
                    <a:pt x="51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3" y="4"/>
                    <a:pt x="54" y="4"/>
                    <a:pt x="55" y="4"/>
                  </a:cubicBezTo>
                  <a:cubicBezTo>
                    <a:pt x="55" y="4"/>
                    <a:pt x="56" y="4"/>
                    <a:pt x="56" y="4"/>
                  </a:cubicBezTo>
                  <a:cubicBezTo>
                    <a:pt x="56" y="4"/>
                    <a:pt x="57" y="4"/>
                    <a:pt x="57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4"/>
                    <a:pt x="63" y="4"/>
                    <a:pt x="63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5" y="4"/>
                    <a:pt x="66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4"/>
                    <a:pt x="68" y="5"/>
                    <a:pt x="68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70" y="5"/>
                    <a:pt x="70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8"/>
                    <a:pt x="69" y="25"/>
                    <a:pt x="66" y="33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72" y="27"/>
                    <a:pt x="74" y="15"/>
                    <a:pt x="74" y="9"/>
                  </a:cubicBezTo>
                  <a:cubicBezTo>
                    <a:pt x="74" y="10"/>
                    <a:pt x="75" y="10"/>
                    <a:pt x="75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10"/>
                    <a:pt x="76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8" y="10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9" y="11"/>
                    <a:pt x="79" y="11"/>
                    <a:pt x="80" y="11"/>
                  </a:cubicBezTo>
                  <a:cubicBezTo>
                    <a:pt x="81" y="12"/>
                    <a:pt x="82" y="12"/>
                    <a:pt x="8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3" y="14"/>
                    <a:pt x="83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2" y="15"/>
                    <a:pt x="76" y="37"/>
                    <a:pt x="71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9" y="40"/>
                    <a:pt x="84" y="24"/>
                    <a:pt x="85" y="18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99" y="27"/>
                    <a:pt x="107" y="42"/>
                    <a:pt x="109" y="60"/>
                  </a:cubicBezTo>
                  <a:cubicBezTo>
                    <a:pt x="109" y="60"/>
                    <a:pt x="104" y="71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0" y="75"/>
                    <a:pt x="80" y="75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1" y="79"/>
                    <a:pt x="81" y="79"/>
                    <a:pt x="82" y="79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99" y="76"/>
                    <a:pt x="108" y="68"/>
                    <a:pt x="111" y="64"/>
                  </a:cubicBezTo>
                  <a:cubicBezTo>
                    <a:pt x="114" y="67"/>
                    <a:pt x="115" y="70"/>
                    <a:pt x="115" y="73"/>
                  </a:cubicBezTo>
                  <a:cubicBezTo>
                    <a:pt x="115" y="78"/>
                    <a:pt x="109" y="83"/>
                    <a:pt x="99" y="88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06" name="Freeform 350"/>
            <p:cNvSpPr>
              <a:spLocks noEditPoints="1"/>
            </p:cNvSpPr>
            <p:nvPr/>
          </p:nvSpPr>
          <p:spPr bwMode="auto">
            <a:xfrm>
              <a:off x="2301" y="341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09" name="Group 353"/>
          <p:cNvGrpSpPr>
            <a:grpSpLocks noChangeAspect="1"/>
          </p:cNvGrpSpPr>
          <p:nvPr/>
        </p:nvGrpSpPr>
        <p:grpSpPr bwMode="auto">
          <a:xfrm>
            <a:off x="4725194" y="5400013"/>
            <a:ext cx="842962" cy="842962"/>
            <a:chOff x="2969" y="3387"/>
            <a:chExt cx="531" cy="531"/>
          </a:xfrm>
        </p:grpSpPr>
        <p:sp>
          <p:nvSpPr>
            <p:cNvPr id="45410" name="Oval 354"/>
            <p:cNvSpPr>
              <a:spLocks noChangeArrowheads="1"/>
            </p:cNvSpPr>
            <p:nvPr/>
          </p:nvSpPr>
          <p:spPr bwMode="auto">
            <a:xfrm>
              <a:off x="2969" y="3387"/>
              <a:ext cx="531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11" name="Freeform 355"/>
            <p:cNvSpPr>
              <a:spLocks noEditPoints="1"/>
            </p:cNvSpPr>
            <p:nvPr/>
          </p:nvSpPr>
          <p:spPr bwMode="auto">
            <a:xfrm>
              <a:off x="2993" y="3411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2" name="Freeform 356"/>
            <p:cNvSpPr>
              <a:spLocks noEditPoints="1"/>
            </p:cNvSpPr>
            <p:nvPr/>
          </p:nvSpPr>
          <p:spPr bwMode="auto">
            <a:xfrm>
              <a:off x="3081" y="3540"/>
              <a:ext cx="309" cy="213"/>
            </a:xfrm>
            <a:custGeom>
              <a:avLst/>
              <a:gdLst/>
              <a:ahLst/>
              <a:cxnLst>
                <a:cxn ang="0">
                  <a:pos x="259" y="0"/>
                </a:cxn>
                <a:cxn ang="0">
                  <a:pos x="48" y="0"/>
                </a:cxn>
                <a:cxn ang="0">
                  <a:pos x="48" y="134"/>
                </a:cxn>
                <a:cxn ang="0">
                  <a:pos x="0" y="213"/>
                </a:cxn>
                <a:cxn ang="0">
                  <a:pos x="309" y="213"/>
                </a:cxn>
                <a:cxn ang="0">
                  <a:pos x="259" y="132"/>
                </a:cxn>
                <a:cxn ang="0">
                  <a:pos x="259" y="0"/>
                </a:cxn>
                <a:cxn ang="0">
                  <a:pos x="58" y="10"/>
                </a:cxn>
                <a:cxn ang="0">
                  <a:pos x="249" y="10"/>
                </a:cxn>
                <a:cxn ang="0">
                  <a:pos x="249" y="132"/>
                </a:cxn>
                <a:cxn ang="0">
                  <a:pos x="58" y="132"/>
                </a:cxn>
                <a:cxn ang="0">
                  <a:pos x="58" y="10"/>
                </a:cxn>
                <a:cxn ang="0">
                  <a:pos x="15" y="206"/>
                </a:cxn>
                <a:cxn ang="0">
                  <a:pos x="55" y="139"/>
                </a:cxn>
                <a:cxn ang="0">
                  <a:pos x="252" y="139"/>
                </a:cxn>
                <a:cxn ang="0">
                  <a:pos x="292" y="206"/>
                </a:cxn>
                <a:cxn ang="0">
                  <a:pos x="15" y="206"/>
                </a:cxn>
              </a:cxnLst>
              <a:rect l="0" t="0" r="r" b="b"/>
              <a:pathLst>
                <a:path w="309" h="213">
                  <a:moveTo>
                    <a:pt x="259" y="0"/>
                  </a:moveTo>
                  <a:lnTo>
                    <a:pt x="48" y="0"/>
                  </a:lnTo>
                  <a:lnTo>
                    <a:pt x="48" y="134"/>
                  </a:lnTo>
                  <a:lnTo>
                    <a:pt x="0" y="213"/>
                  </a:lnTo>
                  <a:lnTo>
                    <a:pt x="309" y="213"/>
                  </a:lnTo>
                  <a:lnTo>
                    <a:pt x="259" y="132"/>
                  </a:lnTo>
                  <a:lnTo>
                    <a:pt x="259" y="0"/>
                  </a:lnTo>
                  <a:close/>
                  <a:moveTo>
                    <a:pt x="58" y="10"/>
                  </a:moveTo>
                  <a:lnTo>
                    <a:pt x="249" y="10"/>
                  </a:lnTo>
                  <a:lnTo>
                    <a:pt x="249" y="132"/>
                  </a:lnTo>
                  <a:lnTo>
                    <a:pt x="58" y="132"/>
                  </a:lnTo>
                  <a:lnTo>
                    <a:pt x="58" y="10"/>
                  </a:lnTo>
                  <a:close/>
                  <a:moveTo>
                    <a:pt x="15" y="206"/>
                  </a:moveTo>
                  <a:lnTo>
                    <a:pt x="55" y="139"/>
                  </a:lnTo>
                  <a:lnTo>
                    <a:pt x="252" y="139"/>
                  </a:lnTo>
                  <a:lnTo>
                    <a:pt x="292" y="206"/>
                  </a:lnTo>
                  <a:lnTo>
                    <a:pt x="15" y="20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3" name="Rectangle 357"/>
            <p:cNvSpPr>
              <a:spLocks noChangeArrowheads="1"/>
            </p:cNvSpPr>
            <p:nvPr/>
          </p:nvSpPr>
          <p:spPr bwMode="auto">
            <a:xfrm>
              <a:off x="3153" y="3688"/>
              <a:ext cx="163" cy="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4" name="Rectangle 358"/>
            <p:cNvSpPr>
              <a:spLocks noChangeArrowheads="1"/>
            </p:cNvSpPr>
            <p:nvPr/>
          </p:nvSpPr>
          <p:spPr bwMode="auto">
            <a:xfrm>
              <a:off x="3144" y="3705"/>
              <a:ext cx="181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5" name="Rectangle 359"/>
            <p:cNvSpPr>
              <a:spLocks noChangeArrowheads="1"/>
            </p:cNvSpPr>
            <p:nvPr/>
          </p:nvSpPr>
          <p:spPr bwMode="auto">
            <a:xfrm>
              <a:off x="3201" y="3724"/>
              <a:ext cx="6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16" name="Freeform 360"/>
            <p:cNvSpPr>
              <a:spLocks noEditPoints="1"/>
            </p:cNvSpPr>
            <p:nvPr/>
          </p:nvSpPr>
          <p:spPr bwMode="auto">
            <a:xfrm>
              <a:off x="3203" y="3569"/>
              <a:ext cx="65" cy="8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14"/>
                </a:cxn>
                <a:cxn ang="0">
                  <a:pos x="10" y="30"/>
                </a:cxn>
                <a:cxn ang="0">
                  <a:pos x="12" y="32"/>
                </a:cxn>
                <a:cxn ang="0">
                  <a:pos x="13" y="35"/>
                </a:cxn>
                <a:cxn ang="0">
                  <a:pos x="15" y="32"/>
                </a:cxn>
                <a:cxn ang="0">
                  <a:pos x="17" y="30"/>
                </a:cxn>
                <a:cxn ang="0">
                  <a:pos x="27" y="14"/>
                </a:cxn>
                <a:cxn ang="0">
                  <a:pos x="13" y="0"/>
                </a:cxn>
                <a:cxn ang="0">
                  <a:pos x="14" y="27"/>
                </a:cxn>
                <a:cxn ang="0">
                  <a:pos x="13" y="28"/>
                </a:cxn>
                <a:cxn ang="0">
                  <a:pos x="12" y="27"/>
                </a:cxn>
                <a:cxn ang="0">
                  <a:pos x="4" y="14"/>
                </a:cxn>
                <a:cxn ang="0">
                  <a:pos x="13" y="4"/>
                </a:cxn>
                <a:cxn ang="0">
                  <a:pos x="23" y="14"/>
                </a:cxn>
                <a:cxn ang="0">
                  <a:pos x="14" y="27"/>
                </a:cxn>
              </a:cxnLst>
              <a:rect l="0" t="0" r="r" b="b"/>
              <a:pathLst>
                <a:path w="27" h="35">
                  <a:moveTo>
                    <a:pt x="13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7" y="27"/>
                    <a:pt x="10" y="30"/>
                  </a:cubicBezTo>
                  <a:cubicBezTo>
                    <a:pt x="11" y="31"/>
                    <a:pt x="12" y="32"/>
                    <a:pt x="12" y="32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6" y="31"/>
                    <a:pt x="17" y="30"/>
                  </a:cubicBezTo>
                  <a:cubicBezTo>
                    <a:pt x="20" y="27"/>
                    <a:pt x="27" y="22"/>
                    <a:pt x="27" y="14"/>
                  </a:cubicBezTo>
                  <a:cubicBezTo>
                    <a:pt x="27" y="6"/>
                    <a:pt x="21" y="0"/>
                    <a:pt x="13" y="0"/>
                  </a:cubicBezTo>
                  <a:close/>
                  <a:moveTo>
                    <a:pt x="14" y="27"/>
                  </a:moveTo>
                  <a:cubicBezTo>
                    <a:pt x="14" y="28"/>
                    <a:pt x="14" y="28"/>
                    <a:pt x="13" y="28"/>
                  </a:cubicBezTo>
                  <a:cubicBezTo>
                    <a:pt x="13" y="28"/>
                    <a:pt x="13" y="28"/>
                    <a:pt x="12" y="27"/>
                  </a:cubicBezTo>
                  <a:cubicBezTo>
                    <a:pt x="9" y="25"/>
                    <a:pt x="4" y="20"/>
                    <a:pt x="4" y="14"/>
                  </a:cubicBezTo>
                  <a:cubicBezTo>
                    <a:pt x="4" y="8"/>
                    <a:pt x="8" y="4"/>
                    <a:pt x="13" y="4"/>
                  </a:cubicBezTo>
                  <a:cubicBezTo>
                    <a:pt x="19" y="4"/>
                    <a:pt x="23" y="8"/>
                    <a:pt x="23" y="14"/>
                  </a:cubicBezTo>
                  <a:cubicBezTo>
                    <a:pt x="23" y="20"/>
                    <a:pt x="18" y="2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19" name="Group 363"/>
          <p:cNvGrpSpPr>
            <a:grpSpLocks noChangeAspect="1"/>
          </p:cNvGrpSpPr>
          <p:nvPr/>
        </p:nvGrpSpPr>
        <p:grpSpPr bwMode="auto">
          <a:xfrm>
            <a:off x="5859458" y="5436522"/>
            <a:ext cx="768350" cy="768350"/>
            <a:chOff x="3682" y="3410"/>
            <a:chExt cx="484" cy="484"/>
          </a:xfrm>
        </p:grpSpPr>
        <p:sp>
          <p:nvSpPr>
            <p:cNvPr id="45420" name="Freeform 364"/>
            <p:cNvSpPr>
              <a:spLocks noEditPoints="1"/>
            </p:cNvSpPr>
            <p:nvPr/>
          </p:nvSpPr>
          <p:spPr bwMode="auto">
            <a:xfrm>
              <a:off x="3682" y="341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1" name="Freeform 365"/>
            <p:cNvSpPr>
              <a:spLocks noEditPoints="1"/>
            </p:cNvSpPr>
            <p:nvPr/>
          </p:nvSpPr>
          <p:spPr bwMode="auto">
            <a:xfrm>
              <a:off x="3771" y="3540"/>
              <a:ext cx="309" cy="213"/>
            </a:xfrm>
            <a:custGeom>
              <a:avLst/>
              <a:gdLst/>
              <a:ahLst/>
              <a:cxnLst>
                <a:cxn ang="0">
                  <a:pos x="259" y="0"/>
                </a:cxn>
                <a:cxn ang="0">
                  <a:pos x="48" y="0"/>
                </a:cxn>
                <a:cxn ang="0">
                  <a:pos x="48" y="134"/>
                </a:cxn>
                <a:cxn ang="0">
                  <a:pos x="0" y="213"/>
                </a:cxn>
                <a:cxn ang="0">
                  <a:pos x="309" y="213"/>
                </a:cxn>
                <a:cxn ang="0">
                  <a:pos x="259" y="132"/>
                </a:cxn>
                <a:cxn ang="0">
                  <a:pos x="259" y="0"/>
                </a:cxn>
                <a:cxn ang="0">
                  <a:pos x="58" y="9"/>
                </a:cxn>
                <a:cxn ang="0">
                  <a:pos x="249" y="9"/>
                </a:cxn>
                <a:cxn ang="0">
                  <a:pos x="249" y="132"/>
                </a:cxn>
                <a:cxn ang="0">
                  <a:pos x="58" y="132"/>
                </a:cxn>
                <a:cxn ang="0">
                  <a:pos x="58" y="9"/>
                </a:cxn>
                <a:cxn ang="0">
                  <a:pos x="14" y="206"/>
                </a:cxn>
                <a:cxn ang="0">
                  <a:pos x="55" y="139"/>
                </a:cxn>
                <a:cxn ang="0">
                  <a:pos x="252" y="139"/>
                </a:cxn>
                <a:cxn ang="0">
                  <a:pos x="292" y="206"/>
                </a:cxn>
                <a:cxn ang="0">
                  <a:pos x="14" y="206"/>
                </a:cxn>
              </a:cxnLst>
              <a:rect l="0" t="0" r="r" b="b"/>
              <a:pathLst>
                <a:path w="309" h="213">
                  <a:moveTo>
                    <a:pt x="259" y="0"/>
                  </a:moveTo>
                  <a:lnTo>
                    <a:pt x="48" y="0"/>
                  </a:lnTo>
                  <a:lnTo>
                    <a:pt x="48" y="134"/>
                  </a:lnTo>
                  <a:lnTo>
                    <a:pt x="0" y="213"/>
                  </a:lnTo>
                  <a:lnTo>
                    <a:pt x="309" y="213"/>
                  </a:lnTo>
                  <a:lnTo>
                    <a:pt x="259" y="132"/>
                  </a:lnTo>
                  <a:lnTo>
                    <a:pt x="259" y="0"/>
                  </a:lnTo>
                  <a:close/>
                  <a:moveTo>
                    <a:pt x="58" y="9"/>
                  </a:moveTo>
                  <a:lnTo>
                    <a:pt x="249" y="9"/>
                  </a:lnTo>
                  <a:lnTo>
                    <a:pt x="249" y="132"/>
                  </a:lnTo>
                  <a:lnTo>
                    <a:pt x="58" y="132"/>
                  </a:lnTo>
                  <a:lnTo>
                    <a:pt x="58" y="9"/>
                  </a:lnTo>
                  <a:close/>
                  <a:moveTo>
                    <a:pt x="14" y="206"/>
                  </a:moveTo>
                  <a:lnTo>
                    <a:pt x="55" y="139"/>
                  </a:lnTo>
                  <a:lnTo>
                    <a:pt x="252" y="139"/>
                  </a:lnTo>
                  <a:lnTo>
                    <a:pt x="292" y="206"/>
                  </a:lnTo>
                  <a:lnTo>
                    <a:pt x="14" y="20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2" name="Rectangle 366"/>
            <p:cNvSpPr>
              <a:spLocks noChangeArrowheads="1"/>
            </p:cNvSpPr>
            <p:nvPr/>
          </p:nvSpPr>
          <p:spPr bwMode="auto">
            <a:xfrm>
              <a:off x="3843" y="3688"/>
              <a:ext cx="163" cy="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3" name="Rectangle 367"/>
            <p:cNvSpPr>
              <a:spLocks noChangeArrowheads="1"/>
            </p:cNvSpPr>
            <p:nvPr/>
          </p:nvSpPr>
          <p:spPr bwMode="auto">
            <a:xfrm>
              <a:off x="3833" y="3705"/>
              <a:ext cx="182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4" name="Rectangle 368"/>
            <p:cNvSpPr>
              <a:spLocks noChangeArrowheads="1"/>
            </p:cNvSpPr>
            <p:nvPr/>
          </p:nvSpPr>
          <p:spPr bwMode="auto">
            <a:xfrm>
              <a:off x="3891" y="3724"/>
              <a:ext cx="6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25" name="Freeform 369"/>
            <p:cNvSpPr>
              <a:spLocks noEditPoints="1"/>
            </p:cNvSpPr>
            <p:nvPr/>
          </p:nvSpPr>
          <p:spPr bwMode="auto">
            <a:xfrm>
              <a:off x="3893" y="3568"/>
              <a:ext cx="65" cy="8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14"/>
                </a:cxn>
                <a:cxn ang="0">
                  <a:pos x="10" y="30"/>
                </a:cxn>
                <a:cxn ang="0">
                  <a:pos x="12" y="32"/>
                </a:cxn>
                <a:cxn ang="0">
                  <a:pos x="13" y="35"/>
                </a:cxn>
                <a:cxn ang="0">
                  <a:pos x="15" y="32"/>
                </a:cxn>
                <a:cxn ang="0">
                  <a:pos x="17" y="30"/>
                </a:cxn>
                <a:cxn ang="0">
                  <a:pos x="27" y="14"/>
                </a:cxn>
                <a:cxn ang="0">
                  <a:pos x="13" y="0"/>
                </a:cxn>
                <a:cxn ang="0">
                  <a:pos x="14" y="27"/>
                </a:cxn>
                <a:cxn ang="0">
                  <a:pos x="13" y="28"/>
                </a:cxn>
                <a:cxn ang="0">
                  <a:pos x="12" y="27"/>
                </a:cxn>
                <a:cxn ang="0">
                  <a:pos x="4" y="14"/>
                </a:cxn>
                <a:cxn ang="0">
                  <a:pos x="13" y="4"/>
                </a:cxn>
                <a:cxn ang="0">
                  <a:pos x="23" y="14"/>
                </a:cxn>
                <a:cxn ang="0">
                  <a:pos x="14" y="27"/>
                </a:cxn>
              </a:cxnLst>
              <a:rect l="0" t="0" r="r" b="b"/>
              <a:pathLst>
                <a:path w="27" h="35">
                  <a:moveTo>
                    <a:pt x="13" y="0"/>
                  </a:move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7" y="27"/>
                    <a:pt x="10" y="30"/>
                  </a:cubicBezTo>
                  <a:cubicBezTo>
                    <a:pt x="11" y="31"/>
                    <a:pt x="12" y="32"/>
                    <a:pt x="12" y="32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6" y="31"/>
                    <a:pt x="17" y="30"/>
                  </a:cubicBezTo>
                  <a:cubicBezTo>
                    <a:pt x="20" y="27"/>
                    <a:pt x="27" y="22"/>
                    <a:pt x="27" y="14"/>
                  </a:cubicBezTo>
                  <a:cubicBezTo>
                    <a:pt x="27" y="6"/>
                    <a:pt x="21" y="0"/>
                    <a:pt x="13" y="0"/>
                  </a:cubicBezTo>
                  <a:close/>
                  <a:moveTo>
                    <a:pt x="14" y="27"/>
                  </a:moveTo>
                  <a:cubicBezTo>
                    <a:pt x="14" y="28"/>
                    <a:pt x="14" y="28"/>
                    <a:pt x="13" y="28"/>
                  </a:cubicBezTo>
                  <a:cubicBezTo>
                    <a:pt x="13" y="28"/>
                    <a:pt x="13" y="28"/>
                    <a:pt x="12" y="27"/>
                  </a:cubicBezTo>
                  <a:cubicBezTo>
                    <a:pt x="9" y="25"/>
                    <a:pt x="4" y="20"/>
                    <a:pt x="4" y="14"/>
                  </a:cubicBezTo>
                  <a:cubicBezTo>
                    <a:pt x="4" y="8"/>
                    <a:pt x="8" y="4"/>
                    <a:pt x="13" y="4"/>
                  </a:cubicBezTo>
                  <a:cubicBezTo>
                    <a:pt x="19" y="4"/>
                    <a:pt x="23" y="8"/>
                    <a:pt x="23" y="14"/>
                  </a:cubicBezTo>
                  <a:cubicBezTo>
                    <a:pt x="23" y="20"/>
                    <a:pt x="18" y="25"/>
                    <a:pt x="14" y="27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428" name="Group 372"/>
          <p:cNvGrpSpPr>
            <a:grpSpLocks noChangeAspect="1"/>
          </p:cNvGrpSpPr>
          <p:nvPr/>
        </p:nvGrpSpPr>
        <p:grpSpPr bwMode="auto">
          <a:xfrm>
            <a:off x="6907861" y="5388897"/>
            <a:ext cx="854075" cy="857249"/>
            <a:chOff x="4348" y="3380"/>
            <a:chExt cx="538" cy="540"/>
          </a:xfrm>
        </p:grpSpPr>
        <p:sp>
          <p:nvSpPr>
            <p:cNvPr id="45429" name="Oval 373"/>
            <p:cNvSpPr>
              <a:spLocks noChangeArrowheads="1"/>
            </p:cNvSpPr>
            <p:nvPr/>
          </p:nvSpPr>
          <p:spPr bwMode="auto">
            <a:xfrm>
              <a:off x="4348" y="3380"/>
              <a:ext cx="538" cy="54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30" name="Freeform 374"/>
            <p:cNvSpPr>
              <a:spLocks noEditPoints="1"/>
            </p:cNvSpPr>
            <p:nvPr/>
          </p:nvSpPr>
          <p:spPr bwMode="auto">
            <a:xfrm>
              <a:off x="4369" y="3402"/>
              <a:ext cx="495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1" name="Freeform 375"/>
            <p:cNvSpPr>
              <a:spLocks noEditPoints="1"/>
            </p:cNvSpPr>
            <p:nvPr/>
          </p:nvSpPr>
          <p:spPr bwMode="auto">
            <a:xfrm>
              <a:off x="4501" y="3486"/>
              <a:ext cx="234" cy="247"/>
            </a:xfrm>
            <a:custGeom>
              <a:avLst/>
              <a:gdLst/>
              <a:ahLst/>
              <a:cxnLst>
                <a:cxn ang="0">
                  <a:pos x="85" y="12"/>
                </a:cxn>
                <a:cxn ang="0">
                  <a:pos x="49" y="0"/>
                </a:cxn>
                <a:cxn ang="0">
                  <a:pos x="14" y="12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6" y="45"/>
                </a:cxn>
                <a:cxn ang="0">
                  <a:pos x="27" y="44"/>
                </a:cxn>
                <a:cxn ang="0">
                  <a:pos x="35" y="28"/>
                </a:cxn>
                <a:cxn ang="0">
                  <a:pos x="50" y="23"/>
                </a:cxn>
                <a:cxn ang="0">
                  <a:pos x="64" y="28"/>
                </a:cxn>
                <a:cxn ang="0">
                  <a:pos x="70" y="39"/>
                </a:cxn>
                <a:cxn ang="0">
                  <a:pos x="67" y="48"/>
                </a:cxn>
                <a:cxn ang="0">
                  <a:pos x="54" y="59"/>
                </a:cxn>
                <a:cxn ang="0">
                  <a:pos x="39" y="76"/>
                </a:cxn>
                <a:cxn ang="0">
                  <a:pos x="35" y="95"/>
                </a:cxn>
                <a:cxn ang="0">
                  <a:pos x="35" y="101"/>
                </a:cxn>
                <a:cxn ang="0">
                  <a:pos x="35" y="103"/>
                </a:cxn>
                <a:cxn ang="0">
                  <a:pos x="61" y="103"/>
                </a:cxn>
                <a:cxn ang="0">
                  <a:pos x="61" y="101"/>
                </a:cxn>
                <a:cxn ang="0">
                  <a:pos x="63" y="87"/>
                </a:cxn>
                <a:cxn ang="0">
                  <a:pos x="72" y="77"/>
                </a:cxn>
                <a:cxn ang="0">
                  <a:pos x="93" y="56"/>
                </a:cxn>
                <a:cxn ang="0">
                  <a:pos x="98" y="40"/>
                </a:cxn>
                <a:cxn ang="0">
                  <a:pos x="85" y="12"/>
                </a:cxn>
                <a:cxn ang="0">
                  <a:pos x="90" y="54"/>
                </a:cxn>
                <a:cxn ang="0">
                  <a:pos x="70" y="74"/>
                </a:cxn>
                <a:cxn ang="0">
                  <a:pos x="60" y="86"/>
                </a:cxn>
                <a:cxn ang="0">
                  <a:pos x="58" y="99"/>
                </a:cxn>
                <a:cxn ang="0">
                  <a:pos x="38" y="99"/>
                </a:cxn>
                <a:cxn ang="0">
                  <a:pos x="38" y="95"/>
                </a:cxn>
                <a:cxn ang="0">
                  <a:pos x="42" y="77"/>
                </a:cxn>
                <a:cxn ang="0">
                  <a:pos x="56" y="62"/>
                </a:cxn>
                <a:cxn ang="0">
                  <a:pos x="70" y="50"/>
                </a:cxn>
                <a:cxn ang="0">
                  <a:pos x="73" y="39"/>
                </a:cxn>
                <a:cxn ang="0">
                  <a:pos x="67" y="25"/>
                </a:cxn>
                <a:cxn ang="0">
                  <a:pos x="50" y="19"/>
                </a:cxn>
                <a:cxn ang="0">
                  <a:pos x="33" y="25"/>
                </a:cxn>
                <a:cxn ang="0">
                  <a:pos x="23" y="41"/>
                </a:cxn>
                <a:cxn ang="0">
                  <a:pos x="4" y="39"/>
                </a:cxn>
                <a:cxn ang="0">
                  <a:pos x="17" y="14"/>
                </a:cxn>
                <a:cxn ang="0">
                  <a:pos x="49" y="4"/>
                </a:cxn>
                <a:cxn ang="0">
                  <a:pos x="82" y="15"/>
                </a:cxn>
                <a:cxn ang="0">
                  <a:pos x="94" y="40"/>
                </a:cxn>
                <a:cxn ang="0">
                  <a:pos x="90" y="54"/>
                </a:cxn>
              </a:cxnLst>
              <a:rect l="0" t="0" r="r" b="b"/>
              <a:pathLst>
                <a:path w="98" h="103">
                  <a:moveTo>
                    <a:pt x="85" y="12"/>
                  </a:moveTo>
                  <a:cubicBezTo>
                    <a:pt x="76" y="4"/>
                    <a:pt x="64" y="0"/>
                    <a:pt x="49" y="0"/>
                  </a:cubicBezTo>
                  <a:cubicBezTo>
                    <a:pt x="35" y="0"/>
                    <a:pt x="23" y="4"/>
                    <a:pt x="14" y="12"/>
                  </a:cubicBezTo>
                  <a:cubicBezTo>
                    <a:pt x="5" y="19"/>
                    <a:pt x="0" y="29"/>
                    <a:pt x="0" y="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8" y="37"/>
                    <a:pt x="31" y="31"/>
                    <a:pt x="35" y="28"/>
                  </a:cubicBezTo>
                  <a:cubicBezTo>
                    <a:pt x="39" y="25"/>
                    <a:pt x="44" y="23"/>
                    <a:pt x="50" y="23"/>
                  </a:cubicBezTo>
                  <a:cubicBezTo>
                    <a:pt x="56" y="23"/>
                    <a:pt x="61" y="24"/>
                    <a:pt x="64" y="28"/>
                  </a:cubicBezTo>
                  <a:cubicBezTo>
                    <a:pt x="68" y="31"/>
                    <a:pt x="70" y="35"/>
                    <a:pt x="70" y="39"/>
                  </a:cubicBezTo>
                  <a:cubicBezTo>
                    <a:pt x="70" y="42"/>
                    <a:pt x="69" y="45"/>
                    <a:pt x="67" y="48"/>
                  </a:cubicBezTo>
                  <a:cubicBezTo>
                    <a:pt x="66" y="49"/>
                    <a:pt x="63" y="52"/>
                    <a:pt x="54" y="59"/>
                  </a:cubicBezTo>
                  <a:cubicBezTo>
                    <a:pt x="46" y="65"/>
                    <a:pt x="41" y="71"/>
                    <a:pt x="39" y="76"/>
                  </a:cubicBezTo>
                  <a:cubicBezTo>
                    <a:pt x="36" y="81"/>
                    <a:pt x="35" y="87"/>
                    <a:pt x="35" y="95"/>
                  </a:cubicBezTo>
                  <a:cubicBezTo>
                    <a:pt x="35" y="96"/>
                    <a:pt x="35" y="98"/>
                    <a:pt x="35" y="101"/>
                  </a:cubicBezTo>
                  <a:cubicBezTo>
                    <a:pt x="35" y="103"/>
                    <a:pt x="35" y="103"/>
                    <a:pt x="35" y="103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1" y="94"/>
                    <a:pt x="62" y="90"/>
                    <a:pt x="63" y="87"/>
                  </a:cubicBezTo>
                  <a:cubicBezTo>
                    <a:pt x="64" y="85"/>
                    <a:pt x="67" y="81"/>
                    <a:pt x="72" y="77"/>
                  </a:cubicBezTo>
                  <a:cubicBezTo>
                    <a:pt x="83" y="68"/>
                    <a:pt x="90" y="62"/>
                    <a:pt x="93" y="56"/>
                  </a:cubicBezTo>
                  <a:cubicBezTo>
                    <a:pt x="96" y="51"/>
                    <a:pt x="98" y="46"/>
                    <a:pt x="98" y="40"/>
                  </a:cubicBezTo>
                  <a:cubicBezTo>
                    <a:pt x="98" y="29"/>
                    <a:pt x="94" y="20"/>
                    <a:pt x="85" y="12"/>
                  </a:cubicBezTo>
                  <a:close/>
                  <a:moveTo>
                    <a:pt x="90" y="54"/>
                  </a:moveTo>
                  <a:cubicBezTo>
                    <a:pt x="87" y="59"/>
                    <a:pt x="80" y="66"/>
                    <a:pt x="70" y="74"/>
                  </a:cubicBezTo>
                  <a:cubicBezTo>
                    <a:pt x="65" y="79"/>
                    <a:pt x="61" y="83"/>
                    <a:pt x="60" y="86"/>
                  </a:cubicBezTo>
                  <a:cubicBezTo>
                    <a:pt x="58" y="88"/>
                    <a:pt x="58" y="93"/>
                    <a:pt x="58" y="99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38" y="97"/>
                    <a:pt x="38" y="95"/>
                    <a:pt x="38" y="95"/>
                  </a:cubicBezTo>
                  <a:cubicBezTo>
                    <a:pt x="38" y="88"/>
                    <a:pt x="40" y="82"/>
                    <a:pt x="42" y="77"/>
                  </a:cubicBezTo>
                  <a:cubicBezTo>
                    <a:pt x="44" y="73"/>
                    <a:pt x="49" y="68"/>
                    <a:pt x="56" y="62"/>
                  </a:cubicBezTo>
                  <a:cubicBezTo>
                    <a:pt x="64" y="56"/>
                    <a:pt x="68" y="52"/>
                    <a:pt x="70" y="50"/>
                  </a:cubicBezTo>
                  <a:cubicBezTo>
                    <a:pt x="72" y="46"/>
                    <a:pt x="73" y="43"/>
                    <a:pt x="73" y="39"/>
                  </a:cubicBezTo>
                  <a:cubicBezTo>
                    <a:pt x="73" y="33"/>
                    <a:pt x="71" y="29"/>
                    <a:pt x="67" y="25"/>
                  </a:cubicBezTo>
                  <a:cubicBezTo>
                    <a:pt x="63" y="21"/>
                    <a:pt x="57" y="19"/>
                    <a:pt x="50" y="19"/>
                  </a:cubicBezTo>
                  <a:cubicBezTo>
                    <a:pt x="43" y="19"/>
                    <a:pt x="37" y="21"/>
                    <a:pt x="33" y="25"/>
                  </a:cubicBezTo>
                  <a:cubicBezTo>
                    <a:pt x="28" y="29"/>
                    <a:pt x="25" y="34"/>
                    <a:pt x="23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5" y="29"/>
                    <a:pt x="9" y="21"/>
                    <a:pt x="17" y="14"/>
                  </a:cubicBezTo>
                  <a:cubicBezTo>
                    <a:pt x="25" y="7"/>
                    <a:pt x="35" y="4"/>
                    <a:pt x="49" y="4"/>
                  </a:cubicBezTo>
                  <a:cubicBezTo>
                    <a:pt x="63" y="4"/>
                    <a:pt x="74" y="7"/>
                    <a:pt x="82" y="15"/>
                  </a:cubicBezTo>
                  <a:cubicBezTo>
                    <a:pt x="90" y="22"/>
                    <a:pt x="94" y="30"/>
                    <a:pt x="94" y="40"/>
                  </a:cubicBezTo>
                  <a:cubicBezTo>
                    <a:pt x="94" y="45"/>
                    <a:pt x="93" y="50"/>
                    <a:pt x="90" y="5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2" name="Freeform 376"/>
            <p:cNvSpPr>
              <a:spLocks noEditPoints="1"/>
            </p:cNvSpPr>
            <p:nvPr/>
          </p:nvSpPr>
          <p:spPr bwMode="auto">
            <a:xfrm>
              <a:off x="4584" y="3745"/>
              <a:ext cx="70" cy="69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70" y="69"/>
                </a:cxn>
                <a:cxn ang="0">
                  <a:pos x="70" y="0"/>
                </a:cxn>
                <a:cxn ang="0">
                  <a:pos x="0" y="0"/>
                </a:cxn>
                <a:cxn ang="0">
                  <a:pos x="0" y="69"/>
                </a:cxn>
                <a:cxn ang="0">
                  <a:pos x="7" y="7"/>
                </a:cxn>
                <a:cxn ang="0">
                  <a:pos x="60" y="7"/>
                </a:cxn>
                <a:cxn ang="0">
                  <a:pos x="60" y="60"/>
                </a:cxn>
                <a:cxn ang="0">
                  <a:pos x="7" y="60"/>
                </a:cxn>
                <a:cxn ang="0">
                  <a:pos x="7" y="7"/>
                </a:cxn>
              </a:cxnLst>
              <a:rect l="0" t="0" r="r" b="b"/>
              <a:pathLst>
                <a:path w="70" h="69">
                  <a:moveTo>
                    <a:pt x="0" y="69"/>
                  </a:moveTo>
                  <a:lnTo>
                    <a:pt x="70" y="69"/>
                  </a:lnTo>
                  <a:lnTo>
                    <a:pt x="70" y="0"/>
                  </a:lnTo>
                  <a:lnTo>
                    <a:pt x="0" y="0"/>
                  </a:lnTo>
                  <a:lnTo>
                    <a:pt x="0" y="69"/>
                  </a:lnTo>
                  <a:close/>
                  <a:moveTo>
                    <a:pt x="7" y="7"/>
                  </a:moveTo>
                  <a:lnTo>
                    <a:pt x="60" y="7"/>
                  </a:lnTo>
                  <a:lnTo>
                    <a:pt x="60" y="60"/>
                  </a:lnTo>
                  <a:lnTo>
                    <a:pt x="7" y="60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5435" name="Group 379"/>
          <p:cNvGrpSpPr>
            <a:grpSpLocks noChangeAspect="1"/>
          </p:cNvGrpSpPr>
          <p:nvPr/>
        </p:nvGrpSpPr>
        <p:grpSpPr bwMode="auto">
          <a:xfrm>
            <a:off x="8043868" y="5423828"/>
            <a:ext cx="785813" cy="785813"/>
            <a:chOff x="5067" y="3402"/>
            <a:chExt cx="495" cy="495"/>
          </a:xfrm>
        </p:grpSpPr>
        <p:sp>
          <p:nvSpPr>
            <p:cNvPr id="45436" name="Freeform 380"/>
            <p:cNvSpPr>
              <a:spLocks noEditPoints="1"/>
            </p:cNvSpPr>
            <p:nvPr/>
          </p:nvSpPr>
          <p:spPr bwMode="auto">
            <a:xfrm>
              <a:off x="5067" y="3402"/>
              <a:ext cx="495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37" name="Freeform 381"/>
            <p:cNvSpPr>
              <a:spLocks noEditPoints="1"/>
            </p:cNvSpPr>
            <p:nvPr/>
          </p:nvSpPr>
          <p:spPr bwMode="auto">
            <a:xfrm>
              <a:off x="5198" y="3485"/>
              <a:ext cx="235" cy="247"/>
            </a:xfrm>
            <a:custGeom>
              <a:avLst/>
              <a:gdLst/>
              <a:ahLst/>
              <a:cxnLst>
                <a:cxn ang="0">
                  <a:pos x="85" y="12"/>
                </a:cxn>
                <a:cxn ang="0">
                  <a:pos x="49" y="0"/>
                </a:cxn>
                <a:cxn ang="0">
                  <a:pos x="14" y="12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6" y="45"/>
                </a:cxn>
                <a:cxn ang="0">
                  <a:pos x="27" y="44"/>
                </a:cxn>
                <a:cxn ang="0">
                  <a:pos x="35" y="28"/>
                </a:cxn>
                <a:cxn ang="0">
                  <a:pos x="50" y="23"/>
                </a:cxn>
                <a:cxn ang="0">
                  <a:pos x="64" y="28"/>
                </a:cxn>
                <a:cxn ang="0">
                  <a:pos x="70" y="39"/>
                </a:cxn>
                <a:cxn ang="0">
                  <a:pos x="67" y="48"/>
                </a:cxn>
                <a:cxn ang="0">
                  <a:pos x="54" y="59"/>
                </a:cxn>
                <a:cxn ang="0">
                  <a:pos x="39" y="76"/>
                </a:cxn>
                <a:cxn ang="0">
                  <a:pos x="35" y="95"/>
                </a:cxn>
                <a:cxn ang="0">
                  <a:pos x="35" y="101"/>
                </a:cxn>
                <a:cxn ang="0">
                  <a:pos x="35" y="103"/>
                </a:cxn>
                <a:cxn ang="0">
                  <a:pos x="61" y="103"/>
                </a:cxn>
                <a:cxn ang="0">
                  <a:pos x="61" y="101"/>
                </a:cxn>
                <a:cxn ang="0">
                  <a:pos x="63" y="87"/>
                </a:cxn>
                <a:cxn ang="0">
                  <a:pos x="72" y="77"/>
                </a:cxn>
                <a:cxn ang="0">
                  <a:pos x="93" y="56"/>
                </a:cxn>
                <a:cxn ang="0">
                  <a:pos x="98" y="40"/>
                </a:cxn>
                <a:cxn ang="0">
                  <a:pos x="85" y="12"/>
                </a:cxn>
                <a:cxn ang="0">
                  <a:pos x="90" y="54"/>
                </a:cxn>
                <a:cxn ang="0">
                  <a:pos x="70" y="74"/>
                </a:cxn>
                <a:cxn ang="0">
                  <a:pos x="60" y="86"/>
                </a:cxn>
                <a:cxn ang="0">
                  <a:pos x="58" y="99"/>
                </a:cxn>
                <a:cxn ang="0">
                  <a:pos x="38" y="99"/>
                </a:cxn>
                <a:cxn ang="0">
                  <a:pos x="38" y="95"/>
                </a:cxn>
                <a:cxn ang="0">
                  <a:pos x="42" y="77"/>
                </a:cxn>
                <a:cxn ang="0">
                  <a:pos x="56" y="62"/>
                </a:cxn>
                <a:cxn ang="0">
                  <a:pos x="70" y="50"/>
                </a:cxn>
                <a:cxn ang="0">
                  <a:pos x="73" y="39"/>
                </a:cxn>
                <a:cxn ang="0">
                  <a:pos x="67" y="25"/>
                </a:cxn>
                <a:cxn ang="0">
                  <a:pos x="50" y="19"/>
                </a:cxn>
                <a:cxn ang="0">
                  <a:pos x="33" y="25"/>
                </a:cxn>
                <a:cxn ang="0">
                  <a:pos x="23" y="41"/>
                </a:cxn>
                <a:cxn ang="0">
                  <a:pos x="4" y="39"/>
                </a:cxn>
                <a:cxn ang="0">
                  <a:pos x="17" y="14"/>
                </a:cxn>
                <a:cxn ang="0">
                  <a:pos x="49" y="4"/>
                </a:cxn>
                <a:cxn ang="0">
                  <a:pos x="82" y="15"/>
                </a:cxn>
                <a:cxn ang="0">
                  <a:pos x="94" y="40"/>
                </a:cxn>
                <a:cxn ang="0">
                  <a:pos x="90" y="54"/>
                </a:cxn>
              </a:cxnLst>
              <a:rect l="0" t="0" r="r" b="b"/>
              <a:pathLst>
                <a:path w="98" h="103">
                  <a:moveTo>
                    <a:pt x="85" y="12"/>
                  </a:moveTo>
                  <a:cubicBezTo>
                    <a:pt x="76" y="4"/>
                    <a:pt x="64" y="0"/>
                    <a:pt x="49" y="0"/>
                  </a:cubicBezTo>
                  <a:cubicBezTo>
                    <a:pt x="35" y="0"/>
                    <a:pt x="23" y="4"/>
                    <a:pt x="14" y="12"/>
                  </a:cubicBezTo>
                  <a:cubicBezTo>
                    <a:pt x="5" y="19"/>
                    <a:pt x="0" y="29"/>
                    <a:pt x="0" y="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8" y="37"/>
                    <a:pt x="31" y="31"/>
                    <a:pt x="35" y="28"/>
                  </a:cubicBezTo>
                  <a:cubicBezTo>
                    <a:pt x="39" y="25"/>
                    <a:pt x="44" y="23"/>
                    <a:pt x="50" y="23"/>
                  </a:cubicBezTo>
                  <a:cubicBezTo>
                    <a:pt x="56" y="23"/>
                    <a:pt x="61" y="24"/>
                    <a:pt x="64" y="28"/>
                  </a:cubicBezTo>
                  <a:cubicBezTo>
                    <a:pt x="68" y="31"/>
                    <a:pt x="70" y="35"/>
                    <a:pt x="70" y="39"/>
                  </a:cubicBezTo>
                  <a:cubicBezTo>
                    <a:pt x="70" y="42"/>
                    <a:pt x="69" y="45"/>
                    <a:pt x="67" y="48"/>
                  </a:cubicBezTo>
                  <a:cubicBezTo>
                    <a:pt x="66" y="49"/>
                    <a:pt x="63" y="52"/>
                    <a:pt x="54" y="59"/>
                  </a:cubicBezTo>
                  <a:cubicBezTo>
                    <a:pt x="46" y="65"/>
                    <a:pt x="41" y="71"/>
                    <a:pt x="39" y="76"/>
                  </a:cubicBezTo>
                  <a:cubicBezTo>
                    <a:pt x="36" y="81"/>
                    <a:pt x="35" y="87"/>
                    <a:pt x="35" y="95"/>
                  </a:cubicBezTo>
                  <a:cubicBezTo>
                    <a:pt x="35" y="96"/>
                    <a:pt x="35" y="98"/>
                    <a:pt x="35" y="101"/>
                  </a:cubicBezTo>
                  <a:cubicBezTo>
                    <a:pt x="35" y="103"/>
                    <a:pt x="35" y="103"/>
                    <a:pt x="35" y="103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1" y="101"/>
                    <a:pt x="61" y="101"/>
                    <a:pt x="61" y="101"/>
                  </a:cubicBezTo>
                  <a:cubicBezTo>
                    <a:pt x="61" y="94"/>
                    <a:pt x="62" y="90"/>
                    <a:pt x="63" y="87"/>
                  </a:cubicBezTo>
                  <a:cubicBezTo>
                    <a:pt x="64" y="85"/>
                    <a:pt x="67" y="81"/>
                    <a:pt x="72" y="77"/>
                  </a:cubicBezTo>
                  <a:cubicBezTo>
                    <a:pt x="83" y="68"/>
                    <a:pt x="90" y="62"/>
                    <a:pt x="93" y="56"/>
                  </a:cubicBezTo>
                  <a:cubicBezTo>
                    <a:pt x="96" y="51"/>
                    <a:pt x="98" y="46"/>
                    <a:pt x="98" y="40"/>
                  </a:cubicBezTo>
                  <a:cubicBezTo>
                    <a:pt x="98" y="29"/>
                    <a:pt x="94" y="20"/>
                    <a:pt x="85" y="12"/>
                  </a:cubicBezTo>
                  <a:close/>
                  <a:moveTo>
                    <a:pt x="90" y="54"/>
                  </a:moveTo>
                  <a:cubicBezTo>
                    <a:pt x="87" y="59"/>
                    <a:pt x="80" y="66"/>
                    <a:pt x="70" y="74"/>
                  </a:cubicBezTo>
                  <a:cubicBezTo>
                    <a:pt x="65" y="79"/>
                    <a:pt x="61" y="83"/>
                    <a:pt x="60" y="86"/>
                  </a:cubicBezTo>
                  <a:cubicBezTo>
                    <a:pt x="58" y="88"/>
                    <a:pt x="58" y="93"/>
                    <a:pt x="58" y="99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38" y="97"/>
                    <a:pt x="38" y="95"/>
                    <a:pt x="38" y="95"/>
                  </a:cubicBezTo>
                  <a:cubicBezTo>
                    <a:pt x="38" y="88"/>
                    <a:pt x="40" y="82"/>
                    <a:pt x="42" y="77"/>
                  </a:cubicBezTo>
                  <a:cubicBezTo>
                    <a:pt x="44" y="73"/>
                    <a:pt x="49" y="68"/>
                    <a:pt x="56" y="62"/>
                  </a:cubicBezTo>
                  <a:cubicBezTo>
                    <a:pt x="64" y="56"/>
                    <a:pt x="68" y="52"/>
                    <a:pt x="70" y="50"/>
                  </a:cubicBezTo>
                  <a:cubicBezTo>
                    <a:pt x="72" y="46"/>
                    <a:pt x="73" y="43"/>
                    <a:pt x="73" y="39"/>
                  </a:cubicBezTo>
                  <a:cubicBezTo>
                    <a:pt x="73" y="33"/>
                    <a:pt x="71" y="29"/>
                    <a:pt x="67" y="25"/>
                  </a:cubicBezTo>
                  <a:cubicBezTo>
                    <a:pt x="63" y="21"/>
                    <a:pt x="57" y="19"/>
                    <a:pt x="50" y="19"/>
                  </a:cubicBezTo>
                  <a:cubicBezTo>
                    <a:pt x="43" y="19"/>
                    <a:pt x="37" y="21"/>
                    <a:pt x="33" y="25"/>
                  </a:cubicBezTo>
                  <a:cubicBezTo>
                    <a:pt x="28" y="29"/>
                    <a:pt x="25" y="34"/>
                    <a:pt x="23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5" y="29"/>
                    <a:pt x="9" y="21"/>
                    <a:pt x="17" y="14"/>
                  </a:cubicBezTo>
                  <a:cubicBezTo>
                    <a:pt x="25" y="7"/>
                    <a:pt x="35" y="4"/>
                    <a:pt x="49" y="4"/>
                  </a:cubicBezTo>
                  <a:cubicBezTo>
                    <a:pt x="63" y="4"/>
                    <a:pt x="74" y="7"/>
                    <a:pt x="82" y="15"/>
                  </a:cubicBezTo>
                  <a:cubicBezTo>
                    <a:pt x="90" y="22"/>
                    <a:pt x="94" y="30"/>
                    <a:pt x="94" y="40"/>
                  </a:cubicBezTo>
                  <a:cubicBezTo>
                    <a:pt x="94" y="45"/>
                    <a:pt x="93" y="50"/>
                    <a:pt x="90" y="5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38" name="Freeform 382"/>
            <p:cNvSpPr>
              <a:spLocks noEditPoints="1"/>
            </p:cNvSpPr>
            <p:nvPr/>
          </p:nvSpPr>
          <p:spPr bwMode="auto">
            <a:xfrm>
              <a:off x="5282" y="3744"/>
              <a:ext cx="70" cy="7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70" y="70"/>
                </a:cxn>
                <a:cxn ang="0">
                  <a:pos x="70" y="0"/>
                </a:cxn>
                <a:cxn ang="0">
                  <a:pos x="0" y="0"/>
                </a:cxn>
                <a:cxn ang="0">
                  <a:pos x="0" y="70"/>
                </a:cxn>
                <a:cxn ang="0">
                  <a:pos x="7" y="7"/>
                </a:cxn>
                <a:cxn ang="0">
                  <a:pos x="60" y="7"/>
                </a:cxn>
                <a:cxn ang="0">
                  <a:pos x="60" y="60"/>
                </a:cxn>
                <a:cxn ang="0">
                  <a:pos x="7" y="60"/>
                </a:cxn>
                <a:cxn ang="0">
                  <a:pos x="7" y="7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70" y="70"/>
                  </a:lnTo>
                  <a:lnTo>
                    <a:pt x="70" y="0"/>
                  </a:lnTo>
                  <a:lnTo>
                    <a:pt x="0" y="0"/>
                  </a:lnTo>
                  <a:lnTo>
                    <a:pt x="0" y="70"/>
                  </a:lnTo>
                  <a:close/>
                  <a:moveTo>
                    <a:pt x="7" y="7"/>
                  </a:moveTo>
                  <a:lnTo>
                    <a:pt x="60" y="7"/>
                  </a:lnTo>
                  <a:lnTo>
                    <a:pt x="60" y="60"/>
                  </a:lnTo>
                  <a:lnTo>
                    <a:pt x="7" y="60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" name="Table 266">
            <a:extLst>
              <a:ext uri="{FF2B5EF4-FFF2-40B4-BE49-F238E27FC236}">
                <a16:creationId xmlns:a16="http://schemas.microsoft.com/office/drawing/2014/main" id="{56F7A73F-AE2D-4505-883B-A4C82D400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928368"/>
              </p:ext>
            </p:extLst>
          </p:nvPr>
        </p:nvGraphicFramePr>
        <p:xfrm>
          <a:off x="198302" y="187288"/>
          <a:ext cx="8780444" cy="6447079"/>
        </p:xfrm>
        <a:graphic>
          <a:graphicData uri="http://schemas.openxmlformats.org/drawingml/2006/table">
            <a:tbl>
              <a:tblPr bandRow="1">
                <a:tableStyleId>{616DA210-FB5B-4158-B5E0-FEB733F419BA}</a:tableStyleId>
              </a:tblPr>
              <a:tblGrid>
                <a:gridCol w="21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51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32595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active Maintenance 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active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Maintenance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gional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Round-up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liability-centered </a:t>
                      </a:r>
                      <a:r>
                        <a:rPr lang="en-US" sz="12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int</a:t>
                      </a: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8167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earch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Finder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earch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earchin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taurant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9264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9047"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stroom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Building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bbon 1.1 (star)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bb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ight Quot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cissors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earch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6045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9322"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ar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hopping Bag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nowflake</a:t>
                      </a:r>
                    </a:p>
                  </a:txBody>
                  <a:tcPr marL="0" marR="0" marT="0" marB="0" anchor="ctr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2" rtl="0" eaLnBrk="1" latinLnBrk="0" hangingPunct="1"/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oda</a:t>
                      </a:r>
                      <a:r>
                        <a:rPr lang="en-US" sz="12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Can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80" name="Group 79"/>
          <p:cNvGrpSpPr/>
          <p:nvPr/>
        </p:nvGrpSpPr>
        <p:grpSpPr>
          <a:xfrm>
            <a:off x="6918325" y="1504925"/>
            <a:ext cx="838200" cy="838200"/>
            <a:chOff x="-812237" y="3328012"/>
            <a:chExt cx="838200" cy="838200"/>
          </a:xfrm>
        </p:grpSpPr>
        <p:sp>
          <p:nvSpPr>
            <p:cNvPr id="46111" name="Oval 31"/>
            <p:cNvSpPr>
              <a:spLocks noChangeArrowheads="1"/>
            </p:cNvSpPr>
            <p:nvPr/>
          </p:nvSpPr>
          <p:spPr bwMode="auto">
            <a:xfrm>
              <a:off x="-812237" y="3328012"/>
              <a:ext cx="838200" cy="838200"/>
            </a:xfrm>
            <a:prstGeom prst="ellipse">
              <a:avLst/>
            </a:prstGeom>
            <a:solidFill>
              <a:srgbClr val="0092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15" name="Freeform 35"/>
            <p:cNvSpPr>
              <a:spLocks/>
            </p:cNvSpPr>
            <p:nvPr/>
          </p:nvSpPr>
          <p:spPr bwMode="auto">
            <a:xfrm>
              <a:off x="-462987" y="3577250"/>
              <a:ext cx="12700" cy="77788"/>
            </a:xfrm>
            <a:custGeom>
              <a:avLst/>
              <a:gdLst/>
              <a:ahLst/>
              <a:cxnLst>
                <a:cxn ang="0">
                  <a:pos x="1" y="21"/>
                </a:cxn>
                <a:cxn ang="0">
                  <a:pos x="0" y="19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19"/>
                </a:cxn>
                <a:cxn ang="0">
                  <a:pos x="1" y="21"/>
                </a:cxn>
              </a:cxnLst>
              <a:rect l="0" t="0" r="r" b="b"/>
              <a:pathLst>
                <a:path w="3" h="21">
                  <a:moveTo>
                    <a:pt x="1" y="21"/>
                  </a:moveTo>
                  <a:cubicBezTo>
                    <a:pt x="0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2" y="21"/>
                    <a:pt x="1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16" name="Freeform 36"/>
            <p:cNvSpPr>
              <a:spLocks/>
            </p:cNvSpPr>
            <p:nvPr/>
          </p:nvSpPr>
          <p:spPr bwMode="auto">
            <a:xfrm>
              <a:off x="-443937" y="3577250"/>
              <a:ext cx="15875" cy="77788"/>
            </a:xfrm>
            <a:custGeom>
              <a:avLst/>
              <a:gdLst/>
              <a:ahLst/>
              <a:cxnLst>
                <a:cxn ang="0">
                  <a:pos x="2" y="21"/>
                </a:cxn>
                <a:cxn ang="0">
                  <a:pos x="0" y="1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19"/>
                </a:cxn>
                <a:cxn ang="0">
                  <a:pos x="2" y="21"/>
                </a:cxn>
              </a:cxnLst>
              <a:rect l="0" t="0" r="r" b="b"/>
              <a:pathLst>
                <a:path w="4" h="21">
                  <a:moveTo>
                    <a:pt x="2" y="21"/>
                  </a:moveTo>
                  <a:cubicBezTo>
                    <a:pt x="1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20"/>
                    <a:pt x="3" y="21"/>
                    <a:pt x="2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-777312" y="3358175"/>
              <a:ext cx="773113" cy="777875"/>
              <a:chOff x="-777312" y="3358175"/>
              <a:chExt cx="773113" cy="777875"/>
            </a:xfrm>
          </p:grpSpPr>
          <p:sp>
            <p:nvSpPr>
              <p:cNvPr id="46112" name="Freeform 32"/>
              <p:cNvSpPr>
                <a:spLocks noEditPoints="1"/>
              </p:cNvSpPr>
              <p:nvPr/>
            </p:nvSpPr>
            <p:spPr bwMode="auto">
              <a:xfrm>
                <a:off x="-664600" y="3470887"/>
                <a:ext cx="544513" cy="549275"/>
              </a:xfrm>
              <a:custGeom>
                <a:avLst/>
                <a:gdLst/>
                <a:ahLst/>
                <a:cxnLst>
                  <a:cxn ang="0">
                    <a:pos x="73" y="146"/>
                  </a:cxn>
                  <a:cxn ang="0">
                    <a:pos x="0" y="73"/>
                  </a:cxn>
                  <a:cxn ang="0">
                    <a:pos x="73" y="0"/>
                  </a:cxn>
                  <a:cxn ang="0">
                    <a:pos x="145" y="73"/>
                  </a:cxn>
                  <a:cxn ang="0">
                    <a:pos x="73" y="146"/>
                  </a:cxn>
                  <a:cxn ang="0">
                    <a:pos x="73" y="4"/>
                  </a:cxn>
                  <a:cxn ang="0">
                    <a:pos x="3" y="73"/>
                  </a:cxn>
                  <a:cxn ang="0">
                    <a:pos x="73" y="143"/>
                  </a:cxn>
                  <a:cxn ang="0">
                    <a:pos x="142" y="73"/>
                  </a:cxn>
                  <a:cxn ang="0">
                    <a:pos x="73" y="4"/>
                  </a:cxn>
                </a:cxnLst>
                <a:rect l="0" t="0" r="r" b="b"/>
                <a:pathLst>
                  <a:path w="145" h="146">
                    <a:moveTo>
                      <a:pt x="73" y="146"/>
                    </a:moveTo>
                    <a:cubicBezTo>
                      <a:pt x="32" y="146"/>
                      <a:pt x="0" y="113"/>
                      <a:pt x="0" y="73"/>
                    </a:cubicBezTo>
                    <a:cubicBezTo>
                      <a:pt x="0" y="33"/>
                      <a:pt x="32" y="0"/>
                      <a:pt x="73" y="0"/>
                    </a:cubicBezTo>
                    <a:cubicBezTo>
                      <a:pt x="113" y="0"/>
                      <a:pt x="145" y="33"/>
                      <a:pt x="145" y="73"/>
                    </a:cubicBezTo>
                    <a:cubicBezTo>
                      <a:pt x="145" y="113"/>
                      <a:pt x="113" y="146"/>
                      <a:pt x="73" y="146"/>
                    </a:cubicBezTo>
                    <a:close/>
                    <a:moveTo>
                      <a:pt x="73" y="4"/>
                    </a:moveTo>
                    <a:cubicBezTo>
                      <a:pt x="34" y="4"/>
                      <a:pt x="3" y="35"/>
                      <a:pt x="3" y="73"/>
                    </a:cubicBezTo>
                    <a:cubicBezTo>
                      <a:pt x="3" y="111"/>
                      <a:pt x="34" y="143"/>
                      <a:pt x="73" y="143"/>
                    </a:cubicBezTo>
                    <a:cubicBezTo>
                      <a:pt x="111" y="143"/>
                      <a:pt x="142" y="111"/>
                      <a:pt x="142" y="73"/>
                    </a:cubicBezTo>
                    <a:cubicBezTo>
                      <a:pt x="142" y="35"/>
                      <a:pt x="111" y="4"/>
                      <a:pt x="73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13" name="Freeform 33"/>
              <p:cNvSpPr>
                <a:spLocks noEditPoints="1"/>
              </p:cNvSpPr>
              <p:nvPr/>
            </p:nvSpPr>
            <p:spPr bwMode="auto">
              <a:xfrm>
                <a:off x="-383612" y="3531212"/>
                <a:ext cx="90488" cy="428625"/>
              </a:xfrm>
              <a:custGeom>
                <a:avLst/>
                <a:gdLst/>
                <a:ahLst/>
                <a:cxnLst>
                  <a:cxn ang="0">
                    <a:pos x="18" y="114"/>
                  </a:cxn>
                  <a:cxn ang="0">
                    <a:pos x="18" y="114"/>
                  </a:cxn>
                  <a:cxn ang="0">
                    <a:pos x="14" y="112"/>
                  </a:cxn>
                  <a:cxn ang="0">
                    <a:pos x="13" y="111"/>
                  </a:cxn>
                  <a:cxn ang="0">
                    <a:pos x="13" y="58"/>
                  </a:cxn>
                  <a:cxn ang="0">
                    <a:pos x="11" y="58"/>
                  </a:cxn>
                  <a:cxn ang="0">
                    <a:pos x="9" y="57"/>
                  </a:cxn>
                  <a:cxn ang="0">
                    <a:pos x="18" y="3"/>
                  </a:cxn>
                  <a:cxn ang="0">
                    <a:pos x="21" y="1"/>
                  </a:cxn>
                  <a:cxn ang="0">
                    <a:pos x="23" y="1"/>
                  </a:cxn>
                  <a:cxn ang="0">
                    <a:pos x="24" y="2"/>
                  </a:cxn>
                  <a:cxn ang="0">
                    <a:pos x="24" y="111"/>
                  </a:cxn>
                  <a:cxn ang="0">
                    <a:pos x="23" y="112"/>
                  </a:cxn>
                  <a:cxn ang="0">
                    <a:pos x="18" y="114"/>
                  </a:cxn>
                  <a:cxn ang="0">
                    <a:pos x="17" y="110"/>
                  </a:cxn>
                  <a:cxn ang="0">
                    <a:pos x="18" y="111"/>
                  </a:cxn>
                  <a:cxn ang="0">
                    <a:pos x="18" y="111"/>
                  </a:cxn>
                  <a:cxn ang="0">
                    <a:pos x="20" y="110"/>
                  </a:cxn>
                  <a:cxn ang="0">
                    <a:pos x="20" y="5"/>
                  </a:cxn>
                  <a:cxn ang="0">
                    <a:pos x="20" y="6"/>
                  </a:cxn>
                  <a:cxn ang="0">
                    <a:pos x="13" y="17"/>
                  </a:cxn>
                  <a:cxn ang="0">
                    <a:pos x="12" y="55"/>
                  </a:cxn>
                  <a:cxn ang="0">
                    <a:pos x="15" y="55"/>
                  </a:cxn>
                  <a:cxn ang="0">
                    <a:pos x="17" y="57"/>
                  </a:cxn>
                  <a:cxn ang="0">
                    <a:pos x="17" y="110"/>
                  </a:cxn>
                </a:cxnLst>
                <a:rect l="0" t="0" r="r" b="b"/>
                <a:pathLst>
                  <a:path w="24" h="114">
                    <a:moveTo>
                      <a:pt x="18" y="114"/>
                    </a:moveTo>
                    <a:cubicBezTo>
                      <a:pt x="18" y="114"/>
                      <a:pt x="18" y="114"/>
                      <a:pt x="18" y="114"/>
                    </a:cubicBezTo>
                    <a:cubicBezTo>
                      <a:pt x="16" y="114"/>
                      <a:pt x="14" y="112"/>
                      <a:pt x="14" y="112"/>
                    </a:cubicBezTo>
                    <a:cubicBezTo>
                      <a:pt x="14" y="112"/>
                      <a:pt x="13" y="111"/>
                      <a:pt x="13" y="111"/>
                    </a:cubicBezTo>
                    <a:cubicBezTo>
                      <a:pt x="13" y="58"/>
                      <a:pt x="13" y="58"/>
                      <a:pt x="13" y="58"/>
                    </a:cubicBezTo>
                    <a:cubicBezTo>
                      <a:pt x="11" y="58"/>
                      <a:pt x="11" y="58"/>
                      <a:pt x="11" y="58"/>
                    </a:cubicBezTo>
                    <a:cubicBezTo>
                      <a:pt x="10" y="58"/>
                      <a:pt x="10" y="58"/>
                      <a:pt x="9" y="57"/>
                    </a:cubicBezTo>
                    <a:cubicBezTo>
                      <a:pt x="0" y="18"/>
                      <a:pt x="17" y="4"/>
                      <a:pt x="18" y="3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1" y="0"/>
                      <a:pt x="22" y="0"/>
                      <a:pt x="23" y="1"/>
                    </a:cubicBezTo>
                    <a:cubicBezTo>
                      <a:pt x="23" y="1"/>
                      <a:pt x="24" y="1"/>
                      <a:pt x="24" y="2"/>
                    </a:cubicBezTo>
                    <a:cubicBezTo>
                      <a:pt x="24" y="111"/>
                      <a:pt x="24" y="111"/>
                      <a:pt x="24" y="111"/>
                    </a:cubicBezTo>
                    <a:cubicBezTo>
                      <a:pt x="24" y="112"/>
                      <a:pt x="23" y="112"/>
                      <a:pt x="23" y="112"/>
                    </a:cubicBezTo>
                    <a:cubicBezTo>
                      <a:pt x="21" y="113"/>
                      <a:pt x="20" y="114"/>
                      <a:pt x="18" y="114"/>
                    </a:cubicBezTo>
                    <a:close/>
                    <a:moveTo>
                      <a:pt x="17" y="110"/>
                    </a:moveTo>
                    <a:cubicBezTo>
                      <a:pt x="17" y="110"/>
                      <a:pt x="18" y="111"/>
                      <a:pt x="18" y="111"/>
                    </a:cubicBezTo>
                    <a:cubicBezTo>
                      <a:pt x="18" y="111"/>
                      <a:pt x="18" y="111"/>
                      <a:pt x="18" y="111"/>
                    </a:cubicBezTo>
                    <a:cubicBezTo>
                      <a:pt x="19" y="111"/>
                      <a:pt x="20" y="110"/>
                      <a:pt x="20" y="110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0" y="6"/>
                      <a:pt x="16" y="9"/>
                      <a:pt x="13" y="17"/>
                    </a:cubicBezTo>
                    <a:cubicBezTo>
                      <a:pt x="10" y="24"/>
                      <a:pt x="8" y="36"/>
                      <a:pt x="12" y="55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6" y="55"/>
                      <a:pt x="17" y="56"/>
                      <a:pt x="17" y="57"/>
                    </a:cubicBezTo>
                    <a:lnTo>
                      <a:pt x="17" y="1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14" name="Freeform 34"/>
              <p:cNvSpPr>
                <a:spLocks/>
              </p:cNvSpPr>
              <p:nvPr/>
            </p:nvSpPr>
            <p:spPr bwMode="auto">
              <a:xfrm>
                <a:off x="-496325" y="3580425"/>
                <a:ext cx="98425" cy="379413"/>
              </a:xfrm>
              <a:custGeom>
                <a:avLst/>
                <a:gdLst/>
                <a:ahLst/>
                <a:cxnLst>
                  <a:cxn ang="0">
                    <a:pos x="13" y="101"/>
                  </a:cxn>
                  <a:cxn ang="0">
                    <a:pos x="8" y="98"/>
                  </a:cxn>
                  <a:cxn ang="0">
                    <a:pos x="8" y="97"/>
                  </a:cxn>
                  <a:cxn ang="0">
                    <a:pos x="8" y="35"/>
                  </a:cxn>
                  <a:cxn ang="0">
                    <a:pos x="3" y="28"/>
                  </a:cxn>
                  <a:cxn ang="0">
                    <a:pos x="3" y="28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6" y="2"/>
                  </a:cxn>
                  <a:cxn ang="0">
                    <a:pos x="6" y="27"/>
                  </a:cxn>
                  <a:cxn ang="0">
                    <a:pos x="11" y="33"/>
                  </a:cxn>
                  <a:cxn ang="0">
                    <a:pos x="11" y="34"/>
                  </a:cxn>
                  <a:cxn ang="0">
                    <a:pos x="11" y="97"/>
                  </a:cxn>
                  <a:cxn ang="0">
                    <a:pos x="13" y="98"/>
                  </a:cxn>
                  <a:cxn ang="0">
                    <a:pos x="13" y="98"/>
                  </a:cxn>
                  <a:cxn ang="0">
                    <a:pos x="15" y="97"/>
                  </a:cxn>
                  <a:cxn ang="0">
                    <a:pos x="15" y="34"/>
                  </a:cxn>
                  <a:cxn ang="0">
                    <a:pos x="15" y="33"/>
                  </a:cxn>
                  <a:cxn ang="0">
                    <a:pos x="20" y="27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4" y="28"/>
                  </a:cxn>
                  <a:cxn ang="0">
                    <a:pos x="23" y="28"/>
                  </a:cxn>
                  <a:cxn ang="0">
                    <a:pos x="18" y="35"/>
                  </a:cxn>
                  <a:cxn ang="0">
                    <a:pos x="18" y="97"/>
                  </a:cxn>
                  <a:cxn ang="0">
                    <a:pos x="18" y="98"/>
                  </a:cxn>
                  <a:cxn ang="0">
                    <a:pos x="13" y="101"/>
                  </a:cxn>
                </a:cxnLst>
                <a:rect l="0" t="0" r="r" b="b"/>
                <a:pathLst>
                  <a:path w="26" h="101">
                    <a:moveTo>
                      <a:pt x="13" y="101"/>
                    </a:moveTo>
                    <a:cubicBezTo>
                      <a:pt x="10" y="101"/>
                      <a:pt x="9" y="98"/>
                      <a:pt x="8" y="98"/>
                    </a:cubicBezTo>
                    <a:cubicBezTo>
                      <a:pt x="8" y="98"/>
                      <a:pt x="8" y="98"/>
                      <a:pt x="8" y="97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5" y="32"/>
                      <a:pt x="3" y="28"/>
                      <a:pt x="3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0" y="15"/>
                      <a:pt x="3" y="2"/>
                      <a:pt x="3" y="2"/>
                    </a:cubicBezTo>
                    <a:cubicBezTo>
                      <a:pt x="3" y="1"/>
                      <a:pt x="4" y="0"/>
                      <a:pt x="5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6" y="2"/>
                      <a:pt x="4" y="14"/>
                      <a:pt x="6" y="27"/>
                    </a:cubicBezTo>
                    <a:cubicBezTo>
                      <a:pt x="7" y="28"/>
                      <a:pt x="9" y="31"/>
                      <a:pt x="11" y="33"/>
                    </a:cubicBezTo>
                    <a:cubicBezTo>
                      <a:pt x="11" y="33"/>
                      <a:pt x="11" y="34"/>
                      <a:pt x="11" y="34"/>
                    </a:cubicBezTo>
                    <a:cubicBezTo>
                      <a:pt x="11" y="97"/>
                      <a:pt x="11" y="97"/>
                      <a:pt x="11" y="97"/>
                    </a:cubicBezTo>
                    <a:cubicBezTo>
                      <a:pt x="12" y="97"/>
                      <a:pt x="13" y="98"/>
                      <a:pt x="13" y="98"/>
                    </a:cubicBezTo>
                    <a:cubicBezTo>
                      <a:pt x="13" y="98"/>
                      <a:pt x="13" y="98"/>
                      <a:pt x="13" y="98"/>
                    </a:cubicBezTo>
                    <a:cubicBezTo>
                      <a:pt x="14" y="98"/>
                      <a:pt x="14" y="97"/>
                      <a:pt x="15" y="97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5" y="34"/>
                      <a:pt x="15" y="33"/>
                      <a:pt x="15" y="33"/>
                    </a:cubicBezTo>
                    <a:cubicBezTo>
                      <a:pt x="18" y="31"/>
                      <a:pt x="20" y="28"/>
                      <a:pt x="20" y="27"/>
                    </a:cubicBezTo>
                    <a:cubicBezTo>
                      <a:pt x="23" y="14"/>
                      <a:pt x="20" y="2"/>
                      <a:pt x="20" y="2"/>
                    </a:cubicBezTo>
                    <a:cubicBezTo>
                      <a:pt x="20" y="1"/>
                      <a:pt x="21" y="1"/>
                      <a:pt x="22" y="0"/>
                    </a:cubicBezTo>
                    <a:cubicBezTo>
                      <a:pt x="22" y="0"/>
                      <a:pt x="23" y="1"/>
                      <a:pt x="24" y="2"/>
                    </a:cubicBezTo>
                    <a:cubicBezTo>
                      <a:pt x="24" y="2"/>
                      <a:pt x="26" y="15"/>
                      <a:pt x="24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1" y="32"/>
                      <a:pt x="18" y="35"/>
                    </a:cubicBezTo>
                    <a:cubicBezTo>
                      <a:pt x="18" y="97"/>
                      <a:pt x="18" y="97"/>
                      <a:pt x="18" y="97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6" y="100"/>
                      <a:pt x="15" y="101"/>
                      <a:pt x="13" y="10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17" name="Freeform 37"/>
              <p:cNvSpPr>
                <a:spLocks noEditPoints="1"/>
              </p:cNvSpPr>
              <p:nvPr/>
            </p:nvSpPr>
            <p:spPr bwMode="auto">
              <a:xfrm>
                <a:off x="-777312" y="3358175"/>
                <a:ext cx="773113" cy="777875"/>
              </a:xfrm>
              <a:custGeom>
                <a:avLst/>
                <a:gdLst/>
                <a:ahLst/>
                <a:cxnLst>
                  <a:cxn ang="0">
                    <a:pos x="103" y="207"/>
                  </a:cxn>
                  <a:cxn ang="0">
                    <a:pos x="0" y="104"/>
                  </a:cxn>
                  <a:cxn ang="0">
                    <a:pos x="103" y="0"/>
                  </a:cxn>
                  <a:cxn ang="0">
                    <a:pos x="206" y="104"/>
                  </a:cxn>
                  <a:cxn ang="0">
                    <a:pos x="103" y="207"/>
                  </a:cxn>
                  <a:cxn ang="0">
                    <a:pos x="103" y="5"/>
                  </a:cxn>
                  <a:cxn ang="0">
                    <a:pos x="5" y="104"/>
                  </a:cxn>
                  <a:cxn ang="0">
                    <a:pos x="103" y="202"/>
                  </a:cxn>
                  <a:cxn ang="0">
                    <a:pos x="201" y="104"/>
                  </a:cxn>
                  <a:cxn ang="0">
                    <a:pos x="103" y="5"/>
                  </a:cxn>
                </a:cxnLst>
                <a:rect l="0" t="0" r="r" b="b"/>
                <a:pathLst>
                  <a:path w="206" h="207">
                    <a:moveTo>
                      <a:pt x="103" y="207"/>
                    </a:moveTo>
                    <a:cubicBezTo>
                      <a:pt x="46" y="207"/>
                      <a:pt x="0" y="161"/>
                      <a:pt x="0" y="104"/>
                    </a:cubicBezTo>
                    <a:cubicBezTo>
                      <a:pt x="0" y="47"/>
                      <a:pt x="46" y="0"/>
                      <a:pt x="103" y="0"/>
                    </a:cubicBezTo>
                    <a:cubicBezTo>
                      <a:pt x="160" y="0"/>
                      <a:pt x="206" y="47"/>
                      <a:pt x="206" y="104"/>
                    </a:cubicBezTo>
                    <a:cubicBezTo>
                      <a:pt x="206" y="161"/>
                      <a:pt x="160" y="207"/>
                      <a:pt x="103" y="207"/>
                    </a:cubicBezTo>
                    <a:close/>
                    <a:moveTo>
                      <a:pt x="103" y="5"/>
                    </a:moveTo>
                    <a:cubicBezTo>
                      <a:pt x="49" y="5"/>
                      <a:pt x="5" y="50"/>
                      <a:pt x="5" y="104"/>
                    </a:cubicBezTo>
                    <a:cubicBezTo>
                      <a:pt x="5" y="158"/>
                      <a:pt x="49" y="202"/>
                      <a:pt x="103" y="202"/>
                    </a:cubicBezTo>
                    <a:cubicBezTo>
                      <a:pt x="157" y="202"/>
                      <a:pt x="201" y="158"/>
                      <a:pt x="201" y="104"/>
                    </a:cubicBezTo>
                    <a:cubicBezTo>
                      <a:pt x="201" y="50"/>
                      <a:pt x="157" y="5"/>
                      <a:pt x="103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6120" name="Group 40"/>
          <p:cNvGrpSpPr>
            <a:grpSpLocks noChangeAspect="1"/>
          </p:cNvGrpSpPr>
          <p:nvPr/>
        </p:nvGrpSpPr>
        <p:grpSpPr bwMode="auto">
          <a:xfrm>
            <a:off x="338138" y="233363"/>
            <a:ext cx="844550" cy="844550"/>
            <a:chOff x="213" y="147"/>
            <a:chExt cx="532" cy="532"/>
          </a:xfrm>
        </p:grpSpPr>
        <p:sp>
          <p:nvSpPr>
            <p:cNvPr id="46121" name="Oval 41"/>
            <p:cNvSpPr>
              <a:spLocks noChangeArrowheads="1"/>
            </p:cNvSpPr>
            <p:nvPr/>
          </p:nvSpPr>
          <p:spPr bwMode="auto">
            <a:xfrm>
              <a:off x="213" y="147"/>
              <a:ext cx="532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22" name="Freeform 42"/>
            <p:cNvSpPr>
              <a:spLocks noEditPoints="1"/>
            </p:cNvSpPr>
            <p:nvPr/>
          </p:nvSpPr>
          <p:spPr bwMode="auto">
            <a:xfrm>
              <a:off x="237" y="171"/>
              <a:ext cx="484" cy="48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70"/>
                </a:cxn>
                <a:cxn ang="0">
                  <a:pos x="101" y="198"/>
                </a:cxn>
                <a:cxn ang="0">
                  <a:pos x="33" y="170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70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7"/>
                    <a:pt x="45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70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5" y="198"/>
                    <a:pt x="51" y="188"/>
                    <a:pt x="33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3" name="Freeform 43"/>
            <p:cNvSpPr>
              <a:spLocks noEditPoints="1"/>
            </p:cNvSpPr>
            <p:nvPr/>
          </p:nvSpPr>
          <p:spPr bwMode="auto">
            <a:xfrm>
              <a:off x="364" y="274"/>
              <a:ext cx="225" cy="27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4" y="31"/>
                </a:cxn>
                <a:cxn ang="0">
                  <a:pos x="60" y="139"/>
                </a:cxn>
                <a:cxn ang="0">
                  <a:pos x="14" y="247"/>
                </a:cxn>
                <a:cxn ang="0">
                  <a:pos x="0" y="247"/>
                </a:cxn>
                <a:cxn ang="0">
                  <a:pos x="0" y="278"/>
                </a:cxn>
                <a:cxn ang="0">
                  <a:pos x="225" y="278"/>
                </a:cxn>
                <a:cxn ang="0">
                  <a:pos x="225" y="247"/>
                </a:cxn>
                <a:cxn ang="0">
                  <a:pos x="209" y="247"/>
                </a:cxn>
                <a:cxn ang="0">
                  <a:pos x="163" y="139"/>
                </a:cxn>
                <a:cxn ang="0">
                  <a:pos x="209" y="31"/>
                </a:cxn>
                <a:cxn ang="0">
                  <a:pos x="225" y="3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31"/>
                </a:cxn>
                <a:cxn ang="0">
                  <a:pos x="7" y="10"/>
                </a:cxn>
                <a:cxn ang="0">
                  <a:pos x="216" y="10"/>
                </a:cxn>
                <a:cxn ang="0">
                  <a:pos x="216" y="24"/>
                </a:cxn>
                <a:cxn ang="0">
                  <a:pos x="209" y="24"/>
                </a:cxn>
                <a:cxn ang="0">
                  <a:pos x="201" y="24"/>
                </a:cxn>
                <a:cxn ang="0">
                  <a:pos x="201" y="29"/>
                </a:cxn>
                <a:cxn ang="0">
                  <a:pos x="156" y="134"/>
                </a:cxn>
                <a:cxn ang="0">
                  <a:pos x="153" y="139"/>
                </a:cxn>
                <a:cxn ang="0">
                  <a:pos x="156" y="141"/>
                </a:cxn>
                <a:cxn ang="0">
                  <a:pos x="201" y="249"/>
                </a:cxn>
                <a:cxn ang="0">
                  <a:pos x="201" y="256"/>
                </a:cxn>
                <a:cxn ang="0">
                  <a:pos x="209" y="256"/>
                </a:cxn>
                <a:cxn ang="0">
                  <a:pos x="216" y="256"/>
                </a:cxn>
                <a:cxn ang="0">
                  <a:pos x="216" y="271"/>
                </a:cxn>
                <a:cxn ang="0">
                  <a:pos x="7" y="271"/>
                </a:cxn>
                <a:cxn ang="0">
                  <a:pos x="7" y="256"/>
                </a:cxn>
                <a:cxn ang="0">
                  <a:pos x="14" y="256"/>
                </a:cxn>
                <a:cxn ang="0">
                  <a:pos x="22" y="256"/>
                </a:cxn>
                <a:cxn ang="0">
                  <a:pos x="24" y="249"/>
                </a:cxn>
                <a:cxn ang="0">
                  <a:pos x="69" y="141"/>
                </a:cxn>
                <a:cxn ang="0">
                  <a:pos x="69" y="139"/>
                </a:cxn>
                <a:cxn ang="0">
                  <a:pos x="69" y="134"/>
                </a:cxn>
                <a:cxn ang="0">
                  <a:pos x="24" y="29"/>
                </a:cxn>
                <a:cxn ang="0">
                  <a:pos x="22" y="24"/>
                </a:cxn>
                <a:cxn ang="0">
                  <a:pos x="14" y="24"/>
                </a:cxn>
                <a:cxn ang="0">
                  <a:pos x="7" y="24"/>
                </a:cxn>
                <a:cxn ang="0">
                  <a:pos x="7" y="10"/>
                </a:cxn>
              </a:cxnLst>
              <a:rect l="0" t="0" r="r" b="b"/>
              <a:pathLst>
                <a:path w="225" h="278">
                  <a:moveTo>
                    <a:pt x="0" y="31"/>
                  </a:moveTo>
                  <a:lnTo>
                    <a:pt x="14" y="31"/>
                  </a:lnTo>
                  <a:lnTo>
                    <a:pt x="60" y="139"/>
                  </a:lnTo>
                  <a:lnTo>
                    <a:pt x="14" y="247"/>
                  </a:lnTo>
                  <a:lnTo>
                    <a:pt x="0" y="247"/>
                  </a:lnTo>
                  <a:lnTo>
                    <a:pt x="0" y="278"/>
                  </a:lnTo>
                  <a:lnTo>
                    <a:pt x="225" y="278"/>
                  </a:lnTo>
                  <a:lnTo>
                    <a:pt x="225" y="247"/>
                  </a:lnTo>
                  <a:lnTo>
                    <a:pt x="209" y="247"/>
                  </a:lnTo>
                  <a:lnTo>
                    <a:pt x="163" y="139"/>
                  </a:lnTo>
                  <a:lnTo>
                    <a:pt x="209" y="31"/>
                  </a:lnTo>
                  <a:lnTo>
                    <a:pt x="225" y="3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31"/>
                  </a:lnTo>
                  <a:close/>
                  <a:moveTo>
                    <a:pt x="7" y="10"/>
                  </a:moveTo>
                  <a:lnTo>
                    <a:pt x="216" y="10"/>
                  </a:lnTo>
                  <a:lnTo>
                    <a:pt x="216" y="24"/>
                  </a:lnTo>
                  <a:lnTo>
                    <a:pt x="209" y="24"/>
                  </a:lnTo>
                  <a:lnTo>
                    <a:pt x="201" y="24"/>
                  </a:lnTo>
                  <a:lnTo>
                    <a:pt x="201" y="29"/>
                  </a:lnTo>
                  <a:lnTo>
                    <a:pt x="156" y="134"/>
                  </a:lnTo>
                  <a:lnTo>
                    <a:pt x="153" y="139"/>
                  </a:lnTo>
                  <a:lnTo>
                    <a:pt x="156" y="141"/>
                  </a:lnTo>
                  <a:lnTo>
                    <a:pt x="201" y="249"/>
                  </a:lnTo>
                  <a:lnTo>
                    <a:pt x="201" y="256"/>
                  </a:lnTo>
                  <a:lnTo>
                    <a:pt x="209" y="256"/>
                  </a:lnTo>
                  <a:lnTo>
                    <a:pt x="216" y="256"/>
                  </a:lnTo>
                  <a:lnTo>
                    <a:pt x="216" y="271"/>
                  </a:lnTo>
                  <a:lnTo>
                    <a:pt x="7" y="271"/>
                  </a:lnTo>
                  <a:lnTo>
                    <a:pt x="7" y="256"/>
                  </a:lnTo>
                  <a:lnTo>
                    <a:pt x="14" y="256"/>
                  </a:lnTo>
                  <a:lnTo>
                    <a:pt x="22" y="256"/>
                  </a:lnTo>
                  <a:lnTo>
                    <a:pt x="24" y="249"/>
                  </a:lnTo>
                  <a:lnTo>
                    <a:pt x="69" y="141"/>
                  </a:lnTo>
                  <a:lnTo>
                    <a:pt x="69" y="139"/>
                  </a:lnTo>
                  <a:lnTo>
                    <a:pt x="69" y="134"/>
                  </a:lnTo>
                  <a:lnTo>
                    <a:pt x="24" y="29"/>
                  </a:lnTo>
                  <a:lnTo>
                    <a:pt x="22" y="24"/>
                  </a:lnTo>
                  <a:lnTo>
                    <a:pt x="14" y="24"/>
                  </a:lnTo>
                  <a:lnTo>
                    <a:pt x="7" y="24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4" name="Freeform 44"/>
            <p:cNvSpPr>
              <a:spLocks noEditPoints="1"/>
            </p:cNvSpPr>
            <p:nvPr/>
          </p:nvSpPr>
          <p:spPr bwMode="auto">
            <a:xfrm>
              <a:off x="402" y="305"/>
              <a:ext cx="147" cy="216"/>
            </a:xfrm>
            <a:custGeom>
              <a:avLst/>
              <a:gdLst/>
              <a:ahLst/>
              <a:cxnLst>
                <a:cxn ang="0">
                  <a:pos x="43" y="89"/>
                </a:cxn>
                <a:cxn ang="0">
                  <a:pos x="51" y="98"/>
                </a:cxn>
                <a:cxn ang="0">
                  <a:pos x="53" y="106"/>
                </a:cxn>
                <a:cxn ang="0">
                  <a:pos x="0" y="216"/>
                </a:cxn>
                <a:cxn ang="0">
                  <a:pos x="24" y="216"/>
                </a:cxn>
                <a:cxn ang="0">
                  <a:pos x="24" y="216"/>
                </a:cxn>
                <a:cxn ang="0">
                  <a:pos x="27" y="216"/>
                </a:cxn>
                <a:cxn ang="0">
                  <a:pos x="123" y="216"/>
                </a:cxn>
                <a:cxn ang="0">
                  <a:pos x="123" y="216"/>
                </a:cxn>
                <a:cxn ang="0">
                  <a:pos x="123" y="216"/>
                </a:cxn>
                <a:cxn ang="0">
                  <a:pos x="147" y="216"/>
                </a:cxn>
                <a:cxn ang="0">
                  <a:pos x="94" y="106"/>
                </a:cxn>
                <a:cxn ang="0">
                  <a:pos x="99" y="98"/>
                </a:cxn>
                <a:cxn ang="0">
                  <a:pos x="103" y="89"/>
                </a:cxn>
                <a:cxn ang="0">
                  <a:pos x="103" y="89"/>
                </a:cxn>
                <a:cxn ang="0">
                  <a:pos x="147" y="0"/>
                </a:cxn>
                <a:cxn ang="0">
                  <a:pos x="0" y="0"/>
                </a:cxn>
                <a:cxn ang="0">
                  <a:pos x="46" y="89"/>
                </a:cxn>
                <a:cxn ang="0">
                  <a:pos x="43" y="89"/>
                </a:cxn>
                <a:cxn ang="0">
                  <a:pos x="39" y="206"/>
                </a:cxn>
                <a:cxn ang="0">
                  <a:pos x="75" y="185"/>
                </a:cxn>
                <a:cxn ang="0">
                  <a:pos x="108" y="206"/>
                </a:cxn>
                <a:cxn ang="0">
                  <a:pos x="39" y="206"/>
                </a:cxn>
                <a:cxn ang="0">
                  <a:pos x="132" y="206"/>
                </a:cxn>
                <a:cxn ang="0">
                  <a:pos x="125" y="206"/>
                </a:cxn>
                <a:cxn ang="0">
                  <a:pos x="75" y="173"/>
                </a:cxn>
                <a:cxn ang="0">
                  <a:pos x="22" y="206"/>
                </a:cxn>
                <a:cxn ang="0">
                  <a:pos x="15" y="206"/>
                </a:cxn>
                <a:cxn ang="0">
                  <a:pos x="60" y="115"/>
                </a:cxn>
                <a:cxn ang="0">
                  <a:pos x="75" y="139"/>
                </a:cxn>
                <a:cxn ang="0">
                  <a:pos x="89" y="115"/>
                </a:cxn>
                <a:cxn ang="0">
                  <a:pos x="132" y="206"/>
                </a:cxn>
                <a:cxn ang="0">
                  <a:pos x="15" y="10"/>
                </a:cxn>
                <a:cxn ang="0">
                  <a:pos x="132" y="10"/>
                </a:cxn>
                <a:cxn ang="0">
                  <a:pos x="89" y="94"/>
                </a:cxn>
                <a:cxn ang="0">
                  <a:pos x="75" y="122"/>
                </a:cxn>
                <a:cxn ang="0">
                  <a:pos x="58" y="94"/>
                </a:cxn>
                <a:cxn ang="0">
                  <a:pos x="15" y="10"/>
                </a:cxn>
              </a:cxnLst>
              <a:rect l="0" t="0" r="r" b="b"/>
              <a:pathLst>
                <a:path w="147" h="216">
                  <a:moveTo>
                    <a:pt x="43" y="89"/>
                  </a:moveTo>
                  <a:lnTo>
                    <a:pt x="51" y="98"/>
                  </a:lnTo>
                  <a:lnTo>
                    <a:pt x="53" y="106"/>
                  </a:lnTo>
                  <a:lnTo>
                    <a:pt x="0" y="216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7" y="216"/>
                  </a:lnTo>
                  <a:lnTo>
                    <a:pt x="123" y="216"/>
                  </a:lnTo>
                  <a:lnTo>
                    <a:pt x="123" y="216"/>
                  </a:lnTo>
                  <a:lnTo>
                    <a:pt x="123" y="216"/>
                  </a:lnTo>
                  <a:lnTo>
                    <a:pt x="147" y="216"/>
                  </a:lnTo>
                  <a:lnTo>
                    <a:pt x="94" y="106"/>
                  </a:lnTo>
                  <a:lnTo>
                    <a:pt x="99" y="98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47" y="0"/>
                  </a:lnTo>
                  <a:lnTo>
                    <a:pt x="0" y="0"/>
                  </a:lnTo>
                  <a:lnTo>
                    <a:pt x="46" y="89"/>
                  </a:lnTo>
                  <a:lnTo>
                    <a:pt x="43" y="89"/>
                  </a:lnTo>
                  <a:close/>
                  <a:moveTo>
                    <a:pt x="39" y="206"/>
                  </a:moveTo>
                  <a:lnTo>
                    <a:pt x="75" y="185"/>
                  </a:lnTo>
                  <a:lnTo>
                    <a:pt x="108" y="206"/>
                  </a:lnTo>
                  <a:lnTo>
                    <a:pt x="39" y="206"/>
                  </a:lnTo>
                  <a:close/>
                  <a:moveTo>
                    <a:pt x="132" y="206"/>
                  </a:moveTo>
                  <a:lnTo>
                    <a:pt x="125" y="206"/>
                  </a:lnTo>
                  <a:lnTo>
                    <a:pt x="75" y="173"/>
                  </a:lnTo>
                  <a:lnTo>
                    <a:pt x="22" y="206"/>
                  </a:lnTo>
                  <a:lnTo>
                    <a:pt x="15" y="206"/>
                  </a:lnTo>
                  <a:lnTo>
                    <a:pt x="60" y="115"/>
                  </a:lnTo>
                  <a:lnTo>
                    <a:pt x="75" y="139"/>
                  </a:lnTo>
                  <a:lnTo>
                    <a:pt x="89" y="115"/>
                  </a:lnTo>
                  <a:lnTo>
                    <a:pt x="132" y="206"/>
                  </a:lnTo>
                  <a:close/>
                  <a:moveTo>
                    <a:pt x="15" y="10"/>
                  </a:moveTo>
                  <a:lnTo>
                    <a:pt x="132" y="10"/>
                  </a:lnTo>
                  <a:lnTo>
                    <a:pt x="89" y="94"/>
                  </a:lnTo>
                  <a:lnTo>
                    <a:pt x="75" y="122"/>
                  </a:lnTo>
                  <a:lnTo>
                    <a:pt x="58" y="94"/>
                  </a:lnTo>
                  <a:lnTo>
                    <a:pt x="15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5" name="Rectangle 45"/>
            <p:cNvSpPr>
              <a:spLocks noChangeArrowheads="1"/>
            </p:cNvSpPr>
            <p:nvPr/>
          </p:nvSpPr>
          <p:spPr bwMode="auto">
            <a:xfrm>
              <a:off x="472" y="458"/>
              <a:ext cx="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6" name="Rectangle 46"/>
            <p:cNvSpPr>
              <a:spLocks noChangeArrowheads="1"/>
            </p:cNvSpPr>
            <p:nvPr/>
          </p:nvSpPr>
          <p:spPr bwMode="auto">
            <a:xfrm>
              <a:off x="472" y="396"/>
              <a:ext cx="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7" name="Rectangle 47"/>
            <p:cNvSpPr>
              <a:spLocks noChangeArrowheads="1"/>
            </p:cNvSpPr>
            <p:nvPr/>
          </p:nvSpPr>
          <p:spPr bwMode="auto">
            <a:xfrm>
              <a:off x="484" y="370"/>
              <a:ext cx="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8" name="Rectangle 48"/>
            <p:cNvSpPr>
              <a:spLocks noChangeArrowheads="1"/>
            </p:cNvSpPr>
            <p:nvPr/>
          </p:nvSpPr>
          <p:spPr bwMode="auto">
            <a:xfrm>
              <a:off x="465" y="377"/>
              <a:ext cx="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29" name="Rectangle 49"/>
            <p:cNvSpPr>
              <a:spLocks noChangeArrowheads="1"/>
            </p:cNvSpPr>
            <p:nvPr/>
          </p:nvSpPr>
          <p:spPr bwMode="auto">
            <a:xfrm>
              <a:off x="489" y="466"/>
              <a:ext cx="9" cy="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0" name="Rectangle 50"/>
            <p:cNvSpPr>
              <a:spLocks noChangeArrowheads="1"/>
            </p:cNvSpPr>
            <p:nvPr/>
          </p:nvSpPr>
          <p:spPr bwMode="auto">
            <a:xfrm>
              <a:off x="472" y="355"/>
              <a:ext cx="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1" name="Rectangle 51"/>
            <p:cNvSpPr>
              <a:spLocks noChangeArrowheads="1"/>
            </p:cNvSpPr>
            <p:nvPr/>
          </p:nvSpPr>
          <p:spPr bwMode="auto">
            <a:xfrm>
              <a:off x="453" y="470"/>
              <a:ext cx="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34" name="Group 54"/>
          <p:cNvGrpSpPr>
            <a:grpSpLocks noChangeAspect="1"/>
          </p:cNvGrpSpPr>
          <p:nvPr/>
        </p:nvGrpSpPr>
        <p:grpSpPr bwMode="auto">
          <a:xfrm>
            <a:off x="1465264" y="271463"/>
            <a:ext cx="768350" cy="768350"/>
            <a:chOff x="927" y="171"/>
            <a:chExt cx="484" cy="484"/>
          </a:xfrm>
        </p:grpSpPr>
        <p:sp>
          <p:nvSpPr>
            <p:cNvPr id="46135" name="Freeform 55"/>
            <p:cNvSpPr>
              <a:spLocks noEditPoints="1"/>
            </p:cNvSpPr>
            <p:nvPr/>
          </p:nvSpPr>
          <p:spPr bwMode="auto">
            <a:xfrm>
              <a:off x="927" y="17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6" name="Freeform 56"/>
            <p:cNvSpPr>
              <a:spLocks noEditPoints="1"/>
            </p:cNvSpPr>
            <p:nvPr/>
          </p:nvSpPr>
          <p:spPr bwMode="auto">
            <a:xfrm>
              <a:off x="1054" y="272"/>
              <a:ext cx="226" cy="28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5" y="33"/>
                </a:cxn>
                <a:cxn ang="0">
                  <a:pos x="60" y="139"/>
                </a:cxn>
                <a:cxn ang="0">
                  <a:pos x="15" y="246"/>
                </a:cxn>
                <a:cxn ang="0">
                  <a:pos x="0" y="246"/>
                </a:cxn>
                <a:cxn ang="0">
                  <a:pos x="0" y="280"/>
                </a:cxn>
                <a:cxn ang="0">
                  <a:pos x="226" y="280"/>
                </a:cxn>
                <a:cxn ang="0">
                  <a:pos x="226" y="246"/>
                </a:cxn>
                <a:cxn ang="0">
                  <a:pos x="209" y="246"/>
                </a:cxn>
                <a:cxn ang="0">
                  <a:pos x="163" y="139"/>
                </a:cxn>
                <a:cxn ang="0">
                  <a:pos x="209" y="33"/>
                </a:cxn>
                <a:cxn ang="0">
                  <a:pos x="226" y="33"/>
                </a:cxn>
                <a:cxn ang="0">
                  <a:pos x="226" y="0"/>
                </a:cxn>
                <a:cxn ang="0">
                  <a:pos x="0" y="0"/>
                </a:cxn>
                <a:cxn ang="0">
                  <a:pos x="0" y="33"/>
                </a:cxn>
                <a:cxn ang="0">
                  <a:pos x="8" y="9"/>
                </a:cxn>
                <a:cxn ang="0">
                  <a:pos x="216" y="9"/>
                </a:cxn>
                <a:cxn ang="0">
                  <a:pos x="216" y="24"/>
                </a:cxn>
                <a:cxn ang="0">
                  <a:pos x="209" y="24"/>
                </a:cxn>
                <a:cxn ang="0">
                  <a:pos x="202" y="24"/>
                </a:cxn>
                <a:cxn ang="0">
                  <a:pos x="202" y="28"/>
                </a:cxn>
                <a:cxn ang="0">
                  <a:pos x="156" y="136"/>
                </a:cxn>
                <a:cxn ang="0">
                  <a:pos x="154" y="139"/>
                </a:cxn>
                <a:cxn ang="0">
                  <a:pos x="156" y="141"/>
                </a:cxn>
                <a:cxn ang="0">
                  <a:pos x="202" y="251"/>
                </a:cxn>
                <a:cxn ang="0">
                  <a:pos x="202" y="256"/>
                </a:cxn>
                <a:cxn ang="0">
                  <a:pos x="209" y="256"/>
                </a:cxn>
                <a:cxn ang="0">
                  <a:pos x="216" y="256"/>
                </a:cxn>
                <a:cxn ang="0">
                  <a:pos x="216" y="270"/>
                </a:cxn>
                <a:cxn ang="0">
                  <a:pos x="8" y="270"/>
                </a:cxn>
                <a:cxn ang="0">
                  <a:pos x="8" y="256"/>
                </a:cxn>
                <a:cxn ang="0">
                  <a:pos x="15" y="256"/>
                </a:cxn>
                <a:cxn ang="0">
                  <a:pos x="22" y="256"/>
                </a:cxn>
                <a:cxn ang="0">
                  <a:pos x="24" y="251"/>
                </a:cxn>
                <a:cxn ang="0">
                  <a:pos x="70" y="141"/>
                </a:cxn>
                <a:cxn ang="0">
                  <a:pos x="70" y="139"/>
                </a:cxn>
                <a:cxn ang="0">
                  <a:pos x="70" y="136"/>
                </a:cxn>
                <a:cxn ang="0">
                  <a:pos x="24" y="28"/>
                </a:cxn>
                <a:cxn ang="0">
                  <a:pos x="22" y="24"/>
                </a:cxn>
                <a:cxn ang="0">
                  <a:pos x="15" y="24"/>
                </a:cxn>
                <a:cxn ang="0">
                  <a:pos x="8" y="24"/>
                </a:cxn>
                <a:cxn ang="0">
                  <a:pos x="8" y="9"/>
                </a:cxn>
              </a:cxnLst>
              <a:rect l="0" t="0" r="r" b="b"/>
              <a:pathLst>
                <a:path w="226" h="280">
                  <a:moveTo>
                    <a:pt x="0" y="33"/>
                  </a:moveTo>
                  <a:lnTo>
                    <a:pt x="15" y="33"/>
                  </a:lnTo>
                  <a:lnTo>
                    <a:pt x="60" y="139"/>
                  </a:lnTo>
                  <a:lnTo>
                    <a:pt x="15" y="246"/>
                  </a:lnTo>
                  <a:lnTo>
                    <a:pt x="0" y="246"/>
                  </a:lnTo>
                  <a:lnTo>
                    <a:pt x="0" y="280"/>
                  </a:lnTo>
                  <a:lnTo>
                    <a:pt x="226" y="280"/>
                  </a:lnTo>
                  <a:lnTo>
                    <a:pt x="226" y="246"/>
                  </a:lnTo>
                  <a:lnTo>
                    <a:pt x="209" y="246"/>
                  </a:lnTo>
                  <a:lnTo>
                    <a:pt x="163" y="139"/>
                  </a:lnTo>
                  <a:lnTo>
                    <a:pt x="209" y="33"/>
                  </a:lnTo>
                  <a:lnTo>
                    <a:pt x="226" y="33"/>
                  </a:lnTo>
                  <a:lnTo>
                    <a:pt x="226" y="0"/>
                  </a:lnTo>
                  <a:lnTo>
                    <a:pt x="0" y="0"/>
                  </a:lnTo>
                  <a:lnTo>
                    <a:pt x="0" y="33"/>
                  </a:lnTo>
                  <a:close/>
                  <a:moveTo>
                    <a:pt x="8" y="9"/>
                  </a:moveTo>
                  <a:lnTo>
                    <a:pt x="216" y="9"/>
                  </a:lnTo>
                  <a:lnTo>
                    <a:pt x="216" y="24"/>
                  </a:lnTo>
                  <a:lnTo>
                    <a:pt x="209" y="24"/>
                  </a:lnTo>
                  <a:lnTo>
                    <a:pt x="202" y="24"/>
                  </a:lnTo>
                  <a:lnTo>
                    <a:pt x="202" y="28"/>
                  </a:lnTo>
                  <a:lnTo>
                    <a:pt x="156" y="136"/>
                  </a:lnTo>
                  <a:lnTo>
                    <a:pt x="154" y="139"/>
                  </a:lnTo>
                  <a:lnTo>
                    <a:pt x="156" y="141"/>
                  </a:lnTo>
                  <a:lnTo>
                    <a:pt x="202" y="251"/>
                  </a:lnTo>
                  <a:lnTo>
                    <a:pt x="202" y="256"/>
                  </a:lnTo>
                  <a:lnTo>
                    <a:pt x="209" y="256"/>
                  </a:lnTo>
                  <a:lnTo>
                    <a:pt x="216" y="256"/>
                  </a:lnTo>
                  <a:lnTo>
                    <a:pt x="216" y="270"/>
                  </a:lnTo>
                  <a:lnTo>
                    <a:pt x="8" y="270"/>
                  </a:lnTo>
                  <a:lnTo>
                    <a:pt x="8" y="256"/>
                  </a:lnTo>
                  <a:lnTo>
                    <a:pt x="15" y="256"/>
                  </a:lnTo>
                  <a:lnTo>
                    <a:pt x="22" y="256"/>
                  </a:lnTo>
                  <a:lnTo>
                    <a:pt x="24" y="251"/>
                  </a:lnTo>
                  <a:lnTo>
                    <a:pt x="70" y="141"/>
                  </a:lnTo>
                  <a:lnTo>
                    <a:pt x="70" y="139"/>
                  </a:lnTo>
                  <a:lnTo>
                    <a:pt x="70" y="136"/>
                  </a:lnTo>
                  <a:lnTo>
                    <a:pt x="24" y="28"/>
                  </a:lnTo>
                  <a:lnTo>
                    <a:pt x="22" y="24"/>
                  </a:lnTo>
                  <a:lnTo>
                    <a:pt x="15" y="24"/>
                  </a:lnTo>
                  <a:lnTo>
                    <a:pt x="8" y="24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7" name="Freeform 57"/>
            <p:cNvSpPr>
              <a:spLocks noEditPoints="1"/>
            </p:cNvSpPr>
            <p:nvPr/>
          </p:nvSpPr>
          <p:spPr bwMode="auto">
            <a:xfrm>
              <a:off x="1093" y="305"/>
              <a:ext cx="146" cy="213"/>
            </a:xfrm>
            <a:custGeom>
              <a:avLst/>
              <a:gdLst/>
              <a:ahLst/>
              <a:cxnLst>
                <a:cxn ang="0">
                  <a:pos x="43" y="86"/>
                </a:cxn>
                <a:cxn ang="0">
                  <a:pos x="50" y="96"/>
                </a:cxn>
                <a:cxn ang="0">
                  <a:pos x="52" y="106"/>
                </a:cxn>
                <a:cxn ang="0">
                  <a:pos x="0" y="213"/>
                </a:cxn>
                <a:cxn ang="0">
                  <a:pos x="24" y="213"/>
                </a:cxn>
                <a:cxn ang="0">
                  <a:pos x="24" y="213"/>
                </a:cxn>
                <a:cxn ang="0">
                  <a:pos x="26" y="213"/>
                </a:cxn>
                <a:cxn ang="0">
                  <a:pos x="122" y="213"/>
                </a:cxn>
                <a:cxn ang="0">
                  <a:pos x="122" y="213"/>
                </a:cxn>
                <a:cxn ang="0">
                  <a:pos x="122" y="213"/>
                </a:cxn>
                <a:cxn ang="0">
                  <a:pos x="146" y="213"/>
                </a:cxn>
                <a:cxn ang="0">
                  <a:pos x="93" y="106"/>
                </a:cxn>
                <a:cxn ang="0">
                  <a:pos x="98" y="96"/>
                </a:cxn>
                <a:cxn ang="0">
                  <a:pos x="103" y="86"/>
                </a:cxn>
                <a:cxn ang="0">
                  <a:pos x="103" y="86"/>
                </a:cxn>
                <a:cxn ang="0">
                  <a:pos x="146" y="0"/>
                </a:cxn>
                <a:cxn ang="0">
                  <a:pos x="0" y="0"/>
                </a:cxn>
                <a:cxn ang="0">
                  <a:pos x="45" y="86"/>
                </a:cxn>
                <a:cxn ang="0">
                  <a:pos x="43" y="86"/>
                </a:cxn>
                <a:cxn ang="0">
                  <a:pos x="38" y="206"/>
                </a:cxn>
                <a:cxn ang="0">
                  <a:pos x="74" y="182"/>
                </a:cxn>
                <a:cxn ang="0">
                  <a:pos x="108" y="206"/>
                </a:cxn>
                <a:cxn ang="0">
                  <a:pos x="38" y="206"/>
                </a:cxn>
                <a:cxn ang="0">
                  <a:pos x="132" y="206"/>
                </a:cxn>
                <a:cxn ang="0">
                  <a:pos x="124" y="206"/>
                </a:cxn>
                <a:cxn ang="0">
                  <a:pos x="74" y="173"/>
                </a:cxn>
                <a:cxn ang="0">
                  <a:pos x="21" y="206"/>
                </a:cxn>
                <a:cxn ang="0">
                  <a:pos x="14" y="206"/>
                </a:cxn>
                <a:cxn ang="0">
                  <a:pos x="60" y="113"/>
                </a:cxn>
                <a:cxn ang="0">
                  <a:pos x="74" y="139"/>
                </a:cxn>
                <a:cxn ang="0">
                  <a:pos x="88" y="113"/>
                </a:cxn>
                <a:cxn ang="0">
                  <a:pos x="132" y="206"/>
                </a:cxn>
                <a:cxn ang="0">
                  <a:pos x="14" y="7"/>
                </a:cxn>
                <a:cxn ang="0">
                  <a:pos x="132" y="7"/>
                </a:cxn>
                <a:cxn ang="0">
                  <a:pos x="88" y="91"/>
                </a:cxn>
                <a:cxn ang="0">
                  <a:pos x="74" y="120"/>
                </a:cxn>
                <a:cxn ang="0">
                  <a:pos x="57" y="94"/>
                </a:cxn>
                <a:cxn ang="0">
                  <a:pos x="14" y="7"/>
                </a:cxn>
              </a:cxnLst>
              <a:rect l="0" t="0" r="r" b="b"/>
              <a:pathLst>
                <a:path w="146" h="213">
                  <a:moveTo>
                    <a:pt x="43" y="86"/>
                  </a:moveTo>
                  <a:lnTo>
                    <a:pt x="50" y="96"/>
                  </a:lnTo>
                  <a:lnTo>
                    <a:pt x="52" y="106"/>
                  </a:lnTo>
                  <a:lnTo>
                    <a:pt x="0" y="213"/>
                  </a:lnTo>
                  <a:lnTo>
                    <a:pt x="24" y="213"/>
                  </a:lnTo>
                  <a:lnTo>
                    <a:pt x="24" y="213"/>
                  </a:lnTo>
                  <a:lnTo>
                    <a:pt x="26" y="213"/>
                  </a:lnTo>
                  <a:lnTo>
                    <a:pt x="122" y="213"/>
                  </a:lnTo>
                  <a:lnTo>
                    <a:pt x="122" y="213"/>
                  </a:lnTo>
                  <a:lnTo>
                    <a:pt x="122" y="213"/>
                  </a:lnTo>
                  <a:lnTo>
                    <a:pt x="146" y="213"/>
                  </a:lnTo>
                  <a:lnTo>
                    <a:pt x="93" y="106"/>
                  </a:lnTo>
                  <a:lnTo>
                    <a:pt x="98" y="96"/>
                  </a:lnTo>
                  <a:lnTo>
                    <a:pt x="103" y="86"/>
                  </a:lnTo>
                  <a:lnTo>
                    <a:pt x="103" y="86"/>
                  </a:lnTo>
                  <a:lnTo>
                    <a:pt x="146" y="0"/>
                  </a:lnTo>
                  <a:lnTo>
                    <a:pt x="0" y="0"/>
                  </a:lnTo>
                  <a:lnTo>
                    <a:pt x="45" y="86"/>
                  </a:lnTo>
                  <a:lnTo>
                    <a:pt x="43" y="86"/>
                  </a:lnTo>
                  <a:close/>
                  <a:moveTo>
                    <a:pt x="38" y="206"/>
                  </a:moveTo>
                  <a:lnTo>
                    <a:pt x="74" y="182"/>
                  </a:lnTo>
                  <a:lnTo>
                    <a:pt x="108" y="206"/>
                  </a:lnTo>
                  <a:lnTo>
                    <a:pt x="38" y="206"/>
                  </a:lnTo>
                  <a:close/>
                  <a:moveTo>
                    <a:pt x="132" y="206"/>
                  </a:moveTo>
                  <a:lnTo>
                    <a:pt x="124" y="206"/>
                  </a:lnTo>
                  <a:lnTo>
                    <a:pt x="74" y="173"/>
                  </a:lnTo>
                  <a:lnTo>
                    <a:pt x="21" y="206"/>
                  </a:lnTo>
                  <a:lnTo>
                    <a:pt x="14" y="206"/>
                  </a:lnTo>
                  <a:lnTo>
                    <a:pt x="60" y="113"/>
                  </a:lnTo>
                  <a:lnTo>
                    <a:pt x="74" y="139"/>
                  </a:lnTo>
                  <a:lnTo>
                    <a:pt x="88" y="113"/>
                  </a:lnTo>
                  <a:lnTo>
                    <a:pt x="132" y="206"/>
                  </a:lnTo>
                  <a:close/>
                  <a:moveTo>
                    <a:pt x="14" y="7"/>
                  </a:moveTo>
                  <a:lnTo>
                    <a:pt x="132" y="7"/>
                  </a:lnTo>
                  <a:lnTo>
                    <a:pt x="88" y="91"/>
                  </a:lnTo>
                  <a:lnTo>
                    <a:pt x="74" y="120"/>
                  </a:lnTo>
                  <a:lnTo>
                    <a:pt x="57" y="94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8" name="Rectangle 58"/>
            <p:cNvSpPr>
              <a:spLocks noChangeArrowheads="1"/>
            </p:cNvSpPr>
            <p:nvPr/>
          </p:nvSpPr>
          <p:spPr bwMode="auto">
            <a:xfrm>
              <a:off x="1162" y="456"/>
              <a:ext cx="7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39" name="Rectangle 59"/>
            <p:cNvSpPr>
              <a:spLocks noChangeArrowheads="1"/>
            </p:cNvSpPr>
            <p:nvPr/>
          </p:nvSpPr>
          <p:spPr bwMode="auto">
            <a:xfrm>
              <a:off x="1162" y="394"/>
              <a:ext cx="1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0" name="Rectangle 60"/>
            <p:cNvSpPr>
              <a:spLocks noChangeArrowheads="1"/>
            </p:cNvSpPr>
            <p:nvPr/>
          </p:nvSpPr>
          <p:spPr bwMode="auto">
            <a:xfrm>
              <a:off x="1174" y="367"/>
              <a:ext cx="1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1" name="Rectangle 61"/>
            <p:cNvSpPr>
              <a:spLocks noChangeArrowheads="1"/>
            </p:cNvSpPr>
            <p:nvPr/>
          </p:nvSpPr>
          <p:spPr bwMode="auto">
            <a:xfrm>
              <a:off x="1155" y="375"/>
              <a:ext cx="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42" name="Rectangle 62"/>
            <p:cNvSpPr>
              <a:spLocks noChangeArrowheads="1"/>
            </p:cNvSpPr>
            <p:nvPr/>
          </p:nvSpPr>
          <p:spPr bwMode="auto">
            <a:xfrm>
              <a:off x="1179" y="466"/>
              <a:ext cx="10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3" name="Rectangle 63"/>
            <p:cNvSpPr>
              <a:spLocks noChangeArrowheads="1"/>
            </p:cNvSpPr>
            <p:nvPr/>
          </p:nvSpPr>
          <p:spPr bwMode="auto">
            <a:xfrm>
              <a:off x="1162" y="356"/>
              <a:ext cx="7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4" name="Rectangle 64"/>
            <p:cNvSpPr>
              <a:spLocks noChangeArrowheads="1"/>
            </p:cNvSpPr>
            <p:nvPr/>
          </p:nvSpPr>
          <p:spPr bwMode="auto">
            <a:xfrm>
              <a:off x="1143" y="470"/>
              <a:ext cx="10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47" name="Group 67"/>
          <p:cNvGrpSpPr>
            <a:grpSpLocks noChangeAspect="1"/>
          </p:cNvGrpSpPr>
          <p:nvPr/>
        </p:nvGrpSpPr>
        <p:grpSpPr bwMode="auto">
          <a:xfrm>
            <a:off x="2526506" y="233363"/>
            <a:ext cx="844550" cy="844550"/>
            <a:chOff x="1594" y="147"/>
            <a:chExt cx="532" cy="532"/>
          </a:xfrm>
        </p:grpSpPr>
        <p:sp>
          <p:nvSpPr>
            <p:cNvPr id="46148" name="Oval 68"/>
            <p:cNvSpPr>
              <a:spLocks noChangeArrowheads="1"/>
            </p:cNvSpPr>
            <p:nvPr/>
          </p:nvSpPr>
          <p:spPr bwMode="auto">
            <a:xfrm>
              <a:off x="1594" y="147"/>
              <a:ext cx="532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49" name="Freeform 69"/>
            <p:cNvSpPr>
              <a:spLocks noEditPoints="1"/>
            </p:cNvSpPr>
            <p:nvPr/>
          </p:nvSpPr>
          <p:spPr bwMode="auto">
            <a:xfrm>
              <a:off x="1618" y="17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0" name="Freeform 70"/>
            <p:cNvSpPr>
              <a:spLocks noEditPoints="1"/>
            </p:cNvSpPr>
            <p:nvPr/>
          </p:nvSpPr>
          <p:spPr bwMode="auto">
            <a:xfrm>
              <a:off x="1841" y="336"/>
              <a:ext cx="38" cy="91"/>
            </a:xfrm>
            <a:custGeom>
              <a:avLst/>
              <a:gdLst/>
              <a:ahLst/>
              <a:cxnLst>
                <a:cxn ang="0">
                  <a:pos x="2" y="91"/>
                </a:cxn>
                <a:cxn ang="0">
                  <a:pos x="36" y="91"/>
                </a:cxn>
                <a:cxn ang="0">
                  <a:pos x="38" y="0"/>
                </a:cxn>
                <a:cxn ang="0">
                  <a:pos x="0" y="0"/>
                </a:cxn>
                <a:cxn ang="0">
                  <a:pos x="2" y="91"/>
                </a:cxn>
                <a:cxn ang="0">
                  <a:pos x="29" y="10"/>
                </a:cxn>
                <a:cxn ang="0">
                  <a:pos x="29" y="84"/>
                </a:cxn>
                <a:cxn ang="0">
                  <a:pos x="9" y="84"/>
                </a:cxn>
                <a:cxn ang="0">
                  <a:pos x="9" y="10"/>
                </a:cxn>
                <a:cxn ang="0">
                  <a:pos x="29" y="10"/>
                </a:cxn>
              </a:cxnLst>
              <a:rect l="0" t="0" r="r" b="b"/>
              <a:pathLst>
                <a:path w="38" h="91">
                  <a:moveTo>
                    <a:pt x="2" y="91"/>
                  </a:moveTo>
                  <a:lnTo>
                    <a:pt x="36" y="91"/>
                  </a:lnTo>
                  <a:lnTo>
                    <a:pt x="38" y="0"/>
                  </a:lnTo>
                  <a:lnTo>
                    <a:pt x="0" y="0"/>
                  </a:lnTo>
                  <a:lnTo>
                    <a:pt x="2" y="91"/>
                  </a:lnTo>
                  <a:close/>
                  <a:moveTo>
                    <a:pt x="29" y="10"/>
                  </a:moveTo>
                  <a:lnTo>
                    <a:pt x="29" y="84"/>
                  </a:lnTo>
                  <a:lnTo>
                    <a:pt x="9" y="84"/>
                  </a:lnTo>
                  <a:lnTo>
                    <a:pt x="9" y="10"/>
                  </a:lnTo>
                  <a:lnTo>
                    <a:pt x="2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51" name="Freeform 71"/>
            <p:cNvSpPr>
              <a:spLocks noEditPoints="1"/>
            </p:cNvSpPr>
            <p:nvPr/>
          </p:nvSpPr>
          <p:spPr bwMode="auto">
            <a:xfrm>
              <a:off x="1843" y="442"/>
              <a:ext cx="34" cy="33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34" y="33"/>
                </a:cxn>
                <a:cxn ang="0">
                  <a:pos x="34" y="0"/>
                </a:cxn>
                <a:cxn ang="0">
                  <a:pos x="0" y="0"/>
                </a:cxn>
                <a:cxn ang="0">
                  <a:pos x="0" y="33"/>
                </a:cxn>
                <a:cxn ang="0">
                  <a:pos x="27" y="9"/>
                </a:cxn>
                <a:cxn ang="0">
                  <a:pos x="24" y="24"/>
                </a:cxn>
                <a:cxn ang="0">
                  <a:pos x="10" y="24"/>
                </a:cxn>
                <a:cxn ang="0">
                  <a:pos x="7" y="9"/>
                </a:cxn>
                <a:cxn ang="0">
                  <a:pos x="27" y="9"/>
                </a:cxn>
              </a:cxnLst>
              <a:rect l="0" t="0" r="r" b="b"/>
              <a:pathLst>
                <a:path w="34" h="33">
                  <a:moveTo>
                    <a:pt x="0" y="33"/>
                  </a:moveTo>
                  <a:lnTo>
                    <a:pt x="34" y="33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33"/>
                  </a:lnTo>
                  <a:close/>
                  <a:moveTo>
                    <a:pt x="27" y="9"/>
                  </a:moveTo>
                  <a:lnTo>
                    <a:pt x="24" y="24"/>
                  </a:lnTo>
                  <a:lnTo>
                    <a:pt x="10" y="24"/>
                  </a:lnTo>
                  <a:lnTo>
                    <a:pt x="7" y="9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2" name="Freeform 72"/>
            <p:cNvSpPr>
              <a:spLocks noEditPoints="1"/>
            </p:cNvSpPr>
            <p:nvPr/>
          </p:nvSpPr>
          <p:spPr bwMode="auto">
            <a:xfrm>
              <a:off x="1692" y="245"/>
              <a:ext cx="336" cy="271"/>
            </a:xfrm>
            <a:custGeom>
              <a:avLst/>
              <a:gdLst/>
              <a:ahLst/>
              <a:cxnLst>
                <a:cxn ang="0">
                  <a:pos x="175" y="0"/>
                </a:cxn>
                <a:cxn ang="0">
                  <a:pos x="161" y="0"/>
                </a:cxn>
                <a:cxn ang="0">
                  <a:pos x="0" y="259"/>
                </a:cxn>
                <a:cxn ang="0">
                  <a:pos x="7" y="271"/>
                </a:cxn>
                <a:cxn ang="0">
                  <a:pos x="329" y="271"/>
                </a:cxn>
                <a:cxn ang="0">
                  <a:pos x="336" y="259"/>
                </a:cxn>
                <a:cxn ang="0">
                  <a:pos x="175" y="0"/>
                </a:cxn>
                <a:cxn ang="0">
                  <a:pos x="321" y="264"/>
                </a:cxn>
                <a:cxn ang="0">
                  <a:pos x="15" y="264"/>
                </a:cxn>
                <a:cxn ang="0">
                  <a:pos x="12" y="257"/>
                </a:cxn>
                <a:cxn ang="0">
                  <a:pos x="166" y="10"/>
                </a:cxn>
                <a:cxn ang="0">
                  <a:pos x="170" y="10"/>
                </a:cxn>
                <a:cxn ang="0">
                  <a:pos x="324" y="257"/>
                </a:cxn>
                <a:cxn ang="0">
                  <a:pos x="321" y="264"/>
                </a:cxn>
              </a:cxnLst>
              <a:rect l="0" t="0" r="r" b="b"/>
              <a:pathLst>
                <a:path w="336" h="271">
                  <a:moveTo>
                    <a:pt x="175" y="0"/>
                  </a:moveTo>
                  <a:lnTo>
                    <a:pt x="161" y="0"/>
                  </a:lnTo>
                  <a:lnTo>
                    <a:pt x="0" y="259"/>
                  </a:lnTo>
                  <a:lnTo>
                    <a:pt x="7" y="271"/>
                  </a:lnTo>
                  <a:lnTo>
                    <a:pt x="329" y="271"/>
                  </a:lnTo>
                  <a:lnTo>
                    <a:pt x="336" y="259"/>
                  </a:lnTo>
                  <a:lnTo>
                    <a:pt x="175" y="0"/>
                  </a:lnTo>
                  <a:close/>
                  <a:moveTo>
                    <a:pt x="321" y="264"/>
                  </a:moveTo>
                  <a:lnTo>
                    <a:pt x="15" y="264"/>
                  </a:lnTo>
                  <a:lnTo>
                    <a:pt x="12" y="257"/>
                  </a:lnTo>
                  <a:lnTo>
                    <a:pt x="166" y="10"/>
                  </a:lnTo>
                  <a:lnTo>
                    <a:pt x="170" y="10"/>
                  </a:lnTo>
                  <a:lnTo>
                    <a:pt x="324" y="257"/>
                  </a:lnTo>
                  <a:lnTo>
                    <a:pt x="321" y="26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55" name="Group 75"/>
          <p:cNvGrpSpPr>
            <a:grpSpLocks noChangeAspect="1"/>
          </p:cNvGrpSpPr>
          <p:nvPr/>
        </p:nvGrpSpPr>
        <p:grpSpPr bwMode="auto">
          <a:xfrm>
            <a:off x="3666329" y="271463"/>
            <a:ext cx="768350" cy="768350"/>
            <a:chOff x="2308" y="171"/>
            <a:chExt cx="484" cy="484"/>
          </a:xfrm>
        </p:grpSpPr>
        <p:sp>
          <p:nvSpPr>
            <p:cNvPr id="46156" name="Freeform 76"/>
            <p:cNvSpPr>
              <a:spLocks noEditPoints="1"/>
            </p:cNvSpPr>
            <p:nvPr/>
          </p:nvSpPr>
          <p:spPr bwMode="auto">
            <a:xfrm>
              <a:off x="2308" y="17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7" name="Freeform 77"/>
            <p:cNvSpPr>
              <a:spLocks noEditPoints="1"/>
            </p:cNvSpPr>
            <p:nvPr/>
          </p:nvSpPr>
          <p:spPr bwMode="auto">
            <a:xfrm>
              <a:off x="2531" y="336"/>
              <a:ext cx="39" cy="91"/>
            </a:xfrm>
            <a:custGeom>
              <a:avLst/>
              <a:gdLst/>
              <a:ahLst/>
              <a:cxnLst>
                <a:cxn ang="0">
                  <a:pos x="3" y="91"/>
                </a:cxn>
                <a:cxn ang="0">
                  <a:pos x="36" y="91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3" y="91"/>
                </a:cxn>
                <a:cxn ang="0">
                  <a:pos x="29" y="10"/>
                </a:cxn>
                <a:cxn ang="0">
                  <a:pos x="29" y="84"/>
                </a:cxn>
                <a:cxn ang="0">
                  <a:pos x="10" y="84"/>
                </a:cxn>
                <a:cxn ang="0">
                  <a:pos x="10" y="10"/>
                </a:cxn>
                <a:cxn ang="0">
                  <a:pos x="29" y="10"/>
                </a:cxn>
              </a:cxnLst>
              <a:rect l="0" t="0" r="r" b="b"/>
              <a:pathLst>
                <a:path w="39" h="91">
                  <a:moveTo>
                    <a:pt x="3" y="91"/>
                  </a:moveTo>
                  <a:lnTo>
                    <a:pt x="36" y="91"/>
                  </a:lnTo>
                  <a:lnTo>
                    <a:pt x="39" y="0"/>
                  </a:lnTo>
                  <a:lnTo>
                    <a:pt x="0" y="0"/>
                  </a:lnTo>
                  <a:lnTo>
                    <a:pt x="3" y="91"/>
                  </a:lnTo>
                  <a:close/>
                  <a:moveTo>
                    <a:pt x="29" y="10"/>
                  </a:moveTo>
                  <a:lnTo>
                    <a:pt x="29" y="84"/>
                  </a:lnTo>
                  <a:lnTo>
                    <a:pt x="10" y="84"/>
                  </a:lnTo>
                  <a:lnTo>
                    <a:pt x="10" y="10"/>
                  </a:lnTo>
                  <a:lnTo>
                    <a:pt x="29" y="1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58" name="Freeform 78"/>
            <p:cNvSpPr>
              <a:spLocks noEditPoints="1"/>
            </p:cNvSpPr>
            <p:nvPr/>
          </p:nvSpPr>
          <p:spPr bwMode="auto">
            <a:xfrm>
              <a:off x="2534" y="442"/>
              <a:ext cx="33" cy="33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33" y="33"/>
                </a:cxn>
                <a:cxn ang="0">
                  <a:pos x="33" y="0"/>
                </a:cxn>
                <a:cxn ang="0">
                  <a:pos x="0" y="0"/>
                </a:cxn>
                <a:cxn ang="0">
                  <a:pos x="0" y="33"/>
                </a:cxn>
                <a:cxn ang="0">
                  <a:pos x="26" y="9"/>
                </a:cxn>
                <a:cxn ang="0">
                  <a:pos x="24" y="24"/>
                </a:cxn>
                <a:cxn ang="0">
                  <a:pos x="9" y="24"/>
                </a:cxn>
                <a:cxn ang="0">
                  <a:pos x="7" y="9"/>
                </a:cxn>
                <a:cxn ang="0">
                  <a:pos x="26" y="9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33"/>
                  </a:lnTo>
                  <a:close/>
                  <a:moveTo>
                    <a:pt x="26" y="9"/>
                  </a:moveTo>
                  <a:lnTo>
                    <a:pt x="24" y="24"/>
                  </a:lnTo>
                  <a:lnTo>
                    <a:pt x="9" y="24"/>
                  </a:lnTo>
                  <a:lnTo>
                    <a:pt x="7" y="9"/>
                  </a:lnTo>
                  <a:lnTo>
                    <a:pt x="26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59" name="Freeform 79"/>
            <p:cNvSpPr>
              <a:spLocks noEditPoints="1"/>
            </p:cNvSpPr>
            <p:nvPr/>
          </p:nvSpPr>
          <p:spPr bwMode="auto">
            <a:xfrm>
              <a:off x="2383" y="245"/>
              <a:ext cx="335" cy="271"/>
            </a:xfrm>
            <a:custGeom>
              <a:avLst/>
              <a:gdLst/>
              <a:ahLst/>
              <a:cxnLst>
                <a:cxn ang="0">
                  <a:pos x="175" y="0"/>
                </a:cxn>
                <a:cxn ang="0">
                  <a:pos x="160" y="0"/>
                </a:cxn>
                <a:cxn ang="0">
                  <a:pos x="0" y="259"/>
                </a:cxn>
                <a:cxn ang="0">
                  <a:pos x="7" y="271"/>
                </a:cxn>
                <a:cxn ang="0">
                  <a:pos x="328" y="271"/>
                </a:cxn>
                <a:cxn ang="0">
                  <a:pos x="335" y="259"/>
                </a:cxn>
                <a:cxn ang="0">
                  <a:pos x="175" y="0"/>
                </a:cxn>
                <a:cxn ang="0">
                  <a:pos x="321" y="264"/>
                </a:cxn>
                <a:cxn ang="0">
                  <a:pos x="14" y="264"/>
                </a:cxn>
                <a:cxn ang="0">
                  <a:pos x="12" y="256"/>
                </a:cxn>
                <a:cxn ang="0">
                  <a:pos x="165" y="10"/>
                </a:cxn>
                <a:cxn ang="0">
                  <a:pos x="170" y="10"/>
                </a:cxn>
                <a:cxn ang="0">
                  <a:pos x="323" y="256"/>
                </a:cxn>
                <a:cxn ang="0">
                  <a:pos x="321" y="264"/>
                </a:cxn>
              </a:cxnLst>
              <a:rect l="0" t="0" r="r" b="b"/>
              <a:pathLst>
                <a:path w="335" h="271">
                  <a:moveTo>
                    <a:pt x="175" y="0"/>
                  </a:moveTo>
                  <a:lnTo>
                    <a:pt x="160" y="0"/>
                  </a:lnTo>
                  <a:lnTo>
                    <a:pt x="0" y="259"/>
                  </a:lnTo>
                  <a:lnTo>
                    <a:pt x="7" y="271"/>
                  </a:lnTo>
                  <a:lnTo>
                    <a:pt x="328" y="271"/>
                  </a:lnTo>
                  <a:lnTo>
                    <a:pt x="335" y="259"/>
                  </a:lnTo>
                  <a:lnTo>
                    <a:pt x="175" y="0"/>
                  </a:lnTo>
                  <a:close/>
                  <a:moveTo>
                    <a:pt x="321" y="264"/>
                  </a:moveTo>
                  <a:lnTo>
                    <a:pt x="14" y="264"/>
                  </a:lnTo>
                  <a:lnTo>
                    <a:pt x="12" y="256"/>
                  </a:lnTo>
                  <a:lnTo>
                    <a:pt x="165" y="10"/>
                  </a:lnTo>
                  <a:lnTo>
                    <a:pt x="170" y="10"/>
                  </a:lnTo>
                  <a:lnTo>
                    <a:pt x="323" y="256"/>
                  </a:lnTo>
                  <a:lnTo>
                    <a:pt x="321" y="26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62" name="Group 82"/>
          <p:cNvGrpSpPr>
            <a:grpSpLocks noChangeAspect="1"/>
          </p:cNvGrpSpPr>
          <p:nvPr/>
        </p:nvGrpSpPr>
        <p:grpSpPr bwMode="auto">
          <a:xfrm>
            <a:off x="4722019" y="233363"/>
            <a:ext cx="842963" cy="844550"/>
            <a:chOff x="2976" y="147"/>
            <a:chExt cx="531" cy="532"/>
          </a:xfrm>
        </p:grpSpPr>
        <p:sp>
          <p:nvSpPr>
            <p:cNvPr id="46163" name="Oval 83"/>
            <p:cNvSpPr>
              <a:spLocks noChangeArrowheads="1"/>
            </p:cNvSpPr>
            <p:nvPr/>
          </p:nvSpPr>
          <p:spPr bwMode="auto">
            <a:xfrm>
              <a:off x="2976" y="147"/>
              <a:ext cx="531" cy="532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64" name="Freeform 84"/>
            <p:cNvSpPr>
              <a:spLocks noEditPoints="1"/>
            </p:cNvSpPr>
            <p:nvPr/>
          </p:nvSpPr>
          <p:spPr bwMode="auto">
            <a:xfrm>
              <a:off x="3000" y="171"/>
              <a:ext cx="483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5" name="Freeform 85"/>
            <p:cNvSpPr>
              <a:spLocks noEditPoints="1"/>
            </p:cNvSpPr>
            <p:nvPr/>
          </p:nvSpPr>
          <p:spPr bwMode="auto">
            <a:xfrm>
              <a:off x="3124" y="262"/>
              <a:ext cx="235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66" name="Freeform 86"/>
            <p:cNvSpPr>
              <a:spLocks noEditPoints="1"/>
            </p:cNvSpPr>
            <p:nvPr/>
          </p:nvSpPr>
          <p:spPr bwMode="auto">
            <a:xfrm>
              <a:off x="3186" y="320"/>
              <a:ext cx="110" cy="107"/>
            </a:xfrm>
            <a:custGeom>
              <a:avLst/>
              <a:gdLst/>
              <a:ahLst/>
              <a:cxnLst>
                <a:cxn ang="0">
                  <a:pos x="46" y="23"/>
                </a:cxn>
                <a:cxn ang="0">
                  <a:pos x="0" y="23"/>
                </a:cxn>
                <a:cxn ang="0">
                  <a:pos x="27" y="43"/>
                </a:cxn>
                <a:cxn ang="0">
                  <a:pos x="37" y="38"/>
                </a:cxn>
                <a:cxn ang="0">
                  <a:pos x="38" y="37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7" y="22"/>
                </a:cxn>
                <a:cxn ang="0">
                  <a:pos x="38" y="8"/>
                </a:cxn>
                <a:cxn ang="0">
                  <a:pos x="37" y="7"/>
                </a:cxn>
                <a:cxn ang="0">
                  <a:pos x="27" y="2"/>
                </a:cxn>
                <a:cxn ang="0">
                  <a:pos x="24" y="3"/>
                </a:cxn>
                <a:cxn ang="0">
                  <a:pos x="24" y="12"/>
                </a:cxn>
                <a:cxn ang="0">
                  <a:pos x="24" y="14"/>
                </a:cxn>
                <a:cxn ang="0">
                  <a:pos x="35" y="22"/>
                </a:cxn>
                <a:cxn ang="0">
                  <a:pos x="24" y="14"/>
                </a:cxn>
                <a:cxn ang="0">
                  <a:pos x="35" y="24"/>
                </a:cxn>
                <a:cxn ang="0">
                  <a:pos x="24" y="31"/>
                </a:cxn>
                <a:cxn ang="0">
                  <a:pos x="24" y="33"/>
                </a:cxn>
                <a:cxn ang="0">
                  <a:pos x="24" y="43"/>
                </a:cxn>
                <a:cxn ang="0">
                  <a:pos x="9" y="38"/>
                </a:cxn>
                <a:cxn ang="0">
                  <a:pos x="19" y="43"/>
                </a:cxn>
                <a:cxn ang="0">
                  <a:pos x="22" y="43"/>
                </a:cxn>
                <a:cxn ang="0">
                  <a:pos x="22" y="33"/>
                </a:cxn>
                <a:cxn ang="0">
                  <a:pos x="22" y="31"/>
                </a:cxn>
                <a:cxn ang="0">
                  <a:pos x="11" y="24"/>
                </a:cxn>
                <a:cxn ang="0">
                  <a:pos x="22" y="31"/>
                </a:cxn>
                <a:cxn ang="0">
                  <a:pos x="11" y="22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2" y="3"/>
                </a:cxn>
                <a:cxn ang="0">
                  <a:pos x="19" y="2"/>
                </a:cxn>
                <a:cxn ang="0">
                  <a:pos x="9" y="7"/>
                </a:cxn>
                <a:cxn ang="0">
                  <a:pos x="8" y="8"/>
                </a:cxn>
                <a:cxn ang="0">
                  <a:pos x="9" y="22"/>
                </a:cxn>
                <a:cxn ang="0">
                  <a:pos x="8" y="8"/>
                </a:cxn>
                <a:cxn ang="0">
                  <a:pos x="12" y="34"/>
                </a:cxn>
                <a:cxn ang="0">
                  <a:pos x="2" y="24"/>
                </a:cxn>
              </a:cxnLst>
              <a:rect l="0" t="0" r="r" b="b"/>
              <a:pathLst>
                <a:path w="46" h="45">
                  <a:moveTo>
                    <a:pt x="23" y="45"/>
                  </a:moveTo>
                  <a:cubicBezTo>
                    <a:pt x="36" y="45"/>
                    <a:pt x="46" y="35"/>
                    <a:pt x="46" y="23"/>
                  </a:cubicBez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35"/>
                    <a:pt x="10" y="45"/>
                    <a:pt x="23" y="45"/>
                  </a:cubicBezTo>
                  <a:close/>
                  <a:moveTo>
                    <a:pt x="27" y="43"/>
                  </a:moveTo>
                  <a:cubicBezTo>
                    <a:pt x="30" y="41"/>
                    <a:pt x="32" y="38"/>
                    <a:pt x="34" y="36"/>
                  </a:cubicBezTo>
                  <a:cubicBezTo>
                    <a:pt x="35" y="36"/>
                    <a:pt x="36" y="37"/>
                    <a:pt x="37" y="38"/>
                  </a:cubicBezTo>
                  <a:cubicBezTo>
                    <a:pt x="34" y="41"/>
                    <a:pt x="31" y="42"/>
                    <a:pt x="27" y="43"/>
                  </a:cubicBezTo>
                  <a:close/>
                  <a:moveTo>
                    <a:pt x="38" y="37"/>
                  </a:moveTo>
                  <a:cubicBezTo>
                    <a:pt x="37" y="36"/>
                    <a:pt x="36" y="35"/>
                    <a:pt x="34" y="34"/>
                  </a:cubicBezTo>
                  <a:cubicBezTo>
                    <a:pt x="36" y="31"/>
                    <a:pt x="37" y="27"/>
                    <a:pt x="37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9"/>
                    <a:pt x="42" y="33"/>
                    <a:pt x="38" y="37"/>
                  </a:cubicBezTo>
                  <a:close/>
                  <a:moveTo>
                    <a:pt x="44" y="22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18"/>
                    <a:pt x="36" y="14"/>
                    <a:pt x="34" y="11"/>
                  </a:cubicBezTo>
                  <a:cubicBezTo>
                    <a:pt x="36" y="10"/>
                    <a:pt x="37" y="9"/>
                    <a:pt x="38" y="8"/>
                  </a:cubicBezTo>
                  <a:cubicBezTo>
                    <a:pt x="41" y="12"/>
                    <a:pt x="44" y="16"/>
                    <a:pt x="44" y="22"/>
                  </a:cubicBezTo>
                  <a:close/>
                  <a:moveTo>
                    <a:pt x="37" y="7"/>
                  </a:moveTo>
                  <a:cubicBezTo>
                    <a:pt x="36" y="8"/>
                    <a:pt x="35" y="9"/>
                    <a:pt x="33" y="9"/>
                  </a:cubicBezTo>
                  <a:cubicBezTo>
                    <a:pt x="32" y="6"/>
                    <a:pt x="29" y="4"/>
                    <a:pt x="27" y="2"/>
                  </a:cubicBezTo>
                  <a:cubicBezTo>
                    <a:pt x="30" y="3"/>
                    <a:pt x="34" y="4"/>
                    <a:pt x="37" y="7"/>
                  </a:cubicBezTo>
                  <a:close/>
                  <a:moveTo>
                    <a:pt x="24" y="3"/>
                  </a:moveTo>
                  <a:cubicBezTo>
                    <a:pt x="27" y="5"/>
                    <a:pt x="30" y="7"/>
                    <a:pt x="32" y="10"/>
                  </a:cubicBezTo>
                  <a:cubicBezTo>
                    <a:pt x="29" y="11"/>
                    <a:pt x="27" y="12"/>
                    <a:pt x="24" y="12"/>
                  </a:cubicBezTo>
                  <a:lnTo>
                    <a:pt x="24" y="3"/>
                  </a:lnTo>
                  <a:close/>
                  <a:moveTo>
                    <a:pt x="24" y="14"/>
                  </a:moveTo>
                  <a:cubicBezTo>
                    <a:pt x="27" y="14"/>
                    <a:pt x="30" y="13"/>
                    <a:pt x="32" y="12"/>
                  </a:cubicBezTo>
                  <a:cubicBezTo>
                    <a:pt x="34" y="15"/>
                    <a:pt x="35" y="18"/>
                    <a:pt x="35" y="22"/>
                  </a:cubicBezTo>
                  <a:cubicBezTo>
                    <a:pt x="24" y="22"/>
                    <a:pt x="24" y="22"/>
                    <a:pt x="24" y="22"/>
                  </a:cubicBezTo>
                  <a:lnTo>
                    <a:pt x="24" y="14"/>
                  </a:lnTo>
                  <a:close/>
                  <a:moveTo>
                    <a:pt x="24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7"/>
                    <a:pt x="34" y="30"/>
                    <a:pt x="33" y="33"/>
                  </a:cubicBezTo>
                  <a:cubicBezTo>
                    <a:pt x="30" y="32"/>
                    <a:pt x="27" y="31"/>
                    <a:pt x="24" y="31"/>
                  </a:cubicBezTo>
                  <a:lnTo>
                    <a:pt x="24" y="24"/>
                  </a:lnTo>
                  <a:close/>
                  <a:moveTo>
                    <a:pt x="24" y="33"/>
                  </a:moveTo>
                  <a:cubicBezTo>
                    <a:pt x="27" y="33"/>
                    <a:pt x="29" y="34"/>
                    <a:pt x="32" y="35"/>
                  </a:cubicBezTo>
                  <a:cubicBezTo>
                    <a:pt x="30" y="38"/>
                    <a:pt x="27" y="41"/>
                    <a:pt x="24" y="43"/>
                  </a:cubicBezTo>
                  <a:lnTo>
                    <a:pt x="24" y="33"/>
                  </a:lnTo>
                  <a:close/>
                  <a:moveTo>
                    <a:pt x="9" y="38"/>
                  </a:moveTo>
                  <a:cubicBezTo>
                    <a:pt x="10" y="37"/>
                    <a:pt x="11" y="36"/>
                    <a:pt x="13" y="36"/>
                  </a:cubicBezTo>
                  <a:cubicBezTo>
                    <a:pt x="14" y="39"/>
                    <a:pt x="16" y="41"/>
                    <a:pt x="19" y="43"/>
                  </a:cubicBezTo>
                  <a:cubicBezTo>
                    <a:pt x="15" y="42"/>
                    <a:pt x="12" y="41"/>
                    <a:pt x="9" y="38"/>
                  </a:cubicBezTo>
                  <a:close/>
                  <a:moveTo>
                    <a:pt x="22" y="43"/>
                  </a:moveTo>
                  <a:cubicBezTo>
                    <a:pt x="19" y="41"/>
                    <a:pt x="16" y="38"/>
                    <a:pt x="14" y="35"/>
                  </a:cubicBezTo>
                  <a:cubicBezTo>
                    <a:pt x="17" y="34"/>
                    <a:pt x="19" y="33"/>
                    <a:pt x="22" y="33"/>
                  </a:cubicBezTo>
                  <a:lnTo>
                    <a:pt x="22" y="43"/>
                  </a:lnTo>
                  <a:close/>
                  <a:moveTo>
                    <a:pt x="22" y="31"/>
                  </a:moveTo>
                  <a:cubicBezTo>
                    <a:pt x="19" y="31"/>
                    <a:pt x="16" y="32"/>
                    <a:pt x="13" y="33"/>
                  </a:cubicBezTo>
                  <a:cubicBezTo>
                    <a:pt x="12" y="30"/>
                    <a:pt x="11" y="27"/>
                    <a:pt x="11" y="24"/>
                  </a:cubicBezTo>
                  <a:cubicBezTo>
                    <a:pt x="22" y="24"/>
                    <a:pt x="22" y="24"/>
                    <a:pt x="22" y="24"/>
                  </a:cubicBezTo>
                  <a:lnTo>
                    <a:pt x="22" y="31"/>
                  </a:lnTo>
                  <a:close/>
                  <a:moveTo>
                    <a:pt x="22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1" y="18"/>
                    <a:pt x="12" y="15"/>
                    <a:pt x="14" y="12"/>
                  </a:cubicBezTo>
                  <a:cubicBezTo>
                    <a:pt x="16" y="13"/>
                    <a:pt x="19" y="14"/>
                    <a:pt x="22" y="14"/>
                  </a:cubicBezTo>
                  <a:lnTo>
                    <a:pt x="22" y="22"/>
                  </a:lnTo>
                  <a:close/>
                  <a:moveTo>
                    <a:pt x="22" y="12"/>
                  </a:moveTo>
                  <a:cubicBezTo>
                    <a:pt x="19" y="12"/>
                    <a:pt x="17" y="11"/>
                    <a:pt x="15" y="10"/>
                  </a:cubicBezTo>
                  <a:cubicBezTo>
                    <a:pt x="16" y="7"/>
                    <a:pt x="19" y="5"/>
                    <a:pt x="22" y="3"/>
                  </a:cubicBezTo>
                  <a:lnTo>
                    <a:pt x="22" y="12"/>
                  </a:lnTo>
                  <a:close/>
                  <a:moveTo>
                    <a:pt x="19" y="2"/>
                  </a:moveTo>
                  <a:cubicBezTo>
                    <a:pt x="17" y="4"/>
                    <a:pt x="14" y="6"/>
                    <a:pt x="13" y="9"/>
                  </a:cubicBezTo>
                  <a:cubicBezTo>
                    <a:pt x="12" y="9"/>
                    <a:pt x="10" y="8"/>
                    <a:pt x="9" y="7"/>
                  </a:cubicBezTo>
                  <a:cubicBezTo>
                    <a:pt x="12" y="4"/>
                    <a:pt x="16" y="3"/>
                    <a:pt x="19" y="2"/>
                  </a:cubicBezTo>
                  <a:close/>
                  <a:moveTo>
                    <a:pt x="8" y="8"/>
                  </a:moveTo>
                  <a:cubicBezTo>
                    <a:pt x="9" y="9"/>
                    <a:pt x="10" y="10"/>
                    <a:pt x="12" y="11"/>
                  </a:cubicBezTo>
                  <a:cubicBezTo>
                    <a:pt x="10" y="14"/>
                    <a:pt x="9" y="18"/>
                    <a:pt x="9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16"/>
                    <a:pt x="5" y="12"/>
                    <a:pt x="8" y="8"/>
                  </a:cubicBezTo>
                  <a:close/>
                  <a:moveTo>
                    <a:pt x="9" y="24"/>
                  </a:moveTo>
                  <a:cubicBezTo>
                    <a:pt x="9" y="27"/>
                    <a:pt x="10" y="31"/>
                    <a:pt x="12" y="34"/>
                  </a:cubicBezTo>
                  <a:cubicBezTo>
                    <a:pt x="10" y="35"/>
                    <a:pt x="9" y="36"/>
                    <a:pt x="8" y="37"/>
                  </a:cubicBezTo>
                  <a:cubicBezTo>
                    <a:pt x="4" y="33"/>
                    <a:pt x="2" y="29"/>
                    <a:pt x="2" y="24"/>
                  </a:cubicBezTo>
                  <a:lnTo>
                    <a:pt x="9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69" name="Group 89"/>
          <p:cNvGrpSpPr>
            <a:grpSpLocks noChangeAspect="1"/>
          </p:cNvGrpSpPr>
          <p:nvPr/>
        </p:nvGrpSpPr>
        <p:grpSpPr bwMode="auto">
          <a:xfrm>
            <a:off x="5853108" y="271463"/>
            <a:ext cx="768350" cy="768350"/>
            <a:chOff x="3690" y="171"/>
            <a:chExt cx="484" cy="484"/>
          </a:xfrm>
        </p:grpSpPr>
        <p:sp>
          <p:nvSpPr>
            <p:cNvPr id="46170" name="Freeform 90"/>
            <p:cNvSpPr>
              <a:spLocks noEditPoints="1"/>
            </p:cNvSpPr>
            <p:nvPr/>
          </p:nvSpPr>
          <p:spPr bwMode="auto">
            <a:xfrm>
              <a:off x="3690" y="171"/>
              <a:ext cx="484" cy="484"/>
            </a:xfrm>
            <a:custGeom>
              <a:avLst/>
              <a:gdLst/>
              <a:ahLst/>
              <a:cxnLst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</a:cxnLst>
              <a:rect l="0" t="0" r="r" b="b"/>
              <a:pathLst>
                <a:path w="202" h="202">
                  <a:moveTo>
                    <a:pt x="101" y="5"/>
                  </a:move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1" name="Freeform 91"/>
            <p:cNvSpPr>
              <a:spLocks noEditPoints="1"/>
            </p:cNvSpPr>
            <p:nvPr/>
          </p:nvSpPr>
          <p:spPr bwMode="auto">
            <a:xfrm>
              <a:off x="3815" y="262"/>
              <a:ext cx="235" cy="304"/>
            </a:xfrm>
            <a:custGeom>
              <a:avLst/>
              <a:gdLst/>
              <a:ahLst/>
              <a:cxnLst>
                <a:cxn ang="0">
                  <a:pos x="49" y="127"/>
                </a:cxn>
                <a:cxn ang="0">
                  <a:pos x="48" y="126"/>
                </a:cxn>
                <a:cxn ang="0">
                  <a:pos x="0" y="50"/>
                </a:cxn>
                <a:cxn ang="0">
                  <a:pos x="49" y="0"/>
                </a:cxn>
                <a:cxn ang="0">
                  <a:pos x="98" y="50"/>
                </a:cxn>
                <a:cxn ang="0">
                  <a:pos x="50" y="126"/>
                </a:cxn>
                <a:cxn ang="0">
                  <a:pos x="49" y="127"/>
                </a:cxn>
                <a:cxn ang="0">
                  <a:pos x="49" y="3"/>
                </a:cxn>
                <a:cxn ang="0">
                  <a:pos x="3" y="50"/>
                </a:cxn>
                <a:cxn ang="0">
                  <a:pos x="49" y="122"/>
                </a:cxn>
                <a:cxn ang="0">
                  <a:pos x="95" y="50"/>
                </a:cxn>
                <a:cxn ang="0">
                  <a:pos x="49" y="3"/>
                </a:cxn>
              </a:cxnLst>
              <a:rect l="0" t="0" r="r" b="b"/>
              <a:pathLst>
                <a:path w="98" h="127">
                  <a:moveTo>
                    <a:pt x="49" y="127"/>
                  </a:moveTo>
                  <a:cubicBezTo>
                    <a:pt x="48" y="126"/>
                    <a:pt x="48" y="126"/>
                    <a:pt x="48" y="126"/>
                  </a:cubicBezTo>
                  <a:cubicBezTo>
                    <a:pt x="40" y="117"/>
                    <a:pt x="0" y="74"/>
                    <a:pt x="0" y="50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6" y="0"/>
                    <a:pt x="98" y="22"/>
                    <a:pt x="98" y="50"/>
                  </a:cubicBezTo>
                  <a:cubicBezTo>
                    <a:pt x="98" y="74"/>
                    <a:pt x="58" y="117"/>
                    <a:pt x="50" y="126"/>
                  </a:cubicBezTo>
                  <a:lnTo>
                    <a:pt x="49" y="127"/>
                  </a:lnTo>
                  <a:close/>
                  <a:moveTo>
                    <a:pt x="49" y="3"/>
                  </a:moveTo>
                  <a:cubicBezTo>
                    <a:pt x="24" y="3"/>
                    <a:pt x="3" y="24"/>
                    <a:pt x="3" y="50"/>
                  </a:cubicBezTo>
                  <a:cubicBezTo>
                    <a:pt x="3" y="71"/>
                    <a:pt x="40" y="112"/>
                    <a:pt x="49" y="122"/>
                  </a:cubicBezTo>
                  <a:cubicBezTo>
                    <a:pt x="58" y="113"/>
                    <a:pt x="95" y="71"/>
                    <a:pt x="95" y="50"/>
                  </a:cubicBezTo>
                  <a:cubicBezTo>
                    <a:pt x="95" y="24"/>
                    <a:pt x="74" y="3"/>
                    <a:pt x="49" y="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2" name="Freeform 92"/>
            <p:cNvSpPr>
              <a:spLocks noEditPoints="1"/>
            </p:cNvSpPr>
            <p:nvPr/>
          </p:nvSpPr>
          <p:spPr bwMode="auto">
            <a:xfrm>
              <a:off x="3877" y="320"/>
              <a:ext cx="111" cy="107"/>
            </a:xfrm>
            <a:custGeom>
              <a:avLst/>
              <a:gdLst/>
              <a:ahLst/>
              <a:cxnLst>
                <a:cxn ang="0">
                  <a:pos x="46" y="23"/>
                </a:cxn>
                <a:cxn ang="0">
                  <a:pos x="0" y="23"/>
                </a:cxn>
                <a:cxn ang="0">
                  <a:pos x="27" y="43"/>
                </a:cxn>
                <a:cxn ang="0">
                  <a:pos x="37" y="38"/>
                </a:cxn>
                <a:cxn ang="0">
                  <a:pos x="38" y="37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7" y="22"/>
                </a:cxn>
                <a:cxn ang="0">
                  <a:pos x="38" y="8"/>
                </a:cxn>
                <a:cxn ang="0">
                  <a:pos x="37" y="7"/>
                </a:cxn>
                <a:cxn ang="0">
                  <a:pos x="27" y="2"/>
                </a:cxn>
                <a:cxn ang="0">
                  <a:pos x="24" y="3"/>
                </a:cxn>
                <a:cxn ang="0">
                  <a:pos x="24" y="12"/>
                </a:cxn>
                <a:cxn ang="0">
                  <a:pos x="24" y="14"/>
                </a:cxn>
                <a:cxn ang="0">
                  <a:pos x="35" y="22"/>
                </a:cxn>
                <a:cxn ang="0">
                  <a:pos x="24" y="14"/>
                </a:cxn>
                <a:cxn ang="0">
                  <a:pos x="35" y="24"/>
                </a:cxn>
                <a:cxn ang="0">
                  <a:pos x="24" y="31"/>
                </a:cxn>
                <a:cxn ang="0">
                  <a:pos x="24" y="33"/>
                </a:cxn>
                <a:cxn ang="0">
                  <a:pos x="24" y="43"/>
                </a:cxn>
                <a:cxn ang="0">
                  <a:pos x="9" y="38"/>
                </a:cxn>
                <a:cxn ang="0">
                  <a:pos x="19" y="43"/>
                </a:cxn>
                <a:cxn ang="0">
                  <a:pos x="22" y="43"/>
                </a:cxn>
                <a:cxn ang="0">
                  <a:pos x="22" y="33"/>
                </a:cxn>
                <a:cxn ang="0">
                  <a:pos x="22" y="31"/>
                </a:cxn>
                <a:cxn ang="0">
                  <a:pos x="11" y="24"/>
                </a:cxn>
                <a:cxn ang="0">
                  <a:pos x="22" y="31"/>
                </a:cxn>
                <a:cxn ang="0">
                  <a:pos x="11" y="22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2" y="3"/>
                </a:cxn>
                <a:cxn ang="0">
                  <a:pos x="19" y="2"/>
                </a:cxn>
                <a:cxn ang="0">
                  <a:pos x="9" y="7"/>
                </a:cxn>
                <a:cxn ang="0">
                  <a:pos x="8" y="8"/>
                </a:cxn>
                <a:cxn ang="0">
                  <a:pos x="9" y="22"/>
                </a:cxn>
                <a:cxn ang="0">
                  <a:pos x="8" y="8"/>
                </a:cxn>
                <a:cxn ang="0">
                  <a:pos x="12" y="34"/>
                </a:cxn>
                <a:cxn ang="0">
                  <a:pos x="2" y="24"/>
                </a:cxn>
              </a:cxnLst>
              <a:rect l="0" t="0" r="r" b="b"/>
              <a:pathLst>
                <a:path w="46" h="45">
                  <a:moveTo>
                    <a:pt x="23" y="45"/>
                  </a:moveTo>
                  <a:cubicBezTo>
                    <a:pt x="36" y="45"/>
                    <a:pt x="46" y="35"/>
                    <a:pt x="46" y="23"/>
                  </a:cubicBez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35"/>
                    <a:pt x="10" y="45"/>
                    <a:pt x="23" y="45"/>
                  </a:cubicBezTo>
                  <a:close/>
                  <a:moveTo>
                    <a:pt x="27" y="43"/>
                  </a:moveTo>
                  <a:cubicBezTo>
                    <a:pt x="30" y="41"/>
                    <a:pt x="32" y="38"/>
                    <a:pt x="34" y="36"/>
                  </a:cubicBezTo>
                  <a:cubicBezTo>
                    <a:pt x="35" y="36"/>
                    <a:pt x="36" y="37"/>
                    <a:pt x="37" y="38"/>
                  </a:cubicBezTo>
                  <a:cubicBezTo>
                    <a:pt x="34" y="41"/>
                    <a:pt x="31" y="42"/>
                    <a:pt x="27" y="43"/>
                  </a:cubicBezTo>
                  <a:close/>
                  <a:moveTo>
                    <a:pt x="38" y="37"/>
                  </a:moveTo>
                  <a:cubicBezTo>
                    <a:pt x="37" y="36"/>
                    <a:pt x="36" y="35"/>
                    <a:pt x="34" y="34"/>
                  </a:cubicBezTo>
                  <a:cubicBezTo>
                    <a:pt x="36" y="31"/>
                    <a:pt x="37" y="27"/>
                    <a:pt x="37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9"/>
                    <a:pt x="42" y="33"/>
                    <a:pt x="38" y="37"/>
                  </a:cubicBezTo>
                  <a:close/>
                  <a:moveTo>
                    <a:pt x="44" y="22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18"/>
                    <a:pt x="36" y="14"/>
                    <a:pt x="34" y="11"/>
                  </a:cubicBezTo>
                  <a:cubicBezTo>
                    <a:pt x="36" y="10"/>
                    <a:pt x="37" y="9"/>
                    <a:pt x="38" y="8"/>
                  </a:cubicBezTo>
                  <a:cubicBezTo>
                    <a:pt x="41" y="12"/>
                    <a:pt x="44" y="16"/>
                    <a:pt x="44" y="22"/>
                  </a:cubicBezTo>
                  <a:close/>
                  <a:moveTo>
                    <a:pt x="37" y="7"/>
                  </a:moveTo>
                  <a:cubicBezTo>
                    <a:pt x="36" y="8"/>
                    <a:pt x="35" y="9"/>
                    <a:pt x="33" y="9"/>
                  </a:cubicBezTo>
                  <a:cubicBezTo>
                    <a:pt x="32" y="6"/>
                    <a:pt x="29" y="4"/>
                    <a:pt x="27" y="2"/>
                  </a:cubicBezTo>
                  <a:cubicBezTo>
                    <a:pt x="30" y="3"/>
                    <a:pt x="34" y="4"/>
                    <a:pt x="37" y="7"/>
                  </a:cubicBezTo>
                  <a:close/>
                  <a:moveTo>
                    <a:pt x="24" y="3"/>
                  </a:moveTo>
                  <a:cubicBezTo>
                    <a:pt x="27" y="5"/>
                    <a:pt x="30" y="7"/>
                    <a:pt x="32" y="10"/>
                  </a:cubicBezTo>
                  <a:cubicBezTo>
                    <a:pt x="29" y="11"/>
                    <a:pt x="27" y="12"/>
                    <a:pt x="24" y="12"/>
                  </a:cubicBezTo>
                  <a:lnTo>
                    <a:pt x="24" y="3"/>
                  </a:lnTo>
                  <a:close/>
                  <a:moveTo>
                    <a:pt x="24" y="14"/>
                  </a:moveTo>
                  <a:cubicBezTo>
                    <a:pt x="27" y="14"/>
                    <a:pt x="30" y="13"/>
                    <a:pt x="32" y="12"/>
                  </a:cubicBezTo>
                  <a:cubicBezTo>
                    <a:pt x="34" y="15"/>
                    <a:pt x="35" y="18"/>
                    <a:pt x="35" y="22"/>
                  </a:cubicBezTo>
                  <a:cubicBezTo>
                    <a:pt x="24" y="22"/>
                    <a:pt x="24" y="22"/>
                    <a:pt x="24" y="22"/>
                  </a:cubicBezTo>
                  <a:lnTo>
                    <a:pt x="24" y="14"/>
                  </a:lnTo>
                  <a:close/>
                  <a:moveTo>
                    <a:pt x="24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7"/>
                    <a:pt x="34" y="30"/>
                    <a:pt x="33" y="33"/>
                  </a:cubicBezTo>
                  <a:cubicBezTo>
                    <a:pt x="30" y="32"/>
                    <a:pt x="27" y="31"/>
                    <a:pt x="24" y="31"/>
                  </a:cubicBezTo>
                  <a:lnTo>
                    <a:pt x="24" y="24"/>
                  </a:lnTo>
                  <a:close/>
                  <a:moveTo>
                    <a:pt x="24" y="33"/>
                  </a:moveTo>
                  <a:cubicBezTo>
                    <a:pt x="27" y="33"/>
                    <a:pt x="29" y="34"/>
                    <a:pt x="32" y="35"/>
                  </a:cubicBezTo>
                  <a:cubicBezTo>
                    <a:pt x="30" y="38"/>
                    <a:pt x="27" y="41"/>
                    <a:pt x="24" y="43"/>
                  </a:cubicBezTo>
                  <a:lnTo>
                    <a:pt x="24" y="33"/>
                  </a:lnTo>
                  <a:close/>
                  <a:moveTo>
                    <a:pt x="9" y="38"/>
                  </a:moveTo>
                  <a:cubicBezTo>
                    <a:pt x="10" y="37"/>
                    <a:pt x="11" y="36"/>
                    <a:pt x="13" y="36"/>
                  </a:cubicBezTo>
                  <a:cubicBezTo>
                    <a:pt x="14" y="39"/>
                    <a:pt x="16" y="41"/>
                    <a:pt x="19" y="43"/>
                  </a:cubicBezTo>
                  <a:cubicBezTo>
                    <a:pt x="15" y="42"/>
                    <a:pt x="12" y="41"/>
                    <a:pt x="9" y="38"/>
                  </a:cubicBezTo>
                  <a:close/>
                  <a:moveTo>
                    <a:pt x="22" y="43"/>
                  </a:moveTo>
                  <a:cubicBezTo>
                    <a:pt x="19" y="41"/>
                    <a:pt x="16" y="38"/>
                    <a:pt x="14" y="35"/>
                  </a:cubicBezTo>
                  <a:cubicBezTo>
                    <a:pt x="17" y="34"/>
                    <a:pt x="19" y="33"/>
                    <a:pt x="22" y="33"/>
                  </a:cubicBezTo>
                  <a:lnTo>
                    <a:pt x="22" y="43"/>
                  </a:lnTo>
                  <a:close/>
                  <a:moveTo>
                    <a:pt x="22" y="31"/>
                  </a:moveTo>
                  <a:cubicBezTo>
                    <a:pt x="19" y="31"/>
                    <a:pt x="16" y="32"/>
                    <a:pt x="13" y="33"/>
                  </a:cubicBezTo>
                  <a:cubicBezTo>
                    <a:pt x="12" y="30"/>
                    <a:pt x="11" y="27"/>
                    <a:pt x="11" y="24"/>
                  </a:cubicBezTo>
                  <a:cubicBezTo>
                    <a:pt x="22" y="24"/>
                    <a:pt x="22" y="24"/>
                    <a:pt x="22" y="24"/>
                  </a:cubicBezTo>
                  <a:lnTo>
                    <a:pt x="22" y="31"/>
                  </a:lnTo>
                  <a:close/>
                  <a:moveTo>
                    <a:pt x="22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1" y="18"/>
                    <a:pt x="12" y="15"/>
                    <a:pt x="14" y="12"/>
                  </a:cubicBezTo>
                  <a:cubicBezTo>
                    <a:pt x="16" y="13"/>
                    <a:pt x="19" y="14"/>
                    <a:pt x="22" y="14"/>
                  </a:cubicBezTo>
                  <a:lnTo>
                    <a:pt x="22" y="22"/>
                  </a:lnTo>
                  <a:close/>
                  <a:moveTo>
                    <a:pt x="22" y="12"/>
                  </a:moveTo>
                  <a:cubicBezTo>
                    <a:pt x="19" y="12"/>
                    <a:pt x="17" y="11"/>
                    <a:pt x="15" y="10"/>
                  </a:cubicBezTo>
                  <a:cubicBezTo>
                    <a:pt x="16" y="7"/>
                    <a:pt x="19" y="5"/>
                    <a:pt x="22" y="3"/>
                  </a:cubicBezTo>
                  <a:lnTo>
                    <a:pt x="22" y="12"/>
                  </a:lnTo>
                  <a:close/>
                  <a:moveTo>
                    <a:pt x="19" y="2"/>
                  </a:moveTo>
                  <a:cubicBezTo>
                    <a:pt x="17" y="4"/>
                    <a:pt x="14" y="6"/>
                    <a:pt x="13" y="9"/>
                  </a:cubicBezTo>
                  <a:cubicBezTo>
                    <a:pt x="12" y="9"/>
                    <a:pt x="10" y="8"/>
                    <a:pt x="9" y="7"/>
                  </a:cubicBezTo>
                  <a:cubicBezTo>
                    <a:pt x="12" y="4"/>
                    <a:pt x="16" y="3"/>
                    <a:pt x="19" y="2"/>
                  </a:cubicBezTo>
                  <a:close/>
                  <a:moveTo>
                    <a:pt x="8" y="8"/>
                  </a:moveTo>
                  <a:cubicBezTo>
                    <a:pt x="9" y="9"/>
                    <a:pt x="10" y="10"/>
                    <a:pt x="12" y="11"/>
                  </a:cubicBezTo>
                  <a:cubicBezTo>
                    <a:pt x="10" y="14"/>
                    <a:pt x="9" y="18"/>
                    <a:pt x="9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16"/>
                    <a:pt x="5" y="12"/>
                    <a:pt x="8" y="8"/>
                  </a:cubicBezTo>
                  <a:close/>
                  <a:moveTo>
                    <a:pt x="9" y="24"/>
                  </a:moveTo>
                  <a:cubicBezTo>
                    <a:pt x="9" y="27"/>
                    <a:pt x="10" y="31"/>
                    <a:pt x="12" y="34"/>
                  </a:cubicBezTo>
                  <a:cubicBezTo>
                    <a:pt x="10" y="35"/>
                    <a:pt x="9" y="36"/>
                    <a:pt x="8" y="37"/>
                  </a:cubicBezTo>
                  <a:cubicBezTo>
                    <a:pt x="4" y="33"/>
                    <a:pt x="2" y="29"/>
                    <a:pt x="2" y="24"/>
                  </a:cubicBezTo>
                  <a:lnTo>
                    <a:pt x="9" y="2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175" name="Group 95"/>
          <p:cNvGrpSpPr>
            <a:grpSpLocks noChangeAspect="1"/>
          </p:cNvGrpSpPr>
          <p:nvPr/>
        </p:nvGrpSpPr>
        <p:grpSpPr bwMode="auto">
          <a:xfrm>
            <a:off x="6915944" y="236538"/>
            <a:ext cx="842962" cy="841375"/>
            <a:chOff x="4357" y="149"/>
            <a:chExt cx="531" cy="530"/>
          </a:xfrm>
        </p:grpSpPr>
        <p:sp>
          <p:nvSpPr>
            <p:cNvPr id="46176" name="Oval 96"/>
            <p:cNvSpPr>
              <a:spLocks noChangeArrowheads="1"/>
            </p:cNvSpPr>
            <p:nvPr/>
          </p:nvSpPr>
          <p:spPr bwMode="auto">
            <a:xfrm>
              <a:off x="4357" y="149"/>
              <a:ext cx="531" cy="530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77" name="Freeform 97"/>
            <p:cNvSpPr>
              <a:spLocks/>
            </p:cNvSpPr>
            <p:nvPr/>
          </p:nvSpPr>
          <p:spPr bwMode="auto">
            <a:xfrm>
              <a:off x="4529" y="485"/>
              <a:ext cx="46" cy="41"/>
            </a:xfrm>
            <a:custGeom>
              <a:avLst/>
              <a:gdLst/>
              <a:ahLst/>
              <a:cxnLst>
                <a:cxn ang="0">
                  <a:pos x="17" y="31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15" y="41"/>
                </a:cxn>
                <a:cxn ang="0">
                  <a:pos x="22" y="41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31"/>
                </a:cxn>
              </a:cxnLst>
              <a:rect l="0" t="0" r="r" b="b"/>
              <a:pathLst>
                <a:path w="46" h="41">
                  <a:moveTo>
                    <a:pt x="17" y="31"/>
                  </a:moveTo>
                  <a:lnTo>
                    <a:pt x="7" y="19"/>
                  </a:lnTo>
                  <a:lnTo>
                    <a:pt x="0" y="24"/>
                  </a:lnTo>
                  <a:lnTo>
                    <a:pt x="15" y="41"/>
                  </a:lnTo>
                  <a:lnTo>
                    <a:pt x="22" y="41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8" name="Rectangle 98"/>
            <p:cNvSpPr>
              <a:spLocks noChangeArrowheads="1"/>
            </p:cNvSpPr>
            <p:nvPr/>
          </p:nvSpPr>
          <p:spPr bwMode="auto">
            <a:xfrm>
              <a:off x="4582" y="514"/>
              <a:ext cx="6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79" name="Freeform 99"/>
            <p:cNvSpPr>
              <a:spLocks noEditPoints="1"/>
            </p:cNvSpPr>
            <p:nvPr/>
          </p:nvSpPr>
          <p:spPr bwMode="auto">
            <a:xfrm>
              <a:off x="4381" y="171"/>
              <a:ext cx="483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6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6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0" name="Freeform 100"/>
            <p:cNvSpPr>
              <a:spLocks/>
            </p:cNvSpPr>
            <p:nvPr/>
          </p:nvSpPr>
          <p:spPr bwMode="auto">
            <a:xfrm>
              <a:off x="4529" y="432"/>
              <a:ext cx="46" cy="41"/>
            </a:xfrm>
            <a:custGeom>
              <a:avLst/>
              <a:gdLst/>
              <a:ahLst/>
              <a:cxnLst>
                <a:cxn ang="0">
                  <a:pos x="17" y="31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15" y="41"/>
                </a:cxn>
                <a:cxn ang="0">
                  <a:pos x="22" y="41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31"/>
                </a:cxn>
              </a:cxnLst>
              <a:rect l="0" t="0" r="r" b="b"/>
              <a:pathLst>
                <a:path w="46" h="41">
                  <a:moveTo>
                    <a:pt x="17" y="31"/>
                  </a:moveTo>
                  <a:lnTo>
                    <a:pt x="7" y="19"/>
                  </a:lnTo>
                  <a:lnTo>
                    <a:pt x="0" y="24"/>
                  </a:lnTo>
                  <a:lnTo>
                    <a:pt x="15" y="41"/>
                  </a:lnTo>
                  <a:lnTo>
                    <a:pt x="22" y="41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1" name="Rectangle 101"/>
            <p:cNvSpPr>
              <a:spLocks noChangeArrowheads="1"/>
            </p:cNvSpPr>
            <p:nvPr/>
          </p:nvSpPr>
          <p:spPr bwMode="auto">
            <a:xfrm>
              <a:off x="4582" y="461"/>
              <a:ext cx="6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2" name="Freeform 102"/>
            <p:cNvSpPr>
              <a:spLocks/>
            </p:cNvSpPr>
            <p:nvPr/>
          </p:nvSpPr>
          <p:spPr bwMode="auto">
            <a:xfrm>
              <a:off x="4529" y="382"/>
              <a:ext cx="46" cy="38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5" y="38"/>
                </a:cxn>
                <a:cxn ang="0">
                  <a:pos x="22" y="38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6" h="38">
                  <a:moveTo>
                    <a:pt x="17" y="29"/>
                  </a:moveTo>
                  <a:lnTo>
                    <a:pt x="7" y="17"/>
                  </a:lnTo>
                  <a:lnTo>
                    <a:pt x="0" y="24"/>
                  </a:lnTo>
                  <a:lnTo>
                    <a:pt x="15" y="38"/>
                  </a:lnTo>
                  <a:lnTo>
                    <a:pt x="22" y="38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3" name="Rectangle 103"/>
            <p:cNvSpPr>
              <a:spLocks noChangeArrowheads="1"/>
            </p:cNvSpPr>
            <p:nvPr/>
          </p:nvSpPr>
          <p:spPr bwMode="auto">
            <a:xfrm>
              <a:off x="4582" y="408"/>
              <a:ext cx="1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4" name="Freeform 104"/>
            <p:cNvSpPr>
              <a:spLocks/>
            </p:cNvSpPr>
            <p:nvPr/>
          </p:nvSpPr>
          <p:spPr bwMode="auto">
            <a:xfrm>
              <a:off x="4529" y="329"/>
              <a:ext cx="46" cy="41"/>
            </a:xfrm>
            <a:custGeom>
              <a:avLst/>
              <a:gdLst/>
              <a:ahLst/>
              <a:cxnLst>
                <a:cxn ang="0">
                  <a:pos x="17" y="31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5" y="41"/>
                </a:cxn>
                <a:cxn ang="0">
                  <a:pos x="22" y="41"/>
                </a:cxn>
                <a:cxn ang="0">
                  <a:pos x="46" y="5"/>
                </a:cxn>
                <a:cxn ang="0">
                  <a:pos x="38" y="0"/>
                </a:cxn>
                <a:cxn ang="0">
                  <a:pos x="17" y="31"/>
                </a:cxn>
              </a:cxnLst>
              <a:rect l="0" t="0" r="r" b="b"/>
              <a:pathLst>
                <a:path w="46" h="41">
                  <a:moveTo>
                    <a:pt x="17" y="31"/>
                  </a:moveTo>
                  <a:lnTo>
                    <a:pt x="7" y="17"/>
                  </a:lnTo>
                  <a:lnTo>
                    <a:pt x="0" y="24"/>
                  </a:lnTo>
                  <a:lnTo>
                    <a:pt x="15" y="41"/>
                  </a:lnTo>
                  <a:lnTo>
                    <a:pt x="22" y="41"/>
                  </a:lnTo>
                  <a:lnTo>
                    <a:pt x="46" y="5"/>
                  </a:lnTo>
                  <a:lnTo>
                    <a:pt x="38" y="0"/>
                  </a:lnTo>
                  <a:lnTo>
                    <a:pt x="17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5" name="Rectangle 105"/>
            <p:cNvSpPr>
              <a:spLocks noChangeArrowheads="1"/>
            </p:cNvSpPr>
            <p:nvPr/>
          </p:nvSpPr>
          <p:spPr bwMode="auto">
            <a:xfrm>
              <a:off x="4582" y="355"/>
              <a:ext cx="1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6" name="Rectangle 106"/>
            <p:cNvSpPr>
              <a:spLocks noChangeArrowheads="1"/>
            </p:cNvSpPr>
            <p:nvPr/>
          </p:nvSpPr>
          <p:spPr bwMode="auto">
            <a:xfrm>
              <a:off x="4587" y="269"/>
              <a:ext cx="55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7" name="Freeform 107"/>
            <p:cNvSpPr>
              <a:spLocks noEditPoints="1"/>
            </p:cNvSpPr>
            <p:nvPr/>
          </p:nvSpPr>
          <p:spPr bwMode="auto">
            <a:xfrm>
              <a:off x="4498" y="245"/>
              <a:ext cx="280" cy="326"/>
            </a:xfrm>
            <a:custGeom>
              <a:avLst/>
              <a:gdLst/>
              <a:ahLst/>
              <a:cxnLst>
                <a:cxn ang="0">
                  <a:pos x="97" y="86"/>
                </a:cxn>
                <a:cxn ang="0">
                  <a:pos x="97" y="17"/>
                </a:cxn>
                <a:cxn ang="0">
                  <a:pos x="97" y="13"/>
                </a:cxn>
                <a:cxn ang="0">
                  <a:pos x="93" y="13"/>
                </a:cxn>
                <a:cxn ang="0">
                  <a:pos x="70" y="13"/>
                </a:cxn>
                <a:cxn ang="0">
                  <a:pos x="70" y="0"/>
                </a:cxn>
                <a:cxn ang="0">
                  <a:pos x="27" y="0"/>
                </a:cxn>
                <a:cxn ang="0">
                  <a:pos x="27" y="13"/>
                </a:cxn>
                <a:cxn ang="0">
                  <a:pos x="4" y="13"/>
                </a:cxn>
                <a:cxn ang="0">
                  <a:pos x="0" y="13"/>
                </a:cxn>
                <a:cxn ang="0">
                  <a:pos x="0" y="17"/>
                </a:cxn>
                <a:cxn ang="0">
                  <a:pos x="0" y="127"/>
                </a:cxn>
                <a:cxn ang="0">
                  <a:pos x="0" y="131"/>
                </a:cxn>
                <a:cxn ang="0">
                  <a:pos x="4" y="131"/>
                </a:cxn>
                <a:cxn ang="0">
                  <a:pos x="77" y="131"/>
                </a:cxn>
                <a:cxn ang="0">
                  <a:pos x="92" y="136"/>
                </a:cxn>
                <a:cxn ang="0">
                  <a:pos x="117" y="111"/>
                </a:cxn>
                <a:cxn ang="0">
                  <a:pos x="97" y="86"/>
                </a:cxn>
                <a:cxn ang="0">
                  <a:pos x="4" y="17"/>
                </a:cxn>
                <a:cxn ang="0">
                  <a:pos x="28" y="17"/>
                </a:cxn>
                <a:cxn ang="0">
                  <a:pos x="28" y="17"/>
                </a:cxn>
                <a:cxn ang="0">
                  <a:pos x="30" y="17"/>
                </a:cxn>
                <a:cxn ang="0">
                  <a:pos x="30" y="4"/>
                </a:cxn>
                <a:cxn ang="0">
                  <a:pos x="67" y="4"/>
                </a:cxn>
                <a:cxn ang="0">
                  <a:pos x="67" y="17"/>
                </a:cxn>
                <a:cxn ang="0">
                  <a:pos x="68" y="17"/>
                </a:cxn>
                <a:cxn ang="0">
                  <a:pos x="68" y="17"/>
                </a:cxn>
                <a:cxn ang="0">
                  <a:pos x="93" y="17"/>
                </a:cxn>
                <a:cxn ang="0">
                  <a:pos x="93" y="22"/>
                </a:cxn>
                <a:cxn ang="0">
                  <a:pos x="4" y="22"/>
                </a:cxn>
                <a:cxn ang="0">
                  <a:pos x="4" y="26"/>
                </a:cxn>
                <a:cxn ang="0">
                  <a:pos x="93" y="26"/>
                </a:cxn>
                <a:cxn ang="0">
                  <a:pos x="93" y="86"/>
                </a:cxn>
                <a:cxn ang="0">
                  <a:pos x="92" y="86"/>
                </a:cxn>
                <a:cxn ang="0">
                  <a:pos x="67" y="111"/>
                </a:cxn>
                <a:cxn ang="0">
                  <a:pos x="73" y="127"/>
                </a:cxn>
                <a:cxn ang="0">
                  <a:pos x="4" y="127"/>
                </a:cxn>
                <a:cxn ang="0">
                  <a:pos x="4" y="17"/>
                </a:cxn>
                <a:cxn ang="0">
                  <a:pos x="92" y="132"/>
                </a:cxn>
                <a:cxn ang="0">
                  <a:pos x="71" y="111"/>
                </a:cxn>
                <a:cxn ang="0">
                  <a:pos x="92" y="89"/>
                </a:cxn>
                <a:cxn ang="0">
                  <a:pos x="114" y="111"/>
                </a:cxn>
                <a:cxn ang="0">
                  <a:pos x="92" y="132"/>
                </a:cxn>
              </a:cxnLst>
              <a:rect l="0" t="0" r="r" b="b"/>
              <a:pathLst>
                <a:path w="117" h="136">
                  <a:moveTo>
                    <a:pt x="97" y="86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77" y="131"/>
                    <a:pt x="77" y="131"/>
                    <a:pt x="77" y="131"/>
                  </a:cubicBezTo>
                  <a:cubicBezTo>
                    <a:pt x="81" y="134"/>
                    <a:pt x="87" y="136"/>
                    <a:pt x="92" y="136"/>
                  </a:cubicBezTo>
                  <a:cubicBezTo>
                    <a:pt x="106" y="136"/>
                    <a:pt x="117" y="125"/>
                    <a:pt x="117" y="111"/>
                  </a:cubicBezTo>
                  <a:cubicBezTo>
                    <a:pt x="117" y="98"/>
                    <a:pt x="108" y="88"/>
                    <a:pt x="97" y="86"/>
                  </a:cubicBezTo>
                  <a:close/>
                  <a:moveTo>
                    <a:pt x="4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93" y="86"/>
                    <a:pt x="92" y="86"/>
                    <a:pt x="92" y="86"/>
                  </a:cubicBezTo>
                  <a:cubicBezTo>
                    <a:pt x="78" y="86"/>
                    <a:pt x="67" y="97"/>
                    <a:pt x="67" y="111"/>
                  </a:cubicBezTo>
                  <a:cubicBezTo>
                    <a:pt x="67" y="117"/>
                    <a:pt x="69" y="123"/>
                    <a:pt x="73" y="127"/>
                  </a:cubicBezTo>
                  <a:cubicBezTo>
                    <a:pt x="4" y="127"/>
                    <a:pt x="4" y="127"/>
                    <a:pt x="4" y="127"/>
                  </a:cubicBezTo>
                  <a:lnTo>
                    <a:pt x="4" y="17"/>
                  </a:lnTo>
                  <a:close/>
                  <a:moveTo>
                    <a:pt x="92" y="132"/>
                  </a:moveTo>
                  <a:cubicBezTo>
                    <a:pt x="80" y="132"/>
                    <a:pt x="71" y="123"/>
                    <a:pt x="71" y="111"/>
                  </a:cubicBezTo>
                  <a:cubicBezTo>
                    <a:pt x="71" y="99"/>
                    <a:pt x="80" y="89"/>
                    <a:pt x="92" y="89"/>
                  </a:cubicBezTo>
                  <a:cubicBezTo>
                    <a:pt x="104" y="89"/>
                    <a:pt x="114" y="99"/>
                    <a:pt x="114" y="111"/>
                  </a:cubicBezTo>
                  <a:cubicBezTo>
                    <a:pt x="114" y="123"/>
                    <a:pt x="104" y="132"/>
                    <a:pt x="92" y="13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88" name="Freeform 108"/>
            <p:cNvSpPr>
              <a:spLocks noEditPoints="1"/>
            </p:cNvSpPr>
            <p:nvPr/>
          </p:nvSpPr>
          <p:spPr bwMode="auto">
            <a:xfrm>
              <a:off x="4685" y="480"/>
              <a:ext cx="69" cy="60"/>
            </a:xfrm>
            <a:custGeom>
              <a:avLst/>
              <a:gdLst/>
              <a:ahLst/>
              <a:cxnLst>
                <a:cxn ang="0">
                  <a:pos x="26" y="29"/>
                </a:cxn>
                <a:cxn ang="0">
                  <a:pos x="19" y="19"/>
                </a:cxn>
                <a:cxn ang="0">
                  <a:pos x="0" y="36"/>
                </a:cxn>
                <a:cxn ang="0">
                  <a:pos x="19" y="60"/>
                </a:cxn>
                <a:cxn ang="0">
                  <a:pos x="36" y="60"/>
                </a:cxn>
                <a:cxn ang="0">
                  <a:pos x="69" y="14"/>
                </a:cxn>
                <a:cxn ang="0">
                  <a:pos x="48" y="0"/>
                </a:cxn>
                <a:cxn ang="0">
                  <a:pos x="26" y="29"/>
                </a:cxn>
                <a:cxn ang="0">
                  <a:pos x="57" y="17"/>
                </a:cxn>
                <a:cxn ang="0">
                  <a:pos x="31" y="50"/>
                </a:cxn>
                <a:cxn ang="0">
                  <a:pos x="24" y="50"/>
                </a:cxn>
                <a:cxn ang="0">
                  <a:pos x="12" y="36"/>
                </a:cxn>
                <a:cxn ang="0">
                  <a:pos x="16" y="31"/>
                </a:cxn>
                <a:cxn ang="0">
                  <a:pos x="26" y="43"/>
                </a:cxn>
                <a:cxn ang="0">
                  <a:pos x="50" y="12"/>
                </a:cxn>
                <a:cxn ang="0">
                  <a:pos x="57" y="17"/>
                </a:cxn>
              </a:cxnLst>
              <a:rect l="0" t="0" r="r" b="b"/>
              <a:pathLst>
                <a:path w="69" h="60">
                  <a:moveTo>
                    <a:pt x="26" y="29"/>
                  </a:moveTo>
                  <a:lnTo>
                    <a:pt x="19" y="19"/>
                  </a:lnTo>
                  <a:lnTo>
                    <a:pt x="0" y="36"/>
                  </a:lnTo>
                  <a:lnTo>
                    <a:pt x="19" y="60"/>
                  </a:lnTo>
                  <a:lnTo>
                    <a:pt x="36" y="60"/>
                  </a:lnTo>
                  <a:lnTo>
                    <a:pt x="69" y="14"/>
                  </a:lnTo>
                  <a:lnTo>
                    <a:pt x="48" y="0"/>
                  </a:lnTo>
                  <a:lnTo>
                    <a:pt x="26" y="29"/>
                  </a:lnTo>
                  <a:close/>
                  <a:moveTo>
                    <a:pt x="57" y="17"/>
                  </a:moveTo>
                  <a:lnTo>
                    <a:pt x="31" y="50"/>
                  </a:lnTo>
                  <a:lnTo>
                    <a:pt x="24" y="50"/>
                  </a:lnTo>
                  <a:lnTo>
                    <a:pt x="12" y="36"/>
                  </a:lnTo>
                  <a:lnTo>
                    <a:pt x="16" y="31"/>
                  </a:lnTo>
                  <a:lnTo>
                    <a:pt x="26" y="43"/>
                  </a:lnTo>
                  <a:lnTo>
                    <a:pt x="50" y="12"/>
                  </a:lnTo>
                  <a:lnTo>
                    <a:pt x="57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191" name="Group 111"/>
          <p:cNvGrpSpPr>
            <a:grpSpLocks noChangeAspect="1"/>
          </p:cNvGrpSpPr>
          <p:nvPr/>
        </p:nvGrpSpPr>
        <p:grpSpPr bwMode="auto">
          <a:xfrm>
            <a:off x="8055775" y="271463"/>
            <a:ext cx="768350" cy="768350"/>
            <a:chOff x="5071" y="171"/>
            <a:chExt cx="484" cy="484"/>
          </a:xfrm>
        </p:grpSpPr>
        <p:sp>
          <p:nvSpPr>
            <p:cNvPr id="46192" name="Freeform 112"/>
            <p:cNvSpPr>
              <a:spLocks/>
            </p:cNvSpPr>
            <p:nvPr/>
          </p:nvSpPr>
          <p:spPr bwMode="auto">
            <a:xfrm>
              <a:off x="5220" y="485"/>
              <a:ext cx="45" cy="40"/>
            </a:xfrm>
            <a:custGeom>
              <a:avLst/>
              <a:gdLst/>
              <a:ahLst/>
              <a:cxnLst>
                <a:cxn ang="0">
                  <a:pos x="17" y="28"/>
                </a:cxn>
                <a:cxn ang="0">
                  <a:pos x="7" y="16"/>
                </a:cxn>
                <a:cxn ang="0">
                  <a:pos x="0" y="24"/>
                </a:cxn>
                <a:cxn ang="0">
                  <a:pos x="14" y="40"/>
                </a:cxn>
                <a:cxn ang="0">
                  <a:pos x="21" y="38"/>
                </a:cxn>
                <a:cxn ang="0">
                  <a:pos x="45" y="4"/>
                </a:cxn>
                <a:cxn ang="0">
                  <a:pos x="38" y="0"/>
                </a:cxn>
                <a:cxn ang="0">
                  <a:pos x="17" y="28"/>
                </a:cxn>
              </a:cxnLst>
              <a:rect l="0" t="0" r="r" b="b"/>
              <a:pathLst>
                <a:path w="45" h="40">
                  <a:moveTo>
                    <a:pt x="17" y="28"/>
                  </a:moveTo>
                  <a:lnTo>
                    <a:pt x="7" y="16"/>
                  </a:lnTo>
                  <a:lnTo>
                    <a:pt x="0" y="24"/>
                  </a:lnTo>
                  <a:lnTo>
                    <a:pt x="14" y="40"/>
                  </a:lnTo>
                  <a:lnTo>
                    <a:pt x="21" y="38"/>
                  </a:lnTo>
                  <a:lnTo>
                    <a:pt x="45" y="4"/>
                  </a:lnTo>
                  <a:lnTo>
                    <a:pt x="38" y="0"/>
                  </a:lnTo>
                  <a:lnTo>
                    <a:pt x="17" y="28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3" name="Rectangle 113"/>
            <p:cNvSpPr>
              <a:spLocks noChangeArrowheads="1"/>
            </p:cNvSpPr>
            <p:nvPr/>
          </p:nvSpPr>
          <p:spPr bwMode="auto">
            <a:xfrm>
              <a:off x="5273" y="511"/>
              <a:ext cx="62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4" name="Freeform 114"/>
            <p:cNvSpPr>
              <a:spLocks noEditPoints="1"/>
            </p:cNvSpPr>
            <p:nvPr/>
          </p:nvSpPr>
          <p:spPr bwMode="auto">
            <a:xfrm>
              <a:off x="5071" y="171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5" name="Freeform 115"/>
            <p:cNvSpPr>
              <a:spLocks/>
            </p:cNvSpPr>
            <p:nvPr/>
          </p:nvSpPr>
          <p:spPr bwMode="auto">
            <a:xfrm>
              <a:off x="5220" y="432"/>
              <a:ext cx="45" cy="41"/>
            </a:xfrm>
            <a:custGeom>
              <a:avLst/>
              <a:gdLst/>
              <a:ahLst/>
              <a:cxnLst>
                <a:cxn ang="0">
                  <a:pos x="17" y="31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14" y="41"/>
                </a:cxn>
                <a:cxn ang="0">
                  <a:pos x="21" y="41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31"/>
                </a:cxn>
              </a:cxnLst>
              <a:rect l="0" t="0" r="r" b="b"/>
              <a:pathLst>
                <a:path w="45" h="41">
                  <a:moveTo>
                    <a:pt x="17" y="31"/>
                  </a:moveTo>
                  <a:lnTo>
                    <a:pt x="7" y="19"/>
                  </a:lnTo>
                  <a:lnTo>
                    <a:pt x="0" y="24"/>
                  </a:lnTo>
                  <a:lnTo>
                    <a:pt x="14" y="41"/>
                  </a:lnTo>
                  <a:lnTo>
                    <a:pt x="21" y="41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17" y="3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6" name="Rectangle 116"/>
            <p:cNvSpPr>
              <a:spLocks noChangeArrowheads="1"/>
            </p:cNvSpPr>
            <p:nvPr/>
          </p:nvSpPr>
          <p:spPr bwMode="auto">
            <a:xfrm>
              <a:off x="5273" y="461"/>
              <a:ext cx="67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7" name="Freeform 117"/>
            <p:cNvSpPr>
              <a:spLocks/>
            </p:cNvSpPr>
            <p:nvPr/>
          </p:nvSpPr>
          <p:spPr bwMode="auto">
            <a:xfrm>
              <a:off x="5220" y="379"/>
              <a:ext cx="45" cy="41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7" y="20"/>
                </a:cxn>
                <a:cxn ang="0">
                  <a:pos x="0" y="24"/>
                </a:cxn>
                <a:cxn ang="0">
                  <a:pos x="14" y="41"/>
                </a:cxn>
                <a:cxn ang="0">
                  <a:pos x="21" y="41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32"/>
                </a:cxn>
              </a:cxnLst>
              <a:rect l="0" t="0" r="r" b="b"/>
              <a:pathLst>
                <a:path w="45" h="41">
                  <a:moveTo>
                    <a:pt x="17" y="32"/>
                  </a:moveTo>
                  <a:lnTo>
                    <a:pt x="7" y="20"/>
                  </a:lnTo>
                  <a:lnTo>
                    <a:pt x="0" y="24"/>
                  </a:lnTo>
                  <a:lnTo>
                    <a:pt x="14" y="41"/>
                  </a:lnTo>
                  <a:lnTo>
                    <a:pt x="21" y="41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8" name="Rectangle 118"/>
            <p:cNvSpPr>
              <a:spLocks noChangeArrowheads="1"/>
            </p:cNvSpPr>
            <p:nvPr/>
          </p:nvSpPr>
          <p:spPr bwMode="auto">
            <a:xfrm>
              <a:off x="5273" y="408"/>
              <a:ext cx="112" cy="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99" name="Freeform 119"/>
            <p:cNvSpPr>
              <a:spLocks/>
            </p:cNvSpPr>
            <p:nvPr/>
          </p:nvSpPr>
          <p:spPr bwMode="auto">
            <a:xfrm>
              <a:off x="5220" y="329"/>
              <a:ext cx="45" cy="38"/>
            </a:xfrm>
            <a:custGeom>
              <a:avLst/>
              <a:gdLst/>
              <a:ahLst/>
              <a:cxnLst>
                <a:cxn ang="0">
                  <a:pos x="17" y="29"/>
                </a:cxn>
                <a:cxn ang="0">
                  <a:pos x="7" y="17"/>
                </a:cxn>
                <a:cxn ang="0">
                  <a:pos x="0" y="24"/>
                </a:cxn>
                <a:cxn ang="0">
                  <a:pos x="14" y="38"/>
                </a:cxn>
                <a:cxn ang="0">
                  <a:pos x="21" y="38"/>
                </a:cxn>
                <a:cxn ang="0">
                  <a:pos x="45" y="5"/>
                </a:cxn>
                <a:cxn ang="0">
                  <a:pos x="38" y="0"/>
                </a:cxn>
                <a:cxn ang="0">
                  <a:pos x="17" y="29"/>
                </a:cxn>
              </a:cxnLst>
              <a:rect l="0" t="0" r="r" b="b"/>
              <a:pathLst>
                <a:path w="45" h="38">
                  <a:moveTo>
                    <a:pt x="17" y="29"/>
                  </a:moveTo>
                  <a:lnTo>
                    <a:pt x="7" y="17"/>
                  </a:lnTo>
                  <a:lnTo>
                    <a:pt x="0" y="24"/>
                  </a:lnTo>
                  <a:lnTo>
                    <a:pt x="14" y="38"/>
                  </a:lnTo>
                  <a:lnTo>
                    <a:pt x="21" y="38"/>
                  </a:lnTo>
                  <a:lnTo>
                    <a:pt x="45" y="5"/>
                  </a:lnTo>
                  <a:lnTo>
                    <a:pt x="38" y="0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00" name="Rectangle 120"/>
            <p:cNvSpPr>
              <a:spLocks noChangeArrowheads="1"/>
            </p:cNvSpPr>
            <p:nvPr/>
          </p:nvSpPr>
          <p:spPr bwMode="auto">
            <a:xfrm>
              <a:off x="5273" y="356"/>
              <a:ext cx="112" cy="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01" name="Rectangle 121"/>
            <p:cNvSpPr>
              <a:spLocks noChangeArrowheads="1"/>
            </p:cNvSpPr>
            <p:nvPr/>
          </p:nvSpPr>
          <p:spPr bwMode="auto">
            <a:xfrm>
              <a:off x="5277" y="267"/>
              <a:ext cx="56" cy="1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02" name="Freeform 122"/>
            <p:cNvSpPr>
              <a:spLocks noEditPoints="1"/>
            </p:cNvSpPr>
            <p:nvPr/>
          </p:nvSpPr>
          <p:spPr bwMode="auto">
            <a:xfrm>
              <a:off x="5189" y="245"/>
              <a:ext cx="280" cy="326"/>
            </a:xfrm>
            <a:custGeom>
              <a:avLst/>
              <a:gdLst/>
              <a:ahLst/>
              <a:cxnLst>
                <a:cxn ang="0">
                  <a:pos x="97" y="86"/>
                </a:cxn>
                <a:cxn ang="0">
                  <a:pos x="97" y="17"/>
                </a:cxn>
                <a:cxn ang="0">
                  <a:pos x="97" y="13"/>
                </a:cxn>
                <a:cxn ang="0">
                  <a:pos x="93" y="13"/>
                </a:cxn>
                <a:cxn ang="0">
                  <a:pos x="70" y="13"/>
                </a:cxn>
                <a:cxn ang="0">
                  <a:pos x="70" y="0"/>
                </a:cxn>
                <a:cxn ang="0">
                  <a:pos x="27" y="0"/>
                </a:cxn>
                <a:cxn ang="0">
                  <a:pos x="27" y="13"/>
                </a:cxn>
                <a:cxn ang="0">
                  <a:pos x="4" y="13"/>
                </a:cxn>
                <a:cxn ang="0">
                  <a:pos x="0" y="13"/>
                </a:cxn>
                <a:cxn ang="0">
                  <a:pos x="0" y="17"/>
                </a:cxn>
                <a:cxn ang="0">
                  <a:pos x="0" y="127"/>
                </a:cxn>
                <a:cxn ang="0">
                  <a:pos x="0" y="130"/>
                </a:cxn>
                <a:cxn ang="0">
                  <a:pos x="4" y="130"/>
                </a:cxn>
                <a:cxn ang="0">
                  <a:pos x="77" y="130"/>
                </a:cxn>
                <a:cxn ang="0">
                  <a:pos x="92" y="136"/>
                </a:cxn>
                <a:cxn ang="0">
                  <a:pos x="117" y="110"/>
                </a:cxn>
                <a:cxn ang="0">
                  <a:pos x="97" y="86"/>
                </a:cxn>
                <a:cxn ang="0">
                  <a:pos x="4" y="17"/>
                </a:cxn>
                <a:cxn ang="0">
                  <a:pos x="28" y="17"/>
                </a:cxn>
                <a:cxn ang="0">
                  <a:pos x="28" y="17"/>
                </a:cxn>
                <a:cxn ang="0">
                  <a:pos x="30" y="17"/>
                </a:cxn>
                <a:cxn ang="0">
                  <a:pos x="30" y="4"/>
                </a:cxn>
                <a:cxn ang="0">
                  <a:pos x="67" y="4"/>
                </a:cxn>
                <a:cxn ang="0">
                  <a:pos x="67" y="17"/>
                </a:cxn>
                <a:cxn ang="0">
                  <a:pos x="68" y="17"/>
                </a:cxn>
                <a:cxn ang="0">
                  <a:pos x="68" y="17"/>
                </a:cxn>
                <a:cxn ang="0">
                  <a:pos x="93" y="17"/>
                </a:cxn>
                <a:cxn ang="0">
                  <a:pos x="93" y="22"/>
                </a:cxn>
                <a:cxn ang="0">
                  <a:pos x="4" y="22"/>
                </a:cxn>
                <a:cxn ang="0">
                  <a:pos x="4" y="26"/>
                </a:cxn>
                <a:cxn ang="0">
                  <a:pos x="93" y="26"/>
                </a:cxn>
                <a:cxn ang="0">
                  <a:pos x="93" y="85"/>
                </a:cxn>
                <a:cxn ang="0">
                  <a:pos x="92" y="85"/>
                </a:cxn>
                <a:cxn ang="0">
                  <a:pos x="67" y="110"/>
                </a:cxn>
                <a:cxn ang="0">
                  <a:pos x="73" y="127"/>
                </a:cxn>
                <a:cxn ang="0">
                  <a:pos x="4" y="127"/>
                </a:cxn>
                <a:cxn ang="0">
                  <a:pos x="4" y="17"/>
                </a:cxn>
                <a:cxn ang="0">
                  <a:pos x="92" y="132"/>
                </a:cxn>
                <a:cxn ang="0">
                  <a:pos x="71" y="110"/>
                </a:cxn>
                <a:cxn ang="0">
                  <a:pos x="92" y="89"/>
                </a:cxn>
                <a:cxn ang="0">
                  <a:pos x="114" y="110"/>
                </a:cxn>
                <a:cxn ang="0">
                  <a:pos x="92" y="132"/>
                </a:cxn>
              </a:cxnLst>
              <a:rect l="0" t="0" r="r" b="b"/>
              <a:pathLst>
                <a:path w="117" h="136">
                  <a:moveTo>
                    <a:pt x="97" y="86"/>
                  </a:moveTo>
                  <a:cubicBezTo>
                    <a:pt x="97" y="17"/>
                    <a:pt x="97" y="17"/>
                    <a:pt x="97" y="17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4" y="130"/>
                    <a:pt x="4" y="130"/>
                    <a:pt x="4" y="130"/>
                  </a:cubicBezTo>
                  <a:cubicBezTo>
                    <a:pt x="77" y="130"/>
                    <a:pt x="77" y="130"/>
                    <a:pt x="77" y="130"/>
                  </a:cubicBezTo>
                  <a:cubicBezTo>
                    <a:pt x="81" y="134"/>
                    <a:pt x="87" y="136"/>
                    <a:pt x="92" y="136"/>
                  </a:cubicBezTo>
                  <a:cubicBezTo>
                    <a:pt x="106" y="136"/>
                    <a:pt x="117" y="124"/>
                    <a:pt x="117" y="110"/>
                  </a:cubicBezTo>
                  <a:cubicBezTo>
                    <a:pt x="117" y="98"/>
                    <a:pt x="108" y="88"/>
                    <a:pt x="97" y="86"/>
                  </a:cubicBezTo>
                  <a:close/>
                  <a:moveTo>
                    <a:pt x="4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93" y="85"/>
                    <a:pt x="92" y="85"/>
                    <a:pt x="92" y="85"/>
                  </a:cubicBezTo>
                  <a:cubicBezTo>
                    <a:pt x="78" y="85"/>
                    <a:pt x="67" y="96"/>
                    <a:pt x="67" y="110"/>
                  </a:cubicBezTo>
                  <a:cubicBezTo>
                    <a:pt x="67" y="117"/>
                    <a:pt x="69" y="122"/>
                    <a:pt x="73" y="127"/>
                  </a:cubicBezTo>
                  <a:cubicBezTo>
                    <a:pt x="4" y="127"/>
                    <a:pt x="4" y="127"/>
                    <a:pt x="4" y="127"/>
                  </a:cubicBezTo>
                  <a:lnTo>
                    <a:pt x="4" y="17"/>
                  </a:lnTo>
                  <a:close/>
                  <a:moveTo>
                    <a:pt x="92" y="132"/>
                  </a:moveTo>
                  <a:cubicBezTo>
                    <a:pt x="80" y="132"/>
                    <a:pt x="71" y="122"/>
                    <a:pt x="71" y="110"/>
                  </a:cubicBezTo>
                  <a:cubicBezTo>
                    <a:pt x="71" y="99"/>
                    <a:pt x="80" y="89"/>
                    <a:pt x="92" y="89"/>
                  </a:cubicBezTo>
                  <a:cubicBezTo>
                    <a:pt x="104" y="89"/>
                    <a:pt x="114" y="99"/>
                    <a:pt x="114" y="110"/>
                  </a:cubicBezTo>
                  <a:cubicBezTo>
                    <a:pt x="114" y="122"/>
                    <a:pt x="104" y="132"/>
                    <a:pt x="92" y="13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03" name="Freeform 123"/>
            <p:cNvSpPr>
              <a:spLocks noEditPoints="1"/>
            </p:cNvSpPr>
            <p:nvPr/>
          </p:nvSpPr>
          <p:spPr bwMode="auto">
            <a:xfrm>
              <a:off x="5376" y="478"/>
              <a:ext cx="69" cy="62"/>
            </a:xfrm>
            <a:custGeom>
              <a:avLst/>
              <a:gdLst/>
              <a:ahLst/>
              <a:cxnLst>
                <a:cxn ang="0">
                  <a:pos x="26" y="31"/>
                </a:cxn>
                <a:cxn ang="0">
                  <a:pos x="19" y="21"/>
                </a:cxn>
                <a:cxn ang="0">
                  <a:pos x="0" y="38"/>
                </a:cxn>
                <a:cxn ang="0">
                  <a:pos x="19" y="62"/>
                </a:cxn>
                <a:cxn ang="0">
                  <a:pos x="36" y="62"/>
                </a:cxn>
                <a:cxn ang="0">
                  <a:pos x="69" y="16"/>
                </a:cxn>
                <a:cxn ang="0">
                  <a:pos x="48" y="0"/>
                </a:cxn>
                <a:cxn ang="0">
                  <a:pos x="26" y="31"/>
                </a:cxn>
                <a:cxn ang="0">
                  <a:pos x="57" y="16"/>
                </a:cxn>
                <a:cxn ang="0">
                  <a:pos x="31" y="52"/>
                </a:cxn>
                <a:cxn ang="0">
                  <a:pos x="24" y="52"/>
                </a:cxn>
                <a:cxn ang="0">
                  <a:pos x="12" y="38"/>
                </a:cxn>
                <a:cxn ang="0">
                  <a:pos x="16" y="33"/>
                </a:cxn>
                <a:cxn ang="0">
                  <a:pos x="26" y="45"/>
                </a:cxn>
                <a:cxn ang="0">
                  <a:pos x="50" y="11"/>
                </a:cxn>
                <a:cxn ang="0">
                  <a:pos x="57" y="16"/>
                </a:cxn>
              </a:cxnLst>
              <a:rect l="0" t="0" r="r" b="b"/>
              <a:pathLst>
                <a:path w="69" h="62">
                  <a:moveTo>
                    <a:pt x="26" y="31"/>
                  </a:moveTo>
                  <a:lnTo>
                    <a:pt x="19" y="21"/>
                  </a:lnTo>
                  <a:lnTo>
                    <a:pt x="0" y="38"/>
                  </a:lnTo>
                  <a:lnTo>
                    <a:pt x="19" y="62"/>
                  </a:lnTo>
                  <a:lnTo>
                    <a:pt x="36" y="62"/>
                  </a:lnTo>
                  <a:lnTo>
                    <a:pt x="69" y="16"/>
                  </a:lnTo>
                  <a:lnTo>
                    <a:pt x="48" y="0"/>
                  </a:lnTo>
                  <a:lnTo>
                    <a:pt x="26" y="31"/>
                  </a:lnTo>
                  <a:close/>
                  <a:moveTo>
                    <a:pt x="57" y="16"/>
                  </a:moveTo>
                  <a:lnTo>
                    <a:pt x="31" y="52"/>
                  </a:lnTo>
                  <a:lnTo>
                    <a:pt x="24" y="52"/>
                  </a:lnTo>
                  <a:lnTo>
                    <a:pt x="12" y="38"/>
                  </a:lnTo>
                  <a:lnTo>
                    <a:pt x="16" y="33"/>
                  </a:lnTo>
                  <a:lnTo>
                    <a:pt x="26" y="45"/>
                  </a:lnTo>
                  <a:lnTo>
                    <a:pt x="50" y="11"/>
                  </a:lnTo>
                  <a:lnTo>
                    <a:pt x="57" y="1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06" name="Group 126"/>
          <p:cNvGrpSpPr>
            <a:grpSpLocks noChangeAspect="1"/>
          </p:cNvGrpSpPr>
          <p:nvPr/>
        </p:nvGrpSpPr>
        <p:grpSpPr bwMode="auto">
          <a:xfrm>
            <a:off x="341331" y="1504951"/>
            <a:ext cx="838244" cy="835025"/>
            <a:chOff x="215" y="948"/>
            <a:chExt cx="528" cy="526"/>
          </a:xfrm>
        </p:grpSpPr>
        <p:sp>
          <p:nvSpPr>
            <p:cNvPr id="46207" name="Oval 127"/>
            <p:cNvSpPr>
              <a:spLocks noChangeArrowheads="1"/>
            </p:cNvSpPr>
            <p:nvPr/>
          </p:nvSpPr>
          <p:spPr bwMode="auto">
            <a:xfrm>
              <a:off x="215" y="948"/>
              <a:ext cx="528" cy="526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08" name="Freeform 128"/>
            <p:cNvSpPr>
              <a:spLocks noEditPoints="1"/>
            </p:cNvSpPr>
            <p:nvPr/>
          </p:nvSpPr>
          <p:spPr bwMode="auto">
            <a:xfrm>
              <a:off x="237" y="9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09" name="Freeform 129"/>
            <p:cNvSpPr>
              <a:spLocks noEditPoints="1"/>
            </p:cNvSpPr>
            <p:nvPr/>
          </p:nvSpPr>
          <p:spPr bwMode="auto">
            <a:xfrm>
              <a:off x="335" y="1110"/>
              <a:ext cx="288" cy="218"/>
            </a:xfrm>
            <a:custGeom>
              <a:avLst/>
              <a:gdLst/>
              <a:ahLst/>
              <a:cxnLst>
                <a:cxn ang="0">
                  <a:pos x="0" y="192"/>
                </a:cxn>
                <a:cxn ang="0">
                  <a:pos x="125" y="192"/>
                </a:cxn>
                <a:cxn ang="0">
                  <a:pos x="125" y="209"/>
                </a:cxn>
                <a:cxn ang="0">
                  <a:pos x="110" y="209"/>
                </a:cxn>
                <a:cxn ang="0">
                  <a:pos x="110" y="218"/>
                </a:cxn>
                <a:cxn ang="0">
                  <a:pos x="178" y="218"/>
                </a:cxn>
                <a:cxn ang="0">
                  <a:pos x="178" y="209"/>
                </a:cxn>
                <a:cxn ang="0">
                  <a:pos x="163" y="209"/>
                </a:cxn>
                <a:cxn ang="0">
                  <a:pos x="163" y="192"/>
                </a:cxn>
                <a:cxn ang="0">
                  <a:pos x="288" y="192"/>
                </a:cxn>
                <a:cxn ang="0">
                  <a:pos x="288" y="0"/>
                </a:cxn>
                <a:cxn ang="0">
                  <a:pos x="0" y="0"/>
                </a:cxn>
                <a:cxn ang="0">
                  <a:pos x="0" y="192"/>
                </a:cxn>
                <a:cxn ang="0">
                  <a:pos x="154" y="192"/>
                </a:cxn>
                <a:cxn ang="0">
                  <a:pos x="154" y="209"/>
                </a:cxn>
                <a:cxn ang="0">
                  <a:pos x="134" y="209"/>
                </a:cxn>
                <a:cxn ang="0">
                  <a:pos x="134" y="192"/>
                </a:cxn>
                <a:cxn ang="0">
                  <a:pos x="154" y="192"/>
                </a:cxn>
                <a:cxn ang="0">
                  <a:pos x="10" y="185"/>
                </a:cxn>
                <a:cxn ang="0">
                  <a:pos x="10" y="165"/>
                </a:cxn>
                <a:cxn ang="0">
                  <a:pos x="281" y="165"/>
                </a:cxn>
                <a:cxn ang="0">
                  <a:pos x="281" y="185"/>
                </a:cxn>
                <a:cxn ang="0">
                  <a:pos x="10" y="185"/>
                </a:cxn>
                <a:cxn ang="0">
                  <a:pos x="281" y="7"/>
                </a:cxn>
                <a:cxn ang="0">
                  <a:pos x="281" y="156"/>
                </a:cxn>
                <a:cxn ang="0">
                  <a:pos x="10" y="156"/>
                </a:cxn>
                <a:cxn ang="0">
                  <a:pos x="10" y="7"/>
                </a:cxn>
                <a:cxn ang="0">
                  <a:pos x="281" y="7"/>
                </a:cxn>
              </a:cxnLst>
              <a:rect l="0" t="0" r="r" b="b"/>
              <a:pathLst>
                <a:path w="288" h="218">
                  <a:moveTo>
                    <a:pt x="0" y="192"/>
                  </a:moveTo>
                  <a:lnTo>
                    <a:pt x="125" y="192"/>
                  </a:lnTo>
                  <a:lnTo>
                    <a:pt x="125" y="209"/>
                  </a:lnTo>
                  <a:lnTo>
                    <a:pt x="110" y="209"/>
                  </a:lnTo>
                  <a:lnTo>
                    <a:pt x="110" y="218"/>
                  </a:lnTo>
                  <a:lnTo>
                    <a:pt x="178" y="218"/>
                  </a:lnTo>
                  <a:lnTo>
                    <a:pt x="178" y="209"/>
                  </a:lnTo>
                  <a:lnTo>
                    <a:pt x="163" y="209"/>
                  </a:lnTo>
                  <a:lnTo>
                    <a:pt x="163" y="192"/>
                  </a:lnTo>
                  <a:lnTo>
                    <a:pt x="288" y="192"/>
                  </a:lnTo>
                  <a:lnTo>
                    <a:pt x="288" y="0"/>
                  </a:lnTo>
                  <a:lnTo>
                    <a:pt x="0" y="0"/>
                  </a:lnTo>
                  <a:lnTo>
                    <a:pt x="0" y="192"/>
                  </a:lnTo>
                  <a:close/>
                  <a:moveTo>
                    <a:pt x="154" y="192"/>
                  </a:moveTo>
                  <a:lnTo>
                    <a:pt x="154" y="209"/>
                  </a:lnTo>
                  <a:lnTo>
                    <a:pt x="134" y="209"/>
                  </a:lnTo>
                  <a:lnTo>
                    <a:pt x="134" y="192"/>
                  </a:lnTo>
                  <a:lnTo>
                    <a:pt x="154" y="192"/>
                  </a:lnTo>
                  <a:close/>
                  <a:moveTo>
                    <a:pt x="10" y="185"/>
                  </a:moveTo>
                  <a:lnTo>
                    <a:pt x="10" y="165"/>
                  </a:lnTo>
                  <a:lnTo>
                    <a:pt x="281" y="165"/>
                  </a:lnTo>
                  <a:lnTo>
                    <a:pt x="281" y="185"/>
                  </a:lnTo>
                  <a:lnTo>
                    <a:pt x="10" y="185"/>
                  </a:lnTo>
                  <a:close/>
                  <a:moveTo>
                    <a:pt x="281" y="7"/>
                  </a:moveTo>
                  <a:lnTo>
                    <a:pt x="281" y="156"/>
                  </a:lnTo>
                  <a:lnTo>
                    <a:pt x="10" y="156"/>
                  </a:lnTo>
                  <a:lnTo>
                    <a:pt x="10" y="7"/>
                  </a:lnTo>
                  <a:lnTo>
                    <a:pt x="281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0" name="Rectangle 130"/>
            <p:cNvSpPr>
              <a:spLocks noChangeArrowheads="1"/>
            </p:cNvSpPr>
            <p:nvPr/>
          </p:nvSpPr>
          <p:spPr bwMode="auto">
            <a:xfrm>
              <a:off x="400" y="1194"/>
              <a:ext cx="7" cy="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1" name="Rectangle 131"/>
            <p:cNvSpPr>
              <a:spLocks noChangeArrowheads="1"/>
            </p:cNvSpPr>
            <p:nvPr/>
          </p:nvSpPr>
          <p:spPr bwMode="auto">
            <a:xfrm>
              <a:off x="417" y="1144"/>
              <a:ext cx="7" cy="10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2" name="Rectangle 132"/>
            <p:cNvSpPr>
              <a:spLocks noChangeArrowheads="1"/>
            </p:cNvSpPr>
            <p:nvPr/>
          </p:nvSpPr>
          <p:spPr bwMode="auto">
            <a:xfrm>
              <a:off x="433" y="1153"/>
              <a:ext cx="8" cy="9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3" name="Rectangle 133"/>
            <p:cNvSpPr>
              <a:spLocks noChangeArrowheads="1"/>
            </p:cNvSpPr>
            <p:nvPr/>
          </p:nvSpPr>
          <p:spPr bwMode="auto">
            <a:xfrm>
              <a:off x="450" y="1170"/>
              <a:ext cx="7" cy="8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4" name="Rectangle 134"/>
            <p:cNvSpPr>
              <a:spLocks noChangeArrowheads="1"/>
            </p:cNvSpPr>
            <p:nvPr/>
          </p:nvSpPr>
          <p:spPr bwMode="auto">
            <a:xfrm>
              <a:off x="467" y="1182"/>
              <a:ext cx="7" cy="7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15" name="Rectangle 135"/>
            <p:cNvSpPr>
              <a:spLocks noChangeArrowheads="1"/>
            </p:cNvSpPr>
            <p:nvPr/>
          </p:nvSpPr>
          <p:spPr bwMode="auto">
            <a:xfrm>
              <a:off x="484" y="1194"/>
              <a:ext cx="7" cy="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6" name="Rectangle 136"/>
            <p:cNvSpPr>
              <a:spLocks noChangeArrowheads="1"/>
            </p:cNvSpPr>
            <p:nvPr/>
          </p:nvSpPr>
          <p:spPr bwMode="auto">
            <a:xfrm>
              <a:off x="501" y="1201"/>
              <a:ext cx="7" cy="5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7" name="Rectangle 137"/>
            <p:cNvSpPr>
              <a:spLocks noChangeArrowheads="1"/>
            </p:cNvSpPr>
            <p:nvPr/>
          </p:nvSpPr>
          <p:spPr bwMode="auto">
            <a:xfrm>
              <a:off x="517" y="1232"/>
              <a:ext cx="8" cy="2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8" name="Rectangle 138"/>
            <p:cNvSpPr>
              <a:spLocks noChangeArrowheads="1"/>
            </p:cNvSpPr>
            <p:nvPr/>
          </p:nvSpPr>
          <p:spPr bwMode="auto">
            <a:xfrm>
              <a:off x="534" y="1194"/>
              <a:ext cx="7" cy="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19" name="Rectangle 139"/>
            <p:cNvSpPr>
              <a:spLocks noChangeArrowheads="1"/>
            </p:cNvSpPr>
            <p:nvPr/>
          </p:nvSpPr>
          <p:spPr bwMode="auto">
            <a:xfrm>
              <a:off x="551" y="1144"/>
              <a:ext cx="7" cy="10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22" name="Group 142"/>
          <p:cNvGrpSpPr>
            <a:grpSpLocks noChangeAspect="1"/>
          </p:cNvGrpSpPr>
          <p:nvPr/>
        </p:nvGrpSpPr>
        <p:grpSpPr bwMode="auto">
          <a:xfrm>
            <a:off x="1466056" y="1538289"/>
            <a:ext cx="768350" cy="768350"/>
            <a:chOff x="928" y="969"/>
            <a:chExt cx="484" cy="484"/>
          </a:xfrm>
        </p:grpSpPr>
        <p:sp>
          <p:nvSpPr>
            <p:cNvPr id="46223" name="Freeform 143"/>
            <p:cNvSpPr>
              <a:spLocks noEditPoints="1"/>
            </p:cNvSpPr>
            <p:nvPr/>
          </p:nvSpPr>
          <p:spPr bwMode="auto">
            <a:xfrm>
              <a:off x="928" y="9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4" name="Freeform 144"/>
            <p:cNvSpPr>
              <a:spLocks noEditPoints="1"/>
            </p:cNvSpPr>
            <p:nvPr/>
          </p:nvSpPr>
          <p:spPr bwMode="auto">
            <a:xfrm>
              <a:off x="1026" y="1111"/>
              <a:ext cx="287" cy="218"/>
            </a:xfrm>
            <a:custGeom>
              <a:avLst/>
              <a:gdLst/>
              <a:ahLst/>
              <a:cxnLst>
                <a:cxn ang="0">
                  <a:pos x="0" y="194"/>
                </a:cxn>
                <a:cxn ang="0">
                  <a:pos x="125" y="194"/>
                </a:cxn>
                <a:cxn ang="0">
                  <a:pos x="125" y="208"/>
                </a:cxn>
                <a:cxn ang="0">
                  <a:pos x="110" y="208"/>
                </a:cxn>
                <a:cxn ang="0">
                  <a:pos x="110" y="218"/>
                </a:cxn>
                <a:cxn ang="0">
                  <a:pos x="177" y="218"/>
                </a:cxn>
                <a:cxn ang="0">
                  <a:pos x="177" y="208"/>
                </a:cxn>
                <a:cxn ang="0">
                  <a:pos x="163" y="208"/>
                </a:cxn>
                <a:cxn ang="0">
                  <a:pos x="163" y="194"/>
                </a:cxn>
                <a:cxn ang="0">
                  <a:pos x="287" y="194"/>
                </a:cxn>
                <a:cxn ang="0">
                  <a:pos x="287" y="0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153" y="194"/>
                </a:cxn>
                <a:cxn ang="0">
                  <a:pos x="153" y="208"/>
                </a:cxn>
                <a:cxn ang="0">
                  <a:pos x="134" y="208"/>
                </a:cxn>
                <a:cxn ang="0">
                  <a:pos x="134" y="194"/>
                </a:cxn>
                <a:cxn ang="0">
                  <a:pos x="153" y="194"/>
                </a:cxn>
                <a:cxn ang="0">
                  <a:pos x="10" y="184"/>
                </a:cxn>
                <a:cxn ang="0">
                  <a:pos x="10" y="165"/>
                </a:cxn>
                <a:cxn ang="0">
                  <a:pos x="280" y="165"/>
                </a:cxn>
                <a:cxn ang="0">
                  <a:pos x="280" y="184"/>
                </a:cxn>
                <a:cxn ang="0">
                  <a:pos x="10" y="184"/>
                </a:cxn>
                <a:cxn ang="0">
                  <a:pos x="280" y="9"/>
                </a:cxn>
                <a:cxn ang="0">
                  <a:pos x="280" y="158"/>
                </a:cxn>
                <a:cxn ang="0">
                  <a:pos x="10" y="158"/>
                </a:cxn>
                <a:cxn ang="0">
                  <a:pos x="10" y="9"/>
                </a:cxn>
                <a:cxn ang="0">
                  <a:pos x="280" y="9"/>
                </a:cxn>
              </a:cxnLst>
              <a:rect l="0" t="0" r="r" b="b"/>
              <a:pathLst>
                <a:path w="287" h="218">
                  <a:moveTo>
                    <a:pt x="0" y="194"/>
                  </a:moveTo>
                  <a:lnTo>
                    <a:pt x="125" y="194"/>
                  </a:lnTo>
                  <a:lnTo>
                    <a:pt x="125" y="208"/>
                  </a:lnTo>
                  <a:lnTo>
                    <a:pt x="110" y="208"/>
                  </a:lnTo>
                  <a:lnTo>
                    <a:pt x="110" y="218"/>
                  </a:lnTo>
                  <a:lnTo>
                    <a:pt x="177" y="218"/>
                  </a:lnTo>
                  <a:lnTo>
                    <a:pt x="177" y="208"/>
                  </a:lnTo>
                  <a:lnTo>
                    <a:pt x="163" y="208"/>
                  </a:lnTo>
                  <a:lnTo>
                    <a:pt x="163" y="194"/>
                  </a:lnTo>
                  <a:lnTo>
                    <a:pt x="287" y="194"/>
                  </a:lnTo>
                  <a:lnTo>
                    <a:pt x="287" y="0"/>
                  </a:lnTo>
                  <a:lnTo>
                    <a:pt x="0" y="0"/>
                  </a:lnTo>
                  <a:lnTo>
                    <a:pt x="0" y="194"/>
                  </a:lnTo>
                  <a:close/>
                  <a:moveTo>
                    <a:pt x="153" y="194"/>
                  </a:moveTo>
                  <a:lnTo>
                    <a:pt x="153" y="208"/>
                  </a:lnTo>
                  <a:lnTo>
                    <a:pt x="134" y="208"/>
                  </a:lnTo>
                  <a:lnTo>
                    <a:pt x="134" y="194"/>
                  </a:lnTo>
                  <a:lnTo>
                    <a:pt x="153" y="194"/>
                  </a:lnTo>
                  <a:close/>
                  <a:moveTo>
                    <a:pt x="10" y="184"/>
                  </a:moveTo>
                  <a:lnTo>
                    <a:pt x="10" y="165"/>
                  </a:lnTo>
                  <a:lnTo>
                    <a:pt x="280" y="165"/>
                  </a:lnTo>
                  <a:lnTo>
                    <a:pt x="280" y="184"/>
                  </a:lnTo>
                  <a:lnTo>
                    <a:pt x="10" y="184"/>
                  </a:lnTo>
                  <a:close/>
                  <a:moveTo>
                    <a:pt x="280" y="9"/>
                  </a:moveTo>
                  <a:lnTo>
                    <a:pt x="280" y="158"/>
                  </a:lnTo>
                  <a:lnTo>
                    <a:pt x="10" y="158"/>
                  </a:lnTo>
                  <a:lnTo>
                    <a:pt x="10" y="9"/>
                  </a:lnTo>
                  <a:lnTo>
                    <a:pt x="280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5" name="Rectangle 145"/>
            <p:cNvSpPr>
              <a:spLocks noChangeArrowheads="1"/>
            </p:cNvSpPr>
            <p:nvPr/>
          </p:nvSpPr>
          <p:spPr bwMode="auto">
            <a:xfrm>
              <a:off x="1091" y="1195"/>
              <a:ext cx="7" cy="5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6" name="Rectangle 146"/>
            <p:cNvSpPr>
              <a:spLocks noChangeArrowheads="1"/>
            </p:cNvSpPr>
            <p:nvPr/>
          </p:nvSpPr>
          <p:spPr bwMode="auto">
            <a:xfrm>
              <a:off x="1108" y="1144"/>
              <a:ext cx="7" cy="10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7" name="Rectangle 147"/>
            <p:cNvSpPr>
              <a:spLocks noChangeArrowheads="1"/>
            </p:cNvSpPr>
            <p:nvPr/>
          </p:nvSpPr>
          <p:spPr bwMode="auto">
            <a:xfrm>
              <a:off x="1124" y="1154"/>
              <a:ext cx="8" cy="9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8" name="Rectangle 148"/>
            <p:cNvSpPr>
              <a:spLocks noChangeArrowheads="1"/>
            </p:cNvSpPr>
            <p:nvPr/>
          </p:nvSpPr>
          <p:spPr bwMode="auto">
            <a:xfrm>
              <a:off x="1141" y="1171"/>
              <a:ext cx="7" cy="81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29" name="Rectangle 149"/>
            <p:cNvSpPr>
              <a:spLocks noChangeArrowheads="1"/>
            </p:cNvSpPr>
            <p:nvPr/>
          </p:nvSpPr>
          <p:spPr bwMode="auto">
            <a:xfrm>
              <a:off x="1158" y="1183"/>
              <a:ext cx="7" cy="6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30" name="Rectangle 150"/>
            <p:cNvSpPr>
              <a:spLocks noChangeArrowheads="1"/>
            </p:cNvSpPr>
            <p:nvPr/>
          </p:nvSpPr>
          <p:spPr bwMode="auto">
            <a:xfrm>
              <a:off x="1175" y="1195"/>
              <a:ext cx="7" cy="5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31" name="Rectangle 151"/>
            <p:cNvSpPr>
              <a:spLocks noChangeArrowheads="1"/>
            </p:cNvSpPr>
            <p:nvPr/>
          </p:nvSpPr>
          <p:spPr bwMode="auto">
            <a:xfrm>
              <a:off x="1191" y="1202"/>
              <a:ext cx="8" cy="50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32" name="Rectangle 152"/>
            <p:cNvSpPr>
              <a:spLocks noChangeArrowheads="1"/>
            </p:cNvSpPr>
            <p:nvPr/>
          </p:nvSpPr>
          <p:spPr bwMode="auto">
            <a:xfrm>
              <a:off x="1208" y="1233"/>
              <a:ext cx="7" cy="19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33" name="Rectangle 153"/>
            <p:cNvSpPr>
              <a:spLocks noChangeArrowheads="1"/>
            </p:cNvSpPr>
            <p:nvPr/>
          </p:nvSpPr>
          <p:spPr bwMode="auto">
            <a:xfrm>
              <a:off x="1225" y="1195"/>
              <a:ext cx="7" cy="57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34" name="Rectangle 154"/>
            <p:cNvSpPr>
              <a:spLocks noChangeArrowheads="1"/>
            </p:cNvSpPr>
            <p:nvPr/>
          </p:nvSpPr>
          <p:spPr bwMode="auto">
            <a:xfrm>
              <a:off x="1242" y="1144"/>
              <a:ext cx="7" cy="108"/>
            </a:xfrm>
            <a:prstGeom prst="rect">
              <a:avLst/>
            </a:prstGeom>
            <a:solidFill>
              <a:srgbClr val="0091B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37" name="Group 157"/>
          <p:cNvGrpSpPr>
            <a:grpSpLocks noChangeAspect="1"/>
          </p:cNvGrpSpPr>
          <p:nvPr/>
        </p:nvGrpSpPr>
        <p:grpSpPr bwMode="auto">
          <a:xfrm>
            <a:off x="2529681" y="1504950"/>
            <a:ext cx="838200" cy="838200"/>
            <a:chOff x="1597" y="948"/>
            <a:chExt cx="528" cy="528"/>
          </a:xfrm>
        </p:grpSpPr>
        <p:sp>
          <p:nvSpPr>
            <p:cNvPr id="46238" name="Oval 158"/>
            <p:cNvSpPr>
              <a:spLocks noChangeArrowheads="1"/>
            </p:cNvSpPr>
            <p:nvPr/>
          </p:nvSpPr>
          <p:spPr bwMode="auto">
            <a:xfrm>
              <a:off x="1597" y="948"/>
              <a:ext cx="528" cy="528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39" name="Freeform 159"/>
            <p:cNvSpPr>
              <a:spLocks noEditPoints="1"/>
            </p:cNvSpPr>
            <p:nvPr/>
          </p:nvSpPr>
          <p:spPr bwMode="auto">
            <a:xfrm>
              <a:off x="1619" y="970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40" name="Freeform 160"/>
            <p:cNvSpPr>
              <a:spLocks noEditPoints="1"/>
            </p:cNvSpPr>
            <p:nvPr/>
          </p:nvSpPr>
          <p:spPr bwMode="auto">
            <a:xfrm>
              <a:off x="1724" y="1224"/>
              <a:ext cx="70" cy="12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20"/>
                </a:cxn>
                <a:cxn ang="0">
                  <a:pos x="0" y="129"/>
                </a:cxn>
                <a:cxn ang="0">
                  <a:pos x="10" y="129"/>
                </a:cxn>
                <a:cxn ang="0">
                  <a:pos x="60" y="129"/>
                </a:cxn>
                <a:cxn ang="0">
                  <a:pos x="70" y="129"/>
                </a:cxn>
                <a:cxn ang="0">
                  <a:pos x="70" y="120"/>
                </a:cxn>
                <a:cxn ang="0">
                  <a:pos x="70" y="10"/>
                </a:cxn>
                <a:cxn ang="0">
                  <a:pos x="70" y="0"/>
                </a:cxn>
                <a:cxn ang="0">
                  <a:pos x="60" y="0"/>
                </a:cxn>
                <a:cxn ang="0">
                  <a:pos x="10" y="0"/>
                </a:cxn>
                <a:cxn ang="0">
                  <a:pos x="60" y="120"/>
                </a:cxn>
                <a:cxn ang="0">
                  <a:pos x="10" y="120"/>
                </a:cxn>
                <a:cxn ang="0">
                  <a:pos x="10" y="10"/>
                </a:cxn>
                <a:cxn ang="0">
                  <a:pos x="60" y="10"/>
                </a:cxn>
                <a:cxn ang="0">
                  <a:pos x="60" y="120"/>
                </a:cxn>
              </a:cxnLst>
              <a:rect l="0" t="0" r="r" b="b"/>
              <a:pathLst>
                <a:path w="70" h="129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120"/>
                  </a:lnTo>
                  <a:lnTo>
                    <a:pt x="0" y="129"/>
                  </a:lnTo>
                  <a:lnTo>
                    <a:pt x="10" y="129"/>
                  </a:lnTo>
                  <a:lnTo>
                    <a:pt x="60" y="129"/>
                  </a:lnTo>
                  <a:lnTo>
                    <a:pt x="70" y="129"/>
                  </a:lnTo>
                  <a:lnTo>
                    <a:pt x="70" y="120"/>
                  </a:lnTo>
                  <a:lnTo>
                    <a:pt x="70" y="10"/>
                  </a:lnTo>
                  <a:lnTo>
                    <a:pt x="70" y="0"/>
                  </a:lnTo>
                  <a:lnTo>
                    <a:pt x="60" y="0"/>
                  </a:lnTo>
                  <a:lnTo>
                    <a:pt x="10" y="0"/>
                  </a:lnTo>
                  <a:close/>
                  <a:moveTo>
                    <a:pt x="60" y="120"/>
                  </a:moveTo>
                  <a:lnTo>
                    <a:pt x="10" y="120"/>
                  </a:lnTo>
                  <a:lnTo>
                    <a:pt x="10" y="10"/>
                  </a:lnTo>
                  <a:lnTo>
                    <a:pt x="60" y="10"/>
                  </a:lnTo>
                  <a:lnTo>
                    <a:pt x="60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41" name="Freeform 161"/>
            <p:cNvSpPr>
              <a:spLocks noEditPoints="1"/>
            </p:cNvSpPr>
            <p:nvPr/>
          </p:nvSpPr>
          <p:spPr bwMode="auto">
            <a:xfrm>
              <a:off x="1818" y="1183"/>
              <a:ext cx="69" cy="17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161"/>
                </a:cxn>
                <a:cxn ang="0">
                  <a:pos x="0" y="170"/>
                </a:cxn>
                <a:cxn ang="0">
                  <a:pos x="9" y="170"/>
                </a:cxn>
                <a:cxn ang="0">
                  <a:pos x="60" y="170"/>
                </a:cxn>
                <a:cxn ang="0">
                  <a:pos x="69" y="170"/>
                </a:cxn>
                <a:cxn ang="0">
                  <a:pos x="69" y="161"/>
                </a:cxn>
                <a:cxn ang="0">
                  <a:pos x="69" y="7"/>
                </a:cxn>
                <a:cxn ang="0">
                  <a:pos x="69" y="0"/>
                </a:cxn>
                <a:cxn ang="0">
                  <a:pos x="60" y="0"/>
                </a:cxn>
                <a:cxn ang="0">
                  <a:pos x="9" y="0"/>
                </a:cxn>
                <a:cxn ang="0">
                  <a:pos x="60" y="161"/>
                </a:cxn>
                <a:cxn ang="0">
                  <a:pos x="9" y="161"/>
                </a:cxn>
                <a:cxn ang="0">
                  <a:pos x="9" y="7"/>
                </a:cxn>
                <a:cxn ang="0">
                  <a:pos x="60" y="7"/>
                </a:cxn>
                <a:cxn ang="0">
                  <a:pos x="60" y="161"/>
                </a:cxn>
              </a:cxnLst>
              <a:rect l="0" t="0" r="r" b="b"/>
              <a:pathLst>
                <a:path w="69" h="170">
                  <a:moveTo>
                    <a:pt x="9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0" y="161"/>
                  </a:lnTo>
                  <a:lnTo>
                    <a:pt x="0" y="170"/>
                  </a:lnTo>
                  <a:lnTo>
                    <a:pt x="9" y="170"/>
                  </a:lnTo>
                  <a:lnTo>
                    <a:pt x="60" y="170"/>
                  </a:lnTo>
                  <a:lnTo>
                    <a:pt x="69" y="170"/>
                  </a:lnTo>
                  <a:lnTo>
                    <a:pt x="69" y="161"/>
                  </a:lnTo>
                  <a:lnTo>
                    <a:pt x="69" y="7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9" y="0"/>
                  </a:lnTo>
                  <a:close/>
                  <a:moveTo>
                    <a:pt x="60" y="161"/>
                  </a:moveTo>
                  <a:lnTo>
                    <a:pt x="9" y="161"/>
                  </a:lnTo>
                  <a:lnTo>
                    <a:pt x="9" y="7"/>
                  </a:lnTo>
                  <a:lnTo>
                    <a:pt x="60" y="7"/>
                  </a:lnTo>
                  <a:lnTo>
                    <a:pt x="60" y="16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42" name="Freeform 162"/>
            <p:cNvSpPr>
              <a:spLocks noEditPoints="1"/>
            </p:cNvSpPr>
            <p:nvPr/>
          </p:nvSpPr>
          <p:spPr bwMode="auto">
            <a:xfrm>
              <a:off x="1911" y="1140"/>
              <a:ext cx="70" cy="21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204"/>
                </a:cxn>
                <a:cxn ang="0">
                  <a:pos x="0" y="213"/>
                </a:cxn>
                <a:cxn ang="0">
                  <a:pos x="10" y="213"/>
                </a:cxn>
                <a:cxn ang="0">
                  <a:pos x="60" y="213"/>
                </a:cxn>
                <a:cxn ang="0">
                  <a:pos x="70" y="213"/>
                </a:cxn>
                <a:cxn ang="0">
                  <a:pos x="70" y="204"/>
                </a:cxn>
                <a:cxn ang="0">
                  <a:pos x="70" y="10"/>
                </a:cxn>
                <a:cxn ang="0">
                  <a:pos x="70" y="0"/>
                </a:cxn>
                <a:cxn ang="0">
                  <a:pos x="60" y="0"/>
                </a:cxn>
                <a:cxn ang="0">
                  <a:pos x="10" y="0"/>
                </a:cxn>
                <a:cxn ang="0">
                  <a:pos x="60" y="204"/>
                </a:cxn>
                <a:cxn ang="0">
                  <a:pos x="10" y="204"/>
                </a:cxn>
                <a:cxn ang="0">
                  <a:pos x="10" y="10"/>
                </a:cxn>
                <a:cxn ang="0">
                  <a:pos x="60" y="10"/>
                </a:cxn>
                <a:cxn ang="0">
                  <a:pos x="60" y="204"/>
                </a:cxn>
              </a:cxnLst>
              <a:rect l="0" t="0" r="r" b="b"/>
              <a:pathLst>
                <a:path w="70" h="213">
                  <a:moveTo>
                    <a:pt x="10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10" y="213"/>
                  </a:lnTo>
                  <a:lnTo>
                    <a:pt x="60" y="213"/>
                  </a:lnTo>
                  <a:lnTo>
                    <a:pt x="70" y="213"/>
                  </a:lnTo>
                  <a:lnTo>
                    <a:pt x="70" y="204"/>
                  </a:lnTo>
                  <a:lnTo>
                    <a:pt x="70" y="10"/>
                  </a:lnTo>
                  <a:lnTo>
                    <a:pt x="70" y="0"/>
                  </a:lnTo>
                  <a:lnTo>
                    <a:pt x="60" y="0"/>
                  </a:lnTo>
                  <a:lnTo>
                    <a:pt x="10" y="0"/>
                  </a:lnTo>
                  <a:close/>
                  <a:moveTo>
                    <a:pt x="60" y="204"/>
                  </a:moveTo>
                  <a:lnTo>
                    <a:pt x="10" y="204"/>
                  </a:lnTo>
                  <a:lnTo>
                    <a:pt x="10" y="10"/>
                  </a:lnTo>
                  <a:lnTo>
                    <a:pt x="60" y="10"/>
                  </a:lnTo>
                  <a:lnTo>
                    <a:pt x="60" y="20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43" name="Freeform 163"/>
            <p:cNvSpPr>
              <a:spLocks/>
            </p:cNvSpPr>
            <p:nvPr/>
          </p:nvSpPr>
          <p:spPr bwMode="auto">
            <a:xfrm>
              <a:off x="1722" y="1051"/>
              <a:ext cx="228" cy="127"/>
            </a:xfrm>
            <a:custGeom>
              <a:avLst/>
              <a:gdLst/>
              <a:ahLst/>
              <a:cxnLst>
                <a:cxn ang="0">
                  <a:pos x="92" y="17"/>
                </a:cxn>
                <a:cxn ang="0">
                  <a:pos x="95" y="17"/>
                </a:cxn>
                <a:cxn ang="0">
                  <a:pos x="91" y="1"/>
                </a:cxn>
                <a:cxn ang="0">
                  <a:pos x="89" y="0"/>
                </a:cxn>
                <a:cxn ang="0">
                  <a:pos x="74" y="4"/>
                </a:cxn>
                <a:cxn ang="0">
                  <a:pos x="75" y="8"/>
                </a:cxn>
                <a:cxn ang="0">
                  <a:pos x="86" y="5"/>
                </a:cxn>
                <a:cxn ang="0">
                  <a:pos x="0" y="49"/>
                </a:cxn>
                <a:cxn ang="0">
                  <a:pos x="0" y="53"/>
                </a:cxn>
                <a:cxn ang="0">
                  <a:pos x="6" y="53"/>
                </a:cxn>
                <a:cxn ang="0">
                  <a:pos x="53" y="42"/>
                </a:cxn>
                <a:cxn ang="0">
                  <a:pos x="89" y="7"/>
                </a:cxn>
                <a:cxn ang="0">
                  <a:pos x="92" y="17"/>
                </a:cxn>
              </a:cxnLst>
              <a:rect l="0" t="0" r="r" b="b"/>
              <a:pathLst>
                <a:path w="95" h="53">
                  <a:moveTo>
                    <a:pt x="92" y="17"/>
                  </a:moveTo>
                  <a:cubicBezTo>
                    <a:pt x="95" y="17"/>
                    <a:pt x="95" y="17"/>
                    <a:pt x="95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68" y="35"/>
                    <a:pt x="36" y="52"/>
                    <a:pt x="0" y="4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" y="53"/>
                    <a:pt x="4" y="53"/>
                    <a:pt x="6" y="53"/>
                  </a:cubicBezTo>
                  <a:cubicBezTo>
                    <a:pt x="23" y="53"/>
                    <a:pt x="39" y="49"/>
                    <a:pt x="53" y="42"/>
                  </a:cubicBezTo>
                  <a:cubicBezTo>
                    <a:pt x="68" y="34"/>
                    <a:pt x="80" y="22"/>
                    <a:pt x="89" y="7"/>
                  </a:cubicBezTo>
                  <a:lnTo>
                    <a:pt x="92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46" name="Group 166"/>
          <p:cNvGrpSpPr>
            <a:grpSpLocks noChangeAspect="1"/>
          </p:cNvGrpSpPr>
          <p:nvPr/>
        </p:nvGrpSpPr>
        <p:grpSpPr bwMode="auto">
          <a:xfrm>
            <a:off x="3666329" y="1538289"/>
            <a:ext cx="768350" cy="768350"/>
            <a:chOff x="2310" y="969"/>
            <a:chExt cx="484" cy="484"/>
          </a:xfrm>
        </p:grpSpPr>
        <p:sp>
          <p:nvSpPr>
            <p:cNvPr id="46247" name="Freeform 167"/>
            <p:cNvSpPr>
              <a:spLocks noEditPoints="1"/>
            </p:cNvSpPr>
            <p:nvPr/>
          </p:nvSpPr>
          <p:spPr bwMode="auto">
            <a:xfrm>
              <a:off x="2310" y="9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48" name="Freeform 168"/>
            <p:cNvSpPr>
              <a:spLocks noEditPoints="1"/>
            </p:cNvSpPr>
            <p:nvPr/>
          </p:nvSpPr>
          <p:spPr bwMode="auto">
            <a:xfrm>
              <a:off x="2416" y="1223"/>
              <a:ext cx="69" cy="13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20"/>
                </a:cxn>
                <a:cxn ang="0">
                  <a:pos x="0" y="130"/>
                </a:cxn>
                <a:cxn ang="0">
                  <a:pos x="9" y="130"/>
                </a:cxn>
                <a:cxn ang="0">
                  <a:pos x="60" y="130"/>
                </a:cxn>
                <a:cxn ang="0">
                  <a:pos x="69" y="130"/>
                </a:cxn>
                <a:cxn ang="0">
                  <a:pos x="69" y="120"/>
                </a:cxn>
                <a:cxn ang="0">
                  <a:pos x="69" y="10"/>
                </a:cxn>
                <a:cxn ang="0">
                  <a:pos x="69" y="0"/>
                </a:cxn>
                <a:cxn ang="0">
                  <a:pos x="60" y="0"/>
                </a:cxn>
                <a:cxn ang="0">
                  <a:pos x="9" y="0"/>
                </a:cxn>
                <a:cxn ang="0">
                  <a:pos x="60" y="120"/>
                </a:cxn>
                <a:cxn ang="0">
                  <a:pos x="9" y="120"/>
                </a:cxn>
                <a:cxn ang="0">
                  <a:pos x="9" y="10"/>
                </a:cxn>
                <a:cxn ang="0">
                  <a:pos x="60" y="10"/>
                </a:cxn>
                <a:cxn ang="0">
                  <a:pos x="60" y="120"/>
                </a:cxn>
              </a:cxnLst>
              <a:rect l="0" t="0" r="r" b="b"/>
              <a:pathLst>
                <a:path w="69" h="130"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9" y="130"/>
                  </a:lnTo>
                  <a:lnTo>
                    <a:pt x="60" y="130"/>
                  </a:lnTo>
                  <a:lnTo>
                    <a:pt x="69" y="130"/>
                  </a:lnTo>
                  <a:lnTo>
                    <a:pt x="69" y="120"/>
                  </a:lnTo>
                  <a:lnTo>
                    <a:pt x="69" y="10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9" y="0"/>
                  </a:lnTo>
                  <a:close/>
                  <a:moveTo>
                    <a:pt x="60" y="120"/>
                  </a:moveTo>
                  <a:lnTo>
                    <a:pt x="9" y="120"/>
                  </a:lnTo>
                  <a:lnTo>
                    <a:pt x="9" y="10"/>
                  </a:lnTo>
                  <a:lnTo>
                    <a:pt x="60" y="10"/>
                  </a:lnTo>
                  <a:lnTo>
                    <a:pt x="60" y="12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49" name="Freeform 169"/>
            <p:cNvSpPr>
              <a:spLocks noEditPoints="1"/>
            </p:cNvSpPr>
            <p:nvPr/>
          </p:nvSpPr>
          <p:spPr bwMode="auto">
            <a:xfrm>
              <a:off x="2509" y="1183"/>
              <a:ext cx="70" cy="170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160"/>
                </a:cxn>
                <a:cxn ang="0">
                  <a:pos x="0" y="170"/>
                </a:cxn>
                <a:cxn ang="0">
                  <a:pos x="10" y="170"/>
                </a:cxn>
                <a:cxn ang="0">
                  <a:pos x="60" y="170"/>
                </a:cxn>
                <a:cxn ang="0">
                  <a:pos x="70" y="170"/>
                </a:cxn>
                <a:cxn ang="0">
                  <a:pos x="70" y="160"/>
                </a:cxn>
                <a:cxn ang="0">
                  <a:pos x="70" y="7"/>
                </a:cxn>
                <a:cxn ang="0">
                  <a:pos x="70" y="0"/>
                </a:cxn>
                <a:cxn ang="0">
                  <a:pos x="60" y="0"/>
                </a:cxn>
                <a:cxn ang="0">
                  <a:pos x="10" y="0"/>
                </a:cxn>
                <a:cxn ang="0">
                  <a:pos x="60" y="160"/>
                </a:cxn>
                <a:cxn ang="0">
                  <a:pos x="10" y="160"/>
                </a:cxn>
                <a:cxn ang="0">
                  <a:pos x="10" y="7"/>
                </a:cxn>
                <a:cxn ang="0">
                  <a:pos x="60" y="7"/>
                </a:cxn>
                <a:cxn ang="0">
                  <a:pos x="60" y="160"/>
                </a:cxn>
              </a:cxnLst>
              <a:rect l="0" t="0" r="r" b="b"/>
              <a:pathLst>
                <a:path w="70" h="170">
                  <a:moveTo>
                    <a:pt x="10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0" y="160"/>
                  </a:lnTo>
                  <a:lnTo>
                    <a:pt x="0" y="170"/>
                  </a:lnTo>
                  <a:lnTo>
                    <a:pt x="10" y="170"/>
                  </a:lnTo>
                  <a:lnTo>
                    <a:pt x="60" y="170"/>
                  </a:lnTo>
                  <a:lnTo>
                    <a:pt x="70" y="170"/>
                  </a:lnTo>
                  <a:lnTo>
                    <a:pt x="70" y="160"/>
                  </a:lnTo>
                  <a:lnTo>
                    <a:pt x="70" y="7"/>
                  </a:lnTo>
                  <a:lnTo>
                    <a:pt x="70" y="0"/>
                  </a:lnTo>
                  <a:lnTo>
                    <a:pt x="60" y="0"/>
                  </a:lnTo>
                  <a:lnTo>
                    <a:pt x="10" y="0"/>
                  </a:lnTo>
                  <a:close/>
                  <a:moveTo>
                    <a:pt x="60" y="160"/>
                  </a:moveTo>
                  <a:lnTo>
                    <a:pt x="10" y="160"/>
                  </a:lnTo>
                  <a:lnTo>
                    <a:pt x="10" y="7"/>
                  </a:lnTo>
                  <a:lnTo>
                    <a:pt x="60" y="7"/>
                  </a:lnTo>
                  <a:lnTo>
                    <a:pt x="60" y="16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50" name="Freeform 170"/>
            <p:cNvSpPr>
              <a:spLocks noEditPoints="1"/>
            </p:cNvSpPr>
            <p:nvPr/>
          </p:nvSpPr>
          <p:spPr bwMode="auto">
            <a:xfrm>
              <a:off x="2603" y="1139"/>
              <a:ext cx="69" cy="214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204"/>
                </a:cxn>
                <a:cxn ang="0">
                  <a:pos x="0" y="214"/>
                </a:cxn>
                <a:cxn ang="0">
                  <a:pos x="9" y="214"/>
                </a:cxn>
                <a:cxn ang="0">
                  <a:pos x="60" y="214"/>
                </a:cxn>
                <a:cxn ang="0">
                  <a:pos x="69" y="214"/>
                </a:cxn>
                <a:cxn ang="0">
                  <a:pos x="69" y="204"/>
                </a:cxn>
                <a:cxn ang="0">
                  <a:pos x="69" y="10"/>
                </a:cxn>
                <a:cxn ang="0">
                  <a:pos x="69" y="0"/>
                </a:cxn>
                <a:cxn ang="0">
                  <a:pos x="60" y="0"/>
                </a:cxn>
                <a:cxn ang="0">
                  <a:pos x="9" y="0"/>
                </a:cxn>
                <a:cxn ang="0">
                  <a:pos x="60" y="204"/>
                </a:cxn>
                <a:cxn ang="0">
                  <a:pos x="9" y="204"/>
                </a:cxn>
                <a:cxn ang="0">
                  <a:pos x="9" y="10"/>
                </a:cxn>
                <a:cxn ang="0">
                  <a:pos x="60" y="10"/>
                </a:cxn>
                <a:cxn ang="0">
                  <a:pos x="60" y="204"/>
                </a:cxn>
              </a:cxnLst>
              <a:rect l="0" t="0" r="r" b="b"/>
              <a:pathLst>
                <a:path w="69" h="214">
                  <a:moveTo>
                    <a:pt x="9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204"/>
                  </a:lnTo>
                  <a:lnTo>
                    <a:pt x="0" y="214"/>
                  </a:lnTo>
                  <a:lnTo>
                    <a:pt x="9" y="214"/>
                  </a:lnTo>
                  <a:lnTo>
                    <a:pt x="60" y="214"/>
                  </a:lnTo>
                  <a:lnTo>
                    <a:pt x="69" y="214"/>
                  </a:lnTo>
                  <a:lnTo>
                    <a:pt x="69" y="204"/>
                  </a:lnTo>
                  <a:lnTo>
                    <a:pt x="69" y="10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9" y="0"/>
                  </a:lnTo>
                  <a:close/>
                  <a:moveTo>
                    <a:pt x="60" y="204"/>
                  </a:moveTo>
                  <a:lnTo>
                    <a:pt x="9" y="204"/>
                  </a:lnTo>
                  <a:lnTo>
                    <a:pt x="9" y="10"/>
                  </a:lnTo>
                  <a:lnTo>
                    <a:pt x="60" y="10"/>
                  </a:lnTo>
                  <a:lnTo>
                    <a:pt x="60" y="20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51" name="Freeform 171"/>
            <p:cNvSpPr>
              <a:spLocks/>
            </p:cNvSpPr>
            <p:nvPr/>
          </p:nvSpPr>
          <p:spPr bwMode="auto">
            <a:xfrm>
              <a:off x="2413" y="1051"/>
              <a:ext cx="228" cy="127"/>
            </a:xfrm>
            <a:custGeom>
              <a:avLst/>
              <a:gdLst/>
              <a:ahLst/>
              <a:cxnLst>
                <a:cxn ang="0">
                  <a:pos x="92" y="17"/>
                </a:cxn>
                <a:cxn ang="0">
                  <a:pos x="95" y="17"/>
                </a:cxn>
                <a:cxn ang="0">
                  <a:pos x="91" y="1"/>
                </a:cxn>
                <a:cxn ang="0">
                  <a:pos x="89" y="0"/>
                </a:cxn>
                <a:cxn ang="0">
                  <a:pos x="74" y="4"/>
                </a:cxn>
                <a:cxn ang="0">
                  <a:pos x="75" y="8"/>
                </a:cxn>
                <a:cxn ang="0">
                  <a:pos x="86" y="5"/>
                </a:cxn>
                <a:cxn ang="0">
                  <a:pos x="0" y="49"/>
                </a:cxn>
                <a:cxn ang="0">
                  <a:pos x="0" y="53"/>
                </a:cxn>
                <a:cxn ang="0">
                  <a:pos x="6" y="53"/>
                </a:cxn>
                <a:cxn ang="0">
                  <a:pos x="53" y="42"/>
                </a:cxn>
                <a:cxn ang="0">
                  <a:pos x="89" y="7"/>
                </a:cxn>
                <a:cxn ang="0">
                  <a:pos x="92" y="17"/>
                </a:cxn>
              </a:cxnLst>
              <a:rect l="0" t="0" r="r" b="b"/>
              <a:pathLst>
                <a:path w="95" h="53">
                  <a:moveTo>
                    <a:pt x="92" y="17"/>
                  </a:moveTo>
                  <a:cubicBezTo>
                    <a:pt x="95" y="17"/>
                    <a:pt x="95" y="17"/>
                    <a:pt x="95" y="17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68" y="35"/>
                    <a:pt x="36" y="52"/>
                    <a:pt x="0" y="4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" y="53"/>
                    <a:pt x="4" y="53"/>
                    <a:pt x="6" y="53"/>
                  </a:cubicBezTo>
                  <a:cubicBezTo>
                    <a:pt x="23" y="53"/>
                    <a:pt x="39" y="49"/>
                    <a:pt x="53" y="42"/>
                  </a:cubicBezTo>
                  <a:cubicBezTo>
                    <a:pt x="68" y="34"/>
                    <a:pt x="80" y="22"/>
                    <a:pt x="89" y="7"/>
                  </a:cubicBezTo>
                  <a:lnTo>
                    <a:pt x="92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54" name="Group 174"/>
          <p:cNvGrpSpPr>
            <a:grpSpLocks noChangeAspect="1"/>
          </p:cNvGrpSpPr>
          <p:nvPr/>
        </p:nvGrpSpPr>
        <p:grpSpPr bwMode="auto">
          <a:xfrm>
            <a:off x="4725194" y="1511300"/>
            <a:ext cx="836613" cy="831850"/>
            <a:chOff x="2980" y="952"/>
            <a:chExt cx="527" cy="524"/>
          </a:xfrm>
        </p:grpSpPr>
        <p:sp>
          <p:nvSpPr>
            <p:cNvPr id="46255" name="Oval 175"/>
            <p:cNvSpPr>
              <a:spLocks noChangeArrowheads="1"/>
            </p:cNvSpPr>
            <p:nvPr/>
          </p:nvSpPr>
          <p:spPr bwMode="auto">
            <a:xfrm>
              <a:off x="2980" y="952"/>
              <a:ext cx="527" cy="52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56" name="Freeform 176"/>
            <p:cNvSpPr>
              <a:spLocks noEditPoints="1"/>
            </p:cNvSpPr>
            <p:nvPr/>
          </p:nvSpPr>
          <p:spPr bwMode="auto">
            <a:xfrm>
              <a:off x="3002" y="974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57" name="Freeform 177"/>
            <p:cNvSpPr>
              <a:spLocks noEditPoints="1"/>
            </p:cNvSpPr>
            <p:nvPr/>
          </p:nvSpPr>
          <p:spPr bwMode="auto">
            <a:xfrm>
              <a:off x="3150" y="1172"/>
              <a:ext cx="31" cy="4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34"/>
                </a:cxn>
                <a:cxn ang="0">
                  <a:pos x="0" y="43"/>
                </a:cxn>
                <a:cxn ang="0">
                  <a:pos x="7" y="43"/>
                </a:cxn>
                <a:cxn ang="0">
                  <a:pos x="22" y="43"/>
                </a:cxn>
                <a:cxn ang="0">
                  <a:pos x="31" y="43"/>
                </a:cxn>
                <a:cxn ang="0">
                  <a:pos x="31" y="34"/>
                </a:cxn>
                <a:cxn ang="0">
                  <a:pos x="31" y="10"/>
                </a:cxn>
                <a:cxn ang="0">
                  <a:pos x="31" y="0"/>
                </a:cxn>
                <a:cxn ang="0">
                  <a:pos x="22" y="0"/>
                </a:cxn>
                <a:cxn ang="0">
                  <a:pos x="7" y="0"/>
                </a:cxn>
                <a:cxn ang="0">
                  <a:pos x="22" y="34"/>
                </a:cxn>
                <a:cxn ang="0">
                  <a:pos x="7" y="34"/>
                </a:cxn>
                <a:cxn ang="0">
                  <a:pos x="7" y="10"/>
                </a:cxn>
                <a:cxn ang="0">
                  <a:pos x="22" y="10"/>
                </a:cxn>
                <a:cxn ang="0">
                  <a:pos x="22" y="34"/>
                </a:cxn>
              </a:cxnLst>
              <a:rect l="0" t="0" r="r" b="b"/>
              <a:pathLst>
                <a:path w="31" h="43">
                  <a:moveTo>
                    <a:pt x="7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34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2" y="43"/>
                  </a:lnTo>
                  <a:lnTo>
                    <a:pt x="31" y="43"/>
                  </a:lnTo>
                  <a:lnTo>
                    <a:pt x="31" y="34"/>
                  </a:lnTo>
                  <a:lnTo>
                    <a:pt x="31" y="10"/>
                  </a:lnTo>
                  <a:lnTo>
                    <a:pt x="31" y="0"/>
                  </a:lnTo>
                  <a:lnTo>
                    <a:pt x="22" y="0"/>
                  </a:lnTo>
                  <a:lnTo>
                    <a:pt x="7" y="0"/>
                  </a:lnTo>
                  <a:close/>
                  <a:moveTo>
                    <a:pt x="22" y="34"/>
                  </a:moveTo>
                  <a:lnTo>
                    <a:pt x="7" y="34"/>
                  </a:lnTo>
                  <a:lnTo>
                    <a:pt x="7" y="10"/>
                  </a:lnTo>
                  <a:lnTo>
                    <a:pt x="22" y="10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58" name="Freeform 178"/>
            <p:cNvSpPr>
              <a:spLocks noEditPoints="1"/>
            </p:cNvSpPr>
            <p:nvPr/>
          </p:nvSpPr>
          <p:spPr bwMode="auto">
            <a:xfrm>
              <a:off x="3191" y="1160"/>
              <a:ext cx="31" cy="5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0" y="46"/>
                </a:cxn>
                <a:cxn ang="0">
                  <a:pos x="0" y="55"/>
                </a:cxn>
                <a:cxn ang="0">
                  <a:pos x="7" y="55"/>
                </a:cxn>
                <a:cxn ang="0">
                  <a:pos x="21" y="55"/>
                </a:cxn>
                <a:cxn ang="0">
                  <a:pos x="31" y="55"/>
                </a:cxn>
                <a:cxn ang="0">
                  <a:pos x="31" y="46"/>
                </a:cxn>
                <a:cxn ang="0">
                  <a:pos x="31" y="8"/>
                </a:cxn>
                <a:cxn ang="0">
                  <a:pos x="31" y="0"/>
                </a:cxn>
                <a:cxn ang="0">
                  <a:pos x="21" y="0"/>
                </a:cxn>
                <a:cxn ang="0">
                  <a:pos x="7" y="0"/>
                </a:cxn>
                <a:cxn ang="0">
                  <a:pos x="21" y="46"/>
                </a:cxn>
                <a:cxn ang="0">
                  <a:pos x="7" y="46"/>
                </a:cxn>
                <a:cxn ang="0">
                  <a:pos x="7" y="8"/>
                </a:cxn>
                <a:cxn ang="0">
                  <a:pos x="21" y="8"/>
                </a:cxn>
                <a:cxn ang="0">
                  <a:pos x="21" y="46"/>
                </a:cxn>
              </a:cxnLst>
              <a:rect l="0" t="0" r="r" b="b"/>
              <a:pathLst>
                <a:path w="31" h="55">
                  <a:moveTo>
                    <a:pt x="7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7" y="55"/>
                  </a:lnTo>
                  <a:lnTo>
                    <a:pt x="21" y="55"/>
                  </a:lnTo>
                  <a:lnTo>
                    <a:pt x="31" y="55"/>
                  </a:lnTo>
                  <a:lnTo>
                    <a:pt x="31" y="46"/>
                  </a:lnTo>
                  <a:lnTo>
                    <a:pt x="31" y="8"/>
                  </a:lnTo>
                  <a:lnTo>
                    <a:pt x="31" y="0"/>
                  </a:lnTo>
                  <a:lnTo>
                    <a:pt x="21" y="0"/>
                  </a:lnTo>
                  <a:lnTo>
                    <a:pt x="7" y="0"/>
                  </a:lnTo>
                  <a:close/>
                  <a:moveTo>
                    <a:pt x="21" y="46"/>
                  </a:moveTo>
                  <a:lnTo>
                    <a:pt x="7" y="46"/>
                  </a:lnTo>
                  <a:lnTo>
                    <a:pt x="7" y="8"/>
                  </a:lnTo>
                  <a:lnTo>
                    <a:pt x="21" y="8"/>
                  </a:lnTo>
                  <a:lnTo>
                    <a:pt x="21" y="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59" name="Freeform 179"/>
            <p:cNvSpPr>
              <a:spLocks noEditPoints="1"/>
            </p:cNvSpPr>
            <p:nvPr/>
          </p:nvSpPr>
          <p:spPr bwMode="auto">
            <a:xfrm>
              <a:off x="3232" y="1144"/>
              <a:ext cx="31" cy="71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62"/>
                </a:cxn>
                <a:cxn ang="0">
                  <a:pos x="0" y="71"/>
                </a:cxn>
                <a:cxn ang="0">
                  <a:pos x="7" y="71"/>
                </a:cxn>
                <a:cxn ang="0">
                  <a:pos x="21" y="71"/>
                </a:cxn>
                <a:cxn ang="0">
                  <a:pos x="31" y="71"/>
                </a:cxn>
                <a:cxn ang="0">
                  <a:pos x="31" y="62"/>
                </a:cxn>
                <a:cxn ang="0">
                  <a:pos x="31" y="9"/>
                </a:cxn>
                <a:cxn ang="0">
                  <a:pos x="31" y="0"/>
                </a:cxn>
                <a:cxn ang="0">
                  <a:pos x="21" y="0"/>
                </a:cxn>
                <a:cxn ang="0">
                  <a:pos x="21" y="62"/>
                </a:cxn>
                <a:cxn ang="0">
                  <a:pos x="7" y="62"/>
                </a:cxn>
                <a:cxn ang="0">
                  <a:pos x="7" y="9"/>
                </a:cxn>
                <a:cxn ang="0">
                  <a:pos x="21" y="9"/>
                </a:cxn>
                <a:cxn ang="0">
                  <a:pos x="21" y="62"/>
                </a:cxn>
              </a:cxnLst>
              <a:rect l="0" t="0" r="r" b="b"/>
              <a:pathLst>
                <a:path w="31" h="71">
                  <a:moveTo>
                    <a:pt x="21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62"/>
                  </a:lnTo>
                  <a:lnTo>
                    <a:pt x="0" y="71"/>
                  </a:lnTo>
                  <a:lnTo>
                    <a:pt x="7" y="71"/>
                  </a:lnTo>
                  <a:lnTo>
                    <a:pt x="21" y="71"/>
                  </a:lnTo>
                  <a:lnTo>
                    <a:pt x="31" y="71"/>
                  </a:lnTo>
                  <a:lnTo>
                    <a:pt x="31" y="62"/>
                  </a:lnTo>
                  <a:lnTo>
                    <a:pt x="31" y="9"/>
                  </a:lnTo>
                  <a:lnTo>
                    <a:pt x="31" y="0"/>
                  </a:lnTo>
                  <a:lnTo>
                    <a:pt x="21" y="0"/>
                  </a:lnTo>
                  <a:close/>
                  <a:moveTo>
                    <a:pt x="21" y="62"/>
                  </a:moveTo>
                  <a:lnTo>
                    <a:pt x="7" y="62"/>
                  </a:lnTo>
                  <a:lnTo>
                    <a:pt x="7" y="9"/>
                  </a:lnTo>
                  <a:lnTo>
                    <a:pt x="21" y="9"/>
                  </a:lnTo>
                  <a:lnTo>
                    <a:pt x="21" y="6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60" name="Freeform 180"/>
            <p:cNvSpPr>
              <a:spLocks/>
            </p:cNvSpPr>
            <p:nvPr/>
          </p:nvSpPr>
          <p:spPr bwMode="auto">
            <a:xfrm>
              <a:off x="3155" y="1105"/>
              <a:ext cx="81" cy="53"/>
            </a:xfrm>
            <a:custGeom>
              <a:avLst/>
              <a:gdLst/>
              <a:ahLst/>
              <a:cxnLst>
                <a:cxn ang="0">
                  <a:pos x="34" y="9"/>
                </a:cxn>
                <a:cxn ang="0">
                  <a:pos x="32" y="1"/>
                </a:cxn>
                <a:cxn ang="0">
                  <a:pos x="30" y="0"/>
                </a:cxn>
                <a:cxn ang="0">
                  <a:pos x="23" y="2"/>
                </a:cxn>
                <a:cxn ang="0">
                  <a:pos x="24" y="5"/>
                </a:cxn>
                <a:cxn ang="0">
                  <a:pos x="27" y="5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2" y="22"/>
                </a:cxn>
                <a:cxn ang="0">
                  <a:pos x="30" y="6"/>
                </a:cxn>
                <a:cxn ang="0">
                  <a:pos x="31" y="10"/>
                </a:cxn>
                <a:cxn ang="0">
                  <a:pos x="34" y="9"/>
                </a:cxn>
              </a:cxnLst>
              <a:rect l="0" t="0" r="r" b="b"/>
              <a:pathLst>
                <a:path w="34" h="22">
                  <a:moveTo>
                    <a:pt x="34" y="9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1" y="14"/>
                    <a:pt x="11" y="18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1" y="22"/>
                    <a:pt x="2" y="22"/>
                  </a:cubicBezTo>
                  <a:cubicBezTo>
                    <a:pt x="14" y="22"/>
                    <a:pt x="24" y="16"/>
                    <a:pt x="30" y="6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4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61" name="Freeform 181"/>
            <p:cNvSpPr>
              <a:spLocks noEditPoints="1"/>
            </p:cNvSpPr>
            <p:nvPr/>
          </p:nvSpPr>
          <p:spPr bwMode="auto">
            <a:xfrm>
              <a:off x="3100" y="1060"/>
              <a:ext cx="292" cy="299"/>
            </a:xfrm>
            <a:custGeom>
              <a:avLst/>
              <a:gdLst/>
              <a:ahLst/>
              <a:cxnLst>
                <a:cxn ang="0">
                  <a:pos x="88" y="79"/>
                </a:cxn>
                <a:cxn ang="0">
                  <a:pos x="86" y="76"/>
                </a:cxn>
                <a:cxn ang="0">
                  <a:pos x="86" y="76"/>
                </a:cxn>
                <a:cxn ang="0">
                  <a:pos x="85" y="76"/>
                </a:cxn>
                <a:cxn ang="0">
                  <a:pos x="80" y="70"/>
                </a:cxn>
                <a:cxn ang="0">
                  <a:pos x="80" y="70"/>
                </a:cxn>
                <a:cxn ang="0">
                  <a:pos x="88" y="45"/>
                </a:cxn>
                <a:cxn ang="0">
                  <a:pos x="76" y="14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15" y="12"/>
                </a:cxn>
                <a:cxn ang="0">
                  <a:pos x="1" y="43"/>
                </a:cxn>
                <a:cxn ang="0">
                  <a:pos x="13" y="74"/>
                </a:cxn>
                <a:cxn ang="0">
                  <a:pos x="45" y="88"/>
                </a:cxn>
                <a:cxn ang="0">
                  <a:pos x="69" y="80"/>
                </a:cxn>
                <a:cxn ang="0">
                  <a:pos x="69" y="81"/>
                </a:cxn>
                <a:cxn ang="0">
                  <a:pos x="74" y="86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108" y="122"/>
                </a:cxn>
                <a:cxn ang="0">
                  <a:pos x="111" y="125"/>
                </a:cxn>
                <a:cxn ang="0">
                  <a:pos x="113" y="122"/>
                </a:cxn>
                <a:cxn ang="0">
                  <a:pos x="119" y="117"/>
                </a:cxn>
                <a:cxn ang="0">
                  <a:pos x="122" y="114"/>
                </a:cxn>
                <a:cxn ang="0">
                  <a:pos x="119" y="112"/>
                </a:cxn>
                <a:cxn ang="0">
                  <a:pos x="88" y="79"/>
                </a:cxn>
                <a:cxn ang="0">
                  <a:pos x="16" y="71"/>
                </a:cxn>
                <a:cxn ang="0">
                  <a:pos x="17" y="15"/>
                </a:cxn>
                <a:cxn ang="0">
                  <a:pos x="45" y="4"/>
                </a:cxn>
                <a:cxn ang="0">
                  <a:pos x="74" y="16"/>
                </a:cxn>
                <a:cxn ang="0">
                  <a:pos x="73" y="72"/>
                </a:cxn>
                <a:cxn ang="0">
                  <a:pos x="71" y="74"/>
                </a:cxn>
                <a:cxn ang="0">
                  <a:pos x="45" y="84"/>
                </a:cxn>
                <a:cxn ang="0">
                  <a:pos x="16" y="71"/>
                </a:cxn>
                <a:cxn ang="0">
                  <a:pos x="72" y="78"/>
                </a:cxn>
                <a:cxn ang="0">
                  <a:pos x="73" y="77"/>
                </a:cxn>
                <a:cxn ang="0">
                  <a:pos x="75" y="76"/>
                </a:cxn>
                <a:cxn ang="0">
                  <a:pos x="76" y="74"/>
                </a:cxn>
                <a:cxn ang="0">
                  <a:pos x="78" y="73"/>
                </a:cxn>
                <a:cxn ang="0">
                  <a:pos x="83" y="78"/>
                </a:cxn>
                <a:cxn ang="0">
                  <a:pos x="77" y="84"/>
                </a:cxn>
                <a:cxn ang="0">
                  <a:pos x="72" y="78"/>
                </a:cxn>
                <a:cxn ang="0">
                  <a:pos x="111" y="120"/>
                </a:cxn>
                <a:cxn ang="0">
                  <a:pos x="80" y="87"/>
                </a:cxn>
                <a:cxn ang="0">
                  <a:pos x="85" y="81"/>
                </a:cxn>
                <a:cxn ang="0">
                  <a:pos x="117" y="114"/>
                </a:cxn>
                <a:cxn ang="0">
                  <a:pos x="111" y="120"/>
                </a:cxn>
              </a:cxnLst>
              <a:rect l="0" t="0" r="r" b="b"/>
              <a:pathLst>
                <a:path w="122" h="125">
                  <a:moveTo>
                    <a:pt x="88" y="79"/>
                  </a:moveTo>
                  <a:cubicBezTo>
                    <a:pt x="86" y="76"/>
                    <a:pt x="86" y="76"/>
                    <a:pt x="86" y="76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5" y="63"/>
                    <a:pt x="88" y="54"/>
                    <a:pt x="88" y="45"/>
                  </a:cubicBezTo>
                  <a:cubicBezTo>
                    <a:pt x="89" y="33"/>
                    <a:pt x="84" y="22"/>
                    <a:pt x="76" y="14"/>
                  </a:cubicBezTo>
                  <a:cubicBezTo>
                    <a:pt x="68" y="5"/>
                    <a:pt x="57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23" y="5"/>
                    <a:pt x="15" y="12"/>
                  </a:cubicBezTo>
                  <a:cubicBezTo>
                    <a:pt x="6" y="20"/>
                    <a:pt x="1" y="31"/>
                    <a:pt x="1" y="43"/>
                  </a:cubicBezTo>
                  <a:cubicBezTo>
                    <a:pt x="1" y="54"/>
                    <a:pt x="5" y="65"/>
                    <a:pt x="13" y="74"/>
                  </a:cubicBezTo>
                  <a:cubicBezTo>
                    <a:pt x="21" y="83"/>
                    <a:pt x="33" y="88"/>
                    <a:pt x="45" y="88"/>
                  </a:cubicBezTo>
                  <a:cubicBezTo>
                    <a:pt x="53" y="88"/>
                    <a:pt x="62" y="85"/>
                    <a:pt x="69" y="80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2" y="114"/>
                    <a:pt x="122" y="114"/>
                    <a:pt x="122" y="114"/>
                  </a:cubicBezTo>
                  <a:cubicBezTo>
                    <a:pt x="119" y="112"/>
                    <a:pt x="119" y="112"/>
                    <a:pt x="119" y="112"/>
                  </a:cubicBezTo>
                  <a:lnTo>
                    <a:pt x="88" y="79"/>
                  </a:lnTo>
                  <a:close/>
                  <a:moveTo>
                    <a:pt x="16" y="71"/>
                  </a:moveTo>
                  <a:cubicBezTo>
                    <a:pt x="0" y="55"/>
                    <a:pt x="1" y="30"/>
                    <a:pt x="17" y="15"/>
                  </a:cubicBezTo>
                  <a:cubicBezTo>
                    <a:pt x="25" y="8"/>
                    <a:pt x="35" y="4"/>
                    <a:pt x="45" y="4"/>
                  </a:cubicBezTo>
                  <a:cubicBezTo>
                    <a:pt x="55" y="4"/>
                    <a:pt x="66" y="8"/>
                    <a:pt x="74" y="16"/>
                  </a:cubicBezTo>
                  <a:cubicBezTo>
                    <a:pt x="89" y="32"/>
                    <a:pt x="88" y="56"/>
                    <a:pt x="73" y="72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3" y="81"/>
                    <a:pt x="54" y="84"/>
                    <a:pt x="45" y="84"/>
                  </a:cubicBezTo>
                  <a:cubicBezTo>
                    <a:pt x="34" y="84"/>
                    <a:pt x="24" y="80"/>
                    <a:pt x="16" y="71"/>
                  </a:cubicBezTo>
                  <a:close/>
                  <a:moveTo>
                    <a:pt x="72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75" y="75"/>
                    <a:pt x="76" y="75"/>
                    <a:pt x="76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77" y="84"/>
                    <a:pt x="77" y="84"/>
                    <a:pt x="77" y="84"/>
                  </a:cubicBezTo>
                  <a:lnTo>
                    <a:pt x="72" y="78"/>
                  </a:lnTo>
                  <a:close/>
                  <a:moveTo>
                    <a:pt x="111" y="120"/>
                  </a:moveTo>
                  <a:cubicBezTo>
                    <a:pt x="80" y="87"/>
                    <a:pt x="80" y="87"/>
                    <a:pt x="80" y="87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117" y="114"/>
                    <a:pt x="117" y="114"/>
                    <a:pt x="117" y="114"/>
                  </a:cubicBezTo>
                  <a:lnTo>
                    <a:pt x="111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64" name="Group 184"/>
          <p:cNvGrpSpPr>
            <a:grpSpLocks noChangeAspect="1"/>
          </p:cNvGrpSpPr>
          <p:nvPr/>
        </p:nvGrpSpPr>
        <p:grpSpPr bwMode="auto">
          <a:xfrm>
            <a:off x="5853108" y="1538289"/>
            <a:ext cx="768350" cy="768350"/>
            <a:chOff x="3692" y="969"/>
            <a:chExt cx="484" cy="484"/>
          </a:xfrm>
        </p:grpSpPr>
        <p:sp>
          <p:nvSpPr>
            <p:cNvPr id="46265" name="Freeform 185"/>
            <p:cNvSpPr>
              <a:spLocks noEditPoints="1"/>
            </p:cNvSpPr>
            <p:nvPr/>
          </p:nvSpPr>
          <p:spPr bwMode="auto">
            <a:xfrm>
              <a:off x="3692" y="96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66" name="Freeform 186"/>
            <p:cNvSpPr>
              <a:spLocks noEditPoints="1"/>
            </p:cNvSpPr>
            <p:nvPr/>
          </p:nvSpPr>
          <p:spPr bwMode="auto">
            <a:xfrm>
              <a:off x="3841" y="1168"/>
              <a:ext cx="31" cy="4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34"/>
                </a:cxn>
                <a:cxn ang="0">
                  <a:pos x="0" y="43"/>
                </a:cxn>
                <a:cxn ang="0">
                  <a:pos x="7" y="43"/>
                </a:cxn>
                <a:cxn ang="0">
                  <a:pos x="21" y="43"/>
                </a:cxn>
                <a:cxn ang="0">
                  <a:pos x="31" y="43"/>
                </a:cxn>
                <a:cxn ang="0">
                  <a:pos x="31" y="34"/>
                </a:cxn>
                <a:cxn ang="0">
                  <a:pos x="31" y="10"/>
                </a:cxn>
                <a:cxn ang="0">
                  <a:pos x="31" y="0"/>
                </a:cxn>
                <a:cxn ang="0">
                  <a:pos x="21" y="0"/>
                </a:cxn>
                <a:cxn ang="0">
                  <a:pos x="7" y="0"/>
                </a:cxn>
                <a:cxn ang="0">
                  <a:pos x="21" y="34"/>
                </a:cxn>
                <a:cxn ang="0">
                  <a:pos x="7" y="34"/>
                </a:cxn>
                <a:cxn ang="0">
                  <a:pos x="7" y="10"/>
                </a:cxn>
                <a:cxn ang="0">
                  <a:pos x="21" y="10"/>
                </a:cxn>
                <a:cxn ang="0">
                  <a:pos x="21" y="34"/>
                </a:cxn>
              </a:cxnLst>
              <a:rect l="0" t="0" r="r" b="b"/>
              <a:pathLst>
                <a:path w="31" h="43">
                  <a:moveTo>
                    <a:pt x="7" y="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0" y="34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3"/>
                  </a:lnTo>
                  <a:lnTo>
                    <a:pt x="31" y="43"/>
                  </a:lnTo>
                  <a:lnTo>
                    <a:pt x="31" y="34"/>
                  </a:lnTo>
                  <a:lnTo>
                    <a:pt x="31" y="10"/>
                  </a:lnTo>
                  <a:lnTo>
                    <a:pt x="31" y="0"/>
                  </a:lnTo>
                  <a:lnTo>
                    <a:pt x="21" y="0"/>
                  </a:lnTo>
                  <a:lnTo>
                    <a:pt x="7" y="0"/>
                  </a:lnTo>
                  <a:close/>
                  <a:moveTo>
                    <a:pt x="21" y="34"/>
                  </a:moveTo>
                  <a:lnTo>
                    <a:pt x="7" y="34"/>
                  </a:lnTo>
                  <a:lnTo>
                    <a:pt x="7" y="10"/>
                  </a:lnTo>
                  <a:lnTo>
                    <a:pt x="21" y="10"/>
                  </a:lnTo>
                  <a:lnTo>
                    <a:pt x="21" y="3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67" name="Freeform 187"/>
            <p:cNvSpPr>
              <a:spLocks noEditPoints="1"/>
            </p:cNvSpPr>
            <p:nvPr/>
          </p:nvSpPr>
          <p:spPr bwMode="auto">
            <a:xfrm>
              <a:off x="3882" y="1156"/>
              <a:ext cx="31" cy="5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46"/>
                </a:cxn>
                <a:cxn ang="0">
                  <a:pos x="0" y="55"/>
                </a:cxn>
                <a:cxn ang="0">
                  <a:pos x="7" y="55"/>
                </a:cxn>
                <a:cxn ang="0">
                  <a:pos x="21" y="55"/>
                </a:cxn>
                <a:cxn ang="0">
                  <a:pos x="31" y="55"/>
                </a:cxn>
                <a:cxn ang="0">
                  <a:pos x="31" y="46"/>
                </a:cxn>
                <a:cxn ang="0">
                  <a:pos x="31" y="7"/>
                </a:cxn>
                <a:cxn ang="0">
                  <a:pos x="31" y="0"/>
                </a:cxn>
                <a:cxn ang="0">
                  <a:pos x="21" y="0"/>
                </a:cxn>
                <a:cxn ang="0">
                  <a:pos x="7" y="0"/>
                </a:cxn>
                <a:cxn ang="0">
                  <a:pos x="21" y="46"/>
                </a:cxn>
                <a:cxn ang="0">
                  <a:pos x="7" y="46"/>
                </a:cxn>
                <a:cxn ang="0">
                  <a:pos x="7" y="7"/>
                </a:cxn>
                <a:cxn ang="0">
                  <a:pos x="21" y="7"/>
                </a:cxn>
                <a:cxn ang="0">
                  <a:pos x="21" y="46"/>
                </a:cxn>
              </a:cxnLst>
              <a:rect l="0" t="0" r="r" b="b"/>
              <a:pathLst>
                <a:path w="31" h="55">
                  <a:moveTo>
                    <a:pt x="7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7" y="55"/>
                  </a:lnTo>
                  <a:lnTo>
                    <a:pt x="21" y="55"/>
                  </a:lnTo>
                  <a:lnTo>
                    <a:pt x="31" y="55"/>
                  </a:lnTo>
                  <a:lnTo>
                    <a:pt x="31" y="46"/>
                  </a:lnTo>
                  <a:lnTo>
                    <a:pt x="31" y="7"/>
                  </a:lnTo>
                  <a:lnTo>
                    <a:pt x="31" y="0"/>
                  </a:lnTo>
                  <a:lnTo>
                    <a:pt x="21" y="0"/>
                  </a:lnTo>
                  <a:lnTo>
                    <a:pt x="7" y="0"/>
                  </a:lnTo>
                  <a:close/>
                  <a:moveTo>
                    <a:pt x="21" y="46"/>
                  </a:moveTo>
                  <a:lnTo>
                    <a:pt x="7" y="46"/>
                  </a:lnTo>
                  <a:lnTo>
                    <a:pt x="7" y="7"/>
                  </a:lnTo>
                  <a:lnTo>
                    <a:pt x="21" y="7"/>
                  </a:lnTo>
                  <a:lnTo>
                    <a:pt x="21" y="4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68" name="Freeform 188"/>
            <p:cNvSpPr>
              <a:spLocks noEditPoints="1"/>
            </p:cNvSpPr>
            <p:nvPr/>
          </p:nvSpPr>
          <p:spPr bwMode="auto">
            <a:xfrm>
              <a:off x="3922" y="1139"/>
              <a:ext cx="32" cy="72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63"/>
                </a:cxn>
                <a:cxn ang="0">
                  <a:pos x="0" y="72"/>
                </a:cxn>
                <a:cxn ang="0">
                  <a:pos x="8" y="72"/>
                </a:cxn>
                <a:cxn ang="0">
                  <a:pos x="22" y="72"/>
                </a:cxn>
                <a:cxn ang="0">
                  <a:pos x="32" y="72"/>
                </a:cxn>
                <a:cxn ang="0">
                  <a:pos x="32" y="63"/>
                </a:cxn>
                <a:cxn ang="0">
                  <a:pos x="32" y="10"/>
                </a:cxn>
                <a:cxn ang="0">
                  <a:pos x="32" y="0"/>
                </a:cxn>
                <a:cxn ang="0">
                  <a:pos x="22" y="0"/>
                </a:cxn>
                <a:cxn ang="0">
                  <a:pos x="22" y="63"/>
                </a:cxn>
                <a:cxn ang="0">
                  <a:pos x="8" y="63"/>
                </a:cxn>
                <a:cxn ang="0">
                  <a:pos x="8" y="10"/>
                </a:cxn>
                <a:cxn ang="0">
                  <a:pos x="22" y="10"/>
                </a:cxn>
                <a:cxn ang="0">
                  <a:pos x="22" y="63"/>
                </a:cxn>
              </a:cxnLst>
              <a:rect l="0" t="0" r="r" b="b"/>
              <a:pathLst>
                <a:path w="32" h="72">
                  <a:moveTo>
                    <a:pt x="22" y="0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22" y="72"/>
                  </a:lnTo>
                  <a:lnTo>
                    <a:pt x="32" y="72"/>
                  </a:lnTo>
                  <a:lnTo>
                    <a:pt x="32" y="63"/>
                  </a:lnTo>
                  <a:lnTo>
                    <a:pt x="32" y="10"/>
                  </a:lnTo>
                  <a:lnTo>
                    <a:pt x="32" y="0"/>
                  </a:lnTo>
                  <a:lnTo>
                    <a:pt x="22" y="0"/>
                  </a:lnTo>
                  <a:close/>
                  <a:moveTo>
                    <a:pt x="22" y="63"/>
                  </a:moveTo>
                  <a:lnTo>
                    <a:pt x="8" y="63"/>
                  </a:lnTo>
                  <a:lnTo>
                    <a:pt x="8" y="10"/>
                  </a:lnTo>
                  <a:lnTo>
                    <a:pt x="22" y="10"/>
                  </a:lnTo>
                  <a:lnTo>
                    <a:pt x="22" y="63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69" name="Freeform 189"/>
            <p:cNvSpPr>
              <a:spLocks/>
            </p:cNvSpPr>
            <p:nvPr/>
          </p:nvSpPr>
          <p:spPr bwMode="auto">
            <a:xfrm>
              <a:off x="3846" y="1101"/>
              <a:ext cx="81" cy="50"/>
            </a:xfrm>
            <a:custGeom>
              <a:avLst/>
              <a:gdLst/>
              <a:ahLst/>
              <a:cxnLst>
                <a:cxn ang="0">
                  <a:pos x="34" y="9"/>
                </a:cxn>
                <a:cxn ang="0">
                  <a:pos x="32" y="1"/>
                </a:cxn>
                <a:cxn ang="0">
                  <a:pos x="30" y="0"/>
                </a:cxn>
                <a:cxn ang="0">
                  <a:pos x="23" y="2"/>
                </a:cxn>
                <a:cxn ang="0">
                  <a:pos x="24" y="5"/>
                </a:cxn>
                <a:cxn ang="0">
                  <a:pos x="27" y="5"/>
                </a:cxn>
                <a:cxn ang="0">
                  <a:pos x="0" y="18"/>
                </a:cxn>
                <a:cxn ang="0">
                  <a:pos x="0" y="21"/>
                </a:cxn>
                <a:cxn ang="0">
                  <a:pos x="2" y="21"/>
                </a:cxn>
                <a:cxn ang="0">
                  <a:pos x="30" y="6"/>
                </a:cxn>
                <a:cxn ang="0">
                  <a:pos x="31" y="10"/>
                </a:cxn>
                <a:cxn ang="0">
                  <a:pos x="34" y="9"/>
                </a:cxn>
              </a:cxnLst>
              <a:rect l="0" t="0" r="r" b="b"/>
              <a:pathLst>
                <a:path w="34" h="21">
                  <a:moveTo>
                    <a:pt x="34" y="9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1" y="14"/>
                    <a:pt x="11" y="18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1" y="21"/>
                    <a:pt x="2" y="21"/>
                  </a:cubicBezTo>
                  <a:cubicBezTo>
                    <a:pt x="14" y="21"/>
                    <a:pt x="24" y="16"/>
                    <a:pt x="30" y="6"/>
                  </a:cubicBezTo>
                  <a:cubicBezTo>
                    <a:pt x="31" y="10"/>
                    <a:pt x="31" y="10"/>
                    <a:pt x="31" y="10"/>
                  </a:cubicBezTo>
                  <a:lnTo>
                    <a:pt x="34" y="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70" name="Freeform 190"/>
            <p:cNvSpPr>
              <a:spLocks noEditPoints="1"/>
            </p:cNvSpPr>
            <p:nvPr/>
          </p:nvSpPr>
          <p:spPr bwMode="auto">
            <a:xfrm>
              <a:off x="3791" y="1056"/>
              <a:ext cx="292" cy="299"/>
            </a:xfrm>
            <a:custGeom>
              <a:avLst/>
              <a:gdLst/>
              <a:ahLst/>
              <a:cxnLst>
                <a:cxn ang="0">
                  <a:pos x="88" y="79"/>
                </a:cxn>
                <a:cxn ang="0">
                  <a:pos x="86" y="76"/>
                </a:cxn>
                <a:cxn ang="0">
                  <a:pos x="86" y="76"/>
                </a:cxn>
                <a:cxn ang="0">
                  <a:pos x="85" y="76"/>
                </a:cxn>
                <a:cxn ang="0">
                  <a:pos x="80" y="70"/>
                </a:cxn>
                <a:cxn ang="0">
                  <a:pos x="80" y="70"/>
                </a:cxn>
                <a:cxn ang="0">
                  <a:pos x="88" y="45"/>
                </a:cxn>
                <a:cxn ang="0">
                  <a:pos x="76" y="14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15" y="12"/>
                </a:cxn>
                <a:cxn ang="0">
                  <a:pos x="1" y="43"/>
                </a:cxn>
                <a:cxn ang="0">
                  <a:pos x="13" y="74"/>
                </a:cxn>
                <a:cxn ang="0">
                  <a:pos x="45" y="88"/>
                </a:cxn>
                <a:cxn ang="0">
                  <a:pos x="69" y="80"/>
                </a:cxn>
                <a:cxn ang="0">
                  <a:pos x="69" y="81"/>
                </a:cxn>
                <a:cxn ang="0">
                  <a:pos x="74" y="86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108" y="122"/>
                </a:cxn>
                <a:cxn ang="0">
                  <a:pos x="111" y="125"/>
                </a:cxn>
                <a:cxn ang="0">
                  <a:pos x="113" y="122"/>
                </a:cxn>
                <a:cxn ang="0">
                  <a:pos x="119" y="117"/>
                </a:cxn>
                <a:cxn ang="0">
                  <a:pos x="122" y="114"/>
                </a:cxn>
                <a:cxn ang="0">
                  <a:pos x="119" y="112"/>
                </a:cxn>
                <a:cxn ang="0">
                  <a:pos x="88" y="79"/>
                </a:cxn>
                <a:cxn ang="0">
                  <a:pos x="16" y="71"/>
                </a:cxn>
                <a:cxn ang="0">
                  <a:pos x="17" y="15"/>
                </a:cxn>
                <a:cxn ang="0">
                  <a:pos x="45" y="4"/>
                </a:cxn>
                <a:cxn ang="0">
                  <a:pos x="74" y="16"/>
                </a:cxn>
                <a:cxn ang="0">
                  <a:pos x="73" y="72"/>
                </a:cxn>
                <a:cxn ang="0">
                  <a:pos x="71" y="74"/>
                </a:cxn>
                <a:cxn ang="0">
                  <a:pos x="45" y="84"/>
                </a:cxn>
                <a:cxn ang="0">
                  <a:pos x="16" y="71"/>
                </a:cxn>
                <a:cxn ang="0">
                  <a:pos x="72" y="78"/>
                </a:cxn>
                <a:cxn ang="0">
                  <a:pos x="73" y="77"/>
                </a:cxn>
                <a:cxn ang="0">
                  <a:pos x="75" y="76"/>
                </a:cxn>
                <a:cxn ang="0">
                  <a:pos x="76" y="74"/>
                </a:cxn>
                <a:cxn ang="0">
                  <a:pos x="78" y="73"/>
                </a:cxn>
                <a:cxn ang="0">
                  <a:pos x="83" y="78"/>
                </a:cxn>
                <a:cxn ang="0">
                  <a:pos x="77" y="84"/>
                </a:cxn>
                <a:cxn ang="0">
                  <a:pos x="72" y="78"/>
                </a:cxn>
                <a:cxn ang="0">
                  <a:pos x="111" y="120"/>
                </a:cxn>
                <a:cxn ang="0">
                  <a:pos x="80" y="87"/>
                </a:cxn>
                <a:cxn ang="0">
                  <a:pos x="85" y="81"/>
                </a:cxn>
                <a:cxn ang="0">
                  <a:pos x="117" y="114"/>
                </a:cxn>
                <a:cxn ang="0">
                  <a:pos x="111" y="120"/>
                </a:cxn>
              </a:cxnLst>
              <a:rect l="0" t="0" r="r" b="b"/>
              <a:pathLst>
                <a:path w="122" h="125">
                  <a:moveTo>
                    <a:pt x="88" y="79"/>
                  </a:moveTo>
                  <a:cubicBezTo>
                    <a:pt x="86" y="76"/>
                    <a:pt x="86" y="76"/>
                    <a:pt x="86" y="76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5" y="63"/>
                    <a:pt x="88" y="54"/>
                    <a:pt x="88" y="45"/>
                  </a:cubicBezTo>
                  <a:cubicBezTo>
                    <a:pt x="89" y="33"/>
                    <a:pt x="84" y="22"/>
                    <a:pt x="76" y="14"/>
                  </a:cubicBezTo>
                  <a:cubicBezTo>
                    <a:pt x="68" y="5"/>
                    <a:pt x="57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23" y="5"/>
                    <a:pt x="15" y="12"/>
                  </a:cubicBezTo>
                  <a:cubicBezTo>
                    <a:pt x="6" y="20"/>
                    <a:pt x="1" y="31"/>
                    <a:pt x="1" y="43"/>
                  </a:cubicBezTo>
                  <a:cubicBezTo>
                    <a:pt x="1" y="54"/>
                    <a:pt x="5" y="65"/>
                    <a:pt x="13" y="74"/>
                  </a:cubicBezTo>
                  <a:cubicBezTo>
                    <a:pt x="21" y="83"/>
                    <a:pt x="33" y="88"/>
                    <a:pt x="45" y="88"/>
                  </a:cubicBezTo>
                  <a:cubicBezTo>
                    <a:pt x="53" y="88"/>
                    <a:pt x="62" y="85"/>
                    <a:pt x="69" y="80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2" y="114"/>
                    <a:pt x="122" y="114"/>
                    <a:pt x="122" y="114"/>
                  </a:cubicBezTo>
                  <a:cubicBezTo>
                    <a:pt x="119" y="112"/>
                    <a:pt x="119" y="112"/>
                    <a:pt x="119" y="112"/>
                  </a:cubicBezTo>
                  <a:lnTo>
                    <a:pt x="88" y="79"/>
                  </a:lnTo>
                  <a:close/>
                  <a:moveTo>
                    <a:pt x="16" y="71"/>
                  </a:moveTo>
                  <a:cubicBezTo>
                    <a:pt x="0" y="55"/>
                    <a:pt x="1" y="30"/>
                    <a:pt x="17" y="15"/>
                  </a:cubicBezTo>
                  <a:cubicBezTo>
                    <a:pt x="25" y="8"/>
                    <a:pt x="35" y="4"/>
                    <a:pt x="45" y="4"/>
                  </a:cubicBezTo>
                  <a:cubicBezTo>
                    <a:pt x="55" y="4"/>
                    <a:pt x="66" y="8"/>
                    <a:pt x="74" y="16"/>
                  </a:cubicBezTo>
                  <a:cubicBezTo>
                    <a:pt x="89" y="32"/>
                    <a:pt x="88" y="56"/>
                    <a:pt x="73" y="72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3" y="81"/>
                    <a:pt x="54" y="84"/>
                    <a:pt x="45" y="84"/>
                  </a:cubicBezTo>
                  <a:cubicBezTo>
                    <a:pt x="34" y="84"/>
                    <a:pt x="24" y="80"/>
                    <a:pt x="16" y="71"/>
                  </a:cubicBezTo>
                  <a:close/>
                  <a:moveTo>
                    <a:pt x="72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75" y="75"/>
                    <a:pt x="76" y="75"/>
                    <a:pt x="76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77" y="84"/>
                    <a:pt x="77" y="84"/>
                    <a:pt x="77" y="84"/>
                  </a:cubicBezTo>
                  <a:lnTo>
                    <a:pt x="72" y="78"/>
                  </a:lnTo>
                  <a:close/>
                  <a:moveTo>
                    <a:pt x="111" y="120"/>
                  </a:moveTo>
                  <a:cubicBezTo>
                    <a:pt x="80" y="87"/>
                    <a:pt x="80" y="87"/>
                    <a:pt x="80" y="87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117" y="114"/>
                    <a:pt x="117" y="114"/>
                    <a:pt x="117" y="114"/>
                  </a:cubicBezTo>
                  <a:lnTo>
                    <a:pt x="111" y="12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73" name="Group 193"/>
          <p:cNvGrpSpPr>
            <a:grpSpLocks noChangeAspect="1"/>
          </p:cNvGrpSpPr>
          <p:nvPr/>
        </p:nvGrpSpPr>
        <p:grpSpPr bwMode="auto">
          <a:xfrm>
            <a:off x="8047827" y="1530350"/>
            <a:ext cx="784224" cy="784224"/>
            <a:chOff x="5066" y="964"/>
            <a:chExt cx="494" cy="494"/>
          </a:xfrm>
        </p:grpSpPr>
        <p:sp>
          <p:nvSpPr>
            <p:cNvPr id="46274" name="Freeform 194"/>
            <p:cNvSpPr>
              <a:spLocks noEditPoints="1"/>
            </p:cNvSpPr>
            <p:nvPr/>
          </p:nvSpPr>
          <p:spPr bwMode="auto">
            <a:xfrm>
              <a:off x="5066" y="964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6"/>
                    <a:pt x="103" y="206"/>
                  </a:cubicBezTo>
                  <a:cubicBezTo>
                    <a:pt x="160" y="206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5" name="Freeform 195"/>
            <p:cNvSpPr>
              <a:spLocks noEditPoints="1"/>
            </p:cNvSpPr>
            <p:nvPr/>
          </p:nvSpPr>
          <p:spPr bwMode="auto">
            <a:xfrm>
              <a:off x="5138" y="1036"/>
              <a:ext cx="348" cy="348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0" y="72"/>
                </a:cxn>
                <a:cxn ang="0">
                  <a:pos x="72" y="145"/>
                </a:cxn>
                <a:cxn ang="0">
                  <a:pos x="145" y="72"/>
                </a:cxn>
                <a:cxn ang="0">
                  <a:pos x="72" y="0"/>
                </a:cxn>
                <a:cxn ang="0">
                  <a:pos x="72" y="142"/>
                </a:cxn>
                <a:cxn ang="0">
                  <a:pos x="3" y="72"/>
                </a:cxn>
                <a:cxn ang="0">
                  <a:pos x="72" y="3"/>
                </a:cxn>
                <a:cxn ang="0">
                  <a:pos x="142" y="72"/>
                </a:cxn>
                <a:cxn ang="0">
                  <a:pos x="72" y="142"/>
                </a:cxn>
              </a:cxnLst>
              <a:rect l="0" t="0" r="r" b="b"/>
              <a:pathLst>
                <a:path w="145" h="145">
                  <a:moveTo>
                    <a:pt x="72" y="0"/>
                  </a:moveTo>
                  <a:cubicBezTo>
                    <a:pt x="32" y="0"/>
                    <a:pt x="0" y="32"/>
                    <a:pt x="0" y="72"/>
                  </a:cubicBezTo>
                  <a:cubicBezTo>
                    <a:pt x="0" y="113"/>
                    <a:pt x="32" y="145"/>
                    <a:pt x="72" y="145"/>
                  </a:cubicBezTo>
                  <a:cubicBezTo>
                    <a:pt x="112" y="145"/>
                    <a:pt x="145" y="113"/>
                    <a:pt x="145" y="72"/>
                  </a:cubicBezTo>
                  <a:cubicBezTo>
                    <a:pt x="145" y="32"/>
                    <a:pt x="112" y="0"/>
                    <a:pt x="72" y="0"/>
                  </a:cubicBezTo>
                  <a:close/>
                  <a:moveTo>
                    <a:pt x="72" y="142"/>
                  </a:moveTo>
                  <a:cubicBezTo>
                    <a:pt x="34" y="142"/>
                    <a:pt x="3" y="111"/>
                    <a:pt x="3" y="72"/>
                  </a:cubicBezTo>
                  <a:cubicBezTo>
                    <a:pt x="3" y="34"/>
                    <a:pt x="34" y="3"/>
                    <a:pt x="72" y="3"/>
                  </a:cubicBezTo>
                  <a:cubicBezTo>
                    <a:pt x="111" y="3"/>
                    <a:pt x="142" y="34"/>
                    <a:pt x="142" y="72"/>
                  </a:cubicBezTo>
                  <a:cubicBezTo>
                    <a:pt x="142" y="111"/>
                    <a:pt x="111" y="142"/>
                    <a:pt x="72" y="14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6" name="Freeform 196"/>
            <p:cNvSpPr>
              <a:spLocks noEditPoints="1"/>
            </p:cNvSpPr>
            <p:nvPr/>
          </p:nvSpPr>
          <p:spPr bwMode="auto">
            <a:xfrm>
              <a:off x="5316" y="1075"/>
              <a:ext cx="57" cy="271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22" y="0"/>
                </a:cxn>
                <a:cxn ang="0">
                  <a:pos x="19" y="2"/>
                </a:cxn>
                <a:cxn ang="0">
                  <a:pos x="10" y="56"/>
                </a:cxn>
                <a:cxn ang="0">
                  <a:pos x="12" y="57"/>
                </a:cxn>
                <a:cxn ang="0">
                  <a:pos x="14" y="57"/>
                </a:cxn>
                <a:cxn ang="0">
                  <a:pos x="14" y="110"/>
                </a:cxn>
                <a:cxn ang="0">
                  <a:pos x="15" y="111"/>
                </a:cxn>
                <a:cxn ang="0">
                  <a:pos x="19" y="113"/>
                </a:cxn>
                <a:cxn ang="0">
                  <a:pos x="19" y="113"/>
                </a:cxn>
                <a:cxn ang="0">
                  <a:pos x="24" y="112"/>
                </a:cxn>
                <a:cxn ang="0">
                  <a:pos x="24" y="110"/>
                </a:cxn>
                <a:cxn ang="0">
                  <a:pos x="24" y="1"/>
                </a:cxn>
                <a:cxn ang="0">
                  <a:pos x="23" y="0"/>
                </a:cxn>
                <a:cxn ang="0">
                  <a:pos x="21" y="109"/>
                </a:cxn>
                <a:cxn ang="0">
                  <a:pos x="19" y="110"/>
                </a:cxn>
                <a:cxn ang="0">
                  <a:pos x="19" y="110"/>
                </a:cxn>
                <a:cxn ang="0">
                  <a:pos x="18" y="109"/>
                </a:cxn>
                <a:cxn ang="0">
                  <a:pos x="18" y="56"/>
                </a:cxn>
                <a:cxn ang="0">
                  <a:pos x="16" y="54"/>
                </a:cxn>
                <a:cxn ang="0">
                  <a:pos x="13" y="54"/>
                </a:cxn>
                <a:cxn ang="0">
                  <a:pos x="14" y="16"/>
                </a:cxn>
                <a:cxn ang="0">
                  <a:pos x="21" y="5"/>
                </a:cxn>
                <a:cxn ang="0">
                  <a:pos x="21" y="5"/>
                </a:cxn>
                <a:cxn ang="0">
                  <a:pos x="21" y="109"/>
                </a:cxn>
              </a:cxnLst>
              <a:rect l="0" t="0" r="r" b="b"/>
              <a:pathLst>
                <a:path w="24" h="113">
                  <a:moveTo>
                    <a:pt x="23" y="0"/>
                  </a:moveTo>
                  <a:cubicBezTo>
                    <a:pt x="23" y="0"/>
                    <a:pt x="22" y="0"/>
                    <a:pt x="22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3"/>
                    <a:pt x="0" y="17"/>
                    <a:pt x="10" y="56"/>
                  </a:cubicBezTo>
                  <a:cubicBezTo>
                    <a:pt x="10" y="57"/>
                    <a:pt x="11" y="57"/>
                    <a:pt x="12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1"/>
                    <a:pt x="14" y="111"/>
                    <a:pt x="15" y="111"/>
                  </a:cubicBezTo>
                  <a:cubicBezTo>
                    <a:pt x="15" y="112"/>
                    <a:pt x="16" y="113"/>
                    <a:pt x="19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1" y="113"/>
                    <a:pt x="22" y="113"/>
                    <a:pt x="24" y="112"/>
                  </a:cubicBezTo>
                  <a:cubicBezTo>
                    <a:pt x="24" y="111"/>
                    <a:pt x="24" y="111"/>
                    <a:pt x="24" y="11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4" y="0"/>
                    <a:pt x="23" y="0"/>
                  </a:cubicBezTo>
                  <a:close/>
                  <a:moveTo>
                    <a:pt x="21" y="109"/>
                  </a:moveTo>
                  <a:cubicBezTo>
                    <a:pt x="20" y="110"/>
                    <a:pt x="20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8" y="110"/>
                    <a:pt x="18" y="110"/>
                    <a:pt x="18" y="109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5"/>
                    <a:pt x="17" y="54"/>
                    <a:pt x="16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9" y="36"/>
                    <a:pt x="11" y="23"/>
                    <a:pt x="14" y="16"/>
                  </a:cubicBezTo>
                  <a:cubicBezTo>
                    <a:pt x="16" y="8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lnTo>
                    <a:pt x="21" y="109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77" name="Freeform 197"/>
            <p:cNvSpPr>
              <a:spLocks/>
            </p:cNvSpPr>
            <p:nvPr/>
          </p:nvSpPr>
          <p:spPr bwMode="auto">
            <a:xfrm>
              <a:off x="5246" y="1104"/>
              <a:ext cx="63" cy="242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0" y="3"/>
                </a:cxn>
                <a:cxn ang="0">
                  <a:pos x="20" y="27"/>
                </a:cxn>
                <a:cxn ang="0">
                  <a:pos x="15" y="33"/>
                </a:cxn>
                <a:cxn ang="0">
                  <a:pos x="15" y="34"/>
                </a:cxn>
                <a:cxn ang="0">
                  <a:pos x="15" y="97"/>
                </a:cxn>
                <a:cxn ang="0">
                  <a:pos x="13" y="98"/>
                </a:cxn>
                <a:cxn ang="0">
                  <a:pos x="13" y="98"/>
                </a:cxn>
                <a:cxn ang="0">
                  <a:pos x="11" y="97"/>
                </a:cxn>
                <a:cxn ang="0">
                  <a:pos x="11" y="34"/>
                </a:cxn>
                <a:cxn ang="0">
                  <a:pos x="11" y="33"/>
                </a:cxn>
                <a:cxn ang="0">
                  <a:pos x="6" y="27"/>
                </a:cxn>
                <a:cxn ang="0">
                  <a:pos x="6" y="3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3" y="28"/>
                </a:cxn>
                <a:cxn ang="0">
                  <a:pos x="3" y="29"/>
                </a:cxn>
                <a:cxn ang="0">
                  <a:pos x="8" y="35"/>
                </a:cxn>
                <a:cxn ang="0">
                  <a:pos x="8" y="97"/>
                </a:cxn>
                <a:cxn ang="0">
                  <a:pos x="8" y="98"/>
                </a:cxn>
                <a:cxn ang="0">
                  <a:pos x="13" y="101"/>
                </a:cxn>
                <a:cxn ang="0">
                  <a:pos x="18" y="98"/>
                </a:cxn>
                <a:cxn ang="0">
                  <a:pos x="18" y="97"/>
                </a:cxn>
                <a:cxn ang="0">
                  <a:pos x="18" y="35"/>
                </a:cxn>
                <a:cxn ang="0">
                  <a:pos x="23" y="29"/>
                </a:cxn>
                <a:cxn ang="0">
                  <a:pos x="23" y="28"/>
                </a:cxn>
                <a:cxn ang="0">
                  <a:pos x="23" y="2"/>
                </a:cxn>
                <a:cxn ang="0">
                  <a:pos x="21" y="1"/>
                </a:cxn>
              </a:cxnLst>
              <a:rect l="0" t="0" r="r" b="b"/>
              <a:pathLst>
                <a:path w="26" h="101">
                  <a:moveTo>
                    <a:pt x="21" y="1"/>
                  </a:moveTo>
                  <a:cubicBezTo>
                    <a:pt x="21" y="1"/>
                    <a:pt x="20" y="2"/>
                    <a:pt x="20" y="3"/>
                  </a:cubicBezTo>
                  <a:cubicBezTo>
                    <a:pt x="20" y="3"/>
                    <a:pt x="23" y="15"/>
                    <a:pt x="20" y="27"/>
                  </a:cubicBezTo>
                  <a:cubicBezTo>
                    <a:pt x="20" y="28"/>
                    <a:pt x="17" y="31"/>
                    <a:pt x="15" y="33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4" y="98"/>
                    <a:pt x="13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2" y="98"/>
                    <a:pt x="12" y="97"/>
                    <a:pt x="11" y="97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3"/>
                  </a:cubicBezTo>
                  <a:cubicBezTo>
                    <a:pt x="9" y="31"/>
                    <a:pt x="7" y="28"/>
                    <a:pt x="6" y="27"/>
                  </a:cubicBezTo>
                  <a:cubicBezTo>
                    <a:pt x="3" y="15"/>
                    <a:pt x="6" y="3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4" y="0"/>
                    <a:pt x="3" y="1"/>
                    <a:pt x="3" y="2"/>
                  </a:cubicBezTo>
                  <a:cubicBezTo>
                    <a:pt x="3" y="2"/>
                    <a:pt x="0" y="15"/>
                    <a:pt x="3" y="28"/>
                  </a:cubicBezTo>
                  <a:cubicBezTo>
                    <a:pt x="3" y="28"/>
                    <a:pt x="3" y="28"/>
                    <a:pt x="3" y="29"/>
                  </a:cubicBezTo>
                  <a:cubicBezTo>
                    <a:pt x="3" y="29"/>
                    <a:pt x="5" y="32"/>
                    <a:pt x="8" y="35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9"/>
                    <a:pt x="10" y="101"/>
                    <a:pt x="13" y="101"/>
                  </a:cubicBezTo>
                  <a:cubicBezTo>
                    <a:pt x="14" y="101"/>
                    <a:pt x="16" y="101"/>
                    <a:pt x="18" y="98"/>
                  </a:cubicBezTo>
                  <a:cubicBezTo>
                    <a:pt x="18" y="98"/>
                    <a:pt x="18" y="98"/>
                    <a:pt x="18" y="9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21" y="32"/>
                    <a:pt x="23" y="29"/>
                    <a:pt x="23" y="29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6" y="15"/>
                    <a:pt x="24" y="2"/>
                    <a:pt x="23" y="2"/>
                  </a:cubicBezTo>
                  <a:cubicBezTo>
                    <a:pt x="23" y="1"/>
                    <a:pt x="22" y="0"/>
                    <a:pt x="21" y="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8" name="Freeform 198"/>
            <p:cNvSpPr>
              <a:spLocks/>
            </p:cNvSpPr>
            <p:nvPr/>
          </p:nvSpPr>
          <p:spPr bwMode="auto">
            <a:xfrm>
              <a:off x="5268" y="1104"/>
              <a:ext cx="7" cy="47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3" y="19"/>
                </a:cxn>
                <a:cxn ang="0">
                  <a:pos x="3" y="1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9"/>
                </a:cxn>
                <a:cxn ang="0">
                  <a:pos x="1" y="20"/>
                </a:cxn>
              </a:cxnLst>
              <a:rect l="0" t="0" r="r" b="b"/>
              <a:pathLst>
                <a:path w="3" h="20">
                  <a:moveTo>
                    <a:pt x="1" y="20"/>
                  </a:moveTo>
                  <a:cubicBezTo>
                    <a:pt x="2" y="20"/>
                    <a:pt x="3" y="20"/>
                    <a:pt x="3" y="1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0"/>
                    <a:pt x="1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79" name="Freeform 199"/>
            <p:cNvSpPr>
              <a:spLocks/>
            </p:cNvSpPr>
            <p:nvPr/>
          </p:nvSpPr>
          <p:spPr bwMode="auto">
            <a:xfrm>
              <a:off x="5280" y="1104"/>
              <a:ext cx="7" cy="47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3" y="19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9"/>
                </a:cxn>
                <a:cxn ang="0">
                  <a:pos x="2" y="20"/>
                </a:cxn>
              </a:cxnLst>
              <a:rect l="0" t="0" r="r" b="b"/>
              <a:pathLst>
                <a:path w="3" h="20">
                  <a:moveTo>
                    <a:pt x="2" y="20"/>
                  </a:moveTo>
                  <a:cubicBezTo>
                    <a:pt x="3" y="20"/>
                    <a:pt x="3" y="20"/>
                    <a:pt x="3" y="19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0"/>
                    <a:pt x="2" y="20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82" name="Group 202"/>
          <p:cNvGrpSpPr>
            <a:grpSpLocks noChangeAspect="1"/>
          </p:cNvGrpSpPr>
          <p:nvPr/>
        </p:nvGrpSpPr>
        <p:grpSpPr bwMode="auto">
          <a:xfrm>
            <a:off x="346870" y="2763838"/>
            <a:ext cx="833437" cy="833437"/>
            <a:chOff x="215" y="1741"/>
            <a:chExt cx="525" cy="525"/>
          </a:xfrm>
        </p:grpSpPr>
        <p:sp>
          <p:nvSpPr>
            <p:cNvPr id="46283" name="Oval 203"/>
            <p:cNvSpPr>
              <a:spLocks noChangeArrowheads="1"/>
            </p:cNvSpPr>
            <p:nvPr/>
          </p:nvSpPr>
          <p:spPr bwMode="auto">
            <a:xfrm>
              <a:off x="215" y="1741"/>
              <a:ext cx="525" cy="52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84" name="Freeform 204"/>
            <p:cNvSpPr>
              <a:spLocks noEditPoints="1"/>
            </p:cNvSpPr>
            <p:nvPr/>
          </p:nvSpPr>
          <p:spPr bwMode="auto">
            <a:xfrm>
              <a:off x="235" y="1760"/>
              <a:ext cx="484" cy="487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2"/>
                </a:cxn>
                <a:cxn ang="0">
                  <a:pos x="101" y="203"/>
                </a:cxn>
                <a:cxn ang="0">
                  <a:pos x="202" y="102"/>
                </a:cxn>
                <a:cxn ang="0">
                  <a:pos x="101" y="0"/>
                </a:cxn>
                <a:cxn ang="0">
                  <a:pos x="169" y="170"/>
                </a:cxn>
                <a:cxn ang="0">
                  <a:pos x="101" y="198"/>
                </a:cxn>
                <a:cxn ang="0">
                  <a:pos x="33" y="170"/>
                </a:cxn>
                <a:cxn ang="0">
                  <a:pos x="5" y="102"/>
                </a:cxn>
                <a:cxn ang="0">
                  <a:pos x="33" y="34"/>
                </a:cxn>
                <a:cxn ang="0">
                  <a:pos x="101" y="5"/>
                </a:cxn>
                <a:cxn ang="0">
                  <a:pos x="169" y="34"/>
                </a:cxn>
                <a:cxn ang="0">
                  <a:pos x="197" y="102"/>
                </a:cxn>
                <a:cxn ang="0">
                  <a:pos x="169" y="170"/>
                </a:cxn>
              </a:cxnLst>
              <a:rect l="0" t="0" r="r" b="b"/>
              <a:pathLst>
                <a:path w="202" h="203">
                  <a:moveTo>
                    <a:pt x="101" y="0"/>
                  </a:moveTo>
                  <a:cubicBezTo>
                    <a:pt x="45" y="0"/>
                    <a:pt x="0" y="46"/>
                    <a:pt x="0" y="102"/>
                  </a:cubicBezTo>
                  <a:cubicBezTo>
                    <a:pt x="0" y="158"/>
                    <a:pt x="45" y="203"/>
                    <a:pt x="101" y="203"/>
                  </a:cubicBezTo>
                  <a:cubicBezTo>
                    <a:pt x="157" y="203"/>
                    <a:pt x="202" y="158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  <a:moveTo>
                    <a:pt x="169" y="170"/>
                  </a:moveTo>
                  <a:cubicBezTo>
                    <a:pt x="151" y="188"/>
                    <a:pt x="127" y="198"/>
                    <a:pt x="101" y="198"/>
                  </a:cubicBezTo>
                  <a:cubicBezTo>
                    <a:pt x="76" y="198"/>
                    <a:pt x="51" y="188"/>
                    <a:pt x="33" y="170"/>
                  </a:cubicBezTo>
                  <a:cubicBezTo>
                    <a:pt x="15" y="151"/>
                    <a:pt x="5" y="127"/>
                    <a:pt x="5" y="102"/>
                  </a:cubicBezTo>
                  <a:cubicBezTo>
                    <a:pt x="5" y="76"/>
                    <a:pt x="15" y="52"/>
                    <a:pt x="33" y="34"/>
                  </a:cubicBezTo>
                  <a:cubicBezTo>
                    <a:pt x="51" y="15"/>
                    <a:pt x="76" y="5"/>
                    <a:pt x="101" y="5"/>
                  </a:cubicBezTo>
                  <a:cubicBezTo>
                    <a:pt x="127" y="5"/>
                    <a:pt x="151" y="15"/>
                    <a:pt x="169" y="34"/>
                  </a:cubicBezTo>
                  <a:cubicBezTo>
                    <a:pt x="187" y="52"/>
                    <a:pt x="197" y="76"/>
                    <a:pt x="197" y="102"/>
                  </a:cubicBezTo>
                  <a:cubicBezTo>
                    <a:pt x="197" y="127"/>
                    <a:pt x="187" y="151"/>
                    <a:pt x="169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5" name="Freeform 205"/>
            <p:cNvSpPr>
              <a:spLocks noEditPoints="1"/>
            </p:cNvSpPr>
            <p:nvPr/>
          </p:nvSpPr>
          <p:spPr bwMode="auto">
            <a:xfrm>
              <a:off x="465" y="1864"/>
              <a:ext cx="141" cy="292"/>
            </a:xfrm>
            <a:custGeom>
              <a:avLst/>
              <a:gdLst/>
              <a:ahLst/>
              <a:cxnLst>
                <a:cxn ang="0">
                  <a:pos x="52" y="41"/>
                </a:cxn>
                <a:cxn ang="0">
                  <a:pos x="41" y="22"/>
                </a:cxn>
                <a:cxn ang="0">
                  <a:pos x="35" y="20"/>
                </a:cxn>
                <a:cxn ang="0">
                  <a:pos x="40" y="11"/>
                </a:cxn>
                <a:cxn ang="0">
                  <a:pos x="30" y="0"/>
                </a:cxn>
                <a:cxn ang="0">
                  <a:pos x="19" y="11"/>
                </a:cxn>
                <a:cxn ang="0">
                  <a:pos x="24" y="20"/>
                </a:cxn>
                <a:cxn ang="0">
                  <a:pos x="18" y="22"/>
                </a:cxn>
                <a:cxn ang="0">
                  <a:pos x="7" y="41"/>
                </a:cxn>
                <a:cxn ang="0">
                  <a:pos x="1" y="59"/>
                </a:cxn>
                <a:cxn ang="0">
                  <a:pos x="5" y="66"/>
                </a:cxn>
                <a:cxn ang="0">
                  <a:pos x="9" y="66"/>
                </a:cxn>
                <a:cxn ang="0">
                  <a:pos x="4" y="83"/>
                </a:cxn>
                <a:cxn ang="0">
                  <a:pos x="18" y="83"/>
                </a:cxn>
                <a:cxn ang="0">
                  <a:pos x="18" y="116"/>
                </a:cxn>
                <a:cxn ang="0">
                  <a:pos x="24" y="122"/>
                </a:cxn>
                <a:cxn ang="0">
                  <a:pos x="30" y="119"/>
                </a:cxn>
                <a:cxn ang="0">
                  <a:pos x="36" y="122"/>
                </a:cxn>
                <a:cxn ang="0">
                  <a:pos x="42" y="116"/>
                </a:cxn>
                <a:cxn ang="0">
                  <a:pos x="42" y="83"/>
                </a:cxn>
                <a:cxn ang="0">
                  <a:pos x="56" y="83"/>
                </a:cxn>
                <a:cxn ang="0">
                  <a:pos x="50" y="66"/>
                </a:cxn>
                <a:cxn ang="0">
                  <a:pos x="55" y="66"/>
                </a:cxn>
                <a:cxn ang="0">
                  <a:pos x="58" y="59"/>
                </a:cxn>
                <a:cxn ang="0">
                  <a:pos x="52" y="41"/>
                </a:cxn>
                <a:cxn ang="0">
                  <a:pos x="30" y="4"/>
                </a:cxn>
                <a:cxn ang="0">
                  <a:pos x="37" y="11"/>
                </a:cxn>
                <a:cxn ang="0">
                  <a:pos x="30" y="18"/>
                </a:cxn>
                <a:cxn ang="0">
                  <a:pos x="23" y="11"/>
                </a:cxn>
                <a:cxn ang="0">
                  <a:pos x="30" y="4"/>
                </a:cxn>
                <a:cxn ang="0">
                  <a:pos x="53" y="63"/>
                </a:cxn>
                <a:cxn ang="0">
                  <a:pos x="53" y="63"/>
                </a:cxn>
                <a:cxn ang="0">
                  <a:pos x="51" y="61"/>
                </a:cxn>
                <a:cxn ang="0">
                  <a:pos x="41" y="37"/>
                </a:cxn>
                <a:cxn ang="0">
                  <a:pos x="38" y="38"/>
                </a:cxn>
                <a:cxn ang="0">
                  <a:pos x="51" y="79"/>
                </a:cxn>
                <a:cxn ang="0">
                  <a:pos x="38" y="79"/>
                </a:cxn>
                <a:cxn ang="0">
                  <a:pos x="38" y="116"/>
                </a:cxn>
                <a:cxn ang="0">
                  <a:pos x="36" y="119"/>
                </a:cxn>
                <a:cxn ang="0">
                  <a:pos x="33" y="116"/>
                </a:cxn>
                <a:cxn ang="0">
                  <a:pos x="31" y="81"/>
                </a:cxn>
                <a:cxn ang="0">
                  <a:pos x="28" y="81"/>
                </a:cxn>
                <a:cxn ang="0">
                  <a:pos x="27" y="116"/>
                </a:cxn>
                <a:cxn ang="0">
                  <a:pos x="27" y="116"/>
                </a:cxn>
                <a:cxn ang="0">
                  <a:pos x="24" y="119"/>
                </a:cxn>
                <a:cxn ang="0">
                  <a:pos x="21" y="116"/>
                </a:cxn>
                <a:cxn ang="0">
                  <a:pos x="21" y="79"/>
                </a:cxn>
                <a:cxn ang="0">
                  <a:pos x="9" y="79"/>
                </a:cxn>
                <a:cxn ang="0">
                  <a:pos x="20" y="38"/>
                </a:cxn>
                <a:cxn ang="0">
                  <a:pos x="17" y="37"/>
                </a:cxn>
                <a:cxn ang="0">
                  <a:pos x="8" y="61"/>
                </a:cxn>
                <a:cxn ang="0">
                  <a:pos x="6" y="63"/>
                </a:cxn>
                <a:cxn ang="0">
                  <a:pos x="6" y="63"/>
                </a:cxn>
                <a:cxn ang="0">
                  <a:pos x="4" y="60"/>
                </a:cxn>
                <a:cxn ang="0">
                  <a:pos x="19" y="26"/>
                </a:cxn>
                <a:cxn ang="0">
                  <a:pos x="29" y="22"/>
                </a:cxn>
                <a:cxn ang="0">
                  <a:pos x="40" y="26"/>
                </a:cxn>
                <a:cxn ang="0">
                  <a:pos x="40" y="26"/>
                </a:cxn>
                <a:cxn ang="0">
                  <a:pos x="49" y="43"/>
                </a:cxn>
                <a:cxn ang="0">
                  <a:pos x="55" y="60"/>
                </a:cxn>
                <a:cxn ang="0">
                  <a:pos x="53" y="63"/>
                </a:cxn>
              </a:cxnLst>
              <a:rect l="0" t="0" r="r" b="b"/>
              <a:pathLst>
                <a:path w="59" h="122">
                  <a:moveTo>
                    <a:pt x="52" y="41"/>
                  </a:moveTo>
                  <a:cubicBezTo>
                    <a:pt x="45" y="24"/>
                    <a:pt x="43" y="22"/>
                    <a:pt x="41" y="22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8" y="18"/>
                    <a:pt x="40" y="15"/>
                    <a:pt x="40" y="11"/>
                  </a:cubicBezTo>
                  <a:cubicBezTo>
                    <a:pt x="40" y="5"/>
                    <a:pt x="36" y="0"/>
                    <a:pt x="30" y="0"/>
                  </a:cubicBezTo>
                  <a:cubicBezTo>
                    <a:pt x="24" y="0"/>
                    <a:pt x="19" y="5"/>
                    <a:pt x="19" y="11"/>
                  </a:cubicBezTo>
                  <a:cubicBezTo>
                    <a:pt x="19" y="15"/>
                    <a:pt x="21" y="18"/>
                    <a:pt x="24" y="2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6" y="22"/>
                    <a:pt x="14" y="24"/>
                    <a:pt x="7" y="41"/>
                  </a:cubicBezTo>
                  <a:cubicBezTo>
                    <a:pt x="4" y="50"/>
                    <a:pt x="1" y="59"/>
                    <a:pt x="1" y="59"/>
                  </a:cubicBezTo>
                  <a:cubicBezTo>
                    <a:pt x="0" y="62"/>
                    <a:pt x="2" y="65"/>
                    <a:pt x="5" y="66"/>
                  </a:cubicBezTo>
                  <a:cubicBezTo>
                    <a:pt x="6" y="67"/>
                    <a:pt x="8" y="66"/>
                    <a:pt x="9" y="66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9"/>
                    <a:pt x="20" y="122"/>
                    <a:pt x="24" y="122"/>
                  </a:cubicBezTo>
                  <a:cubicBezTo>
                    <a:pt x="27" y="122"/>
                    <a:pt x="29" y="121"/>
                    <a:pt x="30" y="119"/>
                  </a:cubicBezTo>
                  <a:cubicBezTo>
                    <a:pt x="31" y="121"/>
                    <a:pt x="33" y="122"/>
                    <a:pt x="36" y="122"/>
                  </a:cubicBezTo>
                  <a:cubicBezTo>
                    <a:pt x="39" y="122"/>
                    <a:pt x="42" y="119"/>
                    <a:pt x="42" y="116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2" y="66"/>
                    <a:pt x="53" y="66"/>
                    <a:pt x="55" y="66"/>
                  </a:cubicBezTo>
                  <a:cubicBezTo>
                    <a:pt x="58" y="65"/>
                    <a:pt x="59" y="62"/>
                    <a:pt x="58" y="59"/>
                  </a:cubicBezTo>
                  <a:cubicBezTo>
                    <a:pt x="58" y="59"/>
                    <a:pt x="55" y="50"/>
                    <a:pt x="52" y="41"/>
                  </a:cubicBezTo>
                  <a:close/>
                  <a:moveTo>
                    <a:pt x="30" y="4"/>
                  </a:moveTo>
                  <a:cubicBezTo>
                    <a:pt x="33" y="4"/>
                    <a:pt x="37" y="7"/>
                    <a:pt x="37" y="11"/>
                  </a:cubicBezTo>
                  <a:cubicBezTo>
                    <a:pt x="37" y="15"/>
                    <a:pt x="33" y="18"/>
                    <a:pt x="30" y="18"/>
                  </a:cubicBezTo>
                  <a:cubicBezTo>
                    <a:pt x="26" y="18"/>
                    <a:pt x="23" y="15"/>
                    <a:pt x="23" y="11"/>
                  </a:cubicBezTo>
                  <a:cubicBezTo>
                    <a:pt x="23" y="7"/>
                    <a:pt x="26" y="4"/>
                    <a:pt x="30" y="4"/>
                  </a:cubicBezTo>
                  <a:close/>
                  <a:moveTo>
                    <a:pt x="53" y="63"/>
                  </a:moveTo>
                  <a:cubicBezTo>
                    <a:pt x="53" y="63"/>
                    <a:pt x="53" y="63"/>
                    <a:pt x="53" y="63"/>
                  </a:cubicBezTo>
                  <a:cubicBezTo>
                    <a:pt x="52" y="63"/>
                    <a:pt x="51" y="62"/>
                    <a:pt x="51" y="61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7"/>
                    <a:pt x="37" y="119"/>
                    <a:pt x="36" y="119"/>
                  </a:cubicBezTo>
                  <a:cubicBezTo>
                    <a:pt x="34" y="119"/>
                    <a:pt x="33" y="117"/>
                    <a:pt x="33" y="116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7"/>
                    <a:pt x="25" y="119"/>
                    <a:pt x="24" y="119"/>
                  </a:cubicBezTo>
                  <a:cubicBezTo>
                    <a:pt x="22" y="119"/>
                    <a:pt x="21" y="117"/>
                    <a:pt x="21" y="116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2"/>
                    <a:pt x="7" y="63"/>
                    <a:pt x="6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5" y="62"/>
                    <a:pt x="4" y="61"/>
                    <a:pt x="4" y="60"/>
                  </a:cubicBezTo>
                  <a:cubicBezTo>
                    <a:pt x="9" y="45"/>
                    <a:pt x="16" y="27"/>
                    <a:pt x="19" y="26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1" y="26"/>
                    <a:pt x="43" y="28"/>
                    <a:pt x="49" y="43"/>
                  </a:cubicBezTo>
                  <a:cubicBezTo>
                    <a:pt x="52" y="52"/>
                    <a:pt x="55" y="60"/>
                    <a:pt x="55" y="60"/>
                  </a:cubicBezTo>
                  <a:cubicBezTo>
                    <a:pt x="55" y="61"/>
                    <a:pt x="55" y="62"/>
                    <a:pt x="53" y="6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86" name="Freeform 206"/>
            <p:cNvSpPr>
              <a:spLocks noEditPoints="1"/>
            </p:cNvSpPr>
            <p:nvPr/>
          </p:nvSpPr>
          <p:spPr bwMode="auto">
            <a:xfrm>
              <a:off x="350" y="1852"/>
              <a:ext cx="110" cy="304"/>
            </a:xfrm>
            <a:custGeom>
              <a:avLst/>
              <a:gdLst/>
              <a:ahLst/>
              <a:cxnLst>
                <a:cxn ang="0">
                  <a:pos x="45" y="35"/>
                </a:cxn>
                <a:cxn ang="0">
                  <a:pos x="28" y="20"/>
                </a:cxn>
                <a:cxn ang="0">
                  <a:pos x="34" y="11"/>
                </a:cxn>
                <a:cxn ang="0">
                  <a:pos x="23" y="0"/>
                </a:cxn>
                <a:cxn ang="0">
                  <a:pos x="12" y="11"/>
                </a:cxn>
                <a:cxn ang="0">
                  <a:pos x="17" y="20"/>
                </a:cxn>
                <a:cxn ang="0">
                  <a:pos x="1" y="35"/>
                </a:cxn>
                <a:cxn ang="0">
                  <a:pos x="0" y="66"/>
                </a:cxn>
                <a:cxn ang="0">
                  <a:pos x="0" y="68"/>
                </a:cxn>
                <a:cxn ang="0">
                  <a:pos x="6" y="74"/>
                </a:cxn>
                <a:cxn ang="0">
                  <a:pos x="9" y="74"/>
                </a:cxn>
                <a:cxn ang="0">
                  <a:pos x="8" y="119"/>
                </a:cxn>
                <a:cxn ang="0">
                  <a:pos x="16" y="127"/>
                </a:cxn>
                <a:cxn ang="0">
                  <a:pos x="23" y="122"/>
                </a:cxn>
                <a:cxn ang="0">
                  <a:pos x="30" y="127"/>
                </a:cxn>
                <a:cxn ang="0">
                  <a:pos x="37" y="120"/>
                </a:cxn>
                <a:cxn ang="0">
                  <a:pos x="37" y="74"/>
                </a:cxn>
                <a:cxn ang="0">
                  <a:pos x="40" y="74"/>
                </a:cxn>
                <a:cxn ang="0">
                  <a:pos x="46" y="68"/>
                </a:cxn>
                <a:cxn ang="0">
                  <a:pos x="45" y="35"/>
                </a:cxn>
                <a:cxn ang="0">
                  <a:pos x="23" y="3"/>
                </a:cxn>
                <a:cxn ang="0">
                  <a:pos x="30" y="11"/>
                </a:cxn>
                <a:cxn ang="0">
                  <a:pos x="23" y="18"/>
                </a:cxn>
                <a:cxn ang="0">
                  <a:pos x="16" y="11"/>
                </a:cxn>
                <a:cxn ang="0">
                  <a:pos x="23" y="3"/>
                </a:cxn>
                <a:cxn ang="0">
                  <a:pos x="40" y="71"/>
                </a:cxn>
                <a:cxn ang="0">
                  <a:pos x="37" y="68"/>
                </a:cxn>
                <a:cxn ang="0">
                  <a:pos x="36" y="42"/>
                </a:cxn>
                <a:cxn ang="0">
                  <a:pos x="33" y="42"/>
                </a:cxn>
                <a:cxn ang="0">
                  <a:pos x="33" y="67"/>
                </a:cxn>
                <a:cxn ang="0">
                  <a:pos x="33" y="120"/>
                </a:cxn>
                <a:cxn ang="0">
                  <a:pos x="30" y="124"/>
                </a:cxn>
                <a:cxn ang="0">
                  <a:pos x="26" y="120"/>
                </a:cxn>
                <a:cxn ang="0">
                  <a:pos x="25" y="78"/>
                </a:cxn>
                <a:cxn ang="0">
                  <a:pos x="21" y="78"/>
                </a:cxn>
                <a:cxn ang="0">
                  <a:pos x="20" y="120"/>
                </a:cxn>
                <a:cxn ang="0">
                  <a:pos x="20" y="120"/>
                </a:cxn>
                <a:cxn ang="0">
                  <a:pos x="16" y="124"/>
                </a:cxn>
                <a:cxn ang="0">
                  <a:pos x="12" y="119"/>
                </a:cxn>
                <a:cxn ang="0">
                  <a:pos x="13" y="42"/>
                </a:cxn>
                <a:cxn ang="0">
                  <a:pos x="9" y="42"/>
                </a:cxn>
                <a:cxn ang="0">
                  <a:pos x="8" y="68"/>
                </a:cxn>
                <a:cxn ang="0">
                  <a:pos x="6" y="71"/>
                </a:cxn>
                <a:cxn ang="0">
                  <a:pos x="4" y="68"/>
                </a:cxn>
                <a:cxn ang="0">
                  <a:pos x="4" y="66"/>
                </a:cxn>
                <a:cxn ang="0">
                  <a:pos x="5" y="35"/>
                </a:cxn>
                <a:cxn ang="0">
                  <a:pos x="5" y="35"/>
                </a:cxn>
                <a:cxn ang="0">
                  <a:pos x="23" y="23"/>
                </a:cxn>
                <a:cxn ang="0">
                  <a:pos x="41" y="36"/>
                </a:cxn>
                <a:cxn ang="0">
                  <a:pos x="42" y="68"/>
                </a:cxn>
                <a:cxn ang="0">
                  <a:pos x="40" y="71"/>
                </a:cxn>
              </a:cxnLst>
              <a:rect l="0" t="0" r="r" b="b"/>
              <a:pathLst>
                <a:path w="46" h="127">
                  <a:moveTo>
                    <a:pt x="45" y="35"/>
                  </a:moveTo>
                  <a:cubicBezTo>
                    <a:pt x="45" y="35"/>
                    <a:pt x="43" y="22"/>
                    <a:pt x="28" y="20"/>
                  </a:cubicBezTo>
                  <a:cubicBezTo>
                    <a:pt x="32" y="18"/>
                    <a:pt x="34" y="15"/>
                    <a:pt x="34" y="11"/>
                  </a:cubicBezTo>
                  <a:cubicBezTo>
                    <a:pt x="34" y="4"/>
                    <a:pt x="29" y="0"/>
                    <a:pt x="23" y="0"/>
                  </a:cubicBezTo>
                  <a:cubicBezTo>
                    <a:pt x="17" y="0"/>
                    <a:pt x="12" y="4"/>
                    <a:pt x="12" y="11"/>
                  </a:cubicBezTo>
                  <a:cubicBezTo>
                    <a:pt x="12" y="15"/>
                    <a:pt x="14" y="18"/>
                    <a:pt x="17" y="20"/>
                  </a:cubicBezTo>
                  <a:cubicBezTo>
                    <a:pt x="5" y="22"/>
                    <a:pt x="1" y="31"/>
                    <a:pt x="1" y="35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2"/>
                    <a:pt x="2" y="74"/>
                    <a:pt x="6" y="74"/>
                  </a:cubicBezTo>
                  <a:cubicBezTo>
                    <a:pt x="7" y="74"/>
                    <a:pt x="8" y="74"/>
                    <a:pt x="9" y="74"/>
                  </a:cubicBezTo>
                  <a:cubicBezTo>
                    <a:pt x="9" y="91"/>
                    <a:pt x="8" y="111"/>
                    <a:pt x="8" y="119"/>
                  </a:cubicBezTo>
                  <a:cubicBezTo>
                    <a:pt x="8" y="124"/>
                    <a:pt x="12" y="127"/>
                    <a:pt x="16" y="127"/>
                  </a:cubicBezTo>
                  <a:cubicBezTo>
                    <a:pt x="19" y="127"/>
                    <a:pt x="22" y="125"/>
                    <a:pt x="23" y="122"/>
                  </a:cubicBezTo>
                  <a:cubicBezTo>
                    <a:pt x="24" y="125"/>
                    <a:pt x="27" y="127"/>
                    <a:pt x="30" y="127"/>
                  </a:cubicBezTo>
                  <a:cubicBezTo>
                    <a:pt x="34" y="127"/>
                    <a:pt x="37" y="124"/>
                    <a:pt x="37" y="120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8" y="74"/>
                    <a:pt x="39" y="74"/>
                    <a:pt x="40" y="74"/>
                  </a:cubicBezTo>
                  <a:cubicBezTo>
                    <a:pt x="43" y="74"/>
                    <a:pt x="46" y="72"/>
                    <a:pt x="46" y="68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23" y="3"/>
                  </a:moveTo>
                  <a:cubicBezTo>
                    <a:pt x="27" y="3"/>
                    <a:pt x="30" y="6"/>
                    <a:pt x="30" y="11"/>
                  </a:cubicBezTo>
                  <a:cubicBezTo>
                    <a:pt x="30" y="15"/>
                    <a:pt x="27" y="18"/>
                    <a:pt x="23" y="18"/>
                  </a:cubicBezTo>
                  <a:cubicBezTo>
                    <a:pt x="19" y="18"/>
                    <a:pt x="16" y="15"/>
                    <a:pt x="16" y="11"/>
                  </a:cubicBezTo>
                  <a:cubicBezTo>
                    <a:pt x="16" y="6"/>
                    <a:pt x="19" y="3"/>
                    <a:pt x="23" y="3"/>
                  </a:cubicBezTo>
                  <a:close/>
                  <a:moveTo>
                    <a:pt x="40" y="71"/>
                  </a:moveTo>
                  <a:cubicBezTo>
                    <a:pt x="38" y="71"/>
                    <a:pt x="37" y="70"/>
                    <a:pt x="37" y="68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33" y="122"/>
                    <a:pt x="32" y="124"/>
                    <a:pt x="30" y="124"/>
                  </a:cubicBezTo>
                  <a:cubicBezTo>
                    <a:pt x="28" y="124"/>
                    <a:pt x="26" y="122"/>
                    <a:pt x="26" y="120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0" y="122"/>
                    <a:pt x="18" y="124"/>
                    <a:pt x="16" y="124"/>
                  </a:cubicBezTo>
                  <a:cubicBezTo>
                    <a:pt x="14" y="124"/>
                    <a:pt x="12" y="122"/>
                    <a:pt x="12" y="119"/>
                  </a:cubicBezTo>
                  <a:cubicBezTo>
                    <a:pt x="12" y="103"/>
                    <a:pt x="13" y="42"/>
                    <a:pt x="13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7" y="71"/>
                    <a:pt x="6" y="71"/>
                  </a:cubicBezTo>
                  <a:cubicBezTo>
                    <a:pt x="4" y="71"/>
                    <a:pt x="4" y="70"/>
                    <a:pt x="4" y="68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6" y="23"/>
                    <a:pt x="23" y="23"/>
                  </a:cubicBezTo>
                  <a:cubicBezTo>
                    <a:pt x="39" y="23"/>
                    <a:pt x="41" y="34"/>
                    <a:pt x="41" y="36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0"/>
                    <a:pt x="41" y="71"/>
                    <a:pt x="40" y="7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289" name="Group 209"/>
          <p:cNvGrpSpPr>
            <a:grpSpLocks noChangeAspect="1"/>
          </p:cNvGrpSpPr>
          <p:nvPr/>
        </p:nvGrpSpPr>
        <p:grpSpPr bwMode="auto">
          <a:xfrm>
            <a:off x="1465261" y="2792415"/>
            <a:ext cx="768350" cy="768350"/>
            <a:chOff x="922" y="1759"/>
            <a:chExt cx="484" cy="484"/>
          </a:xfrm>
        </p:grpSpPr>
        <p:sp>
          <p:nvSpPr>
            <p:cNvPr id="46290" name="Freeform 210"/>
            <p:cNvSpPr>
              <a:spLocks noEditPoints="1"/>
            </p:cNvSpPr>
            <p:nvPr/>
          </p:nvSpPr>
          <p:spPr bwMode="auto">
            <a:xfrm>
              <a:off x="922" y="175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1" name="Freeform 211"/>
            <p:cNvSpPr>
              <a:spLocks noEditPoints="1"/>
            </p:cNvSpPr>
            <p:nvPr/>
          </p:nvSpPr>
          <p:spPr bwMode="auto">
            <a:xfrm>
              <a:off x="1152" y="1862"/>
              <a:ext cx="142" cy="293"/>
            </a:xfrm>
            <a:custGeom>
              <a:avLst/>
              <a:gdLst/>
              <a:ahLst/>
              <a:cxnLst>
                <a:cxn ang="0">
                  <a:pos x="52" y="40"/>
                </a:cxn>
                <a:cxn ang="0">
                  <a:pos x="40" y="21"/>
                </a:cxn>
                <a:cxn ang="0">
                  <a:pos x="35" y="20"/>
                </a:cxn>
                <a:cxn ang="0">
                  <a:pos x="40" y="10"/>
                </a:cxn>
                <a:cxn ang="0">
                  <a:pos x="29" y="0"/>
                </a:cxn>
                <a:cxn ang="0">
                  <a:pos x="19" y="10"/>
                </a:cxn>
                <a:cxn ang="0">
                  <a:pos x="24" y="19"/>
                </a:cxn>
                <a:cxn ang="0">
                  <a:pos x="18" y="21"/>
                </a:cxn>
                <a:cxn ang="0">
                  <a:pos x="7" y="40"/>
                </a:cxn>
                <a:cxn ang="0">
                  <a:pos x="1" y="58"/>
                </a:cxn>
                <a:cxn ang="0">
                  <a:pos x="5" y="66"/>
                </a:cxn>
                <a:cxn ang="0">
                  <a:pos x="9" y="65"/>
                </a:cxn>
                <a:cxn ang="0">
                  <a:pos x="4" y="82"/>
                </a:cxn>
                <a:cxn ang="0">
                  <a:pos x="17" y="82"/>
                </a:cxn>
                <a:cxn ang="0">
                  <a:pos x="17" y="115"/>
                </a:cxn>
                <a:cxn ang="0">
                  <a:pos x="24" y="122"/>
                </a:cxn>
                <a:cxn ang="0">
                  <a:pos x="30" y="118"/>
                </a:cxn>
                <a:cxn ang="0">
                  <a:pos x="35" y="122"/>
                </a:cxn>
                <a:cxn ang="0">
                  <a:pos x="42" y="115"/>
                </a:cxn>
                <a:cxn ang="0">
                  <a:pos x="42" y="82"/>
                </a:cxn>
                <a:cxn ang="0">
                  <a:pos x="56" y="82"/>
                </a:cxn>
                <a:cxn ang="0">
                  <a:pos x="50" y="65"/>
                </a:cxn>
                <a:cxn ang="0">
                  <a:pos x="54" y="65"/>
                </a:cxn>
                <a:cxn ang="0">
                  <a:pos x="58" y="58"/>
                </a:cxn>
                <a:cxn ang="0">
                  <a:pos x="52" y="40"/>
                </a:cxn>
                <a:cxn ang="0">
                  <a:pos x="29" y="3"/>
                </a:cxn>
                <a:cxn ang="0">
                  <a:pos x="36" y="10"/>
                </a:cxn>
                <a:cxn ang="0">
                  <a:pos x="29" y="17"/>
                </a:cxn>
                <a:cxn ang="0">
                  <a:pos x="22" y="10"/>
                </a:cxn>
                <a:cxn ang="0">
                  <a:pos x="29" y="3"/>
                </a:cxn>
                <a:cxn ang="0">
                  <a:pos x="53" y="62"/>
                </a:cxn>
                <a:cxn ang="0">
                  <a:pos x="53" y="62"/>
                </a:cxn>
                <a:cxn ang="0">
                  <a:pos x="51" y="61"/>
                </a:cxn>
                <a:cxn ang="0">
                  <a:pos x="41" y="36"/>
                </a:cxn>
                <a:cxn ang="0">
                  <a:pos x="38" y="37"/>
                </a:cxn>
                <a:cxn ang="0">
                  <a:pos x="51" y="79"/>
                </a:cxn>
                <a:cxn ang="0">
                  <a:pos x="38" y="79"/>
                </a:cxn>
                <a:cxn ang="0">
                  <a:pos x="38" y="115"/>
                </a:cxn>
                <a:cxn ang="0">
                  <a:pos x="35" y="118"/>
                </a:cxn>
                <a:cxn ang="0">
                  <a:pos x="33" y="115"/>
                </a:cxn>
                <a:cxn ang="0">
                  <a:pos x="31" y="81"/>
                </a:cxn>
                <a:cxn ang="0">
                  <a:pos x="28" y="81"/>
                </a:cxn>
                <a:cxn ang="0">
                  <a:pos x="26" y="115"/>
                </a:cxn>
                <a:cxn ang="0">
                  <a:pos x="26" y="115"/>
                </a:cxn>
                <a:cxn ang="0">
                  <a:pos x="24" y="118"/>
                </a:cxn>
                <a:cxn ang="0">
                  <a:pos x="21" y="115"/>
                </a:cxn>
                <a:cxn ang="0">
                  <a:pos x="21" y="79"/>
                </a:cxn>
                <a:cxn ang="0">
                  <a:pos x="9" y="79"/>
                </a:cxn>
                <a:cxn ang="0">
                  <a:pos x="20" y="37"/>
                </a:cxn>
                <a:cxn ang="0">
                  <a:pos x="17" y="36"/>
                </a:cxn>
                <a:cxn ang="0">
                  <a:pos x="8" y="61"/>
                </a:cxn>
                <a:cxn ang="0">
                  <a:pos x="6" y="62"/>
                </a:cxn>
                <a:cxn ang="0">
                  <a:pos x="6" y="62"/>
                </a:cxn>
                <a:cxn ang="0">
                  <a:pos x="4" y="59"/>
                </a:cxn>
                <a:cxn ang="0">
                  <a:pos x="19" y="25"/>
                </a:cxn>
                <a:cxn ang="0">
                  <a:pos x="29" y="22"/>
                </a:cxn>
                <a:cxn ang="0">
                  <a:pos x="40" y="25"/>
                </a:cxn>
                <a:cxn ang="0">
                  <a:pos x="40" y="25"/>
                </a:cxn>
                <a:cxn ang="0">
                  <a:pos x="49" y="43"/>
                </a:cxn>
                <a:cxn ang="0">
                  <a:pos x="55" y="59"/>
                </a:cxn>
                <a:cxn ang="0">
                  <a:pos x="53" y="62"/>
                </a:cxn>
              </a:cxnLst>
              <a:rect l="0" t="0" r="r" b="b"/>
              <a:pathLst>
                <a:path w="59" h="122">
                  <a:moveTo>
                    <a:pt x="52" y="40"/>
                  </a:moveTo>
                  <a:cubicBezTo>
                    <a:pt x="45" y="24"/>
                    <a:pt x="42" y="21"/>
                    <a:pt x="40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8" y="18"/>
                    <a:pt x="40" y="14"/>
                    <a:pt x="40" y="10"/>
                  </a:cubicBezTo>
                  <a:cubicBezTo>
                    <a:pt x="40" y="5"/>
                    <a:pt x="35" y="0"/>
                    <a:pt x="29" y="0"/>
                  </a:cubicBezTo>
                  <a:cubicBezTo>
                    <a:pt x="24" y="0"/>
                    <a:pt x="19" y="5"/>
                    <a:pt x="19" y="10"/>
                  </a:cubicBezTo>
                  <a:cubicBezTo>
                    <a:pt x="19" y="14"/>
                    <a:pt x="21" y="18"/>
                    <a:pt x="24" y="19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6" y="21"/>
                    <a:pt x="14" y="24"/>
                    <a:pt x="7" y="40"/>
                  </a:cubicBezTo>
                  <a:cubicBezTo>
                    <a:pt x="4" y="49"/>
                    <a:pt x="1" y="58"/>
                    <a:pt x="1" y="58"/>
                  </a:cubicBezTo>
                  <a:cubicBezTo>
                    <a:pt x="0" y="61"/>
                    <a:pt x="2" y="65"/>
                    <a:pt x="5" y="66"/>
                  </a:cubicBezTo>
                  <a:cubicBezTo>
                    <a:pt x="6" y="66"/>
                    <a:pt x="7" y="66"/>
                    <a:pt x="9" y="65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9"/>
                    <a:pt x="20" y="122"/>
                    <a:pt x="24" y="122"/>
                  </a:cubicBezTo>
                  <a:cubicBezTo>
                    <a:pt x="26" y="122"/>
                    <a:pt x="29" y="120"/>
                    <a:pt x="30" y="118"/>
                  </a:cubicBezTo>
                  <a:cubicBezTo>
                    <a:pt x="31" y="120"/>
                    <a:pt x="33" y="122"/>
                    <a:pt x="35" y="122"/>
                  </a:cubicBezTo>
                  <a:cubicBezTo>
                    <a:pt x="39" y="122"/>
                    <a:pt x="42" y="119"/>
                    <a:pt x="42" y="115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2" y="66"/>
                    <a:pt x="53" y="66"/>
                    <a:pt x="54" y="65"/>
                  </a:cubicBezTo>
                  <a:cubicBezTo>
                    <a:pt x="57" y="64"/>
                    <a:pt x="59" y="61"/>
                    <a:pt x="58" y="58"/>
                  </a:cubicBezTo>
                  <a:cubicBezTo>
                    <a:pt x="58" y="58"/>
                    <a:pt x="55" y="49"/>
                    <a:pt x="52" y="40"/>
                  </a:cubicBezTo>
                  <a:close/>
                  <a:moveTo>
                    <a:pt x="29" y="3"/>
                  </a:moveTo>
                  <a:cubicBezTo>
                    <a:pt x="33" y="3"/>
                    <a:pt x="36" y="7"/>
                    <a:pt x="36" y="10"/>
                  </a:cubicBezTo>
                  <a:cubicBezTo>
                    <a:pt x="36" y="14"/>
                    <a:pt x="33" y="17"/>
                    <a:pt x="29" y="17"/>
                  </a:cubicBezTo>
                  <a:cubicBezTo>
                    <a:pt x="26" y="17"/>
                    <a:pt x="22" y="14"/>
                    <a:pt x="22" y="10"/>
                  </a:cubicBezTo>
                  <a:cubicBezTo>
                    <a:pt x="22" y="7"/>
                    <a:pt x="26" y="3"/>
                    <a:pt x="29" y="3"/>
                  </a:cubicBezTo>
                  <a:close/>
                  <a:moveTo>
                    <a:pt x="53" y="62"/>
                  </a:moveTo>
                  <a:cubicBezTo>
                    <a:pt x="53" y="62"/>
                    <a:pt x="53" y="62"/>
                    <a:pt x="53" y="62"/>
                  </a:cubicBezTo>
                  <a:cubicBezTo>
                    <a:pt x="52" y="62"/>
                    <a:pt x="51" y="61"/>
                    <a:pt x="51" y="61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7"/>
                    <a:pt x="37" y="118"/>
                    <a:pt x="35" y="118"/>
                  </a:cubicBezTo>
                  <a:cubicBezTo>
                    <a:pt x="34" y="118"/>
                    <a:pt x="33" y="117"/>
                    <a:pt x="33" y="115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6" y="117"/>
                    <a:pt x="25" y="118"/>
                    <a:pt x="24" y="118"/>
                  </a:cubicBezTo>
                  <a:cubicBezTo>
                    <a:pt x="22" y="118"/>
                    <a:pt x="21" y="117"/>
                    <a:pt x="21" y="115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2"/>
                    <a:pt x="7" y="62"/>
                    <a:pt x="6" y="6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5" y="62"/>
                    <a:pt x="4" y="61"/>
                    <a:pt x="4" y="59"/>
                  </a:cubicBezTo>
                  <a:cubicBezTo>
                    <a:pt x="9" y="44"/>
                    <a:pt x="16" y="27"/>
                    <a:pt x="19" y="25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3" y="28"/>
                    <a:pt x="49" y="43"/>
                  </a:cubicBezTo>
                  <a:cubicBezTo>
                    <a:pt x="52" y="51"/>
                    <a:pt x="55" y="59"/>
                    <a:pt x="55" y="59"/>
                  </a:cubicBezTo>
                  <a:cubicBezTo>
                    <a:pt x="55" y="60"/>
                    <a:pt x="54" y="62"/>
                    <a:pt x="53" y="6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2" name="Freeform 212"/>
            <p:cNvSpPr>
              <a:spLocks noEditPoints="1"/>
            </p:cNvSpPr>
            <p:nvPr/>
          </p:nvSpPr>
          <p:spPr bwMode="auto">
            <a:xfrm>
              <a:off x="1037" y="1848"/>
              <a:ext cx="111" cy="307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28" y="20"/>
                </a:cxn>
                <a:cxn ang="0">
                  <a:pos x="34" y="11"/>
                </a:cxn>
                <a:cxn ang="0">
                  <a:pos x="23" y="0"/>
                </a:cxn>
                <a:cxn ang="0">
                  <a:pos x="12" y="11"/>
                </a:cxn>
                <a:cxn ang="0">
                  <a:pos x="17" y="20"/>
                </a:cxn>
                <a:cxn ang="0">
                  <a:pos x="1" y="35"/>
                </a:cxn>
                <a:cxn ang="0">
                  <a:pos x="0" y="67"/>
                </a:cxn>
                <a:cxn ang="0">
                  <a:pos x="0" y="69"/>
                </a:cxn>
                <a:cxn ang="0">
                  <a:pos x="6" y="75"/>
                </a:cxn>
                <a:cxn ang="0">
                  <a:pos x="8" y="74"/>
                </a:cxn>
                <a:cxn ang="0">
                  <a:pos x="8" y="120"/>
                </a:cxn>
                <a:cxn ang="0">
                  <a:pos x="16" y="128"/>
                </a:cxn>
                <a:cxn ang="0">
                  <a:pos x="23" y="123"/>
                </a:cxn>
                <a:cxn ang="0">
                  <a:pos x="30" y="128"/>
                </a:cxn>
                <a:cxn ang="0">
                  <a:pos x="37" y="120"/>
                </a:cxn>
                <a:cxn ang="0">
                  <a:pos x="37" y="74"/>
                </a:cxn>
                <a:cxn ang="0">
                  <a:pos x="40" y="75"/>
                </a:cxn>
                <a:cxn ang="0">
                  <a:pos x="46" y="69"/>
                </a:cxn>
                <a:cxn ang="0">
                  <a:pos x="44" y="36"/>
                </a:cxn>
                <a:cxn ang="0">
                  <a:pos x="23" y="4"/>
                </a:cxn>
                <a:cxn ang="0">
                  <a:pos x="30" y="11"/>
                </a:cxn>
                <a:cxn ang="0">
                  <a:pos x="23" y="18"/>
                </a:cxn>
                <a:cxn ang="0">
                  <a:pos x="15" y="11"/>
                </a:cxn>
                <a:cxn ang="0">
                  <a:pos x="23" y="4"/>
                </a:cxn>
                <a:cxn ang="0">
                  <a:pos x="40" y="71"/>
                </a:cxn>
                <a:cxn ang="0">
                  <a:pos x="37" y="69"/>
                </a:cxn>
                <a:cxn ang="0">
                  <a:pos x="36" y="42"/>
                </a:cxn>
                <a:cxn ang="0">
                  <a:pos x="32" y="42"/>
                </a:cxn>
                <a:cxn ang="0">
                  <a:pos x="33" y="67"/>
                </a:cxn>
                <a:cxn ang="0">
                  <a:pos x="33" y="120"/>
                </a:cxn>
                <a:cxn ang="0">
                  <a:pos x="30" y="124"/>
                </a:cxn>
                <a:cxn ang="0">
                  <a:pos x="26" y="120"/>
                </a:cxn>
                <a:cxn ang="0">
                  <a:pos x="24" y="78"/>
                </a:cxn>
                <a:cxn ang="0">
                  <a:pos x="21" y="78"/>
                </a:cxn>
                <a:cxn ang="0">
                  <a:pos x="19" y="120"/>
                </a:cxn>
                <a:cxn ang="0">
                  <a:pos x="19" y="120"/>
                </a:cxn>
                <a:cxn ang="0">
                  <a:pos x="16" y="124"/>
                </a:cxn>
                <a:cxn ang="0">
                  <a:pos x="12" y="120"/>
                </a:cxn>
                <a:cxn ang="0">
                  <a:pos x="12" y="42"/>
                </a:cxn>
                <a:cxn ang="0">
                  <a:pos x="9" y="42"/>
                </a:cxn>
                <a:cxn ang="0">
                  <a:pos x="8" y="69"/>
                </a:cxn>
                <a:cxn ang="0">
                  <a:pos x="6" y="71"/>
                </a:cxn>
                <a:cxn ang="0">
                  <a:pos x="3" y="69"/>
                </a:cxn>
                <a:cxn ang="0">
                  <a:pos x="3" y="67"/>
                </a:cxn>
                <a:cxn ang="0">
                  <a:pos x="5" y="35"/>
                </a:cxn>
                <a:cxn ang="0">
                  <a:pos x="5" y="35"/>
                </a:cxn>
                <a:cxn ang="0">
                  <a:pos x="23" y="24"/>
                </a:cxn>
                <a:cxn ang="0">
                  <a:pos x="41" y="36"/>
                </a:cxn>
                <a:cxn ang="0">
                  <a:pos x="42" y="69"/>
                </a:cxn>
                <a:cxn ang="0">
                  <a:pos x="40" y="71"/>
                </a:cxn>
              </a:cxnLst>
              <a:rect l="0" t="0" r="r" b="b"/>
              <a:pathLst>
                <a:path w="46" h="128">
                  <a:moveTo>
                    <a:pt x="44" y="36"/>
                  </a:moveTo>
                  <a:cubicBezTo>
                    <a:pt x="44" y="35"/>
                    <a:pt x="43" y="23"/>
                    <a:pt x="28" y="20"/>
                  </a:cubicBezTo>
                  <a:cubicBezTo>
                    <a:pt x="31" y="18"/>
                    <a:pt x="34" y="15"/>
                    <a:pt x="34" y="11"/>
                  </a:cubicBezTo>
                  <a:cubicBezTo>
                    <a:pt x="34" y="5"/>
                    <a:pt x="29" y="0"/>
                    <a:pt x="23" y="0"/>
                  </a:cubicBezTo>
                  <a:cubicBezTo>
                    <a:pt x="17" y="0"/>
                    <a:pt x="12" y="5"/>
                    <a:pt x="12" y="11"/>
                  </a:cubicBezTo>
                  <a:cubicBezTo>
                    <a:pt x="12" y="15"/>
                    <a:pt x="14" y="18"/>
                    <a:pt x="17" y="20"/>
                  </a:cubicBezTo>
                  <a:cubicBezTo>
                    <a:pt x="4" y="22"/>
                    <a:pt x="1" y="32"/>
                    <a:pt x="1" y="3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2"/>
                    <a:pt x="2" y="75"/>
                    <a:pt x="6" y="75"/>
                  </a:cubicBezTo>
                  <a:cubicBezTo>
                    <a:pt x="7" y="75"/>
                    <a:pt x="8" y="74"/>
                    <a:pt x="8" y="74"/>
                  </a:cubicBezTo>
                  <a:cubicBezTo>
                    <a:pt x="8" y="91"/>
                    <a:pt x="8" y="111"/>
                    <a:pt x="8" y="120"/>
                  </a:cubicBezTo>
                  <a:cubicBezTo>
                    <a:pt x="8" y="124"/>
                    <a:pt x="11" y="128"/>
                    <a:pt x="16" y="128"/>
                  </a:cubicBezTo>
                  <a:cubicBezTo>
                    <a:pt x="19" y="128"/>
                    <a:pt x="22" y="126"/>
                    <a:pt x="23" y="123"/>
                  </a:cubicBezTo>
                  <a:cubicBezTo>
                    <a:pt x="24" y="126"/>
                    <a:pt x="26" y="128"/>
                    <a:pt x="30" y="128"/>
                  </a:cubicBezTo>
                  <a:cubicBezTo>
                    <a:pt x="34" y="128"/>
                    <a:pt x="37" y="124"/>
                    <a:pt x="37" y="120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8" y="74"/>
                    <a:pt x="39" y="75"/>
                    <a:pt x="40" y="75"/>
                  </a:cubicBezTo>
                  <a:cubicBezTo>
                    <a:pt x="43" y="75"/>
                    <a:pt x="46" y="72"/>
                    <a:pt x="46" y="69"/>
                  </a:cubicBezTo>
                  <a:cubicBezTo>
                    <a:pt x="44" y="36"/>
                    <a:pt x="44" y="36"/>
                    <a:pt x="44" y="36"/>
                  </a:cubicBezTo>
                  <a:close/>
                  <a:moveTo>
                    <a:pt x="23" y="4"/>
                  </a:moveTo>
                  <a:cubicBezTo>
                    <a:pt x="27" y="4"/>
                    <a:pt x="30" y="7"/>
                    <a:pt x="30" y="11"/>
                  </a:cubicBezTo>
                  <a:cubicBezTo>
                    <a:pt x="30" y="15"/>
                    <a:pt x="27" y="18"/>
                    <a:pt x="23" y="18"/>
                  </a:cubicBezTo>
                  <a:cubicBezTo>
                    <a:pt x="19" y="18"/>
                    <a:pt x="15" y="15"/>
                    <a:pt x="15" y="11"/>
                  </a:cubicBezTo>
                  <a:cubicBezTo>
                    <a:pt x="15" y="7"/>
                    <a:pt x="19" y="4"/>
                    <a:pt x="23" y="4"/>
                  </a:cubicBezTo>
                  <a:close/>
                  <a:moveTo>
                    <a:pt x="40" y="71"/>
                  </a:moveTo>
                  <a:cubicBezTo>
                    <a:pt x="38" y="71"/>
                    <a:pt x="37" y="70"/>
                    <a:pt x="37" y="69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33" y="122"/>
                    <a:pt x="32" y="124"/>
                    <a:pt x="30" y="124"/>
                  </a:cubicBezTo>
                  <a:cubicBezTo>
                    <a:pt x="27" y="124"/>
                    <a:pt x="26" y="122"/>
                    <a:pt x="26" y="120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19" y="120"/>
                    <a:pt x="19" y="120"/>
                    <a:pt x="19" y="120"/>
                  </a:cubicBezTo>
                  <a:cubicBezTo>
                    <a:pt x="19" y="120"/>
                    <a:pt x="19" y="120"/>
                    <a:pt x="19" y="120"/>
                  </a:cubicBezTo>
                  <a:cubicBezTo>
                    <a:pt x="19" y="122"/>
                    <a:pt x="18" y="124"/>
                    <a:pt x="16" y="124"/>
                  </a:cubicBezTo>
                  <a:cubicBezTo>
                    <a:pt x="13" y="124"/>
                    <a:pt x="12" y="122"/>
                    <a:pt x="12" y="120"/>
                  </a:cubicBezTo>
                  <a:cubicBezTo>
                    <a:pt x="12" y="103"/>
                    <a:pt x="12" y="43"/>
                    <a:pt x="12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70"/>
                    <a:pt x="6" y="71"/>
                    <a:pt x="6" y="71"/>
                  </a:cubicBezTo>
                  <a:cubicBezTo>
                    <a:pt x="4" y="71"/>
                    <a:pt x="3" y="70"/>
                    <a:pt x="3" y="69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6" y="24"/>
                    <a:pt x="23" y="24"/>
                  </a:cubicBezTo>
                  <a:cubicBezTo>
                    <a:pt x="39" y="24"/>
                    <a:pt x="41" y="35"/>
                    <a:pt x="41" y="36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1" y="71"/>
                    <a:pt x="40" y="7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95" name="Group 215"/>
          <p:cNvGrpSpPr>
            <a:grpSpLocks noChangeAspect="1"/>
          </p:cNvGrpSpPr>
          <p:nvPr/>
        </p:nvGrpSpPr>
        <p:grpSpPr bwMode="auto">
          <a:xfrm>
            <a:off x="2516186" y="2752725"/>
            <a:ext cx="857249" cy="855663"/>
            <a:chOff x="1588" y="1734"/>
            <a:chExt cx="540" cy="539"/>
          </a:xfrm>
        </p:grpSpPr>
        <p:sp>
          <p:nvSpPr>
            <p:cNvPr id="46296" name="Oval 216"/>
            <p:cNvSpPr>
              <a:spLocks noChangeArrowheads="1"/>
            </p:cNvSpPr>
            <p:nvPr/>
          </p:nvSpPr>
          <p:spPr bwMode="auto">
            <a:xfrm>
              <a:off x="1588" y="1734"/>
              <a:ext cx="540" cy="539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7" name="Freeform 217"/>
            <p:cNvSpPr>
              <a:spLocks noEditPoints="1"/>
            </p:cNvSpPr>
            <p:nvPr/>
          </p:nvSpPr>
          <p:spPr bwMode="auto">
            <a:xfrm>
              <a:off x="1610" y="1756"/>
              <a:ext cx="496" cy="49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8" name="Freeform 218"/>
            <p:cNvSpPr>
              <a:spLocks noEditPoints="1"/>
            </p:cNvSpPr>
            <p:nvPr/>
          </p:nvSpPr>
          <p:spPr bwMode="auto">
            <a:xfrm>
              <a:off x="1749" y="2034"/>
              <a:ext cx="60" cy="5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60" y="57"/>
                </a:cxn>
                <a:cxn ang="0">
                  <a:pos x="60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10" y="7"/>
                </a:cxn>
                <a:cxn ang="0">
                  <a:pos x="53" y="7"/>
                </a:cxn>
                <a:cxn ang="0">
                  <a:pos x="53" y="50"/>
                </a:cxn>
                <a:cxn ang="0">
                  <a:pos x="10" y="50"/>
                </a:cxn>
                <a:cxn ang="0">
                  <a:pos x="10" y="7"/>
                </a:cxn>
              </a:cxnLst>
              <a:rect l="0" t="0" r="r" b="b"/>
              <a:pathLst>
                <a:path w="60" h="57">
                  <a:moveTo>
                    <a:pt x="0" y="57"/>
                  </a:moveTo>
                  <a:lnTo>
                    <a:pt x="60" y="57"/>
                  </a:lnTo>
                  <a:lnTo>
                    <a:pt x="60" y="0"/>
                  </a:lnTo>
                  <a:lnTo>
                    <a:pt x="0" y="0"/>
                  </a:lnTo>
                  <a:lnTo>
                    <a:pt x="0" y="57"/>
                  </a:lnTo>
                  <a:close/>
                  <a:moveTo>
                    <a:pt x="10" y="7"/>
                  </a:moveTo>
                  <a:lnTo>
                    <a:pt x="53" y="7"/>
                  </a:lnTo>
                  <a:lnTo>
                    <a:pt x="53" y="50"/>
                  </a:lnTo>
                  <a:lnTo>
                    <a:pt x="10" y="50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99" name="Freeform 219"/>
            <p:cNvSpPr>
              <a:spLocks noEditPoints="1"/>
            </p:cNvSpPr>
            <p:nvPr/>
          </p:nvSpPr>
          <p:spPr bwMode="auto">
            <a:xfrm>
              <a:off x="1732" y="1902"/>
              <a:ext cx="254" cy="211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88"/>
                </a:cxn>
                <a:cxn ang="0">
                  <a:pos x="40" y="88"/>
                </a:cxn>
                <a:cxn ang="0">
                  <a:pos x="66" y="88"/>
                </a:cxn>
                <a:cxn ang="0">
                  <a:pos x="106" y="88"/>
                </a:cxn>
                <a:cxn ang="0">
                  <a:pos x="106" y="46"/>
                </a:cxn>
                <a:cxn ang="0">
                  <a:pos x="106" y="46"/>
                </a:cxn>
                <a:cxn ang="0">
                  <a:pos x="106" y="40"/>
                </a:cxn>
                <a:cxn ang="0">
                  <a:pos x="106" y="36"/>
                </a:cxn>
                <a:cxn ang="0">
                  <a:pos x="106" y="0"/>
                </a:cxn>
                <a:cxn ang="0">
                  <a:pos x="0" y="0"/>
                </a:cxn>
                <a:cxn ang="0">
                  <a:pos x="0" y="36"/>
                </a:cxn>
                <a:cxn ang="0">
                  <a:pos x="3" y="85"/>
                </a:cxn>
                <a:cxn ang="0">
                  <a:pos x="3" y="49"/>
                </a:cxn>
                <a:cxn ang="0">
                  <a:pos x="38" y="49"/>
                </a:cxn>
                <a:cxn ang="0">
                  <a:pos x="34" y="60"/>
                </a:cxn>
                <a:cxn ang="0">
                  <a:pos x="34" y="62"/>
                </a:cxn>
                <a:cxn ang="0">
                  <a:pos x="40" y="62"/>
                </a:cxn>
                <a:cxn ang="0">
                  <a:pos x="40" y="85"/>
                </a:cxn>
                <a:cxn ang="0">
                  <a:pos x="3" y="85"/>
                </a:cxn>
                <a:cxn ang="0">
                  <a:pos x="68" y="58"/>
                </a:cxn>
                <a:cxn ang="0">
                  <a:pos x="66" y="58"/>
                </a:cxn>
                <a:cxn ang="0">
                  <a:pos x="40" y="58"/>
                </a:cxn>
                <a:cxn ang="0">
                  <a:pos x="38" y="58"/>
                </a:cxn>
                <a:cxn ang="0">
                  <a:pos x="53" y="45"/>
                </a:cxn>
                <a:cxn ang="0">
                  <a:pos x="68" y="58"/>
                </a:cxn>
                <a:cxn ang="0">
                  <a:pos x="44" y="62"/>
                </a:cxn>
                <a:cxn ang="0">
                  <a:pos x="51" y="62"/>
                </a:cxn>
                <a:cxn ang="0">
                  <a:pos x="51" y="85"/>
                </a:cxn>
                <a:cxn ang="0">
                  <a:pos x="44" y="85"/>
                </a:cxn>
                <a:cxn ang="0">
                  <a:pos x="44" y="62"/>
                </a:cxn>
                <a:cxn ang="0">
                  <a:pos x="55" y="85"/>
                </a:cxn>
                <a:cxn ang="0">
                  <a:pos x="55" y="62"/>
                </a:cxn>
                <a:cxn ang="0">
                  <a:pos x="62" y="62"/>
                </a:cxn>
                <a:cxn ang="0">
                  <a:pos x="62" y="85"/>
                </a:cxn>
                <a:cxn ang="0">
                  <a:pos x="55" y="85"/>
                </a:cxn>
                <a:cxn ang="0">
                  <a:pos x="103" y="85"/>
                </a:cxn>
                <a:cxn ang="0">
                  <a:pos x="66" y="85"/>
                </a:cxn>
                <a:cxn ang="0">
                  <a:pos x="66" y="62"/>
                </a:cxn>
                <a:cxn ang="0">
                  <a:pos x="71" y="62"/>
                </a:cxn>
                <a:cxn ang="0">
                  <a:pos x="71" y="60"/>
                </a:cxn>
                <a:cxn ang="0">
                  <a:pos x="68" y="49"/>
                </a:cxn>
                <a:cxn ang="0">
                  <a:pos x="103" y="49"/>
                </a:cxn>
                <a:cxn ang="0">
                  <a:pos x="103" y="85"/>
                </a:cxn>
                <a:cxn ang="0">
                  <a:pos x="65" y="46"/>
                </a:cxn>
                <a:cxn ang="0">
                  <a:pos x="65" y="46"/>
                </a:cxn>
                <a:cxn ang="0">
                  <a:pos x="53" y="41"/>
                </a:cxn>
                <a:cxn ang="0">
                  <a:pos x="40" y="46"/>
                </a:cxn>
                <a:cxn ang="0">
                  <a:pos x="40" y="46"/>
                </a:cxn>
                <a:cxn ang="0">
                  <a:pos x="3" y="46"/>
                </a:cxn>
                <a:cxn ang="0">
                  <a:pos x="3" y="40"/>
                </a:cxn>
                <a:cxn ang="0">
                  <a:pos x="103" y="40"/>
                </a:cxn>
                <a:cxn ang="0">
                  <a:pos x="103" y="46"/>
                </a:cxn>
                <a:cxn ang="0">
                  <a:pos x="65" y="46"/>
                </a:cxn>
                <a:cxn ang="0">
                  <a:pos x="103" y="4"/>
                </a:cxn>
                <a:cxn ang="0">
                  <a:pos x="103" y="36"/>
                </a:cxn>
                <a:cxn ang="0">
                  <a:pos x="3" y="36"/>
                </a:cxn>
                <a:cxn ang="0">
                  <a:pos x="3" y="4"/>
                </a:cxn>
                <a:cxn ang="0">
                  <a:pos x="103" y="4"/>
                </a:cxn>
              </a:cxnLst>
              <a:rect l="0" t="0" r="r" b="b"/>
              <a:pathLst>
                <a:path w="106" h="88">
                  <a:moveTo>
                    <a:pt x="0" y="36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"/>
                  </a:lnTo>
                  <a:close/>
                  <a:moveTo>
                    <a:pt x="3" y="85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6" y="53"/>
                    <a:pt x="34" y="56"/>
                    <a:pt x="34" y="60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85"/>
                    <a:pt x="40" y="85"/>
                    <a:pt x="40" y="85"/>
                  </a:cubicBezTo>
                  <a:lnTo>
                    <a:pt x="3" y="85"/>
                  </a:lnTo>
                  <a:close/>
                  <a:moveTo>
                    <a:pt x="68" y="58"/>
                  </a:moveTo>
                  <a:cubicBezTo>
                    <a:pt x="66" y="58"/>
                    <a:pt x="66" y="58"/>
                    <a:pt x="66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9" y="51"/>
                    <a:pt x="45" y="45"/>
                    <a:pt x="53" y="45"/>
                  </a:cubicBezTo>
                  <a:cubicBezTo>
                    <a:pt x="61" y="45"/>
                    <a:pt x="67" y="51"/>
                    <a:pt x="68" y="58"/>
                  </a:cubicBezTo>
                  <a:close/>
                  <a:moveTo>
                    <a:pt x="44" y="62"/>
                  </a:moveTo>
                  <a:cubicBezTo>
                    <a:pt x="51" y="62"/>
                    <a:pt x="51" y="62"/>
                    <a:pt x="51" y="62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44" y="85"/>
                    <a:pt x="44" y="85"/>
                    <a:pt x="44" y="85"/>
                  </a:cubicBezTo>
                  <a:lnTo>
                    <a:pt x="44" y="62"/>
                  </a:lnTo>
                  <a:close/>
                  <a:moveTo>
                    <a:pt x="55" y="85"/>
                  </a:moveTo>
                  <a:cubicBezTo>
                    <a:pt x="55" y="62"/>
                    <a:pt x="55" y="62"/>
                    <a:pt x="55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85"/>
                    <a:pt x="62" y="85"/>
                    <a:pt x="62" y="85"/>
                  </a:cubicBezTo>
                  <a:lnTo>
                    <a:pt x="55" y="85"/>
                  </a:lnTo>
                  <a:close/>
                  <a:moveTo>
                    <a:pt x="103" y="85"/>
                  </a:moveTo>
                  <a:cubicBezTo>
                    <a:pt x="66" y="85"/>
                    <a:pt x="66" y="85"/>
                    <a:pt x="66" y="85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6"/>
                    <a:pt x="70" y="53"/>
                    <a:pt x="68" y="49"/>
                  </a:cubicBezTo>
                  <a:cubicBezTo>
                    <a:pt x="103" y="49"/>
                    <a:pt x="103" y="49"/>
                    <a:pt x="103" y="49"/>
                  </a:cubicBezTo>
                  <a:lnTo>
                    <a:pt x="103" y="85"/>
                  </a:lnTo>
                  <a:close/>
                  <a:moveTo>
                    <a:pt x="65" y="46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62" y="43"/>
                    <a:pt x="58" y="41"/>
                    <a:pt x="53" y="41"/>
                  </a:cubicBezTo>
                  <a:cubicBezTo>
                    <a:pt x="48" y="41"/>
                    <a:pt x="43" y="43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6"/>
                    <a:pt x="103" y="46"/>
                    <a:pt x="103" y="46"/>
                  </a:cubicBezTo>
                  <a:lnTo>
                    <a:pt x="65" y="46"/>
                  </a:lnTo>
                  <a:close/>
                  <a:moveTo>
                    <a:pt x="103" y="4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103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00" name="Freeform 220"/>
            <p:cNvSpPr>
              <a:spLocks noEditPoints="1"/>
            </p:cNvSpPr>
            <p:nvPr/>
          </p:nvSpPr>
          <p:spPr bwMode="auto">
            <a:xfrm>
              <a:off x="1905" y="1921"/>
              <a:ext cx="64" cy="58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0"/>
                </a:cxn>
                <a:cxn ang="0">
                  <a:pos x="0" y="58"/>
                </a:cxn>
                <a:cxn ang="0">
                  <a:pos x="64" y="58"/>
                </a:cxn>
                <a:cxn ang="0">
                  <a:pos x="64" y="0"/>
                </a:cxn>
                <a:cxn ang="0">
                  <a:pos x="55" y="51"/>
                </a:cxn>
                <a:cxn ang="0">
                  <a:pos x="7" y="51"/>
                </a:cxn>
                <a:cxn ang="0">
                  <a:pos x="7" y="10"/>
                </a:cxn>
                <a:cxn ang="0">
                  <a:pos x="55" y="10"/>
                </a:cxn>
                <a:cxn ang="0">
                  <a:pos x="55" y="51"/>
                </a:cxn>
              </a:cxnLst>
              <a:rect l="0" t="0" r="r" b="b"/>
              <a:pathLst>
                <a:path w="64" h="58">
                  <a:moveTo>
                    <a:pt x="64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64" y="58"/>
                  </a:lnTo>
                  <a:lnTo>
                    <a:pt x="64" y="0"/>
                  </a:lnTo>
                  <a:close/>
                  <a:moveTo>
                    <a:pt x="55" y="51"/>
                  </a:moveTo>
                  <a:lnTo>
                    <a:pt x="7" y="51"/>
                  </a:lnTo>
                  <a:lnTo>
                    <a:pt x="7" y="10"/>
                  </a:lnTo>
                  <a:lnTo>
                    <a:pt x="55" y="10"/>
                  </a:lnTo>
                  <a:lnTo>
                    <a:pt x="55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1" name="Freeform 221"/>
            <p:cNvSpPr>
              <a:spLocks noEditPoints="1"/>
            </p:cNvSpPr>
            <p:nvPr/>
          </p:nvSpPr>
          <p:spPr bwMode="auto">
            <a:xfrm>
              <a:off x="1749" y="1921"/>
              <a:ext cx="65" cy="58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0" y="0"/>
                </a:cxn>
                <a:cxn ang="0">
                  <a:pos x="0" y="58"/>
                </a:cxn>
                <a:cxn ang="0">
                  <a:pos x="65" y="58"/>
                </a:cxn>
                <a:cxn ang="0">
                  <a:pos x="65" y="0"/>
                </a:cxn>
                <a:cxn ang="0">
                  <a:pos x="55" y="51"/>
                </a:cxn>
                <a:cxn ang="0">
                  <a:pos x="10" y="51"/>
                </a:cxn>
                <a:cxn ang="0">
                  <a:pos x="10" y="10"/>
                </a:cxn>
                <a:cxn ang="0">
                  <a:pos x="55" y="10"/>
                </a:cxn>
                <a:cxn ang="0">
                  <a:pos x="55" y="51"/>
                </a:cxn>
              </a:cxnLst>
              <a:rect l="0" t="0" r="r" b="b"/>
              <a:pathLst>
                <a:path w="65" h="58">
                  <a:moveTo>
                    <a:pt x="65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65" y="58"/>
                  </a:lnTo>
                  <a:lnTo>
                    <a:pt x="65" y="0"/>
                  </a:lnTo>
                  <a:close/>
                  <a:moveTo>
                    <a:pt x="55" y="51"/>
                  </a:moveTo>
                  <a:lnTo>
                    <a:pt x="10" y="51"/>
                  </a:lnTo>
                  <a:lnTo>
                    <a:pt x="10" y="10"/>
                  </a:lnTo>
                  <a:lnTo>
                    <a:pt x="55" y="10"/>
                  </a:lnTo>
                  <a:lnTo>
                    <a:pt x="55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2" name="Freeform 222"/>
            <p:cNvSpPr>
              <a:spLocks noEditPoints="1"/>
            </p:cNvSpPr>
            <p:nvPr/>
          </p:nvSpPr>
          <p:spPr bwMode="auto">
            <a:xfrm>
              <a:off x="1828" y="1921"/>
              <a:ext cx="65" cy="58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0" y="0"/>
                </a:cxn>
                <a:cxn ang="0">
                  <a:pos x="0" y="58"/>
                </a:cxn>
                <a:cxn ang="0">
                  <a:pos x="65" y="58"/>
                </a:cxn>
                <a:cxn ang="0">
                  <a:pos x="65" y="0"/>
                </a:cxn>
                <a:cxn ang="0">
                  <a:pos x="55" y="51"/>
                </a:cxn>
                <a:cxn ang="0">
                  <a:pos x="7" y="51"/>
                </a:cxn>
                <a:cxn ang="0">
                  <a:pos x="7" y="10"/>
                </a:cxn>
                <a:cxn ang="0">
                  <a:pos x="55" y="10"/>
                </a:cxn>
                <a:cxn ang="0">
                  <a:pos x="55" y="51"/>
                </a:cxn>
              </a:cxnLst>
              <a:rect l="0" t="0" r="r" b="b"/>
              <a:pathLst>
                <a:path w="65" h="58">
                  <a:moveTo>
                    <a:pt x="65" y="0"/>
                  </a:moveTo>
                  <a:lnTo>
                    <a:pt x="0" y="0"/>
                  </a:lnTo>
                  <a:lnTo>
                    <a:pt x="0" y="58"/>
                  </a:lnTo>
                  <a:lnTo>
                    <a:pt x="65" y="58"/>
                  </a:lnTo>
                  <a:lnTo>
                    <a:pt x="65" y="0"/>
                  </a:lnTo>
                  <a:close/>
                  <a:moveTo>
                    <a:pt x="55" y="51"/>
                  </a:moveTo>
                  <a:lnTo>
                    <a:pt x="7" y="51"/>
                  </a:lnTo>
                  <a:lnTo>
                    <a:pt x="7" y="10"/>
                  </a:lnTo>
                  <a:lnTo>
                    <a:pt x="55" y="10"/>
                  </a:lnTo>
                  <a:lnTo>
                    <a:pt x="55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3" name="Freeform 223"/>
            <p:cNvSpPr>
              <a:spLocks noEditPoints="1"/>
            </p:cNvSpPr>
            <p:nvPr/>
          </p:nvSpPr>
          <p:spPr bwMode="auto">
            <a:xfrm>
              <a:off x="1910" y="2034"/>
              <a:ext cx="59" cy="5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59" y="57"/>
                </a:cxn>
                <a:cxn ang="0">
                  <a:pos x="59" y="0"/>
                </a:cxn>
                <a:cxn ang="0">
                  <a:pos x="50" y="48"/>
                </a:cxn>
                <a:cxn ang="0">
                  <a:pos x="7" y="48"/>
                </a:cxn>
                <a:cxn ang="0">
                  <a:pos x="7" y="7"/>
                </a:cxn>
                <a:cxn ang="0">
                  <a:pos x="50" y="7"/>
                </a:cxn>
                <a:cxn ang="0">
                  <a:pos x="50" y="48"/>
                </a:cxn>
              </a:cxnLst>
              <a:rect l="0" t="0" r="r" b="b"/>
              <a:pathLst>
                <a:path w="59" h="57">
                  <a:moveTo>
                    <a:pt x="59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59" y="57"/>
                  </a:lnTo>
                  <a:lnTo>
                    <a:pt x="59" y="0"/>
                  </a:lnTo>
                  <a:close/>
                  <a:moveTo>
                    <a:pt x="50" y="48"/>
                  </a:moveTo>
                  <a:lnTo>
                    <a:pt x="7" y="48"/>
                  </a:lnTo>
                  <a:lnTo>
                    <a:pt x="7" y="7"/>
                  </a:lnTo>
                  <a:lnTo>
                    <a:pt x="50" y="7"/>
                  </a:lnTo>
                  <a:lnTo>
                    <a:pt x="50" y="4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06" name="Group 226"/>
          <p:cNvGrpSpPr>
            <a:grpSpLocks noChangeAspect="1"/>
          </p:cNvGrpSpPr>
          <p:nvPr/>
        </p:nvGrpSpPr>
        <p:grpSpPr bwMode="auto">
          <a:xfrm>
            <a:off x="3654427" y="2781302"/>
            <a:ext cx="785813" cy="785813"/>
            <a:chOff x="2310" y="1752"/>
            <a:chExt cx="495" cy="495"/>
          </a:xfrm>
        </p:grpSpPr>
        <p:sp>
          <p:nvSpPr>
            <p:cNvPr id="46307" name="Freeform 227"/>
            <p:cNvSpPr>
              <a:spLocks noEditPoints="1"/>
            </p:cNvSpPr>
            <p:nvPr/>
          </p:nvSpPr>
          <p:spPr bwMode="auto">
            <a:xfrm>
              <a:off x="2310" y="1752"/>
              <a:ext cx="495" cy="49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7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2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2"/>
                </a:cxn>
              </a:cxnLst>
              <a:rect l="0" t="0" r="r" b="b"/>
              <a:pathLst>
                <a:path w="207" h="207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7"/>
                    <a:pt x="104" y="207"/>
                  </a:cubicBezTo>
                  <a:cubicBezTo>
                    <a:pt x="161" y="207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2"/>
                  </a:moveTo>
                  <a:cubicBezTo>
                    <a:pt x="49" y="202"/>
                    <a:pt x="5" y="158"/>
                    <a:pt x="5" y="104"/>
                  </a:cubicBezTo>
                  <a:cubicBezTo>
                    <a:pt x="5" y="49"/>
                    <a:pt x="49" y="5"/>
                    <a:pt x="104" y="5"/>
                  </a:cubicBezTo>
                  <a:cubicBezTo>
                    <a:pt x="158" y="5"/>
                    <a:pt x="202" y="49"/>
                    <a:pt x="202" y="104"/>
                  </a:cubicBezTo>
                  <a:cubicBezTo>
                    <a:pt x="202" y="158"/>
                    <a:pt x="158" y="202"/>
                    <a:pt x="104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8" name="Freeform 228"/>
            <p:cNvSpPr>
              <a:spLocks noEditPoints="1"/>
            </p:cNvSpPr>
            <p:nvPr/>
          </p:nvSpPr>
          <p:spPr bwMode="auto">
            <a:xfrm>
              <a:off x="2449" y="2030"/>
              <a:ext cx="59" cy="5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59" y="57"/>
                </a:cxn>
                <a:cxn ang="0">
                  <a:pos x="59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9" y="7"/>
                </a:cxn>
                <a:cxn ang="0">
                  <a:pos x="52" y="7"/>
                </a:cxn>
                <a:cxn ang="0">
                  <a:pos x="52" y="50"/>
                </a:cxn>
                <a:cxn ang="0">
                  <a:pos x="9" y="50"/>
                </a:cxn>
                <a:cxn ang="0">
                  <a:pos x="9" y="7"/>
                </a:cxn>
              </a:cxnLst>
              <a:rect l="0" t="0" r="r" b="b"/>
              <a:pathLst>
                <a:path w="59" h="57">
                  <a:moveTo>
                    <a:pt x="0" y="57"/>
                  </a:moveTo>
                  <a:lnTo>
                    <a:pt x="59" y="57"/>
                  </a:lnTo>
                  <a:lnTo>
                    <a:pt x="59" y="0"/>
                  </a:lnTo>
                  <a:lnTo>
                    <a:pt x="0" y="0"/>
                  </a:lnTo>
                  <a:lnTo>
                    <a:pt x="0" y="57"/>
                  </a:lnTo>
                  <a:close/>
                  <a:moveTo>
                    <a:pt x="9" y="7"/>
                  </a:moveTo>
                  <a:lnTo>
                    <a:pt x="52" y="7"/>
                  </a:lnTo>
                  <a:lnTo>
                    <a:pt x="52" y="50"/>
                  </a:lnTo>
                  <a:lnTo>
                    <a:pt x="9" y="5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09" name="Freeform 229"/>
            <p:cNvSpPr>
              <a:spLocks noEditPoints="1"/>
            </p:cNvSpPr>
            <p:nvPr/>
          </p:nvSpPr>
          <p:spPr bwMode="auto">
            <a:xfrm>
              <a:off x="2432" y="1898"/>
              <a:ext cx="254" cy="211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88"/>
                </a:cxn>
                <a:cxn ang="0">
                  <a:pos x="40" y="88"/>
                </a:cxn>
                <a:cxn ang="0">
                  <a:pos x="66" y="88"/>
                </a:cxn>
                <a:cxn ang="0">
                  <a:pos x="106" y="88"/>
                </a:cxn>
                <a:cxn ang="0">
                  <a:pos x="106" y="46"/>
                </a:cxn>
                <a:cxn ang="0">
                  <a:pos x="106" y="46"/>
                </a:cxn>
                <a:cxn ang="0">
                  <a:pos x="106" y="40"/>
                </a:cxn>
                <a:cxn ang="0">
                  <a:pos x="106" y="36"/>
                </a:cxn>
                <a:cxn ang="0">
                  <a:pos x="106" y="0"/>
                </a:cxn>
                <a:cxn ang="0">
                  <a:pos x="0" y="0"/>
                </a:cxn>
                <a:cxn ang="0">
                  <a:pos x="0" y="36"/>
                </a:cxn>
                <a:cxn ang="0">
                  <a:pos x="3" y="85"/>
                </a:cxn>
                <a:cxn ang="0">
                  <a:pos x="3" y="49"/>
                </a:cxn>
                <a:cxn ang="0">
                  <a:pos x="38" y="49"/>
                </a:cxn>
                <a:cxn ang="0">
                  <a:pos x="34" y="60"/>
                </a:cxn>
                <a:cxn ang="0">
                  <a:pos x="34" y="62"/>
                </a:cxn>
                <a:cxn ang="0">
                  <a:pos x="40" y="62"/>
                </a:cxn>
                <a:cxn ang="0">
                  <a:pos x="40" y="85"/>
                </a:cxn>
                <a:cxn ang="0">
                  <a:pos x="3" y="85"/>
                </a:cxn>
                <a:cxn ang="0">
                  <a:pos x="68" y="58"/>
                </a:cxn>
                <a:cxn ang="0">
                  <a:pos x="66" y="58"/>
                </a:cxn>
                <a:cxn ang="0">
                  <a:pos x="40" y="58"/>
                </a:cxn>
                <a:cxn ang="0">
                  <a:pos x="38" y="58"/>
                </a:cxn>
                <a:cxn ang="0">
                  <a:pos x="53" y="45"/>
                </a:cxn>
                <a:cxn ang="0">
                  <a:pos x="68" y="58"/>
                </a:cxn>
                <a:cxn ang="0">
                  <a:pos x="44" y="62"/>
                </a:cxn>
                <a:cxn ang="0">
                  <a:pos x="51" y="62"/>
                </a:cxn>
                <a:cxn ang="0">
                  <a:pos x="51" y="85"/>
                </a:cxn>
                <a:cxn ang="0">
                  <a:pos x="44" y="85"/>
                </a:cxn>
                <a:cxn ang="0">
                  <a:pos x="44" y="62"/>
                </a:cxn>
                <a:cxn ang="0">
                  <a:pos x="55" y="85"/>
                </a:cxn>
                <a:cxn ang="0">
                  <a:pos x="55" y="62"/>
                </a:cxn>
                <a:cxn ang="0">
                  <a:pos x="62" y="62"/>
                </a:cxn>
                <a:cxn ang="0">
                  <a:pos x="62" y="85"/>
                </a:cxn>
                <a:cxn ang="0">
                  <a:pos x="55" y="85"/>
                </a:cxn>
                <a:cxn ang="0">
                  <a:pos x="103" y="85"/>
                </a:cxn>
                <a:cxn ang="0">
                  <a:pos x="66" y="85"/>
                </a:cxn>
                <a:cxn ang="0">
                  <a:pos x="66" y="62"/>
                </a:cxn>
                <a:cxn ang="0">
                  <a:pos x="71" y="62"/>
                </a:cxn>
                <a:cxn ang="0">
                  <a:pos x="71" y="60"/>
                </a:cxn>
                <a:cxn ang="0">
                  <a:pos x="68" y="49"/>
                </a:cxn>
                <a:cxn ang="0">
                  <a:pos x="103" y="49"/>
                </a:cxn>
                <a:cxn ang="0">
                  <a:pos x="103" y="85"/>
                </a:cxn>
                <a:cxn ang="0">
                  <a:pos x="65" y="46"/>
                </a:cxn>
                <a:cxn ang="0">
                  <a:pos x="65" y="46"/>
                </a:cxn>
                <a:cxn ang="0">
                  <a:pos x="53" y="41"/>
                </a:cxn>
                <a:cxn ang="0">
                  <a:pos x="40" y="46"/>
                </a:cxn>
                <a:cxn ang="0">
                  <a:pos x="40" y="46"/>
                </a:cxn>
                <a:cxn ang="0">
                  <a:pos x="3" y="46"/>
                </a:cxn>
                <a:cxn ang="0">
                  <a:pos x="3" y="40"/>
                </a:cxn>
                <a:cxn ang="0">
                  <a:pos x="103" y="40"/>
                </a:cxn>
                <a:cxn ang="0">
                  <a:pos x="103" y="46"/>
                </a:cxn>
                <a:cxn ang="0">
                  <a:pos x="65" y="46"/>
                </a:cxn>
                <a:cxn ang="0">
                  <a:pos x="103" y="4"/>
                </a:cxn>
                <a:cxn ang="0">
                  <a:pos x="103" y="36"/>
                </a:cxn>
                <a:cxn ang="0">
                  <a:pos x="3" y="36"/>
                </a:cxn>
                <a:cxn ang="0">
                  <a:pos x="3" y="4"/>
                </a:cxn>
                <a:cxn ang="0">
                  <a:pos x="103" y="4"/>
                </a:cxn>
              </a:cxnLst>
              <a:rect l="0" t="0" r="r" b="b"/>
              <a:pathLst>
                <a:path w="106" h="88">
                  <a:moveTo>
                    <a:pt x="0" y="36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106" y="88"/>
                    <a:pt x="106" y="88"/>
                    <a:pt x="106" y="88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"/>
                  </a:lnTo>
                  <a:close/>
                  <a:moveTo>
                    <a:pt x="3" y="85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6" y="53"/>
                    <a:pt x="34" y="56"/>
                    <a:pt x="34" y="60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85"/>
                    <a:pt x="40" y="85"/>
                    <a:pt x="40" y="85"/>
                  </a:cubicBezTo>
                  <a:lnTo>
                    <a:pt x="3" y="85"/>
                  </a:lnTo>
                  <a:close/>
                  <a:moveTo>
                    <a:pt x="68" y="58"/>
                  </a:moveTo>
                  <a:cubicBezTo>
                    <a:pt x="66" y="58"/>
                    <a:pt x="66" y="58"/>
                    <a:pt x="66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9" y="51"/>
                    <a:pt x="45" y="45"/>
                    <a:pt x="53" y="45"/>
                  </a:cubicBezTo>
                  <a:cubicBezTo>
                    <a:pt x="61" y="45"/>
                    <a:pt x="67" y="51"/>
                    <a:pt x="68" y="58"/>
                  </a:cubicBezTo>
                  <a:close/>
                  <a:moveTo>
                    <a:pt x="44" y="62"/>
                  </a:moveTo>
                  <a:cubicBezTo>
                    <a:pt x="51" y="62"/>
                    <a:pt x="51" y="62"/>
                    <a:pt x="51" y="62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44" y="85"/>
                    <a:pt x="44" y="85"/>
                    <a:pt x="44" y="85"/>
                  </a:cubicBezTo>
                  <a:lnTo>
                    <a:pt x="44" y="62"/>
                  </a:lnTo>
                  <a:close/>
                  <a:moveTo>
                    <a:pt x="55" y="85"/>
                  </a:moveTo>
                  <a:cubicBezTo>
                    <a:pt x="55" y="62"/>
                    <a:pt x="55" y="62"/>
                    <a:pt x="55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85"/>
                    <a:pt x="62" y="85"/>
                    <a:pt x="62" y="85"/>
                  </a:cubicBezTo>
                  <a:lnTo>
                    <a:pt x="55" y="85"/>
                  </a:lnTo>
                  <a:close/>
                  <a:moveTo>
                    <a:pt x="103" y="85"/>
                  </a:moveTo>
                  <a:cubicBezTo>
                    <a:pt x="66" y="85"/>
                    <a:pt x="66" y="85"/>
                    <a:pt x="66" y="85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6"/>
                    <a:pt x="70" y="53"/>
                    <a:pt x="68" y="49"/>
                  </a:cubicBezTo>
                  <a:cubicBezTo>
                    <a:pt x="103" y="49"/>
                    <a:pt x="103" y="49"/>
                    <a:pt x="103" y="49"/>
                  </a:cubicBezTo>
                  <a:lnTo>
                    <a:pt x="103" y="85"/>
                  </a:lnTo>
                  <a:close/>
                  <a:moveTo>
                    <a:pt x="65" y="46"/>
                  </a:moveTo>
                  <a:cubicBezTo>
                    <a:pt x="65" y="46"/>
                    <a:pt x="65" y="46"/>
                    <a:pt x="65" y="46"/>
                  </a:cubicBezTo>
                  <a:cubicBezTo>
                    <a:pt x="62" y="43"/>
                    <a:pt x="58" y="41"/>
                    <a:pt x="53" y="41"/>
                  </a:cubicBezTo>
                  <a:cubicBezTo>
                    <a:pt x="48" y="41"/>
                    <a:pt x="43" y="43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6"/>
                    <a:pt x="103" y="46"/>
                    <a:pt x="103" y="46"/>
                  </a:cubicBezTo>
                  <a:lnTo>
                    <a:pt x="65" y="46"/>
                  </a:lnTo>
                  <a:close/>
                  <a:moveTo>
                    <a:pt x="103" y="4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103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0" name="Freeform 230"/>
            <p:cNvSpPr>
              <a:spLocks noEditPoints="1"/>
            </p:cNvSpPr>
            <p:nvPr/>
          </p:nvSpPr>
          <p:spPr bwMode="auto">
            <a:xfrm>
              <a:off x="2604" y="1917"/>
              <a:ext cx="65" cy="57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65" y="57"/>
                </a:cxn>
                <a:cxn ang="0">
                  <a:pos x="65" y="0"/>
                </a:cxn>
                <a:cxn ang="0">
                  <a:pos x="55" y="50"/>
                </a:cxn>
                <a:cxn ang="0">
                  <a:pos x="7" y="50"/>
                </a:cxn>
                <a:cxn ang="0">
                  <a:pos x="7" y="10"/>
                </a:cxn>
                <a:cxn ang="0">
                  <a:pos x="55" y="10"/>
                </a:cxn>
                <a:cxn ang="0">
                  <a:pos x="55" y="50"/>
                </a:cxn>
              </a:cxnLst>
              <a:rect l="0" t="0" r="r" b="b"/>
              <a:pathLst>
                <a:path w="65" h="57">
                  <a:moveTo>
                    <a:pt x="65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65" y="57"/>
                  </a:lnTo>
                  <a:lnTo>
                    <a:pt x="65" y="0"/>
                  </a:lnTo>
                  <a:close/>
                  <a:moveTo>
                    <a:pt x="55" y="50"/>
                  </a:moveTo>
                  <a:lnTo>
                    <a:pt x="7" y="50"/>
                  </a:lnTo>
                  <a:lnTo>
                    <a:pt x="7" y="10"/>
                  </a:lnTo>
                  <a:lnTo>
                    <a:pt x="55" y="10"/>
                  </a:lnTo>
                  <a:lnTo>
                    <a:pt x="55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11" name="Freeform 231"/>
            <p:cNvSpPr>
              <a:spLocks noEditPoints="1"/>
            </p:cNvSpPr>
            <p:nvPr/>
          </p:nvSpPr>
          <p:spPr bwMode="auto">
            <a:xfrm>
              <a:off x="2449" y="1917"/>
              <a:ext cx="64" cy="57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64" y="57"/>
                </a:cxn>
                <a:cxn ang="0">
                  <a:pos x="64" y="0"/>
                </a:cxn>
                <a:cxn ang="0">
                  <a:pos x="55" y="50"/>
                </a:cxn>
                <a:cxn ang="0">
                  <a:pos x="9" y="50"/>
                </a:cxn>
                <a:cxn ang="0">
                  <a:pos x="9" y="10"/>
                </a:cxn>
                <a:cxn ang="0">
                  <a:pos x="55" y="10"/>
                </a:cxn>
                <a:cxn ang="0">
                  <a:pos x="55" y="50"/>
                </a:cxn>
              </a:cxnLst>
              <a:rect l="0" t="0" r="r" b="b"/>
              <a:pathLst>
                <a:path w="64" h="57">
                  <a:moveTo>
                    <a:pt x="64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0"/>
                  </a:lnTo>
                  <a:close/>
                  <a:moveTo>
                    <a:pt x="55" y="50"/>
                  </a:moveTo>
                  <a:lnTo>
                    <a:pt x="9" y="50"/>
                  </a:lnTo>
                  <a:lnTo>
                    <a:pt x="9" y="10"/>
                  </a:lnTo>
                  <a:lnTo>
                    <a:pt x="55" y="10"/>
                  </a:lnTo>
                  <a:lnTo>
                    <a:pt x="55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2" name="Freeform 232"/>
            <p:cNvSpPr>
              <a:spLocks noEditPoints="1"/>
            </p:cNvSpPr>
            <p:nvPr/>
          </p:nvSpPr>
          <p:spPr bwMode="auto">
            <a:xfrm>
              <a:off x="2528" y="1917"/>
              <a:ext cx="64" cy="57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64" y="57"/>
                </a:cxn>
                <a:cxn ang="0">
                  <a:pos x="64" y="0"/>
                </a:cxn>
                <a:cxn ang="0">
                  <a:pos x="55" y="50"/>
                </a:cxn>
                <a:cxn ang="0">
                  <a:pos x="7" y="50"/>
                </a:cxn>
                <a:cxn ang="0">
                  <a:pos x="7" y="10"/>
                </a:cxn>
                <a:cxn ang="0">
                  <a:pos x="55" y="10"/>
                </a:cxn>
                <a:cxn ang="0">
                  <a:pos x="55" y="50"/>
                </a:cxn>
              </a:cxnLst>
              <a:rect l="0" t="0" r="r" b="b"/>
              <a:pathLst>
                <a:path w="64" h="57">
                  <a:moveTo>
                    <a:pt x="64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0"/>
                  </a:lnTo>
                  <a:close/>
                  <a:moveTo>
                    <a:pt x="55" y="50"/>
                  </a:moveTo>
                  <a:lnTo>
                    <a:pt x="7" y="50"/>
                  </a:lnTo>
                  <a:lnTo>
                    <a:pt x="7" y="10"/>
                  </a:lnTo>
                  <a:lnTo>
                    <a:pt x="55" y="10"/>
                  </a:lnTo>
                  <a:lnTo>
                    <a:pt x="55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3" name="Freeform 233"/>
            <p:cNvSpPr>
              <a:spLocks noEditPoints="1"/>
            </p:cNvSpPr>
            <p:nvPr/>
          </p:nvSpPr>
          <p:spPr bwMode="auto">
            <a:xfrm>
              <a:off x="2609" y="2030"/>
              <a:ext cx="60" cy="57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60" y="57"/>
                </a:cxn>
                <a:cxn ang="0">
                  <a:pos x="60" y="0"/>
                </a:cxn>
                <a:cxn ang="0">
                  <a:pos x="50" y="50"/>
                </a:cxn>
                <a:cxn ang="0">
                  <a:pos x="7" y="50"/>
                </a:cxn>
                <a:cxn ang="0">
                  <a:pos x="7" y="7"/>
                </a:cxn>
                <a:cxn ang="0">
                  <a:pos x="50" y="7"/>
                </a:cxn>
                <a:cxn ang="0">
                  <a:pos x="50" y="50"/>
                </a:cxn>
              </a:cxnLst>
              <a:rect l="0" t="0" r="r" b="b"/>
              <a:pathLst>
                <a:path w="60" h="57">
                  <a:moveTo>
                    <a:pt x="60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60" y="57"/>
                  </a:lnTo>
                  <a:lnTo>
                    <a:pt x="60" y="0"/>
                  </a:lnTo>
                  <a:close/>
                  <a:moveTo>
                    <a:pt x="50" y="50"/>
                  </a:moveTo>
                  <a:lnTo>
                    <a:pt x="7" y="50"/>
                  </a:lnTo>
                  <a:lnTo>
                    <a:pt x="7" y="7"/>
                  </a:lnTo>
                  <a:lnTo>
                    <a:pt x="50" y="7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16" name="Group 236"/>
          <p:cNvGrpSpPr>
            <a:grpSpLocks noChangeAspect="1"/>
          </p:cNvGrpSpPr>
          <p:nvPr/>
        </p:nvGrpSpPr>
        <p:grpSpPr bwMode="auto">
          <a:xfrm>
            <a:off x="4727575" y="2759075"/>
            <a:ext cx="835025" cy="836613"/>
            <a:chOff x="2991" y="1738"/>
            <a:chExt cx="526" cy="527"/>
          </a:xfrm>
        </p:grpSpPr>
        <p:sp>
          <p:nvSpPr>
            <p:cNvPr id="46317" name="Oval 237"/>
            <p:cNvSpPr>
              <a:spLocks noChangeArrowheads="1"/>
            </p:cNvSpPr>
            <p:nvPr/>
          </p:nvSpPr>
          <p:spPr bwMode="auto">
            <a:xfrm>
              <a:off x="2991" y="1738"/>
              <a:ext cx="526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8" name="Freeform 238"/>
            <p:cNvSpPr>
              <a:spLocks noEditPoints="1"/>
            </p:cNvSpPr>
            <p:nvPr/>
          </p:nvSpPr>
          <p:spPr bwMode="auto">
            <a:xfrm>
              <a:off x="3012" y="1760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19" name="Freeform 239"/>
            <p:cNvSpPr>
              <a:spLocks noEditPoints="1"/>
            </p:cNvSpPr>
            <p:nvPr/>
          </p:nvSpPr>
          <p:spPr bwMode="auto">
            <a:xfrm>
              <a:off x="3122" y="1896"/>
              <a:ext cx="276" cy="24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80" y="65"/>
                </a:cxn>
                <a:cxn ang="0">
                  <a:pos x="76" y="94"/>
                </a:cxn>
                <a:cxn ang="0">
                  <a:pos x="22" y="88"/>
                </a:cxn>
                <a:cxn ang="0">
                  <a:pos x="22" y="103"/>
                </a:cxn>
                <a:cxn ang="0">
                  <a:pos x="76" y="97"/>
                </a:cxn>
                <a:cxn ang="0">
                  <a:pos x="91" y="95"/>
                </a:cxn>
                <a:cxn ang="0">
                  <a:pos x="84" y="65"/>
                </a:cxn>
                <a:cxn ang="0">
                  <a:pos x="101" y="17"/>
                </a:cxn>
                <a:cxn ang="0">
                  <a:pos x="112" y="0"/>
                </a:cxn>
                <a:cxn ang="0">
                  <a:pos x="22" y="99"/>
                </a:cxn>
                <a:cxn ang="0">
                  <a:pos x="22" y="91"/>
                </a:cxn>
                <a:cxn ang="0">
                  <a:pos x="22" y="99"/>
                </a:cxn>
                <a:cxn ang="0">
                  <a:pos x="83" y="99"/>
                </a:cxn>
                <a:cxn ang="0">
                  <a:pos x="83" y="91"/>
                </a:cxn>
                <a:cxn ang="0">
                  <a:pos x="80" y="46"/>
                </a:cxn>
                <a:cxn ang="0">
                  <a:pos x="69" y="34"/>
                </a:cxn>
                <a:cxn ang="0">
                  <a:pos x="80" y="46"/>
                </a:cxn>
                <a:cxn ang="0">
                  <a:pos x="91" y="34"/>
                </a:cxn>
                <a:cxn ang="0">
                  <a:pos x="84" y="46"/>
                </a:cxn>
                <a:cxn ang="0">
                  <a:pos x="10" y="34"/>
                </a:cxn>
                <a:cxn ang="0">
                  <a:pos x="17" y="46"/>
                </a:cxn>
                <a:cxn ang="0">
                  <a:pos x="10" y="34"/>
                </a:cxn>
                <a:cxn ang="0">
                  <a:pos x="33" y="34"/>
                </a:cxn>
                <a:cxn ang="0">
                  <a:pos x="21" y="46"/>
                </a:cxn>
                <a:cxn ang="0">
                  <a:pos x="37" y="34"/>
                </a:cxn>
                <a:cxn ang="0">
                  <a:pos x="49" y="46"/>
                </a:cxn>
                <a:cxn ang="0">
                  <a:pos x="37" y="34"/>
                </a:cxn>
                <a:cxn ang="0">
                  <a:pos x="65" y="34"/>
                </a:cxn>
                <a:cxn ang="0">
                  <a:pos x="53" y="46"/>
                </a:cxn>
                <a:cxn ang="0">
                  <a:pos x="65" y="30"/>
                </a:cxn>
                <a:cxn ang="0">
                  <a:pos x="53" y="18"/>
                </a:cxn>
                <a:cxn ang="0">
                  <a:pos x="65" y="30"/>
                </a:cxn>
                <a:cxn ang="0">
                  <a:pos x="37" y="30"/>
                </a:cxn>
                <a:cxn ang="0">
                  <a:pos x="49" y="18"/>
                </a:cxn>
                <a:cxn ang="0">
                  <a:pos x="33" y="30"/>
                </a:cxn>
                <a:cxn ang="0">
                  <a:pos x="21" y="18"/>
                </a:cxn>
                <a:cxn ang="0">
                  <a:pos x="33" y="30"/>
                </a:cxn>
                <a:cxn ang="0">
                  <a:pos x="33" y="50"/>
                </a:cxn>
                <a:cxn ang="0">
                  <a:pos x="21" y="61"/>
                </a:cxn>
                <a:cxn ang="0">
                  <a:pos x="37" y="50"/>
                </a:cxn>
                <a:cxn ang="0">
                  <a:pos x="49" y="61"/>
                </a:cxn>
                <a:cxn ang="0">
                  <a:pos x="37" y="50"/>
                </a:cxn>
                <a:cxn ang="0">
                  <a:pos x="65" y="50"/>
                </a:cxn>
                <a:cxn ang="0">
                  <a:pos x="53" y="61"/>
                </a:cxn>
                <a:cxn ang="0">
                  <a:pos x="69" y="30"/>
                </a:cxn>
                <a:cxn ang="0">
                  <a:pos x="80" y="18"/>
                </a:cxn>
                <a:cxn ang="0">
                  <a:pos x="69" y="30"/>
                </a:cxn>
                <a:cxn ang="0">
                  <a:pos x="17" y="30"/>
                </a:cxn>
                <a:cxn ang="0">
                  <a:pos x="5" y="18"/>
                </a:cxn>
                <a:cxn ang="0">
                  <a:pos x="16" y="50"/>
                </a:cxn>
                <a:cxn ang="0">
                  <a:pos x="17" y="54"/>
                </a:cxn>
                <a:cxn ang="0">
                  <a:pos x="69" y="61"/>
                </a:cxn>
                <a:cxn ang="0">
                  <a:pos x="80" y="50"/>
                </a:cxn>
                <a:cxn ang="0">
                  <a:pos x="69" y="61"/>
                </a:cxn>
                <a:cxn ang="0">
                  <a:pos x="84" y="50"/>
                </a:cxn>
                <a:cxn ang="0">
                  <a:pos x="84" y="54"/>
                </a:cxn>
                <a:cxn ang="0">
                  <a:pos x="84" y="30"/>
                </a:cxn>
                <a:cxn ang="0">
                  <a:pos x="96" y="18"/>
                </a:cxn>
              </a:cxnLst>
              <a:rect l="0" t="0" r="r" b="b"/>
              <a:pathLst>
                <a:path w="115" h="103">
                  <a:moveTo>
                    <a:pt x="98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8" y="89"/>
                    <a:pt x="76" y="91"/>
                    <a:pt x="76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29" y="90"/>
                    <a:pt x="26" y="88"/>
                    <a:pt x="22" y="88"/>
                  </a:cubicBezTo>
                  <a:cubicBezTo>
                    <a:pt x="18" y="88"/>
                    <a:pt x="15" y="91"/>
                    <a:pt x="15" y="95"/>
                  </a:cubicBezTo>
                  <a:cubicBezTo>
                    <a:pt x="15" y="100"/>
                    <a:pt x="18" y="103"/>
                    <a:pt x="22" y="103"/>
                  </a:cubicBezTo>
                  <a:cubicBezTo>
                    <a:pt x="26" y="103"/>
                    <a:pt x="29" y="100"/>
                    <a:pt x="30" y="97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7" y="100"/>
                    <a:pt x="80" y="103"/>
                    <a:pt x="83" y="103"/>
                  </a:cubicBezTo>
                  <a:cubicBezTo>
                    <a:pt x="87" y="103"/>
                    <a:pt x="91" y="100"/>
                    <a:pt x="91" y="95"/>
                  </a:cubicBezTo>
                  <a:cubicBezTo>
                    <a:pt x="91" y="91"/>
                    <a:pt x="88" y="88"/>
                    <a:pt x="84" y="88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98" y="14"/>
                  </a:lnTo>
                  <a:close/>
                  <a:moveTo>
                    <a:pt x="22" y="99"/>
                  </a:moveTo>
                  <a:cubicBezTo>
                    <a:pt x="20" y="99"/>
                    <a:pt x="18" y="98"/>
                    <a:pt x="18" y="95"/>
                  </a:cubicBezTo>
                  <a:cubicBezTo>
                    <a:pt x="18" y="93"/>
                    <a:pt x="20" y="91"/>
                    <a:pt x="22" y="91"/>
                  </a:cubicBezTo>
                  <a:cubicBezTo>
                    <a:pt x="24" y="91"/>
                    <a:pt x="26" y="93"/>
                    <a:pt x="26" y="95"/>
                  </a:cubicBezTo>
                  <a:cubicBezTo>
                    <a:pt x="26" y="98"/>
                    <a:pt x="24" y="99"/>
                    <a:pt x="22" y="99"/>
                  </a:cubicBezTo>
                  <a:close/>
                  <a:moveTo>
                    <a:pt x="87" y="95"/>
                  </a:moveTo>
                  <a:cubicBezTo>
                    <a:pt x="87" y="98"/>
                    <a:pt x="85" y="99"/>
                    <a:pt x="83" y="99"/>
                  </a:cubicBezTo>
                  <a:cubicBezTo>
                    <a:pt x="81" y="99"/>
                    <a:pt x="79" y="98"/>
                    <a:pt x="79" y="95"/>
                  </a:cubicBezTo>
                  <a:cubicBezTo>
                    <a:pt x="79" y="93"/>
                    <a:pt x="81" y="91"/>
                    <a:pt x="83" y="91"/>
                  </a:cubicBezTo>
                  <a:cubicBezTo>
                    <a:pt x="85" y="91"/>
                    <a:pt x="87" y="93"/>
                    <a:pt x="87" y="95"/>
                  </a:cubicBezTo>
                  <a:close/>
                  <a:moveTo>
                    <a:pt x="80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80" y="34"/>
                    <a:pt x="80" y="34"/>
                    <a:pt x="80" y="34"/>
                  </a:cubicBezTo>
                  <a:lnTo>
                    <a:pt x="80" y="46"/>
                  </a:lnTo>
                  <a:close/>
                  <a:moveTo>
                    <a:pt x="84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4" y="46"/>
                    <a:pt x="84" y="46"/>
                    <a:pt x="84" y="46"/>
                  </a:cubicBezTo>
                  <a:lnTo>
                    <a:pt x="84" y="34"/>
                  </a:lnTo>
                  <a:close/>
                  <a:moveTo>
                    <a:pt x="10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5" y="46"/>
                    <a:pt x="15" y="46"/>
                    <a:pt x="15" y="46"/>
                  </a:cubicBezTo>
                  <a:lnTo>
                    <a:pt x="10" y="34"/>
                  </a:lnTo>
                  <a:close/>
                  <a:moveTo>
                    <a:pt x="21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21" y="46"/>
                    <a:pt x="21" y="46"/>
                    <a:pt x="21" y="46"/>
                  </a:cubicBezTo>
                  <a:lnTo>
                    <a:pt x="21" y="34"/>
                  </a:lnTo>
                  <a:close/>
                  <a:moveTo>
                    <a:pt x="37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37" y="46"/>
                    <a:pt x="37" y="46"/>
                    <a:pt x="37" y="46"/>
                  </a:cubicBezTo>
                  <a:lnTo>
                    <a:pt x="37" y="34"/>
                  </a:lnTo>
                  <a:close/>
                  <a:moveTo>
                    <a:pt x="53" y="34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53" y="46"/>
                    <a:pt x="53" y="46"/>
                    <a:pt x="53" y="46"/>
                  </a:cubicBezTo>
                  <a:lnTo>
                    <a:pt x="53" y="34"/>
                  </a:lnTo>
                  <a:close/>
                  <a:moveTo>
                    <a:pt x="65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5" y="18"/>
                    <a:pt x="65" y="18"/>
                    <a:pt x="65" y="18"/>
                  </a:cubicBezTo>
                  <a:lnTo>
                    <a:pt x="65" y="30"/>
                  </a:lnTo>
                  <a:close/>
                  <a:moveTo>
                    <a:pt x="49" y="30"/>
                  </a:moveTo>
                  <a:cubicBezTo>
                    <a:pt x="37" y="30"/>
                    <a:pt x="37" y="30"/>
                    <a:pt x="37" y="30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49" y="18"/>
                    <a:pt x="49" y="18"/>
                    <a:pt x="49" y="18"/>
                  </a:cubicBezTo>
                  <a:lnTo>
                    <a:pt x="49" y="30"/>
                  </a:lnTo>
                  <a:close/>
                  <a:moveTo>
                    <a:pt x="33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33" y="30"/>
                  </a:lnTo>
                  <a:close/>
                  <a:moveTo>
                    <a:pt x="21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1" y="61"/>
                    <a:pt x="21" y="61"/>
                    <a:pt x="21" y="61"/>
                  </a:cubicBezTo>
                  <a:lnTo>
                    <a:pt x="21" y="50"/>
                  </a:lnTo>
                  <a:close/>
                  <a:moveTo>
                    <a:pt x="37" y="50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37" y="61"/>
                    <a:pt x="37" y="61"/>
                    <a:pt x="37" y="61"/>
                  </a:cubicBezTo>
                  <a:lnTo>
                    <a:pt x="37" y="50"/>
                  </a:lnTo>
                  <a:close/>
                  <a:moveTo>
                    <a:pt x="53" y="50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53" y="61"/>
                    <a:pt x="53" y="61"/>
                    <a:pt x="53" y="61"/>
                  </a:cubicBezTo>
                  <a:lnTo>
                    <a:pt x="53" y="50"/>
                  </a:lnTo>
                  <a:close/>
                  <a:moveTo>
                    <a:pt x="69" y="30"/>
                  </a:moveTo>
                  <a:cubicBezTo>
                    <a:pt x="69" y="18"/>
                    <a:pt x="69" y="18"/>
                    <a:pt x="69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30"/>
                    <a:pt x="80" y="30"/>
                    <a:pt x="80" y="30"/>
                  </a:cubicBezTo>
                  <a:lnTo>
                    <a:pt x="69" y="30"/>
                  </a:lnTo>
                  <a:close/>
                  <a:moveTo>
                    <a:pt x="17" y="18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5" y="18"/>
                    <a:pt x="5" y="18"/>
                    <a:pt x="5" y="18"/>
                  </a:cubicBezTo>
                  <a:lnTo>
                    <a:pt x="17" y="18"/>
                  </a:lnTo>
                  <a:close/>
                  <a:moveTo>
                    <a:pt x="16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17" y="54"/>
                    <a:pt x="17" y="54"/>
                    <a:pt x="17" y="54"/>
                  </a:cubicBezTo>
                  <a:lnTo>
                    <a:pt x="16" y="50"/>
                  </a:lnTo>
                  <a:close/>
                  <a:moveTo>
                    <a:pt x="69" y="61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80" y="61"/>
                    <a:pt x="80" y="61"/>
                    <a:pt x="80" y="61"/>
                  </a:cubicBezTo>
                  <a:lnTo>
                    <a:pt x="69" y="61"/>
                  </a:lnTo>
                  <a:close/>
                  <a:moveTo>
                    <a:pt x="84" y="54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lnTo>
                    <a:pt x="84" y="54"/>
                  </a:lnTo>
                  <a:close/>
                  <a:moveTo>
                    <a:pt x="92" y="30"/>
                  </a:moveTo>
                  <a:cubicBezTo>
                    <a:pt x="84" y="30"/>
                    <a:pt x="84" y="30"/>
                    <a:pt x="84" y="30"/>
                  </a:cubicBezTo>
                  <a:cubicBezTo>
                    <a:pt x="84" y="18"/>
                    <a:pt x="84" y="18"/>
                    <a:pt x="84" y="18"/>
                  </a:cubicBezTo>
                  <a:cubicBezTo>
                    <a:pt x="96" y="18"/>
                    <a:pt x="96" y="18"/>
                    <a:pt x="96" y="18"/>
                  </a:cubicBezTo>
                  <a:lnTo>
                    <a:pt x="92" y="3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22" name="Group 242"/>
          <p:cNvGrpSpPr>
            <a:grpSpLocks noChangeAspect="1"/>
          </p:cNvGrpSpPr>
          <p:nvPr/>
        </p:nvGrpSpPr>
        <p:grpSpPr bwMode="auto">
          <a:xfrm>
            <a:off x="5855494" y="2792415"/>
            <a:ext cx="768350" cy="768350"/>
            <a:chOff x="3698" y="1759"/>
            <a:chExt cx="484" cy="484"/>
          </a:xfrm>
        </p:grpSpPr>
        <p:sp>
          <p:nvSpPr>
            <p:cNvPr id="46323" name="Freeform 243"/>
            <p:cNvSpPr>
              <a:spLocks noEditPoints="1"/>
            </p:cNvSpPr>
            <p:nvPr/>
          </p:nvSpPr>
          <p:spPr bwMode="auto">
            <a:xfrm>
              <a:off x="3698" y="175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4" name="Freeform 244"/>
            <p:cNvSpPr>
              <a:spLocks noEditPoints="1"/>
            </p:cNvSpPr>
            <p:nvPr/>
          </p:nvSpPr>
          <p:spPr bwMode="auto">
            <a:xfrm>
              <a:off x="3808" y="1896"/>
              <a:ext cx="276" cy="24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80" y="65"/>
                </a:cxn>
                <a:cxn ang="0">
                  <a:pos x="76" y="94"/>
                </a:cxn>
                <a:cxn ang="0">
                  <a:pos x="22" y="88"/>
                </a:cxn>
                <a:cxn ang="0">
                  <a:pos x="22" y="103"/>
                </a:cxn>
                <a:cxn ang="0">
                  <a:pos x="76" y="97"/>
                </a:cxn>
                <a:cxn ang="0">
                  <a:pos x="91" y="95"/>
                </a:cxn>
                <a:cxn ang="0">
                  <a:pos x="84" y="65"/>
                </a:cxn>
                <a:cxn ang="0">
                  <a:pos x="101" y="17"/>
                </a:cxn>
                <a:cxn ang="0">
                  <a:pos x="112" y="0"/>
                </a:cxn>
                <a:cxn ang="0">
                  <a:pos x="22" y="99"/>
                </a:cxn>
                <a:cxn ang="0">
                  <a:pos x="22" y="91"/>
                </a:cxn>
                <a:cxn ang="0">
                  <a:pos x="22" y="99"/>
                </a:cxn>
                <a:cxn ang="0">
                  <a:pos x="83" y="99"/>
                </a:cxn>
                <a:cxn ang="0">
                  <a:pos x="83" y="91"/>
                </a:cxn>
                <a:cxn ang="0">
                  <a:pos x="80" y="46"/>
                </a:cxn>
                <a:cxn ang="0">
                  <a:pos x="69" y="34"/>
                </a:cxn>
                <a:cxn ang="0">
                  <a:pos x="80" y="46"/>
                </a:cxn>
                <a:cxn ang="0">
                  <a:pos x="91" y="34"/>
                </a:cxn>
                <a:cxn ang="0">
                  <a:pos x="84" y="46"/>
                </a:cxn>
                <a:cxn ang="0">
                  <a:pos x="10" y="34"/>
                </a:cxn>
                <a:cxn ang="0">
                  <a:pos x="17" y="46"/>
                </a:cxn>
                <a:cxn ang="0">
                  <a:pos x="10" y="34"/>
                </a:cxn>
                <a:cxn ang="0">
                  <a:pos x="33" y="34"/>
                </a:cxn>
                <a:cxn ang="0">
                  <a:pos x="21" y="46"/>
                </a:cxn>
                <a:cxn ang="0">
                  <a:pos x="37" y="34"/>
                </a:cxn>
                <a:cxn ang="0">
                  <a:pos x="49" y="46"/>
                </a:cxn>
                <a:cxn ang="0">
                  <a:pos x="37" y="34"/>
                </a:cxn>
                <a:cxn ang="0">
                  <a:pos x="65" y="34"/>
                </a:cxn>
                <a:cxn ang="0">
                  <a:pos x="53" y="46"/>
                </a:cxn>
                <a:cxn ang="0">
                  <a:pos x="65" y="30"/>
                </a:cxn>
                <a:cxn ang="0">
                  <a:pos x="53" y="18"/>
                </a:cxn>
                <a:cxn ang="0">
                  <a:pos x="65" y="30"/>
                </a:cxn>
                <a:cxn ang="0">
                  <a:pos x="37" y="30"/>
                </a:cxn>
                <a:cxn ang="0">
                  <a:pos x="49" y="18"/>
                </a:cxn>
                <a:cxn ang="0">
                  <a:pos x="33" y="30"/>
                </a:cxn>
                <a:cxn ang="0">
                  <a:pos x="21" y="18"/>
                </a:cxn>
                <a:cxn ang="0">
                  <a:pos x="33" y="30"/>
                </a:cxn>
                <a:cxn ang="0">
                  <a:pos x="33" y="50"/>
                </a:cxn>
                <a:cxn ang="0">
                  <a:pos x="21" y="61"/>
                </a:cxn>
                <a:cxn ang="0">
                  <a:pos x="37" y="50"/>
                </a:cxn>
                <a:cxn ang="0">
                  <a:pos x="49" y="61"/>
                </a:cxn>
                <a:cxn ang="0">
                  <a:pos x="37" y="50"/>
                </a:cxn>
                <a:cxn ang="0">
                  <a:pos x="65" y="50"/>
                </a:cxn>
                <a:cxn ang="0">
                  <a:pos x="53" y="61"/>
                </a:cxn>
                <a:cxn ang="0">
                  <a:pos x="69" y="30"/>
                </a:cxn>
                <a:cxn ang="0">
                  <a:pos x="80" y="18"/>
                </a:cxn>
                <a:cxn ang="0">
                  <a:pos x="69" y="30"/>
                </a:cxn>
                <a:cxn ang="0">
                  <a:pos x="17" y="30"/>
                </a:cxn>
                <a:cxn ang="0">
                  <a:pos x="5" y="18"/>
                </a:cxn>
                <a:cxn ang="0">
                  <a:pos x="16" y="50"/>
                </a:cxn>
                <a:cxn ang="0">
                  <a:pos x="17" y="54"/>
                </a:cxn>
                <a:cxn ang="0">
                  <a:pos x="69" y="61"/>
                </a:cxn>
                <a:cxn ang="0">
                  <a:pos x="80" y="50"/>
                </a:cxn>
                <a:cxn ang="0">
                  <a:pos x="69" y="61"/>
                </a:cxn>
                <a:cxn ang="0">
                  <a:pos x="84" y="50"/>
                </a:cxn>
                <a:cxn ang="0">
                  <a:pos x="84" y="54"/>
                </a:cxn>
                <a:cxn ang="0">
                  <a:pos x="84" y="30"/>
                </a:cxn>
                <a:cxn ang="0">
                  <a:pos x="96" y="18"/>
                </a:cxn>
              </a:cxnLst>
              <a:rect l="0" t="0" r="r" b="b"/>
              <a:pathLst>
                <a:path w="115" h="103">
                  <a:moveTo>
                    <a:pt x="98" y="14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8" y="89"/>
                    <a:pt x="76" y="91"/>
                    <a:pt x="76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29" y="90"/>
                    <a:pt x="26" y="88"/>
                    <a:pt x="22" y="88"/>
                  </a:cubicBezTo>
                  <a:cubicBezTo>
                    <a:pt x="18" y="88"/>
                    <a:pt x="15" y="91"/>
                    <a:pt x="15" y="95"/>
                  </a:cubicBezTo>
                  <a:cubicBezTo>
                    <a:pt x="15" y="100"/>
                    <a:pt x="18" y="103"/>
                    <a:pt x="22" y="103"/>
                  </a:cubicBezTo>
                  <a:cubicBezTo>
                    <a:pt x="26" y="103"/>
                    <a:pt x="29" y="100"/>
                    <a:pt x="30" y="97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7" y="100"/>
                    <a:pt x="80" y="103"/>
                    <a:pt x="83" y="103"/>
                  </a:cubicBezTo>
                  <a:cubicBezTo>
                    <a:pt x="87" y="103"/>
                    <a:pt x="91" y="100"/>
                    <a:pt x="91" y="95"/>
                  </a:cubicBezTo>
                  <a:cubicBezTo>
                    <a:pt x="91" y="91"/>
                    <a:pt x="88" y="88"/>
                    <a:pt x="84" y="88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98" y="14"/>
                  </a:lnTo>
                  <a:close/>
                  <a:moveTo>
                    <a:pt x="22" y="99"/>
                  </a:moveTo>
                  <a:cubicBezTo>
                    <a:pt x="20" y="99"/>
                    <a:pt x="18" y="98"/>
                    <a:pt x="18" y="95"/>
                  </a:cubicBezTo>
                  <a:cubicBezTo>
                    <a:pt x="18" y="93"/>
                    <a:pt x="20" y="91"/>
                    <a:pt x="22" y="91"/>
                  </a:cubicBezTo>
                  <a:cubicBezTo>
                    <a:pt x="24" y="91"/>
                    <a:pt x="26" y="93"/>
                    <a:pt x="26" y="95"/>
                  </a:cubicBezTo>
                  <a:cubicBezTo>
                    <a:pt x="26" y="98"/>
                    <a:pt x="24" y="99"/>
                    <a:pt x="22" y="99"/>
                  </a:cubicBezTo>
                  <a:close/>
                  <a:moveTo>
                    <a:pt x="87" y="95"/>
                  </a:moveTo>
                  <a:cubicBezTo>
                    <a:pt x="87" y="98"/>
                    <a:pt x="85" y="99"/>
                    <a:pt x="83" y="99"/>
                  </a:cubicBezTo>
                  <a:cubicBezTo>
                    <a:pt x="81" y="99"/>
                    <a:pt x="79" y="98"/>
                    <a:pt x="79" y="95"/>
                  </a:cubicBezTo>
                  <a:cubicBezTo>
                    <a:pt x="79" y="93"/>
                    <a:pt x="81" y="91"/>
                    <a:pt x="83" y="91"/>
                  </a:cubicBezTo>
                  <a:cubicBezTo>
                    <a:pt x="85" y="91"/>
                    <a:pt x="87" y="93"/>
                    <a:pt x="87" y="95"/>
                  </a:cubicBezTo>
                  <a:close/>
                  <a:moveTo>
                    <a:pt x="80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80" y="34"/>
                    <a:pt x="80" y="34"/>
                    <a:pt x="80" y="34"/>
                  </a:cubicBezTo>
                  <a:lnTo>
                    <a:pt x="80" y="46"/>
                  </a:lnTo>
                  <a:close/>
                  <a:moveTo>
                    <a:pt x="84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4" y="46"/>
                    <a:pt x="84" y="46"/>
                    <a:pt x="84" y="46"/>
                  </a:cubicBezTo>
                  <a:lnTo>
                    <a:pt x="84" y="34"/>
                  </a:lnTo>
                  <a:close/>
                  <a:moveTo>
                    <a:pt x="10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5" y="46"/>
                    <a:pt x="15" y="46"/>
                    <a:pt x="15" y="46"/>
                  </a:cubicBezTo>
                  <a:lnTo>
                    <a:pt x="10" y="34"/>
                  </a:lnTo>
                  <a:close/>
                  <a:moveTo>
                    <a:pt x="21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21" y="46"/>
                    <a:pt x="21" y="46"/>
                    <a:pt x="21" y="46"/>
                  </a:cubicBezTo>
                  <a:lnTo>
                    <a:pt x="21" y="34"/>
                  </a:lnTo>
                  <a:close/>
                  <a:moveTo>
                    <a:pt x="37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37" y="46"/>
                    <a:pt x="37" y="46"/>
                    <a:pt x="37" y="46"/>
                  </a:cubicBezTo>
                  <a:lnTo>
                    <a:pt x="37" y="34"/>
                  </a:lnTo>
                  <a:close/>
                  <a:moveTo>
                    <a:pt x="53" y="34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53" y="46"/>
                    <a:pt x="53" y="46"/>
                    <a:pt x="53" y="46"/>
                  </a:cubicBezTo>
                  <a:lnTo>
                    <a:pt x="53" y="34"/>
                  </a:lnTo>
                  <a:close/>
                  <a:moveTo>
                    <a:pt x="65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65" y="18"/>
                    <a:pt x="65" y="18"/>
                    <a:pt x="65" y="18"/>
                  </a:cubicBezTo>
                  <a:lnTo>
                    <a:pt x="65" y="30"/>
                  </a:lnTo>
                  <a:close/>
                  <a:moveTo>
                    <a:pt x="49" y="30"/>
                  </a:moveTo>
                  <a:cubicBezTo>
                    <a:pt x="37" y="30"/>
                    <a:pt x="37" y="30"/>
                    <a:pt x="37" y="30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49" y="18"/>
                    <a:pt x="49" y="18"/>
                    <a:pt x="49" y="18"/>
                  </a:cubicBezTo>
                  <a:lnTo>
                    <a:pt x="49" y="30"/>
                  </a:lnTo>
                  <a:close/>
                  <a:moveTo>
                    <a:pt x="33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33" y="18"/>
                    <a:pt x="33" y="18"/>
                    <a:pt x="33" y="18"/>
                  </a:cubicBezTo>
                  <a:lnTo>
                    <a:pt x="33" y="30"/>
                  </a:lnTo>
                  <a:close/>
                  <a:moveTo>
                    <a:pt x="21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21" y="61"/>
                    <a:pt x="21" y="61"/>
                    <a:pt x="21" y="61"/>
                  </a:cubicBezTo>
                  <a:lnTo>
                    <a:pt x="21" y="50"/>
                  </a:lnTo>
                  <a:close/>
                  <a:moveTo>
                    <a:pt x="37" y="50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37" y="61"/>
                    <a:pt x="37" y="61"/>
                    <a:pt x="37" y="61"/>
                  </a:cubicBezTo>
                  <a:lnTo>
                    <a:pt x="37" y="50"/>
                  </a:lnTo>
                  <a:close/>
                  <a:moveTo>
                    <a:pt x="53" y="50"/>
                  </a:moveTo>
                  <a:cubicBezTo>
                    <a:pt x="65" y="50"/>
                    <a:pt x="65" y="50"/>
                    <a:pt x="65" y="50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53" y="61"/>
                    <a:pt x="53" y="61"/>
                    <a:pt x="53" y="61"/>
                  </a:cubicBezTo>
                  <a:lnTo>
                    <a:pt x="53" y="50"/>
                  </a:lnTo>
                  <a:close/>
                  <a:moveTo>
                    <a:pt x="69" y="30"/>
                  </a:moveTo>
                  <a:cubicBezTo>
                    <a:pt x="69" y="18"/>
                    <a:pt x="69" y="18"/>
                    <a:pt x="69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30"/>
                    <a:pt x="80" y="30"/>
                    <a:pt x="80" y="30"/>
                  </a:cubicBezTo>
                  <a:lnTo>
                    <a:pt x="69" y="30"/>
                  </a:lnTo>
                  <a:close/>
                  <a:moveTo>
                    <a:pt x="17" y="18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5" y="18"/>
                    <a:pt x="5" y="18"/>
                    <a:pt x="5" y="18"/>
                  </a:cubicBezTo>
                  <a:lnTo>
                    <a:pt x="17" y="18"/>
                  </a:lnTo>
                  <a:close/>
                  <a:moveTo>
                    <a:pt x="16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17" y="54"/>
                    <a:pt x="17" y="54"/>
                    <a:pt x="17" y="54"/>
                  </a:cubicBezTo>
                  <a:lnTo>
                    <a:pt x="16" y="50"/>
                  </a:lnTo>
                  <a:close/>
                  <a:moveTo>
                    <a:pt x="69" y="61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80" y="61"/>
                    <a:pt x="80" y="61"/>
                    <a:pt x="80" y="61"/>
                  </a:cubicBezTo>
                  <a:lnTo>
                    <a:pt x="69" y="61"/>
                  </a:lnTo>
                  <a:close/>
                  <a:moveTo>
                    <a:pt x="84" y="54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lnTo>
                    <a:pt x="84" y="54"/>
                  </a:lnTo>
                  <a:close/>
                  <a:moveTo>
                    <a:pt x="92" y="30"/>
                  </a:moveTo>
                  <a:cubicBezTo>
                    <a:pt x="84" y="30"/>
                    <a:pt x="84" y="30"/>
                    <a:pt x="84" y="30"/>
                  </a:cubicBezTo>
                  <a:cubicBezTo>
                    <a:pt x="84" y="18"/>
                    <a:pt x="84" y="18"/>
                    <a:pt x="84" y="18"/>
                  </a:cubicBezTo>
                  <a:cubicBezTo>
                    <a:pt x="96" y="18"/>
                    <a:pt x="96" y="18"/>
                    <a:pt x="96" y="18"/>
                  </a:cubicBezTo>
                  <a:lnTo>
                    <a:pt x="92" y="3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27" name="Group 247"/>
          <p:cNvGrpSpPr>
            <a:grpSpLocks noChangeAspect="1"/>
          </p:cNvGrpSpPr>
          <p:nvPr/>
        </p:nvGrpSpPr>
        <p:grpSpPr bwMode="auto">
          <a:xfrm>
            <a:off x="6924675" y="2759075"/>
            <a:ext cx="831850" cy="836613"/>
            <a:chOff x="4364" y="1738"/>
            <a:chExt cx="524" cy="527"/>
          </a:xfrm>
        </p:grpSpPr>
        <p:sp>
          <p:nvSpPr>
            <p:cNvPr id="46328" name="Oval 248"/>
            <p:cNvSpPr>
              <a:spLocks noChangeArrowheads="1"/>
            </p:cNvSpPr>
            <p:nvPr/>
          </p:nvSpPr>
          <p:spPr bwMode="auto">
            <a:xfrm>
              <a:off x="4364" y="1738"/>
              <a:ext cx="524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29" name="Freeform 249"/>
            <p:cNvSpPr>
              <a:spLocks noEditPoints="1"/>
            </p:cNvSpPr>
            <p:nvPr/>
          </p:nvSpPr>
          <p:spPr bwMode="auto">
            <a:xfrm>
              <a:off x="4515" y="1863"/>
              <a:ext cx="223" cy="28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79" y="16"/>
                </a:cxn>
                <a:cxn ang="0">
                  <a:pos x="76" y="13"/>
                </a:cxn>
                <a:cxn ang="0">
                  <a:pos x="63" y="7"/>
                </a:cxn>
                <a:cxn ang="0">
                  <a:pos x="61" y="5"/>
                </a:cxn>
                <a:cxn ang="0">
                  <a:pos x="47" y="3"/>
                </a:cxn>
                <a:cxn ang="0">
                  <a:pos x="39" y="0"/>
                </a:cxn>
                <a:cxn ang="0">
                  <a:pos x="30" y="6"/>
                </a:cxn>
                <a:cxn ang="0">
                  <a:pos x="25" y="6"/>
                </a:cxn>
                <a:cxn ang="0">
                  <a:pos x="17" y="16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7" y="64"/>
                </a:cxn>
                <a:cxn ang="0">
                  <a:pos x="17" y="75"/>
                </a:cxn>
                <a:cxn ang="0">
                  <a:pos x="22" y="85"/>
                </a:cxn>
                <a:cxn ang="0">
                  <a:pos x="27" y="111"/>
                </a:cxn>
                <a:cxn ang="0">
                  <a:pos x="45" y="92"/>
                </a:cxn>
                <a:cxn ang="0">
                  <a:pos x="47" y="88"/>
                </a:cxn>
                <a:cxn ang="0">
                  <a:pos x="56" y="120"/>
                </a:cxn>
                <a:cxn ang="0">
                  <a:pos x="79" y="115"/>
                </a:cxn>
                <a:cxn ang="0">
                  <a:pos x="76" y="78"/>
                </a:cxn>
                <a:cxn ang="0">
                  <a:pos x="79" y="75"/>
                </a:cxn>
                <a:cxn ang="0">
                  <a:pos x="86" y="62"/>
                </a:cxn>
                <a:cxn ang="0">
                  <a:pos x="90" y="47"/>
                </a:cxn>
                <a:cxn ang="0">
                  <a:pos x="90" y="44"/>
                </a:cxn>
                <a:cxn ang="0">
                  <a:pos x="19" y="110"/>
                </a:cxn>
                <a:cxn ang="0">
                  <a:pos x="31" y="85"/>
                </a:cxn>
                <a:cxn ang="0">
                  <a:pos x="41" y="91"/>
                </a:cxn>
                <a:cxn ang="0">
                  <a:pos x="52" y="91"/>
                </a:cxn>
                <a:cxn ang="0">
                  <a:pos x="63" y="85"/>
                </a:cxn>
                <a:cxn ang="0">
                  <a:pos x="67" y="85"/>
                </a:cxn>
                <a:cxn ang="0">
                  <a:pos x="89" y="54"/>
                </a:cxn>
                <a:cxn ang="0">
                  <a:pos x="70" y="81"/>
                </a:cxn>
                <a:cxn ang="0">
                  <a:pos x="67" y="82"/>
                </a:cxn>
                <a:cxn ang="0">
                  <a:pos x="55" y="87"/>
                </a:cxn>
                <a:cxn ang="0">
                  <a:pos x="53" y="87"/>
                </a:cxn>
                <a:cxn ang="0">
                  <a:pos x="41" y="87"/>
                </a:cxn>
                <a:cxn ang="0">
                  <a:pos x="38" y="87"/>
                </a:cxn>
                <a:cxn ang="0">
                  <a:pos x="29" y="81"/>
                </a:cxn>
                <a:cxn ang="0">
                  <a:pos x="24" y="82"/>
                </a:cxn>
                <a:cxn ang="0">
                  <a:pos x="11" y="60"/>
                </a:cxn>
                <a:cxn ang="0">
                  <a:pos x="11" y="31"/>
                </a:cxn>
                <a:cxn ang="0">
                  <a:pos x="25" y="9"/>
                </a:cxn>
                <a:cxn ang="0">
                  <a:pos x="39" y="3"/>
                </a:cxn>
                <a:cxn ang="0">
                  <a:pos x="54" y="3"/>
                </a:cxn>
                <a:cxn ang="0">
                  <a:pos x="69" y="9"/>
                </a:cxn>
                <a:cxn ang="0">
                  <a:pos x="82" y="31"/>
                </a:cxn>
              </a:cxnLst>
              <a:rect l="0" t="0" r="r" b="b"/>
              <a:pathLst>
                <a:path w="93" h="120">
                  <a:moveTo>
                    <a:pt x="92" y="36"/>
                  </a:moveTo>
                  <a:cubicBezTo>
                    <a:pt x="92" y="33"/>
                    <a:pt x="89" y="32"/>
                    <a:pt x="87" y="31"/>
                  </a:cubicBezTo>
                  <a:cubicBezTo>
                    <a:pt x="87" y="30"/>
                    <a:pt x="86" y="30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8"/>
                    <a:pt x="86" y="27"/>
                  </a:cubicBezTo>
                  <a:cubicBezTo>
                    <a:pt x="86" y="25"/>
                    <a:pt x="87" y="22"/>
                    <a:pt x="85" y="20"/>
                  </a:cubicBezTo>
                  <a:cubicBezTo>
                    <a:pt x="84" y="17"/>
                    <a:pt x="81" y="17"/>
                    <a:pt x="79" y="16"/>
                  </a:cubicBezTo>
                  <a:cubicBezTo>
                    <a:pt x="78" y="16"/>
                    <a:pt x="77" y="16"/>
                    <a:pt x="77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5" y="11"/>
                    <a:pt x="75" y="9"/>
                    <a:pt x="72" y="7"/>
                  </a:cubicBezTo>
                  <a:cubicBezTo>
                    <a:pt x="71" y="6"/>
                    <a:pt x="70" y="6"/>
                    <a:pt x="69" y="6"/>
                  </a:cubicBezTo>
                  <a:cubicBezTo>
                    <a:pt x="67" y="6"/>
                    <a:pt x="66" y="6"/>
                    <a:pt x="65" y="6"/>
                  </a:cubicBezTo>
                  <a:cubicBezTo>
                    <a:pt x="64" y="6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2" y="5"/>
                    <a:pt x="61" y="5"/>
                  </a:cubicBezTo>
                  <a:cubicBezTo>
                    <a:pt x="60" y="3"/>
                    <a:pt x="59" y="0"/>
                    <a:pt x="56" y="0"/>
                  </a:cubicBezTo>
                  <a:cubicBezTo>
                    <a:pt x="55" y="0"/>
                    <a:pt x="55" y="0"/>
                    <a:pt x="54" y="0"/>
                  </a:cubicBezTo>
                  <a:cubicBezTo>
                    <a:pt x="52" y="0"/>
                    <a:pt x="50" y="1"/>
                    <a:pt x="49" y="2"/>
                  </a:cubicBezTo>
                  <a:cubicBezTo>
                    <a:pt x="48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5" y="3"/>
                    <a:pt x="45" y="2"/>
                  </a:cubicBezTo>
                  <a:cubicBezTo>
                    <a:pt x="43" y="1"/>
                    <a:pt x="41" y="0"/>
                    <a:pt x="39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5" y="0"/>
                    <a:pt x="33" y="3"/>
                    <a:pt x="32" y="5"/>
                  </a:cubicBezTo>
                  <a:cubicBezTo>
                    <a:pt x="31" y="5"/>
                    <a:pt x="31" y="6"/>
                    <a:pt x="31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29" y="6"/>
                    <a:pt x="28" y="6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8" y="9"/>
                    <a:pt x="18" y="11"/>
                    <a:pt x="17" y="13"/>
                  </a:cubicBezTo>
                  <a:cubicBezTo>
                    <a:pt x="17" y="14"/>
                    <a:pt x="17" y="15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5" y="16"/>
                    <a:pt x="15" y="16"/>
                  </a:cubicBezTo>
                  <a:cubicBezTo>
                    <a:pt x="12" y="17"/>
                    <a:pt x="10" y="17"/>
                    <a:pt x="8" y="20"/>
                  </a:cubicBezTo>
                  <a:cubicBezTo>
                    <a:pt x="6" y="22"/>
                    <a:pt x="7" y="25"/>
                    <a:pt x="7" y="27"/>
                  </a:cubicBezTo>
                  <a:cubicBezTo>
                    <a:pt x="7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30"/>
                    <a:pt x="6" y="30"/>
                    <a:pt x="6" y="31"/>
                  </a:cubicBezTo>
                  <a:cubicBezTo>
                    <a:pt x="4" y="32"/>
                    <a:pt x="2" y="33"/>
                    <a:pt x="1" y="36"/>
                  </a:cubicBezTo>
                  <a:cubicBezTo>
                    <a:pt x="0" y="39"/>
                    <a:pt x="2" y="42"/>
                    <a:pt x="3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7"/>
                    <a:pt x="3" y="47"/>
                  </a:cubicBezTo>
                  <a:cubicBezTo>
                    <a:pt x="2" y="49"/>
                    <a:pt x="0" y="52"/>
                    <a:pt x="1" y="55"/>
                  </a:cubicBezTo>
                  <a:cubicBezTo>
                    <a:pt x="2" y="58"/>
                    <a:pt x="4" y="59"/>
                    <a:pt x="6" y="60"/>
                  </a:cubicBezTo>
                  <a:cubicBezTo>
                    <a:pt x="6" y="61"/>
                    <a:pt x="7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7" y="63"/>
                    <a:pt x="7" y="64"/>
                  </a:cubicBezTo>
                  <a:cubicBezTo>
                    <a:pt x="7" y="66"/>
                    <a:pt x="6" y="69"/>
                    <a:pt x="8" y="71"/>
                  </a:cubicBezTo>
                  <a:cubicBezTo>
                    <a:pt x="10" y="74"/>
                    <a:pt x="12" y="74"/>
                    <a:pt x="15" y="75"/>
                  </a:cubicBezTo>
                  <a:cubicBezTo>
                    <a:pt x="15" y="75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6"/>
                    <a:pt x="17" y="77"/>
                    <a:pt x="17" y="78"/>
                  </a:cubicBezTo>
                  <a:cubicBezTo>
                    <a:pt x="18" y="80"/>
                    <a:pt x="18" y="83"/>
                    <a:pt x="21" y="84"/>
                  </a:cubicBezTo>
                  <a:cubicBezTo>
                    <a:pt x="21" y="85"/>
                    <a:pt x="22" y="85"/>
                    <a:pt x="22" y="85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5"/>
                    <a:pt x="72" y="85"/>
                    <a:pt x="72" y="84"/>
                  </a:cubicBezTo>
                  <a:cubicBezTo>
                    <a:pt x="75" y="83"/>
                    <a:pt x="75" y="80"/>
                    <a:pt x="76" y="78"/>
                  </a:cubicBezTo>
                  <a:cubicBezTo>
                    <a:pt x="76" y="77"/>
                    <a:pt x="76" y="76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5"/>
                    <a:pt x="78" y="75"/>
                    <a:pt x="79" y="75"/>
                  </a:cubicBezTo>
                  <a:cubicBezTo>
                    <a:pt x="81" y="74"/>
                    <a:pt x="84" y="74"/>
                    <a:pt x="85" y="71"/>
                  </a:cubicBezTo>
                  <a:cubicBezTo>
                    <a:pt x="87" y="69"/>
                    <a:pt x="86" y="66"/>
                    <a:pt x="86" y="64"/>
                  </a:cubicBezTo>
                  <a:cubicBezTo>
                    <a:pt x="86" y="63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1"/>
                    <a:pt x="87" y="61"/>
                    <a:pt x="87" y="60"/>
                  </a:cubicBezTo>
                  <a:cubicBezTo>
                    <a:pt x="89" y="59"/>
                    <a:pt x="92" y="58"/>
                    <a:pt x="92" y="55"/>
                  </a:cubicBezTo>
                  <a:cubicBezTo>
                    <a:pt x="93" y="52"/>
                    <a:pt x="91" y="49"/>
                    <a:pt x="90" y="47"/>
                  </a:cubicBezTo>
                  <a:cubicBezTo>
                    <a:pt x="90" y="47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90" y="44"/>
                    <a:pt x="90" y="44"/>
                  </a:cubicBezTo>
                  <a:cubicBezTo>
                    <a:pt x="91" y="42"/>
                    <a:pt x="93" y="39"/>
                    <a:pt x="92" y="36"/>
                  </a:cubicBezTo>
                  <a:close/>
                  <a:moveTo>
                    <a:pt x="35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7" y="85"/>
                    <a:pt x="28" y="85"/>
                    <a:pt x="28" y="85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2" y="87"/>
                    <a:pt x="33" y="88"/>
                    <a:pt x="34" y="89"/>
                  </a:cubicBezTo>
                  <a:cubicBezTo>
                    <a:pt x="35" y="90"/>
                    <a:pt x="36" y="91"/>
                    <a:pt x="38" y="91"/>
                  </a:cubicBezTo>
                  <a:cubicBezTo>
                    <a:pt x="38" y="91"/>
                    <a:pt x="38" y="91"/>
                    <a:pt x="39" y="91"/>
                  </a:cubicBezTo>
                  <a:cubicBezTo>
                    <a:pt x="40" y="91"/>
                    <a:pt x="40" y="91"/>
                    <a:pt x="41" y="91"/>
                  </a:cubicBezTo>
                  <a:lnTo>
                    <a:pt x="35" y="113"/>
                  </a:lnTo>
                  <a:close/>
                  <a:moveTo>
                    <a:pt x="65" y="107"/>
                  </a:moveTo>
                  <a:cubicBezTo>
                    <a:pt x="58" y="114"/>
                    <a:pt x="58" y="114"/>
                    <a:pt x="58" y="114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3" y="91"/>
                    <a:pt x="54" y="91"/>
                    <a:pt x="54" y="91"/>
                  </a:cubicBezTo>
                  <a:cubicBezTo>
                    <a:pt x="55" y="91"/>
                    <a:pt x="55" y="91"/>
                    <a:pt x="56" y="91"/>
                  </a:cubicBezTo>
                  <a:cubicBezTo>
                    <a:pt x="57" y="91"/>
                    <a:pt x="58" y="91"/>
                    <a:pt x="58" y="90"/>
                  </a:cubicBezTo>
                  <a:cubicBezTo>
                    <a:pt x="60" y="89"/>
                    <a:pt x="61" y="87"/>
                    <a:pt x="63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5"/>
                    <a:pt x="66" y="85"/>
                    <a:pt x="66" y="85"/>
                  </a:cubicBezTo>
                  <a:cubicBezTo>
                    <a:pt x="66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74" y="110"/>
                    <a:pt x="74" y="110"/>
                    <a:pt x="74" y="110"/>
                  </a:cubicBezTo>
                  <a:lnTo>
                    <a:pt x="65" y="107"/>
                  </a:lnTo>
                  <a:close/>
                  <a:moveTo>
                    <a:pt x="89" y="54"/>
                  </a:moveTo>
                  <a:cubicBezTo>
                    <a:pt x="88" y="57"/>
                    <a:pt x="83" y="58"/>
                    <a:pt x="82" y="60"/>
                  </a:cubicBezTo>
                  <a:cubicBezTo>
                    <a:pt x="81" y="63"/>
                    <a:pt x="84" y="67"/>
                    <a:pt x="82" y="69"/>
                  </a:cubicBezTo>
                  <a:cubicBezTo>
                    <a:pt x="81" y="72"/>
                    <a:pt x="76" y="71"/>
                    <a:pt x="74" y="73"/>
                  </a:cubicBezTo>
                  <a:cubicBezTo>
                    <a:pt x="72" y="75"/>
                    <a:pt x="73" y="80"/>
                    <a:pt x="70" y="81"/>
                  </a:cubicBezTo>
                  <a:cubicBezTo>
                    <a:pt x="70" y="82"/>
                    <a:pt x="69" y="82"/>
                    <a:pt x="69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6" y="81"/>
                    <a:pt x="64" y="81"/>
                    <a:pt x="63" y="81"/>
                  </a:cubicBezTo>
                  <a:cubicBezTo>
                    <a:pt x="62" y="81"/>
                    <a:pt x="62" y="81"/>
                    <a:pt x="61" y="81"/>
                  </a:cubicBezTo>
                  <a:cubicBezTo>
                    <a:pt x="59" y="82"/>
                    <a:pt x="58" y="85"/>
                    <a:pt x="56" y="87"/>
                  </a:cubicBezTo>
                  <a:cubicBezTo>
                    <a:pt x="56" y="87"/>
                    <a:pt x="56" y="87"/>
                    <a:pt x="55" y="87"/>
                  </a:cubicBezTo>
                  <a:cubicBezTo>
                    <a:pt x="55" y="87"/>
                    <a:pt x="55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1" y="86"/>
                    <a:pt x="49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6" y="84"/>
                    <a:pt x="46" y="84"/>
                  </a:cubicBezTo>
                  <a:cubicBezTo>
                    <a:pt x="45" y="84"/>
                    <a:pt x="43" y="86"/>
                    <a:pt x="41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8" y="87"/>
                    <a:pt x="38" y="87"/>
                  </a:cubicBezTo>
                  <a:cubicBezTo>
                    <a:pt x="38" y="87"/>
                    <a:pt x="37" y="87"/>
                    <a:pt x="36" y="87"/>
                  </a:cubicBezTo>
                  <a:cubicBezTo>
                    <a:pt x="35" y="85"/>
                    <a:pt x="34" y="82"/>
                    <a:pt x="32" y="81"/>
                  </a:cubicBezTo>
                  <a:cubicBezTo>
                    <a:pt x="31" y="81"/>
                    <a:pt x="31" y="81"/>
                    <a:pt x="30" y="81"/>
                  </a:cubicBezTo>
                  <a:cubicBezTo>
                    <a:pt x="30" y="81"/>
                    <a:pt x="30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1"/>
                    <a:pt x="28" y="81"/>
                    <a:pt x="28" y="81"/>
                  </a:cubicBezTo>
                  <a:cubicBezTo>
                    <a:pt x="27" y="81"/>
                    <a:pt x="27" y="81"/>
                    <a:pt x="26" y="81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1"/>
                    <a:pt x="23" y="81"/>
                  </a:cubicBezTo>
                  <a:cubicBezTo>
                    <a:pt x="20" y="80"/>
                    <a:pt x="21" y="75"/>
                    <a:pt x="19" y="73"/>
                  </a:cubicBezTo>
                  <a:cubicBezTo>
                    <a:pt x="17" y="71"/>
                    <a:pt x="13" y="72"/>
                    <a:pt x="11" y="69"/>
                  </a:cubicBezTo>
                  <a:cubicBezTo>
                    <a:pt x="9" y="67"/>
                    <a:pt x="12" y="63"/>
                    <a:pt x="11" y="60"/>
                  </a:cubicBezTo>
                  <a:cubicBezTo>
                    <a:pt x="10" y="58"/>
                    <a:pt x="5" y="57"/>
                    <a:pt x="5" y="54"/>
                  </a:cubicBezTo>
                  <a:cubicBezTo>
                    <a:pt x="4" y="51"/>
                    <a:pt x="8" y="48"/>
                    <a:pt x="8" y="46"/>
                  </a:cubicBezTo>
                  <a:cubicBezTo>
                    <a:pt x="8" y="43"/>
                    <a:pt x="4" y="40"/>
                    <a:pt x="5" y="37"/>
                  </a:cubicBezTo>
                  <a:cubicBezTo>
                    <a:pt x="5" y="34"/>
                    <a:pt x="10" y="33"/>
                    <a:pt x="11" y="31"/>
                  </a:cubicBezTo>
                  <a:cubicBezTo>
                    <a:pt x="12" y="28"/>
                    <a:pt x="9" y="24"/>
                    <a:pt x="11" y="22"/>
                  </a:cubicBezTo>
                  <a:cubicBezTo>
                    <a:pt x="13" y="19"/>
                    <a:pt x="17" y="20"/>
                    <a:pt x="19" y="18"/>
                  </a:cubicBezTo>
                  <a:cubicBezTo>
                    <a:pt x="21" y="16"/>
                    <a:pt x="20" y="11"/>
                    <a:pt x="23" y="10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8" y="10"/>
                    <a:pt x="30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4" y="9"/>
                    <a:pt x="35" y="4"/>
                    <a:pt x="38" y="3"/>
                  </a:cubicBezTo>
                  <a:cubicBezTo>
                    <a:pt x="38" y="3"/>
                    <a:pt x="39" y="3"/>
                    <a:pt x="39" y="3"/>
                  </a:cubicBezTo>
                  <a:cubicBezTo>
                    <a:pt x="41" y="3"/>
                    <a:pt x="44" y="7"/>
                    <a:pt x="46" y="7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9" y="7"/>
                    <a:pt x="52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4"/>
                    <a:pt x="59" y="9"/>
                    <a:pt x="61" y="10"/>
                  </a:cubicBezTo>
                  <a:cubicBezTo>
                    <a:pt x="62" y="10"/>
                    <a:pt x="62" y="10"/>
                    <a:pt x="63" y="10"/>
                  </a:cubicBezTo>
                  <a:cubicBezTo>
                    <a:pt x="65" y="10"/>
                    <a:pt x="67" y="9"/>
                    <a:pt x="69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3" y="11"/>
                    <a:pt x="72" y="16"/>
                    <a:pt x="74" y="18"/>
                  </a:cubicBezTo>
                  <a:cubicBezTo>
                    <a:pt x="76" y="20"/>
                    <a:pt x="81" y="19"/>
                    <a:pt x="82" y="22"/>
                  </a:cubicBezTo>
                  <a:cubicBezTo>
                    <a:pt x="84" y="24"/>
                    <a:pt x="81" y="28"/>
                    <a:pt x="82" y="31"/>
                  </a:cubicBezTo>
                  <a:cubicBezTo>
                    <a:pt x="83" y="33"/>
                    <a:pt x="88" y="34"/>
                    <a:pt x="89" y="37"/>
                  </a:cubicBezTo>
                  <a:cubicBezTo>
                    <a:pt x="89" y="40"/>
                    <a:pt x="85" y="43"/>
                    <a:pt x="85" y="46"/>
                  </a:cubicBezTo>
                  <a:cubicBezTo>
                    <a:pt x="85" y="48"/>
                    <a:pt x="89" y="51"/>
                    <a:pt x="89" y="5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0" name="Freeform 250"/>
            <p:cNvSpPr>
              <a:spLocks noEditPoints="1"/>
            </p:cNvSpPr>
            <p:nvPr/>
          </p:nvSpPr>
          <p:spPr bwMode="auto">
            <a:xfrm>
              <a:off x="4386" y="1760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1" name="Freeform 251"/>
            <p:cNvSpPr>
              <a:spLocks noEditPoints="1"/>
            </p:cNvSpPr>
            <p:nvPr/>
          </p:nvSpPr>
          <p:spPr bwMode="auto">
            <a:xfrm>
              <a:off x="4551" y="1896"/>
              <a:ext cx="151" cy="151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32"/>
                </a:cxn>
                <a:cxn ang="0">
                  <a:pos x="32" y="63"/>
                </a:cxn>
                <a:cxn ang="0">
                  <a:pos x="63" y="32"/>
                </a:cxn>
                <a:cxn ang="0">
                  <a:pos x="32" y="0"/>
                </a:cxn>
                <a:cxn ang="0">
                  <a:pos x="32" y="59"/>
                </a:cxn>
                <a:cxn ang="0">
                  <a:pos x="4" y="32"/>
                </a:cxn>
                <a:cxn ang="0">
                  <a:pos x="32" y="4"/>
                </a:cxn>
                <a:cxn ang="0">
                  <a:pos x="59" y="32"/>
                </a:cxn>
                <a:cxn ang="0">
                  <a:pos x="32" y="59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3"/>
                    <a:pt x="32" y="63"/>
                  </a:cubicBezTo>
                  <a:cubicBezTo>
                    <a:pt x="49" y="63"/>
                    <a:pt x="63" y="49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lose/>
                  <a:moveTo>
                    <a:pt x="32" y="59"/>
                  </a:moveTo>
                  <a:cubicBezTo>
                    <a:pt x="16" y="59"/>
                    <a:pt x="4" y="47"/>
                    <a:pt x="4" y="32"/>
                  </a:cubicBezTo>
                  <a:cubicBezTo>
                    <a:pt x="4" y="16"/>
                    <a:pt x="16" y="4"/>
                    <a:pt x="32" y="4"/>
                  </a:cubicBezTo>
                  <a:cubicBezTo>
                    <a:pt x="47" y="4"/>
                    <a:pt x="59" y="16"/>
                    <a:pt x="59" y="32"/>
                  </a:cubicBezTo>
                  <a:cubicBezTo>
                    <a:pt x="59" y="47"/>
                    <a:pt x="47" y="59"/>
                    <a:pt x="32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32" name="Freeform 252"/>
            <p:cNvSpPr>
              <a:spLocks noEditPoints="1"/>
            </p:cNvSpPr>
            <p:nvPr/>
          </p:nvSpPr>
          <p:spPr bwMode="auto">
            <a:xfrm>
              <a:off x="4582" y="1930"/>
              <a:ext cx="89" cy="83"/>
            </a:xfrm>
            <a:custGeom>
              <a:avLst/>
              <a:gdLst/>
              <a:ahLst/>
              <a:cxnLst>
                <a:cxn ang="0">
                  <a:pos x="33" y="11"/>
                </a:cxn>
                <a:cxn ang="0">
                  <a:pos x="25" y="10"/>
                </a:cxn>
                <a:cxn ang="0">
                  <a:pos x="22" y="2"/>
                </a:cxn>
                <a:cxn ang="0">
                  <a:pos x="18" y="0"/>
                </a:cxn>
                <a:cxn ang="0">
                  <a:pos x="15" y="2"/>
                </a:cxn>
                <a:cxn ang="0">
                  <a:pos x="12" y="10"/>
                </a:cxn>
                <a:cxn ang="0">
                  <a:pos x="4" y="11"/>
                </a:cxn>
                <a:cxn ang="0">
                  <a:pos x="1" y="13"/>
                </a:cxn>
                <a:cxn ang="0">
                  <a:pos x="2" y="17"/>
                </a:cxn>
                <a:cxn ang="0">
                  <a:pos x="8" y="22"/>
                </a:cxn>
                <a:cxn ang="0">
                  <a:pos x="6" y="30"/>
                </a:cxn>
                <a:cxn ang="0">
                  <a:pos x="7" y="34"/>
                </a:cxn>
                <a:cxn ang="0">
                  <a:pos x="11" y="34"/>
                </a:cxn>
                <a:cxn ang="0">
                  <a:pos x="18" y="30"/>
                </a:cxn>
                <a:cxn ang="0">
                  <a:pos x="26" y="34"/>
                </a:cxn>
                <a:cxn ang="0">
                  <a:pos x="27" y="35"/>
                </a:cxn>
                <a:cxn ang="0">
                  <a:pos x="29" y="34"/>
                </a:cxn>
                <a:cxn ang="0">
                  <a:pos x="31" y="30"/>
                </a:cxn>
                <a:cxn ang="0">
                  <a:pos x="29" y="22"/>
                </a:cxn>
                <a:cxn ang="0">
                  <a:pos x="35" y="17"/>
                </a:cxn>
                <a:cxn ang="0">
                  <a:pos x="36" y="13"/>
                </a:cxn>
                <a:cxn ang="0">
                  <a:pos x="33" y="11"/>
                </a:cxn>
                <a:cxn ang="0">
                  <a:pos x="25" y="21"/>
                </a:cxn>
                <a:cxn ang="0">
                  <a:pos x="27" y="31"/>
                </a:cxn>
                <a:cxn ang="0">
                  <a:pos x="18" y="26"/>
                </a:cxn>
                <a:cxn ang="0">
                  <a:pos x="10" y="31"/>
                </a:cxn>
                <a:cxn ang="0">
                  <a:pos x="12" y="21"/>
                </a:cxn>
                <a:cxn ang="0">
                  <a:pos x="4" y="14"/>
                </a:cxn>
                <a:cxn ang="0">
                  <a:pos x="14" y="13"/>
                </a:cxn>
                <a:cxn ang="0">
                  <a:pos x="18" y="4"/>
                </a:cxn>
                <a:cxn ang="0">
                  <a:pos x="23" y="13"/>
                </a:cxn>
                <a:cxn ang="0">
                  <a:pos x="33" y="14"/>
                </a:cxn>
                <a:cxn ang="0">
                  <a:pos x="25" y="21"/>
                </a:cxn>
              </a:cxnLst>
              <a:rect l="0" t="0" r="r" b="b"/>
              <a:pathLst>
                <a:path w="37" h="35">
                  <a:moveTo>
                    <a:pt x="33" y="11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1"/>
                    <a:pt x="20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1"/>
                    <a:pt x="1" y="12"/>
                    <a:pt x="1" y="13"/>
                  </a:cubicBezTo>
                  <a:cubicBezTo>
                    <a:pt x="0" y="14"/>
                    <a:pt x="1" y="16"/>
                    <a:pt x="2" y="1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2"/>
                    <a:pt x="6" y="33"/>
                    <a:pt x="7" y="34"/>
                  </a:cubicBezTo>
                  <a:cubicBezTo>
                    <a:pt x="8" y="35"/>
                    <a:pt x="10" y="35"/>
                    <a:pt x="11" y="3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7" y="35"/>
                    <a:pt x="27" y="35"/>
                  </a:cubicBezTo>
                  <a:cubicBezTo>
                    <a:pt x="28" y="35"/>
                    <a:pt x="29" y="34"/>
                    <a:pt x="29" y="34"/>
                  </a:cubicBezTo>
                  <a:cubicBezTo>
                    <a:pt x="31" y="33"/>
                    <a:pt x="31" y="32"/>
                    <a:pt x="31" y="30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6"/>
                    <a:pt x="37" y="14"/>
                    <a:pt x="36" y="13"/>
                  </a:cubicBezTo>
                  <a:cubicBezTo>
                    <a:pt x="36" y="12"/>
                    <a:pt x="35" y="11"/>
                    <a:pt x="33" y="11"/>
                  </a:cubicBezTo>
                  <a:close/>
                  <a:moveTo>
                    <a:pt x="25" y="2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25" y="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35" name="Group 255"/>
          <p:cNvGrpSpPr>
            <a:grpSpLocks noChangeAspect="1"/>
          </p:cNvGrpSpPr>
          <p:nvPr/>
        </p:nvGrpSpPr>
        <p:grpSpPr bwMode="auto">
          <a:xfrm>
            <a:off x="8055775" y="2792415"/>
            <a:ext cx="768350" cy="768350"/>
            <a:chOff x="5071" y="1759"/>
            <a:chExt cx="484" cy="484"/>
          </a:xfrm>
        </p:grpSpPr>
        <p:sp>
          <p:nvSpPr>
            <p:cNvPr id="46336" name="Freeform 256"/>
            <p:cNvSpPr>
              <a:spLocks noEditPoints="1"/>
            </p:cNvSpPr>
            <p:nvPr/>
          </p:nvSpPr>
          <p:spPr bwMode="auto">
            <a:xfrm>
              <a:off x="5201" y="1862"/>
              <a:ext cx="223" cy="288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79" y="16"/>
                </a:cxn>
                <a:cxn ang="0">
                  <a:pos x="76" y="13"/>
                </a:cxn>
                <a:cxn ang="0">
                  <a:pos x="63" y="7"/>
                </a:cxn>
                <a:cxn ang="0">
                  <a:pos x="61" y="5"/>
                </a:cxn>
                <a:cxn ang="0">
                  <a:pos x="47" y="3"/>
                </a:cxn>
                <a:cxn ang="0">
                  <a:pos x="39" y="0"/>
                </a:cxn>
                <a:cxn ang="0">
                  <a:pos x="30" y="6"/>
                </a:cxn>
                <a:cxn ang="0">
                  <a:pos x="25" y="6"/>
                </a:cxn>
                <a:cxn ang="0">
                  <a:pos x="17" y="16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7" y="64"/>
                </a:cxn>
                <a:cxn ang="0">
                  <a:pos x="17" y="75"/>
                </a:cxn>
                <a:cxn ang="0">
                  <a:pos x="22" y="85"/>
                </a:cxn>
                <a:cxn ang="0">
                  <a:pos x="27" y="111"/>
                </a:cxn>
                <a:cxn ang="0">
                  <a:pos x="45" y="92"/>
                </a:cxn>
                <a:cxn ang="0">
                  <a:pos x="47" y="88"/>
                </a:cxn>
                <a:cxn ang="0">
                  <a:pos x="56" y="120"/>
                </a:cxn>
                <a:cxn ang="0">
                  <a:pos x="79" y="115"/>
                </a:cxn>
                <a:cxn ang="0">
                  <a:pos x="76" y="78"/>
                </a:cxn>
                <a:cxn ang="0">
                  <a:pos x="79" y="75"/>
                </a:cxn>
                <a:cxn ang="0">
                  <a:pos x="86" y="62"/>
                </a:cxn>
                <a:cxn ang="0">
                  <a:pos x="90" y="47"/>
                </a:cxn>
                <a:cxn ang="0">
                  <a:pos x="90" y="44"/>
                </a:cxn>
                <a:cxn ang="0">
                  <a:pos x="19" y="110"/>
                </a:cxn>
                <a:cxn ang="0">
                  <a:pos x="31" y="85"/>
                </a:cxn>
                <a:cxn ang="0">
                  <a:pos x="41" y="91"/>
                </a:cxn>
                <a:cxn ang="0">
                  <a:pos x="52" y="91"/>
                </a:cxn>
                <a:cxn ang="0">
                  <a:pos x="63" y="85"/>
                </a:cxn>
                <a:cxn ang="0">
                  <a:pos x="67" y="85"/>
                </a:cxn>
                <a:cxn ang="0">
                  <a:pos x="89" y="54"/>
                </a:cxn>
                <a:cxn ang="0">
                  <a:pos x="70" y="81"/>
                </a:cxn>
                <a:cxn ang="0">
                  <a:pos x="67" y="82"/>
                </a:cxn>
                <a:cxn ang="0">
                  <a:pos x="55" y="87"/>
                </a:cxn>
                <a:cxn ang="0">
                  <a:pos x="53" y="87"/>
                </a:cxn>
                <a:cxn ang="0">
                  <a:pos x="41" y="87"/>
                </a:cxn>
                <a:cxn ang="0">
                  <a:pos x="38" y="87"/>
                </a:cxn>
                <a:cxn ang="0">
                  <a:pos x="29" y="81"/>
                </a:cxn>
                <a:cxn ang="0">
                  <a:pos x="24" y="82"/>
                </a:cxn>
                <a:cxn ang="0">
                  <a:pos x="11" y="60"/>
                </a:cxn>
                <a:cxn ang="0">
                  <a:pos x="11" y="31"/>
                </a:cxn>
                <a:cxn ang="0">
                  <a:pos x="25" y="9"/>
                </a:cxn>
                <a:cxn ang="0">
                  <a:pos x="39" y="3"/>
                </a:cxn>
                <a:cxn ang="0">
                  <a:pos x="54" y="3"/>
                </a:cxn>
                <a:cxn ang="0">
                  <a:pos x="68" y="9"/>
                </a:cxn>
                <a:cxn ang="0">
                  <a:pos x="82" y="31"/>
                </a:cxn>
              </a:cxnLst>
              <a:rect l="0" t="0" r="r" b="b"/>
              <a:pathLst>
                <a:path w="93" h="120">
                  <a:moveTo>
                    <a:pt x="92" y="36"/>
                  </a:moveTo>
                  <a:cubicBezTo>
                    <a:pt x="92" y="33"/>
                    <a:pt x="89" y="32"/>
                    <a:pt x="87" y="31"/>
                  </a:cubicBezTo>
                  <a:cubicBezTo>
                    <a:pt x="87" y="30"/>
                    <a:pt x="86" y="30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6" y="28"/>
                    <a:pt x="86" y="27"/>
                  </a:cubicBezTo>
                  <a:cubicBezTo>
                    <a:pt x="86" y="25"/>
                    <a:pt x="87" y="22"/>
                    <a:pt x="85" y="20"/>
                  </a:cubicBezTo>
                  <a:cubicBezTo>
                    <a:pt x="84" y="17"/>
                    <a:pt x="81" y="17"/>
                    <a:pt x="79" y="16"/>
                  </a:cubicBezTo>
                  <a:cubicBezTo>
                    <a:pt x="78" y="16"/>
                    <a:pt x="77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5" y="11"/>
                    <a:pt x="75" y="9"/>
                    <a:pt x="72" y="7"/>
                  </a:cubicBezTo>
                  <a:cubicBezTo>
                    <a:pt x="71" y="6"/>
                    <a:pt x="70" y="6"/>
                    <a:pt x="68" y="6"/>
                  </a:cubicBezTo>
                  <a:cubicBezTo>
                    <a:pt x="67" y="6"/>
                    <a:pt x="66" y="6"/>
                    <a:pt x="65" y="6"/>
                  </a:cubicBezTo>
                  <a:cubicBezTo>
                    <a:pt x="64" y="6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2" y="5"/>
                    <a:pt x="61" y="5"/>
                  </a:cubicBezTo>
                  <a:cubicBezTo>
                    <a:pt x="60" y="3"/>
                    <a:pt x="59" y="0"/>
                    <a:pt x="56" y="0"/>
                  </a:cubicBezTo>
                  <a:cubicBezTo>
                    <a:pt x="55" y="0"/>
                    <a:pt x="55" y="0"/>
                    <a:pt x="54" y="0"/>
                  </a:cubicBezTo>
                  <a:cubicBezTo>
                    <a:pt x="52" y="0"/>
                    <a:pt x="50" y="1"/>
                    <a:pt x="48" y="2"/>
                  </a:cubicBezTo>
                  <a:cubicBezTo>
                    <a:pt x="48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5" y="3"/>
                    <a:pt x="45" y="2"/>
                  </a:cubicBezTo>
                  <a:cubicBezTo>
                    <a:pt x="43" y="1"/>
                    <a:pt x="41" y="0"/>
                    <a:pt x="39" y="0"/>
                  </a:cubicBezTo>
                  <a:cubicBezTo>
                    <a:pt x="38" y="0"/>
                    <a:pt x="38" y="0"/>
                    <a:pt x="37" y="0"/>
                  </a:cubicBezTo>
                  <a:cubicBezTo>
                    <a:pt x="34" y="0"/>
                    <a:pt x="33" y="3"/>
                    <a:pt x="32" y="5"/>
                  </a:cubicBezTo>
                  <a:cubicBezTo>
                    <a:pt x="31" y="5"/>
                    <a:pt x="31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29" y="6"/>
                    <a:pt x="28" y="6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8" y="9"/>
                    <a:pt x="18" y="11"/>
                    <a:pt x="17" y="13"/>
                  </a:cubicBezTo>
                  <a:cubicBezTo>
                    <a:pt x="17" y="14"/>
                    <a:pt x="17" y="15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5" y="16"/>
                    <a:pt x="14" y="16"/>
                  </a:cubicBezTo>
                  <a:cubicBezTo>
                    <a:pt x="12" y="17"/>
                    <a:pt x="10" y="17"/>
                    <a:pt x="8" y="20"/>
                  </a:cubicBezTo>
                  <a:cubicBezTo>
                    <a:pt x="6" y="22"/>
                    <a:pt x="7" y="25"/>
                    <a:pt x="7" y="27"/>
                  </a:cubicBezTo>
                  <a:cubicBezTo>
                    <a:pt x="7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6" y="30"/>
                    <a:pt x="6" y="31"/>
                  </a:cubicBezTo>
                  <a:cubicBezTo>
                    <a:pt x="4" y="32"/>
                    <a:pt x="1" y="33"/>
                    <a:pt x="1" y="36"/>
                  </a:cubicBezTo>
                  <a:cubicBezTo>
                    <a:pt x="0" y="39"/>
                    <a:pt x="2" y="42"/>
                    <a:pt x="3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7"/>
                    <a:pt x="3" y="47"/>
                  </a:cubicBezTo>
                  <a:cubicBezTo>
                    <a:pt x="2" y="49"/>
                    <a:pt x="0" y="52"/>
                    <a:pt x="1" y="55"/>
                  </a:cubicBezTo>
                  <a:cubicBezTo>
                    <a:pt x="1" y="58"/>
                    <a:pt x="4" y="59"/>
                    <a:pt x="6" y="60"/>
                  </a:cubicBezTo>
                  <a:cubicBezTo>
                    <a:pt x="6" y="61"/>
                    <a:pt x="7" y="61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7" y="63"/>
                    <a:pt x="7" y="64"/>
                  </a:cubicBezTo>
                  <a:cubicBezTo>
                    <a:pt x="7" y="66"/>
                    <a:pt x="6" y="69"/>
                    <a:pt x="8" y="71"/>
                  </a:cubicBezTo>
                  <a:cubicBezTo>
                    <a:pt x="10" y="74"/>
                    <a:pt x="12" y="74"/>
                    <a:pt x="14" y="75"/>
                  </a:cubicBezTo>
                  <a:cubicBezTo>
                    <a:pt x="15" y="75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6"/>
                    <a:pt x="17" y="77"/>
                    <a:pt x="17" y="78"/>
                  </a:cubicBezTo>
                  <a:cubicBezTo>
                    <a:pt x="18" y="80"/>
                    <a:pt x="18" y="83"/>
                    <a:pt x="21" y="84"/>
                  </a:cubicBezTo>
                  <a:cubicBezTo>
                    <a:pt x="21" y="85"/>
                    <a:pt x="22" y="85"/>
                    <a:pt x="22" y="85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5"/>
                    <a:pt x="72" y="85"/>
                    <a:pt x="72" y="84"/>
                  </a:cubicBezTo>
                  <a:cubicBezTo>
                    <a:pt x="75" y="83"/>
                    <a:pt x="75" y="80"/>
                    <a:pt x="76" y="78"/>
                  </a:cubicBezTo>
                  <a:cubicBezTo>
                    <a:pt x="76" y="77"/>
                    <a:pt x="76" y="76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5"/>
                    <a:pt x="78" y="75"/>
                    <a:pt x="79" y="75"/>
                  </a:cubicBezTo>
                  <a:cubicBezTo>
                    <a:pt x="81" y="74"/>
                    <a:pt x="84" y="74"/>
                    <a:pt x="85" y="71"/>
                  </a:cubicBezTo>
                  <a:cubicBezTo>
                    <a:pt x="87" y="69"/>
                    <a:pt x="86" y="66"/>
                    <a:pt x="86" y="64"/>
                  </a:cubicBezTo>
                  <a:cubicBezTo>
                    <a:pt x="86" y="63"/>
                    <a:pt x="85" y="62"/>
                    <a:pt x="85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1"/>
                    <a:pt x="87" y="61"/>
                    <a:pt x="87" y="60"/>
                  </a:cubicBezTo>
                  <a:cubicBezTo>
                    <a:pt x="89" y="59"/>
                    <a:pt x="92" y="58"/>
                    <a:pt x="92" y="55"/>
                  </a:cubicBezTo>
                  <a:cubicBezTo>
                    <a:pt x="93" y="52"/>
                    <a:pt x="91" y="49"/>
                    <a:pt x="90" y="47"/>
                  </a:cubicBezTo>
                  <a:cubicBezTo>
                    <a:pt x="89" y="47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9" y="44"/>
                    <a:pt x="90" y="44"/>
                  </a:cubicBezTo>
                  <a:cubicBezTo>
                    <a:pt x="91" y="42"/>
                    <a:pt x="93" y="39"/>
                    <a:pt x="92" y="36"/>
                  </a:cubicBezTo>
                  <a:close/>
                  <a:moveTo>
                    <a:pt x="35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7" y="85"/>
                    <a:pt x="27" y="85"/>
                    <a:pt x="28" y="85"/>
                  </a:cubicBezTo>
                  <a:cubicBezTo>
                    <a:pt x="28" y="85"/>
                    <a:pt x="29" y="85"/>
                    <a:pt x="29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2" y="87"/>
                    <a:pt x="33" y="88"/>
                    <a:pt x="34" y="89"/>
                  </a:cubicBezTo>
                  <a:cubicBezTo>
                    <a:pt x="35" y="90"/>
                    <a:pt x="36" y="91"/>
                    <a:pt x="37" y="91"/>
                  </a:cubicBezTo>
                  <a:cubicBezTo>
                    <a:pt x="38" y="91"/>
                    <a:pt x="38" y="91"/>
                    <a:pt x="39" y="91"/>
                  </a:cubicBezTo>
                  <a:cubicBezTo>
                    <a:pt x="40" y="91"/>
                    <a:pt x="40" y="91"/>
                    <a:pt x="41" y="91"/>
                  </a:cubicBezTo>
                  <a:lnTo>
                    <a:pt x="35" y="113"/>
                  </a:lnTo>
                  <a:close/>
                  <a:moveTo>
                    <a:pt x="65" y="107"/>
                  </a:moveTo>
                  <a:cubicBezTo>
                    <a:pt x="58" y="114"/>
                    <a:pt x="58" y="114"/>
                    <a:pt x="58" y="114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3" y="91"/>
                    <a:pt x="53" y="91"/>
                    <a:pt x="54" y="91"/>
                  </a:cubicBezTo>
                  <a:cubicBezTo>
                    <a:pt x="55" y="91"/>
                    <a:pt x="55" y="91"/>
                    <a:pt x="56" y="91"/>
                  </a:cubicBezTo>
                  <a:cubicBezTo>
                    <a:pt x="57" y="91"/>
                    <a:pt x="57" y="91"/>
                    <a:pt x="58" y="90"/>
                  </a:cubicBezTo>
                  <a:cubicBezTo>
                    <a:pt x="60" y="89"/>
                    <a:pt x="61" y="87"/>
                    <a:pt x="63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5"/>
                    <a:pt x="65" y="85"/>
                    <a:pt x="66" y="85"/>
                  </a:cubicBezTo>
                  <a:cubicBezTo>
                    <a:pt x="66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74" y="110"/>
                    <a:pt x="74" y="110"/>
                    <a:pt x="74" y="110"/>
                  </a:cubicBezTo>
                  <a:lnTo>
                    <a:pt x="65" y="107"/>
                  </a:lnTo>
                  <a:close/>
                  <a:moveTo>
                    <a:pt x="89" y="54"/>
                  </a:moveTo>
                  <a:cubicBezTo>
                    <a:pt x="88" y="57"/>
                    <a:pt x="83" y="58"/>
                    <a:pt x="82" y="60"/>
                  </a:cubicBezTo>
                  <a:cubicBezTo>
                    <a:pt x="81" y="63"/>
                    <a:pt x="84" y="67"/>
                    <a:pt x="82" y="69"/>
                  </a:cubicBezTo>
                  <a:cubicBezTo>
                    <a:pt x="81" y="72"/>
                    <a:pt x="76" y="71"/>
                    <a:pt x="74" y="73"/>
                  </a:cubicBezTo>
                  <a:cubicBezTo>
                    <a:pt x="72" y="75"/>
                    <a:pt x="73" y="80"/>
                    <a:pt x="70" y="81"/>
                  </a:cubicBezTo>
                  <a:cubicBezTo>
                    <a:pt x="70" y="82"/>
                    <a:pt x="69" y="82"/>
                    <a:pt x="69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6" y="81"/>
                    <a:pt x="64" y="81"/>
                    <a:pt x="63" y="81"/>
                  </a:cubicBezTo>
                  <a:cubicBezTo>
                    <a:pt x="62" y="81"/>
                    <a:pt x="62" y="81"/>
                    <a:pt x="61" y="81"/>
                  </a:cubicBezTo>
                  <a:cubicBezTo>
                    <a:pt x="59" y="82"/>
                    <a:pt x="58" y="85"/>
                    <a:pt x="56" y="87"/>
                  </a:cubicBezTo>
                  <a:cubicBezTo>
                    <a:pt x="56" y="87"/>
                    <a:pt x="55" y="87"/>
                    <a:pt x="55" y="87"/>
                  </a:cubicBezTo>
                  <a:cubicBezTo>
                    <a:pt x="55" y="87"/>
                    <a:pt x="54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1" y="86"/>
                    <a:pt x="49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5" y="84"/>
                    <a:pt x="43" y="86"/>
                    <a:pt x="41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8" y="87"/>
                    <a:pt x="38" y="87"/>
                  </a:cubicBezTo>
                  <a:cubicBezTo>
                    <a:pt x="37" y="87"/>
                    <a:pt x="37" y="87"/>
                    <a:pt x="36" y="87"/>
                  </a:cubicBezTo>
                  <a:cubicBezTo>
                    <a:pt x="35" y="85"/>
                    <a:pt x="34" y="82"/>
                    <a:pt x="32" y="81"/>
                  </a:cubicBezTo>
                  <a:cubicBezTo>
                    <a:pt x="31" y="81"/>
                    <a:pt x="31" y="81"/>
                    <a:pt x="30" y="81"/>
                  </a:cubicBezTo>
                  <a:cubicBezTo>
                    <a:pt x="30" y="81"/>
                    <a:pt x="29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1"/>
                    <a:pt x="23" y="81"/>
                  </a:cubicBezTo>
                  <a:cubicBezTo>
                    <a:pt x="20" y="80"/>
                    <a:pt x="21" y="75"/>
                    <a:pt x="19" y="73"/>
                  </a:cubicBezTo>
                  <a:cubicBezTo>
                    <a:pt x="17" y="71"/>
                    <a:pt x="12" y="72"/>
                    <a:pt x="11" y="69"/>
                  </a:cubicBezTo>
                  <a:cubicBezTo>
                    <a:pt x="9" y="67"/>
                    <a:pt x="12" y="63"/>
                    <a:pt x="11" y="60"/>
                  </a:cubicBezTo>
                  <a:cubicBezTo>
                    <a:pt x="10" y="58"/>
                    <a:pt x="5" y="57"/>
                    <a:pt x="4" y="54"/>
                  </a:cubicBezTo>
                  <a:cubicBezTo>
                    <a:pt x="4" y="51"/>
                    <a:pt x="8" y="48"/>
                    <a:pt x="8" y="46"/>
                  </a:cubicBezTo>
                  <a:cubicBezTo>
                    <a:pt x="8" y="43"/>
                    <a:pt x="4" y="40"/>
                    <a:pt x="4" y="37"/>
                  </a:cubicBezTo>
                  <a:cubicBezTo>
                    <a:pt x="5" y="34"/>
                    <a:pt x="10" y="33"/>
                    <a:pt x="11" y="31"/>
                  </a:cubicBezTo>
                  <a:cubicBezTo>
                    <a:pt x="12" y="28"/>
                    <a:pt x="9" y="24"/>
                    <a:pt x="11" y="22"/>
                  </a:cubicBezTo>
                  <a:cubicBezTo>
                    <a:pt x="12" y="19"/>
                    <a:pt x="17" y="20"/>
                    <a:pt x="19" y="18"/>
                  </a:cubicBezTo>
                  <a:cubicBezTo>
                    <a:pt x="21" y="16"/>
                    <a:pt x="20" y="11"/>
                    <a:pt x="23" y="10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8" y="10"/>
                    <a:pt x="30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4" y="9"/>
                    <a:pt x="35" y="4"/>
                    <a:pt x="38" y="3"/>
                  </a:cubicBezTo>
                  <a:cubicBezTo>
                    <a:pt x="38" y="3"/>
                    <a:pt x="38" y="3"/>
                    <a:pt x="39" y="3"/>
                  </a:cubicBezTo>
                  <a:cubicBezTo>
                    <a:pt x="41" y="3"/>
                    <a:pt x="44" y="7"/>
                    <a:pt x="46" y="7"/>
                  </a:cubicBezTo>
                  <a:cubicBezTo>
                    <a:pt x="46" y="7"/>
                    <a:pt x="46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9" y="7"/>
                    <a:pt x="52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4"/>
                    <a:pt x="59" y="9"/>
                    <a:pt x="61" y="10"/>
                  </a:cubicBezTo>
                  <a:cubicBezTo>
                    <a:pt x="62" y="10"/>
                    <a:pt x="62" y="10"/>
                    <a:pt x="63" y="10"/>
                  </a:cubicBezTo>
                  <a:cubicBezTo>
                    <a:pt x="65" y="10"/>
                    <a:pt x="67" y="9"/>
                    <a:pt x="68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3" y="11"/>
                    <a:pt x="72" y="16"/>
                    <a:pt x="74" y="18"/>
                  </a:cubicBezTo>
                  <a:cubicBezTo>
                    <a:pt x="76" y="20"/>
                    <a:pt x="81" y="19"/>
                    <a:pt x="82" y="22"/>
                  </a:cubicBezTo>
                  <a:cubicBezTo>
                    <a:pt x="84" y="24"/>
                    <a:pt x="81" y="28"/>
                    <a:pt x="82" y="31"/>
                  </a:cubicBezTo>
                  <a:cubicBezTo>
                    <a:pt x="83" y="33"/>
                    <a:pt x="88" y="34"/>
                    <a:pt x="89" y="37"/>
                  </a:cubicBezTo>
                  <a:cubicBezTo>
                    <a:pt x="89" y="40"/>
                    <a:pt x="85" y="43"/>
                    <a:pt x="85" y="46"/>
                  </a:cubicBezTo>
                  <a:cubicBezTo>
                    <a:pt x="85" y="48"/>
                    <a:pt x="89" y="51"/>
                    <a:pt x="89" y="5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7" name="Freeform 257"/>
            <p:cNvSpPr>
              <a:spLocks noEditPoints="1"/>
            </p:cNvSpPr>
            <p:nvPr/>
          </p:nvSpPr>
          <p:spPr bwMode="auto">
            <a:xfrm>
              <a:off x="5071" y="175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8" name="Freeform 258"/>
            <p:cNvSpPr>
              <a:spLocks noEditPoints="1"/>
            </p:cNvSpPr>
            <p:nvPr/>
          </p:nvSpPr>
          <p:spPr bwMode="auto">
            <a:xfrm>
              <a:off x="5237" y="1896"/>
              <a:ext cx="151" cy="151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32"/>
                </a:cxn>
                <a:cxn ang="0">
                  <a:pos x="32" y="63"/>
                </a:cxn>
                <a:cxn ang="0">
                  <a:pos x="63" y="32"/>
                </a:cxn>
                <a:cxn ang="0">
                  <a:pos x="32" y="0"/>
                </a:cxn>
                <a:cxn ang="0">
                  <a:pos x="32" y="59"/>
                </a:cxn>
                <a:cxn ang="0">
                  <a:pos x="4" y="32"/>
                </a:cxn>
                <a:cxn ang="0">
                  <a:pos x="32" y="4"/>
                </a:cxn>
                <a:cxn ang="0">
                  <a:pos x="59" y="32"/>
                </a:cxn>
                <a:cxn ang="0">
                  <a:pos x="32" y="59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3"/>
                    <a:pt x="32" y="63"/>
                  </a:cubicBezTo>
                  <a:cubicBezTo>
                    <a:pt x="49" y="63"/>
                    <a:pt x="63" y="49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lose/>
                  <a:moveTo>
                    <a:pt x="32" y="59"/>
                  </a:moveTo>
                  <a:cubicBezTo>
                    <a:pt x="16" y="59"/>
                    <a:pt x="4" y="47"/>
                    <a:pt x="4" y="32"/>
                  </a:cubicBezTo>
                  <a:cubicBezTo>
                    <a:pt x="4" y="16"/>
                    <a:pt x="16" y="4"/>
                    <a:pt x="32" y="4"/>
                  </a:cubicBezTo>
                  <a:cubicBezTo>
                    <a:pt x="47" y="4"/>
                    <a:pt x="59" y="16"/>
                    <a:pt x="59" y="32"/>
                  </a:cubicBezTo>
                  <a:cubicBezTo>
                    <a:pt x="59" y="47"/>
                    <a:pt x="47" y="59"/>
                    <a:pt x="32" y="5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39" name="Freeform 259"/>
            <p:cNvSpPr>
              <a:spLocks noEditPoints="1"/>
            </p:cNvSpPr>
            <p:nvPr/>
          </p:nvSpPr>
          <p:spPr bwMode="auto">
            <a:xfrm>
              <a:off x="5268" y="1929"/>
              <a:ext cx="89" cy="84"/>
            </a:xfrm>
            <a:custGeom>
              <a:avLst/>
              <a:gdLst/>
              <a:ahLst/>
              <a:cxnLst>
                <a:cxn ang="0">
                  <a:pos x="33" y="11"/>
                </a:cxn>
                <a:cxn ang="0">
                  <a:pos x="25" y="10"/>
                </a:cxn>
                <a:cxn ang="0">
                  <a:pos x="21" y="2"/>
                </a:cxn>
                <a:cxn ang="0">
                  <a:pos x="18" y="0"/>
                </a:cxn>
                <a:cxn ang="0">
                  <a:pos x="15" y="2"/>
                </a:cxn>
                <a:cxn ang="0">
                  <a:pos x="12" y="10"/>
                </a:cxn>
                <a:cxn ang="0">
                  <a:pos x="3" y="11"/>
                </a:cxn>
                <a:cxn ang="0">
                  <a:pos x="1" y="13"/>
                </a:cxn>
                <a:cxn ang="0">
                  <a:pos x="1" y="17"/>
                </a:cxn>
                <a:cxn ang="0">
                  <a:pos x="8" y="22"/>
                </a:cxn>
                <a:cxn ang="0">
                  <a:pos x="6" y="30"/>
                </a:cxn>
                <a:cxn ang="0">
                  <a:pos x="7" y="34"/>
                </a:cxn>
                <a:cxn ang="0">
                  <a:pos x="11" y="34"/>
                </a:cxn>
                <a:cxn ang="0">
                  <a:pos x="18" y="30"/>
                </a:cxn>
                <a:cxn ang="0">
                  <a:pos x="26" y="34"/>
                </a:cxn>
                <a:cxn ang="0">
                  <a:pos x="27" y="35"/>
                </a:cxn>
                <a:cxn ang="0">
                  <a:pos x="29" y="34"/>
                </a:cxn>
                <a:cxn ang="0">
                  <a:pos x="31" y="30"/>
                </a:cxn>
                <a:cxn ang="0">
                  <a:pos x="29" y="22"/>
                </a:cxn>
                <a:cxn ang="0">
                  <a:pos x="35" y="17"/>
                </a:cxn>
                <a:cxn ang="0">
                  <a:pos x="36" y="13"/>
                </a:cxn>
                <a:cxn ang="0">
                  <a:pos x="33" y="11"/>
                </a:cxn>
                <a:cxn ang="0">
                  <a:pos x="25" y="21"/>
                </a:cxn>
                <a:cxn ang="0">
                  <a:pos x="27" y="31"/>
                </a:cxn>
                <a:cxn ang="0">
                  <a:pos x="18" y="26"/>
                </a:cxn>
                <a:cxn ang="0">
                  <a:pos x="10" y="31"/>
                </a:cxn>
                <a:cxn ang="0">
                  <a:pos x="12" y="21"/>
                </a:cxn>
                <a:cxn ang="0">
                  <a:pos x="4" y="14"/>
                </a:cxn>
                <a:cxn ang="0">
                  <a:pos x="14" y="13"/>
                </a:cxn>
                <a:cxn ang="0">
                  <a:pos x="18" y="4"/>
                </a:cxn>
                <a:cxn ang="0">
                  <a:pos x="23" y="13"/>
                </a:cxn>
                <a:cxn ang="0">
                  <a:pos x="32" y="14"/>
                </a:cxn>
                <a:cxn ang="0">
                  <a:pos x="25" y="21"/>
                </a:cxn>
              </a:cxnLst>
              <a:rect l="0" t="0" r="r" b="b"/>
              <a:pathLst>
                <a:path w="37" h="35">
                  <a:moveTo>
                    <a:pt x="33" y="11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0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2"/>
                    <a:pt x="1" y="13"/>
                  </a:cubicBezTo>
                  <a:cubicBezTo>
                    <a:pt x="0" y="14"/>
                    <a:pt x="0" y="16"/>
                    <a:pt x="1" y="1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2"/>
                    <a:pt x="6" y="33"/>
                    <a:pt x="7" y="34"/>
                  </a:cubicBezTo>
                  <a:cubicBezTo>
                    <a:pt x="8" y="35"/>
                    <a:pt x="10" y="35"/>
                    <a:pt x="11" y="3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7" y="35"/>
                    <a:pt x="27" y="35"/>
                  </a:cubicBezTo>
                  <a:cubicBezTo>
                    <a:pt x="28" y="35"/>
                    <a:pt x="29" y="34"/>
                    <a:pt x="29" y="34"/>
                  </a:cubicBezTo>
                  <a:cubicBezTo>
                    <a:pt x="30" y="33"/>
                    <a:pt x="31" y="32"/>
                    <a:pt x="31" y="30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6"/>
                    <a:pt x="37" y="14"/>
                    <a:pt x="36" y="13"/>
                  </a:cubicBezTo>
                  <a:cubicBezTo>
                    <a:pt x="36" y="12"/>
                    <a:pt x="35" y="11"/>
                    <a:pt x="33" y="11"/>
                  </a:cubicBezTo>
                  <a:close/>
                  <a:moveTo>
                    <a:pt x="25" y="2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32" y="14"/>
                    <a:pt x="32" y="14"/>
                    <a:pt x="32" y="14"/>
                  </a:cubicBezTo>
                  <a:lnTo>
                    <a:pt x="25" y="2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42" name="Group 262"/>
          <p:cNvGrpSpPr>
            <a:grpSpLocks noChangeAspect="1"/>
          </p:cNvGrpSpPr>
          <p:nvPr/>
        </p:nvGrpSpPr>
        <p:grpSpPr bwMode="auto">
          <a:xfrm>
            <a:off x="346870" y="4060825"/>
            <a:ext cx="833437" cy="836613"/>
            <a:chOff x="215" y="2558"/>
            <a:chExt cx="525" cy="527"/>
          </a:xfrm>
        </p:grpSpPr>
        <p:sp>
          <p:nvSpPr>
            <p:cNvPr id="46343" name="Oval 263"/>
            <p:cNvSpPr>
              <a:spLocks noChangeArrowheads="1"/>
            </p:cNvSpPr>
            <p:nvPr/>
          </p:nvSpPr>
          <p:spPr bwMode="auto">
            <a:xfrm>
              <a:off x="215" y="2558"/>
              <a:ext cx="525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44" name="Freeform 264"/>
            <p:cNvSpPr>
              <a:spLocks noEditPoints="1"/>
            </p:cNvSpPr>
            <p:nvPr/>
          </p:nvSpPr>
          <p:spPr bwMode="auto">
            <a:xfrm>
              <a:off x="366" y="2683"/>
              <a:ext cx="223" cy="28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79" y="16"/>
                </a:cxn>
                <a:cxn ang="0">
                  <a:pos x="76" y="13"/>
                </a:cxn>
                <a:cxn ang="0">
                  <a:pos x="63" y="7"/>
                </a:cxn>
                <a:cxn ang="0">
                  <a:pos x="61" y="5"/>
                </a:cxn>
                <a:cxn ang="0">
                  <a:pos x="47" y="3"/>
                </a:cxn>
                <a:cxn ang="0">
                  <a:pos x="39" y="0"/>
                </a:cxn>
                <a:cxn ang="0">
                  <a:pos x="30" y="6"/>
                </a:cxn>
                <a:cxn ang="0">
                  <a:pos x="25" y="6"/>
                </a:cxn>
                <a:cxn ang="0">
                  <a:pos x="17" y="16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7" y="64"/>
                </a:cxn>
                <a:cxn ang="0">
                  <a:pos x="17" y="75"/>
                </a:cxn>
                <a:cxn ang="0">
                  <a:pos x="22" y="85"/>
                </a:cxn>
                <a:cxn ang="0">
                  <a:pos x="27" y="111"/>
                </a:cxn>
                <a:cxn ang="0">
                  <a:pos x="45" y="92"/>
                </a:cxn>
                <a:cxn ang="0">
                  <a:pos x="47" y="88"/>
                </a:cxn>
                <a:cxn ang="0">
                  <a:pos x="56" y="120"/>
                </a:cxn>
                <a:cxn ang="0">
                  <a:pos x="79" y="115"/>
                </a:cxn>
                <a:cxn ang="0">
                  <a:pos x="76" y="78"/>
                </a:cxn>
                <a:cxn ang="0">
                  <a:pos x="79" y="75"/>
                </a:cxn>
                <a:cxn ang="0">
                  <a:pos x="86" y="62"/>
                </a:cxn>
                <a:cxn ang="0">
                  <a:pos x="90" y="47"/>
                </a:cxn>
                <a:cxn ang="0">
                  <a:pos x="90" y="44"/>
                </a:cxn>
                <a:cxn ang="0">
                  <a:pos x="19" y="110"/>
                </a:cxn>
                <a:cxn ang="0">
                  <a:pos x="31" y="85"/>
                </a:cxn>
                <a:cxn ang="0">
                  <a:pos x="41" y="91"/>
                </a:cxn>
                <a:cxn ang="0">
                  <a:pos x="52" y="91"/>
                </a:cxn>
                <a:cxn ang="0">
                  <a:pos x="63" y="85"/>
                </a:cxn>
                <a:cxn ang="0">
                  <a:pos x="67" y="85"/>
                </a:cxn>
                <a:cxn ang="0">
                  <a:pos x="89" y="54"/>
                </a:cxn>
                <a:cxn ang="0">
                  <a:pos x="70" y="81"/>
                </a:cxn>
                <a:cxn ang="0">
                  <a:pos x="67" y="82"/>
                </a:cxn>
                <a:cxn ang="0">
                  <a:pos x="55" y="87"/>
                </a:cxn>
                <a:cxn ang="0">
                  <a:pos x="53" y="87"/>
                </a:cxn>
                <a:cxn ang="0">
                  <a:pos x="41" y="87"/>
                </a:cxn>
                <a:cxn ang="0">
                  <a:pos x="38" y="87"/>
                </a:cxn>
                <a:cxn ang="0">
                  <a:pos x="29" y="81"/>
                </a:cxn>
                <a:cxn ang="0">
                  <a:pos x="24" y="82"/>
                </a:cxn>
                <a:cxn ang="0">
                  <a:pos x="11" y="60"/>
                </a:cxn>
                <a:cxn ang="0">
                  <a:pos x="11" y="31"/>
                </a:cxn>
                <a:cxn ang="0">
                  <a:pos x="25" y="9"/>
                </a:cxn>
                <a:cxn ang="0">
                  <a:pos x="39" y="3"/>
                </a:cxn>
                <a:cxn ang="0">
                  <a:pos x="54" y="3"/>
                </a:cxn>
                <a:cxn ang="0">
                  <a:pos x="69" y="9"/>
                </a:cxn>
                <a:cxn ang="0">
                  <a:pos x="82" y="31"/>
                </a:cxn>
              </a:cxnLst>
              <a:rect l="0" t="0" r="r" b="b"/>
              <a:pathLst>
                <a:path w="93" h="120">
                  <a:moveTo>
                    <a:pt x="92" y="36"/>
                  </a:moveTo>
                  <a:cubicBezTo>
                    <a:pt x="92" y="33"/>
                    <a:pt x="89" y="32"/>
                    <a:pt x="87" y="31"/>
                  </a:cubicBezTo>
                  <a:cubicBezTo>
                    <a:pt x="87" y="30"/>
                    <a:pt x="86" y="30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8"/>
                    <a:pt x="86" y="27"/>
                  </a:cubicBezTo>
                  <a:cubicBezTo>
                    <a:pt x="86" y="25"/>
                    <a:pt x="87" y="22"/>
                    <a:pt x="85" y="20"/>
                  </a:cubicBezTo>
                  <a:cubicBezTo>
                    <a:pt x="84" y="17"/>
                    <a:pt x="81" y="17"/>
                    <a:pt x="79" y="16"/>
                  </a:cubicBezTo>
                  <a:cubicBezTo>
                    <a:pt x="78" y="16"/>
                    <a:pt x="77" y="16"/>
                    <a:pt x="77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5" y="11"/>
                    <a:pt x="75" y="9"/>
                    <a:pt x="72" y="7"/>
                  </a:cubicBezTo>
                  <a:cubicBezTo>
                    <a:pt x="71" y="6"/>
                    <a:pt x="70" y="6"/>
                    <a:pt x="69" y="6"/>
                  </a:cubicBezTo>
                  <a:cubicBezTo>
                    <a:pt x="67" y="6"/>
                    <a:pt x="66" y="6"/>
                    <a:pt x="65" y="6"/>
                  </a:cubicBezTo>
                  <a:cubicBezTo>
                    <a:pt x="64" y="6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2" y="5"/>
                    <a:pt x="61" y="5"/>
                  </a:cubicBezTo>
                  <a:cubicBezTo>
                    <a:pt x="60" y="3"/>
                    <a:pt x="59" y="0"/>
                    <a:pt x="56" y="0"/>
                  </a:cubicBezTo>
                  <a:cubicBezTo>
                    <a:pt x="55" y="0"/>
                    <a:pt x="55" y="0"/>
                    <a:pt x="54" y="0"/>
                  </a:cubicBezTo>
                  <a:cubicBezTo>
                    <a:pt x="52" y="0"/>
                    <a:pt x="50" y="1"/>
                    <a:pt x="49" y="2"/>
                  </a:cubicBezTo>
                  <a:cubicBezTo>
                    <a:pt x="48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5" y="3"/>
                    <a:pt x="45" y="2"/>
                  </a:cubicBezTo>
                  <a:cubicBezTo>
                    <a:pt x="43" y="1"/>
                    <a:pt x="41" y="0"/>
                    <a:pt x="39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5" y="0"/>
                    <a:pt x="33" y="3"/>
                    <a:pt x="32" y="5"/>
                  </a:cubicBezTo>
                  <a:cubicBezTo>
                    <a:pt x="31" y="5"/>
                    <a:pt x="31" y="6"/>
                    <a:pt x="31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29" y="6"/>
                    <a:pt x="28" y="6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8" y="9"/>
                    <a:pt x="18" y="11"/>
                    <a:pt x="17" y="13"/>
                  </a:cubicBezTo>
                  <a:cubicBezTo>
                    <a:pt x="17" y="14"/>
                    <a:pt x="17" y="15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5" y="16"/>
                    <a:pt x="15" y="16"/>
                  </a:cubicBezTo>
                  <a:cubicBezTo>
                    <a:pt x="12" y="17"/>
                    <a:pt x="10" y="17"/>
                    <a:pt x="8" y="20"/>
                  </a:cubicBezTo>
                  <a:cubicBezTo>
                    <a:pt x="6" y="22"/>
                    <a:pt x="7" y="25"/>
                    <a:pt x="7" y="27"/>
                  </a:cubicBezTo>
                  <a:cubicBezTo>
                    <a:pt x="7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30"/>
                    <a:pt x="6" y="30"/>
                    <a:pt x="6" y="31"/>
                  </a:cubicBezTo>
                  <a:cubicBezTo>
                    <a:pt x="4" y="32"/>
                    <a:pt x="2" y="33"/>
                    <a:pt x="1" y="36"/>
                  </a:cubicBezTo>
                  <a:cubicBezTo>
                    <a:pt x="0" y="39"/>
                    <a:pt x="2" y="42"/>
                    <a:pt x="3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7"/>
                    <a:pt x="3" y="47"/>
                  </a:cubicBezTo>
                  <a:cubicBezTo>
                    <a:pt x="2" y="49"/>
                    <a:pt x="0" y="52"/>
                    <a:pt x="1" y="55"/>
                  </a:cubicBezTo>
                  <a:cubicBezTo>
                    <a:pt x="2" y="58"/>
                    <a:pt x="4" y="59"/>
                    <a:pt x="6" y="60"/>
                  </a:cubicBezTo>
                  <a:cubicBezTo>
                    <a:pt x="6" y="61"/>
                    <a:pt x="7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7" y="63"/>
                    <a:pt x="7" y="64"/>
                  </a:cubicBezTo>
                  <a:cubicBezTo>
                    <a:pt x="7" y="66"/>
                    <a:pt x="6" y="69"/>
                    <a:pt x="8" y="71"/>
                  </a:cubicBezTo>
                  <a:cubicBezTo>
                    <a:pt x="10" y="74"/>
                    <a:pt x="12" y="74"/>
                    <a:pt x="15" y="75"/>
                  </a:cubicBezTo>
                  <a:cubicBezTo>
                    <a:pt x="15" y="75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6"/>
                    <a:pt x="17" y="77"/>
                    <a:pt x="17" y="78"/>
                  </a:cubicBezTo>
                  <a:cubicBezTo>
                    <a:pt x="18" y="80"/>
                    <a:pt x="18" y="83"/>
                    <a:pt x="21" y="84"/>
                  </a:cubicBezTo>
                  <a:cubicBezTo>
                    <a:pt x="21" y="85"/>
                    <a:pt x="22" y="85"/>
                    <a:pt x="22" y="85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5"/>
                    <a:pt x="72" y="85"/>
                    <a:pt x="72" y="84"/>
                  </a:cubicBezTo>
                  <a:cubicBezTo>
                    <a:pt x="75" y="83"/>
                    <a:pt x="75" y="80"/>
                    <a:pt x="76" y="78"/>
                  </a:cubicBezTo>
                  <a:cubicBezTo>
                    <a:pt x="76" y="77"/>
                    <a:pt x="76" y="76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5"/>
                    <a:pt x="78" y="75"/>
                    <a:pt x="79" y="75"/>
                  </a:cubicBezTo>
                  <a:cubicBezTo>
                    <a:pt x="81" y="74"/>
                    <a:pt x="84" y="74"/>
                    <a:pt x="85" y="71"/>
                  </a:cubicBezTo>
                  <a:cubicBezTo>
                    <a:pt x="87" y="69"/>
                    <a:pt x="86" y="66"/>
                    <a:pt x="86" y="64"/>
                  </a:cubicBezTo>
                  <a:cubicBezTo>
                    <a:pt x="86" y="63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1"/>
                    <a:pt x="87" y="61"/>
                    <a:pt x="87" y="60"/>
                  </a:cubicBezTo>
                  <a:cubicBezTo>
                    <a:pt x="89" y="59"/>
                    <a:pt x="92" y="58"/>
                    <a:pt x="92" y="55"/>
                  </a:cubicBezTo>
                  <a:cubicBezTo>
                    <a:pt x="93" y="52"/>
                    <a:pt x="91" y="49"/>
                    <a:pt x="90" y="47"/>
                  </a:cubicBezTo>
                  <a:cubicBezTo>
                    <a:pt x="90" y="47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90" y="44"/>
                    <a:pt x="90" y="44"/>
                  </a:cubicBezTo>
                  <a:cubicBezTo>
                    <a:pt x="91" y="42"/>
                    <a:pt x="93" y="39"/>
                    <a:pt x="92" y="36"/>
                  </a:cubicBezTo>
                  <a:close/>
                  <a:moveTo>
                    <a:pt x="35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7" y="85"/>
                    <a:pt x="28" y="85"/>
                    <a:pt x="28" y="85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2" y="87"/>
                    <a:pt x="33" y="88"/>
                    <a:pt x="34" y="89"/>
                  </a:cubicBezTo>
                  <a:cubicBezTo>
                    <a:pt x="35" y="90"/>
                    <a:pt x="36" y="91"/>
                    <a:pt x="38" y="91"/>
                  </a:cubicBezTo>
                  <a:cubicBezTo>
                    <a:pt x="38" y="91"/>
                    <a:pt x="38" y="91"/>
                    <a:pt x="39" y="91"/>
                  </a:cubicBezTo>
                  <a:cubicBezTo>
                    <a:pt x="40" y="91"/>
                    <a:pt x="40" y="91"/>
                    <a:pt x="41" y="91"/>
                  </a:cubicBezTo>
                  <a:lnTo>
                    <a:pt x="35" y="113"/>
                  </a:lnTo>
                  <a:close/>
                  <a:moveTo>
                    <a:pt x="65" y="107"/>
                  </a:moveTo>
                  <a:cubicBezTo>
                    <a:pt x="58" y="114"/>
                    <a:pt x="58" y="114"/>
                    <a:pt x="58" y="114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3" y="91"/>
                    <a:pt x="54" y="91"/>
                    <a:pt x="54" y="91"/>
                  </a:cubicBezTo>
                  <a:cubicBezTo>
                    <a:pt x="55" y="91"/>
                    <a:pt x="55" y="91"/>
                    <a:pt x="56" y="91"/>
                  </a:cubicBezTo>
                  <a:cubicBezTo>
                    <a:pt x="57" y="91"/>
                    <a:pt x="58" y="91"/>
                    <a:pt x="58" y="90"/>
                  </a:cubicBezTo>
                  <a:cubicBezTo>
                    <a:pt x="60" y="89"/>
                    <a:pt x="61" y="87"/>
                    <a:pt x="63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5"/>
                    <a:pt x="66" y="85"/>
                    <a:pt x="66" y="85"/>
                  </a:cubicBezTo>
                  <a:cubicBezTo>
                    <a:pt x="66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74" y="110"/>
                    <a:pt x="74" y="110"/>
                    <a:pt x="74" y="110"/>
                  </a:cubicBezTo>
                  <a:lnTo>
                    <a:pt x="65" y="107"/>
                  </a:lnTo>
                  <a:close/>
                  <a:moveTo>
                    <a:pt x="89" y="54"/>
                  </a:moveTo>
                  <a:cubicBezTo>
                    <a:pt x="88" y="57"/>
                    <a:pt x="83" y="58"/>
                    <a:pt x="82" y="60"/>
                  </a:cubicBezTo>
                  <a:cubicBezTo>
                    <a:pt x="81" y="63"/>
                    <a:pt x="84" y="67"/>
                    <a:pt x="82" y="69"/>
                  </a:cubicBezTo>
                  <a:cubicBezTo>
                    <a:pt x="81" y="72"/>
                    <a:pt x="76" y="71"/>
                    <a:pt x="74" y="73"/>
                  </a:cubicBezTo>
                  <a:cubicBezTo>
                    <a:pt x="72" y="75"/>
                    <a:pt x="73" y="80"/>
                    <a:pt x="70" y="81"/>
                  </a:cubicBezTo>
                  <a:cubicBezTo>
                    <a:pt x="70" y="82"/>
                    <a:pt x="69" y="82"/>
                    <a:pt x="69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6" y="81"/>
                    <a:pt x="64" y="81"/>
                    <a:pt x="63" y="81"/>
                  </a:cubicBezTo>
                  <a:cubicBezTo>
                    <a:pt x="62" y="81"/>
                    <a:pt x="62" y="81"/>
                    <a:pt x="61" y="81"/>
                  </a:cubicBezTo>
                  <a:cubicBezTo>
                    <a:pt x="59" y="82"/>
                    <a:pt x="58" y="85"/>
                    <a:pt x="56" y="87"/>
                  </a:cubicBezTo>
                  <a:cubicBezTo>
                    <a:pt x="56" y="87"/>
                    <a:pt x="56" y="87"/>
                    <a:pt x="55" y="87"/>
                  </a:cubicBezTo>
                  <a:cubicBezTo>
                    <a:pt x="55" y="87"/>
                    <a:pt x="55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1" y="86"/>
                    <a:pt x="49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6" y="84"/>
                    <a:pt x="46" y="84"/>
                  </a:cubicBezTo>
                  <a:cubicBezTo>
                    <a:pt x="45" y="84"/>
                    <a:pt x="43" y="86"/>
                    <a:pt x="41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8" y="87"/>
                    <a:pt x="38" y="87"/>
                  </a:cubicBezTo>
                  <a:cubicBezTo>
                    <a:pt x="38" y="87"/>
                    <a:pt x="37" y="87"/>
                    <a:pt x="36" y="87"/>
                  </a:cubicBezTo>
                  <a:cubicBezTo>
                    <a:pt x="35" y="85"/>
                    <a:pt x="34" y="82"/>
                    <a:pt x="32" y="81"/>
                  </a:cubicBezTo>
                  <a:cubicBezTo>
                    <a:pt x="31" y="81"/>
                    <a:pt x="31" y="81"/>
                    <a:pt x="30" y="81"/>
                  </a:cubicBezTo>
                  <a:cubicBezTo>
                    <a:pt x="30" y="81"/>
                    <a:pt x="30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1"/>
                    <a:pt x="28" y="81"/>
                    <a:pt x="28" y="81"/>
                  </a:cubicBezTo>
                  <a:cubicBezTo>
                    <a:pt x="27" y="81"/>
                    <a:pt x="27" y="81"/>
                    <a:pt x="26" y="81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1"/>
                    <a:pt x="23" y="81"/>
                  </a:cubicBezTo>
                  <a:cubicBezTo>
                    <a:pt x="20" y="80"/>
                    <a:pt x="21" y="75"/>
                    <a:pt x="19" y="73"/>
                  </a:cubicBezTo>
                  <a:cubicBezTo>
                    <a:pt x="17" y="71"/>
                    <a:pt x="13" y="72"/>
                    <a:pt x="11" y="69"/>
                  </a:cubicBezTo>
                  <a:cubicBezTo>
                    <a:pt x="9" y="67"/>
                    <a:pt x="12" y="63"/>
                    <a:pt x="11" y="60"/>
                  </a:cubicBezTo>
                  <a:cubicBezTo>
                    <a:pt x="10" y="58"/>
                    <a:pt x="5" y="57"/>
                    <a:pt x="5" y="54"/>
                  </a:cubicBezTo>
                  <a:cubicBezTo>
                    <a:pt x="4" y="51"/>
                    <a:pt x="8" y="48"/>
                    <a:pt x="8" y="46"/>
                  </a:cubicBezTo>
                  <a:cubicBezTo>
                    <a:pt x="8" y="43"/>
                    <a:pt x="4" y="40"/>
                    <a:pt x="5" y="37"/>
                  </a:cubicBezTo>
                  <a:cubicBezTo>
                    <a:pt x="5" y="34"/>
                    <a:pt x="10" y="33"/>
                    <a:pt x="11" y="31"/>
                  </a:cubicBezTo>
                  <a:cubicBezTo>
                    <a:pt x="12" y="28"/>
                    <a:pt x="9" y="24"/>
                    <a:pt x="11" y="22"/>
                  </a:cubicBezTo>
                  <a:cubicBezTo>
                    <a:pt x="13" y="19"/>
                    <a:pt x="17" y="20"/>
                    <a:pt x="19" y="18"/>
                  </a:cubicBezTo>
                  <a:cubicBezTo>
                    <a:pt x="21" y="16"/>
                    <a:pt x="20" y="11"/>
                    <a:pt x="23" y="10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8" y="10"/>
                    <a:pt x="30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4" y="9"/>
                    <a:pt x="35" y="4"/>
                    <a:pt x="38" y="3"/>
                  </a:cubicBezTo>
                  <a:cubicBezTo>
                    <a:pt x="38" y="3"/>
                    <a:pt x="39" y="3"/>
                    <a:pt x="39" y="3"/>
                  </a:cubicBezTo>
                  <a:cubicBezTo>
                    <a:pt x="41" y="3"/>
                    <a:pt x="44" y="7"/>
                    <a:pt x="46" y="7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9" y="7"/>
                    <a:pt x="52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4"/>
                    <a:pt x="59" y="9"/>
                    <a:pt x="61" y="10"/>
                  </a:cubicBezTo>
                  <a:cubicBezTo>
                    <a:pt x="62" y="10"/>
                    <a:pt x="62" y="10"/>
                    <a:pt x="63" y="10"/>
                  </a:cubicBezTo>
                  <a:cubicBezTo>
                    <a:pt x="65" y="10"/>
                    <a:pt x="67" y="9"/>
                    <a:pt x="69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3" y="11"/>
                    <a:pt x="72" y="16"/>
                    <a:pt x="74" y="18"/>
                  </a:cubicBezTo>
                  <a:cubicBezTo>
                    <a:pt x="76" y="20"/>
                    <a:pt x="81" y="19"/>
                    <a:pt x="82" y="22"/>
                  </a:cubicBezTo>
                  <a:cubicBezTo>
                    <a:pt x="84" y="24"/>
                    <a:pt x="81" y="28"/>
                    <a:pt x="82" y="31"/>
                  </a:cubicBezTo>
                  <a:cubicBezTo>
                    <a:pt x="83" y="33"/>
                    <a:pt x="88" y="34"/>
                    <a:pt x="89" y="37"/>
                  </a:cubicBezTo>
                  <a:cubicBezTo>
                    <a:pt x="89" y="40"/>
                    <a:pt x="85" y="43"/>
                    <a:pt x="85" y="46"/>
                  </a:cubicBezTo>
                  <a:cubicBezTo>
                    <a:pt x="85" y="48"/>
                    <a:pt x="89" y="51"/>
                    <a:pt x="89" y="5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45" name="Freeform 265"/>
            <p:cNvSpPr>
              <a:spLocks noEditPoints="1"/>
            </p:cNvSpPr>
            <p:nvPr/>
          </p:nvSpPr>
          <p:spPr bwMode="auto">
            <a:xfrm>
              <a:off x="237" y="2580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46" name="Freeform 266"/>
            <p:cNvSpPr>
              <a:spLocks noEditPoints="1"/>
            </p:cNvSpPr>
            <p:nvPr/>
          </p:nvSpPr>
          <p:spPr bwMode="auto">
            <a:xfrm>
              <a:off x="402" y="2716"/>
              <a:ext cx="151" cy="151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32"/>
                </a:cxn>
                <a:cxn ang="0">
                  <a:pos x="32" y="63"/>
                </a:cxn>
                <a:cxn ang="0">
                  <a:pos x="63" y="32"/>
                </a:cxn>
                <a:cxn ang="0">
                  <a:pos x="32" y="0"/>
                </a:cxn>
                <a:cxn ang="0">
                  <a:pos x="32" y="59"/>
                </a:cxn>
                <a:cxn ang="0">
                  <a:pos x="4" y="32"/>
                </a:cxn>
                <a:cxn ang="0">
                  <a:pos x="32" y="4"/>
                </a:cxn>
                <a:cxn ang="0">
                  <a:pos x="59" y="32"/>
                </a:cxn>
                <a:cxn ang="0">
                  <a:pos x="32" y="59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3"/>
                    <a:pt x="32" y="63"/>
                  </a:cubicBezTo>
                  <a:cubicBezTo>
                    <a:pt x="49" y="63"/>
                    <a:pt x="63" y="49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lose/>
                  <a:moveTo>
                    <a:pt x="32" y="59"/>
                  </a:moveTo>
                  <a:cubicBezTo>
                    <a:pt x="16" y="59"/>
                    <a:pt x="4" y="47"/>
                    <a:pt x="4" y="32"/>
                  </a:cubicBezTo>
                  <a:cubicBezTo>
                    <a:pt x="4" y="16"/>
                    <a:pt x="16" y="4"/>
                    <a:pt x="32" y="4"/>
                  </a:cubicBezTo>
                  <a:cubicBezTo>
                    <a:pt x="47" y="4"/>
                    <a:pt x="59" y="16"/>
                    <a:pt x="59" y="32"/>
                  </a:cubicBezTo>
                  <a:cubicBezTo>
                    <a:pt x="59" y="47"/>
                    <a:pt x="47" y="59"/>
                    <a:pt x="32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49" name="Group 269"/>
          <p:cNvGrpSpPr>
            <a:grpSpLocks noChangeAspect="1"/>
          </p:cNvGrpSpPr>
          <p:nvPr/>
        </p:nvGrpSpPr>
        <p:grpSpPr bwMode="auto">
          <a:xfrm>
            <a:off x="1465264" y="4094166"/>
            <a:ext cx="768350" cy="768350"/>
            <a:chOff x="919" y="2579"/>
            <a:chExt cx="484" cy="484"/>
          </a:xfrm>
        </p:grpSpPr>
        <p:sp>
          <p:nvSpPr>
            <p:cNvPr id="46350" name="Freeform 270"/>
            <p:cNvSpPr>
              <a:spLocks noEditPoints="1"/>
            </p:cNvSpPr>
            <p:nvPr/>
          </p:nvSpPr>
          <p:spPr bwMode="auto">
            <a:xfrm>
              <a:off x="1049" y="2682"/>
              <a:ext cx="223" cy="288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79" y="16"/>
                </a:cxn>
                <a:cxn ang="0">
                  <a:pos x="76" y="13"/>
                </a:cxn>
                <a:cxn ang="0">
                  <a:pos x="63" y="7"/>
                </a:cxn>
                <a:cxn ang="0">
                  <a:pos x="61" y="5"/>
                </a:cxn>
                <a:cxn ang="0">
                  <a:pos x="47" y="3"/>
                </a:cxn>
                <a:cxn ang="0">
                  <a:pos x="39" y="0"/>
                </a:cxn>
                <a:cxn ang="0">
                  <a:pos x="30" y="6"/>
                </a:cxn>
                <a:cxn ang="0">
                  <a:pos x="25" y="6"/>
                </a:cxn>
                <a:cxn ang="0">
                  <a:pos x="17" y="16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7" y="64"/>
                </a:cxn>
                <a:cxn ang="0">
                  <a:pos x="17" y="75"/>
                </a:cxn>
                <a:cxn ang="0">
                  <a:pos x="22" y="85"/>
                </a:cxn>
                <a:cxn ang="0">
                  <a:pos x="27" y="111"/>
                </a:cxn>
                <a:cxn ang="0">
                  <a:pos x="45" y="92"/>
                </a:cxn>
                <a:cxn ang="0">
                  <a:pos x="47" y="88"/>
                </a:cxn>
                <a:cxn ang="0">
                  <a:pos x="56" y="120"/>
                </a:cxn>
                <a:cxn ang="0">
                  <a:pos x="79" y="115"/>
                </a:cxn>
                <a:cxn ang="0">
                  <a:pos x="76" y="78"/>
                </a:cxn>
                <a:cxn ang="0">
                  <a:pos x="79" y="75"/>
                </a:cxn>
                <a:cxn ang="0">
                  <a:pos x="86" y="62"/>
                </a:cxn>
                <a:cxn ang="0">
                  <a:pos x="90" y="47"/>
                </a:cxn>
                <a:cxn ang="0">
                  <a:pos x="90" y="44"/>
                </a:cxn>
                <a:cxn ang="0">
                  <a:pos x="19" y="110"/>
                </a:cxn>
                <a:cxn ang="0">
                  <a:pos x="31" y="85"/>
                </a:cxn>
                <a:cxn ang="0">
                  <a:pos x="41" y="91"/>
                </a:cxn>
                <a:cxn ang="0">
                  <a:pos x="52" y="91"/>
                </a:cxn>
                <a:cxn ang="0">
                  <a:pos x="63" y="85"/>
                </a:cxn>
                <a:cxn ang="0">
                  <a:pos x="67" y="85"/>
                </a:cxn>
                <a:cxn ang="0">
                  <a:pos x="89" y="54"/>
                </a:cxn>
                <a:cxn ang="0">
                  <a:pos x="70" y="81"/>
                </a:cxn>
                <a:cxn ang="0">
                  <a:pos x="67" y="82"/>
                </a:cxn>
                <a:cxn ang="0">
                  <a:pos x="55" y="87"/>
                </a:cxn>
                <a:cxn ang="0">
                  <a:pos x="53" y="87"/>
                </a:cxn>
                <a:cxn ang="0">
                  <a:pos x="41" y="87"/>
                </a:cxn>
                <a:cxn ang="0">
                  <a:pos x="38" y="87"/>
                </a:cxn>
                <a:cxn ang="0">
                  <a:pos x="29" y="81"/>
                </a:cxn>
                <a:cxn ang="0">
                  <a:pos x="24" y="82"/>
                </a:cxn>
                <a:cxn ang="0">
                  <a:pos x="11" y="60"/>
                </a:cxn>
                <a:cxn ang="0">
                  <a:pos x="11" y="31"/>
                </a:cxn>
                <a:cxn ang="0">
                  <a:pos x="25" y="9"/>
                </a:cxn>
                <a:cxn ang="0">
                  <a:pos x="39" y="3"/>
                </a:cxn>
                <a:cxn ang="0">
                  <a:pos x="54" y="3"/>
                </a:cxn>
                <a:cxn ang="0">
                  <a:pos x="68" y="9"/>
                </a:cxn>
                <a:cxn ang="0">
                  <a:pos x="82" y="31"/>
                </a:cxn>
              </a:cxnLst>
              <a:rect l="0" t="0" r="r" b="b"/>
              <a:pathLst>
                <a:path w="93" h="120">
                  <a:moveTo>
                    <a:pt x="92" y="36"/>
                  </a:moveTo>
                  <a:cubicBezTo>
                    <a:pt x="92" y="33"/>
                    <a:pt x="89" y="32"/>
                    <a:pt x="87" y="31"/>
                  </a:cubicBezTo>
                  <a:cubicBezTo>
                    <a:pt x="87" y="30"/>
                    <a:pt x="86" y="30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6" y="28"/>
                    <a:pt x="86" y="27"/>
                  </a:cubicBezTo>
                  <a:cubicBezTo>
                    <a:pt x="86" y="25"/>
                    <a:pt x="87" y="22"/>
                    <a:pt x="85" y="20"/>
                  </a:cubicBezTo>
                  <a:cubicBezTo>
                    <a:pt x="84" y="17"/>
                    <a:pt x="81" y="17"/>
                    <a:pt x="79" y="16"/>
                  </a:cubicBezTo>
                  <a:cubicBezTo>
                    <a:pt x="78" y="16"/>
                    <a:pt x="77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6" y="13"/>
                  </a:cubicBezTo>
                  <a:cubicBezTo>
                    <a:pt x="75" y="11"/>
                    <a:pt x="75" y="9"/>
                    <a:pt x="72" y="7"/>
                  </a:cubicBezTo>
                  <a:cubicBezTo>
                    <a:pt x="71" y="6"/>
                    <a:pt x="70" y="6"/>
                    <a:pt x="68" y="6"/>
                  </a:cubicBezTo>
                  <a:cubicBezTo>
                    <a:pt x="67" y="6"/>
                    <a:pt x="66" y="6"/>
                    <a:pt x="65" y="6"/>
                  </a:cubicBezTo>
                  <a:cubicBezTo>
                    <a:pt x="64" y="6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2" y="5"/>
                    <a:pt x="61" y="5"/>
                  </a:cubicBezTo>
                  <a:cubicBezTo>
                    <a:pt x="60" y="3"/>
                    <a:pt x="59" y="0"/>
                    <a:pt x="56" y="0"/>
                  </a:cubicBezTo>
                  <a:cubicBezTo>
                    <a:pt x="55" y="0"/>
                    <a:pt x="55" y="0"/>
                    <a:pt x="54" y="0"/>
                  </a:cubicBezTo>
                  <a:cubicBezTo>
                    <a:pt x="52" y="0"/>
                    <a:pt x="50" y="1"/>
                    <a:pt x="48" y="2"/>
                  </a:cubicBezTo>
                  <a:cubicBezTo>
                    <a:pt x="48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5" y="3"/>
                    <a:pt x="45" y="2"/>
                  </a:cubicBezTo>
                  <a:cubicBezTo>
                    <a:pt x="43" y="1"/>
                    <a:pt x="41" y="0"/>
                    <a:pt x="39" y="0"/>
                  </a:cubicBezTo>
                  <a:cubicBezTo>
                    <a:pt x="38" y="0"/>
                    <a:pt x="38" y="0"/>
                    <a:pt x="37" y="0"/>
                  </a:cubicBezTo>
                  <a:cubicBezTo>
                    <a:pt x="34" y="0"/>
                    <a:pt x="33" y="3"/>
                    <a:pt x="32" y="5"/>
                  </a:cubicBezTo>
                  <a:cubicBezTo>
                    <a:pt x="31" y="5"/>
                    <a:pt x="31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29" y="6"/>
                    <a:pt x="28" y="6"/>
                  </a:cubicBezTo>
                  <a:cubicBezTo>
                    <a:pt x="27" y="6"/>
                    <a:pt x="26" y="6"/>
                    <a:pt x="25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8" y="9"/>
                    <a:pt x="18" y="11"/>
                    <a:pt x="17" y="13"/>
                  </a:cubicBezTo>
                  <a:cubicBezTo>
                    <a:pt x="17" y="14"/>
                    <a:pt x="17" y="15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5" y="16"/>
                    <a:pt x="14" y="16"/>
                  </a:cubicBezTo>
                  <a:cubicBezTo>
                    <a:pt x="12" y="17"/>
                    <a:pt x="10" y="17"/>
                    <a:pt x="8" y="20"/>
                  </a:cubicBezTo>
                  <a:cubicBezTo>
                    <a:pt x="6" y="22"/>
                    <a:pt x="7" y="25"/>
                    <a:pt x="7" y="27"/>
                  </a:cubicBezTo>
                  <a:cubicBezTo>
                    <a:pt x="7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6" y="30"/>
                    <a:pt x="6" y="31"/>
                  </a:cubicBezTo>
                  <a:cubicBezTo>
                    <a:pt x="4" y="32"/>
                    <a:pt x="1" y="33"/>
                    <a:pt x="1" y="36"/>
                  </a:cubicBezTo>
                  <a:cubicBezTo>
                    <a:pt x="0" y="39"/>
                    <a:pt x="2" y="42"/>
                    <a:pt x="3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6"/>
                    <a:pt x="4" y="47"/>
                    <a:pt x="3" y="47"/>
                  </a:cubicBezTo>
                  <a:cubicBezTo>
                    <a:pt x="2" y="49"/>
                    <a:pt x="0" y="52"/>
                    <a:pt x="1" y="55"/>
                  </a:cubicBezTo>
                  <a:cubicBezTo>
                    <a:pt x="1" y="58"/>
                    <a:pt x="4" y="59"/>
                    <a:pt x="6" y="60"/>
                  </a:cubicBezTo>
                  <a:cubicBezTo>
                    <a:pt x="6" y="61"/>
                    <a:pt x="7" y="61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7" y="63"/>
                    <a:pt x="7" y="64"/>
                  </a:cubicBezTo>
                  <a:cubicBezTo>
                    <a:pt x="7" y="66"/>
                    <a:pt x="6" y="69"/>
                    <a:pt x="8" y="71"/>
                  </a:cubicBezTo>
                  <a:cubicBezTo>
                    <a:pt x="10" y="74"/>
                    <a:pt x="12" y="74"/>
                    <a:pt x="14" y="75"/>
                  </a:cubicBezTo>
                  <a:cubicBezTo>
                    <a:pt x="15" y="75"/>
                    <a:pt x="16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6"/>
                    <a:pt x="17" y="77"/>
                    <a:pt x="17" y="78"/>
                  </a:cubicBezTo>
                  <a:cubicBezTo>
                    <a:pt x="18" y="80"/>
                    <a:pt x="18" y="83"/>
                    <a:pt x="21" y="84"/>
                  </a:cubicBezTo>
                  <a:cubicBezTo>
                    <a:pt x="21" y="85"/>
                    <a:pt x="22" y="85"/>
                    <a:pt x="22" y="85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7" y="109"/>
                    <a:pt x="77" y="109"/>
                    <a:pt x="77" y="109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5"/>
                    <a:pt x="72" y="85"/>
                    <a:pt x="72" y="84"/>
                  </a:cubicBezTo>
                  <a:cubicBezTo>
                    <a:pt x="75" y="83"/>
                    <a:pt x="75" y="80"/>
                    <a:pt x="76" y="78"/>
                  </a:cubicBezTo>
                  <a:cubicBezTo>
                    <a:pt x="76" y="77"/>
                    <a:pt x="76" y="76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5"/>
                    <a:pt x="78" y="75"/>
                    <a:pt x="79" y="75"/>
                  </a:cubicBezTo>
                  <a:cubicBezTo>
                    <a:pt x="81" y="74"/>
                    <a:pt x="84" y="74"/>
                    <a:pt x="85" y="71"/>
                  </a:cubicBezTo>
                  <a:cubicBezTo>
                    <a:pt x="87" y="69"/>
                    <a:pt x="86" y="66"/>
                    <a:pt x="86" y="64"/>
                  </a:cubicBezTo>
                  <a:cubicBezTo>
                    <a:pt x="86" y="63"/>
                    <a:pt x="85" y="62"/>
                    <a:pt x="85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1"/>
                    <a:pt x="87" y="61"/>
                    <a:pt x="87" y="60"/>
                  </a:cubicBezTo>
                  <a:cubicBezTo>
                    <a:pt x="89" y="59"/>
                    <a:pt x="92" y="58"/>
                    <a:pt x="92" y="55"/>
                  </a:cubicBezTo>
                  <a:cubicBezTo>
                    <a:pt x="93" y="52"/>
                    <a:pt x="91" y="49"/>
                    <a:pt x="90" y="47"/>
                  </a:cubicBezTo>
                  <a:cubicBezTo>
                    <a:pt x="89" y="47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9" y="44"/>
                    <a:pt x="90" y="44"/>
                  </a:cubicBezTo>
                  <a:cubicBezTo>
                    <a:pt x="91" y="42"/>
                    <a:pt x="93" y="39"/>
                    <a:pt x="92" y="36"/>
                  </a:cubicBezTo>
                  <a:close/>
                  <a:moveTo>
                    <a:pt x="35" y="113"/>
                  </a:moveTo>
                  <a:cubicBezTo>
                    <a:pt x="28" y="107"/>
                    <a:pt x="28" y="107"/>
                    <a:pt x="28" y="107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7" y="85"/>
                    <a:pt x="27" y="85"/>
                    <a:pt x="28" y="85"/>
                  </a:cubicBezTo>
                  <a:cubicBezTo>
                    <a:pt x="28" y="85"/>
                    <a:pt x="29" y="85"/>
                    <a:pt x="29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2" y="87"/>
                    <a:pt x="33" y="88"/>
                    <a:pt x="34" y="89"/>
                  </a:cubicBezTo>
                  <a:cubicBezTo>
                    <a:pt x="35" y="90"/>
                    <a:pt x="36" y="91"/>
                    <a:pt x="37" y="91"/>
                  </a:cubicBezTo>
                  <a:cubicBezTo>
                    <a:pt x="38" y="91"/>
                    <a:pt x="38" y="91"/>
                    <a:pt x="39" y="91"/>
                  </a:cubicBezTo>
                  <a:cubicBezTo>
                    <a:pt x="40" y="91"/>
                    <a:pt x="40" y="91"/>
                    <a:pt x="41" y="91"/>
                  </a:cubicBezTo>
                  <a:lnTo>
                    <a:pt x="35" y="113"/>
                  </a:lnTo>
                  <a:close/>
                  <a:moveTo>
                    <a:pt x="65" y="107"/>
                  </a:moveTo>
                  <a:cubicBezTo>
                    <a:pt x="58" y="114"/>
                    <a:pt x="58" y="114"/>
                    <a:pt x="58" y="114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3" y="91"/>
                    <a:pt x="53" y="91"/>
                    <a:pt x="54" y="91"/>
                  </a:cubicBezTo>
                  <a:cubicBezTo>
                    <a:pt x="55" y="91"/>
                    <a:pt x="55" y="91"/>
                    <a:pt x="56" y="91"/>
                  </a:cubicBezTo>
                  <a:cubicBezTo>
                    <a:pt x="57" y="91"/>
                    <a:pt x="57" y="91"/>
                    <a:pt x="58" y="90"/>
                  </a:cubicBezTo>
                  <a:cubicBezTo>
                    <a:pt x="60" y="89"/>
                    <a:pt x="61" y="87"/>
                    <a:pt x="63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5"/>
                    <a:pt x="65" y="85"/>
                    <a:pt x="66" y="85"/>
                  </a:cubicBezTo>
                  <a:cubicBezTo>
                    <a:pt x="66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74" y="110"/>
                    <a:pt x="74" y="110"/>
                    <a:pt x="74" y="110"/>
                  </a:cubicBezTo>
                  <a:lnTo>
                    <a:pt x="65" y="107"/>
                  </a:lnTo>
                  <a:close/>
                  <a:moveTo>
                    <a:pt x="89" y="54"/>
                  </a:moveTo>
                  <a:cubicBezTo>
                    <a:pt x="88" y="57"/>
                    <a:pt x="83" y="58"/>
                    <a:pt x="82" y="60"/>
                  </a:cubicBezTo>
                  <a:cubicBezTo>
                    <a:pt x="81" y="63"/>
                    <a:pt x="84" y="67"/>
                    <a:pt x="82" y="69"/>
                  </a:cubicBezTo>
                  <a:cubicBezTo>
                    <a:pt x="81" y="72"/>
                    <a:pt x="76" y="71"/>
                    <a:pt x="74" y="73"/>
                  </a:cubicBezTo>
                  <a:cubicBezTo>
                    <a:pt x="72" y="75"/>
                    <a:pt x="73" y="80"/>
                    <a:pt x="70" y="81"/>
                  </a:cubicBezTo>
                  <a:cubicBezTo>
                    <a:pt x="70" y="82"/>
                    <a:pt x="69" y="82"/>
                    <a:pt x="69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66" y="81"/>
                    <a:pt x="64" y="81"/>
                    <a:pt x="63" y="81"/>
                  </a:cubicBezTo>
                  <a:cubicBezTo>
                    <a:pt x="62" y="81"/>
                    <a:pt x="62" y="81"/>
                    <a:pt x="61" y="81"/>
                  </a:cubicBezTo>
                  <a:cubicBezTo>
                    <a:pt x="59" y="82"/>
                    <a:pt x="58" y="85"/>
                    <a:pt x="56" y="87"/>
                  </a:cubicBezTo>
                  <a:cubicBezTo>
                    <a:pt x="56" y="87"/>
                    <a:pt x="55" y="87"/>
                    <a:pt x="55" y="87"/>
                  </a:cubicBezTo>
                  <a:cubicBezTo>
                    <a:pt x="55" y="87"/>
                    <a:pt x="54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1" y="86"/>
                    <a:pt x="49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5" y="84"/>
                    <a:pt x="43" y="86"/>
                    <a:pt x="41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8" y="87"/>
                    <a:pt x="38" y="87"/>
                  </a:cubicBezTo>
                  <a:cubicBezTo>
                    <a:pt x="37" y="87"/>
                    <a:pt x="37" y="87"/>
                    <a:pt x="36" y="87"/>
                  </a:cubicBezTo>
                  <a:cubicBezTo>
                    <a:pt x="35" y="85"/>
                    <a:pt x="34" y="82"/>
                    <a:pt x="32" y="81"/>
                  </a:cubicBezTo>
                  <a:cubicBezTo>
                    <a:pt x="31" y="81"/>
                    <a:pt x="31" y="81"/>
                    <a:pt x="30" y="81"/>
                  </a:cubicBezTo>
                  <a:cubicBezTo>
                    <a:pt x="30" y="81"/>
                    <a:pt x="29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1"/>
                    <a:pt x="23" y="81"/>
                  </a:cubicBezTo>
                  <a:cubicBezTo>
                    <a:pt x="20" y="80"/>
                    <a:pt x="21" y="75"/>
                    <a:pt x="19" y="73"/>
                  </a:cubicBezTo>
                  <a:cubicBezTo>
                    <a:pt x="17" y="71"/>
                    <a:pt x="12" y="72"/>
                    <a:pt x="11" y="69"/>
                  </a:cubicBezTo>
                  <a:cubicBezTo>
                    <a:pt x="9" y="67"/>
                    <a:pt x="12" y="63"/>
                    <a:pt x="11" y="60"/>
                  </a:cubicBezTo>
                  <a:cubicBezTo>
                    <a:pt x="10" y="58"/>
                    <a:pt x="5" y="57"/>
                    <a:pt x="4" y="54"/>
                  </a:cubicBezTo>
                  <a:cubicBezTo>
                    <a:pt x="4" y="51"/>
                    <a:pt x="8" y="48"/>
                    <a:pt x="8" y="46"/>
                  </a:cubicBezTo>
                  <a:cubicBezTo>
                    <a:pt x="8" y="43"/>
                    <a:pt x="4" y="40"/>
                    <a:pt x="4" y="37"/>
                  </a:cubicBezTo>
                  <a:cubicBezTo>
                    <a:pt x="5" y="34"/>
                    <a:pt x="10" y="33"/>
                    <a:pt x="11" y="31"/>
                  </a:cubicBezTo>
                  <a:cubicBezTo>
                    <a:pt x="12" y="28"/>
                    <a:pt x="9" y="24"/>
                    <a:pt x="11" y="22"/>
                  </a:cubicBezTo>
                  <a:cubicBezTo>
                    <a:pt x="12" y="19"/>
                    <a:pt x="17" y="20"/>
                    <a:pt x="19" y="18"/>
                  </a:cubicBezTo>
                  <a:cubicBezTo>
                    <a:pt x="21" y="16"/>
                    <a:pt x="20" y="11"/>
                    <a:pt x="23" y="10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8" y="10"/>
                    <a:pt x="30" y="10"/>
                  </a:cubicBezTo>
                  <a:cubicBezTo>
                    <a:pt x="31" y="10"/>
                    <a:pt x="31" y="10"/>
                    <a:pt x="32" y="10"/>
                  </a:cubicBezTo>
                  <a:cubicBezTo>
                    <a:pt x="34" y="9"/>
                    <a:pt x="35" y="4"/>
                    <a:pt x="38" y="3"/>
                  </a:cubicBezTo>
                  <a:cubicBezTo>
                    <a:pt x="38" y="3"/>
                    <a:pt x="38" y="3"/>
                    <a:pt x="39" y="3"/>
                  </a:cubicBezTo>
                  <a:cubicBezTo>
                    <a:pt x="41" y="3"/>
                    <a:pt x="44" y="7"/>
                    <a:pt x="46" y="7"/>
                  </a:cubicBezTo>
                  <a:cubicBezTo>
                    <a:pt x="46" y="7"/>
                    <a:pt x="46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9" y="7"/>
                    <a:pt x="52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4"/>
                    <a:pt x="59" y="9"/>
                    <a:pt x="61" y="10"/>
                  </a:cubicBezTo>
                  <a:cubicBezTo>
                    <a:pt x="62" y="10"/>
                    <a:pt x="62" y="10"/>
                    <a:pt x="63" y="10"/>
                  </a:cubicBezTo>
                  <a:cubicBezTo>
                    <a:pt x="65" y="10"/>
                    <a:pt x="67" y="9"/>
                    <a:pt x="68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3" y="11"/>
                    <a:pt x="72" y="16"/>
                    <a:pt x="74" y="18"/>
                  </a:cubicBezTo>
                  <a:cubicBezTo>
                    <a:pt x="76" y="20"/>
                    <a:pt x="81" y="19"/>
                    <a:pt x="82" y="22"/>
                  </a:cubicBezTo>
                  <a:cubicBezTo>
                    <a:pt x="84" y="24"/>
                    <a:pt x="81" y="28"/>
                    <a:pt x="82" y="31"/>
                  </a:cubicBezTo>
                  <a:cubicBezTo>
                    <a:pt x="83" y="33"/>
                    <a:pt x="88" y="34"/>
                    <a:pt x="89" y="37"/>
                  </a:cubicBezTo>
                  <a:cubicBezTo>
                    <a:pt x="89" y="40"/>
                    <a:pt x="85" y="43"/>
                    <a:pt x="85" y="46"/>
                  </a:cubicBezTo>
                  <a:cubicBezTo>
                    <a:pt x="85" y="48"/>
                    <a:pt x="89" y="51"/>
                    <a:pt x="89" y="5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51" name="Freeform 271"/>
            <p:cNvSpPr>
              <a:spLocks noEditPoints="1"/>
            </p:cNvSpPr>
            <p:nvPr/>
          </p:nvSpPr>
          <p:spPr bwMode="auto">
            <a:xfrm>
              <a:off x="919" y="257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52" name="Freeform 272"/>
            <p:cNvSpPr>
              <a:spLocks noEditPoints="1"/>
            </p:cNvSpPr>
            <p:nvPr/>
          </p:nvSpPr>
          <p:spPr bwMode="auto">
            <a:xfrm>
              <a:off x="1085" y="2716"/>
              <a:ext cx="151" cy="151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32"/>
                </a:cxn>
                <a:cxn ang="0">
                  <a:pos x="32" y="63"/>
                </a:cxn>
                <a:cxn ang="0">
                  <a:pos x="63" y="32"/>
                </a:cxn>
                <a:cxn ang="0">
                  <a:pos x="32" y="0"/>
                </a:cxn>
                <a:cxn ang="0">
                  <a:pos x="32" y="59"/>
                </a:cxn>
                <a:cxn ang="0">
                  <a:pos x="4" y="32"/>
                </a:cxn>
                <a:cxn ang="0">
                  <a:pos x="32" y="4"/>
                </a:cxn>
                <a:cxn ang="0">
                  <a:pos x="59" y="32"/>
                </a:cxn>
                <a:cxn ang="0">
                  <a:pos x="32" y="59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3"/>
                    <a:pt x="32" y="63"/>
                  </a:cubicBezTo>
                  <a:cubicBezTo>
                    <a:pt x="49" y="63"/>
                    <a:pt x="63" y="49"/>
                    <a:pt x="63" y="32"/>
                  </a:cubicBezTo>
                  <a:cubicBezTo>
                    <a:pt x="63" y="14"/>
                    <a:pt x="49" y="0"/>
                    <a:pt x="32" y="0"/>
                  </a:cubicBezTo>
                  <a:close/>
                  <a:moveTo>
                    <a:pt x="32" y="59"/>
                  </a:moveTo>
                  <a:cubicBezTo>
                    <a:pt x="16" y="59"/>
                    <a:pt x="4" y="47"/>
                    <a:pt x="4" y="32"/>
                  </a:cubicBezTo>
                  <a:cubicBezTo>
                    <a:pt x="4" y="16"/>
                    <a:pt x="16" y="4"/>
                    <a:pt x="32" y="4"/>
                  </a:cubicBezTo>
                  <a:cubicBezTo>
                    <a:pt x="47" y="4"/>
                    <a:pt x="59" y="16"/>
                    <a:pt x="59" y="32"/>
                  </a:cubicBezTo>
                  <a:cubicBezTo>
                    <a:pt x="59" y="47"/>
                    <a:pt x="47" y="59"/>
                    <a:pt x="32" y="5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55" name="Group 275"/>
          <p:cNvGrpSpPr>
            <a:grpSpLocks noChangeAspect="1"/>
          </p:cNvGrpSpPr>
          <p:nvPr/>
        </p:nvGrpSpPr>
        <p:grpSpPr bwMode="auto">
          <a:xfrm>
            <a:off x="2529681" y="4060825"/>
            <a:ext cx="838200" cy="836613"/>
            <a:chOff x="1587" y="2558"/>
            <a:chExt cx="528" cy="527"/>
          </a:xfrm>
        </p:grpSpPr>
        <p:sp>
          <p:nvSpPr>
            <p:cNvPr id="46356" name="Oval 276"/>
            <p:cNvSpPr>
              <a:spLocks noChangeArrowheads="1"/>
            </p:cNvSpPr>
            <p:nvPr/>
          </p:nvSpPr>
          <p:spPr bwMode="auto">
            <a:xfrm>
              <a:off x="1587" y="2558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57" name="Freeform 277"/>
            <p:cNvSpPr>
              <a:spLocks noEditPoints="1"/>
            </p:cNvSpPr>
            <p:nvPr/>
          </p:nvSpPr>
          <p:spPr bwMode="auto">
            <a:xfrm>
              <a:off x="1609" y="2580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58" name="Freeform 278"/>
            <p:cNvSpPr>
              <a:spLocks noEditPoints="1"/>
            </p:cNvSpPr>
            <p:nvPr/>
          </p:nvSpPr>
          <p:spPr bwMode="auto">
            <a:xfrm>
              <a:off x="1710" y="2699"/>
              <a:ext cx="122" cy="235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25" y="47"/>
                </a:cxn>
                <a:cxn ang="0">
                  <a:pos x="20" y="64"/>
                </a:cxn>
                <a:cxn ang="0">
                  <a:pos x="2" y="76"/>
                </a:cxn>
                <a:cxn ang="0">
                  <a:pos x="0" y="76"/>
                </a:cxn>
                <a:cxn ang="0">
                  <a:pos x="10" y="98"/>
                </a:cxn>
                <a:cxn ang="0">
                  <a:pos x="12" y="97"/>
                </a:cxn>
                <a:cxn ang="0">
                  <a:pos x="35" y="83"/>
                </a:cxn>
                <a:cxn ang="0">
                  <a:pos x="48" y="63"/>
                </a:cxn>
                <a:cxn ang="0">
                  <a:pos x="51" y="33"/>
                </a:cxn>
                <a:cxn ang="0">
                  <a:pos x="51" y="0"/>
                </a:cxn>
                <a:cxn ang="0">
                  <a:pos x="4" y="0"/>
                </a:cxn>
                <a:cxn ang="0">
                  <a:pos x="4" y="47"/>
                </a:cxn>
                <a:cxn ang="0">
                  <a:pos x="8" y="4"/>
                </a:cxn>
                <a:cxn ang="0">
                  <a:pos x="48" y="4"/>
                </a:cxn>
                <a:cxn ang="0">
                  <a:pos x="48" y="33"/>
                </a:cxn>
                <a:cxn ang="0">
                  <a:pos x="44" y="62"/>
                </a:cxn>
                <a:cxn ang="0">
                  <a:pos x="33" y="80"/>
                </a:cxn>
                <a:cxn ang="0">
                  <a:pos x="12" y="93"/>
                </a:cxn>
                <a:cxn ang="0">
                  <a:pos x="5" y="78"/>
                </a:cxn>
                <a:cxn ang="0">
                  <a:pos x="23" y="66"/>
                </a:cxn>
                <a:cxn ang="0">
                  <a:pos x="29" y="45"/>
                </a:cxn>
                <a:cxn ang="0">
                  <a:pos x="29" y="43"/>
                </a:cxn>
                <a:cxn ang="0">
                  <a:pos x="8" y="43"/>
                </a:cxn>
                <a:cxn ang="0">
                  <a:pos x="8" y="4"/>
                </a:cxn>
              </a:cxnLst>
              <a:rect l="0" t="0" r="r" b="b"/>
              <a:pathLst>
                <a:path w="51" h="98">
                  <a:moveTo>
                    <a:pt x="4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5" y="54"/>
                    <a:pt x="23" y="60"/>
                    <a:pt x="20" y="64"/>
                  </a:cubicBezTo>
                  <a:cubicBezTo>
                    <a:pt x="16" y="69"/>
                    <a:pt x="10" y="73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1" y="94"/>
                    <a:pt x="29" y="89"/>
                    <a:pt x="35" y="83"/>
                  </a:cubicBezTo>
                  <a:cubicBezTo>
                    <a:pt x="41" y="77"/>
                    <a:pt x="46" y="70"/>
                    <a:pt x="48" y="63"/>
                  </a:cubicBezTo>
                  <a:cubicBezTo>
                    <a:pt x="50" y="55"/>
                    <a:pt x="51" y="45"/>
                    <a:pt x="51" y="3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4" y="47"/>
                  </a:lnTo>
                  <a:close/>
                  <a:moveTo>
                    <a:pt x="8" y="4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45"/>
                    <a:pt x="47" y="55"/>
                    <a:pt x="44" y="62"/>
                  </a:cubicBezTo>
                  <a:cubicBezTo>
                    <a:pt x="42" y="69"/>
                    <a:pt x="38" y="75"/>
                    <a:pt x="33" y="80"/>
                  </a:cubicBezTo>
                  <a:cubicBezTo>
                    <a:pt x="27" y="86"/>
                    <a:pt x="20" y="90"/>
                    <a:pt x="12" y="93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13" y="75"/>
                    <a:pt x="19" y="71"/>
                    <a:pt x="23" y="66"/>
                  </a:cubicBezTo>
                  <a:cubicBezTo>
                    <a:pt x="27" y="61"/>
                    <a:pt x="29" y="54"/>
                    <a:pt x="29" y="45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59" name="Freeform 279"/>
            <p:cNvSpPr>
              <a:spLocks noEditPoints="1"/>
            </p:cNvSpPr>
            <p:nvPr/>
          </p:nvSpPr>
          <p:spPr bwMode="auto">
            <a:xfrm>
              <a:off x="1865" y="2699"/>
              <a:ext cx="123" cy="235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25" y="47"/>
                </a:cxn>
                <a:cxn ang="0">
                  <a:pos x="19" y="64"/>
                </a:cxn>
                <a:cxn ang="0">
                  <a:pos x="2" y="76"/>
                </a:cxn>
                <a:cxn ang="0">
                  <a:pos x="0" y="76"/>
                </a:cxn>
                <a:cxn ang="0">
                  <a:pos x="10" y="98"/>
                </a:cxn>
                <a:cxn ang="0">
                  <a:pos x="11" y="97"/>
                </a:cxn>
                <a:cxn ang="0">
                  <a:pos x="35" y="83"/>
                </a:cxn>
                <a:cxn ang="0">
                  <a:pos x="47" y="63"/>
                </a:cxn>
                <a:cxn ang="0">
                  <a:pos x="51" y="33"/>
                </a:cxn>
                <a:cxn ang="0">
                  <a:pos x="51" y="0"/>
                </a:cxn>
                <a:cxn ang="0">
                  <a:pos x="4" y="0"/>
                </a:cxn>
                <a:cxn ang="0">
                  <a:pos x="4" y="47"/>
                </a:cxn>
                <a:cxn ang="0">
                  <a:pos x="8" y="4"/>
                </a:cxn>
                <a:cxn ang="0">
                  <a:pos x="47" y="4"/>
                </a:cxn>
                <a:cxn ang="0">
                  <a:pos x="47" y="33"/>
                </a:cxn>
                <a:cxn ang="0">
                  <a:pos x="44" y="62"/>
                </a:cxn>
                <a:cxn ang="0">
                  <a:pos x="32" y="80"/>
                </a:cxn>
                <a:cxn ang="0">
                  <a:pos x="12" y="93"/>
                </a:cxn>
                <a:cxn ang="0">
                  <a:pos x="5" y="78"/>
                </a:cxn>
                <a:cxn ang="0">
                  <a:pos x="22" y="66"/>
                </a:cxn>
                <a:cxn ang="0">
                  <a:pos x="28" y="45"/>
                </a:cxn>
                <a:cxn ang="0">
                  <a:pos x="28" y="43"/>
                </a:cxn>
                <a:cxn ang="0">
                  <a:pos x="8" y="43"/>
                </a:cxn>
                <a:cxn ang="0">
                  <a:pos x="8" y="4"/>
                </a:cxn>
              </a:cxnLst>
              <a:rect l="0" t="0" r="r" b="b"/>
              <a:pathLst>
                <a:path w="51" h="98">
                  <a:moveTo>
                    <a:pt x="4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4" y="54"/>
                    <a:pt x="22" y="60"/>
                    <a:pt x="19" y="64"/>
                  </a:cubicBezTo>
                  <a:cubicBezTo>
                    <a:pt x="16" y="69"/>
                    <a:pt x="10" y="73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21" y="94"/>
                    <a:pt x="28" y="89"/>
                    <a:pt x="35" y="83"/>
                  </a:cubicBezTo>
                  <a:cubicBezTo>
                    <a:pt x="41" y="77"/>
                    <a:pt x="45" y="70"/>
                    <a:pt x="47" y="63"/>
                  </a:cubicBezTo>
                  <a:cubicBezTo>
                    <a:pt x="50" y="56"/>
                    <a:pt x="51" y="45"/>
                    <a:pt x="51" y="3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4" y="47"/>
                  </a:lnTo>
                  <a:close/>
                  <a:moveTo>
                    <a:pt x="8" y="4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45"/>
                    <a:pt x="46" y="55"/>
                    <a:pt x="44" y="62"/>
                  </a:cubicBezTo>
                  <a:cubicBezTo>
                    <a:pt x="42" y="69"/>
                    <a:pt x="38" y="75"/>
                    <a:pt x="32" y="80"/>
                  </a:cubicBezTo>
                  <a:cubicBezTo>
                    <a:pt x="27" y="86"/>
                    <a:pt x="20" y="90"/>
                    <a:pt x="12" y="93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13" y="75"/>
                    <a:pt x="18" y="71"/>
                    <a:pt x="22" y="66"/>
                  </a:cubicBezTo>
                  <a:cubicBezTo>
                    <a:pt x="26" y="61"/>
                    <a:pt x="28" y="54"/>
                    <a:pt x="28" y="45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62" name="Group 282"/>
          <p:cNvGrpSpPr>
            <a:grpSpLocks noChangeAspect="1"/>
          </p:cNvGrpSpPr>
          <p:nvPr/>
        </p:nvGrpSpPr>
        <p:grpSpPr bwMode="auto">
          <a:xfrm>
            <a:off x="3666329" y="4094166"/>
            <a:ext cx="768350" cy="768350"/>
            <a:chOff x="2298" y="2579"/>
            <a:chExt cx="484" cy="484"/>
          </a:xfrm>
        </p:grpSpPr>
        <p:sp>
          <p:nvSpPr>
            <p:cNvPr id="46363" name="Freeform 283"/>
            <p:cNvSpPr>
              <a:spLocks noEditPoints="1"/>
            </p:cNvSpPr>
            <p:nvPr/>
          </p:nvSpPr>
          <p:spPr bwMode="auto">
            <a:xfrm>
              <a:off x="2298" y="257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64" name="Freeform 284"/>
            <p:cNvSpPr>
              <a:spLocks noEditPoints="1"/>
            </p:cNvSpPr>
            <p:nvPr/>
          </p:nvSpPr>
          <p:spPr bwMode="auto">
            <a:xfrm>
              <a:off x="2399" y="2699"/>
              <a:ext cx="122" cy="235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25" y="47"/>
                </a:cxn>
                <a:cxn ang="0">
                  <a:pos x="20" y="64"/>
                </a:cxn>
                <a:cxn ang="0">
                  <a:pos x="2" y="76"/>
                </a:cxn>
                <a:cxn ang="0">
                  <a:pos x="0" y="76"/>
                </a:cxn>
                <a:cxn ang="0">
                  <a:pos x="10" y="98"/>
                </a:cxn>
                <a:cxn ang="0">
                  <a:pos x="12" y="97"/>
                </a:cxn>
                <a:cxn ang="0">
                  <a:pos x="35" y="83"/>
                </a:cxn>
                <a:cxn ang="0">
                  <a:pos x="48" y="63"/>
                </a:cxn>
                <a:cxn ang="0">
                  <a:pos x="51" y="33"/>
                </a:cxn>
                <a:cxn ang="0">
                  <a:pos x="51" y="0"/>
                </a:cxn>
                <a:cxn ang="0">
                  <a:pos x="4" y="0"/>
                </a:cxn>
                <a:cxn ang="0">
                  <a:pos x="4" y="47"/>
                </a:cxn>
                <a:cxn ang="0">
                  <a:pos x="8" y="4"/>
                </a:cxn>
                <a:cxn ang="0">
                  <a:pos x="48" y="4"/>
                </a:cxn>
                <a:cxn ang="0">
                  <a:pos x="48" y="33"/>
                </a:cxn>
                <a:cxn ang="0">
                  <a:pos x="44" y="62"/>
                </a:cxn>
                <a:cxn ang="0">
                  <a:pos x="33" y="80"/>
                </a:cxn>
                <a:cxn ang="0">
                  <a:pos x="12" y="93"/>
                </a:cxn>
                <a:cxn ang="0">
                  <a:pos x="5" y="78"/>
                </a:cxn>
                <a:cxn ang="0">
                  <a:pos x="23" y="66"/>
                </a:cxn>
                <a:cxn ang="0">
                  <a:pos x="29" y="45"/>
                </a:cxn>
                <a:cxn ang="0">
                  <a:pos x="29" y="43"/>
                </a:cxn>
                <a:cxn ang="0">
                  <a:pos x="8" y="43"/>
                </a:cxn>
                <a:cxn ang="0">
                  <a:pos x="8" y="4"/>
                </a:cxn>
              </a:cxnLst>
              <a:rect l="0" t="0" r="r" b="b"/>
              <a:pathLst>
                <a:path w="51" h="98">
                  <a:moveTo>
                    <a:pt x="4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5" y="54"/>
                    <a:pt x="23" y="60"/>
                    <a:pt x="20" y="64"/>
                  </a:cubicBezTo>
                  <a:cubicBezTo>
                    <a:pt x="16" y="69"/>
                    <a:pt x="10" y="73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1" y="94"/>
                    <a:pt x="29" y="89"/>
                    <a:pt x="35" y="83"/>
                  </a:cubicBezTo>
                  <a:cubicBezTo>
                    <a:pt x="41" y="77"/>
                    <a:pt x="46" y="70"/>
                    <a:pt x="48" y="63"/>
                  </a:cubicBezTo>
                  <a:cubicBezTo>
                    <a:pt x="50" y="55"/>
                    <a:pt x="51" y="45"/>
                    <a:pt x="51" y="3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4" y="47"/>
                  </a:lnTo>
                  <a:close/>
                  <a:moveTo>
                    <a:pt x="8" y="4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45"/>
                    <a:pt x="47" y="55"/>
                    <a:pt x="44" y="62"/>
                  </a:cubicBezTo>
                  <a:cubicBezTo>
                    <a:pt x="42" y="69"/>
                    <a:pt x="38" y="75"/>
                    <a:pt x="33" y="80"/>
                  </a:cubicBezTo>
                  <a:cubicBezTo>
                    <a:pt x="27" y="86"/>
                    <a:pt x="20" y="90"/>
                    <a:pt x="12" y="93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13" y="75"/>
                    <a:pt x="19" y="71"/>
                    <a:pt x="23" y="66"/>
                  </a:cubicBezTo>
                  <a:cubicBezTo>
                    <a:pt x="27" y="61"/>
                    <a:pt x="29" y="54"/>
                    <a:pt x="29" y="45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65" name="Freeform 285"/>
            <p:cNvSpPr>
              <a:spLocks noEditPoints="1"/>
            </p:cNvSpPr>
            <p:nvPr/>
          </p:nvSpPr>
          <p:spPr bwMode="auto">
            <a:xfrm>
              <a:off x="2555" y="2699"/>
              <a:ext cx="122" cy="235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25" y="47"/>
                </a:cxn>
                <a:cxn ang="0">
                  <a:pos x="19" y="64"/>
                </a:cxn>
                <a:cxn ang="0">
                  <a:pos x="2" y="76"/>
                </a:cxn>
                <a:cxn ang="0">
                  <a:pos x="0" y="76"/>
                </a:cxn>
                <a:cxn ang="0">
                  <a:pos x="10" y="98"/>
                </a:cxn>
                <a:cxn ang="0">
                  <a:pos x="11" y="97"/>
                </a:cxn>
                <a:cxn ang="0">
                  <a:pos x="35" y="83"/>
                </a:cxn>
                <a:cxn ang="0">
                  <a:pos x="47" y="63"/>
                </a:cxn>
                <a:cxn ang="0">
                  <a:pos x="51" y="33"/>
                </a:cxn>
                <a:cxn ang="0">
                  <a:pos x="51" y="0"/>
                </a:cxn>
                <a:cxn ang="0">
                  <a:pos x="4" y="0"/>
                </a:cxn>
                <a:cxn ang="0">
                  <a:pos x="4" y="47"/>
                </a:cxn>
                <a:cxn ang="0">
                  <a:pos x="8" y="4"/>
                </a:cxn>
                <a:cxn ang="0">
                  <a:pos x="47" y="4"/>
                </a:cxn>
                <a:cxn ang="0">
                  <a:pos x="47" y="33"/>
                </a:cxn>
                <a:cxn ang="0">
                  <a:pos x="44" y="62"/>
                </a:cxn>
                <a:cxn ang="0">
                  <a:pos x="32" y="80"/>
                </a:cxn>
                <a:cxn ang="0">
                  <a:pos x="12" y="93"/>
                </a:cxn>
                <a:cxn ang="0">
                  <a:pos x="5" y="78"/>
                </a:cxn>
                <a:cxn ang="0">
                  <a:pos x="22" y="66"/>
                </a:cxn>
                <a:cxn ang="0">
                  <a:pos x="28" y="45"/>
                </a:cxn>
                <a:cxn ang="0">
                  <a:pos x="28" y="43"/>
                </a:cxn>
                <a:cxn ang="0">
                  <a:pos x="8" y="43"/>
                </a:cxn>
                <a:cxn ang="0">
                  <a:pos x="8" y="4"/>
                </a:cxn>
              </a:cxnLst>
              <a:rect l="0" t="0" r="r" b="b"/>
              <a:pathLst>
                <a:path w="51" h="98">
                  <a:moveTo>
                    <a:pt x="4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4" y="54"/>
                    <a:pt x="22" y="60"/>
                    <a:pt x="19" y="64"/>
                  </a:cubicBezTo>
                  <a:cubicBezTo>
                    <a:pt x="16" y="69"/>
                    <a:pt x="10" y="73"/>
                    <a:pt x="2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21" y="94"/>
                    <a:pt x="28" y="89"/>
                    <a:pt x="35" y="83"/>
                  </a:cubicBezTo>
                  <a:cubicBezTo>
                    <a:pt x="41" y="77"/>
                    <a:pt x="45" y="70"/>
                    <a:pt x="47" y="63"/>
                  </a:cubicBezTo>
                  <a:cubicBezTo>
                    <a:pt x="50" y="56"/>
                    <a:pt x="51" y="45"/>
                    <a:pt x="51" y="3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4" y="47"/>
                  </a:lnTo>
                  <a:close/>
                  <a:moveTo>
                    <a:pt x="8" y="4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45"/>
                    <a:pt x="46" y="55"/>
                    <a:pt x="44" y="62"/>
                  </a:cubicBezTo>
                  <a:cubicBezTo>
                    <a:pt x="42" y="69"/>
                    <a:pt x="38" y="75"/>
                    <a:pt x="32" y="80"/>
                  </a:cubicBezTo>
                  <a:cubicBezTo>
                    <a:pt x="27" y="86"/>
                    <a:pt x="20" y="90"/>
                    <a:pt x="12" y="93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13" y="75"/>
                    <a:pt x="18" y="71"/>
                    <a:pt x="22" y="66"/>
                  </a:cubicBezTo>
                  <a:cubicBezTo>
                    <a:pt x="26" y="61"/>
                    <a:pt x="28" y="54"/>
                    <a:pt x="28" y="45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8" y="43"/>
                    <a:pt x="8" y="43"/>
                    <a:pt x="8" y="43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68" name="Group 288"/>
          <p:cNvGrpSpPr>
            <a:grpSpLocks noChangeAspect="1"/>
          </p:cNvGrpSpPr>
          <p:nvPr/>
        </p:nvGrpSpPr>
        <p:grpSpPr bwMode="auto">
          <a:xfrm>
            <a:off x="4719638" y="4054475"/>
            <a:ext cx="850900" cy="849313"/>
            <a:chOff x="2967" y="2554"/>
            <a:chExt cx="536" cy="535"/>
          </a:xfrm>
        </p:grpSpPr>
        <p:sp>
          <p:nvSpPr>
            <p:cNvPr id="46369" name="Oval 289"/>
            <p:cNvSpPr>
              <a:spLocks noChangeArrowheads="1"/>
            </p:cNvSpPr>
            <p:nvPr/>
          </p:nvSpPr>
          <p:spPr bwMode="auto">
            <a:xfrm>
              <a:off x="2967" y="2554"/>
              <a:ext cx="536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70" name="Freeform 290"/>
            <p:cNvSpPr>
              <a:spLocks noEditPoints="1"/>
            </p:cNvSpPr>
            <p:nvPr/>
          </p:nvSpPr>
          <p:spPr bwMode="auto">
            <a:xfrm>
              <a:off x="2989" y="2576"/>
              <a:ext cx="493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60" y="206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1" name="Freeform 291"/>
            <p:cNvSpPr>
              <a:spLocks noEditPoints="1"/>
            </p:cNvSpPr>
            <p:nvPr/>
          </p:nvSpPr>
          <p:spPr bwMode="auto">
            <a:xfrm>
              <a:off x="3209" y="2842"/>
              <a:ext cx="86" cy="1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34" y="57"/>
                </a:cxn>
                <a:cxn ang="0">
                  <a:pos x="34" y="57"/>
                </a:cxn>
                <a:cxn ang="0">
                  <a:pos x="36" y="57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5" y="4"/>
                </a:cxn>
                <a:cxn ang="0">
                  <a:pos x="18" y="4"/>
                </a:cxn>
                <a:cxn ang="0">
                  <a:pos x="31" y="52"/>
                </a:cxn>
                <a:cxn ang="0">
                  <a:pos x="5" y="4"/>
                </a:cxn>
              </a:cxnLst>
              <a:rect l="0" t="0" r="r" b="b"/>
              <a:pathLst>
                <a:path w="36" h="57">
                  <a:moveTo>
                    <a:pt x="0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9" y="54"/>
                    <a:pt x="32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  <a:moveTo>
                    <a:pt x="5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7" y="49"/>
                    <a:pt x="18" y="38"/>
                    <a:pt x="5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2" name="Freeform 292"/>
            <p:cNvSpPr>
              <a:spLocks noEditPoints="1"/>
            </p:cNvSpPr>
            <p:nvPr/>
          </p:nvSpPr>
          <p:spPr bwMode="auto">
            <a:xfrm>
              <a:off x="3063" y="2787"/>
              <a:ext cx="342" cy="76"/>
            </a:xfrm>
            <a:custGeom>
              <a:avLst/>
              <a:gdLst/>
              <a:ahLst/>
              <a:cxnLst>
                <a:cxn ang="0">
                  <a:pos x="139" y="19"/>
                </a:cxn>
                <a:cxn ang="0">
                  <a:pos x="61" y="5"/>
                </a:cxn>
                <a:cxn ang="0">
                  <a:pos x="60" y="5"/>
                </a:cxn>
                <a:cxn ang="0">
                  <a:pos x="52" y="10"/>
                </a:cxn>
                <a:cxn ang="0">
                  <a:pos x="38" y="7"/>
                </a:cxn>
                <a:cxn ang="0">
                  <a:pos x="26" y="1"/>
                </a:cxn>
                <a:cxn ang="0">
                  <a:pos x="20" y="0"/>
                </a:cxn>
                <a:cxn ang="0">
                  <a:pos x="2" y="11"/>
                </a:cxn>
                <a:cxn ang="0">
                  <a:pos x="19" y="31"/>
                </a:cxn>
                <a:cxn ang="0">
                  <a:pos x="26" y="32"/>
                </a:cxn>
                <a:cxn ang="0">
                  <a:pos x="43" y="21"/>
                </a:cxn>
                <a:cxn ang="0">
                  <a:pos x="143" y="22"/>
                </a:cxn>
                <a:cxn ang="0">
                  <a:pos x="139" y="19"/>
                </a:cxn>
                <a:cxn ang="0">
                  <a:pos x="40" y="20"/>
                </a:cxn>
                <a:cxn ang="0">
                  <a:pos x="26" y="28"/>
                </a:cxn>
                <a:cxn ang="0">
                  <a:pos x="20" y="27"/>
                </a:cxn>
                <a:cxn ang="0">
                  <a:pos x="6" y="12"/>
                </a:cxn>
                <a:cxn ang="0">
                  <a:pos x="20" y="4"/>
                </a:cxn>
                <a:cxn ang="0">
                  <a:pos x="25" y="5"/>
                </a:cxn>
                <a:cxn ang="0">
                  <a:pos x="37" y="11"/>
                </a:cxn>
                <a:cxn ang="0">
                  <a:pos x="37" y="12"/>
                </a:cxn>
                <a:cxn ang="0">
                  <a:pos x="39" y="16"/>
                </a:cxn>
                <a:cxn ang="0">
                  <a:pos x="40" y="20"/>
                </a:cxn>
                <a:cxn ang="0">
                  <a:pos x="44" y="17"/>
                </a:cxn>
                <a:cxn ang="0">
                  <a:pos x="43" y="15"/>
                </a:cxn>
                <a:cxn ang="0">
                  <a:pos x="42" y="12"/>
                </a:cxn>
                <a:cxn ang="0">
                  <a:pos x="52" y="14"/>
                </a:cxn>
                <a:cxn ang="0">
                  <a:pos x="61" y="9"/>
                </a:cxn>
                <a:cxn ang="0">
                  <a:pos x="132" y="18"/>
                </a:cxn>
                <a:cxn ang="0">
                  <a:pos x="44" y="17"/>
                </a:cxn>
              </a:cxnLst>
              <a:rect l="0" t="0" r="r" b="b"/>
              <a:pathLst>
                <a:path w="143" h="32">
                  <a:moveTo>
                    <a:pt x="139" y="19"/>
                  </a:moveTo>
                  <a:cubicBezTo>
                    <a:pt x="125" y="6"/>
                    <a:pt x="63" y="5"/>
                    <a:pt x="61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5" y="4"/>
                    <a:pt x="31" y="2"/>
                    <a:pt x="26" y="1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1" y="0"/>
                    <a:pt x="4" y="5"/>
                    <a:pt x="2" y="11"/>
                  </a:cubicBezTo>
                  <a:cubicBezTo>
                    <a:pt x="0" y="19"/>
                    <a:pt x="8" y="28"/>
                    <a:pt x="19" y="31"/>
                  </a:cubicBezTo>
                  <a:cubicBezTo>
                    <a:pt x="21" y="31"/>
                    <a:pt x="23" y="32"/>
                    <a:pt x="26" y="32"/>
                  </a:cubicBezTo>
                  <a:cubicBezTo>
                    <a:pt x="35" y="32"/>
                    <a:pt x="42" y="27"/>
                    <a:pt x="43" y="21"/>
                  </a:cubicBezTo>
                  <a:cubicBezTo>
                    <a:pt x="143" y="22"/>
                    <a:pt x="143" y="22"/>
                    <a:pt x="143" y="22"/>
                  </a:cubicBezTo>
                  <a:lnTo>
                    <a:pt x="139" y="19"/>
                  </a:lnTo>
                  <a:close/>
                  <a:moveTo>
                    <a:pt x="40" y="20"/>
                  </a:moveTo>
                  <a:cubicBezTo>
                    <a:pt x="38" y="25"/>
                    <a:pt x="33" y="28"/>
                    <a:pt x="26" y="28"/>
                  </a:cubicBezTo>
                  <a:cubicBezTo>
                    <a:pt x="24" y="28"/>
                    <a:pt x="22" y="28"/>
                    <a:pt x="20" y="27"/>
                  </a:cubicBezTo>
                  <a:cubicBezTo>
                    <a:pt x="11" y="25"/>
                    <a:pt x="4" y="18"/>
                    <a:pt x="6" y="12"/>
                  </a:cubicBezTo>
                  <a:cubicBezTo>
                    <a:pt x="7" y="7"/>
                    <a:pt x="12" y="4"/>
                    <a:pt x="20" y="4"/>
                  </a:cubicBezTo>
                  <a:cubicBezTo>
                    <a:pt x="21" y="4"/>
                    <a:pt x="23" y="4"/>
                    <a:pt x="25" y="5"/>
                  </a:cubicBezTo>
                  <a:cubicBezTo>
                    <a:pt x="30" y="6"/>
                    <a:pt x="34" y="8"/>
                    <a:pt x="37" y="11"/>
                  </a:cubicBezTo>
                  <a:cubicBezTo>
                    <a:pt x="37" y="11"/>
                    <a:pt x="37" y="12"/>
                    <a:pt x="37" y="12"/>
                  </a:cubicBezTo>
                  <a:cubicBezTo>
                    <a:pt x="38" y="13"/>
                    <a:pt x="39" y="15"/>
                    <a:pt x="39" y="16"/>
                  </a:cubicBezTo>
                  <a:cubicBezTo>
                    <a:pt x="40" y="17"/>
                    <a:pt x="40" y="19"/>
                    <a:pt x="40" y="20"/>
                  </a:cubicBezTo>
                  <a:close/>
                  <a:moveTo>
                    <a:pt x="44" y="17"/>
                  </a:moveTo>
                  <a:cubicBezTo>
                    <a:pt x="44" y="17"/>
                    <a:pt x="43" y="16"/>
                    <a:pt x="43" y="15"/>
                  </a:cubicBezTo>
                  <a:cubicBezTo>
                    <a:pt x="43" y="14"/>
                    <a:pt x="42" y="13"/>
                    <a:pt x="42" y="12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7" y="9"/>
                    <a:pt x="113" y="10"/>
                    <a:pt x="132" y="18"/>
                  </a:cubicBezTo>
                  <a:lnTo>
                    <a:pt x="44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3" name="Freeform 293"/>
            <p:cNvSpPr>
              <a:spLocks noEditPoints="1"/>
            </p:cNvSpPr>
            <p:nvPr/>
          </p:nvSpPr>
          <p:spPr bwMode="auto">
            <a:xfrm>
              <a:off x="3166" y="2660"/>
              <a:ext cx="86" cy="134"/>
            </a:xfrm>
            <a:custGeom>
              <a:avLst/>
              <a:gdLst/>
              <a:ahLst/>
              <a:cxnLst>
                <a:cxn ang="0">
                  <a:pos x="12" y="35"/>
                </a:cxn>
                <a:cxn ang="0">
                  <a:pos x="20" y="56"/>
                </a:cxn>
                <a:cxn ang="0">
                  <a:pos x="32" y="56"/>
                </a:cxn>
                <a:cxn ang="0">
                  <a:pos x="27" y="39"/>
                </a:cxn>
                <a:cxn ang="0">
                  <a:pos x="30" y="37"/>
                </a:cxn>
                <a:cxn ang="0">
                  <a:pos x="36" y="26"/>
                </a:cxn>
                <a:cxn ang="0">
                  <a:pos x="32" y="11"/>
                </a:cxn>
                <a:cxn ang="0">
                  <a:pos x="14" y="0"/>
                </a:cxn>
                <a:cxn ang="0">
                  <a:pos x="8" y="2"/>
                </a:cxn>
                <a:cxn ang="0">
                  <a:pos x="6" y="27"/>
                </a:cxn>
                <a:cxn ang="0">
                  <a:pos x="12" y="35"/>
                </a:cxn>
                <a:cxn ang="0">
                  <a:pos x="22" y="52"/>
                </a:cxn>
                <a:cxn ang="0">
                  <a:pos x="17" y="38"/>
                </a:cxn>
                <a:cxn ang="0">
                  <a:pos x="23" y="39"/>
                </a:cxn>
                <a:cxn ang="0">
                  <a:pos x="27" y="52"/>
                </a:cxn>
                <a:cxn ang="0">
                  <a:pos x="22" y="52"/>
                </a:cxn>
                <a:cxn ang="0">
                  <a:pos x="10" y="5"/>
                </a:cxn>
                <a:cxn ang="0">
                  <a:pos x="14" y="3"/>
                </a:cxn>
                <a:cxn ang="0">
                  <a:pos x="29" y="13"/>
                </a:cxn>
                <a:cxn ang="0">
                  <a:pos x="32" y="26"/>
                </a:cxn>
                <a:cxn ang="0">
                  <a:pos x="28" y="34"/>
                </a:cxn>
                <a:cxn ang="0">
                  <a:pos x="24" y="35"/>
                </a:cxn>
                <a:cxn ang="0">
                  <a:pos x="9" y="26"/>
                </a:cxn>
                <a:cxn ang="0">
                  <a:pos x="10" y="5"/>
                </a:cxn>
              </a:cxnLst>
              <a:rect l="0" t="0" r="r" b="b"/>
              <a:pathLst>
                <a:path w="36" h="56">
                  <a:moveTo>
                    <a:pt x="12" y="35"/>
                  </a:moveTo>
                  <a:cubicBezTo>
                    <a:pt x="20" y="56"/>
                    <a:pt x="20" y="56"/>
                    <a:pt x="20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9" y="38"/>
                    <a:pt x="30" y="37"/>
                  </a:cubicBezTo>
                  <a:cubicBezTo>
                    <a:pt x="33" y="35"/>
                    <a:pt x="36" y="31"/>
                    <a:pt x="36" y="26"/>
                  </a:cubicBezTo>
                  <a:cubicBezTo>
                    <a:pt x="36" y="21"/>
                    <a:pt x="35" y="16"/>
                    <a:pt x="32" y="11"/>
                  </a:cubicBezTo>
                  <a:cubicBezTo>
                    <a:pt x="27" y="4"/>
                    <a:pt x="20" y="0"/>
                    <a:pt x="14" y="0"/>
                  </a:cubicBezTo>
                  <a:cubicBezTo>
                    <a:pt x="12" y="0"/>
                    <a:pt x="9" y="0"/>
                    <a:pt x="8" y="2"/>
                  </a:cubicBezTo>
                  <a:cubicBezTo>
                    <a:pt x="1" y="6"/>
                    <a:pt x="0" y="18"/>
                    <a:pt x="6" y="27"/>
                  </a:cubicBezTo>
                  <a:cubicBezTo>
                    <a:pt x="8" y="30"/>
                    <a:pt x="10" y="33"/>
                    <a:pt x="12" y="35"/>
                  </a:cubicBezTo>
                  <a:close/>
                  <a:moveTo>
                    <a:pt x="22" y="52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9" y="39"/>
                    <a:pt x="21" y="39"/>
                    <a:pt x="23" y="39"/>
                  </a:cubicBezTo>
                  <a:cubicBezTo>
                    <a:pt x="27" y="52"/>
                    <a:pt x="27" y="52"/>
                    <a:pt x="27" y="52"/>
                  </a:cubicBezTo>
                  <a:lnTo>
                    <a:pt x="22" y="52"/>
                  </a:lnTo>
                  <a:close/>
                  <a:moveTo>
                    <a:pt x="10" y="5"/>
                  </a:moveTo>
                  <a:cubicBezTo>
                    <a:pt x="11" y="4"/>
                    <a:pt x="12" y="3"/>
                    <a:pt x="14" y="3"/>
                  </a:cubicBezTo>
                  <a:cubicBezTo>
                    <a:pt x="19" y="3"/>
                    <a:pt x="25" y="7"/>
                    <a:pt x="29" y="13"/>
                  </a:cubicBezTo>
                  <a:cubicBezTo>
                    <a:pt x="31" y="17"/>
                    <a:pt x="32" y="22"/>
                    <a:pt x="32" y="26"/>
                  </a:cubicBezTo>
                  <a:cubicBezTo>
                    <a:pt x="32" y="30"/>
                    <a:pt x="30" y="33"/>
                    <a:pt x="28" y="34"/>
                  </a:cubicBezTo>
                  <a:cubicBezTo>
                    <a:pt x="27" y="35"/>
                    <a:pt x="25" y="35"/>
                    <a:pt x="24" y="35"/>
                  </a:cubicBezTo>
                  <a:cubicBezTo>
                    <a:pt x="18" y="35"/>
                    <a:pt x="13" y="32"/>
                    <a:pt x="9" y="26"/>
                  </a:cubicBezTo>
                  <a:cubicBezTo>
                    <a:pt x="4" y="17"/>
                    <a:pt x="4" y="8"/>
                    <a:pt x="10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4" name="Freeform 294"/>
            <p:cNvSpPr>
              <a:spLocks noEditPoints="1"/>
            </p:cNvSpPr>
            <p:nvPr/>
          </p:nvSpPr>
          <p:spPr bwMode="auto">
            <a:xfrm>
              <a:off x="3180" y="2676"/>
              <a:ext cx="60" cy="60"/>
            </a:xfrm>
            <a:custGeom>
              <a:avLst/>
              <a:gdLst/>
              <a:ahLst/>
              <a:cxnLst>
                <a:cxn ang="0">
                  <a:pos x="16" y="25"/>
                </a:cxn>
                <a:cxn ang="0">
                  <a:pos x="20" y="24"/>
                </a:cxn>
                <a:cxn ang="0">
                  <a:pos x="21" y="7"/>
                </a:cxn>
                <a:cxn ang="0">
                  <a:pos x="10" y="0"/>
                </a:cxn>
                <a:cxn ang="0">
                  <a:pos x="6" y="1"/>
                </a:cxn>
                <a:cxn ang="0">
                  <a:pos x="4" y="18"/>
                </a:cxn>
                <a:cxn ang="0">
                  <a:pos x="16" y="25"/>
                </a:cxn>
                <a:cxn ang="0">
                  <a:pos x="8" y="4"/>
                </a:cxn>
                <a:cxn ang="0">
                  <a:pos x="10" y="3"/>
                </a:cxn>
                <a:cxn ang="0">
                  <a:pos x="18" y="9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7" y="16"/>
                </a:cxn>
                <a:cxn ang="0">
                  <a:pos x="8" y="4"/>
                </a:cxn>
              </a:cxnLst>
              <a:rect l="0" t="0" r="r" b="b"/>
              <a:pathLst>
                <a:path w="25" h="25">
                  <a:moveTo>
                    <a:pt x="16" y="25"/>
                  </a:moveTo>
                  <a:cubicBezTo>
                    <a:pt x="17" y="25"/>
                    <a:pt x="19" y="25"/>
                    <a:pt x="20" y="24"/>
                  </a:cubicBezTo>
                  <a:cubicBezTo>
                    <a:pt x="25" y="21"/>
                    <a:pt x="25" y="14"/>
                    <a:pt x="21" y="7"/>
                  </a:cubicBezTo>
                  <a:cubicBezTo>
                    <a:pt x="18" y="3"/>
                    <a:pt x="14" y="0"/>
                    <a:pt x="10" y="0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1" y="4"/>
                    <a:pt x="0" y="11"/>
                    <a:pt x="4" y="18"/>
                  </a:cubicBezTo>
                  <a:cubicBezTo>
                    <a:pt x="7" y="22"/>
                    <a:pt x="12" y="25"/>
                    <a:pt x="16" y="25"/>
                  </a:cubicBezTo>
                  <a:close/>
                  <a:moveTo>
                    <a:pt x="8" y="4"/>
                  </a:moveTo>
                  <a:cubicBezTo>
                    <a:pt x="8" y="4"/>
                    <a:pt x="9" y="3"/>
                    <a:pt x="10" y="3"/>
                  </a:cubicBezTo>
                  <a:cubicBezTo>
                    <a:pt x="13" y="3"/>
                    <a:pt x="16" y="6"/>
                    <a:pt x="18" y="9"/>
                  </a:cubicBezTo>
                  <a:cubicBezTo>
                    <a:pt x="21" y="14"/>
                    <a:pt x="21" y="19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9" y="19"/>
                    <a:pt x="7" y="16"/>
                  </a:cubicBezTo>
                  <a:cubicBezTo>
                    <a:pt x="5" y="11"/>
                    <a:pt x="5" y="6"/>
                    <a:pt x="8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5" name="Freeform 295"/>
            <p:cNvSpPr>
              <a:spLocks noEditPoints="1"/>
            </p:cNvSpPr>
            <p:nvPr/>
          </p:nvSpPr>
          <p:spPr bwMode="auto">
            <a:xfrm>
              <a:off x="3082" y="2801"/>
              <a:ext cx="69" cy="48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2" y="0"/>
                </a:cxn>
                <a:cxn ang="0">
                  <a:pos x="1" y="7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7" y="13"/>
                </a:cxn>
                <a:cxn ang="0">
                  <a:pos x="16" y="1"/>
                </a:cxn>
                <a:cxn ang="0">
                  <a:pos x="24" y="12"/>
                </a:cxn>
                <a:cxn ang="0">
                  <a:pos x="16" y="17"/>
                </a:cxn>
                <a:cxn ang="0">
                  <a:pos x="13" y="16"/>
                </a:cxn>
                <a:cxn ang="0">
                  <a:pos x="5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4" y="12"/>
                </a:cxn>
              </a:cxnLst>
              <a:rect l="0" t="0" r="r" b="b"/>
              <a:pathLst>
                <a:path w="29" h="20">
                  <a:moveTo>
                    <a:pt x="16" y="1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7" y="0"/>
                    <a:pt x="2" y="3"/>
                    <a:pt x="1" y="7"/>
                  </a:cubicBezTo>
                  <a:cubicBezTo>
                    <a:pt x="0" y="13"/>
                    <a:pt x="5" y="18"/>
                    <a:pt x="12" y="20"/>
                  </a:cubicBezTo>
                  <a:cubicBezTo>
                    <a:pt x="13" y="20"/>
                    <a:pt x="15" y="20"/>
                    <a:pt x="16" y="20"/>
                  </a:cubicBezTo>
                  <a:cubicBezTo>
                    <a:pt x="22" y="20"/>
                    <a:pt x="26" y="17"/>
                    <a:pt x="27" y="13"/>
                  </a:cubicBezTo>
                  <a:cubicBezTo>
                    <a:pt x="29" y="8"/>
                    <a:pt x="24" y="2"/>
                    <a:pt x="16" y="1"/>
                  </a:cubicBezTo>
                  <a:close/>
                  <a:moveTo>
                    <a:pt x="24" y="12"/>
                  </a:moveTo>
                  <a:cubicBezTo>
                    <a:pt x="23" y="15"/>
                    <a:pt x="20" y="17"/>
                    <a:pt x="16" y="17"/>
                  </a:cubicBezTo>
                  <a:cubicBezTo>
                    <a:pt x="15" y="17"/>
                    <a:pt x="14" y="17"/>
                    <a:pt x="13" y="16"/>
                  </a:cubicBezTo>
                  <a:cubicBezTo>
                    <a:pt x="8" y="15"/>
                    <a:pt x="4" y="11"/>
                    <a:pt x="5" y="8"/>
                  </a:cubicBezTo>
                  <a:cubicBezTo>
                    <a:pt x="5" y="6"/>
                    <a:pt x="8" y="4"/>
                    <a:pt x="12" y="4"/>
                  </a:cubicBezTo>
                  <a:cubicBezTo>
                    <a:pt x="13" y="4"/>
                    <a:pt x="15" y="4"/>
                    <a:pt x="16" y="4"/>
                  </a:cubicBezTo>
                  <a:cubicBezTo>
                    <a:pt x="21" y="5"/>
                    <a:pt x="25" y="9"/>
                    <a:pt x="24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76" name="Oval 296"/>
            <p:cNvSpPr>
              <a:spLocks noChangeArrowheads="1"/>
            </p:cNvSpPr>
            <p:nvPr/>
          </p:nvSpPr>
          <p:spPr bwMode="auto">
            <a:xfrm>
              <a:off x="3223" y="2811"/>
              <a:ext cx="15" cy="14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79" name="Group 299"/>
          <p:cNvGrpSpPr>
            <a:grpSpLocks noChangeAspect="1"/>
          </p:cNvGrpSpPr>
          <p:nvPr/>
        </p:nvGrpSpPr>
        <p:grpSpPr bwMode="auto">
          <a:xfrm>
            <a:off x="5846762" y="4087813"/>
            <a:ext cx="785813" cy="784225"/>
            <a:chOff x="3684" y="2575"/>
            <a:chExt cx="495" cy="494"/>
          </a:xfrm>
        </p:grpSpPr>
        <p:sp>
          <p:nvSpPr>
            <p:cNvPr id="46380" name="Freeform 300"/>
            <p:cNvSpPr>
              <a:spLocks noEditPoints="1"/>
            </p:cNvSpPr>
            <p:nvPr/>
          </p:nvSpPr>
          <p:spPr bwMode="auto">
            <a:xfrm>
              <a:off x="3684" y="2575"/>
              <a:ext cx="495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60" y="206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81" name="Freeform 301"/>
            <p:cNvSpPr>
              <a:spLocks noEditPoints="1"/>
            </p:cNvSpPr>
            <p:nvPr/>
          </p:nvSpPr>
          <p:spPr bwMode="auto">
            <a:xfrm>
              <a:off x="3905" y="2841"/>
              <a:ext cx="87" cy="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34" y="57"/>
                </a:cxn>
                <a:cxn ang="0">
                  <a:pos x="34" y="57"/>
                </a:cxn>
                <a:cxn ang="0">
                  <a:pos x="36" y="57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5" y="4"/>
                </a:cxn>
                <a:cxn ang="0">
                  <a:pos x="18" y="4"/>
                </a:cxn>
                <a:cxn ang="0">
                  <a:pos x="31" y="52"/>
                </a:cxn>
                <a:cxn ang="0">
                  <a:pos x="5" y="4"/>
                </a:cxn>
              </a:cxnLst>
              <a:rect l="0" t="0" r="r" b="b"/>
              <a:pathLst>
                <a:path w="36" h="57">
                  <a:moveTo>
                    <a:pt x="0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9" y="54"/>
                    <a:pt x="32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0" y="0"/>
                  </a:lnTo>
                  <a:close/>
                  <a:moveTo>
                    <a:pt x="5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7" y="49"/>
                    <a:pt x="18" y="38"/>
                    <a:pt x="5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82" name="Freeform 302"/>
            <p:cNvSpPr>
              <a:spLocks noEditPoints="1"/>
            </p:cNvSpPr>
            <p:nvPr/>
          </p:nvSpPr>
          <p:spPr bwMode="auto">
            <a:xfrm>
              <a:off x="3759" y="2786"/>
              <a:ext cx="343" cy="77"/>
            </a:xfrm>
            <a:custGeom>
              <a:avLst/>
              <a:gdLst/>
              <a:ahLst/>
              <a:cxnLst>
                <a:cxn ang="0">
                  <a:pos x="139" y="19"/>
                </a:cxn>
                <a:cxn ang="0">
                  <a:pos x="61" y="5"/>
                </a:cxn>
                <a:cxn ang="0">
                  <a:pos x="60" y="5"/>
                </a:cxn>
                <a:cxn ang="0">
                  <a:pos x="52" y="10"/>
                </a:cxn>
                <a:cxn ang="0">
                  <a:pos x="38" y="7"/>
                </a:cxn>
                <a:cxn ang="0">
                  <a:pos x="26" y="1"/>
                </a:cxn>
                <a:cxn ang="0">
                  <a:pos x="20" y="0"/>
                </a:cxn>
                <a:cxn ang="0">
                  <a:pos x="2" y="11"/>
                </a:cxn>
                <a:cxn ang="0">
                  <a:pos x="19" y="31"/>
                </a:cxn>
                <a:cxn ang="0">
                  <a:pos x="26" y="32"/>
                </a:cxn>
                <a:cxn ang="0">
                  <a:pos x="43" y="21"/>
                </a:cxn>
                <a:cxn ang="0">
                  <a:pos x="143" y="22"/>
                </a:cxn>
                <a:cxn ang="0">
                  <a:pos x="139" y="19"/>
                </a:cxn>
                <a:cxn ang="0">
                  <a:pos x="40" y="20"/>
                </a:cxn>
                <a:cxn ang="0">
                  <a:pos x="26" y="28"/>
                </a:cxn>
                <a:cxn ang="0">
                  <a:pos x="20" y="27"/>
                </a:cxn>
                <a:cxn ang="0">
                  <a:pos x="6" y="12"/>
                </a:cxn>
                <a:cxn ang="0">
                  <a:pos x="20" y="4"/>
                </a:cxn>
                <a:cxn ang="0">
                  <a:pos x="25" y="5"/>
                </a:cxn>
                <a:cxn ang="0">
                  <a:pos x="37" y="11"/>
                </a:cxn>
                <a:cxn ang="0">
                  <a:pos x="37" y="12"/>
                </a:cxn>
                <a:cxn ang="0">
                  <a:pos x="39" y="16"/>
                </a:cxn>
                <a:cxn ang="0">
                  <a:pos x="40" y="20"/>
                </a:cxn>
                <a:cxn ang="0">
                  <a:pos x="44" y="17"/>
                </a:cxn>
                <a:cxn ang="0">
                  <a:pos x="43" y="15"/>
                </a:cxn>
                <a:cxn ang="0">
                  <a:pos x="42" y="12"/>
                </a:cxn>
                <a:cxn ang="0">
                  <a:pos x="52" y="14"/>
                </a:cxn>
                <a:cxn ang="0">
                  <a:pos x="61" y="9"/>
                </a:cxn>
                <a:cxn ang="0">
                  <a:pos x="132" y="18"/>
                </a:cxn>
                <a:cxn ang="0">
                  <a:pos x="44" y="17"/>
                </a:cxn>
              </a:cxnLst>
              <a:rect l="0" t="0" r="r" b="b"/>
              <a:pathLst>
                <a:path w="143" h="32">
                  <a:moveTo>
                    <a:pt x="139" y="19"/>
                  </a:moveTo>
                  <a:cubicBezTo>
                    <a:pt x="125" y="6"/>
                    <a:pt x="63" y="5"/>
                    <a:pt x="61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5" y="4"/>
                    <a:pt x="31" y="2"/>
                    <a:pt x="26" y="1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1" y="0"/>
                    <a:pt x="4" y="5"/>
                    <a:pt x="2" y="11"/>
                  </a:cubicBezTo>
                  <a:cubicBezTo>
                    <a:pt x="0" y="19"/>
                    <a:pt x="8" y="28"/>
                    <a:pt x="19" y="31"/>
                  </a:cubicBezTo>
                  <a:cubicBezTo>
                    <a:pt x="21" y="31"/>
                    <a:pt x="23" y="32"/>
                    <a:pt x="26" y="32"/>
                  </a:cubicBezTo>
                  <a:cubicBezTo>
                    <a:pt x="35" y="32"/>
                    <a:pt x="42" y="27"/>
                    <a:pt x="43" y="21"/>
                  </a:cubicBezTo>
                  <a:cubicBezTo>
                    <a:pt x="143" y="22"/>
                    <a:pt x="143" y="22"/>
                    <a:pt x="143" y="22"/>
                  </a:cubicBezTo>
                  <a:lnTo>
                    <a:pt x="139" y="19"/>
                  </a:lnTo>
                  <a:close/>
                  <a:moveTo>
                    <a:pt x="40" y="20"/>
                  </a:moveTo>
                  <a:cubicBezTo>
                    <a:pt x="38" y="25"/>
                    <a:pt x="33" y="28"/>
                    <a:pt x="26" y="28"/>
                  </a:cubicBezTo>
                  <a:cubicBezTo>
                    <a:pt x="24" y="28"/>
                    <a:pt x="22" y="28"/>
                    <a:pt x="20" y="27"/>
                  </a:cubicBezTo>
                  <a:cubicBezTo>
                    <a:pt x="11" y="25"/>
                    <a:pt x="4" y="18"/>
                    <a:pt x="6" y="12"/>
                  </a:cubicBezTo>
                  <a:cubicBezTo>
                    <a:pt x="7" y="7"/>
                    <a:pt x="12" y="4"/>
                    <a:pt x="20" y="4"/>
                  </a:cubicBezTo>
                  <a:cubicBezTo>
                    <a:pt x="21" y="4"/>
                    <a:pt x="23" y="4"/>
                    <a:pt x="25" y="5"/>
                  </a:cubicBezTo>
                  <a:cubicBezTo>
                    <a:pt x="30" y="6"/>
                    <a:pt x="34" y="8"/>
                    <a:pt x="37" y="11"/>
                  </a:cubicBezTo>
                  <a:cubicBezTo>
                    <a:pt x="37" y="11"/>
                    <a:pt x="37" y="12"/>
                    <a:pt x="37" y="12"/>
                  </a:cubicBezTo>
                  <a:cubicBezTo>
                    <a:pt x="38" y="13"/>
                    <a:pt x="39" y="15"/>
                    <a:pt x="39" y="16"/>
                  </a:cubicBezTo>
                  <a:cubicBezTo>
                    <a:pt x="40" y="17"/>
                    <a:pt x="40" y="19"/>
                    <a:pt x="40" y="20"/>
                  </a:cubicBezTo>
                  <a:close/>
                  <a:moveTo>
                    <a:pt x="44" y="17"/>
                  </a:moveTo>
                  <a:cubicBezTo>
                    <a:pt x="44" y="17"/>
                    <a:pt x="43" y="16"/>
                    <a:pt x="43" y="15"/>
                  </a:cubicBezTo>
                  <a:cubicBezTo>
                    <a:pt x="43" y="14"/>
                    <a:pt x="42" y="13"/>
                    <a:pt x="42" y="12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7" y="9"/>
                    <a:pt x="113" y="10"/>
                    <a:pt x="132" y="18"/>
                  </a:cubicBezTo>
                  <a:lnTo>
                    <a:pt x="44" y="17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83" name="Freeform 303"/>
            <p:cNvSpPr>
              <a:spLocks noEditPoints="1"/>
            </p:cNvSpPr>
            <p:nvPr/>
          </p:nvSpPr>
          <p:spPr bwMode="auto">
            <a:xfrm>
              <a:off x="3862" y="2659"/>
              <a:ext cx="86" cy="134"/>
            </a:xfrm>
            <a:custGeom>
              <a:avLst/>
              <a:gdLst/>
              <a:ahLst/>
              <a:cxnLst>
                <a:cxn ang="0">
                  <a:pos x="12" y="35"/>
                </a:cxn>
                <a:cxn ang="0">
                  <a:pos x="20" y="56"/>
                </a:cxn>
                <a:cxn ang="0">
                  <a:pos x="32" y="56"/>
                </a:cxn>
                <a:cxn ang="0">
                  <a:pos x="27" y="39"/>
                </a:cxn>
                <a:cxn ang="0">
                  <a:pos x="30" y="37"/>
                </a:cxn>
                <a:cxn ang="0">
                  <a:pos x="36" y="26"/>
                </a:cxn>
                <a:cxn ang="0">
                  <a:pos x="32" y="11"/>
                </a:cxn>
                <a:cxn ang="0">
                  <a:pos x="14" y="0"/>
                </a:cxn>
                <a:cxn ang="0">
                  <a:pos x="8" y="2"/>
                </a:cxn>
                <a:cxn ang="0">
                  <a:pos x="6" y="27"/>
                </a:cxn>
                <a:cxn ang="0">
                  <a:pos x="12" y="35"/>
                </a:cxn>
                <a:cxn ang="0">
                  <a:pos x="22" y="52"/>
                </a:cxn>
                <a:cxn ang="0">
                  <a:pos x="17" y="38"/>
                </a:cxn>
                <a:cxn ang="0">
                  <a:pos x="23" y="39"/>
                </a:cxn>
                <a:cxn ang="0">
                  <a:pos x="27" y="52"/>
                </a:cxn>
                <a:cxn ang="0">
                  <a:pos x="22" y="52"/>
                </a:cxn>
                <a:cxn ang="0">
                  <a:pos x="10" y="5"/>
                </a:cxn>
                <a:cxn ang="0">
                  <a:pos x="14" y="3"/>
                </a:cxn>
                <a:cxn ang="0">
                  <a:pos x="29" y="13"/>
                </a:cxn>
                <a:cxn ang="0">
                  <a:pos x="32" y="26"/>
                </a:cxn>
                <a:cxn ang="0">
                  <a:pos x="28" y="34"/>
                </a:cxn>
                <a:cxn ang="0">
                  <a:pos x="24" y="35"/>
                </a:cxn>
                <a:cxn ang="0">
                  <a:pos x="9" y="26"/>
                </a:cxn>
                <a:cxn ang="0">
                  <a:pos x="10" y="5"/>
                </a:cxn>
              </a:cxnLst>
              <a:rect l="0" t="0" r="r" b="b"/>
              <a:pathLst>
                <a:path w="36" h="56">
                  <a:moveTo>
                    <a:pt x="12" y="35"/>
                  </a:moveTo>
                  <a:cubicBezTo>
                    <a:pt x="20" y="56"/>
                    <a:pt x="20" y="56"/>
                    <a:pt x="20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9" y="38"/>
                    <a:pt x="30" y="37"/>
                  </a:cubicBezTo>
                  <a:cubicBezTo>
                    <a:pt x="33" y="35"/>
                    <a:pt x="36" y="31"/>
                    <a:pt x="36" y="26"/>
                  </a:cubicBezTo>
                  <a:cubicBezTo>
                    <a:pt x="36" y="21"/>
                    <a:pt x="35" y="16"/>
                    <a:pt x="32" y="11"/>
                  </a:cubicBezTo>
                  <a:cubicBezTo>
                    <a:pt x="27" y="4"/>
                    <a:pt x="20" y="0"/>
                    <a:pt x="14" y="0"/>
                  </a:cubicBezTo>
                  <a:cubicBezTo>
                    <a:pt x="12" y="0"/>
                    <a:pt x="9" y="0"/>
                    <a:pt x="8" y="2"/>
                  </a:cubicBezTo>
                  <a:cubicBezTo>
                    <a:pt x="1" y="6"/>
                    <a:pt x="0" y="18"/>
                    <a:pt x="6" y="27"/>
                  </a:cubicBezTo>
                  <a:cubicBezTo>
                    <a:pt x="8" y="30"/>
                    <a:pt x="10" y="33"/>
                    <a:pt x="12" y="35"/>
                  </a:cubicBezTo>
                  <a:close/>
                  <a:moveTo>
                    <a:pt x="22" y="52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9" y="39"/>
                    <a:pt x="21" y="39"/>
                    <a:pt x="23" y="39"/>
                  </a:cubicBezTo>
                  <a:cubicBezTo>
                    <a:pt x="27" y="52"/>
                    <a:pt x="27" y="52"/>
                    <a:pt x="27" y="52"/>
                  </a:cubicBezTo>
                  <a:lnTo>
                    <a:pt x="22" y="52"/>
                  </a:lnTo>
                  <a:close/>
                  <a:moveTo>
                    <a:pt x="10" y="5"/>
                  </a:moveTo>
                  <a:cubicBezTo>
                    <a:pt x="11" y="4"/>
                    <a:pt x="12" y="3"/>
                    <a:pt x="14" y="3"/>
                  </a:cubicBezTo>
                  <a:cubicBezTo>
                    <a:pt x="19" y="3"/>
                    <a:pt x="25" y="7"/>
                    <a:pt x="29" y="13"/>
                  </a:cubicBezTo>
                  <a:cubicBezTo>
                    <a:pt x="31" y="17"/>
                    <a:pt x="32" y="22"/>
                    <a:pt x="32" y="26"/>
                  </a:cubicBezTo>
                  <a:cubicBezTo>
                    <a:pt x="32" y="30"/>
                    <a:pt x="30" y="33"/>
                    <a:pt x="28" y="34"/>
                  </a:cubicBezTo>
                  <a:cubicBezTo>
                    <a:pt x="27" y="35"/>
                    <a:pt x="25" y="35"/>
                    <a:pt x="24" y="35"/>
                  </a:cubicBezTo>
                  <a:cubicBezTo>
                    <a:pt x="18" y="35"/>
                    <a:pt x="13" y="32"/>
                    <a:pt x="9" y="26"/>
                  </a:cubicBezTo>
                  <a:cubicBezTo>
                    <a:pt x="4" y="17"/>
                    <a:pt x="4" y="8"/>
                    <a:pt x="10" y="5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84" name="Freeform 304"/>
            <p:cNvSpPr>
              <a:spLocks noEditPoints="1"/>
            </p:cNvSpPr>
            <p:nvPr/>
          </p:nvSpPr>
          <p:spPr bwMode="auto">
            <a:xfrm>
              <a:off x="3876" y="2676"/>
              <a:ext cx="60" cy="60"/>
            </a:xfrm>
            <a:custGeom>
              <a:avLst/>
              <a:gdLst/>
              <a:ahLst/>
              <a:cxnLst>
                <a:cxn ang="0">
                  <a:pos x="16" y="25"/>
                </a:cxn>
                <a:cxn ang="0">
                  <a:pos x="20" y="24"/>
                </a:cxn>
                <a:cxn ang="0">
                  <a:pos x="21" y="7"/>
                </a:cxn>
                <a:cxn ang="0">
                  <a:pos x="10" y="0"/>
                </a:cxn>
                <a:cxn ang="0">
                  <a:pos x="6" y="1"/>
                </a:cxn>
                <a:cxn ang="0">
                  <a:pos x="4" y="18"/>
                </a:cxn>
                <a:cxn ang="0">
                  <a:pos x="16" y="25"/>
                </a:cxn>
                <a:cxn ang="0">
                  <a:pos x="8" y="4"/>
                </a:cxn>
                <a:cxn ang="0">
                  <a:pos x="10" y="3"/>
                </a:cxn>
                <a:cxn ang="0">
                  <a:pos x="18" y="9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7" y="16"/>
                </a:cxn>
                <a:cxn ang="0">
                  <a:pos x="8" y="4"/>
                </a:cxn>
              </a:cxnLst>
              <a:rect l="0" t="0" r="r" b="b"/>
              <a:pathLst>
                <a:path w="25" h="25">
                  <a:moveTo>
                    <a:pt x="16" y="25"/>
                  </a:moveTo>
                  <a:cubicBezTo>
                    <a:pt x="17" y="25"/>
                    <a:pt x="19" y="25"/>
                    <a:pt x="20" y="24"/>
                  </a:cubicBezTo>
                  <a:cubicBezTo>
                    <a:pt x="25" y="21"/>
                    <a:pt x="25" y="14"/>
                    <a:pt x="21" y="7"/>
                  </a:cubicBezTo>
                  <a:cubicBezTo>
                    <a:pt x="18" y="3"/>
                    <a:pt x="14" y="0"/>
                    <a:pt x="10" y="0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1" y="4"/>
                    <a:pt x="0" y="11"/>
                    <a:pt x="4" y="18"/>
                  </a:cubicBezTo>
                  <a:cubicBezTo>
                    <a:pt x="7" y="22"/>
                    <a:pt x="12" y="25"/>
                    <a:pt x="16" y="25"/>
                  </a:cubicBezTo>
                  <a:close/>
                  <a:moveTo>
                    <a:pt x="8" y="4"/>
                  </a:moveTo>
                  <a:cubicBezTo>
                    <a:pt x="8" y="4"/>
                    <a:pt x="9" y="3"/>
                    <a:pt x="10" y="3"/>
                  </a:cubicBezTo>
                  <a:cubicBezTo>
                    <a:pt x="13" y="3"/>
                    <a:pt x="16" y="6"/>
                    <a:pt x="18" y="9"/>
                  </a:cubicBezTo>
                  <a:cubicBezTo>
                    <a:pt x="21" y="14"/>
                    <a:pt x="21" y="19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9" y="19"/>
                    <a:pt x="7" y="16"/>
                  </a:cubicBezTo>
                  <a:cubicBezTo>
                    <a:pt x="5" y="11"/>
                    <a:pt x="5" y="6"/>
                    <a:pt x="8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85" name="Freeform 305"/>
            <p:cNvSpPr>
              <a:spLocks noEditPoints="1"/>
            </p:cNvSpPr>
            <p:nvPr/>
          </p:nvSpPr>
          <p:spPr bwMode="auto">
            <a:xfrm>
              <a:off x="3778" y="2801"/>
              <a:ext cx="70" cy="48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2" y="0"/>
                </a:cxn>
                <a:cxn ang="0">
                  <a:pos x="1" y="7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7" y="13"/>
                </a:cxn>
                <a:cxn ang="0">
                  <a:pos x="16" y="1"/>
                </a:cxn>
                <a:cxn ang="0">
                  <a:pos x="24" y="12"/>
                </a:cxn>
                <a:cxn ang="0">
                  <a:pos x="16" y="17"/>
                </a:cxn>
                <a:cxn ang="0">
                  <a:pos x="13" y="16"/>
                </a:cxn>
                <a:cxn ang="0">
                  <a:pos x="5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4" y="12"/>
                </a:cxn>
              </a:cxnLst>
              <a:rect l="0" t="0" r="r" b="b"/>
              <a:pathLst>
                <a:path w="29" h="20">
                  <a:moveTo>
                    <a:pt x="16" y="1"/>
                  </a:moveTo>
                  <a:cubicBezTo>
                    <a:pt x="15" y="0"/>
                    <a:pt x="14" y="0"/>
                    <a:pt x="12" y="0"/>
                  </a:cubicBezTo>
                  <a:cubicBezTo>
                    <a:pt x="7" y="0"/>
                    <a:pt x="2" y="3"/>
                    <a:pt x="1" y="7"/>
                  </a:cubicBezTo>
                  <a:cubicBezTo>
                    <a:pt x="0" y="13"/>
                    <a:pt x="5" y="18"/>
                    <a:pt x="12" y="20"/>
                  </a:cubicBezTo>
                  <a:cubicBezTo>
                    <a:pt x="13" y="20"/>
                    <a:pt x="15" y="20"/>
                    <a:pt x="16" y="20"/>
                  </a:cubicBezTo>
                  <a:cubicBezTo>
                    <a:pt x="22" y="20"/>
                    <a:pt x="26" y="17"/>
                    <a:pt x="27" y="13"/>
                  </a:cubicBezTo>
                  <a:cubicBezTo>
                    <a:pt x="29" y="8"/>
                    <a:pt x="24" y="2"/>
                    <a:pt x="16" y="1"/>
                  </a:cubicBezTo>
                  <a:close/>
                  <a:moveTo>
                    <a:pt x="24" y="12"/>
                  </a:moveTo>
                  <a:cubicBezTo>
                    <a:pt x="23" y="15"/>
                    <a:pt x="20" y="17"/>
                    <a:pt x="16" y="17"/>
                  </a:cubicBezTo>
                  <a:cubicBezTo>
                    <a:pt x="15" y="17"/>
                    <a:pt x="14" y="17"/>
                    <a:pt x="13" y="16"/>
                  </a:cubicBezTo>
                  <a:cubicBezTo>
                    <a:pt x="8" y="15"/>
                    <a:pt x="4" y="11"/>
                    <a:pt x="5" y="8"/>
                  </a:cubicBezTo>
                  <a:cubicBezTo>
                    <a:pt x="5" y="6"/>
                    <a:pt x="8" y="4"/>
                    <a:pt x="12" y="4"/>
                  </a:cubicBezTo>
                  <a:cubicBezTo>
                    <a:pt x="13" y="4"/>
                    <a:pt x="15" y="4"/>
                    <a:pt x="16" y="4"/>
                  </a:cubicBezTo>
                  <a:cubicBezTo>
                    <a:pt x="21" y="5"/>
                    <a:pt x="25" y="9"/>
                    <a:pt x="24" y="1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86" name="Oval 306"/>
            <p:cNvSpPr>
              <a:spLocks noChangeArrowheads="1"/>
            </p:cNvSpPr>
            <p:nvPr/>
          </p:nvSpPr>
          <p:spPr bwMode="auto">
            <a:xfrm>
              <a:off x="3920" y="2810"/>
              <a:ext cx="14" cy="1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389" name="Group 309"/>
          <p:cNvGrpSpPr>
            <a:grpSpLocks noChangeAspect="1"/>
          </p:cNvGrpSpPr>
          <p:nvPr/>
        </p:nvGrpSpPr>
        <p:grpSpPr bwMode="auto">
          <a:xfrm>
            <a:off x="6919119" y="4060825"/>
            <a:ext cx="836613" cy="836613"/>
            <a:chOff x="4360" y="2558"/>
            <a:chExt cx="527" cy="527"/>
          </a:xfrm>
        </p:grpSpPr>
        <p:sp>
          <p:nvSpPr>
            <p:cNvPr id="46390" name="Oval 310"/>
            <p:cNvSpPr>
              <a:spLocks noChangeArrowheads="1"/>
            </p:cNvSpPr>
            <p:nvPr/>
          </p:nvSpPr>
          <p:spPr bwMode="auto">
            <a:xfrm>
              <a:off x="4360" y="2558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91" name="Freeform 311"/>
            <p:cNvSpPr>
              <a:spLocks noEditPoints="1"/>
            </p:cNvSpPr>
            <p:nvPr/>
          </p:nvSpPr>
          <p:spPr bwMode="auto">
            <a:xfrm>
              <a:off x="4382" y="2580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92" name="Freeform 312"/>
            <p:cNvSpPr>
              <a:spLocks noEditPoints="1"/>
            </p:cNvSpPr>
            <p:nvPr/>
          </p:nvSpPr>
          <p:spPr bwMode="auto">
            <a:xfrm>
              <a:off x="4480" y="2666"/>
              <a:ext cx="292" cy="299"/>
            </a:xfrm>
            <a:custGeom>
              <a:avLst/>
              <a:gdLst/>
              <a:ahLst/>
              <a:cxnLst>
                <a:cxn ang="0">
                  <a:pos x="88" y="79"/>
                </a:cxn>
                <a:cxn ang="0">
                  <a:pos x="86" y="76"/>
                </a:cxn>
                <a:cxn ang="0">
                  <a:pos x="86" y="76"/>
                </a:cxn>
                <a:cxn ang="0">
                  <a:pos x="85" y="76"/>
                </a:cxn>
                <a:cxn ang="0">
                  <a:pos x="80" y="70"/>
                </a:cxn>
                <a:cxn ang="0">
                  <a:pos x="80" y="70"/>
                </a:cxn>
                <a:cxn ang="0">
                  <a:pos x="88" y="45"/>
                </a:cxn>
                <a:cxn ang="0">
                  <a:pos x="76" y="14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15" y="12"/>
                </a:cxn>
                <a:cxn ang="0">
                  <a:pos x="1" y="43"/>
                </a:cxn>
                <a:cxn ang="0">
                  <a:pos x="13" y="74"/>
                </a:cxn>
                <a:cxn ang="0">
                  <a:pos x="45" y="88"/>
                </a:cxn>
                <a:cxn ang="0">
                  <a:pos x="69" y="80"/>
                </a:cxn>
                <a:cxn ang="0">
                  <a:pos x="69" y="81"/>
                </a:cxn>
                <a:cxn ang="0">
                  <a:pos x="74" y="86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108" y="122"/>
                </a:cxn>
                <a:cxn ang="0">
                  <a:pos x="111" y="125"/>
                </a:cxn>
                <a:cxn ang="0">
                  <a:pos x="113" y="122"/>
                </a:cxn>
                <a:cxn ang="0">
                  <a:pos x="119" y="117"/>
                </a:cxn>
                <a:cxn ang="0">
                  <a:pos x="122" y="114"/>
                </a:cxn>
                <a:cxn ang="0">
                  <a:pos x="119" y="112"/>
                </a:cxn>
                <a:cxn ang="0">
                  <a:pos x="88" y="79"/>
                </a:cxn>
                <a:cxn ang="0">
                  <a:pos x="16" y="71"/>
                </a:cxn>
                <a:cxn ang="0">
                  <a:pos x="17" y="15"/>
                </a:cxn>
                <a:cxn ang="0">
                  <a:pos x="45" y="4"/>
                </a:cxn>
                <a:cxn ang="0">
                  <a:pos x="74" y="16"/>
                </a:cxn>
                <a:cxn ang="0">
                  <a:pos x="73" y="72"/>
                </a:cxn>
                <a:cxn ang="0">
                  <a:pos x="71" y="74"/>
                </a:cxn>
                <a:cxn ang="0">
                  <a:pos x="45" y="84"/>
                </a:cxn>
                <a:cxn ang="0">
                  <a:pos x="16" y="71"/>
                </a:cxn>
                <a:cxn ang="0">
                  <a:pos x="72" y="78"/>
                </a:cxn>
                <a:cxn ang="0">
                  <a:pos x="73" y="77"/>
                </a:cxn>
                <a:cxn ang="0">
                  <a:pos x="75" y="76"/>
                </a:cxn>
                <a:cxn ang="0">
                  <a:pos x="76" y="74"/>
                </a:cxn>
                <a:cxn ang="0">
                  <a:pos x="78" y="73"/>
                </a:cxn>
                <a:cxn ang="0">
                  <a:pos x="83" y="78"/>
                </a:cxn>
                <a:cxn ang="0">
                  <a:pos x="77" y="84"/>
                </a:cxn>
                <a:cxn ang="0">
                  <a:pos x="72" y="78"/>
                </a:cxn>
                <a:cxn ang="0">
                  <a:pos x="111" y="120"/>
                </a:cxn>
                <a:cxn ang="0">
                  <a:pos x="80" y="87"/>
                </a:cxn>
                <a:cxn ang="0">
                  <a:pos x="85" y="81"/>
                </a:cxn>
                <a:cxn ang="0">
                  <a:pos x="117" y="114"/>
                </a:cxn>
                <a:cxn ang="0">
                  <a:pos x="111" y="120"/>
                </a:cxn>
              </a:cxnLst>
              <a:rect l="0" t="0" r="r" b="b"/>
              <a:pathLst>
                <a:path w="122" h="125">
                  <a:moveTo>
                    <a:pt x="88" y="79"/>
                  </a:moveTo>
                  <a:cubicBezTo>
                    <a:pt x="86" y="76"/>
                    <a:pt x="86" y="76"/>
                    <a:pt x="86" y="76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5" y="63"/>
                    <a:pt x="88" y="54"/>
                    <a:pt x="88" y="45"/>
                  </a:cubicBezTo>
                  <a:cubicBezTo>
                    <a:pt x="89" y="33"/>
                    <a:pt x="84" y="22"/>
                    <a:pt x="76" y="14"/>
                  </a:cubicBezTo>
                  <a:cubicBezTo>
                    <a:pt x="68" y="5"/>
                    <a:pt x="57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23" y="5"/>
                    <a:pt x="15" y="12"/>
                  </a:cubicBezTo>
                  <a:cubicBezTo>
                    <a:pt x="6" y="20"/>
                    <a:pt x="1" y="31"/>
                    <a:pt x="1" y="43"/>
                  </a:cubicBezTo>
                  <a:cubicBezTo>
                    <a:pt x="1" y="54"/>
                    <a:pt x="5" y="65"/>
                    <a:pt x="13" y="74"/>
                  </a:cubicBezTo>
                  <a:cubicBezTo>
                    <a:pt x="21" y="83"/>
                    <a:pt x="33" y="88"/>
                    <a:pt x="45" y="88"/>
                  </a:cubicBezTo>
                  <a:cubicBezTo>
                    <a:pt x="53" y="88"/>
                    <a:pt x="62" y="85"/>
                    <a:pt x="69" y="80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2" y="114"/>
                    <a:pt x="122" y="114"/>
                    <a:pt x="122" y="114"/>
                  </a:cubicBezTo>
                  <a:cubicBezTo>
                    <a:pt x="119" y="112"/>
                    <a:pt x="119" y="112"/>
                    <a:pt x="119" y="112"/>
                  </a:cubicBezTo>
                  <a:lnTo>
                    <a:pt x="88" y="79"/>
                  </a:lnTo>
                  <a:close/>
                  <a:moveTo>
                    <a:pt x="16" y="71"/>
                  </a:moveTo>
                  <a:cubicBezTo>
                    <a:pt x="0" y="55"/>
                    <a:pt x="1" y="30"/>
                    <a:pt x="17" y="15"/>
                  </a:cubicBezTo>
                  <a:cubicBezTo>
                    <a:pt x="25" y="8"/>
                    <a:pt x="35" y="4"/>
                    <a:pt x="45" y="4"/>
                  </a:cubicBezTo>
                  <a:cubicBezTo>
                    <a:pt x="55" y="4"/>
                    <a:pt x="66" y="8"/>
                    <a:pt x="74" y="16"/>
                  </a:cubicBezTo>
                  <a:cubicBezTo>
                    <a:pt x="89" y="32"/>
                    <a:pt x="88" y="56"/>
                    <a:pt x="73" y="72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3" y="81"/>
                    <a:pt x="54" y="84"/>
                    <a:pt x="45" y="84"/>
                  </a:cubicBezTo>
                  <a:cubicBezTo>
                    <a:pt x="34" y="84"/>
                    <a:pt x="24" y="80"/>
                    <a:pt x="16" y="71"/>
                  </a:cubicBezTo>
                  <a:close/>
                  <a:moveTo>
                    <a:pt x="72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75" y="75"/>
                    <a:pt x="76" y="75"/>
                    <a:pt x="76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77" y="84"/>
                    <a:pt x="77" y="84"/>
                    <a:pt x="77" y="84"/>
                  </a:cubicBezTo>
                  <a:lnTo>
                    <a:pt x="72" y="78"/>
                  </a:lnTo>
                  <a:close/>
                  <a:moveTo>
                    <a:pt x="111" y="120"/>
                  </a:moveTo>
                  <a:cubicBezTo>
                    <a:pt x="80" y="87"/>
                    <a:pt x="80" y="87"/>
                    <a:pt x="80" y="87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117" y="114"/>
                    <a:pt x="117" y="114"/>
                    <a:pt x="117" y="114"/>
                  </a:cubicBezTo>
                  <a:lnTo>
                    <a:pt x="111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395" name="Group 315"/>
          <p:cNvGrpSpPr>
            <a:grpSpLocks noChangeAspect="1"/>
          </p:cNvGrpSpPr>
          <p:nvPr/>
        </p:nvGrpSpPr>
        <p:grpSpPr bwMode="auto">
          <a:xfrm>
            <a:off x="8055775" y="4094166"/>
            <a:ext cx="768350" cy="768350"/>
            <a:chOff x="5071" y="2579"/>
            <a:chExt cx="484" cy="484"/>
          </a:xfrm>
        </p:grpSpPr>
        <p:sp>
          <p:nvSpPr>
            <p:cNvPr id="46396" name="Freeform 316"/>
            <p:cNvSpPr>
              <a:spLocks noEditPoints="1"/>
            </p:cNvSpPr>
            <p:nvPr/>
          </p:nvSpPr>
          <p:spPr bwMode="auto">
            <a:xfrm>
              <a:off x="5071" y="2579"/>
              <a:ext cx="484" cy="484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97" name="Freeform 317"/>
            <p:cNvSpPr>
              <a:spLocks noEditPoints="1"/>
            </p:cNvSpPr>
            <p:nvPr/>
          </p:nvSpPr>
          <p:spPr bwMode="auto">
            <a:xfrm>
              <a:off x="5170" y="2666"/>
              <a:ext cx="292" cy="299"/>
            </a:xfrm>
            <a:custGeom>
              <a:avLst/>
              <a:gdLst/>
              <a:ahLst/>
              <a:cxnLst>
                <a:cxn ang="0">
                  <a:pos x="88" y="79"/>
                </a:cxn>
                <a:cxn ang="0">
                  <a:pos x="86" y="76"/>
                </a:cxn>
                <a:cxn ang="0">
                  <a:pos x="86" y="76"/>
                </a:cxn>
                <a:cxn ang="0">
                  <a:pos x="85" y="76"/>
                </a:cxn>
                <a:cxn ang="0">
                  <a:pos x="80" y="70"/>
                </a:cxn>
                <a:cxn ang="0">
                  <a:pos x="80" y="70"/>
                </a:cxn>
                <a:cxn ang="0">
                  <a:pos x="88" y="45"/>
                </a:cxn>
                <a:cxn ang="0">
                  <a:pos x="76" y="14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15" y="12"/>
                </a:cxn>
                <a:cxn ang="0">
                  <a:pos x="1" y="43"/>
                </a:cxn>
                <a:cxn ang="0">
                  <a:pos x="13" y="74"/>
                </a:cxn>
                <a:cxn ang="0">
                  <a:pos x="45" y="88"/>
                </a:cxn>
                <a:cxn ang="0">
                  <a:pos x="69" y="80"/>
                </a:cxn>
                <a:cxn ang="0">
                  <a:pos x="69" y="81"/>
                </a:cxn>
                <a:cxn ang="0">
                  <a:pos x="74" y="86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77" y="89"/>
                </a:cxn>
                <a:cxn ang="0">
                  <a:pos x="108" y="122"/>
                </a:cxn>
                <a:cxn ang="0">
                  <a:pos x="111" y="125"/>
                </a:cxn>
                <a:cxn ang="0">
                  <a:pos x="113" y="122"/>
                </a:cxn>
                <a:cxn ang="0">
                  <a:pos x="119" y="117"/>
                </a:cxn>
                <a:cxn ang="0">
                  <a:pos x="122" y="114"/>
                </a:cxn>
                <a:cxn ang="0">
                  <a:pos x="119" y="112"/>
                </a:cxn>
                <a:cxn ang="0">
                  <a:pos x="88" y="79"/>
                </a:cxn>
                <a:cxn ang="0">
                  <a:pos x="16" y="71"/>
                </a:cxn>
                <a:cxn ang="0">
                  <a:pos x="17" y="15"/>
                </a:cxn>
                <a:cxn ang="0">
                  <a:pos x="45" y="4"/>
                </a:cxn>
                <a:cxn ang="0">
                  <a:pos x="74" y="16"/>
                </a:cxn>
                <a:cxn ang="0">
                  <a:pos x="73" y="72"/>
                </a:cxn>
                <a:cxn ang="0">
                  <a:pos x="71" y="74"/>
                </a:cxn>
                <a:cxn ang="0">
                  <a:pos x="45" y="84"/>
                </a:cxn>
                <a:cxn ang="0">
                  <a:pos x="16" y="71"/>
                </a:cxn>
                <a:cxn ang="0">
                  <a:pos x="72" y="78"/>
                </a:cxn>
                <a:cxn ang="0">
                  <a:pos x="73" y="77"/>
                </a:cxn>
                <a:cxn ang="0">
                  <a:pos x="75" y="76"/>
                </a:cxn>
                <a:cxn ang="0">
                  <a:pos x="76" y="74"/>
                </a:cxn>
                <a:cxn ang="0">
                  <a:pos x="78" y="73"/>
                </a:cxn>
                <a:cxn ang="0">
                  <a:pos x="83" y="78"/>
                </a:cxn>
                <a:cxn ang="0">
                  <a:pos x="77" y="84"/>
                </a:cxn>
                <a:cxn ang="0">
                  <a:pos x="72" y="78"/>
                </a:cxn>
                <a:cxn ang="0">
                  <a:pos x="111" y="120"/>
                </a:cxn>
                <a:cxn ang="0">
                  <a:pos x="80" y="87"/>
                </a:cxn>
                <a:cxn ang="0">
                  <a:pos x="85" y="81"/>
                </a:cxn>
                <a:cxn ang="0">
                  <a:pos x="117" y="114"/>
                </a:cxn>
                <a:cxn ang="0">
                  <a:pos x="111" y="120"/>
                </a:cxn>
              </a:cxnLst>
              <a:rect l="0" t="0" r="r" b="b"/>
              <a:pathLst>
                <a:path w="122" h="125">
                  <a:moveTo>
                    <a:pt x="88" y="79"/>
                  </a:moveTo>
                  <a:cubicBezTo>
                    <a:pt x="86" y="76"/>
                    <a:pt x="86" y="76"/>
                    <a:pt x="86" y="76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5" y="63"/>
                    <a:pt x="88" y="54"/>
                    <a:pt x="88" y="45"/>
                  </a:cubicBezTo>
                  <a:cubicBezTo>
                    <a:pt x="89" y="33"/>
                    <a:pt x="84" y="22"/>
                    <a:pt x="76" y="14"/>
                  </a:cubicBezTo>
                  <a:cubicBezTo>
                    <a:pt x="68" y="5"/>
                    <a:pt x="57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23" y="5"/>
                    <a:pt x="15" y="12"/>
                  </a:cubicBezTo>
                  <a:cubicBezTo>
                    <a:pt x="6" y="20"/>
                    <a:pt x="1" y="31"/>
                    <a:pt x="1" y="43"/>
                  </a:cubicBezTo>
                  <a:cubicBezTo>
                    <a:pt x="1" y="54"/>
                    <a:pt x="5" y="65"/>
                    <a:pt x="13" y="74"/>
                  </a:cubicBezTo>
                  <a:cubicBezTo>
                    <a:pt x="21" y="83"/>
                    <a:pt x="33" y="88"/>
                    <a:pt x="45" y="88"/>
                  </a:cubicBezTo>
                  <a:cubicBezTo>
                    <a:pt x="53" y="88"/>
                    <a:pt x="62" y="85"/>
                    <a:pt x="69" y="80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9" y="117"/>
                    <a:pt x="119" y="117"/>
                    <a:pt x="119" y="117"/>
                  </a:cubicBezTo>
                  <a:cubicBezTo>
                    <a:pt x="122" y="114"/>
                    <a:pt x="122" y="114"/>
                    <a:pt x="122" y="114"/>
                  </a:cubicBezTo>
                  <a:cubicBezTo>
                    <a:pt x="119" y="112"/>
                    <a:pt x="119" y="112"/>
                    <a:pt x="119" y="112"/>
                  </a:cubicBezTo>
                  <a:lnTo>
                    <a:pt x="88" y="79"/>
                  </a:lnTo>
                  <a:close/>
                  <a:moveTo>
                    <a:pt x="16" y="71"/>
                  </a:moveTo>
                  <a:cubicBezTo>
                    <a:pt x="0" y="55"/>
                    <a:pt x="1" y="30"/>
                    <a:pt x="17" y="15"/>
                  </a:cubicBezTo>
                  <a:cubicBezTo>
                    <a:pt x="25" y="8"/>
                    <a:pt x="35" y="4"/>
                    <a:pt x="45" y="4"/>
                  </a:cubicBezTo>
                  <a:cubicBezTo>
                    <a:pt x="55" y="4"/>
                    <a:pt x="66" y="8"/>
                    <a:pt x="74" y="16"/>
                  </a:cubicBezTo>
                  <a:cubicBezTo>
                    <a:pt x="89" y="32"/>
                    <a:pt x="88" y="56"/>
                    <a:pt x="73" y="72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3" y="81"/>
                    <a:pt x="54" y="84"/>
                    <a:pt x="45" y="84"/>
                  </a:cubicBezTo>
                  <a:cubicBezTo>
                    <a:pt x="34" y="84"/>
                    <a:pt x="24" y="80"/>
                    <a:pt x="16" y="71"/>
                  </a:cubicBezTo>
                  <a:close/>
                  <a:moveTo>
                    <a:pt x="72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4" y="76"/>
                    <a:pt x="74" y="76"/>
                    <a:pt x="75" y="76"/>
                  </a:cubicBezTo>
                  <a:cubicBezTo>
                    <a:pt x="75" y="75"/>
                    <a:pt x="76" y="75"/>
                    <a:pt x="76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77" y="84"/>
                    <a:pt x="77" y="84"/>
                    <a:pt x="77" y="84"/>
                  </a:cubicBezTo>
                  <a:lnTo>
                    <a:pt x="72" y="78"/>
                  </a:lnTo>
                  <a:close/>
                  <a:moveTo>
                    <a:pt x="111" y="120"/>
                  </a:moveTo>
                  <a:cubicBezTo>
                    <a:pt x="80" y="87"/>
                    <a:pt x="80" y="87"/>
                    <a:pt x="80" y="87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117" y="114"/>
                    <a:pt x="117" y="114"/>
                    <a:pt x="117" y="114"/>
                  </a:cubicBezTo>
                  <a:lnTo>
                    <a:pt x="111" y="120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400" name="Group 320"/>
          <p:cNvGrpSpPr>
            <a:grpSpLocks noChangeAspect="1"/>
          </p:cNvGrpSpPr>
          <p:nvPr/>
        </p:nvGrpSpPr>
        <p:grpSpPr bwMode="auto">
          <a:xfrm>
            <a:off x="334963" y="5386388"/>
            <a:ext cx="850900" cy="852487"/>
            <a:chOff x="211" y="3393"/>
            <a:chExt cx="536" cy="537"/>
          </a:xfrm>
        </p:grpSpPr>
        <p:sp>
          <p:nvSpPr>
            <p:cNvPr id="46401" name="Oval 321"/>
            <p:cNvSpPr>
              <a:spLocks noChangeArrowheads="1"/>
            </p:cNvSpPr>
            <p:nvPr/>
          </p:nvSpPr>
          <p:spPr bwMode="auto">
            <a:xfrm>
              <a:off x="211" y="3393"/>
              <a:ext cx="536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02" name="Freeform 322"/>
            <p:cNvSpPr>
              <a:spLocks noEditPoints="1"/>
            </p:cNvSpPr>
            <p:nvPr/>
          </p:nvSpPr>
          <p:spPr bwMode="auto">
            <a:xfrm>
              <a:off x="232" y="3415"/>
              <a:ext cx="494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03" name="Freeform 323"/>
            <p:cNvSpPr>
              <a:spLocks noEditPoints="1"/>
            </p:cNvSpPr>
            <p:nvPr/>
          </p:nvSpPr>
          <p:spPr bwMode="auto">
            <a:xfrm>
              <a:off x="316" y="3504"/>
              <a:ext cx="300" cy="294"/>
            </a:xfrm>
            <a:custGeom>
              <a:avLst/>
              <a:gdLst/>
              <a:ahLst/>
              <a:cxnLst>
                <a:cxn ang="0">
                  <a:pos x="37" y="51"/>
                </a:cxn>
                <a:cxn ang="0">
                  <a:pos x="73" y="25"/>
                </a:cxn>
                <a:cxn ang="0">
                  <a:pos x="80" y="0"/>
                </a:cxn>
                <a:cxn ang="0">
                  <a:pos x="29" y="35"/>
                </a:cxn>
                <a:cxn ang="0">
                  <a:pos x="19" y="69"/>
                </a:cxn>
                <a:cxn ang="0">
                  <a:pos x="77" y="99"/>
                </a:cxn>
                <a:cxn ang="0">
                  <a:pos x="101" y="75"/>
                </a:cxn>
                <a:cxn ang="0">
                  <a:pos x="81" y="96"/>
                </a:cxn>
                <a:cxn ang="0">
                  <a:pos x="81" y="95"/>
                </a:cxn>
                <a:cxn ang="0">
                  <a:pos x="80" y="95"/>
                </a:cxn>
                <a:cxn ang="0">
                  <a:pos x="80" y="94"/>
                </a:cxn>
                <a:cxn ang="0">
                  <a:pos x="80" y="94"/>
                </a:cxn>
                <a:cxn ang="0">
                  <a:pos x="31" y="62"/>
                </a:cxn>
                <a:cxn ang="0">
                  <a:pos x="30" y="61"/>
                </a:cxn>
                <a:cxn ang="0">
                  <a:pos x="30" y="61"/>
                </a:cxn>
                <a:cxn ang="0">
                  <a:pos x="29" y="62"/>
                </a:cxn>
                <a:cxn ang="0">
                  <a:pos x="29" y="62"/>
                </a:cxn>
                <a:cxn ang="0">
                  <a:pos x="19" y="36"/>
                </a:cxn>
                <a:cxn ang="0">
                  <a:pos x="28" y="39"/>
                </a:cxn>
                <a:cxn ang="0">
                  <a:pos x="29" y="39"/>
                </a:cxn>
                <a:cxn ang="0">
                  <a:pos x="29" y="39"/>
                </a:cxn>
                <a:cxn ang="0">
                  <a:pos x="30" y="39"/>
                </a:cxn>
                <a:cxn ang="0">
                  <a:pos x="69" y="18"/>
                </a:cxn>
                <a:cxn ang="0">
                  <a:pos x="70" y="17"/>
                </a:cxn>
                <a:cxn ang="0">
                  <a:pos x="70" y="17"/>
                </a:cxn>
                <a:cxn ang="0">
                  <a:pos x="70" y="17"/>
                </a:cxn>
                <a:cxn ang="0">
                  <a:pos x="70" y="16"/>
                </a:cxn>
                <a:cxn ang="0">
                  <a:pos x="70" y="13"/>
                </a:cxn>
                <a:cxn ang="0">
                  <a:pos x="80" y="23"/>
                </a:cxn>
                <a:cxn ang="0">
                  <a:pos x="74" y="21"/>
                </a:cxn>
                <a:cxn ang="0">
                  <a:pos x="73" y="21"/>
                </a:cxn>
                <a:cxn ang="0">
                  <a:pos x="73" y="21"/>
                </a:cxn>
                <a:cxn ang="0">
                  <a:pos x="72" y="21"/>
                </a:cxn>
                <a:cxn ang="0">
                  <a:pos x="72" y="21"/>
                </a:cxn>
                <a:cxn ang="0">
                  <a:pos x="34" y="48"/>
                </a:cxn>
                <a:cxn ang="0">
                  <a:pos x="34" y="48"/>
                </a:cxn>
                <a:cxn ang="0">
                  <a:pos x="34" y="51"/>
                </a:cxn>
                <a:cxn ang="0">
                  <a:pos x="34" y="52"/>
                </a:cxn>
                <a:cxn ang="0">
                  <a:pos x="34" y="53"/>
                </a:cxn>
                <a:cxn ang="0">
                  <a:pos x="34" y="53"/>
                </a:cxn>
                <a:cxn ang="0">
                  <a:pos x="34" y="54"/>
                </a:cxn>
                <a:cxn ang="0">
                  <a:pos x="35" y="54"/>
                </a:cxn>
                <a:cxn ang="0">
                  <a:pos x="88" y="82"/>
                </a:cxn>
                <a:cxn ang="0">
                  <a:pos x="88" y="82"/>
                </a:cxn>
                <a:cxn ang="0">
                  <a:pos x="89" y="82"/>
                </a:cxn>
                <a:cxn ang="0">
                  <a:pos x="89" y="82"/>
                </a:cxn>
                <a:cxn ang="0">
                  <a:pos x="121" y="99"/>
                </a:cxn>
              </a:cxnLst>
              <a:rect l="0" t="0" r="r" b="b"/>
              <a:pathLst>
                <a:path w="125" h="123">
                  <a:moveTo>
                    <a:pt x="101" y="75"/>
                  </a:moveTo>
                  <a:cubicBezTo>
                    <a:pt x="96" y="75"/>
                    <a:pt x="92" y="76"/>
                    <a:pt x="88" y="78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8" y="51"/>
                    <a:pt x="38" y="51"/>
                  </a:cubicBezTo>
                  <a:cubicBezTo>
                    <a:pt x="38" y="50"/>
                    <a:pt x="37" y="50"/>
                    <a:pt x="37" y="49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5" y="26"/>
                    <a:pt x="77" y="27"/>
                    <a:pt x="80" y="27"/>
                  </a:cubicBezTo>
                  <a:cubicBezTo>
                    <a:pt x="87" y="27"/>
                    <a:pt x="93" y="21"/>
                    <a:pt x="93" y="13"/>
                  </a:cubicBezTo>
                  <a:cubicBezTo>
                    <a:pt x="93" y="6"/>
                    <a:pt x="87" y="0"/>
                    <a:pt x="80" y="0"/>
                  </a:cubicBezTo>
                  <a:cubicBezTo>
                    <a:pt x="72" y="0"/>
                    <a:pt x="66" y="6"/>
                    <a:pt x="66" y="13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3"/>
                    <a:pt x="23" y="32"/>
                    <a:pt x="19" y="32"/>
                  </a:cubicBezTo>
                  <a:cubicBezTo>
                    <a:pt x="9" y="32"/>
                    <a:pt x="0" y="41"/>
                    <a:pt x="0" y="51"/>
                  </a:cubicBezTo>
                  <a:cubicBezTo>
                    <a:pt x="0" y="61"/>
                    <a:pt x="9" y="69"/>
                    <a:pt x="19" y="69"/>
                  </a:cubicBezTo>
                  <a:cubicBezTo>
                    <a:pt x="23" y="69"/>
                    <a:pt x="27" y="68"/>
                    <a:pt x="30" y="6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7" y="97"/>
                    <a:pt x="77" y="98"/>
                    <a:pt x="77" y="99"/>
                  </a:cubicBezTo>
                  <a:cubicBezTo>
                    <a:pt x="77" y="112"/>
                    <a:pt x="87" y="123"/>
                    <a:pt x="101" y="123"/>
                  </a:cubicBezTo>
                  <a:cubicBezTo>
                    <a:pt x="114" y="123"/>
                    <a:pt x="125" y="112"/>
                    <a:pt x="125" y="99"/>
                  </a:cubicBezTo>
                  <a:cubicBezTo>
                    <a:pt x="125" y="85"/>
                    <a:pt x="114" y="75"/>
                    <a:pt x="101" y="75"/>
                  </a:cubicBezTo>
                  <a:close/>
                  <a:moveTo>
                    <a:pt x="101" y="119"/>
                  </a:moveTo>
                  <a:cubicBezTo>
                    <a:pt x="89" y="119"/>
                    <a:pt x="80" y="110"/>
                    <a:pt x="80" y="99"/>
                  </a:cubicBezTo>
                  <a:cubicBezTo>
                    <a:pt x="80" y="98"/>
                    <a:pt x="80" y="97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5"/>
                    <a:pt x="81" y="95"/>
                  </a:cubicBezTo>
                  <a:cubicBezTo>
                    <a:pt x="81" y="95"/>
                    <a:pt x="81" y="95"/>
                    <a:pt x="81" y="95"/>
                  </a:cubicBezTo>
                  <a:cubicBezTo>
                    <a:pt x="81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2"/>
                    <a:pt x="30" y="62"/>
                  </a:cubicBezTo>
                  <a:cubicBezTo>
                    <a:pt x="30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6" y="64"/>
                    <a:pt x="23" y="66"/>
                    <a:pt x="19" y="66"/>
                  </a:cubicBezTo>
                  <a:cubicBezTo>
                    <a:pt x="11" y="66"/>
                    <a:pt x="4" y="59"/>
                    <a:pt x="4" y="51"/>
                  </a:cubicBezTo>
                  <a:cubicBezTo>
                    <a:pt x="4" y="43"/>
                    <a:pt x="11" y="36"/>
                    <a:pt x="19" y="36"/>
                  </a:cubicBezTo>
                  <a:cubicBezTo>
                    <a:pt x="22" y="36"/>
                    <a:pt x="25" y="37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5"/>
                    <a:pt x="70" y="14"/>
                    <a:pt x="70" y="13"/>
                  </a:cubicBezTo>
                  <a:cubicBezTo>
                    <a:pt x="70" y="8"/>
                    <a:pt x="74" y="3"/>
                    <a:pt x="80" y="3"/>
                  </a:cubicBezTo>
                  <a:cubicBezTo>
                    <a:pt x="85" y="3"/>
                    <a:pt x="90" y="8"/>
                    <a:pt x="90" y="13"/>
                  </a:cubicBezTo>
                  <a:cubicBezTo>
                    <a:pt x="90" y="19"/>
                    <a:pt x="85" y="23"/>
                    <a:pt x="80" y="23"/>
                  </a:cubicBezTo>
                  <a:cubicBezTo>
                    <a:pt x="78" y="23"/>
                    <a:pt x="76" y="23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50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93" y="79"/>
                    <a:pt x="97" y="78"/>
                    <a:pt x="101" y="78"/>
                  </a:cubicBezTo>
                  <a:cubicBezTo>
                    <a:pt x="112" y="78"/>
                    <a:pt x="121" y="87"/>
                    <a:pt x="121" y="99"/>
                  </a:cubicBezTo>
                  <a:cubicBezTo>
                    <a:pt x="121" y="110"/>
                    <a:pt x="112" y="119"/>
                    <a:pt x="101" y="11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406" name="Group 326"/>
          <p:cNvGrpSpPr>
            <a:grpSpLocks noChangeAspect="1"/>
          </p:cNvGrpSpPr>
          <p:nvPr/>
        </p:nvGrpSpPr>
        <p:grpSpPr bwMode="auto">
          <a:xfrm>
            <a:off x="1457325" y="5419725"/>
            <a:ext cx="784226" cy="787400"/>
            <a:chOff x="919" y="3414"/>
            <a:chExt cx="494" cy="496"/>
          </a:xfrm>
        </p:grpSpPr>
        <p:sp>
          <p:nvSpPr>
            <p:cNvPr id="46407" name="Freeform 327"/>
            <p:cNvSpPr>
              <a:spLocks noEditPoints="1"/>
            </p:cNvSpPr>
            <p:nvPr/>
          </p:nvSpPr>
          <p:spPr bwMode="auto">
            <a:xfrm>
              <a:off x="919" y="3414"/>
              <a:ext cx="494" cy="496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7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2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2"/>
                </a:cxn>
              </a:cxnLst>
              <a:rect l="0" t="0" r="r" b="b"/>
              <a:pathLst>
                <a:path w="206" h="207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60"/>
                    <a:pt x="46" y="207"/>
                    <a:pt x="103" y="207"/>
                  </a:cubicBezTo>
                  <a:cubicBezTo>
                    <a:pt x="160" y="207"/>
                    <a:pt x="206" y="160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2"/>
                  </a:moveTo>
                  <a:cubicBezTo>
                    <a:pt x="49" y="202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2"/>
                    <a:pt x="103" y="202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08" name="Freeform 328"/>
            <p:cNvSpPr>
              <a:spLocks noEditPoints="1"/>
            </p:cNvSpPr>
            <p:nvPr/>
          </p:nvSpPr>
          <p:spPr bwMode="auto">
            <a:xfrm>
              <a:off x="1003" y="3503"/>
              <a:ext cx="300" cy="295"/>
            </a:xfrm>
            <a:custGeom>
              <a:avLst/>
              <a:gdLst/>
              <a:ahLst/>
              <a:cxnLst>
                <a:cxn ang="0">
                  <a:pos x="37" y="51"/>
                </a:cxn>
                <a:cxn ang="0">
                  <a:pos x="73" y="25"/>
                </a:cxn>
                <a:cxn ang="0">
                  <a:pos x="80" y="0"/>
                </a:cxn>
                <a:cxn ang="0">
                  <a:pos x="29" y="35"/>
                </a:cxn>
                <a:cxn ang="0">
                  <a:pos x="19" y="69"/>
                </a:cxn>
                <a:cxn ang="0">
                  <a:pos x="77" y="99"/>
                </a:cxn>
                <a:cxn ang="0">
                  <a:pos x="101" y="75"/>
                </a:cxn>
                <a:cxn ang="0">
                  <a:pos x="81" y="96"/>
                </a:cxn>
                <a:cxn ang="0">
                  <a:pos x="81" y="95"/>
                </a:cxn>
                <a:cxn ang="0">
                  <a:pos x="80" y="95"/>
                </a:cxn>
                <a:cxn ang="0">
                  <a:pos x="80" y="94"/>
                </a:cxn>
                <a:cxn ang="0">
                  <a:pos x="80" y="94"/>
                </a:cxn>
                <a:cxn ang="0">
                  <a:pos x="31" y="62"/>
                </a:cxn>
                <a:cxn ang="0">
                  <a:pos x="30" y="61"/>
                </a:cxn>
                <a:cxn ang="0">
                  <a:pos x="30" y="61"/>
                </a:cxn>
                <a:cxn ang="0">
                  <a:pos x="29" y="62"/>
                </a:cxn>
                <a:cxn ang="0">
                  <a:pos x="29" y="62"/>
                </a:cxn>
                <a:cxn ang="0">
                  <a:pos x="19" y="36"/>
                </a:cxn>
                <a:cxn ang="0">
                  <a:pos x="28" y="39"/>
                </a:cxn>
                <a:cxn ang="0">
                  <a:pos x="29" y="39"/>
                </a:cxn>
                <a:cxn ang="0">
                  <a:pos x="29" y="39"/>
                </a:cxn>
                <a:cxn ang="0">
                  <a:pos x="30" y="39"/>
                </a:cxn>
                <a:cxn ang="0">
                  <a:pos x="69" y="18"/>
                </a:cxn>
                <a:cxn ang="0">
                  <a:pos x="70" y="17"/>
                </a:cxn>
                <a:cxn ang="0">
                  <a:pos x="70" y="17"/>
                </a:cxn>
                <a:cxn ang="0">
                  <a:pos x="70" y="17"/>
                </a:cxn>
                <a:cxn ang="0">
                  <a:pos x="70" y="16"/>
                </a:cxn>
                <a:cxn ang="0">
                  <a:pos x="70" y="13"/>
                </a:cxn>
                <a:cxn ang="0">
                  <a:pos x="80" y="23"/>
                </a:cxn>
                <a:cxn ang="0">
                  <a:pos x="74" y="21"/>
                </a:cxn>
                <a:cxn ang="0">
                  <a:pos x="73" y="21"/>
                </a:cxn>
                <a:cxn ang="0">
                  <a:pos x="73" y="21"/>
                </a:cxn>
                <a:cxn ang="0">
                  <a:pos x="72" y="21"/>
                </a:cxn>
                <a:cxn ang="0">
                  <a:pos x="72" y="21"/>
                </a:cxn>
                <a:cxn ang="0">
                  <a:pos x="34" y="48"/>
                </a:cxn>
                <a:cxn ang="0">
                  <a:pos x="34" y="48"/>
                </a:cxn>
                <a:cxn ang="0">
                  <a:pos x="34" y="51"/>
                </a:cxn>
                <a:cxn ang="0">
                  <a:pos x="34" y="52"/>
                </a:cxn>
                <a:cxn ang="0">
                  <a:pos x="34" y="53"/>
                </a:cxn>
                <a:cxn ang="0">
                  <a:pos x="34" y="53"/>
                </a:cxn>
                <a:cxn ang="0">
                  <a:pos x="34" y="54"/>
                </a:cxn>
                <a:cxn ang="0">
                  <a:pos x="35" y="54"/>
                </a:cxn>
                <a:cxn ang="0">
                  <a:pos x="88" y="82"/>
                </a:cxn>
                <a:cxn ang="0">
                  <a:pos x="88" y="82"/>
                </a:cxn>
                <a:cxn ang="0">
                  <a:pos x="89" y="82"/>
                </a:cxn>
                <a:cxn ang="0">
                  <a:pos x="89" y="82"/>
                </a:cxn>
                <a:cxn ang="0">
                  <a:pos x="121" y="99"/>
                </a:cxn>
              </a:cxnLst>
              <a:rect l="0" t="0" r="r" b="b"/>
              <a:pathLst>
                <a:path w="125" h="123">
                  <a:moveTo>
                    <a:pt x="101" y="75"/>
                  </a:moveTo>
                  <a:cubicBezTo>
                    <a:pt x="96" y="75"/>
                    <a:pt x="92" y="76"/>
                    <a:pt x="88" y="78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8" y="51"/>
                    <a:pt x="38" y="51"/>
                  </a:cubicBezTo>
                  <a:cubicBezTo>
                    <a:pt x="38" y="50"/>
                    <a:pt x="37" y="50"/>
                    <a:pt x="37" y="49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5" y="26"/>
                    <a:pt x="77" y="27"/>
                    <a:pt x="80" y="27"/>
                  </a:cubicBezTo>
                  <a:cubicBezTo>
                    <a:pt x="87" y="27"/>
                    <a:pt x="93" y="21"/>
                    <a:pt x="93" y="13"/>
                  </a:cubicBezTo>
                  <a:cubicBezTo>
                    <a:pt x="93" y="6"/>
                    <a:pt x="87" y="0"/>
                    <a:pt x="80" y="0"/>
                  </a:cubicBezTo>
                  <a:cubicBezTo>
                    <a:pt x="72" y="0"/>
                    <a:pt x="66" y="6"/>
                    <a:pt x="66" y="13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3"/>
                    <a:pt x="23" y="32"/>
                    <a:pt x="19" y="32"/>
                  </a:cubicBezTo>
                  <a:cubicBezTo>
                    <a:pt x="9" y="32"/>
                    <a:pt x="0" y="41"/>
                    <a:pt x="0" y="51"/>
                  </a:cubicBezTo>
                  <a:cubicBezTo>
                    <a:pt x="0" y="61"/>
                    <a:pt x="9" y="69"/>
                    <a:pt x="19" y="69"/>
                  </a:cubicBezTo>
                  <a:cubicBezTo>
                    <a:pt x="23" y="69"/>
                    <a:pt x="27" y="68"/>
                    <a:pt x="30" y="66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7" y="97"/>
                    <a:pt x="77" y="98"/>
                    <a:pt x="77" y="99"/>
                  </a:cubicBezTo>
                  <a:cubicBezTo>
                    <a:pt x="77" y="112"/>
                    <a:pt x="87" y="123"/>
                    <a:pt x="101" y="123"/>
                  </a:cubicBezTo>
                  <a:cubicBezTo>
                    <a:pt x="114" y="123"/>
                    <a:pt x="125" y="112"/>
                    <a:pt x="125" y="99"/>
                  </a:cubicBezTo>
                  <a:cubicBezTo>
                    <a:pt x="125" y="85"/>
                    <a:pt x="114" y="75"/>
                    <a:pt x="101" y="75"/>
                  </a:cubicBezTo>
                  <a:close/>
                  <a:moveTo>
                    <a:pt x="101" y="119"/>
                  </a:moveTo>
                  <a:cubicBezTo>
                    <a:pt x="89" y="119"/>
                    <a:pt x="80" y="110"/>
                    <a:pt x="80" y="99"/>
                  </a:cubicBezTo>
                  <a:cubicBezTo>
                    <a:pt x="80" y="98"/>
                    <a:pt x="80" y="97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96"/>
                    <a:pt x="81" y="95"/>
                    <a:pt x="81" y="95"/>
                  </a:cubicBezTo>
                  <a:cubicBezTo>
                    <a:pt x="81" y="95"/>
                    <a:pt x="81" y="95"/>
                    <a:pt x="81" y="95"/>
                  </a:cubicBezTo>
                  <a:cubicBezTo>
                    <a:pt x="81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5"/>
                    <a:pt x="80" y="95"/>
                  </a:cubicBezTo>
                  <a:cubicBezTo>
                    <a:pt x="80" y="95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2"/>
                    <a:pt x="30" y="62"/>
                  </a:cubicBezTo>
                  <a:cubicBezTo>
                    <a:pt x="30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6" y="64"/>
                    <a:pt x="23" y="66"/>
                    <a:pt x="19" y="66"/>
                  </a:cubicBezTo>
                  <a:cubicBezTo>
                    <a:pt x="11" y="66"/>
                    <a:pt x="4" y="59"/>
                    <a:pt x="4" y="51"/>
                  </a:cubicBezTo>
                  <a:cubicBezTo>
                    <a:pt x="4" y="43"/>
                    <a:pt x="11" y="36"/>
                    <a:pt x="19" y="36"/>
                  </a:cubicBezTo>
                  <a:cubicBezTo>
                    <a:pt x="22" y="36"/>
                    <a:pt x="25" y="37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5"/>
                    <a:pt x="70" y="14"/>
                    <a:pt x="70" y="13"/>
                  </a:cubicBezTo>
                  <a:cubicBezTo>
                    <a:pt x="70" y="8"/>
                    <a:pt x="74" y="3"/>
                    <a:pt x="80" y="3"/>
                  </a:cubicBezTo>
                  <a:cubicBezTo>
                    <a:pt x="85" y="3"/>
                    <a:pt x="90" y="8"/>
                    <a:pt x="90" y="13"/>
                  </a:cubicBezTo>
                  <a:cubicBezTo>
                    <a:pt x="90" y="19"/>
                    <a:pt x="85" y="23"/>
                    <a:pt x="80" y="23"/>
                  </a:cubicBezTo>
                  <a:cubicBezTo>
                    <a:pt x="78" y="23"/>
                    <a:pt x="76" y="23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50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93" y="79"/>
                    <a:pt x="97" y="78"/>
                    <a:pt x="101" y="78"/>
                  </a:cubicBezTo>
                  <a:cubicBezTo>
                    <a:pt x="112" y="78"/>
                    <a:pt x="121" y="87"/>
                    <a:pt x="121" y="99"/>
                  </a:cubicBezTo>
                  <a:cubicBezTo>
                    <a:pt x="121" y="110"/>
                    <a:pt x="112" y="119"/>
                    <a:pt x="101" y="11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411" name="Group 331"/>
          <p:cNvGrpSpPr>
            <a:grpSpLocks noChangeAspect="1"/>
          </p:cNvGrpSpPr>
          <p:nvPr/>
        </p:nvGrpSpPr>
        <p:grpSpPr bwMode="auto">
          <a:xfrm>
            <a:off x="2523331" y="5386391"/>
            <a:ext cx="844550" cy="847725"/>
            <a:chOff x="1586" y="3393"/>
            <a:chExt cx="532" cy="534"/>
          </a:xfrm>
        </p:grpSpPr>
        <p:sp>
          <p:nvSpPr>
            <p:cNvPr id="46412" name="Oval 332"/>
            <p:cNvSpPr>
              <a:spLocks noChangeArrowheads="1"/>
            </p:cNvSpPr>
            <p:nvPr/>
          </p:nvSpPr>
          <p:spPr bwMode="auto">
            <a:xfrm>
              <a:off x="1586" y="3393"/>
              <a:ext cx="532" cy="534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13" name="Freeform 333"/>
            <p:cNvSpPr>
              <a:spLocks noEditPoints="1"/>
            </p:cNvSpPr>
            <p:nvPr/>
          </p:nvSpPr>
          <p:spPr bwMode="auto">
            <a:xfrm>
              <a:off x="1605" y="3415"/>
              <a:ext cx="493" cy="493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60" y="206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14" name="Freeform 334"/>
            <p:cNvSpPr>
              <a:spLocks noEditPoints="1"/>
            </p:cNvSpPr>
            <p:nvPr/>
          </p:nvSpPr>
          <p:spPr bwMode="auto">
            <a:xfrm>
              <a:off x="1763" y="3484"/>
              <a:ext cx="182" cy="336"/>
            </a:xfrm>
            <a:custGeom>
              <a:avLst/>
              <a:gdLst/>
              <a:ahLst/>
              <a:cxnLst>
                <a:cxn ang="0">
                  <a:pos x="74" y="47"/>
                </a:cxn>
                <a:cxn ang="0">
                  <a:pos x="71" y="47"/>
                </a:cxn>
                <a:cxn ang="0">
                  <a:pos x="71" y="41"/>
                </a:cxn>
                <a:cxn ang="0">
                  <a:pos x="69" y="39"/>
                </a:cxn>
                <a:cxn ang="0">
                  <a:pos x="62" y="39"/>
                </a:cxn>
                <a:cxn ang="0">
                  <a:pos x="56" y="9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19" y="9"/>
                </a:cxn>
                <a:cxn ang="0">
                  <a:pos x="13" y="39"/>
                </a:cxn>
                <a:cxn ang="0">
                  <a:pos x="7" y="39"/>
                </a:cxn>
                <a:cxn ang="0">
                  <a:pos x="5" y="41"/>
                </a:cxn>
                <a:cxn ang="0">
                  <a:pos x="5" y="47"/>
                </a:cxn>
                <a:cxn ang="0">
                  <a:pos x="2" y="47"/>
                </a:cxn>
                <a:cxn ang="0">
                  <a:pos x="0" y="49"/>
                </a:cxn>
                <a:cxn ang="0">
                  <a:pos x="0" y="138"/>
                </a:cxn>
                <a:cxn ang="0">
                  <a:pos x="2" y="140"/>
                </a:cxn>
                <a:cxn ang="0">
                  <a:pos x="74" y="140"/>
                </a:cxn>
                <a:cxn ang="0">
                  <a:pos x="76" y="138"/>
                </a:cxn>
                <a:cxn ang="0">
                  <a:pos x="76" y="49"/>
                </a:cxn>
                <a:cxn ang="0">
                  <a:pos x="74" y="47"/>
                </a:cxn>
                <a:cxn ang="0">
                  <a:pos x="62" y="43"/>
                </a:cxn>
                <a:cxn ang="0">
                  <a:pos x="67" y="43"/>
                </a:cxn>
                <a:cxn ang="0">
                  <a:pos x="67" y="47"/>
                </a:cxn>
                <a:cxn ang="0">
                  <a:pos x="61" y="47"/>
                </a:cxn>
                <a:cxn ang="0">
                  <a:pos x="62" y="43"/>
                </a:cxn>
                <a:cxn ang="0">
                  <a:pos x="22" y="11"/>
                </a:cxn>
                <a:cxn ang="0">
                  <a:pos x="38" y="4"/>
                </a:cxn>
                <a:cxn ang="0">
                  <a:pos x="53" y="11"/>
                </a:cxn>
                <a:cxn ang="0">
                  <a:pos x="59" y="39"/>
                </a:cxn>
                <a:cxn ang="0">
                  <a:pos x="17" y="39"/>
                </a:cxn>
                <a:cxn ang="0">
                  <a:pos x="22" y="11"/>
                </a:cxn>
                <a:cxn ang="0">
                  <a:pos x="58" y="43"/>
                </a:cxn>
                <a:cxn ang="0">
                  <a:pos x="58" y="47"/>
                </a:cxn>
                <a:cxn ang="0">
                  <a:pos x="18" y="47"/>
                </a:cxn>
                <a:cxn ang="0">
                  <a:pos x="17" y="43"/>
                </a:cxn>
                <a:cxn ang="0">
                  <a:pos x="58" y="43"/>
                </a:cxn>
                <a:cxn ang="0">
                  <a:pos x="9" y="43"/>
                </a:cxn>
                <a:cxn ang="0">
                  <a:pos x="14" y="43"/>
                </a:cxn>
                <a:cxn ang="0">
                  <a:pos x="14" y="47"/>
                </a:cxn>
                <a:cxn ang="0">
                  <a:pos x="9" y="47"/>
                </a:cxn>
                <a:cxn ang="0">
                  <a:pos x="9" y="43"/>
                </a:cxn>
                <a:cxn ang="0">
                  <a:pos x="72" y="136"/>
                </a:cxn>
                <a:cxn ang="0">
                  <a:pos x="4" y="136"/>
                </a:cxn>
                <a:cxn ang="0">
                  <a:pos x="4" y="123"/>
                </a:cxn>
                <a:cxn ang="0">
                  <a:pos x="63" y="123"/>
                </a:cxn>
                <a:cxn ang="0">
                  <a:pos x="65" y="121"/>
                </a:cxn>
                <a:cxn ang="0">
                  <a:pos x="63" y="119"/>
                </a:cxn>
                <a:cxn ang="0">
                  <a:pos x="4" y="119"/>
                </a:cxn>
                <a:cxn ang="0">
                  <a:pos x="4" y="50"/>
                </a:cxn>
                <a:cxn ang="0">
                  <a:pos x="72" y="50"/>
                </a:cxn>
                <a:cxn ang="0">
                  <a:pos x="72" y="136"/>
                </a:cxn>
              </a:cxnLst>
              <a:rect l="0" t="0" r="r" b="b"/>
              <a:pathLst>
                <a:path w="76" h="140">
                  <a:moveTo>
                    <a:pt x="74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1" y="40"/>
                    <a:pt x="70" y="39"/>
                    <a:pt x="69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3" y="31"/>
                    <a:pt x="63" y="17"/>
                    <a:pt x="56" y="9"/>
                  </a:cubicBezTo>
                  <a:cubicBezTo>
                    <a:pt x="52" y="3"/>
                    <a:pt x="46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24" y="3"/>
                    <a:pt x="19" y="9"/>
                  </a:cubicBezTo>
                  <a:cubicBezTo>
                    <a:pt x="13" y="17"/>
                    <a:pt x="13" y="31"/>
                    <a:pt x="13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6" y="39"/>
                    <a:pt x="5" y="40"/>
                    <a:pt x="5" y="41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0" y="48"/>
                    <a:pt x="0" y="49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9"/>
                    <a:pt x="1" y="140"/>
                    <a:pt x="2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5" y="140"/>
                    <a:pt x="76" y="139"/>
                    <a:pt x="76" y="13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8"/>
                    <a:pt x="75" y="47"/>
                    <a:pt x="74" y="47"/>
                  </a:cubicBezTo>
                  <a:close/>
                  <a:moveTo>
                    <a:pt x="62" y="43"/>
                  </a:moveTo>
                  <a:cubicBezTo>
                    <a:pt x="67" y="43"/>
                    <a:pt x="67" y="43"/>
                    <a:pt x="67" y="43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2" y="46"/>
                    <a:pt x="62" y="45"/>
                    <a:pt x="62" y="43"/>
                  </a:cubicBezTo>
                  <a:close/>
                  <a:moveTo>
                    <a:pt x="22" y="11"/>
                  </a:moveTo>
                  <a:cubicBezTo>
                    <a:pt x="26" y="7"/>
                    <a:pt x="31" y="4"/>
                    <a:pt x="38" y="4"/>
                  </a:cubicBezTo>
                  <a:cubicBezTo>
                    <a:pt x="45" y="4"/>
                    <a:pt x="50" y="7"/>
                    <a:pt x="53" y="11"/>
                  </a:cubicBezTo>
                  <a:cubicBezTo>
                    <a:pt x="59" y="19"/>
                    <a:pt x="59" y="31"/>
                    <a:pt x="59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1"/>
                    <a:pt x="16" y="19"/>
                    <a:pt x="22" y="11"/>
                  </a:cubicBezTo>
                  <a:close/>
                  <a:moveTo>
                    <a:pt x="58" y="43"/>
                  </a:moveTo>
                  <a:cubicBezTo>
                    <a:pt x="58" y="45"/>
                    <a:pt x="58" y="46"/>
                    <a:pt x="58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6"/>
                    <a:pt x="18" y="45"/>
                    <a:pt x="17" y="43"/>
                  </a:cubicBezTo>
                  <a:lnTo>
                    <a:pt x="58" y="43"/>
                  </a:lnTo>
                  <a:close/>
                  <a:moveTo>
                    <a:pt x="9" y="43"/>
                  </a:moveTo>
                  <a:cubicBezTo>
                    <a:pt x="14" y="43"/>
                    <a:pt x="14" y="43"/>
                    <a:pt x="14" y="43"/>
                  </a:cubicBezTo>
                  <a:cubicBezTo>
                    <a:pt x="14" y="45"/>
                    <a:pt x="14" y="46"/>
                    <a:pt x="14" y="47"/>
                  </a:cubicBezTo>
                  <a:cubicBezTo>
                    <a:pt x="9" y="47"/>
                    <a:pt x="9" y="47"/>
                    <a:pt x="9" y="47"/>
                  </a:cubicBezTo>
                  <a:lnTo>
                    <a:pt x="9" y="43"/>
                  </a:lnTo>
                  <a:close/>
                  <a:moveTo>
                    <a:pt x="72" y="136"/>
                  </a:moveTo>
                  <a:cubicBezTo>
                    <a:pt x="4" y="136"/>
                    <a:pt x="4" y="136"/>
                    <a:pt x="4" y="136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4" y="123"/>
                    <a:pt x="65" y="122"/>
                    <a:pt x="65" y="121"/>
                  </a:cubicBezTo>
                  <a:cubicBezTo>
                    <a:pt x="65" y="120"/>
                    <a:pt x="64" y="119"/>
                    <a:pt x="63" y="119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1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417" name="Group 337"/>
          <p:cNvGrpSpPr>
            <a:grpSpLocks noChangeAspect="1"/>
          </p:cNvGrpSpPr>
          <p:nvPr/>
        </p:nvGrpSpPr>
        <p:grpSpPr bwMode="auto">
          <a:xfrm>
            <a:off x="3660775" y="5419725"/>
            <a:ext cx="784225" cy="784225"/>
            <a:chOff x="2299" y="3414"/>
            <a:chExt cx="494" cy="494"/>
          </a:xfrm>
        </p:grpSpPr>
        <p:sp>
          <p:nvSpPr>
            <p:cNvPr id="46418" name="Freeform 338"/>
            <p:cNvSpPr>
              <a:spLocks noEditPoints="1"/>
            </p:cNvSpPr>
            <p:nvPr/>
          </p:nvSpPr>
          <p:spPr bwMode="auto">
            <a:xfrm>
              <a:off x="2299" y="3414"/>
              <a:ext cx="494" cy="494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0" y="103"/>
                </a:cxn>
                <a:cxn ang="0">
                  <a:pos x="103" y="206"/>
                </a:cxn>
                <a:cxn ang="0">
                  <a:pos x="206" y="103"/>
                </a:cxn>
                <a:cxn ang="0">
                  <a:pos x="103" y="0"/>
                </a:cxn>
                <a:cxn ang="0">
                  <a:pos x="103" y="201"/>
                </a:cxn>
                <a:cxn ang="0">
                  <a:pos x="5" y="103"/>
                </a:cxn>
                <a:cxn ang="0">
                  <a:pos x="103" y="5"/>
                </a:cxn>
                <a:cxn ang="0">
                  <a:pos x="201" y="103"/>
                </a:cxn>
                <a:cxn ang="0">
                  <a:pos x="103" y="201"/>
                </a:cxn>
              </a:cxnLst>
              <a:rect l="0" t="0" r="r" b="b"/>
              <a:pathLst>
                <a:path w="206" h="206">
                  <a:moveTo>
                    <a:pt x="103" y="0"/>
                  </a:moveTo>
                  <a:cubicBezTo>
                    <a:pt x="46" y="0"/>
                    <a:pt x="0" y="46"/>
                    <a:pt x="0" y="103"/>
                  </a:cubicBezTo>
                  <a:cubicBezTo>
                    <a:pt x="0" y="159"/>
                    <a:pt x="46" y="206"/>
                    <a:pt x="103" y="206"/>
                  </a:cubicBezTo>
                  <a:cubicBezTo>
                    <a:pt x="160" y="206"/>
                    <a:pt x="206" y="159"/>
                    <a:pt x="206" y="103"/>
                  </a:cubicBezTo>
                  <a:cubicBezTo>
                    <a:pt x="206" y="46"/>
                    <a:pt x="160" y="0"/>
                    <a:pt x="103" y="0"/>
                  </a:cubicBezTo>
                  <a:close/>
                  <a:moveTo>
                    <a:pt x="103" y="201"/>
                  </a:moveTo>
                  <a:cubicBezTo>
                    <a:pt x="49" y="201"/>
                    <a:pt x="5" y="157"/>
                    <a:pt x="5" y="103"/>
                  </a:cubicBezTo>
                  <a:cubicBezTo>
                    <a:pt x="5" y="49"/>
                    <a:pt x="49" y="5"/>
                    <a:pt x="103" y="5"/>
                  </a:cubicBezTo>
                  <a:cubicBezTo>
                    <a:pt x="157" y="5"/>
                    <a:pt x="201" y="49"/>
                    <a:pt x="201" y="103"/>
                  </a:cubicBezTo>
                  <a:cubicBezTo>
                    <a:pt x="201" y="157"/>
                    <a:pt x="157" y="201"/>
                    <a:pt x="103" y="201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19" name="Freeform 339"/>
            <p:cNvSpPr>
              <a:spLocks noEditPoints="1"/>
            </p:cNvSpPr>
            <p:nvPr/>
          </p:nvSpPr>
          <p:spPr bwMode="auto">
            <a:xfrm>
              <a:off x="2457" y="3484"/>
              <a:ext cx="183" cy="335"/>
            </a:xfrm>
            <a:custGeom>
              <a:avLst/>
              <a:gdLst/>
              <a:ahLst/>
              <a:cxnLst>
                <a:cxn ang="0">
                  <a:pos x="74" y="47"/>
                </a:cxn>
                <a:cxn ang="0">
                  <a:pos x="71" y="47"/>
                </a:cxn>
                <a:cxn ang="0">
                  <a:pos x="71" y="41"/>
                </a:cxn>
                <a:cxn ang="0">
                  <a:pos x="69" y="39"/>
                </a:cxn>
                <a:cxn ang="0">
                  <a:pos x="62" y="39"/>
                </a:cxn>
                <a:cxn ang="0">
                  <a:pos x="56" y="9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38" y="0"/>
                </a:cxn>
                <a:cxn ang="0">
                  <a:pos x="19" y="9"/>
                </a:cxn>
                <a:cxn ang="0">
                  <a:pos x="13" y="39"/>
                </a:cxn>
                <a:cxn ang="0">
                  <a:pos x="7" y="39"/>
                </a:cxn>
                <a:cxn ang="0">
                  <a:pos x="5" y="41"/>
                </a:cxn>
                <a:cxn ang="0">
                  <a:pos x="5" y="47"/>
                </a:cxn>
                <a:cxn ang="0">
                  <a:pos x="2" y="47"/>
                </a:cxn>
                <a:cxn ang="0">
                  <a:pos x="0" y="49"/>
                </a:cxn>
                <a:cxn ang="0">
                  <a:pos x="0" y="138"/>
                </a:cxn>
                <a:cxn ang="0">
                  <a:pos x="2" y="140"/>
                </a:cxn>
                <a:cxn ang="0">
                  <a:pos x="74" y="140"/>
                </a:cxn>
                <a:cxn ang="0">
                  <a:pos x="76" y="138"/>
                </a:cxn>
                <a:cxn ang="0">
                  <a:pos x="76" y="49"/>
                </a:cxn>
                <a:cxn ang="0">
                  <a:pos x="74" y="47"/>
                </a:cxn>
                <a:cxn ang="0">
                  <a:pos x="67" y="43"/>
                </a:cxn>
                <a:cxn ang="0">
                  <a:pos x="67" y="47"/>
                </a:cxn>
                <a:cxn ang="0">
                  <a:pos x="61" y="47"/>
                </a:cxn>
                <a:cxn ang="0">
                  <a:pos x="62" y="43"/>
                </a:cxn>
                <a:cxn ang="0">
                  <a:pos x="67" y="43"/>
                </a:cxn>
                <a:cxn ang="0">
                  <a:pos x="18" y="47"/>
                </a:cxn>
                <a:cxn ang="0">
                  <a:pos x="17" y="43"/>
                </a:cxn>
                <a:cxn ang="0">
                  <a:pos x="58" y="43"/>
                </a:cxn>
                <a:cxn ang="0">
                  <a:pos x="58" y="47"/>
                </a:cxn>
                <a:cxn ang="0">
                  <a:pos x="18" y="47"/>
                </a:cxn>
                <a:cxn ang="0">
                  <a:pos x="22" y="11"/>
                </a:cxn>
                <a:cxn ang="0">
                  <a:pos x="38" y="4"/>
                </a:cxn>
                <a:cxn ang="0">
                  <a:pos x="53" y="11"/>
                </a:cxn>
                <a:cxn ang="0">
                  <a:pos x="59" y="39"/>
                </a:cxn>
                <a:cxn ang="0">
                  <a:pos x="17" y="39"/>
                </a:cxn>
                <a:cxn ang="0">
                  <a:pos x="22" y="11"/>
                </a:cxn>
                <a:cxn ang="0">
                  <a:pos x="9" y="43"/>
                </a:cxn>
                <a:cxn ang="0">
                  <a:pos x="14" y="43"/>
                </a:cxn>
                <a:cxn ang="0">
                  <a:pos x="14" y="47"/>
                </a:cxn>
                <a:cxn ang="0">
                  <a:pos x="9" y="47"/>
                </a:cxn>
                <a:cxn ang="0">
                  <a:pos x="9" y="43"/>
                </a:cxn>
                <a:cxn ang="0">
                  <a:pos x="72" y="136"/>
                </a:cxn>
                <a:cxn ang="0">
                  <a:pos x="4" y="136"/>
                </a:cxn>
                <a:cxn ang="0">
                  <a:pos x="4" y="50"/>
                </a:cxn>
                <a:cxn ang="0">
                  <a:pos x="72" y="50"/>
                </a:cxn>
                <a:cxn ang="0">
                  <a:pos x="72" y="136"/>
                </a:cxn>
              </a:cxnLst>
              <a:rect l="0" t="0" r="r" b="b"/>
              <a:pathLst>
                <a:path w="76" h="140">
                  <a:moveTo>
                    <a:pt x="74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1" y="40"/>
                    <a:pt x="70" y="39"/>
                    <a:pt x="69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3" y="31"/>
                    <a:pt x="63" y="17"/>
                    <a:pt x="56" y="9"/>
                  </a:cubicBezTo>
                  <a:cubicBezTo>
                    <a:pt x="52" y="3"/>
                    <a:pt x="46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24" y="3"/>
                    <a:pt x="19" y="9"/>
                  </a:cubicBezTo>
                  <a:cubicBezTo>
                    <a:pt x="13" y="17"/>
                    <a:pt x="13" y="31"/>
                    <a:pt x="13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6" y="39"/>
                    <a:pt x="5" y="40"/>
                    <a:pt x="5" y="41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0" y="48"/>
                    <a:pt x="0" y="49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9"/>
                    <a:pt x="1" y="140"/>
                    <a:pt x="2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5" y="140"/>
                    <a:pt x="76" y="139"/>
                    <a:pt x="76" y="13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8"/>
                    <a:pt x="75" y="47"/>
                    <a:pt x="74" y="47"/>
                  </a:cubicBezTo>
                  <a:close/>
                  <a:moveTo>
                    <a:pt x="67" y="43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2" y="46"/>
                    <a:pt x="62" y="45"/>
                    <a:pt x="62" y="43"/>
                  </a:cubicBezTo>
                  <a:lnTo>
                    <a:pt x="67" y="43"/>
                  </a:lnTo>
                  <a:close/>
                  <a:moveTo>
                    <a:pt x="18" y="47"/>
                  </a:moveTo>
                  <a:cubicBezTo>
                    <a:pt x="18" y="46"/>
                    <a:pt x="18" y="45"/>
                    <a:pt x="17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5"/>
                    <a:pt x="58" y="46"/>
                    <a:pt x="58" y="47"/>
                  </a:cubicBezTo>
                  <a:lnTo>
                    <a:pt x="18" y="47"/>
                  </a:lnTo>
                  <a:close/>
                  <a:moveTo>
                    <a:pt x="22" y="11"/>
                  </a:moveTo>
                  <a:cubicBezTo>
                    <a:pt x="26" y="7"/>
                    <a:pt x="31" y="4"/>
                    <a:pt x="38" y="4"/>
                  </a:cubicBezTo>
                  <a:cubicBezTo>
                    <a:pt x="45" y="4"/>
                    <a:pt x="50" y="7"/>
                    <a:pt x="53" y="11"/>
                  </a:cubicBezTo>
                  <a:cubicBezTo>
                    <a:pt x="59" y="19"/>
                    <a:pt x="59" y="31"/>
                    <a:pt x="59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6" y="31"/>
                    <a:pt x="16" y="19"/>
                    <a:pt x="22" y="11"/>
                  </a:cubicBezTo>
                  <a:close/>
                  <a:moveTo>
                    <a:pt x="9" y="43"/>
                  </a:moveTo>
                  <a:cubicBezTo>
                    <a:pt x="14" y="43"/>
                    <a:pt x="14" y="43"/>
                    <a:pt x="14" y="43"/>
                  </a:cubicBezTo>
                  <a:cubicBezTo>
                    <a:pt x="14" y="45"/>
                    <a:pt x="14" y="46"/>
                    <a:pt x="14" y="47"/>
                  </a:cubicBezTo>
                  <a:cubicBezTo>
                    <a:pt x="9" y="47"/>
                    <a:pt x="9" y="47"/>
                    <a:pt x="9" y="47"/>
                  </a:cubicBezTo>
                  <a:lnTo>
                    <a:pt x="9" y="43"/>
                  </a:lnTo>
                  <a:close/>
                  <a:moveTo>
                    <a:pt x="72" y="136"/>
                  </a:moveTo>
                  <a:cubicBezTo>
                    <a:pt x="4" y="136"/>
                    <a:pt x="4" y="136"/>
                    <a:pt x="4" y="136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136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20" name="Freeform 340"/>
            <p:cNvSpPr>
              <a:spLocks/>
            </p:cNvSpPr>
            <p:nvPr/>
          </p:nvSpPr>
          <p:spPr bwMode="auto">
            <a:xfrm>
              <a:off x="2457" y="3769"/>
              <a:ext cx="156" cy="10"/>
            </a:xfrm>
            <a:custGeom>
              <a:avLst/>
              <a:gdLst/>
              <a:ahLst/>
              <a:cxnLst>
                <a:cxn ang="0">
                  <a:pos x="6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3" y="0"/>
                </a:cxn>
                <a:cxn ang="0">
                  <a:pos x="65" y="2"/>
                </a:cxn>
                <a:cxn ang="0">
                  <a:pos x="63" y="4"/>
                </a:cxn>
              </a:cxnLst>
              <a:rect l="0" t="0" r="r" b="b"/>
              <a:pathLst>
                <a:path w="65" h="4">
                  <a:moveTo>
                    <a:pt x="63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0"/>
                    <a:pt x="65" y="1"/>
                    <a:pt x="65" y="2"/>
                  </a:cubicBezTo>
                  <a:cubicBezTo>
                    <a:pt x="65" y="3"/>
                    <a:pt x="64" y="4"/>
                    <a:pt x="63" y="4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423" name="Group 343"/>
          <p:cNvGrpSpPr>
            <a:grpSpLocks noChangeAspect="1"/>
          </p:cNvGrpSpPr>
          <p:nvPr/>
        </p:nvGrpSpPr>
        <p:grpSpPr bwMode="auto">
          <a:xfrm>
            <a:off x="4717254" y="5386388"/>
            <a:ext cx="850899" cy="849312"/>
            <a:chOff x="2968" y="3393"/>
            <a:chExt cx="536" cy="535"/>
          </a:xfrm>
        </p:grpSpPr>
        <p:sp>
          <p:nvSpPr>
            <p:cNvPr id="46424" name="Oval 344"/>
            <p:cNvSpPr>
              <a:spLocks noChangeArrowheads="1"/>
            </p:cNvSpPr>
            <p:nvPr/>
          </p:nvSpPr>
          <p:spPr bwMode="auto">
            <a:xfrm>
              <a:off x="2968" y="3393"/>
              <a:ext cx="536" cy="535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25" name="Freeform 345"/>
            <p:cNvSpPr>
              <a:spLocks noEditPoints="1"/>
            </p:cNvSpPr>
            <p:nvPr/>
          </p:nvSpPr>
          <p:spPr bwMode="auto">
            <a:xfrm>
              <a:off x="2988" y="3412"/>
              <a:ext cx="497" cy="497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3"/>
                </a:cxn>
              </a:cxnLst>
              <a:rect l="0" t="0" r="r" b="b"/>
              <a:pathLst>
                <a:path w="208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3" y="50"/>
                    <a:pt x="203" y="104"/>
                  </a:cubicBezTo>
                  <a:cubicBezTo>
                    <a:pt x="203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26" name="Freeform 346"/>
            <p:cNvSpPr>
              <a:spLocks noEditPoints="1"/>
            </p:cNvSpPr>
            <p:nvPr/>
          </p:nvSpPr>
          <p:spPr bwMode="auto">
            <a:xfrm>
              <a:off x="3081" y="3505"/>
              <a:ext cx="311" cy="311"/>
            </a:xfrm>
            <a:custGeom>
              <a:avLst/>
              <a:gdLst/>
              <a:ahLst/>
              <a:cxnLst>
                <a:cxn ang="0">
                  <a:pos x="122" y="63"/>
                </a:cxn>
                <a:cxn ang="0">
                  <a:pos x="117" y="63"/>
                </a:cxn>
                <a:cxn ang="0">
                  <a:pos x="115" y="52"/>
                </a:cxn>
                <a:cxn ang="0">
                  <a:pos x="80" y="56"/>
                </a:cxn>
                <a:cxn ang="0">
                  <a:pos x="98" y="39"/>
                </a:cxn>
                <a:cxn ang="0">
                  <a:pos x="91" y="32"/>
                </a:cxn>
                <a:cxn ang="0">
                  <a:pos x="67" y="48"/>
                </a:cxn>
                <a:cxn ang="0">
                  <a:pos x="75" y="12"/>
                </a:cxn>
                <a:cxn ang="0">
                  <a:pos x="77" y="3"/>
                </a:cxn>
                <a:cxn ang="0">
                  <a:pos x="67" y="1"/>
                </a:cxn>
                <a:cxn ang="0">
                  <a:pos x="55" y="0"/>
                </a:cxn>
                <a:cxn ang="0">
                  <a:pos x="63" y="20"/>
                </a:cxn>
                <a:cxn ang="0">
                  <a:pos x="63" y="25"/>
                </a:cxn>
                <a:cxn ang="0">
                  <a:pos x="37" y="35"/>
                </a:cxn>
                <a:cxn ang="0">
                  <a:pos x="26" y="32"/>
                </a:cxn>
                <a:cxn ang="0">
                  <a:pos x="52" y="54"/>
                </a:cxn>
                <a:cxn ang="0">
                  <a:pos x="25" y="63"/>
                </a:cxn>
                <a:cxn ang="0">
                  <a:pos x="20" y="63"/>
                </a:cxn>
                <a:cxn ang="0">
                  <a:pos x="0" y="55"/>
                </a:cxn>
                <a:cxn ang="0">
                  <a:pos x="1" y="67"/>
                </a:cxn>
                <a:cxn ang="0">
                  <a:pos x="2" y="77"/>
                </a:cxn>
                <a:cxn ang="0">
                  <a:pos x="12" y="75"/>
                </a:cxn>
                <a:cxn ang="0">
                  <a:pos x="49" y="67"/>
                </a:cxn>
                <a:cxn ang="0">
                  <a:pos x="35" y="92"/>
                </a:cxn>
                <a:cxn ang="0">
                  <a:pos x="32" y="104"/>
                </a:cxn>
                <a:cxn ang="0">
                  <a:pos x="55" y="77"/>
                </a:cxn>
                <a:cxn ang="0">
                  <a:pos x="53" y="115"/>
                </a:cxn>
                <a:cxn ang="0">
                  <a:pos x="63" y="118"/>
                </a:cxn>
                <a:cxn ang="0">
                  <a:pos x="63" y="123"/>
                </a:cxn>
                <a:cxn ang="0">
                  <a:pos x="67" y="122"/>
                </a:cxn>
                <a:cxn ang="0">
                  <a:pos x="67" y="117"/>
                </a:cxn>
                <a:cxn ang="0">
                  <a:pos x="77" y="115"/>
                </a:cxn>
                <a:cxn ang="0">
                  <a:pos x="74" y="77"/>
                </a:cxn>
                <a:cxn ang="0">
                  <a:pos x="98" y="104"/>
                </a:cxn>
                <a:cxn ang="0">
                  <a:pos x="95" y="92"/>
                </a:cxn>
                <a:cxn ang="0">
                  <a:pos x="80" y="67"/>
                </a:cxn>
                <a:cxn ang="0">
                  <a:pos x="117" y="74"/>
                </a:cxn>
                <a:cxn ang="0">
                  <a:pos x="127" y="77"/>
                </a:cxn>
                <a:cxn ang="0">
                  <a:pos x="128" y="67"/>
                </a:cxn>
                <a:cxn ang="0">
                  <a:pos x="98" y="35"/>
                </a:cxn>
                <a:cxn ang="0">
                  <a:pos x="29" y="32"/>
                </a:cxn>
                <a:cxn ang="0">
                  <a:pos x="32" y="35"/>
                </a:cxn>
                <a:cxn ang="0">
                  <a:pos x="29" y="98"/>
                </a:cxn>
                <a:cxn ang="0">
                  <a:pos x="32" y="101"/>
                </a:cxn>
                <a:cxn ang="0">
                  <a:pos x="95" y="98"/>
                </a:cxn>
                <a:cxn ang="0">
                  <a:pos x="76" y="58"/>
                </a:cxn>
                <a:cxn ang="0">
                  <a:pos x="75" y="57"/>
                </a:cxn>
                <a:cxn ang="0">
                  <a:pos x="67" y="61"/>
                </a:cxn>
                <a:cxn ang="0">
                  <a:pos x="63" y="52"/>
                </a:cxn>
                <a:cxn ang="0">
                  <a:pos x="63" y="52"/>
                </a:cxn>
                <a:cxn ang="0">
                  <a:pos x="60" y="63"/>
                </a:cxn>
                <a:cxn ang="0">
                  <a:pos x="53" y="72"/>
                </a:cxn>
                <a:cxn ang="0">
                  <a:pos x="55" y="72"/>
                </a:cxn>
                <a:cxn ang="0">
                  <a:pos x="63" y="69"/>
                </a:cxn>
                <a:cxn ang="0">
                  <a:pos x="67" y="77"/>
                </a:cxn>
                <a:cxn ang="0">
                  <a:pos x="67" y="77"/>
                </a:cxn>
                <a:cxn ang="0">
                  <a:pos x="69" y="67"/>
                </a:cxn>
              </a:cxnLst>
              <a:rect l="0" t="0" r="r" b="b"/>
              <a:pathLst>
                <a:path w="130" h="130">
                  <a:moveTo>
                    <a:pt x="128" y="67"/>
                  </a:moveTo>
                  <a:cubicBezTo>
                    <a:pt x="128" y="63"/>
                    <a:pt x="128" y="63"/>
                    <a:pt x="128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6" y="39"/>
                    <a:pt x="98" y="39"/>
                  </a:cubicBezTo>
                  <a:cubicBezTo>
                    <a:pt x="101" y="39"/>
                    <a:pt x="104" y="36"/>
                    <a:pt x="104" y="32"/>
                  </a:cubicBezTo>
                  <a:cubicBezTo>
                    <a:pt x="104" y="29"/>
                    <a:pt x="101" y="26"/>
                    <a:pt x="98" y="26"/>
                  </a:cubicBezTo>
                  <a:cubicBezTo>
                    <a:pt x="94" y="26"/>
                    <a:pt x="91" y="29"/>
                    <a:pt x="91" y="32"/>
                  </a:cubicBezTo>
                  <a:cubicBezTo>
                    <a:pt x="91" y="33"/>
                    <a:pt x="92" y="34"/>
                    <a:pt x="92" y="35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8" y="34"/>
                    <a:pt x="38" y="33"/>
                    <a:pt x="38" y="32"/>
                  </a:cubicBezTo>
                  <a:cubicBezTo>
                    <a:pt x="38" y="29"/>
                    <a:pt x="35" y="26"/>
                    <a:pt x="32" y="26"/>
                  </a:cubicBezTo>
                  <a:cubicBezTo>
                    <a:pt x="28" y="26"/>
                    <a:pt x="26" y="29"/>
                    <a:pt x="26" y="32"/>
                  </a:cubicBezTo>
                  <a:cubicBezTo>
                    <a:pt x="26" y="36"/>
                    <a:pt x="28" y="39"/>
                    <a:pt x="32" y="39"/>
                  </a:cubicBezTo>
                  <a:cubicBezTo>
                    <a:pt x="33" y="39"/>
                    <a:pt x="34" y="38"/>
                    <a:pt x="35" y="38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35" y="92"/>
                    <a:pt x="35" y="92"/>
                    <a:pt x="35" y="92"/>
                  </a:cubicBezTo>
                  <a:cubicBezTo>
                    <a:pt x="34" y="92"/>
                    <a:pt x="33" y="92"/>
                    <a:pt x="32" y="92"/>
                  </a:cubicBezTo>
                  <a:cubicBezTo>
                    <a:pt x="28" y="92"/>
                    <a:pt x="26" y="94"/>
                    <a:pt x="26" y="98"/>
                  </a:cubicBezTo>
                  <a:cubicBezTo>
                    <a:pt x="26" y="101"/>
                    <a:pt x="28" y="104"/>
                    <a:pt x="32" y="104"/>
                  </a:cubicBezTo>
                  <a:cubicBezTo>
                    <a:pt x="35" y="104"/>
                    <a:pt x="38" y="101"/>
                    <a:pt x="38" y="98"/>
                  </a:cubicBezTo>
                  <a:cubicBezTo>
                    <a:pt x="38" y="97"/>
                    <a:pt x="38" y="96"/>
                    <a:pt x="37" y="95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63" y="110"/>
                    <a:pt x="63" y="110"/>
                    <a:pt x="63" y="110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122"/>
                    <a:pt x="67" y="122"/>
                    <a:pt x="67" y="122"/>
                  </a:cubicBezTo>
                  <a:cubicBezTo>
                    <a:pt x="75" y="130"/>
                    <a:pt x="75" y="130"/>
                    <a:pt x="75" y="130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67" y="117"/>
                    <a:pt x="67" y="117"/>
                    <a:pt x="67" y="11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2" y="96"/>
                    <a:pt x="91" y="97"/>
                    <a:pt x="91" y="98"/>
                  </a:cubicBezTo>
                  <a:cubicBezTo>
                    <a:pt x="91" y="101"/>
                    <a:pt x="94" y="104"/>
                    <a:pt x="98" y="104"/>
                  </a:cubicBezTo>
                  <a:cubicBezTo>
                    <a:pt x="101" y="104"/>
                    <a:pt x="104" y="101"/>
                    <a:pt x="104" y="98"/>
                  </a:cubicBezTo>
                  <a:cubicBezTo>
                    <a:pt x="104" y="94"/>
                    <a:pt x="101" y="92"/>
                    <a:pt x="98" y="92"/>
                  </a:cubicBezTo>
                  <a:cubicBezTo>
                    <a:pt x="97" y="92"/>
                    <a:pt x="96" y="92"/>
                    <a:pt x="95" y="92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15" y="77"/>
                    <a:pt x="115" y="77"/>
                    <a:pt x="115" y="77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22" y="67"/>
                    <a:pt x="122" y="67"/>
                    <a:pt x="122" y="67"/>
                  </a:cubicBezTo>
                  <a:lnTo>
                    <a:pt x="128" y="67"/>
                  </a:lnTo>
                  <a:close/>
                  <a:moveTo>
                    <a:pt x="98" y="30"/>
                  </a:moveTo>
                  <a:cubicBezTo>
                    <a:pt x="99" y="30"/>
                    <a:pt x="100" y="31"/>
                    <a:pt x="100" y="32"/>
                  </a:cubicBezTo>
                  <a:cubicBezTo>
                    <a:pt x="100" y="34"/>
                    <a:pt x="99" y="35"/>
                    <a:pt x="98" y="35"/>
                  </a:cubicBezTo>
                  <a:cubicBezTo>
                    <a:pt x="96" y="35"/>
                    <a:pt x="95" y="34"/>
                    <a:pt x="95" y="32"/>
                  </a:cubicBezTo>
                  <a:cubicBezTo>
                    <a:pt x="95" y="31"/>
                    <a:pt x="96" y="30"/>
                    <a:pt x="98" y="30"/>
                  </a:cubicBezTo>
                  <a:close/>
                  <a:moveTo>
                    <a:pt x="29" y="32"/>
                  </a:moveTo>
                  <a:cubicBezTo>
                    <a:pt x="29" y="31"/>
                    <a:pt x="30" y="30"/>
                    <a:pt x="32" y="30"/>
                  </a:cubicBezTo>
                  <a:cubicBezTo>
                    <a:pt x="33" y="30"/>
                    <a:pt x="35" y="31"/>
                    <a:pt x="35" y="32"/>
                  </a:cubicBezTo>
                  <a:cubicBezTo>
                    <a:pt x="35" y="34"/>
                    <a:pt x="33" y="35"/>
                    <a:pt x="32" y="35"/>
                  </a:cubicBezTo>
                  <a:cubicBezTo>
                    <a:pt x="30" y="35"/>
                    <a:pt x="29" y="34"/>
                    <a:pt x="29" y="32"/>
                  </a:cubicBezTo>
                  <a:close/>
                  <a:moveTo>
                    <a:pt x="32" y="101"/>
                  </a:moveTo>
                  <a:cubicBezTo>
                    <a:pt x="30" y="101"/>
                    <a:pt x="29" y="99"/>
                    <a:pt x="29" y="98"/>
                  </a:cubicBezTo>
                  <a:cubicBezTo>
                    <a:pt x="29" y="96"/>
                    <a:pt x="30" y="95"/>
                    <a:pt x="32" y="95"/>
                  </a:cubicBezTo>
                  <a:cubicBezTo>
                    <a:pt x="33" y="95"/>
                    <a:pt x="35" y="96"/>
                    <a:pt x="35" y="98"/>
                  </a:cubicBezTo>
                  <a:cubicBezTo>
                    <a:pt x="35" y="99"/>
                    <a:pt x="33" y="101"/>
                    <a:pt x="32" y="101"/>
                  </a:cubicBezTo>
                  <a:close/>
                  <a:moveTo>
                    <a:pt x="100" y="98"/>
                  </a:moveTo>
                  <a:cubicBezTo>
                    <a:pt x="100" y="99"/>
                    <a:pt x="99" y="101"/>
                    <a:pt x="98" y="101"/>
                  </a:cubicBezTo>
                  <a:cubicBezTo>
                    <a:pt x="96" y="101"/>
                    <a:pt x="95" y="99"/>
                    <a:pt x="95" y="98"/>
                  </a:cubicBezTo>
                  <a:cubicBezTo>
                    <a:pt x="95" y="96"/>
                    <a:pt x="96" y="95"/>
                    <a:pt x="98" y="95"/>
                  </a:cubicBezTo>
                  <a:cubicBezTo>
                    <a:pt x="99" y="95"/>
                    <a:pt x="100" y="96"/>
                    <a:pt x="100" y="98"/>
                  </a:cubicBezTo>
                  <a:close/>
                  <a:moveTo>
                    <a:pt x="76" y="58"/>
                  </a:moveTo>
                  <a:cubicBezTo>
                    <a:pt x="77" y="63"/>
                    <a:pt x="77" y="63"/>
                    <a:pt x="77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5" y="57"/>
                    <a:pt x="75" y="57"/>
                    <a:pt x="75" y="57"/>
                  </a:cubicBezTo>
                  <a:lnTo>
                    <a:pt x="76" y="58"/>
                  </a:lnTo>
                  <a:close/>
                  <a:moveTo>
                    <a:pt x="72" y="55"/>
                  </a:moveTo>
                  <a:cubicBezTo>
                    <a:pt x="67" y="61"/>
                    <a:pt x="67" y="61"/>
                    <a:pt x="67" y="61"/>
                  </a:cubicBezTo>
                  <a:cubicBezTo>
                    <a:pt x="67" y="52"/>
                    <a:pt x="67" y="52"/>
                    <a:pt x="67" y="52"/>
                  </a:cubicBezTo>
                  <a:lnTo>
                    <a:pt x="72" y="55"/>
                  </a:lnTo>
                  <a:close/>
                  <a:moveTo>
                    <a:pt x="63" y="52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58" y="55"/>
                    <a:pt x="58" y="55"/>
                    <a:pt x="58" y="55"/>
                  </a:cubicBezTo>
                  <a:lnTo>
                    <a:pt x="63" y="52"/>
                  </a:lnTo>
                  <a:close/>
                  <a:moveTo>
                    <a:pt x="53" y="58"/>
                  </a:moveTo>
                  <a:cubicBezTo>
                    <a:pt x="54" y="57"/>
                    <a:pt x="54" y="57"/>
                    <a:pt x="54" y="57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53" y="63"/>
                    <a:pt x="53" y="63"/>
                    <a:pt x="53" y="63"/>
                  </a:cubicBezTo>
                  <a:lnTo>
                    <a:pt x="53" y="58"/>
                  </a:lnTo>
                  <a:close/>
                  <a:moveTo>
                    <a:pt x="53" y="72"/>
                  </a:moveTo>
                  <a:cubicBezTo>
                    <a:pt x="53" y="67"/>
                    <a:pt x="53" y="67"/>
                    <a:pt x="53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55" y="72"/>
                    <a:pt x="55" y="72"/>
                    <a:pt x="55" y="72"/>
                  </a:cubicBezTo>
                  <a:lnTo>
                    <a:pt x="53" y="72"/>
                  </a:lnTo>
                  <a:close/>
                  <a:moveTo>
                    <a:pt x="58" y="74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77"/>
                    <a:pt x="63" y="77"/>
                    <a:pt x="63" y="77"/>
                  </a:cubicBezTo>
                  <a:lnTo>
                    <a:pt x="58" y="74"/>
                  </a:lnTo>
                  <a:close/>
                  <a:moveTo>
                    <a:pt x="67" y="77"/>
                  </a:moveTo>
                  <a:cubicBezTo>
                    <a:pt x="67" y="69"/>
                    <a:pt x="67" y="69"/>
                    <a:pt x="67" y="69"/>
                  </a:cubicBezTo>
                  <a:cubicBezTo>
                    <a:pt x="72" y="74"/>
                    <a:pt x="72" y="74"/>
                    <a:pt x="72" y="74"/>
                  </a:cubicBezTo>
                  <a:lnTo>
                    <a:pt x="67" y="77"/>
                  </a:lnTo>
                  <a:close/>
                  <a:moveTo>
                    <a:pt x="77" y="71"/>
                  </a:moveTo>
                  <a:cubicBezTo>
                    <a:pt x="75" y="72"/>
                    <a:pt x="75" y="72"/>
                    <a:pt x="75" y="72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77" y="67"/>
                    <a:pt x="77" y="67"/>
                    <a:pt x="77" y="67"/>
                  </a:cubicBezTo>
                  <a:lnTo>
                    <a:pt x="77" y="7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429" name="Group 349"/>
          <p:cNvGrpSpPr>
            <a:grpSpLocks noChangeAspect="1"/>
          </p:cNvGrpSpPr>
          <p:nvPr/>
        </p:nvGrpSpPr>
        <p:grpSpPr bwMode="auto">
          <a:xfrm>
            <a:off x="5840413" y="5414963"/>
            <a:ext cx="788987" cy="792162"/>
            <a:chOff x="3677" y="3411"/>
            <a:chExt cx="497" cy="499"/>
          </a:xfrm>
        </p:grpSpPr>
        <p:sp>
          <p:nvSpPr>
            <p:cNvPr id="46430" name="Freeform 350"/>
            <p:cNvSpPr>
              <a:spLocks noEditPoints="1"/>
            </p:cNvSpPr>
            <p:nvPr/>
          </p:nvSpPr>
          <p:spPr bwMode="auto">
            <a:xfrm>
              <a:off x="3677" y="3411"/>
              <a:ext cx="497" cy="49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7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2" y="104"/>
                </a:cxn>
                <a:cxn ang="0">
                  <a:pos x="104" y="203"/>
                </a:cxn>
              </a:cxnLst>
              <a:rect l="0" t="0" r="r" b="b"/>
              <a:pathLst>
                <a:path w="207" h="208">
                  <a:moveTo>
                    <a:pt x="104" y="0"/>
                  </a:moveTo>
                  <a:cubicBezTo>
                    <a:pt x="46" y="0"/>
                    <a:pt x="0" y="47"/>
                    <a:pt x="0" y="104"/>
                  </a:cubicBezTo>
                  <a:cubicBezTo>
                    <a:pt x="0" y="161"/>
                    <a:pt x="46" y="208"/>
                    <a:pt x="104" y="208"/>
                  </a:cubicBezTo>
                  <a:cubicBezTo>
                    <a:pt x="161" y="208"/>
                    <a:pt x="207" y="161"/>
                    <a:pt x="207" y="104"/>
                  </a:cubicBezTo>
                  <a:cubicBezTo>
                    <a:pt x="207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49" y="203"/>
                    <a:pt x="5" y="158"/>
                    <a:pt x="5" y="104"/>
                  </a:cubicBezTo>
                  <a:cubicBezTo>
                    <a:pt x="5" y="50"/>
                    <a:pt x="49" y="5"/>
                    <a:pt x="104" y="5"/>
                  </a:cubicBezTo>
                  <a:cubicBezTo>
                    <a:pt x="158" y="5"/>
                    <a:pt x="202" y="50"/>
                    <a:pt x="202" y="104"/>
                  </a:cubicBezTo>
                  <a:cubicBezTo>
                    <a:pt x="202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31" name="Freeform 351"/>
            <p:cNvSpPr>
              <a:spLocks noEditPoints="1"/>
            </p:cNvSpPr>
            <p:nvPr/>
          </p:nvSpPr>
          <p:spPr bwMode="auto">
            <a:xfrm>
              <a:off x="3770" y="3505"/>
              <a:ext cx="310" cy="311"/>
            </a:xfrm>
            <a:custGeom>
              <a:avLst/>
              <a:gdLst/>
              <a:ahLst/>
              <a:cxnLst>
                <a:cxn ang="0">
                  <a:pos x="122" y="63"/>
                </a:cxn>
                <a:cxn ang="0">
                  <a:pos x="117" y="63"/>
                </a:cxn>
                <a:cxn ang="0">
                  <a:pos x="114" y="52"/>
                </a:cxn>
                <a:cxn ang="0">
                  <a:pos x="80" y="56"/>
                </a:cxn>
                <a:cxn ang="0">
                  <a:pos x="97" y="39"/>
                </a:cxn>
                <a:cxn ang="0">
                  <a:pos x="91" y="32"/>
                </a:cxn>
                <a:cxn ang="0">
                  <a:pos x="66" y="48"/>
                </a:cxn>
                <a:cxn ang="0">
                  <a:pos x="74" y="12"/>
                </a:cxn>
                <a:cxn ang="0">
                  <a:pos x="77" y="3"/>
                </a:cxn>
                <a:cxn ang="0">
                  <a:pos x="66" y="1"/>
                </a:cxn>
                <a:cxn ang="0">
                  <a:pos x="55" y="0"/>
                </a:cxn>
                <a:cxn ang="0">
                  <a:pos x="63" y="20"/>
                </a:cxn>
                <a:cxn ang="0">
                  <a:pos x="63" y="25"/>
                </a:cxn>
                <a:cxn ang="0">
                  <a:pos x="37" y="35"/>
                </a:cxn>
                <a:cxn ang="0">
                  <a:pos x="25" y="32"/>
                </a:cxn>
                <a:cxn ang="0">
                  <a:pos x="51" y="54"/>
                </a:cxn>
                <a:cxn ang="0">
                  <a:pos x="24" y="63"/>
                </a:cxn>
                <a:cxn ang="0">
                  <a:pos x="19" y="63"/>
                </a:cxn>
                <a:cxn ang="0">
                  <a:pos x="0" y="55"/>
                </a:cxn>
                <a:cxn ang="0">
                  <a:pos x="1" y="67"/>
                </a:cxn>
                <a:cxn ang="0">
                  <a:pos x="2" y="77"/>
                </a:cxn>
                <a:cxn ang="0">
                  <a:pos x="12" y="75"/>
                </a:cxn>
                <a:cxn ang="0">
                  <a:pos x="49" y="67"/>
                </a:cxn>
                <a:cxn ang="0">
                  <a:pos x="35" y="92"/>
                </a:cxn>
                <a:cxn ang="0">
                  <a:pos x="32" y="104"/>
                </a:cxn>
                <a:cxn ang="0">
                  <a:pos x="55" y="77"/>
                </a:cxn>
                <a:cxn ang="0">
                  <a:pos x="53" y="115"/>
                </a:cxn>
                <a:cxn ang="0">
                  <a:pos x="63" y="118"/>
                </a:cxn>
                <a:cxn ang="0">
                  <a:pos x="63" y="123"/>
                </a:cxn>
                <a:cxn ang="0">
                  <a:pos x="66" y="122"/>
                </a:cxn>
                <a:cxn ang="0">
                  <a:pos x="66" y="117"/>
                </a:cxn>
                <a:cxn ang="0">
                  <a:pos x="77" y="115"/>
                </a:cxn>
                <a:cxn ang="0">
                  <a:pos x="74" y="77"/>
                </a:cxn>
                <a:cxn ang="0">
                  <a:pos x="97" y="104"/>
                </a:cxn>
                <a:cxn ang="0">
                  <a:pos x="94" y="92"/>
                </a:cxn>
                <a:cxn ang="0">
                  <a:pos x="80" y="67"/>
                </a:cxn>
                <a:cxn ang="0">
                  <a:pos x="117" y="74"/>
                </a:cxn>
                <a:cxn ang="0">
                  <a:pos x="127" y="77"/>
                </a:cxn>
                <a:cxn ang="0">
                  <a:pos x="128" y="67"/>
                </a:cxn>
                <a:cxn ang="0">
                  <a:pos x="97" y="35"/>
                </a:cxn>
                <a:cxn ang="0">
                  <a:pos x="29" y="32"/>
                </a:cxn>
                <a:cxn ang="0">
                  <a:pos x="32" y="35"/>
                </a:cxn>
                <a:cxn ang="0">
                  <a:pos x="29" y="98"/>
                </a:cxn>
                <a:cxn ang="0">
                  <a:pos x="32" y="101"/>
                </a:cxn>
                <a:cxn ang="0">
                  <a:pos x="95" y="98"/>
                </a:cxn>
                <a:cxn ang="0">
                  <a:pos x="76" y="58"/>
                </a:cxn>
                <a:cxn ang="0">
                  <a:pos x="75" y="57"/>
                </a:cxn>
                <a:cxn ang="0">
                  <a:pos x="66" y="61"/>
                </a:cxn>
                <a:cxn ang="0">
                  <a:pos x="63" y="52"/>
                </a:cxn>
                <a:cxn ang="0">
                  <a:pos x="63" y="52"/>
                </a:cxn>
                <a:cxn ang="0">
                  <a:pos x="60" y="63"/>
                </a:cxn>
                <a:cxn ang="0">
                  <a:pos x="53" y="72"/>
                </a:cxn>
                <a:cxn ang="0">
                  <a:pos x="54" y="72"/>
                </a:cxn>
                <a:cxn ang="0">
                  <a:pos x="63" y="69"/>
                </a:cxn>
                <a:cxn ang="0">
                  <a:pos x="66" y="77"/>
                </a:cxn>
                <a:cxn ang="0">
                  <a:pos x="66" y="77"/>
                </a:cxn>
                <a:cxn ang="0">
                  <a:pos x="69" y="67"/>
                </a:cxn>
              </a:cxnLst>
              <a:rect l="0" t="0" r="r" b="b"/>
              <a:pathLst>
                <a:path w="129" h="130">
                  <a:moveTo>
                    <a:pt x="128" y="67"/>
                  </a:moveTo>
                  <a:cubicBezTo>
                    <a:pt x="128" y="63"/>
                    <a:pt x="128" y="63"/>
                    <a:pt x="128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17" y="63"/>
                    <a:pt x="117" y="63"/>
                    <a:pt x="117" y="63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94" y="38"/>
                    <a:pt x="94" y="38"/>
                    <a:pt x="94" y="38"/>
                  </a:cubicBezTo>
                  <a:cubicBezTo>
                    <a:pt x="95" y="38"/>
                    <a:pt x="96" y="39"/>
                    <a:pt x="97" y="39"/>
                  </a:cubicBezTo>
                  <a:cubicBezTo>
                    <a:pt x="101" y="39"/>
                    <a:pt x="104" y="36"/>
                    <a:pt x="104" y="32"/>
                  </a:cubicBezTo>
                  <a:cubicBezTo>
                    <a:pt x="104" y="29"/>
                    <a:pt x="101" y="26"/>
                    <a:pt x="97" y="26"/>
                  </a:cubicBezTo>
                  <a:cubicBezTo>
                    <a:pt x="94" y="26"/>
                    <a:pt x="91" y="29"/>
                    <a:pt x="91" y="32"/>
                  </a:cubicBezTo>
                  <a:cubicBezTo>
                    <a:pt x="91" y="33"/>
                    <a:pt x="91" y="34"/>
                    <a:pt x="92" y="35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8" y="34"/>
                    <a:pt x="38" y="33"/>
                    <a:pt x="38" y="32"/>
                  </a:cubicBezTo>
                  <a:cubicBezTo>
                    <a:pt x="38" y="29"/>
                    <a:pt x="35" y="26"/>
                    <a:pt x="32" y="26"/>
                  </a:cubicBezTo>
                  <a:cubicBezTo>
                    <a:pt x="28" y="26"/>
                    <a:pt x="25" y="29"/>
                    <a:pt x="25" y="32"/>
                  </a:cubicBezTo>
                  <a:cubicBezTo>
                    <a:pt x="25" y="36"/>
                    <a:pt x="28" y="39"/>
                    <a:pt x="32" y="39"/>
                  </a:cubicBezTo>
                  <a:cubicBezTo>
                    <a:pt x="33" y="39"/>
                    <a:pt x="34" y="38"/>
                    <a:pt x="35" y="38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35" y="92"/>
                    <a:pt x="35" y="92"/>
                    <a:pt x="35" y="92"/>
                  </a:cubicBezTo>
                  <a:cubicBezTo>
                    <a:pt x="34" y="92"/>
                    <a:pt x="33" y="92"/>
                    <a:pt x="32" y="92"/>
                  </a:cubicBezTo>
                  <a:cubicBezTo>
                    <a:pt x="28" y="92"/>
                    <a:pt x="25" y="94"/>
                    <a:pt x="25" y="98"/>
                  </a:cubicBezTo>
                  <a:cubicBezTo>
                    <a:pt x="25" y="101"/>
                    <a:pt x="28" y="104"/>
                    <a:pt x="32" y="104"/>
                  </a:cubicBezTo>
                  <a:cubicBezTo>
                    <a:pt x="35" y="104"/>
                    <a:pt x="38" y="101"/>
                    <a:pt x="38" y="98"/>
                  </a:cubicBezTo>
                  <a:cubicBezTo>
                    <a:pt x="38" y="97"/>
                    <a:pt x="38" y="96"/>
                    <a:pt x="37" y="95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105"/>
                    <a:pt x="63" y="105"/>
                    <a:pt x="63" y="105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5" y="118"/>
                    <a:pt x="55" y="118"/>
                    <a:pt x="55" y="118"/>
                  </a:cubicBezTo>
                  <a:cubicBezTo>
                    <a:pt x="63" y="110"/>
                    <a:pt x="63" y="110"/>
                    <a:pt x="63" y="110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66" y="128"/>
                    <a:pt x="66" y="128"/>
                    <a:pt x="66" y="128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74" y="130"/>
                    <a:pt x="74" y="130"/>
                    <a:pt x="74" y="130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10"/>
                    <a:pt x="66" y="110"/>
                    <a:pt x="66" y="110"/>
                  </a:cubicBezTo>
                  <a:cubicBezTo>
                    <a:pt x="75" y="118"/>
                    <a:pt x="75" y="118"/>
                    <a:pt x="75" y="118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1" y="96"/>
                    <a:pt x="91" y="97"/>
                    <a:pt x="91" y="98"/>
                  </a:cubicBezTo>
                  <a:cubicBezTo>
                    <a:pt x="91" y="101"/>
                    <a:pt x="94" y="104"/>
                    <a:pt x="97" y="104"/>
                  </a:cubicBezTo>
                  <a:cubicBezTo>
                    <a:pt x="101" y="104"/>
                    <a:pt x="104" y="101"/>
                    <a:pt x="104" y="98"/>
                  </a:cubicBezTo>
                  <a:cubicBezTo>
                    <a:pt x="104" y="94"/>
                    <a:pt x="101" y="92"/>
                    <a:pt x="97" y="92"/>
                  </a:cubicBezTo>
                  <a:cubicBezTo>
                    <a:pt x="96" y="92"/>
                    <a:pt x="95" y="92"/>
                    <a:pt x="94" y="92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2" y="67"/>
                    <a:pt x="122" y="67"/>
                    <a:pt x="122" y="67"/>
                  </a:cubicBezTo>
                  <a:lnTo>
                    <a:pt x="128" y="67"/>
                  </a:lnTo>
                  <a:close/>
                  <a:moveTo>
                    <a:pt x="97" y="30"/>
                  </a:moveTo>
                  <a:cubicBezTo>
                    <a:pt x="99" y="30"/>
                    <a:pt x="100" y="31"/>
                    <a:pt x="100" y="32"/>
                  </a:cubicBezTo>
                  <a:cubicBezTo>
                    <a:pt x="100" y="34"/>
                    <a:pt x="99" y="35"/>
                    <a:pt x="97" y="35"/>
                  </a:cubicBezTo>
                  <a:cubicBezTo>
                    <a:pt x="96" y="35"/>
                    <a:pt x="95" y="34"/>
                    <a:pt x="95" y="32"/>
                  </a:cubicBezTo>
                  <a:cubicBezTo>
                    <a:pt x="95" y="31"/>
                    <a:pt x="96" y="30"/>
                    <a:pt x="97" y="30"/>
                  </a:cubicBezTo>
                  <a:close/>
                  <a:moveTo>
                    <a:pt x="29" y="32"/>
                  </a:moveTo>
                  <a:cubicBezTo>
                    <a:pt x="29" y="31"/>
                    <a:pt x="30" y="30"/>
                    <a:pt x="32" y="30"/>
                  </a:cubicBezTo>
                  <a:cubicBezTo>
                    <a:pt x="33" y="30"/>
                    <a:pt x="34" y="31"/>
                    <a:pt x="34" y="32"/>
                  </a:cubicBezTo>
                  <a:cubicBezTo>
                    <a:pt x="34" y="34"/>
                    <a:pt x="33" y="35"/>
                    <a:pt x="32" y="35"/>
                  </a:cubicBezTo>
                  <a:cubicBezTo>
                    <a:pt x="30" y="35"/>
                    <a:pt x="29" y="34"/>
                    <a:pt x="29" y="32"/>
                  </a:cubicBezTo>
                  <a:close/>
                  <a:moveTo>
                    <a:pt x="32" y="101"/>
                  </a:moveTo>
                  <a:cubicBezTo>
                    <a:pt x="30" y="101"/>
                    <a:pt x="29" y="99"/>
                    <a:pt x="29" y="98"/>
                  </a:cubicBezTo>
                  <a:cubicBezTo>
                    <a:pt x="29" y="96"/>
                    <a:pt x="30" y="95"/>
                    <a:pt x="32" y="95"/>
                  </a:cubicBezTo>
                  <a:cubicBezTo>
                    <a:pt x="33" y="95"/>
                    <a:pt x="34" y="96"/>
                    <a:pt x="34" y="98"/>
                  </a:cubicBezTo>
                  <a:cubicBezTo>
                    <a:pt x="34" y="99"/>
                    <a:pt x="33" y="101"/>
                    <a:pt x="32" y="101"/>
                  </a:cubicBezTo>
                  <a:close/>
                  <a:moveTo>
                    <a:pt x="100" y="98"/>
                  </a:moveTo>
                  <a:cubicBezTo>
                    <a:pt x="100" y="99"/>
                    <a:pt x="99" y="101"/>
                    <a:pt x="97" y="101"/>
                  </a:cubicBezTo>
                  <a:cubicBezTo>
                    <a:pt x="96" y="101"/>
                    <a:pt x="95" y="99"/>
                    <a:pt x="95" y="98"/>
                  </a:cubicBezTo>
                  <a:cubicBezTo>
                    <a:pt x="95" y="96"/>
                    <a:pt x="96" y="95"/>
                    <a:pt x="97" y="95"/>
                  </a:cubicBezTo>
                  <a:cubicBezTo>
                    <a:pt x="99" y="95"/>
                    <a:pt x="100" y="96"/>
                    <a:pt x="100" y="98"/>
                  </a:cubicBezTo>
                  <a:close/>
                  <a:moveTo>
                    <a:pt x="76" y="58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75" y="57"/>
                    <a:pt x="75" y="57"/>
                    <a:pt x="75" y="57"/>
                  </a:cubicBezTo>
                  <a:lnTo>
                    <a:pt x="76" y="58"/>
                  </a:lnTo>
                  <a:close/>
                  <a:moveTo>
                    <a:pt x="72" y="55"/>
                  </a:moveTo>
                  <a:cubicBezTo>
                    <a:pt x="66" y="61"/>
                    <a:pt x="66" y="61"/>
                    <a:pt x="66" y="61"/>
                  </a:cubicBezTo>
                  <a:cubicBezTo>
                    <a:pt x="66" y="52"/>
                    <a:pt x="66" y="52"/>
                    <a:pt x="66" y="52"/>
                  </a:cubicBezTo>
                  <a:lnTo>
                    <a:pt x="72" y="55"/>
                  </a:lnTo>
                  <a:close/>
                  <a:moveTo>
                    <a:pt x="63" y="52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57" y="55"/>
                    <a:pt x="57" y="55"/>
                    <a:pt x="57" y="55"/>
                  </a:cubicBezTo>
                  <a:lnTo>
                    <a:pt x="63" y="52"/>
                  </a:lnTo>
                  <a:close/>
                  <a:moveTo>
                    <a:pt x="53" y="58"/>
                  </a:moveTo>
                  <a:cubicBezTo>
                    <a:pt x="54" y="57"/>
                    <a:pt x="54" y="57"/>
                    <a:pt x="54" y="57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53" y="63"/>
                    <a:pt x="53" y="63"/>
                    <a:pt x="53" y="63"/>
                  </a:cubicBezTo>
                  <a:lnTo>
                    <a:pt x="53" y="58"/>
                  </a:lnTo>
                  <a:close/>
                  <a:moveTo>
                    <a:pt x="53" y="72"/>
                  </a:moveTo>
                  <a:cubicBezTo>
                    <a:pt x="53" y="67"/>
                    <a:pt x="53" y="67"/>
                    <a:pt x="53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54" y="72"/>
                    <a:pt x="54" y="72"/>
                    <a:pt x="54" y="72"/>
                  </a:cubicBezTo>
                  <a:lnTo>
                    <a:pt x="53" y="72"/>
                  </a:lnTo>
                  <a:close/>
                  <a:moveTo>
                    <a:pt x="58" y="74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77"/>
                    <a:pt x="63" y="77"/>
                    <a:pt x="63" y="77"/>
                  </a:cubicBezTo>
                  <a:lnTo>
                    <a:pt x="58" y="74"/>
                  </a:lnTo>
                  <a:close/>
                  <a:moveTo>
                    <a:pt x="66" y="77"/>
                  </a:moveTo>
                  <a:cubicBezTo>
                    <a:pt x="66" y="69"/>
                    <a:pt x="66" y="69"/>
                    <a:pt x="66" y="69"/>
                  </a:cubicBezTo>
                  <a:cubicBezTo>
                    <a:pt x="71" y="74"/>
                    <a:pt x="71" y="74"/>
                    <a:pt x="71" y="74"/>
                  </a:cubicBezTo>
                  <a:lnTo>
                    <a:pt x="66" y="77"/>
                  </a:lnTo>
                  <a:close/>
                  <a:moveTo>
                    <a:pt x="76" y="71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76" y="67"/>
                    <a:pt x="76" y="67"/>
                    <a:pt x="76" y="67"/>
                  </a:cubicBezTo>
                  <a:lnTo>
                    <a:pt x="76" y="71"/>
                  </a:ln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434" name="Group 354"/>
          <p:cNvGrpSpPr>
            <a:grpSpLocks noChangeAspect="1"/>
          </p:cNvGrpSpPr>
          <p:nvPr/>
        </p:nvGrpSpPr>
        <p:grpSpPr bwMode="auto">
          <a:xfrm>
            <a:off x="6913563" y="5383213"/>
            <a:ext cx="850900" cy="852487"/>
            <a:chOff x="4355" y="3391"/>
            <a:chExt cx="536" cy="537"/>
          </a:xfrm>
        </p:grpSpPr>
        <p:sp>
          <p:nvSpPr>
            <p:cNvPr id="46435" name="Oval 355"/>
            <p:cNvSpPr>
              <a:spLocks noChangeArrowheads="1"/>
            </p:cNvSpPr>
            <p:nvPr/>
          </p:nvSpPr>
          <p:spPr bwMode="auto">
            <a:xfrm>
              <a:off x="4355" y="3391"/>
              <a:ext cx="536" cy="53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36" name="Freeform 356"/>
            <p:cNvSpPr>
              <a:spLocks/>
            </p:cNvSpPr>
            <p:nvPr/>
          </p:nvSpPr>
          <p:spPr bwMode="auto">
            <a:xfrm>
              <a:off x="4705" y="3542"/>
              <a:ext cx="7" cy="259"/>
            </a:xfrm>
            <a:custGeom>
              <a:avLst/>
              <a:gdLst/>
              <a:ahLst/>
              <a:cxnLst>
                <a:cxn ang="0">
                  <a:pos x="2" y="108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106"/>
                </a:cxn>
                <a:cxn ang="0">
                  <a:pos x="2" y="108"/>
                </a:cxn>
              </a:cxnLst>
              <a:rect l="0" t="0" r="r" b="b"/>
              <a:pathLst>
                <a:path w="3" h="108">
                  <a:moveTo>
                    <a:pt x="2" y="108"/>
                  </a:moveTo>
                  <a:cubicBezTo>
                    <a:pt x="1" y="108"/>
                    <a:pt x="0" y="107"/>
                    <a:pt x="0" y="10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3" y="107"/>
                    <a:pt x="3" y="108"/>
                    <a:pt x="2" y="10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37" name="Freeform 357"/>
            <p:cNvSpPr>
              <a:spLocks/>
            </p:cNvSpPr>
            <p:nvPr/>
          </p:nvSpPr>
          <p:spPr bwMode="auto">
            <a:xfrm>
              <a:off x="4549" y="3516"/>
              <a:ext cx="146" cy="7"/>
            </a:xfrm>
            <a:custGeom>
              <a:avLst/>
              <a:gdLst/>
              <a:ahLst/>
              <a:cxnLst>
                <a:cxn ang="0">
                  <a:pos x="59" y="3"/>
                </a:cxn>
                <a:cxn ang="0">
                  <a:pos x="59" y="3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59" y="0"/>
                </a:cxn>
                <a:cxn ang="0">
                  <a:pos x="61" y="0"/>
                </a:cxn>
                <a:cxn ang="0">
                  <a:pos x="60" y="3"/>
                </a:cxn>
                <a:cxn ang="0">
                  <a:pos x="59" y="3"/>
                </a:cxn>
              </a:cxnLst>
              <a:rect l="0" t="0" r="r" b="b"/>
              <a:pathLst>
                <a:path w="61" h="3">
                  <a:moveTo>
                    <a:pt x="59" y="3"/>
                  </a:moveTo>
                  <a:cubicBezTo>
                    <a:pt x="59" y="3"/>
                    <a:pt x="59" y="3"/>
                    <a:pt x="59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1" y="1"/>
                    <a:pt x="61" y="2"/>
                    <a:pt x="60" y="3"/>
                  </a:cubicBezTo>
                  <a:cubicBezTo>
                    <a:pt x="60" y="3"/>
                    <a:pt x="60" y="3"/>
                    <a:pt x="5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38" name="Freeform 358"/>
            <p:cNvSpPr>
              <a:spLocks/>
            </p:cNvSpPr>
            <p:nvPr/>
          </p:nvSpPr>
          <p:spPr bwMode="auto">
            <a:xfrm>
              <a:off x="4532" y="3791"/>
              <a:ext cx="182" cy="29"/>
            </a:xfrm>
            <a:custGeom>
              <a:avLst/>
              <a:gdLst/>
              <a:ahLst/>
              <a:cxnLst>
                <a:cxn ang="0">
                  <a:pos x="66" y="12"/>
                </a:cxn>
                <a:cxn ang="0">
                  <a:pos x="10" y="12"/>
                </a:cxn>
                <a:cxn ang="0">
                  <a:pos x="8" y="11"/>
                </a:cxn>
                <a:cxn ang="0">
                  <a:pos x="1" y="3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11" y="9"/>
                </a:cxn>
                <a:cxn ang="0">
                  <a:pos x="65" y="9"/>
                </a:cxn>
                <a:cxn ang="0">
                  <a:pos x="73" y="0"/>
                </a:cxn>
                <a:cxn ang="0">
                  <a:pos x="75" y="1"/>
                </a:cxn>
                <a:cxn ang="0">
                  <a:pos x="75" y="3"/>
                </a:cxn>
                <a:cxn ang="0">
                  <a:pos x="68" y="11"/>
                </a:cxn>
                <a:cxn ang="0">
                  <a:pos x="66" y="12"/>
                </a:cxn>
              </a:cxnLst>
              <a:rect l="0" t="0" r="r" b="b"/>
              <a:pathLst>
                <a:path w="76" h="12">
                  <a:moveTo>
                    <a:pt x="66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8" y="12"/>
                    <a:pt x="8" y="11"/>
                  </a:cubicBezTo>
                  <a:cubicBezTo>
                    <a:pt x="7" y="8"/>
                    <a:pt x="3" y="4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1"/>
                    <a:pt x="9" y="4"/>
                    <a:pt x="11" y="9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7" y="4"/>
                    <a:pt x="72" y="1"/>
                    <a:pt x="73" y="0"/>
                  </a:cubicBezTo>
                  <a:cubicBezTo>
                    <a:pt x="73" y="0"/>
                    <a:pt x="75" y="0"/>
                    <a:pt x="75" y="1"/>
                  </a:cubicBezTo>
                  <a:cubicBezTo>
                    <a:pt x="76" y="2"/>
                    <a:pt x="76" y="3"/>
                    <a:pt x="75" y="3"/>
                  </a:cubicBezTo>
                  <a:cubicBezTo>
                    <a:pt x="73" y="4"/>
                    <a:pt x="69" y="8"/>
                    <a:pt x="68" y="11"/>
                  </a:cubicBezTo>
                  <a:cubicBezTo>
                    <a:pt x="67" y="12"/>
                    <a:pt x="67" y="12"/>
                    <a:pt x="66" y="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39" name="Freeform 359"/>
            <p:cNvSpPr>
              <a:spLocks/>
            </p:cNvSpPr>
            <p:nvPr/>
          </p:nvSpPr>
          <p:spPr bwMode="auto">
            <a:xfrm>
              <a:off x="4685" y="3513"/>
              <a:ext cx="29" cy="36"/>
            </a:xfrm>
            <a:custGeom>
              <a:avLst/>
              <a:gdLst/>
              <a:ahLst/>
              <a:cxnLst>
                <a:cxn ang="0">
                  <a:pos x="10" y="15"/>
                </a:cxn>
                <a:cxn ang="0">
                  <a:pos x="8" y="15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11" y="13"/>
                </a:cxn>
                <a:cxn ang="0">
                  <a:pos x="11" y="15"/>
                </a:cxn>
                <a:cxn ang="0">
                  <a:pos x="10" y="15"/>
                </a:cxn>
              </a:cxnLst>
              <a:rect l="0" t="0" r="r" b="b"/>
              <a:pathLst>
                <a:path w="12" h="15">
                  <a:moveTo>
                    <a:pt x="10" y="15"/>
                  </a:moveTo>
                  <a:cubicBezTo>
                    <a:pt x="9" y="15"/>
                    <a:pt x="8" y="15"/>
                    <a:pt x="8" y="1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1" y="1"/>
                    <a:pt x="1" y="1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4"/>
                    <a:pt x="11" y="15"/>
                    <a:pt x="11" y="15"/>
                  </a:cubicBezTo>
                  <a:cubicBezTo>
                    <a:pt x="10" y="15"/>
                    <a:pt x="10" y="15"/>
                    <a:pt x="10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0" name="Freeform 360"/>
            <p:cNvSpPr>
              <a:spLocks/>
            </p:cNvSpPr>
            <p:nvPr/>
          </p:nvSpPr>
          <p:spPr bwMode="auto">
            <a:xfrm>
              <a:off x="4532" y="3513"/>
              <a:ext cx="27" cy="36"/>
            </a:xfrm>
            <a:custGeom>
              <a:avLst/>
              <a:gdLst/>
              <a:ahLst/>
              <a:cxnLst>
                <a:cxn ang="0">
                  <a:pos x="2" y="15"/>
                </a:cxn>
                <a:cxn ang="0">
                  <a:pos x="1" y="15"/>
                </a:cxn>
                <a:cxn ang="0">
                  <a:pos x="0" y="13"/>
                </a:cxn>
                <a:cxn ang="0">
                  <a:pos x="8" y="1"/>
                </a:cxn>
                <a:cxn ang="0">
                  <a:pos x="10" y="1"/>
                </a:cxn>
                <a:cxn ang="0">
                  <a:pos x="11" y="3"/>
                </a:cxn>
                <a:cxn ang="0">
                  <a:pos x="3" y="15"/>
                </a:cxn>
                <a:cxn ang="0">
                  <a:pos x="2" y="15"/>
                </a:cxn>
              </a:cxnLst>
              <a:rect l="0" t="0" r="r" b="b"/>
              <a:pathLst>
                <a:path w="11" h="15">
                  <a:moveTo>
                    <a:pt x="2" y="15"/>
                  </a:moveTo>
                  <a:cubicBezTo>
                    <a:pt x="2" y="15"/>
                    <a:pt x="1" y="15"/>
                    <a:pt x="1" y="15"/>
                  </a:cubicBezTo>
                  <a:cubicBezTo>
                    <a:pt x="0" y="15"/>
                    <a:pt x="0" y="14"/>
                    <a:pt x="0" y="1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0"/>
                    <a:pt x="10" y="1"/>
                  </a:cubicBezTo>
                  <a:cubicBezTo>
                    <a:pt x="11" y="1"/>
                    <a:pt x="11" y="3"/>
                    <a:pt x="11" y="3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1" name="Freeform 361"/>
            <p:cNvSpPr>
              <a:spLocks/>
            </p:cNvSpPr>
            <p:nvPr/>
          </p:nvSpPr>
          <p:spPr bwMode="auto">
            <a:xfrm>
              <a:off x="4532" y="3542"/>
              <a:ext cx="10" cy="259"/>
            </a:xfrm>
            <a:custGeom>
              <a:avLst/>
              <a:gdLst/>
              <a:ahLst/>
              <a:cxnLst>
                <a:cxn ang="0">
                  <a:pos x="2" y="108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106"/>
                </a:cxn>
                <a:cxn ang="0">
                  <a:pos x="2" y="108"/>
                </a:cxn>
              </a:cxnLst>
              <a:rect l="0" t="0" r="r" b="b"/>
              <a:pathLst>
                <a:path w="4" h="108">
                  <a:moveTo>
                    <a:pt x="2" y="108"/>
                  </a:moveTo>
                  <a:cubicBezTo>
                    <a:pt x="1" y="108"/>
                    <a:pt x="0" y="107"/>
                    <a:pt x="0" y="10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4" y="107"/>
                    <a:pt x="3" y="108"/>
                    <a:pt x="2" y="10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2" name="Freeform 362"/>
            <p:cNvSpPr>
              <a:spLocks/>
            </p:cNvSpPr>
            <p:nvPr/>
          </p:nvSpPr>
          <p:spPr bwMode="auto">
            <a:xfrm>
              <a:off x="4544" y="3504"/>
              <a:ext cx="156" cy="19"/>
            </a:xfrm>
            <a:custGeom>
              <a:avLst/>
              <a:gdLst/>
              <a:ahLst/>
              <a:cxnLst>
                <a:cxn ang="0">
                  <a:pos x="63" y="8"/>
                </a:cxn>
                <a:cxn ang="0">
                  <a:pos x="61" y="8"/>
                </a:cxn>
                <a:cxn ang="0">
                  <a:pos x="60" y="6"/>
                </a:cxn>
                <a:cxn ang="0">
                  <a:pos x="61" y="5"/>
                </a:cxn>
                <a:cxn ang="0">
                  <a:pos x="62" y="5"/>
                </a:cxn>
                <a:cxn ang="0">
                  <a:pos x="62" y="4"/>
                </a:cxn>
                <a:cxn ang="0">
                  <a:pos x="4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63" y="0"/>
                </a:cxn>
                <a:cxn ang="0">
                  <a:pos x="65" y="3"/>
                </a:cxn>
                <a:cxn ang="0">
                  <a:pos x="65" y="6"/>
                </a:cxn>
                <a:cxn ang="0">
                  <a:pos x="63" y="8"/>
                </a:cxn>
              </a:cxnLst>
              <a:rect l="0" t="0" r="r" b="b"/>
              <a:pathLst>
                <a:path w="65" h="8">
                  <a:moveTo>
                    <a:pt x="63" y="8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0" y="8"/>
                    <a:pt x="60" y="7"/>
                    <a:pt x="60" y="6"/>
                  </a:cubicBezTo>
                  <a:cubicBezTo>
                    <a:pt x="60" y="5"/>
                    <a:pt x="60" y="5"/>
                    <a:pt x="61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6" y="5"/>
                    <a:pt x="6" y="6"/>
                  </a:cubicBezTo>
                  <a:cubicBezTo>
                    <a:pt x="6" y="7"/>
                    <a:pt x="5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0"/>
                    <a:pt x="65" y="1"/>
                    <a:pt x="65" y="3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7"/>
                    <a:pt x="64" y="8"/>
                    <a:pt x="63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3" name="Freeform 363"/>
            <p:cNvSpPr>
              <a:spLocks/>
            </p:cNvSpPr>
            <p:nvPr/>
          </p:nvSpPr>
          <p:spPr bwMode="auto">
            <a:xfrm>
              <a:off x="4549" y="3516"/>
              <a:ext cx="146" cy="7"/>
            </a:xfrm>
            <a:custGeom>
              <a:avLst/>
              <a:gdLst/>
              <a:ahLst/>
              <a:cxnLst>
                <a:cxn ang="0">
                  <a:pos x="59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59" y="0"/>
                </a:cxn>
                <a:cxn ang="0">
                  <a:pos x="61" y="1"/>
                </a:cxn>
                <a:cxn ang="0">
                  <a:pos x="59" y="3"/>
                </a:cxn>
              </a:cxnLst>
              <a:rect l="0" t="0" r="r" b="b"/>
              <a:pathLst>
                <a:path w="61" h="3">
                  <a:moveTo>
                    <a:pt x="59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1" y="1"/>
                  </a:cubicBezTo>
                  <a:cubicBezTo>
                    <a:pt x="61" y="2"/>
                    <a:pt x="60" y="3"/>
                    <a:pt x="59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4" name="Freeform 364"/>
            <p:cNvSpPr>
              <a:spLocks/>
            </p:cNvSpPr>
            <p:nvPr/>
          </p:nvSpPr>
          <p:spPr bwMode="auto">
            <a:xfrm>
              <a:off x="4532" y="3542"/>
              <a:ext cx="180" cy="7"/>
            </a:xfrm>
            <a:custGeom>
              <a:avLst/>
              <a:gdLst/>
              <a:ahLst/>
              <a:cxnLst>
                <a:cxn ang="0">
                  <a:pos x="74" y="3"/>
                </a:cxn>
                <a:cxn ang="0">
                  <a:pos x="2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74" y="0"/>
                </a:cxn>
                <a:cxn ang="0">
                  <a:pos x="75" y="2"/>
                </a:cxn>
                <a:cxn ang="0">
                  <a:pos x="74" y="3"/>
                </a:cxn>
              </a:cxnLst>
              <a:rect l="0" t="0" r="r" b="b"/>
              <a:pathLst>
                <a:path w="75" h="3">
                  <a:moveTo>
                    <a:pt x="74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1"/>
                    <a:pt x="75" y="2"/>
                  </a:cubicBezTo>
                  <a:cubicBezTo>
                    <a:pt x="75" y="3"/>
                    <a:pt x="75" y="3"/>
                    <a:pt x="74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5" name="Freeform 365"/>
            <p:cNvSpPr>
              <a:spLocks/>
            </p:cNvSpPr>
            <p:nvPr/>
          </p:nvSpPr>
          <p:spPr bwMode="auto">
            <a:xfrm>
              <a:off x="4532" y="3791"/>
              <a:ext cx="180" cy="10"/>
            </a:xfrm>
            <a:custGeom>
              <a:avLst/>
              <a:gdLst/>
              <a:ahLst/>
              <a:cxnLst>
                <a:cxn ang="0">
                  <a:pos x="7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74" y="0"/>
                </a:cxn>
                <a:cxn ang="0">
                  <a:pos x="75" y="2"/>
                </a:cxn>
                <a:cxn ang="0">
                  <a:pos x="74" y="4"/>
                </a:cxn>
              </a:cxnLst>
              <a:rect l="0" t="0" r="r" b="b"/>
              <a:pathLst>
                <a:path w="75" h="4">
                  <a:moveTo>
                    <a:pt x="7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1"/>
                    <a:pt x="75" y="2"/>
                  </a:cubicBezTo>
                  <a:cubicBezTo>
                    <a:pt x="75" y="3"/>
                    <a:pt x="75" y="4"/>
                    <a:pt x="74" y="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46" name="Freeform 366"/>
            <p:cNvSpPr>
              <a:spLocks noEditPoints="1"/>
            </p:cNvSpPr>
            <p:nvPr/>
          </p:nvSpPr>
          <p:spPr bwMode="auto">
            <a:xfrm>
              <a:off x="4375" y="3410"/>
              <a:ext cx="497" cy="498"/>
            </a:xfrm>
            <a:custGeom>
              <a:avLst/>
              <a:gdLst/>
              <a:ahLst/>
              <a:cxnLst>
                <a:cxn ang="0">
                  <a:pos x="104" y="208"/>
                </a:cxn>
                <a:cxn ang="0">
                  <a:pos x="0" y="104"/>
                </a:cxn>
                <a:cxn ang="0">
                  <a:pos x="104" y="0"/>
                </a:cxn>
                <a:cxn ang="0">
                  <a:pos x="208" y="104"/>
                </a:cxn>
                <a:cxn ang="0">
                  <a:pos x="104" y="208"/>
                </a:cxn>
                <a:cxn ang="0">
                  <a:pos x="104" y="5"/>
                </a:cxn>
                <a:cxn ang="0">
                  <a:pos x="5" y="104"/>
                </a:cxn>
                <a:cxn ang="0">
                  <a:pos x="104" y="203"/>
                </a:cxn>
                <a:cxn ang="0">
                  <a:pos x="203" y="104"/>
                </a:cxn>
                <a:cxn ang="0">
                  <a:pos x="104" y="5"/>
                </a:cxn>
              </a:cxnLst>
              <a:rect l="0" t="0" r="r" b="b"/>
              <a:pathLst>
                <a:path w="208" h="208">
                  <a:moveTo>
                    <a:pt x="104" y="208"/>
                  </a:moveTo>
                  <a:cubicBezTo>
                    <a:pt x="47" y="208"/>
                    <a:pt x="0" y="161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61"/>
                    <a:pt x="161" y="208"/>
                    <a:pt x="104" y="208"/>
                  </a:cubicBezTo>
                  <a:close/>
                  <a:moveTo>
                    <a:pt x="104" y="5"/>
                  </a:moveTo>
                  <a:cubicBezTo>
                    <a:pt x="50" y="5"/>
                    <a:pt x="5" y="50"/>
                    <a:pt x="5" y="104"/>
                  </a:cubicBezTo>
                  <a:cubicBezTo>
                    <a:pt x="5" y="158"/>
                    <a:pt x="50" y="203"/>
                    <a:pt x="104" y="203"/>
                  </a:cubicBezTo>
                  <a:cubicBezTo>
                    <a:pt x="158" y="203"/>
                    <a:pt x="203" y="158"/>
                    <a:pt x="203" y="104"/>
                  </a:cubicBezTo>
                  <a:cubicBezTo>
                    <a:pt x="203" y="50"/>
                    <a:pt x="158" y="5"/>
                    <a:pt x="104" y="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449" name="Group 369"/>
          <p:cNvGrpSpPr>
            <a:grpSpLocks noChangeAspect="1"/>
          </p:cNvGrpSpPr>
          <p:nvPr/>
        </p:nvGrpSpPr>
        <p:grpSpPr bwMode="auto">
          <a:xfrm>
            <a:off x="8047038" y="5413375"/>
            <a:ext cx="790575" cy="790575"/>
            <a:chOff x="5069" y="3410"/>
            <a:chExt cx="498" cy="498"/>
          </a:xfrm>
        </p:grpSpPr>
        <p:sp>
          <p:nvSpPr>
            <p:cNvPr id="46450" name="Freeform 370"/>
            <p:cNvSpPr>
              <a:spLocks noEditPoints="1"/>
            </p:cNvSpPr>
            <p:nvPr/>
          </p:nvSpPr>
          <p:spPr bwMode="auto">
            <a:xfrm>
              <a:off x="5227" y="3503"/>
              <a:ext cx="180" cy="316"/>
            </a:xfrm>
            <a:custGeom>
              <a:avLst/>
              <a:gdLst/>
              <a:ahLst/>
              <a:cxnLst>
                <a:cxn ang="0">
                  <a:pos x="75" y="17"/>
                </a:cxn>
                <a:cxn ang="0">
                  <a:pos x="75" y="17"/>
                </a:cxn>
                <a:cxn ang="0">
                  <a:pos x="69" y="8"/>
                </a:cxn>
                <a:cxn ang="0">
                  <a:pos x="70" y="3"/>
                </a:cxn>
                <a:cxn ang="0">
                  <a:pos x="7" y="0"/>
                </a:cxn>
                <a:cxn ang="0">
                  <a:pos x="5" y="6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0" y="18"/>
                </a:cxn>
                <a:cxn ang="0">
                  <a:pos x="0" y="122"/>
                </a:cxn>
                <a:cxn ang="0">
                  <a:pos x="0" y="122"/>
                </a:cxn>
                <a:cxn ang="0">
                  <a:pos x="0" y="123"/>
                </a:cxn>
                <a:cxn ang="0">
                  <a:pos x="1" y="123"/>
                </a:cxn>
                <a:cxn ang="0">
                  <a:pos x="1" y="123"/>
                </a:cxn>
                <a:cxn ang="0">
                  <a:pos x="8" y="131"/>
                </a:cxn>
                <a:cxn ang="0">
                  <a:pos x="66" y="132"/>
                </a:cxn>
                <a:cxn ang="0">
                  <a:pos x="75" y="123"/>
                </a:cxn>
                <a:cxn ang="0">
                  <a:pos x="75" y="123"/>
                </a:cxn>
                <a:cxn ang="0">
                  <a:pos x="75" y="123"/>
                </a:cxn>
                <a:cxn ang="0">
                  <a:pos x="75" y="122"/>
                </a:cxn>
                <a:cxn ang="0">
                  <a:pos x="75" y="122"/>
                </a:cxn>
                <a:cxn ang="0">
                  <a:pos x="75" y="122"/>
                </a:cxn>
                <a:cxn ang="0">
                  <a:pos x="75" y="18"/>
                </a:cxn>
                <a:cxn ang="0">
                  <a:pos x="10" y="8"/>
                </a:cxn>
                <a:cxn ang="0">
                  <a:pos x="70" y="16"/>
                </a:cxn>
                <a:cxn ang="0">
                  <a:pos x="10" y="8"/>
                </a:cxn>
                <a:cxn ang="0">
                  <a:pos x="72" y="19"/>
                </a:cxn>
                <a:cxn ang="0">
                  <a:pos x="4" y="120"/>
                </a:cxn>
                <a:cxn ang="0">
                  <a:pos x="9" y="4"/>
                </a:cxn>
                <a:cxn ang="0">
                  <a:pos x="67" y="5"/>
                </a:cxn>
                <a:cxn ang="0">
                  <a:pos x="66" y="5"/>
                </a:cxn>
                <a:cxn ang="0">
                  <a:pos x="9" y="5"/>
                </a:cxn>
                <a:cxn ang="0">
                  <a:pos x="9" y="4"/>
                </a:cxn>
                <a:cxn ang="0">
                  <a:pos x="11" y="129"/>
                </a:cxn>
                <a:cxn ang="0">
                  <a:pos x="69" y="124"/>
                </a:cxn>
              </a:cxnLst>
              <a:rect l="0" t="0" r="r" b="b"/>
              <a:pathLst>
                <a:path w="75" h="132">
                  <a:moveTo>
                    <a:pt x="75" y="17"/>
                  </a:move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70" y="7"/>
                    <a:pt x="70" y="7"/>
                    <a:pt x="70" y="6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1"/>
                    <a:pt x="5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7"/>
                    <a:pt x="5" y="7"/>
                    <a:pt x="6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" y="123"/>
                    <a:pt x="1" y="123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3" y="124"/>
                    <a:pt x="7" y="128"/>
                    <a:pt x="8" y="131"/>
                  </a:cubicBezTo>
                  <a:cubicBezTo>
                    <a:pt x="8" y="132"/>
                    <a:pt x="9" y="132"/>
                    <a:pt x="10" y="132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67" y="132"/>
                    <a:pt x="67" y="132"/>
                    <a:pt x="68" y="131"/>
                  </a:cubicBezTo>
                  <a:cubicBezTo>
                    <a:pt x="69" y="128"/>
                    <a:pt x="73" y="124"/>
                    <a:pt x="75" y="123"/>
                  </a:cubicBezTo>
                  <a:cubicBezTo>
                    <a:pt x="75" y="123"/>
                    <a:pt x="75" y="123"/>
                    <a:pt x="75" y="123"/>
                  </a:cubicBezTo>
                  <a:cubicBezTo>
                    <a:pt x="75" y="123"/>
                    <a:pt x="75" y="123"/>
                    <a:pt x="75" y="123"/>
                  </a:cubicBezTo>
                  <a:cubicBezTo>
                    <a:pt x="75" y="123"/>
                    <a:pt x="75" y="123"/>
                    <a:pt x="75" y="123"/>
                  </a:cubicBezTo>
                  <a:cubicBezTo>
                    <a:pt x="75" y="123"/>
                    <a:pt x="75" y="123"/>
                    <a:pt x="75" y="123"/>
                  </a:cubicBezTo>
                  <a:cubicBezTo>
                    <a:pt x="75" y="123"/>
                    <a:pt x="75" y="123"/>
                    <a:pt x="75" y="123"/>
                  </a:cubicBezTo>
                  <a:cubicBezTo>
                    <a:pt x="75" y="123"/>
                    <a:pt x="75" y="123"/>
                    <a:pt x="75" y="122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5" y="17"/>
                    <a:pt x="75" y="17"/>
                    <a:pt x="75" y="17"/>
                  </a:cubicBezTo>
                  <a:close/>
                  <a:moveTo>
                    <a:pt x="10" y="8"/>
                  </a:moveTo>
                  <a:cubicBezTo>
                    <a:pt x="65" y="8"/>
                    <a:pt x="65" y="8"/>
                    <a:pt x="65" y="8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5" y="16"/>
                    <a:pt x="5" y="16"/>
                    <a:pt x="5" y="16"/>
                  </a:cubicBezTo>
                  <a:lnTo>
                    <a:pt x="10" y="8"/>
                  </a:lnTo>
                  <a:close/>
                  <a:moveTo>
                    <a:pt x="4" y="19"/>
                  </a:moveTo>
                  <a:cubicBezTo>
                    <a:pt x="72" y="19"/>
                    <a:pt x="72" y="19"/>
                    <a:pt x="72" y="19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4" y="120"/>
                    <a:pt x="4" y="120"/>
                    <a:pt x="4" y="120"/>
                  </a:cubicBezTo>
                  <a:lnTo>
                    <a:pt x="4" y="19"/>
                  </a:lnTo>
                  <a:close/>
                  <a:moveTo>
                    <a:pt x="9" y="4"/>
                  </a:moveTo>
                  <a:cubicBezTo>
                    <a:pt x="67" y="4"/>
                    <a:pt x="67" y="4"/>
                    <a:pt x="67" y="4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lnTo>
                    <a:pt x="9" y="4"/>
                  </a:lnTo>
                  <a:close/>
                  <a:moveTo>
                    <a:pt x="65" y="129"/>
                  </a:moveTo>
                  <a:cubicBezTo>
                    <a:pt x="11" y="129"/>
                    <a:pt x="11" y="129"/>
                    <a:pt x="11" y="129"/>
                  </a:cubicBezTo>
                  <a:cubicBezTo>
                    <a:pt x="10" y="127"/>
                    <a:pt x="8" y="125"/>
                    <a:pt x="7" y="124"/>
                  </a:cubicBezTo>
                  <a:cubicBezTo>
                    <a:pt x="69" y="124"/>
                    <a:pt x="69" y="124"/>
                    <a:pt x="69" y="124"/>
                  </a:cubicBezTo>
                  <a:cubicBezTo>
                    <a:pt x="67" y="125"/>
                    <a:pt x="66" y="127"/>
                    <a:pt x="65" y="129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51" name="Freeform 371"/>
            <p:cNvSpPr>
              <a:spLocks noEditPoints="1"/>
            </p:cNvSpPr>
            <p:nvPr/>
          </p:nvSpPr>
          <p:spPr bwMode="auto">
            <a:xfrm>
              <a:off x="5069" y="3410"/>
              <a:ext cx="498" cy="498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104"/>
                </a:cxn>
                <a:cxn ang="0">
                  <a:pos x="104" y="208"/>
                </a:cxn>
                <a:cxn ang="0">
                  <a:pos x="208" y="104"/>
                </a:cxn>
                <a:cxn ang="0">
                  <a:pos x="104" y="0"/>
                </a:cxn>
                <a:cxn ang="0">
                  <a:pos x="104" y="203"/>
                </a:cxn>
                <a:cxn ang="0">
                  <a:pos x="5" y="104"/>
                </a:cxn>
                <a:cxn ang="0">
                  <a:pos x="104" y="5"/>
                </a:cxn>
                <a:cxn ang="0">
                  <a:pos x="203" y="104"/>
                </a:cxn>
                <a:cxn ang="0">
                  <a:pos x="104" y="203"/>
                </a:cxn>
              </a:cxnLst>
              <a:rect l="0" t="0" r="r" b="b"/>
              <a:pathLst>
                <a:path w="208" h="208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1"/>
                    <a:pt x="47" y="208"/>
                    <a:pt x="104" y="208"/>
                  </a:cubicBezTo>
                  <a:cubicBezTo>
                    <a:pt x="161" y="208"/>
                    <a:pt x="208" y="161"/>
                    <a:pt x="208" y="104"/>
                  </a:cubicBezTo>
                  <a:cubicBezTo>
                    <a:pt x="208" y="47"/>
                    <a:pt x="161" y="0"/>
                    <a:pt x="104" y="0"/>
                  </a:cubicBezTo>
                  <a:close/>
                  <a:moveTo>
                    <a:pt x="104" y="203"/>
                  </a:moveTo>
                  <a:cubicBezTo>
                    <a:pt x="50" y="203"/>
                    <a:pt x="5" y="158"/>
                    <a:pt x="5" y="104"/>
                  </a:cubicBezTo>
                  <a:cubicBezTo>
                    <a:pt x="5" y="50"/>
                    <a:pt x="50" y="5"/>
                    <a:pt x="104" y="5"/>
                  </a:cubicBezTo>
                  <a:cubicBezTo>
                    <a:pt x="158" y="5"/>
                    <a:pt x="203" y="50"/>
                    <a:pt x="203" y="104"/>
                  </a:cubicBezTo>
                  <a:cubicBezTo>
                    <a:pt x="203" y="158"/>
                    <a:pt x="158" y="203"/>
                    <a:pt x="104" y="203"/>
                  </a:cubicBezTo>
                  <a:close/>
                </a:path>
              </a:pathLst>
            </a:cu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QuzTPZzUSQ5MhR_5hZ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KH4k_vAkKvSFFUFH7rhQ"/>
</p:tagLst>
</file>

<file path=ppt/theme/theme1.xml><?xml version="1.0" encoding="utf-8"?>
<a:theme xmlns:a="http://schemas.openxmlformats.org/drawingml/2006/main" name="1_DTZ_Onscreen_Landscape_Template">
  <a:themeElements>
    <a:clrScheme name="DTZ Theme">
      <a:dk1>
        <a:srgbClr val="9BD3DD"/>
      </a:dk1>
      <a:lt1>
        <a:srgbClr val="E4002B"/>
      </a:lt1>
      <a:dk2>
        <a:srgbClr val="54585A"/>
      </a:dk2>
      <a:lt2>
        <a:srgbClr val="0093B2"/>
      </a:lt2>
      <a:accent1>
        <a:srgbClr val="A6192E"/>
      </a:accent1>
      <a:accent2>
        <a:srgbClr val="B5BD00"/>
      </a:accent2>
      <a:accent3>
        <a:srgbClr val="FF671F"/>
      </a:accent3>
      <a:accent4>
        <a:srgbClr val="003865"/>
      </a:accent4>
      <a:accent5>
        <a:srgbClr val="A7A8AA"/>
      </a:accent5>
      <a:accent6>
        <a:srgbClr val="FFFFFF"/>
      </a:accent6>
      <a:hlink>
        <a:srgbClr val="E4002B"/>
      </a:hlink>
      <a:folHlink>
        <a:srgbClr val="5458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363714B97DBC43BEF215AF73465CFF" ma:contentTypeVersion="40" ma:contentTypeDescription="Create a new document." ma:contentTypeScope="" ma:versionID="dd4609f5d593503fbb04ee624f5f0e58">
  <xsd:schema xmlns:xsd="http://www.w3.org/2001/XMLSchema" xmlns:xs="http://www.w3.org/2001/XMLSchema" xmlns:p="http://schemas.microsoft.com/office/2006/metadata/properties" xmlns:ns2="be51bc9f-3ca2-4786-94b0-d68ddb7bde26" xmlns:ns3="ed6d00fd-d6c7-4092-bd47-2e64effdcdf6" xmlns:ns4="be51bc9f-3ca2-4786-94b0-d68ddb7bde26" targetNamespace="http://schemas.microsoft.com/office/2006/metadata/properties" ma:root="true" ma:fieldsID="950364b9a8d2fbeb6d87e3e9554326c4" ns4:_="" ns3:_="">
    <xsd:import namespace="be51bc9f-3ca2-4786-94b0-d68ddb7bde26"/>
    <xsd:import namespace="ed6d00fd-d6c7-4092-bd47-2e64effdcdf6"/>
    <xsd:import namespace="be51bc9f-3ca2-4786-94b0-d68ddb7bde26"/>
    <xsd:element name="properties">
      <xsd:complexType>
        <xsd:sequence>
          <xsd:element name="documentManagement">
            <xsd:complexType>
              <xsd:all>
                <xsd:element ref="ns2:ItemCategory" minOccurs="0"/>
                <xsd:element ref="ns2:ThumbnailURL" minOccurs="0"/>
                <xsd:element ref="ns2:Geos" minOccurs="0"/>
                <xsd:element ref="ns2:Category" minOccurs="0"/>
                <xsd:element ref="ns3:_dlc_DocId" minOccurs="0"/>
                <xsd:element ref="ns3:_dlc_DocIdUrl" minOccurs="0"/>
                <xsd:element ref="ns3:_dlc_DocIdPersistId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ServiceLines" minOccurs="0"/>
                <xsd:element ref="ns2:Thumbnail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4:Market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51bc9f-3ca2-4786-94b0-d68ddb7bde26" elementFormDefault="qualified">
    <xsd:import namespace="http://schemas.microsoft.com/office/2006/documentManagement/types"/>
    <xsd:import namespace="http://schemas.microsoft.com/office/infopath/2007/PartnerControls"/>
    <xsd:element name="ItemCategory" ma:index="2" nillable="true" ma:displayName="ItemCategory" ma:list="{1e36063c-931b-4de9-ac6e-73f3e5f75845}" ma:internalName="ItemCategory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umbnailURL" ma:index="3" nillable="true" ma:displayName="ThumbnailURL" ma:internalName="ThumbnailURL" ma:readOnly="false">
      <xsd:simpleType>
        <xsd:restriction base="dms:Text">
          <xsd:maxLength value="255"/>
        </xsd:restriction>
      </xsd:simpleType>
    </xsd:element>
    <xsd:element name="Geos" ma:index="4" nillable="true" ma:displayName="Geos" ma:list="{af252976-06ec-41da-a65e-cd38b679cac9}" ma:internalName="Geos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ategory" ma:index="5" nillable="true" ma:displayName="Category" ma:internalName="Category">
      <xsd:simpleType>
        <xsd:restriction base="dms:Text">
          <xsd:maxLength value="255"/>
        </xsd:restriction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ServiceLines" ma:index="18" nillable="true" ma:displayName="ServiceLines" ma:list="{213b4b4a-0a0d-43f4-af86-12879c3546ba}" ma:internalName="ServiceLines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humbnail" ma:index="19" nillable="true" ma:displayName="Thumbnail" ma:format="Hyperlink" ma:internalName="Thumbnai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24" nillable="true" ma:displayName="Tags" ma:internalName="MediaServiceAutoTags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1" nillable="true" ma:taxonomy="true" ma:internalName="lcf76f155ced4ddcb4097134ff3c332f" ma:taxonomyFieldName="MediaServiceImageTags" ma:displayName="Image Tags" ma:readOnly="false" ma:fieldId="{5cf76f15-5ced-4ddc-b409-7134ff3c332f}" ma:taxonomyMulti="true" ma:sspId="5a8603ae-3637-436a-adfc-4f3f468c95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d00fd-d6c7-4092-bd47-2e64effdcdf6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2" nillable="true" ma:displayName="Taxonomy Catch All Column" ma:hidden="true" ma:list="{9b52ba9f-35a5-47f1-9189-5541f20186f4}" ma:internalName="TaxCatchAll" ma:showField="CatchAllData" ma:web="ed6d00fd-d6c7-4092-bd47-2e64effdcd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51bc9f-3ca2-4786-94b0-d68ddb7bde26" elementFormDefault="qualified">
    <xsd:import namespace="http://schemas.microsoft.com/office/2006/documentManagement/types"/>
    <xsd:import namespace="http://schemas.microsoft.com/office/infopath/2007/PartnerControls"/>
    <xsd:element name="Markets" ma:index="26" nillable="true" ma:displayName="Markets" ma:list="796dedf2-dbd2-4930-9efe-59874b2d703a" ma:internalName="Markets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/>
</file>

<file path=customXml/item4.xml><?xml version="1.0" encoding="utf-8"?>
<p:properties xmlns:p="http://schemas.microsoft.com/office/2006/metadata/properties" xmlns:xsi="http://www.w3.org/2001/XMLSchema-instance">
  <documentManagement>
    <ItemCategory xmlns="be51bc9f-3ca2-4786-94b0-d68ddb7bde26">
      <Value>408</Value>
    </ItemCategory>
    <Geos xmlns="be51bc9f-3ca2-4786-94b0-d68ddb7bde26">
      <Value>20</Value>
      <Value>2</Value>
      <Value>26</Value>
      <Value>27</Value>
      <Value>29</Value>
      <Value>30</Value>
      <Value>32</Value>
      <Value>40</Value>
      <Value>41</Value>
      <Value>8</Value>
      <Value>1</Value>
      <Value>9</Value>
      <Value>12</Value>
      <Value>14</Value>
      <Value>15</Value>
      <Value>18</Value>
      <Value>19</Value>
      <Value>21</Value>
      <Value>25</Value>
      <Value>28</Value>
      <Value>31</Value>
      <Value>33</Value>
      <Value>35</Value>
      <Value>36</Value>
      <Value>37</Value>
      <Value>42</Value>
      <Value>11</Value>
      <Value>3</Value>
      <Value>5</Value>
      <Value>4</Value>
      <Value>6</Value>
      <Value>7</Value>
      <Value>10</Value>
      <Value>13</Value>
      <Value>16</Value>
      <Value>17</Value>
      <Value>22</Value>
      <Value>34</Value>
      <Value>38</Value>
      <Value>39</Value>
    </Geos>
    <Markets xmlns="be51bc9f-3ca2-4786-94b0-d68ddb7bde26" xsi:nil="true"/>
    <ThumbnailURL xmlns="be51bc9f-3ca2-4786-94b0-d68ddb7bde26" xsi:nil="true"/>
    <ServiceLines xmlns="be51bc9f-3ca2-4786-94b0-d68ddb7bde26">
      <Value>1</Value>
      <Value>10</Value>
      <Value>11</Value>
      <Value>12</Value>
      <Value>13</Value>
      <Value>14</Value>
      <Value>15</Value>
      <Value>16</Value>
      <Value>17</Value>
      <Value>18</Value>
      <Value>19</Value>
      <Value>20</Value>
      <Value>21</Value>
      <Value>22</Value>
      <Value>23</Value>
      <Value>24</Value>
      <Value>25</Value>
      <Value>26</Value>
      <Value>27</Value>
      <Value>28</Value>
      <Value>29</Value>
      <Value>30</Value>
      <Value>31</Value>
      <Value>32</Value>
      <Value>33</Value>
    </ServiceLines>
    <Thumbnail xmlns="be51bc9f-3ca2-4786-94b0-d68ddb7bde26">
      <Url>https://cushwake1.sharepoint.com/PublishingImages/1569518966553_icon-PPT.PNG</Url>
      <Description>1569518966553_icon-PPT.PNG</Description>
    </Thumbnail>
    <Category xmlns="be51bc9f-3ca2-4786-94b0-d68ddb7bde26" xsi:nil="true"/>
    <_dlc_DocId xmlns="ed6d00fd-d6c7-4092-bd47-2e64effdcdf6">UK3TEARSV6AR-681702868-2537</_dlc_DocId>
    <_dlc_DocIdUrl xmlns="ed6d00fd-d6c7-4092-bd47-2e64effdcdf6">
      <Url>https://cushwake1.sharepoint.com/_layouts/15/DocIdRedir.aspx?ID=UK3TEARSV6AR-681702868-2537</Url>
      <Description>UK3TEARSV6AR-681702868-2537</Description>
    </_dlc_DocIdUrl>
    <lcf76f155ced4ddcb4097134ff3c332f xmlns="be51bc9f-3ca2-4786-94b0-d68ddb7bde26">
      <Terms xmlns="http://schemas.microsoft.com/office/infopath/2007/PartnerControls"/>
    </lcf76f155ced4ddcb4097134ff3c332f>
    <TaxCatchAll xmlns="ed6d00fd-d6c7-4092-bd47-2e64effdcdf6" xsi:nil="true"/>
  </documentManagement>
</p:properties>
</file>

<file path=customXml/itemProps1.xml><?xml version="1.0" encoding="utf-8"?>
<ds:datastoreItem xmlns:ds="http://schemas.openxmlformats.org/officeDocument/2006/customXml" ds:itemID="{CD3B179F-7E12-4847-9C78-0F3B019047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51bc9f-3ca2-4786-94b0-d68ddb7bde26"/>
    <ds:schemaRef ds:uri="ed6d00fd-d6c7-4092-bd47-2e64effdcd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1315C69-D9B4-46D0-A1FE-EE734304FDD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443B310C-C3B0-45FE-B67B-26ADF678EED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30DE16D9-6A12-4C28-BD1E-4FAFF9D89604}">
  <ds:schemaRefs>
    <ds:schemaRef ds:uri="http://schemas.microsoft.com/office/2006/metadata/properties"/>
    <ds:schemaRef ds:uri="http://schemas.microsoft.com/office/infopath/2007/PartnerControls"/>
    <ds:schemaRef ds:uri="http://purl.org/dc/elements/1.1/"/>
    <ds:schemaRef ds:uri="be51bc9f-3ca2-4786-94b0-d68ddb7bde26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ed6d00fd-d6c7-4092-bd47-2e64effdcdf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0</TotalTime>
  <Words>1346</Words>
  <Application>Microsoft Office PowerPoint</Application>
  <PresentationFormat>On-screen Show (4:3)</PresentationFormat>
  <Paragraphs>689</Paragraphs>
  <Slides>3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2" baseType="lpstr">
      <vt:lpstr>Arial</vt:lpstr>
      <vt:lpstr>Calibri</vt:lpstr>
      <vt:lpstr>Whitney Semibold</vt:lpstr>
      <vt:lpstr>1_DTZ_Onscreen_Landscape_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T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ons 1.5 Library (PowerPoint)</dc:title>
  <dc:creator>Sandy Goldenberg</dc:creator>
  <cp:lastModifiedBy>Steven Morgan/USA</cp:lastModifiedBy>
  <cp:revision>286</cp:revision>
  <dcterms:created xsi:type="dcterms:W3CDTF">2015-01-03T07:10:37Z</dcterms:created>
  <dcterms:modified xsi:type="dcterms:W3CDTF">2024-01-18T19:3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363714B97DBC43BEF215AF73465CFF</vt:lpwstr>
  </property>
  <property fmtid="{D5CDD505-2E9C-101B-9397-08002B2CF9AE}" pid="3" name="_dlc_DocIdItemGuid">
    <vt:lpwstr>19d6ad55-4048-4f21-a45c-b955c84cab87</vt:lpwstr>
  </property>
  <property fmtid="{D5CDD505-2E9C-101B-9397-08002B2CF9AE}" pid="4" name="MediaServiceImageTags">
    <vt:lpwstr/>
  </property>
</Properties>
</file>